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1"/>
  </p:notesMasterIdLst>
  <p:sldIdLst>
    <p:sldId id="263" r:id="rId3"/>
    <p:sldId id="264" r:id="rId4"/>
    <p:sldId id="265" r:id="rId5"/>
    <p:sldId id="266" r:id="rId6"/>
    <p:sldId id="267" r:id="rId7"/>
    <p:sldId id="268" r:id="rId8"/>
    <p:sldId id="270" r:id="rId9"/>
    <p:sldId id="308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84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528" userDrawn="1">
          <p15:clr>
            <a:srgbClr val="A4A3A4"/>
          </p15:clr>
        </p15:guide>
        <p15:guide id="4" orient="horz" pos="230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D169"/>
    <a:srgbClr val="E3539B"/>
    <a:srgbClr val="767BB5"/>
    <a:srgbClr val="E0549B"/>
    <a:srgbClr val="45B0E6"/>
    <a:srgbClr val="00BEA6"/>
    <a:srgbClr val="D289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214" autoAdjust="0"/>
    <p:restoredTop sz="94660"/>
  </p:normalViewPr>
  <p:slideViewPr>
    <p:cSldViewPr snapToGrid="0" showGuides="1">
      <p:cViewPr varScale="1">
        <p:scale>
          <a:sx n="63" d="100"/>
          <a:sy n="63" d="100"/>
        </p:scale>
        <p:origin x="640" y="48"/>
      </p:cViewPr>
      <p:guideLst>
        <p:guide orient="horz" pos="3984"/>
        <p:guide pos="3840"/>
        <p:guide orient="horz" pos="528"/>
        <p:guide orient="horz" pos="230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DFB-432D-8DC1-1807636FC2E5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DFB-432D-8DC1-1807636FC2E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DFB-432D-8DC1-1807636FC2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603-454C-8913-EE6AAC6EFB2D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603-454C-8913-EE6AAC6EFB2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5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603-454C-8913-EE6AAC6EFB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5A2-4919-BF0C-DC30A73EC936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56B-4BB1-8A34-954631A215A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0</c:v>
                </c:pt>
                <c:pt idx="1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6B-4BB1-8A34-954631A215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DFB-432D-8DC1-1807636FC2E5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DFB-432D-8DC1-1807636FC2E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DFB-432D-8DC1-1807636FC2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603-454C-8913-EE6AAC6EFB2D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603-454C-8913-EE6AAC6EFB2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5</c:v>
                </c:pt>
                <c:pt idx="1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603-454C-8913-EE6AAC6EFB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2A-42F6-A854-9D08DBC22786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12A-42F6-A854-9D08DBC22786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12A-42F6-A854-9D08DBC227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91D923-C551-4FEE-A789-FF6F47C160F7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47CD44-C54A-4598-BC27-D9F02FA94F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0704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29" name="Google Shape;9829;g5ee62ca137_2_939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30" name="Google Shape;9830;g5ee62ca137_2_939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92698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416BCD-F3C5-4F34-9B21-E889402182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F4AA086-5FDA-4172-935B-B89055D657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471858-5B20-4A7B-AC87-B3AF313C4B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F70CCE-C1B0-4826-9F7F-6D876B8AC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4991A3-B96D-4573-9826-1CDF06205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2531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7F161-4A7C-4C73-8297-1F8509D1C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148453-6026-471D-8FC5-871C1BFFD6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5B2CB6-5F78-49BA-9ECB-1D5078370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327FCC-EA0A-4269-94F4-77A7895A4D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DC5B75-47FE-4250-80EA-84D98BAF24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6946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006D370-FD2E-4766-B02E-E64C9B8A395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9E8E01-1D00-4300-8537-C5B45FF862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DE0EED-16CC-4CED-A5CF-13CD7ECAB0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1B0618-4667-45B4-865A-02BAC3151E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F5C548-2347-41DC-A6B5-A29D01E4C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284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type="blank">
  <p:cSld name="Blank slide"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28801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A1D5E-B05D-4BBD-893A-5A9E506A9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9DA785-086D-4955-BB5E-F0C9B28616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199114-0078-4780-8693-49F15F622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D93AD2-73D0-4837-8ACA-CE7882EA6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BB41A8-D8C0-4C0F-AEBE-9D32C6A108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539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8CB12D-0584-4022-8C8D-F52295996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AA969A-321A-4773-87BE-225DB4C323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2D220D-D472-4238-89CF-D7566C4EC3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94AB8C-397D-4A35-8AE0-1E904B705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CE363D-B6D7-40C6-99A4-1751EEDA9F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660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22C8EE-74E3-4F81-AE5C-E39C3F02E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C2A2CE-813B-47FA-9379-77B1119081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0B91C2-7596-47F1-838F-F37564103C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1529C0-C636-4510-A296-83D6EDE569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77363A-A235-433B-A7E2-9DB7A579B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14AB7C-C7FD-4AC3-9132-B1EC91BB7C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435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B17009-4EF0-4B12-A299-BC0287C7B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0D432B-2BDB-4D80-94ED-EA72CE4627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B3B82F-4A75-42C1-87BE-6DF90ABF61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C585E8-EBD9-4F17-82C8-555804BF82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A3A2624-3147-45B4-8679-AB03CBDB81E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BC84EBF-FC65-4F9A-9384-FF24DFAE29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300CF30-71E5-437B-AEAB-4E93A21E0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18336A-3644-4041-94EC-A77E7AEA5D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8146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07F235-913C-4913-84D7-2429CB389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9ECD55-F1FC-4C1D-8EFF-AD392E3A9D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B43F77-F961-4ED2-88D5-73093A26B2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B7EB32-2D3C-4E84-8719-8F187BB4E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7585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3A65BAA-69D1-4110-BC63-1E323B1286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133AF8-70E5-418A-B78B-48A6BF5144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1ED0E7-8B9F-4A3B-BFDD-C44FA2F63F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1305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D69F68-C8B7-44DA-8B93-A4488F329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AECCAC-CF65-446D-B041-D1D6B573DB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D63273-4227-49CB-BF4C-9A3D9F45E3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75C054-5BA8-42A4-A8E8-1428FF63AC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DA5066A-1D92-4E79-8474-DCAF587A11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B25CFB-7FDC-4C01-A841-FF2011F0D1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15468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61F5BB-B2B4-4231-9CFE-3ABC6FD45A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763D1F1-5677-4B02-9B1B-68E9CD50DDB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96A73E-870D-43FF-AFE1-5186F9C81D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C69645-AE88-4BDF-8C30-107B160CE9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8EA59B-A2F7-4AC0-89EB-5AC3B8D231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295FC5-94E3-4928-8C9B-C8C0B1E91A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7270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825B8BE-23E7-4DF1-B122-424B8AE0D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9FBF2D-517B-4ED2-B88E-6CD358C64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DC55C2-D926-464F-B2AC-3C44CB1F93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CC1EC9-211C-4D44-9E4F-B6654E48FE6C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E2E9A7-D4FD-4C76-88CE-980EA3C128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6919CC-3B64-412D-86A3-A825A17540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C94304-9D7D-4EDB-90E1-FCA55F75F3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473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E2A47"/>
        </a:solidFill>
        <a:effectLst/>
      </p:bgPr>
    </p:bg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27"/>
          <p:cNvSpPr txBox="1">
            <a:spLocks noGrp="1"/>
          </p:cNvSpPr>
          <p:nvPr>
            <p:ph type="title"/>
          </p:nvPr>
        </p:nvSpPr>
        <p:spPr>
          <a:xfrm>
            <a:off x="1424133" y="1244600"/>
            <a:ext cx="9396400" cy="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9pPr>
          </a:lstStyle>
          <a:p>
            <a:endParaRPr/>
          </a:p>
        </p:txBody>
      </p:sp>
      <p:sp>
        <p:nvSpPr>
          <p:cNvPr id="198" name="Google Shape;198;p27"/>
          <p:cNvSpPr txBox="1">
            <a:spLocks noGrp="1"/>
          </p:cNvSpPr>
          <p:nvPr>
            <p:ph type="body" idx="1"/>
          </p:nvPr>
        </p:nvSpPr>
        <p:spPr>
          <a:xfrm>
            <a:off x="1424133" y="2260600"/>
            <a:ext cx="9396400" cy="333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●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○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2984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100"/>
              <a:buFont typeface="Proxima Nova"/>
              <a:buChar char="■"/>
              <a:defRPr sz="11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4689560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7" Type="http://schemas.openxmlformats.org/officeDocument/2006/relationships/chart" Target="../charts/chart6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jpeg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hyperlink" Target="https://www.greatppt.com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BD3BB9-7494-4054-ABD5-BF4DEDF50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7AEFA-B56B-463F-809E-4A0CAC2C214B}" type="datetime1">
              <a:rPr lang="en-US" sz="1000" smtClean="0">
                <a:solidFill>
                  <a:schemeClr val="tx1"/>
                </a:solidFill>
              </a:rPr>
              <a:t>8/17/2020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4D9497-D6ED-4F5D-9AF8-723FC8208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t>1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" name="Rectangle 70">
            <a:extLst>
              <a:ext uri="{FF2B5EF4-FFF2-40B4-BE49-F238E27FC236}">
                <a16:creationId xmlns:a16="http://schemas.microsoft.com/office/drawing/2014/main" id="{2C7F6899-AA89-4ACF-BBC6-9182A564A0B3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70">
            <a:extLst>
              <a:ext uri="{FF2B5EF4-FFF2-40B4-BE49-F238E27FC236}">
                <a16:creationId xmlns:a16="http://schemas.microsoft.com/office/drawing/2014/main" id="{46EBEB8D-01EC-4B1A-B44A-BDF60EEB1BDB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70">
            <a:extLst>
              <a:ext uri="{FF2B5EF4-FFF2-40B4-BE49-F238E27FC236}">
                <a16:creationId xmlns:a16="http://schemas.microsoft.com/office/drawing/2014/main" id="{0EFEE770-1BB8-4BC8-92D5-8B8941EDBE25}"/>
              </a:ext>
            </a:extLst>
          </p:cNvPr>
          <p:cNvSpPr/>
          <p:nvPr/>
        </p:nvSpPr>
        <p:spPr>
          <a:xfrm flipV="1">
            <a:off x="2054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FE3DD1-8761-4FA2-A00F-4C407ED92CBC}"/>
              </a:ext>
            </a:extLst>
          </p:cNvPr>
          <p:cNvSpPr txBox="1"/>
          <p:nvPr/>
        </p:nvSpPr>
        <p:spPr>
          <a:xfrm>
            <a:off x="708963" y="250833"/>
            <a:ext cx="10774074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/>
              <a:t>WORLD MAP</a:t>
            </a:r>
          </a:p>
        </p:txBody>
      </p:sp>
      <p:grpSp>
        <p:nvGrpSpPr>
          <p:cNvPr id="9" name="Group 225">
            <a:extLst>
              <a:ext uri="{FF2B5EF4-FFF2-40B4-BE49-F238E27FC236}">
                <a16:creationId xmlns:a16="http://schemas.microsoft.com/office/drawing/2014/main" id="{31A2DCA2-2F78-415D-8C67-E18563B384B9}"/>
              </a:ext>
            </a:extLst>
          </p:cNvPr>
          <p:cNvGrpSpPr>
            <a:grpSpLocks/>
          </p:cNvGrpSpPr>
          <p:nvPr/>
        </p:nvGrpSpPr>
        <p:grpSpPr bwMode="auto">
          <a:xfrm>
            <a:off x="551543" y="1664339"/>
            <a:ext cx="6718542" cy="3884922"/>
            <a:chOff x="61885" y="752495"/>
            <a:chExt cx="8724928" cy="5045055"/>
          </a:xfrm>
          <a:solidFill>
            <a:schemeClr val="bg1">
              <a:lumMod val="75000"/>
            </a:schemeClr>
          </a:solidFill>
        </p:grpSpPr>
        <p:sp>
          <p:nvSpPr>
            <p:cNvPr id="10" name="Freeform 5962">
              <a:extLst>
                <a:ext uri="{FF2B5EF4-FFF2-40B4-BE49-F238E27FC236}">
                  <a16:creationId xmlns:a16="http://schemas.microsoft.com/office/drawing/2014/main" id="{09277479-5981-4C58-81D7-618373A7A6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9629" y="3535372"/>
              <a:ext cx="1189042" cy="2262178"/>
            </a:xfrm>
            <a:custGeom>
              <a:avLst/>
              <a:gdLst>
                <a:gd name="T0" fmla="*/ 168775 w 1874"/>
                <a:gd name="T1" fmla="*/ 2086902 h 3562"/>
                <a:gd name="T2" fmla="*/ 147202 w 1874"/>
                <a:gd name="T3" fmla="*/ 1968776 h 3562"/>
                <a:gd name="T4" fmla="*/ 184003 w 1874"/>
                <a:gd name="T5" fmla="*/ 1976397 h 3562"/>
                <a:gd name="T6" fmla="*/ 161161 w 1874"/>
                <a:gd name="T7" fmla="*/ 1982748 h 3562"/>
                <a:gd name="T8" fmla="*/ 154816 w 1874"/>
                <a:gd name="T9" fmla="*/ 2042446 h 3562"/>
                <a:gd name="T10" fmla="*/ 156085 w 1874"/>
                <a:gd name="T11" fmla="*/ 1997990 h 3562"/>
                <a:gd name="T12" fmla="*/ 147202 w 1874"/>
                <a:gd name="T13" fmla="*/ 2006881 h 3562"/>
                <a:gd name="T14" fmla="*/ 184003 w 1874"/>
                <a:gd name="T15" fmla="*/ 2086902 h 3562"/>
                <a:gd name="T16" fmla="*/ 153547 w 1874"/>
                <a:gd name="T17" fmla="*/ 1999260 h 3562"/>
                <a:gd name="T18" fmla="*/ 185272 w 1874"/>
                <a:gd name="T19" fmla="*/ 1850649 h 3562"/>
                <a:gd name="T20" fmla="*/ 192886 w 1874"/>
                <a:gd name="T21" fmla="*/ 1841758 h 3562"/>
                <a:gd name="T22" fmla="*/ 166237 w 1874"/>
                <a:gd name="T23" fmla="*/ 1884944 h 3562"/>
                <a:gd name="T24" fmla="*/ 348971 w 1874"/>
                <a:gd name="T25" fmla="*/ 2235513 h 3562"/>
                <a:gd name="T26" fmla="*/ 304556 w 1874"/>
                <a:gd name="T27" fmla="*/ 2245675 h 3562"/>
                <a:gd name="T28" fmla="*/ 284252 w 1874"/>
                <a:gd name="T29" fmla="*/ 2227892 h 3562"/>
                <a:gd name="T30" fmla="*/ 323591 w 1874"/>
                <a:gd name="T31" fmla="*/ 2224082 h 3562"/>
                <a:gd name="T32" fmla="*/ 277907 w 1874"/>
                <a:gd name="T33" fmla="*/ 2230433 h 3562"/>
                <a:gd name="T34" fmla="*/ 170044 w 1874"/>
                <a:gd name="T35" fmla="*/ 2140250 h 3562"/>
                <a:gd name="T36" fmla="*/ 180196 w 1874"/>
                <a:gd name="T37" fmla="*/ 2163113 h 3562"/>
                <a:gd name="T38" fmla="*/ 157354 w 1874"/>
                <a:gd name="T39" fmla="*/ 2090713 h 3562"/>
                <a:gd name="T40" fmla="*/ 247452 w 1874"/>
                <a:gd name="T41" fmla="*/ 2198678 h 3562"/>
                <a:gd name="T42" fmla="*/ 214458 w 1874"/>
                <a:gd name="T43" fmla="*/ 2170734 h 3562"/>
                <a:gd name="T44" fmla="*/ 224610 w 1874"/>
                <a:gd name="T45" fmla="*/ 2189787 h 3562"/>
                <a:gd name="T46" fmla="*/ 300749 w 1874"/>
                <a:gd name="T47" fmla="*/ 2198678 h 3562"/>
                <a:gd name="T48" fmla="*/ 237300 w 1874"/>
                <a:gd name="T49" fmla="*/ 2207569 h 3562"/>
                <a:gd name="T50" fmla="*/ 319784 w 1874"/>
                <a:gd name="T51" fmla="*/ 2224082 h 3562"/>
                <a:gd name="T52" fmla="*/ 184003 w 1874"/>
                <a:gd name="T53" fmla="*/ 1738874 h 3562"/>
                <a:gd name="T54" fmla="*/ 166237 w 1874"/>
                <a:gd name="T55" fmla="*/ 1802383 h 3562"/>
                <a:gd name="T56" fmla="*/ 187810 w 1874"/>
                <a:gd name="T57" fmla="*/ 1807463 h 3562"/>
                <a:gd name="T58" fmla="*/ 176389 w 1874"/>
                <a:gd name="T59" fmla="*/ 1878593 h 3562"/>
                <a:gd name="T60" fmla="*/ 939048 w 1874"/>
                <a:gd name="T61" fmla="*/ 443292 h 3562"/>
                <a:gd name="T62" fmla="*/ 767735 w 1874"/>
                <a:gd name="T63" fmla="*/ 403917 h 3562"/>
                <a:gd name="T64" fmla="*/ 761390 w 1874"/>
                <a:gd name="T65" fmla="*/ 248955 h 3562"/>
                <a:gd name="T66" fmla="*/ 611650 w 1874"/>
                <a:gd name="T67" fmla="*/ 190527 h 3562"/>
                <a:gd name="T68" fmla="*/ 474600 w 1874"/>
                <a:gd name="T69" fmla="*/ 59698 h 3562"/>
                <a:gd name="T70" fmla="*/ 281714 w 1874"/>
                <a:gd name="T71" fmla="*/ 21593 h 3562"/>
                <a:gd name="T72" fmla="*/ 157354 w 1874"/>
                <a:gd name="T73" fmla="*/ 45726 h 3562"/>
                <a:gd name="T74" fmla="*/ 91367 w 1874"/>
                <a:gd name="T75" fmla="*/ 299762 h 3562"/>
                <a:gd name="T76" fmla="*/ 35532 w 1874"/>
                <a:gd name="T77" fmla="*/ 461075 h 3562"/>
                <a:gd name="T78" fmla="*/ 109133 w 1874"/>
                <a:gd name="T79" fmla="*/ 768458 h 3562"/>
                <a:gd name="T80" fmla="*/ 275370 w 1874"/>
                <a:gd name="T81" fmla="*/ 1108865 h 3562"/>
                <a:gd name="T82" fmla="*/ 252528 w 1874"/>
                <a:gd name="T83" fmla="*/ 1420059 h 3562"/>
                <a:gd name="T84" fmla="*/ 196693 w 1874"/>
                <a:gd name="T85" fmla="*/ 1667744 h 3562"/>
                <a:gd name="T86" fmla="*/ 209382 w 1874"/>
                <a:gd name="T87" fmla="*/ 1797302 h 3562"/>
                <a:gd name="T88" fmla="*/ 171313 w 1874"/>
                <a:gd name="T89" fmla="*/ 1882404 h 3562"/>
                <a:gd name="T90" fmla="*/ 170044 w 1874"/>
                <a:gd name="T91" fmla="*/ 1947183 h 3562"/>
                <a:gd name="T92" fmla="*/ 176389 w 1874"/>
                <a:gd name="T93" fmla="*/ 2011962 h 3562"/>
                <a:gd name="T94" fmla="*/ 185272 w 1874"/>
                <a:gd name="T95" fmla="*/ 2053878 h 3562"/>
                <a:gd name="T96" fmla="*/ 196693 w 1874"/>
                <a:gd name="T97" fmla="*/ 2100874 h 3562"/>
                <a:gd name="T98" fmla="*/ 194155 w 1874"/>
                <a:gd name="T99" fmla="*/ 2113576 h 3562"/>
                <a:gd name="T100" fmla="*/ 233493 w 1874"/>
                <a:gd name="T101" fmla="*/ 2131359 h 3562"/>
                <a:gd name="T102" fmla="*/ 255066 w 1874"/>
                <a:gd name="T103" fmla="*/ 2141520 h 3562"/>
                <a:gd name="T104" fmla="*/ 314708 w 1874"/>
                <a:gd name="T105" fmla="*/ 2122467 h 3562"/>
                <a:gd name="T106" fmla="*/ 348971 w 1874"/>
                <a:gd name="T107" fmla="*/ 1890025 h 3562"/>
                <a:gd name="T108" fmla="*/ 453027 w 1874"/>
                <a:gd name="T109" fmla="*/ 1764277 h 3562"/>
                <a:gd name="T110" fmla="*/ 491097 w 1874"/>
                <a:gd name="T111" fmla="*/ 1635989 h 3562"/>
                <a:gd name="T112" fmla="*/ 629416 w 1874"/>
                <a:gd name="T113" fmla="*/ 1491189 h 3562"/>
                <a:gd name="T114" fmla="*/ 865447 w 1874"/>
                <a:gd name="T115" fmla="*/ 1158402 h 3562"/>
                <a:gd name="T116" fmla="*/ 1079905 w 1874"/>
                <a:gd name="T117" fmla="*/ 900556 h 3562"/>
                <a:gd name="T118" fmla="*/ 426379 w 1874"/>
                <a:gd name="T119" fmla="*/ 2222811 h 3562"/>
                <a:gd name="T120" fmla="*/ 184003 w 1874"/>
                <a:gd name="T121" fmla="*/ 1928130 h 3562"/>
                <a:gd name="T122" fmla="*/ 159892 w 1874"/>
                <a:gd name="T123" fmla="*/ 1994179 h 3562"/>
                <a:gd name="T124" fmla="*/ 175120 w 1874"/>
                <a:gd name="T125" fmla="*/ 2027204 h 356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74"/>
                <a:gd name="T190" fmla="*/ 0 h 3562"/>
                <a:gd name="T191" fmla="*/ 1874 w 1874"/>
                <a:gd name="T192" fmla="*/ 3562 h 356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74" h="3562">
                  <a:moveTo>
                    <a:pt x="282" y="3320"/>
                  </a:moveTo>
                  <a:lnTo>
                    <a:pt x="282" y="3320"/>
                  </a:lnTo>
                  <a:lnTo>
                    <a:pt x="286" y="3322"/>
                  </a:lnTo>
                  <a:lnTo>
                    <a:pt x="286" y="3320"/>
                  </a:lnTo>
                  <a:lnTo>
                    <a:pt x="284" y="3316"/>
                  </a:lnTo>
                  <a:lnTo>
                    <a:pt x="282" y="3312"/>
                  </a:lnTo>
                  <a:lnTo>
                    <a:pt x="278" y="3308"/>
                  </a:lnTo>
                  <a:lnTo>
                    <a:pt x="274" y="3308"/>
                  </a:lnTo>
                  <a:lnTo>
                    <a:pt x="274" y="3310"/>
                  </a:lnTo>
                  <a:lnTo>
                    <a:pt x="276" y="3314"/>
                  </a:lnTo>
                  <a:lnTo>
                    <a:pt x="276" y="3316"/>
                  </a:lnTo>
                  <a:lnTo>
                    <a:pt x="282" y="3320"/>
                  </a:lnTo>
                  <a:close/>
                  <a:moveTo>
                    <a:pt x="286" y="3348"/>
                  </a:moveTo>
                  <a:lnTo>
                    <a:pt x="286" y="3348"/>
                  </a:lnTo>
                  <a:lnTo>
                    <a:pt x="288" y="3348"/>
                  </a:lnTo>
                  <a:lnTo>
                    <a:pt x="290" y="3348"/>
                  </a:lnTo>
                  <a:lnTo>
                    <a:pt x="296" y="3344"/>
                  </a:lnTo>
                  <a:lnTo>
                    <a:pt x="294" y="3340"/>
                  </a:lnTo>
                  <a:lnTo>
                    <a:pt x="286" y="3334"/>
                  </a:lnTo>
                  <a:lnTo>
                    <a:pt x="282" y="3330"/>
                  </a:lnTo>
                  <a:lnTo>
                    <a:pt x="278" y="3330"/>
                  </a:lnTo>
                  <a:lnTo>
                    <a:pt x="276" y="3332"/>
                  </a:lnTo>
                  <a:lnTo>
                    <a:pt x="278" y="3334"/>
                  </a:lnTo>
                  <a:lnTo>
                    <a:pt x="278" y="3336"/>
                  </a:lnTo>
                  <a:lnTo>
                    <a:pt x="280" y="3336"/>
                  </a:lnTo>
                  <a:lnTo>
                    <a:pt x="282" y="3336"/>
                  </a:lnTo>
                  <a:lnTo>
                    <a:pt x="284" y="3336"/>
                  </a:lnTo>
                  <a:lnTo>
                    <a:pt x="284" y="3338"/>
                  </a:lnTo>
                  <a:lnTo>
                    <a:pt x="284" y="3340"/>
                  </a:lnTo>
                  <a:lnTo>
                    <a:pt x="284" y="3342"/>
                  </a:lnTo>
                  <a:lnTo>
                    <a:pt x="286" y="3348"/>
                  </a:lnTo>
                  <a:close/>
                  <a:moveTo>
                    <a:pt x="270" y="3286"/>
                  </a:moveTo>
                  <a:lnTo>
                    <a:pt x="270" y="3286"/>
                  </a:lnTo>
                  <a:lnTo>
                    <a:pt x="270" y="3280"/>
                  </a:lnTo>
                  <a:lnTo>
                    <a:pt x="268" y="3278"/>
                  </a:lnTo>
                  <a:lnTo>
                    <a:pt x="266" y="3278"/>
                  </a:lnTo>
                  <a:lnTo>
                    <a:pt x="262" y="3278"/>
                  </a:lnTo>
                  <a:lnTo>
                    <a:pt x="260" y="3280"/>
                  </a:lnTo>
                  <a:lnTo>
                    <a:pt x="256" y="3286"/>
                  </a:lnTo>
                  <a:lnTo>
                    <a:pt x="252" y="3292"/>
                  </a:lnTo>
                  <a:lnTo>
                    <a:pt x="254" y="3292"/>
                  </a:lnTo>
                  <a:lnTo>
                    <a:pt x="258" y="3292"/>
                  </a:lnTo>
                  <a:lnTo>
                    <a:pt x="262" y="3290"/>
                  </a:lnTo>
                  <a:lnTo>
                    <a:pt x="262" y="3288"/>
                  </a:lnTo>
                  <a:lnTo>
                    <a:pt x="264" y="3286"/>
                  </a:lnTo>
                  <a:lnTo>
                    <a:pt x="266" y="3286"/>
                  </a:lnTo>
                  <a:lnTo>
                    <a:pt x="266" y="3288"/>
                  </a:lnTo>
                  <a:lnTo>
                    <a:pt x="268" y="3290"/>
                  </a:lnTo>
                  <a:lnTo>
                    <a:pt x="270" y="3288"/>
                  </a:lnTo>
                  <a:lnTo>
                    <a:pt x="270" y="3286"/>
                  </a:lnTo>
                  <a:close/>
                  <a:moveTo>
                    <a:pt x="262" y="3260"/>
                  </a:moveTo>
                  <a:lnTo>
                    <a:pt x="262" y="3260"/>
                  </a:lnTo>
                  <a:lnTo>
                    <a:pt x="256" y="3260"/>
                  </a:lnTo>
                  <a:lnTo>
                    <a:pt x="254" y="3260"/>
                  </a:lnTo>
                  <a:lnTo>
                    <a:pt x="254" y="3262"/>
                  </a:lnTo>
                  <a:lnTo>
                    <a:pt x="256" y="3264"/>
                  </a:lnTo>
                  <a:lnTo>
                    <a:pt x="258" y="3266"/>
                  </a:lnTo>
                  <a:lnTo>
                    <a:pt x="260" y="3270"/>
                  </a:lnTo>
                  <a:lnTo>
                    <a:pt x="264" y="3272"/>
                  </a:lnTo>
                  <a:lnTo>
                    <a:pt x="266" y="3270"/>
                  </a:lnTo>
                  <a:lnTo>
                    <a:pt x="268" y="3268"/>
                  </a:lnTo>
                  <a:lnTo>
                    <a:pt x="270" y="3266"/>
                  </a:lnTo>
                  <a:lnTo>
                    <a:pt x="274" y="3266"/>
                  </a:lnTo>
                  <a:lnTo>
                    <a:pt x="276" y="3266"/>
                  </a:lnTo>
                  <a:lnTo>
                    <a:pt x="276" y="3258"/>
                  </a:lnTo>
                  <a:lnTo>
                    <a:pt x="274" y="3254"/>
                  </a:lnTo>
                  <a:lnTo>
                    <a:pt x="270" y="3250"/>
                  </a:lnTo>
                  <a:lnTo>
                    <a:pt x="268" y="3250"/>
                  </a:lnTo>
                  <a:lnTo>
                    <a:pt x="266" y="3252"/>
                  </a:lnTo>
                  <a:lnTo>
                    <a:pt x="268" y="3258"/>
                  </a:lnTo>
                  <a:lnTo>
                    <a:pt x="266" y="3260"/>
                  </a:lnTo>
                  <a:lnTo>
                    <a:pt x="262" y="3260"/>
                  </a:lnTo>
                  <a:close/>
                  <a:moveTo>
                    <a:pt x="236" y="3110"/>
                  </a:moveTo>
                  <a:lnTo>
                    <a:pt x="236" y="3110"/>
                  </a:lnTo>
                  <a:lnTo>
                    <a:pt x="238" y="3110"/>
                  </a:lnTo>
                  <a:lnTo>
                    <a:pt x="240" y="3112"/>
                  </a:lnTo>
                  <a:lnTo>
                    <a:pt x="240" y="3118"/>
                  </a:lnTo>
                  <a:lnTo>
                    <a:pt x="240" y="3126"/>
                  </a:lnTo>
                  <a:lnTo>
                    <a:pt x="242" y="3128"/>
                  </a:lnTo>
                  <a:lnTo>
                    <a:pt x="244" y="3128"/>
                  </a:lnTo>
                  <a:lnTo>
                    <a:pt x="248" y="3124"/>
                  </a:lnTo>
                  <a:lnTo>
                    <a:pt x="250" y="3120"/>
                  </a:lnTo>
                  <a:lnTo>
                    <a:pt x="244" y="3108"/>
                  </a:lnTo>
                  <a:lnTo>
                    <a:pt x="240" y="3102"/>
                  </a:lnTo>
                  <a:lnTo>
                    <a:pt x="240" y="3096"/>
                  </a:lnTo>
                  <a:lnTo>
                    <a:pt x="238" y="3090"/>
                  </a:lnTo>
                  <a:lnTo>
                    <a:pt x="236" y="3088"/>
                  </a:lnTo>
                  <a:lnTo>
                    <a:pt x="232" y="3090"/>
                  </a:lnTo>
                  <a:lnTo>
                    <a:pt x="230" y="3094"/>
                  </a:lnTo>
                  <a:lnTo>
                    <a:pt x="230" y="3098"/>
                  </a:lnTo>
                  <a:lnTo>
                    <a:pt x="232" y="3100"/>
                  </a:lnTo>
                  <a:lnTo>
                    <a:pt x="232" y="3104"/>
                  </a:lnTo>
                  <a:lnTo>
                    <a:pt x="230" y="3108"/>
                  </a:lnTo>
                  <a:lnTo>
                    <a:pt x="230" y="3110"/>
                  </a:lnTo>
                  <a:lnTo>
                    <a:pt x="232" y="3110"/>
                  </a:lnTo>
                  <a:lnTo>
                    <a:pt x="236" y="3110"/>
                  </a:lnTo>
                  <a:close/>
                  <a:moveTo>
                    <a:pt x="284" y="3278"/>
                  </a:moveTo>
                  <a:lnTo>
                    <a:pt x="284" y="3278"/>
                  </a:lnTo>
                  <a:lnTo>
                    <a:pt x="284" y="3276"/>
                  </a:lnTo>
                  <a:lnTo>
                    <a:pt x="284" y="3270"/>
                  </a:lnTo>
                  <a:lnTo>
                    <a:pt x="282" y="3264"/>
                  </a:lnTo>
                  <a:lnTo>
                    <a:pt x="280" y="3260"/>
                  </a:lnTo>
                  <a:lnTo>
                    <a:pt x="278" y="3264"/>
                  </a:lnTo>
                  <a:lnTo>
                    <a:pt x="278" y="3270"/>
                  </a:lnTo>
                  <a:lnTo>
                    <a:pt x="280" y="3276"/>
                  </a:lnTo>
                  <a:lnTo>
                    <a:pt x="282" y="3278"/>
                  </a:lnTo>
                  <a:lnTo>
                    <a:pt x="284" y="3278"/>
                  </a:lnTo>
                  <a:close/>
                  <a:moveTo>
                    <a:pt x="304" y="3362"/>
                  </a:moveTo>
                  <a:lnTo>
                    <a:pt x="304" y="3362"/>
                  </a:lnTo>
                  <a:lnTo>
                    <a:pt x="304" y="3358"/>
                  </a:lnTo>
                  <a:lnTo>
                    <a:pt x="304" y="3356"/>
                  </a:lnTo>
                  <a:lnTo>
                    <a:pt x="306" y="3354"/>
                  </a:lnTo>
                  <a:lnTo>
                    <a:pt x="304" y="3352"/>
                  </a:lnTo>
                  <a:lnTo>
                    <a:pt x="302" y="3350"/>
                  </a:lnTo>
                  <a:lnTo>
                    <a:pt x="300" y="3350"/>
                  </a:lnTo>
                  <a:lnTo>
                    <a:pt x="294" y="3356"/>
                  </a:lnTo>
                  <a:lnTo>
                    <a:pt x="292" y="3360"/>
                  </a:lnTo>
                  <a:lnTo>
                    <a:pt x="292" y="3362"/>
                  </a:lnTo>
                  <a:lnTo>
                    <a:pt x="296" y="3368"/>
                  </a:lnTo>
                  <a:lnTo>
                    <a:pt x="298" y="3368"/>
                  </a:lnTo>
                  <a:lnTo>
                    <a:pt x="300" y="3368"/>
                  </a:lnTo>
                  <a:lnTo>
                    <a:pt x="302" y="3366"/>
                  </a:lnTo>
                  <a:lnTo>
                    <a:pt x="304" y="3362"/>
                  </a:lnTo>
                  <a:close/>
                  <a:moveTo>
                    <a:pt x="262" y="3320"/>
                  </a:moveTo>
                  <a:lnTo>
                    <a:pt x="262" y="3320"/>
                  </a:lnTo>
                  <a:lnTo>
                    <a:pt x="260" y="3330"/>
                  </a:lnTo>
                  <a:lnTo>
                    <a:pt x="258" y="3332"/>
                  </a:lnTo>
                  <a:lnTo>
                    <a:pt x="260" y="3330"/>
                  </a:lnTo>
                  <a:lnTo>
                    <a:pt x="264" y="3328"/>
                  </a:lnTo>
                  <a:lnTo>
                    <a:pt x="268" y="3320"/>
                  </a:lnTo>
                  <a:lnTo>
                    <a:pt x="268" y="3316"/>
                  </a:lnTo>
                  <a:lnTo>
                    <a:pt x="266" y="3314"/>
                  </a:lnTo>
                  <a:lnTo>
                    <a:pt x="264" y="3314"/>
                  </a:lnTo>
                  <a:lnTo>
                    <a:pt x="262" y="3320"/>
                  </a:lnTo>
                  <a:close/>
                  <a:moveTo>
                    <a:pt x="276" y="3112"/>
                  </a:moveTo>
                  <a:lnTo>
                    <a:pt x="276" y="3112"/>
                  </a:lnTo>
                  <a:lnTo>
                    <a:pt x="286" y="3114"/>
                  </a:lnTo>
                  <a:lnTo>
                    <a:pt x="288" y="3114"/>
                  </a:lnTo>
                  <a:lnTo>
                    <a:pt x="290" y="3112"/>
                  </a:lnTo>
                  <a:lnTo>
                    <a:pt x="284" y="3110"/>
                  </a:lnTo>
                  <a:lnTo>
                    <a:pt x="276" y="3102"/>
                  </a:lnTo>
                  <a:lnTo>
                    <a:pt x="270" y="3096"/>
                  </a:lnTo>
                  <a:lnTo>
                    <a:pt x="270" y="3098"/>
                  </a:lnTo>
                  <a:lnTo>
                    <a:pt x="270" y="3102"/>
                  </a:lnTo>
                  <a:lnTo>
                    <a:pt x="272" y="3108"/>
                  </a:lnTo>
                  <a:lnTo>
                    <a:pt x="276" y="3112"/>
                  </a:lnTo>
                  <a:close/>
                  <a:moveTo>
                    <a:pt x="274" y="3270"/>
                  </a:moveTo>
                  <a:lnTo>
                    <a:pt x="274" y="3270"/>
                  </a:lnTo>
                  <a:lnTo>
                    <a:pt x="272" y="3270"/>
                  </a:lnTo>
                  <a:lnTo>
                    <a:pt x="270" y="3272"/>
                  </a:lnTo>
                  <a:lnTo>
                    <a:pt x="270" y="3274"/>
                  </a:lnTo>
                  <a:lnTo>
                    <a:pt x="272" y="3276"/>
                  </a:lnTo>
                  <a:lnTo>
                    <a:pt x="274" y="3278"/>
                  </a:lnTo>
                  <a:lnTo>
                    <a:pt x="276" y="3276"/>
                  </a:lnTo>
                  <a:lnTo>
                    <a:pt x="276" y="3272"/>
                  </a:lnTo>
                  <a:lnTo>
                    <a:pt x="274" y="3270"/>
                  </a:lnTo>
                  <a:close/>
                  <a:moveTo>
                    <a:pt x="246" y="3090"/>
                  </a:moveTo>
                  <a:lnTo>
                    <a:pt x="246" y="3090"/>
                  </a:lnTo>
                  <a:lnTo>
                    <a:pt x="250" y="3090"/>
                  </a:lnTo>
                  <a:lnTo>
                    <a:pt x="252" y="3090"/>
                  </a:lnTo>
                  <a:lnTo>
                    <a:pt x="254" y="3092"/>
                  </a:lnTo>
                  <a:lnTo>
                    <a:pt x="258" y="3092"/>
                  </a:lnTo>
                  <a:lnTo>
                    <a:pt x="260" y="3090"/>
                  </a:lnTo>
                  <a:lnTo>
                    <a:pt x="260" y="3084"/>
                  </a:lnTo>
                  <a:lnTo>
                    <a:pt x="260" y="3080"/>
                  </a:lnTo>
                  <a:lnTo>
                    <a:pt x="260" y="3076"/>
                  </a:lnTo>
                  <a:lnTo>
                    <a:pt x="258" y="3078"/>
                  </a:lnTo>
                  <a:lnTo>
                    <a:pt x="256" y="3080"/>
                  </a:lnTo>
                  <a:lnTo>
                    <a:pt x="252" y="3084"/>
                  </a:lnTo>
                  <a:lnTo>
                    <a:pt x="248" y="3086"/>
                  </a:lnTo>
                  <a:lnTo>
                    <a:pt x="244" y="3086"/>
                  </a:lnTo>
                  <a:lnTo>
                    <a:pt x="242" y="3088"/>
                  </a:lnTo>
                  <a:lnTo>
                    <a:pt x="242" y="3090"/>
                  </a:lnTo>
                  <a:lnTo>
                    <a:pt x="246" y="3090"/>
                  </a:lnTo>
                  <a:close/>
                  <a:moveTo>
                    <a:pt x="248" y="3074"/>
                  </a:moveTo>
                  <a:lnTo>
                    <a:pt x="248" y="3074"/>
                  </a:lnTo>
                  <a:lnTo>
                    <a:pt x="246" y="3072"/>
                  </a:lnTo>
                  <a:lnTo>
                    <a:pt x="244" y="3072"/>
                  </a:lnTo>
                  <a:lnTo>
                    <a:pt x="242" y="3074"/>
                  </a:lnTo>
                  <a:lnTo>
                    <a:pt x="244" y="3078"/>
                  </a:lnTo>
                  <a:lnTo>
                    <a:pt x="246" y="3080"/>
                  </a:lnTo>
                  <a:lnTo>
                    <a:pt x="248" y="3078"/>
                  </a:lnTo>
                  <a:lnTo>
                    <a:pt x="250" y="3076"/>
                  </a:lnTo>
                  <a:lnTo>
                    <a:pt x="248" y="3074"/>
                  </a:lnTo>
                  <a:close/>
                  <a:moveTo>
                    <a:pt x="252" y="3118"/>
                  </a:moveTo>
                  <a:lnTo>
                    <a:pt x="252" y="3118"/>
                  </a:lnTo>
                  <a:lnTo>
                    <a:pt x="252" y="3120"/>
                  </a:lnTo>
                  <a:lnTo>
                    <a:pt x="254" y="3122"/>
                  </a:lnTo>
                  <a:lnTo>
                    <a:pt x="266" y="3128"/>
                  </a:lnTo>
                  <a:lnTo>
                    <a:pt x="272" y="3128"/>
                  </a:lnTo>
                  <a:lnTo>
                    <a:pt x="274" y="3124"/>
                  </a:lnTo>
                  <a:lnTo>
                    <a:pt x="272" y="3124"/>
                  </a:lnTo>
                  <a:lnTo>
                    <a:pt x="270" y="3122"/>
                  </a:lnTo>
                  <a:lnTo>
                    <a:pt x="268" y="3118"/>
                  </a:lnTo>
                  <a:lnTo>
                    <a:pt x="270" y="3116"/>
                  </a:lnTo>
                  <a:lnTo>
                    <a:pt x="270" y="3114"/>
                  </a:lnTo>
                  <a:lnTo>
                    <a:pt x="270" y="3108"/>
                  </a:lnTo>
                  <a:lnTo>
                    <a:pt x="266" y="3100"/>
                  </a:lnTo>
                  <a:lnTo>
                    <a:pt x="264" y="3098"/>
                  </a:lnTo>
                  <a:lnTo>
                    <a:pt x="262" y="3102"/>
                  </a:lnTo>
                  <a:lnTo>
                    <a:pt x="262" y="3106"/>
                  </a:lnTo>
                  <a:lnTo>
                    <a:pt x="262" y="3108"/>
                  </a:lnTo>
                  <a:lnTo>
                    <a:pt x="262" y="3114"/>
                  </a:lnTo>
                  <a:lnTo>
                    <a:pt x="262" y="3116"/>
                  </a:lnTo>
                  <a:lnTo>
                    <a:pt x="260" y="3114"/>
                  </a:lnTo>
                  <a:lnTo>
                    <a:pt x="258" y="3114"/>
                  </a:lnTo>
                  <a:lnTo>
                    <a:pt x="252" y="3118"/>
                  </a:lnTo>
                  <a:close/>
                  <a:moveTo>
                    <a:pt x="246" y="3228"/>
                  </a:moveTo>
                  <a:lnTo>
                    <a:pt x="246" y="3228"/>
                  </a:lnTo>
                  <a:lnTo>
                    <a:pt x="248" y="3228"/>
                  </a:lnTo>
                  <a:lnTo>
                    <a:pt x="250" y="3228"/>
                  </a:lnTo>
                  <a:lnTo>
                    <a:pt x="252" y="3228"/>
                  </a:lnTo>
                  <a:lnTo>
                    <a:pt x="254" y="3228"/>
                  </a:lnTo>
                  <a:lnTo>
                    <a:pt x="256" y="3224"/>
                  </a:lnTo>
                  <a:lnTo>
                    <a:pt x="256" y="3222"/>
                  </a:lnTo>
                  <a:lnTo>
                    <a:pt x="258" y="3218"/>
                  </a:lnTo>
                  <a:lnTo>
                    <a:pt x="262" y="3216"/>
                  </a:lnTo>
                  <a:lnTo>
                    <a:pt x="262" y="3214"/>
                  </a:lnTo>
                  <a:lnTo>
                    <a:pt x="260" y="3214"/>
                  </a:lnTo>
                  <a:lnTo>
                    <a:pt x="256" y="3216"/>
                  </a:lnTo>
                  <a:lnTo>
                    <a:pt x="254" y="3216"/>
                  </a:lnTo>
                  <a:lnTo>
                    <a:pt x="254" y="3214"/>
                  </a:lnTo>
                  <a:lnTo>
                    <a:pt x="254" y="3212"/>
                  </a:lnTo>
                  <a:lnTo>
                    <a:pt x="252" y="3212"/>
                  </a:lnTo>
                  <a:lnTo>
                    <a:pt x="248" y="3210"/>
                  </a:lnTo>
                  <a:lnTo>
                    <a:pt x="246" y="3210"/>
                  </a:lnTo>
                  <a:lnTo>
                    <a:pt x="242" y="3208"/>
                  </a:lnTo>
                  <a:lnTo>
                    <a:pt x="238" y="3208"/>
                  </a:lnTo>
                  <a:lnTo>
                    <a:pt x="236" y="3208"/>
                  </a:lnTo>
                  <a:lnTo>
                    <a:pt x="236" y="3210"/>
                  </a:lnTo>
                  <a:lnTo>
                    <a:pt x="240" y="3212"/>
                  </a:lnTo>
                  <a:lnTo>
                    <a:pt x="244" y="3216"/>
                  </a:lnTo>
                  <a:lnTo>
                    <a:pt x="244" y="3218"/>
                  </a:lnTo>
                  <a:lnTo>
                    <a:pt x="242" y="3218"/>
                  </a:lnTo>
                  <a:lnTo>
                    <a:pt x="240" y="3218"/>
                  </a:lnTo>
                  <a:lnTo>
                    <a:pt x="236" y="3218"/>
                  </a:lnTo>
                  <a:lnTo>
                    <a:pt x="232" y="3222"/>
                  </a:lnTo>
                  <a:lnTo>
                    <a:pt x="232" y="3224"/>
                  </a:lnTo>
                  <a:lnTo>
                    <a:pt x="234" y="3226"/>
                  </a:lnTo>
                  <a:lnTo>
                    <a:pt x="238" y="3226"/>
                  </a:lnTo>
                  <a:lnTo>
                    <a:pt x="242" y="3226"/>
                  </a:lnTo>
                  <a:lnTo>
                    <a:pt x="240" y="3230"/>
                  </a:lnTo>
                  <a:lnTo>
                    <a:pt x="240" y="3232"/>
                  </a:lnTo>
                  <a:lnTo>
                    <a:pt x="242" y="3232"/>
                  </a:lnTo>
                  <a:lnTo>
                    <a:pt x="246" y="3228"/>
                  </a:lnTo>
                  <a:close/>
                  <a:moveTo>
                    <a:pt x="256" y="3248"/>
                  </a:moveTo>
                  <a:lnTo>
                    <a:pt x="256" y="3248"/>
                  </a:lnTo>
                  <a:lnTo>
                    <a:pt x="254" y="3250"/>
                  </a:lnTo>
                  <a:lnTo>
                    <a:pt x="254" y="3252"/>
                  </a:lnTo>
                  <a:lnTo>
                    <a:pt x="258" y="3256"/>
                  </a:lnTo>
                  <a:lnTo>
                    <a:pt x="262" y="3258"/>
                  </a:lnTo>
                  <a:lnTo>
                    <a:pt x="264" y="3258"/>
                  </a:lnTo>
                  <a:lnTo>
                    <a:pt x="264" y="3256"/>
                  </a:lnTo>
                  <a:lnTo>
                    <a:pt x="262" y="3252"/>
                  </a:lnTo>
                  <a:lnTo>
                    <a:pt x="260" y="3248"/>
                  </a:lnTo>
                  <a:lnTo>
                    <a:pt x="258" y="3248"/>
                  </a:lnTo>
                  <a:lnTo>
                    <a:pt x="256" y="3248"/>
                  </a:lnTo>
                  <a:close/>
                  <a:moveTo>
                    <a:pt x="254" y="3160"/>
                  </a:moveTo>
                  <a:lnTo>
                    <a:pt x="254" y="3160"/>
                  </a:lnTo>
                  <a:lnTo>
                    <a:pt x="256" y="3160"/>
                  </a:lnTo>
                  <a:lnTo>
                    <a:pt x="256" y="3154"/>
                  </a:lnTo>
                  <a:lnTo>
                    <a:pt x="254" y="3150"/>
                  </a:lnTo>
                  <a:lnTo>
                    <a:pt x="250" y="3150"/>
                  </a:lnTo>
                  <a:lnTo>
                    <a:pt x="246" y="3152"/>
                  </a:lnTo>
                  <a:lnTo>
                    <a:pt x="242" y="3154"/>
                  </a:lnTo>
                  <a:lnTo>
                    <a:pt x="242" y="3156"/>
                  </a:lnTo>
                  <a:lnTo>
                    <a:pt x="246" y="3156"/>
                  </a:lnTo>
                  <a:lnTo>
                    <a:pt x="248" y="3158"/>
                  </a:lnTo>
                  <a:lnTo>
                    <a:pt x="254" y="3160"/>
                  </a:lnTo>
                  <a:close/>
                  <a:moveTo>
                    <a:pt x="248" y="3146"/>
                  </a:moveTo>
                  <a:lnTo>
                    <a:pt x="248" y="3146"/>
                  </a:lnTo>
                  <a:lnTo>
                    <a:pt x="250" y="3144"/>
                  </a:lnTo>
                  <a:lnTo>
                    <a:pt x="250" y="3142"/>
                  </a:lnTo>
                  <a:lnTo>
                    <a:pt x="244" y="3136"/>
                  </a:lnTo>
                  <a:lnTo>
                    <a:pt x="242" y="3136"/>
                  </a:lnTo>
                  <a:lnTo>
                    <a:pt x="244" y="3142"/>
                  </a:lnTo>
                  <a:lnTo>
                    <a:pt x="246" y="3146"/>
                  </a:lnTo>
                  <a:lnTo>
                    <a:pt x="248" y="3146"/>
                  </a:lnTo>
                  <a:close/>
                  <a:moveTo>
                    <a:pt x="282" y="3246"/>
                  </a:moveTo>
                  <a:lnTo>
                    <a:pt x="282" y="3246"/>
                  </a:lnTo>
                  <a:lnTo>
                    <a:pt x="280" y="3242"/>
                  </a:lnTo>
                  <a:lnTo>
                    <a:pt x="278" y="3238"/>
                  </a:lnTo>
                  <a:lnTo>
                    <a:pt x="278" y="3236"/>
                  </a:lnTo>
                  <a:lnTo>
                    <a:pt x="276" y="3234"/>
                  </a:lnTo>
                  <a:lnTo>
                    <a:pt x="272" y="3232"/>
                  </a:lnTo>
                  <a:lnTo>
                    <a:pt x="270" y="3232"/>
                  </a:lnTo>
                  <a:lnTo>
                    <a:pt x="270" y="3234"/>
                  </a:lnTo>
                  <a:lnTo>
                    <a:pt x="272" y="3238"/>
                  </a:lnTo>
                  <a:lnTo>
                    <a:pt x="274" y="3240"/>
                  </a:lnTo>
                  <a:lnTo>
                    <a:pt x="272" y="3242"/>
                  </a:lnTo>
                  <a:lnTo>
                    <a:pt x="272" y="3244"/>
                  </a:lnTo>
                  <a:lnTo>
                    <a:pt x="276" y="3252"/>
                  </a:lnTo>
                  <a:lnTo>
                    <a:pt x="280" y="3256"/>
                  </a:lnTo>
                  <a:lnTo>
                    <a:pt x="284" y="3256"/>
                  </a:lnTo>
                  <a:lnTo>
                    <a:pt x="286" y="3254"/>
                  </a:lnTo>
                  <a:lnTo>
                    <a:pt x="286" y="3252"/>
                  </a:lnTo>
                  <a:lnTo>
                    <a:pt x="282" y="3246"/>
                  </a:lnTo>
                  <a:close/>
                  <a:moveTo>
                    <a:pt x="234" y="3130"/>
                  </a:moveTo>
                  <a:lnTo>
                    <a:pt x="234" y="3130"/>
                  </a:lnTo>
                  <a:lnTo>
                    <a:pt x="228" y="3130"/>
                  </a:lnTo>
                  <a:lnTo>
                    <a:pt x="226" y="3132"/>
                  </a:lnTo>
                  <a:lnTo>
                    <a:pt x="226" y="3134"/>
                  </a:lnTo>
                  <a:lnTo>
                    <a:pt x="228" y="3134"/>
                  </a:lnTo>
                  <a:lnTo>
                    <a:pt x="236" y="3132"/>
                  </a:lnTo>
                  <a:lnTo>
                    <a:pt x="240" y="3132"/>
                  </a:lnTo>
                  <a:lnTo>
                    <a:pt x="240" y="3130"/>
                  </a:lnTo>
                  <a:lnTo>
                    <a:pt x="238" y="3128"/>
                  </a:lnTo>
                  <a:lnTo>
                    <a:pt x="234" y="3130"/>
                  </a:lnTo>
                  <a:close/>
                  <a:moveTo>
                    <a:pt x="224" y="3120"/>
                  </a:moveTo>
                  <a:lnTo>
                    <a:pt x="224" y="3120"/>
                  </a:lnTo>
                  <a:lnTo>
                    <a:pt x="226" y="3124"/>
                  </a:lnTo>
                  <a:lnTo>
                    <a:pt x="228" y="3126"/>
                  </a:lnTo>
                  <a:lnTo>
                    <a:pt x="230" y="3128"/>
                  </a:lnTo>
                  <a:lnTo>
                    <a:pt x="236" y="3126"/>
                  </a:lnTo>
                  <a:lnTo>
                    <a:pt x="238" y="3124"/>
                  </a:lnTo>
                  <a:lnTo>
                    <a:pt x="236" y="3120"/>
                  </a:lnTo>
                  <a:lnTo>
                    <a:pt x="236" y="3116"/>
                  </a:lnTo>
                  <a:lnTo>
                    <a:pt x="234" y="3114"/>
                  </a:lnTo>
                  <a:lnTo>
                    <a:pt x="230" y="3116"/>
                  </a:lnTo>
                  <a:lnTo>
                    <a:pt x="228" y="3116"/>
                  </a:lnTo>
                  <a:lnTo>
                    <a:pt x="226" y="3116"/>
                  </a:lnTo>
                  <a:lnTo>
                    <a:pt x="224" y="3120"/>
                  </a:lnTo>
                  <a:close/>
                  <a:moveTo>
                    <a:pt x="232" y="3160"/>
                  </a:moveTo>
                  <a:lnTo>
                    <a:pt x="232" y="3160"/>
                  </a:lnTo>
                  <a:lnTo>
                    <a:pt x="234" y="3158"/>
                  </a:lnTo>
                  <a:lnTo>
                    <a:pt x="236" y="3156"/>
                  </a:lnTo>
                  <a:lnTo>
                    <a:pt x="238" y="3154"/>
                  </a:lnTo>
                  <a:lnTo>
                    <a:pt x="238" y="3152"/>
                  </a:lnTo>
                  <a:lnTo>
                    <a:pt x="236" y="3148"/>
                  </a:lnTo>
                  <a:lnTo>
                    <a:pt x="236" y="3150"/>
                  </a:lnTo>
                  <a:lnTo>
                    <a:pt x="234" y="3152"/>
                  </a:lnTo>
                  <a:lnTo>
                    <a:pt x="230" y="3154"/>
                  </a:lnTo>
                  <a:lnTo>
                    <a:pt x="228" y="3156"/>
                  </a:lnTo>
                  <a:lnTo>
                    <a:pt x="226" y="3158"/>
                  </a:lnTo>
                  <a:lnTo>
                    <a:pt x="226" y="3160"/>
                  </a:lnTo>
                  <a:lnTo>
                    <a:pt x="228" y="3162"/>
                  </a:lnTo>
                  <a:lnTo>
                    <a:pt x="232" y="3164"/>
                  </a:lnTo>
                  <a:lnTo>
                    <a:pt x="232" y="3160"/>
                  </a:lnTo>
                  <a:close/>
                  <a:moveTo>
                    <a:pt x="290" y="3322"/>
                  </a:moveTo>
                  <a:lnTo>
                    <a:pt x="290" y="3322"/>
                  </a:lnTo>
                  <a:lnTo>
                    <a:pt x="290" y="3324"/>
                  </a:lnTo>
                  <a:lnTo>
                    <a:pt x="292" y="3326"/>
                  </a:lnTo>
                  <a:lnTo>
                    <a:pt x="300" y="3334"/>
                  </a:lnTo>
                  <a:lnTo>
                    <a:pt x="304" y="3338"/>
                  </a:lnTo>
                  <a:lnTo>
                    <a:pt x="302" y="3332"/>
                  </a:lnTo>
                  <a:lnTo>
                    <a:pt x="296" y="3324"/>
                  </a:lnTo>
                  <a:lnTo>
                    <a:pt x="292" y="3322"/>
                  </a:lnTo>
                  <a:lnTo>
                    <a:pt x="290" y="3322"/>
                  </a:lnTo>
                  <a:close/>
                  <a:moveTo>
                    <a:pt x="246" y="3094"/>
                  </a:moveTo>
                  <a:lnTo>
                    <a:pt x="246" y="3094"/>
                  </a:lnTo>
                  <a:lnTo>
                    <a:pt x="244" y="3094"/>
                  </a:lnTo>
                  <a:lnTo>
                    <a:pt x="242" y="3094"/>
                  </a:lnTo>
                  <a:lnTo>
                    <a:pt x="242" y="3098"/>
                  </a:lnTo>
                  <a:lnTo>
                    <a:pt x="250" y="3112"/>
                  </a:lnTo>
                  <a:lnTo>
                    <a:pt x="252" y="3114"/>
                  </a:lnTo>
                  <a:lnTo>
                    <a:pt x="254" y="3112"/>
                  </a:lnTo>
                  <a:lnTo>
                    <a:pt x="256" y="3110"/>
                  </a:lnTo>
                  <a:lnTo>
                    <a:pt x="258" y="3110"/>
                  </a:lnTo>
                  <a:lnTo>
                    <a:pt x="258" y="3108"/>
                  </a:lnTo>
                  <a:lnTo>
                    <a:pt x="258" y="3102"/>
                  </a:lnTo>
                  <a:lnTo>
                    <a:pt x="258" y="3098"/>
                  </a:lnTo>
                  <a:lnTo>
                    <a:pt x="256" y="3096"/>
                  </a:lnTo>
                  <a:lnTo>
                    <a:pt x="246" y="3094"/>
                  </a:lnTo>
                  <a:close/>
                  <a:moveTo>
                    <a:pt x="294" y="3282"/>
                  </a:moveTo>
                  <a:lnTo>
                    <a:pt x="294" y="3282"/>
                  </a:lnTo>
                  <a:lnTo>
                    <a:pt x="294" y="3280"/>
                  </a:lnTo>
                  <a:lnTo>
                    <a:pt x="290" y="3278"/>
                  </a:lnTo>
                  <a:lnTo>
                    <a:pt x="288" y="3280"/>
                  </a:lnTo>
                  <a:lnTo>
                    <a:pt x="288" y="3284"/>
                  </a:lnTo>
                  <a:lnTo>
                    <a:pt x="290" y="3286"/>
                  </a:lnTo>
                  <a:lnTo>
                    <a:pt x="292" y="3286"/>
                  </a:lnTo>
                  <a:lnTo>
                    <a:pt x="294" y="3284"/>
                  </a:lnTo>
                  <a:lnTo>
                    <a:pt x="294" y="3282"/>
                  </a:lnTo>
                  <a:close/>
                  <a:moveTo>
                    <a:pt x="284" y="3284"/>
                  </a:moveTo>
                  <a:lnTo>
                    <a:pt x="284" y="3284"/>
                  </a:lnTo>
                  <a:lnTo>
                    <a:pt x="282" y="3284"/>
                  </a:lnTo>
                  <a:lnTo>
                    <a:pt x="282" y="3286"/>
                  </a:lnTo>
                  <a:lnTo>
                    <a:pt x="282" y="3288"/>
                  </a:lnTo>
                  <a:lnTo>
                    <a:pt x="286" y="3292"/>
                  </a:lnTo>
                  <a:lnTo>
                    <a:pt x="286" y="3288"/>
                  </a:lnTo>
                  <a:lnTo>
                    <a:pt x="286" y="3286"/>
                  </a:lnTo>
                  <a:lnTo>
                    <a:pt x="284" y="3284"/>
                  </a:lnTo>
                  <a:close/>
                  <a:moveTo>
                    <a:pt x="294" y="3312"/>
                  </a:moveTo>
                  <a:lnTo>
                    <a:pt x="294" y="3312"/>
                  </a:lnTo>
                  <a:lnTo>
                    <a:pt x="294" y="3310"/>
                  </a:lnTo>
                  <a:lnTo>
                    <a:pt x="294" y="3306"/>
                  </a:lnTo>
                  <a:lnTo>
                    <a:pt x="290" y="3298"/>
                  </a:lnTo>
                  <a:lnTo>
                    <a:pt x="288" y="3296"/>
                  </a:lnTo>
                  <a:lnTo>
                    <a:pt x="288" y="3298"/>
                  </a:lnTo>
                  <a:lnTo>
                    <a:pt x="288" y="3302"/>
                  </a:lnTo>
                  <a:lnTo>
                    <a:pt x="286" y="3306"/>
                  </a:lnTo>
                  <a:lnTo>
                    <a:pt x="284" y="3308"/>
                  </a:lnTo>
                  <a:lnTo>
                    <a:pt x="286" y="3312"/>
                  </a:lnTo>
                  <a:lnTo>
                    <a:pt x="290" y="3314"/>
                  </a:lnTo>
                  <a:lnTo>
                    <a:pt x="294" y="3312"/>
                  </a:lnTo>
                  <a:close/>
                  <a:moveTo>
                    <a:pt x="240" y="3200"/>
                  </a:moveTo>
                  <a:lnTo>
                    <a:pt x="240" y="3200"/>
                  </a:lnTo>
                  <a:lnTo>
                    <a:pt x="242" y="3200"/>
                  </a:lnTo>
                  <a:lnTo>
                    <a:pt x="242" y="3192"/>
                  </a:lnTo>
                  <a:lnTo>
                    <a:pt x="238" y="3184"/>
                  </a:lnTo>
                  <a:lnTo>
                    <a:pt x="236" y="3184"/>
                  </a:lnTo>
                  <a:lnTo>
                    <a:pt x="234" y="3184"/>
                  </a:lnTo>
                  <a:lnTo>
                    <a:pt x="230" y="3184"/>
                  </a:lnTo>
                  <a:lnTo>
                    <a:pt x="230" y="3186"/>
                  </a:lnTo>
                  <a:lnTo>
                    <a:pt x="230" y="3196"/>
                  </a:lnTo>
                  <a:lnTo>
                    <a:pt x="236" y="3194"/>
                  </a:lnTo>
                  <a:lnTo>
                    <a:pt x="238" y="3192"/>
                  </a:lnTo>
                  <a:lnTo>
                    <a:pt x="238" y="3194"/>
                  </a:lnTo>
                  <a:lnTo>
                    <a:pt x="238" y="3198"/>
                  </a:lnTo>
                  <a:lnTo>
                    <a:pt x="240" y="3200"/>
                  </a:lnTo>
                  <a:close/>
                  <a:moveTo>
                    <a:pt x="236" y="3146"/>
                  </a:moveTo>
                  <a:lnTo>
                    <a:pt x="236" y="3146"/>
                  </a:lnTo>
                  <a:lnTo>
                    <a:pt x="238" y="3146"/>
                  </a:lnTo>
                  <a:lnTo>
                    <a:pt x="240" y="3148"/>
                  </a:lnTo>
                  <a:lnTo>
                    <a:pt x="242" y="3148"/>
                  </a:lnTo>
                  <a:lnTo>
                    <a:pt x="242" y="3146"/>
                  </a:lnTo>
                  <a:lnTo>
                    <a:pt x="240" y="3142"/>
                  </a:lnTo>
                  <a:lnTo>
                    <a:pt x="236" y="3138"/>
                  </a:lnTo>
                  <a:lnTo>
                    <a:pt x="232" y="3138"/>
                  </a:lnTo>
                  <a:lnTo>
                    <a:pt x="228" y="3138"/>
                  </a:lnTo>
                  <a:lnTo>
                    <a:pt x="224" y="3140"/>
                  </a:lnTo>
                  <a:lnTo>
                    <a:pt x="224" y="3144"/>
                  </a:lnTo>
                  <a:lnTo>
                    <a:pt x="226" y="3146"/>
                  </a:lnTo>
                  <a:lnTo>
                    <a:pt x="230" y="3146"/>
                  </a:lnTo>
                  <a:lnTo>
                    <a:pt x="236" y="3146"/>
                  </a:lnTo>
                  <a:close/>
                  <a:moveTo>
                    <a:pt x="292" y="2928"/>
                  </a:moveTo>
                  <a:lnTo>
                    <a:pt x="292" y="2928"/>
                  </a:lnTo>
                  <a:lnTo>
                    <a:pt x="294" y="2930"/>
                  </a:lnTo>
                  <a:lnTo>
                    <a:pt x="296" y="2930"/>
                  </a:lnTo>
                  <a:lnTo>
                    <a:pt x="298" y="2930"/>
                  </a:lnTo>
                  <a:lnTo>
                    <a:pt x="302" y="2930"/>
                  </a:lnTo>
                  <a:lnTo>
                    <a:pt x="304" y="2930"/>
                  </a:lnTo>
                  <a:lnTo>
                    <a:pt x="306" y="2928"/>
                  </a:lnTo>
                  <a:lnTo>
                    <a:pt x="302" y="2918"/>
                  </a:lnTo>
                  <a:lnTo>
                    <a:pt x="300" y="2916"/>
                  </a:lnTo>
                  <a:lnTo>
                    <a:pt x="298" y="2916"/>
                  </a:lnTo>
                  <a:lnTo>
                    <a:pt x="294" y="2918"/>
                  </a:lnTo>
                  <a:lnTo>
                    <a:pt x="290" y="2918"/>
                  </a:lnTo>
                  <a:lnTo>
                    <a:pt x="286" y="2918"/>
                  </a:lnTo>
                  <a:lnTo>
                    <a:pt x="284" y="2920"/>
                  </a:lnTo>
                  <a:lnTo>
                    <a:pt x="284" y="2922"/>
                  </a:lnTo>
                  <a:lnTo>
                    <a:pt x="288" y="2924"/>
                  </a:lnTo>
                  <a:lnTo>
                    <a:pt x="290" y="2924"/>
                  </a:lnTo>
                  <a:lnTo>
                    <a:pt x="292" y="2928"/>
                  </a:lnTo>
                  <a:close/>
                  <a:moveTo>
                    <a:pt x="294" y="2944"/>
                  </a:moveTo>
                  <a:lnTo>
                    <a:pt x="294" y="2944"/>
                  </a:lnTo>
                  <a:lnTo>
                    <a:pt x="296" y="2944"/>
                  </a:lnTo>
                  <a:lnTo>
                    <a:pt x="298" y="2942"/>
                  </a:lnTo>
                  <a:lnTo>
                    <a:pt x="300" y="2940"/>
                  </a:lnTo>
                  <a:lnTo>
                    <a:pt x="298" y="2940"/>
                  </a:lnTo>
                  <a:lnTo>
                    <a:pt x="292" y="2940"/>
                  </a:lnTo>
                  <a:lnTo>
                    <a:pt x="290" y="2940"/>
                  </a:lnTo>
                  <a:lnTo>
                    <a:pt x="290" y="2942"/>
                  </a:lnTo>
                  <a:lnTo>
                    <a:pt x="288" y="2944"/>
                  </a:lnTo>
                  <a:lnTo>
                    <a:pt x="290" y="2944"/>
                  </a:lnTo>
                  <a:lnTo>
                    <a:pt x="294" y="2944"/>
                  </a:lnTo>
                  <a:close/>
                  <a:moveTo>
                    <a:pt x="278" y="2914"/>
                  </a:moveTo>
                  <a:lnTo>
                    <a:pt x="278" y="2914"/>
                  </a:lnTo>
                  <a:lnTo>
                    <a:pt x="278" y="2916"/>
                  </a:lnTo>
                  <a:lnTo>
                    <a:pt x="282" y="2916"/>
                  </a:lnTo>
                  <a:lnTo>
                    <a:pt x="286" y="2914"/>
                  </a:lnTo>
                  <a:lnTo>
                    <a:pt x="292" y="2914"/>
                  </a:lnTo>
                  <a:lnTo>
                    <a:pt x="294" y="2914"/>
                  </a:lnTo>
                  <a:lnTo>
                    <a:pt x="294" y="2912"/>
                  </a:lnTo>
                  <a:lnTo>
                    <a:pt x="288" y="2908"/>
                  </a:lnTo>
                  <a:lnTo>
                    <a:pt x="286" y="2908"/>
                  </a:lnTo>
                  <a:lnTo>
                    <a:pt x="282" y="2908"/>
                  </a:lnTo>
                  <a:lnTo>
                    <a:pt x="278" y="2914"/>
                  </a:lnTo>
                  <a:close/>
                  <a:moveTo>
                    <a:pt x="276" y="2888"/>
                  </a:moveTo>
                  <a:lnTo>
                    <a:pt x="276" y="2888"/>
                  </a:lnTo>
                  <a:lnTo>
                    <a:pt x="280" y="2886"/>
                  </a:lnTo>
                  <a:lnTo>
                    <a:pt x="282" y="2884"/>
                  </a:lnTo>
                  <a:lnTo>
                    <a:pt x="282" y="2882"/>
                  </a:lnTo>
                  <a:lnTo>
                    <a:pt x="282" y="2880"/>
                  </a:lnTo>
                  <a:lnTo>
                    <a:pt x="278" y="2880"/>
                  </a:lnTo>
                  <a:lnTo>
                    <a:pt x="272" y="2884"/>
                  </a:lnTo>
                  <a:lnTo>
                    <a:pt x="270" y="2884"/>
                  </a:lnTo>
                  <a:lnTo>
                    <a:pt x="270" y="2886"/>
                  </a:lnTo>
                  <a:lnTo>
                    <a:pt x="272" y="2888"/>
                  </a:lnTo>
                  <a:lnTo>
                    <a:pt x="276" y="2888"/>
                  </a:lnTo>
                  <a:close/>
                  <a:moveTo>
                    <a:pt x="282" y="2902"/>
                  </a:moveTo>
                  <a:lnTo>
                    <a:pt x="282" y="2902"/>
                  </a:lnTo>
                  <a:lnTo>
                    <a:pt x="284" y="2902"/>
                  </a:lnTo>
                  <a:lnTo>
                    <a:pt x="290" y="2900"/>
                  </a:lnTo>
                  <a:lnTo>
                    <a:pt x="296" y="2898"/>
                  </a:lnTo>
                  <a:lnTo>
                    <a:pt x="296" y="2896"/>
                  </a:lnTo>
                  <a:lnTo>
                    <a:pt x="294" y="2894"/>
                  </a:lnTo>
                  <a:lnTo>
                    <a:pt x="292" y="2894"/>
                  </a:lnTo>
                  <a:lnTo>
                    <a:pt x="282" y="2894"/>
                  </a:lnTo>
                  <a:lnTo>
                    <a:pt x="276" y="2894"/>
                  </a:lnTo>
                  <a:lnTo>
                    <a:pt x="276" y="2896"/>
                  </a:lnTo>
                  <a:lnTo>
                    <a:pt x="278" y="2900"/>
                  </a:lnTo>
                  <a:lnTo>
                    <a:pt x="282" y="2902"/>
                  </a:lnTo>
                  <a:close/>
                  <a:moveTo>
                    <a:pt x="296" y="2950"/>
                  </a:moveTo>
                  <a:lnTo>
                    <a:pt x="296" y="2950"/>
                  </a:lnTo>
                  <a:lnTo>
                    <a:pt x="294" y="2948"/>
                  </a:lnTo>
                  <a:lnTo>
                    <a:pt x="290" y="2950"/>
                  </a:lnTo>
                  <a:lnTo>
                    <a:pt x="290" y="2952"/>
                  </a:lnTo>
                  <a:lnTo>
                    <a:pt x="290" y="2954"/>
                  </a:lnTo>
                  <a:lnTo>
                    <a:pt x="292" y="2956"/>
                  </a:lnTo>
                  <a:lnTo>
                    <a:pt x="294" y="2954"/>
                  </a:lnTo>
                  <a:lnTo>
                    <a:pt x="296" y="2952"/>
                  </a:lnTo>
                  <a:lnTo>
                    <a:pt x="296" y="2950"/>
                  </a:lnTo>
                  <a:close/>
                  <a:moveTo>
                    <a:pt x="302" y="2888"/>
                  </a:moveTo>
                  <a:lnTo>
                    <a:pt x="302" y="2888"/>
                  </a:lnTo>
                  <a:lnTo>
                    <a:pt x="300" y="2890"/>
                  </a:lnTo>
                  <a:lnTo>
                    <a:pt x="300" y="2892"/>
                  </a:lnTo>
                  <a:lnTo>
                    <a:pt x="302" y="2898"/>
                  </a:lnTo>
                  <a:lnTo>
                    <a:pt x="304" y="2900"/>
                  </a:lnTo>
                  <a:lnTo>
                    <a:pt x="308" y="2898"/>
                  </a:lnTo>
                  <a:lnTo>
                    <a:pt x="310" y="2896"/>
                  </a:lnTo>
                  <a:lnTo>
                    <a:pt x="308" y="2894"/>
                  </a:lnTo>
                  <a:lnTo>
                    <a:pt x="306" y="2890"/>
                  </a:lnTo>
                  <a:lnTo>
                    <a:pt x="302" y="2888"/>
                  </a:lnTo>
                  <a:close/>
                  <a:moveTo>
                    <a:pt x="304" y="2856"/>
                  </a:moveTo>
                  <a:lnTo>
                    <a:pt x="304" y="2856"/>
                  </a:lnTo>
                  <a:lnTo>
                    <a:pt x="304" y="2858"/>
                  </a:lnTo>
                  <a:lnTo>
                    <a:pt x="304" y="2862"/>
                  </a:lnTo>
                  <a:lnTo>
                    <a:pt x="306" y="2864"/>
                  </a:lnTo>
                  <a:lnTo>
                    <a:pt x="308" y="2864"/>
                  </a:lnTo>
                  <a:lnTo>
                    <a:pt x="310" y="2862"/>
                  </a:lnTo>
                  <a:lnTo>
                    <a:pt x="308" y="2860"/>
                  </a:lnTo>
                  <a:lnTo>
                    <a:pt x="306" y="2856"/>
                  </a:lnTo>
                  <a:lnTo>
                    <a:pt x="304" y="2856"/>
                  </a:lnTo>
                  <a:close/>
                  <a:moveTo>
                    <a:pt x="300" y="2968"/>
                  </a:moveTo>
                  <a:lnTo>
                    <a:pt x="300" y="2968"/>
                  </a:lnTo>
                  <a:lnTo>
                    <a:pt x="304" y="2964"/>
                  </a:lnTo>
                  <a:lnTo>
                    <a:pt x="304" y="2962"/>
                  </a:lnTo>
                  <a:lnTo>
                    <a:pt x="304" y="2960"/>
                  </a:lnTo>
                  <a:lnTo>
                    <a:pt x="300" y="2962"/>
                  </a:lnTo>
                  <a:lnTo>
                    <a:pt x="298" y="2964"/>
                  </a:lnTo>
                  <a:lnTo>
                    <a:pt x="296" y="2968"/>
                  </a:lnTo>
                  <a:lnTo>
                    <a:pt x="296" y="2970"/>
                  </a:lnTo>
                  <a:lnTo>
                    <a:pt x="300" y="2968"/>
                  </a:lnTo>
                  <a:close/>
                  <a:moveTo>
                    <a:pt x="290" y="2888"/>
                  </a:moveTo>
                  <a:lnTo>
                    <a:pt x="290" y="2888"/>
                  </a:lnTo>
                  <a:lnTo>
                    <a:pt x="294" y="2888"/>
                  </a:lnTo>
                  <a:lnTo>
                    <a:pt x="294" y="2886"/>
                  </a:lnTo>
                  <a:lnTo>
                    <a:pt x="292" y="2884"/>
                  </a:lnTo>
                  <a:lnTo>
                    <a:pt x="290" y="2884"/>
                  </a:lnTo>
                  <a:lnTo>
                    <a:pt x="282" y="2888"/>
                  </a:lnTo>
                  <a:lnTo>
                    <a:pt x="280" y="2888"/>
                  </a:lnTo>
                  <a:lnTo>
                    <a:pt x="282" y="2890"/>
                  </a:lnTo>
                  <a:lnTo>
                    <a:pt x="290" y="2888"/>
                  </a:lnTo>
                  <a:close/>
                  <a:moveTo>
                    <a:pt x="250" y="2970"/>
                  </a:moveTo>
                  <a:lnTo>
                    <a:pt x="250" y="2970"/>
                  </a:lnTo>
                  <a:lnTo>
                    <a:pt x="250" y="2972"/>
                  </a:lnTo>
                  <a:lnTo>
                    <a:pt x="248" y="2974"/>
                  </a:lnTo>
                  <a:lnTo>
                    <a:pt x="248" y="2978"/>
                  </a:lnTo>
                  <a:lnTo>
                    <a:pt x="252" y="2980"/>
                  </a:lnTo>
                  <a:lnTo>
                    <a:pt x="254" y="2980"/>
                  </a:lnTo>
                  <a:lnTo>
                    <a:pt x="260" y="2974"/>
                  </a:lnTo>
                  <a:lnTo>
                    <a:pt x="262" y="2972"/>
                  </a:lnTo>
                  <a:lnTo>
                    <a:pt x="262" y="2968"/>
                  </a:lnTo>
                  <a:lnTo>
                    <a:pt x="262" y="2964"/>
                  </a:lnTo>
                  <a:lnTo>
                    <a:pt x="260" y="2962"/>
                  </a:lnTo>
                  <a:lnTo>
                    <a:pt x="256" y="2962"/>
                  </a:lnTo>
                  <a:lnTo>
                    <a:pt x="250" y="2966"/>
                  </a:lnTo>
                  <a:lnTo>
                    <a:pt x="248" y="2966"/>
                  </a:lnTo>
                  <a:lnTo>
                    <a:pt x="250" y="2970"/>
                  </a:lnTo>
                  <a:close/>
                  <a:moveTo>
                    <a:pt x="540" y="3562"/>
                  </a:moveTo>
                  <a:lnTo>
                    <a:pt x="540" y="3562"/>
                  </a:lnTo>
                  <a:lnTo>
                    <a:pt x="544" y="3562"/>
                  </a:lnTo>
                  <a:lnTo>
                    <a:pt x="548" y="3562"/>
                  </a:lnTo>
                  <a:lnTo>
                    <a:pt x="554" y="3560"/>
                  </a:lnTo>
                  <a:lnTo>
                    <a:pt x="554" y="3558"/>
                  </a:lnTo>
                  <a:lnTo>
                    <a:pt x="552" y="3558"/>
                  </a:lnTo>
                  <a:lnTo>
                    <a:pt x="546" y="3558"/>
                  </a:lnTo>
                  <a:lnTo>
                    <a:pt x="542" y="3560"/>
                  </a:lnTo>
                  <a:lnTo>
                    <a:pt x="540" y="3562"/>
                  </a:lnTo>
                  <a:close/>
                  <a:moveTo>
                    <a:pt x="560" y="3548"/>
                  </a:moveTo>
                  <a:lnTo>
                    <a:pt x="560" y="3548"/>
                  </a:lnTo>
                  <a:lnTo>
                    <a:pt x="558" y="3550"/>
                  </a:lnTo>
                  <a:lnTo>
                    <a:pt x="556" y="3548"/>
                  </a:lnTo>
                  <a:lnTo>
                    <a:pt x="554" y="3550"/>
                  </a:lnTo>
                  <a:lnTo>
                    <a:pt x="552" y="3552"/>
                  </a:lnTo>
                  <a:lnTo>
                    <a:pt x="554" y="3554"/>
                  </a:lnTo>
                  <a:lnTo>
                    <a:pt x="560" y="3556"/>
                  </a:lnTo>
                  <a:lnTo>
                    <a:pt x="562" y="3556"/>
                  </a:lnTo>
                  <a:lnTo>
                    <a:pt x="564" y="3556"/>
                  </a:lnTo>
                  <a:lnTo>
                    <a:pt x="562" y="3548"/>
                  </a:lnTo>
                  <a:lnTo>
                    <a:pt x="560" y="3544"/>
                  </a:lnTo>
                  <a:lnTo>
                    <a:pt x="560" y="3546"/>
                  </a:lnTo>
                  <a:lnTo>
                    <a:pt x="560" y="3548"/>
                  </a:lnTo>
                  <a:close/>
                  <a:moveTo>
                    <a:pt x="556" y="3506"/>
                  </a:moveTo>
                  <a:lnTo>
                    <a:pt x="556" y="3506"/>
                  </a:lnTo>
                  <a:lnTo>
                    <a:pt x="530" y="3504"/>
                  </a:lnTo>
                  <a:lnTo>
                    <a:pt x="522" y="3504"/>
                  </a:lnTo>
                  <a:lnTo>
                    <a:pt x="522" y="3506"/>
                  </a:lnTo>
                  <a:lnTo>
                    <a:pt x="526" y="3508"/>
                  </a:lnTo>
                  <a:lnTo>
                    <a:pt x="528" y="3510"/>
                  </a:lnTo>
                  <a:lnTo>
                    <a:pt x="528" y="3512"/>
                  </a:lnTo>
                  <a:lnTo>
                    <a:pt x="528" y="3516"/>
                  </a:lnTo>
                  <a:lnTo>
                    <a:pt x="530" y="3522"/>
                  </a:lnTo>
                  <a:lnTo>
                    <a:pt x="532" y="3524"/>
                  </a:lnTo>
                  <a:lnTo>
                    <a:pt x="536" y="3524"/>
                  </a:lnTo>
                  <a:lnTo>
                    <a:pt x="546" y="3524"/>
                  </a:lnTo>
                  <a:lnTo>
                    <a:pt x="550" y="3524"/>
                  </a:lnTo>
                  <a:lnTo>
                    <a:pt x="550" y="3522"/>
                  </a:lnTo>
                  <a:lnTo>
                    <a:pt x="550" y="3520"/>
                  </a:lnTo>
                  <a:lnTo>
                    <a:pt x="554" y="3518"/>
                  </a:lnTo>
                  <a:lnTo>
                    <a:pt x="556" y="3520"/>
                  </a:lnTo>
                  <a:lnTo>
                    <a:pt x="558" y="3524"/>
                  </a:lnTo>
                  <a:lnTo>
                    <a:pt x="558" y="3526"/>
                  </a:lnTo>
                  <a:lnTo>
                    <a:pt x="562" y="3528"/>
                  </a:lnTo>
                  <a:lnTo>
                    <a:pt x="566" y="3526"/>
                  </a:lnTo>
                  <a:lnTo>
                    <a:pt x="568" y="3524"/>
                  </a:lnTo>
                  <a:lnTo>
                    <a:pt x="572" y="3514"/>
                  </a:lnTo>
                  <a:lnTo>
                    <a:pt x="572" y="3512"/>
                  </a:lnTo>
                  <a:lnTo>
                    <a:pt x="572" y="3508"/>
                  </a:lnTo>
                  <a:lnTo>
                    <a:pt x="568" y="3506"/>
                  </a:lnTo>
                  <a:lnTo>
                    <a:pt x="562" y="3506"/>
                  </a:lnTo>
                  <a:lnTo>
                    <a:pt x="556" y="3506"/>
                  </a:lnTo>
                  <a:close/>
                  <a:moveTo>
                    <a:pt x="522" y="3532"/>
                  </a:moveTo>
                  <a:lnTo>
                    <a:pt x="522" y="3532"/>
                  </a:lnTo>
                  <a:lnTo>
                    <a:pt x="516" y="3528"/>
                  </a:lnTo>
                  <a:lnTo>
                    <a:pt x="520" y="3528"/>
                  </a:lnTo>
                  <a:lnTo>
                    <a:pt x="524" y="3526"/>
                  </a:lnTo>
                  <a:lnTo>
                    <a:pt x="524" y="3524"/>
                  </a:lnTo>
                  <a:lnTo>
                    <a:pt x="518" y="3520"/>
                  </a:lnTo>
                  <a:lnTo>
                    <a:pt x="510" y="3520"/>
                  </a:lnTo>
                  <a:lnTo>
                    <a:pt x="506" y="3520"/>
                  </a:lnTo>
                  <a:lnTo>
                    <a:pt x="506" y="3518"/>
                  </a:lnTo>
                  <a:lnTo>
                    <a:pt x="514" y="3516"/>
                  </a:lnTo>
                  <a:lnTo>
                    <a:pt x="520" y="3514"/>
                  </a:lnTo>
                  <a:lnTo>
                    <a:pt x="520" y="3512"/>
                  </a:lnTo>
                  <a:lnTo>
                    <a:pt x="520" y="3510"/>
                  </a:lnTo>
                  <a:lnTo>
                    <a:pt x="518" y="3508"/>
                  </a:lnTo>
                  <a:lnTo>
                    <a:pt x="512" y="3506"/>
                  </a:lnTo>
                  <a:lnTo>
                    <a:pt x="504" y="3506"/>
                  </a:lnTo>
                  <a:lnTo>
                    <a:pt x="498" y="3508"/>
                  </a:lnTo>
                  <a:lnTo>
                    <a:pt x="490" y="3508"/>
                  </a:lnTo>
                  <a:lnTo>
                    <a:pt x="486" y="3508"/>
                  </a:lnTo>
                  <a:lnTo>
                    <a:pt x="478" y="3510"/>
                  </a:lnTo>
                  <a:lnTo>
                    <a:pt x="462" y="3514"/>
                  </a:lnTo>
                  <a:lnTo>
                    <a:pt x="454" y="3516"/>
                  </a:lnTo>
                  <a:lnTo>
                    <a:pt x="454" y="3518"/>
                  </a:lnTo>
                  <a:lnTo>
                    <a:pt x="464" y="3524"/>
                  </a:lnTo>
                  <a:lnTo>
                    <a:pt x="466" y="3526"/>
                  </a:lnTo>
                  <a:lnTo>
                    <a:pt x="462" y="3528"/>
                  </a:lnTo>
                  <a:lnTo>
                    <a:pt x="470" y="3532"/>
                  </a:lnTo>
                  <a:lnTo>
                    <a:pt x="476" y="3534"/>
                  </a:lnTo>
                  <a:lnTo>
                    <a:pt x="480" y="3536"/>
                  </a:lnTo>
                  <a:lnTo>
                    <a:pt x="486" y="3540"/>
                  </a:lnTo>
                  <a:lnTo>
                    <a:pt x="490" y="3540"/>
                  </a:lnTo>
                  <a:lnTo>
                    <a:pt x="490" y="3538"/>
                  </a:lnTo>
                  <a:lnTo>
                    <a:pt x="482" y="3530"/>
                  </a:lnTo>
                  <a:lnTo>
                    <a:pt x="480" y="3526"/>
                  </a:lnTo>
                  <a:lnTo>
                    <a:pt x="482" y="3524"/>
                  </a:lnTo>
                  <a:lnTo>
                    <a:pt x="486" y="3524"/>
                  </a:lnTo>
                  <a:lnTo>
                    <a:pt x="490" y="3524"/>
                  </a:lnTo>
                  <a:lnTo>
                    <a:pt x="494" y="3524"/>
                  </a:lnTo>
                  <a:lnTo>
                    <a:pt x="498" y="3524"/>
                  </a:lnTo>
                  <a:lnTo>
                    <a:pt x="500" y="3524"/>
                  </a:lnTo>
                  <a:lnTo>
                    <a:pt x="496" y="3532"/>
                  </a:lnTo>
                  <a:lnTo>
                    <a:pt x="496" y="3536"/>
                  </a:lnTo>
                  <a:lnTo>
                    <a:pt x="500" y="3540"/>
                  </a:lnTo>
                  <a:lnTo>
                    <a:pt x="502" y="3540"/>
                  </a:lnTo>
                  <a:lnTo>
                    <a:pt x="506" y="3538"/>
                  </a:lnTo>
                  <a:lnTo>
                    <a:pt x="510" y="3536"/>
                  </a:lnTo>
                  <a:lnTo>
                    <a:pt x="512" y="3538"/>
                  </a:lnTo>
                  <a:lnTo>
                    <a:pt x="514" y="3540"/>
                  </a:lnTo>
                  <a:lnTo>
                    <a:pt x="518" y="3540"/>
                  </a:lnTo>
                  <a:lnTo>
                    <a:pt x="522" y="3542"/>
                  </a:lnTo>
                  <a:lnTo>
                    <a:pt x="522" y="3544"/>
                  </a:lnTo>
                  <a:lnTo>
                    <a:pt x="524" y="3548"/>
                  </a:lnTo>
                  <a:lnTo>
                    <a:pt x="526" y="3548"/>
                  </a:lnTo>
                  <a:lnTo>
                    <a:pt x="528" y="3550"/>
                  </a:lnTo>
                  <a:lnTo>
                    <a:pt x="532" y="3554"/>
                  </a:lnTo>
                  <a:lnTo>
                    <a:pt x="534" y="3552"/>
                  </a:lnTo>
                  <a:lnTo>
                    <a:pt x="534" y="3548"/>
                  </a:lnTo>
                  <a:lnTo>
                    <a:pt x="534" y="3544"/>
                  </a:lnTo>
                  <a:lnTo>
                    <a:pt x="532" y="3542"/>
                  </a:lnTo>
                  <a:lnTo>
                    <a:pt x="532" y="3538"/>
                  </a:lnTo>
                  <a:lnTo>
                    <a:pt x="530" y="3536"/>
                  </a:lnTo>
                  <a:lnTo>
                    <a:pt x="522" y="3532"/>
                  </a:lnTo>
                  <a:close/>
                  <a:moveTo>
                    <a:pt x="476" y="3508"/>
                  </a:moveTo>
                  <a:lnTo>
                    <a:pt x="476" y="3508"/>
                  </a:lnTo>
                  <a:lnTo>
                    <a:pt x="484" y="3506"/>
                  </a:lnTo>
                  <a:lnTo>
                    <a:pt x="484" y="3504"/>
                  </a:lnTo>
                  <a:lnTo>
                    <a:pt x="472" y="3502"/>
                  </a:lnTo>
                  <a:lnTo>
                    <a:pt x="464" y="3502"/>
                  </a:lnTo>
                  <a:lnTo>
                    <a:pt x="458" y="3502"/>
                  </a:lnTo>
                  <a:lnTo>
                    <a:pt x="450" y="3506"/>
                  </a:lnTo>
                  <a:lnTo>
                    <a:pt x="448" y="3508"/>
                  </a:lnTo>
                  <a:lnTo>
                    <a:pt x="456" y="3510"/>
                  </a:lnTo>
                  <a:lnTo>
                    <a:pt x="462" y="3510"/>
                  </a:lnTo>
                  <a:lnTo>
                    <a:pt x="476" y="3508"/>
                  </a:lnTo>
                  <a:close/>
                  <a:moveTo>
                    <a:pt x="572" y="3528"/>
                  </a:moveTo>
                  <a:lnTo>
                    <a:pt x="572" y="3528"/>
                  </a:lnTo>
                  <a:lnTo>
                    <a:pt x="574" y="3530"/>
                  </a:lnTo>
                  <a:lnTo>
                    <a:pt x="578" y="3530"/>
                  </a:lnTo>
                  <a:lnTo>
                    <a:pt x="580" y="3528"/>
                  </a:lnTo>
                  <a:lnTo>
                    <a:pt x="582" y="3524"/>
                  </a:lnTo>
                  <a:lnTo>
                    <a:pt x="580" y="3522"/>
                  </a:lnTo>
                  <a:lnTo>
                    <a:pt x="578" y="3522"/>
                  </a:lnTo>
                  <a:lnTo>
                    <a:pt x="574" y="3524"/>
                  </a:lnTo>
                  <a:lnTo>
                    <a:pt x="572" y="3528"/>
                  </a:lnTo>
                  <a:close/>
                  <a:moveTo>
                    <a:pt x="636" y="3486"/>
                  </a:moveTo>
                  <a:lnTo>
                    <a:pt x="636" y="3486"/>
                  </a:lnTo>
                  <a:lnTo>
                    <a:pt x="628" y="3488"/>
                  </a:lnTo>
                  <a:lnTo>
                    <a:pt x="622" y="3486"/>
                  </a:lnTo>
                  <a:lnTo>
                    <a:pt x="616" y="3484"/>
                  </a:lnTo>
                  <a:lnTo>
                    <a:pt x="610" y="3482"/>
                  </a:lnTo>
                  <a:lnTo>
                    <a:pt x="602" y="3478"/>
                  </a:lnTo>
                  <a:lnTo>
                    <a:pt x="594" y="3470"/>
                  </a:lnTo>
                  <a:lnTo>
                    <a:pt x="584" y="3462"/>
                  </a:lnTo>
                  <a:lnTo>
                    <a:pt x="574" y="3456"/>
                  </a:lnTo>
                  <a:lnTo>
                    <a:pt x="562" y="3448"/>
                  </a:lnTo>
                  <a:lnTo>
                    <a:pt x="548" y="3436"/>
                  </a:lnTo>
                  <a:lnTo>
                    <a:pt x="538" y="3424"/>
                  </a:lnTo>
                  <a:lnTo>
                    <a:pt x="532" y="3414"/>
                  </a:lnTo>
                  <a:lnTo>
                    <a:pt x="530" y="3404"/>
                  </a:lnTo>
                  <a:lnTo>
                    <a:pt x="528" y="3404"/>
                  </a:lnTo>
                  <a:lnTo>
                    <a:pt x="522" y="3402"/>
                  </a:lnTo>
                  <a:lnTo>
                    <a:pt x="516" y="3402"/>
                  </a:lnTo>
                  <a:lnTo>
                    <a:pt x="514" y="3400"/>
                  </a:lnTo>
                  <a:lnTo>
                    <a:pt x="512" y="3396"/>
                  </a:lnTo>
                  <a:lnTo>
                    <a:pt x="516" y="3390"/>
                  </a:lnTo>
                  <a:lnTo>
                    <a:pt x="520" y="3386"/>
                  </a:lnTo>
                  <a:lnTo>
                    <a:pt x="522" y="3386"/>
                  </a:lnTo>
                  <a:lnTo>
                    <a:pt x="524" y="3390"/>
                  </a:lnTo>
                  <a:lnTo>
                    <a:pt x="524" y="3392"/>
                  </a:lnTo>
                  <a:lnTo>
                    <a:pt x="526" y="3394"/>
                  </a:lnTo>
                  <a:lnTo>
                    <a:pt x="528" y="3392"/>
                  </a:lnTo>
                  <a:lnTo>
                    <a:pt x="528" y="3388"/>
                  </a:lnTo>
                  <a:lnTo>
                    <a:pt x="524" y="3380"/>
                  </a:lnTo>
                  <a:lnTo>
                    <a:pt x="510" y="3364"/>
                  </a:lnTo>
                  <a:lnTo>
                    <a:pt x="510" y="3502"/>
                  </a:lnTo>
                  <a:lnTo>
                    <a:pt x="518" y="3498"/>
                  </a:lnTo>
                  <a:lnTo>
                    <a:pt x="520" y="3496"/>
                  </a:lnTo>
                  <a:lnTo>
                    <a:pt x="522" y="3496"/>
                  </a:lnTo>
                  <a:lnTo>
                    <a:pt x="530" y="3498"/>
                  </a:lnTo>
                  <a:lnTo>
                    <a:pt x="544" y="3500"/>
                  </a:lnTo>
                  <a:lnTo>
                    <a:pt x="560" y="3502"/>
                  </a:lnTo>
                  <a:lnTo>
                    <a:pt x="576" y="3504"/>
                  </a:lnTo>
                  <a:lnTo>
                    <a:pt x="584" y="3506"/>
                  </a:lnTo>
                  <a:lnTo>
                    <a:pt x="588" y="3508"/>
                  </a:lnTo>
                  <a:lnTo>
                    <a:pt x="596" y="3512"/>
                  </a:lnTo>
                  <a:lnTo>
                    <a:pt x="598" y="3510"/>
                  </a:lnTo>
                  <a:lnTo>
                    <a:pt x="602" y="3508"/>
                  </a:lnTo>
                  <a:lnTo>
                    <a:pt x="606" y="3506"/>
                  </a:lnTo>
                  <a:lnTo>
                    <a:pt x="614" y="3506"/>
                  </a:lnTo>
                  <a:lnTo>
                    <a:pt x="620" y="3502"/>
                  </a:lnTo>
                  <a:lnTo>
                    <a:pt x="624" y="3500"/>
                  </a:lnTo>
                  <a:lnTo>
                    <a:pt x="626" y="3502"/>
                  </a:lnTo>
                  <a:lnTo>
                    <a:pt x="630" y="3506"/>
                  </a:lnTo>
                  <a:lnTo>
                    <a:pt x="632" y="3504"/>
                  </a:lnTo>
                  <a:lnTo>
                    <a:pt x="634" y="3502"/>
                  </a:lnTo>
                  <a:lnTo>
                    <a:pt x="638" y="3502"/>
                  </a:lnTo>
                  <a:lnTo>
                    <a:pt x="640" y="3502"/>
                  </a:lnTo>
                  <a:lnTo>
                    <a:pt x="642" y="3502"/>
                  </a:lnTo>
                  <a:lnTo>
                    <a:pt x="646" y="3494"/>
                  </a:lnTo>
                  <a:lnTo>
                    <a:pt x="648" y="3488"/>
                  </a:lnTo>
                  <a:lnTo>
                    <a:pt x="648" y="3486"/>
                  </a:lnTo>
                  <a:lnTo>
                    <a:pt x="642" y="3486"/>
                  </a:lnTo>
                  <a:lnTo>
                    <a:pt x="636" y="3486"/>
                  </a:lnTo>
                  <a:close/>
                  <a:moveTo>
                    <a:pt x="436" y="3502"/>
                  </a:moveTo>
                  <a:lnTo>
                    <a:pt x="436" y="3502"/>
                  </a:lnTo>
                  <a:lnTo>
                    <a:pt x="428" y="3504"/>
                  </a:lnTo>
                  <a:lnTo>
                    <a:pt x="426" y="3506"/>
                  </a:lnTo>
                  <a:lnTo>
                    <a:pt x="420" y="3506"/>
                  </a:lnTo>
                  <a:lnTo>
                    <a:pt x="414" y="3506"/>
                  </a:lnTo>
                  <a:lnTo>
                    <a:pt x="414" y="3508"/>
                  </a:lnTo>
                  <a:lnTo>
                    <a:pt x="414" y="3510"/>
                  </a:lnTo>
                  <a:lnTo>
                    <a:pt x="416" y="3514"/>
                  </a:lnTo>
                  <a:lnTo>
                    <a:pt x="418" y="3514"/>
                  </a:lnTo>
                  <a:lnTo>
                    <a:pt x="428" y="3516"/>
                  </a:lnTo>
                  <a:lnTo>
                    <a:pt x="430" y="3516"/>
                  </a:lnTo>
                  <a:lnTo>
                    <a:pt x="432" y="3518"/>
                  </a:lnTo>
                  <a:lnTo>
                    <a:pt x="432" y="3520"/>
                  </a:lnTo>
                  <a:lnTo>
                    <a:pt x="432" y="3522"/>
                  </a:lnTo>
                  <a:lnTo>
                    <a:pt x="436" y="3522"/>
                  </a:lnTo>
                  <a:lnTo>
                    <a:pt x="442" y="3518"/>
                  </a:lnTo>
                  <a:lnTo>
                    <a:pt x="442" y="3516"/>
                  </a:lnTo>
                  <a:lnTo>
                    <a:pt x="442" y="3512"/>
                  </a:lnTo>
                  <a:lnTo>
                    <a:pt x="438" y="3512"/>
                  </a:lnTo>
                  <a:lnTo>
                    <a:pt x="432" y="3510"/>
                  </a:lnTo>
                  <a:lnTo>
                    <a:pt x="434" y="3508"/>
                  </a:lnTo>
                  <a:lnTo>
                    <a:pt x="438" y="3508"/>
                  </a:lnTo>
                  <a:lnTo>
                    <a:pt x="442" y="3506"/>
                  </a:lnTo>
                  <a:lnTo>
                    <a:pt x="444" y="3504"/>
                  </a:lnTo>
                  <a:lnTo>
                    <a:pt x="440" y="3504"/>
                  </a:lnTo>
                  <a:lnTo>
                    <a:pt x="436" y="3502"/>
                  </a:lnTo>
                  <a:close/>
                  <a:moveTo>
                    <a:pt x="290" y="2874"/>
                  </a:moveTo>
                  <a:lnTo>
                    <a:pt x="290" y="2874"/>
                  </a:lnTo>
                  <a:lnTo>
                    <a:pt x="292" y="2876"/>
                  </a:lnTo>
                  <a:lnTo>
                    <a:pt x="294" y="2874"/>
                  </a:lnTo>
                  <a:lnTo>
                    <a:pt x="294" y="2872"/>
                  </a:lnTo>
                  <a:lnTo>
                    <a:pt x="294" y="2870"/>
                  </a:lnTo>
                  <a:lnTo>
                    <a:pt x="290" y="2868"/>
                  </a:lnTo>
                  <a:lnTo>
                    <a:pt x="290" y="2874"/>
                  </a:lnTo>
                  <a:close/>
                  <a:moveTo>
                    <a:pt x="592" y="3524"/>
                  </a:moveTo>
                  <a:lnTo>
                    <a:pt x="592" y="3524"/>
                  </a:lnTo>
                  <a:lnTo>
                    <a:pt x="596" y="3524"/>
                  </a:lnTo>
                  <a:lnTo>
                    <a:pt x="598" y="3524"/>
                  </a:lnTo>
                  <a:lnTo>
                    <a:pt x="598" y="3522"/>
                  </a:lnTo>
                  <a:lnTo>
                    <a:pt x="596" y="3518"/>
                  </a:lnTo>
                  <a:lnTo>
                    <a:pt x="594" y="3518"/>
                  </a:lnTo>
                  <a:lnTo>
                    <a:pt x="590" y="3520"/>
                  </a:lnTo>
                  <a:lnTo>
                    <a:pt x="590" y="3522"/>
                  </a:lnTo>
                  <a:lnTo>
                    <a:pt x="592" y="3524"/>
                  </a:lnTo>
                  <a:close/>
                  <a:moveTo>
                    <a:pt x="310" y="3406"/>
                  </a:moveTo>
                  <a:lnTo>
                    <a:pt x="310" y="3406"/>
                  </a:lnTo>
                  <a:lnTo>
                    <a:pt x="314" y="3406"/>
                  </a:lnTo>
                  <a:lnTo>
                    <a:pt x="318" y="3406"/>
                  </a:lnTo>
                  <a:lnTo>
                    <a:pt x="322" y="3406"/>
                  </a:lnTo>
                  <a:lnTo>
                    <a:pt x="326" y="3408"/>
                  </a:lnTo>
                  <a:lnTo>
                    <a:pt x="328" y="3408"/>
                  </a:lnTo>
                  <a:lnTo>
                    <a:pt x="324" y="3402"/>
                  </a:lnTo>
                  <a:lnTo>
                    <a:pt x="318" y="3396"/>
                  </a:lnTo>
                  <a:lnTo>
                    <a:pt x="316" y="3394"/>
                  </a:lnTo>
                  <a:lnTo>
                    <a:pt x="314" y="3394"/>
                  </a:lnTo>
                  <a:lnTo>
                    <a:pt x="312" y="3394"/>
                  </a:lnTo>
                  <a:lnTo>
                    <a:pt x="310" y="3392"/>
                  </a:lnTo>
                  <a:lnTo>
                    <a:pt x="308" y="3390"/>
                  </a:lnTo>
                  <a:lnTo>
                    <a:pt x="306" y="3392"/>
                  </a:lnTo>
                  <a:lnTo>
                    <a:pt x="304" y="3390"/>
                  </a:lnTo>
                  <a:lnTo>
                    <a:pt x="294" y="3384"/>
                  </a:lnTo>
                  <a:lnTo>
                    <a:pt x="284" y="3382"/>
                  </a:lnTo>
                  <a:lnTo>
                    <a:pt x="280" y="3378"/>
                  </a:lnTo>
                  <a:lnTo>
                    <a:pt x="274" y="3374"/>
                  </a:lnTo>
                  <a:lnTo>
                    <a:pt x="268" y="3370"/>
                  </a:lnTo>
                  <a:lnTo>
                    <a:pt x="264" y="3368"/>
                  </a:lnTo>
                  <a:lnTo>
                    <a:pt x="262" y="3370"/>
                  </a:lnTo>
                  <a:lnTo>
                    <a:pt x="266" y="3374"/>
                  </a:lnTo>
                  <a:lnTo>
                    <a:pt x="270" y="3376"/>
                  </a:lnTo>
                  <a:lnTo>
                    <a:pt x="270" y="3380"/>
                  </a:lnTo>
                  <a:lnTo>
                    <a:pt x="268" y="3380"/>
                  </a:lnTo>
                  <a:lnTo>
                    <a:pt x="272" y="3382"/>
                  </a:lnTo>
                  <a:lnTo>
                    <a:pt x="276" y="3384"/>
                  </a:lnTo>
                  <a:lnTo>
                    <a:pt x="278" y="3388"/>
                  </a:lnTo>
                  <a:lnTo>
                    <a:pt x="282" y="3390"/>
                  </a:lnTo>
                  <a:lnTo>
                    <a:pt x="288" y="3392"/>
                  </a:lnTo>
                  <a:lnTo>
                    <a:pt x="294" y="3392"/>
                  </a:lnTo>
                  <a:lnTo>
                    <a:pt x="296" y="3394"/>
                  </a:lnTo>
                  <a:lnTo>
                    <a:pt x="300" y="3396"/>
                  </a:lnTo>
                  <a:lnTo>
                    <a:pt x="302" y="3398"/>
                  </a:lnTo>
                  <a:lnTo>
                    <a:pt x="304" y="3398"/>
                  </a:lnTo>
                  <a:lnTo>
                    <a:pt x="308" y="3398"/>
                  </a:lnTo>
                  <a:lnTo>
                    <a:pt x="310" y="3400"/>
                  </a:lnTo>
                  <a:lnTo>
                    <a:pt x="310" y="3402"/>
                  </a:lnTo>
                  <a:lnTo>
                    <a:pt x="310" y="3404"/>
                  </a:lnTo>
                  <a:lnTo>
                    <a:pt x="310" y="3406"/>
                  </a:lnTo>
                  <a:close/>
                  <a:moveTo>
                    <a:pt x="262" y="3306"/>
                  </a:moveTo>
                  <a:lnTo>
                    <a:pt x="262" y="3306"/>
                  </a:lnTo>
                  <a:lnTo>
                    <a:pt x="260" y="3302"/>
                  </a:lnTo>
                  <a:lnTo>
                    <a:pt x="258" y="3302"/>
                  </a:lnTo>
                  <a:lnTo>
                    <a:pt x="258" y="3304"/>
                  </a:lnTo>
                  <a:lnTo>
                    <a:pt x="258" y="3310"/>
                  </a:lnTo>
                  <a:lnTo>
                    <a:pt x="258" y="3314"/>
                  </a:lnTo>
                  <a:lnTo>
                    <a:pt x="254" y="3308"/>
                  </a:lnTo>
                  <a:lnTo>
                    <a:pt x="252" y="3308"/>
                  </a:lnTo>
                  <a:lnTo>
                    <a:pt x="250" y="3310"/>
                  </a:lnTo>
                  <a:lnTo>
                    <a:pt x="248" y="3314"/>
                  </a:lnTo>
                  <a:lnTo>
                    <a:pt x="250" y="3318"/>
                  </a:lnTo>
                  <a:lnTo>
                    <a:pt x="252" y="3320"/>
                  </a:lnTo>
                  <a:lnTo>
                    <a:pt x="252" y="3322"/>
                  </a:lnTo>
                  <a:lnTo>
                    <a:pt x="250" y="3324"/>
                  </a:lnTo>
                  <a:lnTo>
                    <a:pt x="252" y="3328"/>
                  </a:lnTo>
                  <a:lnTo>
                    <a:pt x="252" y="3332"/>
                  </a:lnTo>
                  <a:lnTo>
                    <a:pt x="254" y="3332"/>
                  </a:lnTo>
                  <a:lnTo>
                    <a:pt x="258" y="3324"/>
                  </a:lnTo>
                  <a:lnTo>
                    <a:pt x="260" y="3314"/>
                  </a:lnTo>
                  <a:lnTo>
                    <a:pt x="262" y="3310"/>
                  </a:lnTo>
                  <a:lnTo>
                    <a:pt x="262" y="3306"/>
                  </a:lnTo>
                  <a:close/>
                  <a:moveTo>
                    <a:pt x="284" y="3406"/>
                  </a:moveTo>
                  <a:lnTo>
                    <a:pt x="284" y="3406"/>
                  </a:lnTo>
                  <a:lnTo>
                    <a:pt x="286" y="3406"/>
                  </a:lnTo>
                  <a:lnTo>
                    <a:pt x="288" y="3404"/>
                  </a:lnTo>
                  <a:lnTo>
                    <a:pt x="290" y="3402"/>
                  </a:lnTo>
                  <a:lnTo>
                    <a:pt x="290" y="3400"/>
                  </a:lnTo>
                  <a:lnTo>
                    <a:pt x="286" y="3398"/>
                  </a:lnTo>
                  <a:lnTo>
                    <a:pt x="284" y="3400"/>
                  </a:lnTo>
                  <a:lnTo>
                    <a:pt x="284" y="3404"/>
                  </a:lnTo>
                  <a:lnTo>
                    <a:pt x="284" y="3406"/>
                  </a:lnTo>
                  <a:close/>
                  <a:moveTo>
                    <a:pt x="268" y="3336"/>
                  </a:moveTo>
                  <a:lnTo>
                    <a:pt x="268" y="3336"/>
                  </a:lnTo>
                  <a:lnTo>
                    <a:pt x="260" y="3336"/>
                  </a:lnTo>
                  <a:lnTo>
                    <a:pt x="258" y="3336"/>
                  </a:lnTo>
                  <a:lnTo>
                    <a:pt x="256" y="3338"/>
                  </a:lnTo>
                  <a:lnTo>
                    <a:pt x="258" y="3340"/>
                  </a:lnTo>
                  <a:lnTo>
                    <a:pt x="262" y="3342"/>
                  </a:lnTo>
                  <a:lnTo>
                    <a:pt x="264" y="3342"/>
                  </a:lnTo>
                  <a:lnTo>
                    <a:pt x="268" y="3340"/>
                  </a:lnTo>
                  <a:lnTo>
                    <a:pt x="268" y="3338"/>
                  </a:lnTo>
                  <a:lnTo>
                    <a:pt x="268" y="3336"/>
                  </a:lnTo>
                  <a:close/>
                  <a:moveTo>
                    <a:pt x="412" y="3500"/>
                  </a:moveTo>
                  <a:lnTo>
                    <a:pt x="412" y="3500"/>
                  </a:lnTo>
                  <a:lnTo>
                    <a:pt x="406" y="3498"/>
                  </a:lnTo>
                  <a:lnTo>
                    <a:pt x="402" y="3496"/>
                  </a:lnTo>
                  <a:lnTo>
                    <a:pt x="398" y="3498"/>
                  </a:lnTo>
                  <a:lnTo>
                    <a:pt x="396" y="3500"/>
                  </a:lnTo>
                  <a:lnTo>
                    <a:pt x="396" y="3502"/>
                  </a:lnTo>
                  <a:lnTo>
                    <a:pt x="398" y="3504"/>
                  </a:lnTo>
                  <a:lnTo>
                    <a:pt x="402" y="3502"/>
                  </a:lnTo>
                  <a:lnTo>
                    <a:pt x="406" y="3500"/>
                  </a:lnTo>
                  <a:lnTo>
                    <a:pt x="408" y="3502"/>
                  </a:lnTo>
                  <a:lnTo>
                    <a:pt x="410" y="3502"/>
                  </a:lnTo>
                  <a:lnTo>
                    <a:pt x="414" y="3504"/>
                  </a:lnTo>
                  <a:lnTo>
                    <a:pt x="414" y="3502"/>
                  </a:lnTo>
                  <a:lnTo>
                    <a:pt x="416" y="3500"/>
                  </a:lnTo>
                  <a:lnTo>
                    <a:pt x="414" y="3500"/>
                  </a:lnTo>
                  <a:lnTo>
                    <a:pt x="412" y="3500"/>
                  </a:lnTo>
                  <a:close/>
                  <a:moveTo>
                    <a:pt x="248" y="3284"/>
                  </a:moveTo>
                  <a:lnTo>
                    <a:pt x="248" y="3284"/>
                  </a:lnTo>
                  <a:lnTo>
                    <a:pt x="244" y="3282"/>
                  </a:lnTo>
                  <a:lnTo>
                    <a:pt x="244" y="3284"/>
                  </a:lnTo>
                  <a:lnTo>
                    <a:pt x="244" y="3292"/>
                  </a:lnTo>
                  <a:lnTo>
                    <a:pt x="240" y="3300"/>
                  </a:lnTo>
                  <a:lnTo>
                    <a:pt x="240" y="3302"/>
                  </a:lnTo>
                  <a:lnTo>
                    <a:pt x="244" y="3302"/>
                  </a:lnTo>
                  <a:lnTo>
                    <a:pt x="246" y="3300"/>
                  </a:lnTo>
                  <a:lnTo>
                    <a:pt x="246" y="3298"/>
                  </a:lnTo>
                  <a:lnTo>
                    <a:pt x="248" y="3294"/>
                  </a:lnTo>
                  <a:lnTo>
                    <a:pt x="248" y="3292"/>
                  </a:lnTo>
                  <a:lnTo>
                    <a:pt x="252" y="3288"/>
                  </a:lnTo>
                  <a:lnTo>
                    <a:pt x="248" y="3284"/>
                  </a:lnTo>
                  <a:close/>
                  <a:moveTo>
                    <a:pt x="376" y="3462"/>
                  </a:moveTo>
                  <a:lnTo>
                    <a:pt x="376" y="3462"/>
                  </a:lnTo>
                  <a:lnTo>
                    <a:pt x="376" y="3466"/>
                  </a:lnTo>
                  <a:lnTo>
                    <a:pt x="378" y="3468"/>
                  </a:lnTo>
                  <a:lnTo>
                    <a:pt x="380" y="3468"/>
                  </a:lnTo>
                  <a:lnTo>
                    <a:pt x="380" y="3464"/>
                  </a:lnTo>
                  <a:lnTo>
                    <a:pt x="380" y="3462"/>
                  </a:lnTo>
                  <a:lnTo>
                    <a:pt x="382" y="3462"/>
                  </a:lnTo>
                  <a:lnTo>
                    <a:pt x="384" y="3460"/>
                  </a:lnTo>
                  <a:lnTo>
                    <a:pt x="384" y="3456"/>
                  </a:lnTo>
                  <a:lnTo>
                    <a:pt x="386" y="3454"/>
                  </a:lnTo>
                  <a:lnTo>
                    <a:pt x="386" y="3452"/>
                  </a:lnTo>
                  <a:lnTo>
                    <a:pt x="386" y="3448"/>
                  </a:lnTo>
                  <a:lnTo>
                    <a:pt x="386" y="3444"/>
                  </a:lnTo>
                  <a:lnTo>
                    <a:pt x="386" y="3442"/>
                  </a:lnTo>
                  <a:lnTo>
                    <a:pt x="384" y="3440"/>
                  </a:lnTo>
                  <a:lnTo>
                    <a:pt x="378" y="3438"/>
                  </a:lnTo>
                  <a:lnTo>
                    <a:pt x="376" y="3438"/>
                  </a:lnTo>
                  <a:lnTo>
                    <a:pt x="374" y="3442"/>
                  </a:lnTo>
                  <a:lnTo>
                    <a:pt x="372" y="3444"/>
                  </a:lnTo>
                  <a:lnTo>
                    <a:pt x="370" y="3442"/>
                  </a:lnTo>
                  <a:lnTo>
                    <a:pt x="368" y="3442"/>
                  </a:lnTo>
                  <a:lnTo>
                    <a:pt x="364" y="3442"/>
                  </a:lnTo>
                  <a:lnTo>
                    <a:pt x="362" y="3444"/>
                  </a:lnTo>
                  <a:lnTo>
                    <a:pt x="362" y="3446"/>
                  </a:lnTo>
                  <a:lnTo>
                    <a:pt x="368" y="3452"/>
                  </a:lnTo>
                  <a:lnTo>
                    <a:pt x="374" y="3458"/>
                  </a:lnTo>
                  <a:lnTo>
                    <a:pt x="376" y="3460"/>
                  </a:lnTo>
                  <a:lnTo>
                    <a:pt x="376" y="3462"/>
                  </a:lnTo>
                  <a:close/>
                  <a:moveTo>
                    <a:pt x="360" y="3454"/>
                  </a:moveTo>
                  <a:lnTo>
                    <a:pt x="360" y="3454"/>
                  </a:lnTo>
                  <a:lnTo>
                    <a:pt x="358" y="3458"/>
                  </a:lnTo>
                  <a:lnTo>
                    <a:pt x="354" y="3458"/>
                  </a:lnTo>
                  <a:lnTo>
                    <a:pt x="352" y="3460"/>
                  </a:lnTo>
                  <a:lnTo>
                    <a:pt x="354" y="3462"/>
                  </a:lnTo>
                  <a:lnTo>
                    <a:pt x="356" y="3464"/>
                  </a:lnTo>
                  <a:lnTo>
                    <a:pt x="358" y="3464"/>
                  </a:lnTo>
                  <a:lnTo>
                    <a:pt x="364" y="3458"/>
                  </a:lnTo>
                  <a:lnTo>
                    <a:pt x="364" y="3456"/>
                  </a:lnTo>
                  <a:lnTo>
                    <a:pt x="364" y="3454"/>
                  </a:lnTo>
                  <a:lnTo>
                    <a:pt x="362" y="3452"/>
                  </a:lnTo>
                  <a:lnTo>
                    <a:pt x="360" y="3454"/>
                  </a:lnTo>
                  <a:close/>
                  <a:moveTo>
                    <a:pt x="390" y="3462"/>
                  </a:moveTo>
                  <a:lnTo>
                    <a:pt x="390" y="3462"/>
                  </a:lnTo>
                  <a:lnTo>
                    <a:pt x="394" y="3462"/>
                  </a:lnTo>
                  <a:lnTo>
                    <a:pt x="394" y="3460"/>
                  </a:lnTo>
                  <a:lnTo>
                    <a:pt x="396" y="3458"/>
                  </a:lnTo>
                  <a:lnTo>
                    <a:pt x="398" y="3460"/>
                  </a:lnTo>
                  <a:lnTo>
                    <a:pt x="402" y="3462"/>
                  </a:lnTo>
                  <a:lnTo>
                    <a:pt x="402" y="3464"/>
                  </a:lnTo>
                  <a:lnTo>
                    <a:pt x="402" y="3466"/>
                  </a:lnTo>
                  <a:lnTo>
                    <a:pt x="406" y="3468"/>
                  </a:lnTo>
                  <a:lnTo>
                    <a:pt x="410" y="3468"/>
                  </a:lnTo>
                  <a:lnTo>
                    <a:pt x="412" y="3466"/>
                  </a:lnTo>
                  <a:lnTo>
                    <a:pt x="412" y="3454"/>
                  </a:lnTo>
                  <a:lnTo>
                    <a:pt x="410" y="3450"/>
                  </a:lnTo>
                  <a:lnTo>
                    <a:pt x="408" y="3450"/>
                  </a:lnTo>
                  <a:lnTo>
                    <a:pt x="406" y="3450"/>
                  </a:lnTo>
                  <a:lnTo>
                    <a:pt x="402" y="3448"/>
                  </a:lnTo>
                  <a:lnTo>
                    <a:pt x="400" y="3444"/>
                  </a:lnTo>
                  <a:lnTo>
                    <a:pt x="394" y="3442"/>
                  </a:lnTo>
                  <a:lnTo>
                    <a:pt x="390" y="3444"/>
                  </a:lnTo>
                  <a:lnTo>
                    <a:pt x="388" y="3446"/>
                  </a:lnTo>
                  <a:lnTo>
                    <a:pt x="388" y="3448"/>
                  </a:lnTo>
                  <a:lnTo>
                    <a:pt x="390" y="3454"/>
                  </a:lnTo>
                  <a:lnTo>
                    <a:pt x="388" y="3456"/>
                  </a:lnTo>
                  <a:lnTo>
                    <a:pt x="388" y="3460"/>
                  </a:lnTo>
                  <a:lnTo>
                    <a:pt x="390" y="3462"/>
                  </a:lnTo>
                  <a:close/>
                  <a:moveTo>
                    <a:pt x="356" y="3450"/>
                  </a:moveTo>
                  <a:lnTo>
                    <a:pt x="356" y="3450"/>
                  </a:lnTo>
                  <a:lnTo>
                    <a:pt x="358" y="3450"/>
                  </a:lnTo>
                  <a:lnTo>
                    <a:pt x="360" y="3450"/>
                  </a:lnTo>
                  <a:lnTo>
                    <a:pt x="358" y="3444"/>
                  </a:lnTo>
                  <a:lnTo>
                    <a:pt x="358" y="3442"/>
                  </a:lnTo>
                  <a:lnTo>
                    <a:pt x="358" y="3440"/>
                  </a:lnTo>
                  <a:lnTo>
                    <a:pt x="362" y="3438"/>
                  </a:lnTo>
                  <a:lnTo>
                    <a:pt x="366" y="3436"/>
                  </a:lnTo>
                  <a:lnTo>
                    <a:pt x="366" y="3434"/>
                  </a:lnTo>
                  <a:lnTo>
                    <a:pt x="366" y="3432"/>
                  </a:lnTo>
                  <a:lnTo>
                    <a:pt x="362" y="3430"/>
                  </a:lnTo>
                  <a:lnTo>
                    <a:pt x="360" y="3430"/>
                  </a:lnTo>
                  <a:lnTo>
                    <a:pt x="358" y="3428"/>
                  </a:lnTo>
                  <a:lnTo>
                    <a:pt x="356" y="3426"/>
                  </a:lnTo>
                  <a:lnTo>
                    <a:pt x="354" y="3422"/>
                  </a:lnTo>
                  <a:lnTo>
                    <a:pt x="352" y="3420"/>
                  </a:lnTo>
                  <a:lnTo>
                    <a:pt x="348" y="3418"/>
                  </a:lnTo>
                  <a:lnTo>
                    <a:pt x="346" y="3420"/>
                  </a:lnTo>
                  <a:lnTo>
                    <a:pt x="344" y="3420"/>
                  </a:lnTo>
                  <a:lnTo>
                    <a:pt x="344" y="3418"/>
                  </a:lnTo>
                  <a:lnTo>
                    <a:pt x="342" y="3418"/>
                  </a:lnTo>
                  <a:lnTo>
                    <a:pt x="340" y="3420"/>
                  </a:lnTo>
                  <a:lnTo>
                    <a:pt x="338" y="3422"/>
                  </a:lnTo>
                  <a:lnTo>
                    <a:pt x="338" y="3418"/>
                  </a:lnTo>
                  <a:lnTo>
                    <a:pt x="336" y="3414"/>
                  </a:lnTo>
                  <a:lnTo>
                    <a:pt x="332" y="3410"/>
                  </a:lnTo>
                  <a:lnTo>
                    <a:pt x="328" y="3410"/>
                  </a:lnTo>
                  <a:lnTo>
                    <a:pt x="328" y="3412"/>
                  </a:lnTo>
                  <a:lnTo>
                    <a:pt x="328" y="3414"/>
                  </a:lnTo>
                  <a:lnTo>
                    <a:pt x="322" y="3414"/>
                  </a:lnTo>
                  <a:lnTo>
                    <a:pt x="320" y="3414"/>
                  </a:lnTo>
                  <a:lnTo>
                    <a:pt x="318" y="3414"/>
                  </a:lnTo>
                  <a:lnTo>
                    <a:pt x="320" y="3418"/>
                  </a:lnTo>
                  <a:lnTo>
                    <a:pt x="322" y="3422"/>
                  </a:lnTo>
                  <a:lnTo>
                    <a:pt x="320" y="3422"/>
                  </a:lnTo>
                  <a:lnTo>
                    <a:pt x="314" y="3420"/>
                  </a:lnTo>
                  <a:lnTo>
                    <a:pt x="310" y="3422"/>
                  </a:lnTo>
                  <a:lnTo>
                    <a:pt x="308" y="3424"/>
                  </a:lnTo>
                  <a:lnTo>
                    <a:pt x="308" y="3426"/>
                  </a:lnTo>
                  <a:lnTo>
                    <a:pt x="310" y="3428"/>
                  </a:lnTo>
                  <a:lnTo>
                    <a:pt x="312" y="3430"/>
                  </a:lnTo>
                  <a:lnTo>
                    <a:pt x="312" y="3432"/>
                  </a:lnTo>
                  <a:lnTo>
                    <a:pt x="316" y="3432"/>
                  </a:lnTo>
                  <a:lnTo>
                    <a:pt x="320" y="3430"/>
                  </a:lnTo>
                  <a:lnTo>
                    <a:pt x="322" y="3432"/>
                  </a:lnTo>
                  <a:lnTo>
                    <a:pt x="322" y="3434"/>
                  </a:lnTo>
                  <a:lnTo>
                    <a:pt x="322" y="3442"/>
                  </a:lnTo>
                  <a:lnTo>
                    <a:pt x="324" y="3444"/>
                  </a:lnTo>
                  <a:lnTo>
                    <a:pt x="328" y="3448"/>
                  </a:lnTo>
                  <a:lnTo>
                    <a:pt x="330" y="3448"/>
                  </a:lnTo>
                  <a:lnTo>
                    <a:pt x="332" y="3448"/>
                  </a:lnTo>
                  <a:lnTo>
                    <a:pt x="332" y="3442"/>
                  </a:lnTo>
                  <a:lnTo>
                    <a:pt x="332" y="3438"/>
                  </a:lnTo>
                  <a:lnTo>
                    <a:pt x="334" y="3438"/>
                  </a:lnTo>
                  <a:lnTo>
                    <a:pt x="336" y="3440"/>
                  </a:lnTo>
                  <a:lnTo>
                    <a:pt x="340" y="3438"/>
                  </a:lnTo>
                  <a:lnTo>
                    <a:pt x="342" y="3438"/>
                  </a:lnTo>
                  <a:lnTo>
                    <a:pt x="342" y="3442"/>
                  </a:lnTo>
                  <a:lnTo>
                    <a:pt x="340" y="3448"/>
                  </a:lnTo>
                  <a:lnTo>
                    <a:pt x="336" y="3450"/>
                  </a:lnTo>
                  <a:lnTo>
                    <a:pt x="334" y="3452"/>
                  </a:lnTo>
                  <a:lnTo>
                    <a:pt x="338" y="3454"/>
                  </a:lnTo>
                  <a:lnTo>
                    <a:pt x="342" y="3454"/>
                  </a:lnTo>
                  <a:lnTo>
                    <a:pt x="346" y="3454"/>
                  </a:lnTo>
                  <a:lnTo>
                    <a:pt x="348" y="3452"/>
                  </a:lnTo>
                  <a:lnTo>
                    <a:pt x="350" y="3452"/>
                  </a:lnTo>
                  <a:lnTo>
                    <a:pt x="352" y="3452"/>
                  </a:lnTo>
                  <a:lnTo>
                    <a:pt x="352" y="3450"/>
                  </a:lnTo>
                  <a:lnTo>
                    <a:pt x="354" y="3448"/>
                  </a:lnTo>
                  <a:lnTo>
                    <a:pt x="356" y="3450"/>
                  </a:lnTo>
                  <a:close/>
                  <a:moveTo>
                    <a:pt x="490" y="3366"/>
                  </a:moveTo>
                  <a:lnTo>
                    <a:pt x="490" y="3366"/>
                  </a:lnTo>
                  <a:lnTo>
                    <a:pt x="488" y="3366"/>
                  </a:lnTo>
                  <a:lnTo>
                    <a:pt x="486" y="3364"/>
                  </a:lnTo>
                  <a:lnTo>
                    <a:pt x="482" y="3360"/>
                  </a:lnTo>
                  <a:lnTo>
                    <a:pt x="480" y="3354"/>
                  </a:lnTo>
                  <a:lnTo>
                    <a:pt x="478" y="3352"/>
                  </a:lnTo>
                  <a:lnTo>
                    <a:pt x="476" y="3352"/>
                  </a:lnTo>
                  <a:lnTo>
                    <a:pt x="472" y="3356"/>
                  </a:lnTo>
                  <a:lnTo>
                    <a:pt x="468" y="3364"/>
                  </a:lnTo>
                  <a:lnTo>
                    <a:pt x="464" y="3370"/>
                  </a:lnTo>
                  <a:lnTo>
                    <a:pt x="460" y="3374"/>
                  </a:lnTo>
                  <a:lnTo>
                    <a:pt x="454" y="3374"/>
                  </a:lnTo>
                  <a:lnTo>
                    <a:pt x="450" y="3372"/>
                  </a:lnTo>
                  <a:lnTo>
                    <a:pt x="446" y="3368"/>
                  </a:lnTo>
                  <a:lnTo>
                    <a:pt x="440" y="3370"/>
                  </a:lnTo>
                  <a:lnTo>
                    <a:pt x="438" y="3370"/>
                  </a:lnTo>
                  <a:lnTo>
                    <a:pt x="440" y="3372"/>
                  </a:lnTo>
                  <a:lnTo>
                    <a:pt x="442" y="3374"/>
                  </a:lnTo>
                  <a:lnTo>
                    <a:pt x="444" y="3376"/>
                  </a:lnTo>
                  <a:lnTo>
                    <a:pt x="444" y="3378"/>
                  </a:lnTo>
                  <a:lnTo>
                    <a:pt x="448" y="3380"/>
                  </a:lnTo>
                  <a:lnTo>
                    <a:pt x="450" y="3382"/>
                  </a:lnTo>
                  <a:lnTo>
                    <a:pt x="448" y="3384"/>
                  </a:lnTo>
                  <a:lnTo>
                    <a:pt x="446" y="3388"/>
                  </a:lnTo>
                  <a:lnTo>
                    <a:pt x="444" y="3388"/>
                  </a:lnTo>
                  <a:lnTo>
                    <a:pt x="440" y="3384"/>
                  </a:lnTo>
                  <a:lnTo>
                    <a:pt x="438" y="3382"/>
                  </a:lnTo>
                  <a:lnTo>
                    <a:pt x="438" y="3384"/>
                  </a:lnTo>
                  <a:lnTo>
                    <a:pt x="436" y="3388"/>
                  </a:lnTo>
                  <a:lnTo>
                    <a:pt x="436" y="3398"/>
                  </a:lnTo>
                  <a:lnTo>
                    <a:pt x="440" y="3410"/>
                  </a:lnTo>
                  <a:lnTo>
                    <a:pt x="442" y="3412"/>
                  </a:lnTo>
                  <a:lnTo>
                    <a:pt x="448" y="3414"/>
                  </a:lnTo>
                  <a:lnTo>
                    <a:pt x="460" y="3410"/>
                  </a:lnTo>
                  <a:lnTo>
                    <a:pt x="474" y="3406"/>
                  </a:lnTo>
                  <a:lnTo>
                    <a:pt x="478" y="3406"/>
                  </a:lnTo>
                  <a:lnTo>
                    <a:pt x="480" y="3408"/>
                  </a:lnTo>
                  <a:lnTo>
                    <a:pt x="482" y="3414"/>
                  </a:lnTo>
                  <a:lnTo>
                    <a:pt x="478" y="3418"/>
                  </a:lnTo>
                  <a:lnTo>
                    <a:pt x="472" y="3422"/>
                  </a:lnTo>
                  <a:lnTo>
                    <a:pt x="466" y="3424"/>
                  </a:lnTo>
                  <a:lnTo>
                    <a:pt x="452" y="3430"/>
                  </a:lnTo>
                  <a:lnTo>
                    <a:pt x="448" y="3434"/>
                  </a:lnTo>
                  <a:lnTo>
                    <a:pt x="448" y="3438"/>
                  </a:lnTo>
                  <a:lnTo>
                    <a:pt x="452" y="3446"/>
                  </a:lnTo>
                  <a:lnTo>
                    <a:pt x="458" y="3452"/>
                  </a:lnTo>
                  <a:lnTo>
                    <a:pt x="464" y="3458"/>
                  </a:lnTo>
                  <a:lnTo>
                    <a:pt x="474" y="3462"/>
                  </a:lnTo>
                  <a:lnTo>
                    <a:pt x="488" y="3470"/>
                  </a:lnTo>
                  <a:lnTo>
                    <a:pt x="494" y="3472"/>
                  </a:lnTo>
                  <a:lnTo>
                    <a:pt x="496" y="3474"/>
                  </a:lnTo>
                  <a:lnTo>
                    <a:pt x="482" y="3472"/>
                  </a:lnTo>
                  <a:lnTo>
                    <a:pt x="476" y="3468"/>
                  </a:lnTo>
                  <a:lnTo>
                    <a:pt x="474" y="3468"/>
                  </a:lnTo>
                  <a:lnTo>
                    <a:pt x="472" y="3468"/>
                  </a:lnTo>
                  <a:lnTo>
                    <a:pt x="470" y="3470"/>
                  </a:lnTo>
                  <a:lnTo>
                    <a:pt x="468" y="3470"/>
                  </a:lnTo>
                  <a:lnTo>
                    <a:pt x="462" y="3466"/>
                  </a:lnTo>
                  <a:lnTo>
                    <a:pt x="456" y="3464"/>
                  </a:lnTo>
                  <a:lnTo>
                    <a:pt x="452" y="3464"/>
                  </a:lnTo>
                  <a:lnTo>
                    <a:pt x="450" y="3464"/>
                  </a:lnTo>
                  <a:lnTo>
                    <a:pt x="448" y="3466"/>
                  </a:lnTo>
                  <a:lnTo>
                    <a:pt x="448" y="3468"/>
                  </a:lnTo>
                  <a:lnTo>
                    <a:pt x="448" y="3472"/>
                  </a:lnTo>
                  <a:lnTo>
                    <a:pt x="450" y="3472"/>
                  </a:lnTo>
                  <a:lnTo>
                    <a:pt x="448" y="3472"/>
                  </a:lnTo>
                  <a:lnTo>
                    <a:pt x="442" y="3468"/>
                  </a:lnTo>
                  <a:lnTo>
                    <a:pt x="422" y="3454"/>
                  </a:lnTo>
                  <a:lnTo>
                    <a:pt x="416" y="3452"/>
                  </a:lnTo>
                  <a:lnTo>
                    <a:pt x="416" y="3454"/>
                  </a:lnTo>
                  <a:lnTo>
                    <a:pt x="418" y="3456"/>
                  </a:lnTo>
                  <a:lnTo>
                    <a:pt x="422" y="3462"/>
                  </a:lnTo>
                  <a:lnTo>
                    <a:pt x="428" y="3464"/>
                  </a:lnTo>
                  <a:lnTo>
                    <a:pt x="430" y="3466"/>
                  </a:lnTo>
                  <a:lnTo>
                    <a:pt x="426" y="3466"/>
                  </a:lnTo>
                  <a:lnTo>
                    <a:pt x="420" y="3466"/>
                  </a:lnTo>
                  <a:lnTo>
                    <a:pt x="418" y="3468"/>
                  </a:lnTo>
                  <a:lnTo>
                    <a:pt x="416" y="3472"/>
                  </a:lnTo>
                  <a:lnTo>
                    <a:pt x="414" y="3476"/>
                  </a:lnTo>
                  <a:lnTo>
                    <a:pt x="408" y="3474"/>
                  </a:lnTo>
                  <a:lnTo>
                    <a:pt x="398" y="3470"/>
                  </a:lnTo>
                  <a:lnTo>
                    <a:pt x="398" y="3472"/>
                  </a:lnTo>
                  <a:lnTo>
                    <a:pt x="396" y="3474"/>
                  </a:lnTo>
                  <a:lnTo>
                    <a:pt x="392" y="3472"/>
                  </a:lnTo>
                  <a:lnTo>
                    <a:pt x="380" y="3470"/>
                  </a:lnTo>
                  <a:lnTo>
                    <a:pt x="380" y="3472"/>
                  </a:lnTo>
                  <a:lnTo>
                    <a:pt x="382" y="3476"/>
                  </a:lnTo>
                  <a:lnTo>
                    <a:pt x="386" y="3478"/>
                  </a:lnTo>
                  <a:lnTo>
                    <a:pt x="386" y="3480"/>
                  </a:lnTo>
                  <a:lnTo>
                    <a:pt x="382" y="3480"/>
                  </a:lnTo>
                  <a:lnTo>
                    <a:pt x="376" y="3476"/>
                  </a:lnTo>
                  <a:lnTo>
                    <a:pt x="374" y="3474"/>
                  </a:lnTo>
                  <a:lnTo>
                    <a:pt x="372" y="3474"/>
                  </a:lnTo>
                  <a:lnTo>
                    <a:pt x="374" y="3476"/>
                  </a:lnTo>
                  <a:lnTo>
                    <a:pt x="374" y="3482"/>
                  </a:lnTo>
                  <a:lnTo>
                    <a:pt x="374" y="3484"/>
                  </a:lnTo>
                  <a:lnTo>
                    <a:pt x="374" y="3486"/>
                  </a:lnTo>
                  <a:lnTo>
                    <a:pt x="376" y="3486"/>
                  </a:lnTo>
                  <a:lnTo>
                    <a:pt x="380" y="3488"/>
                  </a:lnTo>
                  <a:lnTo>
                    <a:pt x="384" y="3486"/>
                  </a:lnTo>
                  <a:lnTo>
                    <a:pt x="390" y="3486"/>
                  </a:lnTo>
                  <a:lnTo>
                    <a:pt x="394" y="3488"/>
                  </a:lnTo>
                  <a:lnTo>
                    <a:pt x="396" y="3488"/>
                  </a:lnTo>
                  <a:lnTo>
                    <a:pt x="398" y="3484"/>
                  </a:lnTo>
                  <a:lnTo>
                    <a:pt x="400" y="3480"/>
                  </a:lnTo>
                  <a:lnTo>
                    <a:pt x="402" y="3480"/>
                  </a:lnTo>
                  <a:lnTo>
                    <a:pt x="404" y="3480"/>
                  </a:lnTo>
                  <a:lnTo>
                    <a:pt x="402" y="3484"/>
                  </a:lnTo>
                  <a:lnTo>
                    <a:pt x="402" y="3486"/>
                  </a:lnTo>
                  <a:lnTo>
                    <a:pt x="404" y="3488"/>
                  </a:lnTo>
                  <a:lnTo>
                    <a:pt x="408" y="3488"/>
                  </a:lnTo>
                  <a:lnTo>
                    <a:pt x="412" y="3486"/>
                  </a:lnTo>
                  <a:lnTo>
                    <a:pt x="416" y="3486"/>
                  </a:lnTo>
                  <a:lnTo>
                    <a:pt x="414" y="3488"/>
                  </a:lnTo>
                  <a:lnTo>
                    <a:pt x="412" y="3492"/>
                  </a:lnTo>
                  <a:lnTo>
                    <a:pt x="414" y="3494"/>
                  </a:lnTo>
                  <a:lnTo>
                    <a:pt x="416" y="3492"/>
                  </a:lnTo>
                  <a:lnTo>
                    <a:pt x="418" y="3494"/>
                  </a:lnTo>
                  <a:lnTo>
                    <a:pt x="422" y="3498"/>
                  </a:lnTo>
                  <a:lnTo>
                    <a:pt x="424" y="3498"/>
                  </a:lnTo>
                  <a:lnTo>
                    <a:pt x="428" y="3496"/>
                  </a:lnTo>
                  <a:lnTo>
                    <a:pt x="432" y="3496"/>
                  </a:lnTo>
                  <a:lnTo>
                    <a:pt x="438" y="3498"/>
                  </a:lnTo>
                  <a:lnTo>
                    <a:pt x="442" y="3498"/>
                  </a:lnTo>
                  <a:lnTo>
                    <a:pt x="446" y="3496"/>
                  </a:lnTo>
                  <a:lnTo>
                    <a:pt x="450" y="3496"/>
                  </a:lnTo>
                  <a:lnTo>
                    <a:pt x="452" y="3498"/>
                  </a:lnTo>
                  <a:lnTo>
                    <a:pt x="452" y="3500"/>
                  </a:lnTo>
                  <a:lnTo>
                    <a:pt x="456" y="3498"/>
                  </a:lnTo>
                  <a:lnTo>
                    <a:pt x="458" y="3496"/>
                  </a:lnTo>
                  <a:lnTo>
                    <a:pt x="462" y="3496"/>
                  </a:lnTo>
                  <a:lnTo>
                    <a:pt x="464" y="3496"/>
                  </a:lnTo>
                  <a:lnTo>
                    <a:pt x="466" y="3492"/>
                  </a:lnTo>
                  <a:lnTo>
                    <a:pt x="468" y="3494"/>
                  </a:lnTo>
                  <a:lnTo>
                    <a:pt x="470" y="3498"/>
                  </a:lnTo>
                  <a:lnTo>
                    <a:pt x="478" y="3500"/>
                  </a:lnTo>
                  <a:lnTo>
                    <a:pt x="496" y="3504"/>
                  </a:lnTo>
                  <a:lnTo>
                    <a:pt x="502" y="3504"/>
                  </a:lnTo>
                  <a:lnTo>
                    <a:pt x="504" y="3504"/>
                  </a:lnTo>
                  <a:lnTo>
                    <a:pt x="504" y="3502"/>
                  </a:lnTo>
                  <a:lnTo>
                    <a:pt x="504" y="3500"/>
                  </a:lnTo>
                  <a:lnTo>
                    <a:pt x="506" y="3500"/>
                  </a:lnTo>
                  <a:lnTo>
                    <a:pt x="510" y="3502"/>
                  </a:lnTo>
                  <a:lnTo>
                    <a:pt x="510" y="3364"/>
                  </a:lnTo>
                  <a:lnTo>
                    <a:pt x="508" y="3362"/>
                  </a:lnTo>
                  <a:lnTo>
                    <a:pt x="504" y="3360"/>
                  </a:lnTo>
                  <a:lnTo>
                    <a:pt x="500" y="3360"/>
                  </a:lnTo>
                  <a:lnTo>
                    <a:pt x="496" y="3364"/>
                  </a:lnTo>
                  <a:lnTo>
                    <a:pt x="490" y="3366"/>
                  </a:lnTo>
                  <a:close/>
                  <a:moveTo>
                    <a:pt x="298" y="2826"/>
                  </a:moveTo>
                  <a:lnTo>
                    <a:pt x="298" y="2826"/>
                  </a:lnTo>
                  <a:lnTo>
                    <a:pt x="304" y="2826"/>
                  </a:lnTo>
                  <a:lnTo>
                    <a:pt x="306" y="2824"/>
                  </a:lnTo>
                  <a:lnTo>
                    <a:pt x="306" y="2822"/>
                  </a:lnTo>
                  <a:lnTo>
                    <a:pt x="304" y="2820"/>
                  </a:lnTo>
                  <a:lnTo>
                    <a:pt x="302" y="2814"/>
                  </a:lnTo>
                  <a:lnTo>
                    <a:pt x="304" y="2812"/>
                  </a:lnTo>
                  <a:lnTo>
                    <a:pt x="308" y="2812"/>
                  </a:lnTo>
                  <a:lnTo>
                    <a:pt x="310" y="2812"/>
                  </a:lnTo>
                  <a:lnTo>
                    <a:pt x="312" y="2810"/>
                  </a:lnTo>
                  <a:lnTo>
                    <a:pt x="310" y="2806"/>
                  </a:lnTo>
                  <a:lnTo>
                    <a:pt x="308" y="2800"/>
                  </a:lnTo>
                  <a:lnTo>
                    <a:pt x="308" y="2798"/>
                  </a:lnTo>
                  <a:lnTo>
                    <a:pt x="310" y="2798"/>
                  </a:lnTo>
                  <a:lnTo>
                    <a:pt x="314" y="2798"/>
                  </a:lnTo>
                  <a:lnTo>
                    <a:pt x="314" y="2794"/>
                  </a:lnTo>
                  <a:lnTo>
                    <a:pt x="304" y="2784"/>
                  </a:lnTo>
                  <a:lnTo>
                    <a:pt x="302" y="2780"/>
                  </a:lnTo>
                  <a:lnTo>
                    <a:pt x="302" y="2778"/>
                  </a:lnTo>
                  <a:lnTo>
                    <a:pt x="306" y="2776"/>
                  </a:lnTo>
                  <a:lnTo>
                    <a:pt x="306" y="2774"/>
                  </a:lnTo>
                  <a:lnTo>
                    <a:pt x="306" y="2770"/>
                  </a:lnTo>
                  <a:lnTo>
                    <a:pt x="306" y="2768"/>
                  </a:lnTo>
                  <a:lnTo>
                    <a:pt x="316" y="2764"/>
                  </a:lnTo>
                  <a:lnTo>
                    <a:pt x="318" y="2764"/>
                  </a:lnTo>
                  <a:lnTo>
                    <a:pt x="320" y="2762"/>
                  </a:lnTo>
                  <a:lnTo>
                    <a:pt x="318" y="2758"/>
                  </a:lnTo>
                  <a:lnTo>
                    <a:pt x="312" y="2748"/>
                  </a:lnTo>
                  <a:lnTo>
                    <a:pt x="310" y="2740"/>
                  </a:lnTo>
                  <a:lnTo>
                    <a:pt x="308" y="2738"/>
                  </a:lnTo>
                  <a:lnTo>
                    <a:pt x="302" y="2738"/>
                  </a:lnTo>
                  <a:lnTo>
                    <a:pt x="298" y="2740"/>
                  </a:lnTo>
                  <a:lnTo>
                    <a:pt x="298" y="2738"/>
                  </a:lnTo>
                  <a:lnTo>
                    <a:pt x="298" y="2736"/>
                  </a:lnTo>
                  <a:lnTo>
                    <a:pt x="296" y="2736"/>
                  </a:lnTo>
                  <a:lnTo>
                    <a:pt x="292" y="2736"/>
                  </a:lnTo>
                  <a:lnTo>
                    <a:pt x="290" y="2736"/>
                  </a:lnTo>
                  <a:lnTo>
                    <a:pt x="290" y="2738"/>
                  </a:lnTo>
                  <a:lnTo>
                    <a:pt x="290" y="2744"/>
                  </a:lnTo>
                  <a:lnTo>
                    <a:pt x="290" y="2752"/>
                  </a:lnTo>
                  <a:lnTo>
                    <a:pt x="288" y="2756"/>
                  </a:lnTo>
                  <a:lnTo>
                    <a:pt x="286" y="2762"/>
                  </a:lnTo>
                  <a:lnTo>
                    <a:pt x="284" y="2770"/>
                  </a:lnTo>
                  <a:lnTo>
                    <a:pt x="284" y="2778"/>
                  </a:lnTo>
                  <a:lnTo>
                    <a:pt x="286" y="2782"/>
                  </a:lnTo>
                  <a:lnTo>
                    <a:pt x="286" y="2790"/>
                  </a:lnTo>
                  <a:lnTo>
                    <a:pt x="282" y="2802"/>
                  </a:lnTo>
                  <a:lnTo>
                    <a:pt x="278" y="2814"/>
                  </a:lnTo>
                  <a:lnTo>
                    <a:pt x="278" y="2818"/>
                  </a:lnTo>
                  <a:lnTo>
                    <a:pt x="280" y="2822"/>
                  </a:lnTo>
                  <a:lnTo>
                    <a:pt x="286" y="2824"/>
                  </a:lnTo>
                  <a:lnTo>
                    <a:pt x="298" y="2826"/>
                  </a:lnTo>
                  <a:close/>
                  <a:moveTo>
                    <a:pt x="316" y="2894"/>
                  </a:moveTo>
                  <a:lnTo>
                    <a:pt x="316" y="2894"/>
                  </a:lnTo>
                  <a:lnTo>
                    <a:pt x="316" y="2898"/>
                  </a:lnTo>
                  <a:lnTo>
                    <a:pt x="318" y="2902"/>
                  </a:lnTo>
                  <a:lnTo>
                    <a:pt x="318" y="2904"/>
                  </a:lnTo>
                  <a:lnTo>
                    <a:pt x="318" y="2906"/>
                  </a:lnTo>
                  <a:lnTo>
                    <a:pt x="320" y="2908"/>
                  </a:lnTo>
                  <a:lnTo>
                    <a:pt x="324" y="2910"/>
                  </a:lnTo>
                  <a:lnTo>
                    <a:pt x="330" y="2910"/>
                  </a:lnTo>
                  <a:lnTo>
                    <a:pt x="336" y="2902"/>
                  </a:lnTo>
                  <a:lnTo>
                    <a:pt x="338" y="2900"/>
                  </a:lnTo>
                  <a:lnTo>
                    <a:pt x="338" y="2898"/>
                  </a:lnTo>
                  <a:lnTo>
                    <a:pt x="338" y="2896"/>
                  </a:lnTo>
                  <a:lnTo>
                    <a:pt x="342" y="2894"/>
                  </a:lnTo>
                  <a:lnTo>
                    <a:pt x="344" y="2890"/>
                  </a:lnTo>
                  <a:lnTo>
                    <a:pt x="342" y="2886"/>
                  </a:lnTo>
                  <a:lnTo>
                    <a:pt x="338" y="2882"/>
                  </a:lnTo>
                  <a:lnTo>
                    <a:pt x="332" y="2880"/>
                  </a:lnTo>
                  <a:lnTo>
                    <a:pt x="330" y="2880"/>
                  </a:lnTo>
                  <a:lnTo>
                    <a:pt x="330" y="2882"/>
                  </a:lnTo>
                  <a:lnTo>
                    <a:pt x="328" y="2882"/>
                  </a:lnTo>
                  <a:lnTo>
                    <a:pt x="326" y="2882"/>
                  </a:lnTo>
                  <a:lnTo>
                    <a:pt x="324" y="2882"/>
                  </a:lnTo>
                  <a:lnTo>
                    <a:pt x="324" y="2884"/>
                  </a:lnTo>
                  <a:lnTo>
                    <a:pt x="322" y="2888"/>
                  </a:lnTo>
                  <a:lnTo>
                    <a:pt x="322" y="2892"/>
                  </a:lnTo>
                  <a:lnTo>
                    <a:pt x="320" y="2894"/>
                  </a:lnTo>
                  <a:lnTo>
                    <a:pt x="318" y="2894"/>
                  </a:lnTo>
                  <a:lnTo>
                    <a:pt x="316" y="2894"/>
                  </a:lnTo>
                  <a:close/>
                  <a:moveTo>
                    <a:pt x="258" y="2836"/>
                  </a:moveTo>
                  <a:lnTo>
                    <a:pt x="258" y="2836"/>
                  </a:lnTo>
                  <a:lnTo>
                    <a:pt x="262" y="2838"/>
                  </a:lnTo>
                  <a:lnTo>
                    <a:pt x="264" y="2838"/>
                  </a:lnTo>
                  <a:lnTo>
                    <a:pt x="266" y="2836"/>
                  </a:lnTo>
                  <a:lnTo>
                    <a:pt x="266" y="2834"/>
                  </a:lnTo>
                  <a:lnTo>
                    <a:pt x="262" y="2832"/>
                  </a:lnTo>
                  <a:lnTo>
                    <a:pt x="260" y="2832"/>
                  </a:lnTo>
                  <a:lnTo>
                    <a:pt x="258" y="2834"/>
                  </a:lnTo>
                  <a:lnTo>
                    <a:pt x="258" y="2836"/>
                  </a:lnTo>
                  <a:close/>
                  <a:moveTo>
                    <a:pt x="324" y="2852"/>
                  </a:moveTo>
                  <a:lnTo>
                    <a:pt x="324" y="2852"/>
                  </a:lnTo>
                  <a:lnTo>
                    <a:pt x="320" y="2856"/>
                  </a:lnTo>
                  <a:lnTo>
                    <a:pt x="322" y="2858"/>
                  </a:lnTo>
                  <a:lnTo>
                    <a:pt x="324" y="2860"/>
                  </a:lnTo>
                  <a:lnTo>
                    <a:pt x="326" y="2858"/>
                  </a:lnTo>
                  <a:lnTo>
                    <a:pt x="326" y="2854"/>
                  </a:lnTo>
                  <a:lnTo>
                    <a:pt x="326" y="2852"/>
                  </a:lnTo>
                  <a:lnTo>
                    <a:pt x="324" y="2850"/>
                  </a:lnTo>
                  <a:lnTo>
                    <a:pt x="324" y="2852"/>
                  </a:lnTo>
                  <a:close/>
                  <a:moveTo>
                    <a:pt x="266" y="2958"/>
                  </a:moveTo>
                  <a:lnTo>
                    <a:pt x="266" y="2958"/>
                  </a:lnTo>
                  <a:lnTo>
                    <a:pt x="270" y="2958"/>
                  </a:lnTo>
                  <a:lnTo>
                    <a:pt x="270" y="2954"/>
                  </a:lnTo>
                  <a:lnTo>
                    <a:pt x="270" y="2950"/>
                  </a:lnTo>
                  <a:lnTo>
                    <a:pt x="268" y="2950"/>
                  </a:lnTo>
                  <a:lnTo>
                    <a:pt x="266" y="2952"/>
                  </a:lnTo>
                  <a:lnTo>
                    <a:pt x="264" y="2954"/>
                  </a:lnTo>
                  <a:lnTo>
                    <a:pt x="264" y="2956"/>
                  </a:lnTo>
                  <a:lnTo>
                    <a:pt x="266" y="2958"/>
                  </a:lnTo>
                  <a:close/>
                  <a:moveTo>
                    <a:pt x="244" y="3242"/>
                  </a:moveTo>
                  <a:lnTo>
                    <a:pt x="244" y="3242"/>
                  </a:lnTo>
                  <a:lnTo>
                    <a:pt x="248" y="3238"/>
                  </a:lnTo>
                  <a:lnTo>
                    <a:pt x="248" y="3236"/>
                  </a:lnTo>
                  <a:lnTo>
                    <a:pt x="246" y="3236"/>
                  </a:lnTo>
                  <a:lnTo>
                    <a:pt x="240" y="3234"/>
                  </a:lnTo>
                  <a:lnTo>
                    <a:pt x="234" y="3234"/>
                  </a:lnTo>
                  <a:lnTo>
                    <a:pt x="234" y="3236"/>
                  </a:lnTo>
                  <a:lnTo>
                    <a:pt x="236" y="3240"/>
                  </a:lnTo>
                  <a:lnTo>
                    <a:pt x="236" y="3242"/>
                  </a:lnTo>
                  <a:lnTo>
                    <a:pt x="232" y="3248"/>
                  </a:lnTo>
                  <a:lnTo>
                    <a:pt x="234" y="3250"/>
                  </a:lnTo>
                  <a:lnTo>
                    <a:pt x="238" y="3252"/>
                  </a:lnTo>
                  <a:lnTo>
                    <a:pt x="242" y="3254"/>
                  </a:lnTo>
                  <a:lnTo>
                    <a:pt x="242" y="3250"/>
                  </a:lnTo>
                  <a:lnTo>
                    <a:pt x="242" y="3246"/>
                  </a:lnTo>
                  <a:lnTo>
                    <a:pt x="244" y="3242"/>
                  </a:lnTo>
                  <a:close/>
                  <a:moveTo>
                    <a:pt x="302" y="2848"/>
                  </a:moveTo>
                  <a:lnTo>
                    <a:pt x="302" y="2848"/>
                  </a:lnTo>
                  <a:lnTo>
                    <a:pt x="300" y="2846"/>
                  </a:lnTo>
                  <a:lnTo>
                    <a:pt x="298" y="2846"/>
                  </a:lnTo>
                  <a:lnTo>
                    <a:pt x="296" y="2846"/>
                  </a:lnTo>
                  <a:lnTo>
                    <a:pt x="292" y="2846"/>
                  </a:lnTo>
                  <a:lnTo>
                    <a:pt x="288" y="2846"/>
                  </a:lnTo>
                  <a:lnTo>
                    <a:pt x="286" y="2848"/>
                  </a:lnTo>
                  <a:lnTo>
                    <a:pt x="288" y="2850"/>
                  </a:lnTo>
                  <a:lnTo>
                    <a:pt x="292" y="2854"/>
                  </a:lnTo>
                  <a:lnTo>
                    <a:pt x="294" y="2854"/>
                  </a:lnTo>
                  <a:lnTo>
                    <a:pt x="296" y="2854"/>
                  </a:lnTo>
                  <a:lnTo>
                    <a:pt x="300" y="2852"/>
                  </a:lnTo>
                  <a:lnTo>
                    <a:pt x="302" y="2850"/>
                  </a:lnTo>
                  <a:lnTo>
                    <a:pt x="302" y="2848"/>
                  </a:lnTo>
                  <a:close/>
                  <a:moveTo>
                    <a:pt x="302" y="2912"/>
                  </a:moveTo>
                  <a:lnTo>
                    <a:pt x="302" y="2912"/>
                  </a:lnTo>
                  <a:lnTo>
                    <a:pt x="304" y="2910"/>
                  </a:lnTo>
                  <a:lnTo>
                    <a:pt x="302" y="2906"/>
                  </a:lnTo>
                  <a:lnTo>
                    <a:pt x="300" y="2904"/>
                  </a:lnTo>
                  <a:lnTo>
                    <a:pt x="298" y="2904"/>
                  </a:lnTo>
                  <a:lnTo>
                    <a:pt x="296" y="2906"/>
                  </a:lnTo>
                  <a:lnTo>
                    <a:pt x="298" y="2910"/>
                  </a:lnTo>
                  <a:lnTo>
                    <a:pt x="300" y="2912"/>
                  </a:lnTo>
                  <a:lnTo>
                    <a:pt x="302" y="2912"/>
                  </a:lnTo>
                  <a:close/>
                  <a:moveTo>
                    <a:pt x="306" y="2942"/>
                  </a:moveTo>
                  <a:lnTo>
                    <a:pt x="306" y="2942"/>
                  </a:lnTo>
                  <a:lnTo>
                    <a:pt x="304" y="2942"/>
                  </a:lnTo>
                  <a:lnTo>
                    <a:pt x="302" y="2948"/>
                  </a:lnTo>
                  <a:lnTo>
                    <a:pt x="302" y="2952"/>
                  </a:lnTo>
                  <a:lnTo>
                    <a:pt x="304" y="2958"/>
                  </a:lnTo>
                  <a:lnTo>
                    <a:pt x="306" y="2958"/>
                  </a:lnTo>
                  <a:lnTo>
                    <a:pt x="308" y="2958"/>
                  </a:lnTo>
                  <a:lnTo>
                    <a:pt x="308" y="2952"/>
                  </a:lnTo>
                  <a:lnTo>
                    <a:pt x="310" y="2944"/>
                  </a:lnTo>
                  <a:lnTo>
                    <a:pt x="308" y="2942"/>
                  </a:lnTo>
                  <a:lnTo>
                    <a:pt x="306" y="2942"/>
                  </a:lnTo>
                  <a:close/>
                  <a:moveTo>
                    <a:pt x="278" y="2958"/>
                  </a:moveTo>
                  <a:lnTo>
                    <a:pt x="278" y="2958"/>
                  </a:lnTo>
                  <a:lnTo>
                    <a:pt x="280" y="2956"/>
                  </a:lnTo>
                  <a:lnTo>
                    <a:pt x="284" y="2952"/>
                  </a:lnTo>
                  <a:lnTo>
                    <a:pt x="286" y="2950"/>
                  </a:lnTo>
                  <a:lnTo>
                    <a:pt x="284" y="2946"/>
                  </a:lnTo>
                  <a:lnTo>
                    <a:pt x="280" y="2942"/>
                  </a:lnTo>
                  <a:lnTo>
                    <a:pt x="276" y="2942"/>
                  </a:lnTo>
                  <a:lnTo>
                    <a:pt x="274" y="2944"/>
                  </a:lnTo>
                  <a:lnTo>
                    <a:pt x="272" y="2946"/>
                  </a:lnTo>
                  <a:lnTo>
                    <a:pt x="274" y="2950"/>
                  </a:lnTo>
                  <a:lnTo>
                    <a:pt x="274" y="2952"/>
                  </a:lnTo>
                  <a:lnTo>
                    <a:pt x="274" y="2956"/>
                  </a:lnTo>
                  <a:lnTo>
                    <a:pt x="274" y="2958"/>
                  </a:lnTo>
                  <a:lnTo>
                    <a:pt x="278" y="2958"/>
                  </a:lnTo>
                  <a:close/>
                  <a:moveTo>
                    <a:pt x="1872" y="956"/>
                  </a:moveTo>
                  <a:lnTo>
                    <a:pt x="1872" y="956"/>
                  </a:lnTo>
                  <a:lnTo>
                    <a:pt x="1868" y="926"/>
                  </a:lnTo>
                  <a:lnTo>
                    <a:pt x="1864" y="900"/>
                  </a:lnTo>
                  <a:lnTo>
                    <a:pt x="1862" y="888"/>
                  </a:lnTo>
                  <a:lnTo>
                    <a:pt x="1858" y="876"/>
                  </a:lnTo>
                  <a:lnTo>
                    <a:pt x="1852" y="868"/>
                  </a:lnTo>
                  <a:lnTo>
                    <a:pt x="1844" y="858"/>
                  </a:lnTo>
                  <a:lnTo>
                    <a:pt x="1836" y="852"/>
                  </a:lnTo>
                  <a:lnTo>
                    <a:pt x="1830" y="850"/>
                  </a:lnTo>
                  <a:lnTo>
                    <a:pt x="1824" y="850"/>
                  </a:lnTo>
                  <a:lnTo>
                    <a:pt x="1816" y="850"/>
                  </a:lnTo>
                  <a:lnTo>
                    <a:pt x="1810" y="852"/>
                  </a:lnTo>
                  <a:lnTo>
                    <a:pt x="1800" y="850"/>
                  </a:lnTo>
                  <a:lnTo>
                    <a:pt x="1788" y="846"/>
                  </a:lnTo>
                  <a:lnTo>
                    <a:pt x="1774" y="838"/>
                  </a:lnTo>
                  <a:lnTo>
                    <a:pt x="1760" y="828"/>
                  </a:lnTo>
                  <a:lnTo>
                    <a:pt x="1750" y="820"/>
                  </a:lnTo>
                  <a:lnTo>
                    <a:pt x="1744" y="814"/>
                  </a:lnTo>
                  <a:lnTo>
                    <a:pt x="1740" y="808"/>
                  </a:lnTo>
                  <a:lnTo>
                    <a:pt x="1734" y="796"/>
                  </a:lnTo>
                  <a:lnTo>
                    <a:pt x="1728" y="788"/>
                  </a:lnTo>
                  <a:lnTo>
                    <a:pt x="1718" y="780"/>
                  </a:lnTo>
                  <a:lnTo>
                    <a:pt x="1698" y="762"/>
                  </a:lnTo>
                  <a:lnTo>
                    <a:pt x="1688" y="754"/>
                  </a:lnTo>
                  <a:lnTo>
                    <a:pt x="1680" y="748"/>
                  </a:lnTo>
                  <a:lnTo>
                    <a:pt x="1670" y="742"/>
                  </a:lnTo>
                  <a:lnTo>
                    <a:pt x="1660" y="740"/>
                  </a:lnTo>
                  <a:lnTo>
                    <a:pt x="1646" y="740"/>
                  </a:lnTo>
                  <a:lnTo>
                    <a:pt x="1632" y="740"/>
                  </a:lnTo>
                  <a:lnTo>
                    <a:pt x="1618" y="742"/>
                  </a:lnTo>
                  <a:lnTo>
                    <a:pt x="1602" y="742"/>
                  </a:lnTo>
                  <a:lnTo>
                    <a:pt x="1590" y="742"/>
                  </a:lnTo>
                  <a:lnTo>
                    <a:pt x="1578" y="738"/>
                  </a:lnTo>
                  <a:lnTo>
                    <a:pt x="1556" y="732"/>
                  </a:lnTo>
                  <a:lnTo>
                    <a:pt x="1536" y="722"/>
                  </a:lnTo>
                  <a:lnTo>
                    <a:pt x="1530" y="722"/>
                  </a:lnTo>
                  <a:lnTo>
                    <a:pt x="1526" y="722"/>
                  </a:lnTo>
                  <a:lnTo>
                    <a:pt x="1516" y="724"/>
                  </a:lnTo>
                  <a:lnTo>
                    <a:pt x="1508" y="730"/>
                  </a:lnTo>
                  <a:lnTo>
                    <a:pt x="1500" y="738"/>
                  </a:lnTo>
                  <a:lnTo>
                    <a:pt x="1488" y="750"/>
                  </a:lnTo>
                  <a:lnTo>
                    <a:pt x="1482" y="754"/>
                  </a:lnTo>
                  <a:lnTo>
                    <a:pt x="1480" y="752"/>
                  </a:lnTo>
                  <a:lnTo>
                    <a:pt x="1478" y="748"/>
                  </a:lnTo>
                  <a:lnTo>
                    <a:pt x="1478" y="742"/>
                  </a:lnTo>
                  <a:lnTo>
                    <a:pt x="1482" y="728"/>
                  </a:lnTo>
                  <a:lnTo>
                    <a:pt x="1486" y="716"/>
                  </a:lnTo>
                  <a:lnTo>
                    <a:pt x="1488" y="712"/>
                  </a:lnTo>
                  <a:lnTo>
                    <a:pt x="1486" y="708"/>
                  </a:lnTo>
                  <a:lnTo>
                    <a:pt x="1482" y="702"/>
                  </a:lnTo>
                  <a:lnTo>
                    <a:pt x="1480" y="698"/>
                  </a:lnTo>
                  <a:lnTo>
                    <a:pt x="1478" y="688"/>
                  </a:lnTo>
                  <a:lnTo>
                    <a:pt x="1476" y="684"/>
                  </a:lnTo>
                  <a:lnTo>
                    <a:pt x="1470" y="680"/>
                  </a:lnTo>
                  <a:lnTo>
                    <a:pt x="1464" y="678"/>
                  </a:lnTo>
                  <a:lnTo>
                    <a:pt x="1454" y="674"/>
                  </a:lnTo>
                  <a:lnTo>
                    <a:pt x="1444" y="670"/>
                  </a:lnTo>
                  <a:lnTo>
                    <a:pt x="1438" y="668"/>
                  </a:lnTo>
                  <a:lnTo>
                    <a:pt x="1428" y="658"/>
                  </a:lnTo>
                  <a:lnTo>
                    <a:pt x="1420" y="652"/>
                  </a:lnTo>
                  <a:lnTo>
                    <a:pt x="1416" y="650"/>
                  </a:lnTo>
                  <a:lnTo>
                    <a:pt x="1410" y="650"/>
                  </a:lnTo>
                  <a:lnTo>
                    <a:pt x="1400" y="648"/>
                  </a:lnTo>
                  <a:lnTo>
                    <a:pt x="1392" y="644"/>
                  </a:lnTo>
                  <a:lnTo>
                    <a:pt x="1382" y="640"/>
                  </a:lnTo>
                  <a:lnTo>
                    <a:pt x="1362" y="638"/>
                  </a:lnTo>
                  <a:lnTo>
                    <a:pt x="1354" y="638"/>
                  </a:lnTo>
                  <a:lnTo>
                    <a:pt x="1348" y="640"/>
                  </a:lnTo>
                  <a:lnTo>
                    <a:pt x="1340" y="644"/>
                  </a:lnTo>
                  <a:lnTo>
                    <a:pt x="1332" y="654"/>
                  </a:lnTo>
                  <a:lnTo>
                    <a:pt x="1326" y="662"/>
                  </a:lnTo>
                  <a:lnTo>
                    <a:pt x="1318" y="676"/>
                  </a:lnTo>
                  <a:lnTo>
                    <a:pt x="1314" y="678"/>
                  </a:lnTo>
                  <a:lnTo>
                    <a:pt x="1312" y="674"/>
                  </a:lnTo>
                  <a:lnTo>
                    <a:pt x="1310" y="666"/>
                  </a:lnTo>
                  <a:lnTo>
                    <a:pt x="1314" y="658"/>
                  </a:lnTo>
                  <a:lnTo>
                    <a:pt x="1322" y="642"/>
                  </a:lnTo>
                  <a:lnTo>
                    <a:pt x="1326" y="634"/>
                  </a:lnTo>
                  <a:lnTo>
                    <a:pt x="1326" y="628"/>
                  </a:lnTo>
                  <a:lnTo>
                    <a:pt x="1326" y="626"/>
                  </a:lnTo>
                  <a:lnTo>
                    <a:pt x="1322" y="622"/>
                  </a:lnTo>
                  <a:lnTo>
                    <a:pt x="1314" y="618"/>
                  </a:lnTo>
                  <a:lnTo>
                    <a:pt x="1296" y="614"/>
                  </a:lnTo>
                  <a:lnTo>
                    <a:pt x="1288" y="614"/>
                  </a:lnTo>
                  <a:lnTo>
                    <a:pt x="1278" y="616"/>
                  </a:lnTo>
                  <a:lnTo>
                    <a:pt x="1256" y="612"/>
                  </a:lnTo>
                  <a:lnTo>
                    <a:pt x="1246" y="612"/>
                  </a:lnTo>
                  <a:lnTo>
                    <a:pt x="1240" y="614"/>
                  </a:lnTo>
                  <a:lnTo>
                    <a:pt x="1234" y="620"/>
                  </a:lnTo>
                  <a:lnTo>
                    <a:pt x="1230" y="626"/>
                  </a:lnTo>
                  <a:lnTo>
                    <a:pt x="1230" y="634"/>
                  </a:lnTo>
                  <a:lnTo>
                    <a:pt x="1228" y="642"/>
                  </a:lnTo>
                  <a:lnTo>
                    <a:pt x="1228" y="656"/>
                  </a:lnTo>
                  <a:lnTo>
                    <a:pt x="1226" y="652"/>
                  </a:lnTo>
                  <a:lnTo>
                    <a:pt x="1222" y="652"/>
                  </a:lnTo>
                  <a:lnTo>
                    <a:pt x="1216" y="658"/>
                  </a:lnTo>
                  <a:lnTo>
                    <a:pt x="1214" y="660"/>
                  </a:lnTo>
                  <a:lnTo>
                    <a:pt x="1212" y="660"/>
                  </a:lnTo>
                  <a:lnTo>
                    <a:pt x="1212" y="658"/>
                  </a:lnTo>
                  <a:lnTo>
                    <a:pt x="1214" y="650"/>
                  </a:lnTo>
                  <a:lnTo>
                    <a:pt x="1216" y="642"/>
                  </a:lnTo>
                  <a:lnTo>
                    <a:pt x="1214" y="638"/>
                  </a:lnTo>
                  <a:lnTo>
                    <a:pt x="1210" y="636"/>
                  </a:lnTo>
                  <a:lnTo>
                    <a:pt x="1206" y="638"/>
                  </a:lnTo>
                  <a:lnTo>
                    <a:pt x="1198" y="640"/>
                  </a:lnTo>
                  <a:lnTo>
                    <a:pt x="1198" y="636"/>
                  </a:lnTo>
                  <a:lnTo>
                    <a:pt x="1202" y="632"/>
                  </a:lnTo>
                  <a:lnTo>
                    <a:pt x="1202" y="628"/>
                  </a:lnTo>
                  <a:lnTo>
                    <a:pt x="1204" y="620"/>
                  </a:lnTo>
                  <a:lnTo>
                    <a:pt x="1204" y="616"/>
                  </a:lnTo>
                  <a:lnTo>
                    <a:pt x="1206" y="614"/>
                  </a:lnTo>
                  <a:lnTo>
                    <a:pt x="1210" y="610"/>
                  </a:lnTo>
                  <a:lnTo>
                    <a:pt x="1216" y="608"/>
                  </a:lnTo>
                  <a:lnTo>
                    <a:pt x="1224" y="604"/>
                  </a:lnTo>
                  <a:lnTo>
                    <a:pt x="1230" y="596"/>
                  </a:lnTo>
                  <a:lnTo>
                    <a:pt x="1240" y="582"/>
                  </a:lnTo>
                  <a:lnTo>
                    <a:pt x="1248" y="566"/>
                  </a:lnTo>
                  <a:lnTo>
                    <a:pt x="1254" y="560"/>
                  </a:lnTo>
                  <a:lnTo>
                    <a:pt x="1260" y="556"/>
                  </a:lnTo>
                  <a:lnTo>
                    <a:pt x="1264" y="554"/>
                  </a:lnTo>
                  <a:lnTo>
                    <a:pt x="1266" y="548"/>
                  </a:lnTo>
                  <a:lnTo>
                    <a:pt x="1266" y="542"/>
                  </a:lnTo>
                  <a:lnTo>
                    <a:pt x="1266" y="536"/>
                  </a:lnTo>
                  <a:lnTo>
                    <a:pt x="1264" y="528"/>
                  </a:lnTo>
                  <a:lnTo>
                    <a:pt x="1260" y="524"/>
                  </a:lnTo>
                  <a:lnTo>
                    <a:pt x="1256" y="520"/>
                  </a:lnTo>
                  <a:lnTo>
                    <a:pt x="1252" y="518"/>
                  </a:lnTo>
                  <a:lnTo>
                    <a:pt x="1244" y="518"/>
                  </a:lnTo>
                  <a:lnTo>
                    <a:pt x="1240" y="516"/>
                  </a:lnTo>
                  <a:lnTo>
                    <a:pt x="1238" y="514"/>
                  </a:lnTo>
                  <a:lnTo>
                    <a:pt x="1238" y="508"/>
                  </a:lnTo>
                  <a:lnTo>
                    <a:pt x="1236" y="504"/>
                  </a:lnTo>
                  <a:lnTo>
                    <a:pt x="1234" y="502"/>
                  </a:lnTo>
                  <a:lnTo>
                    <a:pt x="1234" y="500"/>
                  </a:lnTo>
                  <a:lnTo>
                    <a:pt x="1232" y="494"/>
                  </a:lnTo>
                  <a:lnTo>
                    <a:pt x="1232" y="490"/>
                  </a:lnTo>
                  <a:lnTo>
                    <a:pt x="1230" y="488"/>
                  </a:lnTo>
                  <a:lnTo>
                    <a:pt x="1228" y="484"/>
                  </a:lnTo>
                  <a:lnTo>
                    <a:pt x="1226" y="480"/>
                  </a:lnTo>
                  <a:lnTo>
                    <a:pt x="1226" y="476"/>
                  </a:lnTo>
                  <a:lnTo>
                    <a:pt x="1226" y="472"/>
                  </a:lnTo>
                  <a:lnTo>
                    <a:pt x="1222" y="466"/>
                  </a:lnTo>
                  <a:lnTo>
                    <a:pt x="1220" y="444"/>
                  </a:lnTo>
                  <a:lnTo>
                    <a:pt x="1218" y="422"/>
                  </a:lnTo>
                  <a:lnTo>
                    <a:pt x="1218" y="418"/>
                  </a:lnTo>
                  <a:lnTo>
                    <a:pt x="1216" y="416"/>
                  </a:lnTo>
                  <a:lnTo>
                    <a:pt x="1214" y="414"/>
                  </a:lnTo>
                  <a:lnTo>
                    <a:pt x="1212" y="410"/>
                  </a:lnTo>
                  <a:lnTo>
                    <a:pt x="1206" y="398"/>
                  </a:lnTo>
                  <a:lnTo>
                    <a:pt x="1202" y="392"/>
                  </a:lnTo>
                  <a:lnTo>
                    <a:pt x="1200" y="392"/>
                  </a:lnTo>
                  <a:lnTo>
                    <a:pt x="1198" y="394"/>
                  </a:lnTo>
                  <a:lnTo>
                    <a:pt x="1198" y="396"/>
                  </a:lnTo>
                  <a:lnTo>
                    <a:pt x="1196" y="402"/>
                  </a:lnTo>
                  <a:lnTo>
                    <a:pt x="1192" y="410"/>
                  </a:lnTo>
                  <a:lnTo>
                    <a:pt x="1192" y="406"/>
                  </a:lnTo>
                  <a:lnTo>
                    <a:pt x="1192" y="404"/>
                  </a:lnTo>
                  <a:lnTo>
                    <a:pt x="1192" y="400"/>
                  </a:lnTo>
                  <a:lnTo>
                    <a:pt x="1192" y="394"/>
                  </a:lnTo>
                  <a:lnTo>
                    <a:pt x="1188" y="380"/>
                  </a:lnTo>
                  <a:lnTo>
                    <a:pt x="1186" y="380"/>
                  </a:lnTo>
                  <a:lnTo>
                    <a:pt x="1184" y="382"/>
                  </a:lnTo>
                  <a:lnTo>
                    <a:pt x="1182" y="382"/>
                  </a:lnTo>
                  <a:lnTo>
                    <a:pt x="1180" y="380"/>
                  </a:lnTo>
                  <a:lnTo>
                    <a:pt x="1178" y="374"/>
                  </a:lnTo>
                  <a:lnTo>
                    <a:pt x="1174" y="372"/>
                  </a:lnTo>
                  <a:lnTo>
                    <a:pt x="1172" y="368"/>
                  </a:lnTo>
                  <a:lnTo>
                    <a:pt x="1166" y="364"/>
                  </a:lnTo>
                  <a:lnTo>
                    <a:pt x="1158" y="360"/>
                  </a:lnTo>
                  <a:lnTo>
                    <a:pt x="1154" y="356"/>
                  </a:lnTo>
                  <a:lnTo>
                    <a:pt x="1150" y="350"/>
                  </a:lnTo>
                  <a:lnTo>
                    <a:pt x="1148" y="346"/>
                  </a:lnTo>
                  <a:lnTo>
                    <a:pt x="1144" y="342"/>
                  </a:lnTo>
                  <a:lnTo>
                    <a:pt x="1136" y="338"/>
                  </a:lnTo>
                  <a:lnTo>
                    <a:pt x="1126" y="334"/>
                  </a:lnTo>
                  <a:lnTo>
                    <a:pt x="1114" y="330"/>
                  </a:lnTo>
                  <a:lnTo>
                    <a:pt x="1102" y="324"/>
                  </a:lnTo>
                  <a:lnTo>
                    <a:pt x="1072" y="316"/>
                  </a:lnTo>
                  <a:lnTo>
                    <a:pt x="1060" y="314"/>
                  </a:lnTo>
                  <a:lnTo>
                    <a:pt x="1056" y="314"/>
                  </a:lnTo>
                  <a:lnTo>
                    <a:pt x="1054" y="316"/>
                  </a:lnTo>
                  <a:lnTo>
                    <a:pt x="1048" y="316"/>
                  </a:lnTo>
                  <a:lnTo>
                    <a:pt x="1038" y="314"/>
                  </a:lnTo>
                  <a:lnTo>
                    <a:pt x="1026" y="314"/>
                  </a:lnTo>
                  <a:lnTo>
                    <a:pt x="1024" y="316"/>
                  </a:lnTo>
                  <a:lnTo>
                    <a:pt x="1022" y="318"/>
                  </a:lnTo>
                  <a:lnTo>
                    <a:pt x="1022" y="322"/>
                  </a:lnTo>
                  <a:lnTo>
                    <a:pt x="1018" y="322"/>
                  </a:lnTo>
                  <a:lnTo>
                    <a:pt x="1006" y="318"/>
                  </a:lnTo>
                  <a:lnTo>
                    <a:pt x="998" y="316"/>
                  </a:lnTo>
                  <a:lnTo>
                    <a:pt x="990" y="314"/>
                  </a:lnTo>
                  <a:lnTo>
                    <a:pt x="982" y="316"/>
                  </a:lnTo>
                  <a:lnTo>
                    <a:pt x="974" y="318"/>
                  </a:lnTo>
                  <a:lnTo>
                    <a:pt x="972" y="316"/>
                  </a:lnTo>
                  <a:lnTo>
                    <a:pt x="972" y="314"/>
                  </a:lnTo>
                  <a:lnTo>
                    <a:pt x="968" y="308"/>
                  </a:lnTo>
                  <a:lnTo>
                    <a:pt x="966" y="302"/>
                  </a:lnTo>
                  <a:lnTo>
                    <a:pt x="964" y="300"/>
                  </a:lnTo>
                  <a:lnTo>
                    <a:pt x="962" y="298"/>
                  </a:lnTo>
                  <a:lnTo>
                    <a:pt x="958" y="296"/>
                  </a:lnTo>
                  <a:lnTo>
                    <a:pt x="956" y="294"/>
                  </a:lnTo>
                  <a:lnTo>
                    <a:pt x="954" y="288"/>
                  </a:lnTo>
                  <a:lnTo>
                    <a:pt x="952" y="284"/>
                  </a:lnTo>
                  <a:lnTo>
                    <a:pt x="948" y="280"/>
                  </a:lnTo>
                  <a:lnTo>
                    <a:pt x="942" y="276"/>
                  </a:lnTo>
                  <a:lnTo>
                    <a:pt x="934" y="274"/>
                  </a:lnTo>
                  <a:lnTo>
                    <a:pt x="920" y="270"/>
                  </a:lnTo>
                  <a:lnTo>
                    <a:pt x="916" y="268"/>
                  </a:lnTo>
                  <a:lnTo>
                    <a:pt x="916" y="264"/>
                  </a:lnTo>
                  <a:lnTo>
                    <a:pt x="918" y="254"/>
                  </a:lnTo>
                  <a:lnTo>
                    <a:pt x="918" y="248"/>
                  </a:lnTo>
                  <a:lnTo>
                    <a:pt x="918" y="242"/>
                  </a:lnTo>
                  <a:lnTo>
                    <a:pt x="914" y="234"/>
                  </a:lnTo>
                  <a:lnTo>
                    <a:pt x="908" y="228"/>
                  </a:lnTo>
                  <a:lnTo>
                    <a:pt x="892" y="214"/>
                  </a:lnTo>
                  <a:lnTo>
                    <a:pt x="868" y="198"/>
                  </a:lnTo>
                  <a:lnTo>
                    <a:pt x="862" y="192"/>
                  </a:lnTo>
                  <a:lnTo>
                    <a:pt x="852" y="188"/>
                  </a:lnTo>
                  <a:lnTo>
                    <a:pt x="840" y="188"/>
                  </a:lnTo>
                  <a:lnTo>
                    <a:pt x="830" y="188"/>
                  </a:lnTo>
                  <a:lnTo>
                    <a:pt x="818" y="190"/>
                  </a:lnTo>
                  <a:lnTo>
                    <a:pt x="804" y="194"/>
                  </a:lnTo>
                  <a:lnTo>
                    <a:pt x="802" y="192"/>
                  </a:lnTo>
                  <a:lnTo>
                    <a:pt x="804" y="190"/>
                  </a:lnTo>
                  <a:lnTo>
                    <a:pt x="808" y="184"/>
                  </a:lnTo>
                  <a:lnTo>
                    <a:pt x="810" y="180"/>
                  </a:lnTo>
                  <a:lnTo>
                    <a:pt x="812" y="172"/>
                  </a:lnTo>
                  <a:lnTo>
                    <a:pt x="814" y="164"/>
                  </a:lnTo>
                  <a:lnTo>
                    <a:pt x="816" y="160"/>
                  </a:lnTo>
                  <a:lnTo>
                    <a:pt x="822" y="156"/>
                  </a:lnTo>
                  <a:lnTo>
                    <a:pt x="826" y="152"/>
                  </a:lnTo>
                  <a:lnTo>
                    <a:pt x="826" y="150"/>
                  </a:lnTo>
                  <a:lnTo>
                    <a:pt x="826" y="148"/>
                  </a:lnTo>
                  <a:lnTo>
                    <a:pt x="822" y="146"/>
                  </a:lnTo>
                  <a:lnTo>
                    <a:pt x="814" y="142"/>
                  </a:lnTo>
                  <a:lnTo>
                    <a:pt x="810" y="138"/>
                  </a:lnTo>
                  <a:lnTo>
                    <a:pt x="808" y="134"/>
                  </a:lnTo>
                  <a:lnTo>
                    <a:pt x="804" y="130"/>
                  </a:lnTo>
                  <a:lnTo>
                    <a:pt x="800" y="128"/>
                  </a:lnTo>
                  <a:lnTo>
                    <a:pt x="792" y="128"/>
                  </a:lnTo>
                  <a:lnTo>
                    <a:pt x="784" y="126"/>
                  </a:lnTo>
                  <a:lnTo>
                    <a:pt x="780" y="124"/>
                  </a:lnTo>
                  <a:lnTo>
                    <a:pt x="778" y="122"/>
                  </a:lnTo>
                  <a:lnTo>
                    <a:pt x="772" y="116"/>
                  </a:lnTo>
                  <a:lnTo>
                    <a:pt x="766" y="112"/>
                  </a:lnTo>
                  <a:lnTo>
                    <a:pt x="752" y="104"/>
                  </a:lnTo>
                  <a:lnTo>
                    <a:pt x="746" y="100"/>
                  </a:lnTo>
                  <a:lnTo>
                    <a:pt x="744" y="98"/>
                  </a:lnTo>
                  <a:lnTo>
                    <a:pt x="748" y="94"/>
                  </a:lnTo>
                  <a:lnTo>
                    <a:pt x="756" y="92"/>
                  </a:lnTo>
                  <a:lnTo>
                    <a:pt x="772" y="88"/>
                  </a:lnTo>
                  <a:lnTo>
                    <a:pt x="782" y="84"/>
                  </a:lnTo>
                  <a:lnTo>
                    <a:pt x="782" y="82"/>
                  </a:lnTo>
                  <a:lnTo>
                    <a:pt x="778" y="80"/>
                  </a:lnTo>
                  <a:lnTo>
                    <a:pt x="762" y="78"/>
                  </a:lnTo>
                  <a:lnTo>
                    <a:pt x="744" y="78"/>
                  </a:lnTo>
                  <a:lnTo>
                    <a:pt x="736" y="80"/>
                  </a:lnTo>
                  <a:lnTo>
                    <a:pt x="726" y="82"/>
                  </a:lnTo>
                  <a:lnTo>
                    <a:pt x="706" y="84"/>
                  </a:lnTo>
                  <a:lnTo>
                    <a:pt x="696" y="84"/>
                  </a:lnTo>
                  <a:lnTo>
                    <a:pt x="688" y="86"/>
                  </a:lnTo>
                  <a:lnTo>
                    <a:pt x="684" y="88"/>
                  </a:lnTo>
                  <a:lnTo>
                    <a:pt x="682" y="92"/>
                  </a:lnTo>
                  <a:lnTo>
                    <a:pt x="680" y="98"/>
                  </a:lnTo>
                  <a:lnTo>
                    <a:pt x="678" y="100"/>
                  </a:lnTo>
                  <a:lnTo>
                    <a:pt x="674" y="104"/>
                  </a:lnTo>
                  <a:lnTo>
                    <a:pt x="662" y="110"/>
                  </a:lnTo>
                  <a:lnTo>
                    <a:pt x="654" y="112"/>
                  </a:lnTo>
                  <a:lnTo>
                    <a:pt x="646" y="112"/>
                  </a:lnTo>
                  <a:lnTo>
                    <a:pt x="638" y="112"/>
                  </a:lnTo>
                  <a:lnTo>
                    <a:pt x="630" y="108"/>
                  </a:lnTo>
                  <a:lnTo>
                    <a:pt x="622" y="102"/>
                  </a:lnTo>
                  <a:lnTo>
                    <a:pt x="616" y="94"/>
                  </a:lnTo>
                  <a:lnTo>
                    <a:pt x="612" y="88"/>
                  </a:lnTo>
                  <a:lnTo>
                    <a:pt x="608" y="86"/>
                  </a:lnTo>
                  <a:lnTo>
                    <a:pt x="602" y="84"/>
                  </a:lnTo>
                  <a:lnTo>
                    <a:pt x="594" y="84"/>
                  </a:lnTo>
                  <a:lnTo>
                    <a:pt x="580" y="86"/>
                  </a:lnTo>
                  <a:lnTo>
                    <a:pt x="564" y="90"/>
                  </a:lnTo>
                  <a:lnTo>
                    <a:pt x="548" y="94"/>
                  </a:lnTo>
                  <a:lnTo>
                    <a:pt x="536" y="94"/>
                  </a:lnTo>
                  <a:lnTo>
                    <a:pt x="530" y="92"/>
                  </a:lnTo>
                  <a:lnTo>
                    <a:pt x="526" y="90"/>
                  </a:lnTo>
                  <a:lnTo>
                    <a:pt x="524" y="84"/>
                  </a:lnTo>
                  <a:lnTo>
                    <a:pt x="522" y="78"/>
                  </a:lnTo>
                  <a:lnTo>
                    <a:pt x="520" y="64"/>
                  </a:lnTo>
                  <a:lnTo>
                    <a:pt x="516" y="56"/>
                  </a:lnTo>
                  <a:lnTo>
                    <a:pt x="508" y="50"/>
                  </a:lnTo>
                  <a:lnTo>
                    <a:pt x="500" y="46"/>
                  </a:lnTo>
                  <a:lnTo>
                    <a:pt x="490" y="44"/>
                  </a:lnTo>
                  <a:lnTo>
                    <a:pt x="482" y="40"/>
                  </a:lnTo>
                  <a:lnTo>
                    <a:pt x="474" y="32"/>
                  </a:lnTo>
                  <a:lnTo>
                    <a:pt x="468" y="22"/>
                  </a:lnTo>
                  <a:lnTo>
                    <a:pt x="464" y="12"/>
                  </a:lnTo>
                  <a:lnTo>
                    <a:pt x="458" y="8"/>
                  </a:lnTo>
                  <a:lnTo>
                    <a:pt x="454" y="8"/>
                  </a:lnTo>
                  <a:lnTo>
                    <a:pt x="450" y="10"/>
                  </a:lnTo>
                  <a:lnTo>
                    <a:pt x="446" y="16"/>
                  </a:lnTo>
                  <a:lnTo>
                    <a:pt x="444" y="22"/>
                  </a:lnTo>
                  <a:lnTo>
                    <a:pt x="444" y="28"/>
                  </a:lnTo>
                  <a:lnTo>
                    <a:pt x="444" y="34"/>
                  </a:lnTo>
                  <a:lnTo>
                    <a:pt x="448" y="40"/>
                  </a:lnTo>
                  <a:lnTo>
                    <a:pt x="452" y="48"/>
                  </a:lnTo>
                  <a:lnTo>
                    <a:pt x="452" y="50"/>
                  </a:lnTo>
                  <a:lnTo>
                    <a:pt x="448" y="52"/>
                  </a:lnTo>
                  <a:lnTo>
                    <a:pt x="430" y="56"/>
                  </a:lnTo>
                  <a:lnTo>
                    <a:pt x="420" y="60"/>
                  </a:lnTo>
                  <a:lnTo>
                    <a:pt x="410" y="64"/>
                  </a:lnTo>
                  <a:lnTo>
                    <a:pt x="402" y="70"/>
                  </a:lnTo>
                  <a:lnTo>
                    <a:pt x="398" y="74"/>
                  </a:lnTo>
                  <a:lnTo>
                    <a:pt x="392" y="80"/>
                  </a:lnTo>
                  <a:lnTo>
                    <a:pt x="390" y="78"/>
                  </a:lnTo>
                  <a:lnTo>
                    <a:pt x="388" y="72"/>
                  </a:lnTo>
                  <a:lnTo>
                    <a:pt x="386" y="64"/>
                  </a:lnTo>
                  <a:lnTo>
                    <a:pt x="380" y="56"/>
                  </a:lnTo>
                  <a:lnTo>
                    <a:pt x="376" y="52"/>
                  </a:lnTo>
                  <a:lnTo>
                    <a:pt x="376" y="48"/>
                  </a:lnTo>
                  <a:lnTo>
                    <a:pt x="378" y="44"/>
                  </a:lnTo>
                  <a:lnTo>
                    <a:pt x="382" y="40"/>
                  </a:lnTo>
                  <a:lnTo>
                    <a:pt x="392" y="32"/>
                  </a:lnTo>
                  <a:lnTo>
                    <a:pt x="402" y="26"/>
                  </a:lnTo>
                  <a:lnTo>
                    <a:pt x="406" y="24"/>
                  </a:lnTo>
                  <a:lnTo>
                    <a:pt x="410" y="20"/>
                  </a:lnTo>
                  <a:lnTo>
                    <a:pt x="410" y="14"/>
                  </a:lnTo>
                  <a:lnTo>
                    <a:pt x="410" y="10"/>
                  </a:lnTo>
                  <a:lnTo>
                    <a:pt x="408" y="6"/>
                  </a:lnTo>
                  <a:lnTo>
                    <a:pt x="404" y="2"/>
                  </a:lnTo>
                  <a:lnTo>
                    <a:pt x="398" y="0"/>
                  </a:lnTo>
                  <a:lnTo>
                    <a:pt x="390" y="0"/>
                  </a:lnTo>
                  <a:lnTo>
                    <a:pt x="378" y="4"/>
                  </a:lnTo>
                  <a:lnTo>
                    <a:pt x="374" y="6"/>
                  </a:lnTo>
                  <a:lnTo>
                    <a:pt x="370" y="10"/>
                  </a:lnTo>
                  <a:lnTo>
                    <a:pt x="362" y="20"/>
                  </a:lnTo>
                  <a:lnTo>
                    <a:pt x="354" y="26"/>
                  </a:lnTo>
                  <a:lnTo>
                    <a:pt x="344" y="36"/>
                  </a:lnTo>
                  <a:lnTo>
                    <a:pt x="328" y="46"/>
                  </a:lnTo>
                  <a:lnTo>
                    <a:pt x="316" y="50"/>
                  </a:lnTo>
                  <a:lnTo>
                    <a:pt x="306" y="52"/>
                  </a:lnTo>
                  <a:lnTo>
                    <a:pt x="298" y="52"/>
                  </a:lnTo>
                  <a:lnTo>
                    <a:pt x="294" y="50"/>
                  </a:lnTo>
                  <a:lnTo>
                    <a:pt x="290" y="50"/>
                  </a:lnTo>
                  <a:lnTo>
                    <a:pt x="286" y="52"/>
                  </a:lnTo>
                  <a:lnTo>
                    <a:pt x="284" y="58"/>
                  </a:lnTo>
                  <a:lnTo>
                    <a:pt x="280" y="66"/>
                  </a:lnTo>
                  <a:lnTo>
                    <a:pt x="276" y="68"/>
                  </a:lnTo>
                  <a:lnTo>
                    <a:pt x="270" y="68"/>
                  </a:lnTo>
                  <a:lnTo>
                    <a:pt x="266" y="66"/>
                  </a:lnTo>
                  <a:lnTo>
                    <a:pt x="256" y="62"/>
                  </a:lnTo>
                  <a:lnTo>
                    <a:pt x="252" y="64"/>
                  </a:lnTo>
                  <a:lnTo>
                    <a:pt x="250" y="68"/>
                  </a:lnTo>
                  <a:lnTo>
                    <a:pt x="248" y="72"/>
                  </a:lnTo>
                  <a:lnTo>
                    <a:pt x="244" y="78"/>
                  </a:lnTo>
                  <a:lnTo>
                    <a:pt x="238" y="86"/>
                  </a:lnTo>
                  <a:lnTo>
                    <a:pt x="234" y="92"/>
                  </a:lnTo>
                  <a:lnTo>
                    <a:pt x="232" y="100"/>
                  </a:lnTo>
                  <a:lnTo>
                    <a:pt x="230" y="110"/>
                  </a:lnTo>
                  <a:lnTo>
                    <a:pt x="230" y="122"/>
                  </a:lnTo>
                  <a:lnTo>
                    <a:pt x="230" y="134"/>
                  </a:lnTo>
                  <a:lnTo>
                    <a:pt x="226" y="142"/>
                  </a:lnTo>
                  <a:lnTo>
                    <a:pt x="224" y="144"/>
                  </a:lnTo>
                  <a:lnTo>
                    <a:pt x="220" y="146"/>
                  </a:lnTo>
                  <a:lnTo>
                    <a:pt x="214" y="146"/>
                  </a:lnTo>
                  <a:lnTo>
                    <a:pt x="210" y="148"/>
                  </a:lnTo>
                  <a:lnTo>
                    <a:pt x="208" y="150"/>
                  </a:lnTo>
                  <a:lnTo>
                    <a:pt x="206" y="158"/>
                  </a:lnTo>
                  <a:lnTo>
                    <a:pt x="202" y="166"/>
                  </a:lnTo>
                  <a:lnTo>
                    <a:pt x="198" y="170"/>
                  </a:lnTo>
                  <a:lnTo>
                    <a:pt x="180" y="202"/>
                  </a:lnTo>
                  <a:lnTo>
                    <a:pt x="182" y="212"/>
                  </a:lnTo>
                  <a:lnTo>
                    <a:pt x="182" y="214"/>
                  </a:lnTo>
                  <a:lnTo>
                    <a:pt x="180" y="214"/>
                  </a:lnTo>
                  <a:lnTo>
                    <a:pt x="176" y="210"/>
                  </a:lnTo>
                  <a:lnTo>
                    <a:pt x="144" y="264"/>
                  </a:lnTo>
                  <a:lnTo>
                    <a:pt x="146" y="274"/>
                  </a:lnTo>
                  <a:lnTo>
                    <a:pt x="148" y="278"/>
                  </a:lnTo>
                  <a:lnTo>
                    <a:pt x="152" y="280"/>
                  </a:lnTo>
                  <a:lnTo>
                    <a:pt x="156" y="284"/>
                  </a:lnTo>
                  <a:lnTo>
                    <a:pt x="158" y="286"/>
                  </a:lnTo>
                  <a:lnTo>
                    <a:pt x="158" y="290"/>
                  </a:lnTo>
                  <a:lnTo>
                    <a:pt x="156" y="296"/>
                  </a:lnTo>
                  <a:lnTo>
                    <a:pt x="154" y="304"/>
                  </a:lnTo>
                  <a:lnTo>
                    <a:pt x="154" y="310"/>
                  </a:lnTo>
                  <a:lnTo>
                    <a:pt x="156" y="314"/>
                  </a:lnTo>
                  <a:lnTo>
                    <a:pt x="162" y="320"/>
                  </a:lnTo>
                  <a:lnTo>
                    <a:pt x="162" y="324"/>
                  </a:lnTo>
                  <a:lnTo>
                    <a:pt x="160" y="328"/>
                  </a:lnTo>
                  <a:lnTo>
                    <a:pt x="158" y="330"/>
                  </a:lnTo>
                  <a:lnTo>
                    <a:pt x="154" y="334"/>
                  </a:lnTo>
                  <a:lnTo>
                    <a:pt x="152" y="338"/>
                  </a:lnTo>
                  <a:lnTo>
                    <a:pt x="150" y="348"/>
                  </a:lnTo>
                  <a:lnTo>
                    <a:pt x="152" y="360"/>
                  </a:lnTo>
                  <a:lnTo>
                    <a:pt x="154" y="374"/>
                  </a:lnTo>
                  <a:lnTo>
                    <a:pt x="154" y="386"/>
                  </a:lnTo>
                  <a:lnTo>
                    <a:pt x="152" y="406"/>
                  </a:lnTo>
                  <a:lnTo>
                    <a:pt x="152" y="418"/>
                  </a:lnTo>
                  <a:lnTo>
                    <a:pt x="152" y="422"/>
                  </a:lnTo>
                  <a:lnTo>
                    <a:pt x="156" y="424"/>
                  </a:lnTo>
                  <a:lnTo>
                    <a:pt x="158" y="428"/>
                  </a:lnTo>
                  <a:lnTo>
                    <a:pt x="158" y="434"/>
                  </a:lnTo>
                  <a:lnTo>
                    <a:pt x="158" y="444"/>
                  </a:lnTo>
                  <a:lnTo>
                    <a:pt x="154" y="454"/>
                  </a:lnTo>
                  <a:lnTo>
                    <a:pt x="150" y="464"/>
                  </a:lnTo>
                  <a:lnTo>
                    <a:pt x="144" y="472"/>
                  </a:lnTo>
                  <a:lnTo>
                    <a:pt x="138" y="478"/>
                  </a:lnTo>
                  <a:lnTo>
                    <a:pt x="132" y="480"/>
                  </a:lnTo>
                  <a:lnTo>
                    <a:pt x="118" y="482"/>
                  </a:lnTo>
                  <a:lnTo>
                    <a:pt x="110" y="486"/>
                  </a:lnTo>
                  <a:lnTo>
                    <a:pt x="106" y="490"/>
                  </a:lnTo>
                  <a:lnTo>
                    <a:pt x="104" y="494"/>
                  </a:lnTo>
                  <a:lnTo>
                    <a:pt x="104" y="498"/>
                  </a:lnTo>
                  <a:lnTo>
                    <a:pt x="104" y="504"/>
                  </a:lnTo>
                  <a:lnTo>
                    <a:pt x="104" y="510"/>
                  </a:lnTo>
                  <a:lnTo>
                    <a:pt x="102" y="512"/>
                  </a:lnTo>
                  <a:lnTo>
                    <a:pt x="96" y="516"/>
                  </a:lnTo>
                  <a:lnTo>
                    <a:pt x="92" y="518"/>
                  </a:lnTo>
                  <a:lnTo>
                    <a:pt x="92" y="520"/>
                  </a:lnTo>
                  <a:lnTo>
                    <a:pt x="94" y="526"/>
                  </a:lnTo>
                  <a:lnTo>
                    <a:pt x="98" y="536"/>
                  </a:lnTo>
                  <a:lnTo>
                    <a:pt x="98" y="540"/>
                  </a:lnTo>
                  <a:lnTo>
                    <a:pt x="98" y="542"/>
                  </a:lnTo>
                  <a:lnTo>
                    <a:pt x="92" y="548"/>
                  </a:lnTo>
                  <a:lnTo>
                    <a:pt x="84" y="552"/>
                  </a:lnTo>
                  <a:lnTo>
                    <a:pt x="74" y="554"/>
                  </a:lnTo>
                  <a:lnTo>
                    <a:pt x="64" y="558"/>
                  </a:lnTo>
                  <a:lnTo>
                    <a:pt x="56" y="562"/>
                  </a:lnTo>
                  <a:lnTo>
                    <a:pt x="50" y="570"/>
                  </a:lnTo>
                  <a:lnTo>
                    <a:pt x="50" y="574"/>
                  </a:lnTo>
                  <a:lnTo>
                    <a:pt x="50" y="578"/>
                  </a:lnTo>
                  <a:lnTo>
                    <a:pt x="50" y="592"/>
                  </a:lnTo>
                  <a:lnTo>
                    <a:pt x="48" y="600"/>
                  </a:lnTo>
                  <a:lnTo>
                    <a:pt x="46" y="606"/>
                  </a:lnTo>
                  <a:lnTo>
                    <a:pt x="42" y="610"/>
                  </a:lnTo>
                  <a:lnTo>
                    <a:pt x="36" y="618"/>
                  </a:lnTo>
                  <a:lnTo>
                    <a:pt x="34" y="624"/>
                  </a:lnTo>
                  <a:lnTo>
                    <a:pt x="34" y="632"/>
                  </a:lnTo>
                  <a:lnTo>
                    <a:pt x="34" y="642"/>
                  </a:lnTo>
                  <a:lnTo>
                    <a:pt x="30" y="646"/>
                  </a:lnTo>
                  <a:lnTo>
                    <a:pt x="28" y="648"/>
                  </a:lnTo>
                  <a:lnTo>
                    <a:pt x="22" y="650"/>
                  </a:lnTo>
                  <a:lnTo>
                    <a:pt x="18" y="652"/>
                  </a:lnTo>
                  <a:lnTo>
                    <a:pt x="16" y="654"/>
                  </a:lnTo>
                  <a:lnTo>
                    <a:pt x="14" y="660"/>
                  </a:lnTo>
                  <a:lnTo>
                    <a:pt x="16" y="670"/>
                  </a:lnTo>
                  <a:lnTo>
                    <a:pt x="18" y="688"/>
                  </a:lnTo>
                  <a:lnTo>
                    <a:pt x="20" y="698"/>
                  </a:lnTo>
                  <a:lnTo>
                    <a:pt x="18" y="706"/>
                  </a:lnTo>
                  <a:lnTo>
                    <a:pt x="18" y="710"/>
                  </a:lnTo>
                  <a:lnTo>
                    <a:pt x="16" y="714"/>
                  </a:lnTo>
                  <a:lnTo>
                    <a:pt x="18" y="716"/>
                  </a:lnTo>
                  <a:lnTo>
                    <a:pt x="28" y="728"/>
                  </a:lnTo>
                  <a:lnTo>
                    <a:pt x="34" y="734"/>
                  </a:lnTo>
                  <a:lnTo>
                    <a:pt x="42" y="736"/>
                  </a:lnTo>
                  <a:lnTo>
                    <a:pt x="46" y="736"/>
                  </a:lnTo>
                  <a:lnTo>
                    <a:pt x="50" y="732"/>
                  </a:lnTo>
                  <a:lnTo>
                    <a:pt x="54" y="726"/>
                  </a:lnTo>
                  <a:lnTo>
                    <a:pt x="56" y="726"/>
                  </a:lnTo>
                  <a:lnTo>
                    <a:pt x="56" y="730"/>
                  </a:lnTo>
                  <a:lnTo>
                    <a:pt x="56" y="744"/>
                  </a:lnTo>
                  <a:lnTo>
                    <a:pt x="54" y="756"/>
                  </a:lnTo>
                  <a:lnTo>
                    <a:pt x="52" y="760"/>
                  </a:lnTo>
                  <a:lnTo>
                    <a:pt x="48" y="766"/>
                  </a:lnTo>
                  <a:lnTo>
                    <a:pt x="44" y="768"/>
                  </a:lnTo>
                  <a:lnTo>
                    <a:pt x="38" y="770"/>
                  </a:lnTo>
                  <a:lnTo>
                    <a:pt x="22" y="786"/>
                  </a:lnTo>
                  <a:lnTo>
                    <a:pt x="12" y="800"/>
                  </a:lnTo>
                  <a:lnTo>
                    <a:pt x="6" y="812"/>
                  </a:lnTo>
                  <a:lnTo>
                    <a:pt x="2" y="824"/>
                  </a:lnTo>
                  <a:lnTo>
                    <a:pt x="0" y="836"/>
                  </a:lnTo>
                  <a:lnTo>
                    <a:pt x="0" y="844"/>
                  </a:lnTo>
                  <a:lnTo>
                    <a:pt x="2" y="860"/>
                  </a:lnTo>
                  <a:lnTo>
                    <a:pt x="4" y="866"/>
                  </a:lnTo>
                  <a:lnTo>
                    <a:pt x="8" y="870"/>
                  </a:lnTo>
                  <a:lnTo>
                    <a:pt x="16" y="876"/>
                  </a:lnTo>
                  <a:lnTo>
                    <a:pt x="18" y="878"/>
                  </a:lnTo>
                  <a:lnTo>
                    <a:pt x="18" y="882"/>
                  </a:lnTo>
                  <a:lnTo>
                    <a:pt x="18" y="884"/>
                  </a:lnTo>
                  <a:lnTo>
                    <a:pt x="12" y="888"/>
                  </a:lnTo>
                  <a:lnTo>
                    <a:pt x="8" y="892"/>
                  </a:lnTo>
                  <a:lnTo>
                    <a:pt x="6" y="896"/>
                  </a:lnTo>
                  <a:lnTo>
                    <a:pt x="6" y="900"/>
                  </a:lnTo>
                  <a:lnTo>
                    <a:pt x="6" y="902"/>
                  </a:lnTo>
                  <a:lnTo>
                    <a:pt x="12" y="908"/>
                  </a:lnTo>
                  <a:lnTo>
                    <a:pt x="22" y="914"/>
                  </a:lnTo>
                  <a:lnTo>
                    <a:pt x="44" y="926"/>
                  </a:lnTo>
                  <a:lnTo>
                    <a:pt x="54" y="934"/>
                  </a:lnTo>
                  <a:lnTo>
                    <a:pt x="56" y="938"/>
                  </a:lnTo>
                  <a:lnTo>
                    <a:pt x="58" y="944"/>
                  </a:lnTo>
                  <a:lnTo>
                    <a:pt x="62" y="960"/>
                  </a:lnTo>
                  <a:lnTo>
                    <a:pt x="68" y="972"/>
                  </a:lnTo>
                  <a:lnTo>
                    <a:pt x="74" y="980"/>
                  </a:lnTo>
                  <a:lnTo>
                    <a:pt x="80" y="988"/>
                  </a:lnTo>
                  <a:lnTo>
                    <a:pt x="92" y="1004"/>
                  </a:lnTo>
                  <a:lnTo>
                    <a:pt x="96" y="1014"/>
                  </a:lnTo>
                  <a:lnTo>
                    <a:pt x="100" y="1026"/>
                  </a:lnTo>
                  <a:lnTo>
                    <a:pt x="104" y="1040"/>
                  </a:lnTo>
                  <a:lnTo>
                    <a:pt x="108" y="1056"/>
                  </a:lnTo>
                  <a:lnTo>
                    <a:pt x="122" y="1086"/>
                  </a:lnTo>
                  <a:lnTo>
                    <a:pt x="136" y="1114"/>
                  </a:lnTo>
                  <a:lnTo>
                    <a:pt x="142" y="1128"/>
                  </a:lnTo>
                  <a:lnTo>
                    <a:pt x="146" y="1142"/>
                  </a:lnTo>
                  <a:lnTo>
                    <a:pt x="148" y="1152"/>
                  </a:lnTo>
                  <a:lnTo>
                    <a:pt x="152" y="1160"/>
                  </a:lnTo>
                  <a:lnTo>
                    <a:pt x="158" y="1172"/>
                  </a:lnTo>
                  <a:lnTo>
                    <a:pt x="162" y="1180"/>
                  </a:lnTo>
                  <a:lnTo>
                    <a:pt x="164" y="1186"/>
                  </a:lnTo>
                  <a:lnTo>
                    <a:pt x="164" y="1194"/>
                  </a:lnTo>
                  <a:lnTo>
                    <a:pt x="166" y="1202"/>
                  </a:lnTo>
                  <a:lnTo>
                    <a:pt x="172" y="1210"/>
                  </a:lnTo>
                  <a:lnTo>
                    <a:pt x="184" y="1228"/>
                  </a:lnTo>
                  <a:lnTo>
                    <a:pt x="192" y="1238"/>
                  </a:lnTo>
                  <a:lnTo>
                    <a:pt x="198" y="1248"/>
                  </a:lnTo>
                  <a:lnTo>
                    <a:pt x="200" y="1260"/>
                  </a:lnTo>
                  <a:lnTo>
                    <a:pt x="200" y="1274"/>
                  </a:lnTo>
                  <a:lnTo>
                    <a:pt x="200" y="1286"/>
                  </a:lnTo>
                  <a:lnTo>
                    <a:pt x="204" y="1298"/>
                  </a:lnTo>
                  <a:lnTo>
                    <a:pt x="208" y="1308"/>
                  </a:lnTo>
                  <a:lnTo>
                    <a:pt x="214" y="1316"/>
                  </a:lnTo>
                  <a:lnTo>
                    <a:pt x="228" y="1330"/>
                  </a:lnTo>
                  <a:lnTo>
                    <a:pt x="234" y="1338"/>
                  </a:lnTo>
                  <a:lnTo>
                    <a:pt x="238" y="1344"/>
                  </a:lnTo>
                  <a:lnTo>
                    <a:pt x="246" y="1356"/>
                  </a:lnTo>
                  <a:lnTo>
                    <a:pt x="256" y="1368"/>
                  </a:lnTo>
                  <a:lnTo>
                    <a:pt x="278" y="1384"/>
                  </a:lnTo>
                  <a:lnTo>
                    <a:pt x="318" y="1406"/>
                  </a:lnTo>
                  <a:lnTo>
                    <a:pt x="358" y="1428"/>
                  </a:lnTo>
                  <a:lnTo>
                    <a:pt x="380" y="1442"/>
                  </a:lnTo>
                  <a:lnTo>
                    <a:pt x="388" y="1448"/>
                  </a:lnTo>
                  <a:lnTo>
                    <a:pt x="392" y="1454"/>
                  </a:lnTo>
                  <a:lnTo>
                    <a:pt x="396" y="1460"/>
                  </a:lnTo>
                  <a:lnTo>
                    <a:pt x="398" y="1468"/>
                  </a:lnTo>
                  <a:lnTo>
                    <a:pt x="400" y="1474"/>
                  </a:lnTo>
                  <a:lnTo>
                    <a:pt x="404" y="1480"/>
                  </a:lnTo>
                  <a:lnTo>
                    <a:pt x="408" y="1486"/>
                  </a:lnTo>
                  <a:lnTo>
                    <a:pt x="414" y="1490"/>
                  </a:lnTo>
                  <a:lnTo>
                    <a:pt x="426" y="1496"/>
                  </a:lnTo>
                  <a:lnTo>
                    <a:pt x="434" y="1500"/>
                  </a:lnTo>
                  <a:lnTo>
                    <a:pt x="440" y="1506"/>
                  </a:lnTo>
                  <a:lnTo>
                    <a:pt x="438" y="1532"/>
                  </a:lnTo>
                  <a:lnTo>
                    <a:pt x="440" y="1542"/>
                  </a:lnTo>
                  <a:lnTo>
                    <a:pt x="442" y="1546"/>
                  </a:lnTo>
                  <a:lnTo>
                    <a:pt x="442" y="1552"/>
                  </a:lnTo>
                  <a:lnTo>
                    <a:pt x="444" y="1564"/>
                  </a:lnTo>
                  <a:lnTo>
                    <a:pt x="446" y="1574"/>
                  </a:lnTo>
                  <a:lnTo>
                    <a:pt x="448" y="1586"/>
                  </a:lnTo>
                  <a:lnTo>
                    <a:pt x="448" y="1594"/>
                  </a:lnTo>
                  <a:lnTo>
                    <a:pt x="448" y="1604"/>
                  </a:lnTo>
                  <a:lnTo>
                    <a:pt x="446" y="1614"/>
                  </a:lnTo>
                  <a:lnTo>
                    <a:pt x="446" y="1624"/>
                  </a:lnTo>
                  <a:lnTo>
                    <a:pt x="450" y="1640"/>
                  </a:lnTo>
                  <a:lnTo>
                    <a:pt x="452" y="1658"/>
                  </a:lnTo>
                  <a:lnTo>
                    <a:pt x="452" y="1670"/>
                  </a:lnTo>
                  <a:lnTo>
                    <a:pt x="448" y="1686"/>
                  </a:lnTo>
                  <a:lnTo>
                    <a:pt x="444" y="1716"/>
                  </a:lnTo>
                  <a:lnTo>
                    <a:pt x="442" y="1732"/>
                  </a:lnTo>
                  <a:lnTo>
                    <a:pt x="440" y="1742"/>
                  </a:lnTo>
                  <a:lnTo>
                    <a:pt x="440" y="1744"/>
                  </a:lnTo>
                  <a:lnTo>
                    <a:pt x="438" y="1744"/>
                  </a:lnTo>
                  <a:lnTo>
                    <a:pt x="436" y="1744"/>
                  </a:lnTo>
                  <a:lnTo>
                    <a:pt x="434" y="1746"/>
                  </a:lnTo>
                  <a:lnTo>
                    <a:pt x="430" y="1752"/>
                  </a:lnTo>
                  <a:lnTo>
                    <a:pt x="430" y="1760"/>
                  </a:lnTo>
                  <a:lnTo>
                    <a:pt x="430" y="1762"/>
                  </a:lnTo>
                  <a:lnTo>
                    <a:pt x="434" y="1764"/>
                  </a:lnTo>
                  <a:lnTo>
                    <a:pt x="436" y="1768"/>
                  </a:lnTo>
                  <a:lnTo>
                    <a:pt x="436" y="1772"/>
                  </a:lnTo>
                  <a:lnTo>
                    <a:pt x="434" y="1788"/>
                  </a:lnTo>
                  <a:lnTo>
                    <a:pt x="430" y="1808"/>
                  </a:lnTo>
                  <a:lnTo>
                    <a:pt x="432" y="1820"/>
                  </a:lnTo>
                  <a:lnTo>
                    <a:pt x="434" y="1834"/>
                  </a:lnTo>
                  <a:lnTo>
                    <a:pt x="436" y="1846"/>
                  </a:lnTo>
                  <a:lnTo>
                    <a:pt x="436" y="1856"/>
                  </a:lnTo>
                  <a:lnTo>
                    <a:pt x="434" y="1864"/>
                  </a:lnTo>
                  <a:lnTo>
                    <a:pt x="432" y="1870"/>
                  </a:lnTo>
                  <a:lnTo>
                    <a:pt x="428" y="1882"/>
                  </a:lnTo>
                  <a:lnTo>
                    <a:pt x="428" y="1888"/>
                  </a:lnTo>
                  <a:lnTo>
                    <a:pt x="430" y="1894"/>
                  </a:lnTo>
                  <a:lnTo>
                    <a:pt x="432" y="1900"/>
                  </a:lnTo>
                  <a:lnTo>
                    <a:pt x="430" y="1908"/>
                  </a:lnTo>
                  <a:lnTo>
                    <a:pt x="424" y="1928"/>
                  </a:lnTo>
                  <a:lnTo>
                    <a:pt x="418" y="1946"/>
                  </a:lnTo>
                  <a:lnTo>
                    <a:pt x="416" y="1956"/>
                  </a:lnTo>
                  <a:lnTo>
                    <a:pt x="416" y="1964"/>
                  </a:lnTo>
                  <a:lnTo>
                    <a:pt x="416" y="1974"/>
                  </a:lnTo>
                  <a:lnTo>
                    <a:pt x="414" y="1978"/>
                  </a:lnTo>
                  <a:lnTo>
                    <a:pt x="410" y="1986"/>
                  </a:lnTo>
                  <a:lnTo>
                    <a:pt x="408" y="2004"/>
                  </a:lnTo>
                  <a:lnTo>
                    <a:pt x="408" y="2016"/>
                  </a:lnTo>
                  <a:lnTo>
                    <a:pt x="404" y="2024"/>
                  </a:lnTo>
                  <a:lnTo>
                    <a:pt x="400" y="2030"/>
                  </a:lnTo>
                  <a:lnTo>
                    <a:pt x="398" y="2036"/>
                  </a:lnTo>
                  <a:lnTo>
                    <a:pt x="394" y="2040"/>
                  </a:lnTo>
                  <a:lnTo>
                    <a:pt x="392" y="2044"/>
                  </a:lnTo>
                  <a:lnTo>
                    <a:pt x="392" y="2048"/>
                  </a:lnTo>
                  <a:lnTo>
                    <a:pt x="394" y="2056"/>
                  </a:lnTo>
                  <a:lnTo>
                    <a:pt x="400" y="2072"/>
                  </a:lnTo>
                  <a:lnTo>
                    <a:pt x="402" y="2086"/>
                  </a:lnTo>
                  <a:lnTo>
                    <a:pt x="402" y="2098"/>
                  </a:lnTo>
                  <a:lnTo>
                    <a:pt x="400" y="2104"/>
                  </a:lnTo>
                  <a:lnTo>
                    <a:pt x="398" y="2108"/>
                  </a:lnTo>
                  <a:lnTo>
                    <a:pt x="390" y="2116"/>
                  </a:lnTo>
                  <a:lnTo>
                    <a:pt x="386" y="2124"/>
                  </a:lnTo>
                  <a:lnTo>
                    <a:pt x="384" y="2130"/>
                  </a:lnTo>
                  <a:lnTo>
                    <a:pt x="384" y="2138"/>
                  </a:lnTo>
                  <a:lnTo>
                    <a:pt x="388" y="2162"/>
                  </a:lnTo>
                  <a:lnTo>
                    <a:pt x="392" y="2186"/>
                  </a:lnTo>
                  <a:lnTo>
                    <a:pt x="392" y="2200"/>
                  </a:lnTo>
                  <a:lnTo>
                    <a:pt x="392" y="2212"/>
                  </a:lnTo>
                  <a:lnTo>
                    <a:pt x="396" y="2224"/>
                  </a:lnTo>
                  <a:lnTo>
                    <a:pt x="398" y="2230"/>
                  </a:lnTo>
                  <a:lnTo>
                    <a:pt x="398" y="2236"/>
                  </a:lnTo>
                  <a:lnTo>
                    <a:pt x="392" y="2248"/>
                  </a:lnTo>
                  <a:lnTo>
                    <a:pt x="386" y="2262"/>
                  </a:lnTo>
                  <a:lnTo>
                    <a:pt x="386" y="2270"/>
                  </a:lnTo>
                  <a:lnTo>
                    <a:pt x="386" y="2280"/>
                  </a:lnTo>
                  <a:lnTo>
                    <a:pt x="388" y="2288"/>
                  </a:lnTo>
                  <a:lnTo>
                    <a:pt x="388" y="2292"/>
                  </a:lnTo>
                  <a:lnTo>
                    <a:pt x="386" y="2294"/>
                  </a:lnTo>
                  <a:lnTo>
                    <a:pt x="384" y="2298"/>
                  </a:lnTo>
                  <a:lnTo>
                    <a:pt x="380" y="2300"/>
                  </a:lnTo>
                  <a:lnTo>
                    <a:pt x="378" y="2306"/>
                  </a:lnTo>
                  <a:lnTo>
                    <a:pt x="376" y="2314"/>
                  </a:lnTo>
                  <a:lnTo>
                    <a:pt x="374" y="2328"/>
                  </a:lnTo>
                  <a:lnTo>
                    <a:pt x="372" y="2342"/>
                  </a:lnTo>
                  <a:lnTo>
                    <a:pt x="370" y="2354"/>
                  </a:lnTo>
                  <a:lnTo>
                    <a:pt x="362" y="2376"/>
                  </a:lnTo>
                  <a:lnTo>
                    <a:pt x="354" y="2390"/>
                  </a:lnTo>
                  <a:lnTo>
                    <a:pt x="350" y="2402"/>
                  </a:lnTo>
                  <a:lnTo>
                    <a:pt x="348" y="2412"/>
                  </a:lnTo>
                  <a:lnTo>
                    <a:pt x="344" y="2414"/>
                  </a:lnTo>
                  <a:lnTo>
                    <a:pt x="342" y="2420"/>
                  </a:lnTo>
                  <a:lnTo>
                    <a:pt x="338" y="2434"/>
                  </a:lnTo>
                  <a:lnTo>
                    <a:pt x="336" y="2446"/>
                  </a:lnTo>
                  <a:lnTo>
                    <a:pt x="334" y="2452"/>
                  </a:lnTo>
                  <a:lnTo>
                    <a:pt x="334" y="2454"/>
                  </a:lnTo>
                  <a:lnTo>
                    <a:pt x="332" y="2454"/>
                  </a:lnTo>
                  <a:lnTo>
                    <a:pt x="330" y="2452"/>
                  </a:lnTo>
                  <a:lnTo>
                    <a:pt x="328" y="2462"/>
                  </a:lnTo>
                  <a:lnTo>
                    <a:pt x="326" y="2474"/>
                  </a:lnTo>
                  <a:lnTo>
                    <a:pt x="324" y="2480"/>
                  </a:lnTo>
                  <a:lnTo>
                    <a:pt x="320" y="2482"/>
                  </a:lnTo>
                  <a:lnTo>
                    <a:pt x="318" y="2482"/>
                  </a:lnTo>
                  <a:lnTo>
                    <a:pt x="310" y="2480"/>
                  </a:lnTo>
                  <a:lnTo>
                    <a:pt x="308" y="2482"/>
                  </a:lnTo>
                  <a:lnTo>
                    <a:pt x="306" y="2486"/>
                  </a:lnTo>
                  <a:lnTo>
                    <a:pt x="306" y="2498"/>
                  </a:lnTo>
                  <a:lnTo>
                    <a:pt x="306" y="2506"/>
                  </a:lnTo>
                  <a:lnTo>
                    <a:pt x="310" y="2514"/>
                  </a:lnTo>
                  <a:lnTo>
                    <a:pt x="314" y="2522"/>
                  </a:lnTo>
                  <a:lnTo>
                    <a:pt x="314" y="2530"/>
                  </a:lnTo>
                  <a:lnTo>
                    <a:pt x="314" y="2540"/>
                  </a:lnTo>
                  <a:lnTo>
                    <a:pt x="312" y="2552"/>
                  </a:lnTo>
                  <a:lnTo>
                    <a:pt x="314" y="2560"/>
                  </a:lnTo>
                  <a:lnTo>
                    <a:pt x="318" y="2572"/>
                  </a:lnTo>
                  <a:lnTo>
                    <a:pt x="320" y="2576"/>
                  </a:lnTo>
                  <a:lnTo>
                    <a:pt x="322" y="2584"/>
                  </a:lnTo>
                  <a:lnTo>
                    <a:pt x="324" y="2594"/>
                  </a:lnTo>
                  <a:lnTo>
                    <a:pt x="322" y="2606"/>
                  </a:lnTo>
                  <a:lnTo>
                    <a:pt x="320" y="2618"/>
                  </a:lnTo>
                  <a:lnTo>
                    <a:pt x="316" y="2624"/>
                  </a:lnTo>
                  <a:lnTo>
                    <a:pt x="314" y="2626"/>
                  </a:lnTo>
                  <a:lnTo>
                    <a:pt x="310" y="2626"/>
                  </a:lnTo>
                  <a:lnTo>
                    <a:pt x="308" y="2626"/>
                  </a:lnTo>
                  <a:lnTo>
                    <a:pt x="306" y="2628"/>
                  </a:lnTo>
                  <a:lnTo>
                    <a:pt x="304" y="2632"/>
                  </a:lnTo>
                  <a:lnTo>
                    <a:pt x="304" y="2642"/>
                  </a:lnTo>
                  <a:lnTo>
                    <a:pt x="302" y="2658"/>
                  </a:lnTo>
                  <a:lnTo>
                    <a:pt x="298" y="2670"/>
                  </a:lnTo>
                  <a:lnTo>
                    <a:pt x="294" y="2686"/>
                  </a:lnTo>
                  <a:lnTo>
                    <a:pt x="292" y="2692"/>
                  </a:lnTo>
                  <a:lnTo>
                    <a:pt x="292" y="2696"/>
                  </a:lnTo>
                  <a:lnTo>
                    <a:pt x="294" y="2704"/>
                  </a:lnTo>
                  <a:lnTo>
                    <a:pt x="298" y="2712"/>
                  </a:lnTo>
                  <a:lnTo>
                    <a:pt x="302" y="2722"/>
                  </a:lnTo>
                  <a:lnTo>
                    <a:pt x="308" y="2728"/>
                  </a:lnTo>
                  <a:lnTo>
                    <a:pt x="312" y="2732"/>
                  </a:lnTo>
                  <a:lnTo>
                    <a:pt x="316" y="2734"/>
                  </a:lnTo>
                  <a:lnTo>
                    <a:pt x="320" y="2734"/>
                  </a:lnTo>
                  <a:lnTo>
                    <a:pt x="324" y="2732"/>
                  </a:lnTo>
                  <a:lnTo>
                    <a:pt x="328" y="2728"/>
                  </a:lnTo>
                  <a:lnTo>
                    <a:pt x="330" y="2724"/>
                  </a:lnTo>
                  <a:lnTo>
                    <a:pt x="334" y="2716"/>
                  </a:lnTo>
                  <a:lnTo>
                    <a:pt x="336" y="2716"/>
                  </a:lnTo>
                  <a:lnTo>
                    <a:pt x="338" y="2718"/>
                  </a:lnTo>
                  <a:lnTo>
                    <a:pt x="342" y="2722"/>
                  </a:lnTo>
                  <a:lnTo>
                    <a:pt x="346" y="2726"/>
                  </a:lnTo>
                  <a:lnTo>
                    <a:pt x="348" y="2728"/>
                  </a:lnTo>
                  <a:lnTo>
                    <a:pt x="350" y="2730"/>
                  </a:lnTo>
                  <a:lnTo>
                    <a:pt x="350" y="2732"/>
                  </a:lnTo>
                  <a:lnTo>
                    <a:pt x="344" y="2738"/>
                  </a:lnTo>
                  <a:lnTo>
                    <a:pt x="340" y="2744"/>
                  </a:lnTo>
                  <a:lnTo>
                    <a:pt x="340" y="2746"/>
                  </a:lnTo>
                  <a:lnTo>
                    <a:pt x="344" y="2746"/>
                  </a:lnTo>
                  <a:lnTo>
                    <a:pt x="350" y="2748"/>
                  </a:lnTo>
                  <a:lnTo>
                    <a:pt x="354" y="2752"/>
                  </a:lnTo>
                  <a:lnTo>
                    <a:pt x="356" y="2754"/>
                  </a:lnTo>
                  <a:lnTo>
                    <a:pt x="356" y="2760"/>
                  </a:lnTo>
                  <a:lnTo>
                    <a:pt x="356" y="2766"/>
                  </a:lnTo>
                  <a:lnTo>
                    <a:pt x="354" y="2766"/>
                  </a:lnTo>
                  <a:lnTo>
                    <a:pt x="352" y="2764"/>
                  </a:lnTo>
                  <a:lnTo>
                    <a:pt x="348" y="2758"/>
                  </a:lnTo>
                  <a:lnTo>
                    <a:pt x="344" y="2758"/>
                  </a:lnTo>
                  <a:lnTo>
                    <a:pt x="342" y="2760"/>
                  </a:lnTo>
                  <a:lnTo>
                    <a:pt x="342" y="2766"/>
                  </a:lnTo>
                  <a:lnTo>
                    <a:pt x="342" y="2774"/>
                  </a:lnTo>
                  <a:lnTo>
                    <a:pt x="342" y="2778"/>
                  </a:lnTo>
                  <a:lnTo>
                    <a:pt x="340" y="2782"/>
                  </a:lnTo>
                  <a:lnTo>
                    <a:pt x="342" y="2792"/>
                  </a:lnTo>
                  <a:lnTo>
                    <a:pt x="342" y="2798"/>
                  </a:lnTo>
                  <a:lnTo>
                    <a:pt x="342" y="2804"/>
                  </a:lnTo>
                  <a:lnTo>
                    <a:pt x="336" y="2812"/>
                  </a:lnTo>
                  <a:lnTo>
                    <a:pt x="330" y="2820"/>
                  </a:lnTo>
                  <a:lnTo>
                    <a:pt x="330" y="2824"/>
                  </a:lnTo>
                  <a:lnTo>
                    <a:pt x="330" y="2830"/>
                  </a:lnTo>
                  <a:lnTo>
                    <a:pt x="334" y="2840"/>
                  </a:lnTo>
                  <a:lnTo>
                    <a:pt x="332" y="2852"/>
                  </a:lnTo>
                  <a:lnTo>
                    <a:pt x="330" y="2860"/>
                  </a:lnTo>
                  <a:lnTo>
                    <a:pt x="326" y="2864"/>
                  </a:lnTo>
                  <a:lnTo>
                    <a:pt x="324" y="2866"/>
                  </a:lnTo>
                  <a:lnTo>
                    <a:pt x="324" y="2870"/>
                  </a:lnTo>
                  <a:lnTo>
                    <a:pt x="330" y="2872"/>
                  </a:lnTo>
                  <a:lnTo>
                    <a:pt x="336" y="2874"/>
                  </a:lnTo>
                  <a:lnTo>
                    <a:pt x="344" y="2878"/>
                  </a:lnTo>
                  <a:lnTo>
                    <a:pt x="346" y="2882"/>
                  </a:lnTo>
                  <a:lnTo>
                    <a:pt x="348" y="2890"/>
                  </a:lnTo>
                  <a:lnTo>
                    <a:pt x="346" y="2896"/>
                  </a:lnTo>
                  <a:lnTo>
                    <a:pt x="342" y="2904"/>
                  </a:lnTo>
                  <a:lnTo>
                    <a:pt x="338" y="2908"/>
                  </a:lnTo>
                  <a:lnTo>
                    <a:pt x="332" y="2912"/>
                  </a:lnTo>
                  <a:lnTo>
                    <a:pt x="326" y="2916"/>
                  </a:lnTo>
                  <a:lnTo>
                    <a:pt x="320" y="2918"/>
                  </a:lnTo>
                  <a:lnTo>
                    <a:pt x="318" y="2922"/>
                  </a:lnTo>
                  <a:lnTo>
                    <a:pt x="320" y="2926"/>
                  </a:lnTo>
                  <a:lnTo>
                    <a:pt x="322" y="2930"/>
                  </a:lnTo>
                  <a:lnTo>
                    <a:pt x="322" y="2932"/>
                  </a:lnTo>
                  <a:lnTo>
                    <a:pt x="320" y="2936"/>
                  </a:lnTo>
                  <a:lnTo>
                    <a:pt x="316" y="2940"/>
                  </a:lnTo>
                  <a:lnTo>
                    <a:pt x="312" y="2946"/>
                  </a:lnTo>
                  <a:lnTo>
                    <a:pt x="312" y="2954"/>
                  </a:lnTo>
                  <a:lnTo>
                    <a:pt x="312" y="2956"/>
                  </a:lnTo>
                  <a:lnTo>
                    <a:pt x="312" y="2962"/>
                  </a:lnTo>
                  <a:lnTo>
                    <a:pt x="310" y="2974"/>
                  </a:lnTo>
                  <a:lnTo>
                    <a:pt x="308" y="2986"/>
                  </a:lnTo>
                  <a:lnTo>
                    <a:pt x="308" y="2994"/>
                  </a:lnTo>
                  <a:lnTo>
                    <a:pt x="306" y="3000"/>
                  </a:lnTo>
                  <a:lnTo>
                    <a:pt x="300" y="3006"/>
                  </a:lnTo>
                  <a:lnTo>
                    <a:pt x="298" y="3006"/>
                  </a:lnTo>
                  <a:lnTo>
                    <a:pt x="296" y="3006"/>
                  </a:lnTo>
                  <a:lnTo>
                    <a:pt x="298" y="2998"/>
                  </a:lnTo>
                  <a:lnTo>
                    <a:pt x="300" y="2988"/>
                  </a:lnTo>
                  <a:lnTo>
                    <a:pt x="300" y="2984"/>
                  </a:lnTo>
                  <a:lnTo>
                    <a:pt x="296" y="2980"/>
                  </a:lnTo>
                  <a:lnTo>
                    <a:pt x="292" y="2978"/>
                  </a:lnTo>
                  <a:lnTo>
                    <a:pt x="290" y="2974"/>
                  </a:lnTo>
                  <a:lnTo>
                    <a:pt x="290" y="2968"/>
                  </a:lnTo>
                  <a:lnTo>
                    <a:pt x="290" y="2964"/>
                  </a:lnTo>
                  <a:lnTo>
                    <a:pt x="288" y="2962"/>
                  </a:lnTo>
                  <a:lnTo>
                    <a:pt x="282" y="2962"/>
                  </a:lnTo>
                  <a:lnTo>
                    <a:pt x="276" y="2962"/>
                  </a:lnTo>
                  <a:lnTo>
                    <a:pt x="274" y="2964"/>
                  </a:lnTo>
                  <a:lnTo>
                    <a:pt x="274" y="2966"/>
                  </a:lnTo>
                  <a:lnTo>
                    <a:pt x="270" y="2964"/>
                  </a:lnTo>
                  <a:lnTo>
                    <a:pt x="268" y="2964"/>
                  </a:lnTo>
                  <a:lnTo>
                    <a:pt x="266" y="2964"/>
                  </a:lnTo>
                  <a:lnTo>
                    <a:pt x="266" y="2968"/>
                  </a:lnTo>
                  <a:lnTo>
                    <a:pt x="266" y="2972"/>
                  </a:lnTo>
                  <a:lnTo>
                    <a:pt x="264" y="2976"/>
                  </a:lnTo>
                  <a:lnTo>
                    <a:pt x="260" y="2980"/>
                  </a:lnTo>
                  <a:lnTo>
                    <a:pt x="254" y="2986"/>
                  </a:lnTo>
                  <a:lnTo>
                    <a:pt x="238" y="2994"/>
                  </a:lnTo>
                  <a:lnTo>
                    <a:pt x="228" y="3004"/>
                  </a:lnTo>
                  <a:lnTo>
                    <a:pt x="226" y="3008"/>
                  </a:lnTo>
                  <a:lnTo>
                    <a:pt x="224" y="3012"/>
                  </a:lnTo>
                  <a:lnTo>
                    <a:pt x="224" y="3016"/>
                  </a:lnTo>
                  <a:lnTo>
                    <a:pt x="226" y="3020"/>
                  </a:lnTo>
                  <a:lnTo>
                    <a:pt x="232" y="3026"/>
                  </a:lnTo>
                  <a:lnTo>
                    <a:pt x="236" y="3026"/>
                  </a:lnTo>
                  <a:lnTo>
                    <a:pt x="236" y="3024"/>
                  </a:lnTo>
                  <a:lnTo>
                    <a:pt x="238" y="3016"/>
                  </a:lnTo>
                  <a:lnTo>
                    <a:pt x="238" y="3010"/>
                  </a:lnTo>
                  <a:lnTo>
                    <a:pt x="242" y="3006"/>
                  </a:lnTo>
                  <a:lnTo>
                    <a:pt x="244" y="3006"/>
                  </a:lnTo>
                  <a:lnTo>
                    <a:pt x="248" y="3006"/>
                  </a:lnTo>
                  <a:lnTo>
                    <a:pt x="252" y="3012"/>
                  </a:lnTo>
                  <a:lnTo>
                    <a:pt x="256" y="3018"/>
                  </a:lnTo>
                  <a:lnTo>
                    <a:pt x="264" y="3022"/>
                  </a:lnTo>
                  <a:lnTo>
                    <a:pt x="272" y="3024"/>
                  </a:lnTo>
                  <a:lnTo>
                    <a:pt x="274" y="3022"/>
                  </a:lnTo>
                  <a:lnTo>
                    <a:pt x="274" y="3020"/>
                  </a:lnTo>
                  <a:lnTo>
                    <a:pt x="276" y="3016"/>
                  </a:lnTo>
                  <a:lnTo>
                    <a:pt x="278" y="3016"/>
                  </a:lnTo>
                  <a:lnTo>
                    <a:pt x="282" y="3018"/>
                  </a:lnTo>
                  <a:lnTo>
                    <a:pt x="286" y="3024"/>
                  </a:lnTo>
                  <a:lnTo>
                    <a:pt x="290" y="3026"/>
                  </a:lnTo>
                  <a:lnTo>
                    <a:pt x="292" y="3028"/>
                  </a:lnTo>
                  <a:lnTo>
                    <a:pt x="296" y="3030"/>
                  </a:lnTo>
                  <a:lnTo>
                    <a:pt x="296" y="3036"/>
                  </a:lnTo>
                  <a:lnTo>
                    <a:pt x="294" y="3040"/>
                  </a:lnTo>
                  <a:lnTo>
                    <a:pt x="292" y="3040"/>
                  </a:lnTo>
                  <a:lnTo>
                    <a:pt x="286" y="3042"/>
                  </a:lnTo>
                  <a:lnTo>
                    <a:pt x="280" y="3042"/>
                  </a:lnTo>
                  <a:lnTo>
                    <a:pt x="278" y="3044"/>
                  </a:lnTo>
                  <a:lnTo>
                    <a:pt x="276" y="3048"/>
                  </a:lnTo>
                  <a:lnTo>
                    <a:pt x="274" y="3054"/>
                  </a:lnTo>
                  <a:lnTo>
                    <a:pt x="274" y="3056"/>
                  </a:lnTo>
                  <a:lnTo>
                    <a:pt x="280" y="3062"/>
                  </a:lnTo>
                  <a:lnTo>
                    <a:pt x="284" y="3064"/>
                  </a:lnTo>
                  <a:lnTo>
                    <a:pt x="282" y="3064"/>
                  </a:lnTo>
                  <a:lnTo>
                    <a:pt x="272" y="3062"/>
                  </a:lnTo>
                  <a:lnTo>
                    <a:pt x="270" y="3062"/>
                  </a:lnTo>
                  <a:lnTo>
                    <a:pt x="268" y="3066"/>
                  </a:lnTo>
                  <a:lnTo>
                    <a:pt x="266" y="3072"/>
                  </a:lnTo>
                  <a:lnTo>
                    <a:pt x="268" y="3074"/>
                  </a:lnTo>
                  <a:lnTo>
                    <a:pt x="272" y="3074"/>
                  </a:lnTo>
                  <a:lnTo>
                    <a:pt x="282" y="3074"/>
                  </a:lnTo>
                  <a:lnTo>
                    <a:pt x="290" y="3074"/>
                  </a:lnTo>
                  <a:lnTo>
                    <a:pt x="296" y="3076"/>
                  </a:lnTo>
                  <a:lnTo>
                    <a:pt x="300" y="3078"/>
                  </a:lnTo>
                  <a:lnTo>
                    <a:pt x="302" y="3078"/>
                  </a:lnTo>
                  <a:lnTo>
                    <a:pt x="302" y="3074"/>
                  </a:lnTo>
                  <a:lnTo>
                    <a:pt x="304" y="3072"/>
                  </a:lnTo>
                  <a:lnTo>
                    <a:pt x="306" y="3072"/>
                  </a:lnTo>
                  <a:lnTo>
                    <a:pt x="310" y="3076"/>
                  </a:lnTo>
                  <a:lnTo>
                    <a:pt x="312" y="3080"/>
                  </a:lnTo>
                  <a:lnTo>
                    <a:pt x="312" y="3082"/>
                  </a:lnTo>
                  <a:lnTo>
                    <a:pt x="310" y="3084"/>
                  </a:lnTo>
                  <a:lnTo>
                    <a:pt x="308" y="3086"/>
                  </a:lnTo>
                  <a:lnTo>
                    <a:pt x="310" y="3088"/>
                  </a:lnTo>
                  <a:lnTo>
                    <a:pt x="314" y="3096"/>
                  </a:lnTo>
                  <a:lnTo>
                    <a:pt x="318" y="3100"/>
                  </a:lnTo>
                  <a:lnTo>
                    <a:pt x="318" y="3102"/>
                  </a:lnTo>
                  <a:lnTo>
                    <a:pt x="314" y="3100"/>
                  </a:lnTo>
                  <a:lnTo>
                    <a:pt x="300" y="3090"/>
                  </a:lnTo>
                  <a:lnTo>
                    <a:pt x="294" y="3088"/>
                  </a:lnTo>
                  <a:lnTo>
                    <a:pt x="286" y="3088"/>
                  </a:lnTo>
                  <a:lnTo>
                    <a:pt x="272" y="3086"/>
                  </a:lnTo>
                  <a:lnTo>
                    <a:pt x="268" y="3088"/>
                  </a:lnTo>
                  <a:lnTo>
                    <a:pt x="266" y="3088"/>
                  </a:lnTo>
                  <a:lnTo>
                    <a:pt x="268" y="3090"/>
                  </a:lnTo>
                  <a:lnTo>
                    <a:pt x="270" y="3092"/>
                  </a:lnTo>
                  <a:lnTo>
                    <a:pt x="272" y="3092"/>
                  </a:lnTo>
                  <a:lnTo>
                    <a:pt x="274" y="3092"/>
                  </a:lnTo>
                  <a:lnTo>
                    <a:pt x="276" y="3096"/>
                  </a:lnTo>
                  <a:lnTo>
                    <a:pt x="278" y="3100"/>
                  </a:lnTo>
                  <a:lnTo>
                    <a:pt x="282" y="3104"/>
                  </a:lnTo>
                  <a:lnTo>
                    <a:pt x="292" y="3110"/>
                  </a:lnTo>
                  <a:lnTo>
                    <a:pt x="294" y="3112"/>
                  </a:lnTo>
                  <a:lnTo>
                    <a:pt x="294" y="3114"/>
                  </a:lnTo>
                  <a:lnTo>
                    <a:pt x="294" y="3116"/>
                  </a:lnTo>
                  <a:lnTo>
                    <a:pt x="294" y="3120"/>
                  </a:lnTo>
                  <a:lnTo>
                    <a:pt x="292" y="3120"/>
                  </a:lnTo>
                  <a:lnTo>
                    <a:pt x="288" y="3118"/>
                  </a:lnTo>
                  <a:lnTo>
                    <a:pt x="284" y="3116"/>
                  </a:lnTo>
                  <a:lnTo>
                    <a:pt x="280" y="3116"/>
                  </a:lnTo>
                  <a:lnTo>
                    <a:pt x="280" y="3120"/>
                  </a:lnTo>
                  <a:lnTo>
                    <a:pt x="276" y="3132"/>
                  </a:lnTo>
                  <a:lnTo>
                    <a:pt x="276" y="3138"/>
                  </a:lnTo>
                  <a:lnTo>
                    <a:pt x="276" y="3148"/>
                  </a:lnTo>
                  <a:lnTo>
                    <a:pt x="278" y="3168"/>
                  </a:lnTo>
                  <a:lnTo>
                    <a:pt x="280" y="3174"/>
                  </a:lnTo>
                  <a:lnTo>
                    <a:pt x="282" y="3178"/>
                  </a:lnTo>
                  <a:lnTo>
                    <a:pt x="284" y="3178"/>
                  </a:lnTo>
                  <a:lnTo>
                    <a:pt x="284" y="3176"/>
                  </a:lnTo>
                  <a:lnTo>
                    <a:pt x="286" y="3168"/>
                  </a:lnTo>
                  <a:lnTo>
                    <a:pt x="288" y="3160"/>
                  </a:lnTo>
                  <a:lnTo>
                    <a:pt x="290" y="3156"/>
                  </a:lnTo>
                  <a:lnTo>
                    <a:pt x="292" y="3154"/>
                  </a:lnTo>
                  <a:lnTo>
                    <a:pt x="292" y="3158"/>
                  </a:lnTo>
                  <a:lnTo>
                    <a:pt x="292" y="3164"/>
                  </a:lnTo>
                  <a:lnTo>
                    <a:pt x="292" y="3170"/>
                  </a:lnTo>
                  <a:lnTo>
                    <a:pt x="294" y="3176"/>
                  </a:lnTo>
                  <a:lnTo>
                    <a:pt x="298" y="3182"/>
                  </a:lnTo>
                  <a:lnTo>
                    <a:pt x="300" y="3184"/>
                  </a:lnTo>
                  <a:lnTo>
                    <a:pt x="296" y="3182"/>
                  </a:lnTo>
                  <a:lnTo>
                    <a:pt x="290" y="3180"/>
                  </a:lnTo>
                  <a:lnTo>
                    <a:pt x="284" y="3182"/>
                  </a:lnTo>
                  <a:lnTo>
                    <a:pt x="280" y="3184"/>
                  </a:lnTo>
                  <a:lnTo>
                    <a:pt x="280" y="3186"/>
                  </a:lnTo>
                  <a:lnTo>
                    <a:pt x="282" y="3188"/>
                  </a:lnTo>
                  <a:lnTo>
                    <a:pt x="282" y="3190"/>
                  </a:lnTo>
                  <a:lnTo>
                    <a:pt x="280" y="3192"/>
                  </a:lnTo>
                  <a:lnTo>
                    <a:pt x="280" y="3194"/>
                  </a:lnTo>
                  <a:lnTo>
                    <a:pt x="284" y="3198"/>
                  </a:lnTo>
                  <a:lnTo>
                    <a:pt x="296" y="3206"/>
                  </a:lnTo>
                  <a:lnTo>
                    <a:pt x="294" y="3206"/>
                  </a:lnTo>
                  <a:lnTo>
                    <a:pt x="288" y="3206"/>
                  </a:lnTo>
                  <a:lnTo>
                    <a:pt x="280" y="3204"/>
                  </a:lnTo>
                  <a:lnTo>
                    <a:pt x="278" y="3204"/>
                  </a:lnTo>
                  <a:lnTo>
                    <a:pt x="280" y="3206"/>
                  </a:lnTo>
                  <a:lnTo>
                    <a:pt x="288" y="3216"/>
                  </a:lnTo>
                  <a:lnTo>
                    <a:pt x="290" y="3220"/>
                  </a:lnTo>
                  <a:lnTo>
                    <a:pt x="280" y="3214"/>
                  </a:lnTo>
                  <a:lnTo>
                    <a:pt x="274" y="3212"/>
                  </a:lnTo>
                  <a:lnTo>
                    <a:pt x="268" y="3212"/>
                  </a:lnTo>
                  <a:lnTo>
                    <a:pt x="264" y="3214"/>
                  </a:lnTo>
                  <a:lnTo>
                    <a:pt x="264" y="3216"/>
                  </a:lnTo>
                  <a:lnTo>
                    <a:pt x="268" y="3218"/>
                  </a:lnTo>
                  <a:lnTo>
                    <a:pt x="272" y="3220"/>
                  </a:lnTo>
                  <a:lnTo>
                    <a:pt x="274" y="3224"/>
                  </a:lnTo>
                  <a:lnTo>
                    <a:pt x="274" y="3226"/>
                  </a:lnTo>
                  <a:lnTo>
                    <a:pt x="278" y="3228"/>
                  </a:lnTo>
                  <a:lnTo>
                    <a:pt x="282" y="3230"/>
                  </a:lnTo>
                  <a:lnTo>
                    <a:pt x="284" y="3230"/>
                  </a:lnTo>
                  <a:lnTo>
                    <a:pt x="288" y="3230"/>
                  </a:lnTo>
                  <a:lnTo>
                    <a:pt x="292" y="3234"/>
                  </a:lnTo>
                  <a:lnTo>
                    <a:pt x="296" y="3236"/>
                  </a:lnTo>
                  <a:lnTo>
                    <a:pt x="296" y="3238"/>
                  </a:lnTo>
                  <a:lnTo>
                    <a:pt x="288" y="3236"/>
                  </a:lnTo>
                  <a:lnTo>
                    <a:pt x="284" y="3236"/>
                  </a:lnTo>
                  <a:lnTo>
                    <a:pt x="284" y="3238"/>
                  </a:lnTo>
                  <a:lnTo>
                    <a:pt x="288" y="3248"/>
                  </a:lnTo>
                  <a:lnTo>
                    <a:pt x="290" y="3252"/>
                  </a:lnTo>
                  <a:lnTo>
                    <a:pt x="294" y="3252"/>
                  </a:lnTo>
                  <a:lnTo>
                    <a:pt x="298" y="3250"/>
                  </a:lnTo>
                  <a:lnTo>
                    <a:pt x="302" y="3240"/>
                  </a:lnTo>
                  <a:lnTo>
                    <a:pt x="306" y="3234"/>
                  </a:lnTo>
                  <a:lnTo>
                    <a:pt x="308" y="3232"/>
                  </a:lnTo>
                  <a:lnTo>
                    <a:pt x="308" y="3234"/>
                  </a:lnTo>
                  <a:lnTo>
                    <a:pt x="306" y="3242"/>
                  </a:lnTo>
                  <a:lnTo>
                    <a:pt x="300" y="3256"/>
                  </a:lnTo>
                  <a:lnTo>
                    <a:pt x="296" y="3258"/>
                  </a:lnTo>
                  <a:lnTo>
                    <a:pt x="292" y="3258"/>
                  </a:lnTo>
                  <a:lnTo>
                    <a:pt x="288" y="3258"/>
                  </a:lnTo>
                  <a:lnTo>
                    <a:pt x="286" y="3258"/>
                  </a:lnTo>
                  <a:lnTo>
                    <a:pt x="284" y="3260"/>
                  </a:lnTo>
                  <a:lnTo>
                    <a:pt x="284" y="3264"/>
                  </a:lnTo>
                  <a:lnTo>
                    <a:pt x="286" y="3266"/>
                  </a:lnTo>
                  <a:lnTo>
                    <a:pt x="288" y="3268"/>
                  </a:lnTo>
                  <a:lnTo>
                    <a:pt x="288" y="3272"/>
                  </a:lnTo>
                  <a:lnTo>
                    <a:pt x="288" y="3276"/>
                  </a:lnTo>
                  <a:lnTo>
                    <a:pt x="290" y="3276"/>
                  </a:lnTo>
                  <a:lnTo>
                    <a:pt x="292" y="3276"/>
                  </a:lnTo>
                  <a:lnTo>
                    <a:pt x="296" y="3276"/>
                  </a:lnTo>
                  <a:lnTo>
                    <a:pt x="302" y="3278"/>
                  </a:lnTo>
                  <a:lnTo>
                    <a:pt x="306" y="3286"/>
                  </a:lnTo>
                  <a:lnTo>
                    <a:pt x="308" y="3294"/>
                  </a:lnTo>
                  <a:lnTo>
                    <a:pt x="308" y="3298"/>
                  </a:lnTo>
                  <a:lnTo>
                    <a:pt x="306" y="3298"/>
                  </a:lnTo>
                  <a:lnTo>
                    <a:pt x="302" y="3294"/>
                  </a:lnTo>
                  <a:lnTo>
                    <a:pt x="298" y="3288"/>
                  </a:lnTo>
                  <a:lnTo>
                    <a:pt x="296" y="3288"/>
                  </a:lnTo>
                  <a:lnTo>
                    <a:pt x="296" y="3290"/>
                  </a:lnTo>
                  <a:lnTo>
                    <a:pt x="296" y="3294"/>
                  </a:lnTo>
                  <a:lnTo>
                    <a:pt x="298" y="3298"/>
                  </a:lnTo>
                  <a:lnTo>
                    <a:pt x="298" y="3302"/>
                  </a:lnTo>
                  <a:lnTo>
                    <a:pt x="298" y="3304"/>
                  </a:lnTo>
                  <a:lnTo>
                    <a:pt x="300" y="3308"/>
                  </a:lnTo>
                  <a:lnTo>
                    <a:pt x="302" y="3310"/>
                  </a:lnTo>
                  <a:lnTo>
                    <a:pt x="306" y="3308"/>
                  </a:lnTo>
                  <a:lnTo>
                    <a:pt x="308" y="3306"/>
                  </a:lnTo>
                  <a:lnTo>
                    <a:pt x="310" y="3308"/>
                  </a:lnTo>
                  <a:lnTo>
                    <a:pt x="312" y="3310"/>
                  </a:lnTo>
                  <a:lnTo>
                    <a:pt x="314" y="3318"/>
                  </a:lnTo>
                  <a:lnTo>
                    <a:pt x="310" y="3316"/>
                  </a:lnTo>
                  <a:lnTo>
                    <a:pt x="308" y="3316"/>
                  </a:lnTo>
                  <a:lnTo>
                    <a:pt x="308" y="3318"/>
                  </a:lnTo>
                  <a:lnTo>
                    <a:pt x="312" y="3326"/>
                  </a:lnTo>
                  <a:lnTo>
                    <a:pt x="318" y="3332"/>
                  </a:lnTo>
                  <a:lnTo>
                    <a:pt x="322" y="3332"/>
                  </a:lnTo>
                  <a:lnTo>
                    <a:pt x="324" y="3332"/>
                  </a:lnTo>
                  <a:lnTo>
                    <a:pt x="326" y="3322"/>
                  </a:lnTo>
                  <a:lnTo>
                    <a:pt x="330" y="3318"/>
                  </a:lnTo>
                  <a:lnTo>
                    <a:pt x="332" y="3316"/>
                  </a:lnTo>
                  <a:lnTo>
                    <a:pt x="334" y="3314"/>
                  </a:lnTo>
                  <a:lnTo>
                    <a:pt x="334" y="3312"/>
                  </a:lnTo>
                  <a:lnTo>
                    <a:pt x="334" y="3310"/>
                  </a:lnTo>
                  <a:lnTo>
                    <a:pt x="342" y="3312"/>
                  </a:lnTo>
                  <a:lnTo>
                    <a:pt x="348" y="3312"/>
                  </a:lnTo>
                  <a:lnTo>
                    <a:pt x="350" y="3312"/>
                  </a:lnTo>
                  <a:lnTo>
                    <a:pt x="350" y="3310"/>
                  </a:lnTo>
                  <a:lnTo>
                    <a:pt x="344" y="3304"/>
                  </a:lnTo>
                  <a:lnTo>
                    <a:pt x="334" y="3300"/>
                  </a:lnTo>
                  <a:lnTo>
                    <a:pt x="326" y="3294"/>
                  </a:lnTo>
                  <a:lnTo>
                    <a:pt x="324" y="3292"/>
                  </a:lnTo>
                  <a:lnTo>
                    <a:pt x="328" y="3290"/>
                  </a:lnTo>
                  <a:lnTo>
                    <a:pt x="336" y="3294"/>
                  </a:lnTo>
                  <a:lnTo>
                    <a:pt x="350" y="3302"/>
                  </a:lnTo>
                  <a:lnTo>
                    <a:pt x="354" y="3308"/>
                  </a:lnTo>
                  <a:lnTo>
                    <a:pt x="354" y="3314"/>
                  </a:lnTo>
                  <a:lnTo>
                    <a:pt x="352" y="3320"/>
                  </a:lnTo>
                  <a:lnTo>
                    <a:pt x="350" y="3322"/>
                  </a:lnTo>
                  <a:lnTo>
                    <a:pt x="348" y="3324"/>
                  </a:lnTo>
                  <a:lnTo>
                    <a:pt x="350" y="3330"/>
                  </a:lnTo>
                  <a:lnTo>
                    <a:pt x="352" y="3332"/>
                  </a:lnTo>
                  <a:lnTo>
                    <a:pt x="348" y="3328"/>
                  </a:lnTo>
                  <a:lnTo>
                    <a:pt x="342" y="3322"/>
                  </a:lnTo>
                  <a:lnTo>
                    <a:pt x="340" y="3322"/>
                  </a:lnTo>
                  <a:lnTo>
                    <a:pt x="338" y="3326"/>
                  </a:lnTo>
                  <a:lnTo>
                    <a:pt x="334" y="3336"/>
                  </a:lnTo>
                  <a:lnTo>
                    <a:pt x="332" y="3334"/>
                  </a:lnTo>
                  <a:lnTo>
                    <a:pt x="332" y="3330"/>
                  </a:lnTo>
                  <a:lnTo>
                    <a:pt x="330" y="3332"/>
                  </a:lnTo>
                  <a:lnTo>
                    <a:pt x="324" y="3338"/>
                  </a:lnTo>
                  <a:lnTo>
                    <a:pt x="322" y="3340"/>
                  </a:lnTo>
                  <a:lnTo>
                    <a:pt x="320" y="3340"/>
                  </a:lnTo>
                  <a:lnTo>
                    <a:pt x="316" y="3336"/>
                  </a:lnTo>
                  <a:lnTo>
                    <a:pt x="310" y="3330"/>
                  </a:lnTo>
                  <a:lnTo>
                    <a:pt x="306" y="3328"/>
                  </a:lnTo>
                  <a:lnTo>
                    <a:pt x="304" y="3328"/>
                  </a:lnTo>
                  <a:lnTo>
                    <a:pt x="306" y="3332"/>
                  </a:lnTo>
                  <a:lnTo>
                    <a:pt x="310" y="3336"/>
                  </a:lnTo>
                  <a:lnTo>
                    <a:pt x="310" y="3340"/>
                  </a:lnTo>
                  <a:lnTo>
                    <a:pt x="308" y="3344"/>
                  </a:lnTo>
                  <a:lnTo>
                    <a:pt x="306" y="3350"/>
                  </a:lnTo>
                  <a:lnTo>
                    <a:pt x="308" y="3350"/>
                  </a:lnTo>
                  <a:lnTo>
                    <a:pt x="312" y="3352"/>
                  </a:lnTo>
                  <a:lnTo>
                    <a:pt x="310" y="3356"/>
                  </a:lnTo>
                  <a:lnTo>
                    <a:pt x="306" y="3364"/>
                  </a:lnTo>
                  <a:lnTo>
                    <a:pt x="306" y="3368"/>
                  </a:lnTo>
                  <a:lnTo>
                    <a:pt x="306" y="3370"/>
                  </a:lnTo>
                  <a:lnTo>
                    <a:pt x="308" y="3370"/>
                  </a:lnTo>
                  <a:lnTo>
                    <a:pt x="314" y="3366"/>
                  </a:lnTo>
                  <a:lnTo>
                    <a:pt x="316" y="3364"/>
                  </a:lnTo>
                  <a:lnTo>
                    <a:pt x="320" y="3364"/>
                  </a:lnTo>
                  <a:lnTo>
                    <a:pt x="322" y="3366"/>
                  </a:lnTo>
                  <a:lnTo>
                    <a:pt x="324" y="3372"/>
                  </a:lnTo>
                  <a:lnTo>
                    <a:pt x="322" y="3374"/>
                  </a:lnTo>
                  <a:lnTo>
                    <a:pt x="320" y="3374"/>
                  </a:lnTo>
                  <a:lnTo>
                    <a:pt x="316" y="3374"/>
                  </a:lnTo>
                  <a:lnTo>
                    <a:pt x="322" y="3380"/>
                  </a:lnTo>
                  <a:lnTo>
                    <a:pt x="322" y="3382"/>
                  </a:lnTo>
                  <a:lnTo>
                    <a:pt x="318" y="3384"/>
                  </a:lnTo>
                  <a:lnTo>
                    <a:pt x="316" y="3386"/>
                  </a:lnTo>
                  <a:lnTo>
                    <a:pt x="320" y="3388"/>
                  </a:lnTo>
                  <a:lnTo>
                    <a:pt x="328" y="3390"/>
                  </a:lnTo>
                  <a:lnTo>
                    <a:pt x="332" y="3388"/>
                  </a:lnTo>
                  <a:lnTo>
                    <a:pt x="334" y="3384"/>
                  </a:lnTo>
                  <a:lnTo>
                    <a:pt x="334" y="3378"/>
                  </a:lnTo>
                  <a:lnTo>
                    <a:pt x="334" y="3376"/>
                  </a:lnTo>
                  <a:lnTo>
                    <a:pt x="336" y="3374"/>
                  </a:lnTo>
                  <a:lnTo>
                    <a:pt x="340" y="3370"/>
                  </a:lnTo>
                  <a:lnTo>
                    <a:pt x="344" y="3368"/>
                  </a:lnTo>
                  <a:lnTo>
                    <a:pt x="346" y="3366"/>
                  </a:lnTo>
                  <a:lnTo>
                    <a:pt x="346" y="3364"/>
                  </a:lnTo>
                  <a:lnTo>
                    <a:pt x="344" y="3362"/>
                  </a:lnTo>
                  <a:lnTo>
                    <a:pt x="340" y="3360"/>
                  </a:lnTo>
                  <a:lnTo>
                    <a:pt x="340" y="3358"/>
                  </a:lnTo>
                  <a:lnTo>
                    <a:pt x="344" y="3358"/>
                  </a:lnTo>
                  <a:lnTo>
                    <a:pt x="352" y="3358"/>
                  </a:lnTo>
                  <a:lnTo>
                    <a:pt x="354" y="3362"/>
                  </a:lnTo>
                  <a:lnTo>
                    <a:pt x="356" y="3362"/>
                  </a:lnTo>
                  <a:lnTo>
                    <a:pt x="360" y="3360"/>
                  </a:lnTo>
                  <a:lnTo>
                    <a:pt x="364" y="3358"/>
                  </a:lnTo>
                  <a:lnTo>
                    <a:pt x="368" y="3356"/>
                  </a:lnTo>
                  <a:lnTo>
                    <a:pt x="382" y="3356"/>
                  </a:lnTo>
                  <a:lnTo>
                    <a:pt x="392" y="3358"/>
                  </a:lnTo>
                  <a:lnTo>
                    <a:pt x="394" y="3360"/>
                  </a:lnTo>
                  <a:lnTo>
                    <a:pt x="396" y="3362"/>
                  </a:lnTo>
                  <a:lnTo>
                    <a:pt x="392" y="3366"/>
                  </a:lnTo>
                  <a:lnTo>
                    <a:pt x="386" y="3368"/>
                  </a:lnTo>
                  <a:lnTo>
                    <a:pt x="380" y="3366"/>
                  </a:lnTo>
                  <a:lnTo>
                    <a:pt x="372" y="3364"/>
                  </a:lnTo>
                  <a:lnTo>
                    <a:pt x="368" y="3364"/>
                  </a:lnTo>
                  <a:lnTo>
                    <a:pt x="366" y="3366"/>
                  </a:lnTo>
                  <a:lnTo>
                    <a:pt x="362" y="3370"/>
                  </a:lnTo>
                  <a:lnTo>
                    <a:pt x="358" y="3376"/>
                  </a:lnTo>
                  <a:lnTo>
                    <a:pt x="356" y="3376"/>
                  </a:lnTo>
                  <a:lnTo>
                    <a:pt x="354" y="3376"/>
                  </a:lnTo>
                  <a:lnTo>
                    <a:pt x="348" y="3372"/>
                  </a:lnTo>
                  <a:lnTo>
                    <a:pt x="342" y="3374"/>
                  </a:lnTo>
                  <a:lnTo>
                    <a:pt x="338" y="3378"/>
                  </a:lnTo>
                  <a:lnTo>
                    <a:pt x="338" y="3384"/>
                  </a:lnTo>
                  <a:lnTo>
                    <a:pt x="340" y="3388"/>
                  </a:lnTo>
                  <a:lnTo>
                    <a:pt x="338" y="3390"/>
                  </a:lnTo>
                  <a:lnTo>
                    <a:pt x="338" y="3392"/>
                  </a:lnTo>
                  <a:lnTo>
                    <a:pt x="340" y="3396"/>
                  </a:lnTo>
                  <a:lnTo>
                    <a:pt x="342" y="3398"/>
                  </a:lnTo>
                  <a:lnTo>
                    <a:pt x="340" y="3398"/>
                  </a:lnTo>
                  <a:lnTo>
                    <a:pt x="334" y="3396"/>
                  </a:lnTo>
                  <a:lnTo>
                    <a:pt x="326" y="3396"/>
                  </a:lnTo>
                  <a:lnTo>
                    <a:pt x="324" y="3396"/>
                  </a:lnTo>
                  <a:lnTo>
                    <a:pt x="324" y="3398"/>
                  </a:lnTo>
                  <a:lnTo>
                    <a:pt x="326" y="3402"/>
                  </a:lnTo>
                  <a:lnTo>
                    <a:pt x="342" y="3412"/>
                  </a:lnTo>
                  <a:lnTo>
                    <a:pt x="354" y="3418"/>
                  </a:lnTo>
                  <a:lnTo>
                    <a:pt x="356" y="3418"/>
                  </a:lnTo>
                  <a:lnTo>
                    <a:pt x="354" y="3412"/>
                  </a:lnTo>
                  <a:lnTo>
                    <a:pt x="352" y="3406"/>
                  </a:lnTo>
                  <a:lnTo>
                    <a:pt x="352" y="3402"/>
                  </a:lnTo>
                  <a:lnTo>
                    <a:pt x="358" y="3400"/>
                  </a:lnTo>
                  <a:lnTo>
                    <a:pt x="362" y="3398"/>
                  </a:lnTo>
                  <a:lnTo>
                    <a:pt x="364" y="3396"/>
                  </a:lnTo>
                  <a:lnTo>
                    <a:pt x="364" y="3394"/>
                  </a:lnTo>
                  <a:lnTo>
                    <a:pt x="360" y="3390"/>
                  </a:lnTo>
                  <a:lnTo>
                    <a:pt x="356" y="3388"/>
                  </a:lnTo>
                  <a:lnTo>
                    <a:pt x="362" y="3390"/>
                  </a:lnTo>
                  <a:lnTo>
                    <a:pt x="370" y="3392"/>
                  </a:lnTo>
                  <a:lnTo>
                    <a:pt x="374" y="3390"/>
                  </a:lnTo>
                  <a:lnTo>
                    <a:pt x="378" y="3386"/>
                  </a:lnTo>
                  <a:lnTo>
                    <a:pt x="384" y="3382"/>
                  </a:lnTo>
                  <a:lnTo>
                    <a:pt x="392" y="3378"/>
                  </a:lnTo>
                  <a:lnTo>
                    <a:pt x="396" y="3374"/>
                  </a:lnTo>
                  <a:lnTo>
                    <a:pt x="402" y="3372"/>
                  </a:lnTo>
                  <a:lnTo>
                    <a:pt x="406" y="3374"/>
                  </a:lnTo>
                  <a:lnTo>
                    <a:pt x="408" y="3376"/>
                  </a:lnTo>
                  <a:lnTo>
                    <a:pt x="408" y="3378"/>
                  </a:lnTo>
                  <a:lnTo>
                    <a:pt x="406" y="3384"/>
                  </a:lnTo>
                  <a:lnTo>
                    <a:pt x="398" y="3392"/>
                  </a:lnTo>
                  <a:lnTo>
                    <a:pt x="390" y="3396"/>
                  </a:lnTo>
                  <a:lnTo>
                    <a:pt x="384" y="3400"/>
                  </a:lnTo>
                  <a:lnTo>
                    <a:pt x="384" y="3402"/>
                  </a:lnTo>
                  <a:lnTo>
                    <a:pt x="382" y="3404"/>
                  </a:lnTo>
                  <a:lnTo>
                    <a:pt x="380" y="3402"/>
                  </a:lnTo>
                  <a:lnTo>
                    <a:pt x="376" y="3400"/>
                  </a:lnTo>
                  <a:lnTo>
                    <a:pt x="374" y="3402"/>
                  </a:lnTo>
                  <a:lnTo>
                    <a:pt x="374" y="3404"/>
                  </a:lnTo>
                  <a:lnTo>
                    <a:pt x="370" y="3402"/>
                  </a:lnTo>
                  <a:lnTo>
                    <a:pt x="362" y="3404"/>
                  </a:lnTo>
                  <a:lnTo>
                    <a:pt x="358" y="3406"/>
                  </a:lnTo>
                  <a:lnTo>
                    <a:pt x="356" y="3408"/>
                  </a:lnTo>
                  <a:lnTo>
                    <a:pt x="360" y="3414"/>
                  </a:lnTo>
                  <a:lnTo>
                    <a:pt x="366" y="3420"/>
                  </a:lnTo>
                  <a:lnTo>
                    <a:pt x="372" y="3426"/>
                  </a:lnTo>
                  <a:lnTo>
                    <a:pt x="378" y="3430"/>
                  </a:lnTo>
                  <a:lnTo>
                    <a:pt x="382" y="3432"/>
                  </a:lnTo>
                  <a:lnTo>
                    <a:pt x="386" y="3434"/>
                  </a:lnTo>
                  <a:lnTo>
                    <a:pt x="392" y="3438"/>
                  </a:lnTo>
                  <a:lnTo>
                    <a:pt x="402" y="3438"/>
                  </a:lnTo>
                  <a:lnTo>
                    <a:pt x="410" y="3436"/>
                  </a:lnTo>
                  <a:lnTo>
                    <a:pt x="414" y="3434"/>
                  </a:lnTo>
                  <a:lnTo>
                    <a:pt x="416" y="3426"/>
                  </a:lnTo>
                  <a:lnTo>
                    <a:pt x="416" y="3412"/>
                  </a:lnTo>
                  <a:lnTo>
                    <a:pt x="418" y="3400"/>
                  </a:lnTo>
                  <a:lnTo>
                    <a:pt x="420" y="3394"/>
                  </a:lnTo>
                  <a:lnTo>
                    <a:pt x="422" y="3388"/>
                  </a:lnTo>
                  <a:lnTo>
                    <a:pt x="424" y="3378"/>
                  </a:lnTo>
                  <a:lnTo>
                    <a:pt x="424" y="3372"/>
                  </a:lnTo>
                  <a:lnTo>
                    <a:pt x="426" y="3368"/>
                  </a:lnTo>
                  <a:lnTo>
                    <a:pt x="428" y="3366"/>
                  </a:lnTo>
                  <a:lnTo>
                    <a:pt x="432" y="3366"/>
                  </a:lnTo>
                  <a:lnTo>
                    <a:pt x="440" y="3364"/>
                  </a:lnTo>
                  <a:lnTo>
                    <a:pt x="444" y="3362"/>
                  </a:lnTo>
                  <a:lnTo>
                    <a:pt x="450" y="3358"/>
                  </a:lnTo>
                  <a:lnTo>
                    <a:pt x="454" y="3354"/>
                  </a:lnTo>
                  <a:lnTo>
                    <a:pt x="458" y="3354"/>
                  </a:lnTo>
                  <a:lnTo>
                    <a:pt x="462" y="3354"/>
                  </a:lnTo>
                  <a:lnTo>
                    <a:pt x="466" y="3356"/>
                  </a:lnTo>
                  <a:lnTo>
                    <a:pt x="470" y="3350"/>
                  </a:lnTo>
                  <a:lnTo>
                    <a:pt x="476" y="3342"/>
                  </a:lnTo>
                  <a:lnTo>
                    <a:pt x="480" y="3340"/>
                  </a:lnTo>
                  <a:lnTo>
                    <a:pt x="486" y="3340"/>
                  </a:lnTo>
                  <a:lnTo>
                    <a:pt x="496" y="3342"/>
                  </a:lnTo>
                  <a:lnTo>
                    <a:pt x="510" y="3344"/>
                  </a:lnTo>
                  <a:lnTo>
                    <a:pt x="518" y="3348"/>
                  </a:lnTo>
                  <a:lnTo>
                    <a:pt x="520" y="3346"/>
                  </a:lnTo>
                  <a:lnTo>
                    <a:pt x="518" y="3342"/>
                  </a:lnTo>
                  <a:lnTo>
                    <a:pt x="510" y="3328"/>
                  </a:lnTo>
                  <a:lnTo>
                    <a:pt x="500" y="3308"/>
                  </a:lnTo>
                  <a:lnTo>
                    <a:pt x="496" y="3296"/>
                  </a:lnTo>
                  <a:lnTo>
                    <a:pt x="492" y="3282"/>
                  </a:lnTo>
                  <a:lnTo>
                    <a:pt x="490" y="3266"/>
                  </a:lnTo>
                  <a:lnTo>
                    <a:pt x="490" y="3256"/>
                  </a:lnTo>
                  <a:lnTo>
                    <a:pt x="490" y="3246"/>
                  </a:lnTo>
                  <a:lnTo>
                    <a:pt x="494" y="3238"/>
                  </a:lnTo>
                  <a:lnTo>
                    <a:pt x="498" y="3228"/>
                  </a:lnTo>
                  <a:lnTo>
                    <a:pt x="506" y="3222"/>
                  </a:lnTo>
                  <a:lnTo>
                    <a:pt x="518" y="3216"/>
                  </a:lnTo>
                  <a:lnTo>
                    <a:pt x="528" y="3212"/>
                  </a:lnTo>
                  <a:lnTo>
                    <a:pt x="536" y="3208"/>
                  </a:lnTo>
                  <a:lnTo>
                    <a:pt x="542" y="3202"/>
                  </a:lnTo>
                  <a:lnTo>
                    <a:pt x="546" y="3196"/>
                  </a:lnTo>
                  <a:lnTo>
                    <a:pt x="550" y="3180"/>
                  </a:lnTo>
                  <a:lnTo>
                    <a:pt x="552" y="3156"/>
                  </a:lnTo>
                  <a:lnTo>
                    <a:pt x="556" y="3144"/>
                  </a:lnTo>
                  <a:lnTo>
                    <a:pt x="564" y="3134"/>
                  </a:lnTo>
                  <a:lnTo>
                    <a:pt x="572" y="3126"/>
                  </a:lnTo>
                  <a:lnTo>
                    <a:pt x="580" y="3122"/>
                  </a:lnTo>
                  <a:lnTo>
                    <a:pt x="596" y="3112"/>
                  </a:lnTo>
                  <a:lnTo>
                    <a:pt x="602" y="3108"/>
                  </a:lnTo>
                  <a:lnTo>
                    <a:pt x="604" y="3104"/>
                  </a:lnTo>
                  <a:lnTo>
                    <a:pt x="606" y="3100"/>
                  </a:lnTo>
                  <a:lnTo>
                    <a:pt x="610" y="3096"/>
                  </a:lnTo>
                  <a:lnTo>
                    <a:pt x="616" y="3092"/>
                  </a:lnTo>
                  <a:lnTo>
                    <a:pt x="622" y="3086"/>
                  </a:lnTo>
                  <a:lnTo>
                    <a:pt x="624" y="3082"/>
                  </a:lnTo>
                  <a:lnTo>
                    <a:pt x="622" y="3078"/>
                  </a:lnTo>
                  <a:lnTo>
                    <a:pt x="620" y="3074"/>
                  </a:lnTo>
                  <a:lnTo>
                    <a:pt x="620" y="3072"/>
                  </a:lnTo>
                  <a:lnTo>
                    <a:pt x="624" y="3066"/>
                  </a:lnTo>
                  <a:lnTo>
                    <a:pt x="626" y="3060"/>
                  </a:lnTo>
                  <a:lnTo>
                    <a:pt x="626" y="3054"/>
                  </a:lnTo>
                  <a:lnTo>
                    <a:pt x="626" y="3044"/>
                  </a:lnTo>
                  <a:lnTo>
                    <a:pt x="624" y="3038"/>
                  </a:lnTo>
                  <a:lnTo>
                    <a:pt x="620" y="3036"/>
                  </a:lnTo>
                  <a:lnTo>
                    <a:pt x="608" y="3036"/>
                  </a:lnTo>
                  <a:lnTo>
                    <a:pt x="600" y="3034"/>
                  </a:lnTo>
                  <a:lnTo>
                    <a:pt x="590" y="3032"/>
                  </a:lnTo>
                  <a:lnTo>
                    <a:pt x="580" y="3026"/>
                  </a:lnTo>
                  <a:lnTo>
                    <a:pt x="570" y="3016"/>
                  </a:lnTo>
                  <a:lnTo>
                    <a:pt x="554" y="2996"/>
                  </a:lnTo>
                  <a:lnTo>
                    <a:pt x="550" y="2988"/>
                  </a:lnTo>
                  <a:lnTo>
                    <a:pt x="550" y="2982"/>
                  </a:lnTo>
                  <a:lnTo>
                    <a:pt x="550" y="2976"/>
                  </a:lnTo>
                  <a:lnTo>
                    <a:pt x="554" y="2968"/>
                  </a:lnTo>
                  <a:lnTo>
                    <a:pt x="564" y="2948"/>
                  </a:lnTo>
                  <a:lnTo>
                    <a:pt x="570" y="2938"/>
                  </a:lnTo>
                  <a:lnTo>
                    <a:pt x="576" y="2930"/>
                  </a:lnTo>
                  <a:lnTo>
                    <a:pt x="580" y="2928"/>
                  </a:lnTo>
                  <a:lnTo>
                    <a:pt x="584" y="2926"/>
                  </a:lnTo>
                  <a:lnTo>
                    <a:pt x="592" y="2926"/>
                  </a:lnTo>
                  <a:lnTo>
                    <a:pt x="594" y="2924"/>
                  </a:lnTo>
                  <a:lnTo>
                    <a:pt x="598" y="2922"/>
                  </a:lnTo>
                  <a:lnTo>
                    <a:pt x="602" y="2918"/>
                  </a:lnTo>
                  <a:lnTo>
                    <a:pt x="608" y="2916"/>
                  </a:lnTo>
                  <a:lnTo>
                    <a:pt x="622" y="2916"/>
                  </a:lnTo>
                  <a:lnTo>
                    <a:pt x="628" y="2916"/>
                  </a:lnTo>
                  <a:lnTo>
                    <a:pt x="632" y="2914"/>
                  </a:lnTo>
                  <a:lnTo>
                    <a:pt x="634" y="2912"/>
                  </a:lnTo>
                  <a:lnTo>
                    <a:pt x="630" y="2908"/>
                  </a:lnTo>
                  <a:lnTo>
                    <a:pt x="628" y="2902"/>
                  </a:lnTo>
                  <a:lnTo>
                    <a:pt x="630" y="2898"/>
                  </a:lnTo>
                  <a:lnTo>
                    <a:pt x="638" y="2890"/>
                  </a:lnTo>
                  <a:lnTo>
                    <a:pt x="642" y="2886"/>
                  </a:lnTo>
                  <a:lnTo>
                    <a:pt x="646" y="2878"/>
                  </a:lnTo>
                  <a:lnTo>
                    <a:pt x="648" y="2868"/>
                  </a:lnTo>
                  <a:lnTo>
                    <a:pt x="644" y="2856"/>
                  </a:lnTo>
                  <a:lnTo>
                    <a:pt x="644" y="2850"/>
                  </a:lnTo>
                  <a:lnTo>
                    <a:pt x="644" y="2844"/>
                  </a:lnTo>
                  <a:lnTo>
                    <a:pt x="646" y="2836"/>
                  </a:lnTo>
                  <a:lnTo>
                    <a:pt x="648" y="2830"/>
                  </a:lnTo>
                  <a:lnTo>
                    <a:pt x="652" y="2822"/>
                  </a:lnTo>
                  <a:lnTo>
                    <a:pt x="660" y="2816"/>
                  </a:lnTo>
                  <a:lnTo>
                    <a:pt x="668" y="2810"/>
                  </a:lnTo>
                  <a:lnTo>
                    <a:pt x="678" y="2806"/>
                  </a:lnTo>
                  <a:lnTo>
                    <a:pt x="684" y="2802"/>
                  </a:lnTo>
                  <a:lnTo>
                    <a:pt x="682" y="2800"/>
                  </a:lnTo>
                  <a:lnTo>
                    <a:pt x="674" y="2798"/>
                  </a:lnTo>
                  <a:lnTo>
                    <a:pt x="662" y="2794"/>
                  </a:lnTo>
                  <a:lnTo>
                    <a:pt x="658" y="2790"/>
                  </a:lnTo>
                  <a:lnTo>
                    <a:pt x="658" y="2786"/>
                  </a:lnTo>
                  <a:lnTo>
                    <a:pt x="660" y="2782"/>
                  </a:lnTo>
                  <a:lnTo>
                    <a:pt x="664" y="2780"/>
                  </a:lnTo>
                  <a:lnTo>
                    <a:pt x="670" y="2780"/>
                  </a:lnTo>
                  <a:lnTo>
                    <a:pt x="676" y="2780"/>
                  </a:lnTo>
                  <a:lnTo>
                    <a:pt x="682" y="2782"/>
                  </a:lnTo>
                  <a:lnTo>
                    <a:pt x="686" y="2788"/>
                  </a:lnTo>
                  <a:lnTo>
                    <a:pt x="690" y="2792"/>
                  </a:lnTo>
                  <a:lnTo>
                    <a:pt x="692" y="2796"/>
                  </a:lnTo>
                  <a:lnTo>
                    <a:pt x="696" y="2798"/>
                  </a:lnTo>
                  <a:lnTo>
                    <a:pt x="700" y="2798"/>
                  </a:lnTo>
                  <a:lnTo>
                    <a:pt x="704" y="2796"/>
                  </a:lnTo>
                  <a:lnTo>
                    <a:pt x="708" y="2792"/>
                  </a:lnTo>
                  <a:lnTo>
                    <a:pt x="712" y="2786"/>
                  </a:lnTo>
                  <a:lnTo>
                    <a:pt x="714" y="2778"/>
                  </a:lnTo>
                  <a:lnTo>
                    <a:pt x="716" y="2770"/>
                  </a:lnTo>
                  <a:lnTo>
                    <a:pt x="714" y="2762"/>
                  </a:lnTo>
                  <a:lnTo>
                    <a:pt x="708" y="2754"/>
                  </a:lnTo>
                  <a:lnTo>
                    <a:pt x="706" y="2752"/>
                  </a:lnTo>
                  <a:lnTo>
                    <a:pt x="702" y="2752"/>
                  </a:lnTo>
                  <a:lnTo>
                    <a:pt x="678" y="2758"/>
                  </a:lnTo>
                  <a:lnTo>
                    <a:pt x="670" y="2760"/>
                  </a:lnTo>
                  <a:lnTo>
                    <a:pt x="662" y="2758"/>
                  </a:lnTo>
                  <a:lnTo>
                    <a:pt x="658" y="2756"/>
                  </a:lnTo>
                  <a:lnTo>
                    <a:pt x="656" y="2750"/>
                  </a:lnTo>
                  <a:lnTo>
                    <a:pt x="654" y="2744"/>
                  </a:lnTo>
                  <a:lnTo>
                    <a:pt x="656" y="2734"/>
                  </a:lnTo>
                  <a:lnTo>
                    <a:pt x="656" y="2726"/>
                  </a:lnTo>
                  <a:lnTo>
                    <a:pt x="654" y="2716"/>
                  </a:lnTo>
                  <a:lnTo>
                    <a:pt x="650" y="2700"/>
                  </a:lnTo>
                  <a:lnTo>
                    <a:pt x="648" y="2694"/>
                  </a:lnTo>
                  <a:lnTo>
                    <a:pt x="646" y="2690"/>
                  </a:lnTo>
                  <a:lnTo>
                    <a:pt x="648" y="2684"/>
                  </a:lnTo>
                  <a:lnTo>
                    <a:pt x="654" y="2682"/>
                  </a:lnTo>
                  <a:lnTo>
                    <a:pt x="662" y="2680"/>
                  </a:lnTo>
                  <a:lnTo>
                    <a:pt x="668" y="2682"/>
                  </a:lnTo>
                  <a:lnTo>
                    <a:pt x="684" y="2688"/>
                  </a:lnTo>
                  <a:lnTo>
                    <a:pt x="700" y="2696"/>
                  </a:lnTo>
                  <a:lnTo>
                    <a:pt x="708" y="2698"/>
                  </a:lnTo>
                  <a:lnTo>
                    <a:pt x="714" y="2700"/>
                  </a:lnTo>
                  <a:lnTo>
                    <a:pt x="724" y="2700"/>
                  </a:lnTo>
                  <a:lnTo>
                    <a:pt x="728" y="2700"/>
                  </a:lnTo>
                  <a:lnTo>
                    <a:pt x="734" y="2700"/>
                  </a:lnTo>
                  <a:lnTo>
                    <a:pt x="748" y="2694"/>
                  </a:lnTo>
                  <a:lnTo>
                    <a:pt x="762" y="2684"/>
                  </a:lnTo>
                  <a:lnTo>
                    <a:pt x="768" y="2680"/>
                  </a:lnTo>
                  <a:lnTo>
                    <a:pt x="770" y="2676"/>
                  </a:lnTo>
                  <a:lnTo>
                    <a:pt x="770" y="2672"/>
                  </a:lnTo>
                  <a:lnTo>
                    <a:pt x="770" y="2670"/>
                  </a:lnTo>
                  <a:lnTo>
                    <a:pt x="764" y="2664"/>
                  </a:lnTo>
                  <a:lnTo>
                    <a:pt x="762" y="2660"/>
                  </a:lnTo>
                  <a:lnTo>
                    <a:pt x="760" y="2658"/>
                  </a:lnTo>
                  <a:lnTo>
                    <a:pt x="758" y="2650"/>
                  </a:lnTo>
                  <a:lnTo>
                    <a:pt x="762" y="2642"/>
                  </a:lnTo>
                  <a:lnTo>
                    <a:pt x="770" y="2632"/>
                  </a:lnTo>
                  <a:lnTo>
                    <a:pt x="776" y="2622"/>
                  </a:lnTo>
                  <a:lnTo>
                    <a:pt x="778" y="2612"/>
                  </a:lnTo>
                  <a:lnTo>
                    <a:pt x="776" y="2602"/>
                  </a:lnTo>
                  <a:lnTo>
                    <a:pt x="772" y="2598"/>
                  </a:lnTo>
                  <a:lnTo>
                    <a:pt x="770" y="2596"/>
                  </a:lnTo>
                  <a:lnTo>
                    <a:pt x="766" y="2592"/>
                  </a:lnTo>
                  <a:lnTo>
                    <a:pt x="762" y="2588"/>
                  </a:lnTo>
                  <a:lnTo>
                    <a:pt x="760" y="2578"/>
                  </a:lnTo>
                  <a:lnTo>
                    <a:pt x="760" y="2574"/>
                  </a:lnTo>
                  <a:lnTo>
                    <a:pt x="762" y="2572"/>
                  </a:lnTo>
                  <a:lnTo>
                    <a:pt x="768" y="2572"/>
                  </a:lnTo>
                  <a:lnTo>
                    <a:pt x="774" y="2576"/>
                  </a:lnTo>
                  <a:lnTo>
                    <a:pt x="784" y="2582"/>
                  </a:lnTo>
                  <a:lnTo>
                    <a:pt x="792" y="2582"/>
                  </a:lnTo>
                  <a:lnTo>
                    <a:pt x="824" y="2578"/>
                  </a:lnTo>
                  <a:lnTo>
                    <a:pt x="856" y="2574"/>
                  </a:lnTo>
                  <a:lnTo>
                    <a:pt x="890" y="2566"/>
                  </a:lnTo>
                  <a:lnTo>
                    <a:pt x="920" y="2556"/>
                  </a:lnTo>
                  <a:lnTo>
                    <a:pt x="934" y="2550"/>
                  </a:lnTo>
                  <a:lnTo>
                    <a:pt x="944" y="2544"/>
                  </a:lnTo>
                  <a:lnTo>
                    <a:pt x="952" y="2538"/>
                  </a:lnTo>
                  <a:lnTo>
                    <a:pt x="956" y="2534"/>
                  </a:lnTo>
                  <a:lnTo>
                    <a:pt x="958" y="2528"/>
                  </a:lnTo>
                  <a:lnTo>
                    <a:pt x="960" y="2524"/>
                  </a:lnTo>
                  <a:lnTo>
                    <a:pt x="962" y="2516"/>
                  </a:lnTo>
                  <a:lnTo>
                    <a:pt x="966" y="2510"/>
                  </a:lnTo>
                  <a:lnTo>
                    <a:pt x="970" y="2504"/>
                  </a:lnTo>
                  <a:lnTo>
                    <a:pt x="980" y="2492"/>
                  </a:lnTo>
                  <a:lnTo>
                    <a:pt x="986" y="2478"/>
                  </a:lnTo>
                  <a:lnTo>
                    <a:pt x="990" y="2464"/>
                  </a:lnTo>
                  <a:lnTo>
                    <a:pt x="990" y="2444"/>
                  </a:lnTo>
                  <a:lnTo>
                    <a:pt x="990" y="2436"/>
                  </a:lnTo>
                  <a:lnTo>
                    <a:pt x="990" y="2432"/>
                  </a:lnTo>
                  <a:lnTo>
                    <a:pt x="986" y="2432"/>
                  </a:lnTo>
                  <a:lnTo>
                    <a:pt x="984" y="2432"/>
                  </a:lnTo>
                  <a:lnTo>
                    <a:pt x="980" y="2432"/>
                  </a:lnTo>
                  <a:lnTo>
                    <a:pt x="976" y="2432"/>
                  </a:lnTo>
                  <a:lnTo>
                    <a:pt x="970" y="2428"/>
                  </a:lnTo>
                  <a:lnTo>
                    <a:pt x="964" y="2420"/>
                  </a:lnTo>
                  <a:lnTo>
                    <a:pt x="962" y="2410"/>
                  </a:lnTo>
                  <a:lnTo>
                    <a:pt x="962" y="2404"/>
                  </a:lnTo>
                  <a:lnTo>
                    <a:pt x="964" y="2400"/>
                  </a:lnTo>
                  <a:lnTo>
                    <a:pt x="968" y="2396"/>
                  </a:lnTo>
                  <a:lnTo>
                    <a:pt x="970" y="2392"/>
                  </a:lnTo>
                  <a:lnTo>
                    <a:pt x="970" y="2388"/>
                  </a:lnTo>
                  <a:lnTo>
                    <a:pt x="968" y="2380"/>
                  </a:lnTo>
                  <a:lnTo>
                    <a:pt x="962" y="2368"/>
                  </a:lnTo>
                  <a:lnTo>
                    <a:pt x="954" y="2360"/>
                  </a:lnTo>
                  <a:lnTo>
                    <a:pt x="946" y="2354"/>
                  </a:lnTo>
                  <a:lnTo>
                    <a:pt x="928" y="2344"/>
                  </a:lnTo>
                  <a:lnTo>
                    <a:pt x="922" y="2338"/>
                  </a:lnTo>
                  <a:lnTo>
                    <a:pt x="918" y="2332"/>
                  </a:lnTo>
                  <a:lnTo>
                    <a:pt x="918" y="2330"/>
                  </a:lnTo>
                  <a:lnTo>
                    <a:pt x="920" y="2326"/>
                  </a:lnTo>
                  <a:lnTo>
                    <a:pt x="926" y="2316"/>
                  </a:lnTo>
                  <a:lnTo>
                    <a:pt x="928" y="2320"/>
                  </a:lnTo>
                  <a:lnTo>
                    <a:pt x="934" y="2326"/>
                  </a:lnTo>
                  <a:lnTo>
                    <a:pt x="946" y="2332"/>
                  </a:lnTo>
                  <a:lnTo>
                    <a:pt x="952" y="2334"/>
                  </a:lnTo>
                  <a:lnTo>
                    <a:pt x="958" y="2334"/>
                  </a:lnTo>
                  <a:lnTo>
                    <a:pt x="966" y="2336"/>
                  </a:lnTo>
                  <a:lnTo>
                    <a:pt x="976" y="2338"/>
                  </a:lnTo>
                  <a:lnTo>
                    <a:pt x="992" y="2348"/>
                  </a:lnTo>
                  <a:lnTo>
                    <a:pt x="1002" y="2352"/>
                  </a:lnTo>
                  <a:lnTo>
                    <a:pt x="1010" y="2356"/>
                  </a:lnTo>
                  <a:lnTo>
                    <a:pt x="1018" y="2358"/>
                  </a:lnTo>
                  <a:lnTo>
                    <a:pt x="1026" y="2356"/>
                  </a:lnTo>
                  <a:lnTo>
                    <a:pt x="1032" y="2354"/>
                  </a:lnTo>
                  <a:lnTo>
                    <a:pt x="1038" y="2352"/>
                  </a:lnTo>
                  <a:lnTo>
                    <a:pt x="1050" y="2356"/>
                  </a:lnTo>
                  <a:lnTo>
                    <a:pt x="1056" y="2358"/>
                  </a:lnTo>
                  <a:lnTo>
                    <a:pt x="1062" y="2358"/>
                  </a:lnTo>
                  <a:lnTo>
                    <a:pt x="1068" y="2358"/>
                  </a:lnTo>
                  <a:lnTo>
                    <a:pt x="1076" y="2354"/>
                  </a:lnTo>
                  <a:lnTo>
                    <a:pt x="1090" y="2344"/>
                  </a:lnTo>
                  <a:lnTo>
                    <a:pt x="1100" y="2334"/>
                  </a:lnTo>
                  <a:lnTo>
                    <a:pt x="1110" y="2320"/>
                  </a:lnTo>
                  <a:lnTo>
                    <a:pt x="1122" y="2300"/>
                  </a:lnTo>
                  <a:lnTo>
                    <a:pt x="1120" y="2294"/>
                  </a:lnTo>
                  <a:lnTo>
                    <a:pt x="1124" y="2288"/>
                  </a:lnTo>
                  <a:lnTo>
                    <a:pt x="1130" y="2282"/>
                  </a:lnTo>
                  <a:lnTo>
                    <a:pt x="1140" y="2276"/>
                  </a:lnTo>
                  <a:lnTo>
                    <a:pt x="1150" y="2270"/>
                  </a:lnTo>
                  <a:lnTo>
                    <a:pt x="1154" y="2264"/>
                  </a:lnTo>
                  <a:lnTo>
                    <a:pt x="1158" y="2256"/>
                  </a:lnTo>
                  <a:lnTo>
                    <a:pt x="1166" y="2232"/>
                  </a:lnTo>
                  <a:lnTo>
                    <a:pt x="1170" y="2224"/>
                  </a:lnTo>
                  <a:lnTo>
                    <a:pt x="1174" y="2218"/>
                  </a:lnTo>
                  <a:lnTo>
                    <a:pt x="1188" y="2204"/>
                  </a:lnTo>
                  <a:lnTo>
                    <a:pt x="1210" y="2184"/>
                  </a:lnTo>
                  <a:lnTo>
                    <a:pt x="1220" y="2174"/>
                  </a:lnTo>
                  <a:lnTo>
                    <a:pt x="1228" y="2164"/>
                  </a:lnTo>
                  <a:lnTo>
                    <a:pt x="1240" y="2140"/>
                  </a:lnTo>
                  <a:lnTo>
                    <a:pt x="1254" y="2110"/>
                  </a:lnTo>
                  <a:lnTo>
                    <a:pt x="1270" y="2074"/>
                  </a:lnTo>
                  <a:lnTo>
                    <a:pt x="1278" y="2058"/>
                  </a:lnTo>
                  <a:lnTo>
                    <a:pt x="1284" y="2048"/>
                  </a:lnTo>
                  <a:lnTo>
                    <a:pt x="1290" y="2042"/>
                  </a:lnTo>
                  <a:lnTo>
                    <a:pt x="1294" y="2038"/>
                  </a:lnTo>
                  <a:lnTo>
                    <a:pt x="1304" y="2030"/>
                  </a:lnTo>
                  <a:lnTo>
                    <a:pt x="1308" y="2022"/>
                  </a:lnTo>
                  <a:lnTo>
                    <a:pt x="1314" y="2012"/>
                  </a:lnTo>
                  <a:lnTo>
                    <a:pt x="1320" y="1998"/>
                  </a:lnTo>
                  <a:lnTo>
                    <a:pt x="1322" y="1984"/>
                  </a:lnTo>
                  <a:lnTo>
                    <a:pt x="1322" y="1970"/>
                  </a:lnTo>
                  <a:lnTo>
                    <a:pt x="1322" y="1956"/>
                  </a:lnTo>
                  <a:lnTo>
                    <a:pt x="1322" y="1926"/>
                  </a:lnTo>
                  <a:lnTo>
                    <a:pt x="1320" y="1910"/>
                  </a:lnTo>
                  <a:lnTo>
                    <a:pt x="1322" y="1894"/>
                  </a:lnTo>
                  <a:lnTo>
                    <a:pt x="1324" y="1878"/>
                  </a:lnTo>
                  <a:lnTo>
                    <a:pt x="1332" y="1862"/>
                  </a:lnTo>
                  <a:lnTo>
                    <a:pt x="1340" y="1848"/>
                  </a:lnTo>
                  <a:lnTo>
                    <a:pt x="1352" y="1836"/>
                  </a:lnTo>
                  <a:lnTo>
                    <a:pt x="1364" y="1824"/>
                  </a:lnTo>
                  <a:lnTo>
                    <a:pt x="1376" y="1816"/>
                  </a:lnTo>
                  <a:lnTo>
                    <a:pt x="1388" y="1808"/>
                  </a:lnTo>
                  <a:lnTo>
                    <a:pt x="1398" y="1802"/>
                  </a:lnTo>
                  <a:lnTo>
                    <a:pt x="1422" y="1792"/>
                  </a:lnTo>
                  <a:lnTo>
                    <a:pt x="1438" y="1782"/>
                  </a:lnTo>
                  <a:lnTo>
                    <a:pt x="1452" y="1772"/>
                  </a:lnTo>
                  <a:lnTo>
                    <a:pt x="1462" y="1764"/>
                  </a:lnTo>
                  <a:lnTo>
                    <a:pt x="1476" y="1750"/>
                  </a:lnTo>
                  <a:lnTo>
                    <a:pt x="1482" y="1744"/>
                  </a:lnTo>
                  <a:lnTo>
                    <a:pt x="1490" y="1740"/>
                  </a:lnTo>
                  <a:lnTo>
                    <a:pt x="1498" y="1738"/>
                  </a:lnTo>
                  <a:lnTo>
                    <a:pt x="1502" y="1738"/>
                  </a:lnTo>
                  <a:lnTo>
                    <a:pt x="1506" y="1740"/>
                  </a:lnTo>
                  <a:lnTo>
                    <a:pt x="1508" y="1742"/>
                  </a:lnTo>
                  <a:lnTo>
                    <a:pt x="1514" y="1742"/>
                  </a:lnTo>
                  <a:lnTo>
                    <a:pt x="1520" y="1742"/>
                  </a:lnTo>
                  <a:lnTo>
                    <a:pt x="1530" y="1740"/>
                  </a:lnTo>
                  <a:lnTo>
                    <a:pt x="1544" y="1738"/>
                  </a:lnTo>
                  <a:lnTo>
                    <a:pt x="1556" y="1738"/>
                  </a:lnTo>
                  <a:lnTo>
                    <a:pt x="1576" y="1738"/>
                  </a:lnTo>
                  <a:lnTo>
                    <a:pt x="1584" y="1738"/>
                  </a:lnTo>
                  <a:lnTo>
                    <a:pt x="1588" y="1736"/>
                  </a:lnTo>
                  <a:lnTo>
                    <a:pt x="1592" y="1734"/>
                  </a:lnTo>
                  <a:lnTo>
                    <a:pt x="1590" y="1728"/>
                  </a:lnTo>
                  <a:lnTo>
                    <a:pt x="1590" y="1724"/>
                  </a:lnTo>
                  <a:lnTo>
                    <a:pt x="1590" y="1722"/>
                  </a:lnTo>
                  <a:lnTo>
                    <a:pt x="1594" y="1716"/>
                  </a:lnTo>
                  <a:lnTo>
                    <a:pt x="1608" y="1702"/>
                  </a:lnTo>
                  <a:lnTo>
                    <a:pt x="1616" y="1696"/>
                  </a:lnTo>
                  <a:lnTo>
                    <a:pt x="1622" y="1690"/>
                  </a:lnTo>
                  <a:lnTo>
                    <a:pt x="1626" y="1682"/>
                  </a:lnTo>
                  <a:lnTo>
                    <a:pt x="1626" y="1676"/>
                  </a:lnTo>
                  <a:lnTo>
                    <a:pt x="1624" y="1672"/>
                  </a:lnTo>
                  <a:lnTo>
                    <a:pt x="1622" y="1662"/>
                  </a:lnTo>
                  <a:lnTo>
                    <a:pt x="1624" y="1654"/>
                  </a:lnTo>
                  <a:lnTo>
                    <a:pt x="1628" y="1644"/>
                  </a:lnTo>
                  <a:lnTo>
                    <a:pt x="1634" y="1634"/>
                  </a:lnTo>
                  <a:lnTo>
                    <a:pt x="1650" y="1610"/>
                  </a:lnTo>
                  <a:lnTo>
                    <a:pt x="1668" y="1580"/>
                  </a:lnTo>
                  <a:lnTo>
                    <a:pt x="1674" y="1564"/>
                  </a:lnTo>
                  <a:lnTo>
                    <a:pt x="1678" y="1550"/>
                  </a:lnTo>
                  <a:lnTo>
                    <a:pt x="1678" y="1536"/>
                  </a:lnTo>
                  <a:lnTo>
                    <a:pt x="1678" y="1524"/>
                  </a:lnTo>
                  <a:lnTo>
                    <a:pt x="1678" y="1514"/>
                  </a:lnTo>
                  <a:lnTo>
                    <a:pt x="1680" y="1506"/>
                  </a:lnTo>
                  <a:lnTo>
                    <a:pt x="1682" y="1498"/>
                  </a:lnTo>
                  <a:lnTo>
                    <a:pt x="1688" y="1494"/>
                  </a:lnTo>
                  <a:lnTo>
                    <a:pt x="1694" y="1488"/>
                  </a:lnTo>
                  <a:lnTo>
                    <a:pt x="1698" y="1480"/>
                  </a:lnTo>
                  <a:lnTo>
                    <a:pt x="1698" y="1470"/>
                  </a:lnTo>
                  <a:lnTo>
                    <a:pt x="1700" y="1460"/>
                  </a:lnTo>
                  <a:lnTo>
                    <a:pt x="1700" y="1434"/>
                  </a:lnTo>
                  <a:lnTo>
                    <a:pt x="1702" y="1418"/>
                  </a:lnTo>
                  <a:lnTo>
                    <a:pt x="1704" y="1404"/>
                  </a:lnTo>
                  <a:lnTo>
                    <a:pt x="1708" y="1390"/>
                  </a:lnTo>
                  <a:lnTo>
                    <a:pt x="1708" y="1378"/>
                  </a:lnTo>
                  <a:lnTo>
                    <a:pt x="1708" y="1368"/>
                  </a:lnTo>
                  <a:lnTo>
                    <a:pt x="1706" y="1360"/>
                  </a:lnTo>
                  <a:lnTo>
                    <a:pt x="1702" y="1342"/>
                  </a:lnTo>
                  <a:lnTo>
                    <a:pt x="1702" y="1334"/>
                  </a:lnTo>
                  <a:lnTo>
                    <a:pt x="1702" y="1324"/>
                  </a:lnTo>
                  <a:lnTo>
                    <a:pt x="1706" y="1252"/>
                  </a:lnTo>
                  <a:lnTo>
                    <a:pt x="1708" y="1234"/>
                  </a:lnTo>
                  <a:lnTo>
                    <a:pt x="1710" y="1224"/>
                  </a:lnTo>
                  <a:lnTo>
                    <a:pt x="1712" y="1220"/>
                  </a:lnTo>
                  <a:lnTo>
                    <a:pt x="1714" y="1220"/>
                  </a:lnTo>
                  <a:lnTo>
                    <a:pt x="1718" y="1222"/>
                  </a:lnTo>
                  <a:lnTo>
                    <a:pt x="1720" y="1226"/>
                  </a:lnTo>
                  <a:lnTo>
                    <a:pt x="1726" y="1234"/>
                  </a:lnTo>
                  <a:lnTo>
                    <a:pt x="1730" y="1238"/>
                  </a:lnTo>
                  <a:lnTo>
                    <a:pt x="1736" y="1238"/>
                  </a:lnTo>
                  <a:lnTo>
                    <a:pt x="1740" y="1234"/>
                  </a:lnTo>
                  <a:lnTo>
                    <a:pt x="1746" y="1224"/>
                  </a:lnTo>
                  <a:lnTo>
                    <a:pt x="1752" y="1212"/>
                  </a:lnTo>
                  <a:lnTo>
                    <a:pt x="1766" y="1176"/>
                  </a:lnTo>
                  <a:lnTo>
                    <a:pt x="1774" y="1158"/>
                  </a:lnTo>
                  <a:lnTo>
                    <a:pt x="1780" y="1146"/>
                  </a:lnTo>
                  <a:lnTo>
                    <a:pt x="1788" y="1136"/>
                  </a:lnTo>
                  <a:lnTo>
                    <a:pt x="1794" y="1128"/>
                  </a:lnTo>
                  <a:lnTo>
                    <a:pt x="1810" y="1112"/>
                  </a:lnTo>
                  <a:lnTo>
                    <a:pt x="1820" y="1100"/>
                  </a:lnTo>
                  <a:lnTo>
                    <a:pt x="1830" y="1082"/>
                  </a:lnTo>
                  <a:lnTo>
                    <a:pt x="1852" y="1044"/>
                  </a:lnTo>
                  <a:lnTo>
                    <a:pt x="1860" y="1030"/>
                  </a:lnTo>
                  <a:lnTo>
                    <a:pt x="1866" y="1016"/>
                  </a:lnTo>
                  <a:lnTo>
                    <a:pt x="1872" y="1002"/>
                  </a:lnTo>
                  <a:lnTo>
                    <a:pt x="1874" y="988"/>
                  </a:lnTo>
                  <a:lnTo>
                    <a:pt x="1874" y="972"/>
                  </a:lnTo>
                  <a:lnTo>
                    <a:pt x="1872" y="956"/>
                  </a:lnTo>
                  <a:close/>
                  <a:moveTo>
                    <a:pt x="1128" y="2234"/>
                  </a:moveTo>
                  <a:lnTo>
                    <a:pt x="1128" y="2234"/>
                  </a:lnTo>
                  <a:lnTo>
                    <a:pt x="1132" y="2242"/>
                  </a:lnTo>
                  <a:lnTo>
                    <a:pt x="1128" y="2234"/>
                  </a:lnTo>
                  <a:close/>
                  <a:moveTo>
                    <a:pt x="698" y="3490"/>
                  </a:moveTo>
                  <a:lnTo>
                    <a:pt x="698" y="3490"/>
                  </a:lnTo>
                  <a:lnTo>
                    <a:pt x="692" y="3492"/>
                  </a:lnTo>
                  <a:lnTo>
                    <a:pt x="688" y="3490"/>
                  </a:lnTo>
                  <a:lnTo>
                    <a:pt x="684" y="3490"/>
                  </a:lnTo>
                  <a:lnTo>
                    <a:pt x="678" y="3492"/>
                  </a:lnTo>
                  <a:lnTo>
                    <a:pt x="670" y="3496"/>
                  </a:lnTo>
                  <a:lnTo>
                    <a:pt x="666" y="3498"/>
                  </a:lnTo>
                  <a:lnTo>
                    <a:pt x="670" y="3500"/>
                  </a:lnTo>
                  <a:lnTo>
                    <a:pt x="672" y="3500"/>
                  </a:lnTo>
                  <a:lnTo>
                    <a:pt x="678" y="3498"/>
                  </a:lnTo>
                  <a:lnTo>
                    <a:pt x="682" y="3494"/>
                  </a:lnTo>
                  <a:lnTo>
                    <a:pt x="684" y="3496"/>
                  </a:lnTo>
                  <a:lnTo>
                    <a:pt x="686" y="3498"/>
                  </a:lnTo>
                  <a:lnTo>
                    <a:pt x="690" y="3496"/>
                  </a:lnTo>
                  <a:lnTo>
                    <a:pt x="694" y="3496"/>
                  </a:lnTo>
                  <a:lnTo>
                    <a:pt x="696" y="3496"/>
                  </a:lnTo>
                  <a:lnTo>
                    <a:pt x="700" y="3496"/>
                  </a:lnTo>
                  <a:lnTo>
                    <a:pt x="702" y="3494"/>
                  </a:lnTo>
                  <a:lnTo>
                    <a:pt x="704" y="3492"/>
                  </a:lnTo>
                  <a:lnTo>
                    <a:pt x="702" y="3490"/>
                  </a:lnTo>
                  <a:lnTo>
                    <a:pt x="698" y="3490"/>
                  </a:lnTo>
                  <a:close/>
                  <a:moveTo>
                    <a:pt x="294" y="3084"/>
                  </a:moveTo>
                  <a:lnTo>
                    <a:pt x="294" y="3084"/>
                  </a:lnTo>
                  <a:lnTo>
                    <a:pt x="298" y="3086"/>
                  </a:lnTo>
                  <a:lnTo>
                    <a:pt x="300" y="3084"/>
                  </a:lnTo>
                  <a:lnTo>
                    <a:pt x="300" y="3082"/>
                  </a:lnTo>
                  <a:lnTo>
                    <a:pt x="298" y="3080"/>
                  </a:lnTo>
                  <a:lnTo>
                    <a:pt x="292" y="3078"/>
                  </a:lnTo>
                  <a:lnTo>
                    <a:pt x="286" y="3078"/>
                  </a:lnTo>
                  <a:lnTo>
                    <a:pt x="282" y="3078"/>
                  </a:lnTo>
                  <a:lnTo>
                    <a:pt x="276" y="3080"/>
                  </a:lnTo>
                  <a:lnTo>
                    <a:pt x="274" y="3082"/>
                  </a:lnTo>
                  <a:lnTo>
                    <a:pt x="274" y="3084"/>
                  </a:lnTo>
                  <a:lnTo>
                    <a:pt x="280" y="3084"/>
                  </a:lnTo>
                  <a:lnTo>
                    <a:pt x="288" y="3084"/>
                  </a:lnTo>
                  <a:lnTo>
                    <a:pt x="294" y="3084"/>
                  </a:lnTo>
                  <a:close/>
                  <a:moveTo>
                    <a:pt x="338" y="3318"/>
                  </a:moveTo>
                  <a:lnTo>
                    <a:pt x="338" y="3318"/>
                  </a:lnTo>
                  <a:lnTo>
                    <a:pt x="330" y="3322"/>
                  </a:lnTo>
                  <a:lnTo>
                    <a:pt x="328" y="3324"/>
                  </a:lnTo>
                  <a:lnTo>
                    <a:pt x="330" y="3326"/>
                  </a:lnTo>
                  <a:lnTo>
                    <a:pt x="334" y="3326"/>
                  </a:lnTo>
                  <a:lnTo>
                    <a:pt x="338" y="3322"/>
                  </a:lnTo>
                  <a:lnTo>
                    <a:pt x="338" y="3318"/>
                  </a:lnTo>
                  <a:close/>
                  <a:moveTo>
                    <a:pt x="292" y="3034"/>
                  </a:moveTo>
                  <a:lnTo>
                    <a:pt x="292" y="3034"/>
                  </a:lnTo>
                  <a:lnTo>
                    <a:pt x="290" y="3032"/>
                  </a:lnTo>
                  <a:lnTo>
                    <a:pt x="288" y="3030"/>
                  </a:lnTo>
                  <a:lnTo>
                    <a:pt x="284" y="3030"/>
                  </a:lnTo>
                  <a:lnTo>
                    <a:pt x="282" y="3034"/>
                  </a:lnTo>
                  <a:lnTo>
                    <a:pt x="284" y="3036"/>
                  </a:lnTo>
                  <a:lnTo>
                    <a:pt x="286" y="3038"/>
                  </a:lnTo>
                  <a:lnTo>
                    <a:pt x="290" y="3036"/>
                  </a:lnTo>
                  <a:lnTo>
                    <a:pt x="292" y="3034"/>
                  </a:lnTo>
                  <a:close/>
                  <a:moveTo>
                    <a:pt x="420" y="3442"/>
                  </a:moveTo>
                  <a:lnTo>
                    <a:pt x="420" y="3442"/>
                  </a:lnTo>
                  <a:lnTo>
                    <a:pt x="420" y="3446"/>
                  </a:lnTo>
                  <a:lnTo>
                    <a:pt x="424" y="3452"/>
                  </a:lnTo>
                  <a:lnTo>
                    <a:pt x="440" y="3462"/>
                  </a:lnTo>
                  <a:lnTo>
                    <a:pt x="444" y="3464"/>
                  </a:lnTo>
                  <a:lnTo>
                    <a:pt x="444" y="3462"/>
                  </a:lnTo>
                  <a:lnTo>
                    <a:pt x="442" y="3458"/>
                  </a:lnTo>
                  <a:lnTo>
                    <a:pt x="438" y="3454"/>
                  </a:lnTo>
                  <a:lnTo>
                    <a:pt x="430" y="3446"/>
                  </a:lnTo>
                  <a:lnTo>
                    <a:pt x="434" y="3448"/>
                  </a:lnTo>
                  <a:lnTo>
                    <a:pt x="438" y="3450"/>
                  </a:lnTo>
                  <a:lnTo>
                    <a:pt x="442" y="3450"/>
                  </a:lnTo>
                  <a:lnTo>
                    <a:pt x="442" y="3448"/>
                  </a:lnTo>
                  <a:lnTo>
                    <a:pt x="440" y="3444"/>
                  </a:lnTo>
                  <a:lnTo>
                    <a:pt x="436" y="3438"/>
                  </a:lnTo>
                  <a:lnTo>
                    <a:pt x="434" y="3432"/>
                  </a:lnTo>
                  <a:lnTo>
                    <a:pt x="434" y="3420"/>
                  </a:lnTo>
                  <a:lnTo>
                    <a:pt x="434" y="3418"/>
                  </a:lnTo>
                  <a:lnTo>
                    <a:pt x="434" y="3420"/>
                  </a:lnTo>
                  <a:lnTo>
                    <a:pt x="430" y="3422"/>
                  </a:lnTo>
                  <a:lnTo>
                    <a:pt x="426" y="3428"/>
                  </a:lnTo>
                  <a:lnTo>
                    <a:pt x="426" y="3432"/>
                  </a:lnTo>
                  <a:lnTo>
                    <a:pt x="426" y="3436"/>
                  </a:lnTo>
                  <a:lnTo>
                    <a:pt x="424" y="3436"/>
                  </a:lnTo>
                  <a:lnTo>
                    <a:pt x="422" y="3436"/>
                  </a:lnTo>
                  <a:lnTo>
                    <a:pt x="420" y="3442"/>
                  </a:lnTo>
                  <a:close/>
                  <a:moveTo>
                    <a:pt x="272" y="3186"/>
                  </a:moveTo>
                  <a:lnTo>
                    <a:pt x="272" y="3186"/>
                  </a:lnTo>
                  <a:lnTo>
                    <a:pt x="270" y="3186"/>
                  </a:lnTo>
                  <a:lnTo>
                    <a:pt x="272" y="3180"/>
                  </a:lnTo>
                  <a:lnTo>
                    <a:pt x="274" y="3174"/>
                  </a:lnTo>
                  <a:lnTo>
                    <a:pt x="274" y="3168"/>
                  </a:lnTo>
                  <a:lnTo>
                    <a:pt x="274" y="3150"/>
                  </a:lnTo>
                  <a:lnTo>
                    <a:pt x="272" y="3136"/>
                  </a:lnTo>
                  <a:lnTo>
                    <a:pt x="272" y="3132"/>
                  </a:lnTo>
                  <a:lnTo>
                    <a:pt x="270" y="3132"/>
                  </a:lnTo>
                  <a:lnTo>
                    <a:pt x="266" y="3132"/>
                  </a:lnTo>
                  <a:lnTo>
                    <a:pt x="264" y="3130"/>
                  </a:lnTo>
                  <a:lnTo>
                    <a:pt x="262" y="3130"/>
                  </a:lnTo>
                  <a:lnTo>
                    <a:pt x="258" y="3132"/>
                  </a:lnTo>
                  <a:lnTo>
                    <a:pt x="252" y="3136"/>
                  </a:lnTo>
                  <a:lnTo>
                    <a:pt x="250" y="3138"/>
                  </a:lnTo>
                  <a:lnTo>
                    <a:pt x="252" y="3140"/>
                  </a:lnTo>
                  <a:lnTo>
                    <a:pt x="254" y="3142"/>
                  </a:lnTo>
                  <a:lnTo>
                    <a:pt x="254" y="3144"/>
                  </a:lnTo>
                  <a:lnTo>
                    <a:pt x="254" y="3146"/>
                  </a:lnTo>
                  <a:lnTo>
                    <a:pt x="256" y="3148"/>
                  </a:lnTo>
                  <a:lnTo>
                    <a:pt x="258" y="3150"/>
                  </a:lnTo>
                  <a:lnTo>
                    <a:pt x="260" y="3154"/>
                  </a:lnTo>
                  <a:lnTo>
                    <a:pt x="258" y="3164"/>
                  </a:lnTo>
                  <a:lnTo>
                    <a:pt x="256" y="3166"/>
                  </a:lnTo>
                  <a:lnTo>
                    <a:pt x="252" y="3164"/>
                  </a:lnTo>
                  <a:lnTo>
                    <a:pt x="250" y="3162"/>
                  </a:lnTo>
                  <a:lnTo>
                    <a:pt x="246" y="3162"/>
                  </a:lnTo>
                  <a:lnTo>
                    <a:pt x="244" y="3164"/>
                  </a:lnTo>
                  <a:lnTo>
                    <a:pt x="242" y="3162"/>
                  </a:lnTo>
                  <a:lnTo>
                    <a:pt x="238" y="3162"/>
                  </a:lnTo>
                  <a:lnTo>
                    <a:pt x="236" y="3164"/>
                  </a:lnTo>
                  <a:lnTo>
                    <a:pt x="234" y="3168"/>
                  </a:lnTo>
                  <a:lnTo>
                    <a:pt x="236" y="3172"/>
                  </a:lnTo>
                  <a:lnTo>
                    <a:pt x="238" y="3178"/>
                  </a:lnTo>
                  <a:lnTo>
                    <a:pt x="242" y="3184"/>
                  </a:lnTo>
                  <a:lnTo>
                    <a:pt x="244" y="3190"/>
                  </a:lnTo>
                  <a:lnTo>
                    <a:pt x="246" y="3194"/>
                  </a:lnTo>
                  <a:lnTo>
                    <a:pt x="248" y="3200"/>
                  </a:lnTo>
                  <a:lnTo>
                    <a:pt x="250" y="3200"/>
                  </a:lnTo>
                  <a:lnTo>
                    <a:pt x="252" y="3200"/>
                  </a:lnTo>
                  <a:lnTo>
                    <a:pt x="254" y="3196"/>
                  </a:lnTo>
                  <a:lnTo>
                    <a:pt x="254" y="3190"/>
                  </a:lnTo>
                  <a:lnTo>
                    <a:pt x="252" y="3184"/>
                  </a:lnTo>
                  <a:lnTo>
                    <a:pt x="250" y="3180"/>
                  </a:lnTo>
                  <a:lnTo>
                    <a:pt x="252" y="3178"/>
                  </a:lnTo>
                  <a:lnTo>
                    <a:pt x="254" y="3178"/>
                  </a:lnTo>
                  <a:lnTo>
                    <a:pt x="258" y="3182"/>
                  </a:lnTo>
                  <a:lnTo>
                    <a:pt x="262" y="3184"/>
                  </a:lnTo>
                  <a:lnTo>
                    <a:pt x="262" y="3186"/>
                  </a:lnTo>
                  <a:lnTo>
                    <a:pt x="260" y="3186"/>
                  </a:lnTo>
                  <a:lnTo>
                    <a:pt x="258" y="3190"/>
                  </a:lnTo>
                  <a:lnTo>
                    <a:pt x="258" y="3192"/>
                  </a:lnTo>
                  <a:lnTo>
                    <a:pt x="258" y="3194"/>
                  </a:lnTo>
                  <a:lnTo>
                    <a:pt x="258" y="3198"/>
                  </a:lnTo>
                  <a:lnTo>
                    <a:pt x="258" y="3202"/>
                  </a:lnTo>
                  <a:lnTo>
                    <a:pt x="258" y="3206"/>
                  </a:lnTo>
                  <a:lnTo>
                    <a:pt x="260" y="3208"/>
                  </a:lnTo>
                  <a:lnTo>
                    <a:pt x="266" y="3208"/>
                  </a:lnTo>
                  <a:lnTo>
                    <a:pt x="270" y="3208"/>
                  </a:lnTo>
                  <a:lnTo>
                    <a:pt x="272" y="3206"/>
                  </a:lnTo>
                  <a:lnTo>
                    <a:pt x="274" y="3200"/>
                  </a:lnTo>
                  <a:lnTo>
                    <a:pt x="274" y="3194"/>
                  </a:lnTo>
                  <a:lnTo>
                    <a:pt x="276" y="3192"/>
                  </a:lnTo>
                  <a:lnTo>
                    <a:pt x="276" y="3190"/>
                  </a:lnTo>
                  <a:lnTo>
                    <a:pt x="276" y="3188"/>
                  </a:lnTo>
                  <a:lnTo>
                    <a:pt x="276" y="3186"/>
                  </a:lnTo>
                  <a:lnTo>
                    <a:pt x="272" y="3186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1" name="Freeform 6151">
              <a:extLst>
                <a:ext uri="{FF2B5EF4-FFF2-40B4-BE49-F238E27FC236}">
                  <a16:creationId xmlns:a16="http://schemas.microsoft.com/office/drawing/2014/main" id="{5E9486C5-A40A-467B-B1EB-B1FB24CF38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34182" y="3952882"/>
              <a:ext cx="1708155" cy="1525582"/>
            </a:xfrm>
            <a:custGeom>
              <a:avLst/>
              <a:gdLst>
                <a:gd name="T0" fmla="*/ 441960 w 2690"/>
                <a:gd name="T1" fmla="*/ 349032 h 2404"/>
                <a:gd name="T2" fmla="*/ 1037590 w 2690"/>
                <a:gd name="T3" fmla="*/ 357917 h 2404"/>
                <a:gd name="T4" fmla="*/ 979170 w 2690"/>
                <a:gd name="T5" fmla="*/ 750102 h 2404"/>
                <a:gd name="T6" fmla="*/ 911860 w 2690"/>
                <a:gd name="T7" fmla="*/ 630796 h 2404"/>
                <a:gd name="T8" fmla="*/ 789940 w 2690"/>
                <a:gd name="T9" fmla="*/ 445492 h 2404"/>
                <a:gd name="T10" fmla="*/ 726440 w 2690"/>
                <a:gd name="T11" fmla="*/ 403608 h 2404"/>
                <a:gd name="T12" fmla="*/ 579120 w 2690"/>
                <a:gd name="T13" fmla="*/ 472145 h 2404"/>
                <a:gd name="T14" fmla="*/ 584200 w 2690"/>
                <a:gd name="T15" fmla="*/ 383301 h 2404"/>
                <a:gd name="T16" fmla="*/ 478790 w 2690"/>
                <a:gd name="T17" fmla="*/ 352840 h 2404"/>
                <a:gd name="T18" fmla="*/ 388620 w 2690"/>
                <a:gd name="T19" fmla="*/ 458184 h 2404"/>
                <a:gd name="T20" fmla="*/ 262890 w 2690"/>
                <a:gd name="T21" fmla="*/ 533067 h 2404"/>
                <a:gd name="T22" fmla="*/ 69850 w 2690"/>
                <a:gd name="T23" fmla="*/ 656181 h 2404"/>
                <a:gd name="T24" fmla="*/ 5080 w 2690"/>
                <a:gd name="T25" fmla="*/ 802139 h 2404"/>
                <a:gd name="T26" fmla="*/ 60960 w 2690"/>
                <a:gd name="T27" fmla="*/ 1055981 h 2404"/>
                <a:gd name="T28" fmla="*/ 218440 w 2690"/>
                <a:gd name="T29" fmla="*/ 1077558 h 2404"/>
                <a:gd name="T30" fmla="*/ 490220 w 2690"/>
                <a:gd name="T31" fmla="*/ 1012828 h 2404"/>
                <a:gd name="T32" fmla="*/ 628650 w 2690"/>
                <a:gd name="T33" fmla="*/ 1040751 h 2404"/>
                <a:gd name="T34" fmla="*/ 647700 w 2690"/>
                <a:gd name="T35" fmla="*/ 1137210 h 2404"/>
                <a:gd name="T36" fmla="*/ 810260 w 2690"/>
                <a:gd name="T37" fmla="*/ 1215901 h 2404"/>
                <a:gd name="T38" fmla="*/ 938530 w 2690"/>
                <a:gd name="T39" fmla="*/ 1189248 h 2404"/>
                <a:gd name="T40" fmla="*/ 1033780 w 2690"/>
                <a:gd name="T41" fmla="*/ 896061 h 2404"/>
                <a:gd name="T42" fmla="*/ 1059180 w 2690"/>
                <a:gd name="T43" fmla="*/ 154843 h 2404"/>
                <a:gd name="T44" fmla="*/ 788670 w 2690"/>
                <a:gd name="T45" fmla="*/ 1289515 h 2404"/>
                <a:gd name="T46" fmla="*/ 810260 w 2690"/>
                <a:gd name="T47" fmla="*/ 1344091 h 2404"/>
                <a:gd name="T48" fmla="*/ 881380 w 2690"/>
                <a:gd name="T49" fmla="*/ 1394860 h 2404"/>
                <a:gd name="T50" fmla="*/ 623570 w 2690"/>
                <a:gd name="T51" fmla="*/ 1148633 h 2404"/>
                <a:gd name="T52" fmla="*/ 1405890 w 2690"/>
                <a:gd name="T53" fmla="*/ 516568 h 2404"/>
                <a:gd name="T54" fmla="*/ 1370330 w 2690"/>
                <a:gd name="T55" fmla="*/ 696795 h 2404"/>
                <a:gd name="T56" fmla="*/ 1367790 w 2690"/>
                <a:gd name="T57" fmla="*/ 455646 h 2404"/>
                <a:gd name="T58" fmla="*/ 1125220 w 2690"/>
                <a:gd name="T59" fmla="*/ 244957 h 2404"/>
                <a:gd name="T60" fmla="*/ 1106170 w 2690"/>
                <a:gd name="T61" fmla="*/ 201804 h 2404"/>
                <a:gd name="T62" fmla="*/ 1162050 w 2690"/>
                <a:gd name="T63" fmla="*/ 242419 h 2404"/>
                <a:gd name="T64" fmla="*/ 1210310 w 2690"/>
                <a:gd name="T65" fmla="*/ 365532 h 2404"/>
                <a:gd name="T66" fmla="*/ 1394460 w 2690"/>
                <a:gd name="T67" fmla="*/ 512760 h 2404"/>
                <a:gd name="T68" fmla="*/ 1545590 w 2690"/>
                <a:gd name="T69" fmla="*/ 1325053 h 2404"/>
                <a:gd name="T70" fmla="*/ 1426210 w 2690"/>
                <a:gd name="T71" fmla="*/ 1426590 h 2404"/>
                <a:gd name="T72" fmla="*/ 1432560 w 2690"/>
                <a:gd name="T73" fmla="*/ 1525588 h 2404"/>
                <a:gd name="T74" fmla="*/ 1534160 w 2690"/>
                <a:gd name="T75" fmla="*/ 1393590 h 2404"/>
                <a:gd name="T76" fmla="*/ 1692910 w 2690"/>
                <a:gd name="T77" fmla="*/ 521644 h 2404"/>
                <a:gd name="T78" fmla="*/ 1576070 w 2690"/>
                <a:gd name="T79" fmla="*/ 1165133 h 2404"/>
                <a:gd name="T80" fmla="*/ 1564640 w 2690"/>
                <a:gd name="T81" fmla="*/ 1161325 h 2404"/>
                <a:gd name="T82" fmla="*/ 1588770 w 2690"/>
                <a:gd name="T83" fmla="*/ 1345360 h 2404"/>
                <a:gd name="T84" fmla="*/ 1651000 w 2690"/>
                <a:gd name="T85" fmla="*/ 1208286 h 2404"/>
                <a:gd name="T86" fmla="*/ 1428750 w 2690"/>
                <a:gd name="T87" fmla="*/ 587643 h 2404"/>
                <a:gd name="T88" fmla="*/ 966470 w 2690"/>
                <a:gd name="T89" fmla="*/ 312225 h 2404"/>
                <a:gd name="T90" fmla="*/ 867410 w 2690"/>
                <a:gd name="T91" fmla="*/ 159920 h 2404"/>
                <a:gd name="T92" fmla="*/ 584200 w 2690"/>
                <a:gd name="T93" fmla="*/ 49499 h 2404"/>
                <a:gd name="T94" fmla="*/ 539750 w 2690"/>
                <a:gd name="T95" fmla="*/ 182766 h 2404"/>
                <a:gd name="T96" fmla="*/ 631190 w 2690"/>
                <a:gd name="T97" fmla="*/ 243688 h 2404"/>
                <a:gd name="T98" fmla="*/ 673100 w 2690"/>
                <a:gd name="T99" fmla="*/ 510222 h 2404"/>
                <a:gd name="T100" fmla="*/ 769620 w 2690"/>
                <a:gd name="T101" fmla="*/ 279226 h 2404"/>
                <a:gd name="T102" fmla="*/ 889000 w 2690"/>
                <a:gd name="T103" fmla="*/ 312225 h 2404"/>
                <a:gd name="T104" fmla="*/ 885190 w 2690"/>
                <a:gd name="T105" fmla="*/ 244957 h 2404"/>
                <a:gd name="T106" fmla="*/ 774700 w 2690"/>
                <a:gd name="T107" fmla="*/ 107883 h 2404"/>
                <a:gd name="T108" fmla="*/ 922020 w 2690"/>
                <a:gd name="T109" fmla="*/ 187843 h 2404"/>
                <a:gd name="T110" fmla="*/ 971550 w 2690"/>
                <a:gd name="T111" fmla="*/ 153574 h 2404"/>
                <a:gd name="T112" fmla="*/ 1008380 w 2690"/>
                <a:gd name="T113" fmla="*/ 128190 h 2404"/>
                <a:gd name="T114" fmla="*/ 952500 w 2690"/>
                <a:gd name="T115" fmla="*/ 81229 h 2404"/>
                <a:gd name="T116" fmla="*/ 487680 w 2690"/>
                <a:gd name="T117" fmla="*/ 92652 h 2404"/>
                <a:gd name="T118" fmla="*/ 637540 w 2690"/>
                <a:gd name="T119" fmla="*/ 180228 h 2404"/>
                <a:gd name="T120" fmla="*/ 613410 w 2690"/>
                <a:gd name="T121" fmla="*/ 60922 h 2404"/>
                <a:gd name="T122" fmla="*/ 499110 w 2690"/>
                <a:gd name="T123" fmla="*/ 11423 h 2404"/>
                <a:gd name="T124" fmla="*/ 1026160 w 2690"/>
                <a:gd name="T125" fmla="*/ 776755 h 24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90"/>
                <a:gd name="T190" fmla="*/ 0 h 2404"/>
                <a:gd name="T191" fmla="*/ 2690 w 2690"/>
                <a:gd name="T192" fmla="*/ 2404 h 240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90" h="2404">
                  <a:moveTo>
                    <a:pt x="692" y="12"/>
                  </a:moveTo>
                  <a:lnTo>
                    <a:pt x="692" y="12"/>
                  </a:lnTo>
                  <a:lnTo>
                    <a:pt x="698" y="14"/>
                  </a:lnTo>
                  <a:lnTo>
                    <a:pt x="702" y="18"/>
                  </a:lnTo>
                  <a:lnTo>
                    <a:pt x="708" y="20"/>
                  </a:lnTo>
                  <a:lnTo>
                    <a:pt x="714" y="20"/>
                  </a:lnTo>
                  <a:lnTo>
                    <a:pt x="716" y="20"/>
                  </a:lnTo>
                  <a:lnTo>
                    <a:pt x="714" y="18"/>
                  </a:lnTo>
                  <a:lnTo>
                    <a:pt x="712" y="16"/>
                  </a:lnTo>
                  <a:lnTo>
                    <a:pt x="710" y="12"/>
                  </a:lnTo>
                  <a:lnTo>
                    <a:pt x="708" y="12"/>
                  </a:lnTo>
                  <a:lnTo>
                    <a:pt x="710" y="12"/>
                  </a:lnTo>
                  <a:lnTo>
                    <a:pt x="714" y="12"/>
                  </a:lnTo>
                  <a:lnTo>
                    <a:pt x="718" y="16"/>
                  </a:lnTo>
                  <a:lnTo>
                    <a:pt x="722" y="18"/>
                  </a:lnTo>
                  <a:lnTo>
                    <a:pt x="728" y="18"/>
                  </a:lnTo>
                  <a:lnTo>
                    <a:pt x="730" y="16"/>
                  </a:lnTo>
                  <a:lnTo>
                    <a:pt x="730" y="12"/>
                  </a:lnTo>
                  <a:lnTo>
                    <a:pt x="724" y="6"/>
                  </a:lnTo>
                  <a:lnTo>
                    <a:pt x="714" y="2"/>
                  </a:lnTo>
                  <a:lnTo>
                    <a:pt x="708" y="0"/>
                  </a:lnTo>
                  <a:lnTo>
                    <a:pt x="702" y="2"/>
                  </a:lnTo>
                  <a:lnTo>
                    <a:pt x="694" y="4"/>
                  </a:lnTo>
                  <a:lnTo>
                    <a:pt x="688" y="8"/>
                  </a:lnTo>
                  <a:lnTo>
                    <a:pt x="688" y="10"/>
                  </a:lnTo>
                  <a:lnTo>
                    <a:pt x="692" y="12"/>
                  </a:lnTo>
                  <a:close/>
                  <a:moveTo>
                    <a:pt x="742" y="352"/>
                  </a:moveTo>
                  <a:lnTo>
                    <a:pt x="742" y="352"/>
                  </a:lnTo>
                  <a:lnTo>
                    <a:pt x="740" y="350"/>
                  </a:lnTo>
                  <a:lnTo>
                    <a:pt x="736" y="352"/>
                  </a:lnTo>
                  <a:lnTo>
                    <a:pt x="732" y="358"/>
                  </a:lnTo>
                  <a:lnTo>
                    <a:pt x="728" y="366"/>
                  </a:lnTo>
                  <a:lnTo>
                    <a:pt x="724" y="382"/>
                  </a:lnTo>
                  <a:lnTo>
                    <a:pt x="724" y="386"/>
                  </a:lnTo>
                  <a:lnTo>
                    <a:pt x="724" y="388"/>
                  </a:lnTo>
                  <a:lnTo>
                    <a:pt x="726" y="388"/>
                  </a:lnTo>
                  <a:lnTo>
                    <a:pt x="736" y="382"/>
                  </a:lnTo>
                  <a:lnTo>
                    <a:pt x="742" y="374"/>
                  </a:lnTo>
                  <a:lnTo>
                    <a:pt x="744" y="364"/>
                  </a:lnTo>
                  <a:lnTo>
                    <a:pt x="742" y="352"/>
                  </a:lnTo>
                  <a:close/>
                  <a:moveTo>
                    <a:pt x="696" y="550"/>
                  </a:moveTo>
                  <a:lnTo>
                    <a:pt x="696" y="550"/>
                  </a:lnTo>
                  <a:lnTo>
                    <a:pt x="692" y="548"/>
                  </a:lnTo>
                  <a:lnTo>
                    <a:pt x="690" y="548"/>
                  </a:lnTo>
                  <a:lnTo>
                    <a:pt x="690" y="552"/>
                  </a:lnTo>
                  <a:lnTo>
                    <a:pt x="692" y="556"/>
                  </a:lnTo>
                  <a:lnTo>
                    <a:pt x="700" y="566"/>
                  </a:lnTo>
                  <a:lnTo>
                    <a:pt x="710" y="578"/>
                  </a:lnTo>
                  <a:lnTo>
                    <a:pt x="714" y="580"/>
                  </a:lnTo>
                  <a:lnTo>
                    <a:pt x="718" y="578"/>
                  </a:lnTo>
                  <a:lnTo>
                    <a:pt x="724" y="576"/>
                  </a:lnTo>
                  <a:lnTo>
                    <a:pt x="728" y="574"/>
                  </a:lnTo>
                  <a:lnTo>
                    <a:pt x="734" y="568"/>
                  </a:lnTo>
                  <a:lnTo>
                    <a:pt x="736" y="564"/>
                  </a:lnTo>
                  <a:lnTo>
                    <a:pt x="738" y="558"/>
                  </a:lnTo>
                  <a:lnTo>
                    <a:pt x="736" y="552"/>
                  </a:lnTo>
                  <a:lnTo>
                    <a:pt x="730" y="546"/>
                  </a:lnTo>
                  <a:lnTo>
                    <a:pt x="728" y="544"/>
                  </a:lnTo>
                  <a:lnTo>
                    <a:pt x="724" y="546"/>
                  </a:lnTo>
                  <a:lnTo>
                    <a:pt x="722" y="548"/>
                  </a:lnTo>
                  <a:lnTo>
                    <a:pt x="718" y="552"/>
                  </a:lnTo>
                  <a:lnTo>
                    <a:pt x="712" y="554"/>
                  </a:lnTo>
                  <a:lnTo>
                    <a:pt x="706" y="554"/>
                  </a:lnTo>
                  <a:lnTo>
                    <a:pt x="696" y="550"/>
                  </a:lnTo>
                  <a:close/>
                  <a:moveTo>
                    <a:pt x="936" y="688"/>
                  </a:moveTo>
                  <a:lnTo>
                    <a:pt x="936" y="688"/>
                  </a:lnTo>
                  <a:lnTo>
                    <a:pt x="938" y="696"/>
                  </a:lnTo>
                  <a:lnTo>
                    <a:pt x="940" y="696"/>
                  </a:lnTo>
                  <a:lnTo>
                    <a:pt x="942" y="696"/>
                  </a:lnTo>
                  <a:lnTo>
                    <a:pt x="946" y="692"/>
                  </a:lnTo>
                  <a:lnTo>
                    <a:pt x="950" y="684"/>
                  </a:lnTo>
                  <a:lnTo>
                    <a:pt x="950" y="680"/>
                  </a:lnTo>
                  <a:lnTo>
                    <a:pt x="950" y="678"/>
                  </a:lnTo>
                  <a:lnTo>
                    <a:pt x="946" y="676"/>
                  </a:lnTo>
                  <a:lnTo>
                    <a:pt x="942" y="676"/>
                  </a:lnTo>
                  <a:lnTo>
                    <a:pt x="940" y="676"/>
                  </a:lnTo>
                  <a:lnTo>
                    <a:pt x="936" y="680"/>
                  </a:lnTo>
                  <a:lnTo>
                    <a:pt x="934" y="684"/>
                  </a:lnTo>
                  <a:lnTo>
                    <a:pt x="936" y="688"/>
                  </a:lnTo>
                  <a:close/>
                  <a:moveTo>
                    <a:pt x="1610" y="556"/>
                  </a:moveTo>
                  <a:lnTo>
                    <a:pt x="1610" y="556"/>
                  </a:lnTo>
                  <a:lnTo>
                    <a:pt x="1616" y="560"/>
                  </a:lnTo>
                  <a:lnTo>
                    <a:pt x="1624" y="562"/>
                  </a:lnTo>
                  <a:lnTo>
                    <a:pt x="1632" y="564"/>
                  </a:lnTo>
                  <a:lnTo>
                    <a:pt x="1634" y="564"/>
                  </a:lnTo>
                  <a:lnTo>
                    <a:pt x="1634" y="562"/>
                  </a:lnTo>
                  <a:lnTo>
                    <a:pt x="1628" y="558"/>
                  </a:lnTo>
                  <a:lnTo>
                    <a:pt x="1618" y="552"/>
                  </a:lnTo>
                  <a:lnTo>
                    <a:pt x="1610" y="550"/>
                  </a:lnTo>
                  <a:lnTo>
                    <a:pt x="1610" y="552"/>
                  </a:lnTo>
                  <a:lnTo>
                    <a:pt x="1610" y="556"/>
                  </a:lnTo>
                  <a:close/>
                  <a:moveTo>
                    <a:pt x="1402" y="2052"/>
                  </a:moveTo>
                  <a:lnTo>
                    <a:pt x="1402" y="2052"/>
                  </a:lnTo>
                  <a:lnTo>
                    <a:pt x="1404" y="2054"/>
                  </a:lnTo>
                  <a:lnTo>
                    <a:pt x="1410" y="2056"/>
                  </a:lnTo>
                  <a:lnTo>
                    <a:pt x="1416" y="2056"/>
                  </a:lnTo>
                  <a:lnTo>
                    <a:pt x="1420" y="2054"/>
                  </a:lnTo>
                  <a:lnTo>
                    <a:pt x="1420" y="2052"/>
                  </a:lnTo>
                  <a:lnTo>
                    <a:pt x="1418" y="2048"/>
                  </a:lnTo>
                  <a:lnTo>
                    <a:pt x="1412" y="2048"/>
                  </a:lnTo>
                  <a:lnTo>
                    <a:pt x="1404" y="2048"/>
                  </a:lnTo>
                  <a:lnTo>
                    <a:pt x="1402" y="2050"/>
                  </a:lnTo>
                  <a:lnTo>
                    <a:pt x="1402" y="2052"/>
                  </a:lnTo>
                  <a:close/>
                  <a:moveTo>
                    <a:pt x="1610" y="1344"/>
                  </a:moveTo>
                  <a:lnTo>
                    <a:pt x="1610" y="1344"/>
                  </a:lnTo>
                  <a:lnTo>
                    <a:pt x="1612" y="1338"/>
                  </a:lnTo>
                  <a:lnTo>
                    <a:pt x="1614" y="1334"/>
                  </a:lnTo>
                  <a:lnTo>
                    <a:pt x="1612" y="1324"/>
                  </a:lnTo>
                  <a:lnTo>
                    <a:pt x="1610" y="1312"/>
                  </a:lnTo>
                  <a:lnTo>
                    <a:pt x="1608" y="1304"/>
                  </a:lnTo>
                  <a:lnTo>
                    <a:pt x="1610" y="1294"/>
                  </a:lnTo>
                  <a:lnTo>
                    <a:pt x="1610" y="1280"/>
                  </a:lnTo>
                  <a:lnTo>
                    <a:pt x="1608" y="1276"/>
                  </a:lnTo>
                  <a:lnTo>
                    <a:pt x="1606" y="1276"/>
                  </a:lnTo>
                  <a:lnTo>
                    <a:pt x="1604" y="1274"/>
                  </a:lnTo>
                  <a:lnTo>
                    <a:pt x="1600" y="1270"/>
                  </a:lnTo>
                  <a:lnTo>
                    <a:pt x="1598" y="1266"/>
                  </a:lnTo>
                  <a:lnTo>
                    <a:pt x="1596" y="1256"/>
                  </a:lnTo>
                  <a:lnTo>
                    <a:pt x="1594" y="1246"/>
                  </a:lnTo>
                  <a:lnTo>
                    <a:pt x="1590" y="1238"/>
                  </a:lnTo>
                  <a:lnTo>
                    <a:pt x="1582" y="1226"/>
                  </a:lnTo>
                  <a:lnTo>
                    <a:pt x="1570" y="1214"/>
                  </a:lnTo>
                  <a:lnTo>
                    <a:pt x="1560" y="1198"/>
                  </a:lnTo>
                  <a:lnTo>
                    <a:pt x="1550" y="1184"/>
                  </a:lnTo>
                  <a:lnTo>
                    <a:pt x="1548" y="1182"/>
                  </a:lnTo>
                  <a:lnTo>
                    <a:pt x="1546" y="1182"/>
                  </a:lnTo>
                  <a:lnTo>
                    <a:pt x="1542" y="1182"/>
                  </a:lnTo>
                  <a:lnTo>
                    <a:pt x="1538" y="1180"/>
                  </a:lnTo>
                  <a:lnTo>
                    <a:pt x="1534" y="1176"/>
                  </a:lnTo>
                  <a:lnTo>
                    <a:pt x="1526" y="1166"/>
                  </a:lnTo>
                  <a:lnTo>
                    <a:pt x="1518" y="1156"/>
                  </a:lnTo>
                  <a:lnTo>
                    <a:pt x="1514" y="1146"/>
                  </a:lnTo>
                  <a:lnTo>
                    <a:pt x="1514" y="1136"/>
                  </a:lnTo>
                  <a:lnTo>
                    <a:pt x="1514" y="1126"/>
                  </a:lnTo>
                  <a:lnTo>
                    <a:pt x="1514" y="1110"/>
                  </a:lnTo>
                  <a:lnTo>
                    <a:pt x="1514" y="1104"/>
                  </a:lnTo>
                  <a:lnTo>
                    <a:pt x="1510" y="1098"/>
                  </a:lnTo>
                  <a:lnTo>
                    <a:pt x="1508" y="1096"/>
                  </a:lnTo>
                  <a:lnTo>
                    <a:pt x="1506" y="1096"/>
                  </a:lnTo>
                  <a:lnTo>
                    <a:pt x="1502" y="1102"/>
                  </a:lnTo>
                  <a:lnTo>
                    <a:pt x="1502" y="1104"/>
                  </a:lnTo>
                  <a:lnTo>
                    <a:pt x="1498" y="1104"/>
                  </a:lnTo>
                  <a:lnTo>
                    <a:pt x="1494" y="1102"/>
                  </a:lnTo>
                  <a:lnTo>
                    <a:pt x="1490" y="1096"/>
                  </a:lnTo>
                  <a:lnTo>
                    <a:pt x="1484" y="1090"/>
                  </a:lnTo>
                  <a:lnTo>
                    <a:pt x="1480" y="1090"/>
                  </a:lnTo>
                  <a:lnTo>
                    <a:pt x="1480" y="1092"/>
                  </a:lnTo>
                  <a:lnTo>
                    <a:pt x="1480" y="1098"/>
                  </a:lnTo>
                  <a:lnTo>
                    <a:pt x="1478" y="1102"/>
                  </a:lnTo>
                  <a:lnTo>
                    <a:pt x="1478" y="1106"/>
                  </a:lnTo>
                  <a:lnTo>
                    <a:pt x="1474" y="1104"/>
                  </a:lnTo>
                  <a:lnTo>
                    <a:pt x="1470" y="1100"/>
                  </a:lnTo>
                  <a:lnTo>
                    <a:pt x="1464" y="1092"/>
                  </a:lnTo>
                  <a:lnTo>
                    <a:pt x="1462" y="1086"/>
                  </a:lnTo>
                  <a:lnTo>
                    <a:pt x="1462" y="1080"/>
                  </a:lnTo>
                  <a:lnTo>
                    <a:pt x="1462" y="1076"/>
                  </a:lnTo>
                  <a:lnTo>
                    <a:pt x="1464" y="1066"/>
                  </a:lnTo>
                  <a:lnTo>
                    <a:pt x="1462" y="1060"/>
                  </a:lnTo>
                  <a:lnTo>
                    <a:pt x="1462" y="1054"/>
                  </a:lnTo>
                  <a:lnTo>
                    <a:pt x="1458" y="1046"/>
                  </a:lnTo>
                  <a:lnTo>
                    <a:pt x="1452" y="1038"/>
                  </a:lnTo>
                  <a:lnTo>
                    <a:pt x="1440" y="1022"/>
                  </a:lnTo>
                  <a:lnTo>
                    <a:pt x="1430" y="1012"/>
                  </a:lnTo>
                  <a:lnTo>
                    <a:pt x="1428" y="1008"/>
                  </a:lnTo>
                  <a:lnTo>
                    <a:pt x="1432" y="1008"/>
                  </a:lnTo>
                  <a:lnTo>
                    <a:pt x="1436" y="1008"/>
                  </a:lnTo>
                  <a:lnTo>
                    <a:pt x="1438" y="1006"/>
                  </a:lnTo>
                  <a:lnTo>
                    <a:pt x="1440" y="1002"/>
                  </a:lnTo>
                  <a:lnTo>
                    <a:pt x="1438" y="998"/>
                  </a:lnTo>
                  <a:lnTo>
                    <a:pt x="1436" y="994"/>
                  </a:lnTo>
                  <a:lnTo>
                    <a:pt x="1430" y="988"/>
                  </a:lnTo>
                  <a:lnTo>
                    <a:pt x="1422" y="984"/>
                  </a:lnTo>
                  <a:lnTo>
                    <a:pt x="1410" y="978"/>
                  </a:lnTo>
                  <a:lnTo>
                    <a:pt x="1398" y="974"/>
                  </a:lnTo>
                  <a:lnTo>
                    <a:pt x="1392" y="968"/>
                  </a:lnTo>
                  <a:lnTo>
                    <a:pt x="1388" y="964"/>
                  </a:lnTo>
                  <a:lnTo>
                    <a:pt x="1386" y="960"/>
                  </a:lnTo>
                  <a:lnTo>
                    <a:pt x="1384" y="956"/>
                  </a:lnTo>
                  <a:lnTo>
                    <a:pt x="1380" y="952"/>
                  </a:lnTo>
                  <a:lnTo>
                    <a:pt x="1374" y="950"/>
                  </a:lnTo>
                  <a:lnTo>
                    <a:pt x="1364" y="946"/>
                  </a:lnTo>
                  <a:lnTo>
                    <a:pt x="1354" y="942"/>
                  </a:lnTo>
                  <a:lnTo>
                    <a:pt x="1346" y="938"/>
                  </a:lnTo>
                  <a:lnTo>
                    <a:pt x="1340" y="934"/>
                  </a:lnTo>
                  <a:lnTo>
                    <a:pt x="1338" y="928"/>
                  </a:lnTo>
                  <a:lnTo>
                    <a:pt x="1334" y="916"/>
                  </a:lnTo>
                  <a:lnTo>
                    <a:pt x="1332" y="908"/>
                  </a:lnTo>
                  <a:lnTo>
                    <a:pt x="1328" y="902"/>
                  </a:lnTo>
                  <a:lnTo>
                    <a:pt x="1324" y="896"/>
                  </a:lnTo>
                  <a:lnTo>
                    <a:pt x="1324" y="886"/>
                  </a:lnTo>
                  <a:lnTo>
                    <a:pt x="1322" y="864"/>
                  </a:lnTo>
                  <a:lnTo>
                    <a:pt x="1322" y="852"/>
                  </a:lnTo>
                  <a:lnTo>
                    <a:pt x="1320" y="840"/>
                  </a:lnTo>
                  <a:lnTo>
                    <a:pt x="1316" y="828"/>
                  </a:lnTo>
                  <a:lnTo>
                    <a:pt x="1308" y="818"/>
                  </a:lnTo>
                  <a:lnTo>
                    <a:pt x="1304" y="812"/>
                  </a:lnTo>
                  <a:lnTo>
                    <a:pt x="1302" y="806"/>
                  </a:lnTo>
                  <a:lnTo>
                    <a:pt x="1298" y="794"/>
                  </a:lnTo>
                  <a:lnTo>
                    <a:pt x="1296" y="780"/>
                  </a:lnTo>
                  <a:lnTo>
                    <a:pt x="1296" y="764"/>
                  </a:lnTo>
                  <a:lnTo>
                    <a:pt x="1296" y="750"/>
                  </a:lnTo>
                  <a:lnTo>
                    <a:pt x="1294" y="736"/>
                  </a:lnTo>
                  <a:lnTo>
                    <a:pt x="1290" y="726"/>
                  </a:lnTo>
                  <a:lnTo>
                    <a:pt x="1286" y="722"/>
                  </a:lnTo>
                  <a:lnTo>
                    <a:pt x="1282" y="718"/>
                  </a:lnTo>
                  <a:lnTo>
                    <a:pt x="1274" y="712"/>
                  </a:lnTo>
                  <a:lnTo>
                    <a:pt x="1268" y="704"/>
                  </a:lnTo>
                  <a:lnTo>
                    <a:pt x="1262" y="692"/>
                  </a:lnTo>
                  <a:lnTo>
                    <a:pt x="1258" y="690"/>
                  </a:lnTo>
                  <a:lnTo>
                    <a:pt x="1256" y="688"/>
                  </a:lnTo>
                  <a:lnTo>
                    <a:pt x="1254" y="690"/>
                  </a:lnTo>
                  <a:lnTo>
                    <a:pt x="1250" y="698"/>
                  </a:lnTo>
                  <a:lnTo>
                    <a:pt x="1244" y="702"/>
                  </a:lnTo>
                  <a:lnTo>
                    <a:pt x="1240" y="704"/>
                  </a:lnTo>
                  <a:lnTo>
                    <a:pt x="1236" y="702"/>
                  </a:lnTo>
                  <a:lnTo>
                    <a:pt x="1232" y="696"/>
                  </a:lnTo>
                  <a:lnTo>
                    <a:pt x="1228" y="690"/>
                  </a:lnTo>
                  <a:lnTo>
                    <a:pt x="1226" y="682"/>
                  </a:lnTo>
                  <a:lnTo>
                    <a:pt x="1224" y="664"/>
                  </a:lnTo>
                  <a:lnTo>
                    <a:pt x="1224" y="650"/>
                  </a:lnTo>
                  <a:lnTo>
                    <a:pt x="1224" y="634"/>
                  </a:lnTo>
                  <a:lnTo>
                    <a:pt x="1220" y="620"/>
                  </a:lnTo>
                  <a:lnTo>
                    <a:pt x="1216" y="614"/>
                  </a:lnTo>
                  <a:lnTo>
                    <a:pt x="1212" y="606"/>
                  </a:lnTo>
                  <a:lnTo>
                    <a:pt x="1208" y="600"/>
                  </a:lnTo>
                  <a:lnTo>
                    <a:pt x="1206" y="596"/>
                  </a:lnTo>
                  <a:lnTo>
                    <a:pt x="1206" y="588"/>
                  </a:lnTo>
                  <a:lnTo>
                    <a:pt x="1208" y="584"/>
                  </a:lnTo>
                  <a:lnTo>
                    <a:pt x="1206" y="582"/>
                  </a:lnTo>
                  <a:lnTo>
                    <a:pt x="1204" y="578"/>
                  </a:lnTo>
                  <a:lnTo>
                    <a:pt x="1200" y="576"/>
                  </a:lnTo>
                  <a:lnTo>
                    <a:pt x="1196" y="572"/>
                  </a:lnTo>
                  <a:lnTo>
                    <a:pt x="1194" y="562"/>
                  </a:lnTo>
                  <a:lnTo>
                    <a:pt x="1192" y="548"/>
                  </a:lnTo>
                  <a:lnTo>
                    <a:pt x="1190" y="534"/>
                  </a:lnTo>
                  <a:lnTo>
                    <a:pt x="1188" y="526"/>
                  </a:lnTo>
                  <a:lnTo>
                    <a:pt x="1184" y="522"/>
                  </a:lnTo>
                  <a:lnTo>
                    <a:pt x="1180" y="520"/>
                  </a:lnTo>
                  <a:lnTo>
                    <a:pt x="1176" y="520"/>
                  </a:lnTo>
                  <a:lnTo>
                    <a:pt x="1172" y="522"/>
                  </a:lnTo>
                  <a:lnTo>
                    <a:pt x="1170" y="526"/>
                  </a:lnTo>
                  <a:lnTo>
                    <a:pt x="1166" y="532"/>
                  </a:lnTo>
                  <a:lnTo>
                    <a:pt x="1166" y="538"/>
                  </a:lnTo>
                  <a:lnTo>
                    <a:pt x="1164" y="552"/>
                  </a:lnTo>
                  <a:lnTo>
                    <a:pt x="1162" y="564"/>
                  </a:lnTo>
                  <a:lnTo>
                    <a:pt x="1150" y="594"/>
                  </a:lnTo>
                  <a:lnTo>
                    <a:pt x="1146" y="602"/>
                  </a:lnTo>
                  <a:lnTo>
                    <a:pt x="1146" y="608"/>
                  </a:lnTo>
                  <a:lnTo>
                    <a:pt x="1146" y="612"/>
                  </a:lnTo>
                  <a:lnTo>
                    <a:pt x="1150" y="614"/>
                  </a:lnTo>
                  <a:lnTo>
                    <a:pt x="1152" y="616"/>
                  </a:lnTo>
                  <a:lnTo>
                    <a:pt x="1152" y="618"/>
                  </a:lnTo>
                  <a:lnTo>
                    <a:pt x="1150" y="622"/>
                  </a:lnTo>
                  <a:lnTo>
                    <a:pt x="1144" y="630"/>
                  </a:lnTo>
                  <a:lnTo>
                    <a:pt x="1144" y="636"/>
                  </a:lnTo>
                  <a:lnTo>
                    <a:pt x="1144" y="646"/>
                  </a:lnTo>
                  <a:lnTo>
                    <a:pt x="1138" y="658"/>
                  </a:lnTo>
                  <a:lnTo>
                    <a:pt x="1136" y="668"/>
                  </a:lnTo>
                  <a:lnTo>
                    <a:pt x="1136" y="676"/>
                  </a:lnTo>
                  <a:lnTo>
                    <a:pt x="1140" y="700"/>
                  </a:lnTo>
                  <a:lnTo>
                    <a:pt x="1144" y="724"/>
                  </a:lnTo>
                  <a:lnTo>
                    <a:pt x="1144" y="736"/>
                  </a:lnTo>
                  <a:lnTo>
                    <a:pt x="1142" y="748"/>
                  </a:lnTo>
                  <a:lnTo>
                    <a:pt x="1136" y="768"/>
                  </a:lnTo>
                  <a:lnTo>
                    <a:pt x="1136" y="780"/>
                  </a:lnTo>
                  <a:lnTo>
                    <a:pt x="1136" y="792"/>
                  </a:lnTo>
                  <a:lnTo>
                    <a:pt x="1130" y="806"/>
                  </a:lnTo>
                  <a:lnTo>
                    <a:pt x="1124" y="816"/>
                  </a:lnTo>
                  <a:lnTo>
                    <a:pt x="1120" y="826"/>
                  </a:lnTo>
                  <a:lnTo>
                    <a:pt x="1116" y="840"/>
                  </a:lnTo>
                  <a:lnTo>
                    <a:pt x="1114" y="850"/>
                  </a:lnTo>
                  <a:lnTo>
                    <a:pt x="1110" y="856"/>
                  </a:lnTo>
                  <a:lnTo>
                    <a:pt x="1102" y="862"/>
                  </a:lnTo>
                  <a:lnTo>
                    <a:pt x="1096" y="866"/>
                  </a:lnTo>
                  <a:lnTo>
                    <a:pt x="1088" y="866"/>
                  </a:lnTo>
                  <a:lnTo>
                    <a:pt x="1078" y="864"/>
                  </a:lnTo>
                  <a:lnTo>
                    <a:pt x="1068" y="860"/>
                  </a:lnTo>
                  <a:lnTo>
                    <a:pt x="1060" y="854"/>
                  </a:lnTo>
                  <a:lnTo>
                    <a:pt x="1052" y="848"/>
                  </a:lnTo>
                  <a:lnTo>
                    <a:pt x="1046" y="842"/>
                  </a:lnTo>
                  <a:lnTo>
                    <a:pt x="1044" y="836"/>
                  </a:lnTo>
                  <a:lnTo>
                    <a:pt x="1040" y="830"/>
                  </a:lnTo>
                  <a:lnTo>
                    <a:pt x="1036" y="826"/>
                  </a:lnTo>
                  <a:lnTo>
                    <a:pt x="1028" y="824"/>
                  </a:lnTo>
                  <a:lnTo>
                    <a:pt x="1022" y="822"/>
                  </a:lnTo>
                  <a:lnTo>
                    <a:pt x="1014" y="818"/>
                  </a:lnTo>
                  <a:lnTo>
                    <a:pt x="1004" y="812"/>
                  </a:lnTo>
                  <a:lnTo>
                    <a:pt x="990" y="800"/>
                  </a:lnTo>
                  <a:lnTo>
                    <a:pt x="978" y="788"/>
                  </a:lnTo>
                  <a:lnTo>
                    <a:pt x="968" y="782"/>
                  </a:lnTo>
                  <a:lnTo>
                    <a:pt x="962" y="780"/>
                  </a:lnTo>
                  <a:lnTo>
                    <a:pt x="956" y="778"/>
                  </a:lnTo>
                  <a:lnTo>
                    <a:pt x="948" y="776"/>
                  </a:lnTo>
                  <a:lnTo>
                    <a:pt x="942" y="772"/>
                  </a:lnTo>
                  <a:lnTo>
                    <a:pt x="934" y="764"/>
                  </a:lnTo>
                  <a:lnTo>
                    <a:pt x="922" y="752"/>
                  </a:lnTo>
                  <a:lnTo>
                    <a:pt x="912" y="744"/>
                  </a:lnTo>
                  <a:lnTo>
                    <a:pt x="898" y="732"/>
                  </a:lnTo>
                  <a:lnTo>
                    <a:pt x="896" y="728"/>
                  </a:lnTo>
                  <a:lnTo>
                    <a:pt x="896" y="722"/>
                  </a:lnTo>
                  <a:lnTo>
                    <a:pt x="900" y="712"/>
                  </a:lnTo>
                  <a:lnTo>
                    <a:pt x="908" y="700"/>
                  </a:lnTo>
                  <a:lnTo>
                    <a:pt x="916" y="684"/>
                  </a:lnTo>
                  <a:lnTo>
                    <a:pt x="920" y="674"/>
                  </a:lnTo>
                  <a:lnTo>
                    <a:pt x="920" y="670"/>
                  </a:lnTo>
                  <a:lnTo>
                    <a:pt x="918" y="670"/>
                  </a:lnTo>
                  <a:lnTo>
                    <a:pt x="916" y="668"/>
                  </a:lnTo>
                  <a:lnTo>
                    <a:pt x="914" y="666"/>
                  </a:lnTo>
                  <a:lnTo>
                    <a:pt x="914" y="662"/>
                  </a:lnTo>
                  <a:lnTo>
                    <a:pt x="918" y="652"/>
                  </a:lnTo>
                  <a:lnTo>
                    <a:pt x="924" y="644"/>
                  </a:lnTo>
                  <a:lnTo>
                    <a:pt x="928" y="640"/>
                  </a:lnTo>
                  <a:lnTo>
                    <a:pt x="930" y="642"/>
                  </a:lnTo>
                  <a:lnTo>
                    <a:pt x="934" y="646"/>
                  </a:lnTo>
                  <a:lnTo>
                    <a:pt x="936" y="648"/>
                  </a:lnTo>
                  <a:lnTo>
                    <a:pt x="936" y="650"/>
                  </a:lnTo>
                  <a:lnTo>
                    <a:pt x="938" y="646"/>
                  </a:lnTo>
                  <a:lnTo>
                    <a:pt x="940" y="638"/>
                  </a:lnTo>
                  <a:lnTo>
                    <a:pt x="942" y="626"/>
                  </a:lnTo>
                  <a:lnTo>
                    <a:pt x="946" y="618"/>
                  </a:lnTo>
                  <a:lnTo>
                    <a:pt x="950" y="612"/>
                  </a:lnTo>
                  <a:lnTo>
                    <a:pt x="956" y="606"/>
                  </a:lnTo>
                  <a:lnTo>
                    <a:pt x="958" y="604"/>
                  </a:lnTo>
                  <a:lnTo>
                    <a:pt x="960" y="602"/>
                  </a:lnTo>
                  <a:lnTo>
                    <a:pt x="960" y="598"/>
                  </a:lnTo>
                  <a:lnTo>
                    <a:pt x="956" y="596"/>
                  </a:lnTo>
                  <a:lnTo>
                    <a:pt x="950" y="590"/>
                  </a:lnTo>
                  <a:lnTo>
                    <a:pt x="946" y="586"/>
                  </a:lnTo>
                  <a:lnTo>
                    <a:pt x="942" y="580"/>
                  </a:lnTo>
                  <a:lnTo>
                    <a:pt x="942" y="578"/>
                  </a:lnTo>
                  <a:lnTo>
                    <a:pt x="940" y="578"/>
                  </a:lnTo>
                  <a:lnTo>
                    <a:pt x="934" y="582"/>
                  </a:lnTo>
                  <a:lnTo>
                    <a:pt x="930" y="584"/>
                  </a:lnTo>
                  <a:lnTo>
                    <a:pt x="928" y="588"/>
                  </a:lnTo>
                  <a:lnTo>
                    <a:pt x="928" y="594"/>
                  </a:lnTo>
                  <a:lnTo>
                    <a:pt x="930" y="598"/>
                  </a:lnTo>
                  <a:lnTo>
                    <a:pt x="928" y="600"/>
                  </a:lnTo>
                  <a:lnTo>
                    <a:pt x="926" y="602"/>
                  </a:lnTo>
                  <a:lnTo>
                    <a:pt x="922" y="604"/>
                  </a:lnTo>
                  <a:lnTo>
                    <a:pt x="920" y="604"/>
                  </a:lnTo>
                  <a:lnTo>
                    <a:pt x="918" y="598"/>
                  </a:lnTo>
                  <a:lnTo>
                    <a:pt x="918" y="592"/>
                  </a:lnTo>
                  <a:lnTo>
                    <a:pt x="918" y="590"/>
                  </a:lnTo>
                  <a:lnTo>
                    <a:pt x="916" y="590"/>
                  </a:lnTo>
                  <a:lnTo>
                    <a:pt x="914" y="588"/>
                  </a:lnTo>
                  <a:lnTo>
                    <a:pt x="914" y="586"/>
                  </a:lnTo>
                  <a:lnTo>
                    <a:pt x="914" y="578"/>
                  </a:lnTo>
                  <a:lnTo>
                    <a:pt x="914" y="574"/>
                  </a:lnTo>
                  <a:lnTo>
                    <a:pt x="912" y="574"/>
                  </a:lnTo>
                  <a:lnTo>
                    <a:pt x="906" y="576"/>
                  </a:lnTo>
                  <a:lnTo>
                    <a:pt x="898" y="584"/>
                  </a:lnTo>
                  <a:lnTo>
                    <a:pt x="888" y="590"/>
                  </a:lnTo>
                  <a:lnTo>
                    <a:pt x="882" y="594"/>
                  </a:lnTo>
                  <a:lnTo>
                    <a:pt x="878" y="594"/>
                  </a:lnTo>
                  <a:lnTo>
                    <a:pt x="874" y="592"/>
                  </a:lnTo>
                  <a:lnTo>
                    <a:pt x="870" y="586"/>
                  </a:lnTo>
                  <a:lnTo>
                    <a:pt x="866" y="584"/>
                  </a:lnTo>
                  <a:lnTo>
                    <a:pt x="860" y="584"/>
                  </a:lnTo>
                  <a:lnTo>
                    <a:pt x="854" y="586"/>
                  </a:lnTo>
                  <a:lnTo>
                    <a:pt x="848" y="586"/>
                  </a:lnTo>
                  <a:lnTo>
                    <a:pt x="844" y="584"/>
                  </a:lnTo>
                  <a:lnTo>
                    <a:pt x="842" y="580"/>
                  </a:lnTo>
                  <a:lnTo>
                    <a:pt x="834" y="572"/>
                  </a:lnTo>
                  <a:lnTo>
                    <a:pt x="830" y="570"/>
                  </a:lnTo>
                  <a:lnTo>
                    <a:pt x="822" y="570"/>
                  </a:lnTo>
                  <a:lnTo>
                    <a:pt x="814" y="570"/>
                  </a:lnTo>
                  <a:lnTo>
                    <a:pt x="808" y="568"/>
                  </a:lnTo>
                  <a:lnTo>
                    <a:pt x="804" y="564"/>
                  </a:lnTo>
                  <a:lnTo>
                    <a:pt x="802" y="560"/>
                  </a:lnTo>
                  <a:lnTo>
                    <a:pt x="798" y="554"/>
                  </a:lnTo>
                  <a:lnTo>
                    <a:pt x="796" y="554"/>
                  </a:lnTo>
                  <a:lnTo>
                    <a:pt x="792" y="554"/>
                  </a:lnTo>
                  <a:lnTo>
                    <a:pt x="788" y="554"/>
                  </a:lnTo>
                  <a:lnTo>
                    <a:pt x="784" y="554"/>
                  </a:lnTo>
                  <a:lnTo>
                    <a:pt x="782" y="550"/>
                  </a:lnTo>
                  <a:lnTo>
                    <a:pt x="776" y="546"/>
                  </a:lnTo>
                  <a:lnTo>
                    <a:pt x="774" y="544"/>
                  </a:lnTo>
                  <a:lnTo>
                    <a:pt x="768" y="542"/>
                  </a:lnTo>
                  <a:lnTo>
                    <a:pt x="758" y="542"/>
                  </a:lnTo>
                  <a:lnTo>
                    <a:pt x="752" y="544"/>
                  </a:lnTo>
                  <a:lnTo>
                    <a:pt x="750" y="546"/>
                  </a:lnTo>
                  <a:lnTo>
                    <a:pt x="750" y="548"/>
                  </a:lnTo>
                  <a:lnTo>
                    <a:pt x="754" y="556"/>
                  </a:lnTo>
                  <a:lnTo>
                    <a:pt x="756" y="558"/>
                  </a:lnTo>
                  <a:lnTo>
                    <a:pt x="762" y="560"/>
                  </a:lnTo>
                  <a:lnTo>
                    <a:pt x="774" y="560"/>
                  </a:lnTo>
                  <a:lnTo>
                    <a:pt x="778" y="560"/>
                  </a:lnTo>
                  <a:lnTo>
                    <a:pt x="782" y="564"/>
                  </a:lnTo>
                  <a:lnTo>
                    <a:pt x="784" y="570"/>
                  </a:lnTo>
                  <a:lnTo>
                    <a:pt x="782" y="580"/>
                  </a:lnTo>
                  <a:lnTo>
                    <a:pt x="778" y="594"/>
                  </a:lnTo>
                  <a:lnTo>
                    <a:pt x="778" y="596"/>
                  </a:lnTo>
                  <a:lnTo>
                    <a:pt x="776" y="596"/>
                  </a:lnTo>
                  <a:lnTo>
                    <a:pt x="768" y="594"/>
                  </a:lnTo>
                  <a:lnTo>
                    <a:pt x="760" y="594"/>
                  </a:lnTo>
                  <a:lnTo>
                    <a:pt x="750" y="596"/>
                  </a:lnTo>
                  <a:lnTo>
                    <a:pt x="742" y="596"/>
                  </a:lnTo>
                  <a:lnTo>
                    <a:pt x="736" y="596"/>
                  </a:lnTo>
                  <a:lnTo>
                    <a:pt x="728" y="592"/>
                  </a:lnTo>
                  <a:lnTo>
                    <a:pt x="726" y="592"/>
                  </a:lnTo>
                  <a:lnTo>
                    <a:pt x="720" y="594"/>
                  </a:lnTo>
                  <a:lnTo>
                    <a:pt x="700" y="608"/>
                  </a:lnTo>
                  <a:lnTo>
                    <a:pt x="688" y="620"/>
                  </a:lnTo>
                  <a:lnTo>
                    <a:pt x="680" y="628"/>
                  </a:lnTo>
                  <a:lnTo>
                    <a:pt x="678" y="634"/>
                  </a:lnTo>
                  <a:lnTo>
                    <a:pt x="676" y="638"/>
                  </a:lnTo>
                  <a:lnTo>
                    <a:pt x="676" y="644"/>
                  </a:lnTo>
                  <a:lnTo>
                    <a:pt x="674" y="652"/>
                  </a:lnTo>
                  <a:lnTo>
                    <a:pt x="670" y="662"/>
                  </a:lnTo>
                  <a:lnTo>
                    <a:pt x="662" y="674"/>
                  </a:lnTo>
                  <a:lnTo>
                    <a:pt x="654" y="688"/>
                  </a:lnTo>
                  <a:lnTo>
                    <a:pt x="650" y="698"/>
                  </a:lnTo>
                  <a:lnTo>
                    <a:pt x="652" y="706"/>
                  </a:lnTo>
                  <a:lnTo>
                    <a:pt x="654" y="710"/>
                  </a:lnTo>
                  <a:lnTo>
                    <a:pt x="662" y="716"/>
                  </a:lnTo>
                  <a:lnTo>
                    <a:pt x="662" y="720"/>
                  </a:lnTo>
                  <a:lnTo>
                    <a:pt x="658" y="724"/>
                  </a:lnTo>
                  <a:lnTo>
                    <a:pt x="652" y="728"/>
                  </a:lnTo>
                  <a:lnTo>
                    <a:pt x="648" y="730"/>
                  </a:lnTo>
                  <a:lnTo>
                    <a:pt x="644" y="730"/>
                  </a:lnTo>
                  <a:lnTo>
                    <a:pt x="640" y="728"/>
                  </a:lnTo>
                  <a:lnTo>
                    <a:pt x="630" y="722"/>
                  </a:lnTo>
                  <a:lnTo>
                    <a:pt x="626" y="722"/>
                  </a:lnTo>
                  <a:lnTo>
                    <a:pt x="618" y="722"/>
                  </a:lnTo>
                  <a:lnTo>
                    <a:pt x="612" y="722"/>
                  </a:lnTo>
                  <a:lnTo>
                    <a:pt x="608" y="718"/>
                  </a:lnTo>
                  <a:lnTo>
                    <a:pt x="596" y="712"/>
                  </a:lnTo>
                  <a:lnTo>
                    <a:pt x="574" y="688"/>
                  </a:lnTo>
                  <a:lnTo>
                    <a:pt x="562" y="676"/>
                  </a:lnTo>
                  <a:lnTo>
                    <a:pt x="554" y="670"/>
                  </a:lnTo>
                  <a:lnTo>
                    <a:pt x="550" y="668"/>
                  </a:lnTo>
                  <a:lnTo>
                    <a:pt x="548" y="668"/>
                  </a:lnTo>
                  <a:lnTo>
                    <a:pt x="546" y="670"/>
                  </a:lnTo>
                  <a:lnTo>
                    <a:pt x="544" y="674"/>
                  </a:lnTo>
                  <a:lnTo>
                    <a:pt x="542" y="682"/>
                  </a:lnTo>
                  <a:lnTo>
                    <a:pt x="540" y="684"/>
                  </a:lnTo>
                  <a:lnTo>
                    <a:pt x="536" y="684"/>
                  </a:lnTo>
                  <a:lnTo>
                    <a:pt x="532" y="682"/>
                  </a:lnTo>
                  <a:lnTo>
                    <a:pt x="526" y="678"/>
                  </a:lnTo>
                  <a:lnTo>
                    <a:pt x="522" y="678"/>
                  </a:lnTo>
                  <a:lnTo>
                    <a:pt x="518" y="682"/>
                  </a:lnTo>
                  <a:lnTo>
                    <a:pt x="516" y="690"/>
                  </a:lnTo>
                  <a:lnTo>
                    <a:pt x="516" y="698"/>
                  </a:lnTo>
                  <a:lnTo>
                    <a:pt x="514" y="700"/>
                  </a:lnTo>
                  <a:lnTo>
                    <a:pt x="510" y="700"/>
                  </a:lnTo>
                  <a:lnTo>
                    <a:pt x="508" y="698"/>
                  </a:lnTo>
                  <a:lnTo>
                    <a:pt x="502" y="696"/>
                  </a:lnTo>
                  <a:lnTo>
                    <a:pt x="498" y="698"/>
                  </a:lnTo>
                  <a:lnTo>
                    <a:pt x="490" y="704"/>
                  </a:lnTo>
                  <a:lnTo>
                    <a:pt x="482" y="718"/>
                  </a:lnTo>
                  <a:lnTo>
                    <a:pt x="474" y="732"/>
                  </a:lnTo>
                  <a:lnTo>
                    <a:pt x="468" y="742"/>
                  </a:lnTo>
                  <a:lnTo>
                    <a:pt x="458" y="752"/>
                  </a:lnTo>
                  <a:lnTo>
                    <a:pt x="454" y="756"/>
                  </a:lnTo>
                  <a:lnTo>
                    <a:pt x="452" y="762"/>
                  </a:lnTo>
                  <a:lnTo>
                    <a:pt x="450" y="768"/>
                  </a:lnTo>
                  <a:lnTo>
                    <a:pt x="448" y="780"/>
                  </a:lnTo>
                  <a:lnTo>
                    <a:pt x="448" y="794"/>
                  </a:lnTo>
                  <a:lnTo>
                    <a:pt x="446" y="798"/>
                  </a:lnTo>
                  <a:lnTo>
                    <a:pt x="444" y="800"/>
                  </a:lnTo>
                  <a:lnTo>
                    <a:pt x="440" y="798"/>
                  </a:lnTo>
                  <a:lnTo>
                    <a:pt x="434" y="794"/>
                  </a:lnTo>
                  <a:lnTo>
                    <a:pt x="428" y="792"/>
                  </a:lnTo>
                  <a:lnTo>
                    <a:pt x="426" y="792"/>
                  </a:lnTo>
                  <a:lnTo>
                    <a:pt x="422" y="794"/>
                  </a:lnTo>
                  <a:lnTo>
                    <a:pt x="420" y="798"/>
                  </a:lnTo>
                  <a:lnTo>
                    <a:pt x="418" y="804"/>
                  </a:lnTo>
                  <a:lnTo>
                    <a:pt x="416" y="824"/>
                  </a:lnTo>
                  <a:lnTo>
                    <a:pt x="414" y="840"/>
                  </a:lnTo>
                  <a:lnTo>
                    <a:pt x="414" y="842"/>
                  </a:lnTo>
                  <a:lnTo>
                    <a:pt x="412" y="842"/>
                  </a:lnTo>
                  <a:lnTo>
                    <a:pt x="408" y="828"/>
                  </a:lnTo>
                  <a:lnTo>
                    <a:pt x="402" y="818"/>
                  </a:lnTo>
                  <a:lnTo>
                    <a:pt x="400" y="812"/>
                  </a:lnTo>
                  <a:lnTo>
                    <a:pt x="396" y="810"/>
                  </a:lnTo>
                  <a:lnTo>
                    <a:pt x="392" y="810"/>
                  </a:lnTo>
                  <a:lnTo>
                    <a:pt x="386" y="812"/>
                  </a:lnTo>
                  <a:lnTo>
                    <a:pt x="382" y="816"/>
                  </a:lnTo>
                  <a:lnTo>
                    <a:pt x="376" y="822"/>
                  </a:lnTo>
                  <a:lnTo>
                    <a:pt x="366" y="840"/>
                  </a:lnTo>
                  <a:lnTo>
                    <a:pt x="360" y="852"/>
                  </a:lnTo>
                  <a:lnTo>
                    <a:pt x="360" y="864"/>
                  </a:lnTo>
                  <a:lnTo>
                    <a:pt x="362" y="872"/>
                  </a:lnTo>
                  <a:lnTo>
                    <a:pt x="362" y="880"/>
                  </a:lnTo>
                  <a:lnTo>
                    <a:pt x="362" y="886"/>
                  </a:lnTo>
                  <a:lnTo>
                    <a:pt x="358" y="894"/>
                  </a:lnTo>
                  <a:lnTo>
                    <a:pt x="350" y="902"/>
                  </a:lnTo>
                  <a:lnTo>
                    <a:pt x="344" y="908"/>
                  </a:lnTo>
                  <a:lnTo>
                    <a:pt x="338" y="916"/>
                  </a:lnTo>
                  <a:lnTo>
                    <a:pt x="334" y="930"/>
                  </a:lnTo>
                  <a:lnTo>
                    <a:pt x="330" y="940"/>
                  </a:lnTo>
                  <a:lnTo>
                    <a:pt x="324" y="948"/>
                  </a:lnTo>
                  <a:lnTo>
                    <a:pt x="316" y="958"/>
                  </a:lnTo>
                  <a:lnTo>
                    <a:pt x="304" y="968"/>
                  </a:lnTo>
                  <a:lnTo>
                    <a:pt x="290" y="976"/>
                  </a:lnTo>
                  <a:lnTo>
                    <a:pt x="276" y="980"/>
                  </a:lnTo>
                  <a:lnTo>
                    <a:pt x="266" y="982"/>
                  </a:lnTo>
                  <a:lnTo>
                    <a:pt x="256" y="980"/>
                  </a:lnTo>
                  <a:lnTo>
                    <a:pt x="240" y="980"/>
                  </a:lnTo>
                  <a:lnTo>
                    <a:pt x="234" y="982"/>
                  </a:lnTo>
                  <a:lnTo>
                    <a:pt x="232" y="986"/>
                  </a:lnTo>
                  <a:lnTo>
                    <a:pt x="228" y="990"/>
                  </a:lnTo>
                  <a:lnTo>
                    <a:pt x="224" y="994"/>
                  </a:lnTo>
                  <a:lnTo>
                    <a:pt x="212" y="998"/>
                  </a:lnTo>
                  <a:lnTo>
                    <a:pt x="198" y="1002"/>
                  </a:lnTo>
                  <a:lnTo>
                    <a:pt x="180" y="1012"/>
                  </a:lnTo>
                  <a:lnTo>
                    <a:pt x="170" y="1016"/>
                  </a:lnTo>
                  <a:lnTo>
                    <a:pt x="162" y="1016"/>
                  </a:lnTo>
                  <a:lnTo>
                    <a:pt x="150" y="1012"/>
                  </a:lnTo>
                  <a:lnTo>
                    <a:pt x="142" y="1012"/>
                  </a:lnTo>
                  <a:lnTo>
                    <a:pt x="134" y="1014"/>
                  </a:lnTo>
                  <a:lnTo>
                    <a:pt x="124" y="1020"/>
                  </a:lnTo>
                  <a:lnTo>
                    <a:pt x="110" y="1034"/>
                  </a:lnTo>
                  <a:lnTo>
                    <a:pt x="98" y="1048"/>
                  </a:lnTo>
                  <a:lnTo>
                    <a:pt x="86" y="1058"/>
                  </a:lnTo>
                  <a:lnTo>
                    <a:pt x="78" y="1062"/>
                  </a:lnTo>
                  <a:lnTo>
                    <a:pt x="72" y="1066"/>
                  </a:lnTo>
                  <a:lnTo>
                    <a:pt x="66" y="1068"/>
                  </a:lnTo>
                  <a:lnTo>
                    <a:pt x="60" y="1074"/>
                  </a:lnTo>
                  <a:lnTo>
                    <a:pt x="54" y="1082"/>
                  </a:lnTo>
                  <a:lnTo>
                    <a:pt x="50" y="1094"/>
                  </a:lnTo>
                  <a:lnTo>
                    <a:pt x="44" y="1104"/>
                  </a:lnTo>
                  <a:lnTo>
                    <a:pt x="42" y="1106"/>
                  </a:lnTo>
                  <a:lnTo>
                    <a:pt x="42" y="1104"/>
                  </a:lnTo>
                  <a:lnTo>
                    <a:pt x="40" y="1100"/>
                  </a:lnTo>
                  <a:lnTo>
                    <a:pt x="38" y="1092"/>
                  </a:lnTo>
                  <a:lnTo>
                    <a:pt x="38" y="1084"/>
                  </a:lnTo>
                  <a:lnTo>
                    <a:pt x="36" y="1078"/>
                  </a:lnTo>
                  <a:lnTo>
                    <a:pt x="34" y="1078"/>
                  </a:lnTo>
                  <a:lnTo>
                    <a:pt x="30" y="1078"/>
                  </a:lnTo>
                  <a:lnTo>
                    <a:pt x="24" y="1088"/>
                  </a:lnTo>
                  <a:lnTo>
                    <a:pt x="18" y="1100"/>
                  </a:lnTo>
                  <a:lnTo>
                    <a:pt x="16" y="1110"/>
                  </a:lnTo>
                  <a:lnTo>
                    <a:pt x="18" y="1118"/>
                  </a:lnTo>
                  <a:lnTo>
                    <a:pt x="20" y="1126"/>
                  </a:lnTo>
                  <a:lnTo>
                    <a:pt x="22" y="1134"/>
                  </a:lnTo>
                  <a:lnTo>
                    <a:pt x="22" y="1144"/>
                  </a:lnTo>
                  <a:lnTo>
                    <a:pt x="20" y="1154"/>
                  </a:lnTo>
                  <a:lnTo>
                    <a:pt x="12" y="1170"/>
                  </a:lnTo>
                  <a:lnTo>
                    <a:pt x="8" y="1180"/>
                  </a:lnTo>
                  <a:lnTo>
                    <a:pt x="4" y="1188"/>
                  </a:lnTo>
                  <a:lnTo>
                    <a:pt x="4" y="1196"/>
                  </a:lnTo>
                  <a:lnTo>
                    <a:pt x="4" y="1204"/>
                  </a:lnTo>
                  <a:lnTo>
                    <a:pt x="8" y="1220"/>
                  </a:lnTo>
                  <a:lnTo>
                    <a:pt x="16" y="1236"/>
                  </a:lnTo>
                  <a:lnTo>
                    <a:pt x="34" y="1266"/>
                  </a:lnTo>
                  <a:lnTo>
                    <a:pt x="40" y="1280"/>
                  </a:lnTo>
                  <a:lnTo>
                    <a:pt x="40" y="1288"/>
                  </a:lnTo>
                  <a:lnTo>
                    <a:pt x="42" y="1294"/>
                  </a:lnTo>
                  <a:lnTo>
                    <a:pt x="40" y="1304"/>
                  </a:lnTo>
                  <a:lnTo>
                    <a:pt x="38" y="1304"/>
                  </a:lnTo>
                  <a:lnTo>
                    <a:pt x="36" y="1304"/>
                  </a:lnTo>
                  <a:lnTo>
                    <a:pt x="32" y="1298"/>
                  </a:lnTo>
                  <a:lnTo>
                    <a:pt x="26" y="1288"/>
                  </a:lnTo>
                  <a:lnTo>
                    <a:pt x="14" y="1268"/>
                  </a:lnTo>
                  <a:lnTo>
                    <a:pt x="10" y="1264"/>
                  </a:lnTo>
                  <a:lnTo>
                    <a:pt x="8" y="1264"/>
                  </a:lnTo>
                  <a:lnTo>
                    <a:pt x="6" y="1270"/>
                  </a:lnTo>
                  <a:lnTo>
                    <a:pt x="8" y="1276"/>
                  </a:lnTo>
                  <a:lnTo>
                    <a:pt x="14" y="1290"/>
                  </a:lnTo>
                  <a:lnTo>
                    <a:pt x="20" y="1304"/>
                  </a:lnTo>
                  <a:lnTo>
                    <a:pt x="22" y="1310"/>
                  </a:lnTo>
                  <a:lnTo>
                    <a:pt x="22" y="1316"/>
                  </a:lnTo>
                  <a:lnTo>
                    <a:pt x="20" y="1316"/>
                  </a:lnTo>
                  <a:lnTo>
                    <a:pt x="16" y="1312"/>
                  </a:lnTo>
                  <a:lnTo>
                    <a:pt x="10" y="1298"/>
                  </a:lnTo>
                  <a:lnTo>
                    <a:pt x="6" y="1292"/>
                  </a:lnTo>
                  <a:lnTo>
                    <a:pt x="2" y="1288"/>
                  </a:lnTo>
                  <a:lnTo>
                    <a:pt x="0" y="1290"/>
                  </a:lnTo>
                  <a:lnTo>
                    <a:pt x="0" y="1298"/>
                  </a:lnTo>
                  <a:lnTo>
                    <a:pt x="0" y="1306"/>
                  </a:lnTo>
                  <a:lnTo>
                    <a:pt x="4" y="1316"/>
                  </a:lnTo>
                  <a:lnTo>
                    <a:pt x="18" y="1334"/>
                  </a:lnTo>
                  <a:lnTo>
                    <a:pt x="30" y="1354"/>
                  </a:lnTo>
                  <a:lnTo>
                    <a:pt x="34" y="1364"/>
                  </a:lnTo>
                  <a:lnTo>
                    <a:pt x="36" y="1374"/>
                  </a:lnTo>
                  <a:lnTo>
                    <a:pt x="36" y="1390"/>
                  </a:lnTo>
                  <a:lnTo>
                    <a:pt x="40" y="1402"/>
                  </a:lnTo>
                  <a:lnTo>
                    <a:pt x="48" y="1414"/>
                  </a:lnTo>
                  <a:lnTo>
                    <a:pt x="60" y="1438"/>
                  </a:lnTo>
                  <a:lnTo>
                    <a:pt x="66" y="1452"/>
                  </a:lnTo>
                  <a:lnTo>
                    <a:pt x="68" y="1462"/>
                  </a:lnTo>
                  <a:lnTo>
                    <a:pt x="68" y="1482"/>
                  </a:lnTo>
                  <a:lnTo>
                    <a:pt x="70" y="1494"/>
                  </a:lnTo>
                  <a:lnTo>
                    <a:pt x="72" y="1510"/>
                  </a:lnTo>
                  <a:lnTo>
                    <a:pt x="76" y="1530"/>
                  </a:lnTo>
                  <a:lnTo>
                    <a:pt x="86" y="1556"/>
                  </a:lnTo>
                  <a:lnTo>
                    <a:pt x="96" y="1580"/>
                  </a:lnTo>
                  <a:lnTo>
                    <a:pt x="100" y="1598"/>
                  </a:lnTo>
                  <a:lnTo>
                    <a:pt x="102" y="1610"/>
                  </a:lnTo>
                  <a:lnTo>
                    <a:pt x="100" y="1620"/>
                  </a:lnTo>
                  <a:lnTo>
                    <a:pt x="96" y="1632"/>
                  </a:lnTo>
                  <a:lnTo>
                    <a:pt x="94" y="1638"/>
                  </a:lnTo>
                  <a:lnTo>
                    <a:pt x="94" y="1646"/>
                  </a:lnTo>
                  <a:lnTo>
                    <a:pt x="96" y="1656"/>
                  </a:lnTo>
                  <a:lnTo>
                    <a:pt x="96" y="1664"/>
                  </a:lnTo>
                  <a:lnTo>
                    <a:pt x="94" y="1672"/>
                  </a:lnTo>
                  <a:lnTo>
                    <a:pt x="92" y="1678"/>
                  </a:lnTo>
                  <a:lnTo>
                    <a:pt x="88" y="1682"/>
                  </a:lnTo>
                  <a:lnTo>
                    <a:pt x="84" y="1684"/>
                  </a:lnTo>
                  <a:lnTo>
                    <a:pt x="80" y="1684"/>
                  </a:lnTo>
                  <a:lnTo>
                    <a:pt x="74" y="1684"/>
                  </a:lnTo>
                  <a:lnTo>
                    <a:pt x="70" y="1684"/>
                  </a:lnTo>
                  <a:lnTo>
                    <a:pt x="68" y="1688"/>
                  </a:lnTo>
                  <a:lnTo>
                    <a:pt x="66" y="1694"/>
                  </a:lnTo>
                  <a:lnTo>
                    <a:pt x="66" y="1702"/>
                  </a:lnTo>
                  <a:lnTo>
                    <a:pt x="68" y="1710"/>
                  </a:lnTo>
                  <a:lnTo>
                    <a:pt x="70" y="1716"/>
                  </a:lnTo>
                  <a:lnTo>
                    <a:pt x="76" y="1722"/>
                  </a:lnTo>
                  <a:lnTo>
                    <a:pt x="82" y="1722"/>
                  </a:lnTo>
                  <a:lnTo>
                    <a:pt x="88" y="1722"/>
                  </a:lnTo>
                  <a:lnTo>
                    <a:pt x="92" y="1726"/>
                  </a:lnTo>
                  <a:lnTo>
                    <a:pt x="104" y="1738"/>
                  </a:lnTo>
                  <a:lnTo>
                    <a:pt x="114" y="1746"/>
                  </a:lnTo>
                  <a:lnTo>
                    <a:pt x="124" y="1754"/>
                  </a:lnTo>
                  <a:lnTo>
                    <a:pt x="138" y="1760"/>
                  </a:lnTo>
                  <a:lnTo>
                    <a:pt x="156" y="1762"/>
                  </a:lnTo>
                  <a:lnTo>
                    <a:pt x="174" y="1764"/>
                  </a:lnTo>
                  <a:lnTo>
                    <a:pt x="188" y="1760"/>
                  </a:lnTo>
                  <a:lnTo>
                    <a:pt x="200" y="1756"/>
                  </a:lnTo>
                  <a:lnTo>
                    <a:pt x="208" y="1750"/>
                  </a:lnTo>
                  <a:lnTo>
                    <a:pt x="222" y="1736"/>
                  </a:lnTo>
                  <a:lnTo>
                    <a:pt x="230" y="1732"/>
                  </a:lnTo>
                  <a:lnTo>
                    <a:pt x="238" y="1730"/>
                  </a:lnTo>
                  <a:lnTo>
                    <a:pt x="246" y="1728"/>
                  </a:lnTo>
                  <a:lnTo>
                    <a:pt x="252" y="1724"/>
                  </a:lnTo>
                  <a:lnTo>
                    <a:pt x="254" y="1720"/>
                  </a:lnTo>
                  <a:lnTo>
                    <a:pt x="258" y="1714"/>
                  </a:lnTo>
                  <a:lnTo>
                    <a:pt x="260" y="1708"/>
                  </a:lnTo>
                  <a:lnTo>
                    <a:pt x="264" y="1704"/>
                  </a:lnTo>
                  <a:lnTo>
                    <a:pt x="270" y="1702"/>
                  </a:lnTo>
                  <a:lnTo>
                    <a:pt x="278" y="1700"/>
                  </a:lnTo>
                  <a:lnTo>
                    <a:pt x="290" y="1700"/>
                  </a:lnTo>
                  <a:lnTo>
                    <a:pt x="300" y="1700"/>
                  </a:lnTo>
                  <a:lnTo>
                    <a:pt x="316" y="1696"/>
                  </a:lnTo>
                  <a:lnTo>
                    <a:pt x="322" y="1694"/>
                  </a:lnTo>
                  <a:lnTo>
                    <a:pt x="328" y="1694"/>
                  </a:lnTo>
                  <a:lnTo>
                    <a:pt x="336" y="1694"/>
                  </a:lnTo>
                  <a:lnTo>
                    <a:pt x="344" y="1698"/>
                  </a:lnTo>
                  <a:lnTo>
                    <a:pt x="354" y="1702"/>
                  </a:lnTo>
                  <a:lnTo>
                    <a:pt x="360" y="1704"/>
                  </a:lnTo>
                  <a:lnTo>
                    <a:pt x="364" y="1704"/>
                  </a:lnTo>
                  <a:lnTo>
                    <a:pt x="368" y="1702"/>
                  </a:lnTo>
                  <a:lnTo>
                    <a:pt x="372" y="1698"/>
                  </a:lnTo>
                  <a:lnTo>
                    <a:pt x="378" y="1698"/>
                  </a:lnTo>
                  <a:lnTo>
                    <a:pt x="386" y="1698"/>
                  </a:lnTo>
                  <a:lnTo>
                    <a:pt x="398" y="1702"/>
                  </a:lnTo>
                  <a:lnTo>
                    <a:pt x="406" y="1702"/>
                  </a:lnTo>
                  <a:lnTo>
                    <a:pt x="410" y="1702"/>
                  </a:lnTo>
                  <a:lnTo>
                    <a:pt x="416" y="1702"/>
                  </a:lnTo>
                  <a:lnTo>
                    <a:pt x="420" y="1698"/>
                  </a:lnTo>
                  <a:lnTo>
                    <a:pt x="426" y="1690"/>
                  </a:lnTo>
                  <a:lnTo>
                    <a:pt x="430" y="1678"/>
                  </a:lnTo>
                  <a:lnTo>
                    <a:pt x="434" y="1668"/>
                  </a:lnTo>
                  <a:lnTo>
                    <a:pt x="438" y="1656"/>
                  </a:lnTo>
                  <a:lnTo>
                    <a:pt x="446" y="1650"/>
                  </a:lnTo>
                  <a:lnTo>
                    <a:pt x="450" y="1646"/>
                  </a:lnTo>
                  <a:lnTo>
                    <a:pt x="454" y="1646"/>
                  </a:lnTo>
                  <a:lnTo>
                    <a:pt x="464" y="1644"/>
                  </a:lnTo>
                  <a:lnTo>
                    <a:pt x="472" y="1640"/>
                  </a:lnTo>
                  <a:lnTo>
                    <a:pt x="484" y="1628"/>
                  </a:lnTo>
                  <a:lnTo>
                    <a:pt x="492" y="1622"/>
                  </a:lnTo>
                  <a:lnTo>
                    <a:pt x="502" y="1616"/>
                  </a:lnTo>
                  <a:lnTo>
                    <a:pt x="514" y="1614"/>
                  </a:lnTo>
                  <a:lnTo>
                    <a:pt x="530" y="1614"/>
                  </a:lnTo>
                  <a:lnTo>
                    <a:pt x="544" y="1614"/>
                  </a:lnTo>
                  <a:lnTo>
                    <a:pt x="556" y="1614"/>
                  </a:lnTo>
                  <a:lnTo>
                    <a:pt x="578" y="1610"/>
                  </a:lnTo>
                  <a:lnTo>
                    <a:pt x="596" y="1602"/>
                  </a:lnTo>
                  <a:lnTo>
                    <a:pt x="614" y="1594"/>
                  </a:lnTo>
                  <a:lnTo>
                    <a:pt x="630" y="1586"/>
                  </a:lnTo>
                  <a:lnTo>
                    <a:pt x="644" y="1580"/>
                  </a:lnTo>
                  <a:lnTo>
                    <a:pt x="660" y="1574"/>
                  </a:lnTo>
                  <a:lnTo>
                    <a:pt x="668" y="1574"/>
                  </a:lnTo>
                  <a:lnTo>
                    <a:pt x="676" y="1574"/>
                  </a:lnTo>
                  <a:lnTo>
                    <a:pt x="696" y="1578"/>
                  </a:lnTo>
                  <a:lnTo>
                    <a:pt x="706" y="1576"/>
                  </a:lnTo>
                  <a:lnTo>
                    <a:pt x="712" y="1574"/>
                  </a:lnTo>
                  <a:lnTo>
                    <a:pt x="716" y="1572"/>
                  </a:lnTo>
                  <a:lnTo>
                    <a:pt x="718" y="1570"/>
                  </a:lnTo>
                  <a:lnTo>
                    <a:pt x="724" y="1572"/>
                  </a:lnTo>
                  <a:lnTo>
                    <a:pt x="752" y="1586"/>
                  </a:lnTo>
                  <a:lnTo>
                    <a:pt x="772" y="1596"/>
                  </a:lnTo>
                  <a:lnTo>
                    <a:pt x="786" y="1602"/>
                  </a:lnTo>
                  <a:lnTo>
                    <a:pt x="798" y="1606"/>
                  </a:lnTo>
                  <a:lnTo>
                    <a:pt x="806" y="1606"/>
                  </a:lnTo>
                  <a:lnTo>
                    <a:pt x="822" y="1608"/>
                  </a:lnTo>
                  <a:lnTo>
                    <a:pt x="828" y="1612"/>
                  </a:lnTo>
                  <a:lnTo>
                    <a:pt x="838" y="1618"/>
                  </a:lnTo>
                  <a:lnTo>
                    <a:pt x="846" y="1626"/>
                  </a:lnTo>
                  <a:lnTo>
                    <a:pt x="848" y="1632"/>
                  </a:lnTo>
                  <a:lnTo>
                    <a:pt x="848" y="1636"/>
                  </a:lnTo>
                  <a:lnTo>
                    <a:pt x="846" y="1642"/>
                  </a:lnTo>
                  <a:lnTo>
                    <a:pt x="844" y="1646"/>
                  </a:lnTo>
                  <a:lnTo>
                    <a:pt x="844" y="1650"/>
                  </a:lnTo>
                  <a:lnTo>
                    <a:pt x="848" y="1656"/>
                  </a:lnTo>
                  <a:lnTo>
                    <a:pt x="860" y="1662"/>
                  </a:lnTo>
                  <a:lnTo>
                    <a:pt x="866" y="1666"/>
                  </a:lnTo>
                  <a:lnTo>
                    <a:pt x="870" y="1672"/>
                  </a:lnTo>
                  <a:lnTo>
                    <a:pt x="876" y="1682"/>
                  </a:lnTo>
                  <a:lnTo>
                    <a:pt x="880" y="1694"/>
                  </a:lnTo>
                  <a:lnTo>
                    <a:pt x="882" y="1708"/>
                  </a:lnTo>
                  <a:lnTo>
                    <a:pt x="884" y="1722"/>
                  </a:lnTo>
                  <a:lnTo>
                    <a:pt x="886" y="1732"/>
                  </a:lnTo>
                  <a:lnTo>
                    <a:pt x="892" y="1742"/>
                  </a:lnTo>
                  <a:lnTo>
                    <a:pt x="894" y="1746"/>
                  </a:lnTo>
                  <a:lnTo>
                    <a:pt x="900" y="1748"/>
                  </a:lnTo>
                  <a:lnTo>
                    <a:pt x="914" y="1756"/>
                  </a:lnTo>
                  <a:lnTo>
                    <a:pt x="914" y="1758"/>
                  </a:lnTo>
                  <a:lnTo>
                    <a:pt x="914" y="1756"/>
                  </a:lnTo>
                  <a:lnTo>
                    <a:pt x="914" y="1750"/>
                  </a:lnTo>
                  <a:lnTo>
                    <a:pt x="916" y="1742"/>
                  </a:lnTo>
                  <a:lnTo>
                    <a:pt x="920" y="1730"/>
                  </a:lnTo>
                  <a:lnTo>
                    <a:pt x="932" y="1716"/>
                  </a:lnTo>
                  <a:lnTo>
                    <a:pt x="944" y="1702"/>
                  </a:lnTo>
                  <a:lnTo>
                    <a:pt x="952" y="1694"/>
                  </a:lnTo>
                  <a:lnTo>
                    <a:pt x="958" y="1690"/>
                  </a:lnTo>
                  <a:lnTo>
                    <a:pt x="962" y="1690"/>
                  </a:lnTo>
                  <a:lnTo>
                    <a:pt x="964" y="1690"/>
                  </a:lnTo>
                  <a:lnTo>
                    <a:pt x="966" y="1680"/>
                  </a:lnTo>
                  <a:lnTo>
                    <a:pt x="968" y="1672"/>
                  </a:lnTo>
                  <a:lnTo>
                    <a:pt x="972" y="1666"/>
                  </a:lnTo>
                  <a:lnTo>
                    <a:pt x="980" y="1658"/>
                  </a:lnTo>
                  <a:lnTo>
                    <a:pt x="986" y="1650"/>
                  </a:lnTo>
                  <a:lnTo>
                    <a:pt x="988" y="1646"/>
                  </a:lnTo>
                  <a:lnTo>
                    <a:pt x="990" y="1640"/>
                  </a:lnTo>
                  <a:lnTo>
                    <a:pt x="990" y="1632"/>
                  </a:lnTo>
                  <a:lnTo>
                    <a:pt x="990" y="1630"/>
                  </a:lnTo>
                  <a:lnTo>
                    <a:pt x="990" y="1632"/>
                  </a:lnTo>
                  <a:lnTo>
                    <a:pt x="998" y="1646"/>
                  </a:lnTo>
                  <a:lnTo>
                    <a:pt x="998" y="1654"/>
                  </a:lnTo>
                  <a:lnTo>
                    <a:pt x="996" y="1664"/>
                  </a:lnTo>
                  <a:lnTo>
                    <a:pt x="988" y="1686"/>
                  </a:lnTo>
                  <a:lnTo>
                    <a:pt x="980" y="1710"/>
                  </a:lnTo>
                  <a:lnTo>
                    <a:pt x="978" y="1718"/>
                  </a:lnTo>
                  <a:lnTo>
                    <a:pt x="978" y="1726"/>
                  </a:lnTo>
                  <a:lnTo>
                    <a:pt x="980" y="1736"/>
                  </a:lnTo>
                  <a:lnTo>
                    <a:pt x="980" y="1746"/>
                  </a:lnTo>
                  <a:lnTo>
                    <a:pt x="976" y="1750"/>
                  </a:lnTo>
                  <a:lnTo>
                    <a:pt x="972" y="1752"/>
                  </a:lnTo>
                  <a:lnTo>
                    <a:pt x="968" y="1752"/>
                  </a:lnTo>
                  <a:lnTo>
                    <a:pt x="964" y="1754"/>
                  </a:lnTo>
                  <a:lnTo>
                    <a:pt x="960" y="1756"/>
                  </a:lnTo>
                  <a:lnTo>
                    <a:pt x="956" y="1758"/>
                  </a:lnTo>
                  <a:lnTo>
                    <a:pt x="954" y="1762"/>
                  </a:lnTo>
                  <a:lnTo>
                    <a:pt x="954" y="1766"/>
                  </a:lnTo>
                  <a:lnTo>
                    <a:pt x="958" y="1770"/>
                  </a:lnTo>
                  <a:lnTo>
                    <a:pt x="962" y="1770"/>
                  </a:lnTo>
                  <a:lnTo>
                    <a:pt x="972" y="1770"/>
                  </a:lnTo>
                  <a:lnTo>
                    <a:pt x="978" y="1770"/>
                  </a:lnTo>
                  <a:lnTo>
                    <a:pt x="982" y="1766"/>
                  </a:lnTo>
                  <a:lnTo>
                    <a:pt x="990" y="1758"/>
                  </a:lnTo>
                  <a:lnTo>
                    <a:pt x="994" y="1750"/>
                  </a:lnTo>
                  <a:lnTo>
                    <a:pt x="996" y="1740"/>
                  </a:lnTo>
                  <a:lnTo>
                    <a:pt x="1000" y="1730"/>
                  </a:lnTo>
                  <a:lnTo>
                    <a:pt x="1002" y="1726"/>
                  </a:lnTo>
                  <a:lnTo>
                    <a:pt x="1004" y="1726"/>
                  </a:lnTo>
                  <a:lnTo>
                    <a:pt x="1006" y="1726"/>
                  </a:lnTo>
                  <a:lnTo>
                    <a:pt x="1012" y="1734"/>
                  </a:lnTo>
                  <a:lnTo>
                    <a:pt x="1016" y="1744"/>
                  </a:lnTo>
                  <a:lnTo>
                    <a:pt x="1018" y="1754"/>
                  </a:lnTo>
                  <a:lnTo>
                    <a:pt x="1016" y="1762"/>
                  </a:lnTo>
                  <a:lnTo>
                    <a:pt x="1014" y="1770"/>
                  </a:lnTo>
                  <a:lnTo>
                    <a:pt x="1006" y="1784"/>
                  </a:lnTo>
                  <a:lnTo>
                    <a:pt x="1004" y="1788"/>
                  </a:lnTo>
                  <a:lnTo>
                    <a:pt x="1006" y="1792"/>
                  </a:lnTo>
                  <a:lnTo>
                    <a:pt x="1008" y="1794"/>
                  </a:lnTo>
                  <a:lnTo>
                    <a:pt x="1012" y="1794"/>
                  </a:lnTo>
                  <a:lnTo>
                    <a:pt x="1020" y="1792"/>
                  </a:lnTo>
                  <a:lnTo>
                    <a:pt x="1030" y="1792"/>
                  </a:lnTo>
                  <a:lnTo>
                    <a:pt x="1036" y="1792"/>
                  </a:lnTo>
                  <a:lnTo>
                    <a:pt x="1042" y="1794"/>
                  </a:lnTo>
                  <a:lnTo>
                    <a:pt x="1048" y="1800"/>
                  </a:lnTo>
                  <a:lnTo>
                    <a:pt x="1054" y="1806"/>
                  </a:lnTo>
                  <a:lnTo>
                    <a:pt x="1060" y="1814"/>
                  </a:lnTo>
                  <a:lnTo>
                    <a:pt x="1066" y="1824"/>
                  </a:lnTo>
                  <a:lnTo>
                    <a:pt x="1070" y="1832"/>
                  </a:lnTo>
                  <a:lnTo>
                    <a:pt x="1072" y="1842"/>
                  </a:lnTo>
                  <a:lnTo>
                    <a:pt x="1072" y="1850"/>
                  </a:lnTo>
                  <a:lnTo>
                    <a:pt x="1070" y="1858"/>
                  </a:lnTo>
                  <a:lnTo>
                    <a:pt x="1068" y="1866"/>
                  </a:lnTo>
                  <a:lnTo>
                    <a:pt x="1068" y="1874"/>
                  </a:lnTo>
                  <a:lnTo>
                    <a:pt x="1074" y="1886"/>
                  </a:lnTo>
                  <a:lnTo>
                    <a:pt x="1080" y="1896"/>
                  </a:lnTo>
                  <a:lnTo>
                    <a:pt x="1088" y="1904"/>
                  </a:lnTo>
                  <a:lnTo>
                    <a:pt x="1098" y="1914"/>
                  </a:lnTo>
                  <a:lnTo>
                    <a:pt x="1106" y="1920"/>
                  </a:lnTo>
                  <a:lnTo>
                    <a:pt x="1114" y="1924"/>
                  </a:lnTo>
                  <a:lnTo>
                    <a:pt x="1120" y="1926"/>
                  </a:lnTo>
                  <a:lnTo>
                    <a:pt x="1126" y="1930"/>
                  </a:lnTo>
                  <a:lnTo>
                    <a:pt x="1134" y="1938"/>
                  </a:lnTo>
                  <a:lnTo>
                    <a:pt x="1138" y="1944"/>
                  </a:lnTo>
                  <a:lnTo>
                    <a:pt x="1142" y="1944"/>
                  </a:lnTo>
                  <a:lnTo>
                    <a:pt x="1146" y="1942"/>
                  </a:lnTo>
                  <a:lnTo>
                    <a:pt x="1152" y="1936"/>
                  </a:lnTo>
                  <a:lnTo>
                    <a:pt x="1156" y="1936"/>
                  </a:lnTo>
                  <a:lnTo>
                    <a:pt x="1160" y="1936"/>
                  </a:lnTo>
                  <a:lnTo>
                    <a:pt x="1176" y="1942"/>
                  </a:lnTo>
                  <a:lnTo>
                    <a:pt x="1198" y="1956"/>
                  </a:lnTo>
                  <a:lnTo>
                    <a:pt x="1210" y="1962"/>
                  </a:lnTo>
                  <a:lnTo>
                    <a:pt x="1218" y="1964"/>
                  </a:lnTo>
                  <a:lnTo>
                    <a:pt x="1224" y="1964"/>
                  </a:lnTo>
                  <a:lnTo>
                    <a:pt x="1230" y="1960"/>
                  </a:lnTo>
                  <a:lnTo>
                    <a:pt x="1238" y="1952"/>
                  </a:lnTo>
                  <a:lnTo>
                    <a:pt x="1244" y="1946"/>
                  </a:lnTo>
                  <a:lnTo>
                    <a:pt x="1252" y="1940"/>
                  </a:lnTo>
                  <a:lnTo>
                    <a:pt x="1260" y="1936"/>
                  </a:lnTo>
                  <a:lnTo>
                    <a:pt x="1264" y="1930"/>
                  </a:lnTo>
                  <a:lnTo>
                    <a:pt x="1270" y="1920"/>
                  </a:lnTo>
                  <a:lnTo>
                    <a:pt x="1270" y="1918"/>
                  </a:lnTo>
                  <a:lnTo>
                    <a:pt x="1272" y="1916"/>
                  </a:lnTo>
                  <a:lnTo>
                    <a:pt x="1276" y="1916"/>
                  </a:lnTo>
                  <a:lnTo>
                    <a:pt x="1282" y="1918"/>
                  </a:lnTo>
                  <a:lnTo>
                    <a:pt x="1286" y="1924"/>
                  </a:lnTo>
                  <a:lnTo>
                    <a:pt x="1288" y="1928"/>
                  </a:lnTo>
                  <a:lnTo>
                    <a:pt x="1284" y="1930"/>
                  </a:lnTo>
                  <a:lnTo>
                    <a:pt x="1280" y="1934"/>
                  </a:lnTo>
                  <a:lnTo>
                    <a:pt x="1274" y="1940"/>
                  </a:lnTo>
                  <a:lnTo>
                    <a:pt x="1274" y="1944"/>
                  </a:lnTo>
                  <a:lnTo>
                    <a:pt x="1278" y="1946"/>
                  </a:lnTo>
                  <a:lnTo>
                    <a:pt x="1282" y="1948"/>
                  </a:lnTo>
                  <a:lnTo>
                    <a:pt x="1288" y="1948"/>
                  </a:lnTo>
                  <a:lnTo>
                    <a:pt x="1290" y="1944"/>
                  </a:lnTo>
                  <a:lnTo>
                    <a:pt x="1292" y="1942"/>
                  </a:lnTo>
                  <a:lnTo>
                    <a:pt x="1296" y="1936"/>
                  </a:lnTo>
                  <a:lnTo>
                    <a:pt x="1296" y="1942"/>
                  </a:lnTo>
                  <a:lnTo>
                    <a:pt x="1298" y="1948"/>
                  </a:lnTo>
                  <a:lnTo>
                    <a:pt x="1300" y="1952"/>
                  </a:lnTo>
                  <a:lnTo>
                    <a:pt x="1306" y="1956"/>
                  </a:lnTo>
                  <a:lnTo>
                    <a:pt x="1316" y="1964"/>
                  </a:lnTo>
                  <a:lnTo>
                    <a:pt x="1324" y="1970"/>
                  </a:lnTo>
                  <a:lnTo>
                    <a:pt x="1334" y="1982"/>
                  </a:lnTo>
                  <a:lnTo>
                    <a:pt x="1338" y="1988"/>
                  </a:lnTo>
                  <a:lnTo>
                    <a:pt x="1340" y="1988"/>
                  </a:lnTo>
                  <a:lnTo>
                    <a:pt x="1340" y="1980"/>
                  </a:lnTo>
                  <a:lnTo>
                    <a:pt x="1340" y="1974"/>
                  </a:lnTo>
                  <a:lnTo>
                    <a:pt x="1340" y="1968"/>
                  </a:lnTo>
                  <a:lnTo>
                    <a:pt x="1342" y="1962"/>
                  </a:lnTo>
                  <a:lnTo>
                    <a:pt x="1346" y="1960"/>
                  </a:lnTo>
                  <a:lnTo>
                    <a:pt x="1354" y="1956"/>
                  </a:lnTo>
                  <a:lnTo>
                    <a:pt x="1362" y="1950"/>
                  </a:lnTo>
                  <a:lnTo>
                    <a:pt x="1386" y="1930"/>
                  </a:lnTo>
                  <a:lnTo>
                    <a:pt x="1398" y="1920"/>
                  </a:lnTo>
                  <a:lnTo>
                    <a:pt x="1412" y="1912"/>
                  </a:lnTo>
                  <a:lnTo>
                    <a:pt x="1428" y="1908"/>
                  </a:lnTo>
                  <a:lnTo>
                    <a:pt x="1434" y="1908"/>
                  </a:lnTo>
                  <a:lnTo>
                    <a:pt x="1442" y="1908"/>
                  </a:lnTo>
                  <a:lnTo>
                    <a:pt x="1456" y="1910"/>
                  </a:lnTo>
                  <a:lnTo>
                    <a:pt x="1466" y="1906"/>
                  </a:lnTo>
                  <a:lnTo>
                    <a:pt x="1474" y="1902"/>
                  </a:lnTo>
                  <a:lnTo>
                    <a:pt x="1478" y="1896"/>
                  </a:lnTo>
                  <a:lnTo>
                    <a:pt x="1482" y="1890"/>
                  </a:lnTo>
                  <a:lnTo>
                    <a:pt x="1482" y="1884"/>
                  </a:lnTo>
                  <a:lnTo>
                    <a:pt x="1482" y="1878"/>
                  </a:lnTo>
                  <a:lnTo>
                    <a:pt x="1478" y="1874"/>
                  </a:lnTo>
                  <a:lnTo>
                    <a:pt x="1476" y="1870"/>
                  </a:lnTo>
                  <a:lnTo>
                    <a:pt x="1476" y="1866"/>
                  </a:lnTo>
                  <a:lnTo>
                    <a:pt x="1480" y="1856"/>
                  </a:lnTo>
                  <a:lnTo>
                    <a:pt x="1486" y="1842"/>
                  </a:lnTo>
                  <a:lnTo>
                    <a:pt x="1488" y="1836"/>
                  </a:lnTo>
                  <a:lnTo>
                    <a:pt x="1488" y="1828"/>
                  </a:lnTo>
                  <a:lnTo>
                    <a:pt x="1490" y="1812"/>
                  </a:lnTo>
                  <a:lnTo>
                    <a:pt x="1494" y="1794"/>
                  </a:lnTo>
                  <a:lnTo>
                    <a:pt x="1502" y="1776"/>
                  </a:lnTo>
                  <a:lnTo>
                    <a:pt x="1506" y="1770"/>
                  </a:lnTo>
                  <a:lnTo>
                    <a:pt x="1510" y="1766"/>
                  </a:lnTo>
                  <a:lnTo>
                    <a:pt x="1514" y="1760"/>
                  </a:lnTo>
                  <a:lnTo>
                    <a:pt x="1518" y="1750"/>
                  </a:lnTo>
                  <a:lnTo>
                    <a:pt x="1526" y="1718"/>
                  </a:lnTo>
                  <a:lnTo>
                    <a:pt x="1530" y="1700"/>
                  </a:lnTo>
                  <a:lnTo>
                    <a:pt x="1538" y="1680"/>
                  </a:lnTo>
                  <a:lnTo>
                    <a:pt x="1548" y="1662"/>
                  </a:lnTo>
                  <a:lnTo>
                    <a:pt x="1554" y="1654"/>
                  </a:lnTo>
                  <a:lnTo>
                    <a:pt x="1562" y="1646"/>
                  </a:lnTo>
                  <a:lnTo>
                    <a:pt x="1574" y="1634"/>
                  </a:lnTo>
                  <a:lnTo>
                    <a:pt x="1582" y="1626"/>
                  </a:lnTo>
                  <a:lnTo>
                    <a:pt x="1586" y="1618"/>
                  </a:lnTo>
                  <a:lnTo>
                    <a:pt x="1588" y="1612"/>
                  </a:lnTo>
                  <a:lnTo>
                    <a:pt x="1588" y="1604"/>
                  </a:lnTo>
                  <a:lnTo>
                    <a:pt x="1590" y="1598"/>
                  </a:lnTo>
                  <a:lnTo>
                    <a:pt x="1594" y="1590"/>
                  </a:lnTo>
                  <a:lnTo>
                    <a:pt x="1598" y="1576"/>
                  </a:lnTo>
                  <a:lnTo>
                    <a:pt x="1602" y="1566"/>
                  </a:lnTo>
                  <a:lnTo>
                    <a:pt x="1602" y="1556"/>
                  </a:lnTo>
                  <a:lnTo>
                    <a:pt x="1602" y="1546"/>
                  </a:lnTo>
                  <a:lnTo>
                    <a:pt x="1602" y="1532"/>
                  </a:lnTo>
                  <a:lnTo>
                    <a:pt x="1604" y="1524"/>
                  </a:lnTo>
                  <a:lnTo>
                    <a:pt x="1606" y="1516"/>
                  </a:lnTo>
                  <a:lnTo>
                    <a:pt x="1612" y="1504"/>
                  </a:lnTo>
                  <a:lnTo>
                    <a:pt x="1614" y="1494"/>
                  </a:lnTo>
                  <a:lnTo>
                    <a:pt x="1616" y="1476"/>
                  </a:lnTo>
                  <a:lnTo>
                    <a:pt x="1618" y="1458"/>
                  </a:lnTo>
                  <a:lnTo>
                    <a:pt x="1620" y="1448"/>
                  </a:lnTo>
                  <a:lnTo>
                    <a:pt x="1626" y="1438"/>
                  </a:lnTo>
                  <a:lnTo>
                    <a:pt x="1628" y="1432"/>
                  </a:lnTo>
                  <a:lnTo>
                    <a:pt x="1630" y="1426"/>
                  </a:lnTo>
                  <a:lnTo>
                    <a:pt x="1628" y="1412"/>
                  </a:lnTo>
                  <a:lnTo>
                    <a:pt x="1626" y="1398"/>
                  </a:lnTo>
                  <a:lnTo>
                    <a:pt x="1622" y="1384"/>
                  </a:lnTo>
                  <a:lnTo>
                    <a:pt x="1612" y="1358"/>
                  </a:lnTo>
                  <a:lnTo>
                    <a:pt x="1610" y="1350"/>
                  </a:lnTo>
                  <a:lnTo>
                    <a:pt x="1610" y="1344"/>
                  </a:lnTo>
                  <a:close/>
                  <a:moveTo>
                    <a:pt x="1412" y="2026"/>
                  </a:moveTo>
                  <a:lnTo>
                    <a:pt x="1412" y="2026"/>
                  </a:lnTo>
                  <a:lnTo>
                    <a:pt x="1408" y="2024"/>
                  </a:lnTo>
                  <a:lnTo>
                    <a:pt x="1406" y="2020"/>
                  </a:lnTo>
                  <a:lnTo>
                    <a:pt x="1404" y="2016"/>
                  </a:lnTo>
                  <a:lnTo>
                    <a:pt x="1402" y="2014"/>
                  </a:lnTo>
                  <a:lnTo>
                    <a:pt x="1400" y="2014"/>
                  </a:lnTo>
                  <a:lnTo>
                    <a:pt x="1396" y="2018"/>
                  </a:lnTo>
                  <a:lnTo>
                    <a:pt x="1392" y="2022"/>
                  </a:lnTo>
                  <a:lnTo>
                    <a:pt x="1392" y="2024"/>
                  </a:lnTo>
                  <a:lnTo>
                    <a:pt x="1394" y="2024"/>
                  </a:lnTo>
                  <a:lnTo>
                    <a:pt x="1396" y="2026"/>
                  </a:lnTo>
                  <a:lnTo>
                    <a:pt x="1398" y="2028"/>
                  </a:lnTo>
                  <a:lnTo>
                    <a:pt x="1400" y="2038"/>
                  </a:lnTo>
                  <a:lnTo>
                    <a:pt x="1402" y="2040"/>
                  </a:lnTo>
                  <a:lnTo>
                    <a:pt x="1404" y="2042"/>
                  </a:lnTo>
                  <a:lnTo>
                    <a:pt x="1410" y="2044"/>
                  </a:lnTo>
                  <a:lnTo>
                    <a:pt x="1414" y="2042"/>
                  </a:lnTo>
                  <a:lnTo>
                    <a:pt x="1414" y="2040"/>
                  </a:lnTo>
                  <a:lnTo>
                    <a:pt x="1414" y="2036"/>
                  </a:lnTo>
                  <a:lnTo>
                    <a:pt x="1412" y="2034"/>
                  </a:lnTo>
                  <a:lnTo>
                    <a:pt x="1412" y="2032"/>
                  </a:lnTo>
                  <a:lnTo>
                    <a:pt x="1414" y="2030"/>
                  </a:lnTo>
                  <a:lnTo>
                    <a:pt x="1416" y="2028"/>
                  </a:lnTo>
                  <a:lnTo>
                    <a:pt x="1412" y="2026"/>
                  </a:lnTo>
                  <a:close/>
                  <a:moveTo>
                    <a:pt x="1708" y="300"/>
                  </a:moveTo>
                  <a:lnTo>
                    <a:pt x="1708" y="300"/>
                  </a:lnTo>
                  <a:lnTo>
                    <a:pt x="1704" y="298"/>
                  </a:lnTo>
                  <a:lnTo>
                    <a:pt x="1700" y="294"/>
                  </a:lnTo>
                  <a:lnTo>
                    <a:pt x="1694" y="284"/>
                  </a:lnTo>
                  <a:lnTo>
                    <a:pt x="1688" y="274"/>
                  </a:lnTo>
                  <a:lnTo>
                    <a:pt x="1686" y="272"/>
                  </a:lnTo>
                  <a:lnTo>
                    <a:pt x="1682" y="268"/>
                  </a:lnTo>
                  <a:lnTo>
                    <a:pt x="1678" y="266"/>
                  </a:lnTo>
                  <a:lnTo>
                    <a:pt x="1676" y="262"/>
                  </a:lnTo>
                  <a:lnTo>
                    <a:pt x="1672" y="252"/>
                  </a:lnTo>
                  <a:lnTo>
                    <a:pt x="1668" y="244"/>
                  </a:lnTo>
                  <a:lnTo>
                    <a:pt x="1668" y="242"/>
                  </a:lnTo>
                  <a:lnTo>
                    <a:pt x="1664" y="244"/>
                  </a:lnTo>
                  <a:lnTo>
                    <a:pt x="1662" y="248"/>
                  </a:lnTo>
                  <a:lnTo>
                    <a:pt x="1662" y="250"/>
                  </a:lnTo>
                  <a:lnTo>
                    <a:pt x="1666" y="256"/>
                  </a:lnTo>
                  <a:lnTo>
                    <a:pt x="1670" y="264"/>
                  </a:lnTo>
                  <a:lnTo>
                    <a:pt x="1672" y="268"/>
                  </a:lnTo>
                  <a:lnTo>
                    <a:pt x="1672" y="276"/>
                  </a:lnTo>
                  <a:lnTo>
                    <a:pt x="1672" y="282"/>
                  </a:lnTo>
                  <a:lnTo>
                    <a:pt x="1672" y="288"/>
                  </a:lnTo>
                  <a:lnTo>
                    <a:pt x="1680" y="298"/>
                  </a:lnTo>
                  <a:lnTo>
                    <a:pt x="1688" y="306"/>
                  </a:lnTo>
                  <a:lnTo>
                    <a:pt x="1690" y="310"/>
                  </a:lnTo>
                  <a:lnTo>
                    <a:pt x="1692" y="316"/>
                  </a:lnTo>
                  <a:lnTo>
                    <a:pt x="1694" y="324"/>
                  </a:lnTo>
                  <a:lnTo>
                    <a:pt x="1700" y="330"/>
                  </a:lnTo>
                  <a:lnTo>
                    <a:pt x="1708" y="332"/>
                  </a:lnTo>
                  <a:lnTo>
                    <a:pt x="1716" y="330"/>
                  </a:lnTo>
                  <a:lnTo>
                    <a:pt x="1720" y="328"/>
                  </a:lnTo>
                  <a:lnTo>
                    <a:pt x="1722" y="326"/>
                  </a:lnTo>
                  <a:lnTo>
                    <a:pt x="1722" y="322"/>
                  </a:lnTo>
                  <a:lnTo>
                    <a:pt x="1720" y="316"/>
                  </a:lnTo>
                  <a:lnTo>
                    <a:pt x="1716" y="306"/>
                  </a:lnTo>
                  <a:lnTo>
                    <a:pt x="1712" y="304"/>
                  </a:lnTo>
                  <a:lnTo>
                    <a:pt x="1708" y="300"/>
                  </a:lnTo>
                  <a:close/>
                  <a:moveTo>
                    <a:pt x="1712" y="342"/>
                  </a:moveTo>
                  <a:lnTo>
                    <a:pt x="1712" y="342"/>
                  </a:lnTo>
                  <a:lnTo>
                    <a:pt x="1712" y="346"/>
                  </a:lnTo>
                  <a:lnTo>
                    <a:pt x="1716" y="346"/>
                  </a:lnTo>
                  <a:lnTo>
                    <a:pt x="1718" y="346"/>
                  </a:lnTo>
                  <a:lnTo>
                    <a:pt x="1720" y="344"/>
                  </a:lnTo>
                  <a:lnTo>
                    <a:pt x="1718" y="340"/>
                  </a:lnTo>
                  <a:lnTo>
                    <a:pt x="1716" y="338"/>
                  </a:lnTo>
                  <a:lnTo>
                    <a:pt x="1712" y="340"/>
                  </a:lnTo>
                  <a:lnTo>
                    <a:pt x="1712" y="342"/>
                  </a:lnTo>
                  <a:close/>
                  <a:moveTo>
                    <a:pt x="1238" y="2006"/>
                  </a:moveTo>
                  <a:lnTo>
                    <a:pt x="1238" y="2006"/>
                  </a:lnTo>
                  <a:lnTo>
                    <a:pt x="1236" y="2012"/>
                  </a:lnTo>
                  <a:lnTo>
                    <a:pt x="1234" y="2024"/>
                  </a:lnTo>
                  <a:lnTo>
                    <a:pt x="1236" y="2032"/>
                  </a:lnTo>
                  <a:lnTo>
                    <a:pt x="1240" y="2034"/>
                  </a:lnTo>
                  <a:lnTo>
                    <a:pt x="1242" y="2032"/>
                  </a:lnTo>
                  <a:lnTo>
                    <a:pt x="1244" y="2028"/>
                  </a:lnTo>
                  <a:lnTo>
                    <a:pt x="1246" y="2024"/>
                  </a:lnTo>
                  <a:lnTo>
                    <a:pt x="1246" y="2014"/>
                  </a:lnTo>
                  <a:lnTo>
                    <a:pt x="1242" y="2006"/>
                  </a:lnTo>
                  <a:lnTo>
                    <a:pt x="1240" y="2004"/>
                  </a:lnTo>
                  <a:lnTo>
                    <a:pt x="1238" y="2006"/>
                  </a:lnTo>
                  <a:close/>
                  <a:moveTo>
                    <a:pt x="1414" y="2116"/>
                  </a:moveTo>
                  <a:lnTo>
                    <a:pt x="1414" y="2116"/>
                  </a:lnTo>
                  <a:lnTo>
                    <a:pt x="1414" y="2106"/>
                  </a:lnTo>
                  <a:lnTo>
                    <a:pt x="1414" y="2096"/>
                  </a:lnTo>
                  <a:lnTo>
                    <a:pt x="1414" y="2088"/>
                  </a:lnTo>
                  <a:lnTo>
                    <a:pt x="1412" y="2082"/>
                  </a:lnTo>
                  <a:lnTo>
                    <a:pt x="1408" y="2076"/>
                  </a:lnTo>
                  <a:lnTo>
                    <a:pt x="1406" y="2072"/>
                  </a:lnTo>
                  <a:lnTo>
                    <a:pt x="1402" y="2072"/>
                  </a:lnTo>
                  <a:lnTo>
                    <a:pt x="1400" y="2074"/>
                  </a:lnTo>
                  <a:lnTo>
                    <a:pt x="1398" y="2078"/>
                  </a:lnTo>
                  <a:lnTo>
                    <a:pt x="1396" y="2078"/>
                  </a:lnTo>
                  <a:lnTo>
                    <a:pt x="1392" y="2076"/>
                  </a:lnTo>
                  <a:lnTo>
                    <a:pt x="1388" y="2076"/>
                  </a:lnTo>
                  <a:lnTo>
                    <a:pt x="1386" y="2078"/>
                  </a:lnTo>
                  <a:lnTo>
                    <a:pt x="1382" y="2080"/>
                  </a:lnTo>
                  <a:lnTo>
                    <a:pt x="1380" y="2082"/>
                  </a:lnTo>
                  <a:lnTo>
                    <a:pt x="1378" y="2082"/>
                  </a:lnTo>
                  <a:lnTo>
                    <a:pt x="1370" y="2082"/>
                  </a:lnTo>
                  <a:lnTo>
                    <a:pt x="1352" y="2088"/>
                  </a:lnTo>
                  <a:lnTo>
                    <a:pt x="1340" y="2092"/>
                  </a:lnTo>
                  <a:lnTo>
                    <a:pt x="1332" y="2094"/>
                  </a:lnTo>
                  <a:lnTo>
                    <a:pt x="1324" y="2092"/>
                  </a:lnTo>
                  <a:lnTo>
                    <a:pt x="1320" y="2088"/>
                  </a:lnTo>
                  <a:lnTo>
                    <a:pt x="1310" y="2080"/>
                  </a:lnTo>
                  <a:lnTo>
                    <a:pt x="1304" y="2076"/>
                  </a:lnTo>
                  <a:lnTo>
                    <a:pt x="1296" y="2076"/>
                  </a:lnTo>
                  <a:lnTo>
                    <a:pt x="1288" y="2074"/>
                  </a:lnTo>
                  <a:lnTo>
                    <a:pt x="1282" y="2072"/>
                  </a:lnTo>
                  <a:lnTo>
                    <a:pt x="1274" y="2066"/>
                  </a:lnTo>
                  <a:lnTo>
                    <a:pt x="1272" y="2064"/>
                  </a:lnTo>
                  <a:lnTo>
                    <a:pt x="1270" y="2064"/>
                  </a:lnTo>
                  <a:lnTo>
                    <a:pt x="1266" y="2078"/>
                  </a:lnTo>
                  <a:lnTo>
                    <a:pt x="1264" y="2086"/>
                  </a:lnTo>
                  <a:lnTo>
                    <a:pt x="1266" y="2094"/>
                  </a:lnTo>
                  <a:lnTo>
                    <a:pt x="1276" y="2118"/>
                  </a:lnTo>
                  <a:lnTo>
                    <a:pt x="1280" y="2130"/>
                  </a:lnTo>
                  <a:lnTo>
                    <a:pt x="1284" y="2134"/>
                  </a:lnTo>
                  <a:lnTo>
                    <a:pt x="1288" y="2136"/>
                  </a:lnTo>
                  <a:lnTo>
                    <a:pt x="1288" y="2144"/>
                  </a:lnTo>
                  <a:lnTo>
                    <a:pt x="1288" y="2158"/>
                  </a:lnTo>
                  <a:lnTo>
                    <a:pt x="1292" y="2174"/>
                  </a:lnTo>
                  <a:lnTo>
                    <a:pt x="1296" y="2186"/>
                  </a:lnTo>
                  <a:lnTo>
                    <a:pt x="1300" y="2192"/>
                  </a:lnTo>
                  <a:lnTo>
                    <a:pt x="1304" y="2198"/>
                  </a:lnTo>
                  <a:lnTo>
                    <a:pt x="1310" y="2202"/>
                  </a:lnTo>
                  <a:lnTo>
                    <a:pt x="1312" y="2206"/>
                  </a:lnTo>
                  <a:lnTo>
                    <a:pt x="1318" y="2216"/>
                  </a:lnTo>
                  <a:lnTo>
                    <a:pt x="1322" y="2224"/>
                  </a:lnTo>
                  <a:lnTo>
                    <a:pt x="1324" y="2226"/>
                  </a:lnTo>
                  <a:lnTo>
                    <a:pt x="1328" y="2226"/>
                  </a:lnTo>
                  <a:lnTo>
                    <a:pt x="1332" y="2226"/>
                  </a:lnTo>
                  <a:lnTo>
                    <a:pt x="1338" y="2226"/>
                  </a:lnTo>
                  <a:lnTo>
                    <a:pt x="1352" y="2230"/>
                  </a:lnTo>
                  <a:lnTo>
                    <a:pt x="1356" y="2232"/>
                  </a:lnTo>
                  <a:lnTo>
                    <a:pt x="1358" y="2230"/>
                  </a:lnTo>
                  <a:lnTo>
                    <a:pt x="1360" y="2226"/>
                  </a:lnTo>
                  <a:lnTo>
                    <a:pt x="1362" y="2220"/>
                  </a:lnTo>
                  <a:lnTo>
                    <a:pt x="1366" y="2214"/>
                  </a:lnTo>
                  <a:lnTo>
                    <a:pt x="1370" y="2212"/>
                  </a:lnTo>
                  <a:lnTo>
                    <a:pt x="1372" y="2208"/>
                  </a:lnTo>
                  <a:lnTo>
                    <a:pt x="1374" y="2200"/>
                  </a:lnTo>
                  <a:lnTo>
                    <a:pt x="1376" y="2194"/>
                  </a:lnTo>
                  <a:lnTo>
                    <a:pt x="1378" y="2194"/>
                  </a:lnTo>
                  <a:lnTo>
                    <a:pt x="1378" y="2196"/>
                  </a:lnTo>
                  <a:lnTo>
                    <a:pt x="1380" y="2198"/>
                  </a:lnTo>
                  <a:lnTo>
                    <a:pt x="1382" y="2198"/>
                  </a:lnTo>
                  <a:lnTo>
                    <a:pt x="1382" y="2194"/>
                  </a:lnTo>
                  <a:lnTo>
                    <a:pt x="1384" y="2190"/>
                  </a:lnTo>
                  <a:lnTo>
                    <a:pt x="1386" y="2188"/>
                  </a:lnTo>
                  <a:lnTo>
                    <a:pt x="1388" y="2188"/>
                  </a:lnTo>
                  <a:lnTo>
                    <a:pt x="1392" y="2192"/>
                  </a:lnTo>
                  <a:lnTo>
                    <a:pt x="1394" y="2194"/>
                  </a:lnTo>
                  <a:lnTo>
                    <a:pt x="1394" y="2196"/>
                  </a:lnTo>
                  <a:lnTo>
                    <a:pt x="1392" y="2196"/>
                  </a:lnTo>
                  <a:lnTo>
                    <a:pt x="1388" y="2198"/>
                  </a:lnTo>
                  <a:lnTo>
                    <a:pt x="1388" y="2202"/>
                  </a:lnTo>
                  <a:lnTo>
                    <a:pt x="1390" y="2206"/>
                  </a:lnTo>
                  <a:lnTo>
                    <a:pt x="1398" y="2210"/>
                  </a:lnTo>
                  <a:lnTo>
                    <a:pt x="1402" y="2208"/>
                  </a:lnTo>
                  <a:lnTo>
                    <a:pt x="1404" y="2206"/>
                  </a:lnTo>
                  <a:lnTo>
                    <a:pt x="1402" y="2194"/>
                  </a:lnTo>
                  <a:lnTo>
                    <a:pt x="1400" y="2180"/>
                  </a:lnTo>
                  <a:lnTo>
                    <a:pt x="1400" y="2174"/>
                  </a:lnTo>
                  <a:lnTo>
                    <a:pt x="1402" y="2170"/>
                  </a:lnTo>
                  <a:lnTo>
                    <a:pt x="1404" y="2168"/>
                  </a:lnTo>
                  <a:lnTo>
                    <a:pt x="1404" y="2166"/>
                  </a:lnTo>
                  <a:lnTo>
                    <a:pt x="1402" y="2160"/>
                  </a:lnTo>
                  <a:lnTo>
                    <a:pt x="1402" y="2152"/>
                  </a:lnTo>
                  <a:lnTo>
                    <a:pt x="1402" y="2150"/>
                  </a:lnTo>
                  <a:lnTo>
                    <a:pt x="1404" y="2146"/>
                  </a:lnTo>
                  <a:lnTo>
                    <a:pt x="1408" y="2144"/>
                  </a:lnTo>
                  <a:lnTo>
                    <a:pt x="1410" y="2144"/>
                  </a:lnTo>
                  <a:lnTo>
                    <a:pt x="1410" y="2150"/>
                  </a:lnTo>
                  <a:lnTo>
                    <a:pt x="1412" y="2154"/>
                  </a:lnTo>
                  <a:lnTo>
                    <a:pt x="1414" y="2152"/>
                  </a:lnTo>
                  <a:lnTo>
                    <a:pt x="1416" y="2148"/>
                  </a:lnTo>
                  <a:lnTo>
                    <a:pt x="1416" y="2146"/>
                  </a:lnTo>
                  <a:lnTo>
                    <a:pt x="1414" y="2140"/>
                  </a:lnTo>
                  <a:lnTo>
                    <a:pt x="1412" y="2132"/>
                  </a:lnTo>
                  <a:lnTo>
                    <a:pt x="1412" y="2124"/>
                  </a:lnTo>
                  <a:lnTo>
                    <a:pt x="1414" y="2116"/>
                  </a:lnTo>
                  <a:close/>
                  <a:moveTo>
                    <a:pt x="984" y="1792"/>
                  </a:moveTo>
                  <a:lnTo>
                    <a:pt x="984" y="1792"/>
                  </a:lnTo>
                  <a:lnTo>
                    <a:pt x="980" y="1788"/>
                  </a:lnTo>
                  <a:lnTo>
                    <a:pt x="974" y="1788"/>
                  </a:lnTo>
                  <a:lnTo>
                    <a:pt x="966" y="1788"/>
                  </a:lnTo>
                  <a:lnTo>
                    <a:pt x="958" y="1792"/>
                  </a:lnTo>
                  <a:lnTo>
                    <a:pt x="950" y="1794"/>
                  </a:lnTo>
                  <a:lnTo>
                    <a:pt x="944" y="1798"/>
                  </a:lnTo>
                  <a:lnTo>
                    <a:pt x="942" y="1804"/>
                  </a:lnTo>
                  <a:lnTo>
                    <a:pt x="940" y="1808"/>
                  </a:lnTo>
                  <a:lnTo>
                    <a:pt x="942" y="1810"/>
                  </a:lnTo>
                  <a:lnTo>
                    <a:pt x="948" y="1812"/>
                  </a:lnTo>
                  <a:lnTo>
                    <a:pt x="960" y="1814"/>
                  </a:lnTo>
                  <a:lnTo>
                    <a:pt x="974" y="1812"/>
                  </a:lnTo>
                  <a:lnTo>
                    <a:pt x="982" y="1810"/>
                  </a:lnTo>
                  <a:lnTo>
                    <a:pt x="990" y="1808"/>
                  </a:lnTo>
                  <a:lnTo>
                    <a:pt x="998" y="1808"/>
                  </a:lnTo>
                  <a:lnTo>
                    <a:pt x="1004" y="1806"/>
                  </a:lnTo>
                  <a:lnTo>
                    <a:pt x="1004" y="1804"/>
                  </a:lnTo>
                  <a:lnTo>
                    <a:pt x="1002" y="1800"/>
                  </a:lnTo>
                  <a:lnTo>
                    <a:pt x="1000" y="1798"/>
                  </a:lnTo>
                  <a:lnTo>
                    <a:pt x="994" y="1798"/>
                  </a:lnTo>
                  <a:lnTo>
                    <a:pt x="990" y="1796"/>
                  </a:lnTo>
                  <a:lnTo>
                    <a:pt x="984" y="1792"/>
                  </a:lnTo>
                  <a:close/>
                  <a:moveTo>
                    <a:pt x="2204" y="1064"/>
                  </a:moveTo>
                  <a:lnTo>
                    <a:pt x="2204" y="1064"/>
                  </a:lnTo>
                  <a:lnTo>
                    <a:pt x="2206" y="1066"/>
                  </a:lnTo>
                  <a:lnTo>
                    <a:pt x="2208" y="1066"/>
                  </a:lnTo>
                  <a:lnTo>
                    <a:pt x="2212" y="1066"/>
                  </a:lnTo>
                  <a:lnTo>
                    <a:pt x="2214" y="1060"/>
                  </a:lnTo>
                  <a:lnTo>
                    <a:pt x="2214" y="1058"/>
                  </a:lnTo>
                  <a:lnTo>
                    <a:pt x="2212" y="1054"/>
                  </a:lnTo>
                  <a:lnTo>
                    <a:pt x="2210" y="1050"/>
                  </a:lnTo>
                  <a:lnTo>
                    <a:pt x="2208" y="1048"/>
                  </a:lnTo>
                  <a:lnTo>
                    <a:pt x="2206" y="1048"/>
                  </a:lnTo>
                  <a:lnTo>
                    <a:pt x="2204" y="1050"/>
                  </a:lnTo>
                  <a:lnTo>
                    <a:pt x="2202" y="1054"/>
                  </a:lnTo>
                  <a:lnTo>
                    <a:pt x="2204" y="1064"/>
                  </a:lnTo>
                  <a:close/>
                  <a:moveTo>
                    <a:pt x="2218" y="862"/>
                  </a:moveTo>
                  <a:lnTo>
                    <a:pt x="2218" y="862"/>
                  </a:lnTo>
                  <a:lnTo>
                    <a:pt x="2216" y="866"/>
                  </a:lnTo>
                  <a:lnTo>
                    <a:pt x="2218" y="870"/>
                  </a:lnTo>
                  <a:lnTo>
                    <a:pt x="2222" y="872"/>
                  </a:lnTo>
                  <a:lnTo>
                    <a:pt x="2228" y="874"/>
                  </a:lnTo>
                  <a:lnTo>
                    <a:pt x="2230" y="872"/>
                  </a:lnTo>
                  <a:lnTo>
                    <a:pt x="2230" y="870"/>
                  </a:lnTo>
                  <a:lnTo>
                    <a:pt x="2228" y="864"/>
                  </a:lnTo>
                  <a:lnTo>
                    <a:pt x="2222" y="860"/>
                  </a:lnTo>
                  <a:lnTo>
                    <a:pt x="2220" y="860"/>
                  </a:lnTo>
                  <a:lnTo>
                    <a:pt x="2218" y="862"/>
                  </a:lnTo>
                  <a:close/>
                  <a:moveTo>
                    <a:pt x="2220" y="824"/>
                  </a:moveTo>
                  <a:lnTo>
                    <a:pt x="2220" y="824"/>
                  </a:lnTo>
                  <a:lnTo>
                    <a:pt x="2222" y="824"/>
                  </a:lnTo>
                  <a:lnTo>
                    <a:pt x="2222" y="822"/>
                  </a:lnTo>
                  <a:lnTo>
                    <a:pt x="2216" y="814"/>
                  </a:lnTo>
                  <a:lnTo>
                    <a:pt x="2216" y="812"/>
                  </a:lnTo>
                  <a:lnTo>
                    <a:pt x="2214" y="814"/>
                  </a:lnTo>
                  <a:lnTo>
                    <a:pt x="2212" y="816"/>
                  </a:lnTo>
                  <a:lnTo>
                    <a:pt x="2214" y="822"/>
                  </a:lnTo>
                  <a:lnTo>
                    <a:pt x="2216" y="822"/>
                  </a:lnTo>
                  <a:lnTo>
                    <a:pt x="2220" y="824"/>
                  </a:lnTo>
                  <a:close/>
                  <a:moveTo>
                    <a:pt x="2124" y="1064"/>
                  </a:moveTo>
                  <a:lnTo>
                    <a:pt x="2124" y="1064"/>
                  </a:lnTo>
                  <a:lnTo>
                    <a:pt x="2118" y="1060"/>
                  </a:lnTo>
                  <a:lnTo>
                    <a:pt x="2116" y="1060"/>
                  </a:lnTo>
                  <a:lnTo>
                    <a:pt x="2114" y="1062"/>
                  </a:lnTo>
                  <a:lnTo>
                    <a:pt x="2096" y="1042"/>
                  </a:lnTo>
                  <a:lnTo>
                    <a:pt x="2094" y="1038"/>
                  </a:lnTo>
                  <a:lnTo>
                    <a:pt x="2090" y="1032"/>
                  </a:lnTo>
                  <a:lnTo>
                    <a:pt x="2076" y="1018"/>
                  </a:lnTo>
                  <a:lnTo>
                    <a:pt x="2060" y="1008"/>
                  </a:lnTo>
                  <a:lnTo>
                    <a:pt x="2050" y="1000"/>
                  </a:lnTo>
                  <a:lnTo>
                    <a:pt x="2050" y="1004"/>
                  </a:lnTo>
                  <a:lnTo>
                    <a:pt x="2044" y="998"/>
                  </a:lnTo>
                  <a:lnTo>
                    <a:pt x="2040" y="994"/>
                  </a:lnTo>
                  <a:lnTo>
                    <a:pt x="2036" y="992"/>
                  </a:lnTo>
                  <a:lnTo>
                    <a:pt x="2040" y="1000"/>
                  </a:lnTo>
                  <a:lnTo>
                    <a:pt x="2050" y="1020"/>
                  </a:lnTo>
                  <a:lnTo>
                    <a:pt x="2052" y="1024"/>
                  </a:lnTo>
                  <a:lnTo>
                    <a:pt x="2052" y="1026"/>
                  </a:lnTo>
                  <a:lnTo>
                    <a:pt x="2064" y="1036"/>
                  </a:lnTo>
                  <a:lnTo>
                    <a:pt x="2070" y="1042"/>
                  </a:lnTo>
                  <a:lnTo>
                    <a:pt x="2076" y="1056"/>
                  </a:lnTo>
                  <a:lnTo>
                    <a:pt x="2076" y="1054"/>
                  </a:lnTo>
                  <a:lnTo>
                    <a:pt x="2078" y="1058"/>
                  </a:lnTo>
                  <a:lnTo>
                    <a:pt x="2082" y="1058"/>
                  </a:lnTo>
                  <a:lnTo>
                    <a:pt x="2088" y="1064"/>
                  </a:lnTo>
                  <a:lnTo>
                    <a:pt x="2094" y="1070"/>
                  </a:lnTo>
                  <a:lnTo>
                    <a:pt x="2102" y="1074"/>
                  </a:lnTo>
                  <a:lnTo>
                    <a:pt x="2110" y="1080"/>
                  </a:lnTo>
                  <a:lnTo>
                    <a:pt x="2116" y="1086"/>
                  </a:lnTo>
                  <a:lnTo>
                    <a:pt x="2136" y="1098"/>
                  </a:lnTo>
                  <a:lnTo>
                    <a:pt x="2136" y="1102"/>
                  </a:lnTo>
                  <a:lnTo>
                    <a:pt x="2136" y="1104"/>
                  </a:lnTo>
                  <a:lnTo>
                    <a:pt x="2154" y="1100"/>
                  </a:lnTo>
                  <a:lnTo>
                    <a:pt x="2158" y="1098"/>
                  </a:lnTo>
                  <a:lnTo>
                    <a:pt x="2158" y="1096"/>
                  </a:lnTo>
                  <a:lnTo>
                    <a:pt x="2148" y="1086"/>
                  </a:lnTo>
                  <a:lnTo>
                    <a:pt x="2124" y="1064"/>
                  </a:lnTo>
                  <a:close/>
                  <a:moveTo>
                    <a:pt x="2172" y="1036"/>
                  </a:moveTo>
                  <a:lnTo>
                    <a:pt x="2172" y="1036"/>
                  </a:lnTo>
                  <a:lnTo>
                    <a:pt x="2178" y="1038"/>
                  </a:lnTo>
                  <a:lnTo>
                    <a:pt x="2182" y="1040"/>
                  </a:lnTo>
                  <a:lnTo>
                    <a:pt x="2184" y="1038"/>
                  </a:lnTo>
                  <a:lnTo>
                    <a:pt x="2186" y="1036"/>
                  </a:lnTo>
                  <a:lnTo>
                    <a:pt x="2186" y="1030"/>
                  </a:lnTo>
                  <a:lnTo>
                    <a:pt x="2182" y="1024"/>
                  </a:lnTo>
                  <a:lnTo>
                    <a:pt x="2176" y="1018"/>
                  </a:lnTo>
                  <a:lnTo>
                    <a:pt x="2172" y="1016"/>
                  </a:lnTo>
                  <a:lnTo>
                    <a:pt x="2168" y="1018"/>
                  </a:lnTo>
                  <a:lnTo>
                    <a:pt x="2168" y="1020"/>
                  </a:lnTo>
                  <a:lnTo>
                    <a:pt x="2170" y="1020"/>
                  </a:lnTo>
                  <a:lnTo>
                    <a:pt x="2172" y="1022"/>
                  </a:lnTo>
                  <a:lnTo>
                    <a:pt x="2172" y="1024"/>
                  </a:lnTo>
                  <a:lnTo>
                    <a:pt x="2170" y="1028"/>
                  </a:lnTo>
                  <a:lnTo>
                    <a:pt x="2168" y="1032"/>
                  </a:lnTo>
                  <a:lnTo>
                    <a:pt x="2170" y="1034"/>
                  </a:lnTo>
                  <a:lnTo>
                    <a:pt x="2172" y="1036"/>
                  </a:lnTo>
                  <a:close/>
                  <a:moveTo>
                    <a:pt x="2152" y="752"/>
                  </a:moveTo>
                  <a:lnTo>
                    <a:pt x="2152" y="752"/>
                  </a:lnTo>
                  <a:lnTo>
                    <a:pt x="2154" y="760"/>
                  </a:lnTo>
                  <a:lnTo>
                    <a:pt x="2156" y="764"/>
                  </a:lnTo>
                  <a:lnTo>
                    <a:pt x="2160" y="766"/>
                  </a:lnTo>
                  <a:lnTo>
                    <a:pt x="2168" y="764"/>
                  </a:lnTo>
                  <a:lnTo>
                    <a:pt x="2172" y="762"/>
                  </a:lnTo>
                  <a:lnTo>
                    <a:pt x="2174" y="760"/>
                  </a:lnTo>
                  <a:lnTo>
                    <a:pt x="2176" y="758"/>
                  </a:lnTo>
                  <a:lnTo>
                    <a:pt x="2176" y="754"/>
                  </a:lnTo>
                  <a:lnTo>
                    <a:pt x="2174" y="746"/>
                  </a:lnTo>
                  <a:lnTo>
                    <a:pt x="2170" y="736"/>
                  </a:lnTo>
                  <a:lnTo>
                    <a:pt x="2168" y="732"/>
                  </a:lnTo>
                  <a:lnTo>
                    <a:pt x="2166" y="732"/>
                  </a:lnTo>
                  <a:lnTo>
                    <a:pt x="2164" y="734"/>
                  </a:lnTo>
                  <a:lnTo>
                    <a:pt x="2162" y="736"/>
                  </a:lnTo>
                  <a:lnTo>
                    <a:pt x="2158" y="730"/>
                  </a:lnTo>
                  <a:lnTo>
                    <a:pt x="2156" y="724"/>
                  </a:lnTo>
                  <a:lnTo>
                    <a:pt x="2154" y="718"/>
                  </a:lnTo>
                  <a:lnTo>
                    <a:pt x="2152" y="716"/>
                  </a:lnTo>
                  <a:lnTo>
                    <a:pt x="2148" y="716"/>
                  </a:lnTo>
                  <a:lnTo>
                    <a:pt x="2146" y="718"/>
                  </a:lnTo>
                  <a:lnTo>
                    <a:pt x="2146" y="722"/>
                  </a:lnTo>
                  <a:lnTo>
                    <a:pt x="2148" y="726"/>
                  </a:lnTo>
                  <a:lnTo>
                    <a:pt x="2152" y="736"/>
                  </a:lnTo>
                  <a:lnTo>
                    <a:pt x="2152" y="742"/>
                  </a:lnTo>
                  <a:lnTo>
                    <a:pt x="2152" y="746"/>
                  </a:lnTo>
                  <a:lnTo>
                    <a:pt x="2152" y="752"/>
                  </a:lnTo>
                  <a:close/>
                  <a:moveTo>
                    <a:pt x="2196" y="758"/>
                  </a:moveTo>
                  <a:lnTo>
                    <a:pt x="2196" y="758"/>
                  </a:lnTo>
                  <a:lnTo>
                    <a:pt x="2202" y="754"/>
                  </a:lnTo>
                  <a:lnTo>
                    <a:pt x="2206" y="750"/>
                  </a:lnTo>
                  <a:lnTo>
                    <a:pt x="2208" y="748"/>
                  </a:lnTo>
                  <a:lnTo>
                    <a:pt x="2206" y="746"/>
                  </a:lnTo>
                  <a:lnTo>
                    <a:pt x="2202" y="746"/>
                  </a:lnTo>
                  <a:lnTo>
                    <a:pt x="2198" y="748"/>
                  </a:lnTo>
                  <a:lnTo>
                    <a:pt x="2194" y="752"/>
                  </a:lnTo>
                  <a:lnTo>
                    <a:pt x="2194" y="754"/>
                  </a:lnTo>
                  <a:lnTo>
                    <a:pt x="2196" y="758"/>
                  </a:lnTo>
                  <a:close/>
                  <a:moveTo>
                    <a:pt x="2206" y="798"/>
                  </a:moveTo>
                  <a:lnTo>
                    <a:pt x="2206" y="798"/>
                  </a:lnTo>
                  <a:lnTo>
                    <a:pt x="2210" y="800"/>
                  </a:lnTo>
                  <a:lnTo>
                    <a:pt x="2214" y="800"/>
                  </a:lnTo>
                  <a:lnTo>
                    <a:pt x="2216" y="798"/>
                  </a:lnTo>
                  <a:lnTo>
                    <a:pt x="2216" y="792"/>
                  </a:lnTo>
                  <a:lnTo>
                    <a:pt x="2216" y="790"/>
                  </a:lnTo>
                  <a:lnTo>
                    <a:pt x="2214" y="788"/>
                  </a:lnTo>
                  <a:lnTo>
                    <a:pt x="2208" y="790"/>
                  </a:lnTo>
                  <a:lnTo>
                    <a:pt x="2204" y="794"/>
                  </a:lnTo>
                  <a:lnTo>
                    <a:pt x="2204" y="796"/>
                  </a:lnTo>
                  <a:lnTo>
                    <a:pt x="2206" y="798"/>
                  </a:lnTo>
                  <a:close/>
                  <a:moveTo>
                    <a:pt x="1762" y="382"/>
                  </a:moveTo>
                  <a:lnTo>
                    <a:pt x="1762" y="382"/>
                  </a:lnTo>
                  <a:lnTo>
                    <a:pt x="1762" y="386"/>
                  </a:lnTo>
                  <a:lnTo>
                    <a:pt x="1764" y="392"/>
                  </a:lnTo>
                  <a:lnTo>
                    <a:pt x="1768" y="394"/>
                  </a:lnTo>
                  <a:lnTo>
                    <a:pt x="1770" y="394"/>
                  </a:lnTo>
                  <a:lnTo>
                    <a:pt x="1772" y="392"/>
                  </a:lnTo>
                  <a:lnTo>
                    <a:pt x="1774" y="390"/>
                  </a:lnTo>
                  <a:lnTo>
                    <a:pt x="1772" y="386"/>
                  </a:lnTo>
                  <a:lnTo>
                    <a:pt x="1770" y="382"/>
                  </a:lnTo>
                  <a:lnTo>
                    <a:pt x="1766" y="378"/>
                  </a:lnTo>
                  <a:lnTo>
                    <a:pt x="1764" y="380"/>
                  </a:lnTo>
                  <a:lnTo>
                    <a:pt x="1762" y="382"/>
                  </a:lnTo>
                  <a:close/>
                  <a:moveTo>
                    <a:pt x="1786" y="386"/>
                  </a:moveTo>
                  <a:lnTo>
                    <a:pt x="1786" y="386"/>
                  </a:lnTo>
                  <a:lnTo>
                    <a:pt x="1784" y="386"/>
                  </a:lnTo>
                  <a:lnTo>
                    <a:pt x="1780" y="388"/>
                  </a:lnTo>
                  <a:lnTo>
                    <a:pt x="1776" y="396"/>
                  </a:lnTo>
                  <a:lnTo>
                    <a:pt x="1776" y="402"/>
                  </a:lnTo>
                  <a:lnTo>
                    <a:pt x="1778" y="404"/>
                  </a:lnTo>
                  <a:lnTo>
                    <a:pt x="1780" y="404"/>
                  </a:lnTo>
                  <a:lnTo>
                    <a:pt x="1784" y="402"/>
                  </a:lnTo>
                  <a:lnTo>
                    <a:pt x="1788" y="404"/>
                  </a:lnTo>
                  <a:lnTo>
                    <a:pt x="1790" y="410"/>
                  </a:lnTo>
                  <a:lnTo>
                    <a:pt x="1794" y="414"/>
                  </a:lnTo>
                  <a:lnTo>
                    <a:pt x="1796" y="416"/>
                  </a:lnTo>
                  <a:lnTo>
                    <a:pt x="1800" y="412"/>
                  </a:lnTo>
                  <a:lnTo>
                    <a:pt x="1798" y="408"/>
                  </a:lnTo>
                  <a:lnTo>
                    <a:pt x="1794" y="402"/>
                  </a:lnTo>
                  <a:lnTo>
                    <a:pt x="1790" y="396"/>
                  </a:lnTo>
                  <a:lnTo>
                    <a:pt x="1790" y="392"/>
                  </a:lnTo>
                  <a:lnTo>
                    <a:pt x="1790" y="390"/>
                  </a:lnTo>
                  <a:lnTo>
                    <a:pt x="1786" y="386"/>
                  </a:lnTo>
                  <a:close/>
                  <a:moveTo>
                    <a:pt x="1754" y="340"/>
                  </a:moveTo>
                  <a:lnTo>
                    <a:pt x="1754" y="340"/>
                  </a:lnTo>
                  <a:lnTo>
                    <a:pt x="1758" y="346"/>
                  </a:lnTo>
                  <a:lnTo>
                    <a:pt x="1766" y="354"/>
                  </a:lnTo>
                  <a:lnTo>
                    <a:pt x="1776" y="360"/>
                  </a:lnTo>
                  <a:lnTo>
                    <a:pt x="1780" y="360"/>
                  </a:lnTo>
                  <a:lnTo>
                    <a:pt x="1784" y="360"/>
                  </a:lnTo>
                  <a:lnTo>
                    <a:pt x="1788" y="358"/>
                  </a:lnTo>
                  <a:lnTo>
                    <a:pt x="1784" y="356"/>
                  </a:lnTo>
                  <a:lnTo>
                    <a:pt x="1776" y="352"/>
                  </a:lnTo>
                  <a:lnTo>
                    <a:pt x="1774" y="348"/>
                  </a:lnTo>
                  <a:lnTo>
                    <a:pt x="1772" y="344"/>
                  </a:lnTo>
                  <a:lnTo>
                    <a:pt x="1768" y="336"/>
                  </a:lnTo>
                  <a:lnTo>
                    <a:pt x="1764" y="332"/>
                  </a:lnTo>
                  <a:lnTo>
                    <a:pt x="1746" y="320"/>
                  </a:lnTo>
                  <a:lnTo>
                    <a:pt x="1742" y="318"/>
                  </a:lnTo>
                  <a:lnTo>
                    <a:pt x="1740" y="320"/>
                  </a:lnTo>
                  <a:lnTo>
                    <a:pt x="1742" y="328"/>
                  </a:lnTo>
                  <a:lnTo>
                    <a:pt x="1744" y="332"/>
                  </a:lnTo>
                  <a:lnTo>
                    <a:pt x="1748" y="334"/>
                  </a:lnTo>
                  <a:lnTo>
                    <a:pt x="1752" y="336"/>
                  </a:lnTo>
                  <a:lnTo>
                    <a:pt x="1754" y="340"/>
                  </a:lnTo>
                  <a:close/>
                  <a:moveTo>
                    <a:pt x="1744" y="368"/>
                  </a:moveTo>
                  <a:lnTo>
                    <a:pt x="1744" y="368"/>
                  </a:lnTo>
                  <a:lnTo>
                    <a:pt x="1744" y="374"/>
                  </a:lnTo>
                  <a:lnTo>
                    <a:pt x="1748" y="378"/>
                  </a:lnTo>
                  <a:lnTo>
                    <a:pt x="1752" y="382"/>
                  </a:lnTo>
                  <a:lnTo>
                    <a:pt x="1754" y="380"/>
                  </a:lnTo>
                  <a:lnTo>
                    <a:pt x="1756" y="380"/>
                  </a:lnTo>
                  <a:lnTo>
                    <a:pt x="1758" y="376"/>
                  </a:lnTo>
                  <a:lnTo>
                    <a:pt x="1758" y="374"/>
                  </a:lnTo>
                  <a:lnTo>
                    <a:pt x="1752" y="368"/>
                  </a:lnTo>
                  <a:lnTo>
                    <a:pt x="1746" y="366"/>
                  </a:lnTo>
                  <a:lnTo>
                    <a:pt x="1744" y="366"/>
                  </a:lnTo>
                  <a:lnTo>
                    <a:pt x="1744" y="368"/>
                  </a:lnTo>
                  <a:close/>
                  <a:moveTo>
                    <a:pt x="1802" y="416"/>
                  </a:moveTo>
                  <a:lnTo>
                    <a:pt x="1802" y="416"/>
                  </a:lnTo>
                  <a:lnTo>
                    <a:pt x="1800" y="420"/>
                  </a:lnTo>
                  <a:lnTo>
                    <a:pt x="1800" y="424"/>
                  </a:lnTo>
                  <a:lnTo>
                    <a:pt x="1804" y="426"/>
                  </a:lnTo>
                  <a:lnTo>
                    <a:pt x="1810" y="424"/>
                  </a:lnTo>
                  <a:lnTo>
                    <a:pt x="1810" y="422"/>
                  </a:lnTo>
                  <a:lnTo>
                    <a:pt x="1812" y="420"/>
                  </a:lnTo>
                  <a:lnTo>
                    <a:pt x="1810" y="416"/>
                  </a:lnTo>
                  <a:lnTo>
                    <a:pt x="1806" y="414"/>
                  </a:lnTo>
                  <a:lnTo>
                    <a:pt x="1804" y="414"/>
                  </a:lnTo>
                  <a:lnTo>
                    <a:pt x="1802" y="416"/>
                  </a:lnTo>
                  <a:close/>
                  <a:moveTo>
                    <a:pt x="1858" y="386"/>
                  </a:moveTo>
                  <a:lnTo>
                    <a:pt x="1858" y="386"/>
                  </a:lnTo>
                  <a:lnTo>
                    <a:pt x="1848" y="382"/>
                  </a:lnTo>
                  <a:lnTo>
                    <a:pt x="1844" y="378"/>
                  </a:lnTo>
                  <a:lnTo>
                    <a:pt x="1840" y="374"/>
                  </a:lnTo>
                  <a:lnTo>
                    <a:pt x="1832" y="368"/>
                  </a:lnTo>
                  <a:lnTo>
                    <a:pt x="1828" y="366"/>
                  </a:lnTo>
                  <a:lnTo>
                    <a:pt x="1826" y="368"/>
                  </a:lnTo>
                  <a:lnTo>
                    <a:pt x="1828" y="378"/>
                  </a:lnTo>
                  <a:lnTo>
                    <a:pt x="1830" y="382"/>
                  </a:lnTo>
                  <a:lnTo>
                    <a:pt x="1834" y="386"/>
                  </a:lnTo>
                  <a:lnTo>
                    <a:pt x="1848" y="394"/>
                  </a:lnTo>
                  <a:lnTo>
                    <a:pt x="1864" y="404"/>
                  </a:lnTo>
                  <a:lnTo>
                    <a:pt x="1878" y="414"/>
                  </a:lnTo>
                  <a:lnTo>
                    <a:pt x="1880" y="416"/>
                  </a:lnTo>
                  <a:lnTo>
                    <a:pt x="1882" y="416"/>
                  </a:lnTo>
                  <a:lnTo>
                    <a:pt x="1878" y="408"/>
                  </a:lnTo>
                  <a:lnTo>
                    <a:pt x="1870" y="396"/>
                  </a:lnTo>
                  <a:lnTo>
                    <a:pt x="1864" y="390"/>
                  </a:lnTo>
                  <a:lnTo>
                    <a:pt x="1858" y="386"/>
                  </a:lnTo>
                  <a:close/>
                  <a:moveTo>
                    <a:pt x="1882" y="456"/>
                  </a:moveTo>
                  <a:lnTo>
                    <a:pt x="1882" y="456"/>
                  </a:lnTo>
                  <a:lnTo>
                    <a:pt x="1876" y="450"/>
                  </a:lnTo>
                  <a:lnTo>
                    <a:pt x="1872" y="450"/>
                  </a:lnTo>
                  <a:lnTo>
                    <a:pt x="1870" y="454"/>
                  </a:lnTo>
                  <a:lnTo>
                    <a:pt x="1870" y="462"/>
                  </a:lnTo>
                  <a:lnTo>
                    <a:pt x="1870" y="468"/>
                  </a:lnTo>
                  <a:lnTo>
                    <a:pt x="1876" y="474"/>
                  </a:lnTo>
                  <a:lnTo>
                    <a:pt x="1882" y="478"/>
                  </a:lnTo>
                  <a:lnTo>
                    <a:pt x="1892" y="478"/>
                  </a:lnTo>
                  <a:lnTo>
                    <a:pt x="1900" y="476"/>
                  </a:lnTo>
                  <a:lnTo>
                    <a:pt x="1900" y="478"/>
                  </a:lnTo>
                  <a:lnTo>
                    <a:pt x="1902" y="480"/>
                  </a:lnTo>
                  <a:lnTo>
                    <a:pt x="1912" y="482"/>
                  </a:lnTo>
                  <a:lnTo>
                    <a:pt x="1916" y="482"/>
                  </a:lnTo>
                  <a:lnTo>
                    <a:pt x="1920" y="482"/>
                  </a:lnTo>
                  <a:lnTo>
                    <a:pt x="1920" y="480"/>
                  </a:lnTo>
                  <a:lnTo>
                    <a:pt x="1918" y="476"/>
                  </a:lnTo>
                  <a:lnTo>
                    <a:pt x="1914" y="468"/>
                  </a:lnTo>
                  <a:lnTo>
                    <a:pt x="1906" y="460"/>
                  </a:lnTo>
                  <a:lnTo>
                    <a:pt x="1902" y="458"/>
                  </a:lnTo>
                  <a:lnTo>
                    <a:pt x="1900" y="456"/>
                  </a:lnTo>
                  <a:lnTo>
                    <a:pt x="1892" y="456"/>
                  </a:lnTo>
                  <a:lnTo>
                    <a:pt x="1886" y="458"/>
                  </a:lnTo>
                  <a:lnTo>
                    <a:pt x="1884" y="456"/>
                  </a:lnTo>
                  <a:lnTo>
                    <a:pt x="1882" y="456"/>
                  </a:lnTo>
                  <a:close/>
                  <a:moveTo>
                    <a:pt x="1884" y="560"/>
                  </a:moveTo>
                  <a:lnTo>
                    <a:pt x="1884" y="560"/>
                  </a:lnTo>
                  <a:lnTo>
                    <a:pt x="1886" y="564"/>
                  </a:lnTo>
                  <a:lnTo>
                    <a:pt x="1894" y="570"/>
                  </a:lnTo>
                  <a:lnTo>
                    <a:pt x="1902" y="576"/>
                  </a:lnTo>
                  <a:lnTo>
                    <a:pt x="1906" y="576"/>
                  </a:lnTo>
                  <a:lnTo>
                    <a:pt x="1910" y="576"/>
                  </a:lnTo>
                  <a:lnTo>
                    <a:pt x="1910" y="574"/>
                  </a:lnTo>
                  <a:lnTo>
                    <a:pt x="1908" y="570"/>
                  </a:lnTo>
                  <a:lnTo>
                    <a:pt x="1900" y="562"/>
                  </a:lnTo>
                  <a:lnTo>
                    <a:pt x="1890" y="558"/>
                  </a:lnTo>
                  <a:lnTo>
                    <a:pt x="1886" y="558"/>
                  </a:lnTo>
                  <a:lnTo>
                    <a:pt x="1884" y="560"/>
                  </a:lnTo>
                  <a:close/>
                  <a:moveTo>
                    <a:pt x="1966" y="508"/>
                  </a:moveTo>
                  <a:lnTo>
                    <a:pt x="1966" y="508"/>
                  </a:lnTo>
                  <a:lnTo>
                    <a:pt x="1958" y="506"/>
                  </a:lnTo>
                  <a:lnTo>
                    <a:pt x="1950" y="502"/>
                  </a:lnTo>
                  <a:lnTo>
                    <a:pt x="1942" y="498"/>
                  </a:lnTo>
                  <a:lnTo>
                    <a:pt x="1938" y="498"/>
                  </a:lnTo>
                  <a:lnTo>
                    <a:pt x="1936" y="500"/>
                  </a:lnTo>
                  <a:lnTo>
                    <a:pt x="1934" y="500"/>
                  </a:lnTo>
                  <a:lnTo>
                    <a:pt x="1934" y="502"/>
                  </a:lnTo>
                  <a:lnTo>
                    <a:pt x="1938" y="504"/>
                  </a:lnTo>
                  <a:lnTo>
                    <a:pt x="1942" y="506"/>
                  </a:lnTo>
                  <a:lnTo>
                    <a:pt x="1944" y="510"/>
                  </a:lnTo>
                  <a:lnTo>
                    <a:pt x="1944" y="512"/>
                  </a:lnTo>
                  <a:lnTo>
                    <a:pt x="1946" y="516"/>
                  </a:lnTo>
                  <a:lnTo>
                    <a:pt x="1948" y="518"/>
                  </a:lnTo>
                  <a:lnTo>
                    <a:pt x="1956" y="524"/>
                  </a:lnTo>
                  <a:lnTo>
                    <a:pt x="1966" y="528"/>
                  </a:lnTo>
                  <a:lnTo>
                    <a:pt x="1974" y="528"/>
                  </a:lnTo>
                  <a:lnTo>
                    <a:pt x="1976" y="528"/>
                  </a:lnTo>
                  <a:lnTo>
                    <a:pt x="1978" y="526"/>
                  </a:lnTo>
                  <a:lnTo>
                    <a:pt x="1976" y="518"/>
                  </a:lnTo>
                  <a:lnTo>
                    <a:pt x="1972" y="512"/>
                  </a:lnTo>
                  <a:lnTo>
                    <a:pt x="1968" y="510"/>
                  </a:lnTo>
                  <a:lnTo>
                    <a:pt x="1966" y="508"/>
                  </a:lnTo>
                  <a:close/>
                  <a:moveTo>
                    <a:pt x="2174" y="784"/>
                  </a:moveTo>
                  <a:lnTo>
                    <a:pt x="2174" y="784"/>
                  </a:lnTo>
                  <a:lnTo>
                    <a:pt x="2174" y="788"/>
                  </a:lnTo>
                  <a:lnTo>
                    <a:pt x="2180" y="792"/>
                  </a:lnTo>
                  <a:lnTo>
                    <a:pt x="2182" y="794"/>
                  </a:lnTo>
                  <a:lnTo>
                    <a:pt x="2184" y="798"/>
                  </a:lnTo>
                  <a:lnTo>
                    <a:pt x="2186" y="804"/>
                  </a:lnTo>
                  <a:lnTo>
                    <a:pt x="2188" y="808"/>
                  </a:lnTo>
                  <a:lnTo>
                    <a:pt x="2192" y="808"/>
                  </a:lnTo>
                  <a:lnTo>
                    <a:pt x="2196" y="808"/>
                  </a:lnTo>
                  <a:lnTo>
                    <a:pt x="2198" y="806"/>
                  </a:lnTo>
                  <a:lnTo>
                    <a:pt x="2198" y="800"/>
                  </a:lnTo>
                  <a:lnTo>
                    <a:pt x="2196" y="794"/>
                  </a:lnTo>
                  <a:lnTo>
                    <a:pt x="2190" y="788"/>
                  </a:lnTo>
                  <a:lnTo>
                    <a:pt x="2186" y="784"/>
                  </a:lnTo>
                  <a:lnTo>
                    <a:pt x="2180" y="780"/>
                  </a:lnTo>
                  <a:lnTo>
                    <a:pt x="2176" y="780"/>
                  </a:lnTo>
                  <a:lnTo>
                    <a:pt x="2174" y="784"/>
                  </a:lnTo>
                  <a:close/>
                  <a:moveTo>
                    <a:pt x="1938" y="458"/>
                  </a:moveTo>
                  <a:lnTo>
                    <a:pt x="1938" y="458"/>
                  </a:lnTo>
                  <a:lnTo>
                    <a:pt x="1938" y="454"/>
                  </a:lnTo>
                  <a:lnTo>
                    <a:pt x="1938" y="448"/>
                  </a:lnTo>
                  <a:lnTo>
                    <a:pt x="1936" y="444"/>
                  </a:lnTo>
                  <a:lnTo>
                    <a:pt x="1930" y="438"/>
                  </a:lnTo>
                  <a:lnTo>
                    <a:pt x="1928" y="434"/>
                  </a:lnTo>
                  <a:lnTo>
                    <a:pt x="1926" y="428"/>
                  </a:lnTo>
                  <a:lnTo>
                    <a:pt x="1922" y="420"/>
                  </a:lnTo>
                  <a:lnTo>
                    <a:pt x="1920" y="410"/>
                  </a:lnTo>
                  <a:lnTo>
                    <a:pt x="1916" y="408"/>
                  </a:lnTo>
                  <a:lnTo>
                    <a:pt x="1910" y="406"/>
                  </a:lnTo>
                  <a:lnTo>
                    <a:pt x="1908" y="404"/>
                  </a:lnTo>
                  <a:lnTo>
                    <a:pt x="1906" y="406"/>
                  </a:lnTo>
                  <a:lnTo>
                    <a:pt x="1906" y="412"/>
                  </a:lnTo>
                  <a:lnTo>
                    <a:pt x="1912" y="422"/>
                  </a:lnTo>
                  <a:lnTo>
                    <a:pt x="1916" y="440"/>
                  </a:lnTo>
                  <a:lnTo>
                    <a:pt x="1918" y="446"/>
                  </a:lnTo>
                  <a:lnTo>
                    <a:pt x="1920" y="448"/>
                  </a:lnTo>
                  <a:lnTo>
                    <a:pt x="1926" y="452"/>
                  </a:lnTo>
                  <a:lnTo>
                    <a:pt x="1930" y="460"/>
                  </a:lnTo>
                  <a:lnTo>
                    <a:pt x="1936" y="466"/>
                  </a:lnTo>
                  <a:lnTo>
                    <a:pt x="1940" y="470"/>
                  </a:lnTo>
                  <a:lnTo>
                    <a:pt x="1942" y="468"/>
                  </a:lnTo>
                  <a:lnTo>
                    <a:pt x="1938" y="458"/>
                  </a:lnTo>
                  <a:close/>
                  <a:moveTo>
                    <a:pt x="2456" y="2102"/>
                  </a:moveTo>
                  <a:lnTo>
                    <a:pt x="2456" y="2102"/>
                  </a:lnTo>
                  <a:lnTo>
                    <a:pt x="2460" y="2096"/>
                  </a:lnTo>
                  <a:lnTo>
                    <a:pt x="2460" y="2090"/>
                  </a:lnTo>
                  <a:lnTo>
                    <a:pt x="2458" y="2084"/>
                  </a:lnTo>
                  <a:lnTo>
                    <a:pt x="2456" y="2082"/>
                  </a:lnTo>
                  <a:lnTo>
                    <a:pt x="2450" y="2082"/>
                  </a:lnTo>
                  <a:lnTo>
                    <a:pt x="2442" y="2084"/>
                  </a:lnTo>
                  <a:lnTo>
                    <a:pt x="2434" y="2088"/>
                  </a:lnTo>
                  <a:lnTo>
                    <a:pt x="2426" y="2094"/>
                  </a:lnTo>
                  <a:lnTo>
                    <a:pt x="2418" y="2100"/>
                  </a:lnTo>
                  <a:lnTo>
                    <a:pt x="2412" y="2100"/>
                  </a:lnTo>
                  <a:lnTo>
                    <a:pt x="2410" y="2098"/>
                  </a:lnTo>
                  <a:lnTo>
                    <a:pt x="2410" y="2094"/>
                  </a:lnTo>
                  <a:lnTo>
                    <a:pt x="2410" y="2080"/>
                  </a:lnTo>
                  <a:lnTo>
                    <a:pt x="2410" y="2076"/>
                  </a:lnTo>
                  <a:lnTo>
                    <a:pt x="2408" y="2074"/>
                  </a:lnTo>
                  <a:lnTo>
                    <a:pt x="2400" y="2072"/>
                  </a:lnTo>
                  <a:lnTo>
                    <a:pt x="2398" y="2070"/>
                  </a:lnTo>
                  <a:lnTo>
                    <a:pt x="2398" y="2068"/>
                  </a:lnTo>
                  <a:lnTo>
                    <a:pt x="2404" y="2064"/>
                  </a:lnTo>
                  <a:lnTo>
                    <a:pt x="2408" y="2062"/>
                  </a:lnTo>
                  <a:lnTo>
                    <a:pt x="2408" y="2058"/>
                  </a:lnTo>
                  <a:lnTo>
                    <a:pt x="2408" y="2056"/>
                  </a:lnTo>
                  <a:lnTo>
                    <a:pt x="2404" y="2054"/>
                  </a:lnTo>
                  <a:lnTo>
                    <a:pt x="2400" y="2054"/>
                  </a:lnTo>
                  <a:lnTo>
                    <a:pt x="2396" y="2056"/>
                  </a:lnTo>
                  <a:lnTo>
                    <a:pt x="2388" y="2060"/>
                  </a:lnTo>
                  <a:lnTo>
                    <a:pt x="2380" y="2068"/>
                  </a:lnTo>
                  <a:lnTo>
                    <a:pt x="2376" y="2074"/>
                  </a:lnTo>
                  <a:lnTo>
                    <a:pt x="2374" y="2080"/>
                  </a:lnTo>
                  <a:lnTo>
                    <a:pt x="2374" y="2096"/>
                  </a:lnTo>
                  <a:lnTo>
                    <a:pt x="2372" y="2104"/>
                  </a:lnTo>
                  <a:lnTo>
                    <a:pt x="2370" y="2110"/>
                  </a:lnTo>
                  <a:lnTo>
                    <a:pt x="2366" y="2116"/>
                  </a:lnTo>
                  <a:lnTo>
                    <a:pt x="2358" y="2120"/>
                  </a:lnTo>
                  <a:lnTo>
                    <a:pt x="2352" y="2126"/>
                  </a:lnTo>
                  <a:lnTo>
                    <a:pt x="2346" y="2134"/>
                  </a:lnTo>
                  <a:lnTo>
                    <a:pt x="2336" y="2156"/>
                  </a:lnTo>
                  <a:lnTo>
                    <a:pt x="2324" y="2180"/>
                  </a:lnTo>
                  <a:lnTo>
                    <a:pt x="2318" y="2190"/>
                  </a:lnTo>
                  <a:lnTo>
                    <a:pt x="2310" y="2196"/>
                  </a:lnTo>
                  <a:lnTo>
                    <a:pt x="2298" y="2206"/>
                  </a:lnTo>
                  <a:lnTo>
                    <a:pt x="2286" y="2218"/>
                  </a:lnTo>
                  <a:lnTo>
                    <a:pt x="2274" y="2228"/>
                  </a:lnTo>
                  <a:lnTo>
                    <a:pt x="2270" y="2230"/>
                  </a:lnTo>
                  <a:lnTo>
                    <a:pt x="2264" y="2232"/>
                  </a:lnTo>
                  <a:lnTo>
                    <a:pt x="2260" y="2234"/>
                  </a:lnTo>
                  <a:lnTo>
                    <a:pt x="2256" y="2236"/>
                  </a:lnTo>
                  <a:lnTo>
                    <a:pt x="2250" y="2242"/>
                  </a:lnTo>
                  <a:lnTo>
                    <a:pt x="2246" y="2248"/>
                  </a:lnTo>
                  <a:lnTo>
                    <a:pt x="2242" y="2250"/>
                  </a:lnTo>
                  <a:lnTo>
                    <a:pt x="2236" y="2250"/>
                  </a:lnTo>
                  <a:lnTo>
                    <a:pt x="2228" y="2250"/>
                  </a:lnTo>
                  <a:lnTo>
                    <a:pt x="2222" y="2254"/>
                  </a:lnTo>
                  <a:lnTo>
                    <a:pt x="2216" y="2260"/>
                  </a:lnTo>
                  <a:lnTo>
                    <a:pt x="2210" y="2266"/>
                  </a:lnTo>
                  <a:lnTo>
                    <a:pt x="2200" y="2282"/>
                  </a:lnTo>
                  <a:lnTo>
                    <a:pt x="2186" y="2298"/>
                  </a:lnTo>
                  <a:lnTo>
                    <a:pt x="2174" y="2310"/>
                  </a:lnTo>
                  <a:lnTo>
                    <a:pt x="2162" y="2322"/>
                  </a:lnTo>
                  <a:lnTo>
                    <a:pt x="2160" y="2328"/>
                  </a:lnTo>
                  <a:lnTo>
                    <a:pt x="2156" y="2334"/>
                  </a:lnTo>
                  <a:lnTo>
                    <a:pt x="2156" y="2338"/>
                  </a:lnTo>
                  <a:lnTo>
                    <a:pt x="2158" y="2344"/>
                  </a:lnTo>
                  <a:lnTo>
                    <a:pt x="2160" y="2348"/>
                  </a:lnTo>
                  <a:lnTo>
                    <a:pt x="2158" y="2352"/>
                  </a:lnTo>
                  <a:lnTo>
                    <a:pt x="2152" y="2356"/>
                  </a:lnTo>
                  <a:lnTo>
                    <a:pt x="2146" y="2360"/>
                  </a:lnTo>
                  <a:lnTo>
                    <a:pt x="2146" y="2362"/>
                  </a:lnTo>
                  <a:lnTo>
                    <a:pt x="2146" y="2368"/>
                  </a:lnTo>
                  <a:lnTo>
                    <a:pt x="2152" y="2376"/>
                  </a:lnTo>
                  <a:lnTo>
                    <a:pt x="2162" y="2382"/>
                  </a:lnTo>
                  <a:lnTo>
                    <a:pt x="2168" y="2384"/>
                  </a:lnTo>
                  <a:lnTo>
                    <a:pt x="2172" y="2384"/>
                  </a:lnTo>
                  <a:lnTo>
                    <a:pt x="2178" y="2382"/>
                  </a:lnTo>
                  <a:lnTo>
                    <a:pt x="2184" y="2378"/>
                  </a:lnTo>
                  <a:lnTo>
                    <a:pt x="2190" y="2376"/>
                  </a:lnTo>
                  <a:lnTo>
                    <a:pt x="2192" y="2374"/>
                  </a:lnTo>
                  <a:lnTo>
                    <a:pt x="2194" y="2376"/>
                  </a:lnTo>
                  <a:lnTo>
                    <a:pt x="2196" y="2378"/>
                  </a:lnTo>
                  <a:lnTo>
                    <a:pt x="2200" y="2384"/>
                  </a:lnTo>
                  <a:lnTo>
                    <a:pt x="2202" y="2386"/>
                  </a:lnTo>
                  <a:lnTo>
                    <a:pt x="2208" y="2386"/>
                  </a:lnTo>
                  <a:lnTo>
                    <a:pt x="2212" y="2386"/>
                  </a:lnTo>
                  <a:lnTo>
                    <a:pt x="2216" y="2388"/>
                  </a:lnTo>
                  <a:lnTo>
                    <a:pt x="2218" y="2392"/>
                  </a:lnTo>
                  <a:lnTo>
                    <a:pt x="2218" y="2396"/>
                  </a:lnTo>
                  <a:lnTo>
                    <a:pt x="2220" y="2398"/>
                  </a:lnTo>
                  <a:lnTo>
                    <a:pt x="2224" y="2402"/>
                  </a:lnTo>
                  <a:lnTo>
                    <a:pt x="2232" y="2402"/>
                  </a:lnTo>
                  <a:lnTo>
                    <a:pt x="2248" y="2404"/>
                  </a:lnTo>
                  <a:lnTo>
                    <a:pt x="2256" y="2404"/>
                  </a:lnTo>
                  <a:lnTo>
                    <a:pt x="2262" y="2404"/>
                  </a:lnTo>
                  <a:lnTo>
                    <a:pt x="2268" y="2402"/>
                  </a:lnTo>
                  <a:lnTo>
                    <a:pt x="2276" y="2398"/>
                  </a:lnTo>
                  <a:lnTo>
                    <a:pt x="2282" y="2390"/>
                  </a:lnTo>
                  <a:lnTo>
                    <a:pt x="2288" y="2380"/>
                  </a:lnTo>
                  <a:lnTo>
                    <a:pt x="2296" y="2372"/>
                  </a:lnTo>
                  <a:lnTo>
                    <a:pt x="2302" y="2366"/>
                  </a:lnTo>
                  <a:lnTo>
                    <a:pt x="2308" y="2362"/>
                  </a:lnTo>
                  <a:lnTo>
                    <a:pt x="2314" y="2360"/>
                  </a:lnTo>
                  <a:lnTo>
                    <a:pt x="2320" y="2358"/>
                  </a:lnTo>
                  <a:lnTo>
                    <a:pt x="2320" y="2356"/>
                  </a:lnTo>
                  <a:lnTo>
                    <a:pt x="2318" y="2352"/>
                  </a:lnTo>
                  <a:lnTo>
                    <a:pt x="2318" y="2346"/>
                  </a:lnTo>
                  <a:lnTo>
                    <a:pt x="2318" y="2340"/>
                  </a:lnTo>
                  <a:lnTo>
                    <a:pt x="2324" y="2328"/>
                  </a:lnTo>
                  <a:lnTo>
                    <a:pt x="2332" y="2312"/>
                  </a:lnTo>
                  <a:lnTo>
                    <a:pt x="2336" y="2300"/>
                  </a:lnTo>
                  <a:lnTo>
                    <a:pt x="2336" y="2288"/>
                  </a:lnTo>
                  <a:lnTo>
                    <a:pt x="2340" y="2276"/>
                  </a:lnTo>
                  <a:lnTo>
                    <a:pt x="2346" y="2266"/>
                  </a:lnTo>
                  <a:lnTo>
                    <a:pt x="2354" y="2258"/>
                  </a:lnTo>
                  <a:lnTo>
                    <a:pt x="2364" y="2252"/>
                  </a:lnTo>
                  <a:lnTo>
                    <a:pt x="2376" y="2248"/>
                  </a:lnTo>
                  <a:lnTo>
                    <a:pt x="2386" y="2246"/>
                  </a:lnTo>
                  <a:lnTo>
                    <a:pt x="2394" y="2244"/>
                  </a:lnTo>
                  <a:lnTo>
                    <a:pt x="2400" y="2246"/>
                  </a:lnTo>
                  <a:lnTo>
                    <a:pt x="2406" y="2246"/>
                  </a:lnTo>
                  <a:lnTo>
                    <a:pt x="2410" y="2246"/>
                  </a:lnTo>
                  <a:lnTo>
                    <a:pt x="2414" y="2244"/>
                  </a:lnTo>
                  <a:lnTo>
                    <a:pt x="2416" y="2242"/>
                  </a:lnTo>
                  <a:lnTo>
                    <a:pt x="2418" y="2238"/>
                  </a:lnTo>
                  <a:lnTo>
                    <a:pt x="2418" y="2236"/>
                  </a:lnTo>
                  <a:lnTo>
                    <a:pt x="2416" y="2232"/>
                  </a:lnTo>
                  <a:lnTo>
                    <a:pt x="2410" y="2230"/>
                  </a:lnTo>
                  <a:lnTo>
                    <a:pt x="2404" y="2228"/>
                  </a:lnTo>
                  <a:lnTo>
                    <a:pt x="2402" y="2224"/>
                  </a:lnTo>
                  <a:lnTo>
                    <a:pt x="2400" y="2218"/>
                  </a:lnTo>
                  <a:lnTo>
                    <a:pt x="2400" y="2214"/>
                  </a:lnTo>
                  <a:lnTo>
                    <a:pt x="2400" y="2208"/>
                  </a:lnTo>
                  <a:lnTo>
                    <a:pt x="2402" y="2204"/>
                  </a:lnTo>
                  <a:lnTo>
                    <a:pt x="2406" y="2200"/>
                  </a:lnTo>
                  <a:lnTo>
                    <a:pt x="2410" y="2198"/>
                  </a:lnTo>
                  <a:lnTo>
                    <a:pt x="2416" y="2196"/>
                  </a:lnTo>
                  <a:lnTo>
                    <a:pt x="2420" y="2192"/>
                  </a:lnTo>
                  <a:lnTo>
                    <a:pt x="2430" y="2178"/>
                  </a:lnTo>
                  <a:lnTo>
                    <a:pt x="2440" y="2160"/>
                  </a:lnTo>
                  <a:lnTo>
                    <a:pt x="2454" y="2138"/>
                  </a:lnTo>
                  <a:lnTo>
                    <a:pt x="2460" y="2130"/>
                  </a:lnTo>
                  <a:lnTo>
                    <a:pt x="2462" y="2124"/>
                  </a:lnTo>
                  <a:lnTo>
                    <a:pt x="2462" y="2120"/>
                  </a:lnTo>
                  <a:lnTo>
                    <a:pt x="2460" y="2118"/>
                  </a:lnTo>
                  <a:lnTo>
                    <a:pt x="2456" y="2116"/>
                  </a:lnTo>
                  <a:lnTo>
                    <a:pt x="2454" y="2114"/>
                  </a:lnTo>
                  <a:lnTo>
                    <a:pt x="2454" y="2110"/>
                  </a:lnTo>
                  <a:lnTo>
                    <a:pt x="2456" y="2102"/>
                  </a:lnTo>
                  <a:close/>
                  <a:moveTo>
                    <a:pt x="2684" y="808"/>
                  </a:moveTo>
                  <a:lnTo>
                    <a:pt x="2684" y="808"/>
                  </a:lnTo>
                  <a:lnTo>
                    <a:pt x="2680" y="812"/>
                  </a:lnTo>
                  <a:lnTo>
                    <a:pt x="2678" y="810"/>
                  </a:lnTo>
                  <a:lnTo>
                    <a:pt x="2682" y="802"/>
                  </a:lnTo>
                  <a:lnTo>
                    <a:pt x="2688" y="794"/>
                  </a:lnTo>
                  <a:lnTo>
                    <a:pt x="2690" y="792"/>
                  </a:lnTo>
                  <a:lnTo>
                    <a:pt x="2690" y="790"/>
                  </a:lnTo>
                  <a:lnTo>
                    <a:pt x="2688" y="788"/>
                  </a:lnTo>
                  <a:lnTo>
                    <a:pt x="2684" y="790"/>
                  </a:lnTo>
                  <a:lnTo>
                    <a:pt x="2676" y="794"/>
                  </a:lnTo>
                  <a:lnTo>
                    <a:pt x="2664" y="800"/>
                  </a:lnTo>
                  <a:lnTo>
                    <a:pt x="2658" y="804"/>
                  </a:lnTo>
                  <a:lnTo>
                    <a:pt x="2652" y="806"/>
                  </a:lnTo>
                  <a:lnTo>
                    <a:pt x="2648" y="806"/>
                  </a:lnTo>
                  <a:lnTo>
                    <a:pt x="2646" y="812"/>
                  </a:lnTo>
                  <a:lnTo>
                    <a:pt x="2644" y="814"/>
                  </a:lnTo>
                  <a:lnTo>
                    <a:pt x="2642" y="816"/>
                  </a:lnTo>
                  <a:lnTo>
                    <a:pt x="2636" y="814"/>
                  </a:lnTo>
                  <a:lnTo>
                    <a:pt x="2634" y="814"/>
                  </a:lnTo>
                  <a:lnTo>
                    <a:pt x="2634" y="816"/>
                  </a:lnTo>
                  <a:lnTo>
                    <a:pt x="2636" y="826"/>
                  </a:lnTo>
                  <a:lnTo>
                    <a:pt x="2640" y="832"/>
                  </a:lnTo>
                  <a:lnTo>
                    <a:pt x="2642" y="832"/>
                  </a:lnTo>
                  <a:lnTo>
                    <a:pt x="2656" y="822"/>
                  </a:lnTo>
                  <a:lnTo>
                    <a:pt x="2660" y="820"/>
                  </a:lnTo>
                  <a:lnTo>
                    <a:pt x="2662" y="820"/>
                  </a:lnTo>
                  <a:lnTo>
                    <a:pt x="2664" y="820"/>
                  </a:lnTo>
                  <a:lnTo>
                    <a:pt x="2666" y="822"/>
                  </a:lnTo>
                  <a:lnTo>
                    <a:pt x="2666" y="824"/>
                  </a:lnTo>
                  <a:lnTo>
                    <a:pt x="2668" y="824"/>
                  </a:lnTo>
                  <a:lnTo>
                    <a:pt x="2670" y="824"/>
                  </a:lnTo>
                  <a:lnTo>
                    <a:pt x="2678" y="820"/>
                  </a:lnTo>
                  <a:lnTo>
                    <a:pt x="2684" y="820"/>
                  </a:lnTo>
                  <a:lnTo>
                    <a:pt x="2690" y="820"/>
                  </a:lnTo>
                  <a:lnTo>
                    <a:pt x="2688" y="816"/>
                  </a:lnTo>
                  <a:lnTo>
                    <a:pt x="2688" y="810"/>
                  </a:lnTo>
                  <a:lnTo>
                    <a:pt x="2688" y="806"/>
                  </a:lnTo>
                  <a:lnTo>
                    <a:pt x="2684" y="808"/>
                  </a:lnTo>
                  <a:close/>
                  <a:moveTo>
                    <a:pt x="2600" y="1904"/>
                  </a:moveTo>
                  <a:lnTo>
                    <a:pt x="2600" y="1904"/>
                  </a:lnTo>
                  <a:lnTo>
                    <a:pt x="2596" y="1910"/>
                  </a:lnTo>
                  <a:lnTo>
                    <a:pt x="2592" y="1916"/>
                  </a:lnTo>
                  <a:lnTo>
                    <a:pt x="2586" y="1918"/>
                  </a:lnTo>
                  <a:lnTo>
                    <a:pt x="2580" y="1918"/>
                  </a:lnTo>
                  <a:lnTo>
                    <a:pt x="2574" y="1918"/>
                  </a:lnTo>
                  <a:lnTo>
                    <a:pt x="2566" y="1914"/>
                  </a:lnTo>
                  <a:lnTo>
                    <a:pt x="2548" y="1906"/>
                  </a:lnTo>
                  <a:lnTo>
                    <a:pt x="2540" y="1900"/>
                  </a:lnTo>
                  <a:lnTo>
                    <a:pt x="2534" y="1892"/>
                  </a:lnTo>
                  <a:lnTo>
                    <a:pt x="2530" y="1884"/>
                  </a:lnTo>
                  <a:lnTo>
                    <a:pt x="2528" y="1876"/>
                  </a:lnTo>
                  <a:lnTo>
                    <a:pt x="2522" y="1856"/>
                  </a:lnTo>
                  <a:lnTo>
                    <a:pt x="2518" y="1848"/>
                  </a:lnTo>
                  <a:lnTo>
                    <a:pt x="2514" y="1840"/>
                  </a:lnTo>
                  <a:lnTo>
                    <a:pt x="2508" y="1834"/>
                  </a:lnTo>
                  <a:lnTo>
                    <a:pt x="2504" y="1832"/>
                  </a:lnTo>
                  <a:lnTo>
                    <a:pt x="2504" y="1834"/>
                  </a:lnTo>
                  <a:lnTo>
                    <a:pt x="2504" y="1838"/>
                  </a:lnTo>
                  <a:lnTo>
                    <a:pt x="2506" y="1850"/>
                  </a:lnTo>
                  <a:lnTo>
                    <a:pt x="2512" y="1868"/>
                  </a:lnTo>
                  <a:lnTo>
                    <a:pt x="2514" y="1874"/>
                  </a:lnTo>
                  <a:lnTo>
                    <a:pt x="2512" y="1876"/>
                  </a:lnTo>
                  <a:lnTo>
                    <a:pt x="2506" y="1874"/>
                  </a:lnTo>
                  <a:lnTo>
                    <a:pt x="2498" y="1868"/>
                  </a:lnTo>
                  <a:lnTo>
                    <a:pt x="2490" y="1862"/>
                  </a:lnTo>
                  <a:lnTo>
                    <a:pt x="2484" y="1854"/>
                  </a:lnTo>
                  <a:lnTo>
                    <a:pt x="2482" y="1844"/>
                  </a:lnTo>
                  <a:lnTo>
                    <a:pt x="2482" y="1836"/>
                  </a:lnTo>
                  <a:lnTo>
                    <a:pt x="2482" y="1830"/>
                  </a:lnTo>
                  <a:lnTo>
                    <a:pt x="2482" y="1826"/>
                  </a:lnTo>
                  <a:lnTo>
                    <a:pt x="2478" y="1818"/>
                  </a:lnTo>
                  <a:lnTo>
                    <a:pt x="2474" y="1810"/>
                  </a:lnTo>
                  <a:lnTo>
                    <a:pt x="2472" y="1806"/>
                  </a:lnTo>
                  <a:lnTo>
                    <a:pt x="2472" y="1802"/>
                  </a:lnTo>
                  <a:lnTo>
                    <a:pt x="2472" y="1792"/>
                  </a:lnTo>
                  <a:lnTo>
                    <a:pt x="2470" y="1786"/>
                  </a:lnTo>
                  <a:lnTo>
                    <a:pt x="2466" y="1780"/>
                  </a:lnTo>
                  <a:lnTo>
                    <a:pt x="2462" y="1770"/>
                  </a:lnTo>
                  <a:lnTo>
                    <a:pt x="2454" y="1762"/>
                  </a:lnTo>
                  <a:lnTo>
                    <a:pt x="2448" y="1758"/>
                  </a:lnTo>
                  <a:lnTo>
                    <a:pt x="2440" y="1754"/>
                  </a:lnTo>
                  <a:lnTo>
                    <a:pt x="2428" y="1752"/>
                  </a:lnTo>
                  <a:lnTo>
                    <a:pt x="2424" y="1750"/>
                  </a:lnTo>
                  <a:lnTo>
                    <a:pt x="2422" y="1748"/>
                  </a:lnTo>
                  <a:lnTo>
                    <a:pt x="2418" y="1738"/>
                  </a:lnTo>
                  <a:lnTo>
                    <a:pt x="2412" y="1730"/>
                  </a:lnTo>
                  <a:lnTo>
                    <a:pt x="2408" y="1726"/>
                  </a:lnTo>
                  <a:lnTo>
                    <a:pt x="2402" y="1726"/>
                  </a:lnTo>
                  <a:lnTo>
                    <a:pt x="2394" y="1726"/>
                  </a:lnTo>
                  <a:lnTo>
                    <a:pt x="2394" y="1728"/>
                  </a:lnTo>
                  <a:lnTo>
                    <a:pt x="2394" y="1730"/>
                  </a:lnTo>
                  <a:lnTo>
                    <a:pt x="2400" y="1736"/>
                  </a:lnTo>
                  <a:lnTo>
                    <a:pt x="2410" y="1748"/>
                  </a:lnTo>
                  <a:lnTo>
                    <a:pt x="2414" y="1754"/>
                  </a:lnTo>
                  <a:lnTo>
                    <a:pt x="2416" y="1758"/>
                  </a:lnTo>
                  <a:lnTo>
                    <a:pt x="2416" y="1762"/>
                  </a:lnTo>
                  <a:lnTo>
                    <a:pt x="2416" y="1764"/>
                  </a:lnTo>
                  <a:lnTo>
                    <a:pt x="2414" y="1768"/>
                  </a:lnTo>
                  <a:lnTo>
                    <a:pt x="2420" y="1776"/>
                  </a:lnTo>
                  <a:lnTo>
                    <a:pt x="2426" y="1784"/>
                  </a:lnTo>
                  <a:lnTo>
                    <a:pt x="2430" y="1794"/>
                  </a:lnTo>
                  <a:lnTo>
                    <a:pt x="2440" y="1814"/>
                  </a:lnTo>
                  <a:lnTo>
                    <a:pt x="2444" y="1822"/>
                  </a:lnTo>
                  <a:lnTo>
                    <a:pt x="2448" y="1828"/>
                  </a:lnTo>
                  <a:lnTo>
                    <a:pt x="2452" y="1830"/>
                  </a:lnTo>
                  <a:lnTo>
                    <a:pt x="2454" y="1826"/>
                  </a:lnTo>
                  <a:lnTo>
                    <a:pt x="2456" y="1822"/>
                  </a:lnTo>
                  <a:lnTo>
                    <a:pt x="2460" y="1822"/>
                  </a:lnTo>
                  <a:lnTo>
                    <a:pt x="2464" y="1830"/>
                  </a:lnTo>
                  <a:lnTo>
                    <a:pt x="2466" y="1840"/>
                  </a:lnTo>
                  <a:lnTo>
                    <a:pt x="2466" y="1842"/>
                  </a:lnTo>
                  <a:lnTo>
                    <a:pt x="2464" y="1842"/>
                  </a:lnTo>
                  <a:lnTo>
                    <a:pt x="2458" y="1838"/>
                  </a:lnTo>
                  <a:lnTo>
                    <a:pt x="2458" y="1842"/>
                  </a:lnTo>
                  <a:lnTo>
                    <a:pt x="2474" y="1878"/>
                  </a:lnTo>
                  <a:lnTo>
                    <a:pt x="2480" y="1892"/>
                  </a:lnTo>
                  <a:lnTo>
                    <a:pt x="2482" y="1902"/>
                  </a:lnTo>
                  <a:lnTo>
                    <a:pt x="2482" y="1910"/>
                  </a:lnTo>
                  <a:lnTo>
                    <a:pt x="2482" y="1916"/>
                  </a:lnTo>
                  <a:lnTo>
                    <a:pt x="2478" y="1928"/>
                  </a:lnTo>
                  <a:lnTo>
                    <a:pt x="2476" y="1936"/>
                  </a:lnTo>
                  <a:lnTo>
                    <a:pt x="2476" y="1946"/>
                  </a:lnTo>
                  <a:lnTo>
                    <a:pt x="2476" y="1954"/>
                  </a:lnTo>
                  <a:lnTo>
                    <a:pt x="2472" y="1962"/>
                  </a:lnTo>
                  <a:lnTo>
                    <a:pt x="2466" y="1968"/>
                  </a:lnTo>
                  <a:lnTo>
                    <a:pt x="2460" y="1972"/>
                  </a:lnTo>
                  <a:lnTo>
                    <a:pt x="2446" y="1980"/>
                  </a:lnTo>
                  <a:lnTo>
                    <a:pt x="2442" y="1984"/>
                  </a:lnTo>
                  <a:lnTo>
                    <a:pt x="2440" y="1988"/>
                  </a:lnTo>
                  <a:lnTo>
                    <a:pt x="2440" y="1994"/>
                  </a:lnTo>
                  <a:lnTo>
                    <a:pt x="2444" y="2000"/>
                  </a:lnTo>
                  <a:lnTo>
                    <a:pt x="2456" y="2010"/>
                  </a:lnTo>
                  <a:lnTo>
                    <a:pt x="2474" y="2020"/>
                  </a:lnTo>
                  <a:lnTo>
                    <a:pt x="2488" y="2028"/>
                  </a:lnTo>
                  <a:lnTo>
                    <a:pt x="2494" y="2032"/>
                  </a:lnTo>
                  <a:lnTo>
                    <a:pt x="2496" y="2040"/>
                  </a:lnTo>
                  <a:lnTo>
                    <a:pt x="2498" y="2048"/>
                  </a:lnTo>
                  <a:lnTo>
                    <a:pt x="2496" y="2058"/>
                  </a:lnTo>
                  <a:lnTo>
                    <a:pt x="2492" y="2076"/>
                  </a:lnTo>
                  <a:lnTo>
                    <a:pt x="2488" y="2082"/>
                  </a:lnTo>
                  <a:lnTo>
                    <a:pt x="2484" y="2088"/>
                  </a:lnTo>
                  <a:lnTo>
                    <a:pt x="2478" y="2092"/>
                  </a:lnTo>
                  <a:lnTo>
                    <a:pt x="2474" y="2098"/>
                  </a:lnTo>
                  <a:lnTo>
                    <a:pt x="2474" y="2100"/>
                  </a:lnTo>
                  <a:lnTo>
                    <a:pt x="2476" y="2100"/>
                  </a:lnTo>
                  <a:lnTo>
                    <a:pt x="2488" y="2106"/>
                  </a:lnTo>
                  <a:lnTo>
                    <a:pt x="2492" y="2108"/>
                  </a:lnTo>
                  <a:lnTo>
                    <a:pt x="2494" y="2110"/>
                  </a:lnTo>
                  <a:lnTo>
                    <a:pt x="2498" y="2116"/>
                  </a:lnTo>
                  <a:lnTo>
                    <a:pt x="2498" y="2120"/>
                  </a:lnTo>
                  <a:lnTo>
                    <a:pt x="2502" y="2120"/>
                  </a:lnTo>
                  <a:lnTo>
                    <a:pt x="2506" y="2118"/>
                  </a:lnTo>
                  <a:lnTo>
                    <a:pt x="2512" y="2114"/>
                  </a:lnTo>
                  <a:lnTo>
                    <a:pt x="2520" y="2108"/>
                  </a:lnTo>
                  <a:lnTo>
                    <a:pt x="2530" y="2094"/>
                  </a:lnTo>
                  <a:lnTo>
                    <a:pt x="2552" y="2062"/>
                  </a:lnTo>
                  <a:lnTo>
                    <a:pt x="2560" y="2044"/>
                  </a:lnTo>
                  <a:lnTo>
                    <a:pt x="2568" y="2028"/>
                  </a:lnTo>
                  <a:lnTo>
                    <a:pt x="2570" y="2016"/>
                  </a:lnTo>
                  <a:lnTo>
                    <a:pt x="2570" y="2010"/>
                  </a:lnTo>
                  <a:lnTo>
                    <a:pt x="2568" y="2006"/>
                  </a:lnTo>
                  <a:lnTo>
                    <a:pt x="2566" y="2002"/>
                  </a:lnTo>
                  <a:lnTo>
                    <a:pt x="2568" y="1998"/>
                  </a:lnTo>
                  <a:lnTo>
                    <a:pt x="2570" y="1992"/>
                  </a:lnTo>
                  <a:lnTo>
                    <a:pt x="2574" y="1986"/>
                  </a:lnTo>
                  <a:lnTo>
                    <a:pt x="2580" y="1982"/>
                  </a:lnTo>
                  <a:lnTo>
                    <a:pt x="2586" y="1980"/>
                  </a:lnTo>
                  <a:lnTo>
                    <a:pt x="2594" y="1982"/>
                  </a:lnTo>
                  <a:lnTo>
                    <a:pt x="2602" y="1986"/>
                  </a:lnTo>
                  <a:lnTo>
                    <a:pt x="2608" y="1990"/>
                  </a:lnTo>
                  <a:lnTo>
                    <a:pt x="2610" y="1990"/>
                  </a:lnTo>
                  <a:lnTo>
                    <a:pt x="2612" y="1988"/>
                  </a:lnTo>
                  <a:lnTo>
                    <a:pt x="2612" y="1984"/>
                  </a:lnTo>
                  <a:lnTo>
                    <a:pt x="2610" y="1978"/>
                  </a:lnTo>
                  <a:lnTo>
                    <a:pt x="2608" y="1970"/>
                  </a:lnTo>
                  <a:lnTo>
                    <a:pt x="2608" y="1964"/>
                  </a:lnTo>
                  <a:lnTo>
                    <a:pt x="2610" y="1958"/>
                  </a:lnTo>
                  <a:lnTo>
                    <a:pt x="2612" y="1956"/>
                  </a:lnTo>
                  <a:lnTo>
                    <a:pt x="2614" y="1954"/>
                  </a:lnTo>
                  <a:lnTo>
                    <a:pt x="2620" y="1952"/>
                  </a:lnTo>
                  <a:lnTo>
                    <a:pt x="2624" y="1948"/>
                  </a:lnTo>
                  <a:lnTo>
                    <a:pt x="2626" y="1942"/>
                  </a:lnTo>
                  <a:lnTo>
                    <a:pt x="2626" y="1934"/>
                  </a:lnTo>
                  <a:lnTo>
                    <a:pt x="2628" y="1920"/>
                  </a:lnTo>
                  <a:lnTo>
                    <a:pt x="2628" y="1912"/>
                  </a:lnTo>
                  <a:lnTo>
                    <a:pt x="2630" y="1908"/>
                  </a:lnTo>
                  <a:lnTo>
                    <a:pt x="2632" y="1904"/>
                  </a:lnTo>
                  <a:lnTo>
                    <a:pt x="2630" y="1900"/>
                  </a:lnTo>
                  <a:lnTo>
                    <a:pt x="2626" y="1896"/>
                  </a:lnTo>
                  <a:lnTo>
                    <a:pt x="2620" y="1894"/>
                  </a:lnTo>
                  <a:lnTo>
                    <a:pt x="2614" y="1894"/>
                  </a:lnTo>
                  <a:lnTo>
                    <a:pt x="2608" y="1896"/>
                  </a:lnTo>
                  <a:lnTo>
                    <a:pt x="2604" y="1900"/>
                  </a:lnTo>
                  <a:lnTo>
                    <a:pt x="2600" y="1904"/>
                  </a:lnTo>
                  <a:close/>
                  <a:moveTo>
                    <a:pt x="2636" y="868"/>
                  </a:moveTo>
                  <a:lnTo>
                    <a:pt x="2636" y="868"/>
                  </a:lnTo>
                  <a:lnTo>
                    <a:pt x="2636" y="864"/>
                  </a:lnTo>
                  <a:lnTo>
                    <a:pt x="2634" y="860"/>
                  </a:lnTo>
                  <a:lnTo>
                    <a:pt x="2630" y="856"/>
                  </a:lnTo>
                  <a:lnTo>
                    <a:pt x="2626" y="854"/>
                  </a:lnTo>
                  <a:lnTo>
                    <a:pt x="2616" y="850"/>
                  </a:lnTo>
                  <a:lnTo>
                    <a:pt x="2606" y="852"/>
                  </a:lnTo>
                  <a:lnTo>
                    <a:pt x="2596" y="858"/>
                  </a:lnTo>
                  <a:lnTo>
                    <a:pt x="2588" y="864"/>
                  </a:lnTo>
                  <a:lnTo>
                    <a:pt x="2582" y="870"/>
                  </a:lnTo>
                  <a:lnTo>
                    <a:pt x="2580" y="876"/>
                  </a:lnTo>
                  <a:lnTo>
                    <a:pt x="2580" y="880"/>
                  </a:lnTo>
                  <a:lnTo>
                    <a:pt x="2580" y="882"/>
                  </a:lnTo>
                  <a:lnTo>
                    <a:pt x="2582" y="886"/>
                  </a:lnTo>
                  <a:lnTo>
                    <a:pt x="2586" y="888"/>
                  </a:lnTo>
                  <a:lnTo>
                    <a:pt x="2600" y="892"/>
                  </a:lnTo>
                  <a:lnTo>
                    <a:pt x="2610" y="896"/>
                  </a:lnTo>
                  <a:lnTo>
                    <a:pt x="2616" y="894"/>
                  </a:lnTo>
                  <a:lnTo>
                    <a:pt x="2620" y="890"/>
                  </a:lnTo>
                  <a:lnTo>
                    <a:pt x="2624" y="888"/>
                  </a:lnTo>
                  <a:lnTo>
                    <a:pt x="2626" y="886"/>
                  </a:lnTo>
                  <a:lnTo>
                    <a:pt x="2630" y="888"/>
                  </a:lnTo>
                  <a:lnTo>
                    <a:pt x="2636" y="890"/>
                  </a:lnTo>
                  <a:lnTo>
                    <a:pt x="2638" y="890"/>
                  </a:lnTo>
                  <a:lnTo>
                    <a:pt x="2640" y="888"/>
                  </a:lnTo>
                  <a:lnTo>
                    <a:pt x="2642" y="886"/>
                  </a:lnTo>
                  <a:lnTo>
                    <a:pt x="2640" y="882"/>
                  </a:lnTo>
                  <a:lnTo>
                    <a:pt x="2636" y="876"/>
                  </a:lnTo>
                  <a:lnTo>
                    <a:pt x="2636" y="872"/>
                  </a:lnTo>
                  <a:lnTo>
                    <a:pt x="2636" y="868"/>
                  </a:lnTo>
                  <a:close/>
                  <a:moveTo>
                    <a:pt x="2260" y="930"/>
                  </a:moveTo>
                  <a:lnTo>
                    <a:pt x="2260" y="930"/>
                  </a:lnTo>
                  <a:lnTo>
                    <a:pt x="2260" y="928"/>
                  </a:lnTo>
                  <a:lnTo>
                    <a:pt x="2262" y="924"/>
                  </a:lnTo>
                  <a:lnTo>
                    <a:pt x="2258" y="918"/>
                  </a:lnTo>
                  <a:lnTo>
                    <a:pt x="2254" y="912"/>
                  </a:lnTo>
                  <a:lnTo>
                    <a:pt x="2252" y="912"/>
                  </a:lnTo>
                  <a:lnTo>
                    <a:pt x="2248" y="914"/>
                  </a:lnTo>
                  <a:lnTo>
                    <a:pt x="2248" y="918"/>
                  </a:lnTo>
                  <a:lnTo>
                    <a:pt x="2248" y="920"/>
                  </a:lnTo>
                  <a:lnTo>
                    <a:pt x="2250" y="926"/>
                  </a:lnTo>
                  <a:lnTo>
                    <a:pt x="2256" y="930"/>
                  </a:lnTo>
                  <a:lnTo>
                    <a:pt x="2258" y="930"/>
                  </a:lnTo>
                  <a:lnTo>
                    <a:pt x="2260" y="930"/>
                  </a:lnTo>
                  <a:close/>
                  <a:moveTo>
                    <a:pt x="2258" y="948"/>
                  </a:moveTo>
                  <a:lnTo>
                    <a:pt x="2258" y="948"/>
                  </a:lnTo>
                  <a:lnTo>
                    <a:pt x="2256" y="950"/>
                  </a:lnTo>
                  <a:lnTo>
                    <a:pt x="2256" y="954"/>
                  </a:lnTo>
                  <a:lnTo>
                    <a:pt x="2258" y="960"/>
                  </a:lnTo>
                  <a:lnTo>
                    <a:pt x="2262" y="964"/>
                  </a:lnTo>
                  <a:lnTo>
                    <a:pt x="2266" y="966"/>
                  </a:lnTo>
                  <a:lnTo>
                    <a:pt x="2268" y="964"/>
                  </a:lnTo>
                  <a:lnTo>
                    <a:pt x="2268" y="962"/>
                  </a:lnTo>
                  <a:lnTo>
                    <a:pt x="2266" y="954"/>
                  </a:lnTo>
                  <a:lnTo>
                    <a:pt x="2262" y="948"/>
                  </a:lnTo>
                  <a:lnTo>
                    <a:pt x="2260" y="948"/>
                  </a:lnTo>
                  <a:lnTo>
                    <a:pt x="2258" y="948"/>
                  </a:lnTo>
                  <a:close/>
                  <a:moveTo>
                    <a:pt x="1490" y="460"/>
                  </a:moveTo>
                  <a:lnTo>
                    <a:pt x="1490" y="460"/>
                  </a:lnTo>
                  <a:lnTo>
                    <a:pt x="1492" y="462"/>
                  </a:lnTo>
                  <a:lnTo>
                    <a:pt x="1494" y="464"/>
                  </a:lnTo>
                  <a:lnTo>
                    <a:pt x="1496" y="462"/>
                  </a:lnTo>
                  <a:lnTo>
                    <a:pt x="1496" y="460"/>
                  </a:lnTo>
                  <a:lnTo>
                    <a:pt x="1496" y="454"/>
                  </a:lnTo>
                  <a:lnTo>
                    <a:pt x="1494" y="448"/>
                  </a:lnTo>
                  <a:lnTo>
                    <a:pt x="1490" y="446"/>
                  </a:lnTo>
                  <a:lnTo>
                    <a:pt x="1486" y="448"/>
                  </a:lnTo>
                  <a:lnTo>
                    <a:pt x="1486" y="452"/>
                  </a:lnTo>
                  <a:lnTo>
                    <a:pt x="1490" y="460"/>
                  </a:lnTo>
                  <a:close/>
                  <a:moveTo>
                    <a:pt x="1532" y="492"/>
                  </a:moveTo>
                  <a:lnTo>
                    <a:pt x="1532" y="492"/>
                  </a:lnTo>
                  <a:lnTo>
                    <a:pt x="1534" y="486"/>
                  </a:lnTo>
                  <a:lnTo>
                    <a:pt x="1534" y="482"/>
                  </a:lnTo>
                  <a:lnTo>
                    <a:pt x="1532" y="482"/>
                  </a:lnTo>
                  <a:lnTo>
                    <a:pt x="1530" y="482"/>
                  </a:lnTo>
                  <a:lnTo>
                    <a:pt x="1528" y="484"/>
                  </a:lnTo>
                  <a:lnTo>
                    <a:pt x="1526" y="484"/>
                  </a:lnTo>
                  <a:lnTo>
                    <a:pt x="1522" y="480"/>
                  </a:lnTo>
                  <a:lnTo>
                    <a:pt x="1518" y="478"/>
                  </a:lnTo>
                  <a:lnTo>
                    <a:pt x="1516" y="478"/>
                  </a:lnTo>
                  <a:lnTo>
                    <a:pt x="1518" y="486"/>
                  </a:lnTo>
                  <a:lnTo>
                    <a:pt x="1522" y="492"/>
                  </a:lnTo>
                  <a:lnTo>
                    <a:pt x="1528" y="496"/>
                  </a:lnTo>
                  <a:lnTo>
                    <a:pt x="1532" y="496"/>
                  </a:lnTo>
                  <a:lnTo>
                    <a:pt x="1532" y="492"/>
                  </a:lnTo>
                  <a:close/>
                  <a:moveTo>
                    <a:pt x="1520" y="466"/>
                  </a:moveTo>
                  <a:lnTo>
                    <a:pt x="1520" y="466"/>
                  </a:lnTo>
                  <a:lnTo>
                    <a:pt x="1516" y="458"/>
                  </a:lnTo>
                  <a:lnTo>
                    <a:pt x="1512" y="454"/>
                  </a:lnTo>
                  <a:lnTo>
                    <a:pt x="1508" y="454"/>
                  </a:lnTo>
                  <a:lnTo>
                    <a:pt x="1506" y="454"/>
                  </a:lnTo>
                  <a:lnTo>
                    <a:pt x="1504" y="456"/>
                  </a:lnTo>
                  <a:lnTo>
                    <a:pt x="1502" y="460"/>
                  </a:lnTo>
                  <a:lnTo>
                    <a:pt x="1500" y="468"/>
                  </a:lnTo>
                  <a:lnTo>
                    <a:pt x="1500" y="470"/>
                  </a:lnTo>
                  <a:lnTo>
                    <a:pt x="1504" y="470"/>
                  </a:lnTo>
                  <a:lnTo>
                    <a:pt x="1514" y="472"/>
                  </a:lnTo>
                  <a:lnTo>
                    <a:pt x="1518" y="470"/>
                  </a:lnTo>
                  <a:lnTo>
                    <a:pt x="1520" y="466"/>
                  </a:lnTo>
                  <a:close/>
                  <a:moveTo>
                    <a:pt x="1400" y="268"/>
                  </a:moveTo>
                  <a:lnTo>
                    <a:pt x="1400" y="268"/>
                  </a:lnTo>
                  <a:lnTo>
                    <a:pt x="1394" y="264"/>
                  </a:lnTo>
                  <a:lnTo>
                    <a:pt x="1392" y="264"/>
                  </a:lnTo>
                  <a:lnTo>
                    <a:pt x="1390" y="266"/>
                  </a:lnTo>
                  <a:lnTo>
                    <a:pt x="1392" y="272"/>
                  </a:lnTo>
                  <a:lnTo>
                    <a:pt x="1396" y="280"/>
                  </a:lnTo>
                  <a:lnTo>
                    <a:pt x="1398" y="282"/>
                  </a:lnTo>
                  <a:lnTo>
                    <a:pt x="1400" y="284"/>
                  </a:lnTo>
                  <a:lnTo>
                    <a:pt x="1402" y="282"/>
                  </a:lnTo>
                  <a:lnTo>
                    <a:pt x="1404" y="280"/>
                  </a:lnTo>
                  <a:lnTo>
                    <a:pt x="1404" y="274"/>
                  </a:lnTo>
                  <a:lnTo>
                    <a:pt x="1402" y="272"/>
                  </a:lnTo>
                  <a:lnTo>
                    <a:pt x="1400" y="268"/>
                  </a:lnTo>
                  <a:close/>
                  <a:moveTo>
                    <a:pt x="1360" y="254"/>
                  </a:moveTo>
                  <a:lnTo>
                    <a:pt x="1360" y="254"/>
                  </a:lnTo>
                  <a:lnTo>
                    <a:pt x="1360" y="256"/>
                  </a:lnTo>
                  <a:lnTo>
                    <a:pt x="1360" y="260"/>
                  </a:lnTo>
                  <a:lnTo>
                    <a:pt x="1362" y="264"/>
                  </a:lnTo>
                  <a:lnTo>
                    <a:pt x="1368" y="266"/>
                  </a:lnTo>
                  <a:lnTo>
                    <a:pt x="1372" y="264"/>
                  </a:lnTo>
                  <a:lnTo>
                    <a:pt x="1372" y="262"/>
                  </a:lnTo>
                  <a:lnTo>
                    <a:pt x="1372" y="260"/>
                  </a:lnTo>
                  <a:lnTo>
                    <a:pt x="1370" y="254"/>
                  </a:lnTo>
                  <a:lnTo>
                    <a:pt x="1366" y="252"/>
                  </a:lnTo>
                  <a:lnTo>
                    <a:pt x="1364" y="252"/>
                  </a:lnTo>
                  <a:lnTo>
                    <a:pt x="1360" y="254"/>
                  </a:lnTo>
                  <a:close/>
                  <a:moveTo>
                    <a:pt x="1320" y="218"/>
                  </a:moveTo>
                  <a:lnTo>
                    <a:pt x="1320" y="218"/>
                  </a:lnTo>
                  <a:lnTo>
                    <a:pt x="1318" y="216"/>
                  </a:lnTo>
                  <a:lnTo>
                    <a:pt x="1316" y="218"/>
                  </a:lnTo>
                  <a:lnTo>
                    <a:pt x="1314" y="220"/>
                  </a:lnTo>
                  <a:lnTo>
                    <a:pt x="1314" y="226"/>
                  </a:lnTo>
                  <a:lnTo>
                    <a:pt x="1316" y="232"/>
                  </a:lnTo>
                  <a:lnTo>
                    <a:pt x="1318" y="232"/>
                  </a:lnTo>
                  <a:lnTo>
                    <a:pt x="1320" y="232"/>
                  </a:lnTo>
                  <a:lnTo>
                    <a:pt x="1324" y="228"/>
                  </a:lnTo>
                  <a:lnTo>
                    <a:pt x="1324" y="224"/>
                  </a:lnTo>
                  <a:lnTo>
                    <a:pt x="1324" y="220"/>
                  </a:lnTo>
                  <a:lnTo>
                    <a:pt x="1320" y="218"/>
                  </a:lnTo>
                  <a:close/>
                  <a:moveTo>
                    <a:pt x="1360" y="106"/>
                  </a:moveTo>
                  <a:lnTo>
                    <a:pt x="1360" y="106"/>
                  </a:lnTo>
                  <a:lnTo>
                    <a:pt x="1370" y="106"/>
                  </a:lnTo>
                  <a:lnTo>
                    <a:pt x="1376" y="102"/>
                  </a:lnTo>
                  <a:lnTo>
                    <a:pt x="1376" y="100"/>
                  </a:lnTo>
                  <a:lnTo>
                    <a:pt x="1376" y="98"/>
                  </a:lnTo>
                  <a:lnTo>
                    <a:pt x="1374" y="98"/>
                  </a:lnTo>
                  <a:lnTo>
                    <a:pt x="1370" y="96"/>
                  </a:lnTo>
                  <a:lnTo>
                    <a:pt x="1362" y="94"/>
                  </a:lnTo>
                  <a:lnTo>
                    <a:pt x="1352" y="94"/>
                  </a:lnTo>
                  <a:lnTo>
                    <a:pt x="1344" y="96"/>
                  </a:lnTo>
                  <a:lnTo>
                    <a:pt x="1342" y="100"/>
                  </a:lnTo>
                  <a:lnTo>
                    <a:pt x="1340" y="102"/>
                  </a:lnTo>
                  <a:lnTo>
                    <a:pt x="1340" y="108"/>
                  </a:lnTo>
                  <a:lnTo>
                    <a:pt x="1344" y="108"/>
                  </a:lnTo>
                  <a:lnTo>
                    <a:pt x="1352" y="108"/>
                  </a:lnTo>
                  <a:lnTo>
                    <a:pt x="1360" y="106"/>
                  </a:lnTo>
                  <a:close/>
                  <a:moveTo>
                    <a:pt x="918" y="88"/>
                  </a:moveTo>
                  <a:lnTo>
                    <a:pt x="918" y="88"/>
                  </a:lnTo>
                  <a:lnTo>
                    <a:pt x="922" y="90"/>
                  </a:lnTo>
                  <a:lnTo>
                    <a:pt x="926" y="92"/>
                  </a:lnTo>
                  <a:lnTo>
                    <a:pt x="948" y="88"/>
                  </a:lnTo>
                  <a:lnTo>
                    <a:pt x="958" y="84"/>
                  </a:lnTo>
                  <a:lnTo>
                    <a:pt x="954" y="82"/>
                  </a:lnTo>
                  <a:lnTo>
                    <a:pt x="920" y="78"/>
                  </a:lnTo>
                  <a:lnTo>
                    <a:pt x="906" y="76"/>
                  </a:lnTo>
                  <a:lnTo>
                    <a:pt x="902" y="78"/>
                  </a:lnTo>
                  <a:lnTo>
                    <a:pt x="908" y="80"/>
                  </a:lnTo>
                  <a:lnTo>
                    <a:pt x="918" y="88"/>
                  </a:lnTo>
                  <a:close/>
                  <a:moveTo>
                    <a:pt x="910" y="44"/>
                  </a:moveTo>
                  <a:lnTo>
                    <a:pt x="910" y="44"/>
                  </a:lnTo>
                  <a:lnTo>
                    <a:pt x="912" y="46"/>
                  </a:lnTo>
                  <a:lnTo>
                    <a:pt x="914" y="48"/>
                  </a:lnTo>
                  <a:lnTo>
                    <a:pt x="914" y="54"/>
                  </a:lnTo>
                  <a:lnTo>
                    <a:pt x="916" y="56"/>
                  </a:lnTo>
                  <a:lnTo>
                    <a:pt x="918" y="56"/>
                  </a:lnTo>
                  <a:lnTo>
                    <a:pt x="922" y="58"/>
                  </a:lnTo>
                  <a:lnTo>
                    <a:pt x="930" y="56"/>
                  </a:lnTo>
                  <a:lnTo>
                    <a:pt x="936" y="54"/>
                  </a:lnTo>
                  <a:lnTo>
                    <a:pt x="938" y="52"/>
                  </a:lnTo>
                  <a:lnTo>
                    <a:pt x="936" y="50"/>
                  </a:lnTo>
                  <a:lnTo>
                    <a:pt x="928" y="46"/>
                  </a:lnTo>
                  <a:lnTo>
                    <a:pt x="924" y="44"/>
                  </a:lnTo>
                  <a:lnTo>
                    <a:pt x="920" y="38"/>
                  </a:lnTo>
                  <a:lnTo>
                    <a:pt x="916" y="34"/>
                  </a:lnTo>
                  <a:lnTo>
                    <a:pt x="906" y="30"/>
                  </a:lnTo>
                  <a:lnTo>
                    <a:pt x="896" y="30"/>
                  </a:lnTo>
                  <a:lnTo>
                    <a:pt x="894" y="30"/>
                  </a:lnTo>
                  <a:lnTo>
                    <a:pt x="896" y="32"/>
                  </a:lnTo>
                  <a:lnTo>
                    <a:pt x="902" y="38"/>
                  </a:lnTo>
                  <a:lnTo>
                    <a:pt x="910" y="44"/>
                  </a:lnTo>
                  <a:close/>
                  <a:moveTo>
                    <a:pt x="868" y="284"/>
                  </a:moveTo>
                  <a:lnTo>
                    <a:pt x="868" y="284"/>
                  </a:lnTo>
                  <a:lnTo>
                    <a:pt x="866" y="272"/>
                  </a:lnTo>
                  <a:lnTo>
                    <a:pt x="862" y="266"/>
                  </a:lnTo>
                  <a:lnTo>
                    <a:pt x="860" y="264"/>
                  </a:lnTo>
                  <a:lnTo>
                    <a:pt x="858" y="264"/>
                  </a:lnTo>
                  <a:lnTo>
                    <a:pt x="856" y="270"/>
                  </a:lnTo>
                  <a:lnTo>
                    <a:pt x="852" y="276"/>
                  </a:lnTo>
                  <a:lnTo>
                    <a:pt x="850" y="276"/>
                  </a:lnTo>
                  <a:lnTo>
                    <a:pt x="848" y="276"/>
                  </a:lnTo>
                  <a:lnTo>
                    <a:pt x="846" y="278"/>
                  </a:lnTo>
                  <a:lnTo>
                    <a:pt x="848" y="280"/>
                  </a:lnTo>
                  <a:lnTo>
                    <a:pt x="848" y="282"/>
                  </a:lnTo>
                  <a:lnTo>
                    <a:pt x="850" y="284"/>
                  </a:lnTo>
                  <a:lnTo>
                    <a:pt x="850" y="288"/>
                  </a:lnTo>
                  <a:lnTo>
                    <a:pt x="850" y="296"/>
                  </a:lnTo>
                  <a:lnTo>
                    <a:pt x="852" y="300"/>
                  </a:lnTo>
                  <a:lnTo>
                    <a:pt x="860" y="308"/>
                  </a:lnTo>
                  <a:lnTo>
                    <a:pt x="864" y="310"/>
                  </a:lnTo>
                  <a:lnTo>
                    <a:pt x="866" y="306"/>
                  </a:lnTo>
                  <a:lnTo>
                    <a:pt x="868" y="298"/>
                  </a:lnTo>
                  <a:lnTo>
                    <a:pt x="868" y="284"/>
                  </a:lnTo>
                  <a:close/>
                  <a:moveTo>
                    <a:pt x="852" y="306"/>
                  </a:moveTo>
                  <a:lnTo>
                    <a:pt x="852" y="306"/>
                  </a:lnTo>
                  <a:lnTo>
                    <a:pt x="848" y="302"/>
                  </a:lnTo>
                  <a:lnTo>
                    <a:pt x="846" y="298"/>
                  </a:lnTo>
                  <a:lnTo>
                    <a:pt x="844" y="296"/>
                  </a:lnTo>
                  <a:lnTo>
                    <a:pt x="844" y="302"/>
                  </a:lnTo>
                  <a:lnTo>
                    <a:pt x="846" y="304"/>
                  </a:lnTo>
                  <a:lnTo>
                    <a:pt x="852" y="310"/>
                  </a:lnTo>
                  <a:lnTo>
                    <a:pt x="858" y="318"/>
                  </a:lnTo>
                  <a:lnTo>
                    <a:pt x="858" y="314"/>
                  </a:lnTo>
                  <a:lnTo>
                    <a:pt x="856" y="310"/>
                  </a:lnTo>
                  <a:lnTo>
                    <a:pt x="852" y="306"/>
                  </a:lnTo>
                  <a:close/>
                  <a:moveTo>
                    <a:pt x="1028" y="396"/>
                  </a:moveTo>
                  <a:lnTo>
                    <a:pt x="1028" y="396"/>
                  </a:lnTo>
                  <a:lnTo>
                    <a:pt x="1032" y="394"/>
                  </a:lnTo>
                  <a:lnTo>
                    <a:pt x="1032" y="392"/>
                  </a:lnTo>
                  <a:lnTo>
                    <a:pt x="1036" y="380"/>
                  </a:lnTo>
                  <a:lnTo>
                    <a:pt x="1040" y="372"/>
                  </a:lnTo>
                  <a:lnTo>
                    <a:pt x="1040" y="370"/>
                  </a:lnTo>
                  <a:lnTo>
                    <a:pt x="1036" y="368"/>
                  </a:lnTo>
                  <a:lnTo>
                    <a:pt x="1034" y="366"/>
                  </a:lnTo>
                  <a:lnTo>
                    <a:pt x="1032" y="364"/>
                  </a:lnTo>
                  <a:lnTo>
                    <a:pt x="1032" y="362"/>
                  </a:lnTo>
                  <a:lnTo>
                    <a:pt x="1028" y="360"/>
                  </a:lnTo>
                  <a:lnTo>
                    <a:pt x="1024" y="358"/>
                  </a:lnTo>
                  <a:lnTo>
                    <a:pt x="1018" y="360"/>
                  </a:lnTo>
                  <a:lnTo>
                    <a:pt x="1008" y="366"/>
                  </a:lnTo>
                  <a:lnTo>
                    <a:pt x="998" y="374"/>
                  </a:lnTo>
                  <a:lnTo>
                    <a:pt x="994" y="378"/>
                  </a:lnTo>
                  <a:lnTo>
                    <a:pt x="994" y="384"/>
                  </a:lnTo>
                  <a:lnTo>
                    <a:pt x="992" y="388"/>
                  </a:lnTo>
                  <a:lnTo>
                    <a:pt x="988" y="396"/>
                  </a:lnTo>
                  <a:lnTo>
                    <a:pt x="984" y="402"/>
                  </a:lnTo>
                  <a:lnTo>
                    <a:pt x="984" y="408"/>
                  </a:lnTo>
                  <a:lnTo>
                    <a:pt x="984" y="410"/>
                  </a:lnTo>
                  <a:lnTo>
                    <a:pt x="984" y="412"/>
                  </a:lnTo>
                  <a:lnTo>
                    <a:pt x="988" y="410"/>
                  </a:lnTo>
                  <a:lnTo>
                    <a:pt x="996" y="408"/>
                  </a:lnTo>
                  <a:lnTo>
                    <a:pt x="1000" y="408"/>
                  </a:lnTo>
                  <a:lnTo>
                    <a:pt x="1006" y="410"/>
                  </a:lnTo>
                  <a:lnTo>
                    <a:pt x="1012" y="410"/>
                  </a:lnTo>
                  <a:lnTo>
                    <a:pt x="1016" y="410"/>
                  </a:lnTo>
                  <a:lnTo>
                    <a:pt x="1020" y="406"/>
                  </a:lnTo>
                  <a:lnTo>
                    <a:pt x="1024" y="400"/>
                  </a:lnTo>
                  <a:lnTo>
                    <a:pt x="1028" y="396"/>
                  </a:lnTo>
                  <a:close/>
                  <a:moveTo>
                    <a:pt x="1032" y="410"/>
                  </a:moveTo>
                  <a:lnTo>
                    <a:pt x="1032" y="410"/>
                  </a:lnTo>
                  <a:lnTo>
                    <a:pt x="1036" y="410"/>
                  </a:lnTo>
                  <a:lnTo>
                    <a:pt x="1036" y="406"/>
                  </a:lnTo>
                  <a:lnTo>
                    <a:pt x="1034" y="402"/>
                  </a:lnTo>
                  <a:lnTo>
                    <a:pt x="1032" y="400"/>
                  </a:lnTo>
                  <a:lnTo>
                    <a:pt x="1032" y="398"/>
                  </a:lnTo>
                  <a:lnTo>
                    <a:pt x="1030" y="398"/>
                  </a:lnTo>
                  <a:lnTo>
                    <a:pt x="1026" y="400"/>
                  </a:lnTo>
                  <a:lnTo>
                    <a:pt x="1024" y="404"/>
                  </a:lnTo>
                  <a:lnTo>
                    <a:pt x="1024" y="408"/>
                  </a:lnTo>
                  <a:lnTo>
                    <a:pt x="1024" y="410"/>
                  </a:lnTo>
                  <a:lnTo>
                    <a:pt x="1032" y="410"/>
                  </a:lnTo>
                  <a:close/>
                  <a:moveTo>
                    <a:pt x="1044" y="820"/>
                  </a:moveTo>
                  <a:lnTo>
                    <a:pt x="1044" y="820"/>
                  </a:lnTo>
                  <a:lnTo>
                    <a:pt x="1046" y="820"/>
                  </a:lnTo>
                  <a:lnTo>
                    <a:pt x="1050" y="820"/>
                  </a:lnTo>
                  <a:lnTo>
                    <a:pt x="1054" y="816"/>
                  </a:lnTo>
                  <a:lnTo>
                    <a:pt x="1056" y="812"/>
                  </a:lnTo>
                  <a:lnTo>
                    <a:pt x="1060" y="812"/>
                  </a:lnTo>
                  <a:lnTo>
                    <a:pt x="1064" y="810"/>
                  </a:lnTo>
                  <a:lnTo>
                    <a:pt x="1068" y="808"/>
                  </a:lnTo>
                  <a:lnTo>
                    <a:pt x="1068" y="806"/>
                  </a:lnTo>
                  <a:lnTo>
                    <a:pt x="1066" y="804"/>
                  </a:lnTo>
                  <a:lnTo>
                    <a:pt x="1064" y="802"/>
                  </a:lnTo>
                  <a:lnTo>
                    <a:pt x="1060" y="804"/>
                  </a:lnTo>
                  <a:lnTo>
                    <a:pt x="1052" y="808"/>
                  </a:lnTo>
                  <a:lnTo>
                    <a:pt x="1046" y="814"/>
                  </a:lnTo>
                  <a:lnTo>
                    <a:pt x="1044" y="818"/>
                  </a:lnTo>
                  <a:lnTo>
                    <a:pt x="1044" y="820"/>
                  </a:lnTo>
                  <a:close/>
                  <a:moveTo>
                    <a:pt x="844" y="336"/>
                  </a:moveTo>
                  <a:lnTo>
                    <a:pt x="844" y="336"/>
                  </a:lnTo>
                  <a:lnTo>
                    <a:pt x="852" y="332"/>
                  </a:lnTo>
                  <a:lnTo>
                    <a:pt x="856" y="326"/>
                  </a:lnTo>
                  <a:lnTo>
                    <a:pt x="854" y="320"/>
                  </a:lnTo>
                  <a:lnTo>
                    <a:pt x="850" y="312"/>
                  </a:lnTo>
                  <a:lnTo>
                    <a:pt x="846" y="306"/>
                  </a:lnTo>
                  <a:lnTo>
                    <a:pt x="842" y="306"/>
                  </a:lnTo>
                  <a:lnTo>
                    <a:pt x="840" y="310"/>
                  </a:lnTo>
                  <a:lnTo>
                    <a:pt x="840" y="316"/>
                  </a:lnTo>
                  <a:lnTo>
                    <a:pt x="840" y="330"/>
                  </a:lnTo>
                  <a:lnTo>
                    <a:pt x="842" y="336"/>
                  </a:lnTo>
                  <a:lnTo>
                    <a:pt x="844" y="336"/>
                  </a:lnTo>
                  <a:close/>
                  <a:moveTo>
                    <a:pt x="794" y="292"/>
                  </a:moveTo>
                  <a:lnTo>
                    <a:pt x="794" y="292"/>
                  </a:lnTo>
                  <a:lnTo>
                    <a:pt x="800" y="276"/>
                  </a:lnTo>
                  <a:lnTo>
                    <a:pt x="804" y="264"/>
                  </a:lnTo>
                  <a:lnTo>
                    <a:pt x="806" y="256"/>
                  </a:lnTo>
                  <a:lnTo>
                    <a:pt x="804" y="256"/>
                  </a:lnTo>
                  <a:lnTo>
                    <a:pt x="798" y="264"/>
                  </a:lnTo>
                  <a:lnTo>
                    <a:pt x="794" y="278"/>
                  </a:lnTo>
                  <a:lnTo>
                    <a:pt x="794" y="292"/>
                  </a:lnTo>
                  <a:close/>
                  <a:moveTo>
                    <a:pt x="1118" y="446"/>
                  </a:moveTo>
                  <a:lnTo>
                    <a:pt x="1118" y="446"/>
                  </a:lnTo>
                  <a:lnTo>
                    <a:pt x="1122" y="448"/>
                  </a:lnTo>
                  <a:lnTo>
                    <a:pt x="1128" y="450"/>
                  </a:lnTo>
                  <a:lnTo>
                    <a:pt x="1142" y="448"/>
                  </a:lnTo>
                  <a:lnTo>
                    <a:pt x="1158" y="448"/>
                  </a:lnTo>
                  <a:lnTo>
                    <a:pt x="1166" y="450"/>
                  </a:lnTo>
                  <a:lnTo>
                    <a:pt x="1172" y="452"/>
                  </a:lnTo>
                  <a:lnTo>
                    <a:pt x="1180" y="454"/>
                  </a:lnTo>
                  <a:lnTo>
                    <a:pt x="1186" y="454"/>
                  </a:lnTo>
                  <a:lnTo>
                    <a:pt x="1190" y="452"/>
                  </a:lnTo>
                  <a:lnTo>
                    <a:pt x="1194" y="450"/>
                  </a:lnTo>
                  <a:lnTo>
                    <a:pt x="1204" y="442"/>
                  </a:lnTo>
                  <a:lnTo>
                    <a:pt x="1208" y="440"/>
                  </a:lnTo>
                  <a:lnTo>
                    <a:pt x="1212" y="440"/>
                  </a:lnTo>
                  <a:lnTo>
                    <a:pt x="1216" y="440"/>
                  </a:lnTo>
                  <a:lnTo>
                    <a:pt x="1218" y="438"/>
                  </a:lnTo>
                  <a:lnTo>
                    <a:pt x="1218" y="434"/>
                  </a:lnTo>
                  <a:lnTo>
                    <a:pt x="1218" y="430"/>
                  </a:lnTo>
                  <a:lnTo>
                    <a:pt x="1214" y="420"/>
                  </a:lnTo>
                  <a:lnTo>
                    <a:pt x="1206" y="414"/>
                  </a:lnTo>
                  <a:lnTo>
                    <a:pt x="1200" y="410"/>
                  </a:lnTo>
                  <a:lnTo>
                    <a:pt x="1198" y="406"/>
                  </a:lnTo>
                  <a:lnTo>
                    <a:pt x="1200" y="406"/>
                  </a:lnTo>
                  <a:lnTo>
                    <a:pt x="1206" y="404"/>
                  </a:lnTo>
                  <a:lnTo>
                    <a:pt x="1218" y="402"/>
                  </a:lnTo>
                  <a:lnTo>
                    <a:pt x="1222" y="398"/>
                  </a:lnTo>
                  <a:lnTo>
                    <a:pt x="1222" y="394"/>
                  </a:lnTo>
                  <a:lnTo>
                    <a:pt x="1222" y="392"/>
                  </a:lnTo>
                  <a:lnTo>
                    <a:pt x="1224" y="390"/>
                  </a:lnTo>
                  <a:lnTo>
                    <a:pt x="1230" y="388"/>
                  </a:lnTo>
                  <a:lnTo>
                    <a:pt x="1232" y="388"/>
                  </a:lnTo>
                  <a:lnTo>
                    <a:pt x="1232" y="384"/>
                  </a:lnTo>
                  <a:lnTo>
                    <a:pt x="1232" y="376"/>
                  </a:lnTo>
                  <a:lnTo>
                    <a:pt x="1228" y="364"/>
                  </a:lnTo>
                  <a:lnTo>
                    <a:pt x="1234" y="372"/>
                  </a:lnTo>
                  <a:lnTo>
                    <a:pt x="1240" y="376"/>
                  </a:lnTo>
                  <a:lnTo>
                    <a:pt x="1246" y="378"/>
                  </a:lnTo>
                  <a:lnTo>
                    <a:pt x="1256" y="376"/>
                  </a:lnTo>
                  <a:lnTo>
                    <a:pt x="1268" y="372"/>
                  </a:lnTo>
                  <a:lnTo>
                    <a:pt x="1272" y="374"/>
                  </a:lnTo>
                  <a:lnTo>
                    <a:pt x="1272" y="376"/>
                  </a:lnTo>
                  <a:lnTo>
                    <a:pt x="1274" y="378"/>
                  </a:lnTo>
                  <a:lnTo>
                    <a:pt x="1278" y="382"/>
                  </a:lnTo>
                  <a:lnTo>
                    <a:pt x="1284" y="384"/>
                  </a:lnTo>
                  <a:lnTo>
                    <a:pt x="1296" y="386"/>
                  </a:lnTo>
                  <a:lnTo>
                    <a:pt x="1308" y="388"/>
                  </a:lnTo>
                  <a:lnTo>
                    <a:pt x="1316" y="392"/>
                  </a:lnTo>
                  <a:lnTo>
                    <a:pt x="1324" y="398"/>
                  </a:lnTo>
                  <a:lnTo>
                    <a:pt x="1330" y="406"/>
                  </a:lnTo>
                  <a:lnTo>
                    <a:pt x="1340" y="426"/>
                  </a:lnTo>
                  <a:lnTo>
                    <a:pt x="1348" y="438"/>
                  </a:lnTo>
                  <a:lnTo>
                    <a:pt x="1358" y="450"/>
                  </a:lnTo>
                  <a:lnTo>
                    <a:pt x="1374" y="472"/>
                  </a:lnTo>
                  <a:lnTo>
                    <a:pt x="1380" y="480"/>
                  </a:lnTo>
                  <a:lnTo>
                    <a:pt x="1384" y="486"/>
                  </a:lnTo>
                  <a:lnTo>
                    <a:pt x="1392" y="488"/>
                  </a:lnTo>
                  <a:lnTo>
                    <a:pt x="1400" y="492"/>
                  </a:lnTo>
                  <a:lnTo>
                    <a:pt x="1432" y="498"/>
                  </a:lnTo>
                  <a:lnTo>
                    <a:pt x="1450" y="502"/>
                  </a:lnTo>
                  <a:lnTo>
                    <a:pt x="1462" y="506"/>
                  </a:lnTo>
                  <a:lnTo>
                    <a:pt x="1470" y="510"/>
                  </a:lnTo>
                  <a:lnTo>
                    <a:pt x="1476" y="512"/>
                  </a:lnTo>
                  <a:lnTo>
                    <a:pt x="1482" y="518"/>
                  </a:lnTo>
                  <a:lnTo>
                    <a:pt x="1488" y="520"/>
                  </a:lnTo>
                  <a:lnTo>
                    <a:pt x="1492" y="520"/>
                  </a:lnTo>
                  <a:lnTo>
                    <a:pt x="1500" y="520"/>
                  </a:lnTo>
                  <a:lnTo>
                    <a:pt x="1506" y="518"/>
                  </a:lnTo>
                  <a:lnTo>
                    <a:pt x="1512" y="514"/>
                  </a:lnTo>
                  <a:lnTo>
                    <a:pt x="1514" y="510"/>
                  </a:lnTo>
                  <a:lnTo>
                    <a:pt x="1514" y="506"/>
                  </a:lnTo>
                  <a:lnTo>
                    <a:pt x="1512" y="502"/>
                  </a:lnTo>
                  <a:lnTo>
                    <a:pt x="1508" y="498"/>
                  </a:lnTo>
                  <a:lnTo>
                    <a:pt x="1498" y="494"/>
                  </a:lnTo>
                  <a:lnTo>
                    <a:pt x="1482" y="490"/>
                  </a:lnTo>
                  <a:lnTo>
                    <a:pt x="1474" y="484"/>
                  </a:lnTo>
                  <a:lnTo>
                    <a:pt x="1472" y="482"/>
                  </a:lnTo>
                  <a:lnTo>
                    <a:pt x="1472" y="480"/>
                  </a:lnTo>
                  <a:lnTo>
                    <a:pt x="1474" y="476"/>
                  </a:lnTo>
                  <a:lnTo>
                    <a:pt x="1478" y="472"/>
                  </a:lnTo>
                  <a:lnTo>
                    <a:pt x="1478" y="470"/>
                  </a:lnTo>
                  <a:lnTo>
                    <a:pt x="1476" y="468"/>
                  </a:lnTo>
                  <a:lnTo>
                    <a:pt x="1464" y="466"/>
                  </a:lnTo>
                  <a:lnTo>
                    <a:pt x="1454" y="464"/>
                  </a:lnTo>
                  <a:lnTo>
                    <a:pt x="1450" y="462"/>
                  </a:lnTo>
                  <a:lnTo>
                    <a:pt x="1448" y="458"/>
                  </a:lnTo>
                  <a:lnTo>
                    <a:pt x="1448" y="454"/>
                  </a:lnTo>
                  <a:lnTo>
                    <a:pt x="1450" y="448"/>
                  </a:lnTo>
                  <a:lnTo>
                    <a:pt x="1454" y="442"/>
                  </a:lnTo>
                  <a:lnTo>
                    <a:pt x="1454" y="438"/>
                  </a:lnTo>
                  <a:lnTo>
                    <a:pt x="1448" y="438"/>
                  </a:lnTo>
                  <a:lnTo>
                    <a:pt x="1436" y="440"/>
                  </a:lnTo>
                  <a:lnTo>
                    <a:pt x="1432" y="440"/>
                  </a:lnTo>
                  <a:lnTo>
                    <a:pt x="1428" y="440"/>
                  </a:lnTo>
                  <a:lnTo>
                    <a:pt x="1422" y="436"/>
                  </a:lnTo>
                  <a:lnTo>
                    <a:pt x="1416" y="428"/>
                  </a:lnTo>
                  <a:lnTo>
                    <a:pt x="1412" y="420"/>
                  </a:lnTo>
                  <a:lnTo>
                    <a:pt x="1408" y="400"/>
                  </a:lnTo>
                  <a:lnTo>
                    <a:pt x="1404" y="394"/>
                  </a:lnTo>
                  <a:lnTo>
                    <a:pt x="1400" y="390"/>
                  </a:lnTo>
                  <a:lnTo>
                    <a:pt x="1394" y="386"/>
                  </a:lnTo>
                  <a:lnTo>
                    <a:pt x="1386" y="378"/>
                  </a:lnTo>
                  <a:lnTo>
                    <a:pt x="1370" y="360"/>
                  </a:lnTo>
                  <a:lnTo>
                    <a:pt x="1364" y="350"/>
                  </a:lnTo>
                  <a:lnTo>
                    <a:pt x="1358" y="340"/>
                  </a:lnTo>
                  <a:lnTo>
                    <a:pt x="1356" y="334"/>
                  </a:lnTo>
                  <a:lnTo>
                    <a:pt x="1356" y="332"/>
                  </a:lnTo>
                  <a:lnTo>
                    <a:pt x="1358" y="330"/>
                  </a:lnTo>
                  <a:lnTo>
                    <a:pt x="1362" y="328"/>
                  </a:lnTo>
                  <a:lnTo>
                    <a:pt x="1366" y="326"/>
                  </a:lnTo>
                  <a:lnTo>
                    <a:pt x="1376" y="328"/>
                  </a:lnTo>
                  <a:lnTo>
                    <a:pt x="1388" y="328"/>
                  </a:lnTo>
                  <a:lnTo>
                    <a:pt x="1392" y="326"/>
                  </a:lnTo>
                  <a:lnTo>
                    <a:pt x="1394" y="324"/>
                  </a:lnTo>
                  <a:lnTo>
                    <a:pt x="1396" y="320"/>
                  </a:lnTo>
                  <a:lnTo>
                    <a:pt x="1396" y="314"/>
                  </a:lnTo>
                  <a:lnTo>
                    <a:pt x="1390" y="302"/>
                  </a:lnTo>
                  <a:lnTo>
                    <a:pt x="1386" y="296"/>
                  </a:lnTo>
                  <a:lnTo>
                    <a:pt x="1380" y="292"/>
                  </a:lnTo>
                  <a:lnTo>
                    <a:pt x="1374" y="290"/>
                  </a:lnTo>
                  <a:lnTo>
                    <a:pt x="1370" y="290"/>
                  </a:lnTo>
                  <a:lnTo>
                    <a:pt x="1364" y="290"/>
                  </a:lnTo>
                  <a:lnTo>
                    <a:pt x="1360" y="290"/>
                  </a:lnTo>
                  <a:lnTo>
                    <a:pt x="1354" y="284"/>
                  </a:lnTo>
                  <a:lnTo>
                    <a:pt x="1344" y="276"/>
                  </a:lnTo>
                  <a:lnTo>
                    <a:pt x="1338" y="272"/>
                  </a:lnTo>
                  <a:lnTo>
                    <a:pt x="1328" y="270"/>
                  </a:lnTo>
                  <a:lnTo>
                    <a:pt x="1312" y="264"/>
                  </a:lnTo>
                  <a:lnTo>
                    <a:pt x="1310" y="262"/>
                  </a:lnTo>
                  <a:lnTo>
                    <a:pt x="1308" y="260"/>
                  </a:lnTo>
                  <a:lnTo>
                    <a:pt x="1310" y="256"/>
                  </a:lnTo>
                  <a:lnTo>
                    <a:pt x="1312" y="246"/>
                  </a:lnTo>
                  <a:lnTo>
                    <a:pt x="1312" y="238"/>
                  </a:lnTo>
                  <a:lnTo>
                    <a:pt x="1306" y="230"/>
                  </a:lnTo>
                  <a:lnTo>
                    <a:pt x="1298" y="220"/>
                  </a:lnTo>
                  <a:lnTo>
                    <a:pt x="1288" y="210"/>
                  </a:lnTo>
                  <a:lnTo>
                    <a:pt x="1278" y="200"/>
                  </a:lnTo>
                  <a:lnTo>
                    <a:pt x="1266" y="192"/>
                  </a:lnTo>
                  <a:lnTo>
                    <a:pt x="1256" y="188"/>
                  </a:lnTo>
                  <a:lnTo>
                    <a:pt x="1248" y="186"/>
                  </a:lnTo>
                  <a:lnTo>
                    <a:pt x="1242" y="186"/>
                  </a:lnTo>
                  <a:lnTo>
                    <a:pt x="1238" y="184"/>
                  </a:lnTo>
                  <a:lnTo>
                    <a:pt x="1230" y="178"/>
                  </a:lnTo>
                  <a:lnTo>
                    <a:pt x="1220" y="170"/>
                  </a:lnTo>
                  <a:lnTo>
                    <a:pt x="1214" y="166"/>
                  </a:lnTo>
                  <a:lnTo>
                    <a:pt x="1202" y="162"/>
                  </a:lnTo>
                  <a:lnTo>
                    <a:pt x="1190" y="158"/>
                  </a:lnTo>
                  <a:lnTo>
                    <a:pt x="1174" y="152"/>
                  </a:lnTo>
                  <a:lnTo>
                    <a:pt x="1140" y="134"/>
                  </a:lnTo>
                  <a:lnTo>
                    <a:pt x="1106" y="120"/>
                  </a:lnTo>
                  <a:lnTo>
                    <a:pt x="1092" y="116"/>
                  </a:lnTo>
                  <a:lnTo>
                    <a:pt x="1078" y="116"/>
                  </a:lnTo>
                  <a:lnTo>
                    <a:pt x="1080" y="404"/>
                  </a:lnTo>
                  <a:lnTo>
                    <a:pt x="1094" y="414"/>
                  </a:lnTo>
                  <a:lnTo>
                    <a:pt x="1104" y="426"/>
                  </a:lnTo>
                  <a:lnTo>
                    <a:pt x="1118" y="446"/>
                  </a:lnTo>
                  <a:close/>
                  <a:moveTo>
                    <a:pt x="784" y="288"/>
                  </a:moveTo>
                  <a:lnTo>
                    <a:pt x="784" y="288"/>
                  </a:lnTo>
                  <a:lnTo>
                    <a:pt x="786" y="290"/>
                  </a:lnTo>
                  <a:lnTo>
                    <a:pt x="788" y="288"/>
                  </a:lnTo>
                  <a:lnTo>
                    <a:pt x="790" y="286"/>
                  </a:lnTo>
                  <a:lnTo>
                    <a:pt x="790" y="282"/>
                  </a:lnTo>
                  <a:lnTo>
                    <a:pt x="788" y="278"/>
                  </a:lnTo>
                  <a:lnTo>
                    <a:pt x="784" y="274"/>
                  </a:lnTo>
                  <a:lnTo>
                    <a:pt x="782" y="276"/>
                  </a:lnTo>
                  <a:lnTo>
                    <a:pt x="784" y="288"/>
                  </a:lnTo>
                  <a:close/>
                  <a:moveTo>
                    <a:pt x="1474" y="80"/>
                  </a:moveTo>
                  <a:lnTo>
                    <a:pt x="1474" y="80"/>
                  </a:lnTo>
                  <a:lnTo>
                    <a:pt x="1476" y="80"/>
                  </a:lnTo>
                  <a:lnTo>
                    <a:pt x="1476" y="78"/>
                  </a:lnTo>
                  <a:lnTo>
                    <a:pt x="1474" y="72"/>
                  </a:lnTo>
                  <a:lnTo>
                    <a:pt x="1468" y="68"/>
                  </a:lnTo>
                  <a:lnTo>
                    <a:pt x="1466" y="68"/>
                  </a:lnTo>
                  <a:lnTo>
                    <a:pt x="1464" y="68"/>
                  </a:lnTo>
                  <a:lnTo>
                    <a:pt x="1464" y="72"/>
                  </a:lnTo>
                  <a:lnTo>
                    <a:pt x="1464" y="76"/>
                  </a:lnTo>
                  <a:lnTo>
                    <a:pt x="1468" y="78"/>
                  </a:lnTo>
                  <a:lnTo>
                    <a:pt x="1474" y="80"/>
                  </a:lnTo>
                  <a:close/>
                  <a:moveTo>
                    <a:pt x="1436" y="292"/>
                  </a:moveTo>
                  <a:lnTo>
                    <a:pt x="1436" y="292"/>
                  </a:lnTo>
                  <a:lnTo>
                    <a:pt x="1442" y="296"/>
                  </a:lnTo>
                  <a:lnTo>
                    <a:pt x="1446" y="298"/>
                  </a:lnTo>
                  <a:lnTo>
                    <a:pt x="1448" y="298"/>
                  </a:lnTo>
                  <a:lnTo>
                    <a:pt x="1450" y="298"/>
                  </a:lnTo>
                  <a:lnTo>
                    <a:pt x="1452" y="296"/>
                  </a:lnTo>
                  <a:lnTo>
                    <a:pt x="1454" y="296"/>
                  </a:lnTo>
                  <a:lnTo>
                    <a:pt x="1458" y="298"/>
                  </a:lnTo>
                  <a:lnTo>
                    <a:pt x="1462" y="302"/>
                  </a:lnTo>
                  <a:lnTo>
                    <a:pt x="1468" y="306"/>
                  </a:lnTo>
                  <a:lnTo>
                    <a:pt x="1478" y="308"/>
                  </a:lnTo>
                  <a:lnTo>
                    <a:pt x="1490" y="306"/>
                  </a:lnTo>
                  <a:lnTo>
                    <a:pt x="1502" y="302"/>
                  </a:lnTo>
                  <a:lnTo>
                    <a:pt x="1514" y="298"/>
                  </a:lnTo>
                  <a:lnTo>
                    <a:pt x="1524" y="292"/>
                  </a:lnTo>
                  <a:lnTo>
                    <a:pt x="1534" y="284"/>
                  </a:lnTo>
                  <a:lnTo>
                    <a:pt x="1538" y="278"/>
                  </a:lnTo>
                  <a:lnTo>
                    <a:pt x="1542" y="272"/>
                  </a:lnTo>
                  <a:lnTo>
                    <a:pt x="1544" y="270"/>
                  </a:lnTo>
                  <a:lnTo>
                    <a:pt x="1548" y="270"/>
                  </a:lnTo>
                  <a:lnTo>
                    <a:pt x="1550" y="270"/>
                  </a:lnTo>
                  <a:lnTo>
                    <a:pt x="1556" y="272"/>
                  </a:lnTo>
                  <a:lnTo>
                    <a:pt x="1560" y="270"/>
                  </a:lnTo>
                  <a:lnTo>
                    <a:pt x="1566" y="268"/>
                  </a:lnTo>
                  <a:lnTo>
                    <a:pt x="1568" y="264"/>
                  </a:lnTo>
                  <a:lnTo>
                    <a:pt x="1570" y="260"/>
                  </a:lnTo>
                  <a:lnTo>
                    <a:pt x="1566" y="252"/>
                  </a:lnTo>
                  <a:lnTo>
                    <a:pt x="1564" y="246"/>
                  </a:lnTo>
                  <a:lnTo>
                    <a:pt x="1564" y="244"/>
                  </a:lnTo>
                  <a:lnTo>
                    <a:pt x="1566" y="242"/>
                  </a:lnTo>
                  <a:lnTo>
                    <a:pt x="1572" y="240"/>
                  </a:lnTo>
                  <a:lnTo>
                    <a:pt x="1574" y="238"/>
                  </a:lnTo>
                  <a:lnTo>
                    <a:pt x="1580" y="228"/>
                  </a:lnTo>
                  <a:lnTo>
                    <a:pt x="1580" y="216"/>
                  </a:lnTo>
                  <a:lnTo>
                    <a:pt x="1578" y="212"/>
                  </a:lnTo>
                  <a:lnTo>
                    <a:pt x="1576" y="208"/>
                  </a:lnTo>
                  <a:lnTo>
                    <a:pt x="1572" y="202"/>
                  </a:lnTo>
                  <a:lnTo>
                    <a:pt x="1566" y="202"/>
                  </a:lnTo>
                  <a:lnTo>
                    <a:pt x="1548" y="202"/>
                  </a:lnTo>
                  <a:lnTo>
                    <a:pt x="1546" y="204"/>
                  </a:lnTo>
                  <a:lnTo>
                    <a:pt x="1544" y="206"/>
                  </a:lnTo>
                  <a:lnTo>
                    <a:pt x="1542" y="210"/>
                  </a:lnTo>
                  <a:lnTo>
                    <a:pt x="1546" y="224"/>
                  </a:lnTo>
                  <a:lnTo>
                    <a:pt x="1550" y="236"/>
                  </a:lnTo>
                  <a:lnTo>
                    <a:pt x="1548" y="240"/>
                  </a:lnTo>
                  <a:lnTo>
                    <a:pt x="1542" y="240"/>
                  </a:lnTo>
                  <a:lnTo>
                    <a:pt x="1536" y="238"/>
                  </a:lnTo>
                  <a:lnTo>
                    <a:pt x="1530" y="242"/>
                  </a:lnTo>
                  <a:lnTo>
                    <a:pt x="1526" y="248"/>
                  </a:lnTo>
                  <a:lnTo>
                    <a:pt x="1522" y="254"/>
                  </a:lnTo>
                  <a:lnTo>
                    <a:pt x="1518" y="262"/>
                  </a:lnTo>
                  <a:lnTo>
                    <a:pt x="1514" y="266"/>
                  </a:lnTo>
                  <a:lnTo>
                    <a:pt x="1510" y="268"/>
                  </a:lnTo>
                  <a:lnTo>
                    <a:pt x="1504" y="266"/>
                  </a:lnTo>
                  <a:lnTo>
                    <a:pt x="1500" y="264"/>
                  </a:lnTo>
                  <a:lnTo>
                    <a:pt x="1498" y="264"/>
                  </a:lnTo>
                  <a:lnTo>
                    <a:pt x="1494" y="268"/>
                  </a:lnTo>
                  <a:lnTo>
                    <a:pt x="1490" y="270"/>
                  </a:lnTo>
                  <a:lnTo>
                    <a:pt x="1488" y="264"/>
                  </a:lnTo>
                  <a:lnTo>
                    <a:pt x="1486" y="256"/>
                  </a:lnTo>
                  <a:lnTo>
                    <a:pt x="1488" y="250"/>
                  </a:lnTo>
                  <a:lnTo>
                    <a:pt x="1490" y="248"/>
                  </a:lnTo>
                  <a:lnTo>
                    <a:pt x="1490" y="244"/>
                  </a:lnTo>
                  <a:lnTo>
                    <a:pt x="1488" y="242"/>
                  </a:lnTo>
                  <a:lnTo>
                    <a:pt x="1484" y="244"/>
                  </a:lnTo>
                  <a:lnTo>
                    <a:pt x="1480" y="250"/>
                  </a:lnTo>
                  <a:lnTo>
                    <a:pt x="1480" y="262"/>
                  </a:lnTo>
                  <a:lnTo>
                    <a:pt x="1478" y="266"/>
                  </a:lnTo>
                  <a:lnTo>
                    <a:pt x="1476" y="268"/>
                  </a:lnTo>
                  <a:lnTo>
                    <a:pt x="1470" y="270"/>
                  </a:lnTo>
                  <a:lnTo>
                    <a:pt x="1460" y="268"/>
                  </a:lnTo>
                  <a:lnTo>
                    <a:pt x="1448" y="266"/>
                  </a:lnTo>
                  <a:lnTo>
                    <a:pt x="1434" y="266"/>
                  </a:lnTo>
                  <a:lnTo>
                    <a:pt x="1424" y="264"/>
                  </a:lnTo>
                  <a:lnTo>
                    <a:pt x="1416" y="266"/>
                  </a:lnTo>
                  <a:lnTo>
                    <a:pt x="1414" y="268"/>
                  </a:lnTo>
                  <a:lnTo>
                    <a:pt x="1414" y="270"/>
                  </a:lnTo>
                  <a:lnTo>
                    <a:pt x="1416" y="278"/>
                  </a:lnTo>
                  <a:lnTo>
                    <a:pt x="1420" y="280"/>
                  </a:lnTo>
                  <a:lnTo>
                    <a:pt x="1428" y="284"/>
                  </a:lnTo>
                  <a:lnTo>
                    <a:pt x="1436" y="292"/>
                  </a:lnTo>
                  <a:close/>
                  <a:moveTo>
                    <a:pt x="1546" y="156"/>
                  </a:moveTo>
                  <a:lnTo>
                    <a:pt x="1546" y="156"/>
                  </a:lnTo>
                  <a:lnTo>
                    <a:pt x="1552" y="162"/>
                  </a:lnTo>
                  <a:lnTo>
                    <a:pt x="1562" y="170"/>
                  </a:lnTo>
                  <a:lnTo>
                    <a:pt x="1572" y="178"/>
                  </a:lnTo>
                  <a:lnTo>
                    <a:pt x="1582" y="190"/>
                  </a:lnTo>
                  <a:lnTo>
                    <a:pt x="1586" y="196"/>
                  </a:lnTo>
                  <a:lnTo>
                    <a:pt x="1588" y="202"/>
                  </a:lnTo>
                  <a:lnTo>
                    <a:pt x="1590" y="210"/>
                  </a:lnTo>
                  <a:lnTo>
                    <a:pt x="1590" y="220"/>
                  </a:lnTo>
                  <a:lnTo>
                    <a:pt x="1592" y="224"/>
                  </a:lnTo>
                  <a:lnTo>
                    <a:pt x="1594" y="232"/>
                  </a:lnTo>
                  <a:lnTo>
                    <a:pt x="1598" y="236"/>
                  </a:lnTo>
                  <a:lnTo>
                    <a:pt x="1602" y="234"/>
                  </a:lnTo>
                  <a:lnTo>
                    <a:pt x="1604" y="230"/>
                  </a:lnTo>
                  <a:lnTo>
                    <a:pt x="1608" y="222"/>
                  </a:lnTo>
                  <a:lnTo>
                    <a:pt x="1608" y="214"/>
                  </a:lnTo>
                  <a:lnTo>
                    <a:pt x="1608" y="206"/>
                  </a:lnTo>
                  <a:lnTo>
                    <a:pt x="1604" y="196"/>
                  </a:lnTo>
                  <a:lnTo>
                    <a:pt x="1596" y="190"/>
                  </a:lnTo>
                  <a:lnTo>
                    <a:pt x="1582" y="178"/>
                  </a:lnTo>
                  <a:lnTo>
                    <a:pt x="1574" y="168"/>
                  </a:lnTo>
                  <a:lnTo>
                    <a:pt x="1566" y="160"/>
                  </a:lnTo>
                  <a:lnTo>
                    <a:pt x="1556" y="154"/>
                  </a:lnTo>
                  <a:lnTo>
                    <a:pt x="1538" y="142"/>
                  </a:lnTo>
                  <a:lnTo>
                    <a:pt x="1526" y="132"/>
                  </a:lnTo>
                  <a:lnTo>
                    <a:pt x="1518" y="126"/>
                  </a:lnTo>
                  <a:lnTo>
                    <a:pt x="1516" y="126"/>
                  </a:lnTo>
                  <a:lnTo>
                    <a:pt x="1514" y="128"/>
                  </a:lnTo>
                  <a:lnTo>
                    <a:pt x="1510" y="132"/>
                  </a:lnTo>
                  <a:lnTo>
                    <a:pt x="1508" y="134"/>
                  </a:lnTo>
                  <a:lnTo>
                    <a:pt x="1510" y="136"/>
                  </a:lnTo>
                  <a:lnTo>
                    <a:pt x="1516" y="138"/>
                  </a:lnTo>
                  <a:lnTo>
                    <a:pt x="1530" y="144"/>
                  </a:lnTo>
                  <a:lnTo>
                    <a:pt x="1538" y="150"/>
                  </a:lnTo>
                  <a:lnTo>
                    <a:pt x="1546" y="156"/>
                  </a:lnTo>
                  <a:close/>
                  <a:moveTo>
                    <a:pt x="1500" y="128"/>
                  </a:moveTo>
                  <a:lnTo>
                    <a:pt x="1500" y="128"/>
                  </a:lnTo>
                  <a:lnTo>
                    <a:pt x="1502" y="126"/>
                  </a:lnTo>
                  <a:lnTo>
                    <a:pt x="1502" y="122"/>
                  </a:lnTo>
                  <a:lnTo>
                    <a:pt x="1496" y="116"/>
                  </a:lnTo>
                  <a:lnTo>
                    <a:pt x="1492" y="114"/>
                  </a:lnTo>
                  <a:lnTo>
                    <a:pt x="1490" y="114"/>
                  </a:lnTo>
                  <a:lnTo>
                    <a:pt x="1486" y="114"/>
                  </a:lnTo>
                  <a:lnTo>
                    <a:pt x="1484" y="118"/>
                  </a:lnTo>
                  <a:lnTo>
                    <a:pt x="1484" y="120"/>
                  </a:lnTo>
                  <a:lnTo>
                    <a:pt x="1484" y="124"/>
                  </a:lnTo>
                  <a:lnTo>
                    <a:pt x="1488" y="128"/>
                  </a:lnTo>
                  <a:lnTo>
                    <a:pt x="1494" y="130"/>
                  </a:lnTo>
                  <a:lnTo>
                    <a:pt x="1498" y="130"/>
                  </a:lnTo>
                  <a:lnTo>
                    <a:pt x="1500" y="128"/>
                  </a:lnTo>
                  <a:close/>
                  <a:moveTo>
                    <a:pt x="726" y="46"/>
                  </a:moveTo>
                  <a:lnTo>
                    <a:pt x="726" y="46"/>
                  </a:lnTo>
                  <a:lnTo>
                    <a:pt x="726" y="50"/>
                  </a:lnTo>
                  <a:lnTo>
                    <a:pt x="724" y="54"/>
                  </a:lnTo>
                  <a:lnTo>
                    <a:pt x="716" y="62"/>
                  </a:lnTo>
                  <a:lnTo>
                    <a:pt x="714" y="66"/>
                  </a:lnTo>
                  <a:lnTo>
                    <a:pt x="716" y="70"/>
                  </a:lnTo>
                  <a:lnTo>
                    <a:pt x="718" y="72"/>
                  </a:lnTo>
                  <a:lnTo>
                    <a:pt x="726" y="72"/>
                  </a:lnTo>
                  <a:lnTo>
                    <a:pt x="738" y="72"/>
                  </a:lnTo>
                  <a:lnTo>
                    <a:pt x="742" y="74"/>
                  </a:lnTo>
                  <a:lnTo>
                    <a:pt x="746" y="78"/>
                  </a:lnTo>
                  <a:lnTo>
                    <a:pt x="752" y="88"/>
                  </a:lnTo>
                  <a:lnTo>
                    <a:pt x="758" y="104"/>
                  </a:lnTo>
                  <a:lnTo>
                    <a:pt x="762" y="106"/>
                  </a:lnTo>
                  <a:lnTo>
                    <a:pt x="764" y="108"/>
                  </a:lnTo>
                  <a:lnTo>
                    <a:pt x="774" y="110"/>
                  </a:lnTo>
                  <a:lnTo>
                    <a:pt x="786" y="110"/>
                  </a:lnTo>
                  <a:lnTo>
                    <a:pt x="798" y="110"/>
                  </a:lnTo>
                  <a:lnTo>
                    <a:pt x="810" y="108"/>
                  </a:lnTo>
                  <a:lnTo>
                    <a:pt x="820" y="108"/>
                  </a:lnTo>
                  <a:lnTo>
                    <a:pt x="828" y="110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20"/>
                  </a:lnTo>
                  <a:lnTo>
                    <a:pt x="826" y="122"/>
                  </a:lnTo>
                  <a:lnTo>
                    <a:pt x="822" y="122"/>
                  </a:lnTo>
                  <a:lnTo>
                    <a:pt x="816" y="120"/>
                  </a:lnTo>
                  <a:lnTo>
                    <a:pt x="808" y="120"/>
                  </a:lnTo>
                  <a:lnTo>
                    <a:pt x="802" y="118"/>
                  </a:lnTo>
                  <a:lnTo>
                    <a:pt x="798" y="120"/>
                  </a:lnTo>
                  <a:lnTo>
                    <a:pt x="794" y="124"/>
                  </a:lnTo>
                  <a:lnTo>
                    <a:pt x="790" y="130"/>
                  </a:lnTo>
                  <a:lnTo>
                    <a:pt x="784" y="134"/>
                  </a:lnTo>
                  <a:lnTo>
                    <a:pt x="778" y="134"/>
                  </a:lnTo>
                  <a:lnTo>
                    <a:pt x="772" y="132"/>
                  </a:lnTo>
                  <a:lnTo>
                    <a:pt x="766" y="130"/>
                  </a:lnTo>
                  <a:lnTo>
                    <a:pt x="760" y="130"/>
                  </a:lnTo>
                  <a:lnTo>
                    <a:pt x="756" y="132"/>
                  </a:lnTo>
                  <a:lnTo>
                    <a:pt x="756" y="138"/>
                  </a:lnTo>
                  <a:lnTo>
                    <a:pt x="756" y="142"/>
                  </a:lnTo>
                  <a:lnTo>
                    <a:pt x="760" y="144"/>
                  </a:lnTo>
                  <a:lnTo>
                    <a:pt x="768" y="146"/>
                  </a:lnTo>
                  <a:lnTo>
                    <a:pt x="780" y="156"/>
                  </a:lnTo>
                  <a:lnTo>
                    <a:pt x="786" y="164"/>
                  </a:lnTo>
                  <a:lnTo>
                    <a:pt x="790" y="170"/>
                  </a:lnTo>
                  <a:lnTo>
                    <a:pt x="790" y="174"/>
                  </a:lnTo>
                  <a:lnTo>
                    <a:pt x="788" y="176"/>
                  </a:lnTo>
                  <a:lnTo>
                    <a:pt x="784" y="180"/>
                  </a:lnTo>
                  <a:lnTo>
                    <a:pt x="784" y="184"/>
                  </a:lnTo>
                  <a:lnTo>
                    <a:pt x="784" y="188"/>
                  </a:lnTo>
                  <a:lnTo>
                    <a:pt x="788" y="194"/>
                  </a:lnTo>
                  <a:lnTo>
                    <a:pt x="792" y="196"/>
                  </a:lnTo>
                  <a:lnTo>
                    <a:pt x="796" y="198"/>
                  </a:lnTo>
                  <a:lnTo>
                    <a:pt x="802" y="198"/>
                  </a:lnTo>
                  <a:lnTo>
                    <a:pt x="806" y="196"/>
                  </a:lnTo>
                  <a:lnTo>
                    <a:pt x="810" y="192"/>
                  </a:lnTo>
                  <a:lnTo>
                    <a:pt x="814" y="186"/>
                  </a:lnTo>
                  <a:lnTo>
                    <a:pt x="816" y="178"/>
                  </a:lnTo>
                  <a:lnTo>
                    <a:pt x="822" y="158"/>
                  </a:lnTo>
                  <a:lnTo>
                    <a:pt x="826" y="150"/>
                  </a:lnTo>
                  <a:lnTo>
                    <a:pt x="828" y="150"/>
                  </a:lnTo>
                  <a:lnTo>
                    <a:pt x="828" y="154"/>
                  </a:lnTo>
                  <a:lnTo>
                    <a:pt x="824" y="168"/>
                  </a:lnTo>
                  <a:lnTo>
                    <a:pt x="824" y="174"/>
                  </a:lnTo>
                  <a:lnTo>
                    <a:pt x="824" y="178"/>
                  </a:lnTo>
                  <a:lnTo>
                    <a:pt x="828" y="180"/>
                  </a:lnTo>
                  <a:lnTo>
                    <a:pt x="832" y="184"/>
                  </a:lnTo>
                  <a:lnTo>
                    <a:pt x="844" y="188"/>
                  </a:lnTo>
                  <a:lnTo>
                    <a:pt x="852" y="192"/>
                  </a:lnTo>
                  <a:lnTo>
                    <a:pt x="860" y="198"/>
                  </a:lnTo>
                  <a:lnTo>
                    <a:pt x="870" y="206"/>
                  </a:lnTo>
                  <a:lnTo>
                    <a:pt x="878" y="212"/>
                  </a:lnTo>
                  <a:lnTo>
                    <a:pt x="886" y="214"/>
                  </a:lnTo>
                  <a:lnTo>
                    <a:pt x="892" y="216"/>
                  </a:lnTo>
                  <a:lnTo>
                    <a:pt x="906" y="218"/>
                  </a:lnTo>
                  <a:lnTo>
                    <a:pt x="916" y="220"/>
                  </a:lnTo>
                  <a:lnTo>
                    <a:pt x="926" y="226"/>
                  </a:lnTo>
                  <a:lnTo>
                    <a:pt x="940" y="232"/>
                  </a:lnTo>
                  <a:lnTo>
                    <a:pt x="954" y="238"/>
                  </a:lnTo>
                  <a:lnTo>
                    <a:pt x="966" y="242"/>
                  </a:lnTo>
                  <a:lnTo>
                    <a:pt x="980" y="252"/>
                  </a:lnTo>
                  <a:lnTo>
                    <a:pt x="988" y="258"/>
                  </a:lnTo>
                  <a:lnTo>
                    <a:pt x="994" y="266"/>
                  </a:lnTo>
                  <a:lnTo>
                    <a:pt x="1004" y="284"/>
                  </a:lnTo>
                  <a:lnTo>
                    <a:pt x="1014" y="302"/>
                  </a:lnTo>
                  <a:lnTo>
                    <a:pt x="1024" y="318"/>
                  </a:lnTo>
                  <a:lnTo>
                    <a:pt x="1028" y="324"/>
                  </a:lnTo>
                  <a:lnTo>
                    <a:pt x="1030" y="328"/>
                  </a:lnTo>
                  <a:lnTo>
                    <a:pt x="1028" y="330"/>
                  </a:lnTo>
                  <a:lnTo>
                    <a:pt x="1026" y="332"/>
                  </a:lnTo>
                  <a:lnTo>
                    <a:pt x="1022" y="336"/>
                  </a:lnTo>
                  <a:lnTo>
                    <a:pt x="1020" y="338"/>
                  </a:lnTo>
                  <a:lnTo>
                    <a:pt x="1020" y="344"/>
                  </a:lnTo>
                  <a:lnTo>
                    <a:pt x="1024" y="350"/>
                  </a:lnTo>
                  <a:lnTo>
                    <a:pt x="1028" y="354"/>
                  </a:lnTo>
                  <a:lnTo>
                    <a:pt x="1036" y="360"/>
                  </a:lnTo>
                  <a:lnTo>
                    <a:pt x="1040" y="364"/>
                  </a:lnTo>
                  <a:lnTo>
                    <a:pt x="1044" y="368"/>
                  </a:lnTo>
                  <a:lnTo>
                    <a:pt x="1044" y="372"/>
                  </a:lnTo>
                  <a:lnTo>
                    <a:pt x="1040" y="380"/>
                  </a:lnTo>
                  <a:lnTo>
                    <a:pt x="1036" y="394"/>
                  </a:lnTo>
                  <a:lnTo>
                    <a:pt x="1036" y="396"/>
                  </a:lnTo>
                  <a:lnTo>
                    <a:pt x="1038" y="398"/>
                  </a:lnTo>
                  <a:lnTo>
                    <a:pt x="1044" y="396"/>
                  </a:lnTo>
                  <a:lnTo>
                    <a:pt x="1046" y="396"/>
                  </a:lnTo>
                  <a:lnTo>
                    <a:pt x="1050" y="396"/>
                  </a:lnTo>
                  <a:lnTo>
                    <a:pt x="1052" y="398"/>
                  </a:lnTo>
                  <a:lnTo>
                    <a:pt x="1054" y="398"/>
                  </a:lnTo>
                  <a:lnTo>
                    <a:pt x="1060" y="398"/>
                  </a:lnTo>
                  <a:lnTo>
                    <a:pt x="1068" y="398"/>
                  </a:lnTo>
                  <a:lnTo>
                    <a:pt x="1074" y="400"/>
                  </a:lnTo>
                  <a:lnTo>
                    <a:pt x="1080" y="404"/>
                  </a:lnTo>
                  <a:lnTo>
                    <a:pt x="1078" y="116"/>
                  </a:lnTo>
                  <a:lnTo>
                    <a:pt x="1070" y="114"/>
                  </a:lnTo>
                  <a:lnTo>
                    <a:pt x="1060" y="110"/>
                  </a:lnTo>
                  <a:lnTo>
                    <a:pt x="1038" y="100"/>
                  </a:lnTo>
                  <a:lnTo>
                    <a:pt x="1002" y="76"/>
                  </a:lnTo>
                  <a:lnTo>
                    <a:pt x="996" y="72"/>
                  </a:lnTo>
                  <a:lnTo>
                    <a:pt x="988" y="72"/>
                  </a:lnTo>
                  <a:lnTo>
                    <a:pt x="982" y="74"/>
                  </a:lnTo>
                  <a:lnTo>
                    <a:pt x="976" y="76"/>
                  </a:lnTo>
                  <a:lnTo>
                    <a:pt x="970" y="80"/>
                  </a:lnTo>
                  <a:lnTo>
                    <a:pt x="966" y="84"/>
                  </a:lnTo>
                  <a:lnTo>
                    <a:pt x="964" y="88"/>
                  </a:lnTo>
                  <a:lnTo>
                    <a:pt x="964" y="92"/>
                  </a:lnTo>
                  <a:lnTo>
                    <a:pt x="966" y="96"/>
                  </a:lnTo>
                  <a:lnTo>
                    <a:pt x="964" y="100"/>
                  </a:lnTo>
                  <a:lnTo>
                    <a:pt x="956" y="106"/>
                  </a:lnTo>
                  <a:lnTo>
                    <a:pt x="946" y="110"/>
                  </a:lnTo>
                  <a:lnTo>
                    <a:pt x="942" y="110"/>
                  </a:lnTo>
                  <a:lnTo>
                    <a:pt x="938" y="108"/>
                  </a:lnTo>
                  <a:lnTo>
                    <a:pt x="936" y="108"/>
                  </a:lnTo>
                  <a:lnTo>
                    <a:pt x="934" y="110"/>
                  </a:lnTo>
                  <a:lnTo>
                    <a:pt x="928" y="116"/>
                  </a:lnTo>
                  <a:lnTo>
                    <a:pt x="914" y="138"/>
                  </a:lnTo>
                  <a:lnTo>
                    <a:pt x="906" y="148"/>
                  </a:lnTo>
                  <a:lnTo>
                    <a:pt x="898" y="158"/>
                  </a:lnTo>
                  <a:lnTo>
                    <a:pt x="890" y="164"/>
                  </a:lnTo>
                  <a:lnTo>
                    <a:pt x="886" y="164"/>
                  </a:lnTo>
                  <a:lnTo>
                    <a:pt x="882" y="164"/>
                  </a:lnTo>
                  <a:lnTo>
                    <a:pt x="876" y="160"/>
                  </a:lnTo>
                  <a:lnTo>
                    <a:pt x="872" y="156"/>
                  </a:lnTo>
                  <a:lnTo>
                    <a:pt x="870" y="150"/>
                  </a:lnTo>
                  <a:lnTo>
                    <a:pt x="868" y="144"/>
                  </a:lnTo>
                  <a:lnTo>
                    <a:pt x="864" y="132"/>
                  </a:lnTo>
                  <a:lnTo>
                    <a:pt x="862" y="126"/>
                  </a:lnTo>
                  <a:lnTo>
                    <a:pt x="860" y="120"/>
                  </a:lnTo>
                  <a:lnTo>
                    <a:pt x="856" y="118"/>
                  </a:lnTo>
                  <a:lnTo>
                    <a:pt x="854" y="118"/>
                  </a:lnTo>
                  <a:lnTo>
                    <a:pt x="852" y="124"/>
                  </a:lnTo>
                  <a:lnTo>
                    <a:pt x="852" y="126"/>
                  </a:lnTo>
                  <a:lnTo>
                    <a:pt x="846" y="114"/>
                  </a:lnTo>
                  <a:lnTo>
                    <a:pt x="842" y="102"/>
                  </a:lnTo>
                  <a:lnTo>
                    <a:pt x="842" y="94"/>
                  </a:lnTo>
                  <a:lnTo>
                    <a:pt x="842" y="86"/>
                  </a:lnTo>
                  <a:lnTo>
                    <a:pt x="844" y="80"/>
                  </a:lnTo>
                  <a:lnTo>
                    <a:pt x="846" y="66"/>
                  </a:lnTo>
                  <a:lnTo>
                    <a:pt x="846" y="58"/>
                  </a:lnTo>
                  <a:lnTo>
                    <a:pt x="844" y="48"/>
                  </a:lnTo>
                  <a:lnTo>
                    <a:pt x="840" y="40"/>
                  </a:lnTo>
                  <a:lnTo>
                    <a:pt x="838" y="36"/>
                  </a:lnTo>
                  <a:lnTo>
                    <a:pt x="834" y="36"/>
                  </a:lnTo>
                  <a:lnTo>
                    <a:pt x="830" y="36"/>
                  </a:lnTo>
                  <a:lnTo>
                    <a:pt x="826" y="36"/>
                  </a:lnTo>
                  <a:lnTo>
                    <a:pt x="818" y="36"/>
                  </a:lnTo>
                  <a:lnTo>
                    <a:pt x="810" y="32"/>
                  </a:lnTo>
                  <a:lnTo>
                    <a:pt x="798" y="26"/>
                  </a:lnTo>
                  <a:lnTo>
                    <a:pt x="786" y="18"/>
                  </a:lnTo>
                  <a:lnTo>
                    <a:pt x="776" y="16"/>
                  </a:lnTo>
                  <a:lnTo>
                    <a:pt x="770" y="16"/>
                  </a:lnTo>
                  <a:lnTo>
                    <a:pt x="764" y="20"/>
                  </a:lnTo>
                  <a:lnTo>
                    <a:pt x="756" y="28"/>
                  </a:lnTo>
                  <a:lnTo>
                    <a:pt x="752" y="32"/>
                  </a:lnTo>
                  <a:lnTo>
                    <a:pt x="748" y="34"/>
                  </a:lnTo>
                  <a:lnTo>
                    <a:pt x="740" y="36"/>
                  </a:lnTo>
                  <a:lnTo>
                    <a:pt x="732" y="38"/>
                  </a:lnTo>
                  <a:lnTo>
                    <a:pt x="728" y="40"/>
                  </a:lnTo>
                  <a:lnTo>
                    <a:pt x="726" y="42"/>
                  </a:lnTo>
                  <a:lnTo>
                    <a:pt x="726" y="46"/>
                  </a:lnTo>
                  <a:close/>
                  <a:moveTo>
                    <a:pt x="1600" y="438"/>
                  </a:moveTo>
                  <a:lnTo>
                    <a:pt x="1600" y="438"/>
                  </a:lnTo>
                  <a:lnTo>
                    <a:pt x="1594" y="436"/>
                  </a:lnTo>
                  <a:lnTo>
                    <a:pt x="1588" y="434"/>
                  </a:lnTo>
                  <a:lnTo>
                    <a:pt x="1586" y="436"/>
                  </a:lnTo>
                  <a:lnTo>
                    <a:pt x="1588" y="438"/>
                  </a:lnTo>
                  <a:lnTo>
                    <a:pt x="1590" y="442"/>
                  </a:lnTo>
                  <a:lnTo>
                    <a:pt x="1590" y="444"/>
                  </a:lnTo>
                  <a:lnTo>
                    <a:pt x="1592" y="446"/>
                  </a:lnTo>
                  <a:lnTo>
                    <a:pt x="1596" y="448"/>
                  </a:lnTo>
                  <a:lnTo>
                    <a:pt x="1600" y="448"/>
                  </a:lnTo>
                  <a:lnTo>
                    <a:pt x="1604" y="446"/>
                  </a:lnTo>
                  <a:lnTo>
                    <a:pt x="1604" y="444"/>
                  </a:lnTo>
                  <a:lnTo>
                    <a:pt x="1600" y="438"/>
                  </a:lnTo>
                  <a:close/>
                  <a:moveTo>
                    <a:pt x="1606" y="1248"/>
                  </a:moveTo>
                  <a:lnTo>
                    <a:pt x="1606" y="1248"/>
                  </a:lnTo>
                  <a:lnTo>
                    <a:pt x="1606" y="1252"/>
                  </a:lnTo>
                  <a:lnTo>
                    <a:pt x="1604" y="1260"/>
                  </a:lnTo>
                  <a:lnTo>
                    <a:pt x="1604" y="1268"/>
                  </a:lnTo>
                  <a:lnTo>
                    <a:pt x="1604" y="1272"/>
                  </a:lnTo>
                  <a:lnTo>
                    <a:pt x="1606" y="1274"/>
                  </a:lnTo>
                  <a:lnTo>
                    <a:pt x="1608" y="1274"/>
                  </a:lnTo>
                  <a:lnTo>
                    <a:pt x="1610" y="1270"/>
                  </a:lnTo>
                  <a:lnTo>
                    <a:pt x="1610" y="1260"/>
                  </a:lnTo>
                  <a:lnTo>
                    <a:pt x="1614" y="1250"/>
                  </a:lnTo>
                  <a:lnTo>
                    <a:pt x="1620" y="1240"/>
                  </a:lnTo>
                  <a:lnTo>
                    <a:pt x="1620" y="1236"/>
                  </a:lnTo>
                  <a:lnTo>
                    <a:pt x="1618" y="1232"/>
                  </a:lnTo>
                  <a:lnTo>
                    <a:pt x="1618" y="1228"/>
                  </a:lnTo>
                  <a:lnTo>
                    <a:pt x="1616" y="1224"/>
                  </a:lnTo>
                  <a:lnTo>
                    <a:pt x="1616" y="1220"/>
                  </a:lnTo>
                  <a:lnTo>
                    <a:pt x="1614" y="1220"/>
                  </a:lnTo>
                  <a:lnTo>
                    <a:pt x="1612" y="1224"/>
                  </a:lnTo>
                  <a:lnTo>
                    <a:pt x="1612" y="1230"/>
                  </a:lnTo>
                  <a:lnTo>
                    <a:pt x="1612" y="1234"/>
                  </a:lnTo>
                  <a:lnTo>
                    <a:pt x="1612" y="1236"/>
                  </a:lnTo>
                  <a:lnTo>
                    <a:pt x="1608" y="1240"/>
                  </a:lnTo>
                  <a:lnTo>
                    <a:pt x="1606" y="1244"/>
                  </a:lnTo>
                  <a:lnTo>
                    <a:pt x="1604" y="1246"/>
                  </a:lnTo>
                  <a:lnTo>
                    <a:pt x="1606" y="1248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2" name="Freeform 6153">
              <a:extLst>
                <a:ext uri="{FF2B5EF4-FFF2-40B4-BE49-F238E27FC236}">
                  <a16:creationId xmlns:a16="http://schemas.microsoft.com/office/drawing/2014/main" id="{CE44CFEB-214A-4C36-91AC-74C0745BB3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0913" y="2755900"/>
              <a:ext cx="1762125" cy="2303463"/>
            </a:xfrm>
            <a:custGeom>
              <a:avLst/>
              <a:gdLst>
                <a:gd name="T0" fmla="*/ 1666909 w 2776"/>
                <a:gd name="T1" fmla="*/ 1643154 h 3628"/>
                <a:gd name="T2" fmla="*/ 1572963 w 2776"/>
                <a:gd name="T3" fmla="*/ 1734581 h 3628"/>
                <a:gd name="T4" fmla="*/ 1567885 w 2776"/>
                <a:gd name="T5" fmla="*/ 1859024 h 3628"/>
                <a:gd name="T6" fmla="*/ 1595815 w 2776"/>
                <a:gd name="T7" fmla="*/ 1991086 h 3628"/>
                <a:gd name="T8" fmla="*/ 1712613 w 2776"/>
                <a:gd name="T9" fmla="*/ 1728232 h 3628"/>
                <a:gd name="T10" fmla="*/ 1736734 w 2776"/>
                <a:gd name="T11" fmla="*/ 1666011 h 3628"/>
                <a:gd name="T12" fmla="*/ 1698648 w 2776"/>
                <a:gd name="T13" fmla="*/ 844434 h 3628"/>
                <a:gd name="T14" fmla="*/ 1576772 w 2776"/>
                <a:gd name="T15" fmla="*/ 868560 h 3628"/>
                <a:gd name="T16" fmla="*/ 1533607 w 2776"/>
                <a:gd name="T17" fmla="*/ 784752 h 3628"/>
                <a:gd name="T18" fmla="*/ 1484095 w 2776"/>
                <a:gd name="T19" fmla="*/ 730150 h 3628"/>
                <a:gd name="T20" fmla="*/ 1434583 w 2776"/>
                <a:gd name="T21" fmla="*/ 633643 h 3628"/>
                <a:gd name="T22" fmla="*/ 1401575 w 2776"/>
                <a:gd name="T23" fmla="*/ 539676 h 3628"/>
                <a:gd name="T24" fmla="*/ 1353332 w 2776"/>
                <a:gd name="T25" fmla="*/ 454597 h 3628"/>
                <a:gd name="T26" fmla="*/ 1301281 w 2776"/>
                <a:gd name="T27" fmla="*/ 313647 h 3628"/>
                <a:gd name="T28" fmla="*/ 1263195 w 2776"/>
                <a:gd name="T29" fmla="*/ 199363 h 3628"/>
                <a:gd name="T30" fmla="*/ 1197179 w 2776"/>
                <a:gd name="T31" fmla="*/ 219680 h 3628"/>
                <a:gd name="T32" fmla="*/ 1090537 w 2776"/>
                <a:gd name="T33" fmla="*/ 195553 h 3628"/>
                <a:gd name="T34" fmla="*/ 983895 w 2776"/>
                <a:gd name="T35" fmla="*/ 156189 h 3628"/>
                <a:gd name="T36" fmla="*/ 873445 w 2776"/>
                <a:gd name="T37" fmla="*/ 208251 h 3628"/>
                <a:gd name="T38" fmla="*/ 743952 w 2776"/>
                <a:gd name="T39" fmla="*/ 142220 h 3628"/>
                <a:gd name="T40" fmla="*/ 731256 w 2776"/>
                <a:gd name="T41" fmla="*/ 69840 h 3628"/>
                <a:gd name="T42" fmla="*/ 712213 w 2776"/>
                <a:gd name="T43" fmla="*/ 20317 h 3628"/>
                <a:gd name="T44" fmla="*/ 633502 w 2776"/>
                <a:gd name="T45" fmla="*/ 8889 h 3628"/>
                <a:gd name="T46" fmla="*/ 534477 w 2776"/>
                <a:gd name="T47" fmla="*/ 17778 h 3628"/>
                <a:gd name="T48" fmla="*/ 424027 w 2776"/>
                <a:gd name="T49" fmla="*/ 54602 h 3628"/>
                <a:gd name="T50" fmla="*/ 344046 w 2776"/>
                <a:gd name="T51" fmla="*/ 72380 h 3628"/>
                <a:gd name="T52" fmla="*/ 210744 w 2776"/>
                <a:gd name="T53" fmla="*/ 162538 h 3628"/>
                <a:gd name="T54" fmla="*/ 124415 w 2776"/>
                <a:gd name="T55" fmla="*/ 312377 h 3628"/>
                <a:gd name="T56" fmla="*/ 38086 w 2776"/>
                <a:gd name="T57" fmla="*/ 453328 h 3628"/>
                <a:gd name="T58" fmla="*/ 15235 w 2776"/>
                <a:gd name="T59" fmla="*/ 537136 h 3628"/>
                <a:gd name="T60" fmla="*/ 38086 w 2776"/>
                <a:gd name="T61" fmla="*/ 626024 h 3628"/>
                <a:gd name="T62" fmla="*/ 25391 w 2776"/>
                <a:gd name="T63" fmla="*/ 775863 h 3628"/>
                <a:gd name="T64" fmla="*/ 34278 w 2776"/>
                <a:gd name="T65" fmla="*/ 802530 h 3628"/>
                <a:gd name="T66" fmla="*/ 34278 w 2776"/>
                <a:gd name="T67" fmla="*/ 825386 h 3628"/>
                <a:gd name="T68" fmla="*/ 54590 w 2776"/>
                <a:gd name="T69" fmla="*/ 848243 h 3628"/>
                <a:gd name="T70" fmla="*/ 71094 w 2776"/>
                <a:gd name="T71" fmla="*/ 863481 h 3628"/>
                <a:gd name="T72" fmla="*/ 106642 w 2776"/>
                <a:gd name="T73" fmla="*/ 909195 h 3628"/>
                <a:gd name="T74" fmla="*/ 115528 w 2776"/>
                <a:gd name="T75" fmla="*/ 940941 h 3628"/>
                <a:gd name="T76" fmla="*/ 171388 w 2776"/>
                <a:gd name="T77" fmla="*/ 996813 h 3628"/>
                <a:gd name="T78" fmla="*/ 319925 w 2776"/>
                <a:gd name="T79" fmla="*/ 1036177 h 3628"/>
                <a:gd name="T80" fmla="*/ 411332 w 2776"/>
                <a:gd name="T81" fmla="*/ 1038717 h 3628"/>
                <a:gd name="T82" fmla="*/ 535747 w 2776"/>
                <a:gd name="T83" fmla="*/ 993003 h 3628"/>
                <a:gd name="T84" fmla="*/ 632232 w 2776"/>
                <a:gd name="T85" fmla="*/ 1052685 h 3628"/>
                <a:gd name="T86" fmla="*/ 690631 w 2776"/>
                <a:gd name="T87" fmla="*/ 1069193 h 3628"/>
                <a:gd name="T88" fmla="*/ 686822 w 2776"/>
                <a:gd name="T89" fmla="*/ 1158081 h 3628"/>
                <a:gd name="T90" fmla="*/ 700787 w 2776"/>
                <a:gd name="T91" fmla="*/ 1193636 h 3628"/>
                <a:gd name="T92" fmla="*/ 690631 w 2776"/>
                <a:gd name="T93" fmla="*/ 1262206 h 3628"/>
                <a:gd name="T94" fmla="*/ 766804 w 2776"/>
                <a:gd name="T95" fmla="*/ 1376491 h 3628"/>
                <a:gd name="T96" fmla="*/ 797273 w 2776"/>
                <a:gd name="T97" fmla="*/ 1521251 h 3628"/>
                <a:gd name="T98" fmla="*/ 746491 w 2776"/>
                <a:gd name="T99" fmla="*/ 1737121 h 3628"/>
                <a:gd name="T100" fmla="*/ 846785 w 2776"/>
                <a:gd name="T101" fmla="*/ 2073625 h 3628"/>
                <a:gd name="T102" fmla="*/ 903914 w 2776"/>
                <a:gd name="T103" fmla="*/ 2242511 h 3628"/>
                <a:gd name="T104" fmla="*/ 934383 w 2776"/>
                <a:gd name="T105" fmla="*/ 2289495 h 3628"/>
                <a:gd name="T106" fmla="*/ 1009286 w 2776"/>
                <a:gd name="T107" fmla="*/ 2284416 h 3628"/>
                <a:gd name="T108" fmla="*/ 1104502 w 2776"/>
                <a:gd name="T109" fmla="*/ 2269178 h 3628"/>
                <a:gd name="T110" fmla="*/ 1280968 w 2776"/>
                <a:gd name="T111" fmla="*/ 2079974 h 3628"/>
                <a:gd name="T112" fmla="*/ 1354602 w 2776"/>
                <a:gd name="T113" fmla="*/ 1940293 h 3628"/>
                <a:gd name="T114" fmla="*/ 1338098 w 2776"/>
                <a:gd name="T115" fmla="*/ 1812041 h 3628"/>
                <a:gd name="T116" fmla="*/ 1482826 w 2776"/>
                <a:gd name="T117" fmla="*/ 1673630 h 3628"/>
                <a:gd name="T118" fmla="*/ 1475208 w 2776"/>
                <a:gd name="T119" fmla="*/ 1513632 h 3628"/>
                <a:gd name="T120" fmla="*/ 1448548 w 2776"/>
                <a:gd name="T121" fmla="*/ 1400617 h 3628"/>
                <a:gd name="T122" fmla="*/ 1491712 w 2776"/>
                <a:gd name="T123" fmla="*/ 1268555 h 3628"/>
                <a:gd name="T124" fmla="*/ 1679605 w 2776"/>
                <a:gd name="T125" fmla="*/ 1045066 h 362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776"/>
                <a:gd name="T190" fmla="*/ 0 h 3628"/>
                <a:gd name="T191" fmla="*/ 2776 w 2776"/>
                <a:gd name="T192" fmla="*/ 3628 h 362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776" h="3628">
                  <a:moveTo>
                    <a:pt x="2710" y="2504"/>
                  </a:moveTo>
                  <a:lnTo>
                    <a:pt x="2710" y="2504"/>
                  </a:lnTo>
                  <a:lnTo>
                    <a:pt x="2706" y="2498"/>
                  </a:lnTo>
                  <a:lnTo>
                    <a:pt x="2702" y="2492"/>
                  </a:lnTo>
                  <a:lnTo>
                    <a:pt x="2698" y="2476"/>
                  </a:lnTo>
                  <a:lnTo>
                    <a:pt x="2696" y="2470"/>
                  </a:lnTo>
                  <a:lnTo>
                    <a:pt x="2692" y="2466"/>
                  </a:lnTo>
                  <a:lnTo>
                    <a:pt x="2690" y="2468"/>
                  </a:lnTo>
                  <a:lnTo>
                    <a:pt x="2684" y="2472"/>
                  </a:lnTo>
                  <a:lnTo>
                    <a:pt x="2680" y="2480"/>
                  </a:lnTo>
                  <a:lnTo>
                    <a:pt x="2678" y="2486"/>
                  </a:lnTo>
                  <a:lnTo>
                    <a:pt x="2676" y="2508"/>
                  </a:lnTo>
                  <a:lnTo>
                    <a:pt x="2674" y="2518"/>
                  </a:lnTo>
                  <a:lnTo>
                    <a:pt x="2672" y="2526"/>
                  </a:lnTo>
                  <a:lnTo>
                    <a:pt x="2668" y="2532"/>
                  </a:lnTo>
                  <a:lnTo>
                    <a:pt x="2664" y="2536"/>
                  </a:lnTo>
                  <a:lnTo>
                    <a:pt x="2656" y="2542"/>
                  </a:lnTo>
                  <a:lnTo>
                    <a:pt x="2648" y="2544"/>
                  </a:lnTo>
                  <a:lnTo>
                    <a:pt x="2634" y="2546"/>
                  </a:lnTo>
                  <a:lnTo>
                    <a:pt x="2632" y="2548"/>
                  </a:lnTo>
                  <a:lnTo>
                    <a:pt x="2632" y="2554"/>
                  </a:lnTo>
                  <a:lnTo>
                    <a:pt x="2638" y="2566"/>
                  </a:lnTo>
                  <a:lnTo>
                    <a:pt x="2636" y="2572"/>
                  </a:lnTo>
                  <a:lnTo>
                    <a:pt x="2636" y="2576"/>
                  </a:lnTo>
                  <a:lnTo>
                    <a:pt x="2626" y="2588"/>
                  </a:lnTo>
                  <a:lnTo>
                    <a:pt x="2606" y="2608"/>
                  </a:lnTo>
                  <a:lnTo>
                    <a:pt x="2596" y="2618"/>
                  </a:lnTo>
                  <a:lnTo>
                    <a:pt x="2588" y="2628"/>
                  </a:lnTo>
                  <a:lnTo>
                    <a:pt x="2578" y="2640"/>
                  </a:lnTo>
                  <a:lnTo>
                    <a:pt x="2572" y="2646"/>
                  </a:lnTo>
                  <a:lnTo>
                    <a:pt x="2564" y="2650"/>
                  </a:lnTo>
                  <a:lnTo>
                    <a:pt x="2554" y="2652"/>
                  </a:lnTo>
                  <a:lnTo>
                    <a:pt x="2538" y="2656"/>
                  </a:lnTo>
                  <a:lnTo>
                    <a:pt x="2530" y="2658"/>
                  </a:lnTo>
                  <a:lnTo>
                    <a:pt x="2526" y="2660"/>
                  </a:lnTo>
                  <a:lnTo>
                    <a:pt x="2522" y="2664"/>
                  </a:lnTo>
                  <a:lnTo>
                    <a:pt x="2520" y="2668"/>
                  </a:lnTo>
                  <a:lnTo>
                    <a:pt x="2516" y="2670"/>
                  </a:lnTo>
                  <a:lnTo>
                    <a:pt x="2512" y="2670"/>
                  </a:lnTo>
                  <a:lnTo>
                    <a:pt x="2506" y="2670"/>
                  </a:lnTo>
                  <a:lnTo>
                    <a:pt x="2500" y="2670"/>
                  </a:lnTo>
                  <a:lnTo>
                    <a:pt x="2496" y="2670"/>
                  </a:lnTo>
                  <a:lnTo>
                    <a:pt x="2496" y="2672"/>
                  </a:lnTo>
                  <a:lnTo>
                    <a:pt x="2496" y="2676"/>
                  </a:lnTo>
                  <a:lnTo>
                    <a:pt x="2494" y="2690"/>
                  </a:lnTo>
                  <a:lnTo>
                    <a:pt x="2492" y="2700"/>
                  </a:lnTo>
                  <a:lnTo>
                    <a:pt x="2486" y="2712"/>
                  </a:lnTo>
                  <a:lnTo>
                    <a:pt x="2480" y="2724"/>
                  </a:lnTo>
                  <a:lnTo>
                    <a:pt x="2478" y="2732"/>
                  </a:lnTo>
                  <a:lnTo>
                    <a:pt x="2478" y="2738"/>
                  </a:lnTo>
                  <a:lnTo>
                    <a:pt x="2478" y="2742"/>
                  </a:lnTo>
                  <a:lnTo>
                    <a:pt x="2482" y="2750"/>
                  </a:lnTo>
                  <a:lnTo>
                    <a:pt x="2482" y="2754"/>
                  </a:lnTo>
                  <a:lnTo>
                    <a:pt x="2482" y="2762"/>
                  </a:lnTo>
                  <a:lnTo>
                    <a:pt x="2480" y="2772"/>
                  </a:lnTo>
                  <a:lnTo>
                    <a:pt x="2480" y="2778"/>
                  </a:lnTo>
                  <a:lnTo>
                    <a:pt x="2484" y="2790"/>
                  </a:lnTo>
                  <a:lnTo>
                    <a:pt x="2488" y="2798"/>
                  </a:lnTo>
                  <a:lnTo>
                    <a:pt x="2488" y="2802"/>
                  </a:lnTo>
                  <a:lnTo>
                    <a:pt x="2488" y="2806"/>
                  </a:lnTo>
                  <a:lnTo>
                    <a:pt x="2488" y="2814"/>
                  </a:lnTo>
                  <a:lnTo>
                    <a:pt x="2490" y="2820"/>
                  </a:lnTo>
                  <a:lnTo>
                    <a:pt x="2494" y="2832"/>
                  </a:lnTo>
                  <a:lnTo>
                    <a:pt x="2498" y="2848"/>
                  </a:lnTo>
                  <a:lnTo>
                    <a:pt x="2498" y="2860"/>
                  </a:lnTo>
                  <a:lnTo>
                    <a:pt x="2496" y="2868"/>
                  </a:lnTo>
                  <a:lnTo>
                    <a:pt x="2492" y="2876"/>
                  </a:lnTo>
                  <a:lnTo>
                    <a:pt x="2488" y="2884"/>
                  </a:lnTo>
                  <a:lnTo>
                    <a:pt x="2480" y="2900"/>
                  </a:lnTo>
                  <a:lnTo>
                    <a:pt x="2476" y="2908"/>
                  </a:lnTo>
                  <a:lnTo>
                    <a:pt x="2474" y="2916"/>
                  </a:lnTo>
                  <a:lnTo>
                    <a:pt x="2472" y="2924"/>
                  </a:lnTo>
                  <a:lnTo>
                    <a:pt x="2470" y="2928"/>
                  </a:lnTo>
                  <a:lnTo>
                    <a:pt x="2466" y="2928"/>
                  </a:lnTo>
                  <a:lnTo>
                    <a:pt x="2464" y="2928"/>
                  </a:lnTo>
                  <a:lnTo>
                    <a:pt x="2462" y="2930"/>
                  </a:lnTo>
                  <a:lnTo>
                    <a:pt x="2458" y="2934"/>
                  </a:lnTo>
                  <a:lnTo>
                    <a:pt x="2454" y="2942"/>
                  </a:lnTo>
                  <a:lnTo>
                    <a:pt x="2450" y="2954"/>
                  </a:lnTo>
                  <a:lnTo>
                    <a:pt x="2448" y="2968"/>
                  </a:lnTo>
                  <a:lnTo>
                    <a:pt x="2446" y="2980"/>
                  </a:lnTo>
                  <a:lnTo>
                    <a:pt x="2448" y="2990"/>
                  </a:lnTo>
                  <a:lnTo>
                    <a:pt x="2448" y="2998"/>
                  </a:lnTo>
                  <a:lnTo>
                    <a:pt x="2456" y="3012"/>
                  </a:lnTo>
                  <a:lnTo>
                    <a:pt x="2464" y="3026"/>
                  </a:lnTo>
                  <a:lnTo>
                    <a:pt x="2466" y="3034"/>
                  </a:lnTo>
                  <a:lnTo>
                    <a:pt x="2466" y="3040"/>
                  </a:lnTo>
                  <a:lnTo>
                    <a:pt x="2466" y="3054"/>
                  </a:lnTo>
                  <a:lnTo>
                    <a:pt x="2464" y="3062"/>
                  </a:lnTo>
                  <a:lnTo>
                    <a:pt x="2466" y="3072"/>
                  </a:lnTo>
                  <a:lnTo>
                    <a:pt x="2468" y="3084"/>
                  </a:lnTo>
                  <a:lnTo>
                    <a:pt x="2474" y="3100"/>
                  </a:lnTo>
                  <a:lnTo>
                    <a:pt x="2480" y="3114"/>
                  </a:lnTo>
                  <a:lnTo>
                    <a:pt x="2486" y="3122"/>
                  </a:lnTo>
                  <a:lnTo>
                    <a:pt x="2492" y="3126"/>
                  </a:lnTo>
                  <a:lnTo>
                    <a:pt x="2498" y="3130"/>
                  </a:lnTo>
                  <a:lnTo>
                    <a:pt x="2510" y="3134"/>
                  </a:lnTo>
                  <a:lnTo>
                    <a:pt x="2514" y="3136"/>
                  </a:lnTo>
                  <a:lnTo>
                    <a:pt x="2520" y="3142"/>
                  </a:lnTo>
                  <a:lnTo>
                    <a:pt x="2522" y="3144"/>
                  </a:lnTo>
                  <a:lnTo>
                    <a:pt x="2526" y="3146"/>
                  </a:lnTo>
                  <a:lnTo>
                    <a:pt x="2534" y="3146"/>
                  </a:lnTo>
                  <a:lnTo>
                    <a:pt x="2544" y="3144"/>
                  </a:lnTo>
                  <a:lnTo>
                    <a:pt x="2554" y="3140"/>
                  </a:lnTo>
                  <a:lnTo>
                    <a:pt x="2574" y="3128"/>
                  </a:lnTo>
                  <a:lnTo>
                    <a:pt x="2584" y="3124"/>
                  </a:lnTo>
                  <a:lnTo>
                    <a:pt x="2594" y="3122"/>
                  </a:lnTo>
                  <a:lnTo>
                    <a:pt x="2598" y="3120"/>
                  </a:lnTo>
                  <a:lnTo>
                    <a:pt x="2602" y="3116"/>
                  </a:lnTo>
                  <a:lnTo>
                    <a:pt x="2610" y="3096"/>
                  </a:lnTo>
                  <a:lnTo>
                    <a:pt x="2620" y="3068"/>
                  </a:lnTo>
                  <a:lnTo>
                    <a:pt x="2628" y="3034"/>
                  </a:lnTo>
                  <a:lnTo>
                    <a:pt x="2648" y="2952"/>
                  </a:lnTo>
                  <a:lnTo>
                    <a:pt x="2668" y="2870"/>
                  </a:lnTo>
                  <a:lnTo>
                    <a:pt x="2682" y="2822"/>
                  </a:lnTo>
                  <a:lnTo>
                    <a:pt x="2694" y="2792"/>
                  </a:lnTo>
                  <a:lnTo>
                    <a:pt x="2696" y="2780"/>
                  </a:lnTo>
                  <a:lnTo>
                    <a:pt x="2700" y="2768"/>
                  </a:lnTo>
                  <a:lnTo>
                    <a:pt x="2700" y="2756"/>
                  </a:lnTo>
                  <a:lnTo>
                    <a:pt x="2698" y="2742"/>
                  </a:lnTo>
                  <a:lnTo>
                    <a:pt x="2698" y="2730"/>
                  </a:lnTo>
                  <a:lnTo>
                    <a:pt x="2698" y="2722"/>
                  </a:lnTo>
                  <a:lnTo>
                    <a:pt x="2700" y="2718"/>
                  </a:lnTo>
                  <a:lnTo>
                    <a:pt x="2704" y="2714"/>
                  </a:lnTo>
                  <a:lnTo>
                    <a:pt x="2710" y="2710"/>
                  </a:lnTo>
                  <a:lnTo>
                    <a:pt x="2712" y="2706"/>
                  </a:lnTo>
                  <a:lnTo>
                    <a:pt x="2710" y="2700"/>
                  </a:lnTo>
                  <a:lnTo>
                    <a:pt x="2710" y="2690"/>
                  </a:lnTo>
                  <a:lnTo>
                    <a:pt x="2712" y="2684"/>
                  </a:lnTo>
                  <a:lnTo>
                    <a:pt x="2712" y="2674"/>
                  </a:lnTo>
                  <a:lnTo>
                    <a:pt x="2712" y="2670"/>
                  </a:lnTo>
                  <a:lnTo>
                    <a:pt x="2710" y="2662"/>
                  </a:lnTo>
                  <a:lnTo>
                    <a:pt x="2706" y="2654"/>
                  </a:lnTo>
                  <a:lnTo>
                    <a:pt x="2706" y="2648"/>
                  </a:lnTo>
                  <a:lnTo>
                    <a:pt x="2706" y="2642"/>
                  </a:lnTo>
                  <a:lnTo>
                    <a:pt x="2708" y="2638"/>
                  </a:lnTo>
                  <a:lnTo>
                    <a:pt x="2710" y="2636"/>
                  </a:lnTo>
                  <a:lnTo>
                    <a:pt x="2714" y="2640"/>
                  </a:lnTo>
                  <a:lnTo>
                    <a:pt x="2718" y="2646"/>
                  </a:lnTo>
                  <a:lnTo>
                    <a:pt x="2722" y="2658"/>
                  </a:lnTo>
                  <a:lnTo>
                    <a:pt x="2724" y="2662"/>
                  </a:lnTo>
                  <a:lnTo>
                    <a:pt x="2728" y="2662"/>
                  </a:lnTo>
                  <a:lnTo>
                    <a:pt x="2732" y="2658"/>
                  </a:lnTo>
                  <a:lnTo>
                    <a:pt x="2734" y="2652"/>
                  </a:lnTo>
                  <a:lnTo>
                    <a:pt x="2736" y="2644"/>
                  </a:lnTo>
                  <a:lnTo>
                    <a:pt x="2738" y="2634"/>
                  </a:lnTo>
                  <a:lnTo>
                    <a:pt x="2736" y="2624"/>
                  </a:lnTo>
                  <a:lnTo>
                    <a:pt x="2734" y="2614"/>
                  </a:lnTo>
                  <a:lnTo>
                    <a:pt x="2732" y="2604"/>
                  </a:lnTo>
                  <a:lnTo>
                    <a:pt x="2730" y="2590"/>
                  </a:lnTo>
                  <a:lnTo>
                    <a:pt x="2724" y="2556"/>
                  </a:lnTo>
                  <a:lnTo>
                    <a:pt x="2720" y="2522"/>
                  </a:lnTo>
                  <a:lnTo>
                    <a:pt x="2716" y="2510"/>
                  </a:lnTo>
                  <a:lnTo>
                    <a:pt x="2710" y="2504"/>
                  </a:lnTo>
                  <a:close/>
                  <a:moveTo>
                    <a:pt x="2770" y="1364"/>
                  </a:moveTo>
                  <a:lnTo>
                    <a:pt x="2770" y="1364"/>
                  </a:lnTo>
                  <a:lnTo>
                    <a:pt x="2764" y="1352"/>
                  </a:lnTo>
                  <a:lnTo>
                    <a:pt x="2762" y="1342"/>
                  </a:lnTo>
                  <a:lnTo>
                    <a:pt x="2764" y="1332"/>
                  </a:lnTo>
                  <a:lnTo>
                    <a:pt x="2766" y="1322"/>
                  </a:lnTo>
                  <a:lnTo>
                    <a:pt x="2770" y="1316"/>
                  </a:lnTo>
                  <a:lnTo>
                    <a:pt x="2770" y="1308"/>
                  </a:lnTo>
                  <a:lnTo>
                    <a:pt x="2768" y="1304"/>
                  </a:lnTo>
                  <a:lnTo>
                    <a:pt x="2762" y="1300"/>
                  </a:lnTo>
                  <a:lnTo>
                    <a:pt x="2752" y="1300"/>
                  </a:lnTo>
                  <a:lnTo>
                    <a:pt x="2746" y="1302"/>
                  </a:lnTo>
                  <a:lnTo>
                    <a:pt x="2730" y="1314"/>
                  </a:lnTo>
                  <a:lnTo>
                    <a:pt x="2720" y="1320"/>
                  </a:lnTo>
                  <a:lnTo>
                    <a:pt x="2708" y="1326"/>
                  </a:lnTo>
                  <a:lnTo>
                    <a:pt x="2694" y="1330"/>
                  </a:lnTo>
                  <a:lnTo>
                    <a:pt x="2676" y="1330"/>
                  </a:lnTo>
                  <a:lnTo>
                    <a:pt x="2660" y="1332"/>
                  </a:lnTo>
                  <a:lnTo>
                    <a:pt x="2650" y="1332"/>
                  </a:lnTo>
                  <a:lnTo>
                    <a:pt x="2646" y="1334"/>
                  </a:lnTo>
                  <a:lnTo>
                    <a:pt x="2646" y="1336"/>
                  </a:lnTo>
                  <a:lnTo>
                    <a:pt x="2646" y="1338"/>
                  </a:lnTo>
                  <a:lnTo>
                    <a:pt x="2644" y="1340"/>
                  </a:lnTo>
                  <a:lnTo>
                    <a:pt x="2640" y="1340"/>
                  </a:lnTo>
                  <a:lnTo>
                    <a:pt x="2630" y="1340"/>
                  </a:lnTo>
                  <a:lnTo>
                    <a:pt x="2618" y="1340"/>
                  </a:lnTo>
                  <a:lnTo>
                    <a:pt x="2608" y="1342"/>
                  </a:lnTo>
                  <a:lnTo>
                    <a:pt x="2602" y="1346"/>
                  </a:lnTo>
                  <a:lnTo>
                    <a:pt x="2596" y="1352"/>
                  </a:lnTo>
                  <a:lnTo>
                    <a:pt x="2590" y="1356"/>
                  </a:lnTo>
                  <a:lnTo>
                    <a:pt x="2584" y="1360"/>
                  </a:lnTo>
                  <a:lnTo>
                    <a:pt x="2574" y="1360"/>
                  </a:lnTo>
                  <a:lnTo>
                    <a:pt x="2564" y="1358"/>
                  </a:lnTo>
                  <a:lnTo>
                    <a:pt x="2552" y="1356"/>
                  </a:lnTo>
                  <a:lnTo>
                    <a:pt x="2542" y="1356"/>
                  </a:lnTo>
                  <a:lnTo>
                    <a:pt x="2534" y="1360"/>
                  </a:lnTo>
                  <a:lnTo>
                    <a:pt x="2528" y="1366"/>
                  </a:lnTo>
                  <a:lnTo>
                    <a:pt x="2520" y="1370"/>
                  </a:lnTo>
                  <a:lnTo>
                    <a:pt x="2512" y="1374"/>
                  </a:lnTo>
                  <a:lnTo>
                    <a:pt x="2504" y="1376"/>
                  </a:lnTo>
                  <a:lnTo>
                    <a:pt x="2494" y="1374"/>
                  </a:lnTo>
                  <a:lnTo>
                    <a:pt x="2484" y="1368"/>
                  </a:lnTo>
                  <a:lnTo>
                    <a:pt x="2476" y="1362"/>
                  </a:lnTo>
                  <a:lnTo>
                    <a:pt x="2470" y="1356"/>
                  </a:lnTo>
                  <a:lnTo>
                    <a:pt x="2466" y="1350"/>
                  </a:lnTo>
                  <a:lnTo>
                    <a:pt x="2458" y="1334"/>
                  </a:lnTo>
                  <a:lnTo>
                    <a:pt x="2454" y="1328"/>
                  </a:lnTo>
                  <a:lnTo>
                    <a:pt x="2448" y="1320"/>
                  </a:lnTo>
                  <a:lnTo>
                    <a:pt x="2444" y="1318"/>
                  </a:lnTo>
                  <a:lnTo>
                    <a:pt x="2438" y="1316"/>
                  </a:lnTo>
                  <a:lnTo>
                    <a:pt x="2428" y="1316"/>
                  </a:lnTo>
                  <a:lnTo>
                    <a:pt x="2426" y="1316"/>
                  </a:lnTo>
                  <a:lnTo>
                    <a:pt x="2428" y="1314"/>
                  </a:lnTo>
                  <a:lnTo>
                    <a:pt x="2444" y="1302"/>
                  </a:lnTo>
                  <a:lnTo>
                    <a:pt x="2450" y="1298"/>
                  </a:lnTo>
                  <a:lnTo>
                    <a:pt x="2452" y="1294"/>
                  </a:lnTo>
                  <a:lnTo>
                    <a:pt x="2452" y="1288"/>
                  </a:lnTo>
                  <a:lnTo>
                    <a:pt x="2452" y="1284"/>
                  </a:lnTo>
                  <a:lnTo>
                    <a:pt x="2448" y="1272"/>
                  </a:lnTo>
                  <a:lnTo>
                    <a:pt x="2440" y="1260"/>
                  </a:lnTo>
                  <a:lnTo>
                    <a:pt x="2436" y="1256"/>
                  </a:lnTo>
                  <a:lnTo>
                    <a:pt x="2432" y="1254"/>
                  </a:lnTo>
                  <a:lnTo>
                    <a:pt x="2426" y="1252"/>
                  </a:lnTo>
                  <a:lnTo>
                    <a:pt x="2422" y="1244"/>
                  </a:lnTo>
                  <a:lnTo>
                    <a:pt x="2418" y="1238"/>
                  </a:lnTo>
                  <a:lnTo>
                    <a:pt x="2416" y="1236"/>
                  </a:lnTo>
                  <a:lnTo>
                    <a:pt x="2414" y="1232"/>
                  </a:lnTo>
                  <a:lnTo>
                    <a:pt x="2410" y="1224"/>
                  </a:lnTo>
                  <a:lnTo>
                    <a:pt x="2404" y="1214"/>
                  </a:lnTo>
                  <a:lnTo>
                    <a:pt x="2402" y="1214"/>
                  </a:lnTo>
                  <a:lnTo>
                    <a:pt x="2402" y="1216"/>
                  </a:lnTo>
                  <a:lnTo>
                    <a:pt x="2396" y="1208"/>
                  </a:lnTo>
                  <a:lnTo>
                    <a:pt x="2394" y="1204"/>
                  </a:lnTo>
                  <a:lnTo>
                    <a:pt x="2392" y="1202"/>
                  </a:lnTo>
                  <a:lnTo>
                    <a:pt x="2388" y="1202"/>
                  </a:lnTo>
                  <a:lnTo>
                    <a:pt x="2384" y="1202"/>
                  </a:lnTo>
                  <a:lnTo>
                    <a:pt x="2382" y="1198"/>
                  </a:lnTo>
                  <a:lnTo>
                    <a:pt x="2378" y="1192"/>
                  </a:lnTo>
                  <a:lnTo>
                    <a:pt x="2372" y="1182"/>
                  </a:lnTo>
                  <a:lnTo>
                    <a:pt x="2366" y="1172"/>
                  </a:lnTo>
                  <a:lnTo>
                    <a:pt x="2362" y="1166"/>
                  </a:lnTo>
                  <a:lnTo>
                    <a:pt x="2358" y="1164"/>
                  </a:lnTo>
                  <a:lnTo>
                    <a:pt x="2356" y="1164"/>
                  </a:lnTo>
                  <a:lnTo>
                    <a:pt x="2354" y="1166"/>
                  </a:lnTo>
                  <a:lnTo>
                    <a:pt x="2352" y="1166"/>
                  </a:lnTo>
                  <a:lnTo>
                    <a:pt x="2348" y="1162"/>
                  </a:lnTo>
                  <a:lnTo>
                    <a:pt x="2344" y="1156"/>
                  </a:lnTo>
                  <a:lnTo>
                    <a:pt x="2340" y="1150"/>
                  </a:lnTo>
                  <a:lnTo>
                    <a:pt x="2338" y="1150"/>
                  </a:lnTo>
                  <a:lnTo>
                    <a:pt x="2334" y="1150"/>
                  </a:lnTo>
                  <a:lnTo>
                    <a:pt x="2332" y="1152"/>
                  </a:lnTo>
                  <a:lnTo>
                    <a:pt x="2330" y="1152"/>
                  </a:lnTo>
                  <a:lnTo>
                    <a:pt x="2326" y="1150"/>
                  </a:lnTo>
                  <a:lnTo>
                    <a:pt x="2322" y="1144"/>
                  </a:lnTo>
                  <a:lnTo>
                    <a:pt x="2316" y="1132"/>
                  </a:lnTo>
                  <a:lnTo>
                    <a:pt x="2312" y="1124"/>
                  </a:lnTo>
                  <a:lnTo>
                    <a:pt x="2310" y="1122"/>
                  </a:lnTo>
                  <a:lnTo>
                    <a:pt x="2308" y="1124"/>
                  </a:lnTo>
                  <a:lnTo>
                    <a:pt x="2308" y="1128"/>
                  </a:lnTo>
                  <a:lnTo>
                    <a:pt x="2308" y="1140"/>
                  </a:lnTo>
                  <a:lnTo>
                    <a:pt x="2308" y="1144"/>
                  </a:lnTo>
                  <a:lnTo>
                    <a:pt x="2306" y="1146"/>
                  </a:lnTo>
                  <a:lnTo>
                    <a:pt x="2304" y="1142"/>
                  </a:lnTo>
                  <a:lnTo>
                    <a:pt x="2300" y="1136"/>
                  </a:lnTo>
                  <a:lnTo>
                    <a:pt x="2298" y="1126"/>
                  </a:lnTo>
                  <a:lnTo>
                    <a:pt x="2290" y="1110"/>
                  </a:lnTo>
                  <a:lnTo>
                    <a:pt x="2286" y="1100"/>
                  </a:lnTo>
                  <a:lnTo>
                    <a:pt x="2284" y="1086"/>
                  </a:lnTo>
                  <a:lnTo>
                    <a:pt x="2280" y="1058"/>
                  </a:lnTo>
                  <a:lnTo>
                    <a:pt x="2276" y="1042"/>
                  </a:lnTo>
                  <a:lnTo>
                    <a:pt x="2272" y="1026"/>
                  </a:lnTo>
                  <a:lnTo>
                    <a:pt x="2268" y="1012"/>
                  </a:lnTo>
                  <a:lnTo>
                    <a:pt x="2260" y="998"/>
                  </a:lnTo>
                  <a:lnTo>
                    <a:pt x="2252" y="988"/>
                  </a:lnTo>
                  <a:lnTo>
                    <a:pt x="2248" y="984"/>
                  </a:lnTo>
                  <a:lnTo>
                    <a:pt x="2244" y="986"/>
                  </a:lnTo>
                  <a:lnTo>
                    <a:pt x="2242" y="986"/>
                  </a:lnTo>
                  <a:lnTo>
                    <a:pt x="2240" y="984"/>
                  </a:lnTo>
                  <a:lnTo>
                    <a:pt x="2236" y="976"/>
                  </a:lnTo>
                  <a:lnTo>
                    <a:pt x="2230" y="968"/>
                  </a:lnTo>
                  <a:lnTo>
                    <a:pt x="2226" y="966"/>
                  </a:lnTo>
                  <a:lnTo>
                    <a:pt x="2222" y="966"/>
                  </a:lnTo>
                  <a:lnTo>
                    <a:pt x="2220" y="966"/>
                  </a:lnTo>
                  <a:lnTo>
                    <a:pt x="2218" y="964"/>
                  </a:lnTo>
                  <a:lnTo>
                    <a:pt x="2212" y="956"/>
                  </a:lnTo>
                  <a:lnTo>
                    <a:pt x="2208" y="944"/>
                  </a:lnTo>
                  <a:lnTo>
                    <a:pt x="2206" y="928"/>
                  </a:lnTo>
                  <a:lnTo>
                    <a:pt x="2202" y="900"/>
                  </a:lnTo>
                  <a:lnTo>
                    <a:pt x="2200" y="890"/>
                  </a:lnTo>
                  <a:lnTo>
                    <a:pt x="2202" y="884"/>
                  </a:lnTo>
                  <a:lnTo>
                    <a:pt x="2204" y="876"/>
                  </a:lnTo>
                  <a:lnTo>
                    <a:pt x="2204" y="870"/>
                  </a:lnTo>
                  <a:lnTo>
                    <a:pt x="2200" y="858"/>
                  </a:lnTo>
                  <a:lnTo>
                    <a:pt x="2198" y="850"/>
                  </a:lnTo>
                  <a:lnTo>
                    <a:pt x="2200" y="848"/>
                  </a:lnTo>
                  <a:lnTo>
                    <a:pt x="2204" y="850"/>
                  </a:lnTo>
                  <a:lnTo>
                    <a:pt x="2208" y="850"/>
                  </a:lnTo>
                  <a:lnTo>
                    <a:pt x="2210" y="848"/>
                  </a:lnTo>
                  <a:lnTo>
                    <a:pt x="2204" y="842"/>
                  </a:lnTo>
                  <a:lnTo>
                    <a:pt x="2198" y="826"/>
                  </a:lnTo>
                  <a:lnTo>
                    <a:pt x="2194" y="816"/>
                  </a:lnTo>
                  <a:lnTo>
                    <a:pt x="2192" y="802"/>
                  </a:lnTo>
                  <a:lnTo>
                    <a:pt x="2190" y="794"/>
                  </a:lnTo>
                  <a:lnTo>
                    <a:pt x="2188" y="790"/>
                  </a:lnTo>
                  <a:lnTo>
                    <a:pt x="2184" y="786"/>
                  </a:lnTo>
                  <a:lnTo>
                    <a:pt x="2176" y="784"/>
                  </a:lnTo>
                  <a:lnTo>
                    <a:pt x="2174" y="782"/>
                  </a:lnTo>
                  <a:lnTo>
                    <a:pt x="2170" y="780"/>
                  </a:lnTo>
                  <a:lnTo>
                    <a:pt x="2166" y="772"/>
                  </a:lnTo>
                  <a:lnTo>
                    <a:pt x="2162" y="766"/>
                  </a:lnTo>
                  <a:lnTo>
                    <a:pt x="2160" y="764"/>
                  </a:lnTo>
                  <a:lnTo>
                    <a:pt x="2154" y="764"/>
                  </a:lnTo>
                  <a:lnTo>
                    <a:pt x="2150" y="762"/>
                  </a:lnTo>
                  <a:lnTo>
                    <a:pt x="2146" y="758"/>
                  </a:lnTo>
                  <a:lnTo>
                    <a:pt x="2138" y="746"/>
                  </a:lnTo>
                  <a:lnTo>
                    <a:pt x="2134" y="752"/>
                  </a:lnTo>
                  <a:lnTo>
                    <a:pt x="2138" y="746"/>
                  </a:lnTo>
                  <a:lnTo>
                    <a:pt x="2134" y="732"/>
                  </a:lnTo>
                  <a:lnTo>
                    <a:pt x="2132" y="716"/>
                  </a:lnTo>
                  <a:lnTo>
                    <a:pt x="2132" y="710"/>
                  </a:lnTo>
                  <a:lnTo>
                    <a:pt x="2134" y="706"/>
                  </a:lnTo>
                  <a:lnTo>
                    <a:pt x="2136" y="702"/>
                  </a:lnTo>
                  <a:lnTo>
                    <a:pt x="2142" y="702"/>
                  </a:lnTo>
                  <a:lnTo>
                    <a:pt x="2144" y="702"/>
                  </a:lnTo>
                  <a:lnTo>
                    <a:pt x="2138" y="698"/>
                  </a:lnTo>
                  <a:lnTo>
                    <a:pt x="2134" y="692"/>
                  </a:lnTo>
                  <a:lnTo>
                    <a:pt x="2128" y="684"/>
                  </a:lnTo>
                  <a:lnTo>
                    <a:pt x="2120" y="674"/>
                  </a:lnTo>
                  <a:lnTo>
                    <a:pt x="2116" y="662"/>
                  </a:lnTo>
                  <a:lnTo>
                    <a:pt x="2108" y="642"/>
                  </a:lnTo>
                  <a:lnTo>
                    <a:pt x="2098" y="624"/>
                  </a:lnTo>
                  <a:lnTo>
                    <a:pt x="2082" y="594"/>
                  </a:lnTo>
                  <a:lnTo>
                    <a:pt x="2072" y="572"/>
                  </a:lnTo>
                  <a:lnTo>
                    <a:pt x="2070" y="564"/>
                  </a:lnTo>
                  <a:lnTo>
                    <a:pt x="2070" y="556"/>
                  </a:lnTo>
                  <a:lnTo>
                    <a:pt x="2070" y="550"/>
                  </a:lnTo>
                  <a:lnTo>
                    <a:pt x="2070" y="544"/>
                  </a:lnTo>
                  <a:lnTo>
                    <a:pt x="2064" y="534"/>
                  </a:lnTo>
                  <a:lnTo>
                    <a:pt x="2058" y="526"/>
                  </a:lnTo>
                  <a:lnTo>
                    <a:pt x="2056" y="520"/>
                  </a:lnTo>
                  <a:lnTo>
                    <a:pt x="2056" y="512"/>
                  </a:lnTo>
                  <a:lnTo>
                    <a:pt x="2054" y="504"/>
                  </a:lnTo>
                  <a:lnTo>
                    <a:pt x="2050" y="494"/>
                  </a:lnTo>
                  <a:lnTo>
                    <a:pt x="2036" y="474"/>
                  </a:lnTo>
                  <a:lnTo>
                    <a:pt x="2022" y="452"/>
                  </a:lnTo>
                  <a:lnTo>
                    <a:pt x="2018" y="442"/>
                  </a:lnTo>
                  <a:lnTo>
                    <a:pt x="2016" y="434"/>
                  </a:lnTo>
                  <a:lnTo>
                    <a:pt x="2016" y="426"/>
                  </a:lnTo>
                  <a:lnTo>
                    <a:pt x="2014" y="422"/>
                  </a:lnTo>
                  <a:lnTo>
                    <a:pt x="2010" y="416"/>
                  </a:lnTo>
                  <a:lnTo>
                    <a:pt x="2008" y="412"/>
                  </a:lnTo>
                  <a:lnTo>
                    <a:pt x="2008" y="408"/>
                  </a:lnTo>
                  <a:lnTo>
                    <a:pt x="2010" y="402"/>
                  </a:lnTo>
                  <a:lnTo>
                    <a:pt x="2014" y="394"/>
                  </a:lnTo>
                  <a:lnTo>
                    <a:pt x="2000" y="332"/>
                  </a:lnTo>
                  <a:lnTo>
                    <a:pt x="1998" y="332"/>
                  </a:lnTo>
                  <a:lnTo>
                    <a:pt x="1996" y="328"/>
                  </a:lnTo>
                  <a:lnTo>
                    <a:pt x="1992" y="326"/>
                  </a:lnTo>
                  <a:lnTo>
                    <a:pt x="1990" y="326"/>
                  </a:lnTo>
                  <a:lnTo>
                    <a:pt x="1986" y="326"/>
                  </a:lnTo>
                  <a:lnTo>
                    <a:pt x="1984" y="324"/>
                  </a:lnTo>
                  <a:lnTo>
                    <a:pt x="1984" y="322"/>
                  </a:lnTo>
                  <a:lnTo>
                    <a:pt x="1984" y="320"/>
                  </a:lnTo>
                  <a:lnTo>
                    <a:pt x="1986" y="318"/>
                  </a:lnTo>
                  <a:lnTo>
                    <a:pt x="1988" y="316"/>
                  </a:lnTo>
                  <a:lnTo>
                    <a:pt x="1990" y="314"/>
                  </a:lnTo>
                  <a:lnTo>
                    <a:pt x="1992" y="316"/>
                  </a:lnTo>
                  <a:lnTo>
                    <a:pt x="1998" y="320"/>
                  </a:lnTo>
                  <a:lnTo>
                    <a:pt x="1996" y="316"/>
                  </a:lnTo>
                  <a:lnTo>
                    <a:pt x="1990" y="310"/>
                  </a:lnTo>
                  <a:lnTo>
                    <a:pt x="1988" y="308"/>
                  </a:lnTo>
                  <a:lnTo>
                    <a:pt x="1986" y="308"/>
                  </a:lnTo>
                  <a:lnTo>
                    <a:pt x="1980" y="312"/>
                  </a:lnTo>
                  <a:lnTo>
                    <a:pt x="1976" y="314"/>
                  </a:lnTo>
                  <a:lnTo>
                    <a:pt x="1974" y="314"/>
                  </a:lnTo>
                  <a:lnTo>
                    <a:pt x="1966" y="310"/>
                  </a:lnTo>
                  <a:lnTo>
                    <a:pt x="1958" y="306"/>
                  </a:lnTo>
                  <a:lnTo>
                    <a:pt x="1954" y="306"/>
                  </a:lnTo>
                  <a:lnTo>
                    <a:pt x="1948" y="308"/>
                  </a:lnTo>
                  <a:lnTo>
                    <a:pt x="1938" y="312"/>
                  </a:lnTo>
                  <a:lnTo>
                    <a:pt x="1932" y="312"/>
                  </a:lnTo>
                  <a:lnTo>
                    <a:pt x="1928" y="312"/>
                  </a:lnTo>
                  <a:lnTo>
                    <a:pt x="1922" y="318"/>
                  </a:lnTo>
                  <a:lnTo>
                    <a:pt x="1920" y="320"/>
                  </a:lnTo>
                  <a:lnTo>
                    <a:pt x="1916" y="322"/>
                  </a:lnTo>
                  <a:lnTo>
                    <a:pt x="1908" y="326"/>
                  </a:lnTo>
                  <a:lnTo>
                    <a:pt x="1892" y="340"/>
                  </a:lnTo>
                  <a:lnTo>
                    <a:pt x="1886" y="346"/>
                  </a:lnTo>
                  <a:lnTo>
                    <a:pt x="1880" y="346"/>
                  </a:lnTo>
                  <a:lnTo>
                    <a:pt x="1874" y="346"/>
                  </a:lnTo>
                  <a:lnTo>
                    <a:pt x="1866" y="344"/>
                  </a:lnTo>
                  <a:lnTo>
                    <a:pt x="1854" y="336"/>
                  </a:lnTo>
                  <a:lnTo>
                    <a:pt x="1848" y="334"/>
                  </a:lnTo>
                  <a:lnTo>
                    <a:pt x="1844" y="334"/>
                  </a:lnTo>
                  <a:lnTo>
                    <a:pt x="1836" y="332"/>
                  </a:lnTo>
                  <a:lnTo>
                    <a:pt x="1830" y="330"/>
                  </a:lnTo>
                  <a:lnTo>
                    <a:pt x="1826" y="326"/>
                  </a:lnTo>
                  <a:lnTo>
                    <a:pt x="1822" y="326"/>
                  </a:lnTo>
                  <a:lnTo>
                    <a:pt x="1818" y="326"/>
                  </a:lnTo>
                  <a:lnTo>
                    <a:pt x="1812" y="326"/>
                  </a:lnTo>
                  <a:lnTo>
                    <a:pt x="1812" y="324"/>
                  </a:lnTo>
                  <a:lnTo>
                    <a:pt x="1808" y="322"/>
                  </a:lnTo>
                  <a:lnTo>
                    <a:pt x="1804" y="318"/>
                  </a:lnTo>
                  <a:lnTo>
                    <a:pt x="1794" y="314"/>
                  </a:lnTo>
                  <a:lnTo>
                    <a:pt x="1778" y="310"/>
                  </a:lnTo>
                  <a:lnTo>
                    <a:pt x="1762" y="308"/>
                  </a:lnTo>
                  <a:lnTo>
                    <a:pt x="1750" y="306"/>
                  </a:lnTo>
                  <a:lnTo>
                    <a:pt x="1734" y="308"/>
                  </a:lnTo>
                  <a:lnTo>
                    <a:pt x="1724" y="310"/>
                  </a:lnTo>
                  <a:lnTo>
                    <a:pt x="1718" y="310"/>
                  </a:lnTo>
                  <a:lnTo>
                    <a:pt x="1718" y="308"/>
                  </a:lnTo>
                  <a:lnTo>
                    <a:pt x="1716" y="302"/>
                  </a:lnTo>
                  <a:lnTo>
                    <a:pt x="1714" y="292"/>
                  </a:lnTo>
                  <a:lnTo>
                    <a:pt x="1710" y="288"/>
                  </a:lnTo>
                  <a:lnTo>
                    <a:pt x="1706" y="286"/>
                  </a:lnTo>
                  <a:lnTo>
                    <a:pt x="1700" y="284"/>
                  </a:lnTo>
                  <a:lnTo>
                    <a:pt x="1692" y="284"/>
                  </a:lnTo>
                  <a:lnTo>
                    <a:pt x="1678" y="284"/>
                  </a:lnTo>
                  <a:lnTo>
                    <a:pt x="1672" y="282"/>
                  </a:lnTo>
                  <a:lnTo>
                    <a:pt x="1666" y="280"/>
                  </a:lnTo>
                  <a:lnTo>
                    <a:pt x="1654" y="278"/>
                  </a:lnTo>
                  <a:lnTo>
                    <a:pt x="1648" y="276"/>
                  </a:lnTo>
                  <a:lnTo>
                    <a:pt x="1644" y="274"/>
                  </a:lnTo>
                  <a:lnTo>
                    <a:pt x="1640" y="266"/>
                  </a:lnTo>
                  <a:lnTo>
                    <a:pt x="1638" y="262"/>
                  </a:lnTo>
                  <a:lnTo>
                    <a:pt x="1632" y="256"/>
                  </a:lnTo>
                  <a:lnTo>
                    <a:pt x="1624" y="250"/>
                  </a:lnTo>
                  <a:lnTo>
                    <a:pt x="1612" y="242"/>
                  </a:lnTo>
                  <a:lnTo>
                    <a:pt x="1596" y="236"/>
                  </a:lnTo>
                  <a:lnTo>
                    <a:pt x="1584" y="236"/>
                  </a:lnTo>
                  <a:lnTo>
                    <a:pt x="1574" y="238"/>
                  </a:lnTo>
                  <a:lnTo>
                    <a:pt x="1568" y="242"/>
                  </a:lnTo>
                  <a:lnTo>
                    <a:pt x="1564" y="244"/>
                  </a:lnTo>
                  <a:lnTo>
                    <a:pt x="1560" y="246"/>
                  </a:lnTo>
                  <a:lnTo>
                    <a:pt x="1550" y="246"/>
                  </a:lnTo>
                  <a:lnTo>
                    <a:pt x="1544" y="248"/>
                  </a:lnTo>
                  <a:lnTo>
                    <a:pt x="1536" y="252"/>
                  </a:lnTo>
                  <a:lnTo>
                    <a:pt x="1528" y="260"/>
                  </a:lnTo>
                  <a:lnTo>
                    <a:pt x="1516" y="274"/>
                  </a:lnTo>
                  <a:lnTo>
                    <a:pt x="1510" y="284"/>
                  </a:lnTo>
                  <a:lnTo>
                    <a:pt x="1508" y="292"/>
                  </a:lnTo>
                  <a:lnTo>
                    <a:pt x="1508" y="302"/>
                  </a:lnTo>
                  <a:lnTo>
                    <a:pt x="1510" y="314"/>
                  </a:lnTo>
                  <a:lnTo>
                    <a:pt x="1512" y="324"/>
                  </a:lnTo>
                  <a:lnTo>
                    <a:pt x="1514" y="334"/>
                  </a:lnTo>
                  <a:lnTo>
                    <a:pt x="1512" y="344"/>
                  </a:lnTo>
                  <a:lnTo>
                    <a:pt x="1506" y="354"/>
                  </a:lnTo>
                  <a:lnTo>
                    <a:pt x="1498" y="362"/>
                  </a:lnTo>
                  <a:lnTo>
                    <a:pt x="1492" y="368"/>
                  </a:lnTo>
                  <a:lnTo>
                    <a:pt x="1484" y="374"/>
                  </a:lnTo>
                  <a:lnTo>
                    <a:pt x="1478" y="376"/>
                  </a:lnTo>
                  <a:lnTo>
                    <a:pt x="1470" y="376"/>
                  </a:lnTo>
                  <a:lnTo>
                    <a:pt x="1464" y="374"/>
                  </a:lnTo>
                  <a:lnTo>
                    <a:pt x="1458" y="368"/>
                  </a:lnTo>
                  <a:lnTo>
                    <a:pt x="1452" y="362"/>
                  </a:lnTo>
                  <a:lnTo>
                    <a:pt x="1446" y="356"/>
                  </a:lnTo>
                  <a:lnTo>
                    <a:pt x="1438" y="350"/>
                  </a:lnTo>
                  <a:lnTo>
                    <a:pt x="1418" y="338"/>
                  </a:lnTo>
                  <a:lnTo>
                    <a:pt x="1398" y="330"/>
                  </a:lnTo>
                  <a:lnTo>
                    <a:pt x="1376" y="328"/>
                  </a:lnTo>
                  <a:lnTo>
                    <a:pt x="1358" y="326"/>
                  </a:lnTo>
                  <a:lnTo>
                    <a:pt x="1350" y="324"/>
                  </a:lnTo>
                  <a:lnTo>
                    <a:pt x="1344" y="320"/>
                  </a:lnTo>
                  <a:lnTo>
                    <a:pt x="1338" y="316"/>
                  </a:lnTo>
                  <a:lnTo>
                    <a:pt x="1334" y="310"/>
                  </a:lnTo>
                  <a:lnTo>
                    <a:pt x="1330" y="300"/>
                  </a:lnTo>
                  <a:lnTo>
                    <a:pt x="1326" y="288"/>
                  </a:lnTo>
                  <a:lnTo>
                    <a:pt x="1324" y="276"/>
                  </a:lnTo>
                  <a:lnTo>
                    <a:pt x="1320" y="268"/>
                  </a:lnTo>
                  <a:lnTo>
                    <a:pt x="1314" y="262"/>
                  </a:lnTo>
                  <a:lnTo>
                    <a:pt x="1306" y="260"/>
                  </a:lnTo>
                  <a:lnTo>
                    <a:pt x="1294" y="258"/>
                  </a:lnTo>
                  <a:lnTo>
                    <a:pt x="1288" y="256"/>
                  </a:lnTo>
                  <a:lnTo>
                    <a:pt x="1284" y="254"/>
                  </a:lnTo>
                  <a:lnTo>
                    <a:pt x="1272" y="248"/>
                  </a:lnTo>
                  <a:lnTo>
                    <a:pt x="1256" y="242"/>
                  </a:lnTo>
                  <a:lnTo>
                    <a:pt x="1238" y="240"/>
                  </a:lnTo>
                  <a:lnTo>
                    <a:pt x="1230" y="240"/>
                  </a:lnTo>
                  <a:lnTo>
                    <a:pt x="1224" y="240"/>
                  </a:lnTo>
                  <a:lnTo>
                    <a:pt x="1216" y="242"/>
                  </a:lnTo>
                  <a:lnTo>
                    <a:pt x="1210" y="242"/>
                  </a:lnTo>
                  <a:lnTo>
                    <a:pt x="1196" y="236"/>
                  </a:lnTo>
                  <a:lnTo>
                    <a:pt x="1182" y="230"/>
                  </a:lnTo>
                  <a:lnTo>
                    <a:pt x="1172" y="224"/>
                  </a:lnTo>
                  <a:lnTo>
                    <a:pt x="1160" y="218"/>
                  </a:lnTo>
                  <a:lnTo>
                    <a:pt x="1156" y="214"/>
                  </a:lnTo>
                  <a:lnTo>
                    <a:pt x="1154" y="206"/>
                  </a:lnTo>
                  <a:lnTo>
                    <a:pt x="1152" y="198"/>
                  </a:lnTo>
                  <a:lnTo>
                    <a:pt x="1150" y="198"/>
                  </a:lnTo>
                  <a:lnTo>
                    <a:pt x="1148" y="198"/>
                  </a:lnTo>
                  <a:lnTo>
                    <a:pt x="1144" y="200"/>
                  </a:lnTo>
                  <a:lnTo>
                    <a:pt x="1142" y="200"/>
                  </a:lnTo>
                  <a:lnTo>
                    <a:pt x="1140" y="198"/>
                  </a:lnTo>
                  <a:lnTo>
                    <a:pt x="1132" y="196"/>
                  </a:lnTo>
                  <a:lnTo>
                    <a:pt x="1124" y="194"/>
                  </a:lnTo>
                  <a:lnTo>
                    <a:pt x="1118" y="194"/>
                  </a:lnTo>
                  <a:lnTo>
                    <a:pt x="1114" y="190"/>
                  </a:lnTo>
                  <a:lnTo>
                    <a:pt x="1110" y="184"/>
                  </a:lnTo>
                  <a:lnTo>
                    <a:pt x="1108" y="176"/>
                  </a:lnTo>
                  <a:lnTo>
                    <a:pt x="1110" y="170"/>
                  </a:lnTo>
                  <a:lnTo>
                    <a:pt x="1116" y="162"/>
                  </a:lnTo>
                  <a:lnTo>
                    <a:pt x="1134" y="144"/>
                  </a:lnTo>
                  <a:lnTo>
                    <a:pt x="1142" y="134"/>
                  </a:lnTo>
                  <a:lnTo>
                    <a:pt x="1150" y="124"/>
                  </a:lnTo>
                  <a:lnTo>
                    <a:pt x="1154" y="116"/>
                  </a:lnTo>
                  <a:lnTo>
                    <a:pt x="1154" y="114"/>
                  </a:lnTo>
                  <a:lnTo>
                    <a:pt x="1152" y="110"/>
                  </a:lnTo>
                  <a:lnTo>
                    <a:pt x="1150" y="106"/>
                  </a:lnTo>
                  <a:lnTo>
                    <a:pt x="1148" y="102"/>
                  </a:lnTo>
                  <a:lnTo>
                    <a:pt x="1148" y="96"/>
                  </a:lnTo>
                  <a:lnTo>
                    <a:pt x="1148" y="92"/>
                  </a:lnTo>
                  <a:lnTo>
                    <a:pt x="1146" y="90"/>
                  </a:lnTo>
                  <a:lnTo>
                    <a:pt x="1142" y="86"/>
                  </a:lnTo>
                  <a:lnTo>
                    <a:pt x="1136" y="82"/>
                  </a:lnTo>
                  <a:lnTo>
                    <a:pt x="1132" y="78"/>
                  </a:lnTo>
                  <a:lnTo>
                    <a:pt x="1128" y="74"/>
                  </a:lnTo>
                  <a:lnTo>
                    <a:pt x="1124" y="64"/>
                  </a:lnTo>
                  <a:lnTo>
                    <a:pt x="1124" y="60"/>
                  </a:lnTo>
                  <a:lnTo>
                    <a:pt x="1124" y="56"/>
                  </a:lnTo>
                  <a:lnTo>
                    <a:pt x="1126" y="52"/>
                  </a:lnTo>
                  <a:lnTo>
                    <a:pt x="1130" y="50"/>
                  </a:lnTo>
                  <a:lnTo>
                    <a:pt x="1140" y="42"/>
                  </a:lnTo>
                  <a:lnTo>
                    <a:pt x="1148" y="34"/>
                  </a:lnTo>
                  <a:lnTo>
                    <a:pt x="1152" y="26"/>
                  </a:lnTo>
                  <a:lnTo>
                    <a:pt x="1152" y="20"/>
                  </a:lnTo>
                  <a:lnTo>
                    <a:pt x="1152" y="16"/>
                  </a:lnTo>
                  <a:lnTo>
                    <a:pt x="1148" y="14"/>
                  </a:lnTo>
                  <a:lnTo>
                    <a:pt x="1146" y="16"/>
                  </a:lnTo>
                  <a:lnTo>
                    <a:pt x="1136" y="22"/>
                  </a:lnTo>
                  <a:lnTo>
                    <a:pt x="1128" y="30"/>
                  </a:lnTo>
                  <a:lnTo>
                    <a:pt x="1124" y="32"/>
                  </a:lnTo>
                  <a:lnTo>
                    <a:pt x="1122" y="32"/>
                  </a:lnTo>
                  <a:lnTo>
                    <a:pt x="1120" y="30"/>
                  </a:lnTo>
                  <a:lnTo>
                    <a:pt x="1118" y="26"/>
                  </a:lnTo>
                  <a:lnTo>
                    <a:pt x="1118" y="18"/>
                  </a:lnTo>
                  <a:lnTo>
                    <a:pt x="1116" y="10"/>
                  </a:lnTo>
                  <a:lnTo>
                    <a:pt x="1112" y="6"/>
                  </a:lnTo>
                  <a:lnTo>
                    <a:pt x="1108" y="4"/>
                  </a:lnTo>
                  <a:lnTo>
                    <a:pt x="1096" y="0"/>
                  </a:lnTo>
                  <a:lnTo>
                    <a:pt x="1088" y="2"/>
                  </a:lnTo>
                  <a:lnTo>
                    <a:pt x="1080" y="4"/>
                  </a:lnTo>
                  <a:lnTo>
                    <a:pt x="1074" y="6"/>
                  </a:lnTo>
                  <a:lnTo>
                    <a:pt x="1064" y="16"/>
                  </a:lnTo>
                  <a:lnTo>
                    <a:pt x="1058" y="22"/>
                  </a:lnTo>
                  <a:lnTo>
                    <a:pt x="1052" y="22"/>
                  </a:lnTo>
                  <a:lnTo>
                    <a:pt x="1040" y="22"/>
                  </a:lnTo>
                  <a:lnTo>
                    <a:pt x="1034" y="22"/>
                  </a:lnTo>
                  <a:lnTo>
                    <a:pt x="1026" y="24"/>
                  </a:lnTo>
                  <a:lnTo>
                    <a:pt x="1022" y="28"/>
                  </a:lnTo>
                  <a:lnTo>
                    <a:pt x="1018" y="24"/>
                  </a:lnTo>
                  <a:lnTo>
                    <a:pt x="1014" y="20"/>
                  </a:lnTo>
                  <a:lnTo>
                    <a:pt x="1006" y="14"/>
                  </a:lnTo>
                  <a:lnTo>
                    <a:pt x="1002" y="12"/>
                  </a:lnTo>
                  <a:lnTo>
                    <a:pt x="998" y="14"/>
                  </a:lnTo>
                  <a:lnTo>
                    <a:pt x="994" y="18"/>
                  </a:lnTo>
                  <a:lnTo>
                    <a:pt x="992" y="20"/>
                  </a:lnTo>
                  <a:lnTo>
                    <a:pt x="988" y="22"/>
                  </a:lnTo>
                  <a:lnTo>
                    <a:pt x="984" y="22"/>
                  </a:lnTo>
                  <a:lnTo>
                    <a:pt x="978" y="20"/>
                  </a:lnTo>
                  <a:lnTo>
                    <a:pt x="966" y="16"/>
                  </a:lnTo>
                  <a:lnTo>
                    <a:pt x="962" y="16"/>
                  </a:lnTo>
                  <a:lnTo>
                    <a:pt x="960" y="18"/>
                  </a:lnTo>
                  <a:lnTo>
                    <a:pt x="954" y="22"/>
                  </a:lnTo>
                  <a:lnTo>
                    <a:pt x="942" y="26"/>
                  </a:lnTo>
                  <a:lnTo>
                    <a:pt x="936" y="28"/>
                  </a:lnTo>
                  <a:lnTo>
                    <a:pt x="930" y="30"/>
                  </a:lnTo>
                  <a:lnTo>
                    <a:pt x="924" y="36"/>
                  </a:lnTo>
                  <a:lnTo>
                    <a:pt x="920" y="38"/>
                  </a:lnTo>
                  <a:lnTo>
                    <a:pt x="918" y="38"/>
                  </a:lnTo>
                  <a:lnTo>
                    <a:pt x="914" y="36"/>
                  </a:lnTo>
                  <a:lnTo>
                    <a:pt x="910" y="32"/>
                  </a:lnTo>
                  <a:lnTo>
                    <a:pt x="906" y="28"/>
                  </a:lnTo>
                  <a:lnTo>
                    <a:pt x="900" y="26"/>
                  </a:lnTo>
                  <a:lnTo>
                    <a:pt x="886" y="22"/>
                  </a:lnTo>
                  <a:lnTo>
                    <a:pt x="870" y="24"/>
                  </a:lnTo>
                  <a:lnTo>
                    <a:pt x="854" y="26"/>
                  </a:lnTo>
                  <a:lnTo>
                    <a:pt x="848" y="28"/>
                  </a:lnTo>
                  <a:lnTo>
                    <a:pt x="842" y="28"/>
                  </a:lnTo>
                  <a:lnTo>
                    <a:pt x="832" y="28"/>
                  </a:lnTo>
                  <a:lnTo>
                    <a:pt x="822" y="28"/>
                  </a:lnTo>
                  <a:lnTo>
                    <a:pt x="820" y="30"/>
                  </a:lnTo>
                  <a:lnTo>
                    <a:pt x="816" y="32"/>
                  </a:lnTo>
                  <a:lnTo>
                    <a:pt x="812" y="38"/>
                  </a:lnTo>
                  <a:lnTo>
                    <a:pt x="804" y="40"/>
                  </a:lnTo>
                  <a:lnTo>
                    <a:pt x="776" y="42"/>
                  </a:lnTo>
                  <a:lnTo>
                    <a:pt x="754" y="46"/>
                  </a:lnTo>
                  <a:lnTo>
                    <a:pt x="732" y="52"/>
                  </a:lnTo>
                  <a:lnTo>
                    <a:pt x="724" y="58"/>
                  </a:lnTo>
                  <a:lnTo>
                    <a:pt x="716" y="64"/>
                  </a:lnTo>
                  <a:lnTo>
                    <a:pt x="710" y="70"/>
                  </a:lnTo>
                  <a:lnTo>
                    <a:pt x="706" y="76"/>
                  </a:lnTo>
                  <a:lnTo>
                    <a:pt x="704" y="82"/>
                  </a:lnTo>
                  <a:lnTo>
                    <a:pt x="700" y="86"/>
                  </a:lnTo>
                  <a:lnTo>
                    <a:pt x="698" y="86"/>
                  </a:lnTo>
                  <a:lnTo>
                    <a:pt x="696" y="84"/>
                  </a:lnTo>
                  <a:lnTo>
                    <a:pt x="690" y="80"/>
                  </a:lnTo>
                  <a:lnTo>
                    <a:pt x="686" y="82"/>
                  </a:lnTo>
                  <a:lnTo>
                    <a:pt x="682" y="84"/>
                  </a:lnTo>
                  <a:lnTo>
                    <a:pt x="680" y="86"/>
                  </a:lnTo>
                  <a:lnTo>
                    <a:pt x="676" y="88"/>
                  </a:lnTo>
                  <a:lnTo>
                    <a:pt x="670" y="86"/>
                  </a:lnTo>
                  <a:lnTo>
                    <a:pt x="668" y="86"/>
                  </a:lnTo>
                  <a:lnTo>
                    <a:pt x="664" y="88"/>
                  </a:lnTo>
                  <a:lnTo>
                    <a:pt x="662" y="90"/>
                  </a:lnTo>
                  <a:lnTo>
                    <a:pt x="656" y="96"/>
                  </a:lnTo>
                  <a:lnTo>
                    <a:pt x="650" y="104"/>
                  </a:lnTo>
                  <a:lnTo>
                    <a:pt x="640" y="114"/>
                  </a:lnTo>
                  <a:lnTo>
                    <a:pt x="634" y="118"/>
                  </a:lnTo>
                  <a:lnTo>
                    <a:pt x="628" y="120"/>
                  </a:lnTo>
                  <a:lnTo>
                    <a:pt x="622" y="120"/>
                  </a:lnTo>
                  <a:lnTo>
                    <a:pt x="616" y="120"/>
                  </a:lnTo>
                  <a:lnTo>
                    <a:pt x="600" y="120"/>
                  </a:lnTo>
                  <a:lnTo>
                    <a:pt x="596" y="118"/>
                  </a:lnTo>
                  <a:lnTo>
                    <a:pt x="592" y="116"/>
                  </a:lnTo>
                  <a:lnTo>
                    <a:pt x="588" y="112"/>
                  </a:lnTo>
                  <a:lnTo>
                    <a:pt x="586" y="108"/>
                  </a:lnTo>
                  <a:lnTo>
                    <a:pt x="586" y="104"/>
                  </a:lnTo>
                  <a:lnTo>
                    <a:pt x="584" y="104"/>
                  </a:lnTo>
                  <a:lnTo>
                    <a:pt x="580" y="108"/>
                  </a:lnTo>
                  <a:lnTo>
                    <a:pt x="578" y="110"/>
                  </a:lnTo>
                  <a:lnTo>
                    <a:pt x="574" y="112"/>
                  </a:lnTo>
                  <a:lnTo>
                    <a:pt x="570" y="114"/>
                  </a:lnTo>
                  <a:lnTo>
                    <a:pt x="562" y="112"/>
                  </a:lnTo>
                  <a:lnTo>
                    <a:pt x="558" y="110"/>
                  </a:lnTo>
                  <a:lnTo>
                    <a:pt x="552" y="110"/>
                  </a:lnTo>
                  <a:lnTo>
                    <a:pt x="542" y="114"/>
                  </a:lnTo>
                  <a:lnTo>
                    <a:pt x="536" y="116"/>
                  </a:lnTo>
                  <a:lnTo>
                    <a:pt x="530" y="118"/>
                  </a:lnTo>
                  <a:lnTo>
                    <a:pt x="520" y="116"/>
                  </a:lnTo>
                  <a:lnTo>
                    <a:pt x="510" y="112"/>
                  </a:lnTo>
                  <a:lnTo>
                    <a:pt x="502" y="108"/>
                  </a:lnTo>
                  <a:lnTo>
                    <a:pt x="498" y="102"/>
                  </a:lnTo>
                  <a:lnTo>
                    <a:pt x="494" y="98"/>
                  </a:lnTo>
                  <a:lnTo>
                    <a:pt x="492" y="94"/>
                  </a:lnTo>
                  <a:lnTo>
                    <a:pt x="464" y="96"/>
                  </a:lnTo>
                  <a:lnTo>
                    <a:pt x="454" y="122"/>
                  </a:lnTo>
                  <a:lnTo>
                    <a:pt x="444" y="152"/>
                  </a:lnTo>
                  <a:lnTo>
                    <a:pt x="436" y="166"/>
                  </a:lnTo>
                  <a:lnTo>
                    <a:pt x="426" y="180"/>
                  </a:lnTo>
                  <a:lnTo>
                    <a:pt x="414" y="190"/>
                  </a:lnTo>
                  <a:lnTo>
                    <a:pt x="400" y="200"/>
                  </a:lnTo>
                  <a:lnTo>
                    <a:pt x="380" y="206"/>
                  </a:lnTo>
                  <a:lnTo>
                    <a:pt x="368" y="212"/>
                  </a:lnTo>
                  <a:lnTo>
                    <a:pt x="360" y="218"/>
                  </a:lnTo>
                  <a:lnTo>
                    <a:pt x="356" y="222"/>
                  </a:lnTo>
                  <a:lnTo>
                    <a:pt x="352" y="232"/>
                  </a:lnTo>
                  <a:lnTo>
                    <a:pt x="348" y="238"/>
                  </a:lnTo>
                  <a:lnTo>
                    <a:pt x="342" y="244"/>
                  </a:lnTo>
                  <a:lnTo>
                    <a:pt x="334" y="252"/>
                  </a:lnTo>
                  <a:lnTo>
                    <a:pt x="332" y="256"/>
                  </a:lnTo>
                  <a:lnTo>
                    <a:pt x="330" y="260"/>
                  </a:lnTo>
                  <a:lnTo>
                    <a:pt x="330" y="264"/>
                  </a:lnTo>
                  <a:lnTo>
                    <a:pt x="330" y="270"/>
                  </a:lnTo>
                  <a:lnTo>
                    <a:pt x="330" y="274"/>
                  </a:lnTo>
                  <a:lnTo>
                    <a:pt x="326" y="282"/>
                  </a:lnTo>
                  <a:lnTo>
                    <a:pt x="320" y="292"/>
                  </a:lnTo>
                  <a:lnTo>
                    <a:pt x="312" y="306"/>
                  </a:lnTo>
                  <a:lnTo>
                    <a:pt x="308" y="320"/>
                  </a:lnTo>
                  <a:lnTo>
                    <a:pt x="308" y="336"/>
                  </a:lnTo>
                  <a:lnTo>
                    <a:pt x="310" y="350"/>
                  </a:lnTo>
                  <a:lnTo>
                    <a:pt x="314" y="376"/>
                  </a:lnTo>
                  <a:lnTo>
                    <a:pt x="314" y="388"/>
                  </a:lnTo>
                  <a:lnTo>
                    <a:pt x="310" y="398"/>
                  </a:lnTo>
                  <a:lnTo>
                    <a:pt x="298" y="420"/>
                  </a:lnTo>
                  <a:lnTo>
                    <a:pt x="288" y="434"/>
                  </a:lnTo>
                  <a:lnTo>
                    <a:pt x="282" y="442"/>
                  </a:lnTo>
                  <a:lnTo>
                    <a:pt x="276" y="446"/>
                  </a:lnTo>
                  <a:lnTo>
                    <a:pt x="264" y="452"/>
                  </a:lnTo>
                  <a:lnTo>
                    <a:pt x="258" y="456"/>
                  </a:lnTo>
                  <a:lnTo>
                    <a:pt x="250" y="466"/>
                  </a:lnTo>
                  <a:lnTo>
                    <a:pt x="240" y="478"/>
                  </a:lnTo>
                  <a:lnTo>
                    <a:pt x="228" y="484"/>
                  </a:lnTo>
                  <a:lnTo>
                    <a:pt x="218" y="488"/>
                  </a:lnTo>
                  <a:lnTo>
                    <a:pt x="206" y="490"/>
                  </a:lnTo>
                  <a:lnTo>
                    <a:pt x="196" y="492"/>
                  </a:lnTo>
                  <a:lnTo>
                    <a:pt x="188" y="496"/>
                  </a:lnTo>
                  <a:lnTo>
                    <a:pt x="180" y="500"/>
                  </a:lnTo>
                  <a:lnTo>
                    <a:pt x="174" y="510"/>
                  </a:lnTo>
                  <a:lnTo>
                    <a:pt x="164" y="538"/>
                  </a:lnTo>
                  <a:lnTo>
                    <a:pt x="156" y="556"/>
                  </a:lnTo>
                  <a:lnTo>
                    <a:pt x="148" y="566"/>
                  </a:lnTo>
                  <a:lnTo>
                    <a:pt x="140" y="572"/>
                  </a:lnTo>
                  <a:lnTo>
                    <a:pt x="134" y="574"/>
                  </a:lnTo>
                  <a:lnTo>
                    <a:pt x="128" y="578"/>
                  </a:lnTo>
                  <a:lnTo>
                    <a:pt x="124" y="584"/>
                  </a:lnTo>
                  <a:lnTo>
                    <a:pt x="120" y="596"/>
                  </a:lnTo>
                  <a:lnTo>
                    <a:pt x="116" y="610"/>
                  </a:lnTo>
                  <a:lnTo>
                    <a:pt x="114" y="614"/>
                  </a:lnTo>
                  <a:lnTo>
                    <a:pt x="110" y="620"/>
                  </a:lnTo>
                  <a:lnTo>
                    <a:pt x="108" y="640"/>
                  </a:lnTo>
                  <a:lnTo>
                    <a:pt x="104" y="660"/>
                  </a:lnTo>
                  <a:lnTo>
                    <a:pt x="102" y="666"/>
                  </a:lnTo>
                  <a:lnTo>
                    <a:pt x="98" y="670"/>
                  </a:lnTo>
                  <a:lnTo>
                    <a:pt x="90" y="678"/>
                  </a:lnTo>
                  <a:lnTo>
                    <a:pt x="78" y="692"/>
                  </a:lnTo>
                  <a:lnTo>
                    <a:pt x="64" y="706"/>
                  </a:lnTo>
                  <a:lnTo>
                    <a:pt x="58" y="712"/>
                  </a:lnTo>
                  <a:lnTo>
                    <a:pt x="58" y="714"/>
                  </a:lnTo>
                  <a:lnTo>
                    <a:pt x="60" y="714"/>
                  </a:lnTo>
                  <a:lnTo>
                    <a:pt x="64" y="714"/>
                  </a:lnTo>
                  <a:lnTo>
                    <a:pt x="66" y="714"/>
                  </a:lnTo>
                  <a:lnTo>
                    <a:pt x="66" y="716"/>
                  </a:lnTo>
                  <a:lnTo>
                    <a:pt x="60" y="726"/>
                  </a:lnTo>
                  <a:lnTo>
                    <a:pt x="54" y="740"/>
                  </a:lnTo>
                  <a:lnTo>
                    <a:pt x="52" y="750"/>
                  </a:lnTo>
                  <a:lnTo>
                    <a:pt x="50" y="762"/>
                  </a:lnTo>
                  <a:lnTo>
                    <a:pt x="48" y="772"/>
                  </a:lnTo>
                  <a:lnTo>
                    <a:pt x="46" y="778"/>
                  </a:lnTo>
                  <a:lnTo>
                    <a:pt x="42" y="782"/>
                  </a:lnTo>
                  <a:lnTo>
                    <a:pt x="36" y="786"/>
                  </a:lnTo>
                  <a:lnTo>
                    <a:pt x="32" y="788"/>
                  </a:lnTo>
                  <a:lnTo>
                    <a:pt x="28" y="794"/>
                  </a:lnTo>
                  <a:lnTo>
                    <a:pt x="24" y="800"/>
                  </a:lnTo>
                  <a:lnTo>
                    <a:pt x="20" y="812"/>
                  </a:lnTo>
                  <a:lnTo>
                    <a:pt x="16" y="834"/>
                  </a:lnTo>
                  <a:lnTo>
                    <a:pt x="14" y="850"/>
                  </a:lnTo>
                  <a:lnTo>
                    <a:pt x="16" y="858"/>
                  </a:lnTo>
                  <a:lnTo>
                    <a:pt x="16" y="860"/>
                  </a:lnTo>
                  <a:lnTo>
                    <a:pt x="18" y="860"/>
                  </a:lnTo>
                  <a:lnTo>
                    <a:pt x="20" y="860"/>
                  </a:lnTo>
                  <a:lnTo>
                    <a:pt x="22" y="858"/>
                  </a:lnTo>
                  <a:lnTo>
                    <a:pt x="22" y="852"/>
                  </a:lnTo>
                  <a:lnTo>
                    <a:pt x="24" y="846"/>
                  </a:lnTo>
                  <a:lnTo>
                    <a:pt x="24" y="844"/>
                  </a:lnTo>
                  <a:lnTo>
                    <a:pt x="26" y="844"/>
                  </a:lnTo>
                  <a:lnTo>
                    <a:pt x="30" y="846"/>
                  </a:lnTo>
                  <a:lnTo>
                    <a:pt x="30" y="850"/>
                  </a:lnTo>
                  <a:lnTo>
                    <a:pt x="32" y="860"/>
                  </a:lnTo>
                  <a:lnTo>
                    <a:pt x="34" y="868"/>
                  </a:lnTo>
                  <a:lnTo>
                    <a:pt x="36" y="868"/>
                  </a:lnTo>
                  <a:lnTo>
                    <a:pt x="38" y="868"/>
                  </a:lnTo>
                  <a:lnTo>
                    <a:pt x="42" y="868"/>
                  </a:lnTo>
                  <a:lnTo>
                    <a:pt x="44" y="868"/>
                  </a:lnTo>
                  <a:lnTo>
                    <a:pt x="48" y="878"/>
                  </a:lnTo>
                  <a:lnTo>
                    <a:pt x="50" y="890"/>
                  </a:lnTo>
                  <a:lnTo>
                    <a:pt x="50" y="902"/>
                  </a:lnTo>
                  <a:lnTo>
                    <a:pt x="50" y="910"/>
                  </a:lnTo>
                  <a:lnTo>
                    <a:pt x="46" y="918"/>
                  </a:lnTo>
                  <a:lnTo>
                    <a:pt x="42" y="926"/>
                  </a:lnTo>
                  <a:lnTo>
                    <a:pt x="38" y="930"/>
                  </a:lnTo>
                  <a:lnTo>
                    <a:pt x="40" y="932"/>
                  </a:lnTo>
                  <a:lnTo>
                    <a:pt x="42" y="936"/>
                  </a:lnTo>
                  <a:lnTo>
                    <a:pt x="46" y="940"/>
                  </a:lnTo>
                  <a:lnTo>
                    <a:pt x="50" y="948"/>
                  </a:lnTo>
                  <a:lnTo>
                    <a:pt x="54" y="958"/>
                  </a:lnTo>
                  <a:lnTo>
                    <a:pt x="58" y="972"/>
                  </a:lnTo>
                  <a:lnTo>
                    <a:pt x="60" y="986"/>
                  </a:lnTo>
                  <a:lnTo>
                    <a:pt x="60" y="1002"/>
                  </a:lnTo>
                  <a:lnTo>
                    <a:pt x="58" y="1016"/>
                  </a:lnTo>
                  <a:lnTo>
                    <a:pt x="54" y="1030"/>
                  </a:lnTo>
                  <a:lnTo>
                    <a:pt x="42" y="1066"/>
                  </a:lnTo>
                  <a:lnTo>
                    <a:pt x="40" y="1076"/>
                  </a:lnTo>
                  <a:lnTo>
                    <a:pt x="40" y="1086"/>
                  </a:lnTo>
                  <a:lnTo>
                    <a:pt x="40" y="1102"/>
                  </a:lnTo>
                  <a:lnTo>
                    <a:pt x="34" y="1122"/>
                  </a:lnTo>
                  <a:lnTo>
                    <a:pt x="28" y="1132"/>
                  </a:lnTo>
                  <a:lnTo>
                    <a:pt x="22" y="1142"/>
                  </a:lnTo>
                  <a:lnTo>
                    <a:pt x="16" y="1150"/>
                  </a:lnTo>
                  <a:lnTo>
                    <a:pt x="6" y="1156"/>
                  </a:lnTo>
                  <a:lnTo>
                    <a:pt x="2" y="1160"/>
                  </a:lnTo>
                  <a:lnTo>
                    <a:pt x="0" y="1162"/>
                  </a:lnTo>
                  <a:lnTo>
                    <a:pt x="2" y="1164"/>
                  </a:lnTo>
                  <a:lnTo>
                    <a:pt x="10" y="1164"/>
                  </a:lnTo>
                  <a:lnTo>
                    <a:pt x="14" y="1164"/>
                  </a:lnTo>
                  <a:lnTo>
                    <a:pt x="16" y="1168"/>
                  </a:lnTo>
                  <a:lnTo>
                    <a:pt x="22" y="1184"/>
                  </a:lnTo>
                  <a:lnTo>
                    <a:pt x="30" y="1202"/>
                  </a:lnTo>
                  <a:lnTo>
                    <a:pt x="34" y="1210"/>
                  </a:lnTo>
                  <a:lnTo>
                    <a:pt x="38" y="1218"/>
                  </a:lnTo>
                  <a:lnTo>
                    <a:pt x="40" y="1222"/>
                  </a:lnTo>
                  <a:lnTo>
                    <a:pt x="44" y="1224"/>
                  </a:lnTo>
                  <a:lnTo>
                    <a:pt x="46" y="1226"/>
                  </a:lnTo>
                  <a:lnTo>
                    <a:pt x="52" y="1226"/>
                  </a:lnTo>
                  <a:lnTo>
                    <a:pt x="64" y="1224"/>
                  </a:lnTo>
                  <a:lnTo>
                    <a:pt x="80" y="1224"/>
                  </a:lnTo>
                  <a:lnTo>
                    <a:pt x="62" y="1228"/>
                  </a:lnTo>
                  <a:lnTo>
                    <a:pt x="50" y="1232"/>
                  </a:lnTo>
                  <a:lnTo>
                    <a:pt x="40" y="1232"/>
                  </a:lnTo>
                  <a:lnTo>
                    <a:pt x="38" y="1232"/>
                  </a:lnTo>
                  <a:lnTo>
                    <a:pt x="36" y="1228"/>
                  </a:lnTo>
                  <a:lnTo>
                    <a:pt x="34" y="1226"/>
                  </a:lnTo>
                  <a:lnTo>
                    <a:pt x="32" y="1224"/>
                  </a:lnTo>
                  <a:lnTo>
                    <a:pt x="28" y="1228"/>
                  </a:lnTo>
                  <a:lnTo>
                    <a:pt x="26" y="1234"/>
                  </a:lnTo>
                  <a:lnTo>
                    <a:pt x="28" y="1242"/>
                  </a:lnTo>
                  <a:lnTo>
                    <a:pt x="30" y="1252"/>
                  </a:lnTo>
                  <a:lnTo>
                    <a:pt x="30" y="1260"/>
                  </a:lnTo>
                  <a:lnTo>
                    <a:pt x="30" y="1264"/>
                  </a:lnTo>
                  <a:lnTo>
                    <a:pt x="32" y="1264"/>
                  </a:lnTo>
                  <a:lnTo>
                    <a:pt x="34" y="1264"/>
                  </a:lnTo>
                  <a:lnTo>
                    <a:pt x="40" y="1262"/>
                  </a:lnTo>
                  <a:lnTo>
                    <a:pt x="44" y="1264"/>
                  </a:lnTo>
                  <a:lnTo>
                    <a:pt x="48" y="1266"/>
                  </a:lnTo>
                  <a:lnTo>
                    <a:pt x="54" y="1264"/>
                  </a:lnTo>
                  <a:lnTo>
                    <a:pt x="60" y="1264"/>
                  </a:lnTo>
                  <a:lnTo>
                    <a:pt x="64" y="1264"/>
                  </a:lnTo>
                  <a:lnTo>
                    <a:pt x="70" y="1268"/>
                  </a:lnTo>
                  <a:lnTo>
                    <a:pt x="76" y="1268"/>
                  </a:lnTo>
                  <a:lnTo>
                    <a:pt x="64" y="1270"/>
                  </a:lnTo>
                  <a:lnTo>
                    <a:pt x="54" y="1270"/>
                  </a:lnTo>
                  <a:lnTo>
                    <a:pt x="44" y="1268"/>
                  </a:lnTo>
                  <a:lnTo>
                    <a:pt x="38" y="1266"/>
                  </a:lnTo>
                  <a:lnTo>
                    <a:pt x="36" y="1268"/>
                  </a:lnTo>
                  <a:lnTo>
                    <a:pt x="32" y="1270"/>
                  </a:lnTo>
                  <a:lnTo>
                    <a:pt x="30" y="1274"/>
                  </a:lnTo>
                  <a:lnTo>
                    <a:pt x="30" y="1276"/>
                  </a:lnTo>
                  <a:lnTo>
                    <a:pt x="34" y="1278"/>
                  </a:lnTo>
                  <a:lnTo>
                    <a:pt x="38" y="1282"/>
                  </a:lnTo>
                  <a:lnTo>
                    <a:pt x="40" y="1286"/>
                  </a:lnTo>
                  <a:lnTo>
                    <a:pt x="42" y="1286"/>
                  </a:lnTo>
                  <a:lnTo>
                    <a:pt x="48" y="1284"/>
                  </a:lnTo>
                  <a:lnTo>
                    <a:pt x="52" y="1284"/>
                  </a:lnTo>
                  <a:lnTo>
                    <a:pt x="50" y="1290"/>
                  </a:lnTo>
                  <a:lnTo>
                    <a:pt x="46" y="1296"/>
                  </a:lnTo>
                  <a:lnTo>
                    <a:pt x="48" y="1298"/>
                  </a:lnTo>
                  <a:lnTo>
                    <a:pt x="48" y="1300"/>
                  </a:lnTo>
                  <a:lnTo>
                    <a:pt x="54" y="1300"/>
                  </a:lnTo>
                  <a:lnTo>
                    <a:pt x="60" y="1300"/>
                  </a:lnTo>
                  <a:lnTo>
                    <a:pt x="64" y="1298"/>
                  </a:lnTo>
                  <a:lnTo>
                    <a:pt x="64" y="1300"/>
                  </a:lnTo>
                  <a:lnTo>
                    <a:pt x="64" y="1306"/>
                  </a:lnTo>
                  <a:lnTo>
                    <a:pt x="64" y="1312"/>
                  </a:lnTo>
                  <a:lnTo>
                    <a:pt x="66" y="1312"/>
                  </a:lnTo>
                  <a:lnTo>
                    <a:pt x="70" y="1310"/>
                  </a:lnTo>
                  <a:lnTo>
                    <a:pt x="78" y="1304"/>
                  </a:lnTo>
                  <a:lnTo>
                    <a:pt x="86" y="1300"/>
                  </a:lnTo>
                  <a:lnTo>
                    <a:pt x="88" y="1300"/>
                  </a:lnTo>
                  <a:lnTo>
                    <a:pt x="88" y="1302"/>
                  </a:lnTo>
                  <a:lnTo>
                    <a:pt x="82" y="1304"/>
                  </a:lnTo>
                  <a:lnTo>
                    <a:pt x="80" y="1306"/>
                  </a:lnTo>
                  <a:lnTo>
                    <a:pt x="78" y="1308"/>
                  </a:lnTo>
                  <a:lnTo>
                    <a:pt x="80" y="1312"/>
                  </a:lnTo>
                  <a:lnTo>
                    <a:pt x="82" y="1318"/>
                  </a:lnTo>
                  <a:lnTo>
                    <a:pt x="84" y="1320"/>
                  </a:lnTo>
                  <a:lnTo>
                    <a:pt x="82" y="1324"/>
                  </a:lnTo>
                  <a:lnTo>
                    <a:pt x="80" y="1328"/>
                  </a:lnTo>
                  <a:lnTo>
                    <a:pt x="82" y="1328"/>
                  </a:lnTo>
                  <a:lnTo>
                    <a:pt x="84" y="1328"/>
                  </a:lnTo>
                  <a:lnTo>
                    <a:pt x="86" y="1332"/>
                  </a:lnTo>
                  <a:lnTo>
                    <a:pt x="86" y="1336"/>
                  </a:lnTo>
                  <a:lnTo>
                    <a:pt x="88" y="1336"/>
                  </a:lnTo>
                  <a:lnTo>
                    <a:pt x="90" y="1338"/>
                  </a:lnTo>
                  <a:lnTo>
                    <a:pt x="90" y="1342"/>
                  </a:lnTo>
                  <a:lnTo>
                    <a:pt x="92" y="1346"/>
                  </a:lnTo>
                  <a:lnTo>
                    <a:pt x="94" y="1344"/>
                  </a:lnTo>
                  <a:lnTo>
                    <a:pt x="100" y="1336"/>
                  </a:lnTo>
                  <a:lnTo>
                    <a:pt x="98" y="1344"/>
                  </a:lnTo>
                  <a:lnTo>
                    <a:pt x="100" y="1348"/>
                  </a:lnTo>
                  <a:lnTo>
                    <a:pt x="98" y="1352"/>
                  </a:lnTo>
                  <a:lnTo>
                    <a:pt x="100" y="1356"/>
                  </a:lnTo>
                  <a:lnTo>
                    <a:pt x="102" y="1356"/>
                  </a:lnTo>
                  <a:lnTo>
                    <a:pt x="104" y="1352"/>
                  </a:lnTo>
                  <a:lnTo>
                    <a:pt x="108" y="1346"/>
                  </a:lnTo>
                  <a:lnTo>
                    <a:pt x="110" y="1344"/>
                  </a:lnTo>
                  <a:lnTo>
                    <a:pt x="114" y="1344"/>
                  </a:lnTo>
                  <a:lnTo>
                    <a:pt x="116" y="1344"/>
                  </a:lnTo>
                  <a:lnTo>
                    <a:pt x="112" y="1346"/>
                  </a:lnTo>
                  <a:lnTo>
                    <a:pt x="110" y="1350"/>
                  </a:lnTo>
                  <a:lnTo>
                    <a:pt x="110" y="1354"/>
                  </a:lnTo>
                  <a:lnTo>
                    <a:pt x="110" y="1358"/>
                  </a:lnTo>
                  <a:lnTo>
                    <a:pt x="112" y="1360"/>
                  </a:lnTo>
                  <a:lnTo>
                    <a:pt x="114" y="1360"/>
                  </a:lnTo>
                  <a:lnTo>
                    <a:pt x="118" y="1356"/>
                  </a:lnTo>
                  <a:lnTo>
                    <a:pt x="118" y="1354"/>
                  </a:lnTo>
                  <a:lnTo>
                    <a:pt x="118" y="1362"/>
                  </a:lnTo>
                  <a:lnTo>
                    <a:pt x="118" y="1372"/>
                  </a:lnTo>
                  <a:lnTo>
                    <a:pt x="120" y="1378"/>
                  </a:lnTo>
                  <a:lnTo>
                    <a:pt x="124" y="1384"/>
                  </a:lnTo>
                  <a:lnTo>
                    <a:pt x="128" y="1386"/>
                  </a:lnTo>
                  <a:lnTo>
                    <a:pt x="134" y="1388"/>
                  </a:lnTo>
                  <a:lnTo>
                    <a:pt x="140" y="1392"/>
                  </a:lnTo>
                  <a:lnTo>
                    <a:pt x="146" y="1398"/>
                  </a:lnTo>
                  <a:lnTo>
                    <a:pt x="154" y="1402"/>
                  </a:lnTo>
                  <a:lnTo>
                    <a:pt x="158" y="1404"/>
                  </a:lnTo>
                  <a:lnTo>
                    <a:pt x="158" y="1406"/>
                  </a:lnTo>
                  <a:lnTo>
                    <a:pt x="158" y="1408"/>
                  </a:lnTo>
                  <a:lnTo>
                    <a:pt x="156" y="1414"/>
                  </a:lnTo>
                  <a:lnTo>
                    <a:pt x="154" y="1418"/>
                  </a:lnTo>
                  <a:lnTo>
                    <a:pt x="156" y="1420"/>
                  </a:lnTo>
                  <a:lnTo>
                    <a:pt x="162" y="1424"/>
                  </a:lnTo>
                  <a:lnTo>
                    <a:pt x="166" y="1426"/>
                  </a:lnTo>
                  <a:lnTo>
                    <a:pt x="166" y="1430"/>
                  </a:lnTo>
                  <a:lnTo>
                    <a:pt x="168" y="1432"/>
                  </a:lnTo>
                  <a:lnTo>
                    <a:pt x="170" y="1434"/>
                  </a:lnTo>
                  <a:lnTo>
                    <a:pt x="172" y="1436"/>
                  </a:lnTo>
                  <a:lnTo>
                    <a:pt x="170" y="1438"/>
                  </a:lnTo>
                  <a:lnTo>
                    <a:pt x="170" y="1440"/>
                  </a:lnTo>
                  <a:lnTo>
                    <a:pt x="170" y="1442"/>
                  </a:lnTo>
                  <a:lnTo>
                    <a:pt x="176" y="1448"/>
                  </a:lnTo>
                  <a:lnTo>
                    <a:pt x="176" y="1450"/>
                  </a:lnTo>
                  <a:lnTo>
                    <a:pt x="174" y="1450"/>
                  </a:lnTo>
                  <a:lnTo>
                    <a:pt x="172" y="1452"/>
                  </a:lnTo>
                  <a:lnTo>
                    <a:pt x="170" y="1454"/>
                  </a:lnTo>
                  <a:lnTo>
                    <a:pt x="172" y="1458"/>
                  </a:lnTo>
                  <a:lnTo>
                    <a:pt x="174" y="1462"/>
                  </a:lnTo>
                  <a:lnTo>
                    <a:pt x="176" y="1462"/>
                  </a:lnTo>
                  <a:lnTo>
                    <a:pt x="180" y="1462"/>
                  </a:lnTo>
                  <a:lnTo>
                    <a:pt x="186" y="1464"/>
                  </a:lnTo>
                  <a:lnTo>
                    <a:pt x="182" y="1468"/>
                  </a:lnTo>
                  <a:lnTo>
                    <a:pt x="178" y="1470"/>
                  </a:lnTo>
                  <a:lnTo>
                    <a:pt x="172" y="1470"/>
                  </a:lnTo>
                  <a:lnTo>
                    <a:pt x="170" y="1468"/>
                  </a:lnTo>
                  <a:lnTo>
                    <a:pt x="170" y="1472"/>
                  </a:lnTo>
                  <a:lnTo>
                    <a:pt x="174" y="1480"/>
                  </a:lnTo>
                  <a:lnTo>
                    <a:pt x="178" y="1482"/>
                  </a:lnTo>
                  <a:lnTo>
                    <a:pt x="182" y="1482"/>
                  </a:lnTo>
                  <a:lnTo>
                    <a:pt x="184" y="1486"/>
                  </a:lnTo>
                  <a:lnTo>
                    <a:pt x="186" y="1492"/>
                  </a:lnTo>
                  <a:lnTo>
                    <a:pt x="184" y="1494"/>
                  </a:lnTo>
                  <a:lnTo>
                    <a:pt x="182" y="1496"/>
                  </a:lnTo>
                  <a:lnTo>
                    <a:pt x="182" y="1498"/>
                  </a:lnTo>
                  <a:lnTo>
                    <a:pt x="186" y="1502"/>
                  </a:lnTo>
                  <a:lnTo>
                    <a:pt x="192" y="1504"/>
                  </a:lnTo>
                  <a:lnTo>
                    <a:pt x="196" y="1506"/>
                  </a:lnTo>
                  <a:lnTo>
                    <a:pt x="202" y="1510"/>
                  </a:lnTo>
                  <a:lnTo>
                    <a:pt x="204" y="1512"/>
                  </a:lnTo>
                  <a:lnTo>
                    <a:pt x="204" y="1514"/>
                  </a:lnTo>
                  <a:lnTo>
                    <a:pt x="202" y="1518"/>
                  </a:lnTo>
                  <a:lnTo>
                    <a:pt x="200" y="1520"/>
                  </a:lnTo>
                  <a:lnTo>
                    <a:pt x="202" y="1520"/>
                  </a:lnTo>
                  <a:lnTo>
                    <a:pt x="208" y="1524"/>
                  </a:lnTo>
                  <a:lnTo>
                    <a:pt x="228" y="1534"/>
                  </a:lnTo>
                  <a:lnTo>
                    <a:pt x="236" y="1538"/>
                  </a:lnTo>
                  <a:lnTo>
                    <a:pt x="242" y="1546"/>
                  </a:lnTo>
                  <a:lnTo>
                    <a:pt x="246" y="1552"/>
                  </a:lnTo>
                  <a:lnTo>
                    <a:pt x="250" y="1556"/>
                  </a:lnTo>
                  <a:lnTo>
                    <a:pt x="260" y="1562"/>
                  </a:lnTo>
                  <a:lnTo>
                    <a:pt x="268" y="1566"/>
                  </a:lnTo>
                  <a:lnTo>
                    <a:pt x="270" y="1570"/>
                  </a:lnTo>
                  <a:lnTo>
                    <a:pt x="272" y="1574"/>
                  </a:lnTo>
                  <a:lnTo>
                    <a:pt x="272" y="1576"/>
                  </a:lnTo>
                  <a:lnTo>
                    <a:pt x="274" y="1578"/>
                  </a:lnTo>
                  <a:lnTo>
                    <a:pt x="282" y="1582"/>
                  </a:lnTo>
                  <a:lnTo>
                    <a:pt x="294" y="1590"/>
                  </a:lnTo>
                  <a:lnTo>
                    <a:pt x="302" y="1596"/>
                  </a:lnTo>
                  <a:lnTo>
                    <a:pt x="310" y="1606"/>
                  </a:lnTo>
                  <a:lnTo>
                    <a:pt x="328" y="1626"/>
                  </a:lnTo>
                  <a:lnTo>
                    <a:pt x="346" y="1644"/>
                  </a:lnTo>
                  <a:lnTo>
                    <a:pt x="364" y="1654"/>
                  </a:lnTo>
                  <a:lnTo>
                    <a:pt x="380" y="1660"/>
                  </a:lnTo>
                  <a:lnTo>
                    <a:pt x="388" y="1664"/>
                  </a:lnTo>
                  <a:lnTo>
                    <a:pt x="392" y="1668"/>
                  </a:lnTo>
                  <a:lnTo>
                    <a:pt x="396" y="1670"/>
                  </a:lnTo>
                  <a:lnTo>
                    <a:pt x="402" y="1672"/>
                  </a:lnTo>
                  <a:lnTo>
                    <a:pt x="408" y="1670"/>
                  </a:lnTo>
                  <a:lnTo>
                    <a:pt x="412" y="1666"/>
                  </a:lnTo>
                  <a:lnTo>
                    <a:pt x="422" y="1658"/>
                  </a:lnTo>
                  <a:lnTo>
                    <a:pt x="436" y="1648"/>
                  </a:lnTo>
                  <a:lnTo>
                    <a:pt x="448" y="1642"/>
                  </a:lnTo>
                  <a:lnTo>
                    <a:pt x="462" y="1638"/>
                  </a:lnTo>
                  <a:lnTo>
                    <a:pt x="488" y="1634"/>
                  </a:lnTo>
                  <a:lnTo>
                    <a:pt x="504" y="1632"/>
                  </a:lnTo>
                  <a:lnTo>
                    <a:pt x="516" y="1632"/>
                  </a:lnTo>
                  <a:lnTo>
                    <a:pt x="530" y="1630"/>
                  </a:lnTo>
                  <a:lnTo>
                    <a:pt x="540" y="1628"/>
                  </a:lnTo>
                  <a:lnTo>
                    <a:pt x="554" y="1630"/>
                  </a:lnTo>
                  <a:lnTo>
                    <a:pt x="566" y="1630"/>
                  </a:lnTo>
                  <a:lnTo>
                    <a:pt x="572" y="1630"/>
                  </a:lnTo>
                  <a:lnTo>
                    <a:pt x="576" y="1630"/>
                  </a:lnTo>
                  <a:lnTo>
                    <a:pt x="580" y="1630"/>
                  </a:lnTo>
                  <a:lnTo>
                    <a:pt x="590" y="1632"/>
                  </a:lnTo>
                  <a:lnTo>
                    <a:pt x="592" y="1632"/>
                  </a:lnTo>
                  <a:lnTo>
                    <a:pt x="590" y="1632"/>
                  </a:lnTo>
                  <a:lnTo>
                    <a:pt x="582" y="1634"/>
                  </a:lnTo>
                  <a:lnTo>
                    <a:pt x="578" y="1634"/>
                  </a:lnTo>
                  <a:lnTo>
                    <a:pt x="576" y="1636"/>
                  </a:lnTo>
                  <a:lnTo>
                    <a:pt x="578" y="1636"/>
                  </a:lnTo>
                  <a:lnTo>
                    <a:pt x="594" y="1640"/>
                  </a:lnTo>
                  <a:lnTo>
                    <a:pt x="606" y="1644"/>
                  </a:lnTo>
                  <a:lnTo>
                    <a:pt x="618" y="1650"/>
                  </a:lnTo>
                  <a:lnTo>
                    <a:pt x="622" y="1652"/>
                  </a:lnTo>
                  <a:lnTo>
                    <a:pt x="626" y="1652"/>
                  </a:lnTo>
                  <a:lnTo>
                    <a:pt x="636" y="1644"/>
                  </a:lnTo>
                  <a:lnTo>
                    <a:pt x="648" y="1636"/>
                  </a:lnTo>
                  <a:lnTo>
                    <a:pt x="656" y="1632"/>
                  </a:lnTo>
                  <a:lnTo>
                    <a:pt x="664" y="1630"/>
                  </a:lnTo>
                  <a:lnTo>
                    <a:pt x="674" y="1628"/>
                  </a:lnTo>
                  <a:lnTo>
                    <a:pt x="680" y="1624"/>
                  </a:lnTo>
                  <a:lnTo>
                    <a:pt x="690" y="1614"/>
                  </a:lnTo>
                  <a:lnTo>
                    <a:pt x="698" y="1610"/>
                  </a:lnTo>
                  <a:lnTo>
                    <a:pt x="706" y="1606"/>
                  </a:lnTo>
                  <a:lnTo>
                    <a:pt x="716" y="1602"/>
                  </a:lnTo>
                  <a:lnTo>
                    <a:pt x="730" y="1600"/>
                  </a:lnTo>
                  <a:lnTo>
                    <a:pt x="742" y="1598"/>
                  </a:lnTo>
                  <a:lnTo>
                    <a:pt x="746" y="1596"/>
                  </a:lnTo>
                  <a:lnTo>
                    <a:pt x="746" y="1594"/>
                  </a:lnTo>
                  <a:lnTo>
                    <a:pt x="748" y="1590"/>
                  </a:lnTo>
                  <a:lnTo>
                    <a:pt x="754" y="1586"/>
                  </a:lnTo>
                  <a:lnTo>
                    <a:pt x="760" y="1582"/>
                  </a:lnTo>
                  <a:lnTo>
                    <a:pt x="774" y="1578"/>
                  </a:lnTo>
                  <a:lnTo>
                    <a:pt x="796" y="1574"/>
                  </a:lnTo>
                  <a:lnTo>
                    <a:pt x="814" y="1572"/>
                  </a:lnTo>
                  <a:lnTo>
                    <a:pt x="832" y="1572"/>
                  </a:lnTo>
                  <a:lnTo>
                    <a:pt x="838" y="1570"/>
                  </a:lnTo>
                  <a:lnTo>
                    <a:pt x="840" y="1568"/>
                  </a:lnTo>
                  <a:lnTo>
                    <a:pt x="844" y="1564"/>
                  </a:lnTo>
                  <a:lnTo>
                    <a:pt x="846" y="1566"/>
                  </a:lnTo>
                  <a:lnTo>
                    <a:pt x="850" y="1570"/>
                  </a:lnTo>
                  <a:lnTo>
                    <a:pt x="860" y="1570"/>
                  </a:lnTo>
                  <a:lnTo>
                    <a:pt x="874" y="1570"/>
                  </a:lnTo>
                  <a:lnTo>
                    <a:pt x="884" y="1574"/>
                  </a:lnTo>
                  <a:lnTo>
                    <a:pt x="890" y="1578"/>
                  </a:lnTo>
                  <a:lnTo>
                    <a:pt x="896" y="1584"/>
                  </a:lnTo>
                  <a:lnTo>
                    <a:pt x="908" y="1600"/>
                  </a:lnTo>
                  <a:lnTo>
                    <a:pt x="916" y="1616"/>
                  </a:lnTo>
                  <a:lnTo>
                    <a:pt x="924" y="1642"/>
                  </a:lnTo>
                  <a:lnTo>
                    <a:pt x="930" y="1654"/>
                  </a:lnTo>
                  <a:lnTo>
                    <a:pt x="936" y="1664"/>
                  </a:lnTo>
                  <a:lnTo>
                    <a:pt x="944" y="1670"/>
                  </a:lnTo>
                  <a:lnTo>
                    <a:pt x="948" y="1672"/>
                  </a:lnTo>
                  <a:lnTo>
                    <a:pt x="954" y="1672"/>
                  </a:lnTo>
                  <a:lnTo>
                    <a:pt x="970" y="1672"/>
                  </a:lnTo>
                  <a:lnTo>
                    <a:pt x="976" y="1672"/>
                  </a:lnTo>
                  <a:lnTo>
                    <a:pt x="984" y="1670"/>
                  </a:lnTo>
                  <a:lnTo>
                    <a:pt x="990" y="1668"/>
                  </a:lnTo>
                  <a:lnTo>
                    <a:pt x="992" y="1664"/>
                  </a:lnTo>
                  <a:lnTo>
                    <a:pt x="992" y="1662"/>
                  </a:lnTo>
                  <a:lnTo>
                    <a:pt x="992" y="1658"/>
                  </a:lnTo>
                  <a:lnTo>
                    <a:pt x="992" y="1656"/>
                  </a:lnTo>
                  <a:lnTo>
                    <a:pt x="996" y="1658"/>
                  </a:lnTo>
                  <a:lnTo>
                    <a:pt x="1002" y="1660"/>
                  </a:lnTo>
                  <a:lnTo>
                    <a:pt x="1008" y="1662"/>
                  </a:lnTo>
                  <a:lnTo>
                    <a:pt x="1018" y="1662"/>
                  </a:lnTo>
                  <a:lnTo>
                    <a:pt x="1028" y="1662"/>
                  </a:lnTo>
                  <a:lnTo>
                    <a:pt x="1036" y="1660"/>
                  </a:lnTo>
                  <a:lnTo>
                    <a:pt x="1040" y="1656"/>
                  </a:lnTo>
                  <a:lnTo>
                    <a:pt x="1042" y="1654"/>
                  </a:lnTo>
                  <a:lnTo>
                    <a:pt x="1042" y="1650"/>
                  </a:lnTo>
                  <a:lnTo>
                    <a:pt x="1036" y="1640"/>
                  </a:lnTo>
                  <a:lnTo>
                    <a:pt x="1048" y="1650"/>
                  </a:lnTo>
                  <a:lnTo>
                    <a:pt x="1048" y="1658"/>
                  </a:lnTo>
                  <a:lnTo>
                    <a:pt x="1050" y="1662"/>
                  </a:lnTo>
                  <a:lnTo>
                    <a:pt x="1052" y="1662"/>
                  </a:lnTo>
                  <a:lnTo>
                    <a:pt x="1056" y="1662"/>
                  </a:lnTo>
                  <a:lnTo>
                    <a:pt x="1060" y="1660"/>
                  </a:lnTo>
                  <a:lnTo>
                    <a:pt x="1062" y="1662"/>
                  </a:lnTo>
                  <a:lnTo>
                    <a:pt x="1064" y="1666"/>
                  </a:lnTo>
                  <a:lnTo>
                    <a:pt x="1066" y="1682"/>
                  </a:lnTo>
                  <a:lnTo>
                    <a:pt x="1070" y="1684"/>
                  </a:lnTo>
                  <a:lnTo>
                    <a:pt x="1076" y="1688"/>
                  </a:lnTo>
                  <a:lnTo>
                    <a:pt x="1082" y="1690"/>
                  </a:lnTo>
                  <a:lnTo>
                    <a:pt x="1084" y="1690"/>
                  </a:lnTo>
                  <a:lnTo>
                    <a:pt x="1086" y="1686"/>
                  </a:lnTo>
                  <a:lnTo>
                    <a:pt x="1088" y="1684"/>
                  </a:lnTo>
                  <a:lnTo>
                    <a:pt x="1090" y="1684"/>
                  </a:lnTo>
                  <a:lnTo>
                    <a:pt x="1094" y="1684"/>
                  </a:lnTo>
                  <a:lnTo>
                    <a:pt x="1096" y="1688"/>
                  </a:lnTo>
                  <a:lnTo>
                    <a:pt x="1096" y="1690"/>
                  </a:lnTo>
                  <a:lnTo>
                    <a:pt x="1094" y="1694"/>
                  </a:lnTo>
                  <a:lnTo>
                    <a:pt x="1090" y="1698"/>
                  </a:lnTo>
                  <a:lnTo>
                    <a:pt x="1090" y="1700"/>
                  </a:lnTo>
                  <a:lnTo>
                    <a:pt x="1092" y="1704"/>
                  </a:lnTo>
                  <a:lnTo>
                    <a:pt x="1096" y="1708"/>
                  </a:lnTo>
                  <a:lnTo>
                    <a:pt x="1094" y="1708"/>
                  </a:lnTo>
                  <a:lnTo>
                    <a:pt x="1094" y="1712"/>
                  </a:lnTo>
                  <a:lnTo>
                    <a:pt x="1100" y="1718"/>
                  </a:lnTo>
                  <a:lnTo>
                    <a:pt x="1102" y="1724"/>
                  </a:lnTo>
                  <a:lnTo>
                    <a:pt x="1104" y="1730"/>
                  </a:lnTo>
                  <a:lnTo>
                    <a:pt x="1104" y="1742"/>
                  </a:lnTo>
                  <a:lnTo>
                    <a:pt x="1100" y="1756"/>
                  </a:lnTo>
                  <a:lnTo>
                    <a:pt x="1100" y="1770"/>
                  </a:lnTo>
                  <a:lnTo>
                    <a:pt x="1100" y="1782"/>
                  </a:lnTo>
                  <a:lnTo>
                    <a:pt x="1098" y="1790"/>
                  </a:lnTo>
                  <a:lnTo>
                    <a:pt x="1094" y="1798"/>
                  </a:lnTo>
                  <a:lnTo>
                    <a:pt x="1090" y="1804"/>
                  </a:lnTo>
                  <a:lnTo>
                    <a:pt x="1084" y="1814"/>
                  </a:lnTo>
                  <a:lnTo>
                    <a:pt x="1082" y="1820"/>
                  </a:lnTo>
                  <a:lnTo>
                    <a:pt x="1082" y="1824"/>
                  </a:lnTo>
                  <a:lnTo>
                    <a:pt x="1082" y="1828"/>
                  </a:lnTo>
                  <a:lnTo>
                    <a:pt x="1084" y="1828"/>
                  </a:lnTo>
                  <a:lnTo>
                    <a:pt x="1088" y="1828"/>
                  </a:lnTo>
                  <a:lnTo>
                    <a:pt x="1092" y="1828"/>
                  </a:lnTo>
                  <a:lnTo>
                    <a:pt x="1090" y="1834"/>
                  </a:lnTo>
                  <a:lnTo>
                    <a:pt x="1090" y="1838"/>
                  </a:lnTo>
                  <a:lnTo>
                    <a:pt x="1092" y="1844"/>
                  </a:lnTo>
                  <a:lnTo>
                    <a:pt x="1094" y="1848"/>
                  </a:lnTo>
                  <a:lnTo>
                    <a:pt x="1092" y="1852"/>
                  </a:lnTo>
                  <a:lnTo>
                    <a:pt x="1090" y="1852"/>
                  </a:lnTo>
                  <a:lnTo>
                    <a:pt x="1088" y="1850"/>
                  </a:lnTo>
                  <a:lnTo>
                    <a:pt x="1086" y="1848"/>
                  </a:lnTo>
                  <a:lnTo>
                    <a:pt x="1082" y="1852"/>
                  </a:lnTo>
                  <a:lnTo>
                    <a:pt x="1082" y="1854"/>
                  </a:lnTo>
                  <a:lnTo>
                    <a:pt x="1082" y="1858"/>
                  </a:lnTo>
                  <a:lnTo>
                    <a:pt x="1086" y="1864"/>
                  </a:lnTo>
                  <a:lnTo>
                    <a:pt x="1094" y="1868"/>
                  </a:lnTo>
                  <a:lnTo>
                    <a:pt x="1106" y="1872"/>
                  </a:lnTo>
                  <a:lnTo>
                    <a:pt x="1110" y="1872"/>
                  </a:lnTo>
                  <a:lnTo>
                    <a:pt x="1110" y="1874"/>
                  </a:lnTo>
                  <a:lnTo>
                    <a:pt x="1110" y="1876"/>
                  </a:lnTo>
                  <a:lnTo>
                    <a:pt x="1106" y="1878"/>
                  </a:lnTo>
                  <a:lnTo>
                    <a:pt x="1104" y="1880"/>
                  </a:lnTo>
                  <a:lnTo>
                    <a:pt x="1098" y="1880"/>
                  </a:lnTo>
                  <a:lnTo>
                    <a:pt x="1094" y="1878"/>
                  </a:lnTo>
                  <a:lnTo>
                    <a:pt x="1090" y="1874"/>
                  </a:lnTo>
                  <a:lnTo>
                    <a:pt x="1084" y="1868"/>
                  </a:lnTo>
                  <a:lnTo>
                    <a:pt x="1082" y="1866"/>
                  </a:lnTo>
                  <a:lnTo>
                    <a:pt x="1080" y="1866"/>
                  </a:lnTo>
                  <a:lnTo>
                    <a:pt x="1080" y="1872"/>
                  </a:lnTo>
                  <a:lnTo>
                    <a:pt x="1080" y="1882"/>
                  </a:lnTo>
                  <a:lnTo>
                    <a:pt x="1078" y="1898"/>
                  </a:lnTo>
                  <a:lnTo>
                    <a:pt x="1074" y="1910"/>
                  </a:lnTo>
                  <a:lnTo>
                    <a:pt x="1072" y="1914"/>
                  </a:lnTo>
                  <a:lnTo>
                    <a:pt x="1068" y="1918"/>
                  </a:lnTo>
                  <a:lnTo>
                    <a:pt x="1066" y="1918"/>
                  </a:lnTo>
                  <a:lnTo>
                    <a:pt x="1062" y="1914"/>
                  </a:lnTo>
                  <a:lnTo>
                    <a:pt x="1056" y="1910"/>
                  </a:lnTo>
                  <a:lnTo>
                    <a:pt x="1056" y="1912"/>
                  </a:lnTo>
                  <a:lnTo>
                    <a:pt x="1058" y="1922"/>
                  </a:lnTo>
                  <a:lnTo>
                    <a:pt x="1064" y="1936"/>
                  </a:lnTo>
                  <a:lnTo>
                    <a:pt x="1076" y="1964"/>
                  </a:lnTo>
                  <a:lnTo>
                    <a:pt x="1080" y="1974"/>
                  </a:lnTo>
                  <a:lnTo>
                    <a:pt x="1084" y="1982"/>
                  </a:lnTo>
                  <a:lnTo>
                    <a:pt x="1088" y="1988"/>
                  </a:lnTo>
                  <a:lnTo>
                    <a:pt x="1094" y="1996"/>
                  </a:lnTo>
                  <a:lnTo>
                    <a:pt x="1100" y="2006"/>
                  </a:lnTo>
                  <a:lnTo>
                    <a:pt x="1110" y="2018"/>
                  </a:lnTo>
                  <a:lnTo>
                    <a:pt x="1132" y="2042"/>
                  </a:lnTo>
                  <a:lnTo>
                    <a:pt x="1140" y="2052"/>
                  </a:lnTo>
                  <a:lnTo>
                    <a:pt x="1142" y="2058"/>
                  </a:lnTo>
                  <a:lnTo>
                    <a:pt x="1150" y="2070"/>
                  </a:lnTo>
                  <a:lnTo>
                    <a:pt x="1172" y="2092"/>
                  </a:lnTo>
                  <a:lnTo>
                    <a:pt x="1178" y="2100"/>
                  </a:lnTo>
                  <a:lnTo>
                    <a:pt x="1180" y="2110"/>
                  </a:lnTo>
                  <a:lnTo>
                    <a:pt x="1184" y="2118"/>
                  </a:lnTo>
                  <a:lnTo>
                    <a:pt x="1190" y="2128"/>
                  </a:lnTo>
                  <a:lnTo>
                    <a:pt x="1194" y="2136"/>
                  </a:lnTo>
                  <a:lnTo>
                    <a:pt x="1196" y="2142"/>
                  </a:lnTo>
                  <a:lnTo>
                    <a:pt x="1194" y="2148"/>
                  </a:lnTo>
                  <a:lnTo>
                    <a:pt x="1194" y="2156"/>
                  </a:lnTo>
                  <a:lnTo>
                    <a:pt x="1194" y="2158"/>
                  </a:lnTo>
                  <a:lnTo>
                    <a:pt x="1196" y="2160"/>
                  </a:lnTo>
                  <a:lnTo>
                    <a:pt x="1198" y="2164"/>
                  </a:lnTo>
                  <a:lnTo>
                    <a:pt x="1200" y="2168"/>
                  </a:lnTo>
                  <a:lnTo>
                    <a:pt x="1204" y="2170"/>
                  </a:lnTo>
                  <a:lnTo>
                    <a:pt x="1208" y="2168"/>
                  </a:lnTo>
                  <a:lnTo>
                    <a:pt x="1216" y="2164"/>
                  </a:lnTo>
                  <a:lnTo>
                    <a:pt x="1222" y="2162"/>
                  </a:lnTo>
                  <a:lnTo>
                    <a:pt x="1226" y="2162"/>
                  </a:lnTo>
                  <a:lnTo>
                    <a:pt x="1234" y="2162"/>
                  </a:lnTo>
                  <a:lnTo>
                    <a:pt x="1226" y="2168"/>
                  </a:lnTo>
                  <a:lnTo>
                    <a:pt x="1220" y="2172"/>
                  </a:lnTo>
                  <a:lnTo>
                    <a:pt x="1208" y="2174"/>
                  </a:lnTo>
                  <a:lnTo>
                    <a:pt x="1202" y="2176"/>
                  </a:lnTo>
                  <a:lnTo>
                    <a:pt x="1200" y="2178"/>
                  </a:lnTo>
                  <a:lnTo>
                    <a:pt x="1202" y="2182"/>
                  </a:lnTo>
                  <a:lnTo>
                    <a:pt x="1212" y="2202"/>
                  </a:lnTo>
                  <a:lnTo>
                    <a:pt x="1226" y="2240"/>
                  </a:lnTo>
                  <a:lnTo>
                    <a:pt x="1232" y="2260"/>
                  </a:lnTo>
                  <a:lnTo>
                    <a:pt x="1238" y="2278"/>
                  </a:lnTo>
                  <a:lnTo>
                    <a:pt x="1238" y="2294"/>
                  </a:lnTo>
                  <a:lnTo>
                    <a:pt x="1236" y="2300"/>
                  </a:lnTo>
                  <a:lnTo>
                    <a:pt x="1234" y="2306"/>
                  </a:lnTo>
                  <a:lnTo>
                    <a:pt x="1230" y="2314"/>
                  </a:lnTo>
                  <a:lnTo>
                    <a:pt x="1230" y="2324"/>
                  </a:lnTo>
                  <a:lnTo>
                    <a:pt x="1230" y="2336"/>
                  </a:lnTo>
                  <a:lnTo>
                    <a:pt x="1234" y="2346"/>
                  </a:lnTo>
                  <a:lnTo>
                    <a:pt x="1246" y="2372"/>
                  </a:lnTo>
                  <a:lnTo>
                    <a:pt x="1256" y="2396"/>
                  </a:lnTo>
                  <a:lnTo>
                    <a:pt x="1260" y="2408"/>
                  </a:lnTo>
                  <a:lnTo>
                    <a:pt x="1262" y="2422"/>
                  </a:lnTo>
                  <a:lnTo>
                    <a:pt x="1262" y="2436"/>
                  </a:lnTo>
                  <a:lnTo>
                    <a:pt x="1262" y="2450"/>
                  </a:lnTo>
                  <a:lnTo>
                    <a:pt x="1258" y="2464"/>
                  </a:lnTo>
                  <a:lnTo>
                    <a:pt x="1254" y="2476"/>
                  </a:lnTo>
                  <a:lnTo>
                    <a:pt x="1246" y="2486"/>
                  </a:lnTo>
                  <a:lnTo>
                    <a:pt x="1238" y="2494"/>
                  </a:lnTo>
                  <a:lnTo>
                    <a:pt x="1230" y="2502"/>
                  </a:lnTo>
                  <a:lnTo>
                    <a:pt x="1222" y="2510"/>
                  </a:lnTo>
                  <a:lnTo>
                    <a:pt x="1218" y="2518"/>
                  </a:lnTo>
                  <a:lnTo>
                    <a:pt x="1212" y="2528"/>
                  </a:lnTo>
                  <a:lnTo>
                    <a:pt x="1206" y="2548"/>
                  </a:lnTo>
                  <a:lnTo>
                    <a:pt x="1202" y="2570"/>
                  </a:lnTo>
                  <a:lnTo>
                    <a:pt x="1196" y="2610"/>
                  </a:lnTo>
                  <a:lnTo>
                    <a:pt x="1192" y="2626"/>
                  </a:lnTo>
                  <a:lnTo>
                    <a:pt x="1188" y="2640"/>
                  </a:lnTo>
                  <a:lnTo>
                    <a:pt x="1182" y="2652"/>
                  </a:lnTo>
                  <a:lnTo>
                    <a:pt x="1178" y="2662"/>
                  </a:lnTo>
                  <a:lnTo>
                    <a:pt x="1176" y="2670"/>
                  </a:lnTo>
                  <a:lnTo>
                    <a:pt x="1176" y="2680"/>
                  </a:lnTo>
                  <a:lnTo>
                    <a:pt x="1178" y="2700"/>
                  </a:lnTo>
                  <a:lnTo>
                    <a:pt x="1178" y="2712"/>
                  </a:lnTo>
                  <a:lnTo>
                    <a:pt x="1178" y="2726"/>
                  </a:lnTo>
                  <a:lnTo>
                    <a:pt x="1176" y="2736"/>
                  </a:lnTo>
                  <a:lnTo>
                    <a:pt x="1176" y="2746"/>
                  </a:lnTo>
                  <a:lnTo>
                    <a:pt x="1180" y="2764"/>
                  </a:lnTo>
                  <a:lnTo>
                    <a:pt x="1188" y="2784"/>
                  </a:lnTo>
                  <a:lnTo>
                    <a:pt x="1200" y="2804"/>
                  </a:lnTo>
                  <a:lnTo>
                    <a:pt x="1222" y="2850"/>
                  </a:lnTo>
                  <a:lnTo>
                    <a:pt x="1234" y="2876"/>
                  </a:lnTo>
                  <a:lnTo>
                    <a:pt x="1242" y="2904"/>
                  </a:lnTo>
                  <a:lnTo>
                    <a:pt x="1250" y="2930"/>
                  </a:lnTo>
                  <a:lnTo>
                    <a:pt x="1260" y="2946"/>
                  </a:lnTo>
                  <a:lnTo>
                    <a:pt x="1268" y="2958"/>
                  </a:lnTo>
                  <a:lnTo>
                    <a:pt x="1276" y="2966"/>
                  </a:lnTo>
                  <a:lnTo>
                    <a:pt x="1284" y="2976"/>
                  </a:lnTo>
                  <a:lnTo>
                    <a:pt x="1288" y="2990"/>
                  </a:lnTo>
                  <a:lnTo>
                    <a:pt x="1288" y="3008"/>
                  </a:lnTo>
                  <a:lnTo>
                    <a:pt x="1286" y="3038"/>
                  </a:lnTo>
                  <a:lnTo>
                    <a:pt x="1284" y="3052"/>
                  </a:lnTo>
                  <a:lnTo>
                    <a:pt x="1286" y="3070"/>
                  </a:lnTo>
                  <a:lnTo>
                    <a:pt x="1294" y="3112"/>
                  </a:lnTo>
                  <a:lnTo>
                    <a:pt x="1304" y="3156"/>
                  </a:lnTo>
                  <a:lnTo>
                    <a:pt x="1308" y="3178"/>
                  </a:lnTo>
                  <a:lnTo>
                    <a:pt x="1310" y="3200"/>
                  </a:lnTo>
                  <a:lnTo>
                    <a:pt x="1312" y="3220"/>
                  </a:lnTo>
                  <a:lnTo>
                    <a:pt x="1318" y="3238"/>
                  </a:lnTo>
                  <a:lnTo>
                    <a:pt x="1326" y="3254"/>
                  </a:lnTo>
                  <a:lnTo>
                    <a:pt x="1334" y="3266"/>
                  </a:lnTo>
                  <a:lnTo>
                    <a:pt x="1342" y="3278"/>
                  </a:lnTo>
                  <a:lnTo>
                    <a:pt x="1352" y="3286"/>
                  </a:lnTo>
                  <a:lnTo>
                    <a:pt x="1366" y="3302"/>
                  </a:lnTo>
                  <a:lnTo>
                    <a:pt x="1376" y="3316"/>
                  </a:lnTo>
                  <a:lnTo>
                    <a:pt x="1384" y="3330"/>
                  </a:lnTo>
                  <a:lnTo>
                    <a:pt x="1388" y="3344"/>
                  </a:lnTo>
                  <a:lnTo>
                    <a:pt x="1392" y="3358"/>
                  </a:lnTo>
                  <a:lnTo>
                    <a:pt x="1396" y="3374"/>
                  </a:lnTo>
                  <a:lnTo>
                    <a:pt x="1402" y="3392"/>
                  </a:lnTo>
                  <a:lnTo>
                    <a:pt x="1410" y="3414"/>
                  </a:lnTo>
                  <a:lnTo>
                    <a:pt x="1424" y="3436"/>
                  </a:lnTo>
                  <a:lnTo>
                    <a:pt x="1436" y="3458"/>
                  </a:lnTo>
                  <a:lnTo>
                    <a:pt x="1444" y="3474"/>
                  </a:lnTo>
                  <a:lnTo>
                    <a:pt x="1446" y="3490"/>
                  </a:lnTo>
                  <a:lnTo>
                    <a:pt x="1446" y="3502"/>
                  </a:lnTo>
                  <a:lnTo>
                    <a:pt x="1442" y="3510"/>
                  </a:lnTo>
                  <a:lnTo>
                    <a:pt x="1438" y="3516"/>
                  </a:lnTo>
                  <a:lnTo>
                    <a:pt x="1434" y="3518"/>
                  </a:lnTo>
                  <a:lnTo>
                    <a:pt x="1432" y="3518"/>
                  </a:lnTo>
                  <a:lnTo>
                    <a:pt x="1430" y="3516"/>
                  </a:lnTo>
                  <a:lnTo>
                    <a:pt x="1426" y="3518"/>
                  </a:lnTo>
                  <a:lnTo>
                    <a:pt x="1424" y="3518"/>
                  </a:lnTo>
                  <a:lnTo>
                    <a:pt x="1424" y="3522"/>
                  </a:lnTo>
                  <a:lnTo>
                    <a:pt x="1424" y="3526"/>
                  </a:lnTo>
                  <a:lnTo>
                    <a:pt x="1424" y="3532"/>
                  </a:lnTo>
                  <a:lnTo>
                    <a:pt x="1428" y="3538"/>
                  </a:lnTo>
                  <a:lnTo>
                    <a:pt x="1432" y="3546"/>
                  </a:lnTo>
                  <a:lnTo>
                    <a:pt x="1442" y="3558"/>
                  </a:lnTo>
                  <a:lnTo>
                    <a:pt x="1446" y="3568"/>
                  </a:lnTo>
                  <a:lnTo>
                    <a:pt x="1448" y="3574"/>
                  </a:lnTo>
                  <a:lnTo>
                    <a:pt x="1444" y="3580"/>
                  </a:lnTo>
                  <a:lnTo>
                    <a:pt x="1442" y="3582"/>
                  </a:lnTo>
                  <a:lnTo>
                    <a:pt x="1442" y="3588"/>
                  </a:lnTo>
                  <a:lnTo>
                    <a:pt x="1442" y="3596"/>
                  </a:lnTo>
                  <a:lnTo>
                    <a:pt x="1446" y="3602"/>
                  </a:lnTo>
                  <a:lnTo>
                    <a:pt x="1448" y="3602"/>
                  </a:lnTo>
                  <a:lnTo>
                    <a:pt x="1448" y="3598"/>
                  </a:lnTo>
                  <a:lnTo>
                    <a:pt x="1450" y="3594"/>
                  </a:lnTo>
                  <a:lnTo>
                    <a:pt x="1452" y="3590"/>
                  </a:lnTo>
                  <a:lnTo>
                    <a:pt x="1454" y="3588"/>
                  </a:lnTo>
                  <a:lnTo>
                    <a:pt x="1458" y="3588"/>
                  </a:lnTo>
                  <a:lnTo>
                    <a:pt x="1460" y="3588"/>
                  </a:lnTo>
                  <a:lnTo>
                    <a:pt x="1462" y="3590"/>
                  </a:lnTo>
                  <a:lnTo>
                    <a:pt x="1464" y="3592"/>
                  </a:lnTo>
                  <a:lnTo>
                    <a:pt x="1464" y="3596"/>
                  </a:lnTo>
                  <a:lnTo>
                    <a:pt x="1464" y="3602"/>
                  </a:lnTo>
                  <a:lnTo>
                    <a:pt x="1466" y="3604"/>
                  </a:lnTo>
                  <a:lnTo>
                    <a:pt x="1470" y="3606"/>
                  </a:lnTo>
                  <a:lnTo>
                    <a:pt x="1472" y="3606"/>
                  </a:lnTo>
                  <a:lnTo>
                    <a:pt x="1478" y="3606"/>
                  </a:lnTo>
                  <a:lnTo>
                    <a:pt x="1480" y="3608"/>
                  </a:lnTo>
                  <a:lnTo>
                    <a:pt x="1482" y="3612"/>
                  </a:lnTo>
                  <a:lnTo>
                    <a:pt x="1484" y="3618"/>
                  </a:lnTo>
                  <a:lnTo>
                    <a:pt x="1486" y="3620"/>
                  </a:lnTo>
                  <a:lnTo>
                    <a:pt x="1490" y="3620"/>
                  </a:lnTo>
                  <a:lnTo>
                    <a:pt x="1494" y="3624"/>
                  </a:lnTo>
                  <a:lnTo>
                    <a:pt x="1496" y="3628"/>
                  </a:lnTo>
                  <a:lnTo>
                    <a:pt x="1500" y="3626"/>
                  </a:lnTo>
                  <a:lnTo>
                    <a:pt x="1506" y="3626"/>
                  </a:lnTo>
                  <a:lnTo>
                    <a:pt x="1510" y="3626"/>
                  </a:lnTo>
                  <a:lnTo>
                    <a:pt x="1514" y="3628"/>
                  </a:lnTo>
                  <a:lnTo>
                    <a:pt x="1516" y="3626"/>
                  </a:lnTo>
                  <a:lnTo>
                    <a:pt x="1520" y="3620"/>
                  </a:lnTo>
                  <a:lnTo>
                    <a:pt x="1526" y="3612"/>
                  </a:lnTo>
                  <a:lnTo>
                    <a:pt x="1532" y="3610"/>
                  </a:lnTo>
                  <a:lnTo>
                    <a:pt x="1540" y="3608"/>
                  </a:lnTo>
                  <a:lnTo>
                    <a:pt x="1552" y="3606"/>
                  </a:lnTo>
                  <a:lnTo>
                    <a:pt x="1558" y="3608"/>
                  </a:lnTo>
                  <a:lnTo>
                    <a:pt x="1564" y="3608"/>
                  </a:lnTo>
                  <a:lnTo>
                    <a:pt x="1576" y="3604"/>
                  </a:lnTo>
                  <a:lnTo>
                    <a:pt x="1584" y="3602"/>
                  </a:lnTo>
                  <a:lnTo>
                    <a:pt x="1590" y="3598"/>
                  </a:lnTo>
                  <a:lnTo>
                    <a:pt x="1594" y="3592"/>
                  </a:lnTo>
                  <a:lnTo>
                    <a:pt x="1600" y="3586"/>
                  </a:lnTo>
                  <a:lnTo>
                    <a:pt x="1602" y="3586"/>
                  </a:lnTo>
                  <a:lnTo>
                    <a:pt x="1608" y="3584"/>
                  </a:lnTo>
                  <a:lnTo>
                    <a:pt x="1620" y="3584"/>
                  </a:lnTo>
                  <a:lnTo>
                    <a:pt x="1632" y="3588"/>
                  </a:lnTo>
                  <a:lnTo>
                    <a:pt x="1642" y="3590"/>
                  </a:lnTo>
                  <a:lnTo>
                    <a:pt x="1648" y="3590"/>
                  </a:lnTo>
                  <a:lnTo>
                    <a:pt x="1652" y="3586"/>
                  </a:lnTo>
                  <a:lnTo>
                    <a:pt x="1656" y="3586"/>
                  </a:lnTo>
                  <a:lnTo>
                    <a:pt x="1664" y="3586"/>
                  </a:lnTo>
                  <a:lnTo>
                    <a:pt x="1678" y="3592"/>
                  </a:lnTo>
                  <a:lnTo>
                    <a:pt x="1686" y="3594"/>
                  </a:lnTo>
                  <a:lnTo>
                    <a:pt x="1694" y="3594"/>
                  </a:lnTo>
                  <a:lnTo>
                    <a:pt x="1702" y="3594"/>
                  </a:lnTo>
                  <a:lnTo>
                    <a:pt x="1706" y="3590"/>
                  </a:lnTo>
                  <a:lnTo>
                    <a:pt x="1712" y="3584"/>
                  </a:lnTo>
                  <a:lnTo>
                    <a:pt x="1718" y="3582"/>
                  </a:lnTo>
                  <a:lnTo>
                    <a:pt x="1724" y="3584"/>
                  </a:lnTo>
                  <a:lnTo>
                    <a:pt x="1730" y="3584"/>
                  </a:lnTo>
                  <a:lnTo>
                    <a:pt x="1738" y="3586"/>
                  </a:lnTo>
                  <a:lnTo>
                    <a:pt x="1740" y="3584"/>
                  </a:lnTo>
                  <a:lnTo>
                    <a:pt x="1740" y="3580"/>
                  </a:lnTo>
                  <a:lnTo>
                    <a:pt x="1740" y="3574"/>
                  </a:lnTo>
                  <a:lnTo>
                    <a:pt x="1742" y="3572"/>
                  </a:lnTo>
                  <a:lnTo>
                    <a:pt x="1748" y="3572"/>
                  </a:lnTo>
                  <a:lnTo>
                    <a:pt x="1756" y="3572"/>
                  </a:lnTo>
                  <a:lnTo>
                    <a:pt x="1764" y="3572"/>
                  </a:lnTo>
                  <a:lnTo>
                    <a:pt x="1774" y="3570"/>
                  </a:lnTo>
                  <a:lnTo>
                    <a:pt x="1782" y="3568"/>
                  </a:lnTo>
                  <a:lnTo>
                    <a:pt x="1792" y="3562"/>
                  </a:lnTo>
                  <a:lnTo>
                    <a:pt x="1810" y="3550"/>
                  </a:lnTo>
                  <a:lnTo>
                    <a:pt x="1832" y="3532"/>
                  </a:lnTo>
                  <a:lnTo>
                    <a:pt x="1858" y="3506"/>
                  </a:lnTo>
                  <a:lnTo>
                    <a:pt x="1870" y="3490"/>
                  </a:lnTo>
                  <a:lnTo>
                    <a:pt x="1884" y="3472"/>
                  </a:lnTo>
                  <a:lnTo>
                    <a:pt x="1892" y="3462"/>
                  </a:lnTo>
                  <a:lnTo>
                    <a:pt x="1898" y="3456"/>
                  </a:lnTo>
                  <a:lnTo>
                    <a:pt x="1912" y="3442"/>
                  </a:lnTo>
                  <a:lnTo>
                    <a:pt x="1920" y="3432"/>
                  </a:lnTo>
                  <a:lnTo>
                    <a:pt x="1930" y="3418"/>
                  </a:lnTo>
                  <a:lnTo>
                    <a:pt x="1940" y="3398"/>
                  </a:lnTo>
                  <a:lnTo>
                    <a:pt x="1952" y="3372"/>
                  </a:lnTo>
                  <a:lnTo>
                    <a:pt x="1968" y="3344"/>
                  </a:lnTo>
                  <a:lnTo>
                    <a:pt x="1980" y="3324"/>
                  </a:lnTo>
                  <a:lnTo>
                    <a:pt x="1992" y="3314"/>
                  </a:lnTo>
                  <a:lnTo>
                    <a:pt x="2002" y="3304"/>
                  </a:lnTo>
                  <a:lnTo>
                    <a:pt x="2010" y="3294"/>
                  </a:lnTo>
                  <a:lnTo>
                    <a:pt x="2018" y="3276"/>
                  </a:lnTo>
                  <a:lnTo>
                    <a:pt x="2026" y="3250"/>
                  </a:lnTo>
                  <a:lnTo>
                    <a:pt x="2030" y="3210"/>
                  </a:lnTo>
                  <a:lnTo>
                    <a:pt x="2034" y="3182"/>
                  </a:lnTo>
                  <a:lnTo>
                    <a:pt x="2032" y="3176"/>
                  </a:lnTo>
                  <a:lnTo>
                    <a:pt x="2030" y="3176"/>
                  </a:lnTo>
                  <a:lnTo>
                    <a:pt x="2026" y="3176"/>
                  </a:lnTo>
                  <a:lnTo>
                    <a:pt x="2024" y="3176"/>
                  </a:lnTo>
                  <a:lnTo>
                    <a:pt x="2022" y="3170"/>
                  </a:lnTo>
                  <a:lnTo>
                    <a:pt x="2020" y="3164"/>
                  </a:lnTo>
                  <a:lnTo>
                    <a:pt x="2024" y="3156"/>
                  </a:lnTo>
                  <a:lnTo>
                    <a:pt x="2028" y="3148"/>
                  </a:lnTo>
                  <a:lnTo>
                    <a:pt x="2036" y="3140"/>
                  </a:lnTo>
                  <a:lnTo>
                    <a:pt x="2046" y="3132"/>
                  </a:lnTo>
                  <a:lnTo>
                    <a:pt x="2056" y="3126"/>
                  </a:lnTo>
                  <a:lnTo>
                    <a:pt x="2070" y="3118"/>
                  </a:lnTo>
                  <a:lnTo>
                    <a:pt x="2084" y="3114"/>
                  </a:lnTo>
                  <a:lnTo>
                    <a:pt x="2096" y="3108"/>
                  </a:lnTo>
                  <a:lnTo>
                    <a:pt x="2108" y="3100"/>
                  </a:lnTo>
                  <a:lnTo>
                    <a:pt x="2118" y="3094"/>
                  </a:lnTo>
                  <a:lnTo>
                    <a:pt x="2126" y="3086"/>
                  </a:lnTo>
                  <a:lnTo>
                    <a:pt x="2132" y="3078"/>
                  </a:lnTo>
                  <a:lnTo>
                    <a:pt x="2136" y="3070"/>
                  </a:lnTo>
                  <a:lnTo>
                    <a:pt x="2136" y="3062"/>
                  </a:lnTo>
                  <a:lnTo>
                    <a:pt x="2134" y="3056"/>
                  </a:lnTo>
                  <a:lnTo>
                    <a:pt x="2130" y="3050"/>
                  </a:lnTo>
                  <a:lnTo>
                    <a:pt x="2130" y="3044"/>
                  </a:lnTo>
                  <a:lnTo>
                    <a:pt x="2132" y="3034"/>
                  </a:lnTo>
                  <a:lnTo>
                    <a:pt x="2136" y="3016"/>
                  </a:lnTo>
                  <a:lnTo>
                    <a:pt x="2138" y="3006"/>
                  </a:lnTo>
                  <a:lnTo>
                    <a:pt x="2138" y="2990"/>
                  </a:lnTo>
                  <a:lnTo>
                    <a:pt x="2136" y="2972"/>
                  </a:lnTo>
                  <a:lnTo>
                    <a:pt x="2136" y="2970"/>
                  </a:lnTo>
                  <a:lnTo>
                    <a:pt x="2134" y="2972"/>
                  </a:lnTo>
                  <a:lnTo>
                    <a:pt x="2132" y="2974"/>
                  </a:lnTo>
                  <a:lnTo>
                    <a:pt x="2130" y="2974"/>
                  </a:lnTo>
                  <a:lnTo>
                    <a:pt x="2128" y="2972"/>
                  </a:lnTo>
                  <a:lnTo>
                    <a:pt x="2126" y="2962"/>
                  </a:lnTo>
                  <a:lnTo>
                    <a:pt x="2120" y="2934"/>
                  </a:lnTo>
                  <a:lnTo>
                    <a:pt x="2120" y="2920"/>
                  </a:lnTo>
                  <a:lnTo>
                    <a:pt x="2118" y="2910"/>
                  </a:lnTo>
                  <a:lnTo>
                    <a:pt x="2108" y="2896"/>
                  </a:lnTo>
                  <a:lnTo>
                    <a:pt x="2104" y="2890"/>
                  </a:lnTo>
                  <a:lnTo>
                    <a:pt x="2102" y="2886"/>
                  </a:lnTo>
                  <a:lnTo>
                    <a:pt x="2102" y="2878"/>
                  </a:lnTo>
                  <a:lnTo>
                    <a:pt x="2104" y="2870"/>
                  </a:lnTo>
                  <a:lnTo>
                    <a:pt x="2104" y="2860"/>
                  </a:lnTo>
                  <a:lnTo>
                    <a:pt x="2104" y="2854"/>
                  </a:lnTo>
                  <a:lnTo>
                    <a:pt x="2108" y="2854"/>
                  </a:lnTo>
                  <a:lnTo>
                    <a:pt x="2114" y="2852"/>
                  </a:lnTo>
                  <a:lnTo>
                    <a:pt x="2120" y="2848"/>
                  </a:lnTo>
                  <a:lnTo>
                    <a:pt x="2126" y="2842"/>
                  </a:lnTo>
                  <a:lnTo>
                    <a:pt x="2136" y="2832"/>
                  </a:lnTo>
                  <a:lnTo>
                    <a:pt x="2144" y="2822"/>
                  </a:lnTo>
                  <a:lnTo>
                    <a:pt x="2150" y="2816"/>
                  </a:lnTo>
                  <a:lnTo>
                    <a:pt x="2160" y="2812"/>
                  </a:lnTo>
                  <a:lnTo>
                    <a:pt x="2166" y="2808"/>
                  </a:lnTo>
                  <a:lnTo>
                    <a:pt x="2170" y="2804"/>
                  </a:lnTo>
                  <a:lnTo>
                    <a:pt x="2178" y="2794"/>
                  </a:lnTo>
                  <a:lnTo>
                    <a:pt x="2186" y="2780"/>
                  </a:lnTo>
                  <a:lnTo>
                    <a:pt x="2196" y="2764"/>
                  </a:lnTo>
                  <a:lnTo>
                    <a:pt x="2206" y="2750"/>
                  </a:lnTo>
                  <a:lnTo>
                    <a:pt x="2216" y="2740"/>
                  </a:lnTo>
                  <a:lnTo>
                    <a:pt x="2226" y="2734"/>
                  </a:lnTo>
                  <a:lnTo>
                    <a:pt x="2236" y="2728"/>
                  </a:lnTo>
                  <a:lnTo>
                    <a:pt x="2246" y="2724"/>
                  </a:lnTo>
                  <a:lnTo>
                    <a:pt x="2266" y="2718"/>
                  </a:lnTo>
                  <a:lnTo>
                    <a:pt x="2276" y="2714"/>
                  </a:lnTo>
                  <a:lnTo>
                    <a:pt x="2284" y="2708"/>
                  </a:lnTo>
                  <a:lnTo>
                    <a:pt x="2294" y="2700"/>
                  </a:lnTo>
                  <a:lnTo>
                    <a:pt x="2302" y="2690"/>
                  </a:lnTo>
                  <a:lnTo>
                    <a:pt x="2320" y="2666"/>
                  </a:lnTo>
                  <a:lnTo>
                    <a:pt x="2336" y="2636"/>
                  </a:lnTo>
                  <a:lnTo>
                    <a:pt x="2344" y="2622"/>
                  </a:lnTo>
                  <a:lnTo>
                    <a:pt x="2344" y="2620"/>
                  </a:lnTo>
                  <a:lnTo>
                    <a:pt x="2344" y="2616"/>
                  </a:lnTo>
                  <a:lnTo>
                    <a:pt x="2348" y="2606"/>
                  </a:lnTo>
                  <a:lnTo>
                    <a:pt x="2350" y="2598"/>
                  </a:lnTo>
                  <a:lnTo>
                    <a:pt x="2352" y="2594"/>
                  </a:lnTo>
                  <a:lnTo>
                    <a:pt x="2350" y="2590"/>
                  </a:lnTo>
                  <a:lnTo>
                    <a:pt x="2348" y="2586"/>
                  </a:lnTo>
                  <a:lnTo>
                    <a:pt x="2344" y="2582"/>
                  </a:lnTo>
                  <a:lnTo>
                    <a:pt x="2340" y="2576"/>
                  </a:lnTo>
                  <a:lnTo>
                    <a:pt x="2338" y="2566"/>
                  </a:lnTo>
                  <a:lnTo>
                    <a:pt x="2338" y="2552"/>
                  </a:lnTo>
                  <a:lnTo>
                    <a:pt x="2338" y="2500"/>
                  </a:lnTo>
                  <a:lnTo>
                    <a:pt x="2338" y="2478"/>
                  </a:lnTo>
                  <a:lnTo>
                    <a:pt x="2334" y="2454"/>
                  </a:lnTo>
                  <a:lnTo>
                    <a:pt x="2334" y="2440"/>
                  </a:lnTo>
                  <a:lnTo>
                    <a:pt x="2334" y="2432"/>
                  </a:lnTo>
                  <a:lnTo>
                    <a:pt x="2338" y="2426"/>
                  </a:lnTo>
                  <a:lnTo>
                    <a:pt x="2342" y="2424"/>
                  </a:lnTo>
                  <a:lnTo>
                    <a:pt x="2344" y="2420"/>
                  </a:lnTo>
                  <a:lnTo>
                    <a:pt x="2344" y="2414"/>
                  </a:lnTo>
                  <a:lnTo>
                    <a:pt x="2340" y="2406"/>
                  </a:lnTo>
                  <a:lnTo>
                    <a:pt x="2334" y="2394"/>
                  </a:lnTo>
                  <a:lnTo>
                    <a:pt x="2324" y="2384"/>
                  </a:lnTo>
                  <a:lnTo>
                    <a:pt x="2318" y="2380"/>
                  </a:lnTo>
                  <a:lnTo>
                    <a:pt x="2312" y="2376"/>
                  </a:lnTo>
                  <a:lnTo>
                    <a:pt x="2308" y="2368"/>
                  </a:lnTo>
                  <a:lnTo>
                    <a:pt x="2304" y="2358"/>
                  </a:lnTo>
                  <a:lnTo>
                    <a:pt x="2302" y="2348"/>
                  </a:lnTo>
                  <a:lnTo>
                    <a:pt x="2300" y="2334"/>
                  </a:lnTo>
                  <a:lnTo>
                    <a:pt x="2292" y="2310"/>
                  </a:lnTo>
                  <a:lnTo>
                    <a:pt x="2288" y="2298"/>
                  </a:lnTo>
                  <a:lnTo>
                    <a:pt x="2288" y="2290"/>
                  </a:lnTo>
                  <a:lnTo>
                    <a:pt x="2288" y="2286"/>
                  </a:lnTo>
                  <a:lnTo>
                    <a:pt x="2290" y="2280"/>
                  </a:lnTo>
                  <a:lnTo>
                    <a:pt x="2292" y="2278"/>
                  </a:lnTo>
                  <a:lnTo>
                    <a:pt x="2294" y="2274"/>
                  </a:lnTo>
                  <a:lnTo>
                    <a:pt x="2294" y="2268"/>
                  </a:lnTo>
                  <a:lnTo>
                    <a:pt x="2292" y="2258"/>
                  </a:lnTo>
                  <a:lnTo>
                    <a:pt x="2288" y="2248"/>
                  </a:lnTo>
                  <a:lnTo>
                    <a:pt x="2288" y="2240"/>
                  </a:lnTo>
                  <a:lnTo>
                    <a:pt x="2290" y="2236"/>
                  </a:lnTo>
                  <a:lnTo>
                    <a:pt x="2292" y="2232"/>
                  </a:lnTo>
                  <a:lnTo>
                    <a:pt x="2294" y="2230"/>
                  </a:lnTo>
                  <a:lnTo>
                    <a:pt x="2296" y="2228"/>
                  </a:lnTo>
                  <a:lnTo>
                    <a:pt x="2296" y="2226"/>
                  </a:lnTo>
                  <a:lnTo>
                    <a:pt x="2294" y="2220"/>
                  </a:lnTo>
                  <a:lnTo>
                    <a:pt x="2282" y="2206"/>
                  </a:lnTo>
                  <a:lnTo>
                    <a:pt x="2272" y="2192"/>
                  </a:lnTo>
                  <a:lnTo>
                    <a:pt x="2268" y="2184"/>
                  </a:lnTo>
                  <a:lnTo>
                    <a:pt x="2266" y="2174"/>
                  </a:lnTo>
                  <a:lnTo>
                    <a:pt x="2268" y="2164"/>
                  </a:lnTo>
                  <a:lnTo>
                    <a:pt x="2272" y="2150"/>
                  </a:lnTo>
                  <a:lnTo>
                    <a:pt x="2276" y="2138"/>
                  </a:lnTo>
                  <a:lnTo>
                    <a:pt x="2278" y="2130"/>
                  </a:lnTo>
                  <a:lnTo>
                    <a:pt x="2282" y="2122"/>
                  </a:lnTo>
                  <a:lnTo>
                    <a:pt x="2288" y="2108"/>
                  </a:lnTo>
                  <a:lnTo>
                    <a:pt x="2304" y="2084"/>
                  </a:lnTo>
                  <a:lnTo>
                    <a:pt x="2308" y="2074"/>
                  </a:lnTo>
                  <a:lnTo>
                    <a:pt x="2310" y="2058"/>
                  </a:lnTo>
                  <a:lnTo>
                    <a:pt x="2312" y="2052"/>
                  </a:lnTo>
                  <a:lnTo>
                    <a:pt x="2314" y="2048"/>
                  </a:lnTo>
                  <a:lnTo>
                    <a:pt x="2320" y="2046"/>
                  </a:lnTo>
                  <a:lnTo>
                    <a:pt x="2322" y="2044"/>
                  </a:lnTo>
                  <a:lnTo>
                    <a:pt x="2324" y="2042"/>
                  </a:lnTo>
                  <a:lnTo>
                    <a:pt x="2324" y="2036"/>
                  </a:lnTo>
                  <a:lnTo>
                    <a:pt x="2322" y="2026"/>
                  </a:lnTo>
                  <a:lnTo>
                    <a:pt x="2324" y="2016"/>
                  </a:lnTo>
                  <a:lnTo>
                    <a:pt x="2326" y="2008"/>
                  </a:lnTo>
                  <a:lnTo>
                    <a:pt x="2332" y="2004"/>
                  </a:lnTo>
                  <a:lnTo>
                    <a:pt x="2338" y="2002"/>
                  </a:lnTo>
                  <a:lnTo>
                    <a:pt x="2350" y="1998"/>
                  </a:lnTo>
                  <a:lnTo>
                    <a:pt x="2354" y="1994"/>
                  </a:lnTo>
                  <a:lnTo>
                    <a:pt x="2354" y="1988"/>
                  </a:lnTo>
                  <a:lnTo>
                    <a:pt x="2352" y="1980"/>
                  </a:lnTo>
                  <a:lnTo>
                    <a:pt x="2356" y="1980"/>
                  </a:lnTo>
                  <a:lnTo>
                    <a:pt x="2360" y="1980"/>
                  </a:lnTo>
                  <a:lnTo>
                    <a:pt x="2366" y="1978"/>
                  </a:lnTo>
                  <a:lnTo>
                    <a:pt x="2372" y="1972"/>
                  </a:lnTo>
                  <a:lnTo>
                    <a:pt x="2380" y="1962"/>
                  </a:lnTo>
                  <a:lnTo>
                    <a:pt x="2388" y="1950"/>
                  </a:lnTo>
                  <a:lnTo>
                    <a:pt x="2390" y="1944"/>
                  </a:lnTo>
                  <a:lnTo>
                    <a:pt x="2394" y="1932"/>
                  </a:lnTo>
                  <a:lnTo>
                    <a:pt x="2396" y="1926"/>
                  </a:lnTo>
                  <a:lnTo>
                    <a:pt x="2400" y="1918"/>
                  </a:lnTo>
                  <a:lnTo>
                    <a:pt x="2408" y="1908"/>
                  </a:lnTo>
                  <a:lnTo>
                    <a:pt x="2422" y="1892"/>
                  </a:lnTo>
                  <a:lnTo>
                    <a:pt x="2450" y="1860"/>
                  </a:lnTo>
                  <a:lnTo>
                    <a:pt x="2470" y="1836"/>
                  </a:lnTo>
                  <a:lnTo>
                    <a:pt x="2494" y="1812"/>
                  </a:lnTo>
                  <a:lnTo>
                    <a:pt x="2532" y="1780"/>
                  </a:lnTo>
                  <a:lnTo>
                    <a:pt x="2556" y="1760"/>
                  </a:lnTo>
                  <a:lnTo>
                    <a:pt x="2580" y="1736"/>
                  </a:lnTo>
                  <a:lnTo>
                    <a:pt x="2604" y="1710"/>
                  </a:lnTo>
                  <a:lnTo>
                    <a:pt x="2626" y="1680"/>
                  </a:lnTo>
                  <a:lnTo>
                    <a:pt x="2646" y="1646"/>
                  </a:lnTo>
                  <a:lnTo>
                    <a:pt x="2666" y="1610"/>
                  </a:lnTo>
                  <a:lnTo>
                    <a:pt x="2686" y="1570"/>
                  </a:lnTo>
                  <a:lnTo>
                    <a:pt x="2702" y="1526"/>
                  </a:lnTo>
                  <a:lnTo>
                    <a:pt x="2712" y="1502"/>
                  </a:lnTo>
                  <a:lnTo>
                    <a:pt x="2722" y="1482"/>
                  </a:lnTo>
                  <a:lnTo>
                    <a:pt x="2738" y="1452"/>
                  </a:lnTo>
                  <a:lnTo>
                    <a:pt x="2750" y="1426"/>
                  </a:lnTo>
                  <a:lnTo>
                    <a:pt x="2752" y="1416"/>
                  </a:lnTo>
                  <a:lnTo>
                    <a:pt x="2754" y="1404"/>
                  </a:lnTo>
                  <a:lnTo>
                    <a:pt x="2758" y="1388"/>
                  </a:lnTo>
                  <a:lnTo>
                    <a:pt x="2762" y="1378"/>
                  </a:lnTo>
                  <a:lnTo>
                    <a:pt x="2768" y="1376"/>
                  </a:lnTo>
                  <a:lnTo>
                    <a:pt x="2772" y="1376"/>
                  </a:lnTo>
                  <a:lnTo>
                    <a:pt x="2776" y="1376"/>
                  </a:lnTo>
                  <a:lnTo>
                    <a:pt x="2770" y="136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3" name="Freeform 6155">
              <a:extLst>
                <a:ext uri="{FF2B5EF4-FFF2-40B4-BE49-F238E27FC236}">
                  <a16:creationId xmlns:a16="http://schemas.microsoft.com/office/drawing/2014/main" id="{610EDC84-C481-4506-B902-48867214F1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8697" y="954107"/>
              <a:ext cx="1798643" cy="2608252"/>
            </a:xfrm>
            <a:custGeom>
              <a:avLst/>
              <a:gdLst>
                <a:gd name="T0" fmla="*/ 794599 w 2834"/>
                <a:gd name="T1" fmla="*/ 115556 h 4108"/>
                <a:gd name="T2" fmla="*/ 750173 w 2834"/>
                <a:gd name="T3" fmla="*/ 64762 h 4108"/>
                <a:gd name="T4" fmla="*/ 742557 w 2834"/>
                <a:gd name="T5" fmla="*/ 528256 h 4108"/>
                <a:gd name="T6" fmla="*/ 842833 w 2834"/>
                <a:gd name="T7" fmla="*/ 165080 h 4108"/>
                <a:gd name="T8" fmla="*/ 708285 w 2834"/>
                <a:gd name="T9" fmla="*/ 563811 h 4108"/>
                <a:gd name="T10" fmla="*/ 635933 w 2834"/>
                <a:gd name="T11" fmla="*/ 595557 h 4108"/>
                <a:gd name="T12" fmla="*/ 684167 w 2834"/>
                <a:gd name="T13" fmla="*/ 565081 h 4108"/>
                <a:gd name="T14" fmla="*/ 836487 w 2834"/>
                <a:gd name="T15" fmla="*/ 25397 h 4108"/>
                <a:gd name="T16" fmla="*/ 91392 w 2834"/>
                <a:gd name="T17" fmla="*/ 1043813 h 4108"/>
                <a:gd name="T18" fmla="*/ 44426 w 2834"/>
                <a:gd name="T19" fmla="*/ 1184766 h 4108"/>
                <a:gd name="T20" fmla="*/ 107893 w 2834"/>
                <a:gd name="T21" fmla="*/ 1048892 h 4108"/>
                <a:gd name="T22" fmla="*/ 119317 w 2834"/>
                <a:gd name="T23" fmla="*/ 1116194 h 4108"/>
                <a:gd name="T24" fmla="*/ 171359 w 2834"/>
                <a:gd name="T25" fmla="*/ 1036194 h 4108"/>
                <a:gd name="T26" fmla="*/ 129471 w 2834"/>
                <a:gd name="T27" fmla="*/ 1116194 h 4108"/>
                <a:gd name="T28" fmla="*/ 148511 w 2834"/>
                <a:gd name="T29" fmla="*/ 1240639 h 4108"/>
                <a:gd name="T30" fmla="*/ 200554 w 2834"/>
                <a:gd name="T31" fmla="*/ 1323179 h 4108"/>
                <a:gd name="T32" fmla="*/ 397299 w 2834"/>
                <a:gd name="T33" fmla="*/ 877463 h 4108"/>
                <a:gd name="T34" fmla="*/ 224671 w 2834"/>
                <a:gd name="T35" fmla="*/ 943495 h 4108"/>
                <a:gd name="T36" fmla="*/ 331294 w 2834"/>
                <a:gd name="T37" fmla="*/ 721272 h 4108"/>
                <a:gd name="T38" fmla="*/ 114239 w 2834"/>
                <a:gd name="T39" fmla="*/ 665399 h 4108"/>
                <a:gd name="T40" fmla="*/ 151050 w 2834"/>
                <a:gd name="T41" fmla="*/ 1219051 h 4108"/>
                <a:gd name="T42" fmla="*/ 576275 w 2834"/>
                <a:gd name="T43" fmla="*/ 1158099 h 4108"/>
                <a:gd name="T44" fmla="*/ 580083 w 2834"/>
                <a:gd name="T45" fmla="*/ 1159369 h 4108"/>
                <a:gd name="T46" fmla="*/ 694322 w 2834"/>
                <a:gd name="T47" fmla="*/ 1079368 h 4108"/>
                <a:gd name="T48" fmla="*/ 401107 w 2834"/>
                <a:gd name="T49" fmla="*/ 961273 h 4108"/>
                <a:gd name="T50" fmla="*/ 840295 w 2834"/>
                <a:gd name="T51" fmla="*/ 1010797 h 4108"/>
                <a:gd name="T52" fmla="*/ 605469 w 2834"/>
                <a:gd name="T53" fmla="*/ 1771434 h 4108"/>
                <a:gd name="T54" fmla="*/ 799676 w 2834"/>
                <a:gd name="T55" fmla="*/ 1789212 h 4108"/>
                <a:gd name="T56" fmla="*/ 858065 w 2834"/>
                <a:gd name="T57" fmla="*/ 1842545 h 4108"/>
                <a:gd name="T58" fmla="*/ 1586659 w 2834"/>
                <a:gd name="T59" fmla="*/ 2201912 h 4108"/>
                <a:gd name="T60" fmla="*/ 1488921 w 2834"/>
                <a:gd name="T61" fmla="*/ 2069848 h 4108"/>
                <a:gd name="T62" fmla="*/ 1391183 w 2834"/>
                <a:gd name="T63" fmla="*/ 620954 h 4108"/>
                <a:gd name="T64" fmla="*/ 1212208 w 2834"/>
                <a:gd name="T65" fmla="*/ 568891 h 4108"/>
                <a:gd name="T66" fmla="*/ 974843 w 2834"/>
                <a:gd name="T67" fmla="*/ 468573 h 4108"/>
                <a:gd name="T68" fmla="*/ 856796 w 2834"/>
                <a:gd name="T69" fmla="*/ 514287 h 4108"/>
                <a:gd name="T70" fmla="*/ 732402 w 2834"/>
                <a:gd name="T71" fmla="*/ 544764 h 4108"/>
                <a:gd name="T72" fmla="*/ 657512 w 2834"/>
                <a:gd name="T73" fmla="*/ 642542 h 4108"/>
                <a:gd name="T74" fmla="*/ 562312 w 2834"/>
                <a:gd name="T75" fmla="*/ 758098 h 4108"/>
                <a:gd name="T76" fmla="*/ 446803 w 2834"/>
                <a:gd name="T77" fmla="*/ 830479 h 4108"/>
                <a:gd name="T78" fmla="*/ 396030 w 2834"/>
                <a:gd name="T79" fmla="*/ 911749 h 4108"/>
                <a:gd name="T80" fmla="*/ 482344 w 2834"/>
                <a:gd name="T81" fmla="*/ 1027305 h 4108"/>
                <a:gd name="T82" fmla="*/ 679090 w 2834"/>
                <a:gd name="T83" fmla="*/ 1102226 h 4108"/>
                <a:gd name="T84" fmla="*/ 728594 w 2834"/>
                <a:gd name="T85" fmla="*/ 845717 h 4108"/>
                <a:gd name="T86" fmla="*/ 818716 w 2834"/>
                <a:gd name="T87" fmla="*/ 825399 h 4108"/>
                <a:gd name="T88" fmla="*/ 984998 w 2834"/>
                <a:gd name="T89" fmla="*/ 975241 h 4108"/>
                <a:gd name="T90" fmla="*/ 748903 w 2834"/>
                <a:gd name="T91" fmla="*/ 1168258 h 4108"/>
                <a:gd name="T92" fmla="*/ 514078 w 2834"/>
                <a:gd name="T93" fmla="*/ 1158099 h 4108"/>
                <a:gd name="T94" fmla="*/ 486152 w 2834"/>
                <a:gd name="T95" fmla="*/ 1146670 h 4108"/>
                <a:gd name="T96" fmla="*/ 392222 w 2834"/>
                <a:gd name="T97" fmla="*/ 1235559 h 4108"/>
                <a:gd name="T98" fmla="*/ 185322 w 2834"/>
                <a:gd name="T99" fmla="*/ 1389211 h 4108"/>
                <a:gd name="T100" fmla="*/ 171359 w 2834"/>
                <a:gd name="T101" fmla="*/ 1584767 h 4108"/>
                <a:gd name="T102" fmla="*/ 180244 w 2834"/>
                <a:gd name="T103" fmla="*/ 1823498 h 4108"/>
                <a:gd name="T104" fmla="*/ 542003 w 2834"/>
                <a:gd name="T105" fmla="*/ 1610164 h 4108"/>
                <a:gd name="T106" fmla="*/ 628317 w 2834"/>
                <a:gd name="T107" fmla="*/ 1615243 h 4108"/>
                <a:gd name="T108" fmla="*/ 786983 w 2834"/>
                <a:gd name="T109" fmla="*/ 1730799 h 4108"/>
                <a:gd name="T110" fmla="*/ 884721 w 2834"/>
                <a:gd name="T111" fmla="*/ 1789212 h 4108"/>
                <a:gd name="T112" fmla="*/ 972305 w 2834"/>
                <a:gd name="T113" fmla="*/ 1674926 h 4108"/>
                <a:gd name="T114" fmla="*/ 1124624 w 2834"/>
                <a:gd name="T115" fmla="*/ 1530163 h 4108"/>
                <a:gd name="T116" fmla="*/ 1213477 w 2834"/>
                <a:gd name="T117" fmla="*/ 1530163 h 4108"/>
                <a:gd name="T118" fmla="*/ 976113 w 2834"/>
                <a:gd name="T119" fmla="*/ 1692704 h 4108"/>
                <a:gd name="T120" fmla="*/ 1042118 w 2834"/>
                <a:gd name="T121" fmla="*/ 1838736 h 4108"/>
                <a:gd name="T122" fmla="*/ 1153819 w 2834"/>
                <a:gd name="T123" fmla="*/ 2114292 h 4108"/>
                <a:gd name="T124" fmla="*/ 1426724 w 2834"/>
                <a:gd name="T125" fmla="*/ 2595564 h 410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834"/>
                <a:gd name="T190" fmla="*/ 0 h 4108"/>
                <a:gd name="T191" fmla="*/ 2834 w 2834"/>
                <a:gd name="T192" fmla="*/ 4108 h 410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834" h="4108">
                  <a:moveTo>
                    <a:pt x="1216" y="808"/>
                  </a:moveTo>
                  <a:lnTo>
                    <a:pt x="1216" y="808"/>
                  </a:lnTo>
                  <a:lnTo>
                    <a:pt x="1216" y="806"/>
                  </a:lnTo>
                  <a:lnTo>
                    <a:pt x="1212" y="804"/>
                  </a:lnTo>
                  <a:lnTo>
                    <a:pt x="1208" y="804"/>
                  </a:lnTo>
                  <a:lnTo>
                    <a:pt x="1206" y="804"/>
                  </a:lnTo>
                  <a:lnTo>
                    <a:pt x="1206" y="806"/>
                  </a:lnTo>
                  <a:lnTo>
                    <a:pt x="1210" y="808"/>
                  </a:lnTo>
                  <a:lnTo>
                    <a:pt x="1214" y="808"/>
                  </a:lnTo>
                  <a:lnTo>
                    <a:pt x="1216" y="808"/>
                  </a:lnTo>
                  <a:close/>
                  <a:moveTo>
                    <a:pt x="1202" y="798"/>
                  </a:moveTo>
                  <a:lnTo>
                    <a:pt x="1202" y="798"/>
                  </a:lnTo>
                  <a:lnTo>
                    <a:pt x="1198" y="798"/>
                  </a:lnTo>
                  <a:lnTo>
                    <a:pt x="1194" y="802"/>
                  </a:lnTo>
                  <a:lnTo>
                    <a:pt x="1194" y="806"/>
                  </a:lnTo>
                  <a:lnTo>
                    <a:pt x="1196" y="806"/>
                  </a:lnTo>
                  <a:lnTo>
                    <a:pt x="1200" y="806"/>
                  </a:lnTo>
                  <a:lnTo>
                    <a:pt x="1202" y="802"/>
                  </a:lnTo>
                  <a:lnTo>
                    <a:pt x="1202" y="800"/>
                  </a:lnTo>
                  <a:lnTo>
                    <a:pt x="1202" y="798"/>
                  </a:lnTo>
                  <a:close/>
                  <a:moveTo>
                    <a:pt x="1082" y="898"/>
                  </a:moveTo>
                  <a:lnTo>
                    <a:pt x="1082" y="898"/>
                  </a:lnTo>
                  <a:lnTo>
                    <a:pt x="1078" y="896"/>
                  </a:lnTo>
                  <a:lnTo>
                    <a:pt x="1074" y="900"/>
                  </a:lnTo>
                  <a:lnTo>
                    <a:pt x="1072" y="902"/>
                  </a:lnTo>
                  <a:lnTo>
                    <a:pt x="1072" y="906"/>
                  </a:lnTo>
                  <a:lnTo>
                    <a:pt x="1072" y="910"/>
                  </a:lnTo>
                  <a:lnTo>
                    <a:pt x="1066" y="914"/>
                  </a:lnTo>
                  <a:lnTo>
                    <a:pt x="1062" y="916"/>
                  </a:lnTo>
                  <a:lnTo>
                    <a:pt x="1064" y="914"/>
                  </a:lnTo>
                  <a:lnTo>
                    <a:pt x="1066" y="910"/>
                  </a:lnTo>
                  <a:lnTo>
                    <a:pt x="1064" y="908"/>
                  </a:lnTo>
                  <a:lnTo>
                    <a:pt x="1062" y="908"/>
                  </a:lnTo>
                  <a:lnTo>
                    <a:pt x="1060" y="908"/>
                  </a:lnTo>
                  <a:lnTo>
                    <a:pt x="1060" y="906"/>
                  </a:lnTo>
                  <a:lnTo>
                    <a:pt x="1062" y="902"/>
                  </a:lnTo>
                  <a:lnTo>
                    <a:pt x="1066" y="896"/>
                  </a:lnTo>
                  <a:lnTo>
                    <a:pt x="1066" y="894"/>
                  </a:lnTo>
                  <a:lnTo>
                    <a:pt x="1064" y="892"/>
                  </a:lnTo>
                  <a:lnTo>
                    <a:pt x="1058" y="892"/>
                  </a:lnTo>
                  <a:lnTo>
                    <a:pt x="1054" y="896"/>
                  </a:lnTo>
                  <a:lnTo>
                    <a:pt x="1048" y="900"/>
                  </a:lnTo>
                  <a:lnTo>
                    <a:pt x="1046" y="906"/>
                  </a:lnTo>
                  <a:lnTo>
                    <a:pt x="1046" y="912"/>
                  </a:lnTo>
                  <a:lnTo>
                    <a:pt x="1046" y="916"/>
                  </a:lnTo>
                  <a:lnTo>
                    <a:pt x="1046" y="918"/>
                  </a:lnTo>
                  <a:lnTo>
                    <a:pt x="1042" y="920"/>
                  </a:lnTo>
                  <a:lnTo>
                    <a:pt x="1036" y="922"/>
                  </a:lnTo>
                  <a:lnTo>
                    <a:pt x="1036" y="924"/>
                  </a:lnTo>
                  <a:lnTo>
                    <a:pt x="1036" y="928"/>
                  </a:lnTo>
                  <a:lnTo>
                    <a:pt x="1032" y="938"/>
                  </a:lnTo>
                  <a:lnTo>
                    <a:pt x="1030" y="942"/>
                  </a:lnTo>
                  <a:lnTo>
                    <a:pt x="1034" y="940"/>
                  </a:lnTo>
                  <a:lnTo>
                    <a:pt x="1040" y="938"/>
                  </a:lnTo>
                  <a:lnTo>
                    <a:pt x="1044" y="938"/>
                  </a:lnTo>
                  <a:lnTo>
                    <a:pt x="1048" y="940"/>
                  </a:lnTo>
                  <a:lnTo>
                    <a:pt x="1050" y="940"/>
                  </a:lnTo>
                  <a:lnTo>
                    <a:pt x="1052" y="940"/>
                  </a:lnTo>
                  <a:lnTo>
                    <a:pt x="1054" y="936"/>
                  </a:lnTo>
                  <a:lnTo>
                    <a:pt x="1056" y="934"/>
                  </a:lnTo>
                  <a:lnTo>
                    <a:pt x="1058" y="932"/>
                  </a:lnTo>
                  <a:lnTo>
                    <a:pt x="1060" y="934"/>
                  </a:lnTo>
                  <a:lnTo>
                    <a:pt x="1062" y="936"/>
                  </a:lnTo>
                  <a:lnTo>
                    <a:pt x="1064" y="936"/>
                  </a:lnTo>
                  <a:lnTo>
                    <a:pt x="1068" y="930"/>
                  </a:lnTo>
                  <a:lnTo>
                    <a:pt x="1070" y="926"/>
                  </a:lnTo>
                  <a:lnTo>
                    <a:pt x="1072" y="924"/>
                  </a:lnTo>
                  <a:lnTo>
                    <a:pt x="1076" y="920"/>
                  </a:lnTo>
                  <a:lnTo>
                    <a:pt x="1084" y="920"/>
                  </a:lnTo>
                  <a:lnTo>
                    <a:pt x="1088" y="918"/>
                  </a:lnTo>
                  <a:lnTo>
                    <a:pt x="1090" y="916"/>
                  </a:lnTo>
                  <a:lnTo>
                    <a:pt x="1090" y="914"/>
                  </a:lnTo>
                  <a:lnTo>
                    <a:pt x="1090" y="910"/>
                  </a:lnTo>
                  <a:lnTo>
                    <a:pt x="1086" y="904"/>
                  </a:lnTo>
                  <a:lnTo>
                    <a:pt x="1082" y="898"/>
                  </a:lnTo>
                  <a:close/>
                  <a:moveTo>
                    <a:pt x="1190" y="808"/>
                  </a:moveTo>
                  <a:lnTo>
                    <a:pt x="1190" y="808"/>
                  </a:lnTo>
                  <a:lnTo>
                    <a:pt x="1188" y="808"/>
                  </a:lnTo>
                  <a:lnTo>
                    <a:pt x="1186" y="808"/>
                  </a:lnTo>
                  <a:lnTo>
                    <a:pt x="1184" y="808"/>
                  </a:lnTo>
                  <a:lnTo>
                    <a:pt x="1182" y="808"/>
                  </a:lnTo>
                  <a:lnTo>
                    <a:pt x="1180" y="808"/>
                  </a:lnTo>
                  <a:lnTo>
                    <a:pt x="1178" y="810"/>
                  </a:lnTo>
                  <a:lnTo>
                    <a:pt x="1176" y="814"/>
                  </a:lnTo>
                  <a:lnTo>
                    <a:pt x="1178" y="814"/>
                  </a:lnTo>
                  <a:lnTo>
                    <a:pt x="1178" y="816"/>
                  </a:lnTo>
                  <a:lnTo>
                    <a:pt x="1184" y="814"/>
                  </a:lnTo>
                  <a:lnTo>
                    <a:pt x="1188" y="810"/>
                  </a:lnTo>
                  <a:lnTo>
                    <a:pt x="1190" y="808"/>
                  </a:lnTo>
                  <a:close/>
                  <a:moveTo>
                    <a:pt x="1400" y="746"/>
                  </a:moveTo>
                  <a:lnTo>
                    <a:pt x="1400" y="746"/>
                  </a:lnTo>
                  <a:lnTo>
                    <a:pt x="1394" y="744"/>
                  </a:lnTo>
                  <a:lnTo>
                    <a:pt x="1390" y="744"/>
                  </a:lnTo>
                  <a:lnTo>
                    <a:pt x="1388" y="744"/>
                  </a:lnTo>
                  <a:lnTo>
                    <a:pt x="1390" y="748"/>
                  </a:lnTo>
                  <a:lnTo>
                    <a:pt x="1394" y="750"/>
                  </a:lnTo>
                  <a:lnTo>
                    <a:pt x="1398" y="750"/>
                  </a:lnTo>
                  <a:lnTo>
                    <a:pt x="1400" y="748"/>
                  </a:lnTo>
                  <a:lnTo>
                    <a:pt x="1400" y="746"/>
                  </a:lnTo>
                  <a:close/>
                  <a:moveTo>
                    <a:pt x="1252" y="182"/>
                  </a:moveTo>
                  <a:lnTo>
                    <a:pt x="1252" y="182"/>
                  </a:lnTo>
                  <a:lnTo>
                    <a:pt x="1256" y="186"/>
                  </a:lnTo>
                  <a:lnTo>
                    <a:pt x="1256" y="188"/>
                  </a:lnTo>
                  <a:lnTo>
                    <a:pt x="1258" y="190"/>
                  </a:lnTo>
                  <a:lnTo>
                    <a:pt x="1258" y="192"/>
                  </a:lnTo>
                  <a:lnTo>
                    <a:pt x="1262" y="192"/>
                  </a:lnTo>
                  <a:lnTo>
                    <a:pt x="1272" y="190"/>
                  </a:lnTo>
                  <a:lnTo>
                    <a:pt x="1290" y="186"/>
                  </a:lnTo>
                  <a:lnTo>
                    <a:pt x="1306" y="186"/>
                  </a:lnTo>
                  <a:lnTo>
                    <a:pt x="1312" y="184"/>
                  </a:lnTo>
                  <a:lnTo>
                    <a:pt x="1316" y="182"/>
                  </a:lnTo>
                  <a:lnTo>
                    <a:pt x="1318" y="178"/>
                  </a:lnTo>
                  <a:lnTo>
                    <a:pt x="1318" y="172"/>
                  </a:lnTo>
                  <a:lnTo>
                    <a:pt x="1316" y="166"/>
                  </a:lnTo>
                  <a:lnTo>
                    <a:pt x="1312" y="162"/>
                  </a:lnTo>
                  <a:lnTo>
                    <a:pt x="1306" y="160"/>
                  </a:lnTo>
                  <a:lnTo>
                    <a:pt x="1300" y="158"/>
                  </a:lnTo>
                  <a:lnTo>
                    <a:pt x="1284" y="158"/>
                  </a:lnTo>
                  <a:lnTo>
                    <a:pt x="1266" y="162"/>
                  </a:lnTo>
                  <a:lnTo>
                    <a:pt x="1250" y="166"/>
                  </a:lnTo>
                  <a:lnTo>
                    <a:pt x="1238" y="168"/>
                  </a:lnTo>
                  <a:lnTo>
                    <a:pt x="1238" y="170"/>
                  </a:lnTo>
                  <a:lnTo>
                    <a:pt x="1238" y="174"/>
                  </a:lnTo>
                  <a:lnTo>
                    <a:pt x="1252" y="182"/>
                  </a:lnTo>
                  <a:close/>
                  <a:moveTo>
                    <a:pt x="1236" y="808"/>
                  </a:moveTo>
                  <a:lnTo>
                    <a:pt x="1236" y="808"/>
                  </a:lnTo>
                  <a:lnTo>
                    <a:pt x="1238" y="806"/>
                  </a:lnTo>
                  <a:lnTo>
                    <a:pt x="1236" y="804"/>
                  </a:lnTo>
                  <a:lnTo>
                    <a:pt x="1228" y="802"/>
                  </a:lnTo>
                  <a:lnTo>
                    <a:pt x="1224" y="798"/>
                  </a:lnTo>
                  <a:lnTo>
                    <a:pt x="1220" y="796"/>
                  </a:lnTo>
                  <a:lnTo>
                    <a:pt x="1216" y="794"/>
                  </a:lnTo>
                  <a:lnTo>
                    <a:pt x="1216" y="798"/>
                  </a:lnTo>
                  <a:lnTo>
                    <a:pt x="1216" y="802"/>
                  </a:lnTo>
                  <a:lnTo>
                    <a:pt x="1220" y="806"/>
                  </a:lnTo>
                  <a:lnTo>
                    <a:pt x="1228" y="810"/>
                  </a:lnTo>
                  <a:lnTo>
                    <a:pt x="1236" y="808"/>
                  </a:lnTo>
                  <a:close/>
                  <a:moveTo>
                    <a:pt x="902" y="108"/>
                  </a:moveTo>
                  <a:lnTo>
                    <a:pt x="902" y="108"/>
                  </a:lnTo>
                  <a:lnTo>
                    <a:pt x="902" y="114"/>
                  </a:lnTo>
                  <a:lnTo>
                    <a:pt x="904" y="120"/>
                  </a:lnTo>
                  <a:lnTo>
                    <a:pt x="906" y="124"/>
                  </a:lnTo>
                  <a:lnTo>
                    <a:pt x="910" y="126"/>
                  </a:lnTo>
                  <a:lnTo>
                    <a:pt x="912" y="128"/>
                  </a:lnTo>
                  <a:lnTo>
                    <a:pt x="910" y="128"/>
                  </a:lnTo>
                  <a:lnTo>
                    <a:pt x="900" y="130"/>
                  </a:lnTo>
                  <a:lnTo>
                    <a:pt x="886" y="130"/>
                  </a:lnTo>
                  <a:lnTo>
                    <a:pt x="884" y="132"/>
                  </a:lnTo>
                  <a:lnTo>
                    <a:pt x="886" y="136"/>
                  </a:lnTo>
                  <a:lnTo>
                    <a:pt x="898" y="148"/>
                  </a:lnTo>
                  <a:lnTo>
                    <a:pt x="922" y="172"/>
                  </a:lnTo>
                  <a:lnTo>
                    <a:pt x="936" y="184"/>
                  </a:lnTo>
                  <a:lnTo>
                    <a:pt x="948" y="192"/>
                  </a:lnTo>
                  <a:lnTo>
                    <a:pt x="960" y="194"/>
                  </a:lnTo>
                  <a:lnTo>
                    <a:pt x="970" y="192"/>
                  </a:lnTo>
                  <a:lnTo>
                    <a:pt x="980" y="188"/>
                  </a:lnTo>
                  <a:lnTo>
                    <a:pt x="990" y="182"/>
                  </a:lnTo>
                  <a:lnTo>
                    <a:pt x="1018" y="164"/>
                  </a:lnTo>
                  <a:lnTo>
                    <a:pt x="1038" y="152"/>
                  </a:lnTo>
                  <a:lnTo>
                    <a:pt x="1040" y="152"/>
                  </a:lnTo>
                  <a:lnTo>
                    <a:pt x="1042" y="154"/>
                  </a:lnTo>
                  <a:lnTo>
                    <a:pt x="1042" y="158"/>
                  </a:lnTo>
                  <a:lnTo>
                    <a:pt x="1048" y="160"/>
                  </a:lnTo>
                  <a:lnTo>
                    <a:pt x="1056" y="164"/>
                  </a:lnTo>
                  <a:lnTo>
                    <a:pt x="1072" y="166"/>
                  </a:lnTo>
                  <a:lnTo>
                    <a:pt x="1088" y="168"/>
                  </a:lnTo>
                  <a:lnTo>
                    <a:pt x="1096" y="170"/>
                  </a:lnTo>
                  <a:lnTo>
                    <a:pt x="1094" y="172"/>
                  </a:lnTo>
                  <a:lnTo>
                    <a:pt x="1088" y="176"/>
                  </a:lnTo>
                  <a:lnTo>
                    <a:pt x="1058" y="186"/>
                  </a:lnTo>
                  <a:lnTo>
                    <a:pt x="1014" y="198"/>
                  </a:lnTo>
                  <a:lnTo>
                    <a:pt x="994" y="206"/>
                  </a:lnTo>
                  <a:lnTo>
                    <a:pt x="980" y="210"/>
                  </a:lnTo>
                  <a:lnTo>
                    <a:pt x="972" y="216"/>
                  </a:lnTo>
                  <a:lnTo>
                    <a:pt x="970" y="218"/>
                  </a:lnTo>
                  <a:lnTo>
                    <a:pt x="970" y="220"/>
                  </a:lnTo>
                  <a:lnTo>
                    <a:pt x="976" y="222"/>
                  </a:lnTo>
                  <a:lnTo>
                    <a:pt x="988" y="224"/>
                  </a:lnTo>
                  <a:lnTo>
                    <a:pt x="1008" y="224"/>
                  </a:lnTo>
                  <a:lnTo>
                    <a:pt x="1034" y="222"/>
                  </a:lnTo>
                  <a:lnTo>
                    <a:pt x="1058" y="220"/>
                  </a:lnTo>
                  <a:lnTo>
                    <a:pt x="1072" y="220"/>
                  </a:lnTo>
                  <a:lnTo>
                    <a:pt x="1074" y="222"/>
                  </a:lnTo>
                  <a:lnTo>
                    <a:pt x="1076" y="222"/>
                  </a:lnTo>
                  <a:lnTo>
                    <a:pt x="1072" y="226"/>
                  </a:lnTo>
                  <a:lnTo>
                    <a:pt x="1064" y="232"/>
                  </a:lnTo>
                  <a:lnTo>
                    <a:pt x="1050" y="236"/>
                  </a:lnTo>
                  <a:lnTo>
                    <a:pt x="1036" y="242"/>
                  </a:lnTo>
                  <a:lnTo>
                    <a:pt x="1018" y="244"/>
                  </a:lnTo>
                  <a:lnTo>
                    <a:pt x="994" y="250"/>
                  </a:lnTo>
                  <a:lnTo>
                    <a:pt x="988" y="252"/>
                  </a:lnTo>
                  <a:lnTo>
                    <a:pt x="984" y="256"/>
                  </a:lnTo>
                  <a:lnTo>
                    <a:pt x="986" y="260"/>
                  </a:lnTo>
                  <a:lnTo>
                    <a:pt x="990" y="264"/>
                  </a:lnTo>
                  <a:lnTo>
                    <a:pt x="1014" y="274"/>
                  </a:lnTo>
                  <a:lnTo>
                    <a:pt x="1028" y="280"/>
                  </a:lnTo>
                  <a:lnTo>
                    <a:pt x="1036" y="286"/>
                  </a:lnTo>
                  <a:lnTo>
                    <a:pt x="1048" y="296"/>
                  </a:lnTo>
                  <a:lnTo>
                    <a:pt x="1052" y="302"/>
                  </a:lnTo>
                  <a:lnTo>
                    <a:pt x="1060" y="308"/>
                  </a:lnTo>
                  <a:lnTo>
                    <a:pt x="1072" y="312"/>
                  </a:lnTo>
                  <a:lnTo>
                    <a:pt x="1090" y="318"/>
                  </a:lnTo>
                  <a:lnTo>
                    <a:pt x="1098" y="320"/>
                  </a:lnTo>
                  <a:lnTo>
                    <a:pt x="1104" y="320"/>
                  </a:lnTo>
                  <a:lnTo>
                    <a:pt x="1110" y="318"/>
                  </a:lnTo>
                  <a:lnTo>
                    <a:pt x="1114" y="316"/>
                  </a:lnTo>
                  <a:lnTo>
                    <a:pt x="1116" y="312"/>
                  </a:lnTo>
                  <a:lnTo>
                    <a:pt x="1116" y="306"/>
                  </a:lnTo>
                  <a:lnTo>
                    <a:pt x="1118" y="294"/>
                  </a:lnTo>
                  <a:lnTo>
                    <a:pt x="1120" y="282"/>
                  </a:lnTo>
                  <a:lnTo>
                    <a:pt x="1124" y="268"/>
                  </a:lnTo>
                  <a:lnTo>
                    <a:pt x="1128" y="262"/>
                  </a:lnTo>
                  <a:lnTo>
                    <a:pt x="1132" y="256"/>
                  </a:lnTo>
                  <a:lnTo>
                    <a:pt x="1138" y="252"/>
                  </a:lnTo>
                  <a:lnTo>
                    <a:pt x="1146" y="248"/>
                  </a:lnTo>
                  <a:lnTo>
                    <a:pt x="1160" y="242"/>
                  </a:lnTo>
                  <a:lnTo>
                    <a:pt x="1166" y="236"/>
                  </a:lnTo>
                  <a:lnTo>
                    <a:pt x="1166" y="230"/>
                  </a:lnTo>
                  <a:lnTo>
                    <a:pt x="1164" y="224"/>
                  </a:lnTo>
                  <a:lnTo>
                    <a:pt x="1162" y="218"/>
                  </a:lnTo>
                  <a:lnTo>
                    <a:pt x="1162" y="214"/>
                  </a:lnTo>
                  <a:lnTo>
                    <a:pt x="1162" y="212"/>
                  </a:lnTo>
                  <a:lnTo>
                    <a:pt x="1166" y="208"/>
                  </a:lnTo>
                  <a:lnTo>
                    <a:pt x="1176" y="204"/>
                  </a:lnTo>
                  <a:lnTo>
                    <a:pt x="1182" y="202"/>
                  </a:lnTo>
                  <a:lnTo>
                    <a:pt x="1188" y="200"/>
                  </a:lnTo>
                  <a:lnTo>
                    <a:pt x="1190" y="196"/>
                  </a:lnTo>
                  <a:lnTo>
                    <a:pt x="1192" y="192"/>
                  </a:lnTo>
                  <a:lnTo>
                    <a:pt x="1194" y="186"/>
                  </a:lnTo>
                  <a:lnTo>
                    <a:pt x="1194" y="178"/>
                  </a:lnTo>
                  <a:lnTo>
                    <a:pt x="1196" y="170"/>
                  </a:lnTo>
                  <a:lnTo>
                    <a:pt x="1198" y="166"/>
                  </a:lnTo>
                  <a:lnTo>
                    <a:pt x="1202" y="164"/>
                  </a:lnTo>
                  <a:lnTo>
                    <a:pt x="1206" y="160"/>
                  </a:lnTo>
                  <a:lnTo>
                    <a:pt x="1212" y="158"/>
                  </a:lnTo>
                  <a:lnTo>
                    <a:pt x="1234" y="156"/>
                  </a:lnTo>
                  <a:lnTo>
                    <a:pt x="1272" y="152"/>
                  </a:lnTo>
                  <a:lnTo>
                    <a:pt x="1284" y="148"/>
                  </a:lnTo>
                  <a:lnTo>
                    <a:pt x="1290" y="146"/>
                  </a:lnTo>
                  <a:lnTo>
                    <a:pt x="1290" y="144"/>
                  </a:lnTo>
                  <a:lnTo>
                    <a:pt x="1290" y="142"/>
                  </a:lnTo>
                  <a:lnTo>
                    <a:pt x="1284" y="138"/>
                  </a:lnTo>
                  <a:lnTo>
                    <a:pt x="1274" y="136"/>
                  </a:lnTo>
                  <a:lnTo>
                    <a:pt x="1260" y="130"/>
                  </a:lnTo>
                  <a:lnTo>
                    <a:pt x="1244" y="126"/>
                  </a:lnTo>
                  <a:lnTo>
                    <a:pt x="1236" y="124"/>
                  </a:lnTo>
                  <a:lnTo>
                    <a:pt x="1226" y="118"/>
                  </a:lnTo>
                  <a:lnTo>
                    <a:pt x="1224" y="116"/>
                  </a:lnTo>
                  <a:lnTo>
                    <a:pt x="1220" y="114"/>
                  </a:lnTo>
                  <a:lnTo>
                    <a:pt x="1202" y="114"/>
                  </a:lnTo>
                  <a:lnTo>
                    <a:pt x="1190" y="112"/>
                  </a:lnTo>
                  <a:lnTo>
                    <a:pt x="1186" y="110"/>
                  </a:lnTo>
                  <a:lnTo>
                    <a:pt x="1184" y="106"/>
                  </a:lnTo>
                  <a:lnTo>
                    <a:pt x="1182" y="102"/>
                  </a:lnTo>
                  <a:lnTo>
                    <a:pt x="1182" y="96"/>
                  </a:lnTo>
                  <a:lnTo>
                    <a:pt x="1182" y="90"/>
                  </a:lnTo>
                  <a:lnTo>
                    <a:pt x="1178" y="84"/>
                  </a:lnTo>
                  <a:lnTo>
                    <a:pt x="1170" y="78"/>
                  </a:lnTo>
                  <a:lnTo>
                    <a:pt x="1162" y="74"/>
                  </a:lnTo>
                  <a:lnTo>
                    <a:pt x="1156" y="76"/>
                  </a:lnTo>
                  <a:lnTo>
                    <a:pt x="1152" y="82"/>
                  </a:lnTo>
                  <a:lnTo>
                    <a:pt x="1148" y="88"/>
                  </a:lnTo>
                  <a:lnTo>
                    <a:pt x="1144" y="96"/>
                  </a:lnTo>
                  <a:lnTo>
                    <a:pt x="1144" y="98"/>
                  </a:lnTo>
                  <a:lnTo>
                    <a:pt x="1142" y="94"/>
                  </a:lnTo>
                  <a:lnTo>
                    <a:pt x="1140" y="84"/>
                  </a:lnTo>
                  <a:lnTo>
                    <a:pt x="1140" y="78"/>
                  </a:lnTo>
                  <a:lnTo>
                    <a:pt x="1142" y="74"/>
                  </a:lnTo>
                  <a:lnTo>
                    <a:pt x="1144" y="70"/>
                  </a:lnTo>
                  <a:lnTo>
                    <a:pt x="1150" y="66"/>
                  </a:lnTo>
                  <a:lnTo>
                    <a:pt x="1152" y="64"/>
                  </a:lnTo>
                  <a:lnTo>
                    <a:pt x="1132" y="54"/>
                  </a:lnTo>
                  <a:lnTo>
                    <a:pt x="1124" y="50"/>
                  </a:lnTo>
                  <a:lnTo>
                    <a:pt x="1108" y="50"/>
                  </a:lnTo>
                  <a:lnTo>
                    <a:pt x="1100" y="50"/>
                  </a:lnTo>
                  <a:lnTo>
                    <a:pt x="1092" y="48"/>
                  </a:lnTo>
                  <a:lnTo>
                    <a:pt x="1084" y="42"/>
                  </a:lnTo>
                  <a:lnTo>
                    <a:pt x="1080" y="40"/>
                  </a:lnTo>
                  <a:lnTo>
                    <a:pt x="1076" y="40"/>
                  </a:lnTo>
                  <a:lnTo>
                    <a:pt x="1070" y="40"/>
                  </a:lnTo>
                  <a:lnTo>
                    <a:pt x="1062" y="44"/>
                  </a:lnTo>
                  <a:lnTo>
                    <a:pt x="1058" y="48"/>
                  </a:lnTo>
                  <a:lnTo>
                    <a:pt x="1056" y="54"/>
                  </a:lnTo>
                  <a:lnTo>
                    <a:pt x="1054" y="58"/>
                  </a:lnTo>
                  <a:lnTo>
                    <a:pt x="1056" y="66"/>
                  </a:lnTo>
                  <a:lnTo>
                    <a:pt x="1060" y="80"/>
                  </a:lnTo>
                  <a:lnTo>
                    <a:pt x="1068" y="94"/>
                  </a:lnTo>
                  <a:lnTo>
                    <a:pt x="1084" y="120"/>
                  </a:lnTo>
                  <a:lnTo>
                    <a:pt x="1086" y="130"/>
                  </a:lnTo>
                  <a:lnTo>
                    <a:pt x="1086" y="132"/>
                  </a:lnTo>
                  <a:lnTo>
                    <a:pt x="1084" y="132"/>
                  </a:lnTo>
                  <a:lnTo>
                    <a:pt x="1080" y="132"/>
                  </a:lnTo>
                  <a:lnTo>
                    <a:pt x="1076" y="130"/>
                  </a:lnTo>
                  <a:lnTo>
                    <a:pt x="1068" y="122"/>
                  </a:lnTo>
                  <a:lnTo>
                    <a:pt x="1048" y="96"/>
                  </a:lnTo>
                  <a:lnTo>
                    <a:pt x="1036" y="82"/>
                  </a:lnTo>
                  <a:lnTo>
                    <a:pt x="1026" y="72"/>
                  </a:lnTo>
                  <a:lnTo>
                    <a:pt x="1020" y="68"/>
                  </a:lnTo>
                  <a:lnTo>
                    <a:pt x="1014" y="66"/>
                  </a:lnTo>
                  <a:lnTo>
                    <a:pt x="1008" y="64"/>
                  </a:lnTo>
                  <a:lnTo>
                    <a:pt x="1004" y="66"/>
                  </a:lnTo>
                  <a:lnTo>
                    <a:pt x="998" y="68"/>
                  </a:lnTo>
                  <a:lnTo>
                    <a:pt x="994" y="70"/>
                  </a:lnTo>
                  <a:lnTo>
                    <a:pt x="990" y="78"/>
                  </a:lnTo>
                  <a:lnTo>
                    <a:pt x="988" y="88"/>
                  </a:lnTo>
                  <a:lnTo>
                    <a:pt x="986" y="96"/>
                  </a:lnTo>
                  <a:lnTo>
                    <a:pt x="986" y="108"/>
                  </a:lnTo>
                  <a:lnTo>
                    <a:pt x="984" y="106"/>
                  </a:lnTo>
                  <a:lnTo>
                    <a:pt x="980" y="100"/>
                  </a:lnTo>
                  <a:lnTo>
                    <a:pt x="974" y="90"/>
                  </a:lnTo>
                  <a:lnTo>
                    <a:pt x="968" y="84"/>
                  </a:lnTo>
                  <a:lnTo>
                    <a:pt x="960" y="80"/>
                  </a:lnTo>
                  <a:lnTo>
                    <a:pt x="954" y="78"/>
                  </a:lnTo>
                  <a:lnTo>
                    <a:pt x="950" y="76"/>
                  </a:lnTo>
                  <a:lnTo>
                    <a:pt x="948" y="76"/>
                  </a:lnTo>
                  <a:lnTo>
                    <a:pt x="960" y="72"/>
                  </a:lnTo>
                  <a:lnTo>
                    <a:pt x="972" y="70"/>
                  </a:lnTo>
                  <a:lnTo>
                    <a:pt x="978" y="66"/>
                  </a:lnTo>
                  <a:lnTo>
                    <a:pt x="984" y="62"/>
                  </a:lnTo>
                  <a:lnTo>
                    <a:pt x="984" y="60"/>
                  </a:lnTo>
                  <a:lnTo>
                    <a:pt x="982" y="56"/>
                  </a:lnTo>
                  <a:lnTo>
                    <a:pt x="978" y="56"/>
                  </a:lnTo>
                  <a:lnTo>
                    <a:pt x="970" y="56"/>
                  </a:lnTo>
                  <a:lnTo>
                    <a:pt x="958" y="60"/>
                  </a:lnTo>
                  <a:lnTo>
                    <a:pt x="946" y="62"/>
                  </a:lnTo>
                  <a:lnTo>
                    <a:pt x="938" y="62"/>
                  </a:lnTo>
                  <a:lnTo>
                    <a:pt x="934" y="62"/>
                  </a:lnTo>
                  <a:lnTo>
                    <a:pt x="930" y="58"/>
                  </a:lnTo>
                  <a:lnTo>
                    <a:pt x="928" y="56"/>
                  </a:lnTo>
                  <a:lnTo>
                    <a:pt x="926" y="56"/>
                  </a:lnTo>
                  <a:lnTo>
                    <a:pt x="922" y="58"/>
                  </a:lnTo>
                  <a:lnTo>
                    <a:pt x="916" y="60"/>
                  </a:lnTo>
                  <a:lnTo>
                    <a:pt x="908" y="64"/>
                  </a:lnTo>
                  <a:lnTo>
                    <a:pt x="904" y="64"/>
                  </a:lnTo>
                  <a:lnTo>
                    <a:pt x="902" y="64"/>
                  </a:lnTo>
                  <a:lnTo>
                    <a:pt x="900" y="60"/>
                  </a:lnTo>
                  <a:lnTo>
                    <a:pt x="896" y="58"/>
                  </a:lnTo>
                  <a:lnTo>
                    <a:pt x="892" y="58"/>
                  </a:lnTo>
                  <a:lnTo>
                    <a:pt x="884" y="60"/>
                  </a:lnTo>
                  <a:lnTo>
                    <a:pt x="874" y="64"/>
                  </a:lnTo>
                  <a:lnTo>
                    <a:pt x="862" y="72"/>
                  </a:lnTo>
                  <a:lnTo>
                    <a:pt x="856" y="78"/>
                  </a:lnTo>
                  <a:lnTo>
                    <a:pt x="854" y="82"/>
                  </a:lnTo>
                  <a:lnTo>
                    <a:pt x="854" y="88"/>
                  </a:lnTo>
                  <a:lnTo>
                    <a:pt x="858" y="92"/>
                  </a:lnTo>
                  <a:lnTo>
                    <a:pt x="862" y="98"/>
                  </a:lnTo>
                  <a:lnTo>
                    <a:pt x="872" y="112"/>
                  </a:lnTo>
                  <a:lnTo>
                    <a:pt x="878" y="116"/>
                  </a:lnTo>
                  <a:lnTo>
                    <a:pt x="884" y="118"/>
                  </a:lnTo>
                  <a:lnTo>
                    <a:pt x="890" y="114"/>
                  </a:lnTo>
                  <a:lnTo>
                    <a:pt x="894" y="110"/>
                  </a:lnTo>
                  <a:lnTo>
                    <a:pt x="902" y="104"/>
                  </a:lnTo>
                  <a:lnTo>
                    <a:pt x="902" y="108"/>
                  </a:lnTo>
                  <a:close/>
                  <a:moveTo>
                    <a:pt x="1272" y="818"/>
                  </a:moveTo>
                  <a:lnTo>
                    <a:pt x="1272" y="818"/>
                  </a:lnTo>
                  <a:lnTo>
                    <a:pt x="1272" y="816"/>
                  </a:lnTo>
                  <a:lnTo>
                    <a:pt x="1270" y="814"/>
                  </a:lnTo>
                  <a:lnTo>
                    <a:pt x="1266" y="812"/>
                  </a:lnTo>
                  <a:lnTo>
                    <a:pt x="1264" y="814"/>
                  </a:lnTo>
                  <a:lnTo>
                    <a:pt x="1264" y="818"/>
                  </a:lnTo>
                  <a:lnTo>
                    <a:pt x="1264" y="820"/>
                  </a:lnTo>
                  <a:lnTo>
                    <a:pt x="1272" y="818"/>
                  </a:lnTo>
                  <a:close/>
                  <a:moveTo>
                    <a:pt x="1168" y="848"/>
                  </a:moveTo>
                  <a:lnTo>
                    <a:pt x="1168" y="848"/>
                  </a:lnTo>
                  <a:lnTo>
                    <a:pt x="1176" y="848"/>
                  </a:lnTo>
                  <a:lnTo>
                    <a:pt x="1180" y="848"/>
                  </a:lnTo>
                  <a:lnTo>
                    <a:pt x="1182" y="844"/>
                  </a:lnTo>
                  <a:lnTo>
                    <a:pt x="1184" y="840"/>
                  </a:lnTo>
                  <a:lnTo>
                    <a:pt x="1190" y="836"/>
                  </a:lnTo>
                  <a:lnTo>
                    <a:pt x="1192" y="834"/>
                  </a:lnTo>
                  <a:lnTo>
                    <a:pt x="1192" y="832"/>
                  </a:lnTo>
                  <a:lnTo>
                    <a:pt x="1192" y="830"/>
                  </a:lnTo>
                  <a:lnTo>
                    <a:pt x="1188" y="828"/>
                  </a:lnTo>
                  <a:lnTo>
                    <a:pt x="1182" y="826"/>
                  </a:lnTo>
                  <a:lnTo>
                    <a:pt x="1180" y="826"/>
                  </a:lnTo>
                  <a:lnTo>
                    <a:pt x="1180" y="828"/>
                  </a:lnTo>
                  <a:lnTo>
                    <a:pt x="1176" y="830"/>
                  </a:lnTo>
                  <a:lnTo>
                    <a:pt x="1174" y="830"/>
                  </a:lnTo>
                  <a:lnTo>
                    <a:pt x="1172" y="832"/>
                  </a:lnTo>
                  <a:lnTo>
                    <a:pt x="1170" y="832"/>
                  </a:lnTo>
                  <a:lnTo>
                    <a:pt x="1166" y="832"/>
                  </a:lnTo>
                  <a:lnTo>
                    <a:pt x="1164" y="832"/>
                  </a:lnTo>
                  <a:lnTo>
                    <a:pt x="1162" y="834"/>
                  </a:lnTo>
                  <a:lnTo>
                    <a:pt x="1162" y="838"/>
                  </a:lnTo>
                  <a:lnTo>
                    <a:pt x="1160" y="842"/>
                  </a:lnTo>
                  <a:lnTo>
                    <a:pt x="1156" y="842"/>
                  </a:lnTo>
                  <a:lnTo>
                    <a:pt x="1154" y="842"/>
                  </a:lnTo>
                  <a:lnTo>
                    <a:pt x="1152" y="844"/>
                  </a:lnTo>
                  <a:lnTo>
                    <a:pt x="1152" y="846"/>
                  </a:lnTo>
                  <a:lnTo>
                    <a:pt x="1154" y="848"/>
                  </a:lnTo>
                  <a:lnTo>
                    <a:pt x="1168" y="848"/>
                  </a:lnTo>
                  <a:close/>
                  <a:moveTo>
                    <a:pt x="1214" y="822"/>
                  </a:moveTo>
                  <a:lnTo>
                    <a:pt x="1214" y="822"/>
                  </a:lnTo>
                  <a:lnTo>
                    <a:pt x="1218" y="816"/>
                  </a:lnTo>
                  <a:lnTo>
                    <a:pt x="1218" y="814"/>
                  </a:lnTo>
                  <a:lnTo>
                    <a:pt x="1216" y="814"/>
                  </a:lnTo>
                  <a:lnTo>
                    <a:pt x="1212" y="812"/>
                  </a:lnTo>
                  <a:lnTo>
                    <a:pt x="1208" y="814"/>
                  </a:lnTo>
                  <a:lnTo>
                    <a:pt x="1206" y="814"/>
                  </a:lnTo>
                  <a:lnTo>
                    <a:pt x="1202" y="812"/>
                  </a:lnTo>
                  <a:lnTo>
                    <a:pt x="1198" y="810"/>
                  </a:lnTo>
                  <a:lnTo>
                    <a:pt x="1196" y="812"/>
                  </a:lnTo>
                  <a:lnTo>
                    <a:pt x="1192" y="814"/>
                  </a:lnTo>
                  <a:lnTo>
                    <a:pt x="1190" y="814"/>
                  </a:lnTo>
                  <a:lnTo>
                    <a:pt x="1188" y="814"/>
                  </a:lnTo>
                  <a:lnTo>
                    <a:pt x="1188" y="816"/>
                  </a:lnTo>
                  <a:lnTo>
                    <a:pt x="1184" y="820"/>
                  </a:lnTo>
                  <a:lnTo>
                    <a:pt x="1182" y="822"/>
                  </a:lnTo>
                  <a:lnTo>
                    <a:pt x="1184" y="824"/>
                  </a:lnTo>
                  <a:lnTo>
                    <a:pt x="1190" y="824"/>
                  </a:lnTo>
                  <a:lnTo>
                    <a:pt x="1196" y="828"/>
                  </a:lnTo>
                  <a:lnTo>
                    <a:pt x="1200" y="830"/>
                  </a:lnTo>
                  <a:lnTo>
                    <a:pt x="1204" y="830"/>
                  </a:lnTo>
                  <a:lnTo>
                    <a:pt x="1214" y="822"/>
                  </a:lnTo>
                  <a:close/>
                  <a:moveTo>
                    <a:pt x="1352" y="792"/>
                  </a:moveTo>
                  <a:lnTo>
                    <a:pt x="1352" y="792"/>
                  </a:lnTo>
                  <a:lnTo>
                    <a:pt x="1348" y="790"/>
                  </a:lnTo>
                  <a:lnTo>
                    <a:pt x="1344" y="788"/>
                  </a:lnTo>
                  <a:lnTo>
                    <a:pt x="1338" y="788"/>
                  </a:lnTo>
                  <a:lnTo>
                    <a:pt x="1330" y="790"/>
                  </a:lnTo>
                  <a:lnTo>
                    <a:pt x="1328" y="792"/>
                  </a:lnTo>
                  <a:lnTo>
                    <a:pt x="1330" y="794"/>
                  </a:lnTo>
                  <a:lnTo>
                    <a:pt x="1340" y="798"/>
                  </a:lnTo>
                  <a:lnTo>
                    <a:pt x="1350" y="796"/>
                  </a:lnTo>
                  <a:lnTo>
                    <a:pt x="1352" y="796"/>
                  </a:lnTo>
                  <a:lnTo>
                    <a:pt x="1352" y="792"/>
                  </a:lnTo>
                  <a:close/>
                  <a:moveTo>
                    <a:pt x="1326" y="780"/>
                  </a:moveTo>
                  <a:lnTo>
                    <a:pt x="1326" y="780"/>
                  </a:lnTo>
                  <a:lnTo>
                    <a:pt x="1330" y="778"/>
                  </a:lnTo>
                  <a:lnTo>
                    <a:pt x="1334" y="776"/>
                  </a:lnTo>
                  <a:lnTo>
                    <a:pt x="1338" y="776"/>
                  </a:lnTo>
                  <a:lnTo>
                    <a:pt x="1342" y="776"/>
                  </a:lnTo>
                  <a:lnTo>
                    <a:pt x="1346" y="778"/>
                  </a:lnTo>
                  <a:lnTo>
                    <a:pt x="1350" y="776"/>
                  </a:lnTo>
                  <a:lnTo>
                    <a:pt x="1364" y="766"/>
                  </a:lnTo>
                  <a:lnTo>
                    <a:pt x="1372" y="760"/>
                  </a:lnTo>
                  <a:lnTo>
                    <a:pt x="1372" y="758"/>
                  </a:lnTo>
                  <a:lnTo>
                    <a:pt x="1372" y="756"/>
                  </a:lnTo>
                  <a:lnTo>
                    <a:pt x="1368" y="756"/>
                  </a:lnTo>
                  <a:lnTo>
                    <a:pt x="1362" y="756"/>
                  </a:lnTo>
                  <a:lnTo>
                    <a:pt x="1356" y="758"/>
                  </a:lnTo>
                  <a:lnTo>
                    <a:pt x="1358" y="760"/>
                  </a:lnTo>
                  <a:lnTo>
                    <a:pt x="1358" y="762"/>
                  </a:lnTo>
                  <a:lnTo>
                    <a:pt x="1356" y="764"/>
                  </a:lnTo>
                  <a:lnTo>
                    <a:pt x="1350" y="762"/>
                  </a:lnTo>
                  <a:lnTo>
                    <a:pt x="1348" y="762"/>
                  </a:lnTo>
                  <a:lnTo>
                    <a:pt x="1346" y="762"/>
                  </a:lnTo>
                  <a:lnTo>
                    <a:pt x="1342" y="766"/>
                  </a:lnTo>
                  <a:lnTo>
                    <a:pt x="1342" y="770"/>
                  </a:lnTo>
                  <a:lnTo>
                    <a:pt x="1340" y="768"/>
                  </a:lnTo>
                  <a:lnTo>
                    <a:pt x="1338" y="766"/>
                  </a:lnTo>
                  <a:lnTo>
                    <a:pt x="1332" y="766"/>
                  </a:lnTo>
                  <a:lnTo>
                    <a:pt x="1318" y="770"/>
                  </a:lnTo>
                  <a:lnTo>
                    <a:pt x="1314" y="774"/>
                  </a:lnTo>
                  <a:lnTo>
                    <a:pt x="1318" y="776"/>
                  </a:lnTo>
                  <a:lnTo>
                    <a:pt x="1320" y="776"/>
                  </a:lnTo>
                  <a:lnTo>
                    <a:pt x="1322" y="778"/>
                  </a:lnTo>
                  <a:lnTo>
                    <a:pt x="1320" y="780"/>
                  </a:lnTo>
                  <a:lnTo>
                    <a:pt x="1326" y="780"/>
                  </a:lnTo>
                  <a:close/>
                  <a:moveTo>
                    <a:pt x="1414" y="220"/>
                  </a:moveTo>
                  <a:lnTo>
                    <a:pt x="1414" y="220"/>
                  </a:lnTo>
                  <a:lnTo>
                    <a:pt x="1408" y="216"/>
                  </a:lnTo>
                  <a:lnTo>
                    <a:pt x="1402" y="216"/>
                  </a:lnTo>
                  <a:lnTo>
                    <a:pt x="1392" y="218"/>
                  </a:lnTo>
                  <a:lnTo>
                    <a:pt x="1388" y="220"/>
                  </a:lnTo>
                  <a:lnTo>
                    <a:pt x="1382" y="220"/>
                  </a:lnTo>
                  <a:lnTo>
                    <a:pt x="1374" y="218"/>
                  </a:lnTo>
                  <a:lnTo>
                    <a:pt x="1364" y="214"/>
                  </a:lnTo>
                  <a:lnTo>
                    <a:pt x="1356" y="208"/>
                  </a:lnTo>
                  <a:lnTo>
                    <a:pt x="1354" y="204"/>
                  </a:lnTo>
                  <a:lnTo>
                    <a:pt x="1356" y="200"/>
                  </a:lnTo>
                  <a:lnTo>
                    <a:pt x="1360" y="198"/>
                  </a:lnTo>
                  <a:lnTo>
                    <a:pt x="1370" y="194"/>
                  </a:lnTo>
                  <a:lnTo>
                    <a:pt x="1370" y="192"/>
                  </a:lnTo>
                  <a:lnTo>
                    <a:pt x="1366" y="190"/>
                  </a:lnTo>
                  <a:lnTo>
                    <a:pt x="1354" y="188"/>
                  </a:lnTo>
                  <a:lnTo>
                    <a:pt x="1336" y="188"/>
                  </a:lnTo>
                  <a:lnTo>
                    <a:pt x="1316" y="188"/>
                  </a:lnTo>
                  <a:lnTo>
                    <a:pt x="1296" y="190"/>
                  </a:lnTo>
                  <a:lnTo>
                    <a:pt x="1280" y="194"/>
                  </a:lnTo>
                  <a:lnTo>
                    <a:pt x="1274" y="196"/>
                  </a:lnTo>
                  <a:lnTo>
                    <a:pt x="1270" y="198"/>
                  </a:lnTo>
                  <a:lnTo>
                    <a:pt x="1270" y="202"/>
                  </a:lnTo>
                  <a:lnTo>
                    <a:pt x="1272" y="204"/>
                  </a:lnTo>
                  <a:lnTo>
                    <a:pt x="1276" y="208"/>
                  </a:lnTo>
                  <a:lnTo>
                    <a:pt x="1286" y="212"/>
                  </a:lnTo>
                  <a:lnTo>
                    <a:pt x="1292" y="214"/>
                  </a:lnTo>
                  <a:lnTo>
                    <a:pt x="1292" y="216"/>
                  </a:lnTo>
                  <a:lnTo>
                    <a:pt x="1292" y="218"/>
                  </a:lnTo>
                  <a:lnTo>
                    <a:pt x="1286" y="224"/>
                  </a:lnTo>
                  <a:lnTo>
                    <a:pt x="1272" y="236"/>
                  </a:lnTo>
                  <a:lnTo>
                    <a:pt x="1264" y="242"/>
                  </a:lnTo>
                  <a:lnTo>
                    <a:pt x="1262" y="246"/>
                  </a:lnTo>
                  <a:lnTo>
                    <a:pt x="1264" y="248"/>
                  </a:lnTo>
                  <a:lnTo>
                    <a:pt x="1270" y="250"/>
                  </a:lnTo>
                  <a:lnTo>
                    <a:pt x="1288" y="250"/>
                  </a:lnTo>
                  <a:lnTo>
                    <a:pt x="1314" y="246"/>
                  </a:lnTo>
                  <a:lnTo>
                    <a:pt x="1324" y="248"/>
                  </a:lnTo>
                  <a:lnTo>
                    <a:pt x="1328" y="248"/>
                  </a:lnTo>
                  <a:lnTo>
                    <a:pt x="1328" y="250"/>
                  </a:lnTo>
                  <a:lnTo>
                    <a:pt x="1328" y="256"/>
                  </a:lnTo>
                  <a:lnTo>
                    <a:pt x="1328" y="260"/>
                  </a:lnTo>
                  <a:lnTo>
                    <a:pt x="1326" y="264"/>
                  </a:lnTo>
                  <a:lnTo>
                    <a:pt x="1326" y="266"/>
                  </a:lnTo>
                  <a:lnTo>
                    <a:pt x="1328" y="266"/>
                  </a:lnTo>
                  <a:lnTo>
                    <a:pt x="1336" y="266"/>
                  </a:lnTo>
                  <a:lnTo>
                    <a:pt x="1350" y="260"/>
                  </a:lnTo>
                  <a:lnTo>
                    <a:pt x="1376" y="250"/>
                  </a:lnTo>
                  <a:lnTo>
                    <a:pt x="1402" y="238"/>
                  </a:lnTo>
                  <a:lnTo>
                    <a:pt x="1412" y="234"/>
                  </a:lnTo>
                  <a:lnTo>
                    <a:pt x="1418" y="228"/>
                  </a:lnTo>
                  <a:lnTo>
                    <a:pt x="1420" y="226"/>
                  </a:lnTo>
                  <a:lnTo>
                    <a:pt x="1420" y="224"/>
                  </a:lnTo>
                  <a:lnTo>
                    <a:pt x="1418" y="222"/>
                  </a:lnTo>
                  <a:lnTo>
                    <a:pt x="1414" y="220"/>
                  </a:lnTo>
                  <a:close/>
                  <a:moveTo>
                    <a:pt x="1370" y="792"/>
                  </a:moveTo>
                  <a:lnTo>
                    <a:pt x="1370" y="792"/>
                  </a:lnTo>
                  <a:lnTo>
                    <a:pt x="1378" y="782"/>
                  </a:lnTo>
                  <a:lnTo>
                    <a:pt x="1380" y="776"/>
                  </a:lnTo>
                  <a:lnTo>
                    <a:pt x="1378" y="774"/>
                  </a:lnTo>
                  <a:lnTo>
                    <a:pt x="1376" y="772"/>
                  </a:lnTo>
                  <a:lnTo>
                    <a:pt x="1372" y="770"/>
                  </a:lnTo>
                  <a:lnTo>
                    <a:pt x="1370" y="774"/>
                  </a:lnTo>
                  <a:lnTo>
                    <a:pt x="1362" y="776"/>
                  </a:lnTo>
                  <a:lnTo>
                    <a:pt x="1354" y="780"/>
                  </a:lnTo>
                  <a:lnTo>
                    <a:pt x="1350" y="784"/>
                  </a:lnTo>
                  <a:lnTo>
                    <a:pt x="1350" y="786"/>
                  </a:lnTo>
                  <a:lnTo>
                    <a:pt x="1350" y="788"/>
                  </a:lnTo>
                  <a:lnTo>
                    <a:pt x="1356" y="792"/>
                  </a:lnTo>
                  <a:lnTo>
                    <a:pt x="1364" y="794"/>
                  </a:lnTo>
                  <a:lnTo>
                    <a:pt x="1366" y="794"/>
                  </a:lnTo>
                  <a:lnTo>
                    <a:pt x="1370" y="792"/>
                  </a:lnTo>
                  <a:close/>
                  <a:moveTo>
                    <a:pt x="1388" y="762"/>
                  </a:moveTo>
                  <a:lnTo>
                    <a:pt x="1388" y="762"/>
                  </a:lnTo>
                  <a:lnTo>
                    <a:pt x="1384" y="762"/>
                  </a:lnTo>
                  <a:lnTo>
                    <a:pt x="1380" y="764"/>
                  </a:lnTo>
                  <a:lnTo>
                    <a:pt x="1380" y="766"/>
                  </a:lnTo>
                  <a:lnTo>
                    <a:pt x="1380" y="770"/>
                  </a:lnTo>
                  <a:lnTo>
                    <a:pt x="1384" y="776"/>
                  </a:lnTo>
                  <a:lnTo>
                    <a:pt x="1386" y="778"/>
                  </a:lnTo>
                  <a:lnTo>
                    <a:pt x="1388" y="778"/>
                  </a:lnTo>
                  <a:lnTo>
                    <a:pt x="1394" y="776"/>
                  </a:lnTo>
                  <a:lnTo>
                    <a:pt x="1396" y="772"/>
                  </a:lnTo>
                  <a:lnTo>
                    <a:pt x="1396" y="770"/>
                  </a:lnTo>
                  <a:lnTo>
                    <a:pt x="1396" y="766"/>
                  </a:lnTo>
                  <a:lnTo>
                    <a:pt x="1392" y="764"/>
                  </a:lnTo>
                  <a:lnTo>
                    <a:pt x="1388" y="762"/>
                  </a:lnTo>
                  <a:close/>
                  <a:moveTo>
                    <a:pt x="1264" y="804"/>
                  </a:moveTo>
                  <a:lnTo>
                    <a:pt x="1264" y="804"/>
                  </a:lnTo>
                  <a:lnTo>
                    <a:pt x="1264" y="800"/>
                  </a:lnTo>
                  <a:lnTo>
                    <a:pt x="1262" y="798"/>
                  </a:lnTo>
                  <a:lnTo>
                    <a:pt x="1258" y="798"/>
                  </a:lnTo>
                  <a:lnTo>
                    <a:pt x="1252" y="802"/>
                  </a:lnTo>
                  <a:lnTo>
                    <a:pt x="1248" y="804"/>
                  </a:lnTo>
                  <a:lnTo>
                    <a:pt x="1248" y="808"/>
                  </a:lnTo>
                  <a:lnTo>
                    <a:pt x="1250" y="810"/>
                  </a:lnTo>
                  <a:lnTo>
                    <a:pt x="1254" y="812"/>
                  </a:lnTo>
                  <a:lnTo>
                    <a:pt x="1260" y="814"/>
                  </a:lnTo>
                  <a:lnTo>
                    <a:pt x="1262" y="812"/>
                  </a:lnTo>
                  <a:lnTo>
                    <a:pt x="1264" y="804"/>
                  </a:lnTo>
                  <a:close/>
                  <a:moveTo>
                    <a:pt x="1102" y="904"/>
                  </a:moveTo>
                  <a:lnTo>
                    <a:pt x="1102" y="904"/>
                  </a:lnTo>
                  <a:lnTo>
                    <a:pt x="1102" y="908"/>
                  </a:lnTo>
                  <a:lnTo>
                    <a:pt x="1104" y="908"/>
                  </a:lnTo>
                  <a:lnTo>
                    <a:pt x="1112" y="908"/>
                  </a:lnTo>
                  <a:lnTo>
                    <a:pt x="1114" y="906"/>
                  </a:lnTo>
                  <a:lnTo>
                    <a:pt x="1112" y="902"/>
                  </a:lnTo>
                  <a:lnTo>
                    <a:pt x="1106" y="902"/>
                  </a:lnTo>
                  <a:lnTo>
                    <a:pt x="1104" y="902"/>
                  </a:lnTo>
                  <a:lnTo>
                    <a:pt x="1102" y="904"/>
                  </a:lnTo>
                  <a:close/>
                  <a:moveTo>
                    <a:pt x="1116" y="898"/>
                  </a:moveTo>
                  <a:lnTo>
                    <a:pt x="1116" y="898"/>
                  </a:lnTo>
                  <a:lnTo>
                    <a:pt x="1120" y="900"/>
                  </a:lnTo>
                  <a:lnTo>
                    <a:pt x="1122" y="898"/>
                  </a:lnTo>
                  <a:lnTo>
                    <a:pt x="1124" y="896"/>
                  </a:lnTo>
                  <a:lnTo>
                    <a:pt x="1124" y="894"/>
                  </a:lnTo>
                  <a:lnTo>
                    <a:pt x="1120" y="892"/>
                  </a:lnTo>
                  <a:lnTo>
                    <a:pt x="1116" y="894"/>
                  </a:lnTo>
                  <a:lnTo>
                    <a:pt x="1114" y="896"/>
                  </a:lnTo>
                  <a:lnTo>
                    <a:pt x="1116" y="898"/>
                  </a:lnTo>
                  <a:close/>
                  <a:moveTo>
                    <a:pt x="1150" y="850"/>
                  </a:moveTo>
                  <a:lnTo>
                    <a:pt x="1150" y="850"/>
                  </a:lnTo>
                  <a:lnTo>
                    <a:pt x="1148" y="850"/>
                  </a:lnTo>
                  <a:lnTo>
                    <a:pt x="1148" y="848"/>
                  </a:lnTo>
                  <a:lnTo>
                    <a:pt x="1146" y="846"/>
                  </a:lnTo>
                  <a:lnTo>
                    <a:pt x="1144" y="846"/>
                  </a:lnTo>
                  <a:lnTo>
                    <a:pt x="1142" y="848"/>
                  </a:lnTo>
                  <a:lnTo>
                    <a:pt x="1140" y="846"/>
                  </a:lnTo>
                  <a:lnTo>
                    <a:pt x="1138" y="844"/>
                  </a:lnTo>
                  <a:lnTo>
                    <a:pt x="1136" y="846"/>
                  </a:lnTo>
                  <a:lnTo>
                    <a:pt x="1136" y="848"/>
                  </a:lnTo>
                  <a:lnTo>
                    <a:pt x="1132" y="848"/>
                  </a:lnTo>
                  <a:lnTo>
                    <a:pt x="1130" y="846"/>
                  </a:lnTo>
                  <a:lnTo>
                    <a:pt x="1130" y="850"/>
                  </a:lnTo>
                  <a:lnTo>
                    <a:pt x="1130" y="852"/>
                  </a:lnTo>
                  <a:lnTo>
                    <a:pt x="1128" y="850"/>
                  </a:lnTo>
                  <a:lnTo>
                    <a:pt x="1124" y="850"/>
                  </a:lnTo>
                  <a:lnTo>
                    <a:pt x="1120" y="850"/>
                  </a:lnTo>
                  <a:lnTo>
                    <a:pt x="1118" y="854"/>
                  </a:lnTo>
                  <a:lnTo>
                    <a:pt x="1120" y="856"/>
                  </a:lnTo>
                  <a:lnTo>
                    <a:pt x="1124" y="856"/>
                  </a:lnTo>
                  <a:lnTo>
                    <a:pt x="1124" y="858"/>
                  </a:lnTo>
                  <a:lnTo>
                    <a:pt x="1120" y="860"/>
                  </a:lnTo>
                  <a:lnTo>
                    <a:pt x="1114" y="860"/>
                  </a:lnTo>
                  <a:lnTo>
                    <a:pt x="1108" y="860"/>
                  </a:lnTo>
                  <a:lnTo>
                    <a:pt x="1108" y="862"/>
                  </a:lnTo>
                  <a:lnTo>
                    <a:pt x="1110" y="862"/>
                  </a:lnTo>
                  <a:lnTo>
                    <a:pt x="1110" y="864"/>
                  </a:lnTo>
                  <a:lnTo>
                    <a:pt x="1108" y="866"/>
                  </a:lnTo>
                  <a:lnTo>
                    <a:pt x="1106" y="866"/>
                  </a:lnTo>
                  <a:lnTo>
                    <a:pt x="1108" y="868"/>
                  </a:lnTo>
                  <a:lnTo>
                    <a:pt x="1110" y="870"/>
                  </a:lnTo>
                  <a:lnTo>
                    <a:pt x="1108" y="870"/>
                  </a:lnTo>
                  <a:lnTo>
                    <a:pt x="1108" y="872"/>
                  </a:lnTo>
                  <a:lnTo>
                    <a:pt x="1108" y="874"/>
                  </a:lnTo>
                  <a:lnTo>
                    <a:pt x="1108" y="876"/>
                  </a:lnTo>
                  <a:lnTo>
                    <a:pt x="1108" y="878"/>
                  </a:lnTo>
                  <a:lnTo>
                    <a:pt x="1106" y="880"/>
                  </a:lnTo>
                  <a:lnTo>
                    <a:pt x="1104" y="882"/>
                  </a:lnTo>
                  <a:lnTo>
                    <a:pt x="1108" y="884"/>
                  </a:lnTo>
                  <a:lnTo>
                    <a:pt x="1114" y="884"/>
                  </a:lnTo>
                  <a:lnTo>
                    <a:pt x="1114" y="886"/>
                  </a:lnTo>
                  <a:lnTo>
                    <a:pt x="1114" y="888"/>
                  </a:lnTo>
                  <a:lnTo>
                    <a:pt x="1116" y="888"/>
                  </a:lnTo>
                  <a:lnTo>
                    <a:pt x="1120" y="884"/>
                  </a:lnTo>
                  <a:lnTo>
                    <a:pt x="1122" y="880"/>
                  </a:lnTo>
                  <a:lnTo>
                    <a:pt x="1126" y="876"/>
                  </a:lnTo>
                  <a:lnTo>
                    <a:pt x="1130" y="874"/>
                  </a:lnTo>
                  <a:lnTo>
                    <a:pt x="1132" y="876"/>
                  </a:lnTo>
                  <a:lnTo>
                    <a:pt x="1132" y="878"/>
                  </a:lnTo>
                  <a:lnTo>
                    <a:pt x="1134" y="878"/>
                  </a:lnTo>
                  <a:lnTo>
                    <a:pt x="1142" y="878"/>
                  </a:lnTo>
                  <a:lnTo>
                    <a:pt x="1146" y="876"/>
                  </a:lnTo>
                  <a:lnTo>
                    <a:pt x="1148" y="874"/>
                  </a:lnTo>
                  <a:lnTo>
                    <a:pt x="1146" y="870"/>
                  </a:lnTo>
                  <a:lnTo>
                    <a:pt x="1146" y="866"/>
                  </a:lnTo>
                  <a:lnTo>
                    <a:pt x="1148" y="864"/>
                  </a:lnTo>
                  <a:lnTo>
                    <a:pt x="1150" y="862"/>
                  </a:lnTo>
                  <a:lnTo>
                    <a:pt x="1150" y="860"/>
                  </a:lnTo>
                  <a:lnTo>
                    <a:pt x="1152" y="852"/>
                  </a:lnTo>
                  <a:lnTo>
                    <a:pt x="1152" y="850"/>
                  </a:lnTo>
                  <a:lnTo>
                    <a:pt x="1150" y="850"/>
                  </a:lnTo>
                  <a:close/>
                  <a:moveTo>
                    <a:pt x="1254" y="830"/>
                  </a:moveTo>
                  <a:lnTo>
                    <a:pt x="1254" y="830"/>
                  </a:lnTo>
                  <a:lnTo>
                    <a:pt x="1260" y="826"/>
                  </a:lnTo>
                  <a:lnTo>
                    <a:pt x="1262" y="824"/>
                  </a:lnTo>
                  <a:lnTo>
                    <a:pt x="1260" y="820"/>
                  </a:lnTo>
                  <a:lnTo>
                    <a:pt x="1258" y="822"/>
                  </a:lnTo>
                  <a:lnTo>
                    <a:pt x="1256" y="826"/>
                  </a:lnTo>
                  <a:lnTo>
                    <a:pt x="1254" y="830"/>
                  </a:lnTo>
                  <a:close/>
                  <a:moveTo>
                    <a:pt x="1226" y="818"/>
                  </a:moveTo>
                  <a:lnTo>
                    <a:pt x="1226" y="818"/>
                  </a:lnTo>
                  <a:lnTo>
                    <a:pt x="1222" y="818"/>
                  </a:lnTo>
                  <a:lnTo>
                    <a:pt x="1218" y="820"/>
                  </a:lnTo>
                  <a:lnTo>
                    <a:pt x="1214" y="826"/>
                  </a:lnTo>
                  <a:lnTo>
                    <a:pt x="1216" y="826"/>
                  </a:lnTo>
                  <a:lnTo>
                    <a:pt x="1220" y="824"/>
                  </a:lnTo>
                  <a:lnTo>
                    <a:pt x="1224" y="822"/>
                  </a:lnTo>
                  <a:lnTo>
                    <a:pt x="1226" y="818"/>
                  </a:lnTo>
                  <a:close/>
                  <a:moveTo>
                    <a:pt x="1074" y="928"/>
                  </a:moveTo>
                  <a:lnTo>
                    <a:pt x="1074" y="928"/>
                  </a:lnTo>
                  <a:lnTo>
                    <a:pt x="1074" y="930"/>
                  </a:lnTo>
                  <a:lnTo>
                    <a:pt x="1074" y="932"/>
                  </a:lnTo>
                  <a:lnTo>
                    <a:pt x="1078" y="932"/>
                  </a:lnTo>
                  <a:lnTo>
                    <a:pt x="1082" y="930"/>
                  </a:lnTo>
                  <a:lnTo>
                    <a:pt x="1084" y="926"/>
                  </a:lnTo>
                  <a:lnTo>
                    <a:pt x="1084" y="924"/>
                  </a:lnTo>
                  <a:lnTo>
                    <a:pt x="1080" y="924"/>
                  </a:lnTo>
                  <a:lnTo>
                    <a:pt x="1076" y="924"/>
                  </a:lnTo>
                  <a:lnTo>
                    <a:pt x="1074" y="928"/>
                  </a:lnTo>
                  <a:close/>
                  <a:moveTo>
                    <a:pt x="772" y="1274"/>
                  </a:moveTo>
                  <a:lnTo>
                    <a:pt x="772" y="1274"/>
                  </a:lnTo>
                  <a:lnTo>
                    <a:pt x="784" y="1270"/>
                  </a:lnTo>
                  <a:lnTo>
                    <a:pt x="788" y="1270"/>
                  </a:lnTo>
                  <a:lnTo>
                    <a:pt x="790" y="1268"/>
                  </a:lnTo>
                  <a:lnTo>
                    <a:pt x="790" y="1266"/>
                  </a:lnTo>
                  <a:lnTo>
                    <a:pt x="788" y="1264"/>
                  </a:lnTo>
                  <a:lnTo>
                    <a:pt x="786" y="1264"/>
                  </a:lnTo>
                  <a:lnTo>
                    <a:pt x="784" y="1262"/>
                  </a:lnTo>
                  <a:lnTo>
                    <a:pt x="784" y="1260"/>
                  </a:lnTo>
                  <a:lnTo>
                    <a:pt x="778" y="1262"/>
                  </a:lnTo>
                  <a:lnTo>
                    <a:pt x="768" y="1266"/>
                  </a:lnTo>
                  <a:lnTo>
                    <a:pt x="760" y="1268"/>
                  </a:lnTo>
                  <a:lnTo>
                    <a:pt x="758" y="1270"/>
                  </a:lnTo>
                  <a:lnTo>
                    <a:pt x="756" y="1274"/>
                  </a:lnTo>
                  <a:lnTo>
                    <a:pt x="758" y="1276"/>
                  </a:lnTo>
                  <a:lnTo>
                    <a:pt x="760" y="1276"/>
                  </a:lnTo>
                  <a:lnTo>
                    <a:pt x="772" y="1274"/>
                  </a:lnTo>
                  <a:close/>
                  <a:moveTo>
                    <a:pt x="776" y="1258"/>
                  </a:moveTo>
                  <a:lnTo>
                    <a:pt x="776" y="1258"/>
                  </a:lnTo>
                  <a:lnTo>
                    <a:pt x="780" y="1256"/>
                  </a:lnTo>
                  <a:lnTo>
                    <a:pt x="778" y="1252"/>
                  </a:lnTo>
                  <a:lnTo>
                    <a:pt x="776" y="1250"/>
                  </a:lnTo>
                  <a:lnTo>
                    <a:pt x="774" y="1252"/>
                  </a:lnTo>
                  <a:lnTo>
                    <a:pt x="772" y="1254"/>
                  </a:lnTo>
                  <a:lnTo>
                    <a:pt x="764" y="1256"/>
                  </a:lnTo>
                  <a:lnTo>
                    <a:pt x="760" y="1258"/>
                  </a:lnTo>
                  <a:lnTo>
                    <a:pt x="758" y="1258"/>
                  </a:lnTo>
                  <a:lnTo>
                    <a:pt x="758" y="1260"/>
                  </a:lnTo>
                  <a:lnTo>
                    <a:pt x="764" y="1260"/>
                  </a:lnTo>
                  <a:lnTo>
                    <a:pt x="776" y="1258"/>
                  </a:lnTo>
                  <a:close/>
                  <a:moveTo>
                    <a:pt x="892" y="180"/>
                  </a:moveTo>
                  <a:lnTo>
                    <a:pt x="892" y="180"/>
                  </a:lnTo>
                  <a:lnTo>
                    <a:pt x="904" y="186"/>
                  </a:lnTo>
                  <a:lnTo>
                    <a:pt x="912" y="188"/>
                  </a:lnTo>
                  <a:lnTo>
                    <a:pt x="912" y="186"/>
                  </a:lnTo>
                  <a:lnTo>
                    <a:pt x="910" y="182"/>
                  </a:lnTo>
                  <a:lnTo>
                    <a:pt x="906" y="176"/>
                  </a:lnTo>
                  <a:lnTo>
                    <a:pt x="900" y="170"/>
                  </a:lnTo>
                  <a:lnTo>
                    <a:pt x="894" y="164"/>
                  </a:lnTo>
                  <a:lnTo>
                    <a:pt x="888" y="164"/>
                  </a:lnTo>
                  <a:lnTo>
                    <a:pt x="882" y="162"/>
                  </a:lnTo>
                  <a:lnTo>
                    <a:pt x="878" y="158"/>
                  </a:lnTo>
                  <a:lnTo>
                    <a:pt x="870" y="144"/>
                  </a:lnTo>
                  <a:lnTo>
                    <a:pt x="866" y="138"/>
                  </a:lnTo>
                  <a:lnTo>
                    <a:pt x="860" y="134"/>
                  </a:lnTo>
                  <a:lnTo>
                    <a:pt x="856" y="132"/>
                  </a:lnTo>
                  <a:lnTo>
                    <a:pt x="850" y="132"/>
                  </a:lnTo>
                  <a:lnTo>
                    <a:pt x="846" y="136"/>
                  </a:lnTo>
                  <a:lnTo>
                    <a:pt x="846" y="142"/>
                  </a:lnTo>
                  <a:lnTo>
                    <a:pt x="860" y="164"/>
                  </a:lnTo>
                  <a:lnTo>
                    <a:pt x="866" y="174"/>
                  </a:lnTo>
                  <a:lnTo>
                    <a:pt x="868" y="174"/>
                  </a:lnTo>
                  <a:lnTo>
                    <a:pt x="870" y="174"/>
                  </a:lnTo>
                  <a:lnTo>
                    <a:pt x="872" y="172"/>
                  </a:lnTo>
                  <a:lnTo>
                    <a:pt x="876" y="172"/>
                  </a:lnTo>
                  <a:lnTo>
                    <a:pt x="884" y="174"/>
                  </a:lnTo>
                  <a:lnTo>
                    <a:pt x="892" y="180"/>
                  </a:lnTo>
                  <a:close/>
                  <a:moveTo>
                    <a:pt x="1006" y="948"/>
                  </a:moveTo>
                  <a:lnTo>
                    <a:pt x="1006" y="948"/>
                  </a:lnTo>
                  <a:lnTo>
                    <a:pt x="1016" y="944"/>
                  </a:lnTo>
                  <a:lnTo>
                    <a:pt x="1026" y="934"/>
                  </a:lnTo>
                  <a:lnTo>
                    <a:pt x="1030" y="932"/>
                  </a:lnTo>
                  <a:lnTo>
                    <a:pt x="1030" y="930"/>
                  </a:lnTo>
                  <a:lnTo>
                    <a:pt x="1026" y="930"/>
                  </a:lnTo>
                  <a:lnTo>
                    <a:pt x="1018" y="930"/>
                  </a:lnTo>
                  <a:lnTo>
                    <a:pt x="1008" y="932"/>
                  </a:lnTo>
                  <a:lnTo>
                    <a:pt x="1004" y="934"/>
                  </a:lnTo>
                  <a:lnTo>
                    <a:pt x="1006" y="936"/>
                  </a:lnTo>
                  <a:lnTo>
                    <a:pt x="1006" y="938"/>
                  </a:lnTo>
                  <a:lnTo>
                    <a:pt x="1002" y="938"/>
                  </a:lnTo>
                  <a:lnTo>
                    <a:pt x="998" y="938"/>
                  </a:lnTo>
                  <a:lnTo>
                    <a:pt x="998" y="940"/>
                  </a:lnTo>
                  <a:lnTo>
                    <a:pt x="1000" y="942"/>
                  </a:lnTo>
                  <a:lnTo>
                    <a:pt x="998" y="946"/>
                  </a:lnTo>
                  <a:lnTo>
                    <a:pt x="996" y="948"/>
                  </a:lnTo>
                  <a:lnTo>
                    <a:pt x="1000" y="948"/>
                  </a:lnTo>
                  <a:lnTo>
                    <a:pt x="1006" y="948"/>
                  </a:lnTo>
                  <a:close/>
                  <a:moveTo>
                    <a:pt x="1028" y="900"/>
                  </a:moveTo>
                  <a:lnTo>
                    <a:pt x="1028" y="900"/>
                  </a:lnTo>
                  <a:lnTo>
                    <a:pt x="1024" y="900"/>
                  </a:lnTo>
                  <a:lnTo>
                    <a:pt x="1022" y="902"/>
                  </a:lnTo>
                  <a:lnTo>
                    <a:pt x="1022" y="904"/>
                  </a:lnTo>
                  <a:lnTo>
                    <a:pt x="1018" y="906"/>
                  </a:lnTo>
                  <a:lnTo>
                    <a:pt x="1016" y="904"/>
                  </a:lnTo>
                  <a:lnTo>
                    <a:pt x="1014" y="902"/>
                  </a:lnTo>
                  <a:lnTo>
                    <a:pt x="1012" y="902"/>
                  </a:lnTo>
                  <a:lnTo>
                    <a:pt x="1010" y="904"/>
                  </a:lnTo>
                  <a:lnTo>
                    <a:pt x="1008" y="904"/>
                  </a:lnTo>
                  <a:lnTo>
                    <a:pt x="1006" y="904"/>
                  </a:lnTo>
                  <a:lnTo>
                    <a:pt x="1004" y="906"/>
                  </a:lnTo>
                  <a:lnTo>
                    <a:pt x="1004" y="910"/>
                  </a:lnTo>
                  <a:lnTo>
                    <a:pt x="1002" y="912"/>
                  </a:lnTo>
                  <a:lnTo>
                    <a:pt x="1002" y="914"/>
                  </a:lnTo>
                  <a:lnTo>
                    <a:pt x="1004" y="916"/>
                  </a:lnTo>
                  <a:lnTo>
                    <a:pt x="1008" y="918"/>
                  </a:lnTo>
                  <a:lnTo>
                    <a:pt x="1012" y="916"/>
                  </a:lnTo>
                  <a:lnTo>
                    <a:pt x="1016" y="914"/>
                  </a:lnTo>
                  <a:lnTo>
                    <a:pt x="1026" y="910"/>
                  </a:lnTo>
                  <a:lnTo>
                    <a:pt x="1030" y="910"/>
                  </a:lnTo>
                  <a:lnTo>
                    <a:pt x="1026" y="914"/>
                  </a:lnTo>
                  <a:lnTo>
                    <a:pt x="1020" y="918"/>
                  </a:lnTo>
                  <a:lnTo>
                    <a:pt x="1020" y="920"/>
                  </a:lnTo>
                  <a:lnTo>
                    <a:pt x="1030" y="918"/>
                  </a:lnTo>
                  <a:lnTo>
                    <a:pt x="1040" y="916"/>
                  </a:lnTo>
                  <a:lnTo>
                    <a:pt x="1042" y="914"/>
                  </a:lnTo>
                  <a:lnTo>
                    <a:pt x="1042" y="912"/>
                  </a:lnTo>
                  <a:lnTo>
                    <a:pt x="1042" y="910"/>
                  </a:lnTo>
                  <a:lnTo>
                    <a:pt x="1040" y="906"/>
                  </a:lnTo>
                  <a:lnTo>
                    <a:pt x="1040" y="904"/>
                  </a:lnTo>
                  <a:lnTo>
                    <a:pt x="1042" y="902"/>
                  </a:lnTo>
                  <a:lnTo>
                    <a:pt x="1042" y="900"/>
                  </a:lnTo>
                  <a:lnTo>
                    <a:pt x="1038" y="896"/>
                  </a:lnTo>
                  <a:lnTo>
                    <a:pt x="1034" y="890"/>
                  </a:lnTo>
                  <a:lnTo>
                    <a:pt x="1032" y="890"/>
                  </a:lnTo>
                  <a:lnTo>
                    <a:pt x="1030" y="890"/>
                  </a:lnTo>
                  <a:lnTo>
                    <a:pt x="1028" y="890"/>
                  </a:lnTo>
                  <a:lnTo>
                    <a:pt x="1028" y="892"/>
                  </a:lnTo>
                  <a:lnTo>
                    <a:pt x="1030" y="896"/>
                  </a:lnTo>
                  <a:lnTo>
                    <a:pt x="1032" y="900"/>
                  </a:lnTo>
                  <a:lnTo>
                    <a:pt x="1028" y="900"/>
                  </a:lnTo>
                  <a:close/>
                  <a:moveTo>
                    <a:pt x="996" y="942"/>
                  </a:moveTo>
                  <a:lnTo>
                    <a:pt x="996" y="942"/>
                  </a:lnTo>
                  <a:lnTo>
                    <a:pt x="996" y="940"/>
                  </a:lnTo>
                  <a:lnTo>
                    <a:pt x="994" y="938"/>
                  </a:lnTo>
                  <a:lnTo>
                    <a:pt x="990" y="938"/>
                  </a:lnTo>
                  <a:lnTo>
                    <a:pt x="988" y="938"/>
                  </a:lnTo>
                  <a:lnTo>
                    <a:pt x="990" y="940"/>
                  </a:lnTo>
                  <a:lnTo>
                    <a:pt x="992" y="942"/>
                  </a:lnTo>
                  <a:lnTo>
                    <a:pt x="994" y="942"/>
                  </a:lnTo>
                  <a:lnTo>
                    <a:pt x="996" y="942"/>
                  </a:lnTo>
                  <a:close/>
                  <a:moveTo>
                    <a:pt x="942" y="966"/>
                  </a:moveTo>
                  <a:lnTo>
                    <a:pt x="942" y="966"/>
                  </a:lnTo>
                  <a:lnTo>
                    <a:pt x="940" y="974"/>
                  </a:lnTo>
                  <a:lnTo>
                    <a:pt x="946" y="970"/>
                  </a:lnTo>
                  <a:lnTo>
                    <a:pt x="948" y="968"/>
                  </a:lnTo>
                  <a:lnTo>
                    <a:pt x="950" y="964"/>
                  </a:lnTo>
                  <a:lnTo>
                    <a:pt x="950" y="958"/>
                  </a:lnTo>
                  <a:lnTo>
                    <a:pt x="950" y="956"/>
                  </a:lnTo>
                  <a:lnTo>
                    <a:pt x="948" y="956"/>
                  </a:lnTo>
                  <a:lnTo>
                    <a:pt x="942" y="966"/>
                  </a:lnTo>
                  <a:close/>
                  <a:moveTo>
                    <a:pt x="970" y="956"/>
                  </a:moveTo>
                  <a:lnTo>
                    <a:pt x="970" y="956"/>
                  </a:lnTo>
                  <a:lnTo>
                    <a:pt x="972" y="956"/>
                  </a:lnTo>
                  <a:lnTo>
                    <a:pt x="974" y="956"/>
                  </a:lnTo>
                  <a:lnTo>
                    <a:pt x="976" y="956"/>
                  </a:lnTo>
                  <a:lnTo>
                    <a:pt x="978" y="954"/>
                  </a:lnTo>
                  <a:lnTo>
                    <a:pt x="982" y="952"/>
                  </a:lnTo>
                  <a:lnTo>
                    <a:pt x="984" y="950"/>
                  </a:lnTo>
                  <a:lnTo>
                    <a:pt x="988" y="946"/>
                  </a:lnTo>
                  <a:lnTo>
                    <a:pt x="992" y="946"/>
                  </a:lnTo>
                  <a:lnTo>
                    <a:pt x="990" y="944"/>
                  </a:lnTo>
                  <a:lnTo>
                    <a:pt x="980" y="942"/>
                  </a:lnTo>
                  <a:lnTo>
                    <a:pt x="976" y="940"/>
                  </a:lnTo>
                  <a:lnTo>
                    <a:pt x="972" y="942"/>
                  </a:lnTo>
                  <a:lnTo>
                    <a:pt x="970" y="944"/>
                  </a:lnTo>
                  <a:lnTo>
                    <a:pt x="966" y="948"/>
                  </a:lnTo>
                  <a:lnTo>
                    <a:pt x="966" y="952"/>
                  </a:lnTo>
                  <a:lnTo>
                    <a:pt x="966" y="954"/>
                  </a:lnTo>
                  <a:lnTo>
                    <a:pt x="964" y="956"/>
                  </a:lnTo>
                  <a:lnTo>
                    <a:pt x="966" y="958"/>
                  </a:lnTo>
                  <a:lnTo>
                    <a:pt x="968" y="958"/>
                  </a:lnTo>
                  <a:lnTo>
                    <a:pt x="970" y="956"/>
                  </a:lnTo>
                  <a:close/>
                  <a:moveTo>
                    <a:pt x="958" y="954"/>
                  </a:moveTo>
                  <a:lnTo>
                    <a:pt x="958" y="954"/>
                  </a:lnTo>
                  <a:lnTo>
                    <a:pt x="958" y="956"/>
                  </a:lnTo>
                  <a:lnTo>
                    <a:pt x="956" y="956"/>
                  </a:lnTo>
                  <a:lnTo>
                    <a:pt x="954" y="956"/>
                  </a:lnTo>
                  <a:lnTo>
                    <a:pt x="954" y="960"/>
                  </a:lnTo>
                  <a:lnTo>
                    <a:pt x="956" y="962"/>
                  </a:lnTo>
                  <a:lnTo>
                    <a:pt x="962" y="958"/>
                  </a:lnTo>
                  <a:lnTo>
                    <a:pt x="964" y="954"/>
                  </a:lnTo>
                  <a:lnTo>
                    <a:pt x="962" y="950"/>
                  </a:lnTo>
                  <a:lnTo>
                    <a:pt x="960" y="950"/>
                  </a:lnTo>
                  <a:lnTo>
                    <a:pt x="958" y="954"/>
                  </a:lnTo>
                  <a:close/>
                  <a:moveTo>
                    <a:pt x="1028" y="966"/>
                  </a:moveTo>
                  <a:lnTo>
                    <a:pt x="1028" y="966"/>
                  </a:lnTo>
                  <a:lnTo>
                    <a:pt x="1032" y="966"/>
                  </a:lnTo>
                  <a:lnTo>
                    <a:pt x="1034" y="964"/>
                  </a:lnTo>
                  <a:lnTo>
                    <a:pt x="1030" y="962"/>
                  </a:lnTo>
                  <a:lnTo>
                    <a:pt x="1028" y="962"/>
                  </a:lnTo>
                  <a:lnTo>
                    <a:pt x="1026" y="964"/>
                  </a:lnTo>
                  <a:lnTo>
                    <a:pt x="1026" y="966"/>
                  </a:lnTo>
                  <a:lnTo>
                    <a:pt x="1028" y="966"/>
                  </a:lnTo>
                  <a:close/>
                  <a:moveTo>
                    <a:pt x="1078" y="890"/>
                  </a:moveTo>
                  <a:lnTo>
                    <a:pt x="1078" y="890"/>
                  </a:lnTo>
                  <a:lnTo>
                    <a:pt x="1080" y="892"/>
                  </a:lnTo>
                  <a:lnTo>
                    <a:pt x="1082" y="894"/>
                  </a:lnTo>
                  <a:lnTo>
                    <a:pt x="1088" y="896"/>
                  </a:lnTo>
                  <a:lnTo>
                    <a:pt x="1092" y="896"/>
                  </a:lnTo>
                  <a:lnTo>
                    <a:pt x="1092" y="894"/>
                  </a:lnTo>
                  <a:lnTo>
                    <a:pt x="1088" y="892"/>
                  </a:lnTo>
                  <a:lnTo>
                    <a:pt x="1082" y="890"/>
                  </a:lnTo>
                  <a:lnTo>
                    <a:pt x="1078" y="890"/>
                  </a:lnTo>
                  <a:close/>
                  <a:moveTo>
                    <a:pt x="1054" y="890"/>
                  </a:moveTo>
                  <a:lnTo>
                    <a:pt x="1054" y="890"/>
                  </a:lnTo>
                  <a:lnTo>
                    <a:pt x="1060" y="890"/>
                  </a:lnTo>
                  <a:lnTo>
                    <a:pt x="1062" y="888"/>
                  </a:lnTo>
                  <a:lnTo>
                    <a:pt x="1068" y="878"/>
                  </a:lnTo>
                  <a:lnTo>
                    <a:pt x="1072" y="872"/>
                  </a:lnTo>
                  <a:lnTo>
                    <a:pt x="1074" y="868"/>
                  </a:lnTo>
                  <a:lnTo>
                    <a:pt x="1072" y="868"/>
                  </a:lnTo>
                  <a:lnTo>
                    <a:pt x="1066" y="870"/>
                  </a:lnTo>
                  <a:lnTo>
                    <a:pt x="1054" y="878"/>
                  </a:lnTo>
                  <a:lnTo>
                    <a:pt x="1050" y="882"/>
                  </a:lnTo>
                  <a:lnTo>
                    <a:pt x="1046" y="890"/>
                  </a:lnTo>
                  <a:lnTo>
                    <a:pt x="1044" y="894"/>
                  </a:lnTo>
                  <a:lnTo>
                    <a:pt x="1044" y="896"/>
                  </a:lnTo>
                  <a:lnTo>
                    <a:pt x="1046" y="898"/>
                  </a:lnTo>
                  <a:lnTo>
                    <a:pt x="1048" y="898"/>
                  </a:lnTo>
                  <a:lnTo>
                    <a:pt x="1048" y="894"/>
                  </a:lnTo>
                  <a:lnTo>
                    <a:pt x="1050" y="892"/>
                  </a:lnTo>
                  <a:lnTo>
                    <a:pt x="1054" y="890"/>
                  </a:lnTo>
                  <a:close/>
                  <a:moveTo>
                    <a:pt x="752" y="1276"/>
                  </a:moveTo>
                  <a:lnTo>
                    <a:pt x="752" y="1276"/>
                  </a:lnTo>
                  <a:lnTo>
                    <a:pt x="750" y="1274"/>
                  </a:lnTo>
                  <a:lnTo>
                    <a:pt x="742" y="1274"/>
                  </a:lnTo>
                  <a:lnTo>
                    <a:pt x="738" y="1276"/>
                  </a:lnTo>
                  <a:lnTo>
                    <a:pt x="736" y="1278"/>
                  </a:lnTo>
                  <a:lnTo>
                    <a:pt x="742" y="1282"/>
                  </a:lnTo>
                  <a:lnTo>
                    <a:pt x="748" y="1282"/>
                  </a:lnTo>
                  <a:lnTo>
                    <a:pt x="750" y="1278"/>
                  </a:lnTo>
                  <a:lnTo>
                    <a:pt x="752" y="1276"/>
                  </a:lnTo>
                  <a:close/>
                  <a:moveTo>
                    <a:pt x="1156" y="42"/>
                  </a:moveTo>
                  <a:lnTo>
                    <a:pt x="1156" y="42"/>
                  </a:lnTo>
                  <a:lnTo>
                    <a:pt x="1164" y="44"/>
                  </a:lnTo>
                  <a:lnTo>
                    <a:pt x="1166" y="46"/>
                  </a:lnTo>
                  <a:lnTo>
                    <a:pt x="1164" y="48"/>
                  </a:lnTo>
                  <a:lnTo>
                    <a:pt x="1162" y="48"/>
                  </a:lnTo>
                  <a:lnTo>
                    <a:pt x="1160" y="50"/>
                  </a:lnTo>
                  <a:lnTo>
                    <a:pt x="1162" y="52"/>
                  </a:lnTo>
                  <a:lnTo>
                    <a:pt x="1166" y="56"/>
                  </a:lnTo>
                  <a:lnTo>
                    <a:pt x="1176" y="62"/>
                  </a:lnTo>
                  <a:lnTo>
                    <a:pt x="1186" y="66"/>
                  </a:lnTo>
                  <a:lnTo>
                    <a:pt x="1194" y="68"/>
                  </a:lnTo>
                  <a:lnTo>
                    <a:pt x="1204" y="68"/>
                  </a:lnTo>
                  <a:lnTo>
                    <a:pt x="1214" y="66"/>
                  </a:lnTo>
                  <a:lnTo>
                    <a:pt x="1238" y="62"/>
                  </a:lnTo>
                  <a:lnTo>
                    <a:pt x="1252" y="60"/>
                  </a:lnTo>
                  <a:lnTo>
                    <a:pt x="1270" y="58"/>
                  </a:lnTo>
                  <a:lnTo>
                    <a:pt x="1296" y="58"/>
                  </a:lnTo>
                  <a:lnTo>
                    <a:pt x="1298" y="60"/>
                  </a:lnTo>
                  <a:lnTo>
                    <a:pt x="1294" y="62"/>
                  </a:lnTo>
                  <a:lnTo>
                    <a:pt x="1274" y="66"/>
                  </a:lnTo>
                  <a:lnTo>
                    <a:pt x="1236" y="74"/>
                  </a:lnTo>
                  <a:lnTo>
                    <a:pt x="1220" y="78"/>
                  </a:lnTo>
                  <a:lnTo>
                    <a:pt x="1216" y="80"/>
                  </a:lnTo>
                  <a:lnTo>
                    <a:pt x="1216" y="82"/>
                  </a:lnTo>
                  <a:lnTo>
                    <a:pt x="1216" y="84"/>
                  </a:lnTo>
                  <a:lnTo>
                    <a:pt x="1220" y="86"/>
                  </a:lnTo>
                  <a:lnTo>
                    <a:pt x="1232" y="88"/>
                  </a:lnTo>
                  <a:lnTo>
                    <a:pt x="1270" y="92"/>
                  </a:lnTo>
                  <a:lnTo>
                    <a:pt x="1308" y="94"/>
                  </a:lnTo>
                  <a:lnTo>
                    <a:pt x="1324" y="96"/>
                  </a:lnTo>
                  <a:lnTo>
                    <a:pt x="1336" y="100"/>
                  </a:lnTo>
                  <a:lnTo>
                    <a:pt x="1360" y="110"/>
                  </a:lnTo>
                  <a:lnTo>
                    <a:pt x="1370" y="114"/>
                  </a:lnTo>
                  <a:lnTo>
                    <a:pt x="1380" y="114"/>
                  </a:lnTo>
                  <a:lnTo>
                    <a:pt x="1390" y="112"/>
                  </a:lnTo>
                  <a:lnTo>
                    <a:pt x="1402" y="106"/>
                  </a:lnTo>
                  <a:lnTo>
                    <a:pt x="1412" y="98"/>
                  </a:lnTo>
                  <a:lnTo>
                    <a:pt x="1420" y="96"/>
                  </a:lnTo>
                  <a:lnTo>
                    <a:pt x="1424" y="94"/>
                  </a:lnTo>
                  <a:lnTo>
                    <a:pt x="1430" y="96"/>
                  </a:lnTo>
                  <a:lnTo>
                    <a:pt x="1438" y="98"/>
                  </a:lnTo>
                  <a:lnTo>
                    <a:pt x="1446" y="98"/>
                  </a:lnTo>
                  <a:lnTo>
                    <a:pt x="1456" y="96"/>
                  </a:lnTo>
                  <a:lnTo>
                    <a:pt x="1464" y="92"/>
                  </a:lnTo>
                  <a:lnTo>
                    <a:pt x="1468" y="88"/>
                  </a:lnTo>
                  <a:lnTo>
                    <a:pt x="1468" y="84"/>
                  </a:lnTo>
                  <a:lnTo>
                    <a:pt x="1468" y="80"/>
                  </a:lnTo>
                  <a:lnTo>
                    <a:pt x="1470" y="76"/>
                  </a:lnTo>
                  <a:lnTo>
                    <a:pt x="1476" y="72"/>
                  </a:lnTo>
                  <a:lnTo>
                    <a:pt x="1488" y="66"/>
                  </a:lnTo>
                  <a:lnTo>
                    <a:pt x="1506" y="58"/>
                  </a:lnTo>
                  <a:lnTo>
                    <a:pt x="1516" y="54"/>
                  </a:lnTo>
                  <a:lnTo>
                    <a:pt x="1522" y="48"/>
                  </a:lnTo>
                  <a:lnTo>
                    <a:pt x="1520" y="42"/>
                  </a:lnTo>
                  <a:lnTo>
                    <a:pt x="1516" y="38"/>
                  </a:lnTo>
                  <a:lnTo>
                    <a:pt x="1510" y="34"/>
                  </a:lnTo>
                  <a:lnTo>
                    <a:pt x="1502" y="30"/>
                  </a:lnTo>
                  <a:lnTo>
                    <a:pt x="1492" y="28"/>
                  </a:lnTo>
                  <a:lnTo>
                    <a:pt x="1484" y="28"/>
                  </a:lnTo>
                  <a:lnTo>
                    <a:pt x="1468" y="28"/>
                  </a:lnTo>
                  <a:lnTo>
                    <a:pt x="1450" y="24"/>
                  </a:lnTo>
                  <a:lnTo>
                    <a:pt x="1430" y="18"/>
                  </a:lnTo>
                  <a:lnTo>
                    <a:pt x="1406" y="14"/>
                  </a:lnTo>
                  <a:lnTo>
                    <a:pt x="1394" y="12"/>
                  </a:lnTo>
                  <a:lnTo>
                    <a:pt x="1388" y="14"/>
                  </a:lnTo>
                  <a:lnTo>
                    <a:pt x="1384" y="16"/>
                  </a:lnTo>
                  <a:lnTo>
                    <a:pt x="1382" y="20"/>
                  </a:lnTo>
                  <a:lnTo>
                    <a:pt x="1378" y="28"/>
                  </a:lnTo>
                  <a:lnTo>
                    <a:pt x="1374" y="30"/>
                  </a:lnTo>
                  <a:lnTo>
                    <a:pt x="1366" y="30"/>
                  </a:lnTo>
                  <a:lnTo>
                    <a:pt x="1360" y="28"/>
                  </a:lnTo>
                  <a:lnTo>
                    <a:pt x="1358" y="24"/>
                  </a:lnTo>
                  <a:lnTo>
                    <a:pt x="1358" y="20"/>
                  </a:lnTo>
                  <a:lnTo>
                    <a:pt x="1360" y="16"/>
                  </a:lnTo>
                  <a:lnTo>
                    <a:pt x="1362" y="10"/>
                  </a:lnTo>
                  <a:lnTo>
                    <a:pt x="1362" y="6"/>
                  </a:lnTo>
                  <a:lnTo>
                    <a:pt x="1360" y="4"/>
                  </a:lnTo>
                  <a:lnTo>
                    <a:pt x="1350" y="0"/>
                  </a:lnTo>
                  <a:lnTo>
                    <a:pt x="1344" y="0"/>
                  </a:lnTo>
                  <a:lnTo>
                    <a:pt x="1340" y="2"/>
                  </a:lnTo>
                  <a:lnTo>
                    <a:pt x="1334" y="4"/>
                  </a:lnTo>
                  <a:lnTo>
                    <a:pt x="1332" y="8"/>
                  </a:lnTo>
                  <a:lnTo>
                    <a:pt x="1328" y="14"/>
                  </a:lnTo>
                  <a:lnTo>
                    <a:pt x="1326" y="22"/>
                  </a:lnTo>
                  <a:lnTo>
                    <a:pt x="1324" y="36"/>
                  </a:lnTo>
                  <a:lnTo>
                    <a:pt x="1322" y="40"/>
                  </a:lnTo>
                  <a:lnTo>
                    <a:pt x="1320" y="40"/>
                  </a:lnTo>
                  <a:lnTo>
                    <a:pt x="1318" y="40"/>
                  </a:lnTo>
                  <a:lnTo>
                    <a:pt x="1314" y="36"/>
                  </a:lnTo>
                  <a:lnTo>
                    <a:pt x="1306" y="24"/>
                  </a:lnTo>
                  <a:lnTo>
                    <a:pt x="1300" y="20"/>
                  </a:lnTo>
                  <a:lnTo>
                    <a:pt x="1296" y="18"/>
                  </a:lnTo>
                  <a:lnTo>
                    <a:pt x="1292" y="18"/>
                  </a:lnTo>
                  <a:lnTo>
                    <a:pt x="1286" y="18"/>
                  </a:lnTo>
                  <a:lnTo>
                    <a:pt x="1278" y="20"/>
                  </a:lnTo>
                  <a:lnTo>
                    <a:pt x="1268" y="18"/>
                  </a:lnTo>
                  <a:lnTo>
                    <a:pt x="1252" y="16"/>
                  </a:lnTo>
                  <a:lnTo>
                    <a:pt x="1232" y="8"/>
                  </a:lnTo>
                  <a:lnTo>
                    <a:pt x="1216" y="2"/>
                  </a:lnTo>
                  <a:lnTo>
                    <a:pt x="1208" y="2"/>
                  </a:lnTo>
                  <a:lnTo>
                    <a:pt x="1208" y="4"/>
                  </a:lnTo>
                  <a:lnTo>
                    <a:pt x="1212" y="10"/>
                  </a:lnTo>
                  <a:lnTo>
                    <a:pt x="1216" y="16"/>
                  </a:lnTo>
                  <a:lnTo>
                    <a:pt x="1216" y="20"/>
                  </a:lnTo>
                  <a:lnTo>
                    <a:pt x="1216" y="22"/>
                  </a:lnTo>
                  <a:lnTo>
                    <a:pt x="1212" y="22"/>
                  </a:lnTo>
                  <a:lnTo>
                    <a:pt x="1200" y="16"/>
                  </a:lnTo>
                  <a:lnTo>
                    <a:pt x="1188" y="12"/>
                  </a:lnTo>
                  <a:lnTo>
                    <a:pt x="1182" y="12"/>
                  </a:lnTo>
                  <a:lnTo>
                    <a:pt x="1184" y="14"/>
                  </a:lnTo>
                  <a:lnTo>
                    <a:pt x="1188" y="18"/>
                  </a:lnTo>
                  <a:lnTo>
                    <a:pt x="1192" y="24"/>
                  </a:lnTo>
                  <a:lnTo>
                    <a:pt x="1194" y="28"/>
                  </a:lnTo>
                  <a:lnTo>
                    <a:pt x="1194" y="30"/>
                  </a:lnTo>
                  <a:lnTo>
                    <a:pt x="1190" y="30"/>
                  </a:lnTo>
                  <a:lnTo>
                    <a:pt x="1180" y="28"/>
                  </a:lnTo>
                  <a:lnTo>
                    <a:pt x="1166" y="26"/>
                  </a:lnTo>
                  <a:lnTo>
                    <a:pt x="1154" y="24"/>
                  </a:lnTo>
                  <a:lnTo>
                    <a:pt x="1148" y="24"/>
                  </a:lnTo>
                  <a:lnTo>
                    <a:pt x="1142" y="26"/>
                  </a:lnTo>
                  <a:lnTo>
                    <a:pt x="1142" y="30"/>
                  </a:lnTo>
                  <a:lnTo>
                    <a:pt x="1144" y="34"/>
                  </a:lnTo>
                  <a:lnTo>
                    <a:pt x="1148" y="38"/>
                  </a:lnTo>
                  <a:lnTo>
                    <a:pt x="1156" y="42"/>
                  </a:lnTo>
                  <a:close/>
                  <a:moveTo>
                    <a:pt x="388" y="1446"/>
                  </a:moveTo>
                  <a:lnTo>
                    <a:pt x="388" y="1446"/>
                  </a:lnTo>
                  <a:lnTo>
                    <a:pt x="384" y="1448"/>
                  </a:lnTo>
                  <a:lnTo>
                    <a:pt x="384" y="1450"/>
                  </a:lnTo>
                  <a:lnTo>
                    <a:pt x="384" y="1452"/>
                  </a:lnTo>
                  <a:lnTo>
                    <a:pt x="386" y="1456"/>
                  </a:lnTo>
                  <a:lnTo>
                    <a:pt x="388" y="1454"/>
                  </a:lnTo>
                  <a:lnTo>
                    <a:pt x="390" y="1452"/>
                  </a:lnTo>
                  <a:lnTo>
                    <a:pt x="390" y="1448"/>
                  </a:lnTo>
                  <a:lnTo>
                    <a:pt x="388" y="1446"/>
                  </a:lnTo>
                  <a:close/>
                  <a:moveTo>
                    <a:pt x="164" y="1358"/>
                  </a:moveTo>
                  <a:lnTo>
                    <a:pt x="164" y="1358"/>
                  </a:lnTo>
                  <a:lnTo>
                    <a:pt x="166" y="1356"/>
                  </a:lnTo>
                  <a:lnTo>
                    <a:pt x="168" y="1358"/>
                  </a:lnTo>
                  <a:lnTo>
                    <a:pt x="170" y="1356"/>
                  </a:lnTo>
                  <a:lnTo>
                    <a:pt x="172" y="1354"/>
                  </a:lnTo>
                  <a:lnTo>
                    <a:pt x="170" y="1354"/>
                  </a:lnTo>
                  <a:lnTo>
                    <a:pt x="168" y="1350"/>
                  </a:lnTo>
                  <a:lnTo>
                    <a:pt x="164" y="1346"/>
                  </a:lnTo>
                  <a:lnTo>
                    <a:pt x="164" y="1348"/>
                  </a:lnTo>
                  <a:lnTo>
                    <a:pt x="164" y="1350"/>
                  </a:lnTo>
                  <a:lnTo>
                    <a:pt x="164" y="1352"/>
                  </a:lnTo>
                  <a:lnTo>
                    <a:pt x="164" y="1354"/>
                  </a:lnTo>
                  <a:lnTo>
                    <a:pt x="164" y="1358"/>
                  </a:lnTo>
                  <a:close/>
                  <a:moveTo>
                    <a:pt x="148" y="1644"/>
                  </a:moveTo>
                  <a:lnTo>
                    <a:pt x="148" y="1644"/>
                  </a:lnTo>
                  <a:lnTo>
                    <a:pt x="150" y="1642"/>
                  </a:lnTo>
                  <a:lnTo>
                    <a:pt x="150" y="1640"/>
                  </a:lnTo>
                  <a:lnTo>
                    <a:pt x="152" y="1636"/>
                  </a:lnTo>
                  <a:lnTo>
                    <a:pt x="156" y="1634"/>
                  </a:lnTo>
                  <a:lnTo>
                    <a:pt x="160" y="1634"/>
                  </a:lnTo>
                  <a:lnTo>
                    <a:pt x="162" y="1634"/>
                  </a:lnTo>
                  <a:lnTo>
                    <a:pt x="162" y="1632"/>
                  </a:lnTo>
                  <a:lnTo>
                    <a:pt x="162" y="1630"/>
                  </a:lnTo>
                  <a:lnTo>
                    <a:pt x="164" y="1630"/>
                  </a:lnTo>
                  <a:lnTo>
                    <a:pt x="166" y="1628"/>
                  </a:lnTo>
                  <a:lnTo>
                    <a:pt x="166" y="1626"/>
                  </a:lnTo>
                  <a:lnTo>
                    <a:pt x="164" y="1624"/>
                  </a:lnTo>
                  <a:lnTo>
                    <a:pt x="166" y="1622"/>
                  </a:lnTo>
                  <a:lnTo>
                    <a:pt x="164" y="1620"/>
                  </a:lnTo>
                  <a:lnTo>
                    <a:pt x="166" y="1618"/>
                  </a:lnTo>
                  <a:lnTo>
                    <a:pt x="168" y="1618"/>
                  </a:lnTo>
                  <a:lnTo>
                    <a:pt x="170" y="1618"/>
                  </a:lnTo>
                  <a:lnTo>
                    <a:pt x="174" y="1616"/>
                  </a:lnTo>
                  <a:lnTo>
                    <a:pt x="176" y="1614"/>
                  </a:lnTo>
                  <a:lnTo>
                    <a:pt x="172" y="1614"/>
                  </a:lnTo>
                  <a:lnTo>
                    <a:pt x="168" y="1614"/>
                  </a:lnTo>
                  <a:lnTo>
                    <a:pt x="172" y="1610"/>
                  </a:lnTo>
                  <a:lnTo>
                    <a:pt x="174" y="1606"/>
                  </a:lnTo>
                  <a:lnTo>
                    <a:pt x="174" y="1600"/>
                  </a:lnTo>
                  <a:lnTo>
                    <a:pt x="172" y="1598"/>
                  </a:lnTo>
                  <a:lnTo>
                    <a:pt x="170" y="1598"/>
                  </a:lnTo>
                  <a:lnTo>
                    <a:pt x="164" y="1602"/>
                  </a:lnTo>
                  <a:lnTo>
                    <a:pt x="158" y="1606"/>
                  </a:lnTo>
                  <a:lnTo>
                    <a:pt x="150" y="1610"/>
                  </a:lnTo>
                  <a:lnTo>
                    <a:pt x="148" y="1612"/>
                  </a:lnTo>
                  <a:lnTo>
                    <a:pt x="148" y="1614"/>
                  </a:lnTo>
                  <a:lnTo>
                    <a:pt x="148" y="1616"/>
                  </a:lnTo>
                  <a:lnTo>
                    <a:pt x="148" y="1620"/>
                  </a:lnTo>
                  <a:lnTo>
                    <a:pt x="146" y="1620"/>
                  </a:lnTo>
                  <a:lnTo>
                    <a:pt x="144" y="1618"/>
                  </a:lnTo>
                  <a:lnTo>
                    <a:pt x="142" y="1616"/>
                  </a:lnTo>
                  <a:lnTo>
                    <a:pt x="140" y="1616"/>
                  </a:lnTo>
                  <a:lnTo>
                    <a:pt x="136" y="1622"/>
                  </a:lnTo>
                  <a:lnTo>
                    <a:pt x="136" y="1624"/>
                  </a:lnTo>
                  <a:lnTo>
                    <a:pt x="138" y="1628"/>
                  </a:lnTo>
                  <a:lnTo>
                    <a:pt x="140" y="1630"/>
                  </a:lnTo>
                  <a:lnTo>
                    <a:pt x="138" y="1632"/>
                  </a:lnTo>
                  <a:lnTo>
                    <a:pt x="144" y="1636"/>
                  </a:lnTo>
                  <a:lnTo>
                    <a:pt x="146" y="1636"/>
                  </a:lnTo>
                  <a:lnTo>
                    <a:pt x="142" y="1638"/>
                  </a:lnTo>
                  <a:lnTo>
                    <a:pt x="138" y="1642"/>
                  </a:lnTo>
                  <a:lnTo>
                    <a:pt x="136" y="1644"/>
                  </a:lnTo>
                  <a:lnTo>
                    <a:pt x="138" y="1646"/>
                  </a:lnTo>
                  <a:lnTo>
                    <a:pt x="140" y="1648"/>
                  </a:lnTo>
                  <a:lnTo>
                    <a:pt x="142" y="1648"/>
                  </a:lnTo>
                  <a:lnTo>
                    <a:pt x="144" y="1644"/>
                  </a:lnTo>
                  <a:lnTo>
                    <a:pt x="148" y="1644"/>
                  </a:lnTo>
                  <a:close/>
                  <a:moveTo>
                    <a:pt x="84" y="2020"/>
                  </a:moveTo>
                  <a:lnTo>
                    <a:pt x="84" y="2020"/>
                  </a:lnTo>
                  <a:lnTo>
                    <a:pt x="88" y="2008"/>
                  </a:lnTo>
                  <a:lnTo>
                    <a:pt x="90" y="2008"/>
                  </a:lnTo>
                  <a:lnTo>
                    <a:pt x="92" y="2012"/>
                  </a:lnTo>
                  <a:lnTo>
                    <a:pt x="94" y="2014"/>
                  </a:lnTo>
                  <a:lnTo>
                    <a:pt x="96" y="2014"/>
                  </a:lnTo>
                  <a:lnTo>
                    <a:pt x="106" y="2008"/>
                  </a:lnTo>
                  <a:lnTo>
                    <a:pt x="120" y="2000"/>
                  </a:lnTo>
                  <a:lnTo>
                    <a:pt x="126" y="1996"/>
                  </a:lnTo>
                  <a:lnTo>
                    <a:pt x="132" y="1994"/>
                  </a:lnTo>
                  <a:lnTo>
                    <a:pt x="142" y="1992"/>
                  </a:lnTo>
                  <a:lnTo>
                    <a:pt x="148" y="1990"/>
                  </a:lnTo>
                  <a:lnTo>
                    <a:pt x="152" y="1990"/>
                  </a:lnTo>
                  <a:lnTo>
                    <a:pt x="160" y="1990"/>
                  </a:lnTo>
                  <a:lnTo>
                    <a:pt x="166" y="1992"/>
                  </a:lnTo>
                  <a:lnTo>
                    <a:pt x="168" y="1988"/>
                  </a:lnTo>
                  <a:lnTo>
                    <a:pt x="168" y="1980"/>
                  </a:lnTo>
                  <a:lnTo>
                    <a:pt x="168" y="1974"/>
                  </a:lnTo>
                  <a:lnTo>
                    <a:pt x="172" y="1966"/>
                  </a:lnTo>
                  <a:lnTo>
                    <a:pt x="176" y="1958"/>
                  </a:lnTo>
                  <a:lnTo>
                    <a:pt x="178" y="1950"/>
                  </a:lnTo>
                  <a:lnTo>
                    <a:pt x="180" y="1934"/>
                  </a:lnTo>
                  <a:lnTo>
                    <a:pt x="178" y="1920"/>
                  </a:lnTo>
                  <a:lnTo>
                    <a:pt x="174" y="1906"/>
                  </a:lnTo>
                  <a:lnTo>
                    <a:pt x="168" y="1888"/>
                  </a:lnTo>
                  <a:lnTo>
                    <a:pt x="166" y="1884"/>
                  </a:lnTo>
                  <a:lnTo>
                    <a:pt x="170" y="1884"/>
                  </a:lnTo>
                  <a:lnTo>
                    <a:pt x="172" y="1882"/>
                  </a:lnTo>
                  <a:lnTo>
                    <a:pt x="172" y="1880"/>
                  </a:lnTo>
                  <a:lnTo>
                    <a:pt x="168" y="1874"/>
                  </a:lnTo>
                  <a:lnTo>
                    <a:pt x="172" y="1874"/>
                  </a:lnTo>
                  <a:lnTo>
                    <a:pt x="176" y="1876"/>
                  </a:lnTo>
                  <a:lnTo>
                    <a:pt x="178" y="1878"/>
                  </a:lnTo>
                  <a:lnTo>
                    <a:pt x="180" y="1878"/>
                  </a:lnTo>
                  <a:lnTo>
                    <a:pt x="186" y="1870"/>
                  </a:lnTo>
                  <a:lnTo>
                    <a:pt x="190" y="1866"/>
                  </a:lnTo>
                  <a:lnTo>
                    <a:pt x="194" y="1866"/>
                  </a:lnTo>
                  <a:lnTo>
                    <a:pt x="196" y="1864"/>
                  </a:lnTo>
                  <a:lnTo>
                    <a:pt x="198" y="1862"/>
                  </a:lnTo>
                  <a:lnTo>
                    <a:pt x="196" y="1858"/>
                  </a:lnTo>
                  <a:lnTo>
                    <a:pt x="194" y="1858"/>
                  </a:lnTo>
                  <a:lnTo>
                    <a:pt x="192" y="1858"/>
                  </a:lnTo>
                  <a:lnTo>
                    <a:pt x="194" y="1854"/>
                  </a:lnTo>
                  <a:lnTo>
                    <a:pt x="196" y="1850"/>
                  </a:lnTo>
                  <a:lnTo>
                    <a:pt x="196" y="1848"/>
                  </a:lnTo>
                  <a:lnTo>
                    <a:pt x="196" y="1850"/>
                  </a:lnTo>
                  <a:lnTo>
                    <a:pt x="200" y="1858"/>
                  </a:lnTo>
                  <a:lnTo>
                    <a:pt x="202" y="1858"/>
                  </a:lnTo>
                  <a:lnTo>
                    <a:pt x="204" y="1856"/>
                  </a:lnTo>
                  <a:lnTo>
                    <a:pt x="204" y="1850"/>
                  </a:lnTo>
                  <a:lnTo>
                    <a:pt x="202" y="1844"/>
                  </a:lnTo>
                  <a:lnTo>
                    <a:pt x="198" y="1840"/>
                  </a:lnTo>
                  <a:lnTo>
                    <a:pt x="196" y="1838"/>
                  </a:lnTo>
                  <a:lnTo>
                    <a:pt x="194" y="1838"/>
                  </a:lnTo>
                  <a:lnTo>
                    <a:pt x="186" y="1840"/>
                  </a:lnTo>
                  <a:lnTo>
                    <a:pt x="184" y="1840"/>
                  </a:lnTo>
                  <a:lnTo>
                    <a:pt x="186" y="1838"/>
                  </a:lnTo>
                  <a:lnTo>
                    <a:pt x="192" y="1834"/>
                  </a:lnTo>
                  <a:lnTo>
                    <a:pt x="194" y="1832"/>
                  </a:lnTo>
                  <a:lnTo>
                    <a:pt x="192" y="1828"/>
                  </a:lnTo>
                  <a:lnTo>
                    <a:pt x="190" y="1828"/>
                  </a:lnTo>
                  <a:lnTo>
                    <a:pt x="186" y="1826"/>
                  </a:lnTo>
                  <a:lnTo>
                    <a:pt x="182" y="1820"/>
                  </a:lnTo>
                  <a:lnTo>
                    <a:pt x="176" y="1808"/>
                  </a:lnTo>
                  <a:lnTo>
                    <a:pt x="174" y="1806"/>
                  </a:lnTo>
                  <a:lnTo>
                    <a:pt x="172" y="1804"/>
                  </a:lnTo>
                  <a:lnTo>
                    <a:pt x="164" y="1806"/>
                  </a:lnTo>
                  <a:lnTo>
                    <a:pt x="156" y="1808"/>
                  </a:lnTo>
                  <a:lnTo>
                    <a:pt x="148" y="1808"/>
                  </a:lnTo>
                  <a:lnTo>
                    <a:pt x="142" y="1810"/>
                  </a:lnTo>
                  <a:lnTo>
                    <a:pt x="140" y="1812"/>
                  </a:lnTo>
                  <a:lnTo>
                    <a:pt x="138" y="1814"/>
                  </a:lnTo>
                  <a:lnTo>
                    <a:pt x="130" y="1816"/>
                  </a:lnTo>
                  <a:lnTo>
                    <a:pt x="126" y="1818"/>
                  </a:lnTo>
                  <a:lnTo>
                    <a:pt x="124" y="1822"/>
                  </a:lnTo>
                  <a:lnTo>
                    <a:pt x="122" y="1828"/>
                  </a:lnTo>
                  <a:lnTo>
                    <a:pt x="120" y="1834"/>
                  </a:lnTo>
                  <a:lnTo>
                    <a:pt x="116" y="1836"/>
                  </a:lnTo>
                  <a:lnTo>
                    <a:pt x="112" y="1836"/>
                  </a:lnTo>
                  <a:lnTo>
                    <a:pt x="116" y="1836"/>
                  </a:lnTo>
                  <a:lnTo>
                    <a:pt x="120" y="1832"/>
                  </a:lnTo>
                  <a:lnTo>
                    <a:pt x="122" y="1826"/>
                  </a:lnTo>
                  <a:lnTo>
                    <a:pt x="124" y="1818"/>
                  </a:lnTo>
                  <a:lnTo>
                    <a:pt x="128" y="1816"/>
                  </a:lnTo>
                  <a:lnTo>
                    <a:pt x="132" y="1814"/>
                  </a:lnTo>
                  <a:lnTo>
                    <a:pt x="132" y="1810"/>
                  </a:lnTo>
                  <a:lnTo>
                    <a:pt x="134" y="1808"/>
                  </a:lnTo>
                  <a:lnTo>
                    <a:pt x="138" y="1806"/>
                  </a:lnTo>
                  <a:lnTo>
                    <a:pt x="140" y="1804"/>
                  </a:lnTo>
                  <a:lnTo>
                    <a:pt x="134" y="1798"/>
                  </a:lnTo>
                  <a:lnTo>
                    <a:pt x="130" y="1796"/>
                  </a:lnTo>
                  <a:lnTo>
                    <a:pt x="126" y="1796"/>
                  </a:lnTo>
                  <a:lnTo>
                    <a:pt x="124" y="1798"/>
                  </a:lnTo>
                  <a:lnTo>
                    <a:pt x="122" y="1800"/>
                  </a:lnTo>
                  <a:lnTo>
                    <a:pt x="118" y="1804"/>
                  </a:lnTo>
                  <a:lnTo>
                    <a:pt x="116" y="1804"/>
                  </a:lnTo>
                  <a:lnTo>
                    <a:pt x="112" y="1804"/>
                  </a:lnTo>
                  <a:lnTo>
                    <a:pt x="104" y="1806"/>
                  </a:lnTo>
                  <a:lnTo>
                    <a:pt x="94" y="1810"/>
                  </a:lnTo>
                  <a:lnTo>
                    <a:pt x="86" y="1816"/>
                  </a:lnTo>
                  <a:lnTo>
                    <a:pt x="84" y="1820"/>
                  </a:lnTo>
                  <a:lnTo>
                    <a:pt x="84" y="1824"/>
                  </a:lnTo>
                  <a:lnTo>
                    <a:pt x="84" y="1828"/>
                  </a:lnTo>
                  <a:lnTo>
                    <a:pt x="82" y="1830"/>
                  </a:lnTo>
                  <a:lnTo>
                    <a:pt x="76" y="1834"/>
                  </a:lnTo>
                  <a:lnTo>
                    <a:pt x="70" y="1836"/>
                  </a:lnTo>
                  <a:lnTo>
                    <a:pt x="68" y="1838"/>
                  </a:lnTo>
                  <a:lnTo>
                    <a:pt x="68" y="1840"/>
                  </a:lnTo>
                  <a:lnTo>
                    <a:pt x="70" y="1842"/>
                  </a:lnTo>
                  <a:lnTo>
                    <a:pt x="76" y="1842"/>
                  </a:lnTo>
                  <a:lnTo>
                    <a:pt x="86" y="1842"/>
                  </a:lnTo>
                  <a:lnTo>
                    <a:pt x="94" y="1844"/>
                  </a:lnTo>
                  <a:lnTo>
                    <a:pt x="94" y="1846"/>
                  </a:lnTo>
                  <a:lnTo>
                    <a:pt x="90" y="1848"/>
                  </a:lnTo>
                  <a:lnTo>
                    <a:pt x="82" y="1856"/>
                  </a:lnTo>
                  <a:lnTo>
                    <a:pt x="78" y="1862"/>
                  </a:lnTo>
                  <a:lnTo>
                    <a:pt x="74" y="1866"/>
                  </a:lnTo>
                  <a:lnTo>
                    <a:pt x="70" y="1866"/>
                  </a:lnTo>
                  <a:lnTo>
                    <a:pt x="62" y="1864"/>
                  </a:lnTo>
                  <a:lnTo>
                    <a:pt x="58" y="1866"/>
                  </a:lnTo>
                  <a:lnTo>
                    <a:pt x="54" y="1866"/>
                  </a:lnTo>
                  <a:lnTo>
                    <a:pt x="48" y="1864"/>
                  </a:lnTo>
                  <a:lnTo>
                    <a:pt x="40" y="1860"/>
                  </a:lnTo>
                  <a:lnTo>
                    <a:pt x="30" y="1860"/>
                  </a:lnTo>
                  <a:lnTo>
                    <a:pt x="22" y="1862"/>
                  </a:lnTo>
                  <a:lnTo>
                    <a:pt x="14" y="1868"/>
                  </a:lnTo>
                  <a:lnTo>
                    <a:pt x="14" y="1870"/>
                  </a:lnTo>
                  <a:lnTo>
                    <a:pt x="18" y="1870"/>
                  </a:lnTo>
                  <a:lnTo>
                    <a:pt x="20" y="1870"/>
                  </a:lnTo>
                  <a:lnTo>
                    <a:pt x="20" y="1872"/>
                  </a:lnTo>
                  <a:lnTo>
                    <a:pt x="20" y="1874"/>
                  </a:lnTo>
                  <a:lnTo>
                    <a:pt x="18" y="1878"/>
                  </a:lnTo>
                  <a:lnTo>
                    <a:pt x="16" y="1884"/>
                  </a:lnTo>
                  <a:lnTo>
                    <a:pt x="18" y="1886"/>
                  </a:lnTo>
                  <a:lnTo>
                    <a:pt x="22" y="1888"/>
                  </a:lnTo>
                  <a:lnTo>
                    <a:pt x="28" y="1888"/>
                  </a:lnTo>
                  <a:lnTo>
                    <a:pt x="38" y="1888"/>
                  </a:lnTo>
                  <a:lnTo>
                    <a:pt x="38" y="1890"/>
                  </a:lnTo>
                  <a:lnTo>
                    <a:pt x="34" y="1892"/>
                  </a:lnTo>
                  <a:lnTo>
                    <a:pt x="24" y="1898"/>
                  </a:lnTo>
                  <a:lnTo>
                    <a:pt x="22" y="1900"/>
                  </a:lnTo>
                  <a:lnTo>
                    <a:pt x="20" y="1904"/>
                  </a:lnTo>
                  <a:lnTo>
                    <a:pt x="16" y="1908"/>
                  </a:lnTo>
                  <a:lnTo>
                    <a:pt x="14" y="1912"/>
                  </a:lnTo>
                  <a:lnTo>
                    <a:pt x="16" y="1914"/>
                  </a:lnTo>
                  <a:lnTo>
                    <a:pt x="24" y="1922"/>
                  </a:lnTo>
                  <a:lnTo>
                    <a:pt x="36" y="1928"/>
                  </a:lnTo>
                  <a:lnTo>
                    <a:pt x="40" y="1928"/>
                  </a:lnTo>
                  <a:lnTo>
                    <a:pt x="44" y="1928"/>
                  </a:lnTo>
                  <a:lnTo>
                    <a:pt x="52" y="1926"/>
                  </a:lnTo>
                  <a:lnTo>
                    <a:pt x="58" y="1928"/>
                  </a:lnTo>
                  <a:lnTo>
                    <a:pt x="60" y="1928"/>
                  </a:lnTo>
                  <a:lnTo>
                    <a:pt x="60" y="1930"/>
                  </a:lnTo>
                  <a:lnTo>
                    <a:pt x="50" y="1934"/>
                  </a:lnTo>
                  <a:lnTo>
                    <a:pt x="44" y="1936"/>
                  </a:lnTo>
                  <a:lnTo>
                    <a:pt x="42" y="1938"/>
                  </a:lnTo>
                  <a:lnTo>
                    <a:pt x="42" y="1940"/>
                  </a:lnTo>
                  <a:lnTo>
                    <a:pt x="42" y="1944"/>
                  </a:lnTo>
                  <a:lnTo>
                    <a:pt x="42" y="1948"/>
                  </a:lnTo>
                  <a:lnTo>
                    <a:pt x="40" y="1952"/>
                  </a:lnTo>
                  <a:lnTo>
                    <a:pt x="36" y="1956"/>
                  </a:lnTo>
                  <a:lnTo>
                    <a:pt x="28" y="1962"/>
                  </a:lnTo>
                  <a:lnTo>
                    <a:pt x="22" y="1966"/>
                  </a:lnTo>
                  <a:lnTo>
                    <a:pt x="22" y="1968"/>
                  </a:lnTo>
                  <a:lnTo>
                    <a:pt x="26" y="1968"/>
                  </a:lnTo>
                  <a:lnTo>
                    <a:pt x="30" y="1968"/>
                  </a:lnTo>
                  <a:lnTo>
                    <a:pt x="58" y="1960"/>
                  </a:lnTo>
                  <a:lnTo>
                    <a:pt x="64" y="1960"/>
                  </a:lnTo>
                  <a:lnTo>
                    <a:pt x="66" y="1960"/>
                  </a:lnTo>
                  <a:lnTo>
                    <a:pt x="66" y="1962"/>
                  </a:lnTo>
                  <a:lnTo>
                    <a:pt x="66" y="1964"/>
                  </a:lnTo>
                  <a:lnTo>
                    <a:pt x="62" y="1966"/>
                  </a:lnTo>
                  <a:lnTo>
                    <a:pt x="50" y="1968"/>
                  </a:lnTo>
                  <a:lnTo>
                    <a:pt x="36" y="1970"/>
                  </a:lnTo>
                  <a:lnTo>
                    <a:pt x="28" y="1974"/>
                  </a:lnTo>
                  <a:lnTo>
                    <a:pt x="24" y="1978"/>
                  </a:lnTo>
                  <a:lnTo>
                    <a:pt x="26" y="1982"/>
                  </a:lnTo>
                  <a:lnTo>
                    <a:pt x="28" y="1984"/>
                  </a:lnTo>
                  <a:lnTo>
                    <a:pt x="26" y="1986"/>
                  </a:lnTo>
                  <a:lnTo>
                    <a:pt x="22" y="1984"/>
                  </a:lnTo>
                  <a:lnTo>
                    <a:pt x="14" y="1984"/>
                  </a:lnTo>
                  <a:lnTo>
                    <a:pt x="10" y="1986"/>
                  </a:lnTo>
                  <a:lnTo>
                    <a:pt x="4" y="1988"/>
                  </a:lnTo>
                  <a:lnTo>
                    <a:pt x="0" y="1994"/>
                  </a:lnTo>
                  <a:lnTo>
                    <a:pt x="0" y="1996"/>
                  </a:lnTo>
                  <a:lnTo>
                    <a:pt x="2" y="1996"/>
                  </a:lnTo>
                  <a:lnTo>
                    <a:pt x="6" y="1996"/>
                  </a:lnTo>
                  <a:lnTo>
                    <a:pt x="10" y="1996"/>
                  </a:lnTo>
                  <a:lnTo>
                    <a:pt x="14" y="1996"/>
                  </a:lnTo>
                  <a:lnTo>
                    <a:pt x="14" y="2000"/>
                  </a:lnTo>
                  <a:lnTo>
                    <a:pt x="10" y="2004"/>
                  </a:lnTo>
                  <a:lnTo>
                    <a:pt x="6" y="2010"/>
                  </a:lnTo>
                  <a:lnTo>
                    <a:pt x="4" y="2012"/>
                  </a:lnTo>
                  <a:lnTo>
                    <a:pt x="8" y="2014"/>
                  </a:lnTo>
                  <a:lnTo>
                    <a:pt x="12" y="2016"/>
                  </a:lnTo>
                  <a:lnTo>
                    <a:pt x="18" y="2018"/>
                  </a:lnTo>
                  <a:lnTo>
                    <a:pt x="20" y="2020"/>
                  </a:lnTo>
                  <a:lnTo>
                    <a:pt x="16" y="2024"/>
                  </a:lnTo>
                  <a:lnTo>
                    <a:pt x="14" y="2026"/>
                  </a:lnTo>
                  <a:lnTo>
                    <a:pt x="16" y="2026"/>
                  </a:lnTo>
                  <a:lnTo>
                    <a:pt x="28" y="2022"/>
                  </a:lnTo>
                  <a:lnTo>
                    <a:pt x="36" y="2020"/>
                  </a:lnTo>
                  <a:lnTo>
                    <a:pt x="36" y="2022"/>
                  </a:lnTo>
                  <a:lnTo>
                    <a:pt x="30" y="2026"/>
                  </a:lnTo>
                  <a:lnTo>
                    <a:pt x="28" y="2030"/>
                  </a:lnTo>
                  <a:lnTo>
                    <a:pt x="28" y="2032"/>
                  </a:lnTo>
                  <a:lnTo>
                    <a:pt x="30" y="2034"/>
                  </a:lnTo>
                  <a:lnTo>
                    <a:pt x="38" y="2034"/>
                  </a:lnTo>
                  <a:lnTo>
                    <a:pt x="48" y="2032"/>
                  </a:lnTo>
                  <a:lnTo>
                    <a:pt x="70" y="2028"/>
                  </a:lnTo>
                  <a:lnTo>
                    <a:pt x="78" y="2024"/>
                  </a:lnTo>
                  <a:lnTo>
                    <a:pt x="84" y="2020"/>
                  </a:lnTo>
                  <a:close/>
                  <a:moveTo>
                    <a:pt x="154" y="1672"/>
                  </a:moveTo>
                  <a:lnTo>
                    <a:pt x="154" y="1672"/>
                  </a:lnTo>
                  <a:lnTo>
                    <a:pt x="156" y="1672"/>
                  </a:lnTo>
                  <a:lnTo>
                    <a:pt x="158" y="1670"/>
                  </a:lnTo>
                  <a:lnTo>
                    <a:pt x="162" y="1672"/>
                  </a:lnTo>
                  <a:lnTo>
                    <a:pt x="162" y="1674"/>
                  </a:lnTo>
                  <a:lnTo>
                    <a:pt x="162" y="1676"/>
                  </a:lnTo>
                  <a:lnTo>
                    <a:pt x="162" y="1678"/>
                  </a:lnTo>
                  <a:lnTo>
                    <a:pt x="164" y="1682"/>
                  </a:lnTo>
                  <a:lnTo>
                    <a:pt x="168" y="1684"/>
                  </a:lnTo>
                  <a:lnTo>
                    <a:pt x="170" y="1684"/>
                  </a:lnTo>
                  <a:lnTo>
                    <a:pt x="174" y="1682"/>
                  </a:lnTo>
                  <a:lnTo>
                    <a:pt x="180" y="1682"/>
                  </a:lnTo>
                  <a:lnTo>
                    <a:pt x="182" y="1684"/>
                  </a:lnTo>
                  <a:lnTo>
                    <a:pt x="182" y="1688"/>
                  </a:lnTo>
                  <a:lnTo>
                    <a:pt x="180" y="1692"/>
                  </a:lnTo>
                  <a:lnTo>
                    <a:pt x="180" y="1694"/>
                  </a:lnTo>
                  <a:lnTo>
                    <a:pt x="182" y="1692"/>
                  </a:lnTo>
                  <a:lnTo>
                    <a:pt x="186" y="1688"/>
                  </a:lnTo>
                  <a:lnTo>
                    <a:pt x="192" y="1678"/>
                  </a:lnTo>
                  <a:lnTo>
                    <a:pt x="192" y="1676"/>
                  </a:lnTo>
                  <a:lnTo>
                    <a:pt x="190" y="1676"/>
                  </a:lnTo>
                  <a:lnTo>
                    <a:pt x="184" y="1678"/>
                  </a:lnTo>
                  <a:lnTo>
                    <a:pt x="180" y="1676"/>
                  </a:lnTo>
                  <a:lnTo>
                    <a:pt x="178" y="1674"/>
                  </a:lnTo>
                  <a:lnTo>
                    <a:pt x="176" y="1672"/>
                  </a:lnTo>
                  <a:lnTo>
                    <a:pt x="174" y="1662"/>
                  </a:lnTo>
                  <a:lnTo>
                    <a:pt x="172" y="1654"/>
                  </a:lnTo>
                  <a:lnTo>
                    <a:pt x="170" y="1652"/>
                  </a:lnTo>
                  <a:lnTo>
                    <a:pt x="168" y="1650"/>
                  </a:lnTo>
                  <a:lnTo>
                    <a:pt x="166" y="1650"/>
                  </a:lnTo>
                  <a:lnTo>
                    <a:pt x="166" y="1652"/>
                  </a:lnTo>
                  <a:lnTo>
                    <a:pt x="166" y="1656"/>
                  </a:lnTo>
                  <a:lnTo>
                    <a:pt x="166" y="1662"/>
                  </a:lnTo>
                  <a:lnTo>
                    <a:pt x="166" y="1664"/>
                  </a:lnTo>
                  <a:lnTo>
                    <a:pt x="162" y="1664"/>
                  </a:lnTo>
                  <a:lnTo>
                    <a:pt x="160" y="1660"/>
                  </a:lnTo>
                  <a:lnTo>
                    <a:pt x="158" y="1658"/>
                  </a:lnTo>
                  <a:lnTo>
                    <a:pt x="154" y="1656"/>
                  </a:lnTo>
                  <a:lnTo>
                    <a:pt x="154" y="1658"/>
                  </a:lnTo>
                  <a:lnTo>
                    <a:pt x="154" y="1660"/>
                  </a:lnTo>
                  <a:lnTo>
                    <a:pt x="156" y="1664"/>
                  </a:lnTo>
                  <a:lnTo>
                    <a:pt x="154" y="1666"/>
                  </a:lnTo>
                  <a:lnTo>
                    <a:pt x="150" y="1666"/>
                  </a:lnTo>
                  <a:lnTo>
                    <a:pt x="150" y="1668"/>
                  </a:lnTo>
                  <a:lnTo>
                    <a:pt x="154" y="1672"/>
                  </a:lnTo>
                  <a:close/>
                  <a:moveTo>
                    <a:pt x="146" y="1346"/>
                  </a:moveTo>
                  <a:lnTo>
                    <a:pt x="146" y="1346"/>
                  </a:lnTo>
                  <a:lnTo>
                    <a:pt x="142" y="1346"/>
                  </a:lnTo>
                  <a:lnTo>
                    <a:pt x="144" y="1352"/>
                  </a:lnTo>
                  <a:lnTo>
                    <a:pt x="148" y="1358"/>
                  </a:lnTo>
                  <a:lnTo>
                    <a:pt x="154" y="1362"/>
                  </a:lnTo>
                  <a:lnTo>
                    <a:pt x="158" y="1364"/>
                  </a:lnTo>
                  <a:lnTo>
                    <a:pt x="160" y="1364"/>
                  </a:lnTo>
                  <a:lnTo>
                    <a:pt x="162" y="1362"/>
                  </a:lnTo>
                  <a:lnTo>
                    <a:pt x="160" y="1360"/>
                  </a:lnTo>
                  <a:lnTo>
                    <a:pt x="158" y="1358"/>
                  </a:lnTo>
                  <a:lnTo>
                    <a:pt x="160" y="1358"/>
                  </a:lnTo>
                  <a:lnTo>
                    <a:pt x="160" y="1356"/>
                  </a:lnTo>
                  <a:lnTo>
                    <a:pt x="158" y="1356"/>
                  </a:lnTo>
                  <a:lnTo>
                    <a:pt x="154" y="1354"/>
                  </a:lnTo>
                  <a:lnTo>
                    <a:pt x="154" y="1352"/>
                  </a:lnTo>
                  <a:lnTo>
                    <a:pt x="154" y="1350"/>
                  </a:lnTo>
                  <a:lnTo>
                    <a:pt x="152" y="1350"/>
                  </a:lnTo>
                  <a:lnTo>
                    <a:pt x="148" y="1350"/>
                  </a:lnTo>
                  <a:lnTo>
                    <a:pt x="148" y="1348"/>
                  </a:lnTo>
                  <a:lnTo>
                    <a:pt x="148" y="1346"/>
                  </a:lnTo>
                  <a:lnTo>
                    <a:pt x="146" y="1346"/>
                  </a:lnTo>
                  <a:close/>
                  <a:moveTo>
                    <a:pt x="166" y="1740"/>
                  </a:moveTo>
                  <a:lnTo>
                    <a:pt x="166" y="1740"/>
                  </a:lnTo>
                  <a:lnTo>
                    <a:pt x="166" y="1742"/>
                  </a:lnTo>
                  <a:lnTo>
                    <a:pt x="168" y="1742"/>
                  </a:lnTo>
                  <a:lnTo>
                    <a:pt x="174" y="1740"/>
                  </a:lnTo>
                  <a:lnTo>
                    <a:pt x="188" y="1736"/>
                  </a:lnTo>
                  <a:lnTo>
                    <a:pt x="194" y="1734"/>
                  </a:lnTo>
                  <a:lnTo>
                    <a:pt x="192" y="1732"/>
                  </a:lnTo>
                  <a:lnTo>
                    <a:pt x="190" y="1728"/>
                  </a:lnTo>
                  <a:lnTo>
                    <a:pt x="184" y="1724"/>
                  </a:lnTo>
                  <a:lnTo>
                    <a:pt x="178" y="1722"/>
                  </a:lnTo>
                  <a:lnTo>
                    <a:pt x="176" y="1718"/>
                  </a:lnTo>
                  <a:lnTo>
                    <a:pt x="174" y="1718"/>
                  </a:lnTo>
                  <a:lnTo>
                    <a:pt x="170" y="1720"/>
                  </a:lnTo>
                  <a:lnTo>
                    <a:pt x="168" y="1722"/>
                  </a:lnTo>
                  <a:lnTo>
                    <a:pt x="166" y="1724"/>
                  </a:lnTo>
                  <a:lnTo>
                    <a:pt x="174" y="1728"/>
                  </a:lnTo>
                  <a:lnTo>
                    <a:pt x="176" y="1730"/>
                  </a:lnTo>
                  <a:lnTo>
                    <a:pt x="174" y="1730"/>
                  </a:lnTo>
                  <a:lnTo>
                    <a:pt x="172" y="1732"/>
                  </a:lnTo>
                  <a:lnTo>
                    <a:pt x="172" y="1734"/>
                  </a:lnTo>
                  <a:lnTo>
                    <a:pt x="172" y="1736"/>
                  </a:lnTo>
                  <a:lnTo>
                    <a:pt x="170" y="1736"/>
                  </a:lnTo>
                  <a:lnTo>
                    <a:pt x="168" y="1738"/>
                  </a:lnTo>
                  <a:lnTo>
                    <a:pt x="166" y="1740"/>
                  </a:lnTo>
                  <a:close/>
                  <a:moveTo>
                    <a:pt x="362" y="2084"/>
                  </a:moveTo>
                  <a:lnTo>
                    <a:pt x="362" y="2084"/>
                  </a:lnTo>
                  <a:lnTo>
                    <a:pt x="370" y="2088"/>
                  </a:lnTo>
                  <a:lnTo>
                    <a:pt x="376" y="2088"/>
                  </a:lnTo>
                  <a:lnTo>
                    <a:pt x="380" y="2086"/>
                  </a:lnTo>
                  <a:lnTo>
                    <a:pt x="378" y="2082"/>
                  </a:lnTo>
                  <a:lnTo>
                    <a:pt x="376" y="2080"/>
                  </a:lnTo>
                  <a:lnTo>
                    <a:pt x="372" y="2078"/>
                  </a:lnTo>
                  <a:lnTo>
                    <a:pt x="366" y="2080"/>
                  </a:lnTo>
                  <a:lnTo>
                    <a:pt x="362" y="2084"/>
                  </a:lnTo>
                  <a:close/>
                  <a:moveTo>
                    <a:pt x="174" y="1354"/>
                  </a:moveTo>
                  <a:lnTo>
                    <a:pt x="174" y="1354"/>
                  </a:lnTo>
                  <a:lnTo>
                    <a:pt x="176" y="1352"/>
                  </a:lnTo>
                  <a:lnTo>
                    <a:pt x="176" y="1350"/>
                  </a:lnTo>
                  <a:lnTo>
                    <a:pt x="174" y="1348"/>
                  </a:lnTo>
                  <a:lnTo>
                    <a:pt x="174" y="1350"/>
                  </a:lnTo>
                  <a:lnTo>
                    <a:pt x="172" y="1350"/>
                  </a:lnTo>
                  <a:lnTo>
                    <a:pt x="172" y="1352"/>
                  </a:lnTo>
                  <a:lnTo>
                    <a:pt x="174" y="1354"/>
                  </a:lnTo>
                  <a:close/>
                  <a:moveTo>
                    <a:pt x="168" y="1784"/>
                  </a:moveTo>
                  <a:lnTo>
                    <a:pt x="168" y="1784"/>
                  </a:lnTo>
                  <a:lnTo>
                    <a:pt x="170" y="1784"/>
                  </a:lnTo>
                  <a:lnTo>
                    <a:pt x="176" y="1780"/>
                  </a:lnTo>
                  <a:lnTo>
                    <a:pt x="178" y="1776"/>
                  </a:lnTo>
                  <a:lnTo>
                    <a:pt x="178" y="1772"/>
                  </a:lnTo>
                  <a:lnTo>
                    <a:pt x="176" y="1768"/>
                  </a:lnTo>
                  <a:lnTo>
                    <a:pt x="176" y="1764"/>
                  </a:lnTo>
                  <a:lnTo>
                    <a:pt x="176" y="1762"/>
                  </a:lnTo>
                  <a:lnTo>
                    <a:pt x="174" y="1762"/>
                  </a:lnTo>
                  <a:lnTo>
                    <a:pt x="172" y="1764"/>
                  </a:lnTo>
                  <a:lnTo>
                    <a:pt x="170" y="1766"/>
                  </a:lnTo>
                  <a:lnTo>
                    <a:pt x="168" y="1766"/>
                  </a:lnTo>
                  <a:lnTo>
                    <a:pt x="166" y="1764"/>
                  </a:lnTo>
                  <a:lnTo>
                    <a:pt x="166" y="1766"/>
                  </a:lnTo>
                  <a:lnTo>
                    <a:pt x="162" y="1768"/>
                  </a:lnTo>
                  <a:lnTo>
                    <a:pt x="158" y="1772"/>
                  </a:lnTo>
                  <a:lnTo>
                    <a:pt x="158" y="1774"/>
                  </a:lnTo>
                  <a:lnTo>
                    <a:pt x="160" y="1776"/>
                  </a:lnTo>
                  <a:lnTo>
                    <a:pt x="162" y="1776"/>
                  </a:lnTo>
                  <a:lnTo>
                    <a:pt x="166" y="1774"/>
                  </a:lnTo>
                  <a:lnTo>
                    <a:pt x="168" y="1774"/>
                  </a:lnTo>
                  <a:lnTo>
                    <a:pt x="170" y="1776"/>
                  </a:lnTo>
                  <a:lnTo>
                    <a:pt x="170" y="1778"/>
                  </a:lnTo>
                  <a:lnTo>
                    <a:pt x="168" y="1780"/>
                  </a:lnTo>
                  <a:lnTo>
                    <a:pt x="166" y="1782"/>
                  </a:lnTo>
                  <a:lnTo>
                    <a:pt x="168" y="1784"/>
                  </a:lnTo>
                  <a:close/>
                  <a:moveTo>
                    <a:pt x="190" y="1748"/>
                  </a:moveTo>
                  <a:lnTo>
                    <a:pt x="190" y="1748"/>
                  </a:lnTo>
                  <a:lnTo>
                    <a:pt x="186" y="1752"/>
                  </a:lnTo>
                  <a:lnTo>
                    <a:pt x="182" y="1756"/>
                  </a:lnTo>
                  <a:lnTo>
                    <a:pt x="178" y="1762"/>
                  </a:lnTo>
                  <a:lnTo>
                    <a:pt x="178" y="1768"/>
                  </a:lnTo>
                  <a:lnTo>
                    <a:pt x="180" y="1768"/>
                  </a:lnTo>
                  <a:lnTo>
                    <a:pt x="182" y="1766"/>
                  </a:lnTo>
                  <a:lnTo>
                    <a:pt x="188" y="1758"/>
                  </a:lnTo>
                  <a:lnTo>
                    <a:pt x="192" y="1750"/>
                  </a:lnTo>
                  <a:lnTo>
                    <a:pt x="192" y="1748"/>
                  </a:lnTo>
                  <a:lnTo>
                    <a:pt x="190" y="1748"/>
                  </a:lnTo>
                  <a:close/>
                  <a:moveTo>
                    <a:pt x="700" y="1324"/>
                  </a:moveTo>
                  <a:lnTo>
                    <a:pt x="700" y="1324"/>
                  </a:lnTo>
                  <a:lnTo>
                    <a:pt x="698" y="1322"/>
                  </a:lnTo>
                  <a:lnTo>
                    <a:pt x="694" y="1322"/>
                  </a:lnTo>
                  <a:lnTo>
                    <a:pt x="690" y="1324"/>
                  </a:lnTo>
                  <a:lnTo>
                    <a:pt x="690" y="1326"/>
                  </a:lnTo>
                  <a:lnTo>
                    <a:pt x="692" y="1326"/>
                  </a:lnTo>
                  <a:lnTo>
                    <a:pt x="696" y="1326"/>
                  </a:lnTo>
                  <a:lnTo>
                    <a:pt x="700" y="1326"/>
                  </a:lnTo>
                  <a:lnTo>
                    <a:pt x="700" y="1324"/>
                  </a:lnTo>
                  <a:close/>
                  <a:moveTo>
                    <a:pt x="494" y="1970"/>
                  </a:moveTo>
                  <a:lnTo>
                    <a:pt x="494" y="1970"/>
                  </a:lnTo>
                  <a:lnTo>
                    <a:pt x="492" y="1962"/>
                  </a:lnTo>
                  <a:lnTo>
                    <a:pt x="486" y="1954"/>
                  </a:lnTo>
                  <a:lnTo>
                    <a:pt x="478" y="1948"/>
                  </a:lnTo>
                  <a:lnTo>
                    <a:pt x="470" y="1944"/>
                  </a:lnTo>
                  <a:lnTo>
                    <a:pt x="460" y="1942"/>
                  </a:lnTo>
                  <a:lnTo>
                    <a:pt x="452" y="1942"/>
                  </a:lnTo>
                  <a:lnTo>
                    <a:pt x="446" y="1944"/>
                  </a:lnTo>
                  <a:lnTo>
                    <a:pt x="442" y="1948"/>
                  </a:lnTo>
                  <a:lnTo>
                    <a:pt x="438" y="1954"/>
                  </a:lnTo>
                  <a:lnTo>
                    <a:pt x="434" y="1954"/>
                  </a:lnTo>
                  <a:lnTo>
                    <a:pt x="432" y="1952"/>
                  </a:lnTo>
                  <a:lnTo>
                    <a:pt x="428" y="1950"/>
                  </a:lnTo>
                  <a:lnTo>
                    <a:pt x="424" y="1948"/>
                  </a:lnTo>
                  <a:lnTo>
                    <a:pt x="424" y="1946"/>
                  </a:lnTo>
                  <a:lnTo>
                    <a:pt x="428" y="1942"/>
                  </a:lnTo>
                  <a:lnTo>
                    <a:pt x="434" y="1938"/>
                  </a:lnTo>
                  <a:lnTo>
                    <a:pt x="436" y="1936"/>
                  </a:lnTo>
                  <a:lnTo>
                    <a:pt x="438" y="1932"/>
                  </a:lnTo>
                  <a:lnTo>
                    <a:pt x="434" y="1924"/>
                  </a:lnTo>
                  <a:lnTo>
                    <a:pt x="428" y="1914"/>
                  </a:lnTo>
                  <a:lnTo>
                    <a:pt x="418" y="1906"/>
                  </a:lnTo>
                  <a:lnTo>
                    <a:pt x="410" y="1902"/>
                  </a:lnTo>
                  <a:lnTo>
                    <a:pt x="408" y="1898"/>
                  </a:lnTo>
                  <a:lnTo>
                    <a:pt x="410" y="1898"/>
                  </a:lnTo>
                  <a:lnTo>
                    <a:pt x="418" y="1902"/>
                  </a:lnTo>
                  <a:lnTo>
                    <a:pt x="424" y="1906"/>
                  </a:lnTo>
                  <a:lnTo>
                    <a:pt x="428" y="1906"/>
                  </a:lnTo>
                  <a:lnTo>
                    <a:pt x="430" y="1904"/>
                  </a:lnTo>
                  <a:lnTo>
                    <a:pt x="428" y="1902"/>
                  </a:lnTo>
                  <a:lnTo>
                    <a:pt x="422" y="1894"/>
                  </a:lnTo>
                  <a:lnTo>
                    <a:pt x="418" y="1888"/>
                  </a:lnTo>
                  <a:lnTo>
                    <a:pt x="416" y="1884"/>
                  </a:lnTo>
                  <a:lnTo>
                    <a:pt x="416" y="1876"/>
                  </a:lnTo>
                  <a:lnTo>
                    <a:pt x="416" y="1872"/>
                  </a:lnTo>
                  <a:lnTo>
                    <a:pt x="416" y="1870"/>
                  </a:lnTo>
                  <a:lnTo>
                    <a:pt x="412" y="1868"/>
                  </a:lnTo>
                  <a:lnTo>
                    <a:pt x="408" y="1866"/>
                  </a:lnTo>
                  <a:lnTo>
                    <a:pt x="406" y="1864"/>
                  </a:lnTo>
                  <a:lnTo>
                    <a:pt x="404" y="1858"/>
                  </a:lnTo>
                  <a:lnTo>
                    <a:pt x="400" y="1852"/>
                  </a:lnTo>
                  <a:lnTo>
                    <a:pt x="396" y="1850"/>
                  </a:lnTo>
                  <a:lnTo>
                    <a:pt x="390" y="1848"/>
                  </a:lnTo>
                  <a:lnTo>
                    <a:pt x="380" y="1844"/>
                  </a:lnTo>
                  <a:lnTo>
                    <a:pt x="376" y="1842"/>
                  </a:lnTo>
                  <a:lnTo>
                    <a:pt x="372" y="1836"/>
                  </a:lnTo>
                  <a:lnTo>
                    <a:pt x="366" y="1822"/>
                  </a:lnTo>
                  <a:lnTo>
                    <a:pt x="360" y="1806"/>
                  </a:lnTo>
                  <a:lnTo>
                    <a:pt x="358" y="1794"/>
                  </a:lnTo>
                  <a:lnTo>
                    <a:pt x="356" y="1786"/>
                  </a:lnTo>
                  <a:lnTo>
                    <a:pt x="354" y="1782"/>
                  </a:lnTo>
                  <a:lnTo>
                    <a:pt x="352" y="1780"/>
                  </a:lnTo>
                  <a:lnTo>
                    <a:pt x="346" y="1774"/>
                  </a:lnTo>
                  <a:lnTo>
                    <a:pt x="342" y="1768"/>
                  </a:lnTo>
                  <a:lnTo>
                    <a:pt x="336" y="1762"/>
                  </a:lnTo>
                  <a:lnTo>
                    <a:pt x="322" y="1756"/>
                  </a:lnTo>
                  <a:lnTo>
                    <a:pt x="314" y="1754"/>
                  </a:lnTo>
                  <a:lnTo>
                    <a:pt x="310" y="1754"/>
                  </a:lnTo>
                  <a:lnTo>
                    <a:pt x="308" y="1754"/>
                  </a:lnTo>
                  <a:lnTo>
                    <a:pt x="306" y="1756"/>
                  </a:lnTo>
                  <a:lnTo>
                    <a:pt x="302" y="1758"/>
                  </a:lnTo>
                  <a:lnTo>
                    <a:pt x="298" y="1760"/>
                  </a:lnTo>
                  <a:lnTo>
                    <a:pt x="290" y="1758"/>
                  </a:lnTo>
                  <a:lnTo>
                    <a:pt x="286" y="1758"/>
                  </a:lnTo>
                  <a:lnTo>
                    <a:pt x="288" y="1756"/>
                  </a:lnTo>
                  <a:lnTo>
                    <a:pt x="294" y="1754"/>
                  </a:lnTo>
                  <a:lnTo>
                    <a:pt x="300" y="1748"/>
                  </a:lnTo>
                  <a:lnTo>
                    <a:pt x="302" y="1746"/>
                  </a:lnTo>
                  <a:lnTo>
                    <a:pt x="304" y="1746"/>
                  </a:lnTo>
                  <a:lnTo>
                    <a:pt x="308" y="1746"/>
                  </a:lnTo>
                  <a:lnTo>
                    <a:pt x="316" y="1742"/>
                  </a:lnTo>
                  <a:lnTo>
                    <a:pt x="318" y="1742"/>
                  </a:lnTo>
                  <a:lnTo>
                    <a:pt x="318" y="1740"/>
                  </a:lnTo>
                  <a:lnTo>
                    <a:pt x="316" y="1738"/>
                  </a:lnTo>
                  <a:lnTo>
                    <a:pt x="310" y="1736"/>
                  </a:lnTo>
                  <a:lnTo>
                    <a:pt x="308" y="1734"/>
                  </a:lnTo>
                  <a:lnTo>
                    <a:pt x="308" y="1730"/>
                  </a:lnTo>
                  <a:lnTo>
                    <a:pt x="304" y="1728"/>
                  </a:lnTo>
                  <a:lnTo>
                    <a:pt x="304" y="1726"/>
                  </a:lnTo>
                  <a:lnTo>
                    <a:pt x="306" y="1728"/>
                  </a:lnTo>
                  <a:lnTo>
                    <a:pt x="312" y="1728"/>
                  </a:lnTo>
                  <a:lnTo>
                    <a:pt x="314" y="1728"/>
                  </a:lnTo>
                  <a:lnTo>
                    <a:pt x="318" y="1726"/>
                  </a:lnTo>
                  <a:lnTo>
                    <a:pt x="326" y="1716"/>
                  </a:lnTo>
                  <a:lnTo>
                    <a:pt x="334" y="1696"/>
                  </a:lnTo>
                  <a:lnTo>
                    <a:pt x="342" y="1678"/>
                  </a:lnTo>
                  <a:lnTo>
                    <a:pt x="348" y="1668"/>
                  </a:lnTo>
                  <a:lnTo>
                    <a:pt x="350" y="1664"/>
                  </a:lnTo>
                  <a:lnTo>
                    <a:pt x="348" y="1656"/>
                  </a:lnTo>
                  <a:lnTo>
                    <a:pt x="346" y="1652"/>
                  </a:lnTo>
                  <a:lnTo>
                    <a:pt x="342" y="1650"/>
                  </a:lnTo>
                  <a:lnTo>
                    <a:pt x="332" y="1650"/>
                  </a:lnTo>
                  <a:lnTo>
                    <a:pt x="320" y="1650"/>
                  </a:lnTo>
                  <a:lnTo>
                    <a:pt x="302" y="1650"/>
                  </a:lnTo>
                  <a:lnTo>
                    <a:pt x="286" y="1650"/>
                  </a:lnTo>
                  <a:lnTo>
                    <a:pt x="274" y="1652"/>
                  </a:lnTo>
                  <a:lnTo>
                    <a:pt x="268" y="1656"/>
                  </a:lnTo>
                  <a:lnTo>
                    <a:pt x="262" y="1658"/>
                  </a:lnTo>
                  <a:lnTo>
                    <a:pt x="258" y="1658"/>
                  </a:lnTo>
                  <a:lnTo>
                    <a:pt x="258" y="1654"/>
                  </a:lnTo>
                  <a:lnTo>
                    <a:pt x="268" y="1644"/>
                  </a:lnTo>
                  <a:lnTo>
                    <a:pt x="270" y="1642"/>
                  </a:lnTo>
                  <a:lnTo>
                    <a:pt x="268" y="1642"/>
                  </a:lnTo>
                  <a:lnTo>
                    <a:pt x="264" y="1642"/>
                  </a:lnTo>
                  <a:lnTo>
                    <a:pt x="258" y="1642"/>
                  </a:lnTo>
                  <a:lnTo>
                    <a:pt x="260" y="1640"/>
                  </a:lnTo>
                  <a:lnTo>
                    <a:pt x="270" y="1632"/>
                  </a:lnTo>
                  <a:lnTo>
                    <a:pt x="284" y="1620"/>
                  </a:lnTo>
                  <a:lnTo>
                    <a:pt x="296" y="1608"/>
                  </a:lnTo>
                  <a:lnTo>
                    <a:pt x="300" y="1604"/>
                  </a:lnTo>
                  <a:lnTo>
                    <a:pt x="300" y="1600"/>
                  </a:lnTo>
                  <a:lnTo>
                    <a:pt x="298" y="1598"/>
                  </a:lnTo>
                  <a:lnTo>
                    <a:pt x="298" y="1596"/>
                  </a:lnTo>
                  <a:lnTo>
                    <a:pt x="300" y="1592"/>
                  </a:lnTo>
                  <a:lnTo>
                    <a:pt x="300" y="1590"/>
                  </a:lnTo>
                  <a:lnTo>
                    <a:pt x="292" y="1588"/>
                  </a:lnTo>
                  <a:lnTo>
                    <a:pt x="286" y="1588"/>
                  </a:lnTo>
                  <a:lnTo>
                    <a:pt x="284" y="1590"/>
                  </a:lnTo>
                  <a:lnTo>
                    <a:pt x="284" y="1592"/>
                  </a:lnTo>
                  <a:lnTo>
                    <a:pt x="280" y="1592"/>
                  </a:lnTo>
                  <a:lnTo>
                    <a:pt x="272" y="1592"/>
                  </a:lnTo>
                  <a:lnTo>
                    <a:pt x="262" y="1594"/>
                  </a:lnTo>
                  <a:lnTo>
                    <a:pt x="254" y="1596"/>
                  </a:lnTo>
                  <a:lnTo>
                    <a:pt x="246" y="1596"/>
                  </a:lnTo>
                  <a:lnTo>
                    <a:pt x="242" y="1594"/>
                  </a:lnTo>
                  <a:lnTo>
                    <a:pt x="238" y="1596"/>
                  </a:lnTo>
                  <a:lnTo>
                    <a:pt x="236" y="1596"/>
                  </a:lnTo>
                  <a:lnTo>
                    <a:pt x="232" y="1594"/>
                  </a:lnTo>
                  <a:lnTo>
                    <a:pt x="226" y="1592"/>
                  </a:lnTo>
                  <a:lnTo>
                    <a:pt x="222" y="1590"/>
                  </a:lnTo>
                  <a:lnTo>
                    <a:pt x="218" y="1594"/>
                  </a:lnTo>
                  <a:lnTo>
                    <a:pt x="218" y="1600"/>
                  </a:lnTo>
                  <a:lnTo>
                    <a:pt x="218" y="1602"/>
                  </a:lnTo>
                  <a:lnTo>
                    <a:pt x="218" y="1604"/>
                  </a:lnTo>
                  <a:lnTo>
                    <a:pt x="214" y="1606"/>
                  </a:lnTo>
                  <a:lnTo>
                    <a:pt x="212" y="1606"/>
                  </a:lnTo>
                  <a:lnTo>
                    <a:pt x="216" y="1612"/>
                  </a:lnTo>
                  <a:lnTo>
                    <a:pt x="218" y="1616"/>
                  </a:lnTo>
                  <a:lnTo>
                    <a:pt x="212" y="1616"/>
                  </a:lnTo>
                  <a:lnTo>
                    <a:pt x="206" y="1614"/>
                  </a:lnTo>
                  <a:lnTo>
                    <a:pt x="206" y="1618"/>
                  </a:lnTo>
                  <a:lnTo>
                    <a:pt x="210" y="1622"/>
                  </a:lnTo>
                  <a:lnTo>
                    <a:pt x="210" y="1624"/>
                  </a:lnTo>
                  <a:lnTo>
                    <a:pt x="210" y="1626"/>
                  </a:lnTo>
                  <a:lnTo>
                    <a:pt x="208" y="1626"/>
                  </a:lnTo>
                  <a:lnTo>
                    <a:pt x="204" y="1626"/>
                  </a:lnTo>
                  <a:lnTo>
                    <a:pt x="202" y="1626"/>
                  </a:lnTo>
                  <a:lnTo>
                    <a:pt x="204" y="1628"/>
                  </a:lnTo>
                  <a:lnTo>
                    <a:pt x="206" y="1632"/>
                  </a:lnTo>
                  <a:lnTo>
                    <a:pt x="206" y="1636"/>
                  </a:lnTo>
                  <a:lnTo>
                    <a:pt x="206" y="1638"/>
                  </a:lnTo>
                  <a:lnTo>
                    <a:pt x="202" y="1638"/>
                  </a:lnTo>
                  <a:lnTo>
                    <a:pt x="190" y="1638"/>
                  </a:lnTo>
                  <a:lnTo>
                    <a:pt x="188" y="1640"/>
                  </a:lnTo>
                  <a:lnTo>
                    <a:pt x="188" y="1646"/>
                  </a:lnTo>
                  <a:lnTo>
                    <a:pt x="190" y="1650"/>
                  </a:lnTo>
                  <a:lnTo>
                    <a:pt x="190" y="1654"/>
                  </a:lnTo>
                  <a:lnTo>
                    <a:pt x="188" y="1660"/>
                  </a:lnTo>
                  <a:lnTo>
                    <a:pt x="188" y="1668"/>
                  </a:lnTo>
                  <a:lnTo>
                    <a:pt x="188" y="1672"/>
                  </a:lnTo>
                  <a:lnTo>
                    <a:pt x="190" y="1674"/>
                  </a:lnTo>
                  <a:lnTo>
                    <a:pt x="194" y="1674"/>
                  </a:lnTo>
                  <a:lnTo>
                    <a:pt x="196" y="1676"/>
                  </a:lnTo>
                  <a:lnTo>
                    <a:pt x="194" y="1682"/>
                  </a:lnTo>
                  <a:lnTo>
                    <a:pt x="192" y="1686"/>
                  </a:lnTo>
                  <a:lnTo>
                    <a:pt x="190" y="1690"/>
                  </a:lnTo>
                  <a:lnTo>
                    <a:pt x="188" y="1690"/>
                  </a:lnTo>
                  <a:lnTo>
                    <a:pt x="190" y="1692"/>
                  </a:lnTo>
                  <a:lnTo>
                    <a:pt x="190" y="1694"/>
                  </a:lnTo>
                  <a:lnTo>
                    <a:pt x="190" y="1696"/>
                  </a:lnTo>
                  <a:lnTo>
                    <a:pt x="186" y="1698"/>
                  </a:lnTo>
                  <a:lnTo>
                    <a:pt x="184" y="1700"/>
                  </a:lnTo>
                  <a:lnTo>
                    <a:pt x="188" y="1702"/>
                  </a:lnTo>
                  <a:lnTo>
                    <a:pt x="188" y="1704"/>
                  </a:lnTo>
                  <a:lnTo>
                    <a:pt x="186" y="1706"/>
                  </a:lnTo>
                  <a:lnTo>
                    <a:pt x="182" y="1708"/>
                  </a:lnTo>
                  <a:lnTo>
                    <a:pt x="178" y="1708"/>
                  </a:lnTo>
                  <a:lnTo>
                    <a:pt x="174" y="1708"/>
                  </a:lnTo>
                  <a:lnTo>
                    <a:pt x="172" y="1710"/>
                  </a:lnTo>
                  <a:lnTo>
                    <a:pt x="172" y="1712"/>
                  </a:lnTo>
                  <a:lnTo>
                    <a:pt x="174" y="1714"/>
                  </a:lnTo>
                  <a:lnTo>
                    <a:pt x="182" y="1714"/>
                  </a:lnTo>
                  <a:lnTo>
                    <a:pt x="190" y="1712"/>
                  </a:lnTo>
                  <a:lnTo>
                    <a:pt x="192" y="1714"/>
                  </a:lnTo>
                  <a:lnTo>
                    <a:pt x="184" y="1716"/>
                  </a:lnTo>
                  <a:lnTo>
                    <a:pt x="180" y="1718"/>
                  </a:lnTo>
                  <a:lnTo>
                    <a:pt x="180" y="1720"/>
                  </a:lnTo>
                  <a:lnTo>
                    <a:pt x="184" y="1722"/>
                  </a:lnTo>
                  <a:lnTo>
                    <a:pt x="188" y="1722"/>
                  </a:lnTo>
                  <a:lnTo>
                    <a:pt x="190" y="1722"/>
                  </a:lnTo>
                  <a:lnTo>
                    <a:pt x="192" y="1724"/>
                  </a:lnTo>
                  <a:lnTo>
                    <a:pt x="196" y="1724"/>
                  </a:lnTo>
                  <a:lnTo>
                    <a:pt x="200" y="1720"/>
                  </a:lnTo>
                  <a:lnTo>
                    <a:pt x="208" y="1714"/>
                  </a:lnTo>
                  <a:lnTo>
                    <a:pt x="206" y="1720"/>
                  </a:lnTo>
                  <a:lnTo>
                    <a:pt x="202" y="1726"/>
                  </a:lnTo>
                  <a:lnTo>
                    <a:pt x="202" y="1730"/>
                  </a:lnTo>
                  <a:lnTo>
                    <a:pt x="202" y="1734"/>
                  </a:lnTo>
                  <a:lnTo>
                    <a:pt x="198" y="1738"/>
                  </a:lnTo>
                  <a:lnTo>
                    <a:pt x="196" y="1740"/>
                  </a:lnTo>
                  <a:lnTo>
                    <a:pt x="196" y="1744"/>
                  </a:lnTo>
                  <a:lnTo>
                    <a:pt x="198" y="1748"/>
                  </a:lnTo>
                  <a:lnTo>
                    <a:pt x="194" y="1754"/>
                  </a:lnTo>
                  <a:lnTo>
                    <a:pt x="192" y="1758"/>
                  </a:lnTo>
                  <a:lnTo>
                    <a:pt x="192" y="1762"/>
                  </a:lnTo>
                  <a:lnTo>
                    <a:pt x="194" y="1764"/>
                  </a:lnTo>
                  <a:lnTo>
                    <a:pt x="194" y="1768"/>
                  </a:lnTo>
                  <a:lnTo>
                    <a:pt x="194" y="1772"/>
                  </a:lnTo>
                  <a:lnTo>
                    <a:pt x="194" y="1774"/>
                  </a:lnTo>
                  <a:lnTo>
                    <a:pt x="200" y="1770"/>
                  </a:lnTo>
                  <a:lnTo>
                    <a:pt x="198" y="1774"/>
                  </a:lnTo>
                  <a:lnTo>
                    <a:pt x="194" y="1784"/>
                  </a:lnTo>
                  <a:lnTo>
                    <a:pt x="188" y="1794"/>
                  </a:lnTo>
                  <a:lnTo>
                    <a:pt x="188" y="1800"/>
                  </a:lnTo>
                  <a:lnTo>
                    <a:pt x="192" y="1802"/>
                  </a:lnTo>
                  <a:lnTo>
                    <a:pt x="194" y="1802"/>
                  </a:lnTo>
                  <a:lnTo>
                    <a:pt x="196" y="1800"/>
                  </a:lnTo>
                  <a:lnTo>
                    <a:pt x="198" y="1792"/>
                  </a:lnTo>
                  <a:lnTo>
                    <a:pt x="202" y="1780"/>
                  </a:lnTo>
                  <a:lnTo>
                    <a:pt x="204" y="1776"/>
                  </a:lnTo>
                  <a:lnTo>
                    <a:pt x="206" y="1772"/>
                  </a:lnTo>
                  <a:lnTo>
                    <a:pt x="208" y="1770"/>
                  </a:lnTo>
                  <a:lnTo>
                    <a:pt x="208" y="1768"/>
                  </a:lnTo>
                  <a:lnTo>
                    <a:pt x="204" y="1764"/>
                  </a:lnTo>
                  <a:lnTo>
                    <a:pt x="202" y="1760"/>
                  </a:lnTo>
                  <a:lnTo>
                    <a:pt x="204" y="1758"/>
                  </a:lnTo>
                  <a:lnTo>
                    <a:pt x="206" y="1756"/>
                  </a:lnTo>
                  <a:lnTo>
                    <a:pt x="210" y="1754"/>
                  </a:lnTo>
                  <a:lnTo>
                    <a:pt x="208" y="1756"/>
                  </a:lnTo>
                  <a:lnTo>
                    <a:pt x="208" y="1762"/>
                  </a:lnTo>
                  <a:lnTo>
                    <a:pt x="208" y="1764"/>
                  </a:lnTo>
                  <a:lnTo>
                    <a:pt x="210" y="1766"/>
                  </a:lnTo>
                  <a:lnTo>
                    <a:pt x="214" y="1766"/>
                  </a:lnTo>
                  <a:lnTo>
                    <a:pt x="216" y="1764"/>
                  </a:lnTo>
                  <a:lnTo>
                    <a:pt x="216" y="1762"/>
                  </a:lnTo>
                  <a:lnTo>
                    <a:pt x="220" y="1764"/>
                  </a:lnTo>
                  <a:lnTo>
                    <a:pt x="222" y="1764"/>
                  </a:lnTo>
                  <a:lnTo>
                    <a:pt x="224" y="1758"/>
                  </a:lnTo>
                  <a:lnTo>
                    <a:pt x="224" y="1756"/>
                  </a:lnTo>
                  <a:lnTo>
                    <a:pt x="228" y="1756"/>
                  </a:lnTo>
                  <a:lnTo>
                    <a:pt x="232" y="1758"/>
                  </a:lnTo>
                  <a:lnTo>
                    <a:pt x="238" y="1762"/>
                  </a:lnTo>
                  <a:lnTo>
                    <a:pt x="230" y="1764"/>
                  </a:lnTo>
                  <a:lnTo>
                    <a:pt x="224" y="1766"/>
                  </a:lnTo>
                  <a:lnTo>
                    <a:pt x="224" y="1768"/>
                  </a:lnTo>
                  <a:lnTo>
                    <a:pt x="224" y="1772"/>
                  </a:lnTo>
                  <a:lnTo>
                    <a:pt x="230" y="1780"/>
                  </a:lnTo>
                  <a:lnTo>
                    <a:pt x="234" y="1786"/>
                  </a:lnTo>
                  <a:lnTo>
                    <a:pt x="234" y="1790"/>
                  </a:lnTo>
                  <a:lnTo>
                    <a:pt x="234" y="1794"/>
                  </a:lnTo>
                  <a:lnTo>
                    <a:pt x="230" y="1798"/>
                  </a:lnTo>
                  <a:lnTo>
                    <a:pt x="224" y="1806"/>
                  </a:lnTo>
                  <a:lnTo>
                    <a:pt x="222" y="1810"/>
                  </a:lnTo>
                  <a:lnTo>
                    <a:pt x="220" y="1816"/>
                  </a:lnTo>
                  <a:lnTo>
                    <a:pt x="222" y="1822"/>
                  </a:lnTo>
                  <a:lnTo>
                    <a:pt x="220" y="1822"/>
                  </a:lnTo>
                  <a:lnTo>
                    <a:pt x="216" y="1818"/>
                  </a:lnTo>
                  <a:lnTo>
                    <a:pt x="214" y="1820"/>
                  </a:lnTo>
                  <a:lnTo>
                    <a:pt x="214" y="1822"/>
                  </a:lnTo>
                  <a:lnTo>
                    <a:pt x="214" y="1826"/>
                  </a:lnTo>
                  <a:lnTo>
                    <a:pt x="220" y="1834"/>
                  </a:lnTo>
                  <a:lnTo>
                    <a:pt x="224" y="1840"/>
                  </a:lnTo>
                  <a:lnTo>
                    <a:pt x="224" y="1838"/>
                  </a:lnTo>
                  <a:lnTo>
                    <a:pt x="224" y="1836"/>
                  </a:lnTo>
                  <a:lnTo>
                    <a:pt x="222" y="1830"/>
                  </a:lnTo>
                  <a:lnTo>
                    <a:pt x="224" y="1828"/>
                  </a:lnTo>
                  <a:lnTo>
                    <a:pt x="228" y="1828"/>
                  </a:lnTo>
                  <a:lnTo>
                    <a:pt x="234" y="1832"/>
                  </a:lnTo>
                  <a:lnTo>
                    <a:pt x="240" y="1838"/>
                  </a:lnTo>
                  <a:lnTo>
                    <a:pt x="244" y="1840"/>
                  </a:lnTo>
                  <a:lnTo>
                    <a:pt x="246" y="1838"/>
                  </a:lnTo>
                  <a:lnTo>
                    <a:pt x="246" y="1834"/>
                  </a:lnTo>
                  <a:lnTo>
                    <a:pt x="246" y="1828"/>
                  </a:lnTo>
                  <a:lnTo>
                    <a:pt x="246" y="1826"/>
                  </a:lnTo>
                  <a:lnTo>
                    <a:pt x="246" y="1828"/>
                  </a:lnTo>
                  <a:lnTo>
                    <a:pt x="252" y="1830"/>
                  </a:lnTo>
                  <a:lnTo>
                    <a:pt x="260" y="1834"/>
                  </a:lnTo>
                  <a:lnTo>
                    <a:pt x="264" y="1834"/>
                  </a:lnTo>
                  <a:lnTo>
                    <a:pt x="266" y="1830"/>
                  </a:lnTo>
                  <a:lnTo>
                    <a:pt x="270" y="1826"/>
                  </a:lnTo>
                  <a:lnTo>
                    <a:pt x="274" y="1826"/>
                  </a:lnTo>
                  <a:lnTo>
                    <a:pt x="276" y="1828"/>
                  </a:lnTo>
                  <a:lnTo>
                    <a:pt x="278" y="1824"/>
                  </a:lnTo>
                  <a:lnTo>
                    <a:pt x="282" y="1822"/>
                  </a:lnTo>
                  <a:lnTo>
                    <a:pt x="286" y="1820"/>
                  </a:lnTo>
                  <a:lnTo>
                    <a:pt x="292" y="1820"/>
                  </a:lnTo>
                  <a:lnTo>
                    <a:pt x="292" y="1822"/>
                  </a:lnTo>
                  <a:lnTo>
                    <a:pt x="288" y="1826"/>
                  </a:lnTo>
                  <a:lnTo>
                    <a:pt x="280" y="1838"/>
                  </a:lnTo>
                  <a:lnTo>
                    <a:pt x="276" y="1844"/>
                  </a:lnTo>
                  <a:lnTo>
                    <a:pt x="276" y="1850"/>
                  </a:lnTo>
                  <a:lnTo>
                    <a:pt x="276" y="1854"/>
                  </a:lnTo>
                  <a:lnTo>
                    <a:pt x="278" y="1858"/>
                  </a:lnTo>
                  <a:lnTo>
                    <a:pt x="286" y="1866"/>
                  </a:lnTo>
                  <a:lnTo>
                    <a:pt x="292" y="1872"/>
                  </a:lnTo>
                  <a:lnTo>
                    <a:pt x="294" y="1876"/>
                  </a:lnTo>
                  <a:lnTo>
                    <a:pt x="296" y="1874"/>
                  </a:lnTo>
                  <a:lnTo>
                    <a:pt x="300" y="1872"/>
                  </a:lnTo>
                  <a:lnTo>
                    <a:pt x="302" y="1870"/>
                  </a:lnTo>
                  <a:lnTo>
                    <a:pt x="304" y="1870"/>
                  </a:lnTo>
                  <a:lnTo>
                    <a:pt x="308" y="1870"/>
                  </a:lnTo>
                  <a:lnTo>
                    <a:pt x="308" y="1872"/>
                  </a:lnTo>
                  <a:lnTo>
                    <a:pt x="308" y="1874"/>
                  </a:lnTo>
                  <a:lnTo>
                    <a:pt x="306" y="1878"/>
                  </a:lnTo>
                  <a:lnTo>
                    <a:pt x="306" y="1880"/>
                  </a:lnTo>
                  <a:lnTo>
                    <a:pt x="306" y="1882"/>
                  </a:lnTo>
                  <a:lnTo>
                    <a:pt x="308" y="1882"/>
                  </a:lnTo>
                  <a:lnTo>
                    <a:pt x="306" y="1884"/>
                  </a:lnTo>
                  <a:lnTo>
                    <a:pt x="300" y="1888"/>
                  </a:lnTo>
                  <a:lnTo>
                    <a:pt x="298" y="1890"/>
                  </a:lnTo>
                  <a:lnTo>
                    <a:pt x="298" y="1892"/>
                  </a:lnTo>
                  <a:lnTo>
                    <a:pt x="298" y="1894"/>
                  </a:lnTo>
                  <a:lnTo>
                    <a:pt x="302" y="1896"/>
                  </a:lnTo>
                  <a:lnTo>
                    <a:pt x="304" y="1898"/>
                  </a:lnTo>
                  <a:lnTo>
                    <a:pt x="302" y="1900"/>
                  </a:lnTo>
                  <a:lnTo>
                    <a:pt x="300" y="1902"/>
                  </a:lnTo>
                  <a:lnTo>
                    <a:pt x="300" y="1906"/>
                  </a:lnTo>
                  <a:lnTo>
                    <a:pt x="300" y="1910"/>
                  </a:lnTo>
                  <a:lnTo>
                    <a:pt x="302" y="1916"/>
                  </a:lnTo>
                  <a:lnTo>
                    <a:pt x="308" y="1924"/>
                  </a:lnTo>
                  <a:lnTo>
                    <a:pt x="304" y="1922"/>
                  </a:lnTo>
                  <a:lnTo>
                    <a:pt x="300" y="1918"/>
                  </a:lnTo>
                  <a:lnTo>
                    <a:pt x="296" y="1916"/>
                  </a:lnTo>
                  <a:lnTo>
                    <a:pt x="294" y="1918"/>
                  </a:lnTo>
                  <a:lnTo>
                    <a:pt x="296" y="1922"/>
                  </a:lnTo>
                  <a:lnTo>
                    <a:pt x="298" y="1926"/>
                  </a:lnTo>
                  <a:lnTo>
                    <a:pt x="294" y="1924"/>
                  </a:lnTo>
                  <a:lnTo>
                    <a:pt x="290" y="1922"/>
                  </a:lnTo>
                  <a:lnTo>
                    <a:pt x="286" y="1922"/>
                  </a:lnTo>
                  <a:lnTo>
                    <a:pt x="282" y="1922"/>
                  </a:lnTo>
                  <a:lnTo>
                    <a:pt x="276" y="1924"/>
                  </a:lnTo>
                  <a:lnTo>
                    <a:pt x="272" y="1924"/>
                  </a:lnTo>
                  <a:lnTo>
                    <a:pt x="270" y="1922"/>
                  </a:lnTo>
                  <a:lnTo>
                    <a:pt x="266" y="1924"/>
                  </a:lnTo>
                  <a:lnTo>
                    <a:pt x="264" y="1926"/>
                  </a:lnTo>
                  <a:lnTo>
                    <a:pt x="260" y="1926"/>
                  </a:lnTo>
                  <a:lnTo>
                    <a:pt x="256" y="1928"/>
                  </a:lnTo>
                  <a:lnTo>
                    <a:pt x="252" y="1932"/>
                  </a:lnTo>
                  <a:lnTo>
                    <a:pt x="246" y="1940"/>
                  </a:lnTo>
                  <a:lnTo>
                    <a:pt x="240" y="1944"/>
                  </a:lnTo>
                  <a:lnTo>
                    <a:pt x="236" y="1946"/>
                  </a:lnTo>
                  <a:lnTo>
                    <a:pt x="232" y="1950"/>
                  </a:lnTo>
                  <a:lnTo>
                    <a:pt x="230" y="1956"/>
                  </a:lnTo>
                  <a:lnTo>
                    <a:pt x="234" y="1954"/>
                  </a:lnTo>
                  <a:lnTo>
                    <a:pt x="238" y="1954"/>
                  </a:lnTo>
                  <a:lnTo>
                    <a:pt x="240" y="1954"/>
                  </a:lnTo>
                  <a:lnTo>
                    <a:pt x="244" y="1952"/>
                  </a:lnTo>
                  <a:lnTo>
                    <a:pt x="252" y="1948"/>
                  </a:lnTo>
                  <a:lnTo>
                    <a:pt x="256" y="1946"/>
                  </a:lnTo>
                  <a:lnTo>
                    <a:pt x="258" y="1946"/>
                  </a:lnTo>
                  <a:lnTo>
                    <a:pt x="256" y="1948"/>
                  </a:lnTo>
                  <a:lnTo>
                    <a:pt x="256" y="1954"/>
                  </a:lnTo>
                  <a:lnTo>
                    <a:pt x="258" y="1954"/>
                  </a:lnTo>
                  <a:lnTo>
                    <a:pt x="260" y="1956"/>
                  </a:lnTo>
                  <a:lnTo>
                    <a:pt x="258" y="1960"/>
                  </a:lnTo>
                  <a:lnTo>
                    <a:pt x="256" y="1964"/>
                  </a:lnTo>
                  <a:lnTo>
                    <a:pt x="256" y="1968"/>
                  </a:lnTo>
                  <a:lnTo>
                    <a:pt x="258" y="1974"/>
                  </a:lnTo>
                  <a:lnTo>
                    <a:pt x="258" y="1978"/>
                  </a:lnTo>
                  <a:lnTo>
                    <a:pt x="256" y="1982"/>
                  </a:lnTo>
                  <a:lnTo>
                    <a:pt x="252" y="1986"/>
                  </a:lnTo>
                  <a:lnTo>
                    <a:pt x="246" y="1990"/>
                  </a:lnTo>
                  <a:lnTo>
                    <a:pt x="232" y="1998"/>
                  </a:lnTo>
                  <a:lnTo>
                    <a:pt x="222" y="2000"/>
                  </a:lnTo>
                  <a:lnTo>
                    <a:pt x="216" y="2000"/>
                  </a:lnTo>
                  <a:lnTo>
                    <a:pt x="210" y="2006"/>
                  </a:lnTo>
                  <a:lnTo>
                    <a:pt x="208" y="2008"/>
                  </a:lnTo>
                  <a:lnTo>
                    <a:pt x="208" y="2010"/>
                  </a:lnTo>
                  <a:lnTo>
                    <a:pt x="212" y="2012"/>
                  </a:lnTo>
                  <a:lnTo>
                    <a:pt x="216" y="2012"/>
                  </a:lnTo>
                  <a:lnTo>
                    <a:pt x="216" y="2014"/>
                  </a:lnTo>
                  <a:lnTo>
                    <a:pt x="214" y="2016"/>
                  </a:lnTo>
                  <a:lnTo>
                    <a:pt x="214" y="2020"/>
                  </a:lnTo>
                  <a:lnTo>
                    <a:pt x="216" y="2024"/>
                  </a:lnTo>
                  <a:lnTo>
                    <a:pt x="224" y="2024"/>
                  </a:lnTo>
                  <a:lnTo>
                    <a:pt x="232" y="2022"/>
                  </a:lnTo>
                  <a:lnTo>
                    <a:pt x="240" y="2018"/>
                  </a:lnTo>
                  <a:lnTo>
                    <a:pt x="246" y="2018"/>
                  </a:lnTo>
                  <a:lnTo>
                    <a:pt x="250" y="2022"/>
                  </a:lnTo>
                  <a:lnTo>
                    <a:pt x="250" y="2026"/>
                  </a:lnTo>
                  <a:lnTo>
                    <a:pt x="248" y="2028"/>
                  </a:lnTo>
                  <a:lnTo>
                    <a:pt x="250" y="2030"/>
                  </a:lnTo>
                  <a:lnTo>
                    <a:pt x="256" y="2028"/>
                  </a:lnTo>
                  <a:lnTo>
                    <a:pt x="260" y="2028"/>
                  </a:lnTo>
                  <a:lnTo>
                    <a:pt x="264" y="2028"/>
                  </a:lnTo>
                  <a:lnTo>
                    <a:pt x="270" y="2030"/>
                  </a:lnTo>
                  <a:lnTo>
                    <a:pt x="274" y="2034"/>
                  </a:lnTo>
                  <a:lnTo>
                    <a:pt x="280" y="2038"/>
                  </a:lnTo>
                  <a:lnTo>
                    <a:pt x="284" y="2040"/>
                  </a:lnTo>
                  <a:lnTo>
                    <a:pt x="288" y="2040"/>
                  </a:lnTo>
                  <a:lnTo>
                    <a:pt x="292" y="2038"/>
                  </a:lnTo>
                  <a:lnTo>
                    <a:pt x="298" y="2032"/>
                  </a:lnTo>
                  <a:lnTo>
                    <a:pt x="302" y="2030"/>
                  </a:lnTo>
                  <a:lnTo>
                    <a:pt x="304" y="2028"/>
                  </a:lnTo>
                  <a:lnTo>
                    <a:pt x="310" y="2026"/>
                  </a:lnTo>
                  <a:lnTo>
                    <a:pt x="314" y="2024"/>
                  </a:lnTo>
                  <a:lnTo>
                    <a:pt x="320" y="2020"/>
                  </a:lnTo>
                  <a:lnTo>
                    <a:pt x="326" y="2016"/>
                  </a:lnTo>
                  <a:lnTo>
                    <a:pt x="322" y="2022"/>
                  </a:lnTo>
                  <a:lnTo>
                    <a:pt x="318" y="2026"/>
                  </a:lnTo>
                  <a:lnTo>
                    <a:pt x="312" y="2032"/>
                  </a:lnTo>
                  <a:lnTo>
                    <a:pt x="306" y="2036"/>
                  </a:lnTo>
                  <a:lnTo>
                    <a:pt x="304" y="2044"/>
                  </a:lnTo>
                  <a:lnTo>
                    <a:pt x="302" y="2048"/>
                  </a:lnTo>
                  <a:lnTo>
                    <a:pt x="294" y="2050"/>
                  </a:lnTo>
                  <a:lnTo>
                    <a:pt x="284" y="2050"/>
                  </a:lnTo>
                  <a:lnTo>
                    <a:pt x="280" y="2050"/>
                  </a:lnTo>
                  <a:lnTo>
                    <a:pt x="274" y="2048"/>
                  </a:lnTo>
                  <a:lnTo>
                    <a:pt x="262" y="2048"/>
                  </a:lnTo>
                  <a:lnTo>
                    <a:pt x="256" y="2048"/>
                  </a:lnTo>
                  <a:lnTo>
                    <a:pt x="252" y="2050"/>
                  </a:lnTo>
                  <a:lnTo>
                    <a:pt x="252" y="2052"/>
                  </a:lnTo>
                  <a:lnTo>
                    <a:pt x="252" y="2054"/>
                  </a:lnTo>
                  <a:lnTo>
                    <a:pt x="252" y="2058"/>
                  </a:lnTo>
                  <a:lnTo>
                    <a:pt x="250" y="2058"/>
                  </a:lnTo>
                  <a:lnTo>
                    <a:pt x="246" y="2060"/>
                  </a:lnTo>
                  <a:lnTo>
                    <a:pt x="242" y="2060"/>
                  </a:lnTo>
                  <a:lnTo>
                    <a:pt x="238" y="2062"/>
                  </a:lnTo>
                  <a:lnTo>
                    <a:pt x="238" y="2066"/>
                  </a:lnTo>
                  <a:lnTo>
                    <a:pt x="238" y="2070"/>
                  </a:lnTo>
                  <a:lnTo>
                    <a:pt x="238" y="2074"/>
                  </a:lnTo>
                  <a:lnTo>
                    <a:pt x="236" y="2076"/>
                  </a:lnTo>
                  <a:lnTo>
                    <a:pt x="232" y="2078"/>
                  </a:lnTo>
                  <a:lnTo>
                    <a:pt x="230" y="2082"/>
                  </a:lnTo>
                  <a:lnTo>
                    <a:pt x="230" y="2084"/>
                  </a:lnTo>
                  <a:lnTo>
                    <a:pt x="226" y="2086"/>
                  </a:lnTo>
                  <a:lnTo>
                    <a:pt x="220" y="2092"/>
                  </a:lnTo>
                  <a:lnTo>
                    <a:pt x="214" y="2100"/>
                  </a:lnTo>
                  <a:lnTo>
                    <a:pt x="210" y="2106"/>
                  </a:lnTo>
                  <a:lnTo>
                    <a:pt x="206" y="2106"/>
                  </a:lnTo>
                  <a:lnTo>
                    <a:pt x="202" y="2108"/>
                  </a:lnTo>
                  <a:lnTo>
                    <a:pt x="198" y="2108"/>
                  </a:lnTo>
                  <a:lnTo>
                    <a:pt x="194" y="2108"/>
                  </a:lnTo>
                  <a:lnTo>
                    <a:pt x="192" y="2112"/>
                  </a:lnTo>
                  <a:lnTo>
                    <a:pt x="192" y="2114"/>
                  </a:lnTo>
                  <a:lnTo>
                    <a:pt x="192" y="2118"/>
                  </a:lnTo>
                  <a:lnTo>
                    <a:pt x="194" y="2118"/>
                  </a:lnTo>
                  <a:lnTo>
                    <a:pt x="196" y="2118"/>
                  </a:lnTo>
                  <a:lnTo>
                    <a:pt x="200" y="2116"/>
                  </a:lnTo>
                  <a:lnTo>
                    <a:pt x="202" y="2116"/>
                  </a:lnTo>
                  <a:lnTo>
                    <a:pt x="206" y="2118"/>
                  </a:lnTo>
                  <a:lnTo>
                    <a:pt x="210" y="2122"/>
                  </a:lnTo>
                  <a:lnTo>
                    <a:pt x="212" y="2122"/>
                  </a:lnTo>
                  <a:lnTo>
                    <a:pt x="214" y="2122"/>
                  </a:lnTo>
                  <a:lnTo>
                    <a:pt x="216" y="2120"/>
                  </a:lnTo>
                  <a:lnTo>
                    <a:pt x="216" y="2118"/>
                  </a:lnTo>
                  <a:lnTo>
                    <a:pt x="218" y="2116"/>
                  </a:lnTo>
                  <a:lnTo>
                    <a:pt x="222" y="2112"/>
                  </a:lnTo>
                  <a:lnTo>
                    <a:pt x="226" y="2110"/>
                  </a:lnTo>
                  <a:lnTo>
                    <a:pt x="230" y="2106"/>
                  </a:lnTo>
                  <a:lnTo>
                    <a:pt x="234" y="2102"/>
                  </a:lnTo>
                  <a:lnTo>
                    <a:pt x="244" y="2100"/>
                  </a:lnTo>
                  <a:lnTo>
                    <a:pt x="252" y="2100"/>
                  </a:lnTo>
                  <a:lnTo>
                    <a:pt x="258" y="2102"/>
                  </a:lnTo>
                  <a:lnTo>
                    <a:pt x="270" y="2108"/>
                  </a:lnTo>
                  <a:lnTo>
                    <a:pt x="274" y="2110"/>
                  </a:lnTo>
                  <a:lnTo>
                    <a:pt x="276" y="2108"/>
                  </a:lnTo>
                  <a:lnTo>
                    <a:pt x="280" y="2098"/>
                  </a:lnTo>
                  <a:lnTo>
                    <a:pt x="282" y="2088"/>
                  </a:lnTo>
                  <a:lnTo>
                    <a:pt x="284" y="2086"/>
                  </a:lnTo>
                  <a:lnTo>
                    <a:pt x="286" y="2084"/>
                  </a:lnTo>
                  <a:lnTo>
                    <a:pt x="288" y="2086"/>
                  </a:lnTo>
                  <a:lnTo>
                    <a:pt x="290" y="2084"/>
                  </a:lnTo>
                  <a:lnTo>
                    <a:pt x="298" y="2080"/>
                  </a:lnTo>
                  <a:lnTo>
                    <a:pt x="302" y="2078"/>
                  </a:lnTo>
                  <a:lnTo>
                    <a:pt x="306" y="2078"/>
                  </a:lnTo>
                  <a:lnTo>
                    <a:pt x="312" y="2080"/>
                  </a:lnTo>
                  <a:lnTo>
                    <a:pt x="316" y="2084"/>
                  </a:lnTo>
                  <a:lnTo>
                    <a:pt x="322" y="2088"/>
                  </a:lnTo>
                  <a:lnTo>
                    <a:pt x="324" y="2088"/>
                  </a:lnTo>
                  <a:lnTo>
                    <a:pt x="328" y="2086"/>
                  </a:lnTo>
                  <a:lnTo>
                    <a:pt x="330" y="2086"/>
                  </a:lnTo>
                  <a:lnTo>
                    <a:pt x="334" y="2086"/>
                  </a:lnTo>
                  <a:lnTo>
                    <a:pt x="342" y="2086"/>
                  </a:lnTo>
                  <a:lnTo>
                    <a:pt x="344" y="2084"/>
                  </a:lnTo>
                  <a:lnTo>
                    <a:pt x="346" y="2082"/>
                  </a:lnTo>
                  <a:lnTo>
                    <a:pt x="356" y="2078"/>
                  </a:lnTo>
                  <a:lnTo>
                    <a:pt x="366" y="2076"/>
                  </a:lnTo>
                  <a:lnTo>
                    <a:pt x="368" y="2074"/>
                  </a:lnTo>
                  <a:lnTo>
                    <a:pt x="368" y="2072"/>
                  </a:lnTo>
                  <a:lnTo>
                    <a:pt x="374" y="2074"/>
                  </a:lnTo>
                  <a:lnTo>
                    <a:pt x="380" y="2076"/>
                  </a:lnTo>
                  <a:lnTo>
                    <a:pt x="382" y="2076"/>
                  </a:lnTo>
                  <a:lnTo>
                    <a:pt x="384" y="2074"/>
                  </a:lnTo>
                  <a:lnTo>
                    <a:pt x="386" y="2076"/>
                  </a:lnTo>
                  <a:lnTo>
                    <a:pt x="388" y="2078"/>
                  </a:lnTo>
                  <a:lnTo>
                    <a:pt x="392" y="2078"/>
                  </a:lnTo>
                  <a:lnTo>
                    <a:pt x="400" y="2074"/>
                  </a:lnTo>
                  <a:lnTo>
                    <a:pt x="410" y="2072"/>
                  </a:lnTo>
                  <a:lnTo>
                    <a:pt x="416" y="2074"/>
                  </a:lnTo>
                  <a:lnTo>
                    <a:pt x="422" y="2074"/>
                  </a:lnTo>
                  <a:lnTo>
                    <a:pt x="428" y="2076"/>
                  </a:lnTo>
                  <a:lnTo>
                    <a:pt x="432" y="2076"/>
                  </a:lnTo>
                  <a:lnTo>
                    <a:pt x="440" y="2074"/>
                  </a:lnTo>
                  <a:lnTo>
                    <a:pt x="448" y="2070"/>
                  </a:lnTo>
                  <a:lnTo>
                    <a:pt x="456" y="2068"/>
                  </a:lnTo>
                  <a:lnTo>
                    <a:pt x="460" y="2068"/>
                  </a:lnTo>
                  <a:lnTo>
                    <a:pt x="462" y="2064"/>
                  </a:lnTo>
                  <a:lnTo>
                    <a:pt x="464" y="2060"/>
                  </a:lnTo>
                  <a:lnTo>
                    <a:pt x="470" y="2056"/>
                  </a:lnTo>
                  <a:lnTo>
                    <a:pt x="478" y="2052"/>
                  </a:lnTo>
                  <a:lnTo>
                    <a:pt x="480" y="2048"/>
                  </a:lnTo>
                  <a:lnTo>
                    <a:pt x="480" y="2044"/>
                  </a:lnTo>
                  <a:lnTo>
                    <a:pt x="480" y="2040"/>
                  </a:lnTo>
                  <a:lnTo>
                    <a:pt x="480" y="2038"/>
                  </a:lnTo>
                  <a:lnTo>
                    <a:pt x="478" y="2038"/>
                  </a:lnTo>
                  <a:lnTo>
                    <a:pt x="472" y="2038"/>
                  </a:lnTo>
                  <a:lnTo>
                    <a:pt x="462" y="2040"/>
                  </a:lnTo>
                  <a:lnTo>
                    <a:pt x="456" y="2040"/>
                  </a:lnTo>
                  <a:lnTo>
                    <a:pt x="450" y="2038"/>
                  </a:lnTo>
                  <a:lnTo>
                    <a:pt x="448" y="2036"/>
                  </a:lnTo>
                  <a:lnTo>
                    <a:pt x="450" y="2036"/>
                  </a:lnTo>
                  <a:lnTo>
                    <a:pt x="446" y="2034"/>
                  </a:lnTo>
                  <a:lnTo>
                    <a:pt x="444" y="2032"/>
                  </a:lnTo>
                  <a:lnTo>
                    <a:pt x="448" y="2030"/>
                  </a:lnTo>
                  <a:lnTo>
                    <a:pt x="456" y="2030"/>
                  </a:lnTo>
                  <a:lnTo>
                    <a:pt x="458" y="2028"/>
                  </a:lnTo>
                  <a:lnTo>
                    <a:pt x="460" y="2026"/>
                  </a:lnTo>
                  <a:lnTo>
                    <a:pt x="460" y="2020"/>
                  </a:lnTo>
                  <a:lnTo>
                    <a:pt x="458" y="2020"/>
                  </a:lnTo>
                  <a:lnTo>
                    <a:pt x="456" y="2020"/>
                  </a:lnTo>
                  <a:lnTo>
                    <a:pt x="458" y="2016"/>
                  </a:lnTo>
                  <a:lnTo>
                    <a:pt x="462" y="2014"/>
                  </a:lnTo>
                  <a:lnTo>
                    <a:pt x="464" y="2014"/>
                  </a:lnTo>
                  <a:lnTo>
                    <a:pt x="472" y="2014"/>
                  </a:lnTo>
                  <a:lnTo>
                    <a:pt x="476" y="2014"/>
                  </a:lnTo>
                  <a:lnTo>
                    <a:pt x="476" y="2012"/>
                  </a:lnTo>
                  <a:lnTo>
                    <a:pt x="474" y="2010"/>
                  </a:lnTo>
                  <a:lnTo>
                    <a:pt x="474" y="2008"/>
                  </a:lnTo>
                  <a:lnTo>
                    <a:pt x="474" y="2006"/>
                  </a:lnTo>
                  <a:lnTo>
                    <a:pt x="482" y="2000"/>
                  </a:lnTo>
                  <a:lnTo>
                    <a:pt x="486" y="1996"/>
                  </a:lnTo>
                  <a:lnTo>
                    <a:pt x="490" y="1990"/>
                  </a:lnTo>
                  <a:lnTo>
                    <a:pt x="494" y="1982"/>
                  </a:lnTo>
                  <a:lnTo>
                    <a:pt x="494" y="1970"/>
                  </a:lnTo>
                  <a:close/>
                  <a:moveTo>
                    <a:pt x="662" y="1344"/>
                  </a:moveTo>
                  <a:lnTo>
                    <a:pt x="662" y="1344"/>
                  </a:lnTo>
                  <a:lnTo>
                    <a:pt x="660" y="1344"/>
                  </a:lnTo>
                  <a:lnTo>
                    <a:pt x="656" y="1346"/>
                  </a:lnTo>
                  <a:lnTo>
                    <a:pt x="656" y="1350"/>
                  </a:lnTo>
                  <a:lnTo>
                    <a:pt x="656" y="1354"/>
                  </a:lnTo>
                  <a:lnTo>
                    <a:pt x="660" y="1354"/>
                  </a:lnTo>
                  <a:lnTo>
                    <a:pt x="662" y="1352"/>
                  </a:lnTo>
                  <a:lnTo>
                    <a:pt x="664" y="1348"/>
                  </a:lnTo>
                  <a:lnTo>
                    <a:pt x="664" y="1346"/>
                  </a:lnTo>
                  <a:lnTo>
                    <a:pt x="662" y="1344"/>
                  </a:lnTo>
                  <a:close/>
                  <a:moveTo>
                    <a:pt x="652" y="1354"/>
                  </a:moveTo>
                  <a:lnTo>
                    <a:pt x="652" y="1354"/>
                  </a:lnTo>
                  <a:lnTo>
                    <a:pt x="650" y="1352"/>
                  </a:lnTo>
                  <a:lnTo>
                    <a:pt x="648" y="1352"/>
                  </a:lnTo>
                  <a:lnTo>
                    <a:pt x="646" y="1352"/>
                  </a:lnTo>
                  <a:lnTo>
                    <a:pt x="644" y="1356"/>
                  </a:lnTo>
                  <a:lnTo>
                    <a:pt x="646" y="1358"/>
                  </a:lnTo>
                  <a:lnTo>
                    <a:pt x="648" y="1358"/>
                  </a:lnTo>
                  <a:lnTo>
                    <a:pt x="652" y="1356"/>
                  </a:lnTo>
                  <a:lnTo>
                    <a:pt x="652" y="1354"/>
                  </a:lnTo>
                  <a:close/>
                  <a:moveTo>
                    <a:pt x="150" y="1398"/>
                  </a:moveTo>
                  <a:lnTo>
                    <a:pt x="150" y="1398"/>
                  </a:lnTo>
                  <a:lnTo>
                    <a:pt x="148" y="1396"/>
                  </a:lnTo>
                  <a:lnTo>
                    <a:pt x="146" y="1394"/>
                  </a:lnTo>
                  <a:lnTo>
                    <a:pt x="146" y="1396"/>
                  </a:lnTo>
                  <a:lnTo>
                    <a:pt x="144" y="1398"/>
                  </a:lnTo>
                  <a:lnTo>
                    <a:pt x="146" y="1402"/>
                  </a:lnTo>
                  <a:lnTo>
                    <a:pt x="152" y="1410"/>
                  </a:lnTo>
                  <a:lnTo>
                    <a:pt x="154" y="1412"/>
                  </a:lnTo>
                  <a:lnTo>
                    <a:pt x="156" y="1412"/>
                  </a:lnTo>
                  <a:lnTo>
                    <a:pt x="158" y="1412"/>
                  </a:lnTo>
                  <a:lnTo>
                    <a:pt x="156" y="1410"/>
                  </a:lnTo>
                  <a:lnTo>
                    <a:pt x="154" y="1404"/>
                  </a:lnTo>
                  <a:lnTo>
                    <a:pt x="154" y="1400"/>
                  </a:lnTo>
                  <a:lnTo>
                    <a:pt x="150" y="1398"/>
                  </a:lnTo>
                  <a:close/>
                  <a:moveTo>
                    <a:pt x="732" y="1304"/>
                  </a:moveTo>
                  <a:lnTo>
                    <a:pt x="732" y="1304"/>
                  </a:lnTo>
                  <a:lnTo>
                    <a:pt x="734" y="1302"/>
                  </a:lnTo>
                  <a:lnTo>
                    <a:pt x="732" y="1300"/>
                  </a:lnTo>
                  <a:lnTo>
                    <a:pt x="730" y="1298"/>
                  </a:lnTo>
                  <a:lnTo>
                    <a:pt x="728" y="1300"/>
                  </a:lnTo>
                  <a:lnTo>
                    <a:pt x="726" y="1302"/>
                  </a:lnTo>
                  <a:lnTo>
                    <a:pt x="724" y="1302"/>
                  </a:lnTo>
                  <a:lnTo>
                    <a:pt x="722" y="1300"/>
                  </a:lnTo>
                  <a:lnTo>
                    <a:pt x="720" y="1302"/>
                  </a:lnTo>
                  <a:lnTo>
                    <a:pt x="720" y="1304"/>
                  </a:lnTo>
                  <a:lnTo>
                    <a:pt x="724" y="1306"/>
                  </a:lnTo>
                  <a:lnTo>
                    <a:pt x="732" y="1304"/>
                  </a:lnTo>
                  <a:close/>
                  <a:moveTo>
                    <a:pt x="618" y="1384"/>
                  </a:moveTo>
                  <a:lnTo>
                    <a:pt x="618" y="1384"/>
                  </a:lnTo>
                  <a:lnTo>
                    <a:pt x="622" y="1384"/>
                  </a:lnTo>
                  <a:lnTo>
                    <a:pt x="626" y="1382"/>
                  </a:lnTo>
                  <a:lnTo>
                    <a:pt x="628" y="1380"/>
                  </a:lnTo>
                  <a:lnTo>
                    <a:pt x="628" y="1378"/>
                  </a:lnTo>
                  <a:lnTo>
                    <a:pt x="622" y="1378"/>
                  </a:lnTo>
                  <a:lnTo>
                    <a:pt x="618" y="1378"/>
                  </a:lnTo>
                  <a:lnTo>
                    <a:pt x="616" y="1380"/>
                  </a:lnTo>
                  <a:lnTo>
                    <a:pt x="618" y="1384"/>
                  </a:lnTo>
                  <a:close/>
                  <a:moveTo>
                    <a:pt x="620" y="1456"/>
                  </a:moveTo>
                  <a:lnTo>
                    <a:pt x="620" y="1456"/>
                  </a:lnTo>
                  <a:lnTo>
                    <a:pt x="616" y="1454"/>
                  </a:lnTo>
                  <a:lnTo>
                    <a:pt x="618" y="1456"/>
                  </a:lnTo>
                  <a:lnTo>
                    <a:pt x="622" y="1462"/>
                  </a:lnTo>
                  <a:lnTo>
                    <a:pt x="624" y="1462"/>
                  </a:lnTo>
                  <a:lnTo>
                    <a:pt x="626" y="1464"/>
                  </a:lnTo>
                  <a:lnTo>
                    <a:pt x="624" y="1462"/>
                  </a:lnTo>
                  <a:lnTo>
                    <a:pt x="622" y="1458"/>
                  </a:lnTo>
                  <a:lnTo>
                    <a:pt x="620" y="1456"/>
                  </a:lnTo>
                  <a:close/>
                  <a:moveTo>
                    <a:pt x="630" y="1474"/>
                  </a:moveTo>
                  <a:lnTo>
                    <a:pt x="630" y="1474"/>
                  </a:lnTo>
                  <a:lnTo>
                    <a:pt x="626" y="1468"/>
                  </a:lnTo>
                  <a:lnTo>
                    <a:pt x="622" y="1466"/>
                  </a:lnTo>
                  <a:lnTo>
                    <a:pt x="622" y="1468"/>
                  </a:lnTo>
                  <a:lnTo>
                    <a:pt x="626" y="1474"/>
                  </a:lnTo>
                  <a:lnTo>
                    <a:pt x="628" y="1476"/>
                  </a:lnTo>
                  <a:lnTo>
                    <a:pt x="630" y="1474"/>
                  </a:lnTo>
                  <a:close/>
                  <a:moveTo>
                    <a:pt x="624" y="1490"/>
                  </a:moveTo>
                  <a:lnTo>
                    <a:pt x="624" y="1490"/>
                  </a:lnTo>
                  <a:lnTo>
                    <a:pt x="626" y="1490"/>
                  </a:lnTo>
                  <a:lnTo>
                    <a:pt x="626" y="1486"/>
                  </a:lnTo>
                  <a:lnTo>
                    <a:pt x="624" y="1476"/>
                  </a:lnTo>
                  <a:lnTo>
                    <a:pt x="622" y="1474"/>
                  </a:lnTo>
                  <a:lnTo>
                    <a:pt x="622" y="1476"/>
                  </a:lnTo>
                  <a:lnTo>
                    <a:pt x="622" y="1480"/>
                  </a:lnTo>
                  <a:lnTo>
                    <a:pt x="622" y="1486"/>
                  </a:lnTo>
                  <a:lnTo>
                    <a:pt x="622" y="1490"/>
                  </a:lnTo>
                  <a:lnTo>
                    <a:pt x="624" y="1490"/>
                  </a:lnTo>
                  <a:close/>
                  <a:moveTo>
                    <a:pt x="302" y="1578"/>
                  </a:moveTo>
                  <a:lnTo>
                    <a:pt x="302" y="1578"/>
                  </a:lnTo>
                  <a:lnTo>
                    <a:pt x="300" y="1580"/>
                  </a:lnTo>
                  <a:lnTo>
                    <a:pt x="300" y="1582"/>
                  </a:lnTo>
                  <a:lnTo>
                    <a:pt x="302" y="1582"/>
                  </a:lnTo>
                  <a:lnTo>
                    <a:pt x="304" y="1584"/>
                  </a:lnTo>
                  <a:lnTo>
                    <a:pt x="306" y="1582"/>
                  </a:lnTo>
                  <a:lnTo>
                    <a:pt x="306" y="1580"/>
                  </a:lnTo>
                  <a:lnTo>
                    <a:pt x="304" y="1578"/>
                  </a:lnTo>
                  <a:lnTo>
                    <a:pt x="302" y="1578"/>
                  </a:lnTo>
                  <a:close/>
                  <a:moveTo>
                    <a:pt x="160" y="1386"/>
                  </a:moveTo>
                  <a:lnTo>
                    <a:pt x="160" y="1386"/>
                  </a:lnTo>
                  <a:lnTo>
                    <a:pt x="158" y="1382"/>
                  </a:lnTo>
                  <a:lnTo>
                    <a:pt x="154" y="1378"/>
                  </a:lnTo>
                  <a:lnTo>
                    <a:pt x="150" y="1378"/>
                  </a:lnTo>
                  <a:lnTo>
                    <a:pt x="148" y="1378"/>
                  </a:lnTo>
                  <a:lnTo>
                    <a:pt x="148" y="1380"/>
                  </a:lnTo>
                  <a:lnTo>
                    <a:pt x="148" y="1382"/>
                  </a:lnTo>
                  <a:lnTo>
                    <a:pt x="152" y="1384"/>
                  </a:lnTo>
                  <a:lnTo>
                    <a:pt x="156" y="1386"/>
                  </a:lnTo>
                  <a:lnTo>
                    <a:pt x="160" y="1386"/>
                  </a:lnTo>
                  <a:close/>
                  <a:moveTo>
                    <a:pt x="320" y="1546"/>
                  </a:moveTo>
                  <a:lnTo>
                    <a:pt x="320" y="1546"/>
                  </a:lnTo>
                  <a:lnTo>
                    <a:pt x="318" y="1546"/>
                  </a:lnTo>
                  <a:lnTo>
                    <a:pt x="316" y="1546"/>
                  </a:lnTo>
                  <a:lnTo>
                    <a:pt x="314" y="1548"/>
                  </a:lnTo>
                  <a:lnTo>
                    <a:pt x="312" y="1552"/>
                  </a:lnTo>
                  <a:lnTo>
                    <a:pt x="314" y="1552"/>
                  </a:lnTo>
                  <a:lnTo>
                    <a:pt x="318" y="1552"/>
                  </a:lnTo>
                  <a:lnTo>
                    <a:pt x="318" y="1550"/>
                  </a:lnTo>
                  <a:lnTo>
                    <a:pt x="320" y="1548"/>
                  </a:lnTo>
                  <a:lnTo>
                    <a:pt x="322" y="1546"/>
                  </a:lnTo>
                  <a:lnTo>
                    <a:pt x="320" y="1546"/>
                  </a:lnTo>
                  <a:close/>
                  <a:moveTo>
                    <a:pt x="354" y="1486"/>
                  </a:moveTo>
                  <a:lnTo>
                    <a:pt x="354" y="1486"/>
                  </a:lnTo>
                  <a:lnTo>
                    <a:pt x="356" y="1488"/>
                  </a:lnTo>
                  <a:lnTo>
                    <a:pt x="356" y="1490"/>
                  </a:lnTo>
                  <a:lnTo>
                    <a:pt x="358" y="1488"/>
                  </a:lnTo>
                  <a:lnTo>
                    <a:pt x="362" y="1490"/>
                  </a:lnTo>
                  <a:lnTo>
                    <a:pt x="364" y="1492"/>
                  </a:lnTo>
                  <a:lnTo>
                    <a:pt x="364" y="1490"/>
                  </a:lnTo>
                  <a:lnTo>
                    <a:pt x="366" y="1488"/>
                  </a:lnTo>
                  <a:lnTo>
                    <a:pt x="370" y="1490"/>
                  </a:lnTo>
                  <a:lnTo>
                    <a:pt x="372" y="1492"/>
                  </a:lnTo>
                  <a:lnTo>
                    <a:pt x="372" y="1494"/>
                  </a:lnTo>
                  <a:lnTo>
                    <a:pt x="370" y="1500"/>
                  </a:lnTo>
                  <a:lnTo>
                    <a:pt x="368" y="1506"/>
                  </a:lnTo>
                  <a:lnTo>
                    <a:pt x="368" y="1508"/>
                  </a:lnTo>
                  <a:lnTo>
                    <a:pt x="370" y="1512"/>
                  </a:lnTo>
                  <a:lnTo>
                    <a:pt x="372" y="1512"/>
                  </a:lnTo>
                  <a:lnTo>
                    <a:pt x="372" y="1510"/>
                  </a:lnTo>
                  <a:lnTo>
                    <a:pt x="374" y="1502"/>
                  </a:lnTo>
                  <a:lnTo>
                    <a:pt x="376" y="1496"/>
                  </a:lnTo>
                  <a:lnTo>
                    <a:pt x="374" y="1490"/>
                  </a:lnTo>
                  <a:lnTo>
                    <a:pt x="374" y="1488"/>
                  </a:lnTo>
                  <a:lnTo>
                    <a:pt x="376" y="1484"/>
                  </a:lnTo>
                  <a:lnTo>
                    <a:pt x="380" y="1476"/>
                  </a:lnTo>
                  <a:lnTo>
                    <a:pt x="380" y="1472"/>
                  </a:lnTo>
                  <a:lnTo>
                    <a:pt x="378" y="1474"/>
                  </a:lnTo>
                  <a:lnTo>
                    <a:pt x="376" y="1476"/>
                  </a:lnTo>
                  <a:lnTo>
                    <a:pt x="376" y="1474"/>
                  </a:lnTo>
                  <a:lnTo>
                    <a:pt x="376" y="1472"/>
                  </a:lnTo>
                  <a:lnTo>
                    <a:pt x="374" y="1470"/>
                  </a:lnTo>
                  <a:lnTo>
                    <a:pt x="372" y="1470"/>
                  </a:lnTo>
                  <a:lnTo>
                    <a:pt x="372" y="1472"/>
                  </a:lnTo>
                  <a:lnTo>
                    <a:pt x="370" y="1474"/>
                  </a:lnTo>
                  <a:lnTo>
                    <a:pt x="370" y="1472"/>
                  </a:lnTo>
                  <a:lnTo>
                    <a:pt x="370" y="1462"/>
                  </a:lnTo>
                  <a:lnTo>
                    <a:pt x="370" y="1460"/>
                  </a:lnTo>
                  <a:lnTo>
                    <a:pt x="368" y="1460"/>
                  </a:lnTo>
                  <a:lnTo>
                    <a:pt x="364" y="1464"/>
                  </a:lnTo>
                  <a:lnTo>
                    <a:pt x="358" y="1468"/>
                  </a:lnTo>
                  <a:lnTo>
                    <a:pt x="358" y="1470"/>
                  </a:lnTo>
                  <a:lnTo>
                    <a:pt x="364" y="1474"/>
                  </a:lnTo>
                  <a:lnTo>
                    <a:pt x="368" y="1476"/>
                  </a:lnTo>
                  <a:lnTo>
                    <a:pt x="368" y="1480"/>
                  </a:lnTo>
                  <a:lnTo>
                    <a:pt x="366" y="1482"/>
                  </a:lnTo>
                  <a:lnTo>
                    <a:pt x="360" y="1482"/>
                  </a:lnTo>
                  <a:lnTo>
                    <a:pt x="356" y="1482"/>
                  </a:lnTo>
                  <a:lnTo>
                    <a:pt x="356" y="1484"/>
                  </a:lnTo>
                  <a:lnTo>
                    <a:pt x="354" y="1486"/>
                  </a:lnTo>
                  <a:close/>
                  <a:moveTo>
                    <a:pt x="312" y="1560"/>
                  </a:moveTo>
                  <a:lnTo>
                    <a:pt x="312" y="1560"/>
                  </a:lnTo>
                  <a:lnTo>
                    <a:pt x="312" y="1562"/>
                  </a:lnTo>
                  <a:lnTo>
                    <a:pt x="314" y="1562"/>
                  </a:lnTo>
                  <a:lnTo>
                    <a:pt x="318" y="1560"/>
                  </a:lnTo>
                  <a:lnTo>
                    <a:pt x="316" y="1558"/>
                  </a:lnTo>
                  <a:lnTo>
                    <a:pt x="314" y="1556"/>
                  </a:lnTo>
                  <a:lnTo>
                    <a:pt x="312" y="1560"/>
                  </a:lnTo>
                  <a:close/>
                  <a:moveTo>
                    <a:pt x="744" y="1294"/>
                  </a:moveTo>
                  <a:lnTo>
                    <a:pt x="744" y="1294"/>
                  </a:lnTo>
                  <a:lnTo>
                    <a:pt x="746" y="1296"/>
                  </a:lnTo>
                  <a:lnTo>
                    <a:pt x="748" y="1296"/>
                  </a:lnTo>
                  <a:lnTo>
                    <a:pt x="750" y="1294"/>
                  </a:lnTo>
                  <a:lnTo>
                    <a:pt x="752" y="1292"/>
                  </a:lnTo>
                  <a:lnTo>
                    <a:pt x="748" y="1288"/>
                  </a:lnTo>
                  <a:lnTo>
                    <a:pt x="746" y="1288"/>
                  </a:lnTo>
                  <a:lnTo>
                    <a:pt x="744" y="1290"/>
                  </a:lnTo>
                  <a:lnTo>
                    <a:pt x="744" y="1294"/>
                  </a:lnTo>
                  <a:close/>
                  <a:moveTo>
                    <a:pt x="380" y="1462"/>
                  </a:moveTo>
                  <a:lnTo>
                    <a:pt x="380" y="1462"/>
                  </a:lnTo>
                  <a:lnTo>
                    <a:pt x="382" y="1460"/>
                  </a:lnTo>
                  <a:lnTo>
                    <a:pt x="382" y="1456"/>
                  </a:lnTo>
                  <a:lnTo>
                    <a:pt x="382" y="1454"/>
                  </a:lnTo>
                  <a:lnTo>
                    <a:pt x="380" y="1454"/>
                  </a:lnTo>
                  <a:lnTo>
                    <a:pt x="378" y="1454"/>
                  </a:lnTo>
                  <a:lnTo>
                    <a:pt x="378" y="1456"/>
                  </a:lnTo>
                  <a:lnTo>
                    <a:pt x="376" y="1460"/>
                  </a:lnTo>
                  <a:lnTo>
                    <a:pt x="374" y="1462"/>
                  </a:lnTo>
                  <a:lnTo>
                    <a:pt x="376" y="1468"/>
                  </a:lnTo>
                  <a:lnTo>
                    <a:pt x="378" y="1468"/>
                  </a:lnTo>
                  <a:lnTo>
                    <a:pt x="378" y="1466"/>
                  </a:lnTo>
                  <a:lnTo>
                    <a:pt x="380" y="1464"/>
                  </a:lnTo>
                  <a:lnTo>
                    <a:pt x="380" y="1462"/>
                  </a:lnTo>
                  <a:close/>
                  <a:moveTo>
                    <a:pt x="134" y="1090"/>
                  </a:moveTo>
                  <a:lnTo>
                    <a:pt x="134" y="1090"/>
                  </a:lnTo>
                  <a:lnTo>
                    <a:pt x="148" y="1086"/>
                  </a:lnTo>
                  <a:lnTo>
                    <a:pt x="158" y="1086"/>
                  </a:lnTo>
                  <a:lnTo>
                    <a:pt x="190" y="1088"/>
                  </a:lnTo>
                  <a:lnTo>
                    <a:pt x="200" y="1088"/>
                  </a:lnTo>
                  <a:lnTo>
                    <a:pt x="202" y="1090"/>
                  </a:lnTo>
                  <a:lnTo>
                    <a:pt x="202" y="1092"/>
                  </a:lnTo>
                  <a:lnTo>
                    <a:pt x="198" y="1094"/>
                  </a:lnTo>
                  <a:lnTo>
                    <a:pt x="186" y="1100"/>
                  </a:lnTo>
                  <a:lnTo>
                    <a:pt x="182" y="1104"/>
                  </a:lnTo>
                  <a:lnTo>
                    <a:pt x="180" y="1108"/>
                  </a:lnTo>
                  <a:lnTo>
                    <a:pt x="182" y="1110"/>
                  </a:lnTo>
                  <a:lnTo>
                    <a:pt x="186" y="1112"/>
                  </a:lnTo>
                  <a:lnTo>
                    <a:pt x="196" y="1112"/>
                  </a:lnTo>
                  <a:lnTo>
                    <a:pt x="204" y="1114"/>
                  </a:lnTo>
                  <a:lnTo>
                    <a:pt x="198" y="1118"/>
                  </a:lnTo>
                  <a:lnTo>
                    <a:pt x="190" y="1120"/>
                  </a:lnTo>
                  <a:lnTo>
                    <a:pt x="182" y="1120"/>
                  </a:lnTo>
                  <a:lnTo>
                    <a:pt x="174" y="1118"/>
                  </a:lnTo>
                  <a:lnTo>
                    <a:pt x="166" y="1116"/>
                  </a:lnTo>
                  <a:lnTo>
                    <a:pt x="162" y="1116"/>
                  </a:lnTo>
                  <a:lnTo>
                    <a:pt x="156" y="1120"/>
                  </a:lnTo>
                  <a:lnTo>
                    <a:pt x="150" y="1122"/>
                  </a:lnTo>
                  <a:lnTo>
                    <a:pt x="144" y="1124"/>
                  </a:lnTo>
                  <a:lnTo>
                    <a:pt x="132" y="1124"/>
                  </a:lnTo>
                  <a:lnTo>
                    <a:pt x="122" y="1126"/>
                  </a:lnTo>
                  <a:lnTo>
                    <a:pt x="120" y="1130"/>
                  </a:lnTo>
                  <a:lnTo>
                    <a:pt x="120" y="1132"/>
                  </a:lnTo>
                  <a:lnTo>
                    <a:pt x="122" y="1136"/>
                  </a:lnTo>
                  <a:lnTo>
                    <a:pt x="124" y="1138"/>
                  </a:lnTo>
                  <a:lnTo>
                    <a:pt x="134" y="1136"/>
                  </a:lnTo>
                  <a:lnTo>
                    <a:pt x="152" y="1134"/>
                  </a:lnTo>
                  <a:lnTo>
                    <a:pt x="162" y="1134"/>
                  </a:lnTo>
                  <a:lnTo>
                    <a:pt x="174" y="1136"/>
                  </a:lnTo>
                  <a:lnTo>
                    <a:pt x="180" y="1138"/>
                  </a:lnTo>
                  <a:lnTo>
                    <a:pt x="184" y="1140"/>
                  </a:lnTo>
                  <a:lnTo>
                    <a:pt x="186" y="1142"/>
                  </a:lnTo>
                  <a:lnTo>
                    <a:pt x="186" y="1146"/>
                  </a:lnTo>
                  <a:lnTo>
                    <a:pt x="186" y="1152"/>
                  </a:lnTo>
                  <a:lnTo>
                    <a:pt x="188" y="1154"/>
                  </a:lnTo>
                  <a:lnTo>
                    <a:pt x="190" y="1156"/>
                  </a:lnTo>
                  <a:lnTo>
                    <a:pt x="198" y="1160"/>
                  </a:lnTo>
                  <a:lnTo>
                    <a:pt x="202" y="1166"/>
                  </a:lnTo>
                  <a:lnTo>
                    <a:pt x="202" y="1174"/>
                  </a:lnTo>
                  <a:lnTo>
                    <a:pt x="198" y="1184"/>
                  </a:lnTo>
                  <a:lnTo>
                    <a:pt x="196" y="1186"/>
                  </a:lnTo>
                  <a:lnTo>
                    <a:pt x="190" y="1186"/>
                  </a:lnTo>
                  <a:lnTo>
                    <a:pt x="180" y="1184"/>
                  </a:lnTo>
                  <a:lnTo>
                    <a:pt x="172" y="1184"/>
                  </a:lnTo>
                  <a:lnTo>
                    <a:pt x="170" y="1186"/>
                  </a:lnTo>
                  <a:lnTo>
                    <a:pt x="170" y="1190"/>
                  </a:lnTo>
                  <a:lnTo>
                    <a:pt x="172" y="1196"/>
                  </a:lnTo>
                  <a:lnTo>
                    <a:pt x="174" y="1198"/>
                  </a:lnTo>
                  <a:lnTo>
                    <a:pt x="176" y="1200"/>
                  </a:lnTo>
                  <a:lnTo>
                    <a:pt x="182" y="1202"/>
                  </a:lnTo>
                  <a:lnTo>
                    <a:pt x="196" y="1202"/>
                  </a:lnTo>
                  <a:lnTo>
                    <a:pt x="220" y="1200"/>
                  </a:lnTo>
                  <a:lnTo>
                    <a:pt x="232" y="1200"/>
                  </a:lnTo>
                  <a:lnTo>
                    <a:pt x="242" y="1202"/>
                  </a:lnTo>
                  <a:lnTo>
                    <a:pt x="252" y="1206"/>
                  </a:lnTo>
                  <a:lnTo>
                    <a:pt x="260" y="1208"/>
                  </a:lnTo>
                  <a:lnTo>
                    <a:pt x="274" y="1216"/>
                  </a:lnTo>
                  <a:lnTo>
                    <a:pt x="282" y="1218"/>
                  </a:lnTo>
                  <a:lnTo>
                    <a:pt x="292" y="1220"/>
                  </a:lnTo>
                  <a:lnTo>
                    <a:pt x="300" y="1220"/>
                  </a:lnTo>
                  <a:lnTo>
                    <a:pt x="308" y="1224"/>
                  </a:lnTo>
                  <a:lnTo>
                    <a:pt x="318" y="1228"/>
                  </a:lnTo>
                  <a:lnTo>
                    <a:pt x="322" y="1230"/>
                  </a:lnTo>
                  <a:lnTo>
                    <a:pt x="328" y="1232"/>
                  </a:lnTo>
                  <a:lnTo>
                    <a:pt x="336" y="1232"/>
                  </a:lnTo>
                  <a:lnTo>
                    <a:pt x="346" y="1230"/>
                  </a:lnTo>
                  <a:lnTo>
                    <a:pt x="356" y="1226"/>
                  </a:lnTo>
                  <a:lnTo>
                    <a:pt x="362" y="1222"/>
                  </a:lnTo>
                  <a:lnTo>
                    <a:pt x="368" y="1214"/>
                  </a:lnTo>
                  <a:lnTo>
                    <a:pt x="370" y="1210"/>
                  </a:lnTo>
                  <a:lnTo>
                    <a:pt x="374" y="1206"/>
                  </a:lnTo>
                  <a:lnTo>
                    <a:pt x="380" y="1206"/>
                  </a:lnTo>
                  <a:lnTo>
                    <a:pt x="388" y="1206"/>
                  </a:lnTo>
                  <a:lnTo>
                    <a:pt x="396" y="1204"/>
                  </a:lnTo>
                  <a:lnTo>
                    <a:pt x="404" y="1204"/>
                  </a:lnTo>
                  <a:lnTo>
                    <a:pt x="418" y="1198"/>
                  </a:lnTo>
                  <a:lnTo>
                    <a:pt x="452" y="1176"/>
                  </a:lnTo>
                  <a:lnTo>
                    <a:pt x="462" y="1172"/>
                  </a:lnTo>
                  <a:lnTo>
                    <a:pt x="470" y="1170"/>
                  </a:lnTo>
                  <a:lnTo>
                    <a:pt x="484" y="1168"/>
                  </a:lnTo>
                  <a:lnTo>
                    <a:pt x="488" y="1166"/>
                  </a:lnTo>
                  <a:lnTo>
                    <a:pt x="494" y="1164"/>
                  </a:lnTo>
                  <a:lnTo>
                    <a:pt x="500" y="1160"/>
                  </a:lnTo>
                  <a:lnTo>
                    <a:pt x="504" y="1154"/>
                  </a:lnTo>
                  <a:lnTo>
                    <a:pt x="514" y="1142"/>
                  </a:lnTo>
                  <a:lnTo>
                    <a:pt x="522" y="1136"/>
                  </a:lnTo>
                  <a:lnTo>
                    <a:pt x="528" y="1134"/>
                  </a:lnTo>
                  <a:lnTo>
                    <a:pt x="534" y="1126"/>
                  </a:lnTo>
                  <a:lnTo>
                    <a:pt x="540" y="1112"/>
                  </a:lnTo>
                  <a:lnTo>
                    <a:pt x="542" y="1104"/>
                  </a:lnTo>
                  <a:lnTo>
                    <a:pt x="542" y="1098"/>
                  </a:lnTo>
                  <a:lnTo>
                    <a:pt x="542" y="1090"/>
                  </a:lnTo>
                  <a:lnTo>
                    <a:pt x="538" y="1086"/>
                  </a:lnTo>
                  <a:lnTo>
                    <a:pt x="532" y="1082"/>
                  </a:lnTo>
                  <a:lnTo>
                    <a:pt x="526" y="1080"/>
                  </a:lnTo>
                  <a:lnTo>
                    <a:pt x="518" y="1078"/>
                  </a:lnTo>
                  <a:lnTo>
                    <a:pt x="514" y="1076"/>
                  </a:lnTo>
                  <a:lnTo>
                    <a:pt x="510" y="1072"/>
                  </a:lnTo>
                  <a:lnTo>
                    <a:pt x="506" y="1068"/>
                  </a:lnTo>
                  <a:lnTo>
                    <a:pt x="502" y="1066"/>
                  </a:lnTo>
                  <a:lnTo>
                    <a:pt x="496" y="1068"/>
                  </a:lnTo>
                  <a:lnTo>
                    <a:pt x="494" y="1066"/>
                  </a:lnTo>
                  <a:lnTo>
                    <a:pt x="492" y="1064"/>
                  </a:lnTo>
                  <a:lnTo>
                    <a:pt x="496" y="1058"/>
                  </a:lnTo>
                  <a:lnTo>
                    <a:pt x="500" y="1052"/>
                  </a:lnTo>
                  <a:lnTo>
                    <a:pt x="500" y="1048"/>
                  </a:lnTo>
                  <a:lnTo>
                    <a:pt x="496" y="1046"/>
                  </a:lnTo>
                  <a:lnTo>
                    <a:pt x="492" y="1046"/>
                  </a:lnTo>
                  <a:lnTo>
                    <a:pt x="486" y="1044"/>
                  </a:lnTo>
                  <a:lnTo>
                    <a:pt x="484" y="1044"/>
                  </a:lnTo>
                  <a:lnTo>
                    <a:pt x="484" y="1040"/>
                  </a:lnTo>
                  <a:lnTo>
                    <a:pt x="488" y="1036"/>
                  </a:lnTo>
                  <a:lnTo>
                    <a:pt x="500" y="1028"/>
                  </a:lnTo>
                  <a:lnTo>
                    <a:pt x="500" y="1024"/>
                  </a:lnTo>
                  <a:lnTo>
                    <a:pt x="500" y="1022"/>
                  </a:lnTo>
                  <a:lnTo>
                    <a:pt x="494" y="1022"/>
                  </a:lnTo>
                  <a:lnTo>
                    <a:pt x="484" y="1026"/>
                  </a:lnTo>
                  <a:lnTo>
                    <a:pt x="474" y="1032"/>
                  </a:lnTo>
                  <a:lnTo>
                    <a:pt x="466" y="1036"/>
                  </a:lnTo>
                  <a:lnTo>
                    <a:pt x="462" y="1036"/>
                  </a:lnTo>
                  <a:lnTo>
                    <a:pt x="460" y="1034"/>
                  </a:lnTo>
                  <a:lnTo>
                    <a:pt x="456" y="1028"/>
                  </a:lnTo>
                  <a:lnTo>
                    <a:pt x="450" y="1020"/>
                  </a:lnTo>
                  <a:lnTo>
                    <a:pt x="446" y="1016"/>
                  </a:lnTo>
                  <a:lnTo>
                    <a:pt x="442" y="1012"/>
                  </a:lnTo>
                  <a:lnTo>
                    <a:pt x="436" y="1012"/>
                  </a:lnTo>
                  <a:lnTo>
                    <a:pt x="430" y="1012"/>
                  </a:lnTo>
                  <a:lnTo>
                    <a:pt x="424" y="1014"/>
                  </a:lnTo>
                  <a:lnTo>
                    <a:pt x="420" y="1018"/>
                  </a:lnTo>
                  <a:lnTo>
                    <a:pt x="418" y="1022"/>
                  </a:lnTo>
                  <a:lnTo>
                    <a:pt x="420" y="1026"/>
                  </a:lnTo>
                  <a:lnTo>
                    <a:pt x="424" y="1034"/>
                  </a:lnTo>
                  <a:lnTo>
                    <a:pt x="424" y="1038"/>
                  </a:lnTo>
                  <a:lnTo>
                    <a:pt x="424" y="1040"/>
                  </a:lnTo>
                  <a:lnTo>
                    <a:pt x="420" y="1042"/>
                  </a:lnTo>
                  <a:lnTo>
                    <a:pt x="418" y="1042"/>
                  </a:lnTo>
                  <a:lnTo>
                    <a:pt x="406" y="1038"/>
                  </a:lnTo>
                  <a:lnTo>
                    <a:pt x="402" y="1036"/>
                  </a:lnTo>
                  <a:lnTo>
                    <a:pt x="396" y="1038"/>
                  </a:lnTo>
                  <a:lnTo>
                    <a:pt x="390" y="1046"/>
                  </a:lnTo>
                  <a:lnTo>
                    <a:pt x="386" y="1050"/>
                  </a:lnTo>
                  <a:lnTo>
                    <a:pt x="382" y="1052"/>
                  </a:lnTo>
                  <a:lnTo>
                    <a:pt x="378" y="1052"/>
                  </a:lnTo>
                  <a:lnTo>
                    <a:pt x="374" y="1048"/>
                  </a:lnTo>
                  <a:lnTo>
                    <a:pt x="362" y="1038"/>
                  </a:lnTo>
                  <a:lnTo>
                    <a:pt x="358" y="1038"/>
                  </a:lnTo>
                  <a:lnTo>
                    <a:pt x="356" y="1038"/>
                  </a:lnTo>
                  <a:lnTo>
                    <a:pt x="354" y="1038"/>
                  </a:lnTo>
                  <a:lnTo>
                    <a:pt x="352" y="1042"/>
                  </a:lnTo>
                  <a:lnTo>
                    <a:pt x="352" y="1052"/>
                  </a:lnTo>
                  <a:lnTo>
                    <a:pt x="352" y="1056"/>
                  </a:lnTo>
                  <a:lnTo>
                    <a:pt x="350" y="1058"/>
                  </a:lnTo>
                  <a:lnTo>
                    <a:pt x="350" y="1060"/>
                  </a:lnTo>
                  <a:lnTo>
                    <a:pt x="346" y="1058"/>
                  </a:lnTo>
                  <a:lnTo>
                    <a:pt x="342" y="1052"/>
                  </a:lnTo>
                  <a:lnTo>
                    <a:pt x="338" y="1042"/>
                  </a:lnTo>
                  <a:lnTo>
                    <a:pt x="336" y="1038"/>
                  </a:lnTo>
                  <a:lnTo>
                    <a:pt x="330" y="1036"/>
                  </a:lnTo>
                  <a:lnTo>
                    <a:pt x="326" y="1036"/>
                  </a:lnTo>
                  <a:lnTo>
                    <a:pt x="320" y="1038"/>
                  </a:lnTo>
                  <a:lnTo>
                    <a:pt x="314" y="1042"/>
                  </a:lnTo>
                  <a:lnTo>
                    <a:pt x="308" y="1048"/>
                  </a:lnTo>
                  <a:lnTo>
                    <a:pt x="306" y="1054"/>
                  </a:lnTo>
                  <a:lnTo>
                    <a:pt x="306" y="1060"/>
                  </a:lnTo>
                  <a:lnTo>
                    <a:pt x="304" y="1070"/>
                  </a:lnTo>
                  <a:lnTo>
                    <a:pt x="304" y="1072"/>
                  </a:lnTo>
                  <a:lnTo>
                    <a:pt x="302" y="1072"/>
                  </a:lnTo>
                  <a:lnTo>
                    <a:pt x="294" y="1066"/>
                  </a:lnTo>
                  <a:lnTo>
                    <a:pt x="286" y="1052"/>
                  </a:lnTo>
                  <a:lnTo>
                    <a:pt x="280" y="1044"/>
                  </a:lnTo>
                  <a:lnTo>
                    <a:pt x="276" y="1042"/>
                  </a:lnTo>
                  <a:lnTo>
                    <a:pt x="272" y="1040"/>
                  </a:lnTo>
                  <a:lnTo>
                    <a:pt x="268" y="1042"/>
                  </a:lnTo>
                  <a:lnTo>
                    <a:pt x="266" y="1046"/>
                  </a:lnTo>
                  <a:lnTo>
                    <a:pt x="266" y="1052"/>
                  </a:lnTo>
                  <a:lnTo>
                    <a:pt x="266" y="1056"/>
                  </a:lnTo>
                  <a:lnTo>
                    <a:pt x="268" y="1062"/>
                  </a:lnTo>
                  <a:lnTo>
                    <a:pt x="270" y="1074"/>
                  </a:lnTo>
                  <a:lnTo>
                    <a:pt x="270" y="1078"/>
                  </a:lnTo>
                  <a:lnTo>
                    <a:pt x="270" y="1080"/>
                  </a:lnTo>
                  <a:lnTo>
                    <a:pt x="266" y="1082"/>
                  </a:lnTo>
                  <a:lnTo>
                    <a:pt x="264" y="1082"/>
                  </a:lnTo>
                  <a:lnTo>
                    <a:pt x="260" y="1080"/>
                  </a:lnTo>
                  <a:lnTo>
                    <a:pt x="256" y="1074"/>
                  </a:lnTo>
                  <a:lnTo>
                    <a:pt x="252" y="1070"/>
                  </a:lnTo>
                  <a:lnTo>
                    <a:pt x="248" y="1072"/>
                  </a:lnTo>
                  <a:lnTo>
                    <a:pt x="246" y="1076"/>
                  </a:lnTo>
                  <a:lnTo>
                    <a:pt x="242" y="1082"/>
                  </a:lnTo>
                  <a:lnTo>
                    <a:pt x="240" y="1088"/>
                  </a:lnTo>
                  <a:lnTo>
                    <a:pt x="236" y="1090"/>
                  </a:lnTo>
                  <a:lnTo>
                    <a:pt x="234" y="1092"/>
                  </a:lnTo>
                  <a:lnTo>
                    <a:pt x="232" y="1090"/>
                  </a:lnTo>
                  <a:lnTo>
                    <a:pt x="228" y="1084"/>
                  </a:lnTo>
                  <a:lnTo>
                    <a:pt x="226" y="1076"/>
                  </a:lnTo>
                  <a:lnTo>
                    <a:pt x="226" y="1070"/>
                  </a:lnTo>
                  <a:lnTo>
                    <a:pt x="228" y="1060"/>
                  </a:lnTo>
                  <a:lnTo>
                    <a:pt x="228" y="1058"/>
                  </a:lnTo>
                  <a:lnTo>
                    <a:pt x="228" y="1054"/>
                  </a:lnTo>
                  <a:lnTo>
                    <a:pt x="224" y="1050"/>
                  </a:lnTo>
                  <a:lnTo>
                    <a:pt x="216" y="1046"/>
                  </a:lnTo>
                  <a:lnTo>
                    <a:pt x="204" y="1036"/>
                  </a:lnTo>
                  <a:lnTo>
                    <a:pt x="200" y="1030"/>
                  </a:lnTo>
                  <a:lnTo>
                    <a:pt x="194" y="1026"/>
                  </a:lnTo>
                  <a:lnTo>
                    <a:pt x="184" y="1020"/>
                  </a:lnTo>
                  <a:lnTo>
                    <a:pt x="174" y="1018"/>
                  </a:lnTo>
                  <a:lnTo>
                    <a:pt x="168" y="1018"/>
                  </a:lnTo>
                  <a:lnTo>
                    <a:pt x="162" y="1018"/>
                  </a:lnTo>
                  <a:lnTo>
                    <a:pt x="158" y="1020"/>
                  </a:lnTo>
                  <a:lnTo>
                    <a:pt x="154" y="1024"/>
                  </a:lnTo>
                  <a:lnTo>
                    <a:pt x="152" y="1026"/>
                  </a:lnTo>
                  <a:lnTo>
                    <a:pt x="152" y="1030"/>
                  </a:lnTo>
                  <a:lnTo>
                    <a:pt x="154" y="1032"/>
                  </a:lnTo>
                  <a:lnTo>
                    <a:pt x="162" y="1038"/>
                  </a:lnTo>
                  <a:lnTo>
                    <a:pt x="170" y="1042"/>
                  </a:lnTo>
                  <a:lnTo>
                    <a:pt x="180" y="1048"/>
                  </a:lnTo>
                  <a:lnTo>
                    <a:pt x="186" y="1054"/>
                  </a:lnTo>
                  <a:lnTo>
                    <a:pt x="188" y="1058"/>
                  </a:lnTo>
                  <a:lnTo>
                    <a:pt x="186" y="1058"/>
                  </a:lnTo>
                  <a:lnTo>
                    <a:pt x="178" y="1056"/>
                  </a:lnTo>
                  <a:lnTo>
                    <a:pt x="166" y="1048"/>
                  </a:lnTo>
                  <a:lnTo>
                    <a:pt x="154" y="1040"/>
                  </a:lnTo>
                  <a:lnTo>
                    <a:pt x="148" y="1038"/>
                  </a:lnTo>
                  <a:lnTo>
                    <a:pt x="144" y="1036"/>
                  </a:lnTo>
                  <a:lnTo>
                    <a:pt x="140" y="1038"/>
                  </a:lnTo>
                  <a:lnTo>
                    <a:pt x="136" y="1040"/>
                  </a:lnTo>
                  <a:lnTo>
                    <a:pt x="130" y="1048"/>
                  </a:lnTo>
                  <a:lnTo>
                    <a:pt x="128" y="1058"/>
                  </a:lnTo>
                  <a:lnTo>
                    <a:pt x="128" y="1064"/>
                  </a:lnTo>
                  <a:lnTo>
                    <a:pt x="126" y="1066"/>
                  </a:lnTo>
                  <a:lnTo>
                    <a:pt x="122" y="1068"/>
                  </a:lnTo>
                  <a:lnTo>
                    <a:pt x="118" y="1068"/>
                  </a:lnTo>
                  <a:lnTo>
                    <a:pt x="116" y="1070"/>
                  </a:lnTo>
                  <a:lnTo>
                    <a:pt x="116" y="1074"/>
                  </a:lnTo>
                  <a:lnTo>
                    <a:pt x="114" y="1080"/>
                  </a:lnTo>
                  <a:lnTo>
                    <a:pt x="112" y="1080"/>
                  </a:lnTo>
                  <a:lnTo>
                    <a:pt x="106" y="1078"/>
                  </a:lnTo>
                  <a:lnTo>
                    <a:pt x="102" y="1078"/>
                  </a:lnTo>
                  <a:lnTo>
                    <a:pt x="98" y="1080"/>
                  </a:lnTo>
                  <a:lnTo>
                    <a:pt x="96" y="1082"/>
                  </a:lnTo>
                  <a:lnTo>
                    <a:pt x="96" y="1084"/>
                  </a:lnTo>
                  <a:lnTo>
                    <a:pt x="100" y="1086"/>
                  </a:lnTo>
                  <a:lnTo>
                    <a:pt x="104" y="1090"/>
                  </a:lnTo>
                  <a:lnTo>
                    <a:pt x="118" y="1092"/>
                  </a:lnTo>
                  <a:lnTo>
                    <a:pt x="126" y="1092"/>
                  </a:lnTo>
                  <a:lnTo>
                    <a:pt x="134" y="1090"/>
                  </a:lnTo>
                  <a:close/>
                  <a:moveTo>
                    <a:pt x="306" y="1550"/>
                  </a:moveTo>
                  <a:lnTo>
                    <a:pt x="306" y="1550"/>
                  </a:lnTo>
                  <a:lnTo>
                    <a:pt x="304" y="1546"/>
                  </a:lnTo>
                  <a:lnTo>
                    <a:pt x="302" y="1544"/>
                  </a:lnTo>
                  <a:lnTo>
                    <a:pt x="300" y="1544"/>
                  </a:lnTo>
                  <a:lnTo>
                    <a:pt x="300" y="1546"/>
                  </a:lnTo>
                  <a:lnTo>
                    <a:pt x="302" y="1548"/>
                  </a:lnTo>
                  <a:lnTo>
                    <a:pt x="306" y="1550"/>
                  </a:lnTo>
                  <a:close/>
                  <a:moveTo>
                    <a:pt x="294" y="1582"/>
                  </a:moveTo>
                  <a:lnTo>
                    <a:pt x="294" y="1582"/>
                  </a:lnTo>
                  <a:lnTo>
                    <a:pt x="296" y="1580"/>
                  </a:lnTo>
                  <a:lnTo>
                    <a:pt x="294" y="1576"/>
                  </a:lnTo>
                  <a:lnTo>
                    <a:pt x="290" y="1572"/>
                  </a:lnTo>
                  <a:lnTo>
                    <a:pt x="288" y="1572"/>
                  </a:lnTo>
                  <a:lnTo>
                    <a:pt x="286" y="1574"/>
                  </a:lnTo>
                  <a:lnTo>
                    <a:pt x="286" y="1576"/>
                  </a:lnTo>
                  <a:lnTo>
                    <a:pt x="290" y="1580"/>
                  </a:lnTo>
                  <a:lnTo>
                    <a:pt x="294" y="1582"/>
                  </a:lnTo>
                  <a:close/>
                  <a:moveTo>
                    <a:pt x="134" y="1350"/>
                  </a:moveTo>
                  <a:lnTo>
                    <a:pt x="134" y="1350"/>
                  </a:lnTo>
                  <a:lnTo>
                    <a:pt x="134" y="1354"/>
                  </a:lnTo>
                  <a:lnTo>
                    <a:pt x="134" y="1356"/>
                  </a:lnTo>
                  <a:lnTo>
                    <a:pt x="138" y="1360"/>
                  </a:lnTo>
                  <a:lnTo>
                    <a:pt x="140" y="1362"/>
                  </a:lnTo>
                  <a:lnTo>
                    <a:pt x="144" y="1364"/>
                  </a:lnTo>
                  <a:lnTo>
                    <a:pt x="150" y="1372"/>
                  </a:lnTo>
                  <a:lnTo>
                    <a:pt x="154" y="1374"/>
                  </a:lnTo>
                  <a:lnTo>
                    <a:pt x="154" y="1370"/>
                  </a:lnTo>
                  <a:lnTo>
                    <a:pt x="152" y="1364"/>
                  </a:lnTo>
                  <a:lnTo>
                    <a:pt x="148" y="1360"/>
                  </a:lnTo>
                  <a:lnTo>
                    <a:pt x="146" y="1358"/>
                  </a:lnTo>
                  <a:lnTo>
                    <a:pt x="144" y="1358"/>
                  </a:lnTo>
                  <a:lnTo>
                    <a:pt x="142" y="1354"/>
                  </a:lnTo>
                  <a:lnTo>
                    <a:pt x="140" y="1350"/>
                  </a:lnTo>
                  <a:lnTo>
                    <a:pt x="136" y="1348"/>
                  </a:lnTo>
                  <a:lnTo>
                    <a:pt x="134" y="1348"/>
                  </a:lnTo>
                  <a:lnTo>
                    <a:pt x="134" y="1350"/>
                  </a:lnTo>
                  <a:close/>
                  <a:moveTo>
                    <a:pt x="138" y="1658"/>
                  </a:moveTo>
                  <a:lnTo>
                    <a:pt x="138" y="1658"/>
                  </a:lnTo>
                  <a:lnTo>
                    <a:pt x="140" y="1652"/>
                  </a:lnTo>
                  <a:lnTo>
                    <a:pt x="138" y="1650"/>
                  </a:lnTo>
                  <a:lnTo>
                    <a:pt x="136" y="1650"/>
                  </a:lnTo>
                  <a:lnTo>
                    <a:pt x="132" y="1652"/>
                  </a:lnTo>
                  <a:lnTo>
                    <a:pt x="128" y="1652"/>
                  </a:lnTo>
                  <a:lnTo>
                    <a:pt x="124" y="1652"/>
                  </a:lnTo>
                  <a:lnTo>
                    <a:pt x="122" y="1654"/>
                  </a:lnTo>
                  <a:lnTo>
                    <a:pt x="120" y="1656"/>
                  </a:lnTo>
                  <a:lnTo>
                    <a:pt x="122" y="1656"/>
                  </a:lnTo>
                  <a:lnTo>
                    <a:pt x="126" y="1660"/>
                  </a:lnTo>
                  <a:lnTo>
                    <a:pt x="134" y="1660"/>
                  </a:lnTo>
                  <a:lnTo>
                    <a:pt x="136" y="1660"/>
                  </a:lnTo>
                  <a:lnTo>
                    <a:pt x="138" y="1658"/>
                  </a:lnTo>
                  <a:close/>
                  <a:moveTo>
                    <a:pt x="124" y="1360"/>
                  </a:moveTo>
                  <a:lnTo>
                    <a:pt x="124" y="1360"/>
                  </a:lnTo>
                  <a:lnTo>
                    <a:pt x="122" y="1360"/>
                  </a:lnTo>
                  <a:lnTo>
                    <a:pt x="124" y="1362"/>
                  </a:lnTo>
                  <a:lnTo>
                    <a:pt x="132" y="1368"/>
                  </a:lnTo>
                  <a:lnTo>
                    <a:pt x="134" y="1370"/>
                  </a:lnTo>
                  <a:lnTo>
                    <a:pt x="138" y="1368"/>
                  </a:lnTo>
                  <a:lnTo>
                    <a:pt x="138" y="1366"/>
                  </a:lnTo>
                  <a:lnTo>
                    <a:pt x="136" y="1362"/>
                  </a:lnTo>
                  <a:lnTo>
                    <a:pt x="132" y="1358"/>
                  </a:lnTo>
                  <a:lnTo>
                    <a:pt x="130" y="1358"/>
                  </a:lnTo>
                  <a:lnTo>
                    <a:pt x="124" y="1360"/>
                  </a:lnTo>
                  <a:close/>
                  <a:moveTo>
                    <a:pt x="162" y="1352"/>
                  </a:moveTo>
                  <a:lnTo>
                    <a:pt x="162" y="1352"/>
                  </a:lnTo>
                  <a:lnTo>
                    <a:pt x="162" y="1348"/>
                  </a:lnTo>
                  <a:lnTo>
                    <a:pt x="160" y="1344"/>
                  </a:lnTo>
                  <a:lnTo>
                    <a:pt x="160" y="1350"/>
                  </a:lnTo>
                  <a:lnTo>
                    <a:pt x="160" y="1352"/>
                  </a:lnTo>
                  <a:lnTo>
                    <a:pt x="162" y="1352"/>
                  </a:lnTo>
                  <a:close/>
                  <a:moveTo>
                    <a:pt x="128" y="1670"/>
                  </a:moveTo>
                  <a:lnTo>
                    <a:pt x="128" y="1670"/>
                  </a:lnTo>
                  <a:lnTo>
                    <a:pt x="126" y="1670"/>
                  </a:lnTo>
                  <a:lnTo>
                    <a:pt x="124" y="1672"/>
                  </a:lnTo>
                  <a:lnTo>
                    <a:pt x="122" y="1678"/>
                  </a:lnTo>
                  <a:lnTo>
                    <a:pt x="124" y="1686"/>
                  </a:lnTo>
                  <a:lnTo>
                    <a:pt x="126" y="1688"/>
                  </a:lnTo>
                  <a:lnTo>
                    <a:pt x="128" y="1688"/>
                  </a:lnTo>
                  <a:lnTo>
                    <a:pt x="130" y="1688"/>
                  </a:lnTo>
                  <a:lnTo>
                    <a:pt x="130" y="1684"/>
                  </a:lnTo>
                  <a:lnTo>
                    <a:pt x="128" y="1682"/>
                  </a:lnTo>
                  <a:lnTo>
                    <a:pt x="128" y="1680"/>
                  </a:lnTo>
                  <a:lnTo>
                    <a:pt x="130" y="1678"/>
                  </a:lnTo>
                  <a:lnTo>
                    <a:pt x="132" y="1674"/>
                  </a:lnTo>
                  <a:lnTo>
                    <a:pt x="130" y="1672"/>
                  </a:lnTo>
                  <a:lnTo>
                    <a:pt x="128" y="1670"/>
                  </a:lnTo>
                  <a:close/>
                  <a:moveTo>
                    <a:pt x="238" y="1920"/>
                  </a:moveTo>
                  <a:lnTo>
                    <a:pt x="238" y="1920"/>
                  </a:lnTo>
                  <a:lnTo>
                    <a:pt x="236" y="1924"/>
                  </a:lnTo>
                  <a:lnTo>
                    <a:pt x="238" y="1926"/>
                  </a:lnTo>
                  <a:lnTo>
                    <a:pt x="240" y="1930"/>
                  </a:lnTo>
                  <a:lnTo>
                    <a:pt x="246" y="1930"/>
                  </a:lnTo>
                  <a:lnTo>
                    <a:pt x="248" y="1930"/>
                  </a:lnTo>
                  <a:lnTo>
                    <a:pt x="252" y="1926"/>
                  </a:lnTo>
                  <a:lnTo>
                    <a:pt x="252" y="1924"/>
                  </a:lnTo>
                  <a:lnTo>
                    <a:pt x="254" y="1920"/>
                  </a:lnTo>
                  <a:lnTo>
                    <a:pt x="252" y="1918"/>
                  </a:lnTo>
                  <a:lnTo>
                    <a:pt x="250" y="1916"/>
                  </a:lnTo>
                  <a:lnTo>
                    <a:pt x="248" y="1914"/>
                  </a:lnTo>
                  <a:lnTo>
                    <a:pt x="244" y="1916"/>
                  </a:lnTo>
                  <a:lnTo>
                    <a:pt x="240" y="1916"/>
                  </a:lnTo>
                  <a:lnTo>
                    <a:pt x="238" y="1920"/>
                  </a:lnTo>
                  <a:close/>
                  <a:moveTo>
                    <a:pt x="232" y="1878"/>
                  </a:moveTo>
                  <a:lnTo>
                    <a:pt x="232" y="1878"/>
                  </a:lnTo>
                  <a:lnTo>
                    <a:pt x="236" y="1878"/>
                  </a:lnTo>
                  <a:lnTo>
                    <a:pt x="240" y="1876"/>
                  </a:lnTo>
                  <a:lnTo>
                    <a:pt x="246" y="1870"/>
                  </a:lnTo>
                  <a:lnTo>
                    <a:pt x="248" y="1862"/>
                  </a:lnTo>
                  <a:lnTo>
                    <a:pt x="246" y="1858"/>
                  </a:lnTo>
                  <a:lnTo>
                    <a:pt x="244" y="1856"/>
                  </a:lnTo>
                  <a:lnTo>
                    <a:pt x="240" y="1858"/>
                  </a:lnTo>
                  <a:lnTo>
                    <a:pt x="234" y="1866"/>
                  </a:lnTo>
                  <a:lnTo>
                    <a:pt x="230" y="1874"/>
                  </a:lnTo>
                  <a:lnTo>
                    <a:pt x="230" y="1876"/>
                  </a:lnTo>
                  <a:lnTo>
                    <a:pt x="232" y="1878"/>
                  </a:lnTo>
                  <a:close/>
                  <a:moveTo>
                    <a:pt x="290" y="1568"/>
                  </a:moveTo>
                  <a:lnTo>
                    <a:pt x="290" y="1568"/>
                  </a:lnTo>
                  <a:lnTo>
                    <a:pt x="294" y="1572"/>
                  </a:lnTo>
                  <a:lnTo>
                    <a:pt x="298" y="1572"/>
                  </a:lnTo>
                  <a:lnTo>
                    <a:pt x="302" y="1572"/>
                  </a:lnTo>
                  <a:lnTo>
                    <a:pt x="304" y="1572"/>
                  </a:lnTo>
                  <a:lnTo>
                    <a:pt x="306" y="1574"/>
                  </a:lnTo>
                  <a:lnTo>
                    <a:pt x="310" y="1574"/>
                  </a:lnTo>
                  <a:lnTo>
                    <a:pt x="312" y="1572"/>
                  </a:lnTo>
                  <a:lnTo>
                    <a:pt x="312" y="1570"/>
                  </a:lnTo>
                  <a:lnTo>
                    <a:pt x="310" y="1568"/>
                  </a:lnTo>
                  <a:lnTo>
                    <a:pt x="310" y="1570"/>
                  </a:lnTo>
                  <a:lnTo>
                    <a:pt x="308" y="1570"/>
                  </a:lnTo>
                  <a:lnTo>
                    <a:pt x="308" y="1568"/>
                  </a:lnTo>
                  <a:lnTo>
                    <a:pt x="304" y="1566"/>
                  </a:lnTo>
                  <a:lnTo>
                    <a:pt x="302" y="1566"/>
                  </a:lnTo>
                  <a:lnTo>
                    <a:pt x="300" y="1566"/>
                  </a:lnTo>
                  <a:lnTo>
                    <a:pt x="300" y="1564"/>
                  </a:lnTo>
                  <a:lnTo>
                    <a:pt x="302" y="1560"/>
                  </a:lnTo>
                  <a:lnTo>
                    <a:pt x="300" y="1560"/>
                  </a:lnTo>
                  <a:lnTo>
                    <a:pt x="296" y="1556"/>
                  </a:lnTo>
                  <a:lnTo>
                    <a:pt x="292" y="1556"/>
                  </a:lnTo>
                  <a:lnTo>
                    <a:pt x="290" y="1560"/>
                  </a:lnTo>
                  <a:lnTo>
                    <a:pt x="288" y="1564"/>
                  </a:lnTo>
                  <a:lnTo>
                    <a:pt x="290" y="1568"/>
                  </a:lnTo>
                  <a:close/>
                  <a:moveTo>
                    <a:pt x="208" y="1778"/>
                  </a:moveTo>
                  <a:lnTo>
                    <a:pt x="208" y="1778"/>
                  </a:lnTo>
                  <a:lnTo>
                    <a:pt x="206" y="1784"/>
                  </a:lnTo>
                  <a:lnTo>
                    <a:pt x="206" y="1788"/>
                  </a:lnTo>
                  <a:lnTo>
                    <a:pt x="210" y="1792"/>
                  </a:lnTo>
                  <a:lnTo>
                    <a:pt x="214" y="1792"/>
                  </a:lnTo>
                  <a:lnTo>
                    <a:pt x="216" y="1792"/>
                  </a:lnTo>
                  <a:lnTo>
                    <a:pt x="218" y="1788"/>
                  </a:lnTo>
                  <a:lnTo>
                    <a:pt x="216" y="1782"/>
                  </a:lnTo>
                  <a:lnTo>
                    <a:pt x="212" y="1776"/>
                  </a:lnTo>
                  <a:lnTo>
                    <a:pt x="210" y="1776"/>
                  </a:lnTo>
                  <a:lnTo>
                    <a:pt x="208" y="1778"/>
                  </a:lnTo>
                  <a:close/>
                  <a:moveTo>
                    <a:pt x="618" y="1434"/>
                  </a:moveTo>
                  <a:lnTo>
                    <a:pt x="618" y="1434"/>
                  </a:lnTo>
                  <a:lnTo>
                    <a:pt x="620" y="1434"/>
                  </a:lnTo>
                  <a:lnTo>
                    <a:pt x="622" y="1430"/>
                  </a:lnTo>
                  <a:lnTo>
                    <a:pt x="622" y="1428"/>
                  </a:lnTo>
                  <a:lnTo>
                    <a:pt x="620" y="1426"/>
                  </a:lnTo>
                  <a:lnTo>
                    <a:pt x="616" y="1430"/>
                  </a:lnTo>
                  <a:lnTo>
                    <a:pt x="616" y="1432"/>
                  </a:lnTo>
                  <a:lnTo>
                    <a:pt x="618" y="1434"/>
                  </a:lnTo>
                  <a:close/>
                  <a:moveTo>
                    <a:pt x="882" y="1770"/>
                  </a:moveTo>
                  <a:lnTo>
                    <a:pt x="882" y="1770"/>
                  </a:lnTo>
                  <a:lnTo>
                    <a:pt x="876" y="1774"/>
                  </a:lnTo>
                  <a:lnTo>
                    <a:pt x="870" y="1774"/>
                  </a:lnTo>
                  <a:lnTo>
                    <a:pt x="866" y="1772"/>
                  </a:lnTo>
                  <a:lnTo>
                    <a:pt x="860" y="1774"/>
                  </a:lnTo>
                  <a:lnTo>
                    <a:pt x="860" y="1776"/>
                  </a:lnTo>
                  <a:lnTo>
                    <a:pt x="864" y="1778"/>
                  </a:lnTo>
                  <a:lnTo>
                    <a:pt x="870" y="1782"/>
                  </a:lnTo>
                  <a:lnTo>
                    <a:pt x="870" y="1784"/>
                  </a:lnTo>
                  <a:lnTo>
                    <a:pt x="870" y="1786"/>
                  </a:lnTo>
                  <a:lnTo>
                    <a:pt x="870" y="1788"/>
                  </a:lnTo>
                  <a:lnTo>
                    <a:pt x="872" y="1790"/>
                  </a:lnTo>
                  <a:lnTo>
                    <a:pt x="874" y="1792"/>
                  </a:lnTo>
                  <a:lnTo>
                    <a:pt x="872" y="1796"/>
                  </a:lnTo>
                  <a:lnTo>
                    <a:pt x="870" y="1798"/>
                  </a:lnTo>
                  <a:lnTo>
                    <a:pt x="872" y="1800"/>
                  </a:lnTo>
                  <a:lnTo>
                    <a:pt x="874" y="1800"/>
                  </a:lnTo>
                  <a:lnTo>
                    <a:pt x="876" y="1804"/>
                  </a:lnTo>
                  <a:lnTo>
                    <a:pt x="876" y="1806"/>
                  </a:lnTo>
                  <a:lnTo>
                    <a:pt x="878" y="1806"/>
                  </a:lnTo>
                  <a:lnTo>
                    <a:pt x="882" y="1806"/>
                  </a:lnTo>
                  <a:lnTo>
                    <a:pt x="886" y="1806"/>
                  </a:lnTo>
                  <a:lnTo>
                    <a:pt x="888" y="1808"/>
                  </a:lnTo>
                  <a:lnTo>
                    <a:pt x="892" y="1806"/>
                  </a:lnTo>
                  <a:lnTo>
                    <a:pt x="894" y="1808"/>
                  </a:lnTo>
                  <a:lnTo>
                    <a:pt x="896" y="1810"/>
                  </a:lnTo>
                  <a:lnTo>
                    <a:pt x="896" y="1814"/>
                  </a:lnTo>
                  <a:lnTo>
                    <a:pt x="894" y="1814"/>
                  </a:lnTo>
                  <a:lnTo>
                    <a:pt x="892" y="1814"/>
                  </a:lnTo>
                  <a:lnTo>
                    <a:pt x="890" y="1816"/>
                  </a:lnTo>
                  <a:lnTo>
                    <a:pt x="892" y="1816"/>
                  </a:lnTo>
                  <a:lnTo>
                    <a:pt x="894" y="1818"/>
                  </a:lnTo>
                  <a:lnTo>
                    <a:pt x="898" y="1820"/>
                  </a:lnTo>
                  <a:lnTo>
                    <a:pt x="898" y="1822"/>
                  </a:lnTo>
                  <a:lnTo>
                    <a:pt x="896" y="1824"/>
                  </a:lnTo>
                  <a:lnTo>
                    <a:pt x="896" y="1826"/>
                  </a:lnTo>
                  <a:lnTo>
                    <a:pt x="900" y="1832"/>
                  </a:lnTo>
                  <a:lnTo>
                    <a:pt x="902" y="1836"/>
                  </a:lnTo>
                  <a:lnTo>
                    <a:pt x="904" y="1840"/>
                  </a:lnTo>
                  <a:lnTo>
                    <a:pt x="904" y="1844"/>
                  </a:lnTo>
                  <a:lnTo>
                    <a:pt x="906" y="1846"/>
                  </a:lnTo>
                  <a:lnTo>
                    <a:pt x="906" y="1848"/>
                  </a:lnTo>
                  <a:lnTo>
                    <a:pt x="908" y="1848"/>
                  </a:lnTo>
                  <a:lnTo>
                    <a:pt x="908" y="1844"/>
                  </a:lnTo>
                  <a:lnTo>
                    <a:pt x="908" y="1838"/>
                  </a:lnTo>
                  <a:lnTo>
                    <a:pt x="910" y="1834"/>
                  </a:lnTo>
                  <a:lnTo>
                    <a:pt x="912" y="1832"/>
                  </a:lnTo>
                  <a:lnTo>
                    <a:pt x="912" y="1828"/>
                  </a:lnTo>
                  <a:lnTo>
                    <a:pt x="908" y="1824"/>
                  </a:lnTo>
                  <a:lnTo>
                    <a:pt x="902" y="1822"/>
                  </a:lnTo>
                  <a:lnTo>
                    <a:pt x="904" y="1822"/>
                  </a:lnTo>
                  <a:lnTo>
                    <a:pt x="906" y="1820"/>
                  </a:lnTo>
                  <a:lnTo>
                    <a:pt x="910" y="1820"/>
                  </a:lnTo>
                  <a:lnTo>
                    <a:pt x="912" y="1818"/>
                  </a:lnTo>
                  <a:lnTo>
                    <a:pt x="912" y="1816"/>
                  </a:lnTo>
                  <a:lnTo>
                    <a:pt x="912" y="1812"/>
                  </a:lnTo>
                  <a:lnTo>
                    <a:pt x="912" y="1810"/>
                  </a:lnTo>
                  <a:lnTo>
                    <a:pt x="912" y="1808"/>
                  </a:lnTo>
                  <a:lnTo>
                    <a:pt x="918" y="1804"/>
                  </a:lnTo>
                  <a:lnTo>
                    <a:pt x="924" y="1802"/>
                  </a:lnTo>
                  <a:lnTo>
                    <a:pt x="926" y="1800"/>
                  </a:lnTo>
                  <a:lnTo>
                    <a:pt x="924" y="1798"/>
                  </a:lnTo>
                  <a:lnTo>
                    <a:pt x="918" y="1794"/>
                  </a:lnTo>
                  <a:lnTo>
                    <a:pt x="914" y="1790"/>
                  </a:lnTo>
                  <a:lnTo>
                    <a:pt x="914" y="1788"/>
                  </a:lnTo>
                  <a:lnTo>
                    <a:pt x="916" y="1784"/>
                  </a:lnTo>
                  <a:lnTo>
                    <a:pt x="922" y="1782"/>
                  </a:lnTo>
                  <a:lnTo>
                    <a:pt x="926" y="1782"/>
                  </a:lnTo>
                  <a:lnTo>
                    <a:pt x="928" y="1778"/>
                  </a:lnTo>
                  <a:lnTo>
                    <a:pt x="928" y="1772"/>
                  </a:lnTo>
                  <a:lnTo>
                    <a:pt x="928" y="1764"/>
                  </a:lnTo>
                  <a:lnTo>
                    <a:pt x="930" y="1758"/>
                  </a:lnTo>
                  <a:lnTo>
                    <a:pt x="932" y="1754"/>
                  </a:lnTo>
                  <a:lnTo>
                    <a:pt x="930" y="1752"/>
                  </a:lnTo>
                  <a:lnTo>
                    <a:pt x="920" y="1750"/>
                  </a:lnTo>
                  <a:lnTo>
                    <a:pt x="914" y="1750"/>
                  </a:lnTo>
                  <a:lnTo>
                    <a:pt x="908" y="1752"/>
                  </a:lnTo>
                  <a:lnTo>
                    <a:pt x="904" y="1756"/>
                  </a:lnTo>
                  <a:lnTo>
                    <a:pt x="902" y="1760"/>
                  </a:lnTo>
                  <a:lnTo>
                    <a:pt x="904" y="1762"/>
                  </a:lnTo>
                  <a:lnTo>
                    <a:pt x="904" y="1764"/>
                  </a:lnTo>
                  <a:lnTo>
                    <a:pt x="900" y="1772"/>
                  </a:lnTo>
                  <a:lnTo>
                    <a:pt x="898" y="1776"/>
                  </a:lnTo>
                  <a:lnTo>
                    <a:pt x="896" y="1774"/>
                  </a:lnTo>
                  <a:lnTo>
                    <a:pt x="896" y="1770"/>
                  </a:lnTo>
                  <a:lnTo>
                    <a:pt x="898" y="1762"/>
                  </a:lnTo>
                  <a:lnTo>
                    <a:pt x="896" y="1760"/>
                  </a:lnTo>
                  <a:lnTo>
                    <a:pt x="894" y="1760"/>
                  </a:lnTo>
                  <a:lnTo>
                    <a:pt x="890" y="1760"/>
                  </a:lnTo>
                  <a:lnTo>
                    <a:pt x="884" y="1758"/>
                  </a:lnTo>
                  <a:lnTo>
                    <a:pt x="880" y="1758"/>
                  </a:lnTo>
                  <a:lnTo>
                    <a:pt x="876" y="1758"/>
                  </a:lnTo>
                  <a:lnTo>
                    <a:pt x="878" y="1760"/>
                  </a:lnTo>
                  <a:lnTo>
                    <a:pt x="882" y="1762"/>
                  </a:lnTo>
                  <a:lnTo>
                    <a:pt x="886" y="1764"/>
                  </a:lnTo>
                  <a:lnTo>
                    <a:pt x="884" y="1768"/>
                  </a:lnTo>
                  <a:lnTo>
                    <a:pt x="882" y="1770"/>
                  </a:lnTo>
                  <a:close/>
                  <a:moveTo>
                    <a:pt x="850" y="1762"/>
                  </a:moveTo>
                  <a:lnTo>
                    <a:pt x="850" y="1762"/>
                  </a:lnTo>
                  <a:lnTo>
                    <a:pt x="848" y="1760"/>
                  </a:lnTo>
                  <a:lnTo>
                    <a:pt x="846" y="1764"/>
                  </a:lnTo>
                  <a:lnTo>
                    <a:pt x="848" y="1768"/>
                  </a:lnTo>
                  <a:lnTo>
                    <a:pt x="848" y="1772"/>
                  </a:lnTo>
                  <a:lnTo>
                    <a:pt x="850" y="1772"/>
                  </a:lnTo>
                  <a:lnTo>
                    <a:pt x="850" y="1770"/>
                  </a:lnTo>
                  <a:lnTo>
                    <a:pt x="852" y="1766"/>
                  </a:lnTo>
                  <a:lnTo>
                    <a:pt x="850" y="1762"/>
                  </a:lnTo>
                  <a:close/>
                  <a:moveTo>
                    <a:pt x="834" y="1814"/>
                  </a:moveTo>
                  <a:lnTo>
                    <a:pt x="834" y="1814"/>
                  </a:lnTo>
                  <a:lnTo>
                    <a:pt x="846" y="1816"/>
                  </a:lnTo>
                  <a:lnTo>
                    <a:pt x="852" y="1814"/>
                  </a:lnTo>
                  <a:lnTo>
                    <a:pt x="856" y="1812"/>
                  </a:lnTo>
                  <a:lnTo>
                    <a:pt x="858" y="1808"/>
                  </a:lnTo>
                  <a:lnTo>
                    <a:pt x="858" y="1806"/>
                  </a:lnTo>
                  <a:lnTo>
                    <a:pt x="858" y="1800"/>
                  </a:lnTo>
                  <a:lnTo>
                    <a:pt x="856" y="1794"/>
                  </a:lnTo>
                  <a:lnTo>
                    <a:pt x="856" y="1790"/>
                  </a:lnTo>
                  <a:lnTo>
                    <a:pt x="856" y="1788"/>
                  </a:lnTo>
                  <a:lnTo>
                    <a:pt x="852" y="1784"/>
                  </a:lnTo>
                  <a:lnTo>
                    <a:pt x="850" y="1782"/>
                  </a:lnTo>
                  <a:lnTo>
                    <a:pt x="850" y="1784"/>
                  </a:lnTo>
                  <a:lnTo>
                    <a:pt x="848" y="1786"/>
                  </a:lnTo>
                  <a:lnTo>
                    <a:pt x="840" y="1782"/>
                  </a:lnTo>
                  <a:lnTo>
                    <a:pt x="836" y="1782"/>
                  </a:lnTo>
                  <a:lnTo>
                    <a:pt x="830" y="1784"/>
                  </a:lnTo>
                  <a:lnTo>
                    <a:pt x="824" y="1786"/>
                  </a:lnTo>
                  <a:lnTo>
                    <a:pt x="818" y="1786"/>
                  </a:lnTo>
                  <a:lnTo>
                    <a:pt x="816" y="1786"/>
                  </a:lnTo>
                  <a:lnTo>
                    <a:pt x="814" y="1788"/>
                  </a:lnTo>
                  <a:lnTo>
                    <a:pt x="814" y="1790"/>
                  </a:lnTo>
                  <a:lnTo>
                    <a:pt x="816" y="1792"/>
                  </a:lnTo>
                  <a:lnTo>
                    <a:pt x="820" y="1798"/>
                  </a:lnTo>
                  <a:lnTo>
                    <a:pt x="824" y="1806"/>
                  </a:lnTo>
                  <a:lnTo>
                    <a:pt x="824" y="1810"/>
                  </a:lnTo>
                  <a:lnTo>
                    <a:pt x="826" y="1808"/>
                  </a:lnTo>
                  <a:lnTo>
                    <a:pt x="828" y="1808"/>
                  </a:lnTo>
                  <a:lnTo>
                    <a:pt x="830" y="1808"/>
                  </a:lnTo>
                  <a:lnTo>
                    <a:pt x="830" y="1810"/>
                  </a:lnTo>
                  <a:lnTo>
                    <a:pt x="830" y="1812"/>
                  </a:lnTo>
                  <a:lnTo>
                    <a:pt x="830" y="1814"/>
                  </a:lnTo>
                  <a:lnTo>
                    <a:pt x="834" y="1814"/>
                  </a:lnTo>
                  <a:close/>
                  <a:moveTo>
                    <a:pt x="898" y="1832"/>
                  </a:moveTo>
                  <a:lnTo>
                    <a:pt x="898" y="1832"/>
                  </a:lnTo>
                  <a:lnTo>
                    <a:pt x="894" y="1826"/>
                  </a:lnTo>
                  <a:lnTo>
                    <a:pt x="892" y="1826"/>
                  </a:lnTo>
                  <a:lnTo>
                    <a:pt x="890" y="1828"/>
                  </a:lnTo>
                  <a:lnTo>
                    <a:pt x="890" y="1830"/>
                  </a:lnTo>
                  <a:lnTo>
                    <a:pt x="888" y="1830"/>
                  </a:lnTo>
                  <a:lnTo>
                    <a:pt x="878" y="1824"/>
                  </a:lnTo>
                  <a:lnTo>
                    <a:pt x="872" y="1822"/>
                  </a:lnTo>
                  <a:lnTo>
                    <a:pt x="868" y="1822"/>
                  </a:lnTo>
                  <a:lnTo>
                    <a:pt x="866" y="1826"/>
                  </a:lnTo>
                  <a:lnTo>
                    <a:pt x="866" y="1830"/>
                  </a:lnTo>
                  <a:lnTo>
                    <a:pt x="870" y="1834"/>
                  </a:lnTo>
                  <a:lnTo>
                    <a:pt x="876" y="1838"/>
                  </a:lnTo>
                  <a:lnTo>
                    <a:pt x="886" y="1840"/>
                  </a:lnTo>
                  <a:lnTo>
                    <a:pt x="894" y="1842"/>
                  </a:lnTo>
                  <a:lnTo>
                    <a:pt x="898" y="1842"/>
                  </a:lnTo>
                  <a:lnTo>
                    <a:pt x="900" y="1840"/>
                  </a:lnTo>
                  <a:lnTo>
                    <a:pt x="898" y="1832"/>
                  </a:lnTo>
                  <a:close/>
                  <a:moveTo>
                    <a:pt x="914" y="1822"/>
                  </a:moveTo>
                  <a:lnTo>
                    <a:pt x="914" y="1822"/>
                  </a:lnTo>
                  <a:lnTo>
                    <a:pt x="912" y="1824"/>
                  </a:lnTo>
                  <a:lnTo>
                    <a:pt x="914" y="1826"/>
                  </a:lnTo>
                  <a:lnTo>
                    <a:pt x="918" y="1824"/>
                  </a:lnTo>
                  <a:lnTo>
                    <a:pt x="924" y="1820"/>
                  </a:lnTo>
                  <a:lnTo>
                    <a:pt x="926" y="1820"/>
                  </a:lnTo>
                  <a:lnTo>
                    <a:pt x="926" y="1818"/>
                  </a:lnTo>
                  <a:lnTo>
                    <a:pt x="922" y="1816"/>
                  </a:lnTo>
                  <a:lnTo>
                    <a:pt x="918" y="1816"/>
                  </a:lnTo>
                  <a:lnTo>
                    <a:pt x="914" y="1822"/>
                  </a:lnTo>
                  <a:close/>
                  <a:moveTo>
                    <a:pt x="868" y="1848"/>
                  </a:moveTo>
                  <a:lnTo>
                    <a:pt x="868" y="1848"/>
                  </a:lnTo>
                  <a:lnTo>
                    <a:pt x="866" y="1850"/>
                  </a:lnTo>
                  <a:lnTo>
                    <a:pt x="868" y="1852"/>
                  </a:lnTo>
                  <a:lnTo>
                    <a:pt x="872" y="1854"/>
                  </a:lnTo>
                  <a:lnTo>
                    <a:pt x="876" y="1854"/>
                  </a:lnTo>
                  <a:lnTo>
                    <a:pt x="880" y="1854"/>
                  </a:lnTo>
                  <a:lnTo>
                    <a:pt x="878" y="1852"/>
                  </a:lnTo>
                  <a:lnTo>
                    <a:pt x="876" y="1848"/>
                  </a:lnTo>
                  <a:lnTo>
                    <a:pt x="872" y="1848"/>
                  </a:lnTo>
                  <a:lnTo>
                    <a:pt x="868" y="1848"/>
                  </a:lnTo>
                  <a:close/>
                  <a:moveTo>
                    <a:pt x="1030" y="1820"/>
                  </a:moveTo>
                  <a:lnTo>
                    <a:pt x="1030" y="1820"/>
                  </a:lnTo>
                  <a:lnTo>
                    <a:pt x="1032" y="1818"/>
                  </a:lnTo>
                  <a:lnTo>
                    <a:pt x="1034" y="1814"/>
                  </a:lnTo>
                  <a:lnTo>
                    <a:pt x="1032" y="1810"/>
                  </a:lnTo>
                  <a:lnTo>
                    <a:pt x="1030" y="1808"/>
                  </a:lnTo>
                  <a:lnTo>
                    <a:pt x="1022" y="1802"/>
                  </a:lnTo>
                  <a:lnTo>
                    <a:pt x="1018" y="1800"/>
                  </a:lnTo>
                  <a:lnTo>
                    <a:pt x="1016" y="1802"/>
                  </a:lnTo>
                  <a:lnTo>
                    <a:pt x="1014" y="1806"/>
                  </a:lnTo>
                  <a:lnTo>
                    <a:pt x="1016" y="1812"/>
                  </a:lnTo>
                  <a:lnTo>
                    <a:pt x="1022" y="1818"/>
                  </a:lnTo>
                  <a:lnTo>
                    <a:pt x="1026" y="1820"/>
                  </a:lnTo>
                  <a:lnTo>
                    <a:pt x="1030" y="1820"/>
                  </a:lnTo>
                  <a:close/>
                  <a:moveTo>
                    <a:pt x="952" y="1846"/>
                  </a:moveTo>
                  <a:lnTo>
                    <a:pt x="952" y="1846"/>
                  </a:lnTo>
                  <a:lnTo>
                    <a:pt x="952" y="1848"/>
                  </a:lnTo>
                  <a:lnTo>
                    <a:pt x="954" y="1850"/>
                  </a:lnTo>
                  <a:lnTo>
                    <a:pt x="954" y="1854"/>
                  </a:lnTo>
                  <a:lnTo>
                    <a:pt x="954" y="1856"/>
                  </a:lnTo>
                  <a:lnTo>
                    <a:pt x="952" y="1858"/>
                  </a:lnTo>
                  <a:lnTo>
                    <a:pt x="952" y="1860"/>
                  </a:lnTo>
                  <a:lnTo>
                    <a:pt x="960" y="1866"/>
                  </a:lnTo>
                  <a:lnTo>
                    <a:pt x="962" y="1866"/>
                  </a:lnTo>
                  <a:lnTo>
                    <a:pt x="964" y="1866"/>
                  </a:lnTo>
                  <a:lnTo>
                    <a:pt x="964" y="1864"/>
                  </a:lnTo>
                  <a:lnTo>
                    <a:pt x="964" y="1862"/>
                  </a:lnTo>
                  <a:lnTo>
                    <a:pt x="966" y="1860"/>
                  </a:lnTo>
                  <a:lnTo>
                    <a:pt x="968" y="1858"/>
                  </a:lnTo>
                  <a:lnTo>
                    <a:pt x="972" y="1862"/>
                  </a:lnTo>
                  <a:lnTo>
                    <a:pt x="976" y="1864"/>
                  </a:lnTo>
                  <a:lnTo>
                    <a:pt x="976" y="1862"/>
                  </a:lnTo>
                  <a:lnTo>
                    <a:pt x="976" y="1860"/>
                  </a:lnTo>
                  <a:lnTo>
                    <a:pt x="972" y="1858"/>
                  </a:lnTo>
                  <a:lnTo>
                    <a:pt x="972" y="1856"/>
                  </a:lnTo>
                  <a:lnTo>
                    <a:pt x="972" y="1854"/>
                  </a:lnTo>
                  <a:lnTo>
                    <a:pt x="974" y="1850"/>
                  </a:lnTo>
                  <a:lnTo>
                    <a:pt x="974" y="1846"/>
                  </a:lnTo>
                  <a:lnTo>
                    <a:pt x="972" y="1846"/>
                  </a:lnTo>
                  <a:lnTo>
                    <a:pt x="970" y="1844"/>
                  </a:lnTo>
                  <a:lnTo>
                    <a:pt x="966" y="1842"/>
                  </a:lnTo>
                  <a:lnTo>
                    <a:pt x="964" y="1840"/>
                  </a:lnTo>
                  <a:lnTo>
                    <a:pt x="960" y="1838"/>
                  </a:lnTo>
                  <a:lnTo>
                    <a:pt x="956" y="1840"/>
                  </a:lnTo>
                  <a:lnTo>
                    <a:pt x="954" y="1842"/>
                  </a:lnTo>
                  <a:lnTo>
                    <a:pt x="958" y="1844"/>
                  </a:lnTo>
                  <a:lnTo>
                    <a:pt x="964" y="1846"/>
                  </a:lnTo>
                  <a:lnTo>
                    <a:pt x="966" y="1848"/>
                  </a:lnTo>
                  <a:lnTo>
                    <a:pt x="964" y="1850"/>
                  </a:lnTo>
                  <a:lnTo>
                    <a:pt x="960" y="1850"/>
                  </a:lnTo>
                  <a:lnTo>
                    <a:pt x="952" y="1846"/>
                  </a:lnTo>
                  <a:close/>
                  <a:moveTo>
                    <a:pt x="862" y="1678"/>
                  </a:moveTo>
                  <a:lnTo>
                    <a:pt x="862" y="1678"/>
                  </a:lnTo>
                  <a:lnTo>
                    <a:pt x="864" y="1678"/>
                  </a:lnTo>
                  <a:lnTo>
                    <a:pt x="868" y="1678"/>
                  </a:lnTo>
                  <a:lnTo>
                    <a:pt x="872" y="1674"/>
                  </a:lnTo>
                  <a:lnTo>
                    <a:pt x="872" y="1672"/>
                  </a:lnTo>
                  <a:lnTo>
                    <a:pt x="868" y="1672"/>
                  </a:lnTo>
                  <a:lnTo>
                    <a:pt x="864" y="1674"/>
                  </a:lnTo>
                  <a:lnTo>
                    <a:pt x="862" y="1678"/>
                  </a:lnTo>
                  <a:close/>
                  <a:moveTo>
                    <a:pt x="860" y="1816"/>
                  </a:moveTo>
                  <a:lnTo>
                    <a:pt x="860" y="1816"/>
                  </a:lnTo>
                  <a:lnTo>
                    <a:pt x="860" y="1814"/>
                  </a:lnTo>
                  <a:lnTo>
                    <a:pt x="860" y="1812"/>
                  </a:lnTo>
                  <a:lnTo>
                    <a:pt x="858" y="1814"/>
                  </a:lnTo>
                  <a:lnTo>
                    <a:pt x="856" y="1818"/>
                  </a:lnTo>
                  <a:lnTo>
                    <a:pt x="850" y="1826"/>
                  </a:lnTo>
                  <a:lnTo>
                    <a:pt x="848" y="1830"/>
                  </a:lnTo>
                  <a:lnTo>
                    <a:pt x="848" y="1834"/>
                  </a:lnTo>
                  <a:lnTo>
                    <a:pt x="850" y="1836"/>
                  </a:lnTo>
                  <a:lnTo>
                    <a:pt x="852" y="1836"/>
                  </a:lnTo>
                  <a:lnTo>
                    <a:pt x="854" y="1830"/>
                  </a:lnTo>
                  <a:lnTo>
                    <a:pt x="860" y="1816"/>
                  </a:lnTo>
                  <a:close/>
                  <a:moveTo>
                    <a:pt x="1100" y="2508"/>
                  </a:moveTo>
                  <a:lnTo>
                    <a:pt x="1100" y="2508"/>
                  </a:lnTo>
                  <a:lnTo>
                    <a:pt x="1102" y="2508"/>
                  </a:lnTo>
                  <a:lnTo>
                    <a:pt x="1100" y="2506"/>
                  </a:lnTo>
                  <a:lnTo>
                    <a:pt x="1094" y="2504"/>
                  </a:lnTo>
                  <a:lnTo>
                    <a:pt x="1086" y="2504"/>
                  </a:lnTo>
                  <a:lnTo>
                    <a:pt x="1084" y="2504"/>
                  </a:lnTo>
                  <a:lnTo>
                    <a:pt x="1084" y="2506"/>
                  </a:lnTo>
                  <a:lnTo>
                    <a:pt x="1086" y="2508"/>
                  </a:lnTo>
                  <a:lnTo>
                    <a:pt x="1092" y="2510"/>
                  </a:lnTo>
                  <a:lnTo>
                    <a:pt x="1096" y="2510"/>
                  </a:lnTo>
                  <a:lnTo>
                    <a:pt x="1100" y="2508"/>
                  </a:lnTo>
                  <a:close/>
                  <a:moveTo>
                    <a:pt x="1092" y="2518"/>
                  </a:moveTo>
                  <a:lnTo>
                    <a:pt x="1092" y="2518"/>
                  </a:lnTo>
                  <a:lnTo>
                    <a:pt x="1108" y="2520"/>
                  </a:lnTo>
                  <a:lnTo>
                    <a:pt x="1110" y="2518"/>
                  </a:lnTo>
                  <a:lnTo>
                    <a:pt x="1108" y="2516"/>
                  </a:lnTo>
                  <a:lnTo>
                    <a:pt x="1100" y="2514"/>
                  </a:lnTo>
                  <a:lnTo>
                    <a:pt x="1086" y="2514"/>
                  </a:lnTo>
                  <a:lnTo>
                    <a:pt x="1084" y="2514"/>
                  </a:lnTo>
                  <a:lnTo>
                    <a:pt x="1082" y="2516"/>
                  </a:lnTo>
                  <a:lnTo>
                    <a:pt x="1092" y="2518"/>
                  </a:lnTo>
                  <a:close/>
                  <a:moveTo>
                    <a:pt x="1108" y="1672"/>
                  </a:moveTo>
                  <a:lnTo>
                    <a:pt x="1108" y="1672"/>
                  </a:lnTo>
                  <a:lnTo>
                    <a:pt x="1106" y="1672"/>
                  </a:lnTo>
                  <a:lnTo>
                    <a:pt x="1104" y="1674"/>
                  </a:lnTo>
                  <a:lnTo>
                    <a:pt x="1102" y="1682"/>
                  </a:lnTo>
                  <a:lnTo>
                    <a:pt x="1100" y="1692"/>
                  </a:lnTo>
                  <a:lnTo>
                    <a:pt x="1094" y="1700"/>
                  </a:lnTo>
                  <a:lnTo>
                    <a:pt x="1090" y="1710"/>
                  </a:lnTo>
                  <a:lnTo>
                    <a:pt x="1086" y="1722"/>
                  </a:lnTo>
                  <a:lnTo>
                    <a:pt x="1084" y="1734"/>
                  </a:lnTo>
                  <a:lnTo>
                    <a:pt x="1084" y="1740"/>
                  </a:lnTo>
                  <a:lnTo>
                    <a:pt x="1086" y="1744"/>
                  </a:lnTo>
                  <a:lnTo>
                    <a:pt x="1090" y="1734"/>
                  </a:lnTo>
                  <a:lnTo>
                    <a:pt x="1100" y="1708"/>
                  </a:lnTo>
                  <a:lnTo>
                    <a:pt x="1108" y="1684"/>
                  </a:lnTo>
                  <a:lnTo>
                    <a:pt x="1110" y="1676"/>
                  </a:lnTo>
                  <a:lnTo>
                    <a:pt x="1110" y="1674"/>
                  </a:lnTo>
                  <a:lnTo>
                    <a:pt x="1108" y="1672"/>
                  </a:lnTo>
                  <a:close/>
                  <a:moveTo>
                    <a:pt x="1804" y="2938"/>
                  </a:moveTo>
                  <a:lnTo>
                    <a:pt x="1804" y="2938"/>
                  </a:lnTo>
                  <a:lnTo>
                    <a:pt x="1810" y="2932"/>
                  </a:lnTo>
                  <a:lnTo>
                    <a:pt x="1812" y="2928"/>
                  </a:lnTo>
                  <a:lnTo>
                    <a:pt x="1808" y="2930"/>
                  </a:lnTo>
                  <a:lnTo>
                    <a:pt x="1800" y="2934"/>
                  </a:lnTo>
                  <a:lnTo>
                    <a:pt x="1790" y="2940"/>
                  </a:lnTo>
                  <a:lnTo>
                    <a:pt x="1776" y="2946"/>
                  </a:lnTo>
                  <a:lnTo>
                    <a:pt x="1768" y="2946"/>
                  </a:lnTo>
                  <a:lnTo>
                    <a:pt x="1760" y="2944"/>
                  </a:lnTo>
                  <a:lnTo>
                    <a:pt x="1754" y="2944"/>
                  </a:lnTo>
                  <a:lnTo>
                    <a:pt x="1750" y="2944"/>
                  </a:lnTo>
                  <a:lnTo>
                    <a:pt x="1748" y="2946"/>
                  </a:lnTo>
                  <a:lnTo>
                    <a:pt x="1748" y="2948"/>
                  </a:lnTo>
                  <a:lnTo>
                    <a:pt x="1748" y="2954"/>
                  </a:lnTo>
                  <a:lnTo>
                    <a:pt x="1746" y="2954"/>
                  </a:lnTo>
                  <a:lnTo>
                    <a:pt x="1742" y="2954"/>
                  </a:lnTo>
                  <a:lnTo>
                    <a:pt x="1736" y="2954"/>
                  </a:lnTo>
                  <a:lnTo>
                    <a:pt x="1732" y="2958"/>
                  </a:lnTo>
                  <a:lnTo>
                    <a:pt x="1730" y="2960"/>
                  </a:lnTo>
                  <a:lnTo>
                    <a:pt x="1726" y="2960"/>
                  </a:lnTo>
                  <a:lnTo>
                    <a:pt x="1722" y="2960"/>
                  </a:lnTo>
                  <a:lnTo>
                    <a:pt x="1722" y="2962"/>
                  </a:lnTo>
                  <a:lnTo>
                    <a:pt x="1726" y="2974"/>
                  </a:lnTo>
                  <a:lnTo>
                    <a:pt x="1728" y="2978"/>
                  </a:lnTo>
                  <a:lnTo>
                    <a:pt x="1732" y="2980"/>
                  </a:lnTo>
                  <a:lnTo>
                    <a:pt x="1736" y="2982"/>
                  </a:lnTo>
                  <a:lnTo>
                    <a:pt x="1742" y="2982"/>
                  </a:lnTo>
                  <a:lnTo>
                    <a:pt x="1748" y="2982"/>
                  </a:lnTo>
                  <a:lnTo>
                    <a:pt x="1750" y="2984"/>
                  </a:lnTo>
                  <a:lnTo>
                    <a:pt x="1752" y="2986"/>
                  </a:lnTo>
                  <a:lnTo>
                    <a:pt x="1754" y="2984"/>
                  </a:lnTo>
                  <a:lnTo>
                    <a:pt x="1754" y="2982"/>
                  </a:lnTo>
                  <a:lnTo>
                    <a:pt x="1756" y="2980"/>
                  </a:lnTo>
                  <a:lnTo>
                    <a:pt x="1764" y="2978"/>
                  </a:lnTo>
                  <a:lnTo>
                    <a:pt x="1770" y="2976"/>
                  </a:lnTo>
                  <a:lnTo>
                    <a:pt x="1774" y="2974"/>
                  </a:lnTo>
                  <a:lnTo>
                    <a:pt x="1776" y="2970"/>
                  </a:lnTo>
                  <a:lnTo>
                    <a:pt x="1780" y="2966"/>
                  </a:lnTo>
                  <a:lnTo>
                    <a:pt x="1782" y="2964"/>
                  </a:lnTo>
                  <a:lnTo>
                    <a:pt x="1790" y="2964"/>
                  </a:lnTo>
                  <a:lnTo>
                    <a:pt x="1794" y="2964"/>
                  </a:lnTo>
                  <a:lnTo>
                    <a:pt x="1796" y="2962"/>
                  </a:lnTo>
                  <a:lnTo>
                    <a:pt x="1794" y="2960"/>
                  </a:lnTo>
                  <a:lnTo>
                    <a:pt x="1790" y="2954"/>
                  </a:lnTo>
                  <a:lnTo>
                    <a:pt x="1790" y="2950"/>
                  </a:lnTo>
                  <a:lnTo>
                    <a:pt x="1796" y="2944"/>
                  </a:lnTo>
                  <a:lnTo>
                    <a:pt x="1804" y="2938"/>
                  </a:lnTo>
                  <a:close/>
                  <a:moveTo>
                    <a:pt x="1538" y="2902"/>
                  </a:moveTo>
                  <a:lnTo>
                    <a:pt x="1538" y="2902"/>
                  </a:lnTo>
                  <a:lnTo>
                    <a:pt x="1540" y="2906"/>
                  </a:lnTo>
                  <a:lnTo>
                    <a:pt x="1538" y="2910"/>
                  </a:lnTo>
                  <a:lnTo>
                    <a:pt x="1538" y="2914"/>
                  </a:lnTo>
                  <a:lnTo>
                    <a:pt x="1542" y="2918"/>
                  </a:lnTo>
                  <a:lnTo>
                    <a:pt x="1544" y="2918"/>
                  </a:lnTo>
                  <a:lnTo>
                    <a:pt x="1548" y="2914"/>
                  </a:lnTo>
                  <a:lnTo>
                    <a:pt x="1554" y="2904"/>
                  </a:lnTo>
                  <a:lnTo>
                    <a:pt x="1558" y="2894"/>
                  </a:lnTo>
                  <a:lnTo>
                    <a:pt x="1560" y="2888"/>
                  </a:lnTo>
                  <a:lnTo>
                    <a:pt x="1560" y="2886"/>
                  </a:lnTo>
                  <a:lnTo>
                    <a:pt x="1558" y="2886"/>
                  </a:lnTo>
                  <a:lnTo>
                    <a:pt x="1554" y="2886"/>
                  </a:lnTo>
                  <a:lnTo>
                    <a:pt x="1546" y="2892"/>
                  </a:lnTo>
                  <a:lnTo>
                    <a:pt x="1540" y="2898"/>
                  </a:lnTo>
                  <a:lnTo>
                    <a:pt x="1538" y="2900"/>
                  </a:lnTo>
                  <a:lnTo>
                    <a:pt x="1538" y="2902"/>
                  </a:lnTo>
                  <a:close/>
                  <a:moveTo>
                    <a:pt x="644" y="1508"/>
                  </a:moveTo>
                  <a:lnTo>
                    <a:pt x="644" y="1508"/>
                  </a:lnTo>
                  <a:lnTo>
                    <a:pt x="646" y="1510"/>
                  </a:lnTo>
                  <a:lnTo>
                    <a:pt x="648" y="1508"/>
                  </a:lnTo>
                  <a:lnTo>
                    <a:pt x="650" y="1500"/>
                  </a:lnTo>
                  <a:lnTo>
                    <a:pt x="650" y="1498"/>
                  </a:lnTo>
                  <a:lnTo>
                    <a:pt x="646" y="1498"/>
                  </a:lnTo>
                  <a:lnTo>
                    <a:pt x="640" y="1500"/>
                  </a:lnTo>
                  <a:lnTo>
                    <a:pt x="636" y="1504"/>
                  </a:lnTo>
                  <a:lnTo>
                    <a:pt x="634" y="1510"/>
                  </a:lnTo>
                  <a:lnTo>
                    <a:pt x="636" y="1514"/>
                  </a:lnTo>
                  <a:lnTo>
                    <a:pt x="638" y="1516"/>
                  </a:lnTo>
                  <a:lnTo>
                    <a:pt x="642" y="1518"/>
                  </a:lnTo>
                  <a:lnTo>
                    <a:pt x="644" y="1516"/>
                  </a:lnTo>
                  <a:lnTo>
                    <a:pt x="644" y="1514"/>
                  </a:lnTo>
                  <a:lnTo>
                    <a:pt x="642" y="1508"/>
                  </a:lnTo>
                  <a:lnTo>
                    <a:pt x="640" y="1506"/>
                  </a:lnTo>
                  <a:lnTo>
                    <a:pt x="644" y="1508"/>
                  </a:lnTo>
                  <a:close/>
                  <a:moveTo>
                    <a:pt x="632" y="1558"/>
                  </a:moveTo>
                  <a:lnTo>
                    <a:pt x="632" y="1558"/>
                  </a:lnTo>
                  <a:lnTo>
                    <a:pt x="634" y="1556"/>
                  </a:lnTo>
                  <a:lnTo>
                    <a:pt x="634" y="1554"/>
                  </a:lnTo>
                  <a:lnTo>
                    <a:pt x="634" y="1548"/>
                  </a:lnTo>
                  <a:lnTo>
                    <a:pt x="630" y="1544"/>
                  </a:lnTo>
                  <a:lnTo>
                    <a:pt x="630" y="1546"/>
                  </a:lnTo>
                  <a:lnTo>
                    <a:pt x="630" y="1554"/>
                  </a:lnTo>
                  <a:lnTo>
                    <a:pt x="630" y="1558"/>
                  </a:lnTo>
                  <a:lnTo>
                    <a:pt x="632" y="1558"/>
                  </a:lnTo>
                  <a:close/>
                  <a:moveTo>
                    <a:pt x="628" y="1528"/>
                  </a:moveTo>
                  <a:lnTo>
                    <a:pt x="628" y="1528"/>
                  </a:lnTo>
                  <a:lnTo>
                    <a:pt x="630" y="1528"/>
                  </a:lnTo>
                  <a:lnTo>
                    <a:pt x="630" y="1526"/>
                  </a:lnTo>
                  <a:lnTo>
                    <a:pt x="632" y="1522"/>
                  </a:lnTo>
                  <a:lnTo>
                    <a:pt x="632" y="1520"/>
                  </a:lnTo>
                  <a:lnTo>
                    <a:pt x="634" y="1520"/>
                  </a:lnTo>
                  <a:lnTo>
                    <a:pt x="634" y="1522"/>
                  </a:lnTo>
                  <a:lnTo>
                    <a:pt x="636" y="1522"/>
                  </a:lnTo>
                  <a:lnTo>
                    <a:pt x="638" y="1522"/>
                  </a:lnTo>
                  <a:lnTo>
                    <a:pt x="638" y="1520"/>
                  </a:lnTo>
                  <a:lnTo>
                    <a:pt x="636" y="1518"/>
                  </a:lnTo>
                  <a:lnTo>
                    <a:pt x="632" y="1514"/>
                  </a:lnTo>
                  <a:lnTo>
                    <a:pt x="628" y="1512"/>
                  </a:lnTo>
                  <a:lnTo>
                    <a:pt x="628" y="1516"/>
                  </a:lnTo>
                  <a:lnTo>
                    <a:pt x="628" y="1528"/>
                  </a:lnTo>
                  <a:close/>
                  <a:moveTo>
                    <a:pt x="1186" y="1636"/>
                  </a:moveTo>
                  <a:lnTo>
                    <a:pt x="1186" y="1636"/>
                  </a:lnTo>
                  <a:lnTo>
                    <a:pt x="1180" y="1640"/>
                  </a:lnTo>
                  <a:lnTo>
                    <a:pt x="1176" y="1638"/>
                  </a:lnTo>
                  <a:lnTo>
                    <a:pt x="1174" y="1638"/>
                  </a:lnTo>
                  <a:lnTo>
                    <a:pt x="1164" y="1646"/>
                  </a:lnTo>
                  <a:lnTo>
                    <a:pt x="1156" y="1656"/>
                  </a:lnTo>
                  <a:lnTo>
                    <a:pt x="1150" y="1666"/>
                  </a:lnTo>
                  <a:lnTo>
                    <a:pt x="1150" y="1676"/>
                  </a:lnTo>
                  <a:lnTo>
                    <a:pt x="1154" y="1682"/>
                  </a:lnTo>
                  <a:lnTo>
                    <a:pt x="1154" y="1686"/>
                  </a:lnTo>
                  <a:lnTo>
                    <a:pt x="1154" y="1690"/>
                  </a:lnTo>
                  <a:lnTo>
                    <a:pt x="1154" y="1696"/>
                  </a:lnTo>
                  <a:lnTo>
                    <a:pt x="1154" y="1700"/>
                  </a:lnTo>
                  <a:lnTo>
                    <a:pt x="1158" y="1700"/>
                  </a:lnTo>
                  <a:lnTo>
                    <a:pt x="1162" y="1696"/>
                  </a:lnTo>
                  <a:lnTo>
                    <a:pt x="1166" y="1690"/>
                  </a:lnTo>
                  <a:lnTo>
                    <a:pt x="1170" y="1682"/>
                  </a:lnTo>
                  <a:lnTo>
                    <a:pt x="1178" y="1674"/>
                  </a:lnTo>
                  <a:lnTo>
                    <a:pt x="1182" y="1670"/>
                  </a:lnTo>
                  <a:lnTo>
                    <a:pt x="1184" y="1666"/>
                  </a:lnTo>
                  <a:lnTo>
                    <a:pt x="1182" y="1662"/>
                  </a:lnTo>
                  <a:lnTo>
                    <a:pt x="1180" y="1658"/>
                  </a:lnTo>
                  <a:lnTo>
                    <a:pt x="1180" y="1656"/>
                  </a:lnTo>
                  <a:lnTo>
                    <a:pt x="1182" y="1652"/>
                  </a:lnTo>
                  <a:lnTo>
                    <a:pt x="1186" y="1646"/>
                  </a:lnTo>
                  <a:lnTo>
                    <a:pt x="1194" y="1638"/>
                  </a:lnTo>
                  <a:lnTo>
                    <a:pt x="1198" y="1632"/>
                  </a:lnTo>
                  <a:lnTo>
                    <a:pt x="1196" y="1630"/>
                  </a:lnTo>
                  <a:lnTo>
                    <a:pt x="1194" y="1632"/>
                  </a:lnTo>
                  <a:lnTo>
                    <a:pt x="1186" y="1636"/>
                  </a:lnTo>
                  <a:close/>
                  <a:moveTo>
                    <a:pt x="1058" y="962"/>
                  </a:moveTo>
                  <a:lnTo>
                    <a:pt x="1058" y="962"/>
                  </a:lnTo>
                  <a:lnTo>
                    <a:pt x="1050" y="960"/>
                  </a:lnTo>
                  <a:lnTo>
                    <a:pt x="1048" y="962"/>
                  </a:lnTo>
                  <a:lnTo>
                    <a:pt x="1046" y="964"/>
                  </a:lnTo>
                  <a:lnTo>
                    <a:pt x="1048" y="964"/>
                  </a:lnTo>
                  <a:lnTo>
                    <a:pt x="1054" y="964"/>
                  </a:lnTo>
                  <a:lnTo>
                    <a:pt x="1058" y="962"/>
                  </a:lnTo>
                  <a:close/>
                  <a:moveTo>
                    <a:pt x="1366" y="1568"/>
                  </a:moveTo>
                  <a:lnTo>
                    <a:pt x="1366" y="1568"/>
                  </a:lnTo>
                  <a:lnTo>
                    <a:pt x="1364" y="1566"/>
                  </a:lnTo>
                  <a:lnTo>
                    <a:pt x="1360" y="1564"/>
                  </a:lnTo>
                  <a:lnTo>
                    <a:pt x="1356" y="1564"/>
                  </a:lnTo>
                  <a:lnTo>
                    <a:pt x="1354" y="1566"/>
                  </a:lnTo>
                  <a:lnTo>
                    <a:pt x="1356" y="1568"/>
                  </a:lnTo>
                  <a:lnTo>
                    <a:pt x="1360" y="1570"/>
                  </a:lnTo>
                  <a:lnTo>
                    <a:pt x="1364" y="1570"/>
                  </a:lnTo>
                  <a:lnTo>
                    <a:pt x="1366" y="1568"/>
                  </a:lnTo>
                  <a:close/>
                  <a:moveTo>
                    <a:pt x="1332" y="1588"/>
                  </a:moveTo>
                  <a:lnTo>
                    <a:pt x="1332" y="1588"/>
                  </a:lnTo>
                  <a:lnTo>
                    <a:pt x="1336" y="1586"/>
                  </a:lnTo>
                  <a:lnTo>
                    <a:pt x="1338" y="1584"/>
                  </a:lnTo>
                  <a:lnTo>
                    <a:pt x="1338" y="1582"/>
                  </a:lnTo>
                  <a:lnTo>
                    <a:pt x="1342" y="1580"/>
                  </a:lnTo>
                  <a:lnTo>
                    <a:pt x="1344" y="1582"/>
                  </a:lnTo>
                  <a:lnTo>
                    <a:pt x="1346" y="1580"/>
                  </a:lnTo>
                  <a:lnTo>
                    <a:pt x="1346" y="1578"/>
                  </a:lnTo>
                  <a:lnTo>
                    <a:pt x="1348" y="1578"/>
                  </a:lnTo>
                  <a:lnTo>
                    <a:pt x="1350" y="1578"/>
                  </a:lnTo>
                  <a:lnTo>
                    <a:pt x="1352" y="1576"/>
                  </a:lnTo>
                  <a:lnTo>
                    <a:pt x="1350" y="1574"/>
                  </a:lnTo>
                  <a:lnTo>
                    <a:pt x="1346" y="1570"/>
                  </a:lnTo>
                  <a:lnTo>
                    <a:pt x="1336" y="1562"/>
                  </a:lnTo>
                  <a:lnTo>
                    <a:pt x="1334" y="1562"/>
                  </a:lnTo>
                  <a:lnTo>
                    <a:pt x="1330" y="1566"/>
                  </a:lnTo>
                  <a:lnTo>
                    <a:pt x="1326" y="1568"/>
                  </a:lnTo>
                  <a:lnTo>
                    <a:pt x="1320" y="1570"/>
                  </a:lnTo>
                  <a:lnTo>
                    <a:pt x="1316" y="1570"/>
                  </a:lnTo>
                  <a:lnTo>
                    <a:pt x="1312" y="1570"/>
                  </a:lnTo>
                  <a:lnTo>
                    <a:pt x="1310" y="1572"/>
                  </a:lnTo>
                  <a:lnTo>
                    <a:pt x="1312" y="1574"/>
                  </a:lnTo>
                  <a:lnTo>
                    <a:pt x="1322" y="1574"/>
                  </a:lnTo>
                  <a:lnTo>
                    <a:pt x="1324" y="1574"/>
                  </a:lnTo>
                  <a:lnTo>
                    <a:pt x="1326" y="1576"/>
                  </a:lnTo>
                  <a:lnTo>
                    <a:pt x="1326" y="1580"/>
                  </a:lnTo>
                  <a:lnTo>
                    <a:pt x="1328" y="1584"/>
                  </a:lnTo>
                  <a:lnTo>
                    <a:pt x="1330" y="1586"/>
                  </a:lnTo>
                  <a:lnTo>
                    <a:pt x="1332" y="1588"/>
                  </a:lnTo>
                  <a:close/>
                  <a:moveTo>
                    <a:pt x="1306" y="1608"/>
                  </a:moveTo>
                  <a:lnTo>
                    <a:pt x="1306" y="1608"/>
                  </a:lnTo>
                  <a:lnTo>
                    <a:pt x="1304" y="1610"/>
                  </a:lnTo>
                  <a:lnTo>
                    <a:pt x="1302" y="1612"/>
                  </a:lnTo>
                  <a:lnTo>
                    <a:pt x="1304" y="1616"/>
                  </a:lnTo>
                  <a:lnTo>
                    <a:pt x="1310" y="1618"/>
                  </a:lnTo>
                  <a:lnTo>
                    <a:pt x="1316" y="1622"/>
                  </a:lnTo>
                  <a:lnTo>
                    <a:pt x="1316" y="1624"/>
                  </a:lnTo>
                  <a:lnTo>
                    <a:pt x="1312" y="1628"/>
                  </a:lnTo>
                  <a:lnTo>
                    <a:pt x="1308" y="1630"/>
                  </a:lnTo>
                  <a:lnTo>
                    <a:pt x="1308" y="1634"/>
                  </a:lnTo>
                  <a:lnTo>
                    <a:pt x="1308" y="1636"/>
                  </a:lnTo>
                  <a:lnTo>
                    <a:pt x="1314" y="1636"/>
                  </a:lnTo>
                  <a:lnTo>
                    <a:pt x="1316" y="1634"/>
                  </a:lnTo>
                  <a:lnTo>
                    <a:pt x="1318" y="1630"/>
                  </a:lnTo>
                  <a:lnTo>
                    <a:pt x="1322" y="1620"/>
                  </a:lnTo>
                  <a:lnTo>
                    <a:pt x="1326" y="1618"/>
                  </a:lnTo>
                  <a:lnTo>
                    <a:pt x="1328" y="1616"/>
                  </a:lnTo>
                  <a:lnTo>
                    <a:pt x="1330" y="1616"/>
                  </a:lnTo>
                  <a:lnTo>
                    <a:pt x="1334" y="1618"/>
                  </a:lnTo>
                  <a:lnTo>
                    <a:pt x="1340" y="1614"/>
                  </a:lnTo>
                  <a:lnTo>
                    <a:pt x="1348" y="1610"/>
                  </a:lnTo>
                  <a:lnTo>
                    <a:pt x="1352" y="1604"/>
                  </a:lnTo>
                  <a:lnTo>
                    <a:pt x="1356" y="1602"/>
                  </a:lnTo>
                  <a:lnTo>
                    <a:pt x="1358" y="1602"/>
                  </a:lnTo>
                  <a:lnTo>
                    <a:pt x="1358" y="1604"/>
                  </a:lnTo>
                  <a:lnTo>
                    <a:pt x="1362" y="1604"/>
                  </a:lnTo>
                  <a:lnTo>
                    <a:pt x="1364" y="1602"/>
                  </a:lnTo>
                  <a:lnTo>
                    <a:pt x="1362" y="1602"/>
                  </a:lnTo>
                  <a:lnTo>
                    <a:pt x="1354" y="1596"/>
                  </a:lnTo>
                  <a:lnTo>
                    <a:pt x="1348" y="1594"/>
                  </a:lnTo>
                  <a:lnTo>
                    <a:pt x="1342" y="1594"/>
                  </a:lnTo>
                  <a:lnTo>
                    <a:pt x="1338" y="1594"/>
                  </a:lnTo>
                  <a:lnTo>
                    <a:pt x="1334" y="1592"/>
                  </a:lnTo>
                  <a:lnTo>
                    <a:pt x="1330" y="1590"/>
                  </a:lnTo>
                  <a:lnTo>
                    <a:pt x="1324" y="1592"/>
                  </a:lnTo>
                  <a:lnTo>
                    <a:pt x="1318" y="1594"/>
                  </a:lnTo>
                  <a:lnTo>
                    <a:pt x="1314" y="1600"/>
                  </a:lnTo>
                  <a:lnTo>
                    <a:pt x="1312" y="1602"/>
                  </a:lnTo>
                  <a:lnTo>
                    <a:pt x="1310" y="1602"/>
                  </a:lnTo>
                  <a:lnTo>
                    <a:pt x="1308" y="1598"/>
                  </a:lnTo>
                  <a:lnTo>
                    <a:pt x="1304" y="1598"/>
                  </a:lnTo>
                  <a:lnTo>
                    <a:pt x="1304" y="1600"/>
                  </a:lnTo>
                  <a:lnTo>
                    <a:pt x="1306" y="1604"/>
                  </a:lnTo>
                  <a:lnTo>
                    <a:pt x="1308" y="1606"/>
                  </a:lnTo>
                  <a:lnTo>
                    <a:pt x="1308" y="1608"/>
                  </a:lnTo>
                  <a:lnTo>
                    <a:pt x="1306" y="1608"/>
                  </a:lnTo>
                  <a:close/>
                  <a:moveTo>
                    <a:pt x="1364" y="1596"/>
                  </a:moveTo>
                  <a:lnTo>
                    <a:pt x="1364" y="1596"/>
                  </a:lnTo>
                  <a:lnTo>
                    <a:pt x="1364" y="1592"/>
                  </a:lnTo>
                  <a:lnTo>
                    <a:pt x="1360" y="1590"/>
                  </a:lnTo>
                  <a:lnTo>
                    <a:pt x="1356" y="1588"/>
                  </a:lnTo>
                  <a:lnTo>
                    <a:pt x="1354" y="1588"/>
                  </a:lnTo>
                  <a:lnTo>
                    <a:pt x="1354" y="1592"/>
                  </a:lnTo>
                  <a:lnTo>
                    <a:pt x="1356" y="1596"/>
                  </a:lnTo>
                  <a:lnTo>
                    <a:pt x="1360" y="1598"/>
                  </a:lnTo>
                  <a:lnTo>
                    <a:pt x="1364" y="1596"/>
                  </a:lnTo>
                  <a:close/>
                  <a:moveTo>
                    <a:pt x="1102" y="2532"/>
                  </a:moveTo>
                  <a:lnTo>
                    <a:pt x="1102" y="2532"/>
                  </a:lnTo>
                  <a:lnTo>
                    <a:pt x="1110" y="2530"/>
                  </a:lnTo>
                  <a:lnTo>
                    <a:pt x="1112" y="2530"/>
                  </a:lnTo>
                  <a:lnTo>
                    <a:pt x="1110" y="2528"/>
                  </a:lnTo>
                  <a:lnTo>
                    <a:pt x="1098" y="2526"/>
                  </a:lnTo>
                  <a:lnTo>
                    <a:pt x="1092" y="2528"/>
                  </a:lnTo>
                  <a:lnTo>
                    <a:pt x="1094" y="2530"/>
                  </a:lnTo>
                  <a:lnTo>
                    <a:pt x="1096" y="2532"/>
                  </a:lnTo>
                  <a:lnTo>
                    <a:pt x="1102" y="2532"/>
                  </a:lnTo>
                  <a:close/>
                  <a:moveTo>
                    <a:pt x="470" y="2754"/>
                  </a:moveTo>
                  <a:lnTo>
                    <a:pt x="470" y="2754"/>
                  </a:lnTo>
                  <a:lnTo>
                    <a:pt x="472" y="2756"/>
                  </a:lnTo>
                  <a:lnTo>
                    <a:pt x="476" y="2756"/>
                  </a:lnTo>
                  <a:lnTo>
                    <a:pt x="482" y="2752"/>
                  </a:lnTo>
                  <a:lnTo>
                    <a:pt x="486" y="2746"/>
                  </a:lnTo>
                  <a:lnTo>
                    <a:pt x="486" y="2744"/>
                  </a:lnTo>
                  <a:lnTo>
                    <a:pt x="484" y="2740"/>
                  </a:lnTo>
                  <a:lnTo>
                    <a:pt x="482" y="2740"/>
                  </a:lnTo>
                  <a:lnTo>
                    <a:pt x="480" y="2740"/>
                  </a:lnTo>
                  <a:lnTo>
                    <a:pt x="474" y="2744"/>
                  </a:lnTo>
                  <a:lnTo>
                    <a:pt x="470" y="2750"/>
                  </a:lnTo>
                  <a:lnTo>
                    <a:pt x="470" y="2752"/>
                  </a:lnTo>
                  <a:lnTo>
                    <a:pt x="470" y="2754"/>
                  </a:lnTo>
                  <a:close/>
                  <a:moveTo>
                    <a:pt x="808" y="2632"/>
                  </a:moveTo>
                  <a:lnTo>
                    <a:pt x="808" y="2632"/>
                  </a:lnTo>
                  <a:lnTo>
                    <a:pt x="804" y="2628"/>
                  </a:lnTo>
                  <a:lnTo>
                    <a:pt x="802" y="2626"/>
                  </a:lnTo>
                  <a:lnTo>
                    <a:pt x="798" y="2624"/>
                  </a:lnTo>
                  <a:lnTo>
                    <a:pt x="794" y="2626"/>
                  </a:lnTo>
                  <a:lnTo>
                    <a:pt x="790" y="2628"/>
                  </a:lnTo>
                  <a:lnTo>
                    <a:pt x="776" y="2638"/>
                  </a:lnTo>
                  <a:lnTo>
                    <a:pt x="768" y="2644"/>
                  </a:lnTo>
                  <a:lnTo>
                    <a:pt x="762" y="2646"/>
                  </a:lnTo>
                  <a:lnTo>
                    <a:pt x="758" y="2644"/>
                  </a:lnTo>
                  <a:lnTo>
                    <a:pt x="756" y="2642"/>
                  </a:lnTo>
                  <a:lnTo>
                    <a:pt x="752" y="2640"/>
                  </a:lnTo>
                  <a:lnTo>
                    <a:pt x="750" y="2650"/>
                  </a:lnTo>
                  <a:lnTo>
                    <a:pt x="752" y="2654"/>
                  </a:lnTo>
                  <a:lnTo>
                    <a:pt x="752" y="2658"/>
                  </a:lnTo>
                  <a:lnTo>
                    <a:pt x="756" y="2664"/>
                  </a:lnTo>
                  <a:lnTo>
                    <a:pt x="760" y="2672"/>
                  </a:lnTo>
                  <a:lnTo>
                    <a:pt x="762" y="2678"/>
                  </a:lnTo>
                  <a:lnTo>
                    <a:pt x="762" y="2686"/>
                  </a:lnTo>
                  <a:lnTo>
                    <a:pt x="762" y="2694"/>
                  </a:lnTo>
                  <a:lnTo>
                    <a:pt x="764" y="2698"/>
                  </a:lnTo>
                  <a:lnTo>
                    <a:pt x="764" y="2702"/>
                  </a:lnTo>
                  <a:lnTo>
                    <a:pt x="762" y="2714"/>
                  </a:lnTo>
                  <a:lnTo>
                    <a:pt x="760" y="2728"/>
                  </a:lnTo>
                  <a:lnTo>
                    <a:pt x="764" y="2742"/>
                  </a:lnTo>
                  <a:lnTo>
                    <a:pt x="766" y="2746"/>
                  </a:lnTo>
                  <a:lnTo>
                    <a:pt x="770" y="2750"/>
                  </a:lnTo>
                  <a:lnTo>
                    <a:pt x="774" y="2752"/>
                  </a:lnTo>
                  <a:lnTo>
                    <a:pt x="778" y="2752"/>
                  </a:lnTo>
                  <a:lnTo>
                    <a:pt x="782" y="2752"/>
                  </a:lnTo>
                  <a:lnTo>
                    <a:pt x="784" y="2748"/>
                  </a:lnTo>
                  <a:lnTo>
                    <a:pt x="788" y="2742"/>
                  </a:lnTo>
                  <a:lnTo>
                    <a:pt x="790" y="2738"/>
                  </a:lnTo>
                  <a:lnTo>
                    <a:pt x="792" y="2736"/>
                  </a:lnTo>
                  <a:lnTo>
                    <a:pt x="796" y="2738"/>
                  </a:lnTo>
                  <a:lnTo>
                    <a:pt x="802" y="2740"/>
                  </a:lnTo>
                  <a:lnTo>
                    <a:pt x="806" y="2740"/>
                  </a:lnTo>
                  <a:lnTo>
                    <a:pt x="808" y="2736"/>
                  </a:lnTo>
                  <a:lnTo>
                    <a:pt x="810" y="2726"/>
                  </a:lnTo>
                  <a:lnTo>
                    <a:pt x="814" y="2708"/>
                  </a:lnTo>
                  <a:lnTo>
                    <a:pt x="816" y="2698"/>
                  </a:lnTo>
                  <a:lnTo>
                    <a:pt x="814" y="2690"/>
                  </a:lnTo>
                  <a:lnTo>
                    <a:pt x="812" y="2682"/>
                  </a:lnTo>
                  <a:lnTo>
                    <a:pt x="810" y="2678"/>
                  </a:lnTo>
                  <a:lnTo>
                    <a:pt x="814" y="2672"/>
                  </a:lnTo>
                  <a:lnTo>
                    <a:pt x="818" y="2668"/>
                  </a:lnTo>
                  <a:lnTo>
                    <a:pt x="818" y="2662"/>
                  </a:lnTo>
                  <a:lnTo>
                    <a:pt x="818" y="2652"/>
                  </a:lnTo>
                  <a:lnTo>
                    <a:pt x="814" y="2642"/>
                  </a:lnTo>
                  <a:lnTo>
                    <a:pt x="808" y="2632"/>
                  </a:lnTo>
                  <a:close/>
                  <a:moveTo>
                    <a:pt x="576" y="2694"/>
                  </a:moveTo>
                  <a:lnTo>
                    <a:pt x="576" y="2694"/>
                  </a:lnTo>
                  <a:lnTo>
                    <a:pt x="578" y="2696"/>
                  </a:lnTo>
                  <a:lnTo>
                    <a:pt x="580" y="2696"/>
                  </a:lnTo>
                  <a:lnTo>
                    <a:pt x="584" y="2696"/>
                  </a:lnTo>
                  <a:lnTo>
                    <a:pt x="588" y="2698"/>
                  </a:lnTo>
                  <a:lnTo>
                    <a:pt x="592" y="2702"/>
                  </a:lnTo>
                  <a:lnTo>
                    <a:pt x="594" y="2700"/>
                  </a:lnTo>
                  <a:lnTo>
                    <a:pt x="596" y="2698"/>
                  </a:lnTo>
                  <a:lnTo>
                    <a:pt x="594" y="2692"/>
                  </a:lnTo>
                  <a:lnTo>
                    <a:pt x="594" y="2690"/>
                  </a:lnTo>
                  <a:lnTo>
                    <a:pt x="590" y="2688"/>
                  </a:lnTo>
                  <a:lnTo>
                    <a:pt x="584" y="2686"/>
                  </a:lnTo>
                  <a:lnTo>
                    <a:pt x="578" y="2688"/>
                  </a:lnTo>
                  <a:lnTo>
                    <a:pt x="576" y="2690"/>
                  </a:lnTo>
                  <a:lnTo>
                    <a:pt x="576" y="2694"/>
                  </a:lnTo>
                  <a:close/>
                  <a:moveTo>
                    <a:pt x="1022" y="2792"/>
                  </a:moveTo>
                  <a:lnTo>
                    <a:pt x="1022" y="2792"/>
                  </a:lnTo>
                  <a:lnTo>
                    <a:pt x="1016" y="2792"/>
                  </a:lnTo>
                  <a:lnTo>
                    <a:pt x="1010" y="2794"/>
                  </a:lnTo>
                  <a:lnTo>
                    <a:pt x="998" y="2800"/>
                  </a:lnTo>
                  <a:lnTo>
                    <a:pt x="990" y="2802"/>
                  </a:lnTo>
                  <a:lnTo>
                    <a:pt x="982" y="2802"/>
                  </a:lnTo>
                  <a:lnTo>
                    <a:pt x="974" y="2800"/>
                  </a:lnTo>
                  <a:lnTo>
                    <a:pt x="966" y="2796"/>
                  </a:lnTo>
                  <a:lnTo>
                    <a:pt x="960" y="2790"/>
                  </a:lnTo>
                  <a:lnTo>
                    <a:pt x="954" y="2790"/>
                  </a:lnTo>
                  <a:lnTo>
                    <a:pt x="950" y="2792"/>
                  </a:lnTo>
                  <a:lnTo>
                    <a:pt x="948" y="2794"/>
                  </a:lnTo>
                  <a:lnTo>
                    <a:pt x="944" y="2800"/>
                  </a:lnTo>
                  <a:lnTo>
                    <a:pt x="942" y="2800"/>
                  </a:lnTo>
                  <a:lnTo>
                    <a:pt x="938" y="2794"/>
                  </a:lnTo>
                  <a:lnTo>
                    <a:pt x="936" y="2794"/>
                  </a:lnTo>
                  <a:lnTo>
                    <a:pt x="934" y="2792"/>
                  </a:lnTo>
                  <a:lnTo>
                    <a:pt x="930" y="2796"/>
                  </a:lnTo>
                  <a:lnTo>
                    <a:pt x="926" y="2802"/>
                  </a:lnTo>
                  <a:lnTo>
                    <a:pt x="924" y="2814"/>
                  </a:lnTo>
                  <a:lnTo>
                    <a:pt x="926" y="2820"/>
                  </a:lnTo>
                  <a:lnTo>
                    <a:pt x="930" y="2822"/>
                  </a:lnTo>
                  <a:lnTo>
                    <a:pt x="944" y="2828"/>
                  </a:lnTo>
                  <a:lnTo>
                    <a:pt x="954" y="2832"/>
                  </a:lnTo>
                  <a:lnTo>
                    <a:pt x="966" y="2840"/>
                  </a:lnTo>
                  <a:lnTo>
                    <a:pt x="976" y="2848"/>
                  </a:lnTo>
                  <a:lnTo>
                    <a:pt x="982" y="2850"/>
                  </a:lnTo>
                  <a:lnTo>
                    <a:pt x="986" y="2850"/>
                  </a:lnTo>
                  <a:lnTo>
                    <a:pt x="994" y="2852"/>
                  </a:lnTo>
                  <a:lnTo>
                    <a:pt x="1000" y="2858"/>
                  </a:lnTo>
                  <a:lnTo>
                    <a:pt x="1008" y="2864"/>
                  </a:lnTo>
                  <a:lnTo>
                    <a:pt x="1016" y="2870"/>
                  </a:lnTo>
                  <a:lnTo>
                    <a:pt x="1030" y="2874"/>
                  </a:lnTo>
                  <a:lnTo>
                    <a:pt x="1032" y="2874"/>
                  </a:lnTo>
                  <a:lnTo>
                    <a:pt x="1032" y="2870"/>
                  </a:lnTo>
                  <a:lnTo>
                    <a:pt x="1034" y="2862"/>
                  </a:lnTo>
                  <a:lnTo>
                    <a:pt x="1036" y="2852"/>
                  </a:lnTo>
                  <a:lnTo>
                    <a:pt x="1036" y="2844"/>
                  </a:lnTo>
                  <a:lnTo>
                    <a:pt x="1034" y="2840"/>
                  </a:lnTo>
                  <a:lnTo>
                    <a:pt x="1032" y="2838"/>
                  </a:lnTo>
                  <a:lnTo>
                    <a:pt x="1030" y="2834"/>
                  </a:lnTo>
                  <a:lnTo>
                    <a:pt x="1030" y="2828"/>
                  </a:lnTo>
                  <a:lnTo>
                    <a:pt x="1036" y="2814"/>
                  </a:lnTo>
                  <a:lnTo>
                    <a:pt x="1050" y="2788"/>
                  </a:lnTo>
                  <a:lnTo>
                    <a:pt x="1052" y="2786"/>
                  </a:lnTo>
                  <a:lnTo>
                    <a:pt x="1050" y="2784"/>
                  </a:lnTo>
                  <a:lnTo>
                    <a:pt x="1042" y="2788"/>
                  </a:lnTo>
                  <a:lnTo>
                    <a:pt x="1032" y="2792"/>
                  </a:lnTo>
                  <a:lnTo>
                    <a:pt x="1026" y="2792"/>
                  </a:lnTo>
                  <a:lnTo>
                    <a:pt x="1022" y="2792"/>
                  </a:lnTo>
                  <a:close/>
                  <a:moveTo>
                    <a:pt x="802" y="2526"/>
                  </a:moveTo>
                  <a:lnTo>
                    <a:pt x="802" y="2526"/>
                  </a:lnTo>
                  <a:lnTo>
                    <a:pt x="800" y="2524"/>
                  </a:lnTo>
                  <a:lnTo>
                    <a:pt x="800" y="2526"/>
                  </a:lnTo>
                  <a:lnTo>
                    <a:pt x="798" y="2534"/>
                  </a:lnTo>
                  <a:lnTo>
                    <a:pt x="798" y="2540"/>
                  </a:lnTo>
                  <a:lnTo>
                    <a:pt x="798" y="2542"/>
                  </a:lnTo>
                  <a:lnTo>
                    <a:pt x="794" y="2542"/>
                  </a:lnTo>
                  <a:lnTo>
                    <a:pt x="790" y="2542"/>
                  </a:lnTo>
                  <a:lnTo>
                    <a:pt x="788" y="2542"/>
                  </a:lnTo>
                  <a:lnTo>
                    <a:pt x="782" y="2546"/>
                  </a:lnTo>
                  <a:lnTo>
                    <a:pt x="778" y="2548"/>
                  </a:lnTo>
                  <a:lnTo>
                    <a:pt x="774" y="2550"/>
                  </a:lnTo>
                  <a:lnTo>
                    <a:pt x="772" y="2550"/>
                  </a:lnTo>
                  <a:lnTo>
                    <a:pt x="772" y="2554"/>
                  </a:lnTo>
                  <a:lnTo>
                    <a:pt x="770" y="2568"/>
                  </a:lnTo>
                  <a:lnTo>
                    <a:pt x="770" y="2580"/>
                  </a:lnTo>
                  <a:lnTo>
                    <a:pt x="770" y="2584"/>
                  </a:lnTo>
                  <a:lnTo>
                    <a:pt x="772" y="2586"/>
                  </a:lnTo>
                  <a:lnTo>
                    <a:pt x="776" y="2586"/>
                  </a:lnTo>
                  <a:lnTo>
                    <a:pt x="776" y="2588"/>
                  </a:lnTo>
                  <a:lnTo>
                    <a:pt x="774" y="2592"/>
                  </a:lnTo>
                  <a:lnTo>
                    <a:pt x="772" y="2594"/>
                  </a:lnTo>
                  <a:lnTo>
                    <a:pt x="772" y="2596"/>
                  </a:lnTo>
                  <a:lnTo>
                    <a:pt x="778" y="2596"/>
                  </a:lnTo>
                  <a:lnTo>
                    <a:pt x="780" y="2598"/>
                  </a:lnTo>
                  <a:lnTo>
                    <a:pt x="778" y="2602"/>
                  </a:lnTo>
                  <a:lnTo>
                    <a:pt x="776" y="2604"/>
                  </a:lnTo>
                  <a:lnTo>
                    <a:pt x="776" y="2606"/>
                  </a:lnTo>
                  <a:lnTo>
                    <a:pt x="778" y="2608"/>
                  </a:lnTo>
                  <a:lnTo>
                    <a:pt x="786" y="2612"/>
                  </a:lnTo>
                  <a:lnTo>
                    <a:pt x="788" y="2614"/>
                  </a:lnTo>
                  <a:lnTo>
                    <a:pt x="790" y="2616"/>
                  </a:lnTo>
                  <a:lnTo>
                    <a:pt x="792" y="2616"/>
                  </a:lnTo>
                  <a:lnTo>
                    <a:pt x="794" y="2616"/>
                  </a:lnTo>
                  <a:lnTo>
                    <a:pt x="794" y="2612"/>
                  </a:lnTo>
                  <a:lnTo>
                    <a:pt x="794" y="2610"/>
                  </a:lnTo>
                  <a:lnTo>
                    <a:pt x="796" y="2606"/>
                  </a:lnTo>
                  <a:lnTo>
                    <a:pt x="800" y="2604"/>
                  </a:lnTo>
                  <a:lnTo>
                    <a:pt x="800" y="2600"/>
                  </a:lnTo>
                  <a:lnTo>
                    <a:pt x="802" y="2588"/>
                  </a:lnTo>
                  <a:lnTo>
                    <a:pt x="802" y="2582"/>
                  </a:lnTo>
                  <a:lnTo>
                    <a:pt x="804" y="2578"/>
                  </a:lnTo>
                  <a:lnTo>
                    <a:pt x="808" y="2574"/>
                  </a:lnTo>
                  <a:lnTo>
                    <a:pt x="808" y="2562"/>
                  </a:lnTo>
                  <a:lnTo>
                    <a:pt x="806" y="2552"/>
                  </a:lnTo>
                  <a:lnTo>
                    <a:pt x="804" y="2546"/>
                  </a:lnTo>
                  <a:lnTo>
                    <a:pt x="804" y="2544"/>
                  </a:lnTo>
                  <a:lnTo>
                    <a:pt x="804" y="2540"/>
                  </a:lnTo>
                  <a:lnTo>
                    <a:pt x="804" y="2530"/>
                  </a:lnTo>
                  <a:lnTo>
                    <a:pt x="804" y="2528"/>
                  </a:lnTo>
                  <a:lnTo>
                    <a:pt x="802" y="2526"/>
                  </a:lnTo>
                  <a:close/>
                  <a:moveTo>
                    <a:pt x="550" y="2700"/>
                  </a:moveTo>
                  <a:lnTo>
                    <a:pt x="550" y="2700"/>
                  </a:lnTo>
                  <a:lnTo>
                    <a:pt x="548" y="2696"/>
                  </a:lnTo>
                  <a:lnTo>
                    <a:pt x="544" y="2696"/>
                  </a:lnTo>
                  <a:lnTo>
                    <a:pt x="538" y="2698"/>
                  </a:lnTo>
                  <a:lnTo>
                    <a:pt x="532" y="2702"/>
                  </a:lnTo>
                  <a:lnTo>
                    <a:pt x="520" y="2712"/>
                  </a:lnTo>
                  <a:lnTo>
                    <a:pt x="518" y="2716"/>
                  </a:lnTo>
                  <a:lnTo>
                    <a:pt x="520" y="2718"/>
                  </a:lnTo>
                  <a:lnTo>
                    <a:pt x="520" y="2720"/>
                  </a:lnTo>
                  <a:lnTo>
                    <a:pt x="526" y="2718"/>
                  </a:lnTo>
                  <a:lnTo>
                    <a:pt x="530" y="2718"/>
                  </a:lnTo>
                  <a:lnTo>
                    <a:pt x="532" y="2720"/>
                  </a:lnTo>
                  <a:lnTo>
                    <a:pt x="536" y="2726"/>
                  </a:lnTo>
                  <a:lnTo>
                    <a:pt x="542" y="2730"/>
                  </a:lnTo>
                  <a:lnTo>
                    <a:pt x="546" y="2732"/>
                  </a:lnTo>
                  <a:lnTo>
                    <a:pt x="548" y="2732"/>
                  </a:lnTo>
                  <a:lnTo>
                    <a:pt x="554" y="2726"/>
                  </a:lnTo>
                  <a:lnTo>
                    <a:pt x="562" y="2708"/>
                  </a:lnTo>
                  <a:lnTo>
                    <a:pt x="564" y="2706"/>
                  </a:lnTo>
                  <a:lnTo>
                    <a:pt x="564" y="2704"/>
                  </a:lnTo>
                  <a:lnTo>
                    <a:pt x="558" y="2704"/>
                  </a:lnTo>
                  <a:lnTo>
                    <a:pt x="552" y="2706"/>
                  </a:lnTo>
                  <a:lnTo>
                    <a:pt x="550" y="2704"/>
                  </a:lnTo>
                  <a:lnTo>
                    <a:pt x="550" y="2700"/>
                  </a:lnTo>
                  <a:close/>
                  <a:moveTo>
                    <a:pt x="1254" y="2806"/>
                  </a:moveTo>
                  <a:lnTo>
                    <a:pt x="1254" y="2806"/>
                  </a:lnTo>
                  <a:lnTo>
                    <a:pt x="1252" y="2810"/>
                  </a:lnTo>
                  <a:lnTo>
                    <a:pt x="1254" y="2814"/>
                  </a:lnTo>
                  <a:lnTo>
                    <a:pt x="1260" y="2818"/>
                  </a:lnTo>
                  <a:lnTo>
                    <a:pt x="1264" y="2820"/>
                  </a:lnTo>
                  <a:lnTo>
                    <a:pt x="1266" y="2818"/>
                  </a:lnTo>
                  <a:lnTo>
                    <a:pt x="1266" y="2816"/>
                  </a:lnTo>
                  <a:lnTo>
                    <a:pt x="1264" y="2812"/>
                  </a:lnTo>
                  <a:lnTo>
                    <a:pt x="1258" y="2808"/>
                  </a:lnTo>
                  <a:lnTo>
                    <a:pt x="1254" y="2806"/>
                  </a:lnTo>
                  <a:close/>
                  <a:moveTo>
                    <a:pt x="1410" y="2874"/>
                  </a:moveTo>
                  <a:lnTo>
                    <a:pt x="1410" y="2874"/>
                  </a:lnTo>
                  <a:lnTo>
                    <a:pt x="1412" y="2870"/>
                  </a:lnTo>
                  <a:lnTo>
                    <a:pt x="1410" y="2868"/>
                  </a:lnTo>
                  <a:lnTo>
                    <a:pt x="1408" y="2868"/>
                  </a:lnTo>
                  <a:lnTo>
                    <a:pt x="1402" y="2870"/>
                  </a:lnTo>
                  <a:lnTo>
                    <a:pt x="1402" y="2872"/>
                  </a:lnTo>
                  <a:lnTo>
                    <a:pt x="1400" y="2874"/>
                  </a:lnTo>
                  <a:lnTo>
                    <a:pt x="1402" y="2876"/>
                  </a:lnTo>
                  <a:lnTo>
                    <a:pt x="1406" y="2876"/>
                  </a:lnTo>
                  <a:lnTo>
                    <a:pt x="1410" y="2874"/>
                  </a:lnTo>
                  <a:close/>
                  <a:moveTo>
                    <a:pt x="1214" y="2706"/>
                  </a:moveTo>
                  <a:lnTo>
                    <a:pt x="1214" y="2706"/>
                  </a:lnTo>
                  <a:lnTo>
                    <a:pt x="1214" y="2712"/>
                  </a:lnTo>
                  <a:lnTo>
                    <a:pt x="1218" y="2718"/>
                  </a:lnTo>
                  <a:lnTo>
                    <a:pt x="1224" y="2722"/>
                  </a:lnTo>
                  <a:lnTo>
                    <a:pt x="1230" y="2726"/>
                  </a:lnTo>
                  <a:lnTo>
                    <a:pt x="1232" y="2726"/>
                  </a:lnTo>
                  <a:lnTo>
                    <a:pt x="1230" y="2724"/>
                  </a:lnTo>
                  <a:lnTo>
                    <a:pt x="1228" y="2720"/>
                  </a:lnTo>
                  <a:lnTo>
                    <a:pt x="1224" y="2714"/>
                  </a:lnTo>
                  <a:lnTo>
                    <a:pt x="1222" y="2708"/>
                  </a:lnTo>
                  <a:lnTo>
                    <a:pt x="1222" y="2704"/>
                  </a:lnTo>
                  <a:lnTo>
                    <a:pt x="1218" y="2702"/>
                  </a:lnTo>
                  <a:lnTo>
                    <a:pt x="1216" y="2702"/>
                  </a:lnTo>
                  <a:lnTo>
                    <a:pt x="1214" y="2706"/>
                  </a:lnTo>
                  <a:close/>
                  <a:moveTo>
                    <a:pt x="1468" y="2954"/>
                  </a:moveTo>
                  <a:lnTo>
                    <a:pt x="1468" y="2954"/>
                  </a:lnTo>
                  <a:lnTo>
                    <a:pt x="1464" y="2956"/>
                  </a:lnTo>
                  <a:lnTo>
                    <a:pt x="1462" y="2956"/>
                  </a:lnTo>
                  <a:lnTo>
                    <a:pt x="1460" y="2952"/>
                  </a:lnTo>
                  <a:lnTo>
                    <a:pt x="1460" y="2948"/>
                  </a:lnTo>
                  <a:lnTo>
                    <a:pt x="1456" y="2946"/>
                  </a:lnTo>
                  <a:lnTo>
                    <a:pt x="1452" y="2946"/>
                  </a:lnTo>
                  <a:lnTo>
                    <a:pt x="1446" y="2948"/>
                  </a:lnTo>
                  <a:lnTo>
                    <a:pt x="1442" y="2946"/>
                  </a:lnTo>
                  <a:lnTo>
                    <a:pt x="1434" y="2944"/>
                  </a:lnTo>
                  <a:lnTo>
                    <a:pt x="1424" y="2942"/>
                  </a:lnTo>
                  <a:lnTo>
                    <a:pt x="1418" y="2942"/>
                  </a:lnTo>
                  <a:lnTo>
                    <a:pt x="1410" y="2944"/>
                  </a:lnTo>
                  <a:lnTo>
                    <a:pt x="1406" y="2944"/>
                  </a:lnTo>
                  <a:lnTo>
                    <a:pt x="1402" y="2942"/>
                  </a:lnTo>
                  <a:lnTo>
                    <a:pt x="1398" y="2938"/>
                  </a:lnTo>
                  <a:lnTo>
                    <a:pt x="1396" y="2934"/>
                  </a:lnTo>
                  <a:lnTo>
                    <a:pt x="1394" y="2932"/>
                  </a:lnTo>
                  <a:lnTo>
                    <a:pt x="1392" y="2934"/>
                  </a:lnTo>
                  <a:lnTo>
                    <a:pt x="1390" y="2934"/>
                  </a:lnTo>
                  <a:lnTo>
                    <a:pt x="1386" y="2934"/>
                  </a:lnTo>
                  <a:lnTo>
                    <a:pt x="1382" y="2932"/>
                  </a:lnTo>
                  <a:lnTo>
                    <a:pt x="1380" y="2928"/>
                  </a:lnTo>
                  <a:lnTo>
                    <a:pt x="1378" y="2928"/>
                  </a:lnTo>
                  <a:lnTo>
                    <a:pt x="1378" y="2930"/>
                  </a:lnTo>
                  <a:lnTo>
                    <a:pt x="1376" y="2934"/>
                  </a:lnTo>
                  <a:lnTo>
                    <a:pt x="1374" y="2936"/>
                  </a:lnTo>
                  <a:lnTo>
                    <a:pt x="1372" y="2938"/>
                  </a:lnTo>
                  <a:lnTo>
                    <a:pt x="1372" y="2946"/>
                  </a:lnTo>
                  <a:lnTo>
                    <a:pt x="1372" y="2950"/>
                  </a:lnTo>
                  <a:lnTo>
                    <a:pt x="1376" y="2952"/>
                  </a:lnTo>
                  <a:lnTo>
                    <a:pt x="1388" y="2952"/>
                  </a:lnTo>
                  <a:lnTo>
                    <a:pt x="1402" y="2954"/>
                  </a:lnTo>
                  <a:lnTo>
                    <a:pt x="1410" y="2958"/>
                  </a:lnTo>
                  <a:lnTo>
                    <a:pt x="1418" y="2962"/>
                  </a:lnTo>
                  <a:lnTo>
                    <a:pt x="1422" y="2964"/>
                  </a:lnTo>
                  <a:lnTo>
                    <a:pt x="1428" y="2966"/>
                  </a:lnTo>
                  <a:lnTo>
                    <a:pt x="1440" y="2966"/>
                  </a:lnTo>
                  <a:lnTo>
                    <a:pt x="1452" y="2964"/>
                  </a:lnTo>
                  <a:lnTo>
                    <a:pt x="1468" y="2964"/>
                  </a:lnTo>
                  <a:lnTo>
                    <a:pt x="1476" y="2962"/>
                  </a:lnTo>
                  <a:lnTo>
                    <a:pt x="1480" y="2960"/>
                  </a:lnTo>
                  <a:lnTo>
                    <a:pt x="1482" y="2958"/>
                  </a:lnTo>
                  <a:lnTo>
                    <a:pt x="1484" y="2954"/>
                  </a:lnTo>
                  <a:lnTo>
                    <a:pt x="1482" y="2952"/>
                  </a:lnTo>
                  <a:lnTo>
                    <a:pt x="1478" y="2950"/>
                  </a:lnTo>
                  <a:lnTo>
                    <a:pt x="1474" y="2950"/>
                  </a:lnTo>
                  <a:lnTo>
                    <a:pt x="1468" y="2954"/>
                  </a:lnTo>
                  <a:close/>
                  <a:moveTo>
                    <a:pt x="1518" y="2942"/>
                  </a:moveTo>
                  <a:lnTo>
                    <a:pt x="1518" y="2942"/>
                  </a:lnTo>
                  <a:lnTo>
                    <a:pt x="1520" y="2940"/>
                  </a:lnTo>
                  <a:lnTo>
                    <a:pt x="1520" y="2938"/>
                  </a:lnTo>
                  <a:lnTo>
                    <a:pt x="1518" y="2926"/>
                  </a:lnTo>
                  <a:lnTo>
                    <a:pt x="1516" y="2924"/>
                  </a:lnTo>
                  <a:lnTo>
                    <a:pt x="1516" y="2926"/>
                  </a:lnTo>
                  <a:lnTo>
                    <a:pt x="1514" y="2932"/>
                  </a:lnTo>
                  <a:lnTo>
                    <a:pt x="1514" y="2938"/>
                  </a:lnTo>
                  <a:lnTo>
                    <a:pt x="1516" y="2940"/>
                  </a:lnTo>
                  <a:lnTo>
                    <a:pt x="1518" y="2942"/>
                  </a:lnTo>
                  <a:close/>
                  <a:moveTo>
                    <a:pt x="1252" y="2768"/>
                  </a:moveTo>
                  <a:lnTo>
                    <a:pt x="1252" y="2768"/>
                  </a:lnTo>
                  <a:lnTo>
                    <a:pt x="1254" y="2768"/>
                  </a:lnTo>
                  <a:lnTo>
                    <a:pt x="1256" y="2766"/>
                  </a:lnTo>
                  <a:lnTo>
                    <a:pt x="1256" y="2764"/>
                  </a:lnTo>
                  <a:lnTo>
                    <a:pt x="1254" y="2760"/>
                  </a:lnTo>
                  <a:lnTo>
                    <a:pt x="1254" y="2758"/>
                  </a:lnTo>
                  <a:lnTo>
                    <a:pt x="1252" y="2758"/>
                  </a:lnTo>
                  <a:lnTo>
                    <a:pt x="1250" y="2762"/>
                  </a:lnTo>
                  <a:lnTo>
                    <a:pt x="1248" y="2766"/>
                  </a:lnTo>
                  <a:lnTo>
                    <a:pt x="1250" y="2768"/>
                  </a:lnTo>
                  <a:lnTo>
                    <a:pt x="1252" y="2768"/>
                  </a:lnTo>
                  <a:close/>
                  <a:moveTo>
                    <a:pt x="1256" y="2790"/>
                  </a:moveTo>
                  <a:lnTo>
                    <a:pt x="1256" y="2790"/>
                  </a:lnTo>
                  <a:lnTo>
                    <a:pt x="1254" y="2786"/>
                  </a:lnTo>
                  <a:lnTo>
                    <a:pt x="1252" y="2782"/>
                  </a:lnTo>
                  <a:lnTo>
                    <a:pt x="1252" y="2780"/>
                  </a:lnTo>
                  <a:lnTo>
                    <a:pt x="1250" y="2780"/>
                  </a:lnTo>
                  <a:lnTo>
                    <a:pt x="1248" y="2782"/>
                  </a:lnTo>
                  <a:lnTo>
                    <a:pt x="1244" y="2782"/>
                  </a:lnTo>
                  <a:lnTo>
                    <a:pt x="1242" y="2784"/>
                  </a:lnTo>
                  <a:lnTo>
                    <a:pt x="1242" y="2790"/>
                  </a:lnTo>
                  <a:lnTo>
                    <a:pt x="1244" y="2794"/>
                  </a:lnTo>
                  <a:lnTo>
                    <a:pt x="1246" y="2794"/>
                  </a:lnTo>
                  <a:lnTo>
                    <a:pt x="1250" y="2794"/>
                  </a:lnTo>
                  <a:lnTo>
                    <a:pt x="1256" y="2796"/>
                  </a:lnTo>
                  <a:lnTo>
                    <a:pt x="1260" y="2798"/>
                  </a:lnTo>
                  <a:lnTo>
                    <a:pt x="1260" y="2794"/>
                  </a:lnTo>
                  <a:lnTo>
                    <a:pt x="1256" y="2790"/>
                  </a:lnTo>
                  <a:close/>
                  <a:moveTo>
                    <a:pt x="1348" y="2902"/>
                  </a:moveTo>
                  <a:lnTo>
                    <a:pt x="1348" y="2902"/>
                  </a:lnTo>
                  <a:lnTo>
                    <a:pt x="1352" y="2904"/>
                  </a:lnTo>
                  <a:lnTo>
                    <a:pt x="1352" y="2902"/>
                  </a:lnTo>
                  <a:lnTo>
                    <a:pt x="1352" y="2898"/>
                  </a:lnTo>
                  <a:lnTo>
                    <a:pt x="1350" y="2892"/>
                  </a:lnTo>
                  <a:lnTo>
                    <a:pt x="1346" y="2890"/>
                  </a:lnTo>
                  <a:lnTo>
                    <a:pt x="1344" y="2892"/>
                  </a:lnTo>
                  <a:lnTo>
                    <a:pt x="1346" y="2896"/>
                  </a:lnTo>
                  <a:lnTo>
                    <a:pt x="1348" y="2902"/>
                  </a:lnTo>
                  <a:close/>
                  <a:moveTo>
                    <a:pt x="1448" y="2860"/>
                  </a:moveTo>
                  <a:lnTo>
                    <a:pt x="1448" y="2860"/>
                  </a:lnTo>
                  <a:lnTo>
                    <a:pt x="1450" y="2860"/>
                  </a:lnTo>
                  <a:lnTo>
                    <a:pt x="1452" y="2860"/>
                  </a:lnTo>
                  <a:lnTo>
                    <a:pt x="1454" y="2854"/>
                  </a:lnTo>
                  <a:lnTo>
                    <a:pt x="1452" y="2848"/>
                  </a:lnTo>
                  <a:lnTo>
                    <a:pt x="1452" y="2846"/>
                  </a:lnTo>
                  <a:lnTo>
                    <a:pt x="1448" y="2846"/>
                  </a:lnTo>
                  <a:lnTo>
                    <a:pt x="1446" y="2850"/>
                  </a:lnTo>
                  <a:lnTo>
                    <a:pt x="1444" y="2852"/>
                  </a:lnTo>
                  <a:lnTo>
                    <a:pt x="1446" y="2856"/>
                  </a:lnTo>
                  <a:lnTo>
                    <a:pt x="1448" y="2860"/>
                  </a:lnTo>
                  <a:close/>
                  <a:moveTo>
                    <a:pt x="1440" y="2848"/>
                  </a:moveTo>
                  <a:lnTo>
                    <a:pt x="1440" y="2848"/>
                  </a:lnTo>
                  <a:lnTo>
                    <a:pt x="1438" y="2848"/>
                  </a:lnTo>
                  <a:lnTo>
                    <a:pt x="1434" y="2850"/>
                  </a:lnTo>
                  <a:lnTo>
                    <a:pt x="1434" y="2854"/>
                  </a:lnTo>
                  <a:lnTo>
                    <a:pt x="1436" y="2856"/>
                  </a:lnTo>
                  <a:lnTo>
                    <a:pt x="1438" y="2856"/>
                  </a:lnTo>
                  <a:lnTo>
                    <a:pt x="1440" y="2854"/>
                  </a:lnTo>
                  <a:lnTo>
                    <a:pt x="1440" y="2850"/>
                  </a:lnTo>
                  <a:lnTo>
                    <a:pt x="1440" y="2848"/>
                  </a:lnTo>
                  <a:close/>
                  <a:moveTo>
                    <a:pt x="2822" y="3608"/>
                  </a:moveTo>
                  <a:lnTo>
                    <a:pt x="2822" y="3608"/>
                  </a:lnTo>
                  <a:lnTo>
                    <a:pt x="2818" y="3606"/>
                  </a:lnTo>
                  <a:lnTo>
                    <a:pt x="2814" y="3598"/>
                  </a:lnTo>
                  <a:lnTo>
                    <a:pt x="2802" y="3578"/>
                  </a:lnTo>
                  <a:lnTo>
                    <a:pt x="2798" y="3570"/>
                  </a:lnTo>
                  <a:lnTo>
                    <a:pt x="2792" y="3562"/>
                  </a:lnTo>
                  <a:lnTo>
                    <a:pt x="2786" y="3558"/>
                  </a:lnTo>
                  <a:lnTo>
                    <a:pt x="2782" y="3556"/>
                  </a:lnTo>
                  <a:lnTo>
                    <a:pt x="2780" y="3558"/>
                  </a:lnTo>
                  <a:lnTo>
                    <a:pt x="2776" y="3558"/>
                  </a:lnTo>
                  <a:lnTo>
                    <a:pt x="2774" y="3558"/>
                  </a:lnTo>
                  <a:lnTo>
                    <a:pt x="2768" y="3554"/>
                  </a:lnTo>
                  <a:lnTo>
                    <a:pt x="2762" y="3550"/>
                  </a:lnTo>
                  <a:lnTo>
                    <a:pt x="2756" y="3548"/>
                  </a:lnTo>
                  <a:lnTo>
                    <a:pt x="2746" y="3546"/>
                  </a:lnTo>
                  <a:lnTo>
                    <a:pt x="2738" y="3544"/>
                  </a:lnTo>
                  <a:lnTo>
                    <a:pt x="2728" y="3540"/>
                  </a:lnTo>
                  <a:lnTo>
                    <a:pt x="2720" y="3532"/>
                  </a:lnTo>
                  <a:lnTo>
                    <a:pt x="2712" y="3524"/>
                  </a:lnTo>
                  <a:lnTo>
                    <a:pt x="2706" y="3516"/>
                  </a:lnTo>
                  <a:lnTo>
                    <a:pt x="2700" y="3506"/>
                  </a:lnTo>
                  <a:lnTo>
                    <a:pt x="2696" y="3496"/>
                  </a:lnTo>
                  <a:lnTo>
                    <a:pt x="2694" y="3488"/>
                  </a:lnTo>
                  <a:lnTo>
                    <a:pt x="2694" y="3464"/>
                  </a:lnTo>
                  <a:lnTo>
                    <a:pt x="2694" y="3458"/>
                  </a:lnTo>
                  <a:lnTo>
                    <a:pt x="2692" y="3454"/>
                  </a:lnTo>
                  <a:lnTo>
                    <a:pt x="2692" y="3448"/>
                  </a:lnTo>
                  <a:lnTo>
                    <a:pt x="2694" y="3442"/>
                  </a:lnTo>
                  <a:lnTo>
                    <a:pt x="2696" y="3438"/>
                  </a:lnTo>
                  <a:lnTo>
                    <a:pt x="2696" y="3434"/>
                  </a:lnTo>
                  <a:lnTo>
                    <a:pt x="2696" y="3430"/>
                  </a:lnTo>
                  <a:lnTo>
                    <a:pt x="2698" y="3422"/>
                  </a:lnTo>
                  <a:lnTo>
                    <a:pt x="2700" y="3418"/>
                  </a:lnTo>
                  <a:lnTo>
                    <a:pt x="2698" y="3416"/>
                  </a:lnTo>
                  <a:lnTo>
                    <a:pt x="2696" y="3414"/>
                  </a:lnTo>
                  <a:lnTo>
                    <a:pt x="2694" y="3416"/>
                  </a:lnTo>
                  <a:lnTo>
                    <a:pt x="2692" y="3416"/>
                  </a:lnTo>
                  <a:lnTo>
                    <a:pt x="2692" y="3420"/>
                  </a:lnTo>
                  <a:lnTo>
                    <a:pt x="2694" y="3424"/>
                  </a:lnTo>
                  <a:lnTo>
                    <a:pt x="2692" y="3424"/>
                  </a:lnTo>
                  <a:lnTo>
                    <a:pt x="2688" y="3422"/>
                  </a:lnTo>
                  <a:lnTo>
                    <a:pt x="2686" y="3422"/>
                  </a:lnTo>
                  <a:lnTo>
                    <a:pt x="2684" y="3432"/>
                  </a:lnTo>
                  <a:lnTo>
                    <a:pt x="2680" y="3444"/>
                  </a:lnTo>
                  <a:lnTo>
                    <a:pt x="2678" y="3444"/>
                  </a:lnTo>
                  <a:lnTo>
                    <a:pt x="2676" y="3444"/>
                  </a:lnTo>
                  <a:lnTo>
                    <a:pt x="2674" y="3444"/>
                  </a:lnTo>
                  <a:lnTo>
                    <a:pt x="2670" y="3452"/>
                  </a:lnTo>
                  <a:lnTo>
                    <a:pt x="2666" y="3458"/>
                  </a:lnTo>
                  <a:lnTo>
                    <a:pt x="2660" y="3462"/>
                  </a:lnTo>
                  <a:lnTo>
                    <a:pt x="2654" y="3468"/>
                  </a:lnTo>
                  <a:lnTo>
                    <a:pt x="2646" y="3476"/>
                  </a:lnTo>
                  <a:lnTo>
                    <a:pt x="2638" y="3488"/>
                  </a:lnTo>
                  <a:lnTo>
                    <a:pt x="2628" y="3496"/>
                  </a:lnTo>
                  <a:lnTo>
                    <a:pt x="2614" y="3508"/>
                  </a:lnTo>
                  <a:lnTo>
                    <a:pt x="2616" y="3510"/>
                  </a:lnTo>
                  <a:lnTo>
                    <a:pt x="2618" y="3512"/>
                  </a:lnTo>
                  <a:lnTo>
                    <a:pt x="2618" y="3516"/>
                  </a:lnTo>
                  <a:lnTo>
                    <a:pt x="2614" y="3524"/>
                  </a:lnTo>
                  <a:lnTo>
                    <a:pt x="2606" y="3530"/>
                  </a:lnTo>
                  <a:lnTo>
                    <a:pt x="2598" y="3532"/>
                  </a:lnTo>
                  <a:lnTo>
                    <a:pt x="2588" y="3534"/>
                  </a:lnTo>
                  <a:lnTo>
                    <a:pt x="2578" y="3532"/>
                  </a:lnTo>
                  <a:lnTo>
                    <a:pt x="2558" y="3528"/>
                  </a:lnTo>
                  <a:lnTo>
                    <a:pt x="2546" y="3528"/>
                  </a:lnTo>
                  <a:lnTo>
                    <a:pt x="2538" y="3532"/>
                  </a:lnTo>
                  <a:lnTo>
                    <a:pt x="2522" y="3538"/>
                  </a:lnTo>
                  <a:lnTo>
                    <a:pt x="2514" y="3538"/>
                  </a:lnTo>
                  <a:lnTo>
                    <a:pt x="2512" y="3538"/>
                  </a:lnTo>
                  <a:lnTo>
                    <a:pt x="2510" y="3536"/>
                  </a:lnTo>
                  <a:lnTo>
                    <a:pt x="2510" y="3528"/>
                  </a:lnTo>
                  <a:lnTo>
                    <a:pt x="2510" y="3522"/>
                  </a:lnTo>
                  <a:lnTo>
                    <a:pt x="2506" y="3522"/>
                  </a:lnTo>
                  <a:lnTo>
                    <a:pt x="2502" y="3522"/>
                  </a:lnTo>
                  <a:lnTo>
                    <a:pt x="2496" y="3522"/>
                  </a:lnTo>
                  <a:lnTo>
                    <a:pt x="2492" y="3520"/>
                  </a:lnTo>
                  <a:lnTo>
                    <a:pt x="2490" y="3518"/>
                  </a:lnTo>
                  <a:lnTo>
                    <a:pt x="2492" y="3514"/>
                  </a:lnTo>
                  <a:lnTo>
                    <a:pt x="2496" y="3510"/>
                  </a:lnTo>
                  <a:lnTo>
                    <a:pt x="2496" y="3506"/>
                  </a:lnTo>
                  <a:lnTo>
                    <a:pt x="2492" y="3508"/>
                  </a:lnTo>
                  <a:lnTo>
                    <a:pt x="2490" y="3508"/>
                  </a:lnTo>
                  <a:lnTo>
                    <a:pt x="2488" y="3508"/>
                  </a:lnTo>
                  <a:lnTo>
                    <a:pt x="2486" y="3506"/>
                  </a:lnTo>
                  <a:lnTo>
                    <a:pt x="2488" y="3504"/>
                  </a:lnTo>
                  <a:lnTo>
                    <a:pt x="2490" y="3504"/>
                  </a:lnTo>
                  <a:lnTo>
                    <a:pt x="2494" y="3504"/>
                  </a:lnTo>
                  <a:lnTo>
                    <a:pt x="2496" y="3502"/>
                  </a:lnTo>
                  <a:lnTo>
                    <a:pt x="2498" y="3496"/>
                  </a:lnTo>
                  <a:lnTo>
                    <a:pt x="2502" y="3480"/>
                  </a:lnTo>
                  <a:lnTo>
                    <a:pt x="2502" y="3474"/>
                  </a:lnTo>
                  <a:lnTo>
                    <a:pt x="2500" y="3468"/>
                  </a:lnTo>
                  <a:lnTo>
                    <a:pt x="2496" y="3462"/>
                  </a:lnTo>
                  <a:lnTo>
                    <a:pt x="2496" y="3458"/>
                  </a:lnTo>
                  <a:lnTo>
                    <a:pt x="2498" y="3454"/>
                  </a:lnTo>
                  <a:lnTo>
                    <a:pt x="2500" y="3448"/>
                  </a:lnTo>
                  <a:lnTo>
                    <a:pt x="2498" y="3440"/>
                  </a:lnTo>
                  <a:lnTo>
                    <a:pt x="2494" y="3434"/>
                  </a:lnTo>
                  <a:lnTo>
                    <a:pt x="2490" y="3428"/>
                  </a:lnTo>
                  <a:lnTo>
                    <a:pt x="2486" y="3426"/>
                  </a:lnTo>
                  <a:lnTo>
                    <a:pt x="2484" y="3426"/>
                  </a:lnTo>
                  <a:lnTo>
                    <a:pt x="2480" y="3430"/>
                  </a:lnTo>
                  <a:lnTo>
                    <a:pt x="2476" y="3444"/>
                  </a:lnTo>
                  <a:lnTo>
                    <a:pt x="2470" y="3456"/>
                  </a:lnTo>
                  <a:lnTo>
                    <a:pt x="2470" y="3466"/>
                  </a:lnTo>
                  <a:lnTo>
                    <a:pt x="2468" y="3498"/>
                  </a:lnTo>
                  <a:lnTo>
                    <a:pt x="2464" y="3486"/>
                  </a:lnTo>
                  <a:lnTo>
                    <a:pt x="2460" y="3478"/>
                  </a:lnTo>
                  <a:lnTo>
                    <a:pt x="2458" y="3468"/>
                  </a:lnTo>
                  <a:lnTo>
                    <a:pt x="2452" y="3462"/>
                  </a:lnTo>
                  <a:lnTo>
                    <a:pt x="2448" y="3456"/>
                  </a:lnTo>
                  <a:lnTo>
                    <a:pt x="2448" y="3454"/>
                  </a:lnTo>
                  <a:lnTo>
                    <a:pt x="2448" y="3450"/>
                  </a:lnTo>
                  <a:lnTo>
                    <a:pt x="2444" y="3444"/>
                  </a:lnTo>
                  <a:lnTo>
                    <a:pt x="2442" y="3438"/>
                  </a:lnTo>
                  <a:lnTo>
                    <a:pt x="2442" y="3434"/>
                  </a:lnTo>
                  <a:lnTo>
                    <a:pt x="2442" y="3428"/>
                  </a:lnTo>
                  <a:lnTo>
                    <a:pt x="2444" y="3420"/>
                  </a:lnTo>
                  <a:lnTo>
                    <a:pt x="2442" y="3414"/>
                  </a:lnTo>
                  <a:lnTo>
                    <a:pt x="2440" y="3408"/>
                  </a:lnTo>
                  <a:lnTo>
                    <a:pt x="2438" y="3402"/>
                  </a:lnTo>
                  <a:lnTo>
                    <a:pt x="2438" y="3400"/>
                  </a:lnTo>
                  <a:lnTo>
                    <a:pt x="2442" y="3400"/>
                  </a:lnTo>
                  <a:lnTo>
                    <a:pt x="2444" y="3404"/>
                  </a:lnTo>
                  <a:lnTo>
                    <a:pt x="2448" y="3404"/>
                  </a:lnTo>
                  <a:lnTo>
                    <a:pt x="2448" y="3406"/>
                  </a:lnTo>
                  <a:lnTo>
                    <a:pt x="2446" y="3408"/>
                  </a:lnTo>
                  <a:lnTo>
                    <a:pt x="2444" y="3410"/>
                  </a:lnTo>
                  <a:lnTo>
                    <a:pt x="2448" y="3410"/>
                  </a:lnTo>
                  <a:lnTo>
                    <a:pt x="2450" y="3412"/>
                  </a:lnTo>
                  <a:lnTo>
                    <a:pt x="2448" y="3414"/>
                  </a:lnTo>
                  <a:lnTo>
                    <a:pt x="2450" y="3416"/>
                  </a:lnTo>
                  <a:lnTo>
                    <a:pt x="2454" y="3420"/>
                  </a:lnTo>
                  <a:lnTo>
                    <a:pt x="2456" y="3422"/>
                  </a:lnTo>
                  <a:lnTo>
                    <a:pt x="2458" y="3422"/>
                  </a:lnTo>
                  <a:lnTo>
                    <a:pt x="2460" y="3422"/>
                  </a:lnTo>
                  <a:lnTo>
                    <a:pt x="2460" y="3420"/>
                  </a:lnTo>
                  <a:lnTo>
                    <a:pt x="2460" y="3418"/>
                  </a:lnTo>
                  <a:lnTo>
                    <a:pt x="2462" y="3416"/>
                  </a:lnTo>
                  <a:lnTo>
                    <a:pt x="2464" y="3412"/>
                  </a:lnTo>
                  <a:lnTo>
                    <a:pt x="2466" y="3406"/>
                  </a:lnTo>
                  <a:lnTo>
                    <a:pt x="2466" y="3402"/>
                  </a:lnTo>
                  <a:lnTo>
                    <a:pt x="2468" y="3400"/>
                  </a:lnTo>
                  <a:lnTo>
                    <a:pt x="2468" y="3402"/>
                  </a:lnTo>
                  <a:lnTo>
                    <a:pt x="2474" y="3404"/>
                  </a:lnTo>
                  <a:lnTo>
                    <a:pt x="2476" y="3404"/>
                  </a:lnTo>
                  <a:lnTo>
                    <a:pt x="2476" y="3402"/>
                  </a:lnTo>
                  <a:lnTo>
                    <a:pt x="2478" y="3402"/>
                  </a:lnTo>
                  <a:lnTo>
                    <a:pt x="2480" y="3400"/>
                  </a:lnTo>
                  <a:lnTo>
                    <a:pt x="2480" y="3398"/>
                  </a:lnTo>
                  <a:lnTo>
                    <a:pt x="2482" y="3396"/>
                  </a:lnTo>
                  <a:lnTo>
                    <a:pt x="2482" y="3394"/>
                  </a:lnTo>
                  <a:lnTo>
                    <a:pt x="2482" y="3392"/>
                  </a:lnTo>
                  <a:lnTo>
                    <a:pt x="2482" y="3388"/>
                  </a:lnTo>
                  <a:lnTo>
                    <a:pt x="2480" y="3386"/>
                  </a:lnTo>
                  <a:lnTo>
                    <a:pt x="2482" y="3384"/>
                  </a:lnTo>
                  <a:lnTo>
                    <a:pt x="2480" y="3384"/>
                  </a:lnTo>
                  <a:lnTo>
                    <a:pt x="2478" y="3384"/>
                  </a:lnTo>
                  <a:lnTo>
                    <a:pt x="2478" y="3386"/>
                  </a:lnTo>
                  <a:lnTo>
                    <a:pt x="2476" y="3388"/>
                  </a:lnTo>
                  <a:lnTo>
                    <a:pt x="2472" y="3388"/>
                  </a:lnTo>
                  <a:lnTo>
                    <a:pt x="2470" y="3388"/>
                  </a:lnTo>
                  <a:lnTo>
                    <a:pt x="2468" y="3382"/>
                  </a:lnTo>
                  <a:lnTo>
                    <a:pt x="2466" y="3378"/>
                  </a:lnTo>
                  <a:lnTo>
                    <a:pt x="2468" y="3374"/>
                  </a:lnTo>
                  <a:lnTo>
                    <a:pt x="2468" y="3372"/>
                  </a:lnTo>
                  <a:lnTo>
                    <a:pt x="2466" y="3370"/>
                  </a:lnTo>
                  <a:lnTo>
                    <a:pt x="2464" y="3370"/>
                  </a:lnTo>
                  <a:lnTo>
                    <a:pt x="2464" y="3374"/>
                  </a:lnTo>
                  <a:lnTo>
                    <a:pt x="2462" y="3378"/>
                  </a:lnTo>
                  <a:lnTo>
                    <a:pt x="2462" y="3380"/>
                  </a:lnTo>
                  <a:lnTo>
                    <a:pt x="2460" y="3380"/>
                  </a:lnTo>
                  <a:lnTo>
                    <a:pt x="2456" y="3380"/>
                  </a:lnTo>
                  <a:lnTo>
                    <a:pt x="2452" y="3382"/>
                  </a:lnTo>
                  <a:lnTo>
                    <a:pt x="2450" y="3384"/>
                  </a:lnTo>
                  <a:lnTo>
                    <a:pt x="2446" y="3384"/>
                  </a:lnTo>
                  <a:lnTo>
                    <a:pt x="2444" y="3384"/>
                  </a:lnTo>
                  <a:lnTo>
                    <a:pt x="2444" y="3388"/>
                  </a:lnTo>
                  <a:lnTo>
                    <a:pt x="2442" y="3394"/>
                  </a:lnTo>
                  <a:lnTo>
                    <a:pt x="2434" y="3388"/>
                  </a:lnTo>
                  <a:lnTo>
                    <a:pt x="2422" y="3378"/>
                  </a:lnTo>
                  <a:lnTo>
                    <a:pt x="2414" y="3368"/>
                  </a:lnTo>
                  <a:lnTo>
                    <a:pt x="2410" y="3364"/>
                  </a:lnTo>
                  <a:lnTo>
                    <a:pt x="2410" y="3358"/>
                  </a:lnTo>
                  <a:lnTo>
                    <a:pt x="2410" y="3354"/>
                  </a:lnTo>
                  <a:lnTo>
                    <a:pt x="2408" y="3352"/>
                  </a:lnTo>
                  <a:lnTo>
                    <a:pt x="2402" y="3350"/>
                  </a:lnTo>
                  <a:lnTo>
                    <a:pt x="2394" y="3350"/>
                  </a:lnTo>
                  <a:lnTo>
                    <a:pt x="2392" y="3348"/>
                  </a:lnTo>
                  <a:lnTo>
                    <a:pt x="2392" y="3344"/>
                  </a:lnTo>
                  <a:lnTo>
                    <a:pt x="2390" y="3338"/>
                  </a:lnTo>
                  <a:lnTo>
                    <a:pt x="2386" y="3330"/>
                  </a:lnTo>
                  <a:lnTo>
                    <a:pt x="2382" y="3320"/>
                  </a:lnTo>
                  <a:lnTo>
                    <a:pt x="2376" y="3302"/>
                  </a:lnTo>
                  <a:lnTo>
                    <a:pt x="2370" y="3290"/>
                  </a:lnTo>
                  <a:lnTo>
                    <a:pt x="2366" y="3284"/>
                  </a:lnTo>
                  <a:lnTo>
                    <a:pt x="2364" y="3280"/>
                  </a:lnTo>
                  <a:lnTo>
                    <a:pt x="2362" y="3270"/>
                  </a:lnTo>
                  <a:lnTo>
                    <a:pt x="2360" y="3266"/>
                  </a:lnTo>
                  <a:lnTo>
                    <a:pt x="2358" y="3264"/>
                  </a:lnTo>
                  <a:lnTo>
                    <a:pt x="2352" y="3262"/>
                  </a:lnTo>
                  <a:lnTo>
                    <a:pt x="2346" y="3260"/>
                  </a:lnTo>
                  <a:lnTo>
                    <a:pt x="2346" y="3258"/>
                  </a:lnTo>
                  <a:lnTo>
                    <a:pt x="2346" y="3254"/>
                  </a:lnTo>
                  <a:lnTo>
                    <a:pt x="2350" y="3250"/>
                  </a:lnTo>
                  <a:lnTo>
                    <a:pt x="2354" y="3248"/>
                  </a:lnTo>
                  <a:lnTo>
                    <a:pt x="2360" y="3250"/>
                  </a:lnTo>
                  <a:lnTo>
                    <a:pt x="2362" y="3248"/>
                  </a:lnTo>
                  <a:lnTo>
                    <a:pt x="2362" y="3246"/>
                  </a:lnTo>
                  <a:lnTo>
                    <a:pt x="2354" y="3228"/>
                  </a:lnTo>
                  <a:lnTo>
                    <a:pt x="2354" y="3224"/>
                  </a:lnTo>
                  <a:lnTo>
                    <a:pt x="2356" y="3224"/>
                  </a:lnTo>
                  <a:lnTo>
                    <a:pt x="2364" y="3226"/>
                  </a:lnTo>
                  <a:lnTo>
                    <a:pt x="2372" y="3230"/>
                  </a:lnTo>
                  <a:lnTo>
                    <a:pt x="2376" y="3232"/>
                  </a:lnTo>
                  <a:lnTo>
                    <a:pt x="2378" y="3230"/>
                  </a:lnTo>
                  <a:lnTo>
                    <a:pt x="2384" y="3226"/>
                  </a:lnTo>
                  <a:lnTo>
                    <a:pt x="2390" y="3226"/>
                  </a:lnTo>
                  <a:lnTo>
                    <a:pt x="2392" y="3224"/>
                  </a:lnTo>
                  <a:lnTo>
                    <a:pt x="2394" y="3216"/>
                  </a:lnTo>
                  <a:lnTo>
                    <a:pt x="2396" y="3212"/>
                  </a:lnTo>
                  <a:lnTo>
                    <a:pt x="2398" y="3212"/>
                  </a:lnTo>
                  <a:lnTo>
                    <a:pt x="2406" y="3218"/>
                  </a:lnTo>
                  <a:lnTo>
                    <a:pt x="2412" y="3222"/>
                  </a:lnTo>
                  <a:lnTo>
                    <a:pt x="2416" y="3224"/>
                  </a:lnTo>
                  <a:lnTo>
                    <a:pt x="2424" y="3224"/>
                  </a:lnTo>
                  <a:lnTo>
                    <a:pt x="2430" y="3222"/>
                  </a:lnTo>
                  <a:lnTo>
                    <a:pt x="2436" y="3218"/>
                  </a:lnTo>
                  <a:lnTo>
                    <a:pt x="2438" y="3218"/>
                  </a:lnTo>
                  <a:lnTo>
                    <a:pt x="2440" y="3220"/>
                  </a:lnTo>
                  <a:lnTo>
                    <a:pt x="2442" y="3222"/>
                  </a:lnTo>
                  <a:lnTo>
                    <a:pt x="2444" y="3232"/>
                  </a:lnTo>
                  <a:lnTo>
                    <a:pt x="2448" y="3238"/>
                  </a:lnTo>
                  <a:lnTo>
                    <a:pt x="2452" y="3244"/>
                  </a:lnTo>
                  <a:lnTo>
                    <a:pt x="2452" y="3220"/>
                  </a:lnTo>
                  <a:lnTo>
                    <a:pt x="2414" y="3146"/>
                  </a:lnTo>
                  <a:lnTo>
                    <a:pt x="2378" y="3050"/>
                  </a:lnTo>
                  <a:lnTo>
                    <a:pt x="2372" y="3006"/>
                  </a:lnTo>
                  <a:lnTo>
                    <a:pt x="2378" y="2910"/>
                  </a:lnTo>
                  <a:lnTo>
                    <a:pt x="2378" y="2868"/>
                  </a:lnTo>
                  <a:lnTo>
                    <a:pt x="2392" y="2778"/>
                  </a:lnTo>
                  <a:lnTo>
                    <a:pt x="2386" y="2780"/>
                  </a:lnTo>
                  <a:lnTo>
                    <a:pt x="2382" y="2780"/>
                  </a:lnTo>
                  <a:lnTo>
                    <a:pt x="2380" y="2778"/>
                  </a:lnTo>
                  <a:lnTo>
                    <a:pt x="2380" y="2776"/>
                  </a:lnTo>
                  <a:lnTo>
                    <a:pt x="2378" y="2770"/>
                  </a:lnTo>
                  <a:lnTo>
                    <a:pt x="2376" y="2768"/>
                  </a:lnTo>
                  <a:lnTo>
                    <a:pt x="2374" y="2768"/>
                  </a:lnTo>
                  <a:lnTo>
                    <a:pt x="2376" y="2768"/>
                  </a:lnTo>
                  <a:lnTo>
                    <a:pt x="2378" y="2770"/>
                  </a:lnTo>
                  <a:lnTo>
                    <a:pt x="2380" y="2776"/>
                  </a:lnTo>
                  <a:lnTo>
                    <a:pt x="2380" y="2778"/>
                  </a:lnTo>
                  <a:lnTo>
                    <a:pt x="2382" y="2780"/>
                  </a:lnTo>
                  <a:lnTo>
                    <a:pt x="2386" y="2780"/>
                  </a:lnTo>
                  <a:lnTo>
                    <a:pt x="2392" y="2778"/>
                  </a:lnTo>
                  <a:lnTo>
                    <a:pt x="2390" y="2764"/>
                  </a:lnTo>
                  <a:lnTo>
                    <a:pt x="2394" y="2746"/>
                  </a:lnTo>
                  <a:lnTo>
                    <a:pt x="2390" y="2726"/>
                  </a:lnTo>
                  <a:lnTo>
                    <a:pt x="2386" y="2674"/>
                  </a:lnTo>
                  <a:lnTo>
                    <a:pt x="2384" y="2658"/>
                  </a:lnTo>
                  <a:lnTo>
                    <a:pt x="2386" y="2626"/>
                  </a:lnTo>
                  <a:lnTo>
                    <a:pt x="2360" y="2586"/>
                  </a:lnTo>
                  <a:lnTo>
                    <a:pt x="2336" y="2534"/>
                  </a:lnTo>
                  <a:lnTo>
                    <a:pt x="2284" y="2470"/>
                  </a:lnTo>
                  <a:lnTo>
                    <a:pt x="2274" y="2434"/>
                  </a:lnTo>
                  <a:lnTo>
                    <a:pt x="2302" y="2390"/>
                  </a:lnTo>
                  <a:lnTo>
                    <a:pt x="2334" y="2368"/>
                  </a:lnTo>
                  <a:lnTo>
                    <a:pt x="2352" y="2336"/>
                  </a:lnTo>
                  <a:lnTo>
                    <a:pt x="2346" y="2304"/>
                  </a:lnTo>
                  <a:lnTo>
                    <a:pt x="2318" y="2270"/>
                  </a:lnTo>
                  <a:lnTo>
                    <a:pt x="2280" y="2246"/>
                  </a:lnTo>
                  <a:lnTo>
                    <a:pt x="2264" y="2186"/>
                  </a:lnTo>
                  <a:lnTo>
                    <a:pt x="2274" y="2140"/>
                  </a:lnTo>
                  <a:lnTo>
                    <a:pt x="2288" y="2090"/>
                  </a:lnTo>
                  <a:lnTo>
                    <a:pt x="2290" y="2086"/>
                  </a:lnTo>
                  <a:lnTo>
                    <a:pt x="2296" y="2086"/>
                  </a:lnTo>
                  <a:lnTo>
                    <a:pt x="2308" y="2088"/>
                  </a:lnTo>
                  <a:lnTo>
                    <a:pt x="2328" y="2096"/>
                  </a:lnTo>
                  <a:lnTo>
                    <a:pt x="2370" y="2082"/>
                  </a:lnTo>
                  <a:lnTo>
                    <a:pt x="2376" y="2058"/>
                  </a:lnTo>
                  <a:lnTo>
                    <a:pt x="2440" y="2024"/>
                  </a:lnTo>
                  <a:lnTo>
                    <a:pt x="2384" y="1780"/>
                  </a:lnTo>
                  <a:lnTo>
                    <a:pt x="2264" y="1588"/>
                  </a:lnTo>
                  <a:lnTo>
                    <a:pt x="2204" y="1444"/>
                  </a:lnTo>
                  <a:lnTo>
                    <a:pt x="2204" y="1264"/>
                  </a:lnTo>
                  <a:lnTo>
                    <a:pt x="2212" y="1228"/>
                  </a:lnTo>
                  <a:lnTo>
                    <a:pt x="2224" y="1194"/>
                  </a:lnTo>
                  <a:lnTo>
                    <a:pt x="2232" y="1174"/>
                  </a:lnTo>
                  <a:lnTo>
                    <a:pt x="2240" y="1156"/>
                  </a:lnTo>
                  <a:lnTo>
                    <a:pt x="2248" y="1138"/>
                  </a:lnTo>
                  <a:lnTo>
                    <a:pt x="2258" y="1112"/>
                  </a:lnTo>
                  <a:lnTo>
                    <a:pt x="2282" y="1046"/>
                  </a:lnTo>
                  <a:lnTo>
                    <a:pt x="2276" y="1048"/>
                  </a:lnTo>
                  <a:lnTo>
                    <a:pt x="2274" y="1046"/>
                  </a:lnTo>
                  <a:lnTo>
                    <a:pt x="2270" y="1038"/>
                  </a:lnTo>
                  <a:lnTo>
                    <a:pt x="2266" y="1032"/>
                  </a:lnTo>
                  <a:lnTo>
                    <a:pt x="2262" y="1026"/>
                  </a:lnTo>
                  <a:lnTo>
                    <a:pt x="2256" y="1018"/>
                  </a:lnTo>
                  <a:lnTo>
                    <a:pt x="2246" y="1014"/>
                  </a:lnTo>
                  <a:lnTo>
                    <a:pt x="2236" y="1006"/>
                  </a:lnTo>
                  <a:lnTo>
                    <a:pt x="2234" y="1004"/>
                  </a:lnTo>
                  <a:lnTo>
                    <a:pt x="2232" y="1000"/>
                  </a:lnTo>
                  <a:lnTo>
                    <a:pt x="2234" y="998"/>
                  </a:lnTo>
                  <a:lnTo>
                    <a:pt x="2234" y="994"/>
                  </a:lnTo>
                  <a:lnTo>
                    <a:pt x="2242" y="988"/>
                  </a:lnTo>
                  <a:lnTo>
                    <a:pt x="2250" y="982"/>
                  </a:lnTo>
                  <a:lnTo>
                    <a:pt x="2262" y="978"/>
                  </a:lnTo>
                  <a:lnTo>
                    <a:pt x="2274" y="974"/>
                  </a:lnTo>
                  <a:lnTo>
                    <a:pt x="2286" y="974"/>
                  </a:lnTo>
                  <a:lnTo>
                    <a:pt x="2292" y="974"/>
                  </a:lnTo>
                  <a:lnTo>
                    <a:pt x="2296" y="972"/>
                  </a:lnTo>
                  <a:lnTo>
                    <a:pt x="2298" y="968"/>
                  </a:lnTo>
                  <a:lnTo>
                    <a:pt x="2300" y="966"/>
                  </a:lnTo>
                  <a:lnTo>
                    <a:pt x="2298" y="956"/>
                  </a:lnTo>
                  <a:lnTo>
                    <a:pt x="2294" y="946"/>
                  </a:lnTo>
                  <a:lnTo>
                    <a:pt x="2284" y="936"/>
                  </a:lnTo>
                  <a:lnTo>
                    <a:pt x="2272" y="928"/>
                  </a:lnTo>
                  <a:lnTo>
                    <a:pt x="2258" y="922"/>
                  </a:lnTo>
                  <a:lnTo>
                    <a:pt x="2250" y="922"/>
                  </a:lnTo>
                  <a:lnTo>
                    <a:pt x="2242" y="920"/>
                  </a:lnTo>
                  <a:lnTo>
                    <a:pt x="2224" y="920"/>
                  </a:lnTo>
                  <a:lnTo>
                    <a:pt x="2208" y="918"/>
                  </a:lnTo>
                  <a:lnTo>
                    <a:pt x="2182" y="912"/>
                  </a:lnTo>
                  <a:lnTo>
                    <a:pt x="2174" y="912"/>
                  </a:lnTo>
                  <a:lnTo>
                    <a:pt x="2172" y="912"/>
                  </a:lnTo>
                  <a:lnTo>
                    <a:pt x="2172" y="914"/>
                  </a:lnTo>
                  <a:lnTo>
                    <a:pt x="2174" y="918"/>
                  </a:lnTo>
                  <a:lnTo>
                    <a:pt x="2186" y="928"/>
                  </a:lnTo>
                  <a:lnTo>
                    <a:pt x="2192" y="934"/>
                  </a:lnTo>
                  <a:lnTo>
                    <a:pt x="2196" y="942"/>
                  </a:lnTo>
                  <a:lnTo>
                    <a:pt x="2198" y="948"/>
                  </a:lnTo>
                  <a:lnTo>
                    <a:pt x="2200" y="954"/>
                  </a:lnTo>
                  <a:lnTo>
                    <a:pt x="2196" y="966"/>
                  </a:lnTo>
                  <a:lnTo>
                    <a:pt x="2192" y="978"/>
                  </a:lnTo>
                  <a:lnTo>
                    <a:pt x="2188" y="990"/>
                  </a:lnTo>
                  <a:lnTo>
                    <a:pt x="2186" y="1000"/>
                  </a:lnTo>
                  <a:lnTo>
                    <a:pt x="2186" y="1006"/>
                  </a:lnTo>
                  <a:lnTo>
                    <a:pt x="2188" y="1012"/>
                  </a:lnTo>
                  <a:lnTo>
                    <a:pt x="2194" y="1016"/>
                  </a:lnTo>
                  <a:lnTo>
                    <a:pt x="2200" y="1022"/>
                  </a:lnTo>
                  <a:lnTo>
                    <a:pt x="2212" y="1032"/>
                  </a:lnTo>
                  <a:lnTo>
                    <a:pt x="2216" y="1036"/>
                  </a:lnTo>
                  <a:lnTo>
                    <a:pt x="2218" y="1040"/>
                  </a:lnTo>
                  <a:lnTo>
                    <a:pt x="2216" y="1046"/>
                  </a:lnTo>
                  <a:lnTo>
                    <a:pt x="2214" y="1054"/>
                  </a:lnTo>
                  <a:lnTo>
                    <a:pt x="2208" y="1062"/>
                  </a:lnTo>
                  <a:lnTo>
                    <a:pt x="2204" y="1072"/>
                  </a:lnTo>
                  <a:lnTo>
                    <a:pt x="2200" y="1084"/>
                  </a:lnTo>
                  <a:lnTo>
                    <a:pt x="2202" y="1098"/>
                  </a:lnTo>
                  <a:lnTo>
                    <a:pt x="2202" y="1106"/>
                  </a:lnTo>
                  <a:lnTo>
                    <a:pt x="2200" y="1104"/>
                  </a:lnTo>
                  <a:lnTo>
                    <a:pt x="2192" y="1096"/>
                  </a:lnTo>
                  <a:lnTo>
                    <a:pt x="2180" y="1084"/>
                  </a:lnTo>
                  <a:lnTo>
                    <a:pt x="2166" y="1072"/>
                  </a:lnTo>
                  <a:lnTo>
                    <a:pt x="2156" y="1068"/>
                  </a:lnTo>
                  <a:lnTo>
                    <a:pt x="2148" y="1066"/>
                  </a:lnTo>
                  <a:lnTo>
                    <a:pt x="2136" y="1064"/>
                  </a:lnTo>
                  <a:lnTo>
                    <a:pt x="2126" y="1066"/>
                  </a:lnTo>
                  <a:lnTo>
                    <a:pt x="2114" y="1070"/>
                  </a:lnTo>
                  <a:lnTo>
                    <a:pt x="2102" y="1076"/>
                  </a:lnTo>
                  <a:lnTo>
                    <a:pt x="2078" y="1092"/>
                  </a:lnTo>
                  <a:lnTo>
                    <a:pt x="2056" y="1104"/>
                  </a:lnTo>
                  <a:lnTo>
                    <a:pt x="2040" y="1114"/>
                  </a:lnTo>
                  <a:lnTo>
                    <a:pt x="2028" y="1122"/>
                  </a:lnTo>
                  <a:lnTo>
                    <a:pt x="2022" y="1130"/>
                  </a:lnTo>
                  <a:lnTo>
                    <a:pt x="2020" y="1134"/>
                  </a:lnTo>
                  <a:lnTo>
                    <a:pt x="2022" y="1140"/>
                  </a:lnTo>
                  <a:lnTo>
                    <a:pt x="2026" y="1150"/>
                  </a:lnTo>
                  <a:lnTo>
                    <a:pt x="2040" y="1166"/>
                  </a:lnTo>
                  <a:lnTo>
                    <a:pt x="2052" y="1180"/>
                  </a:lnTo>
                  <a:lnTo>
                    <a:pt x="2054" y="1186"/>
                  </a:lnTo>
                  <a:lnTo>
                    <a:pt x="2054" y="1192"/>
                  </a:lnTo>
                  <a:lnTo>
                    <a:pt x="2054" y="1196"/>
                  </a:lnTo>
                  <a:lnTo>
                    <a:pt x="2050" y="1198"/>
                  </a:lnTo>
                  <a:lnTo>
                    <a:pt x="2046" y="1200"/>
                  </a:lnTo>
                  <a:lnTo>
                    <a:pt x="2040" y="1202"/>
                  </a:lnTo>
                  <a:lnTo>
                    <a:pt x="2026" y="1202"/>
                  </a:lnTo>
                  <a:lnTo>
                    <a:pt x="2006" y="1198"/>
                  </a:lnTo>
                  <a:lnTo>
                    <a:pt x="1984" y="1190"/>
                  </a:lnTo>
                  <a:lnTo>
                    <a:pt x="1958" y="1180"/>
                  </a:lnTo>
                  <a:lnTo>
                    <a:pt x="1934" y="1170"/>
                  </a:lnTo>
                  <a:lnTo>
                    <a:pt x="1916" y="1164"/>
                  </a:lnTo>
                  <a:lnTo>
                    <a:pt x="1900" y="1162"/>
                  </a:lnTo>
                  <a:lnTo>
                    <a:pt x="1892" y="1164"/>
                  </a:lnTo>
                  <a:lnTo>
                    <a:pt x="1888" y="1166"/>
                  </a:lnTo>
                  <a:lnTo>
                    <a:pt x="1886" y="1170"/>
                  </a:lnTo>
                  <a:lnTo>
                    <a:pt x="1886" y="1176"/>
                  </a:lnTo>
                  <a:lnTo>
                    <a:pt x="1892" y="1186"/>
                  </a:lnTo>
                  <a:lnTo>
                    <a:pt x="1900" y="1196"/>
                  </a:lnTo>
                  <a:lnTo>
                    <a:pt x="1912" y="1206"/>
                  </a:lnTo>
                  <a:lnTo>
                    <a:pt x="1924" y="1214"/>
                  </a:lnTo>
                  <a:lnTo>
                    <a:pt x="1946" y="1222"/>
                  </a:lnTo>
                  <a:lnTo>
                    <a:pt x="1954" y="1226"/>
                  </a:lnTo>
                  <a:lnTo>
                    <a:pt x="1956" y="1228"/>
                  </a:lnTo>
                  <a:lnTo>
                    <a:pt x="1956" y="1232"/>
                  </a:lnTo>
                  <a:lnTo>
                    <a:pt x="1952" y="1238"/>
                  </a:lnTo>
                  <a:lnTo>
                    <a:pt x="1940" y="1246"/>
                  </a:lnTo>
                  <a:lnTo>
                    <a:pt x="1926" y="1252"/>
                  </a:lnTo>
                  <a:lnTo>
                    <a:pt x="1920" y="1252"/>
                  </a:lnTo>
                  <a:lnTo>
                    <a:pt x="1916" y="1252"/>
                  </a:lnTo>
                  <a:lnTo>
                    <a:pt x="1908" y="1248"/>
                  </a:lnTo>
                  <a:lnTo>
                    <a:pt x="1902" y="1240"/>
                  </a:lnTo>
                  <a:lnTo>
                    <a:pt x="1894" y="1232"/>
                  </a:lnTo>
                  <a:lnTo>
                    <a:pt x="1886" y="1224"/>
                  </a:lnTo>
                  <a:lnTo>
                    <a:pt x="1874" y="1216"/>
                  </a:lnTo>
                  <a:lnTo>
                    <a:pt x="1868" y="1212"/>
                  </a:lnTo>
                  <a:lnTo>
                    <a:pt x="1858" y="1210"/>
                  </a:lnTo>
                  <a:lnTo>
                    <a:pt x="1844" y="1206"/>
                  </a:lnTo>
                  <a:lnTo>
                    <a:pt x="1836" y="1202"/>
                  </a:lnTo>
                  <a:lnTo>
                    <a:pt x="1832" y="1196"/>
                  </a:lnTo>
                  <a:lnTo>
                    <a:pt x="1832" y="1188"/>
                  </a:lnTo>
                  <a:lnTo>
                    <a:pt x="1832" y="1182"/>
                  </a:lnTo>
                  <a:lnTo>
                    <a:pt x="1830" y="1174"/>
                  </a:lnTo>
                  <a:lnTo>
                    <a:pt x="1826" y="1164"/>
                  </a:lnTo>
                  <a:lnTo>
                    <a:pt x="1818" y="1156"/>
                  </a:lnTo>
                  <a:lnTo>
                    <a:pt x="1814" y="1152"/>
                  </a:lnTo>
                  <a:lnTo>
                    <a:pt x="1812" y="1148"/>
                  </a:lnTo>
                  <a:lnTo>
                    <a:pt x="1812" y="1144"/>
                  </a:lnTo>
                  <a:lnTo>
                    <a:pt x="1812" y="1140"/>
                  </a:lnTo>
                  <a:lnTo>
                    <a:pt x="1816" y="1134"/>
                  </a:lnTo>
                  <a:lnTo>
                    <a:pt x="1822" y="1128"/>
                  </a:lnTo>
                  <a:lnTo>
                    <a:pt x="1826" y="1122"/>
                  </a:lnTo>
                  <a:lnTo>
                    <a:pt x="1830" y="1114"/>
                  </a:lnTo>
                  <a:lnTo>
                    <a:pt x="1828" y="1110"/>
                  </a:lnTo>
                  <a:lnTo>
                    <a:pt x="1826" y="1106"/>
                  </a:lnTo>
                  <a:lnTo>
                    <a:pt x="1822" y="1100"/>
                  </a:lnTo>
                  <a:lnTo>
                    <a:pt x="1816" y="1096"/>
                  </a:lnTo>
                  <a:lnTo>
                    <a:pt x="1800" y="1084"/>
                  </a:lnTo>
                  <a:lnTo>
                    <a:pt x="1784" y="1076"/>
                  </a:lnTo>
                  <a:lnTo>
                    <a:pt x="1758" y="1060"/>
                  </a:lnTo>
                  <a:lnTo>
                    <a:pt x="1746" y="1054"/>
                  </a:lnTo>
                  <a:lnTo>
                    <a:pt x="1738" y="1046"/>
                  </a:lnTo>
                  <a:lnTo>
                    <a:pt x="1730" y="1036"/>
                  </a:lnTo>
                  <a:lnTo>
                    <a:pt x="1726" y="1026"/>
                  </a:lnTo>
                  <a:lnTo>
                    <a:pt x="1724" y="1018"/>
                  </a:lnTo>
                  <a:lnTo>
                    <a:pt x="1726" y="1016"/>
                  </a:lnTo>
                  <a:lnTo>
                    <a:pt x="1736" y="1026"/>
                  </a:lnTo>
                  <a:lnTo>
                    <a:pt x="1746" y="1036"/>
                  </a:lnTo>
                  <a:lnTo>
                    <a:pt x="1762" y="1044"/>
                  </a:lnTo>
                  <a:lnTo>
                    <a:pt x="1782" y="1054"/>
                  </a:lnTo>
                  <a:lnTo>
                    <a:pt x="1808" y="1060"/>
                  </a:lnTo>
                  <a:lnTo>
                    <a:pt x="1836" y="1066"/>
                  </a:lnTo>
                  <a:lnTo>
                    <a:pt x="1864" y="1074"/>
                  </a:lnTo>
                  <a:lnTo>
                    <a:pt x="1920" y="1092"/>
                  </a:lnTo>
                  <a:lnTo>
                    <a:pt x="1948" y="1098"/>
                  </a:lnTo>
                  <a:lnTo>
                    <a:pt x="1962" y="1100"/>
                  </a:lnTo>
                  <a:lnTo>
                    <a:pt x="1976" y="1100"/>
                  </a:lnTo>
                  <a:lnTo>
                    <a:pt x="1990" y="1098"/>
                  </a:lnTo>
                  <a:lnTo>
                    <a:pt x="2002" y="1096"/>
                  </a:lnTo>
                  <a:lnTo>
                    <a:pt x="2016" y="1092"/>
                  </a:lnTo>
                  <a:lnTo>
                    <a:pt x="2030" y="1084"/>
                  </a:lnTo>
                  <a:lnTo>
                    <a:pt x="2052" y="1070"/>
                  </a:lnTo>
                  <a:lnTo>
                    <a:pt x="2072" y="1056"/>
                  </a:lnTo>
                  <a:lnTo>
                    <a:pt x="2084" y="1042"/>
                  </a:lnTo>
                  <a:lnTo>
                    <a:pt x="2090" y="1036"/>
                  </a:lnTo>
                  <a:lnTo>
                    <a:pt x="2092" y="1030"/>
                  </a:lnTo>
                  <a:lnTo>
                    <a:pt x="2094" y="1022"/>
                  </a:lnTo>
                  <a:lnTo>
                    <a:pt x="2092" y="1016"/>
                  </a:lnTo>
                  <a:lnTo>
                    <a:pt x="2090" y="1010"/>
                  </a:lnTo>
                  <a:lnTo>
                    <a:pt x="2086" y="1002"/>
                  </a:lnTo>
                  <a:lnTo>
                    <a:pt x="2080" y="994"/>
                  </a:lnTo>
                  <a:lnTo>
                    <a:pt x="2072" y="988"/>
                  </a:lnTo>
                  <a:lnTo>
                    <a:pt x="2050" y="970"/>
                  </a:lnTo>
                  <a:lnTo>
                    <a:pt x="2010" y="946"/>
                  </a:lnTo>
                  <a:lnTo>
                    <a:pt x="1982" y="934"/>
                  </a:lnTo>
                  <a:lnTo>
                    <a:pt x="1954" y="920"/>
                  </a:lnTo>
                  <a:lnTo>
                    <a:pt x="1910" y="896"/>
                  </a:lnTo>
                  <a:lnTo>
                    <a:pt x="1884" y="882"/>
                  </a:lnTo>
                  <a:lnTo>
                    <a:pt x="1868" y="874"/>
                  </a:lnTo>
                  <a:lnTo>
                    <a:pt x="1854" y="870"/>
                  </a:lnTo>
                  <a:lnTo>
                    <a:pt x="1844" y="870"/>
                  </a:lnTo>
                  <a:lnTo>
                    <a:pt x="1834" y="872"/>
                  </a:lnTo>
                  <a:lnTo>
                    <a:pt x="1822" y="872"/>
                  </a:lnTo>
                  <a:lnTo>
                    <a:pt x="1808" y="870"/>
                  </a:lnTo>
                  <a:lnTo>
                    <a:pt x="1786" y="866"/>
                  </a:lnTo>
                  <a:lnTo>
                    <a:pt x="1768" y="858"/>
                  </a:lnTo>
                  <a:lnTo>
                    <a:pt x="1758" y="852"/>
                  </a:lnTo>
                  <a:lnTo>
                    <a:pt x="1756" y="850"/>
                  </a:lnTo>
                  <a:lnTo>
                    <a:pt x="1756" y="846"/>
                  </a:lnTo>
                  <a:lnTo>
                    <a:pt x="1758" y="844"/>
                  </a:lnTo>
                  <a:lnTo>
                    <a:pt x="1758" y="840"/>
                  </a:lnTo>
                  <a:lnTo>
                    <a:pt x="1752" y="834"/>
                  </a:lnTo>
                  <a:lnTo>
                    <a:pt x="1740" y="828"/>
                  </a:lnTo>
                  <a:lnTo>
                    <a:pt x="1726" y="824"/>
                  </a:lnTo>
                  <a:lnTo>
                    <a:pt x="1718" y="824"/>
                  </a:lnTo>
                  <a:lnTo>
                    <a:pt x="1712" y="826"/>
                  </a:lnTo>
                  <a:lnTo>
                    <a:pt x="1710" y="830"/>
                  </a:lnTo>
                  <a:lnTo>
                    <a:pt x="1706" y="834"/>
                  </a:lnTo>
                  <a:lnTo>
                    <a:pt x="1698" y="838"/>
                  </a:lnTo>
                  <a:lnTo>
                    <a:pt x="1686" y="838"/>
                  </a:lnTo>
                  <a:lnTo>
                    <a:pt x="1666" y="834"/>
                  </a:lnTo>
                  <a:lnTo>
                    <a:pt x="1658" y="832"/>
                  </a:lnTo>
                  <a:lnTo>
                    <a:pt x="1652" y="832"/>
                  </a:lnTo>
                  <a:lnTo>
                    <a:pt x="1648" y="832"/>
                  </a:lnTo>
                  <a:lnTo>
                    <a:pt x="1644" y="828"/>
                  </a:lnTo>
                  <a:lnTo>
                    <a:pt x="1640" y="828"/>
                  </a:lnTo>
                  <a:lnTo>
                    <a:pt x="1638" y="830"/>
                  </a:lnTo>
                  <a:lnTo>
                    <a:pt x="1636" y="834"/>
                  </a:lnTo>
                  <a:lnTo>
                    <a:pt x="1630" y="836"/>
                  </a:lnTo>
                  <a:lnTo>
                    <a:pt x="1620" y="838"/>
                  </a:lnTo>
                  <a:lnTo>
                    <a:pt x="1618" y="838"/>
                  </a:lnTo>
                  <a:lnTo>
                    <a:pt x="1618" y="834"/>
                  </a:lnTo>
                  <a:lnTo>
                    <a:pt x="1622" y="830"/>
                  </a:lnTo>
                  <a:lnTo>
                    <a:pt x="1622" y="826"/>
                  </a:lnTo>
                  <a:lnTo>
                    <a:pt x="1620" y="822"/>
                  </a:lnTo>
                  <a:lnTo>
                    <a:pt x="1618" y="820"/>
                  </a:lnTo>
                  <a:lnTo>
                    <a:pt x="1614" y="818"/>
                  </a:lnTo>
                  <a:lnTo>
                    <a:pt x="1608" y="818"/>
                  </a:lnTo>
                  <a:lnTo>
                    <a:pt x="1598" y="816"/>
                  </a:lnTo>
                  <a:lnTo>
                    <a:pt x="1590" y="814"/>
                  </a:lnTo>
                  <a:lnTo>
                    <a:pt x="1586" y="812"/>
                  </a:lnTo>
                  <a:lnTo>
                    <a:pt x="1580" y="810"/>
                  </a:lnTo>
                  <a:lnTo>
                    <a:pt x="1576" y="810"/>
                  </a:lnTo>
                  <a:lnTo>
                    <a:pt x="1580" y="808"/>
                  </a:lnTo>
                  <a:lnTo>
                    <a:pt x="1592" y="808"/>
                  </a:lnTo>
                  <a:lnTo>
                    <a:pt x="1612" y="812"/>
                  </a:lnTo>
                  <a:lnTo>
                    <a:pt x="1624" y="812"/>
                  </a:lnTo>
                  <a:lnTo>
                    <a:pt x="1634" y="812"/>
                  </a:lnTo>
                  <a:lnTo>
                    <a:pt x="1640" y="810"/>
                  </a:lnTo>
                  <a:lnTo>
                    <a:pt x="1646" y="808"/>
                  </a:lnTo>
                  <a:lnTo>
                    <a:pt x="1654" y="800"/>
                  </a:lnTo>
                  <a:lnTo>
                    <a:pt x="1658" y="800"/>
                  </a:lnTo>
                  <a:lnTo>
                    <a:pt x="1662" y="800"/>
                  </a:lnTo>
                  <a:lnTo>
                    <a:pt x="1668" y="800"/>
                  </a:lnTo>
                  <a:lnTo>
                    <a:pt x="1672" y="798"/>
                  </a:lnTo>
                  <a:lnTo>
                    <a:pt x="1674" y="796"/>
                  </a:lnTo>
                  <a:lnTo>
                    <a:pt x="1676" y="794"/>
                  </a:lnTo>
                  <a:lnTo>
                    <a:pt x="1676" y="790"/>
                  </a:lnTo>
                  <a:lnTo>
                    <a:pt x="1674" y="788"/>
                  </a:lnTo>
                  <a:lnTo>
                    <a:pt x="1672" y="786"/>
                  </a:lnTo>
                  <a:lnTo>
                    <a:pt x="1668" y="786"/>
                  </a:lnTo>
                  <a:lnTo>
                    <a:pt x="1660" y="786"/>
                  </a:lnTo>
                  <a:lnTo>
                    <a:pt x="1658" y="782"/>
                  </a:lnTo>
                  <a:lnTo>
                    <a:pt x="1656" y="780"/>
                  </a:lnTo>
                  <a:lnTo>
                    <a:pt x="1650" y="778"/>
                  </a:lnTo>
                  <a:lnTo>
                    <a:pt x="1648" y="776"/>
                  </a:lnTo>
                  <a:lnTo>
                    <a:pt x="1644" y="774"/>
                  </a:lnTo>
                  <a:lnTo>
                    <a:pt x="1640" y="770"/>
                  </a:lnTo>
                  <a:lnTo>
                    <a:pt x="1636" y="766"/>
                  </a:lnTo>
                  <a:lnTo>
                    <a:pt x="1634" y="766"/>
                  </a:lnTo>
                  <a:lnTo>
                    <a:pt x="1630" y="768"/>
                  </a:lnTo>
                  <a:lnTo>
                    <a:pt x="1624" y="768"/>
                  </a:lnTo>
                  <a:lnTo>
                    <a:pt x="1624" y="766"/>
                  </a:lnTo>
                  <a:lnTo>
                    <a:pt x="1620" y="764"/>
                  </a:lnTo>
                  <a:lnTo>
                    <a:pt x="1614" y="766"/>
                  </a:lnTo>
                  <a:lnTo>
                    <a:pt x="1606" y="768"/>
                  </a:lnTo>
                  <a:lnTo>
                    <a:pt x="1606" y="764"/>
                  </a:lnTo>
                  <a:lnTo>
                    <a:pt x="1606" y="762"/>
                  </a:lnTo>
                  <a:lnTo>
                    <a:pt x="1606" y="760"/>
                  </a:lnTo>
                  <a:lnTo>
                    <a:pt x="1602" y="758"/>
                  </a:lnTo>
                  <a:lnTo>
                    <a:pt x="1596" y="756"/>
                  </a:lnTo>
                  <a:lnTo>
                    <a:pt x="1588" y="754"/>
                  </a:lnTo>
                  <a:lnTo>
                    <a:pt x="1582" y="754"/>
                  </a:lnTo>
                  <a:lnTo>
                    <a:pt x="1578" y="758"/>
                  </a:lnTo>
                  <a:lnTo>
                    <a:pt x="1574" y="760"/>
                  </a:lnTo>
                  <a:lnTo>
                    <a:pt x="1572" y="766"/>
                  </a:lnTo>
                  <a:lnTo>
                    <a:pt x="1570" y="770"/>
                  </a:lnTo>
                  <a:lnTo>
                    <a:pt x="1570" y="780"/>
                  </a:lnTo>
                  <a:lnTo>
                    <a:pt x="1572" y="786"/>
                  </a:lnTo>
                  <a:lnTo>
                    <a:pt x="1568" y="786"/>
                  </a:lnTo>
                  <a:lnTo>
                    <a:pt x="1564" y="782"/>
                  </a:lnTo>
                  <a:lnTo>
                    <a:pt x="1560" y="782"/>
                  </a:lnTo>
                  <a:lnTo>
                    <a:pt x="1558" y="782"/>
                  </a:lnTo>
                  <a:lnTo>
                    <a:pt x="1550" y="784"/>
                  </a:lnTo>
                  <a:lnTo>
                    <a:pt x="1548" y="784"/>
                  </a:lnTo>
                  <a:lnTo>
                    <a:pt x="1548" y="782"/>
                  </a:lnTo>
                  <a:lnTo>
                    <a:pt x="1554" y="778"/>
                  </a:lnTo>
                  <a:lnTo>
                    <a:pt x="1560" y="772"/>
                  </a:lnTo>
                  <a:lnTo>
                    <a:pt x="1564" y="768"/>
                  </a:lnTo>
                  <a:lnTo>
                    <a:pt x="1564" y="766"/>
                  </a:lnTo>
                  <a:lnTo>
                    <a:pt x="1562" y="766"/>
                  </a:lnTo>
                  <a:lnTo>
                    <a:pt x="1556" y="766"/>
                  </a:lnTo>
                  <a:lnTo>
                    <a:pt x="1554" y="766"/>
                  </a:lnTo>
                  <a:lnTo>
                    <a:pt x="1554" y="762"/>
                  </a:lnTo>
                  <a:lnTo>
                    <a:pt x="1558" y="758"/>
                  </a:lnTo>
                  <a:lnTo>
                    <a:pt x="1564" y="756"/>
                  </a:lnTo>
                  <a:lnTo>
                    <a:pt x="1572" y="752"/>
                  </a:lnTo>
                  <a:lnTo>
                    <a:pt x="1574" y="750"/>
                  </a:lnTo>
                  <a:lnTo>
                    <a:pt x="1574" y="748"/>
                  </a:lnTo>
                  <a:lnTo>
                    <a:pt x="1572" y="746"/>
                  </a:lnTo>
                  <a:lnTo>
                    <a:pt x="1570" y="746"/>
                  </a:lnTo>
                  <a:lnTo>
                    <a:pt x="1566" y="746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2"/>
                  </a:lnTo>
                  <a:lnTo>
                    <a:pt x="1560" y="740"/>
                  </a:lnTo>
                  <a:lnTo>
                    <a:pt x="1558" y="740"/>
                  </a:lnTo>
                  <a:lnTo>
                    <a:pt x="1554" y="740"/>
                  </a:lnTo>
                  <a:lnTo>
                    <a:pt x="1548" y="742"/>
                  </a:lnTo>
                  <a:lnTo>
                    <a:pt x="1544" y="742"/>
                  </a:lnTo>
                  <a:lnTo>
                    <a:pt x="1540" y="740"/>
                  </a:lnTo>
                  <a:lnTo>
                    <a:pt x="1538" y="738"/>
                  </a:lnTo>
                  <a:lnTo>
                    <a:pt x="1536" y="738"/>
                  </a:lnTo>
                  <a:lnTo>
                    <a:pt x="1534" y="740"/>
                  </a:lnTo>
                  <a:lnTo>
                    <a:pt x="1532" y="744"/>
                  </a:lnTo>
                  <a:lnTo>
                    <a:pt x="1530" y="744"/>
                  </a:lnTo>
                  <a:lnTo>
                    <a:pt x="1528" y="744"/>
                  </a:lnTo>
                  <a:lnTo>
                    <a:pt x="1524" y="742"/>
                  </a:lnTo>
                  <a:lnTo>
                    <a:pt x="1522" y="744"/>
                  </a:lnTo>
                  <a:lnTo>
                    <a:pt x="1518" y="746"/>
                  </a:lnTo>
                  <a:lnTo>
                    <a:pt x="1518" y="750"/>
                  </a:lnTo>
                  <a:lnTo>
                    <a:pt x="1518" y="752"/>
                  </a:lnTo>
                  <a:lnTo>
                    <a:pt x="1520" y="752"/>
                  </a:lnTo>
                  <a:lnTo>
                    <a:pt x="1524" y="754"/>
                  </a:lnTo>
                  <a:lnTo>
                    <a:pt x="1530" y="754"/>
                  </a:lnTo>
                  <a:lnTo>
                    <a:pt x="1528" y="756"/>
                  </a:lnTo>
                  <a:lnTo>
                    <a:pt x="1522" y="760"/>
                  </a:lnTo>
                  <a:lnTo>
                    <a:pt x="1522" y="762"/>
                  </a:lnTo>
                  <a:lnTo>
                    <a:pt x="1520" y="764"/>
                  </a:lnTo>
                  <a:lnTo>
                    <a:pt x="1516" y="766"/>
                  </a:lnTo>
                  <a:lnTo>
                    <a:pt x="1516" y="768"/>
                  </a:lnTo>
                  <a:lnTo>
                    <a:pt x="1514" y="772"/>
                  </a:lnTo>
                  <a:lnTo>
                    <a:pt x="1512" y="772"/>
                  </a:lnTo>
                  <a:lnTo>
                    <a:pt x="1510" y="774"/>
                  </a:lnTo>
                  <a:lnTo>
                    <a:pt x="1510" y="780"/>
                  </a:lnTo>
                  <a:lnTo>
                    <a:pt x="1510" y="782"/>
                  </a:lnTo>
                  <a:lnTo>
                    <a:pt x="1510" y="784"/>
                  </a:lnTo>
                  <a:lnTo>
                    <a:pt x="1504" y="786"/>
                  </a:lnTo>
                  <a:lnTo>
                    <a:pt x="1496" y="790"/>
                  </a:lnTo>
                  <a:lnTo>
                    <a:pt x="1492" y="792"/>
                  </a:lnTo>
                  <a:lnTo>
                    <a:pt x="1490" y="790"/>
                  </a:lnTo>
                  <a:lnTo>
                    <a:pt x="1492" y="784"/>
                  </a:lnTo>
                  <a:lnTo>
                    <a:pt x="1494" y="776"/>
                  </a:lnTo>
                  <a:lnTo>
                    <a:pt x="1496" y="770"/>
                  </a:lnTo>
                  <a:lnTo>
                    <a:pt x="1496" y="766"/>
                  </a:lnTo>
                  <a:lnTo>
                    <a:pt x="1498" y="760"/>
                  </a:lnTo>
                  <a:lnTo>
                    <a:pt x="1500" y="754"/>
                  </a:lnTo>
                  <a:lnTo>
                    <a:pt x="1498" y="750"/>
                  </a:lnTo>
                  <a:lnTo>
                    <a:pt x="1494" y="750"/>
                  </a:lnTo>
                  <a:lnTo>
                    <a:pt x="1490" y="752"/>
                  </a:lnTo>
                  <a:lnTo>
                    <a:pt x="1480" y="762"/>
                  </a:lnTo>
                  <a:lnTo>
                    <a:pt x="1456" y="784"/>
                  </a:lnTo>
                  <a:lnTo>
                    <a:pt x="1450" y="790"/>
                  </a:lnTo>
                  <a:lnTo>
                    <a:pt x="1450" y="794"/>
                  </a:lnTo>
                  <a:lnTo>
                    <a:pt x="1450" y="798"/>
                  </a:lnTo>
                  <a:lnTo>
                    <a:pt x="1446" y="804"/>
                  </a:lnTo>
                  <a:lnTo>
                    <a:pt x="1440" y="810"/>
                  </a:lnTo>
                  <a:lnTo>
                    <a:pt x="1436" y="810"/>
                  </a:lnTo>
                  <a:lnTo>
                    <a:pt x="1434" y="810"/>
                  </a:lnTo>
                  <a:lnTo>
                    <a:pt x="1432" y="810"/>
                  </a:lnTo>
                  <a:lnTo>
                    <a:pt x="1428" y="812"/>
                  </a:lnTo>
                  <a:lnTo>
                    <a:pt x="1426" y="812"/>
                  </a:lnTo>
                  <a:lnTo>
                    <a:pt x="1428" y="808"/>
                  </a:lnTo>
                  <a:lnTo>
                    <a:pt x="1432" y="802"/>
                  </a:lnTo>
                  <a:lnTo>
                    <a:pt x="1436" y="798"/>
                  </a:lnTo>
                  <a:lnTo>
                    <a:pt x="1436" y="794"/>
                  </a:lnTo>
                  <a:lnTo>
                    <a:pt x="1436" y="792"/>
                  </a:lnTo>
                  <a:lnTo>
                    <a:pt x="1438" y="790"/>
                  </a:lnTo>
                  <a:lnTo>
                    <a:pt x="1442" y="784"/>
                  </a:lnTo>
                  <a:lnTo>
                    <a:pt x="1440" y="782"/>
                  </a:lnTo>
                  <a:lnTo>
                    <a:pt x="1440" y="778"/>
                  </a:lnTo>
                  <a:lnTo>
                    <a:pt x="1448" y="770"/>
                  </a:lnTo>
                  <a:lnTo>
                    <a:pt x="1466" y="756"/>
                  </a:lnTo>
                  <a:lnTo>
                    <a:pt x="1466" y="754"/>
                  </a:lnTo>
                  <a:lnTo>
                    <a:pt x="1458" y="754"/>
                  </a:lnTo>
                  <a:lnTo>
                    <a:pt x="1454" y="752"/>
                  </a:lnTo>
                  <a:lnTo>
                    <a:pt x="1450" y="752"/>
                  </a:lnTo>
                  <a:lnTo>
                    <a:pt x="1446" y="748"/>
                  </a:lnTo>
                  <a:lnTo>
                    <a:pt x="1446" y="746"/>
                  </a:lnTo>
                  <a:lnTo>
                    <a:pt x="1444" y="752"/>
                  </a:lnTo>
                  <a:lnTo>
                    <a:pt x="1442" y="758"/>
                  </a:lnTo>
                  <a:lnTo>
                    <a:pt x="1442" y="760"/>
                  </a:lnTo>
                  <a:lnTo>
                    <a:pt x="1440" y="758"/>
                  </a:lnTo>
                  <a:lnTo>
                    <a:pt x="1438" y="754"/>
                  </a:lnTo>
                  <a:lnTo>
                    <a:pt x="1434" y="750"/>
                  </a:lnTo>
                  <a:lnTo>
                    <a:pt x="1430" y="748"/>
                  </a:lnTo>
                  <a:lnTo>
                    <a:pt x="1426" y="750"/>
                  </a:lnTo>
                  <a:lnTo>
                    <a:pt x="1424" y="750"/>
                  </a:lnTo>
                  <a:lnTo>
                    <a:pt x="1420" y="748"/>
                  </a:lnTo>
                  <a:lnTo>
                    <a:pt x="1418" y="746"/>
                  </a:lnTo>
                  <a:lnTo>
                    <a:pt x="1414" y="746"/>
                  </a:lnTo>
                  <a:lnTo>
                    <a:pt x="1412" y="748"/>
                  </a:lnTo>
                  <a:lnTo>
                    <a:pt x="1414" y="752"/>
                  </a:lnTo>
                  <a:lnTo>
                    <a:pt x="1416" y="754"/>
                  </a:lnTo>
                  <a:lnTo>
                    <a:pt x="1416" y="758"/>
                  </a:lnTo>
                  <a:lnTo>
                    <a:pt x="1414" y="760"/>
                  </a:lnTo>
                  <a:lnTo>
                    <a:pt x="1408" y="758"/>
                  </a:lnTo>
                  <a:lnTo>
                    <a:pt x="1402" y="754"/>
                  </a:lnTo>
                  <a:lnTo>
                    <a:pt x="1400" y="756"/>
                  </a:lnTo>
                  <a:lnTo>
                    <a:pt x="1402" y="760"/>
                  </a:lnTo>
                  <a:lnTo>
                    <a:pt x="1410" y="764"/>
                  </a:lnTo>
                  <a:lnTo>
                    <a:pt x="1418" y="768"/>
                  </a:lnTo>
                  <a:lnTo>
                    <a:pt x="1422" y="770"/>
                  </a:lnTo>
                  <a:lnTo>
                    <a:pt x="1418" y="772"/>
                  </a:lnTo>
                  <a:lnTo>
                    <a:pt x="1410" y="770"/>
                  </a:lnTo>
                  <a:lnTo>
                    <a:pt x="1404" y="768"/>
                  </a:lnTo>
                  <a:lnTo>
                    <a:pt x="1402" y="768"/>
                  </a:lnTo>
                  <a:lnTo>
                    <a:pt x="1402" y="770"/>
                  </a:lnTo>
                  <a:lnTo>
                    <a:pt x="1400" y="774"/>
                  </a:lnTo>
                  <a:lnTo>
                    <a:pt x="1396" y="778"/>
                  </a:lnTo>
                  <a:lnTo>
                    <a:pt x="1388" y="782"/>
                  </a:lnTo>
                  <a:lnTo>
                    <a:pt x="1376" y="790"/>
                  </a:lnTo>
                  <a:lnTo>
                    <a:pt x="1372" y="792"/>
                  </a:lnTo>
                  <a:lnTo>
                    <a:pt x="1372" y="794"/>
                  </a:lnTo>
                  <a:lnTo>
                    <a:pt x="1366" y="798"/>
                  </a:lnTo>
                  <a:lnTo>
                    <a:pt x="1362" y="800"/>
                  </a:lnTo>
                  <a:lnTo>
                    <a:pt x="1360" y="802"/>
                  </a:lnTo>
                  <a:lnTo>
                    <a:pt x="1360" y="804"/>
                  </a:lnTo>
                  <a:lnTo>
                    <a:pt x="1362" y="808"/>
                  </a:lnTo>
                  <a:lnTo>
                    <a:pt x="1360" y="810"/>
                  </a:lnTo>
                  <a:lnTo>
                    <a:pt x="1358" y="810"/>
                  </a:lnTo>
                  <a:lnTo>
                    <a:pt x="1358" y="812"/>
                  </a:lnTo>
                  <a:lnTo>
                    <a:pt x="1362" y="816"/>
                  </a:lnTo>
                  <a:lnTo>
                    <a:pt x="1368" y="818"/>
                  </a:lnTo>
                  <a:lnTo>
                    <a:pt x="1370" y="818"/>
                  </a:lnTo>
                  <a:lnTo>
                    <a:pt x="1368" y="818"/>
                  </a:lnTo>
                  <a:lnTo>
                    <a:pt x="1362" y="818"/>
                  </a:lnTo>
                  <a:lnTo>
                    <a:pt x="1356" y="818"/>
                  </a:lnTo>
                  <a:lnTo>
                    <a:pt x="1350" y="816"/>
                  </a:lnTo>
                  <a:lnTo>
                    <a:pt x="1350" y="814"/>
                  </a:lnTo>
                  <a:lnTo>
                    <a:pt x="1350" y="810"/>
                  </a:lnTo>
                  <a:lnTo>
                    <a:pt x="1350" y="806"/>
                  </a:lnTo>
                  <a:lnTo>
                    <a:pt x="1350" y="804"/>
                  </a:lnTo>
                  <a:lnTo>
                    <a:pt x="1342" y="802"/>
                  </a:lnTo>
                  <a:lnTo>
                    <a:pt x="1334" y="800"/>
                  </a:lnTo>
                  <a:lnTo>
                    <a:pt x="1326" y="800"/>
                  </a:lnTo>
                  <a:lnTo>
                    <a:pt x="1324" y="798"/>
                  </a:lnTo>
                  <a:lnTo>
                    <a:pt x="1322" y="798"/>
                  </a:lnTo>
                  <a:lnTo>
                    <a:pt x="1320" y="796"/>
                  </a:lnTo>
                  <a:lnTo>
                    <a:pt x="1318" y="798"/>
                  </a:lnTo>
                  <a:lnTo>
                    <a:pt x="1312" y="796"/>
                  </a:lnTo>
                  <a:lnTo>
                    <a:pt x="1308" y="794"/>
                  </a:lnTo>
                  <a:lnTo>
                    <a:pt x="1306" y="794"/>
                  </a:lnTo>
                  <a:lnTo>
                    <a:pt x="1306" y="796"/>
                  </a:lnTo>
                  <a:lnTo>
                    <a:pt x="1304" y="802"/>
                  </a:lnTo>
                  <a:lnTo>
                    <a:pt x="1302" y="808"/>
                  </a:lnTo>
                  <a:lnTo>
                    <a:pt x="1300" y="802"/>
                  </a:lnTo>
                  <a:lnTo>
                    <a:pt x="1298" y="800"/>
                  </a:lnTo>
                  <a:lnTo>
                    <a:pt x="1294" y="796"/>
                  </a:lnTo>
                  <a:lnTo>
                    <a:pt x="1290" y="796"/>
                  </a:lnTo>
                  <a:lnTo>
                    <a:pt x="1284" y="798"/>
                  </a:lnTo>
                  <a:lnTo>
                    <a:pt x="1278" y="802"/>
                  </a:lnTo>
                  <a:lnTo>
                    <a:pt x="1280" y="804"/>
                  </a:lnTo>
                  <a:lnTo>
                    <a:pt x="1286" y="806"/>
                  </a:lnTo>
                  <a:lnTo>
                    <a:pt x="1288" y="808"/>
                  </a:lnTo>
                  <a:lnTo>
                    <a:pt x="1290" y="810"/>
                  </a:lnTo>
                  <a:lnTo>
                    <a:pt x="1294" y="812"/>
                  </a:lnTo>
                  <a:lnTo>
                    <a:pt x="1298" y="812"/>
                  </a:lnTo>
                  <a:lnTo>
                    <a:pt x="1302" y="814"/>
                  </a:lnTo>
                  <a:lnTo>
                    <a:pt x="1304" y="816"/>
                  </a:lnTo>
                  <a:lnTo>
                    <a:pt x="1308" y="816"/>
                  </a:lnTo>
                  <a:lnTo>
                    <a:pt x="1310" y="818"/>
                  </a:lnTo>
                  <a:lnTo>
                    <a:pt x="1308" y="820"/>
                  </a:lnTo>
                  <a:lnTo>
                    <a:pt x="1306" y="822"/>
                  </a:lnTo>
                  <a:lnTo>
                    <a:pt x="1306" y="824"/>
                  </a:lnTo>
                  <a:lnTo>
                    <a:pt x="1312" y="832"/>
                  </a:lnTo>
                  <a:lnTo>
                    <a:pt x="1314" y="836"/>
                  </a:lnTo>
                  <a:lnTo>
                    <a:pt x="1312" y="836"/>
                  </a:lnTo>
                  <a:lnTo>
                    <a:pt x="1296" y="824"/>
                  </a:lnTo>
                  <a:lnTo>
                    <a:pt x="1286" y="818"/>
                  </a:lnTo>
                  <a:lnTo>
                    <a:pt x="1280" y="816"/>
                  </a:lnTo>
                  <a:lnTo>
                    <a:pt x="1278" y="818"/>
                  </a:lnTo>
                  <a:lnTo>
                    <a:pt x="1278" y="822"/>
                  </a:lnTo>
                  <a:lnTo>
                    <a:pt x="1280" y="822"/>
                  </a:lnTo>
                  <a:lnTo>
                    <a:pt x="1280" y="824"/>
                  </a:lnTo>
                  <a:lnTo>
                    <a:pt x="1276" y="826"/>
                  </a:lnTo>
                  <a:lnTo>
                    <a:pt x="1274" y="826"/>
                  </a:lnTo>
                  <a:lnTo>
                    <a:pt x="1272" y="826"/>
                  </a:lnTo>
                  <a:lnTo>
                    <a:pt x="1272" y="824"/>
                  </a:lnTo>
                  <a:lnTo>
                    <a:pt x="1274" y="822"/>
                  </a:lnTo>
                  <a:lnTo>
                    <a:pt x="1272" y="822"/>
                  </a:lnTo>
                  <a:lnTo>
                    <a:pt x="1266" y="824"/>
                  </a:lnTo>
                  <a:lnTo>
                    <a:pt x="1252" y="834"/>
                  </a:lnTo>
                  <a:lnTo>
                    <a:pt x="1252" y="836"/>
                  </a:lnTo>
                  <a:lnTo>
                    <a:pt x="1250" y="838"/>
                  </a:lnTo>
                  <a:lnTo>
                    <a:pt x="1248" y="846"/>
                  </a:lnTo>
                  <a:lnTo>
                    <a:pt x="1246" y="850"/>
                  </a:lnTo>
                  <a:lnTo>
                    <a:pt x="1244" y="856"/>
                  </a:lnTo>
                  <a:lnTo>
                    <a:pt x="1238" y="862"/>
                  </a:lnTo>
                  <a:lnTo>
                    <a:pt x="1228" y="868"/>
                  </a:lnTo>
                  <a:lnTo>
                    <a:pt x="1238" y="856"/>
                  </a:lnTo>
                  <a:lnTo>
                    <a:pt x="1242" y="844"/>
                  </a:lnTo>
                  <a:lnTo>
                    <a:pt x="1244" y="832"/>
                  </a:lnTo>
                  <a:lnTo>
                    <a:pt x="1244" y="824"/>
                  </a:lnTo>
                  <a:lnTo>
                    <a:pt x="1242" y="820"/>
                  </a:lnTo>
                  <a:lnTo>
                    <a:pt x="1240" y="822"/>
                  </a:lnTo>
                  <a:lnTo>
                    <a:pt x="1238" y="824"/>
                  </a:lnTo>
                  <a:lnTo>
                    <a:pt x="1236" y="826"/>
                  </a:lnTo>
                  <a:lnTo>
                    <a:pt x="1236" y="824"/>
                  </a:lnTo>
                  <a:lnTo>
                    <a:pt x="1232" y="822"/>
                  </a:lnTo>
                  <a:lnTo>
                    <a:pt x="1230" y="822"/>
                  </a:lnTo>
                  <a:lnTo>
                    <a:pt x="1224" y="834"/>
                  </a:lnTo>
                  <a:lnTo>
                    <a:pt x="1222" y="840"/>
                  </a:lnTo>
                  <a:lnTo>
                    <a:pt x="1222" y="842"/>
                  </a:lnTo>
                  <a:lnTo>
                    <a:pt x="1222" y="844"/>
                  </a:lnTo>
                  <a:lnTo>
                    <a:pt x="1220" y="846"/>
                  </a:lnTo>
                  <a:lnTo>
                    <a:pt x="1216" y="848"/>
                  </a:lnTo>
                  <a:lnTo>
                    <a:pt x="1214" y="848"/>
                  </a:lnTo>
                  <a:lnTo>
                    <a:pt x="1214" y="846"/>
                  </a:lnTo>
                  <a:lnTo>
                    <a:pt x="1216" y="840"/>
                  </a:lnTo>
                  <a:lnTo>
                    <a:pt x="1218" y="836"/>
                  </a:lnTo>
                  <a:lnTo>
                    <a:pt x="1216" y="832"/>
                  </a:lnTo>
                  <a:lnTo>
                    <a:pt x="1214" y="830"/>
                  </a:lnTo>
                  <a:lnTo>
                    <a:pt x="1212" y="830"/>
                  </a:lnTo>
                  <a:lnTo>
                    <a:pt x="1204" y="832"/>
                  </a:lnTo>
                  <a:lnTo>
                    <a:pt x="1198" y="836"/>
                  </a:lnTo>
                  <a:lnTo>
                    <a:pt x="1186" y="844"/>
                  </a:lnTo>
                  <a:lnTo>
                    <a:pt x="1184" y="846"/>
                  </a:lnTo>
                  <a:lnTo>
                    <a:pt x="1188" y="848"/>
                  </a:lnTo>
                  <a:lnTo>
                    <a:pt x="1188" y="850"/>
                  </a:lnTo>
                  <a:lnTo>
                    <a:pt x="1188" y="854"/>
                  </a:lnTo>
                  <a:lnTo>
                    <a:pt x="1188" y="856"/>
                  </a:lnTo>
                  <a:lnTo>
                    <a:pt x="1190" y="858"/>
                  </a:lnTo>
                  <a:lnTo>
                    <a:pt x="1196" y="860"/>
                  </a:lnTo>
                  <a:lnTo>
                    <a:pt x="1200" y="862"/>
                  </a:lnTo>
                  <a:lnTo>
                    <a:pt x="1204" y="864"/>
                  </a:lnTo>
                  <a:lnTo>
                    <a:pt x="1208" y="868"/>
                  </a:lnTo>
                  <a:lnTo>
                    <a:pt x="1210" y="876"/>
                  </a:lnTo>
                  <a:lnTo>
                    <a:pt x="1200" y="872"/>
                  </a:lnTo>
                  <a:lnTo>
                    <a:pt x="1198" y="870"/>
                  </a:lnTo>
                  <a:lnTo>
                    <a:pt x="1200" y="868"/>
                  </a:lnTo>
                  <a:lnTo>
                    <a:pt x="1202" y="868"/>
                  </a:lnTo>
                  <a:lnTo>
                    <a:pt x="1196" y="864"/>
                  </a:lnTo>
                  <a:lnTo>
                    <a:pt x="1190" y="862"/>
                  </a:lnTo>
                  <a:lnTo>
                    <a:pt x="1186" y="860"/>
                  </a:lnTo>
                  <a:lnTo>
                    <a:pt x="1182" y="854"/>
                  </a:lnTo>
                  <a:lnTo>
                    <a:pt x="1180" y="852"/>
                  </a:lnTo>
                  <a:lnTo>
                    <a:pt x="1174" y="852"/>
                  </a:lnTo>
                  <a:lnTo>
                    <a:pt x="1166" y="854"/>
                  </a:lnTo>
                  <a:lnTo>
                    <a:pt x="1166" y="856"/>
                  </a:lnTo>
                  <a:lnTo>
                    <a:pt x="1174" y="862"/>
                  </a:lnTo>
                  <a:lnTo>
                    <a:pt x="1178" y="866"/>
                  </a:lnTo>
                  <a:lnTo>
                    <a:pt x="1176" y="868"/>
                  </a:lnTo>
                  <a:lnTo>
                    <a:pt x="1172" y="868"/>
                  </a:lnTo>
                  <a:lnTo>
                    <a:pt x="1168" y="862"/>
                  </a:lnTo>
                  <a:lnTo>
                    <a:pt x="1158" y="854"/>
                  </a:lnTo>
                  <a:lnTo>
                    <a:pt x="1154" y="854"/>
                  </a:lnTo>
                  <a:lnTo>
                    <a:pt x="1154" y="858"/>
                  </a:lnTo>
                  <a:lnTo>
                    <a:pt x="1154" y="860"/>
                  </a:lnTo>
                  <a:lnTo>
                    <a:pt x="1154" y="862"/>
                  </a:lnTo>
                  <a:lnTo>
                    <a:pt x="1152" y="864"/>
                  </a:lnTo>
                  <a:lnTo>
                    <a:pt x="1150" y="868"/>
                  </a:lnTo>
                  <a:lnTo>
                    <a:pt x="1150" y="872"/>
                  </a:lnTo>
                  <a:lnTo>
                    <a:pt x="1152" y="876"/>
                  </a:lnTo>
                  <a:lnTo>
                    <a:pt x="1152" y="878"/>
                  </a:lnTo>
                  <a:lnTo>
                    <a:pt x="1146" y="880"/>
                  </a:lnTo>
                  <a:lnTo>
                    <a:pt x="1138" y="884"/>
                  </a:lnTo>
                  <a:lnTo>
                    <a:pt x="1134" y="886"/>
                  </a:lnTo>
                  <a:lnTo>
                    <a:pt x="1130" y="888"/>
                  </a:lnTo>
                  <a:lnTo>
                    <a:pt x="1128" y="892"/>
                  </a:lnTo>
                  <a:lnTo>
                    <a:pt x="1128" y="894"/>
                  </a:lnTo>
                  <a:lnTo>
                    <a:pt x="1134" y="896"/>
                  </a:lnTo>
                  <a:lnTo>
                    <a:pt x="1138" y="898"/>
                  </a:lnTo>
                  <a:lnTo>
                    <a:pt x="1132" y="900"/>
                  </a:lnTo>
                  <a:lnTo>
                    <a:pt x="1122" y="902"/>
                  </a:lnTo>
                  <a:lnTo>
                    <a:pt x="1120" y="906"/>
                  </a:lnTo>
                  <a:lnTo>
                    <a:pt x="1118" y="908"/>
                  </a:lnTo>
                  <a:lnTo>
                    <a:pt x="1114" y="912"/>
                  </a:lnTo>
                  <a:lnTo>
                    <a:pt x="1108" y="912"/>
                  </a:lnTo>
                  <a:lnTo>
                    <a:pt x="1102" y="912"/>
                  </a:lnTo>
                  <a:lnTo>
                    <a:pt x="1096" y="916"/>
                  </a:lnTo>
                  <a:lnTo>
                    <a:pt x="1090" y="924"/>
                  </a:lnTo>
                  <a:lnTo>
                    <a:pt x="1088" y="928"/>
                  </a:lnTo>
                  <a:lnTo>
                    <a:pt x="1088" y="930"/>
                  </a:lnTo>
                  <a:lnTo>
                    <a:pt x="1092" y="930"/>
                  </a:lnTo>
                  <a:lnTo>
                    <a:pt x="1096" y="928"/>
                  </a:lnTo>
                  <a:lnTo>
                    <a:pt x="1106" y="926"/>
                  </a:lnTo>
                  <a:lnTo>
                    <a:pt x="1108" y="926"/>
                  </a:lnTo>
                  <a:lnTo>
                    <a:pt x="1108" y="930"/>
                  </a:lnTo>
                  <a:lnTo>
                    <a:pt x="1112" y="930"/>
                  </a:lnTo>
                  <a:lnTo>
                    <a:pt x="1124" y="924"/>
                  </a:lnTo>
                  <a:lnTo>
                    <a:pt x="1128" y="924"/>
                  </a:lnTo>
                  <a:lnTo>
                    <a:pt x="1130" y="924"/>
                  </a:lnTo>
                  <a:lnTo>
                    <a:pt x="1128" y="928"/>
                  </a:lnTo>
                  <a:lnTo>
                    <a:pt x="1120" y="932"/>
                  </a:lnTo>
                  <a:lnTo>
                    <a:pt x="1110" y="936"/>
                  </a:lnTo>
                  <a:lnTo>
                    <a:pt x="1102" y="936"/>
                  </a:lnTo>
                  <a:lnTo>
                    <a:pt x="1100" y="936"/>
                  </a:lnTo>
                  <a:lnTo>
                    <a:pt x="1096" y="934"/>
                  </a:lnTo>
                  <a:lnTo>
                    <a:pt x="1088" y="934"/>
                  </a:lnTo>
                  <a:lnTo>
                    <a:pt x="1078" y="936"/>
                  </a:lnTo>
                  <a:lnTo>
                    <a:pt x="1072" y="938"/>
                  </a:lnTo>
                  <a:lnTo>
                    <a:pt x="1070" y="940"/>
                  </a:lnTo>
                  <a:lnTo>
                    <a:pt x="1074" y="942"/>
                  </a:lnTo>
                  <a:lnTo>
                    <a:pt x="1076" y="944"/>
                  </a:lnTo>
                  <a:lnTo>
                    <a:pt x="1076" y="946"/>
                  </a:lnTo>
                  <a:lnTo>
                    <a:pt x="1080" y="948"/>
                  </a:lnTo>
                  <a:lnTo>
                    <a:pt x="1086" y="948"/>
                  </a:lnTo>
                  <a:lnTo>
                    <a:pt x="1084" y="952"/>
                  </a:lnTo>
                  <a:lnTo>
                    <a:pt x="1080" y="958"/>
                  </a:lnTo>
                  <a:lnTo>
                    <a:pt x="1078" y="960"/>
                  </a:lnTo>
                  <a:lnTo>
                    <a:pt x="1076" y="964"/>
                  </a:lnTo>
                  <a:lnTo>
                    <a:pt x="1076" y="968"/>
                  </a:lnTo>
                  <a:lnTo>
                    <a:pt x="1074" y="966"/>
                  </a:lnTo>
                  <a:lnTo>
                    <a:pt x="1070" y="960"/>
                  </a:lnTo>
                  <a:lnTo>
                    <a:pt x="1070" y="954"/>
                  </a:lnTo>
                  <a:lnTo>
                    <a:pt x="1070" y="948"/>
                  </a:lnTo>
                  <a:lnTo>
                    <a:pt x="1068" y="944"/>
                  </a:lnTo>
                  <a:lnTo>
                    <a:pt x="1066" y="944"/>
                  </a:lnTo>
                  <a:lnTo>
                    <a:pt x="1064" y="948"/>
                  </a:lnTo>
                  <a:lnTo>
                    <a:pt x="1060" y="954"/>
                  </a:lnTo>
                  <a:lnTo>
                    <a:pt x="1058" y="954"/>
                  </a:lnTo>
                  <a:lnTo>
                    <a:pt x="1056" y="954"/>
                  </a:lnTo>
                  <a:lnTo>
                    <a:pt x="1056" y="952"/>
                  </a:lnTo>
                  <a:lnTo>
                    <a:pt x="1052" y="950"/>
                  </a:lnTo>
                  <a:lnTo>
                    <a:pt x="1046" y="952"/>
                  </a:lnTo>
                  <a:lnTo>
                    <a:pt x="1042" y="956"/>
                  </a:lnTo>
                  <a:lnTo>
                    <a:pt x="1040" y="956"/>
                  </a:lnTo>
                  <a:lnTo>
                    <a:pt x="1040" y="958"/>
                  </a:lnTo>
                  <a:lnTo>
                    <a:pt x="1042" y="960"/>
                  </a:lnTo>
                  <a:lnTo>
                    <a:pt x="1044" y="960"/>
                  </a:lnTo>
                  <a:lnTo>
                    <a:pt x="1048" y="958"/>
                  </a:lnTo>
                  <a:lnTo>
                    <a:pt x="1054" y="958"/>
                  </a:lnTo>
                  <a:lnTo>
                    <a:pt x="1062" y="960"/>
                  </a:lnTo>
                  <a:lnTo>
                    <a:pt x="1064" y="962"/>
                  </a:lnTo>
                  <a:lnTo>
                    <a:pt x="1064" y="964"/>
                  </a:lnTo>
                  <a:lnTo>
                    <a:pt x="1060" y="966"/>
                  </a:lnTo>
                  <a:lnTo>
                    <a:pt x="1050" y="966"/>
                  </a:lnTo>
                  <a:lnTo>
                    <a:pt x="1032" y="970"/>
                  </a:lnTo>
                  <a:lnTo>
                    <a:pt x="1020" y="974"/>
                  </a:lnTo>
                  <a:lnTo>
                    <a:pt x="1018" y="976"/>
                  </a:lnTo>
                  <a:lnTo>
                    <a:pt x="1020" y="978"/>
                  </a:lnTo>
                  <a:lnTo>
                    <a:pt x="1022" y="980"/>
                  </a:lnTo>
                  <a:lnTo>
                    <a:pt x="1018" y="984"/>
                  </a:lnTo>
                  <a:lnTo>
                    <a:pt x="1016" y="986"/>
                  </a:lnTo>
                  <a:lnTo>
                    <a:pt x="1020" y="988"/>
                  </a:lnTo>
                  <a:lnTo>
                    <a:pt x="1026" y="988"/>
                  </a:lnTo>
                  <a:lnTo>
                    <a:pt x="1030" y="986"/>
                  </a:lnTo>
                  <a:lnTo>
                    <a:pt x="1036" y="980"/>
                  </a:lnTo>
                  <a:lnTo>
                    <a:pt x="1042" y="976"/>
                  </a:lnTo>
                  <a:lnTo>
                    <a:pt x="1046" y="976"/>
                  </a:lnTo>
                  <a:lnTo>
                    <a:pt x="1052" y="976"/>
                  </a:lnTo>
                  <a:lnTo>
                    <a:pt x="1060" y="980"/>
                  </a:lnTo>
                  <a:lnTo>
                    <a:pt x="1058" y="980"/>
                  </a:lnTo>
                  <a:lnTo>
                    <a:pt x="1050" y="980"/>
                  </a:lnTo>
                  <a:lnTo>
                    <a:pt x="1040" y="982"/>
                  </a:lnTo>
                  <a:lnTo>
                    <a:pt x="1034" y="986"/>
                  </a:lnTo>
                  <a:lnTo>
                    <a:pt x="1034" y="988"/>
                  </a:lnTo>
                  <a:lnTo>
                    <a:pt x="1036" y="990"/>
                  </a:lnTo>
                  <a:lnTo>
                    <a:pt x="1034" y="990"/>
                  </a:lnTo>
                  <a:lnTo>
                    <a:pt x="1026" y="992"/>
                  </a:lnTo>
                  <a:lnTo>
                    <a:pt x="1016" y="996"/>
                  </a:lnTo>
                  <a:lnTo>
                    <a:pt x="1016" y="998"/>
                  </a:lnTo>
                  <a:lnTo>
                    <a:pt x="1020" y="1002"/>
                  </a:lnTo>
                  <a:lnTo>
                    <a:pt x="1022" y="1002"/>
                  </a:lnTo>
                  <a:lnTo>
                    <a:pt x="1022" y="1004"/>
                  </a:lnTo>
                  <a:lnTo>
                    <a:pt x="1020" y="1006"/>
                  </a:lnTo>
                  <a:lnTo>
                    <a:pt x="1016" y="1004"/>
                  </a:lnTo>
                  <a:lnTo>
                    <a:pt x="1014" y="1002"/>
                  </a:lnTo>
                  <a:lnTo>
                    <a:pt x="1010" y="1004"/>
                  </a:lnTo>
                  <a:lnTo>
                    <a:pt x="1004" y="1012"/>
                  </a:lnTo>
                  <a:lnTo>
                    <a:pt x="1008" y="1014"/>
                  </a:lnTo>
                  <a:lnTo>
                    <a:pt x="1012" y="1014"/>
                  </a:lnTo>
                  <a:lnTo>
                    <a:pt x="1016" y="1012"/>
                  </a:lnTo>
                  <a:lnTo>
                    <a:pt x="1024" y="1012"/>
                  </a:lnTo>
                  <a:lnTo>
                    <a:pt x="1036" y="1012"/>
                  </a:lnTo>
                  <a:lnTo>
                    <a:pt x="1050" y="1016"/>
                  </a:lnTo>
                  <a:lnTo>
                    <a:pt x="1048" y="1016"/>
                  </a:lnTo>
                  <a:lnTo>
                    <a:pt x="1046" y="1018"/>
                  </a:lnTo>
                  <a:lnTo>
                    <a:pt x="1046" y="1022"/>
                  </a:lnTo>
                  <a:lnTo>
                    <a:pt x="1046" y="1024"/>
                  </a:lnTo>
                  <a:lnTo>
                    <a:pt x="1044" y="1022"/>
                  </a:lnTo>
                  <a:lnTo>
                    <a:pt x="1038" y="1018"/>
                  </a:lnTo>
                  <a:lnTo>
                    <a:pt x="1034" y="1016"/>
                  </a:lnTo>
                  <a:lnTo>
                    <a:pt x="1028" y="1016"/>
                  </a:lnTo>
                  <a:lnTo>
                    <a:pt x="1020" y="1016"/>
                  </a:lnTo>
                  <a:lnTo>
                    <a:pt x="1014" y="1018"/>
                  </a:lnTo>
                  <a:lnTo>
                    <a:pt x="1008" y="1020"/>
                  </a:lnTo>
                  <a:lnTo>
                    <a:pt x="1002" y="1020"/>
                  </a:lnTo>
                  <a:lnTo>
                    <a:pt x="998" y="1020"/>
                  </a:lnTo>
                  <a:lnTo>
                    <a:pt x="996" y="1020"/>
                  </a:lnTo>
                  <a:lnTo>
                    <a:pt x="994" y="1022"/>
                  </a:lnTo>
                  <a:lnTo>
                    <a:pt x="990" y="1022"/>
                  </a:lnTo>
                  <a:lnTo>
                    <a:pt x="988" y="1024"/>
                  </a:lnTo>
                  <a:lnTo>
                    <a:pt x="988" y="1026"/>
                  </a:lnTo>
                  <a:lnTo>
                    <a:pt x="988" y="1028"/>
                  </a:lnTo>
                  <a:lnTo>
                    <a:pt x="988" y="1030"/>
                  </a:lnTo>
                  <a:lnTo>
                    <a:pt x="986" y="1032"/>
                  </a:lnTo>
                  <a:lnTo>
                    <a:pt x="982" y="1034"/>
                  </a:lnTo>
                  <a:lnTo>
                    <a:pt x="976" y="1034"/>
                  </a:lnTo>
                  <a:lnTo>
                    <a:pt x="968" y="1036"/>
                  </a:lnTo>
                  <a:lnTo>
                    <a:pt x="970" y="1038"/>
                  </a:lnTo>
                  <a:lnTo>
                    <a:pt x="974" y="1042"/>
                  </a:lnTo>
                  <a:lnTo>
                    <a:pt x="974" y="1044"/>
                  </a:lnTo>
                  <a:lnTo>
                    <a:pt x="972" y="1046"/>
                  </a:lnTo>
                  <a:lnTo>
                    <a:pt x="966" y="1050"/>
                  </a:lnTo>
                  <a:lnTo>
                    <a:pt x="964" y="1050"/>
                  </a:lnTo>
                  <a:lnTo>
                    <a:pt x="962" y="1050"/>
                  </a:lnTo>
                  <a:lnTo>
                    <a:pt x="956" y="1052"/>
                  </a:lnTo>
                  <a:lnTo>
                    <a:pt x="954" y="1056"/>
                  </a:lnTo>
                  <a:lnTo>
                    <a:pt x="956" y="1058"/>
                  </a:lnTo>
                  <a:lnTo>
                    <a:pt x="958" y="1058"/>
                  </a:lnTo>
                  <a:lnTo>
                    <a:pt x="958" y="1060"/>
                  </a:lnTo>
                  <a:lnTo>
                    <a:pt x="954" y="1062"/>
                  </a:lnTo>
                  <a:lnTo>
                    <a:pt x="954" y="1064"/>
                  </a:lnTo>
                  <a:lnTo>
                    <a:pt x="956" y="1066"/>
                  </a:lnTo>
                  <a:lnTo>
                    <a:pt x="954" y="1064"/>
                  </a:lnTo>
                  <a:lnTo>
                    <a:pt x="950" y="1064"/>
                  </a:lnTo>
                  <a:lnTo>
                    <a:pt x="946" y="1064"/>
                  </a:lnTo>
                  <a:lnTo>
                    <a:pt x="946" y="1066"/>
                  </a:lnTo>
                  <a:lnTo>
                    <a:pt x="948" y="1068"/>
                  </a:lnTo>
                  <a:lnTo>
                    <a:pt x="950" y="1070"/>
                  </a:lnTo>
                  <a:lnTo>
                    <a:pt x="950" y="1072"/>
                  </a:lnTo>
                  <a:lnTo>
                    <a:pt x="948" y="1076"/>
                  </a:lnTo>
                  <a:lnTo>
                    <a:pt x="948" y="1080"/>
                  </a:lnTo>
                  <a:lnTo>
                    <a:pt x="954" y="1080"/>
                  </a:lnTo>
                  <a:lnTo>
                    <a:pt x="958" y="1080"/>
                  </a:lnTo>
                  <a:lnTo>
                    <a:pt x="954" y="1082"/>
                  </a:lnTo>
                  <a:lnTo>
                    <a:pt x="948" y="1084"/>
                  </a:lnTo>
                  <a:lnTo>
                    <a:pt x="946" y="1086"/>
                  </a:lnTo>
                  <a:lnTo>
                    <a:pt x="954" y="1086"/>
                  </a:lnTo>
                  <a:lnTo>
                    <a:pt x="964" y="1084"/>
                  </a:lnTo>
                  <a:lnTo>
                    <a:pt x="988" y="1078"/>
                  </a:lnTo>
                  <a:lnTo>
                    <a:pt x="994" y="1078"/>
                  </a:lnTo>
                  <a:lnTo>
                    <a:pt x="990" y="1080"/>
                  </a:lnTo>
                  <a:lnTo>
                    <a:pt x="982" y="1084"/>
                  </a:lnTo>
                  <a:lnTo>
                    <a:pt x="972" y="1086"/>
                  </a:lnTo>
                  <a:lnTo>
                    <a:pt x="954" y="1090"/>
                  </a:lnTo>
                  <a:lnTo>
                    <a:pt x="946" y="1092"/>
                  </a:lnTo>
                  <a:lnTo>
                    <a:pt x="936" y="1094"/>
                  </a:lnTo>
                  <a:lnTo>
                    <a:pt x="932" y="1096"/>
                  </a:lnTo>
                  <a:lnTo>
                    <a:pt x="936" y="1096"/>
                  </a:lnTo>
                  <a:lnTo>
                    <a:pt x="942" y="1098"/>
                  </a:lnTo>
                  <a:lnTo>
                    <a:pt x="944" y="1098"/>
                  </a:lnTo>
                  <a:lnTo>
                    <a:pt x="946" y="1100"/>
                  </a:lnTo>
                  <a:lnTo>
                    <a:pt x="944" y="1104"/>
                  </a:lnTo>
                  <a:lnTo>
                    <a:pt x="940" y="1106"/>
                  </a:lnTo>
                  <a:lnTo>
                    <a:pt x="934" y="1108"/>
                  </a:lnTo>
                  <a:lnTo>
                    <a:pt x="932" y="1114"/>
                  </a:lnTo>
                  <a:lnTo>
                    <a:pt x="930" y="1118"/>
                  </a:lnTo>
                  <a:lnTo>
                    <a:pt x="928" y="1120"/>
                  </a:lnTo>
                  <a:lnTo>
                    <a:pt x="924" y="1122"/>
                  </a:lnTo>
                  <a:lnTo>
                    <a:pt x="920" y="1122"/>
                  </a:lnTo>
                  <a:lnTo>
                    <a:pt x="920" y="1128"/>
                  </a:lnTo>
                  <a:lnTo>
                    <a:pt x="922" y="1132"/>
                  </a:lnTo>
                  <a:lnTo>
                    <a:pt x="924" y="1134"/>
                  </a:lnTo>
                  <a:lnTo>
                    <a:pt x="926" y="1134"/>
                  </a:lnTo>
                  <a:lnTo>
                    <a:pt x="928" y="1138"/>
                  </a:lnTo>
                  <a:lnTo>
                    <a:pt x="928" y="1140"/>
                  </a:lnTo>
                  <a:lnTo>
                    <a:pt x="928" y="1142"/>
                  </a:lnTo>
                  <a:lnTo>
                    <a:pt x="922" y="1146"/>
                  </a:lnTo>
                  <a:lnTo>
                    <a:pt x="918" y="1150"/>
                  </a:lnTo>
                  <a:lnTo>
                    <a:pt x="918" y="1152"/>
                  </a:lnTo>
                  <a:lnTo>
                    <a:pt x="920" y="1152"/>
                  </a:lnTo>
                  <a:lnTo>
                    <a:pt x="922" y="1156"/>
                  </a:lnTo>
                  <a:lnTo>
                    <a:pt x="922" y="1160"/>
                  </a:lnTo>
                  <a:lnTo>
                    <a:pt x="918" y="1164"/>
                  </a:lnTo>
                  <a:lnTo>
                    <a:pt x="910" y="1166"/>
                  </a:lnTo>
                  <a:lnTo>
                    <a:pt x="904" y="1168"/>
                  </a:lnTo>
                  <a:lnTo>
                    <a:pt x="900" y="1168"/>
                  </a:lnTo>
                  <a:lnTo>
                    <a:pt x="898" y="1170"/>
                  </a:lnTo>
                  <a:lnTo>
                    <a:pt x="892" y="1172"/>
                  </a:lnTo>
                  <a:lnTo>
                    <a:pt x="888" y="1174"/>
                  </a:lnTo>
                  <a:lnTo>
                    <a:pt x="884" y="1174"/>
                  </a:lnTo>
                  <a:lnTo>
                    <a:pt x="880" y="1176"/>
                  </a:lnTo>
                  <a:lnTo>
                    <a:pt x="876" y="1176"/>
                  </a:lnTo>
                  <a:lnTo>
                    <a:pt x="866" y="1176"/>
                  </a:lnTo>
                  <a:lnTo>
                    <a:pt x="862" y="1176"/>
                  </a:lnTo>
                  <a:lnTo>
                    <a:pt x="860" y="1178"/>
                  </a:lnTo>
                  <a:lnTo>
                    <a:pt x="860" y="1180"/>
                  </a:lnTo>
                  <a:lnTo>
                    <a:pt x="864" y="1180"/>
                  </a:lnTo>
                  <a:lnTo>
                    <a:pt x="868" y="1180"/>
                  </a:lnTo>
                  <a:lnTo>
                    <a:pt x="876" y="1180"/>
                  </a:lnTo>
                  <a:lnTo>
                    <a:pt x="878" y="1182"/>
                  </a:lnTo>
                  <a:lnTo>
                    <a:pt x="880" y="1184"/>
                  </a:lnTo>
                  <a:lnTo>
                    <a:pt x="878" y="1186"/>
                  </a:lnTo>
                  <a:lnTo>
                    <a:pt x="878" y="1188"/>
                  </a:lnTo>
                  <a:lnTo>
                    <a:pt x="886" y="1184"/>
                  </a:lnTo>
                  <a:lnTo>
                    <a:pt x="892" y="1182"/>
                  </a:lnTo>
                  <a:lnTo>
                    <a:pt x="892" y="1184"/>
                  </a:lnTo>
                  <a:lnTo>
                    <a:pt x="890" y="1186"/>
                  </a:lnTo>
                  <a:lnTo>
                    <a:pt x="886" y="1190"/>
                  </a:lnTo>
                  <a:lnTo>
                    <a:pt x="884" y="1190"/>
                  </a:lnTo>
                  <a:lnTo>
                    <a:pt x="882" y="1192"/>
                  </a:lnTo>
                  <a:lnTo>
                    <a:pt x="886" y="1194"/>
                  </a:lnTo>
                  <a:lnTo>
                    <a:pt x="890" y="1196"/>
                  </a:lnTo>
                  <a:lnTo>
                    <a:pt x="890" y="1198"/>
                  </a:lnTo>
                  <a:lnTo>
                    <a:pt x="890" y="1200"/>
                  </a:lnTo>
                  <a:lnTo>
                    <a:pt x="886" y="1204"/>
                  </a:lnTo>
                  <a:lnTo>
                    <a:pt x="886" y="1206"/>
                  </a:lnTo>
                  <a:lnTo>
                    <a:pt x="884" y="1208"/>
                  </a:lnTo>
                  <a:lnTo>
                    <a:pt x="878" y="1208"/>
                  </a:lnTo>
                  <a:lnTo>
                    <a:pt x="874" y="1208"/>
                  </a:lnTo>
                  <a:lnTo>
                    <a:pt x="872" y="1208"/>
                  </a:lnTo>
                  <a:lnTo>
                    <a:pt x="870" y="1204"/>
                  </a:lnTo>
                  <a:lnTo>
                    <a:pt x="868" y="1198"/>
                  </a:lnTo>
                  <a:lnTo>
                    <a:pt x="866" y="1198"/>
                  </a:lnTo>
                  <a:lnTo>
                    <a:pt x="864" y="1198"/>
                  </a:lnTo>
                  <a:lnTo>
                    <a:pt x="862" y="1198"/>
                  </a:lnTo>
                  <a:lnTo>
                    <a:pt x="862" y="1200"/>
                  </a:lnTo>
                  <a:lnTo>
                    <a:pt x="862" y="1202"/>
                  </a:lnTo>
                  <a:lnTo>
                    <a:pt x="860" y="1204"/>
                  </a:lnTo>
                  <a:lnTo>
                    <a:pt x="852" y="1204"/>
                  </a:lnTo>
                  <a:lnTo>
                    <a:pt x="848" y="1208"/>
                  </a:lnTo>
                  <a:lnTo>
                    <a:pt x="846" y="1210"/>
                  </a:lnTo>
                  <a:lnTo>
                    <a:pt x="846" y="1214"/>
                  </a:lnTo>
                  <a:lnTo>
                    <a:pt x="846" y="1216"/>
                  </a:lnTo>
                  <a:lnTo>
                    <a:pt x="844" y="1218"/>
                  </a:lnTo>
                  <a:lnTo>
                    <a:pt x="840" y="1220"/>
                  </a:lnTo>
                  <a:lnTo>
                    <a:pt x="834" y="1222"/>
                  </a:lnTo>
                  <a:lnTo>
                    <a:pt x="832" y="1224"/>
                  </a:lnTo>
                  <a:lnTo>
                    <a:pt x="830" y="1228"/>
                  </a:lnTo>
                  <a:lnTo>
                    <a:pt x="828" y="1234"/>
                  </a:lnTo>
                  <a:lnTo>
                    <a:pt x="824" y="1240"/>
                  </a:lnTo>
                  <a:lnTo>
                    <a:pt x="818" y="1246"/>
                  </a:lnTo>
                  <a:lnTo>
                    <a:pt x="812" y="1250"/>
                  </a:lnTo>
                  <a:lnTo>
                    <a:pt x="808" y="1252"/>
                  </a:lnTo>
                  <a:lnTo>
                    <a:pt x="806" y="1256"/>
                  </a:lnTo>
                  <a:lnTo>
                    <a:pt x="806" y="1258"/>
                  </a:lnTo>
                  <a:lnTo>
                    <a:pt x="806" y="1260"/>
                  </a:lnTo>
                  <a:lnTo>
                    <a:pt x="810" y="1260"/>
                  </a:lnTo>
                  <a:lnTo>
                    <a:pt x="816" y="1258"/>
                  </a:lnTo>
                  <a:lnTo>
                    <a:pt x="818" y="1258"/>
                  </a:lnTo>
                  <a:lnTo>
                    <a:pt x="818" y="1262"/>
                  </a:lnTo>
                  <a:lnTo>
                    <a:pt x="820" y="1262"/>
                  </a:lnTo>
                  <a:lnTo>
                    <a:pt x="822" y="1264"/>
                  </a:lnTo>
                  <a:lnTo>
                    <a:pt x="822" y="1268"/>
                  </a:lnTo>
                  <a:lnTo>
                    <a:pt x="824" y="1270"/>
                  </a:lnTo>
                  <a:lnTo>
                    <a:pt x="826" y="1270"/>
                  </a:lnTo>
                  <a:lnTo>
                    <a:pt x="834" y="1270"/>
                  </a:lnTo>
                  <a:lnTo>
                    <a:pt x="848" y="1264"/>
                  </a:lnTo>
                  <a:lnTo>
                    <a:pt x="862" y="1254"/>
                  </a:lnTo>
                  <a:lnTo>
                    <a:pt x="868" y="1250"/>
                  </a:lnTo>
                  <a:lnTo>
                    <a:pt x="868" y="1246"/>
                  </a:lnTo>
                  <a:lnTo>
                    <a:pt x="864" y="1244"/>
                  </a:lnTo>
                  <a:lnTo>
                    <a:pt x="858" y="1244"/>
                  </a:lnTo>
                  <a:lnTo>
                    <a:pt x="862" y="1242"/>
                  </a:lnTo>
                  <a:lnTo>
                    <a:pt x="870" y="1238"/>
                  </a:lnTo>
                  <a:lnTo>
                    <a:pt x="874" y="1236"/>
                  </a:lnTo>
                  <a:lnTo>
                    <a:pt x="876" y="1234"/>
                  </a:lnTo>
                  <a:lnTo>
                    <a:pt x="880" y="1236"/>
                  </a:lnTo>
                  <a:lnTo>
                    <a:pt x="884" y="1236"/>
                  </a:lnTo>
                  <a:lnTo>
                    <a:pt x="884" y="1238"/>
                  </a:lnTo>
                  <a:lnTo>
                    <a:pt x="878" y="1240"/>
                  </a:lnTo>
                  <a:lnTo>
                    <a:pt x="874" y="1242"/>
                  </a:lnTo>
                  <a:lnTo>
                    <a:pt x="872" y="1244"/>
                  </a:lnTo>
                  <a:lnTo>
                    <a:pt x="874" y="1246"/>
                  </a:lnTo>
                  <a:lnTo>
                    <a:pt x="880" y="1248"/>
                  </a:lnTo>
                  <a:lnTo>
                    <a:pt x="884" y="1250"/>
                  </a:lnTo>
                  <a:lnTo>
                    <a:pt x="880" y="1254"/>
                  </a:lnTo>
                  <a:lnTo>
                    <a:pt x="860" y="1262"/>
                  </a:lnTo>
                  <a:lnTo>
                    <a:pt x="854" y="1266"/>
                  </a:lnTo>
                  <a:lnTo>
                    <a:pt x="858" y="1268"/>
                  </a:lnTo>
                  <a:lnTo>
                    <a:pt x="856" y="1268"/>
                  </a:lnTo>
                  <a:lnTo>
                    <a:pt x="856" y="1270"/>
                  </a:lnTo>
                  <a:lnTo>
                    <a:pt x="856" y="1272"/>
                  </a:lnTo>
                  <a:lnTo>
                    <a:pt x="858" y="1272"/>
                  </a:lnTo>
                  <a:lnTo>
                    <a:pt x="862" y="1274"/>
                  </a:lnTo>
                  <a:lnTo>
                    <a:pt x="860" y="1276"/>
                  </a:lnTo>
                  <a:lnTo>
                    <a:pt x="856" y="1276"/>
                  </a:lnTo>
                  <a:lnTo>
                    <a:pt x="852" y="1276"/>
                  </a:lnTo>
                  <a:lnTo>
                    <a:pt x="844" y="1276"/>
                  </a:lnTo>
                  <a:lnTo>
                    <a:pt x="836" y="1276"/>
                  </a:lnTo>
                  <a:lnTo>
                    <a:pt x="830" y="1276"/>
                  </a:lnTo>
                  <a:lnTo>
                    <a:pt x="826" y="1280"/>
                  </a:lnTo>
                  <a:lnTo>
                    <a:pt x="822" y="1282"/>
                  </a:lnTo>
                  <a:lnTo>
                    <a:pt x="822" y="1276"/>
                  </a:lnTo>
                  <a:lnTo>
                    <a:pt x="818" y="1268"/>
                  </a:lnTo>
                  <a:lnTo>
                    <a:pt x="814" y="1262"/>
                  </a:lnTo>
                  <a:lnTo>
                    <a:pt x="810" y="1262"/>
                  </a:lnTo>
                  <a:lnTo>
                    <a:pt x="806" y="1266"/>
                  </a:lnTo>
                  <a:lnTo>
                    <a:pt x="798" y="1268"/>
                  </a:lnTo>
                  <a:lnTo>
                    <a:pt x="796" y="1268"/>
                  </a:lnTo>
                  <a:lnTo>
                    <a:pt x="794" y="1270"/>
                  </a:lnTo>
                  <a:lnTo>
                    <a:pt x="792" y="1274"/>
                  </a:lnTo>
                  <a:lnTo>
                    <a:pt x="792" y="1276"/>
                  </a:lnTo>
                  <a:lnTo>
                    <a:pt x="790" y="1274"/>
                  </a:lnTo>
                  <a:lnTo>
                    <a:pt x="784" y="1274"/>
                  </a:lnTo>
                  <a:lnTo>
                    <a:pt x="778" y="1274"/>
                  </a:lnTo>
                  <a:lnTo>
                    <a:pt x="762" y="1280"/>
                  </a:lnTo>
                  <a:lnTo>
                    <a:pt x="760" y="1282"/>
                  </a:lnTo>
                  <a:lnTo>
                    <a:pt x="760" y="1284"/>
                  </a:lnTo>
                  <a:lnTo>
                    <a:pt x="766" y="1288"/>
                  </a:lnTo>
                  <a:lnTo>
                    <a:pt x="768" y="1290"/>
                  </a:lnTo>
                  <a:lnTo>
                    <a:pt x="768" y="1292"/>
                  </a:lnTo>
                  <a:lnTo>
                    <a:pt x="766" y="1294"/>
                  </a:lnTo>
                  <a:lnTo>
                    <a:pt x="760" y="1294"/>
                  </a:lnTo>
                  <a:lnTo>
                    <a:pt x="754" y="1296"/>
                  </a:lnTo>
                  <a:lnTo>
                    <a:pt x="752" y="1298"/>
                  </a:lnTo>
                  <a:lnTo>
                    <a:pt x="752" y="1300"/>
                  </a:lnTo>
                  <a:lnTo>
                    <a:pt x="756" y="1302"/>
                  </a:lnTo>
                  <a:lnTo>
                    <a:pt x="746" y="1300"/>
                  </a:lnTo>
                  <a:lnTo>
                    <a:pt x="738" y="1298"/>
                  </a:lnTo>
                  <a:lnTo>
                    <a:pt x="742" y="1300"/>
                  </a:lnTo>
                  <a:lnTo>
                    <a:pt x="744" y="1304"/>
                  </a:lnTo>
                  <a:lnTo>
                    <a:pt x="744" y="1306"/>
                  </a:lnTo>
                  <a:lnTo>
                    <a:pt x="740" y="1308"/>
                  </a:lnTo>
                  <a:lnTo>
                    <a:pt x="728" y="1308"/>
                  </a:lnTo>
                  <a:lnTo>
                    <a:pt x="716" y="1308"/>
                  </a:lnTo>
                  <a:lnTo>
                    <a:pt x="708" y="1306"/>
                  </a:lnTo>
                  <a:lnTo>
                    <a:pt x="704" y="1308"/>
                  </a:lnTo>
                  <a:lnTo>
                    <a:pt x="702" y="1310"/>
                  </a:lnTo>
                  <a:lnTo>
                    <a:pt x="702" y="1316"/>
                  </a:lnTo>
                  <a:lnTo>
                    <a:pt x="704" y="1318"/>
                  </a:lnTo>
                  <a:lnTo>
                    <a:pt x="708" y="1320"/>
                  </a:lnTo>
                  <a:lnTo>
                    <a:pt x="712" y="1320"/>
                  </a:lnTo>
                  <a:lnTo>
                    <a:pt x="718" y="1320"/>
                  </a:lnTo>
                  <a:lnTo>
                    <a:pt x="726" y="1318"/>
                  </a:lnTo>
                  <a:lnTo>
                    <a:pt x="724" y="1320"/>
                  </a:lnTo>
                  <a:lnTo>
                    <a:pt x="720" y="1324"/>
                  </a:lnTo>
                  <a:lnTo>
                    <a:pt x="720" y="1328"/>
                  </a:lnTo>
                  <a:lnTo>
                    <a:pt x="722" y="1332"/>
                  </a:lnTo>
                  <a:lnTo>
                    <a:pt x="724" y="1334"/>
                  </a:lnTo>
                  <a:lnTo>
                    <a:pt x="718" y="1332"/>
                  </a:lnTo>
                  <a:lnTo>
                    <a:pt x="704" y="1328"/>
                  </a:lnTo>
                  <a:lnTo>
                    <a:pt x="696" y="1328"/>
                  </a:lnTo>
                  <a:lnTo>
                    <a:pt x="686" y="1330"/>
                  </a:lnTo>
                  <a:lnTo>
                    <a:pt x="678" y="1334"/>
                  </a:lnTo>
                  <a:lnTo>
                    <a:pt x="676" y="1336"/>
                  </a:lnTo>
                  <a:lnTo>
                    <a:pt x="678" y="1336"/>
                  </a:lnTo>
                  <a:lnTo>
                    <a:pt x="682" y="1338"/>
                  </a:lnTo>
                  <a:lnTo>
                    <a:pt x="694" y="1340"/>
                  </a:lnTo>
                  <a:lnTo>
                    <a:pt x="698" y="1342"/>
                  </a:lnTo>
                  <a:lnTo>
                    <a:pt x="702" y="1344"/>
                  </a:lnTo>
                  <a:lnTo>
                    <a:pt x="704" y="1348"/>
                  </a:lnTo>
                  <a:lnTo>
                    <a:pt x="700" y="1346"/>
                  </a:lnTo>
                  <a:lnTo>
                    <a:pt x="696" y="1344"/>
                  </a:lnTo>
                  <a:lnTo>
                    <a:pt x="692" y="1344"/>
                  </a:lnTo>
                  <a:lnTo>
                    <a:pt x="684" y="1344"/>
                  </a:lnTo>
                  <a:lnTo>
                    <a:pt x="676" y="1346"/>
                  </a:lnTo>
                  <a:lnTo>
                    <a:pt x="668" y="1350"/>
                  </a:lnTo>
                  <a:lnTo>
                    <a:pt x="664" y="1354"/>
                  </a:lnTo>
                  <a:lnTo>
                    <a:pt x="662" y="1356"/>
                  </a:lnTo>
                  <a:lnTo>
                    <a:pt x="662" y="1358"/>
                  </a:lnTo>
                  <a:lnTo>
                    <a:pt x="664" y="1358"/>
                  </a:lnTo>
                  <a:lnTo>
                    <a:pt x="658" y="1358"/>
                  </a:lnTo>
                  <a:lnTo>
                    <a:pt x="654" y="1358"/>
                  </a:lnTo>
                  <a:lnTo>
                    <a:pt x="652" y="1358"/>
                  </a:lnTo>
                  <a:lnTo>
                    <a:pt x="652" y="1360"/>
                  </a:lnTo>
                  <a:lnTo>
                    <a:pt x="654" y="1362"/>
                  </a:lnTo>
                  <a:lnTo>
                    <a:pt x="652" y="1364"/>
                  </a:lnTo>
                  <a:lnTo>
                    <a:pt x="646" y="1362"/>
                  </a:lnTo>
                  <a:lnTo>
                    <a:pt x="628" y="1360"/>
                  </a:lnTo>
                  <a:lnTo>
                    <a:pt x="628" y="1362"/>
                  </a:lnTo>
                  <a:lnTo>
                    <a:pt x="632" y="1366"/>
                  </a:lnTo>
                  <a:lnTo>
                    <a:pt x="632" y="1368"/>
                  </a:lnTo>
                  <a:lnTo>
                    <a:pt x="626" y="1370"/>
                  </a:lnTo>
                  <a:lnTo>
                    <a:pt x="622" y="1370"/>
                  </a:lnTo>
                  <a:lnTo>
                    <a:pt x="624" y="1372"/>
                  </a:lnTo>
                  <a:lnTo>
                    <a:pt x="628" y="1374"/>
                  </a:lnTo>
                  <a:lnTo>
                    <a:pt x="632" y="1376"/>
                  </a:lnTo>
                  <a:lnTo>
                    <a:pt x="644" y="1376"/>
                  </a:lnTo>
                  <a:lnTo>
                    <a:pt x="660" y="1378"/>
                  </a:lnTo>
                  <a:lnTo>
                    <a:pt x="666" y="1378"/>
                  </a:lnTo>
                  <a:lnTo>
                    <a:pt x="674" y="1382"/>
                  </a:lnTo>
                  <a:lnTo>
                    <a:pt x="682" y="1386"/>
                  </a:lnTo>
                  <a:lnTo>
                    <a:pt x="680" y="1386"/>
                  </a:lnTo>
                  <a:lnTo>
                    <a:pt x="672" y="1384"/>
                  </a:lnTo>
                  <a:lnTo>
                    <a:pt x="668" y="1384"/>
                  </a:lnTo>
                  <a:lnTo>
                    <a:pt x="664" y="1386"/>
                  </a:lnTo>
                  <a:lnTo>
                    <a:pt x="662" y="1386"/>
                  </a:lnTo>
                  <a:lnTo>
                    <a:pt x="660" y="1386"/>
                  </a:lnTo>
                  <a:lnTo>
                    <a:pt x="654" y="1382"/>
                  </a:lnTo>
                  <a:lnTo>
                    <a:pt x="648" y="1380"/>
                  </a:lnTo>
                  <a:lnTo>
                    <a:pt x="644" y="1378"/>
                  </a:lnTo>
                  <a:lnTo>
                    <a:pt x="638" y="1380"/>
                  </a:lnTo>
                  <a:lnTo>
                    <a:pt x="630" y="1384"/>
                  </a:lnTo>
                  <a:lnTo>
                    <a:pt x="624" y="1390"/>
                  </a:lnTo>
                  <a:lnTo>
                    <a:pt x="622" y="1394"/>
                  </a:lnTo>
                  <a:lnTo>
                    <a:pt x="624" y="1396"/>
                  </a:lnTo>
                  <a:lnTo>
                    <a:pt x="626" y="1398"/>
                  </a:lnTo>
                  <a:lnTo>
                    <a:pt x="632" y="1404"/>
                  </a:lnTo>
                  <a:lnTo>
                    <a:pt x="628" y="1406"/>
                  </a:lnTo>
                  <a:lnTo>
                    <a:pt x="622" y="1410"/>
                  </a:lnTo>
                  <a:lnTo>
                    <a:pt x="622" y="1412"/>
                  </a:lnTo>
                  <a:lnTo>
                    <a:pt x="624" y="1412"/>
                  </a:lnTo>
                  <a:lnTo>
                    <a:pt x="628" y="1416"/>
                  </a:lnTo>
                  <a:lnTo>
                    <a:pt x="626" y="1418"/>
                  </a:lnTo>
                  <a:lnTo>
                    <a:pt x="626" y="1420"/>
                  </a:lnTo>
                  <a:lnTo>
                    <a:pt x="624" y="1424"/>
                  </a:lnTo>
                  <a:lnTo>
                    <a:pt x="626" y="1426"/>
                  </a:lnTo>
                  <a:lnTo>
                    <a:pt x="628" y="1428"/>
                  </a:lnTo>
                  <a:lnTo>
                    <a:pt x="632" y="1430"/>
                  </a:lnTo>
                  <a:lnTo>
                    <a:pt x="636" y="1430"/>
                  </a:lnTo>
                  <a:lnTo>
                    <a:pt x="642" y="1430"/>
                  </a:lnTo>
                  <a:lnTo>
                    <a:pt x="648" y="1428"/>
                  </a:lnTo>
                  <a:lnTo>
                    <a:pt x="654" y="1424"/>
                  </a:lnTo>
                  <a:lnTo>
                    <a:pt x="660" y="1424"/>
                  </a:lnTo>
                  <a:lnTo>
                    <a:pt x="670" y="1426"/>
                  </a:lnTo>
                  <a:lnTo>
                    <a:pt x="678" y="1428"/>
                  </a:lnTo>
                  <a:lnTo>
                    <a:pt x="680" y="1426"/>
                  </a:lnTo>
                  <a:lnTo>
                    <a:pt x="684" y="1422"/>
                  </a:lnTo>
                  <a:lnTo>
                    <a:pt x="686" y="1420"/>
                  </a:lnTo>
                  <a:lnTo>
                    <a:pt x="688" y="1418"/>
                  </a:lnTo>
                  <a:lnTo>
                    <a:pt x="692" y="1420"/>
                  </a:lnTo>
                  <a:lnTo>
                    <a:pt x="700" y="1424"/>
                  </a:lnTo>
                  <a:lnTo>
                    <a:pt x="704" y="1426"/>
                  </a:lnTo>
                  <a:lnTo>
                    <a:pt x="710" y="1426"/>
                  </a:lnTo>
                  <a:lnTo>
                    <a:pt x="720" y="1424"/>
                  </a:lnTo>
                  <a:lnTo>
                    <a:pt x="726" y="1424"/>
                  </a:lnTo>
                  <a:lnTo>
                    <a:pt x="726" y="1426"/>
                  </a:lnTo>
                  <a:lnTo>
                    <a:pt x="724" y="1426"/>
                  </a:lnTo>
                  <a:lnTo>
                    <a:pt x="716" y="1430"/>
                  </a:lnTo>
                  <a:lnTo>
                    <a:pt x="710" y="1432"/>
                  </a:lnTo>
                  <a:lnTo>
                    <a:pt x="708" y="1434"/>
                  </a:lnTo>
                  <a:lnTo>
                    <a:pt x="708" y="1436"/>
                  </a:lnTo>
                  <a:lnTo>
                    <a:pt x="708" y="1438"/>
                  </a:lnTo>
                  <a:lnTo>
                    <a:pt x="708" y="1440"/>
                  </a:lnTo>
                  <a:lnTo>
                    <a:pt x="700" y="1434"/>
                  </a:lnTo>
                  <a:lnTo>
                    <a:pt x="694" y="1428"/>
                  </a:lnTo>
                  <a:lnTo>
                    <a:pt x="690" y="1428"/>
                  </a:lnTo>
                  <a:lnTo>
                    <a:pt x="688" y="1428"/>
                  </a:lnTo>
                  <a:lnTo>
                    <a:pt x="686" y="1430"/>
                  </a:lnTo>
                  <a:lnTo>
                    <a:pt x="682" y="1434"/>
                  </a:lnTo>
                  <a:lnTo>
                    <a:pt x="680" y="1434"/>
                  </a:lnTo>
                  <a:lnTo>
                    <a:pt x="676" y="1432"/>
                  </a:lnTo>
                  <a:lnTo>
                    <a:pt x="672" y="1430"/>
                  </a:lnTo>
                  <a:lnTo>
                    <a:pt x="666" y="1430"/>
                  </a:lnTo>
                  <a:lnTo>
                    <a:pt x="656" y="1432"/>
                  </a:lnTo>
                  <a:lnTo>
                    <a:pt x="646" y="1436"/>
                  </a:lnTo>
                  <a:lnTo>
                    <a:pt x="640" y="1436"/>
                  </a:lnTo>
                  <a:lnTo>
                    <a:pt x="636" y="1436"/>
                  </a:lnTo>
                  <a:lnTo>
                    <a:pt x="626" y="1434"/>
                  </a:lnTo>
                  <a:lnTo>
                    <a:pt x="624" y="1436"/>
                  </a:lnTo>
                  <a:lnTo>
                    <a:pt x="626" y="1442"/>
                  </a:lnTo>
                  <a:lnTo>
                    <a:pt x="626" y="1446"/>
                  </a:lnTo>
                  <a:lnTo>
                    <a:pt x="626" y="1448"/>
                  </a:lnTo>
                  <a:lnTo>
                    <a:pt x="632" y="1448"/>
                  </a:lnTo>
                  <a:lnTo>
                    <a:pt x="636" y="1448"/>
                  </a:lnTo>
                  <a:lnTo>
                    <a:pt x="636" y="1450"/>
                  </a:lnTo>
                  <a:lnTo>
                    <a:pt x="638" y="1454"/>
                  </a:lnTo>
                  <a:lnTo>
                    <a:pt x="636" y="1456"/>
                  </a:lnTo>
                  <a:lnTo>
                    <a:pt x="630" y="1454"/>
                  </a:lnTo>
                  <a:lnTo>
                    <a:pt x="626" y="1454"/>
                  </a:lnTo>
                  <a:lnTo>
                    <a:pt x="624" y="1454"/>
                  </a:lnTo>
                  <a:lnTo>
                    <a:pt x="626" y="1458"/>
                  </a:lnTo>
                  <a:lnTo>
                    <a:pt x="628" y="1460"/>
                  </a:lnTo>
                  <a:lnTo>
                    <a:pt x="630" y="1462"/>
                  </a:lnTo>
                  <a:lnTo>
                    <a:pt x="634" y="1462"/>
                  </a:lnTo>
                  <a:lnTo>
                    <a:pt x="638" y="1462"/>
                  </a:lnTo>
                  <a:lnTo>
                    <a:pt x="640" y="1464"/>
                  </a:lnTo>
                  <a:lnTo>
                    <a:pt x="638" y="1468"/>
                  </a:lnTo>
                  <a:lnTo>
                    <a:pt x="638" y="1472"/>
                  </a:lnTo>
                  <a:lnTo>
                    <a:pt x="636" y="1476"/>
                  </a:lnTo>
                  <a:lnTo>
                    <a:pt x="630" y="1478"/>
                  </a:lnTo>
                  <a:lnTo>
                    <a:pt x="626" y="1480"/>
                  </a:lnTo>
                  <a:lnTo>
                    <a:pt x="626" y="1482"/>
                  </a:lnTo>
                  <a:lnTo>
                    <a:pt x="636" y="1490"/>
                  </a:lnTo>
                  <a:lnTo>
                    <a:pt x="638" y="1492"/>
                  </a:lnTo>
                  <a:lnTo>
                    <a:pt x="642" y="1490"/>
                  </a:lnTo>
                  <a:lnTo>
                    <a:pt x="646" y="1488"/>
                  </a:lnTo>
                  <a:lnTo>
                    <a:pt x="648" y="1490"/>
                  </a:lnTo>
                  <a:lnTo>
                    <a:pt x="650" y="1494"/>
                  </a:lnTo>
                  <a:lnTo>
                    <a:pt x="652" y="1492"/>
                  </a:lnTo>
                  <a:lnTo>
                    <a:pt x="654" y="1492"/>
                  </a:lnTo>
                  <a:lnTo>
                    <a:pt x="654" y="1496"/>
                  </a:lnTo>
                  <a:lnTo>
                    <a:pt x="654" y="1500"/>
                  </a:lnTo>
                  <a:lnTo>
                    <a:pt x="654" y="1502"/>
                  </a:lnTo>
                  <a:lnTo>
                    <a:pt x="656" y="1502"/>
                  </a:lnTo>
                  <a:lnTo>
                    <a:pt x="658" y="1502"/>
                  </a:lnTo>
                  <a:lnTo>
                    <a:pt x="658" y="1500"/>
                  </a:lnTo>
                  <a:lnTo>
                    <a:pt x="660" y="1494"/>
                  </a:lnTo>
                  <a:lnTo>
                    <a:pt x="662" y="1488"/>
                  </a:lnTo>
                  <a:lnTo>
                    <a:pt x="662" y="1486"/>
                  </a:lnTo>
                  <a:lnTo>
                    <a:pt x="666" y="1486"/>
                  </a:lnTo>
                  <a:lnTo>
                    <a:pt x="668" y="1486"/>
                  </a:lnTo>
                  <a:lnTo>
                    <a:pt x="670" y="1488"/>
                  </a:lnTo>
                  <a:lnTo>
                    <a:pt x="666" y="1496"/>
                  </a:lnTo>
                  <a:lnTo>
                    <a:pt x="660" y="1504"/>
                  </a:lnTo>
                  <a:lnTo>
                    <a:pt x="654" y="1508"/>
                  </a:lnTo>
                  <a:lnTo>
                    <a:pt x="652" y="1510"/>
                  </a:lnTo>
                  <a:lnTo>
                    <a:pt x="650" y="1512"/>
                  </a:lnTo>
                  <a:lnTo>
                    <a:pt x="654" y="1514"/>
                  </a:lnTo>
                  <a:lnTo>
                    <a:pt x="658" y="1518"/>
                  </a:lnTo>
                  <a:lnTo>
                    <a:pt x="658" y="1520"/>
                  </a:lnTo>
                  <a:lnTo>
                    <a:pt x="656" y="1522"/>
                  </a:lnTo>
                  <a:lnTo>
                    <a:pt x="650" y="1524"/>
                  </a:lnTo>
                  <a:lnTo>
                    <a:pt x="648" y="1522"/>
                  </a:lnTo>
                  <a:lnTo>
                    <a:pt x="644" y="1522"/>
                  </a:lnTo>
                  <a:lnTo>
                    <a:pt x="636" y="1526"/>
                  </a:lnTo>
                  <a:lnTo>
                    <a:pt x="632" y="1530"/>
                  </a:lnTo>
                  <a:lnTo>
                    <a:pt x="632" y="1536"/>
                  </a:lnTo>
                  <a:lnTo>
                    <a:pt x="632" y="1540"/>
                  </a:lnTo>
                  <a:lnTo>
                    <a:pt x="634" y="1544"/>
                  </a:lnTo>
                  <a:lnTo>
                    <a:pt x="640" y="1548"/>
                  </a:lnTo>
                  <a:lnTo>
                    <a:pt x="644" y="1548"/>
                  </a:lnTo>
                  <a:lnTo>
                    <a:pt x="646" y="1548"/>
                  </a:lnTo>
                  <a:lnTo>
                    <a:pt x="646" y="1546"/>
                  </a:lnTo>
                  <a:lnTo>
                    <a:pt x="648" y="1546"/>
                  </a:lnTo>
                  <a:lnTo>
                    <a:pt x="650" y="1546"/>
                  </a:lnTo>
                  <a:lnTo>
                    <a:pt x="654" y="1548"/>
                  </a:lnTo>
                  <a:lnTo>
                    <a:pt x="656" y="1544"/>
                  </a:lnTo>
                  <a:lnTo>
                    <a:pt x="658" y="1542"/>
                  </a:lnTo>
                  <a:lnTo>
                    <a:pt x="660" y="1540"/>
                  </a:lnTo>
                  <a:lnTo>
                    <a:pt x="664" y="1542"/>
                  </a:lnTo>
                  <a:lnTo>
                    <a:pt x="666" y="1544"/>
                  </a:lnTo>
                  <a:lnTo>
                    <a:pt x="664" y="1548"/>
                  </a:lnTo>
                  <a:lnTo>
                    <a:pt x="662" y="1548"/>
                  </a:lnTo>
                  <a:lnTo>
                    <a:pt x="660" y="1550"/>
                  </a:lnTo>
                  <a:lnTo>
                    <a:pt x="660" y="1552"/>
                  </a:lnTo>
                  <a:lnTo>
                    <a:pt x="662" y="1554"/>
                  </a:lnTo>
                  <a:lnTo>
                    <a:pt x="664" y="1556"/>
                  </a:lnTo>
                  <a:lnTo>
                    <a:pt x="662" y="1558"/>
                  </a:lnTo>
                  <a:lnTo>
                    <a:pt x="660" y="1560"/>
                  </a:lnTo>
                  <a:lnTo>
                    <a:pt x="660" y="1562"/>
                  </a:lnTo>
                  <a:lnTo>
                    <a:pt x="662" y="1564"/>
                  </a:lnTo>
                  <a:lnTo>
                    <a:pt x="662" y="1568"/>
                  </a:lnTo>
                  <a:lnTo>
                    <a:pt x="658" y="1570"/>
                  </a:lnTo>
                  <a:lnTo>
                    <a:pt x="654" y="1572"/>
                  </a:lnTo>
                  <a:lnTo>
                    <a:pt x="652" y="1570"/>
                  </a:lnTo>
                  <a:lnTo>
                    <a:pt x="648" y="1568"/>
                  </a:lnTo>
                  <a:lnTo>
                    <a:pt x="646" y="1566"/>
                  </a:lnTo>
                  <a:lnTo>
                    <a:pt x="644" y="1576"/>
                  </a:lnTo>
                  <a:lnTo>
                    <a:pt x="642" y="1586"/>
                  </a:lnTo>
                  <a:lnTo>
                    <a:pt x="646" y="1592"/>
                  </a:lnTo>
                  <a:lnTo>
                    <a:pt x="652" y="1598"/>
                  </a:lnTo>
                  <a:lnTo>
                    <a:pt x="658" y="1600"/>
                  </a:lnTo>
                  <a:lnTo>
                    <a:pt x="662" y="1600"/>
                  </a:lnTo>
                  <a:lnTo>
                    <a:pt x="664" y="1604"/>
                  </a:lnTo>
                  <a:lnTo>
                    <a:pt x="668" y="1608"/>
                  </a:lnTo>
                  <a:lnTo>
                    <a:pt x="674" y="1612"/>
                  </a:lnTo>
                  <a:lnTo>
                    <a:pt x="688" y="1616"/>
                  </a:lnTo>
                  <a:lnTo>
                    <a:pt x="690" y="1618"/>
                  </a:lnTo>
                  <a:lnTo>
                    <a:pt x="688" y="1620"/>
                  </a:lnTo>
                  <a:lnTo>
                    <a:pt x="688" y="1624"/>
                  </a:lnTo>
                  <a:lnTo>
                    <a:pt x="690" y="1626"/>
                  </a:lnTo>
                  <a:lnTo>
                    <a:pt x="692" y="1628"/>
                  </a:lnTo>
                  <a:lnTo>
                    <a:pt x="694" y="1628"/>
                  </a:lnTo>
                  <a:lnTo>
                    <a:pt x="696" y="1626"/>
                  </a:lnTo>
                  <a:lnTo>
                    <a:pt x="700" y="1626"/>
                  </a:lnTo>
                  <a:lnTo>
                    <a:pt x="704" y="1630"/>
                  </a:lnTo>
                  <a:lnTo>
                    <a:pt x="706" y="1632"/>
                  </a:lnTo>
                  <a:lnTo>
                    <a:pt x="710" y="1630"/>
                  </a:lnTo>
                  <a:lnTo>
                    <a:pt x="720" y="1628"/>
                  </a:lnTo>
                  <a:lnTo>
                    <a:pt x="734" y="1628"/>
                  </a:lnTo>
                  <a:lnTo>
                    <a:pt x="746" y="1626"/>
                  </a:lnTo>
                  <a:lnTo>
                    <a:pt x="752" y="1624"/>
                  </a:lnTo>
                  <a:lnTo>
                    <a:pt x="756" y="1620"/>
                  </a:lnTo>
                  <a:lnTo>
                    <a:pt x="760" y="1618"/>
                  </a:lnTo>
                  <a:lnTo>
                    <a:pt x="766" y="1614"/>
                  </a:lnTo>
                  <a:lnTo>
                    <a:pt x="774" y="1608"/>
                  </a:lnTo>
                  <a:lnTo>
                    <a:pt x="780" y="1600"/>
                  </a:lnTo>
                  <a:lnTo>
                    <a:pt x="782" y="1596"/>
                  </a:lnTo>
                  <a:lnTo>
                    <a:pt x="784" y="1594"/>
                  </a:lnTo>
                  <a:lnTo>
                    <a:pt x="790" y="1592"/>
                  </a:lnTo>
                  <a:lnTo>
                    <a:pt x="792" y="1592"/>
                  </a:lnTo>
                  <a:lnTo>
                    <a:pt x="794" y="1588"/>
                  </a:lnTo>
                  <a:lnTo>
                    <a:pt x="794" y="1586"/>
                  </a:lnTo>
                  <a:lnTo>
                    <a:pt x="796" y="1586"/>
                  </a:lnTo>
                  <a:lnTo>
                    <a:pt x="800" y="1584"/>
                  </a:lnTo>
                  <a:lnTo>
                    <a:pt x="804" y="1582"/>
                  </a:lnTo>
                  <a:lnTo>
                    <a:pt x="800" y="1578"/>
                  </a:lnTo>
                  <a:lnTo>
                    <a:pt x="798" y="1576"/>
                  </a:lnTo>
                  <a:lnTo>
                    <a:pt x="802" y="1574"/>
                  </a:lnTo>
                  <a:lnTo>
                    <a:pt x="810" y="1572"/>
                  </a:lnTo>
                  <a:lnTo>
                    <a:pt x="812" y="1570"/>
                  </a:lnTo>
                  <a:lnTo>
                    <a:pt x="812" y="1566"/>
                  </a:lnTo>
                  <a:lnTo>
                    <a:pt x="812" y="1562"/>
                  </a:lnTo>
                  <a:lnTo>
                    <a:pt x="816" y="1564"/>
                  </a:lnTo>
                  <a:lnTo>
                    <a:pt x="820" y="1568"/>
                  </a:lnTo>
                  <a:lnTo>
                    <a:pt x="822" y="1570"/>
                  </a:lnTo>
                  <a:lnTo>
                    <a:pt x="824" y="1568"/>
                  </a:lnTo>
                  <a:lnTo>
                    <a:pt x="828" y="1566"/>
                  </a:lnTo>
                  <a:lnTo>
                    <a:pt x="834" y="1566"/>
                  </a:lnTo>
                  <a:lnTo>
                    <a:pt x="838" y="1564"/>
                  </a:lnTo>
                  <a:lnTo>
                    <a:pt x="838" y="1558"/>
                  </a:lnTo>
                  <a:lnTo>
                    <a:pt x="838" y="1554"/>
                  </a:lnTo>
                  <a:lnTo>
                    <a:pt x="840" y="1552"/>
                  </a:lnTo>
                  <a:lnTo>
                    <a:pt x="844" y="1550"/>
                  </a:lnTo>
                  <a:lnTo>
                    <a:pt x="846" y="1548"/>
                  </a:lnTo>
                  <a:lnTo>
                    <a:pt x="842" y="1540"/>
                  </a:lnTo>
                  <a:lnTo>
                    <a:pt x="840" y="1536"/>
                  </a:lnTo>
                  <a:lnTo>
                    <a:pt x="838" y="1532"/>
                  </a:lnTo>
                  <a:lnTo>
                    <a:pt x="840" y="1528"/>
                  </a:lnTo>
                  <a:lnTo>
                    <a:pt x="844" y="1532"/>
                  </a:lnTo>
                  <a:lnTo>
                    <a:pt x="846" y="1534"/>
                  </a:lnTo>
                  <a:lnTo>
                    <a:pt x="848" y="1534"/>
                  </a:lnTo>
                  <a:lnTo>
                    <a:pt x="850" y="1530"/>
                  </a:lnTo>
                  <a:lnTo>
                    <a:pt x="850" y="1528"/>
                  </a:lnTo>
                  <a:lnTo>
                    <a:pt x="852" y="1530"/>
                  </a:lnTo>
                  <a:lnTo>
                    <a:pt x="852" y="1536"/>
                  </a:lnTo>
                  <a:lnTo>
                    <a:pt x="850" y="1538"/>
                  </a:lnTo>
                  <a:lnTo>
                    <a:pt x="850" y="1540"/>
                  </a:lnTo>
                  <a:lnTo>
                    <a:pt x="852" y="1542"/>
                  </a:lnTo>
                  <a:lnTo>
                    <a:pt x="854" y="1548"/>
                  </a:lnTo>
                  <a:lnTo>
                    <a:pt x="854" y="1552"/>
                  </a:lnTo>
                  <a:lnTo>
                    <a:pt x="856" y="1554"/>
                  </a:lnTo>
                  <a:lnTo>
                    <a:pt x="862" y="1556"/>
                  </a:lnTo>
                  <a:lnTo>
                    <a:pt x="866" y="1556"/>
                  </a:lnTo>
                  <a:lnTo>
                    <a:pt x="866" y="1558"/>
                  </a:lnTo>
                  <a:lnTo>
                    <a:pt x="868" y="1558"/>
                  </a:lnTo>
                  <a:lnTo>
                    <a:pt x="876" y="1560"/>
                  </a:lnTo>
                  <a:lnTo>
                    <a:pt x="874" y="1564"/>
                  </a:lnTo>
                  <a:lnTo>
                    <a:pt x="872" y="1566"/>
                  </a:lnTo>
                  <a:lnTo>
                    <a:pt x="872" y="1570"/>
                  </a:lnTo>
                  <a:lnTo>
                    <a:pt x="874" y="1576"/>
                  </a:lnTo>
                  <a:lnTo>
                    <a:pt x="876" y="1584"/>
                  </a:lnTo>
                  <a:lnTo>
                    <a:pt x="876" y="1594"/>
                  </a:lnTo>
                  <a:lnTo>
                    <a:pt x="876" y="1602"/>
                  </a:lnTo>
                  <a:lnTo>
                    <a:pt x="876" y="1608"/>
                  </a:lnTo>
                  <a:lnTo>
                    <a:pt x="878" y="1612"/>
                  </a:lnTo>
                  <a:lnTo>
                    <a:pt x="882" y="1616"/>
                  </a:lnTo>
                  <a:lnTo>
                    <a:pt x="886" y="1616"/>
                  </a:lnTo>
                  <a:lnTo>
                    <a:pt x="890" y="1614"/>
                  </a:lnTo>
                  <a:lnTo>
                    <a:pt x="896" y="1610"/>
                  </a:lnTo>
                  <a:lnTo>
                    <a:pt x="898" y="1612"/>
                  </a:lnTo>
                  <a:lnTo>
                    <a:pt x="900" y="1614"/>
                  </a:lnTo>
                  <a:lnTo>
                    <a:pt x="902" y="1618"/>
                  </a:lnTo>
                  <a:lnTo>
                    <a:pt x="902" y="1622"/>
                  </a:lnTo>
                  <a:lnTo>
                    <a:pt x="900" y="1628"/>
                  </a:lnTo>
                  <a:lnTo>
                    <a:pt x="896" y="1638"/>
                  </a:lnTo>
                  <a:lnTo>
                    <a:pt x="898" y="1644"/>
                  </a:lnTo>
                  <a:lnTo>
                    <a:pt x="900" y="1652"/>
                  </a:lnTo>
                  <a:lnTo>
                    <a:pt x="906" y="1672"/>
                  </a:lnTo>
                  <a:lnTo>
                    <a:pt x="916" y="1694"/>
                  </a:lnTo>
                  <a:lnTo>
                    <a:pt x="928" y="1710"/>
                  </a:lnTo>
                  <a:lnTo>
                    <a:pt x="932" y="1716"/>
                  </a:lnTo>
                  <a:lnTo>
                    <a:pt x="936" y="1716"/>
                  </a:lnTo>
                  <a:lnTo>
                    <a:pt x="942" y="1716"/>
                  </a:lnTo>
                  <a:lnTo>
                    <a:pt x="944" y="1718"/>
                  </a:lnTo>
                  <a:lnTo>
                    <a:pt x="944" y="1720"/>
                  </a:lnTo>
                  <a:lnTo>
                    <a:pt x="942" y="1726"/>
                  </a:lnTo>
                  <a:lnTo>
                    <a:pt x="934" y="1728"/>
                  </a:lnTo>
                  <a:lnTo>
                    <a:pt x="932" y="1730"/>
                  </a:lnTo>
                  <a:lnTo>
                    <a:pt x="934" y="1732"/>
                  </a:lnTo>
                  <a:lnTo>
                    <a:pt x="936" y="1738"/>
                  </a:lnTo>
                  <a:lnTo>
                    <a:pt x="938" y="1742"/>
                  </a:lnTo>
                  <a:lnTo>
                    <a:pt x="932" y="1740"/>
                  </a:lnTo>
                  <a:lnTo>
                    <a:pt x="926" y="1740"/>
                  </a:lnTo>
                  <a:lnTo>
                    <a:pt x="934" y="1752"/>
                  </a:lnTo>
                  <a:lnTo>
                    <a:pt x="940" y="1760"/>
                  </a:lnTo>
                  <a:lnTo>
                    <a:pt x="944" y="1768"/>
                  </a:lnTo>
                  <a:lnTo>
                    <a:pt x="946" y="1778"/>
                  </a:lnTo>
                  <a:lnTo>
                    <a:pt x="946" y="1782"/>
                  </a:lnTo>
                  <a:lnTo>
                    <a:pt x="944" y="1786"/>
                  </a:lnTo>
                  <a:lnTo>
                    <a:pt x="940" y="1792"/>
                  </a:lnTo>
                  <a:lnTo>
                    <a:pt x="942" y="1796"/>
                  </a:lnTo>
                  <a:lnTo>
                    <a:pt x="946" y="1798"/>
                  </a:lnTo>
                  <a:lnTo>
                    <a:pt x="954" y="1798"/>
                  </a:lnTo>
                  <a:lnTo>
                    <a:pt x="972" y="1796"/>
                  </a:lnTo>
                  <a:lnTo>
                    <a:pt x="982" y="1794"/>
                  </a:lnTo>
                  <a:lnTo>
                    <a:pt x="990" y="1794"/>
                  </a:lnTo>
                  <a:lnTo>
                    <a:pt x="996" y="1794"/>
                  </a:lnTo>
                  <a:lnTo>
                    <a:pt x="998" y="1788"/>
                  </a:lnTo>
                  <a:lnTo>
                    <a:pt x="1000" y="1774"/>
                  </a:lnTo>
                  <a:lnTo>
                    <a:pt x="1000" y="1768"/>
                  </a:lnTo>
                  <a:lnTo>
                    <a:pt x="1002" y="1760"/>
                  </a:lnTo>
                  <a:lnTo>
                    <a:pt x="1004" y="1756"/>
                  </a:lnTo>
                  <a:lnTo>
                    <a:pt x="1010" y="1756"/>
                  </a:lnTo>
                  <a:lnTo>
                    <a:pt x="1018" y="1756"/>
                  </a:lnTo>
                  <a:lnTo>
                    <a:pt x="1018" y="1754"/>
                  </a:lnTo>
                  <a:lnTo>
                    <a:pt x="1018" y="1752"/>
                  </a:lnTo>
                  <a:lnTo>
                    <a:pt x="1020" y="1750"/>
                  </a:lnTo>
                  <a:lnTo>
                    <a:pt x="1024" y="1748"/>
                  </a:lnTo>
                  <a:lnTo>
                    <a:pt x="1034" y="1746"/>
                  </a:lnTo>
                  <a:lnTo>
                    <a:pt x="1042" y="1746"/>
                  </a:lnTo>
                  <a:lnTo>
                    <a:pt x="1050" y="1746"/>
                  </a:lnTo>
                  <a:lnTo>
                    <a:pt x="1058" y="1750"/>
                  </a:lnTo>
                  <a:lnTo>
                    <a:pt x="1062" y="1750"/>
                  </a:lnTo>
                  <a:lnTo>
                    <a:pt x="1064" y="1750"/>
                  </a:lnTo>
                  <a:lnTo>
                    <a:pt x="1070" y="1736"/>
                  </a:lnTo>
                  <a:lnTo>
                    <a:pt x="1076" y="1720"/>
                  </a:lnTo>
                  <a:lnTo>
                    <a:pt x="1082" y="1708"/>
                  </a:lnTo>
                  <a:lnTo>
                    <a:pt x="1086" y="1700"/>
                  </a:lnTo>
                  <a:lnTo>
                    <a:pt x="1088" y="1692"/>
                  </a:lnTo>
                  <a:lnTo>
                    <a:pt x="1088" y="1684"/>
                  </a:lnTo>
                  <a:lnTo>
                    <a:pt x="1090" y="1676"/>
                  </a:lnTo>
                  <a:lnTo>
                    <a:pt x="1092" y="1666"/>
                  </a:lnTo>
                  <a:lnTo>
                    <a:pt x="1092" y="1658"/>
                  </a:lnTo>
                  <a:lnTo>
                    <a:pt x="1090" y="1654"/>
                  </a:lnTo>
                  <a:lnTo>
                    <a:pt x="1092" y="1650"/>
                  </a:lnTo>
                  <a:lnTo>
                    <a:pt x="1094" y="1644"/>
                  </a:lnTo>
                  <a:lnTo>
                    <a:pt x="1098" y="1638"/>
                  </a:lnTo>
                  <a:lnTo>
                    <a:pt x="1098" y="1634"/>
                  </a:lnTo>
                  <a:lnTo>
                    <a:pt x="1098" y="1632"/>
                  </a:lnTo>
                  <a:lnTo>
                    <a:pt x="1096" y="1626"/>
                  </a:lnTo>
                  <a:lnTo>
                    <a:pt x="1098" y="1622"/>
                  </a:lnTo>
                  <a:lnTo>
                    <a:pt x="1100" y="1618"/>
                  </a:lnTo>
                  <a:lnTo>
                    <a:pt x="1098" y="1610"/>
                  </a:lnTo>
                  <a:lnTo>
                    <a:pt x="1096" y="1606"/>
                  </a:lnTo>
                  <a:lnTo>
                    <a:pt x="1096" y="1604"/>
                  </a:lnTo>
                  <a:lnTo>
                    <a:pt x="1098" y="1604"/>
                  </a:lnTo>
                  <a:lnTo>
                    <a:pt x="1100" y="1602"/>
                  </a:lnTo>
                  <a:lnTo>
                    <a:pt x="1102" y="1600"/>
                  </a:lnTo>
                  <a:lnTo>
                    <a:pt x="1100" y="1598"/>
                  </a:lnTo>
                  <a:lnTo>
                    <a:pt x="1100" y="1596"/>
                  </a:lnTo>
                  <a:lnTo>
                    <a:pt x="1102" y="1592"/>
                  </a:lnTo>
                  <a:lnTo>
                    <a:pt x="1112" y="1588"/>
                  </a:lnTo>
                  <a:lnTo>
                    <a:pt x="1124" y="1582"/>
                  </a:lnTo>
                  <a:lnTo>
                    <a:pt x="1130" y="1578"/>
                  </a:lnTo>
                  <a:lnTo>
                    <a:pt x="1132" y="1574"/>
                  </a:lnTo>
                  <a:lnTo>
                    <a:pt x="1134" y="1570"/>
                  </a:lnTo>
                  <a:lnTo>
                    <a:pt x="1134" y="1568"/>
                  </a:lnTo>
                  <a:lnTo>
                    <a:pt x="1138" y="1572"/>
                  </a:lnTo>
                  <a:lnTo>
                    <a:pt x="1142" y="1576"/>
                  </a:lnTo>
                  <a:lnTo>
                    <a:pt x="1144" y="1574"/>
                  </a:lnTo>
                  <a:lnTo>
                    <a:pt x="1146" y="1572"/>
                  </a:lnTo>
                  <a:lnTo>
                    <a:pt x="1152" y="1566"/>
                  </a:lnTo>
                  <a:lnTo>
                    <a:pt x="1158" y="1562"/>
                  </a:lnTo>
                  <a:lnTo>
                    <a:pt x="1164" y="1560"/>
                  </a:lnTo>
                  <a:lnTo>
                    <a:pt x="1164" y="1558"/>
                  </a:lnTo>
                  <a:lnTo>
                    <a:pt x="1164" y="1556"/>
                  </a:lnTo>
                  <a:lnTo>
                    <a:pt x="1166" y="1554"/>
                  </a:lnTo>
                  <a:lnTo>
                    <a:pt x="1170" y="1552"/>
                  </a:lnTo>
                  <a:lnTo>
                    <a:pt x="1172" y="1550"/>
                  </a:lnTo>
                  <a:lnTo>
                    <a:pt x="1172" y="1548"/>
                  </a:lnTo>
                  <a:lnTo>
                    <a:pt x="1172" y="1546"/>
                  </a:lnTo>
                  <a:lnTo>
                    <a:pt x="1170" y="1542"/>
                  </a:lnTo>
                  <a:lnTo>
                    <a:pt x="1168" y="1540"/>
                  </a:lnTo>
                  <a:lnTo>
                    <a:pt x="1164" y="1540"/>
                  </a:lnTo>
                  <a:lnTo>
                    <a:pt x="1152" y="1546"/>
                  </a:lnTo>
                  <a:lnTo>
                    <a:pt x="1144" y="1550"/>
                  </a:lnTo>
                  <a:lnTo>
                    <a:pt x="1136" y="1550"/>
                  </a:lnTo>
                  <a:lnTo>
                    <a:pt x="1128" y="1550"/>
                  </a:lnTo>
                  <a:lnTo>
                    <a:pt x="1122" y="1546"/>
                  </a:lnTo>
                  <a:lnTo>
                    <a:pt x="1112" y="1540"/>
                  </a:lnTo>
                  <a:lnTo>
                    <a:pt x="1104" y="1538"/>
                  </a:lnTo>
                  <a:lnTo>
                    <a:pt x="1094" y="1538"/>
                  </a:lnTo>
                  <a:lnTo>
                    <a:pt x="1086" y="1538"/>
                  </a:lnTo>
                  <a:lnTo>
                    <a:pt x="1076" y="1538"/>
                  </a:lnTo>
                  <a:lnTo>
                    <a:pt x="1084" y="1534"/>
                  </a:lnTo>
                  <a:lnTo>
                    <a:pt x="1092" y="1530"/>
                  </a:lnTo>
                  <a:lnTo>
                    <a:pt x="1098" y="1530"/>
                  </a:lnTo>
                  <a:lnTo>
                    <a:pt x="1110" y="1530"/>
                  </a:lnTo>
                  <a:lnTo>
                    <a:pt x="1118" y="1534"/>
                  </a:lnTo>
                  <a:lnTo>
                    <a:pt x="1122" y="1534"/>
                  </a:lnTo>
                  <a:lnTo>
                    <a:pt x="1124" y="1532"/>
                  </a:lnTo>
                  <a:lnTo>
                    <a:pt x="1126" y="1532"/>
                  </a:lnTo>
                  <a:lnTo>
                    <a:pt x="1128" y="1532"/>
                  </a:lnTo>
                  <a:lnTo>
                    <a:pt x="1134" y="1538"/>
                  </a:lnTo>
                  <a:lnTo>
                    <a:pt x="1142" y="1544"/>
                  </a:lnTo>
                  <a:lnTo>
                    <a:pt x="1146" y="1544"/>
                  </a:lnTo>
                  <a:lnTo>
                    <a:pt x="1150" y="1542"/>
                  </a:lnTo>
                  <a:lnTo>
                    <a:pt x="1178" y="1528"/>
                  </a:lnTo>
                  <a:lnTo>
                    <a:pt x="1190" y="1518"/>
                  </a:lnTo>
                  <a:lnTo>
                    <a:pt x="1192" y="1516"/>
                  </a:lnTo>
                  <a:lnTo>
                    <a:pt x="1192" y="1512"/>
                  </a:lnTo>
                  <a:lnTo>
                    <a:pt x="1184" y="1500"/>
                  </a:lnTo>
                  <a:lnTo>
                    <a:pt x="1178" y="1496"/>
                  </a:lnTo>
                  <a:lnTo>
                    <a:pt x="1172" y="1496"/>
                  </a:lnTo>
                  <a:lnTo>
                    <a:pt x="1168" y="1496"/>
                  </a:lnTo>
                  <a:lnTo>
                    <a:pt x="1168" y="1494"/>
                  </a:lnTo>
                  <a:lnTo>
                    <a:pt x="1168" y="1490"/>
                  </a:lnTo>
                  <a:lnTo>
                    <a:pt x="1170" y="1484"/>
                  </a:lnTo>
                  <a:lnTo>
                    <a:pt x="1168" y="1482"/>
                  </a:lnTo>
                  <a:lnTo>
                    <a:pt x="1164" y="1480"/>
                  </a:lnTo>
                  <a:lnTo>
                    <a:pt x="1158" y="1476"/>
                  </a:lnTo>
                  <a:lnTo>
                    <a:pt x="1154" y="1472"/>
                  </a:lnTo>
                  <a:lnTo>
                    <a:pt x="1148" y="1468"/>
                  </a:lnTo>
                  <a:lnTo>
                    <a:pt x="1144" y="1466"/>
                  </a:lnTo>
                  <a:lnTo>
                    <a:pt x="1138" y="1468"/>
                  </a:lnTo>
                  <a:lnTo>
                    <a:pt x="1132" y="1468"/>
                  </a:lnTo>
                  <a:lnTo>
                    <a:pt x="1132" y="1466"/>
                  </a:lnTo>
                  <a:lnTo>
                    <a:pt x="1132" y="1462"/>
                  </a:lnTo>
                  <a:lnTo>
                    <a:pt x="1130" y="1462"/>
                  </a:lnTo>
                  <a:lnTo>
                    <a:pt x="1126" y="1460"/>
                  </a:lnTo>
                  <a:lnTo>
                    <a:pt x="1124" y="1460"/>
                  </a:lnTo>
                  <a:lnTo>
                    <a:pt x="1122" y="1458"/>
                  </a:lnTo>
                  <a:lnTo>
                    <a:pt x="1118" y="1450"/>
                  </a:lnTo>
                  <a:lnTo>
                    <a:pt x="1116" y="1440"/>
                  </a:lnTo>
                  <a:lnTo>
                    <a:pt x="1116" y="1428"/>
                  </a:lnTo>
                  <a:lnTo>
                    <a:pt x="1116" y="1416"/>
                  </a:lnTo>
                  <a:lnTo>
                    <a:pt x="1116" y="1406"/>
                  </a:lnTo>
                  <a:lnTo>
                    <a:pt x="1120" y="1398"/>
                  </a:lnTo>
                  <a:lnTo>
                    <a:pt x="1120" y="1396"/>
                  </a:lnTo>
                  <a:lnTo>
                    <a:pt x="1124" y="1396"/>
                  </a:lnTo>
                  <a:lnTo>
                    <a:pt x="1126" y="1394"/>
                  </a:lnTo>
                  <a:lnTo>
                    <a:pt x="1128" y="1392"/>
                  </a:lnTo>
                  <a:lnTo>
                    <a:pt x="1126" y="1386"/>
                  </a:lnTo>
                  <a:lnTo>
                    <a:pt x="1126" y="1374"/>
                  </a:lnTo>
                  <a:lnTo>
                    <a:pt x="1126" y="1368"/>
                  </a:lnTo>
                  <a:lnTo>
                    <a:pt x="1128" y="1360"/>
                  </a:lnTo>
                  <a:lnTo>
                    <a:pt x="1132" y="1356"/>
                  </a:lnTo>
                  <a:lnTo>
                    <a:pt x="1132" y="1352"/>
                  </a:lnTo>
                  <a:lnTo>
                    <a:pt x="1130" y="1352"/>
                  </a:lnTo>
                  <a:lnTo>
                    <a:pt x="1128" y="1350"/>
                  </a:lnTo>
                  <a:lnTo>
                    <a:pt x="1124" y="1350"/>
                  </a:lnTo>
                  <a:lnTo>
                    <a:pt x="1122" y="1348"/>
                  </a:lnTo>
                  <a:lnTo>
                    <a:pt x="1122" y="1342"/>
                  </a:lnTo>
                  <a:lnTo>
                    <a:pt x="1122" y="1336"/>
                  </a:lnTo>
                  <a:lnTo>
                    <a:pt x="1124" y="1338"/>
                  </a:lnTo>
                  <a:lnTo>
                    <a:pt x="1130" y="1340"/>
                  </a:lnTo>
                  <a:lnTo>
                    <a:pt x="1136" y="1340"/>
                  </a:lnTo>
                  <a:lnTo>
                    <a:pt x="1142" y="1338"/>
                  </a:lnTo>
                  <a:lnTo>
                    <a:pt x="1148" y="1334"/>
                  </a:lnTo>
                  <a:lnTo>
                    <a:pt x="1148" y="1332"/>
                  </a:lnTo>
                  <a:lnTo>
                    <a:pt x="1148" y="1330"/>
                  </a:lnTo>
                  <a:lnTo>
                    <a:pt x="1146" y="1326"/>
                  </a:lnTo>
                  <a:lnTo>
                    <a:pt x="1144" y="1324"/>
                  </a:lnTo>
                  <a:lnTo>
                    <a:pt x="1142" y="1322"/>
                  </a:lnTo>
                  <a:lnTo>
                    <a:pt x="1144" y="1322"/>
                  </a:lnTo>
                  <a:lnTo>
                    <a:pt x="1152" y="1320"/>
                  </a:lnTo>
                  <a:lnTo>
                    <a:pt x="1160" y="1318"/>
                  </a:lnTo>
                  <a:lnTo>
                    <a:pt x="1166" y="1312"/>
                  </a:lnTo>
                  <a:lnTo>
                    <a:pt x="1170" y="1308"/>
                  </a:lnTo>
                  <a:lnTo>
                    <a:pt x="1172" y="1302"/>
                  </a:lnTo>
                  <a:lnTo>
                    <a:pt x="1178" y="1294"/>
                  </a:lnTo>
                  <a:lnTo>
                    <a:pt x="1180" y="1292"/>
                  </a:lnTo>
                  <a:lnTo>
                    <a:pt x="1186" y="1292"/>
                  </a:lnTo>
                  <a:lnTo>
                    <a:pt x="1190" y="1294"/>
                  </a:lnTo>
                  <a:lnTo>
                    <a:pt x="1194" y="1292"/>
                  </a:lnTo>
                  <a:lnTo>
                    <a:pt x="1196" y="1286"/>
                  </a:lnTo>
                  <a:lnTo>
                    <a:pt x="1200" y="1278"/>
                  </a:lnTo>
                  <a:lnTo>
                    <a:pt x="1204" y="1274"/>
                  </a:lnTo>
                  <a:lnTo>
                    <a:pt x="1208" y="1274"/>
                  </a:lnTo>
                  <a:lnTo>
                    <a:pt x="1214" y="1274"/>
                  </a:lnTo>
                  <a:lnTo>
                    <a:pt x="1218" y="1274"/>
                  </a:lnTo>
                  <a:lnTo>
                    <a:pt x="1222" y="1268"/>
                  </a:lnTo>
                  <a:lnTo>
                    <a:pt x="1226" y="1264"/>
                  </a:lnTo>
                  <a:lnTo>
                    <a:pt x="1228" y="1264"/>
                  </a:lnTo>
                  <a:lnTo>
                    <a:pt x="1232" y="1264"/>
                  </a:lnTo>
                  <a:lnTo>
                    <a:pt x="1236" y="1264"/>
                  </a:lnTo>
                  <a:lnTo>
                    <a:pt x="1238" y="1264"/>
                  </a:lnTo>
                  <a:lnTo>
                    <a:pt x="1240" y="1260"/>
                  </a:lnTo>
                  <a:lnTo>
                    <a:pt x="1244" y="1254"/>
                  </a:lnTo>
                  <a:lnTo>
                    <a:pt x="1246" y="1254"/>
                  </a:lnTo>
                  <a:lnTo>
                    <a:pt x="1250" y="1254"/>
                  </a:lnTo>
                  <a:lnTo>
                    <a:pt x="1254" y="1252"/>
                  </a:lnTo>
                  <a:lnTo>
                    <a:pt x="1258" y="1250"/>
                  </a:lnTo>
                  <a:lnTo>
                    <a:pt x="1262" y="1240"/>
                  </a:lnTo>
                  <a:lnTo>
                    <a:pt x="1268" y="1226"/>
                  </a:lnTo>
                  <a:lnTo>
                    <a:pt x="1274" y="1220"/>
                  </a:lnTo>
                  <a:lnTo>
                    <a:pt x="1284" y="1214"/>
                  </a:lnTo>
                  <a:lnTo>
                    <a:pt x="1290" y="1208"/>
                  </a:lnTo>
                  <a:lnTo>
                    <a:pt x="1292" y="1206"/>
                  </a:lnTo>
                  <a:lnTo>
                    <a:pt x="1292" y="1204"/>
                  </a:lnTo>
                  <a:lnTo>
                    <a:pt x="1290" y="1202"/>
                  </a:lnTo>
                  <a:lnTo>
                    <a:pt x="1284" y="1198"/>
                  </a:lnTo>
                  <a:lnTo>
                    <a:pt x="1280" y="1194"/>
                  </a:lnTo>
                  <a:lnTo>
                    <a:pt x="1276" y="1190"/>
                  </a:lnTo>
                  <a:lnTo>
                    <a:pt x="1276" y="1184"/>
                  </a:lnTo>
                  <a:lnTo>
                    <a:pt x="1276" y="1180"/>
                  </a:lnTo>
                  <a:lnTo>
                    <a:pt x="1282" y="1174"/>
                  </a:lnTo>
                  <a:lnTo>
                    <a:pt x="1288" y="1168"/>
                  </a:lnTo>
                  <a:lnTo>
                    <a:pt x="1290" y="1164"/>
                  </a:lnTo>
                  <a:lnTo>
                    <a:pt x="1292" y="1156"/>
                  </a:lnTo>
                  <a:lnTo>
                    <a:pt x="1292" y="1150"/>
                  </a:lnTo>
                  <a:lnTo>
                    <a:pt x="1294" y="1146"/>
                  </a:lnTo>
                  <a:lnTo>
                    <a:pt x="1298" y="1144"/>
                  </a:lnTo>
                  <a:lnTo>
                    <a:pt x="1300" y="1144"/>
                  </a:lnTo>
                  <a:lnTo>
                    <a:pt x="1306" y="1142"/>
                  </a:lnTo>
                  <a:lnTo>
                    <a:pt x="1310" y="1140"/>
                  </a:lnTo>
                  <a:lnTo>
                    <a:pt x="1310" y="1138"/>
                  </a:lnTo>
                  <a:lnTo>
                    <a:pt x="1314" y="1132"/>
                  </a:lnTo>
                  <a:lnTo>
                    <a:pt x="1320" y="1126"/>
                  </a:lnTo>
                  <a:lnTo>
                    <a:pt x="1338" y="1114"/>
                  </a:lnTo>
                  <a:lnTo>
                    <a:pt x="1340" y="1112"/>
                  </a:lnTo>
                  <a:lnTo>
                    <a:pt x="1344" y="1112"/>
                  </a:lnTo>
                  <a:lnTo>
                    <a:pt x="1346" y="1116"/>
                  </a:lnTo>
                  <a:lnTo>
                    <a:pt x="1348" y="1118"/>
                  </a:lnTo>
                  <a:lnTo>
                    <a:pt x="1350" y="1120"/>
                  </a:lnTo>
                  <a:lnTo>
                    <a:pt x="1354" y="1120"/>
                  </a:lnTo>
                  <a:lnTo>
                    <a:pt x="1358" y="1118"/>
                  </a:lnTo>
                  <a:lnTo>
                    <a:pt x="1364" y="1116"/>
                  </a:lnTo>
                  <a:lnTo>
                    <a:pt x="1368" y="1116"/>
                  </a:lnTo>
                  <a:lnTo>
                    <a:pt x="1378" y="1116"/>
                  </a:lnTo>
                  <a:lnTo>
                    <a:pt x="1386" y="1116"/>
                  </a:lnTo>
                  <a:lnTo>
                    <a:pt x="1392" y="1116"/>
                  </a:lnTo>
                  <a:lnTo>
                    <a:pt x="1396" y="1114"/>
                  </a:lnTo>
                  <a:lnTo>
                    <a:pt x="1408" y="1116"/>
                  </a:lnTo>
                  <a:lnTo>
                    <a:pt x="1414" y="1120"/>
                  </a:lnTo>
                  <a:lnTo>
                    <a:pt x="1418" y="1124"/>
                  </a:lnTo>
                  <a:lnTo>
                    <a:pt x="1428" y="1126"/>
                  </a:lnTo>
                  <a:lnTo>
                    <a:pt x="1438" y="1130"/>
                  </a:lnTo>
                  <a:lnTo>
                    <a:pt x="1440" y="1134"/>
                  </a:lnTo>
                  <a:lnTo>
                    <a:pt x="1442" y="1136"/>
                  </a:lnTo>
                  <a:lnTo>
                    <a:pt x="1442" y="1144"/>
                  </a:lnTo>
                  <a:lnTo>
                    <a:pt x="1440" y="1154"/>
                  </a:lnTo>
                  <a:lnTo>
                    <a:pt x="1440" y="1162"/>
                  </a:lnTo>
                  <a:lnTo>
                    <a:pt x="1442" y="1166"/>
                  </a:lnTo>
                  <a:lnTo>
                    <a:pt x="1446" y="1168"/>
                  </a:lnTo>
                  <a:lnTo>
                    <a:pt x="1444" y="1174"/>
                  </a:lnTo>
                  <a:lnTo>
                    <a:pt x="1442" y="1176"/>
                  </a:lnTo>
                  <a:lnTo>
                    <a:pt x="1440" y="1176"/>
                  </a:lnTo>
                  <a:lnTo>
                    <a:pt x="1434" y="1176"/>
                  </a:lnTo>
                  <a:lnTo>
                    <a:pt x="1422" y="1178"/>
                  </a:lnTo>
                  <a:lnTo>
                    <a:pt x="1416" y="1180"/>
                  </a:lnTo>
                  <a:lnTo>
                    <a:pt x="1412" y="1184"/>
                  </a:lnTo>
                  <a:lnTo>
                    <a:pt x="1406" y="1196"/>
                  </a:lnTo>
                  <a:lnTo>
                    <a:pt x="1398" y="1208"/>
                  </a:lnTo>
                  <a:lnTo>
                    <a:pt x="1390" y="1216"/>
                  </a:lnTo>
                  <a:lnTo>
                    <a:pt x="1382" y="1222"/>
                  </a:lnTo>
                  <a:lnTo>
                    <a:pt x="1372" y="1228"/>
                  </a:lnTo>
                  <a:lnTo>
                    <a:pt x="1368" y="1232"/>
                  </a:lnTo>
                  <a:lnTo>
                    <a:pt x="1366" y="1236"/>
                  </a:lnTo>
                  <a:lnTo>
                    <a:pt x="1366" y="1238"/>
                  </a:lnTo>
                  <a:lnTo>
                    <a:pt x="1366" y="1242"/>
                  </a:lnTo>
                  <a:lnTo>
                    <a:pt x="1358" y="1244"/>
                  </a:lnTo>
                  <a:lnTo>
                    <a:pt x="1354" y="1246"/>
                  </a:lnTo>
                  <a:lnTo>
                    <a:pt x="1350" y="1248"/>
                  </a:lnTo>
                  <a:lnTo>
                    <a:pt x="1346" y="1254"/>
                  </a:lnTo>
                  <a:lnTo>
                    <a:pt x="1344" y="1258"/>
                  </a:lnTo>
                  <a:lnTo>
                    <a:pt x="1342" y="1260"/>
                  </a:lnTo>
                  <a:lnTo>
                    <a:pt x="1338" y="1260"/>
                  </a:lnTo>
                  <a:lnTo>
                    <a:pt x="1334" y="1260"/>
                  </a:lnTo>
                  <a:lnTo>
                    <a:pt x="1332" y="1260"/>
                  </a:lnTo>
                  <a:lnTo>
                    <a:pt x="1328" y="1264"/>
                  </a:lnTo>
                  <a:lnTo>
                    <a:pt x="1326" y="1268"/>
                  </a:lnTo>
                  <a:lnTo>
                    <a:pt x="1324" y="1270"/>
                  </a:lnTo>
                  <a:lnTo>
                    <a:pt x="1322" y="1270"/>
                  </a:lnTo>
                  <a:lnTo>
                    <a:pt x="1320" y="1272"/>
                  </a:lnTo>
                  <a:lnTo>
                    <a:pt x="1318" y="1272"/>
                  </a:lnTo>
                  <a:lnTo>
                    <a:pt x="1318" y="1278"/>
                  </a:lnTo>
                  <a:lnTo>
                    <a:pt x="1318" y="1286"/>
                  </a:lnTo>
                  <a:lnTo>
                    <a:pt x="1318" y="1288"/>
                  </a:lnTo>
                  <a:lnTo>
                    <a:pt x="1314" y="1292"/>
                  </a:lnTo>
                  <a:lnTo>
                    <a:pt x="1310" y="1294"/>
                  </a:lnTo>
                  <a:lnTo>
                    <a:pt x="1308" y="1294"/>
                  </a:lnTo>
                  <a:lnTo>
                    <a:pt x="1300" y="1292"/>
                  </a:lnTo>
                  <a:lnTo>
                    <a:pt x="1294" y="1290"/>
                  </a:lnTo>
                  <a:lnTo>
                    <a:pt x="1292" y="1292"/>
                  </a:lnTo>
                  <a:lnTo>
                    <a:pt x="1290" y="1296"/>
                  </a:lnTo>
                  <a:lnTo>
                    <a:pt x="1290" y="1300"/>
                  </a:lnTo>
                  <a:lnTo>
                    <a:pt x="1286" y="1304"/>
                  </a:lnTo>
                  <a:lnTo>
                    <a:pt x="1278" y="1314"/>
                  </a:lnTo>
                  <a:lnTo>
                    <a:pt x="1276" y="1322"/>
                  </a:lnTo>
                  <a:lnTo>
                    <a:pt x="1274" y="1328"/>
                  </a:lnTo>
                  <a:lnTo>
                    <a:pt x="1274" y="1338"/>
                  </a:lnTo>
                  <a:lnTo>
                    <a:pt x="1278" y="1346"/>
                  </a:lnTo>
                  <a:lnTo>
                    <a:pt x="1282" y="1354"/>
                  </a:lnTo>
                  <a:lnTo>
                    <a:pt x="1282" y="1360"/>
                  </a:lnTo>
                  <a:lnTo>
                    <a:pt x="1282" y="1364"/>
                  </a:lnTo>
                  <a:lnTo>
                    <a:pt x="1280" y="1366"/>
                  </a:lnTo>
                  <a:lnTo>
                    <a:pt x="1278" y="1368"/>
                  </a:lnTo>
                  <a:lnTo>
                    <a:pt x="1278" y="1372"/>
                  </a:lnTo>
                  <a:lnTo>
                    <a:pt x="1280" y="1378"/>
                  </a:lnTo>
                  <a:lnTo>
                    <a:pt x="1288" y="1388"/>
                  </a:lnTo>
                  <a:lnTo>
                    <a:pt x="1292" y="1394"/>
                  </a:lnTo>
                  <a:lnTo>
                    <a:pt x="1294" y="1396"/>
                  </a:lnTo>
                  <a:lnTo>
                    <a:pt x="1294" y="1398"/>
                  </a:lnTo>
                  <a:lnTo>
                    <a:pt x="1292" y="1400"/>
                  </a:lnTo>
                  <a:lnTo>
                    <a:pt x="1288" y="1402"/>
                  </a:lnTo>
                  <a:lnTo>
                    <a:pt x="1286" y="1404"/>
                  </a:lnTo>
                  <a:lnTo>
                    <a:pt x="1286" y="1406"/>
                  </a:lnTo>
                  <a:lnTo>
                    <a:pt x="1288" y="1416"/>
                  </a:lnTo>
                  <a:lnTo>
                    <a:pt x="1288" y="1424"/>
                  </a:lnTo>
                  <a:lnTo>
                    <a:pt x="1282" y="1444"/>
                  </a:lnTo>
                  <a:lnTo>
                    <a:pt x="1280" y="1456"/>
                  </a:lnTo>
                  <a:lnTo>
                    <a:pt x="1280" y="1462"/>
                  </a:lnTo>
                  <a:lnTo>
                    <a:pt x="1282" y="1464"/>
                  </a:lnTo>
                  <a:lnTo>
                    <a:pt x="1286" y="1466"/>
                  </a:lnTo>
                  <a:lnTo>
                    <a:pt x="1298" y="1470"/>
                  </a:lnTo>
                  <a:lnTo>
                    <a:pt x="1322" y="1476"/>
                  </a:lnTo>
                  <a:lnTo>
                    <a:pt x="1328" y="1478"/>
                  </a:lnTo>
                  <a:lnTo>
                    <a:pt x="1330" y="1480"/>
                  </a:lnTo>
                  <a:lnTo>
                    <a:pt x="1328" y="1484"/>
                  </a:lnTo>
                  <a:lnTo>
                    <a:pt x="1328" y="1492"/>
                  </a:lnTo>
                  <a:lnTo>
                    <a:pt x="1328" y="1500"/>
                  </a:lnTo>
                  <a:lnTo>
                    <a:pt x="1330" y="1504"/>
                  </a:lnTo>
                  <a:lnTo>
                    <a:pt x="1334" y="1504"/>
                  </a:lnTo>
                  <a:lnTo>
                    <a:pt x="1336" y="1504"/>
                  </a:lnTo>
                  <a:lnTo>
                    <a:pt x="1340" y="1500"/>
                  </a:lnTo>
                  <a:lnTo>
                    <a:pt x="1346" y="1494"/>
                  </a:lnTo>
                  <a:lnTo>
                    <a:pt x="1352" y="1494"/>
                  </a:lnTo>
                  <a:lnTo>
                    <a:pt x="1354" y="1496"/>
                  </a:lnTo>
                  <a:lnTo>
                    <a:pt x="1354" y="1498"/>
                  </a:lnTo>
                  <a:lnTo>
                    <a:pt x="1354" y="1500"/>
                  </a:lnTo>
                  <a:lnTo>
                    <a:pt x="1352" y="1506"/>
                  </a:lnTo>
                  <a:lnTo>
                    <a:pt x="1346" y="1512"/>
                  </a:lnTo>
                  <a:lnTo>
                    <a:pt x="1346" y="1516"/>
                  </a:lnTo>
                  <a:lnTo>
                    <a:pt x="1352" y="1514"/>
                  </a:lnTo>
                  <a:lnTo>
                    <a:pt x="1366" y="1508"/>
                  </a:lnTo>
                  <a:lnTo>
                    <a:pt x="1376" y="1504"/>
                  </a:lnTo>
                  <a:lnTo>
                    <a:pt x="1390" y="1504"/>
                  </a:lnTo>
                  <a:lnTo>
                    <a:pt x="1408" y="1500"/>
                  </a:lnTo>
                  <a:lnTo>
                    <a:pt x="1436" y="1488"/>
                  </a:lnTo>
                  <a:lnTo>
                    <a:pt x="1448" y="1484"/>
                  </a:lnTo>
                  <a:lnTo>
                    <a:pt x="1454" y="1484"/>
                  </a:lnTo>
                  <a:lnTo>
                    <a:pt x="1458" y="1484"/>
                  </a:lnTo>
                  <a:lnTo>
                    <a:pt x="1462" y="1484"/>
                  </a:lnTo>
                  <a:lnTo>
                    <a:pt x="1466" y="1486"/>
                  </a:lnTo>
                  <a:lnTo>
                    <a:pt x="1470" y="1482"/>
                  </a:lnTo>
                  <a:lnTo>
                    <a:pt x="1476" y="1476"/>
                  </a:lnTo>
                  <a:lnTo>
                    <a:pt x="1478" y="1476"/>
                  </a:lnTo>
                  <a:lnTo>
                    <a:pt x="1484" y="1478"/>
                  </a:lnTo>
                  <a:lnTo>
                    <a:pt x="1490" y="1476"/>
                  </a:lnTo>
                  <a:lnTo>
                    <a:pt x="1498" y="1474"/>
                  </a:lnTo>
                  <a:lnTo>
                    <a:pt x="1506" y="1472"/>
                  </a:lnTo>
                  <a:lnTo>
                    <a:pt x="1512" y="1470"/>
                  </a:lnTo>
                  <a:lnTo>
                    <a:pt x="1522" y="1470"/>
                  </a:lnTo>
                  <a:lnTo>
                    <a:pt x="1532" y="1470"/>
                  </a:lnTo>
                  <a:lnTo>
                    <a:pt x="1538" y="1470"/>
                  </a:lnTo>
                  <a:lnTo>
                    <a:pt x="1546" y="1466"/>
                  </a:lnTo>
                  <a:lnTo>
                    <a:pt x="1550" y="1468"/>
                  </a:lnTo>
                  <a:lnTo>
                    <a:pt x="1556" y="1468"/>
                  </a:lnTo>
                  <a:lnTo>
                    <a:pt x="1566" y="1462"/>
                  </a:lnTo>
                  <a:lnTo>
                    <a:pt x="1574" y="1456"/>
                  </a:lnTo>
                  <a:lnTo>
                    <a:pt x="1578" y="1454"/>
                  </a:lnTo>
                  <a:lnTo>
                    <a:pt x="1580" y="1456"/>
                  </a:lnTo>
                  <a:lnTo>
                    <a:pt x="1582" y="1458"/>
                  </a:lnTo>
                  <a:lnTo>
                    <a:pt x="1578" y="1458"/>
                  </a:lnTo>
                  <a:lnTo>
                    <a:pt x="1576" y="1462"/>
                  </a:lnTo>
                  <a:lnTo>
                    <a:pt x="1578" y="1466"/>
                  </a:lnTo>
                  <a:lnTo>
                    <a:pt x="1580" y="1470"/>
                  </a:lnTo>
                  <a:lnTo>
                    <a:pt x="1578" y="1472"/>
                  </a:lnTo>
                  <a:lnTo>
                    <a:pt x="1572" y="1470"/>
                  </a:lnTo>
                  <a:lnTo>
                    <a:pt x="1568" y="1468"/>
                  </a:lnTo>
                  <a:lnTo>
                    <a:pt x="1572" y="1474"/>
                  </a:lnTo>
                  <a:lnTo>
                    <a:pt x="1578" y="1480"/>
                  </a:lnTo>
                  <a:lnTo>
                    <a:pt x="1582" y="1480"/>
                  </a:lnTo>
                  <a:lnTo>
                    <a:pt x="1584" y="1482"/>
                  </a:lnTo>
                  <a:lnTo>
                    <a:pt x="1588" y="1486"/>
                  </a:lnTo>
                  <a:lnTo>
                    <a:pt x="1592" y="1490"/>
                  </a:lnTo>
                  <a:lnTo>
                    <a:pt x="1596" y="1490"/>
                  </a:lnTo>
                  <a:lnTo>
                    <a:pt x="1608" y="1490"/>
                  </a:lnTo>
                  <a:lnTo>
                    <a:pt x="1618" y="1490"/>
                  </a:lnTo>
                  <a:lnTo>
                    <a:pt x="1622" y="1492"/>
                  </a:lnTo>
                  <a:lnTo>
                    <a:pt x="1626" y="1494"/>
                  </a:lnTo>
                  <a:lnTo>
                    <a:pt x="1628" y="1498"/>
                  </a:lnTo>
                  <a:lnTo>
                    <a:pt x="1632" y="1500"/>
                  </a:lnTo>
                  <a:lnTo>
                    <a:pt x="1638" y="1502"/>
                  </a:lnTo>
                  <a:lnTo>
                    <a:pt x="1642" y="1504"/>
                  </a:lnTo>
                  <a:lnTo>
                    <a:pt x="1642" y="1508"/>
                  </a:lnTo>
                  <a:lnTo>
                    <a:pt x="1638" y="1510"/>
                  </a:lnTo>
                  <a:lnTo>
                    <a:pt x="1634" y="1510"/>
                  </a:lnTo>
                  <a:lnTo>
                    <a:pt x="1610" y="1504"/>
                  </a:lnTo>
                  <a:lnTo>
                    <a:pt x="1602" y="1502"/>
                  </a:lnTo>
                  <a:lnTo>
                    <a:pt x="1596" y="1504"/>
                  </a:lnTo>
                  <a:lnTo>
                    <a:pt x="1594" y="1506"/>
                  </a:lnTo>
                  <a:lnTo>
                    <a:pt x="1592" y="1510"/>
                  </a:lnTo>
                  <a:lnTo>
                    <a:pt x="1590" y="1512"/>
                  </a:lnTo>
                  <a:lnTo>
                    <a:pt x="1588" y="1516"/>
                  </a:lnTo>
                  <a:lnTo>
                    <a:pt x="1584" y="1516"/>
                  </a:lnTo>
                  <a:lnTo>
                    <a:pt x="1578" y="1514"/>
                  </a:lnTo>
                  <a:lnTo>
                    <a:pt x="1574" y="1512"/>
                  </a:lnTo>
                  <a:lnTo>
                    <a:pt x="1570" y="1514"/>
                  </a:lnTo>
                  <a:lnTo>
                    <a:pt x="1568" y="1516"/>
                  </a:lnTo>
                  <a:lnTo>
                    <a:pt x="1568" y="1518"/>
                  </a:lnTo>
                  <a:lnTo>
                    <a:pt x="1568" y="1522"/>
                  </a:lnTo>
                  <a:lnTo>
                    <a:pt x="1568" y="1524"/>
                  </a:lnTo>
                  <a:lnTo>
                    <a:pt x="1564" y="1524"/>
                  </a:lnTo>
                  <a:lnTo>
                    <a:pt x="1560" y="1520"/>
                  </a:lnTo>
                  <a:lnTo>
                    <a:pt x="1556" y="1518"/>
                  </a:lnTo>
                  <a:lnTo>
                    <a:pt x="1552" y="1516"/>
                  </a:lnTo>
                  <a:lnTo>
                    <a:pt x="1552" y="1518"/>
                  </a:lnTo>
                  <a:lnTo>
                    <a:pt x="1552" y="1520"/>
                  </a:lnTo>
                  <a:lnTo>
                    <a:pt x="1554" y="1530"/>
                  </a:lnTo>
                  <a:lnTo>
                    <a:pt x="1554" y="1534"/>
                  </a:lnTo>
                  <a:lnTo>
                    <a:pt x="1552" y="1536"/>
                  </a:lnTo>
                  <a:lnTo>
                    <a:pt x="1540" y="1540"/>
                  </a:lnTo>
                  <a:lnTo>
                    <a:pt x="1530" y="1542"/>
                  </a:lnTo>
                  <a:lnTo>
                    <a:pt x="1518" y="1540"/>
                  </a:lnTo>
                  <a:lnTo>
                    <a:pt x="1508" y="1536"/>
                  </a:lnTo>
                  <a:lnTo>
                    <a:pt x="1498" y="1532"/>
                  </a:lnTo>
                  <a:lnTo>
                    <a:pt x="1488" y="1530"/>
                  </a:lnTo>
                  <a:lnTo>
                    <a:pt x="1476" y="1528"/>
                  </a:lnTo>
                  <a:lnTo>
                    <a:pt x="1460" y="1526"/>
                  </a:lnTo>
                  <a:lnTo>
                    <a:pt x="1454" y="1524"/>
                  </a:lnTo>
                  <a:lnTo>
                    <a:pt x="1450" y="1524"/>
                  </a:lnTo>
                  <a:lnTo>
                    <a:pt x="1448" y="1526"/>
                  </a:lnTo>
                  <a:lnTo>
                    <a:pt x="1448" y="1528"/>
                  </a:lnTo>
                  <a:lnTo>
                    <a:pt x="1446" y="1532"/>
                  </a:lnTo>
                  <a:lnTo>
                    <a:pt x="1442" y="1534"/>
                  </a:lnTo>
                  <a:lnTo>
                    <a:pt x="1436" y="1534"/>
                  </a:lnTo>
                  <a:lnTo>
                    <a:pt x="1422" y="1534"/>
                  </a:lnTo>
                  <a:lnTo>
                    <a:pt x="1408" y="1534"/>
                  </a:lnTo>
                  <a:lnTo>
                    <a:pt x="1398" y="1538"/>
                  </a:lnTo>
                  <a:lnTo>
                    <a:pt x="1394" y="1542"/>
                  </a:lnTo>
                  <a:lnTo>
                    <a:pt x="1392" y="1544"/>
                  </a:lnTo>
                  <a:lnTo>
                    <a:pt x="1390" y="1548"/>
                  </a:lnTo>
                  <a:lnTo>
                    <a:pt x="1388" y="1550"/>
                  </a:lnTo>
                  <a:lnTo>
                    <a:pt x="1380" y="1552"/>
                  </a:lnTo>
                  <a:lnTo>
                    <a:pt x="1374" y="1554"/>
                  </a:lnTo>
                  <a:lnTo>
                    <a:pt x="1372" y="1558"/>
                  </a:lnTo>
                  <a:lnTo>
                    <a:pt x="1370" y="1562"/>
                  </a:lnTo>
                  <a:lnTo>
                    <a:pt x="1368" y="1572"/>
                  </a:lnTo>
                  <a:lnTo>
                    <a:pt x="1368" y="1580"/>
                  </a:lnTo>
                  <a:lnTo>
                    <a:pt x="1370" y="1588"/>
                  </a:lnTo>
                  <a:lnTo>
                    <a:pt x="1372" y="1594"/>
                  </a:lnTo>
                  <a:lnTo>
                    <a:pt x="1378" y="1604"/>
                  </a:lnTo>
                  <a:lnTo>
                    <a:pt x="1382" y="1610"/>
                  </a:lnTo>
                  <a:lnTo>
                    <a:pt x="1386" y="1614"/>
                  </a:lnTo>
                  <a:lnTo>
                    <a:pt x="1390" y="1614"/>
                  </a:lnTo>
                  <a:lnTo>
                    <a:pt x="1396" y="1614"/>
                  </a:lnTo>
                  <a:lnTo>
                    <a:pt x="1402" y="1610"/>
                  </a:lnTo>
                  <a:lnTo>
                    <a:pt x="1410" y="1606"/>
                  </a:lnTo>
                  <a:lnTo>
                    <a:pt x="1410" y="1608"/>
                  </a:lnTo>
                  <a:lnTo>
                    <a:pt x="1410" y="1610"/>
                  </a:lnTo>
                  <a:lnTo>
                    <a:pt x="1402" y="1640"/>
                  </a:lnTo>
                  <a:lnTo>
                    <a:pt x="1402" y="1646"/>
                  </a:lnTo>
                  <a:lnTo>
                    <a:pt x="1404" y="1654"/>
                  </a:lnTo>
                  <a:lnTo>
                    <a:pt x="1406" y="1668"/>
                  </a:lnTo>
                  <a:lnTo>
                    <a:pt x="1408" y="1676"/>
                  </a:lnTo>
                  <a:lnTo>
                    <a:pt x="1406" y="1682"/>
                  </a:lnTo>
                  <a:lnTo>
                    <a:pt x="1402" y="1686"/>
                  </a:lnTo>
                  <a:lnTo>
                    <a:pt x="1392" y="1692"/>
                  </a:lnTo>
                  <a:lnTo>
                    <a:pt x="1380" y="1694"/>
                  </a:lnTo>
                  <a:lnTo>
                    <a:pt x="1370" y="1694"/>
                  </a:lnTo>
                  <a:lnTo>
                    <a:pt x="1364" y="1690"/>
                  </a:lnTo>
                  <a:lnTo>
                    <a:pt x="1360" y="1684"/>
                  </a:lnTo>
                  <a:lnTo>
                    <a:pt x="1354" y="1672"/>
                  </a:lnTo>
                  <a:lnTo>
                    <a:pt x="1348" y="1666"/>
                  </a:lnTo>
                  <a:lnTo>
                    <a:pt x="1342" y="1662"/>
                  </a:lnTo>
                  <a:lnTo>
                    <a:pt x="1336" y="1660"/>
                  </a:lnTo>
                  <a:lnTo>
                    <a:pt x="1334" y="1656"/>
                  </a:lnTo>
                  <a:lnTo>
                    <a:pt x="1332" y="1652"/>
                  </a:lnTo>
                  <a:lnTo>
                    <a:pt x="1332" y="1650"/>
                  </a:lnTo>
                  <a:lnTo>
                    <a:pt x="1332" y="1648"/>
                  </a:lnTo>
                  <a:lnTo>
                    <a:pt x="1324" y="1648"/>
                  </a:lnTo>
                  <a:lnTo>
                    <a:pt x="1302" y="1656"/>
                  </a:lnTo>
                  <a:lnTo>
                    <a:pt x="1294" y="1660"/>
                  </a:lnTo>
                  <a:lnTo>
                    <a:pt x="1292" y="1664"/>
                  </a:lnTo>
                  <a:lnTo>
                    <a:pt x="1286" y="1674"/>
                  </a:lnTo>
                  <a:lnTo>
                    <a:pt x="1284" y="1678"/>
                  </a:lnTo>
                  <a:lnTo>
                    <a:pt x="1286" y="1684"/>
                  </a:lnTo>
                  <a:lnTo>
                    <a:pt x="1286" y="1688"/>
                  </a:lnTo>
                  <a:lnTo>
                    <a:pt x="1286" y="1690"/>
                  </a:lnTo>
                  <a:lnTo>
                    <a:pt x="1280" y="1694"/>
                  </a:lnTo>
                  <a:lnTo>
                    <a:pt x="1274" y="1700"/>
                  </a:lnTo>
                  <a:lnTo>
                    <a:pt x="1272" y="1704"/>
                  </a:lnTo>
                  <a:lnTo>
                    <a:pt x="1270" y="1710"/>
                  </a:lnTo>
                  <a:lnTo>
                    <a:pt x="1266" y="1720"/>
                  </a:lnTo>
                  <a:lnTo>
                    <a:pt x="1266" y="1732"/>
                  </a:lnTo>
                  <a:lnTo>
                    <a:pt x="1268" y="1752"/>
                  </a:lnTo>
                  <a:lnTo>
                    <a:pt x="1268" y="1766"/>
                  </a:lnTo>
                  <a:lnTo>
                    <a:pt x="1270" y="1772"/>
                  </a:lnTo>
                  <a:lnTo>
                    <a:pt x="1274" y="1776"/>
                  </a:lnTo>
                  <a:lnTo>
                    <a:pt x="1278" y="1782"/>
                  </a:lnTo>
                  <a:lnTo>
                    <a:pt x="1280" y="1790"/>
                  </a:lnTo>
                  <a:lnTo>
                    <a:pt x="1280" y="1804"/>
                  </a:lnTo>
                  <a:lnTo>
                    <a:pt x="1278" y="1806"/>
                  </a:lnTo>
                  <a:lnTo>
                    <a:pt x="1276" y="1808"/>
                  </a:lnTo>
                  <a:lnTo>
                    <a:pt x="1276" y="1816"/>
                  </a:lnTo>
                  <a:lnTo>
                    <a:pt x="1278" y="1818"/>
                  </a:lnTo>
                  <a:lnTo>
                    <a:pt x="1276" y="1822"/>
                  </a:lnTo>
                  <a:lnTo>
                    <a:pt x="1270" y="1824"/>
                  </a:lnTo>
                  <a:lnTo>
                    <a:pt x="1264" y="1826"/>
                  </a:lnTo>
                  <a:lnTo>
                    <a:pt x="1258" y="1824"/>
                  </a:lnTo>
                  <a:lnTo>
                    <a:pt x="1256" y="1824"/>
                  </a:lnTo>
                  <a:lnTo>
                    <a:pt x="1256" y="1822"/>
                  </a:lnTo>
                  <a:lnTo>
                    <a:pt x="1258" y="1816"/>
                  </a:lnTo>
                  <a:lnTo>
                    <a:pt x="1268" y="1804"/>
                  </a:lnTo>
                  <a:lnTo>
                    <a:pt x="1270" y="1800"/>
                  </a:lnTo>
                  <a:lnTo>
                    <a:pt x="1268" y="1800"/>
                  </a:lnTo>
                  <a:lnTo>
                    <a:pt x="1256" y="1814"/>
                  </a:lnTo>
                  <a:lnTo>
                    <a:pt x="1248" y="1820"/>
                  </a:lnTo>
                  <a:lnTo>
                    <a:pt x="1246" y="1822"/>
                  </a:lnTo>
                  <a:lnTo>
                    <a:pt x="1240" y="1820"/>
                  </a:lnTo>
                  <a:lnTo>
                    <a:pt x="1232" y="1820"/>
                  </a:lnTo>
                  <a:lnTo>
                    <a:pt x="1226" y="1822"/>
                  </a:lnTo>
                  <a:lnTo>
                    <a:pt x="1224" y="1824"/>
                  </a:lnTo>
                  <a:lnTo>
                    <a:pt x="1224" y="1830"/>
                  </a:lnTo>
                  <a:lnTo>
                    <a:pt x="1224" y="1836"/>
                  </a:lnTo>
                  <a:lnTo>
                    <a:pt x="1224" y="1840"/>
                  </a:lnTo>
                  <a:lnTo>
                    <a:pt x="1220" y="1846"/>
                  </a:lnTo>
                  <a:lnTo>
                    <a:pt x="1214" y="1852"/>
                  </a:lnTo>
                  <a:lnTo>
                    <a:pt x="1202" y="1858"/>
                  </a:lnTo>
                  <a:lnTo>
                    <a:pt x="1188" y="1860"/>
                  </a:lnTo>
                  <a:lnTo>
                    <a:pt x="1182" y="1858"/>
                  </a:lnTo>
                  <a:lnTo>
                    <a:pt x="1176" y="1856"/>
                  </a:lnTo>
                  <a:lnTo>
                    <a:pt x="1172" y="1854"/>
                  </a:lnTo>
                  <a:lnTo>
                    <a:pt x="1170" y="1848"/>
                  </a:lnTo>
                  <a:lnTo>
                    <a:pt x="1166" y="1836"/>
                  </a:lnTo>
                  <a:lnTo>
                    <a:pt x="1172" y="1840"/>
                  </a:lnTo>
                  <a:lnTo>
                    <a:pt x="1180" y="1844"/>
                  </a:lnTo>
                  <a:lnTo>
                    <a:pt x="1184" y="1844"/>
                  </a:lnTo>
                  <a:lnTo>
                    <a:pt x="1184" y="1842"/>
                  </a:lnTo>
                  <a:lnTo>
                    <a:pt x="1180" y="1840"/>
                  </a:lnTo>
                  <a:lnTo>
                    <a:pt x="1168" y="1832"/>
                  </a:lnTo>
                  <a:lnTo>
                    <a:pt x="1160" y="1828"/>
                  </a:lnTo>
                  <a:lnTo>
                    <a:pt x="1152" y="1828"/>
                  </a:lnTo>
                  <a:lnTo>
                    <a:pt x="1136" y="1832"/>
                  </a:lnTo>
                  <a:lnTo>
                    <a:pt x="1118" y="1836"/>
                  </a:lnTo>
                  <a:lnTo>
                    <a:pt x="1112" y="1838"/>
                  </a:lnTo>
                  <a:lnTo>
                    <a:pt x="1110" y="1840"/>
                  </a:lnTo>
                  <a:lnTo>
                    <a:pt x="1098" y="1844"/>
                  </a:lnTo>
                  <a:lnTo>
                    <a:pt x="1090" y="1848"/>
                  </a:lnTo>
                  <a:lnTo>
                    <a:pt x="1086" y="1850"/>
                  </a:lnTo>
                  <a:lnTo>
                    <a:pt x="1082" y="1856"/>
                  </a:lnTo>
                  <a:lnTo>
                    <a:pt x="1080" y="1858"/>
                  </a:lnTo>
                  <a:lnTo>
                    <a:pt x="1074" y="1862"/>
                  </a:lnTo>
                  <a:lnTo>
                    <a:pt x="1066" y="1864"/>
                  </a:lnTo>
                  <a:lnTo>
                    <a:pt x="1054" y="1868"/>
                  </a:lnTo>
                  <a:lnTo>
                    <a:pt x="1034" y="1874"/>
                  </a:lnTo>
                  <a:lnTo>
                    <a:pt x="1020" y="1880"/>
                  </a:lnTo>
                  <a:lnTo>
                    <a:pt x="1008" y="1884"/>
                  </a:lnTo>
                  <a:lnTo>
                    <a:pt x="1002" y="1884"/>
                  </a:lnTo>
                  <a:lnTo>
                    <a:pt x="996" y="1884"/>
                  </a:lnTo>
                  <a:lnTo>
                    <a:pt x="992" y="1882"/>
                  </a:lnTo>
                  <a:lnTo>
                    <a:pt x="986" y="1878"/>
                  </a:lnTo>
                  <a:lnTo>
                    <a:pt x="980" y="1870"/>
                  </a:lnTo>
                  <a:lnTo>
                    <a:pt x="978" y="1870"/>
                  </a:lnTo>
                  <a:lnTo>
                    <a:pt x="980" y="1874"/>
                  </a:lnTo>
                  <a:lnTo>
                    <a:pt x="984" y="1884"/>
                  </a:lnTo>
                  <a:lnTo>
                    <a:pt x="984" y="1886"/>
                  </a:lnTo>
                  <a:lnTo>
                    <a:pt x="984" y="1888"/>
                  </a:lnTo>
                  <a:lnTo>
                    <a:pt x="982" y="1888"/>
                  </a:lnTo>
                  <a:lnTo>
                    <a:pt x="982" y="1890"/>
                  </a:lnTo>
                  <a:lnTo>
                    <a:pt x="984" y="1890"/>
                  </a:lnTo>
                  <a:lnTo>
                    <a:pt x="988" y="1890"/>
                  </a:lnTo>
                  <a:lnTo>
                    <a:pt x="992" y="1888"/>
                  </a:lnTo>
                  <a:lnTo>
                    <a:pt x="996" y="1890"/>
                  </a:lnTo>
                  <a:lnTo>
                    <a:pt x="998" y="1892"/>
                  </a:lnTo>
                  <a:lnTo>
                    <a:pt x="1002" y="1892"/>
                  </a:lnTo>
                  <a:lnTo>
                    <a:pt x="1004" y="1890"/>
                  </a:lnTo>
                  <a:lnTo>
                    <a:pt x="1008" y="1890"/>
                  </a:lnTo>
                  <a:lnTo>
                    <a:pt x="1010" y="1894"/>
                  </a:lnTo>
                  <a:lnTo>
                    <a:pt x="1010" y="1900"/>
                  </a:lnTo>
                  <a:lnTo>
                    <a:pt x="1010" y="1902"/>
                  </a:lnTo>
                  <a:lnTo>
                    <a:pt x="1008" y="1902"/>
                  </a:lnTo>
                  <a:lnTo>
                    <a:pt x="1004" y="1900"/>
                  </a:lnTo>
                  <a:lnTo>
                    <a:pt x="998" y="1898"/>
                  </a:lnTo>
                  <a:lnTo>
                    <a:pt x="996" y="1898"/>
                  </a:lnTo>
                  <a:lnTo>
                    <a:pt x="986" y="1896"/>
                  </a:lnTo>
                  <a:lnTo>
                    <a:pt x="980" y="1892"/>
                  </a:lnTo>
                  <a:lnTo>
                    <a:pt x="980" y="1890"/>
                  </a:lnTo>
                  <a:lnTo>
                    <a:pt x="980" y="1886"/>
                  </a:lnTo>
                  <a:lnTo>
                    <a:pt x="980" y="1884"/>
                  </a:lnTo>
                  <a:lnTo>
                    <a:pt x="978" y="1882"/>
                  </a:lnTo>
                  <a:lnTo>
                    <a:pt x="976" y="1878"/>
                  </a:lnTo>
                  <a:lnTo>
                    <a:pt x="976" y="1872"/>
                  </a:lnTo>
                  <a:lnTo>
                    <a:pt x="976" y="1870"/>
                  </a:lnTo>
                  <a:lnTo>
                    <a:pt x="974" y="1870"/>
                  </a:lnTo>
                  <a:lnTo>
                    <a:pt x="970" y="1872"/>
                  </a:lnTo>
                  <a:lnTo>
                    <a:pt x="962" y="1872"/>
                  </a:lnTo>
                  <a:lnTo>
                    <a:pt x="958" y="1870"/>
                  </a:lnTo>
                  <a:lnTo>
                    <a:pt x="954" y="1868"/>
                  </a:lnTo>
                  <a:lnTo>
                    <a:pt x="950" y="1860"/>
                  </a:lnTo>
                  <a:lnTo>
                    <a:pt x="948" y="1856"/>
                  </a:lnTo>
                  <a:lnTo>
                    <a:pt x="946" y="1854"/>
                  </a:lnTo>
                  <a:lnTo>
                    <a:pt x="944" y="1854"/>
                  </a:lnTo>
                  <a:lnTo>
                    <a:pt x="938" y="1854"/>
                  </a:lnTo>
                  <a:lnTo>
                    <a:pt x="932" y="1852"/>
                  </a:lnTo>
                  <a:lnTo>
                    <a:pt x="930" y="1850"/>
                  </a:lnTo>
                  <a:lnTo>
                    <a:pt x="926" y="1850"/>
                  </a:lnTo>
                  <a:lnTo>
                    <a:pt x="924" y="1854"/>
                  </a:lnTo>
                  <a:lnTo>
                    <a:pt x="920" y="1862"/>
                  </a:lnTo>
                  <a:lnTo>
                    <a:pt x="912" y="1868"/>
                  </a:lnTo>
                  <a:lnTo>
                    <a:pt x="908" y="1870"/>
                  </a:lnTo>
                  <a:lnTo>
                    <a:pt x="900" y="1870"/>
                  </a:lnTo>
                  <a:lnTo>
                    <a:pt x="894" y="1872"/>
                  </a:lnTo>
                  <a:lnTo>
                    <a:pt x="890" y="1874"/>
                  </a:lnTo>
                  <a:lnTo>
                    <a:pt x="886" y="1880"/>
                  </a:lnTo>
                  <a:lnTo>
                    <a:pt x="884" y="1884"/>
                  </a:lnTo>
                  <a:lnTo>
                    <a:pt x="882" y="1884"/>
                  </a:lnTo>
                  <a:lnTo>
                    <a:pt x="878" y="1882"/>
                  </a:lnTo>
                  <a:lnTo>
                    <a:pt x="874" y="1880"/>
                  </a:lnTo>
                  <a:lnTo>
                    <a:pt x="870" y="1880"/>
                  </a:lnTo>
                  <a:lnTo>
                    <a:pt x="864" y="1882"/>
                  </a:lnTo>
                  <a:lnTo>
                    <a:pt x="860" y="1882"/>
                  </a:lnTo>
                  <a:lnTo>
                    <a:pt x="858" y="1882"/>
                  </a:lnTo>
                  <a:lnTo>
                    <a:pt x="856" y="1880"/>
                  </a:lnTo>
                  <a:lnTo>
                    <a:pt x="856" y="1878"/>
                  </a:lnTo>
                  <a:lnTo>
                    <a:pt x="858" y="1876"/>
                  </a:lnTo>
                  <a:lnTo>
                    <a:pt x="864" y="1872"/>
                  </a:lnTo>
                  <a:lnTo>
                    <a:pt x="870" y="1870"/>
                  </a:lnTo>
                  <a:lnTo>
                    <a:pt x="870" y="1868"/>
                  </a:lnTo>
                  <a:lnTo>
                    <a:pt x="870" y="1864"/>
                  </a:lnTo>
                  <a:lnTo>
                    <a:pt x="870" y="1862"/>
                  </a:lnTo>
                  <a:lnTo>
                    <a:pt x="870" y="1858"/>
                  </a:lnTo>
                  <a:lnTo>
                    <a:pt x="870" y="1856"/>
                  </a:lnTo>
                  <a:lnTo>
                    <a:pt x="862" y="1858"/>
                  </a:lnTo>
                  <a:lnTo>
                    <a:pt x="856" y="1860"/>
                  </a:lnTo>
                  <a:lnTo>
                    <a:pt x="852" y="1860"/>
                  </a:lnTo>
                  <a:lnTo>
                    <a:pt x="848" y="1860"/>
                  </a:lnTo>
                  <a:lnTo>
                    <a:pt x="846" y="1858"/>
                  </a:lnTo>
                  <a:lnTo>
                    <a:pt x="842" y="1854"/>
                  </a:lnTo>
                  <a:lnTo>
                    <a:pt x="840" y="1854"/>
                  </a:lnTo>
                  <a:lnTo>
                    <a:pt x="838" y="1854"/>
                  </a:lnTo>
                  <a:lnTo>
                    <a:pt x="834" y="1856"/>
                  </a:lnTo>
                  <a:lnTo>
                    <a:pt x="832" y="1854"/>
                  </a:lnTo>
                  <a:lnTo>
                    <a:pt x="830" y="1852"/>
                  </a:lnTo>
                  <a:lnTo>
                    <a:pt x="826" y="1850"/>
                  </a:lnTo>
                  <a:lnTo>
                    <a:pt x="822" y="1850"/>
                  </a:lnTo>
                  <a:lnTo>
                    <a:pt x="824" y="1848"/>
                  </a:lnTo>
                  <a:lnTo>
                    <a:pt x="826" y="1844"/>
                  </a:lnTo>
                  <a:lnTo>
                    <a:pt x="828" y="1842"/>
                  </a:lnTo>
                  <a:lnTo>
                    <a:pt x="826" y="1838"/>
                  </a:lnTo>
                  <a:lnTo>
                    <a:pt x="824" y="1834"/>
                  </a:lnTo>
                  <a:lnTo>
                    <a:pt x="822" y="1832"/>
                  </a:lnTo>
                  <a:lnTo>
                    <a:pt x="820" y="1834"/>
                  </a:lnTo>
                  <a:lnTo>
                    <a:pt x="816" y="1832"/>
                  </a:lnTo>
                  <a:lnTo>
                    <a:pt x="812" y="1830"/>
                  </a:lnTo>
                  <a:lnTo>
                    <a:pt x="808" y="1830"/>
                  </a:lnTo>
                  <a:lnTo>
                    <a:pt x="806" y="1832"/>
                  </a:lnTo>
                  <a:lnTo>
                    <a:pt x="802" y="1830"/>
                  </a:lnTo>
                  <a:lnTo>
                    <a:pt x="808" y="1826"/>
                  </a:lnTo>
                  <a:lnTo>
                    <a:pt x="810" y="1824"/>
                  </a:lnTo>
                  <a:lnTo>
                    <a:pt x="810" y="1826"/>
                  </a:lnTo>
                  <a:lnTo>
                    <a:pt x="812" y="1828"/>
                  </a:lnTo>
                  <a:lnTo>
                    <a:pt x="816" y="1828"/>
                  </a:lnTo>
                  <a:lnTo>
                    <a:pt x="818" y="1826"/>
                  </a:lnTo>
                  <a:lnTo>
                    <a:pt x="820" y="1826"/>
                  </a:lnTo>
                  <a:lnTo>
                    <a:pt x="824" y="1828"/>
                  </a:lnTo>
                  <a:lnTo>
                    <a:pt x="826" y="1826"/>
                  </a:lnTo>
                  <a:lnTo>
                    <a:pt x="828" y="1824"/>
                  </a:lnTo>
                  <a:lnTo>
                    <a:pt x="828" y="1822"/>
                  </a:lnTo>
                  <a:lnTo>
                    <a:pt x="822" y="1818"/>
                  </a:lnTo>
                  <a:lnTo>
                    <a:pt x="816" y="1814"/>
                  </a:lnTo>
                  <a:lnTo>
                    <a:pt x="812" y="1816"/>
                  </a:lnTo>
                  <a:lnTo>
                    <a:pt x="810" y="1818"/>
                  </a:lnTo>
                  <a:lnTo>
                    <a:pt x="806" y="1814"/>
                  </a:lnTo>
                  <a:lnTo>
                    <a:pt x="806" y="1812"/>
                  </a:lnTo>
                  <a:lnTo>
                    <a:pt x="806" y="1810"/>
                  </a:lnTo>
                  <a:lnTo>
                    <a:pt x="810" y="1808"/>
                  </a:lnTo>
                  <a:lnTo>
                    <a:pt x="812" y="1804"/>
                  </a:lnTo>
                  <a:lnTo>
                    <a:pt x="814" y="1804"/>
                  </a:lnTo>
                  <a:lnTo>
                    <a:pt x="812" y="1802"/>
                  </a:lnTo>
                  <a:lnTo>
                    <a:pt x="810" y="1798"/>
                  </a:lnTo>
                  <a:lnTo>
                    <a:pt x="810" y="1794"/>
                  </a:lnTo>
                  <a:lnTo>
                    <a:pt x="810" y="1792"/>
                  </a:lnTo>
                  <a:lnTo>
                    <a:pt x="808" y="1790"/>
                  </a:lnTo>
                  <a:lnTo>
                    <a:pt x="808" y="1788"/>
                  </a:lnTo>
                  <a:lnTo>
                    <a:pt x="808" y="1786"/>
                  </a:lnTo>
                  <a:lnTo>
                    <a:pt x="814" y="1784"/>
                  </a:lnTo>
                  <a:lnTo>
                    <a:pt x="818" y="1782"/>
                  </a:lnTo>
                  <a:lnTo>
                    <a:pt x="818" y="1780"/>
                  </a:lnTo>
                  <a:lnTo>
                    <a:pt x="818" y="1778"/>
                  </a:lnTo>
                  <a:lnTo>
                    <a:pt x="818" y="1776"/>
                  </a:lnTo>
                  <a:lnTo>
                    <a:pt x="822" y="1776"/>
                  </a:lnTo>
                  <a:lnTo>
                    <a:pt x="826" y="1774"/>
                  </a:lnTo>
                  <a:lnTo>
                    <a:pt x="826" y="1772"/>
                  </a:lnTo>
                  <a:lnTo>
                    <a:pt x="824" y="1768"/>
                  </a:lnTo>
                  <a:lnTo>
                    <a:pt x="820" y="1764"/>
                  </a:lnTo>
                  <a:lnTo>
                    <a:pt x="824" y="1766"/>
                  </a:lnTo>
                  <a:lnTo>
                    <a:pt x="828" y="1768"/>
                  </a:lnTo>
                  <a:lnTo>
                    <a:pt x="832" y="1768"/>
                  </a:lnTo>
                  <a:lnTo>
                    <a:pt x="834" y="1766"/>
                  </a:lnTo>
                  <a:lnTo>
                    <a:pt x="834" y="1764"/>
                  </a:lnTo>
                  <a:lnTo>
                    <a:pt x="834" y="1760"/>
                  </a:lnTo>
                  <a:lnTo>
                    <a:pt x="834" y="1750"/>
                  </a:lnTo>
                  <a:lnTo>
                    <a:pt x="836" y="1742"/>
                  </a:lnTo>
                  <a:lnTo>
                    <a:pt x="836" y="1740"/>
                  </a:lnTo>
                  <a:lnTo>
                    <a:pt x="840" y="1738"/>
                  </a:lnTo>
                  <a:lnTo>
                    <a:pt x="844" y="1738"/>
                  </a:lnTo>
                  <a:lnTo>
                    <a:pt x="844" y="1742"/>
                  </a:lnTo>
                  <a:lnTo>
                    <a:pt x="842" y="1744"/>
                  </a:lnTo>
                  <a:lnTo>
                    <a:pt x="842" y="1746"/>
                  </a:lnTo>
                  <a:lnTo>
                    <a:pt x="844" y="1748"/>
                  </a:lnTo>
                  <a:lnTo>
                    <a:pt x="848" y="1750"/>
                  </a:lnTo>
                  <a:lnTo>
                    <a:pt x="848" y="1748"/>
                  </a:lnTo>
                  <a:lnTo>
                    <a:pt x="850" y="1746"/>
                  </a:lnTo>
                  <a:lnTo>
                    <a:pt x="852" y="1746"/>
                  </a:lnTo>
                  <a:lnTo>
                    <a:pt x="854" y="1748"/>
                  </a:lnTo>
                  <a:lnTo>
                    <a:pt x="856" y="1746"/>
                  </a:lnTo>
                  <a:lnTo>
                    <a:pt x="858" y="1744"/>
                  </a:lnTo>
                  <a:lnTo>
                    <a:pt x="864" y="1732"/>
                  </a:lnTo>
                  <a:lnTo>
                    <a:pt x="864" y="1730"/>
                  </a:lnTo>
                  <a:lnTo>
                    <a:pt x="864" y="1728"/>
                  </a:lnTo>
                  <a:lnTo>
                    <a:pt x="858" y="1726"/>
                  </a:lnTo>
                  <a:lnTo>
                    <a:pt x="844" y="1724"/>
                  </a:lnTo>
                  <a:lnTo>
                    <a:pt x="840" y="1722"/>
                  </a:lnTo>
                  <a:lnTo>
                    <a:pt x="838" y="1722"/>
                  </a:lnTo>
                  <a:lnTo>
                    <a:pt x="840" y="1718"/>
                  </a:lnTo>
                  <a:lnTo>
                    <a:pt x="842" y="1714"/>
                  </a:lnTo>
                  <a:lnTo>
                    <a:pt x="840" y="1710"/>
                  </a:lnTo>
                  <a:lnTo>
                    <a:pt x="838" y="1706"/>
                  </a:lnTo>
                  <a:lnTo>
                    <a:pt x="838" y="1700"/>
                  </a:lnTo>
                  <a:lnTo>
                    <a:pt x="840" y="1690"/>
                  </a:lnTo>
                  <a:lnTo>
                    <a:pt x="842" y="1686"/>
                  </a:lnTo>
                  <a:lnTo>
                    <a:pt x="844" y="1684"/>
                  </a:lnTo>
                  <a:lnTo>
                    <a:pt x="846" y="1680"/>
                  </a:lnTo>
                  <a:lnTo>
                    <a:pt x="848" y="1676"/>
                  </a:lnTo>
                  <a:lnTo>
                    <a:pt x="848" y="1670"/>
                  </a:lnTo>
                  <a:lnTo>
                    <a:pt x="846" y="1662"/>
                  </a:lnTo>
                  <a:lnTo>
                    <a:pt x="844" y="1658"/>
                  </a:lnTo>
                  <a:lnTo>
                    <a:pt x="844" y="1656"/>
                  </a:lnTo>
                  <a:lnTo>
                    <a:pt x="846" y="1652"/>
                  </a:lnTo>
                  <a:lnTo>
                    <a:pt x="850" y="1648"/>
                  </a:lnTo>
                  <a:lnTo>
                    <a:pt x="850" y="1646"/>
                  </a:lnTo>
                  <a:lnTo>
                    <a:pt x="846" y="1646"/>
                  </a:lnTo>
                  <a:lnTo>
                    <a:pt x="844" y="1650"/>
                  </a:lnTo>
                  <a:lnTo>
                    <a:pt x="838" y="1654"/>
                  </a:lnTo>
                  <a:lnTo>
                    <a:pt x="830" y="1656"/>
                  </a:lnTo>
                  <a:lnTo>
                    <a:pt x="824" y="1658"/>
                  </a:lnTo>
                  <a:lnTo>
                    <a:pt x="822" y="1660"/>
                  </a:lnTo>
                  <a:lnTo>
                    <a:pt x="814" y="1672"/>
                  </a:lnTo>
                  <a:lnTo>
                    <a:pt x="810" y="1676"/>
                  </a:lnTo>
                  <a:lnTo>
                    <a:pt x="804" y="1680"/>
                  </a:lnTo>
                  <a:lnTo>
                    <a:pt x="796" y="1684"/>
                  </a:lnTo>
                  <a:lnTo>
                    <a:pt x="786" y="1686"/>
                  </a:lnTo>
                  <a:lnTo>
                    <a:pt x="776" y="1686"/>
                  </a:lnTo>
                  <a:lnTo>
                    <a:pt x="768" y="1690"/>
                  </a:lnTo>
                  <a:lnTo>
                    <a:pt x="762" y="1694"/>
                  </a:lnTo>
                  <a:lnTo>
                    <a:pt x="758" y="1700"/>
                  </a:lnTo>
                  <a:lnTo>
                    <a:pt x="754" y="1708"/>
                  </a:lnTo>
                  <a:lnTo>
                    <a:pt x="752" y="1718"/>
                  </a:lnTo>
                  <a:lnTo>
                    <a:pt x="748" y="1736"/>
                  </a:lnTo>
                  <a:lnTo>
                    <a:pt x="748" y="1752"/>
                  </a:lnTo>
                  <a:lnTo>
                    <a:pt x="750" y="1762"/>
                  </a:lnTo>
                  <a:lnTo>
                    <a:pt x="752" y="1770"/>
                  </a:lnTo>
                  <a:lnTo>
                    <a:pt x="750" y="1778"/>
                  </a:lnTo>
                  <a:lnTo>
                    <a:pt x="746" y="1784"/>
                  </a:lnTo>
                  <a:lnTo>
                    <a:pt x="748" y="1786"/>
                  </a:lnTo>
                  <a:lnTo>
                    <a:pt x="750" y="1786"/>
                  </a:lnTo>
                  <a:lnTo>
                    <a:pt x="754" y="1790"/>
                  </a:lnTo>
                  <a:lnTo>
                    <a:pt x="758" y="1792"/>
                  </a:lnTo>
                  <a:lnTo>
                    <a:pt x="758" y="1790"/>
                  </a:lnTo>
                  <a:lnTo>
                    <a:pt x="758" y="1788"/>
                  </a:lnTo>
                  <a:lnTo>
                    <a:pt x="762" y="1790"/>
                  </a:lnTo>
                  <a:lnTo>
                    <a:pt x="764" y="1792"/>
                  </a:lnTo>
                  <a:lnTo>
                    <a:pt x="768" y="1792"/>
                  </a:lnTo>
                  <a:lnTo>
                    <a:pt x="772" y="1796"/>
                  </a:lnTo>
                  <a:lnTo>
                    <a:pt x="772" y="1804"/>
                  </a:lnTo>
                  <a:lnTo>
                    <a:pt x="770" y="1810"/>
                  </a:lnTo>
                  <a:lnTo>
                    <a:pt x="768" y="1808"/>
                  </a:lnTo>
                  <a:lnTo>
                    <a:pt x="766" y="1806"/>
                  </a:lnTo>
                  <a:lnTo>
                    <a:pt x="764" y="1806"/>
                  </a:lnTo>
                  <a:lnTo>
                    <a:pt x="764" y="1810"/>
                  </a:lnTo>
                  <a:lnTo>
                    <a:pt x="764" y="1814"/>
                  </a:lnTo>
                  <a:lnTo>
                    <a:pt x="768" y="1812"/>
                  </a:lnTo>
                  <a:lnTo>
                    <a:pt x="770" y="1812"/>
                  </a:lnTo>
                  <a:lnTo>
                    <a:pt x="770" y="1814"/>
                  </a:lnTo>
                  <a:lnTo>
                    <a:pt x="770" y="1826"/>
                  </a:lnTo>
                  <a:lnTo>
                    <a:pt x="770" y="1830"/>
                  </a:lnTo>
                  <a:lnTo>
                    <a:pt x="774" y="1836"/>
                  </a:lnTo>
                  <a:lnTo>
                    <a:pt x="784" y="1848"/>
                  </a:lnTo>
                  <a:lnTo>
                    <a:pt x="786" y="1850"/>
                  </a:lnTo>
                  <a:lnTo>
                    <a:pt x="786" y="1852"/>
                  </a:lnTo>
                  <a:lnTo>
                    <a:pt x="782" y="1854"/>
                  </a:lnTo>
                  <a:lnTo>
                    <a:pt x="774" y="1856"/>
                  </a:lnTo>
                  <a:lnTo>
                    <a:pt x="772" y="1858"/>
                  </a:lnTo>
                  <a:lnTo>
                    <a:pt x="770" y="1860"/>
                  </a:lnTo>
                  <a:lnTo>
                    <a:pt x="770" y="1864"/>
                  </a:lnTo>
                  <a:lnTo>
                    <a:pt x="776" y="1864"/>
                  </a:lnTo>
                  <a:lnTo>
                    <a:pt x="780" y="1862"/>
                  </a:lnTo>
                  <a:lnTo>
                    <a:pt x="780" y="1864"/>
                  </a:lnTo>
                  <a:lnTo>
                    <a:pt x="778" y="1866"/>
                  </a:lnTo>
                  <a:lnTo>
                    <a:pt x="778" y="1870"/>
                  </a:lnTo>
                  <a:lnTo>
                    <a:pt x="778" y="1872"/>
                  </a:lnTo>
                  <a:lnTo>
                    <a:pt x="782" y="1874"/>
                  </a:lnTo>
                  <a:lnTo>
                    <a:pt x="786" y="1876"/>
                  </a:lnTo>
                  <a:lnTo>
                    <a:pt x="784" y="1878"/>
                  </a:lnTo>
                  <a:lnTo>
                    <a:pt x="780" y="1880"/>
                  </a:lnTo>
                  <a:lnTo>
                    <a:pt x="780" y="1882"/>
                  </a:lnTo>
                  <a:lnTo>
                    <a:pt x="782" y="1886"/>
                  </a:lnTo>
                  <a:lnTo>
                    <a:pt x="790" y="1886"/>
                  </a:lnTo>
                  <a:lnTo>
                    <a:pt x="798" y="1890"/>
                  </a:lnTo>
                  <a:lnTo>
                    <a:pt x="804" y="1894"/>
                  </a:lnTo>
                  <a:lnTo>
                    <a:pt x="804" y="1898"/>
                  </a:lnTo>
                  <a:lnTo>
                    <a:pt x="800" y="1896"/>
                  </a:lnTo>
                  <a:lnTo>
                    <a:pt x="794" y="1892"/>
                  </a:lnTo>
                  <a:lnTo>
                    <a:pt x="786" y="1890"/>
                  </a:lnTo>
                  <a:lnTo>
                    <a:pt x="780" y="1890"/>
                  </a:lnTo>
                  <a:lnTo>
                    <a:pt x="772" y="1888"/>
                  </a:lnTo>
                  <a:lnTo>
                    <a:pt x="770" y="1888"/>
                  </a:lnTo>
                  <a:lnTo>
                    <a:pt x="768" y="1890"/>
                  </a:lnTo>
                  <a:lnTo>
                    <a:pt x="768" y="1900"/>
                  </a:lnTo>
                  <a:lnTo>
                    <a:pt x="770" y="1910"/>
                  </a:lnTo>
                  <a:lnTo>
                    <a:pt x="768" y="1916"/>
                  </a:lnTo>
                  <a:lnTo>
                    <a:pt x="766" y="1918"/>
                  </a:lnTo>
                  <a:lnTo>
                    <a:pt x="764" y="1920"/>
                  </a:lnTo>
                  <a:lnTo>
                    <a:pt x="764" y="1918"/>
                  </a:lnTo>
                  <a:lnTo>
                    <a:pt x="764" y="1914"/>
                  </a:lnTo>
                  <a:lnTo>
                    <a:pt x="764" y="1908"/>
                  </a:lnTo>
                  <a:lnTo>
                    <a:pt x="764" y="1906"/>
                  </a:lnTo>
                  <a:lnTo>
                    <a:pt x="762" y="1904"/>
                  </a:lnTo>
                  <a:lnTo>
                    <a:pt x="758" y="1904"/>
                  </a:lnTo>
                  <a:lnTo>
                    <a:pt x="756" y="1906"/>
                  </a:lnTo>
                  <a:lnTo>
                    <a:pt x="756" y="1912"/>
                  </a:lnTo>
                  <a:lnTo>
                    <a:pt x="754" y="1916"/>
                  </a:lnTo>
                  <a:lnTo>
                    <a:pt x="750" y="1914"/>
                  </a:lnTo>
                  <a:lnTo>
                    <a:pt x="748" y="1912"/>
                  </a:lnTo>
                  <a:lnTo>
                    <a:pt x="748" y="1910"/>
                  </a:lnTo>
                  <a:lnTo>
                    <a:pt x="750" y="1904"/>
                  </a:lnTo>
                  <a:lnTo>
                    <a:pt x="748" y="1902"/>
                  </a:lnTo>
                  <a:lnTo>
                    <a:pt x="746" y="1900"/>
                  </a:lnTo>
                  <a:lnTo>
                    <a:pt x="742" y="1898"/>
                  </a:lnTo>
                  <a:lnTo>
                    <a:pt x="734" y="1898"/>
                  </a:lnTo>
                  <a:lnTo>
                    <a:pt x="720" y="1898"/>
                  </a:lnTo>
                  <a:lnTo>
                    <a:pt x="714" y="1900"/>
                  </a:lnTo>
                  <a:lnTo>
                    <a:pt x="710" y="1906"/>
                  </a:lnTo>
                  <a:lnTo>
                    <a:pt x="708" y="1914"/>
                  </a:lnTo>
                  <a:lnTo>
                    <a:pt x="706" y="1916"/>
                  </a:lnTo>
                  <a:lnTo>
                    <a:pt x="706" y="1920"/>
                  </a:lnTo>
                  <a:lnTo>
                    <a:pt x="710" y="1922"/>
                  </a:lnTo>
                  <a:lnTo>
                    <a:pt x="714" y="1922"/>
                  </a:lnTo>
                  <a:lnTo>
                    <a:pt x="714" y="1924"/>
                  </a:lnTo>
                  <a:lnTo>
                    <a:pt x="712" y="1926"/>
                  </a:lnTo>
                  <a:lnTo>
                    <a:pt x="708" y="1926"/>
                  </a:lnTo>
                  <a:lnTo>
                    <a:pt x="706" y="1926"/>
                  </a:lnTo>
                  <a:lnTo>
                    <a:pt x="700" y="1918"/>
                  </a:lnTo>
                  <a:lnTo>
                    <a:pt x="696" y="1914"/>
                  </a:lnTo>
                  <a:lnTo>
                    <a:pt x="688" y="1914"/>
                  </a:lnTo>
                  <a:lnTo>
                    <a:pt x="664" y="1918"/>
                  </a:lnTo>
                  <a:lnTo>
                    <a:pt x="654" y="1920"/>
                  </a:lnTo>
                  <a:lnTo>
                    <a:pt x="646" y="1924"/>
                  </a:lnTo>
                  <a:lnTo>
                    <a:pt x="640" y="1926"/>
                  </a:lnTo>
                  <a:lnTo>
                    <a:pt x="636" y="1930"/>
                  </a:lnTo>
                  <a:lnTo>
                    <a:pt x="634" y="1934"/>
                  </a:lnTo>
                  <a:lnTo>
                    <a:pt x="634" y="1938"/>
                  </a:lnTo>
                  <a:lnTo>
                    <a:pt x="634" y="1940"/>
                  </a:lnTo>
                  <a:lnTo>
                    <a:pt x="636" y="1940"/>
                  </a:lnTo>
                  <a:lnTo>
                    <a:pt x="638" y="1940"/>
                  </a:lnTo>
                  <a:lnTo>
                    <a:pt x="640" y="1942"/>
                  </a:lnTo>
                  <a:lnTo>
                    <a:pt x="640" y="1946"/>
                  </a:lnTo>
                  <a:lnTo>
                    <a:pt x="640" y="1950"/>
                  </a:lnTo>
                  <a:lnTo>
                    <a:pt x="642" y="1950"/>
                  </a:lnTo>
                  <a:lnTo>
                    <a:pt x="644" y="1952"/>
                  </a:lnTo>
                  <a:lnTo>
                    <a:pt x="646" y="1952"/>
                  </a:lnTo>
                  <a:lnTo>
                    <a:pt x="646" y="1954"/>
                  </a:lnTo>
                  <a:lnTo>
                    <a:pt x="646" y="1958"/>
                  </a:lnTo>
                  <a:lnTo>
                    <a:pt x="646" y="1962"/>
                  </a:lnTo>
                  <a:lnTo>
                    <a:pt x="648" y="1964"/>
                  </a:lnTo>
                  <a:lnTo>
                    <a:pt x="650" y="1966"/>
                  </a:lnTo>
                  <a:lnTo>
                    <a:pt x="654" y="1968"/>
                  </a:lnTo>
                  <a:lnTo>
                    <a:pt x="656" y="1972"/>
                  </a:lnTo>
                  <a:lnTo>
                    <a:pt x="654" y="1976"/>
                  </a:lnTo>
                  <a:lnTo>
                    <a:pt x="652" y="1980"/>
                  </a:lnTo>
                  <a:lnTo>
                    <a:pt x="648" y="1984"/>
                  </a:lnTo>
                  <a:lnTo>
                    <a:pt x="644" y="1986"/>
                  </a:lnTo>
                  <a:lnTo>
                    <a:pt x="638" y="1988"/>
                  </a:lnTo>
                  <a:lnTo>
                    <a:pt x="634" y="1986"/>
                  </a:lnTo>
                  <a:lnTo>
                    <a:pt x="628" y="1980"/>
                  </a:lnTo>
                  <a:lnTo>
                    <a:pt x="624" y="1974"/>
                  </a:lnTo>
                  <a:lnTo>
                    <a:pt x="624" y="1970"/>
                  </a:lnTo>
                  <a:lnTo>
                    <a:pt x="624" y="1968"/>
                  </a:lnTo>
                  <a:lnTo>
                    <a:pt x="626" y="1966"/>
                  </a:lnTo>
                  <a:lnTo>
                    <a:pt x="630" y="1964"/>
                  </a:lnTo>
                  <a:lnTo>
                    <a:pt x="634" y="1960"/>
                  </a:lnTo>
                  <a:lnTo>
                    <a:pt x="632" y="1958"/>
                  </a:lnTo>
                  <a:lnTo>
                    <a:pt x="628" y="1956"/>
                  </a:lnTo>
                  <a:lnTo>
                    <a:pt x="626" y="1952"/>
                  </a:lnTo>
                  <a:lnTo>
                    <a:pt x="626" y="1946"/>
                  </a:lnTo>
                  <a:lnTo>
                    <a:pt x="630" y="1942"/>
                  </a:lnTo>
                  <a:lnTo>
                    <a:pt x="630" y="1940"/>
                  </a:lnTo>
                  <a:lnTo>
                    <a:pt x="628" y="1940"/>
                  </a:lnTo>
                  <a:lnTo>
                    <a:pt x="618" y="1946"/>
                  </a:lnTo>
                  <a:lnTo>
                    <a:pt x="614" y="1944"/>
                  </a:lnTo>
                  <a:lnTo>
                    <a:pt x="612" y="1946"/>
                  </a:lnTo>
                  <a:lnTo>
                    <a:pt x="610" y="1954"/>
                  </a:lnTo>
                  <a:lnTo>
                    <a:pt x="606" y="1968"/>
                  </a:lnTo>
                  <a:lnTo>
                    <a:pt x="604" y="1978"/>
                  </a:lnTo>
                  <a:lnTo>
                    <a:pt x="600" y="1986"/>
                  </a:lnTo>
                  <a:lnTo>
                    <a:pt x="592" y="2000"/>
                  </a:lnTo>
                  <a:lnTo>
                    <a:pt x="588" y="2004"/>
                  </a:lnTo>
                  <a:lnTo>
                    <a:pt x="586" y="2004"/>
                  </a:lnTo>
                  <a:lnTo>
                    <a:pt x="586" y="2008"/>
                  </a:lnTo>
                  <a:lnTo>
                    <a:pt x="586" y="2010"/>
                  </a:lnTo>
                  <a:lnTo>
                    <a:pt x="584" y="2012"/>
                  </a:lnTo>
                  <a:lnTo>
                    <a:pt x="578" y="2014"/>
                  </a:lnTo>
                  <a:lnTo>
                    <a:pt x="572" y="2016"/>
                  </a:lnTo>
                  <a:lnTo>
                    <a:pt x="570" y="2018"/>
                  </a:lnTo>
                  <a:lnTo>
                    <a:pt x="572" y="2020"/>
                  </a:lnTo>
                  <a:lnTo>
                    <a:pt x="578" y="2024"/>
                  </a:lnTo>
                  <a:lnTo>
                    <a:pt x="586" y="2024"/>
                  </a:lnTo>
                  <a:lnTo>
                    <a:pt x="590" y="2026"/>
                  </a:lnTo>
                  <a:lnTo>
                    <a:pt x="584" y="2030"/>
                  </a:lnTo>
                  <a:lnTo>
                    <a:pt x="570" y="2026"/>
                  </a:lnTo>
                  <a:lnTo>
                    <a:pt x="564" y="2026"/>
                  </a:lnTo>
                  <a:lnTo>
                    <a:pt x="562" y="2028"/>
                  </a:lnTo>
                  <a:lnTo>
                    <a:pt x="562" y="2030"/>
                  </a:lnTo>
                  <a:lnTo>
                    <a:pt x="562" y="2032"/>
                  </a:lnTo>
                  <a:lnTo>
                    <a:pt x="568" y="2034"/>
                  </a:lnTo>
                  <a:lnTo>
                    <a:pt x="574" y="2036"/>
                  </a:lnTo>
                  <a:lnTo>
                    <a:pt x="580" y="2036"/>
                  </a:lnTo>
                  <a:lnTo>
                    <a:pt x="586" y="2036"/>
                  </a:lnTo>
                  <a:lnTo>
                    <a:pt x="588" y="2036"/>
                  </a:lnTo>
                  <a:lnTo>
                    <a:pt x="588" y="2038"/>
                  </a:lnTo>
                  <a:lnTo>
                    <a:pt x="588" y="2040"/>
                  </a:lnTo>
                  <a:lnTo>
                    <a:pt x="580" y="2042"/>
                  </a:lnTo>
                  <a:lnTo>
                    <a:pt x="576" y="2042"/>
                  </a:lnTo>
                  <a:lnTo>
                    <a:pt x="572" y="2042"/>
                  </a:lnTo>
                  <a:lnTo>
                    <a:pt x="566" y="2038"/>
                  </a:lnTo>
                  <a:lnTo>
                    <a:pt x="564" y="2038"/>
                  </a:lnTo>
                  <a:lnTo>
                    <a:pt x="558" y="2040"/>
                  </a:lnTo>
                  <a:lnTo>
                    <a:pt x="550" y="2044"/>
                  </a:lnTo>
                  <a:lnTo>
                    <a:pt x="540" y="2048"/>
                  </a:lnTo>
                  <a:lnTo>
                    <a:pt x="532" y="2054"/>
                  </a:lnTo>
                  <a:lnTo>
                    <a:pt x="524" y="2058"/>
                  </a:lnTo>
                  <a:lnTo>
                    <a:pt x="504" y="2060"/>
                  </a:lnTo>
                  <a:lnTo>
                    <a:pt x="492" y="2064"/>
                  </a:lnTo>
                  <a:lnTo>
                    <a:pt x="488" y="2068"/>
                  </a:lnTo>
                  <a:lnTo>
                    <a:pt x="486" y="2070"/>
                  </a:lnTo>
                  <a:lnTo>
                    <a:pt x="484" y="2074"/>
                  </a:lnTo>
                  <a:lnTo>
                    <a:pt x="484" y="2078"/>
                  </a:lnTo>
                  <a:lnTo>
                    <a:pt x="486" y="2086"/>
                  </a:lnTo>
                  <a:lnTo>
                    <a:pt x="484" y="2090"/>
                  </a:lnTo>
                  <a:lnTo>
                    <a:pt x="484" y="2094"/>
                  </a:lnTo>
                  <a:lnTo>
                    <a:pt x="486" y="2098"/>
                  </a:lnTo>
                  <a:lnTo>
                    <a:pt x="486" y="2100"/>
                  </a:lnTo>
                  <a:lnTo>
                    <a:pt x="484" y="2100"/>
                  </a:lnTo>
                  <a:lnTo>
                    <a:pt x="484" y="2102"/>
                  </a:lnTo>
                  <a:lnTo>
                    <a:pt x="486" y="2106"/>
                  </a:lnTo>
                  <a:lnTo>
                    <a:pt x="488" y="2108"/>
                  </a:lnTo>
                  <a:lnTo>
                    <a:pt x="486" y="2110"/>
                  </a:lnTo>
                  <a:lnTo>
                    <a:pt x="482" y="2112"/>
                  </a:lnTo>
                  <a:lnTo>
                    <a:pt x="480" y="2114"/>
                  </a:lnTo>
                  <a:lnTo>
                    <a:pt x="478" y="2118"/>
                  </a:lnTo>
                  <a:lnTo>
                    <a:pt x="472" y="2120"/>
                  </a:lnTo>
                  <a:lnTo>
                    <a:pt x="444" y="2132"/>
                  </a:lnTo>
                  <a:lnTo>
                    <a:pt x="434" y="2136"/>
                  </a:lnTo>
                  <a:lnTo>
                    <a:pt x="428" y="2140"/>
                  </a:lnTo>
                  <a:lnTo>
                    <a:pt x="426" y="2144"/>
                  </a:lnTo>
                  <a:lnTo>
                    <a:pt x="426" y="2146"/>
                  </a:lnTo>
                  <a:lnTo>
                    <a:pt x="426" y="2150"/>
                  </a:lnTo>
                  <a:lnTo>
                    <a:pt x="428" y="2152"/>
                  </a:lnTo>
                  <a:lnTo>
                    <a:pt x="432" y="2154"/>
                  </a:lnTo>
                  <a:lnTo>
                    <a:pt x="434" y="2154"/>
                  </a:lnTo>
                  <a:lnTo>
                    <a:pt x="432" y="2156"/>
                  </a:lnTo>
                  <a:lnTo>
                    <a:pt x="420" y="2162"/>
                  </a:lnTo>
                  <a:lnTo>
                    <a:pt x="416" y="2164"/>
                  </a:lnTo>
                  <a:lnTo>
                    <a:pt x="412" y="2164"/>
                  </a:lnTo>
                  <a:lnTo>
                    <a:pt x="402" y="2162"/>
                  </a:lnTo>
                  <a:lnTo>
                    <a:pt x="392" y="2158"/>
                  </a:lnTo>
                  <a:lnTo>
                    <a:pt x="384" y="2158"/>
                  </a:lnTo>
                  <a:lnTo>
                    <a:pt x="376" y="2160"/>
                  </a:lnTo>
                  <a:lnTo>
                    <a:pt x="374" y="2160"/>
                  </a:lnTo>
                  <a:lnTo>
                    <a:pt x="372" y="2156"/>
                  </a:lnTo>
                  <a:lnTo>
                    <a:pt x="372" y="2148"/>
                  </a:lnTo>
                  <a:lnTo>
                    <a:pt x="370" y="2142"/>
                  </a:lnTo>
                  <a:lnTo>
                    <a:pt x="368" y="2140"/>
                  </a:lnTo>
                  <a:lnTo>
                    <a:pt x="364" y="2140"/>
                  </a:lnTo>
                  <a:lnTo>
                    <a:pt x="356" y="2140"/>
                  </a:lnTo>
                  <a:lnTo>
                    <a:pt x="348" y="2140"/>
                  </a:lnTo>
                  <a:lnTo>
                    <a:pt x="346" y="2138"/>
                  </a:lnTo>
                  <a:lnTo>
                    <a:pt x="346" y="2142"/>
                  </a:lnTo>
                  <a:lnTo>
                    <a:pt x="348" y="2148"/>
                  </a:lnTo>
                  <a:lnTo>
                    <a:pt x="348" y="2152"/>
                  </a:lnTo>
                  <a:lnTo>
                    <a:pt x="348" y="2156"/>
                  </a:lnTo>
                  <a:lnTo>
                    <a:pt x="352" y="2160"/>
                  </a:lnTo>
                  <a:lnTo>
                    <a:pt x="356" y="2164"/>
                  </a:lnTo>
                  <a:lnTo>
                    <a:pt x="358" y="2172"/>
                  </a:lnTo>
                  <a:lnTo>
                    <a:pt x="360" y="2180"/>
                  </a:lnTo>
                  <a:lnTo>
                    <a:pt x="360" y="2188"/>
                  </a:lnTo>
                  <a:lnTo>
                    <a:pt x="360" y="2192"/>
                  </a:lnTo>
                  <a:lnTo>
                    <a:pt x="360" y="2194"/>
                  </a:lnTo>
                  <a:lnTo>
                    <a:pt x="362" y="2200"/>
                  </a:lnTo>
                  <a:lnTo>
                    <a:pt x="364" y="2202"/>
                  </a:lnTo>
                  <a:lnTo>
                    <a:pt x="358" y="2204"/>
                  </a:lnTo>
                  <a:lnTo>
                    <a:pt x="352" y="2204"/>
                  </a:lnTo>
                  <a:lnTo>
                    <a:pt x="350" y="2202"/>
                  </a:lnTo>
                  <a:lnTo>
                    <a:pt x="348" y="2198"/>
                  </a:lnTo>
                  <a:lnTo>
                    <a:pt x="346" y="2198"/>
                  </a:lnTo>
                  <a:lnTo>
                    <a:pt x="344" y="2198"/>
                  </a:lnTo>
                  <a:lnTo>
                    <a:pt x="344" y="2200"/>
                  </a:lnTo>
                  <a:lnTo>
                    <a:pt x="342" y="2202"/>
                  </a:lnTo>
                  <a:lnTo>
                    <a:pt x="338" y="2202"/>
                  </a:lnTo>
                  <a:lnTo>
                    <a:pt x="334" y="2202"/>
                  </a:lnTo>
                  <a:lnTo>
                    <a:pt x="332" y="2200"/>
                  </a:lnTo>
                  <a:lnTo>
                    <a:pt x="330" y="2198"/>
                  </a:lnTo>
                  <a:lnTo>
                    <a:pt x="326" y="2200"/>
                  </a:lnTo>
                  <a:lnTo>
                    <a:pt x="318" y="2206"/>
                  </a:lnTo>
                  <a:lnTo>
                    <a:pt x="314" y="2208"/>
                  </a:lnTo>
                  <a:lnTo>
                    <a:pt x="310" y="2206"/>
                  </a:lnTo>
                  <a:lnTo>
                    <a:pt x="302" y="2192"/>
                  </a:lnTo>
                  <a:lnTo>
                    <a:pt x="298" y="2186"/>
                  </a:lnTo>
                  <a:lnTo>
                    <a:pt x="296" y="2186"/>
                  </a:lnTo>
                  <a:lnTo>
                    <a:pt x="292" y="2188"/>
                  </a:lnTo>
                  <a:lnTo>
                    <a:pt x="286" y="2190"/>
                  </a:lnTo>
                  <a:lnTo>
                    <a:pt x="282" y="2190"/>
                  </a:lnTo>
                  <a:lnTo>
                    <a:pt x="280" y="2190"/>
                  </a:lnTo>
                  <a:lnTo>
                    <a:pt x="278" y="2194"/>
                  </a:lnTo>
                  <a:lnTo>
                    <a:pt x="278" y="2198"/>
                  </a:lnTo>
                  <a:lnTo>
                    <a:pt x="276" y="2200"/>
                  </a:lnTo>
                  <a:lnTo>
                    <a:pt x="270" y="2200"/>
                  </a:lnTo>
                  <a:lnTo>
                    <a:pt x="264" y="2198"/>
                  </a:lnTo>
                  <a:lnTo>
                    <a:pt x="260" y="2196"/>
                  </a:lnTo>
                  <a:lnTo>
                    <a:pt x="258" y="2198"/>
                  </a:lnTo>
                  <a:lnTo>
                    <a:pt x="250" y="2200"/>
                  </a:lnTo>
                  <a:lnTo>
                    <a:pt x="240" y="2202"/>
                  </a:lnTo>
                  <a:lnTo>
                    <a:pt x="234" y="2206"/>
                  </a:lnTo>
                  <a:lnTo>
                    <a:pt x="230" y="2212"/>
                  </a:lnTo>
                  <a:lnTo>
                    <a:pt x="230" y="2216"/>
                  </a:lnTo>
                  <a:lnTo>
                    <a:pt x="232" y="2218"/>
                  </a:lnTo>
                  <a:lnTo>
                    <a:pt x="236" y="2218"/>
                  </a:lnTo>
                  <a:lnTo>
                    <a:pt x="240" y="2218"/>
                  </a:lnTo>
                  <a:lnTo>
                    <a:pt x="244" y="2218"/>
                  </a:lnTo>
                  <a:lnTo>
                    <a:pt x="246" y="2220"/>
                  </a:lnTo>
                  <a:lnTo>
                    <a:pt x="242" y="2220"/>
                  </a:lnTo>
                  <a:lnTo>
                    <a:pt x="238" y="2222"/>
                  </a:lnTo>
                  <a:lnTo>
                    <a:pt x="238" y="2224"/>
                  </a:lnTo>
                  <a:lnTo>
                    <a:pt x="236" y="2226"/>
                  </a:lnTo>
                  <a:lnTo>
                    <a:pt x="238" y="2228"/>
                  </a:lnTo>
                  <a:lnTo>
                    <a:pt x="242" y="2228"/>
                  </a:lnTo>
                  <a:lnTo>
                    <a:pt x="246" y="2228"/>
                  </a:lnTo>
                  <a:lnTo>
                    <a:pt x="250" y="2230"/>
                  </a:lnTo>
                  <a:lnTo>
                    <a:pt x="246" y="2232"/>
                  </a:lnTo>
                  <a:lnTo>
                    <a:pt x="240" y="2234"/>
                  </a:lnTo>
                  <a:lnTo>
                    <a:pt x="234" y="2234"/>
                  </a:lnTo>
                  <a:lnTo>
                    <a:pt x="234" y="2236"/>
                  </a:lnTo>
                  <a:lnTo>
                    <a:pt x="236" y="2238"/>
                  </a:lnTo>
                  <a:lnTo>
                    <a:pt x="242" y="2244"/>
                  </a:lnTo>
                  <a:lnTo>
                    <a:pt x="244" y="2248"/>
                  </a:lnTo>
                  <a:lnTo>
                    <a:pt x="248" y="2250"/>
                  </a:lnTo>
                  <a:lnTo>
                    <a:pt x="252" y="2250"/>
                  </a:lnTo>
                  <a:lnTo>
                    <a:pt x="258" y="2248"/>
                  </a:lnTo>
                  <a:lnTo>
                    <a:pt x="264" y="2248"/>
                  </a:lnTo>
                  <a:lnTo>
                    <a:pt x="280" y="2254"/>
                  </a:lnTo>
                  <a:lnTo>
                    <a:pt x="286" y="2258"/>
                  </a:lnTo>
                  <a:lnTo>
                    <a:pt x="292" y="2260"/>
                  </a:lnTo>
                  <a:lnTo>
                    <a:pt x="296" y="2262"/>
                  </a:lnTo>
                  <a:lnTo>
                    <a:pt x="302" y="2262"/>
                  </a:lnTo>
                  <a:lnTo>
                    <a:pt x="306" y="2262"/>
                  </a:lnTo>
                  <a:lnTo>
                    <a:pt x="306" y="2266"/>
                  </a:lnTo>
                  <a:lnTo>
                    <a:pt x="306" y="2268"/>
                  </a:lnTo>
                  <a:lnTo>
                    <a:pt x="314" y="2268"/>
                  </a:lnTo>
                  <a:lnTo>
                    <a:pt x="318" y="2268"/>
                  </a:lnTo>
                  <a:lnTo>
                    <a:pt x="322" y="2268"/>
                  </a:lnTo>
                  <a:lnTo>
                    <a:pt x="324" y="2270"/>
                  </a:lnTo>
                  <a:lnTo>
                    <a:pt x="322" y="2272"/>
                  </a:lnTo>
                  <a:lnTo>
                    <a:pt x="320" y="2276"/>
                  </a:lnTo>
                  <a:lnTo>
                    <a:pt x="320" y="2280"/>
                  </a:lnTo>
                  <a:lnTo>
                    <a:pt x="322" y="2282"/>
                  </a:lnTo>
                  <a:lnTo>
                    <a:pt x="330" y="2282"/>
                  </a:lnTo>
                  <a:lnTo>
                    <a:pt x="334" y="2282"/>
                  </a:lnTo>
                  <a:lnTo>
                    <a:pt x="334" y="2286"/>
                  </a:lnTo>
                  <a:lnTo>
                    <a:pt x="332" y="2290"/>
                  </a:lnTo>
                  <a:lnTo>
                    <a:pt x="334" y="2290"/>
                  </a:lnTo>
                  <a:lnTo>
                    <a:pt x="336" y="2292"/>
                  </a:lnTo>
                  <a:lnTo>
                    <a:pt x="340" y="2292"/>
                  </a:lnTo>
                  <a:lnTo>
                    <a:pt x="342" y="2294"/>
                  </a:lnTo>
                  <a:lnTo>
                    <a:pt x="342" y="2298"/>
                  </a:lnTo>
                  <a:lnTo>
                    <a:pt x="338" y="2300"/>
                  </a:lnTo>
                  <a:lnTo>
                    <a:pt x="336" y="2302"/>
                  </a:lnTo>
                  <a:lnTo>
                    <a:pt x="336" y="2306"/>
                  </a:lnTo>
                  <a:lnTo>
                    <a:pt x="340" y="2314"/>
                  </a:lnTo>
                  <a:lnTo>
                    <a:pt x="348" y="2324"/>
                  </a:lnTo>
                  <a:lnTo>
                    <a:pt x="358" y="2332"/>
                  </a:lnTo>
                  <a:lnTo>
                    <a:pt x="368" y="2336"/>
                  </a:lnTo>
                  <a:lnTo>
                    <a:pt x="374" y="2338"/>
                  </a:lnTo>
                  <a:lnTo>
                    <a:pt x="376" y="2338"/>
                  </a:lnTo>
                  <a:lnTo>
                    <a:pt x="374" y="2342"/>
                  </a:lnTo>
                  <a:lnTo>
                    <a:pt x="374" y="2346"/>
                  </a:lnTo>
                  <a:lnTo>
                    <a:pt x="376" y="2348"/>
                  </a:lnTo>
                  <a:lnTo>
                    <a:pt x="378" y="2352"/>
                  </a:lnTo>
                  <a:lnTo>
                    <a:pt x="378" y="2360"/>
                  </a:lnTo>
                  <a:lnTo>
                    <a:pt x="376" y="2364"/>
                  </a:lnTo>
                  <a:lnTo>
                    <a:pt x="374" y="2366"/>
                  </a:lnTo>
                  <a:lnTo>
                    <a:pt x="370" y="2368"/>
                  </a:lnTo>
                  <a:lnTo>
                    <a:pt x="370" y="2370"/>
                  </a:lnTo>
                  <a:lnTo>
                    <a:pt x="378" y="2376"/>
                  </a:lnTo>
                  <a:lnTo>
                    <a:pt x="388" y="2382"/>
                  </a:lnTo>
                  <a:lnTo>
                    <a:pt x="392" y="2388"/>
                  </a:lnTo>
                  <a:lnTo>
                    <a:pt x="394" y="2396"/>
                  </a:lnTo>
                  <a:lnTo>
                    <a:pt x="394" y="2402"/>
                  </a:lnTo>
                  <a:lnTo>
                    <a:pt x="394" y="2404"/>
                  </a:lnTo>
                  <a:lnTo>
                    <a:pt x="392" y="2398"/>
                  </a:lnTo>
                  <a:lnTo>
                    <a:pt x="388" y="2388"/>
                  </a:lnTo>
                  <a:lnTo>
                    <a:pt x="384" y="2384"/>
                  </a:lnTo>
                  <a:lnTo>
                    <a:pt x="380" y="2382"/>
                  </a:lnTo>
                  <a:lnTo>
                    <a:pt x="378" y="2390"/>
                  </a:lnTo>
                  <a:lnTo>
                    <a:pt x="372" y="2410"/>
                  </a:lnTo>
                  <a:lnTo>
                    <a:pt x="370" y="2426"/>
                  </a:lnTo>
                  <a:lnTo>
                    <a:pt x="372" y="2428"/>
                  </a:lnTo>
                  <a:lnTo>
                    <a:pt x="374" y="2426"/>
                  </a:lnTo>
                  <a:lnTo>
                    <a:pt x="376" y="2426"/>
                  </a:lnTo>
                  <a:lnTo>
                    <a:pt x="378" y="2426"/>
                  </a:lnTo>
                  <a:lnTo>
                    <a:pt x="378" y="2430"/>
                  </a:lnTo>
                  <a:lnTo>
                    <a:pt x="376" y="2432"/>
                  </a:lnTo>
                  <a:lnTo>
                    <a:pt x="374" y="2432"/>
                  </a:lnTo>
                  <a:lnTo>
                    <a:pt x="372" y="2436"/>
                  </a:lnTo>
                  <a:lnTo>
                    <a:pt x="370" y="2460"/>
                  </a:lnTo>
                  <a:lnTo>
                    <a:pt x="366" y="2480"/>
                  </a:lnTo>
                  <a:lnTo>
                    <a:pt x="362" y="2492"/>
                  </a:lnTo>
                  <a:lnTo>
                    <a:pt x="358" y="2500"/>
                  </a:lnTo>
                  <a:lnTo>
                    <a:pt x="352" y="2502"/>
                  </a:lnTo>
                  <a:lnTo>
                    <a:pt x="342" y="2506"/>
                  </a:lnTo>
                  <a:lnTo>
                    <a:pt x="334" y="2506"/>
                  </a:lnTo>
                  <a:lnTo>
                    <a:pt x="326" y="2504"/>
                  </a:lnTo>
                  <a:lnTo>
                    <a:pt x="314" y="2500"/>
                  </a:lnTo>
                  <a:lnTo>
                    <a:pt x="308" y="2500"/>
                  </a:lnTo>
                  <a:lnTo>
                    <a:pt x="300" y="2502"/>
                  </a:lnTo>
                  <a:lnTo>
                    <a:pt x="286" y="2498"/>
                  </a:lnTo>
                  <a:lnTo>
                    <a:pt x="278" y="2496"/>
                  </a:lnTo>
                  <a:lnTo>
                    <a:pt x="270" y="2496"/>
                  </a:lnTo>
                  <a:lnTo>
                    <a:pt x="252" y="2498"/>
                  </a:lnTo>
                  <a:lnTo>
                    <a:pt x="232" y="2498"/>
                  </a:lnTo>
                  <a:lnTo>
                    <a:pt x="220" y="2498"/>
                  </a:lnTo>
                  <a:lnTo>
                    <a:pt x="206" y="2494"/>
                  </a:lnTo>
                  <a:lnTo>
                    <a:pt x="192" y="2490"/>
                  </a:lnTo>
                  <a:lnTo>
                    <a:pt x="182" y="2490"/>
                  </a:lnTo>
                  <a:lnTo>
                    <a:pt x="172" y="2492"/>
                  </a:lnTo>
                  <a:lnTo>
                    <a:pt x="154" y="2492"/>
                  </a:lnTo>
                  <a:lnTo>
                    <a:pt x="142" y="2492"/>
                  </a:lnTo>
                  <a:lnTo>
                    <a:pt x="134" y="2490"/>
                  </a:lnTo>
                  <a:lnTo>
                    <a:pt x="120" y="2486"/>
                  </a:lnTo>
                  <a:lnTo>
                    <a:pt x="110" y="2482"/>
                  </a:lnTo>
                  <a:lnTo>
                    <a:pt x="104" y="2484"/>
                  </a:lnTo>
                  <a:lnTo>
                    <a:pt x="98" y="2486"/>
                  </a:lnTo>
                  <a:lnTo>
                    <a:pt x="92" y="2490"/>
                  </a:lnTo>
                  <a:lnTo>
                    <a:pt x="88" y="2492"/>
                  </a:lnTo>
                  <a:lnTo>
                    <a:pt x="86" y="2500"/>
                  </a:lnTo>
                  <a:lnTo>
                    <a:pt x="86" y="2504"/>
                  </a:lnTo>
                  <a:lnTo>
                    <a:pt x="82" y="2506"/>
                  </a:lnTo>
                  <a:lnTo>
                    <a:pt x="78" y="2506"/>
                  </a:lnTo>
                  <a:lnTo>
                    <a:pt x="72" y="2506"/>
                  </a:lnTo>
                  <a:lnTo>
                    <a:pt x="66" y="2508"/>
                  </a:lnTo>
                  <a:lnTo>
                    <a:pt x="54" y="2516"/>
                  </a:lnTo>
                  <a:lnTo>
                    <a:pt x="50" y="2520"/>
                  </a:lnTo>
                  <a:lnTo>
                    <a:pt x="48" y="2524"/>
                  </a:lnTo>
                  <a:lnTo>
                    <a:pt x="48" y="2528"/>
                  </a:lnTo>
                  <a:lnTo>
                    <a:pt x="50" y="2530"/>
                  </a:lnTo>
                  <a:lnTo>
                    <a:pt x="54" y="2534"/>
                  </a:lnTo>
                  <a:lnTo>
                    <a:pt x="56" y="2540"/>
                  </a:lnTo>
                  <a:lnTo>
                    <a:pt x="58" y="2546"/>
                  </a:lnTo>
                  <a:lnTo>
                    <a:pt x="60" y="2552"/>
                  </a:lnTo>
                  <a:lnTo>
                    <a:pt x="64" y="2560"/>
                  </a:lnTo>
                  <a:lnTo>
                    <a:pt x="64" y="2570"/>
                  </a:lnTo>
                  <a:lnTo>
                    <a:pt x="64" y="2578"/>
                  </a:lnTo>
                  <a:lnTo>
                    <a:pt x="66" y="2588"/>
                  </a:lnTo>
                  <a:lnTo>
                    <a:pt x="64" y="2594"/>
                  </a:lnTo>
                  <a:lnTo>
                    <a:pt x="66" y="2596"/>
                  </a:lnTo>
                  <a:lnTo>
                    <a:pt x="68" y="2600"/>
                  </a:lnTo>
                  <a:lnTo>
                    <a:pt x="66" y="2602"/>
                  </a:lnTo>
                  <a:lnTo>
                    <a:pt x="66" y="2606"/>
                  </a:lnTo>
                  <a:lnTo>
                    <a:pt x="66" y="2612"/>
                  </a:lnTo>
                  <a:lnTo>
                    <a:pt x="74" y="2628"/>
                  </a:lnTo>
                  <a:lnTo>
                    <a:pt x="74" y="2632"/>
                  </a:lnTo>
                  <a:lnTo>
                    <a:pt x="74" y="2640"/>
                  </a:lnTo>
                  <a:lnTo>
                    <a:pt x="70" y="2654"/>
                  </a:lnTo>
                  <a:lnTo>
                    <a:pt x="66" y="2670"/>
                  </a:lnTo>
                  <a:lnTo>
                    <a:pt x="64" y="2680"/>
                  </a:lnTo>
                  <a:lnTo>
                    <a:pt x="66" y="2684"/>
                  </a:lnTo>
                  <a:lnTo>
                    <a:pt x="64" y="2688"/>
                  </a:lnTo>
                  <a:lnTo>
                    <a:pt x="60" y="2694"/>
                  </a:lnTo>
                  <a:lnTo>
                    <a:pt x="56" y="2708"/>
                  </a:lnTo>
                  <a:lnTo>
                    <a:pt x="54" y="2716"/>
                  </a:lnTo>
                  <a:lnTo>
                    <a:pt x="50" y="2720"/>
                  </a:lnTo>
                  <a:lnTo>
                    <a:pt x="46" y="2724"/>
                  </a:lnTo>
                  <a:lnTo>
                    <a:pt x="44" y="2726"/>
                  </a:lnTo>
                  <a:lnTo>
                    <a:pt x="44" y="2730"/>
                  </a:lnTo>
                  <a:lnTo>
                    <a:pt x="44" y="2734"/>
                  </a:lnTo>
                  <a:lnTo>
                    <a:pt x="44" y="2740"/>
                  </a:lnTo>
                  <a:lnTo>
                    <a:pt x="40" y="2750"/>
                  </a:lnTo>
                  <a:lnTo>
                    <a:pt x="38" y="2756"/>
                  </a:lnTo>
                  <a:lnTo>
                    <a:pt x="38" y="2760"/>
                  </a:lnTo>
                  <a:lnTo>
                    <a:pt x="40" y="2762"/>
                  </a:lnTo>
                  <a:lnTo>
                    <a:pt x="44" y="2764"/>
                  </a:lnTo>
                  <a:lnTo>
                    <a:pt x="52" y="2764"/>
                  </a:lnTo>
                  <a:lnTo>
                    <a:pt x="50" y="2766"/>
                  </a:lnTo>
                  <a:lnTo>
                    <a:pt x="50" y="2770"/>
                  </a:lnTo>
                  <a:lnTo>
                    <a:pt x="50" y="2772"/>
                  </a:lnTo>
                  <a:lnTo>
                    <a:pt x="50" y="2776"/>
                  </a:lnTo>
                  <a:lnTo>
                    <a:pt x="50" y="2778"/>
                  </a:lnTo>
                  <a:lnTo>
                    <a:pt x="52" y="2778"/>
                  </a:lnTo>
                  <a:lnTo>
                    <a:pt x="58" y="2776"/>
                  </a:lnTo>
                  <a:lnTo>
                    <a:pt x="64" y="2778"/>
                  </a:lnTo>
                  <a:lnTo>
                    <a:pt x="66" y="2780"/>
                  </a:lnTo>
                  <a:lnTo>
                    <a:pt x="66" y="2782"/>
                  </a:lnTo>
                  <a:lnTo>
                    <a:pt x="68" y="2788"/>
                  </a:lnTo>
                  <a:lnTo>
                    <a:pt x="66" y="2794"/>
                  </a:lnTo>
                  <a:lnTo>
                    <a:pt x="64" y="2804"/>
                  </a:lnTo>
                  <a:lnTo>
                    <a:pt x="66" y="2810"/>
                  </a:lnTo>
                  <a:lnTo>
                    <a:pt x="66" y="2820"/>
                  </a:lnTo>
                  <a:lnTo>
                    <a:pt x="62" y="2842"/>
                  </a:lnTo>
                  <a:lnTo>
                    <a:pt x="60" y="2856"/>
                  </a:lnTo>
                  <a:lnTo>
                    <a:pt x="62" y="2856"/>
                  </a:lnTo>
                  <a:lnTo>
                    <a:pt x="64" y="2856"/>
                  </a:lnTo>
                  <a:lnTo>
                    <a:pt x="68" y="2852"/>
                  </a:lnTo>
                  <a:lnTo>
                    <a:pt x="72" y="2850"/>
                  </a:lnTo>
                  <a:lnTo>
                    <a:pt x="80" y="2850"/>
                  </a:lnTo>
                  <a:lnTo>
                    <a:pt x="92" y="2854"/>
                  </a:lnTo>
                  <a:lnTo>
                    <a:pt x="104" y="2858"/>
                  </a:lnTo>
                  <a:lnTo>
                    <a:pt x="110" y="2856"/>
                  </a:lnTo>
                  <a:lnTo>
                    <a:pt x="114" y="2852"/>
                  </a:lnTo>
                  <a:lnTo>
                    <a:pt x="124" y="2846"/>
                  </a:lnTo>
                  <a:lnTo>
                    <a:pt x="130" y="2844"/>
                  </a:lnTo>
                  <a:lnTo>
                    <a:pt x="136" y="2844"/>
                  </a:lnTo>
                  <a:lnTo>
                    <a:pt x="142" y="2846"/>
                  </a:lnTo>
                  <a:lnTo>
                    <a:pt x="148" y="2850"/>
                  </a:lnTo>
                  <a:lnTo>
                    <a:pt x="158" y="2858"/>
                  </a:lnTo>
                  <a:lnTo>
                    <a:pt x="160" y="2862"/>
                  </a:lnTo>
                  <a:lnTo>
                    <a:pt x="162" y="2866"/>
                  </a:lnTo>
                  <a:lnTo>
                    <a:pt x="162" y="2874"/>
                  </a:lnTo>
                  <a:lnTo>
                    <a:pt x="166" y="2882"/>
                  </a:lnTo>
                  <a:lnTo>
                    <a:pt x="174" y="2892"/>
                  </a:lnTo>
                  <a:lnTo>
                    <a:pt x="182" y="2902"/>
                  </a:lnTo>
                  <a:lnTo>
                    <a:pt x="190" y="2908"/>
                  </a:lnTo>
                  <a:lnTo>
                    <a:pt x="196" y="2910"/>
                  </a:lnTo>
                  <a:lnTo>
                    <a:pt x="198" y="2910"/>
                  </a:lnTo>
                  <a:lnTo>
                    <a:pt x="202" y="2906"/>
                  </a:lnTo>
                  <a:lnTo>
                    <a:pt x="206" y="2902"/>
                  </a:lnTo>
                  <a:lnTo>
                    <a:pt x="208" y="2898"/>
                  </a:lnTo>
                  <a:lnTo>
                    <a:pt x="212" y="2892"/>
                  </a:lnTo>
                  <a:lnTo>
                    <a:pt x="214" y="2888"/>
                  </a:lnTo>
                  <a:lnTo>
                    <a:pt x="218" y="2886"/>
                  </a:lnTo>
                  <a:lnTo>
                    <a:pt x="228" y="2884"/>
                  </a:lnTo>
                  <a:lnTo>
                    <a:pt x="236" y="2884"/>
                  </a:lnTo>
                  <a:lnTo>
                    <a:pt x="238" y="2882"/>
                  </a:lnTo>
                  <a:lnTo>
                    <a:pt x="240" y="2880"/>
                  </a:lnTo>
                  <a:lnTo>
                    <a:pt x="246" y="2874"/>
                  </a:lnTo>
                  <a:lnTo>
                    <a:pt x="254" y="2868"/>
                  </a:lnTo>
                  <a:lnTo>
                    <a:pt x="264" y="2868"/>
                  </a:lnTo>
                  <a:lnTo>
                    <a:pt x="270" y="2868"/>
                  </a:lnTo>
                  <a:lnTo>
                    <a:pt x="276" y="2870"/>
                  </a:lnTo>
                  <a:lnTo>
                    <a:pt x="284" y="2872"/>
                  </a:lnTo>
                  <a:lnTo>
                    <a:pt x="292" y="2874"/>
                  </a:lnTo>
                  <a:lnTo>
                    <a:pt x="310" y="2870"/>
                  </a:lnTo>
                  <a:lnTo>
                    <a:pt x="322" y="2868"/>
                  </a:lnTo>
                  <a:lnTo>
                    <a:pt x="328" y="2866"/>
                  </a:lnTo>
                  <a:lnTo>
                    <a:pt x="332" y="2868"/>
                  </a:lnTo>
                  <a:lnTo>
                    <a:pt x="336" y="2870"/>
                  </a:lnTo>
                  <a:lnTo>
                    <a:pt x="340" y="2866"/>
                  </a:lnTo>
                  <a:lnTo>
                    <a:pt x="346" y="2852"/>
                  </a:lnTo>
                  <a:lnTo>
                    <a:pt x="350" y="2844"/>
                  </a:lnTo>
                  <a:lnTo>
                    <a:pt x="356" y="2836"/>
                  </a:lnTo>
                  <a:lnTo>
                    <a:pt x="364" y="2830"/>
                  </a:lnTo>
                  <a:lnTo>
                    <a:pt x="374" y="2828"/>
                  </a:lnTo>
                  <a:lnTo>
                    <a:pt x="390" y="2826"/>
                  </a:lnTo>
                  <a:lnTo>
                    <a:pt x="392" y="2824"/>
                  </a:lnTo>
                  <a:lnTo>
                    <a:pt x="390" y="2818"/>
                  </a:lnTo>
                  <a:lnTo>
                    <a:pt x="392" y="2808"/>
                  </a:lnTo>
                  <a:lnTo>
                    <a:pt x="396" y="2798"/>
                  </a:lnTo>
                  <a:lnTo>
                    <a:pt x="402" y="2788"/>
                  </a:lnTo>
                  <a:lnTo>
                    <a:pt x="410" y="2780"/>
                  </a:lnTo>
                  <a:lnTo>
                    <a:pt x="424" y="2768"/>
                  </a:lnTo>
                  <a:lnTo>
                    <a:pt x="428" y="2764"/>
                  </a:lnTo>
                  <a:lnTo>
                    <a:pt x="430" y="2760"/>
                  </a:lnTo>
                  <a:lnTo>
                    <a:pt x="428" y="2756"/>
                  </a:lnTo>
                  <a:lnTo>
                    <a:pt x="422" y="2752"/>
                  </a:lnTo>
                  <a:lnTo>
                    <a:pt x="416" y="2746"/>
                  </a:lnTo>
                  <a:lnTo>
                    <a:pt x="412" y="2740"/>
                  </a:lnTo>
                  <a:lnTo>
                    <a:pt x="410" y="2734"/>
                  </a:lnTo>
                  <a:lnTo>
                    <a:pt x="410" y="2724"/>
                  </a:lnTo>
                  <a:lnTo>
                    <a:pt x="412" y="2714"/>
                  </a:lnTo>
                  <a:lnTo>
                    <a:pt x="418" y="2702"/>
                  </a:lnTo>
                  <a:lnTo>
                    <a:pt x="424" y="2690"/>
                  </a:lnTo>
                  <a:lnTo>
                    <a:pt x="438" y="2670"/>
                  </a:lnTo>
                  <a:lnTo>
                    <a:pt x="446" y="2664"/>
                  </a:lnTo>
                  <a:lnTo>
                    <a:pt x="450" y="2660"/>
                  </a:lnTo>
                  <a:lnTo>
                    <a:pt x="460" y="2656"/>
                  </a:lnTo>
                  <a:lnTo>
                    <a:pt x="460" y="2654"/>
                  </a:lnTo>
                  <a:lnTo>
                    <a:pt x="460" y="2652"/>
                  </a:lnTo>
                  <a:lnTo>
                    <a:pt x="454" y="2648"/>
                  </a:lnTo>
                  <a:lnTo>
                    <a:pt x="454" y="2646"/>
                  </a:lnTo>
                  <a:lnTo>
                    <a:pt x="454" y="2642"/>
                  </a:lnTo>
                  <a:lnTo>
                    <a:pt x="458" y="2638"/>
                  </a:lnTo>
                  <a:lnTo>
                    <a:pt x="466" y="2634"/>
                  </a:lnTo>
                  <a:lnTo>
                    <a:pt x="484" y="2628"/>
                  </a:lnTo>
                  <a:lnTo>
                    <a:pt x="502" y="2624"/>
                  </a:lnTo>
                  <a:lnTo>
                    <a:pt x="508" y="2620"/>
                  </a:lnTo>
                  <a:lnTo>
                    <a:pt x="510" y="2616"/>
                  </a:lnTo>
                  <a:lnTo>
                    <a:pt x="514" y="2612"/>
                  </a:lnTo>
                  <a:lnTo>
                    <a:pt x="520" y="2608"/>
                  </a:lnTo>
                  <a:lnTo>
                    <a:pt x="536" y="2600"/>
                  </a:lnTo>
                  <a:lnTo>
                    <a:pt x="544" y="2596"/>
                  </a:lnTo>
                  <a:lnTo>
                    <a:pt x="550" y="2590"/>
                  </a:lnTo>
                  <a:lnTo>
                    <a:pt x="552" y="2584"/>
                  </a:lnTo>
                  <a:lnTo>
                    <a:pt x="552" y="2580"/>
                  </a:lnTo>
                  <a:lnTo>
                    <a:pt x="550" y="2576"/>
                  </a:lnTo>
                  <a:lnTo>
                    <a:pt x="550" y="2572"/>
                  </a:lnTo>
                  <a:lnTo>
                    <a:pt x="550" y="2570"/>
                  </a:lnTo>
                  <a:lnTo>
                    <a:pt x="554" y="2566"/>
                  </a:lnTo>
                  <a:lnTo>
                    <a:pt x="556" y="2566"/>
                  </a:lnTo>
                  <a:lnTo>
                    <a:pt x="556" y="2562"/>
                  </a:lnTo>
                  <a:lnTo>
                    <a:pt x="554" y="2560"/>
                  </a:lnTo>
                  <a:lnTo>
                    <a:pt x="548" y="2554"/>
                  </a:lnTo>
                  <a:lnTo>
                    <a:pt x="548" y="2542"/>
                  </a:lnTo>
                  <a:lnTo>
                    <a:pt x="548" y="2536"/>
                  </a:lnTo>
                  <a:lnTo>
                    <a:pt x="548" y="2532"/>
                  </a:lnTo>
                  <a:lnTo>
                    <a:pt x="548" y="2524"/>
                  </a:lnTo>
                  <a:lnTo>
                    <a:pt x="548" y="2518"/>
                  </a:lnTo>
                  <a:lnTo>
                    <a:pt x="550" y="2514"/>
                  </a:lnTo>
                  <a:lnTo>
                    <a:pt x="556" y="2510"/>
                  </a:lnTo>
                  <a:lnTo>
                    <a:pt x="564" y="2508"/>
                  </a:lnTo>
                  <a:lnTo>
                    <a:pt x="572" y="2502"/>
                  </a:lnTo>
                  <a:lnTo>
                    <a:pt x="584" y="2494"/>
                  </a:lnTo>
                  <a:lnTo>
                    <a:pt x="586" y="2494"/>
                  </a:lnTo>
                  <a:lnTo>
                    <a:pt x="588" y="2494"/>
                  </a:lnTo>
                  <a:lnTo>
                    <a:pt x="590" y="2498"/>
                  </a:lnTo>
                  <a:lnTo>
                    <a:pt x="592" y="2500"/>
                  </a:lnTo>
                  <a:lnTo>
                    <a:pt x="598" y="2502"/>
                  </a:lnTo>
                  <a:lnTo>
                    <a:pt x="604" y="2502"/>
                  </a:lnTo>
                  <a:lnTo>
                    <a:pt x="608" y="2504"/>
                  </a:lnTo>
                  <a:lnTo>
                    <a:pt x="610" y="2506"/>
                  </a:lnTo>
                  <a:lnTo>
                    <a:pt x="616" y="2506"/>
                  </a:lnTo>
                  <a:lnTo>
                    <a:pt x="626" y="2504"/>
                  </a:lnTo>
                  <a:lnTo>
                    <a:pt x="630" y="2504"/>
                  </a:lnTo>
                  <a:lnTo>
                    <a:pt x="634" y="2506"/>
                  </a:lnTo>
                  <a:lnTo>
                    <a:pt x="640" y="2512"/>
                  </a:lnTo>
                  <a:lnTo>
                    <a:pt x="644" y="2516"/>
                  </a:lnTo>
                  <a:lnTo>
                    <a:pt x="646" y="2516"/>
                  </a:lnTo>
                  <a:lnTo>
                    <a:pt x="650" y="2514"/>
                  </a:lnTo>
                  <a:lnTo>
                    <a:pt x="654" y="2516"/>
                  </a:lnTo>
                  <a:lnTo>
                    <a:pt x="656" y="2518"/>
                  </a:lnTo>
                  <a:lnTo>
                    <a:pt x="660" y="2520"/>
                  </a:lnTo>
                  <a:lnTo>
                    <a:pt x="664" y="2520"/>
                  </a:lnTo>
                  <a:lnTo>
                    <a:pt x="678" y="2518"/>
                  </a:lnTo>
                  <a:lnTo>
                    <a:pt x="690" y="2512"/>
                  </a:lnTo>
                  <a:lnTo>
                    <a:pt x="692" y="2508"/>
                  </a:lnTo>
                  <a:lnTo>
                    <a:pt x="694" y="2506"/>
                  </a:lnTo>
                  <a:lnTo>
                    <a:pt x="694" y="2502"/>
                  </a:lnTo>
                  <a:lnTo>
                    <a:pt x="696" y="2500"/>
                  </a:lnTo>
                  <a:lnTo>
                    <a:pt x="704" y="2494"/>
                  </a:lnTo>
                  <a:lnTo>
                    <a:pt x="726" y="2482"/>
                  </a:lnTo>
                  <a:lnTo>
                    <a:pt x="738" y="2476"/>
                  </a:lnTo>
                  <a:lnTo>
                    <a:pt x="748" y="2472"/>
                  </a:lnTo>
                  <a:lnTo>
                    <a:pt x="754" y="2466"/>
                  </a:lnTo>
                  <a:lnTo>
                    <a:pt x="758" y="2462"/>
                  </a:lnTo>
                  <a:lnTo>
                    <a:pt x="762" y="2452"/>
                  </a:lnTo>
                  <a:lnTo>
                    <a:pt x="766" y="2448"/>
                  </a:lnTo>
                  <a:lnTo>
                    <a:pt x="774" y="2444"/>
                  </a:lnTo>
                  <a:lnTo>
                    <a:pt x="780" y="2444"/>
                  </a:lnTo>
                  <a:lnTo>
                    <a:pt x="786" y="2444"/>
                  </a:lnTo>
                  <a:lnTo>
                    <a:pt x="792" y="2448"/>
                  </a:lnTo>
                  <a:lnTo>
                    <a:pt x="798" y="2454"/>
                  </a:lnTo>
                  <a:lnTo>
                    <a:pt x="808" y="2462"/>
                  </a:lnTo>
                  <a:lnTo>
                    <a:pt x="814" y="2466"/>
                  </a:lnTo>
                  <a:lnTo>
                    <a:pt x="820" y="2466"/>
                  </a:lnTo>
                  <a:lnTo>
                    <a:pt x="826" y="2466"/>
                  </a:lnTo>
                  <a:lnTo>
                    <a:pt x="830" y="2468"/>
                  </a:lnTo>
                  <a:lnTo>
                    <a:pt x="832" y="2474"/>
                  </a:lnTo>
                  <a:lnTo>
                    <a:pt x="834" y="2480"/>
                  </a:lnTo>
                  <a:lnTo>
                    <a:pt x="836" y="2494"/>
                  </a:lnTo>
                  <a:lnTo>
                    <a:pt x="838" y="2500"/>
                  </a:lnTo>
                  <a:lnTo>
                    <a:pt x="842" y="2504"/>
                  </a:lnTo>
                  <a:lnTo>
                    <a:pt x="844" y="2508"/>
                  </a:lnTo>
                  <a:lnTo>
                    <a:pt x="846" y="2512"/>
                  </a:lnTo>
                  <a:lnTo>
                    <a:pt x="846" y="2518"/>
                  </a:lnTo>
                  <a:lnTo>
                    <a:pt x="846" y="2522"/>
                  </a:lnTo>
                  <a:lnTo>
                    <a:pt x="846" y="2526"/>
                  </a:lnTo>
                  <a:lnTo>
                    <a:pt x="848" y="2530"/>
                  </a:lnTo>
                  <a:lnTo>
                    <a:pt x="854" y="2536"/>
                  </a:lnTo>
                  <a:lnTo>
                    <a:pt x="870" y="2546"/>
                  </a:lnTo>
                  <a:lnTo>
                    <a:pt x="872" y="2550"/>
                  </a:lnTo>
                  <a:lnTo>
                    <a:pt x="872" y="2556"/>
                  </a:lnTo>
                  <a:lnTo>
                    <a:pt x="872" y="2560"/>
                  </a:lnTo>
                  <a:lnTo>
                    <a:pt x="874" y="2562"/>
                  </a:lnTo>
                  <a:lnTo>
                    <a:pt x="882" y="2564"/>
                  </a:lnTo>
                  <a:lnTo>
                    <a:pt x="890" y="2566"/>
                  </a:lnTo>
                  <a:lnTo>
                    <a:pt x="894" y="2570"/>
                  </a:lnTo>
                  <a:lnTo>
                    <a:pt x="898" y="2576"/>
                  </a:lnTo>
                  <a:lnTo>
                    <a:pt x="902" y="2584"/>
                  </a:lnTo>
                  <a:lnTo>
                    <a:pt x="906" y="2586"/>
                  </a:lnTo>
                  <a:lnTo>
                    <a:pt x="910" y="2588"/>
                  </a:lnTo>
                  <a:lnTo>
                    <a:pt x="920" y="2598"/>
                  </a:lnTo>
                  <a:lnTo>
                    <a:pt x="932" y="2612"/>
                  </a:lnTo>
                  <a:lnTo>
                    <a:pt x="944" y="2620"/>
                  </a:lnTo>
                  <a:lnTo>
                    <a:pt x="956" y="2624"/>
                  </a:lnTo>
                  <a:lnTo>
                    <a:pt x="970" y="2624"/>
                  </a:lnTo>
                  <a:lnTo>
                    <a:pt x="974" y="2626"/>
                  </a:lnTo>
                  <a:lnTo>
                    <a:pt x="978" y="2628"/>
                  </a:lnTo>
                  <a:lnTo>
                    <a:pt x="982" y="2638"/>
                  </a:lnTo>
                  <a:lnTo>
                    <a:pt x="988" y="2646"/>
                  </a:lnTo>
                  <a:lnTo>
                    <a:pt x="990" y="2650"/>
                  </a:lnTo>
                  <a:lnTo>
                    <a:pt x="996" y="2650"/>
                  </a:lnTo>
                  <a:lnTo>
                    <a:pt x="1002" y="2650"/>
                  </a:lnTo>
                  <a:lnTo>
                    <a:pt x="1004" y="2650"/>
                  </a:lnTo>
                  <a:lnTo>
                    <a:pt x="1004" y="2656"/>
                  </a:lnTo>
                  <a:lnTo>
                    <a:pt x="1002" y="2658"/>
                  </a:lnTo>
                  <a:lnTo>
                    <a:pt x="1004" y="2658"/>
                  </a:lnTo>
                  <a:lnTo>
                    <a:pt x="1006" y="2660"/>
                  </a:lnTo>
                  <a:lnTo>
                    <a:pt x="1012" y="2658"/>
                  </a:lnTo>
                  <a:lnTo>
                    <a:pt x="1018" y="2658"/>
                  </a:lnTo>
                  <a:lnTo>
                    <a:pt x="1020" y="2660"/>
                  </a:lnTo>
                  <a:lnTo>
                    <a:pt x="1022" y="2662"/>
                  </a:lnTo>
                  <a:lnTo>
                    <a:pt x="1022" y="2666"/>
                  </a:lnTo>
                  <a:lnTo>
                    <a:pt x="1022" y="2674"/>
                  </a:lnTo>
                  <a:lnTo>
                    <a:pt x="1024" y="2680"/>
                  </a:lnTo>
                  <a:lnTo>
                    <a:pt x="1030" y="2684"/>
                  </a:lnTo>
                  <a:lnTo>
                    <a:pt x="1040" y="2690"/>
                  </a:lnTo>
                  <a:lnTo>
                    <a:pt x="1050" y="2694"/>
                  </a:lnTo>
                  <a:lnTo>
                    <a:pt x="1054" y="2698"/>
                  </a:lnTo>
                  <a:lnTo>
                    <a:pt x="1058" y="2702"/>
                  </a:lnTo>
                  <a:lnTo>
                    <a:pt x="1062" y="2710"/>
                  </a:lnTo>
                  <a:lnTo>
                    <a:pt x="1066" y="2720"/>
                  </a:lnTo>
                  <a:lnTo>
                    <a:pt x="1070" y="2740"/>
                  </a:lnTo>
                  <a:lnTo>
                    <a:pt x="1072" y="2752"/>
                  </a:lnTo>
                  <a:lnTo>
                    <a:pt x="1072" y="2758"/>
                  </a:lnTo>
                  <a:lnTo>
                    <a:pt x="1066" y="2762"/>
                  </a:lnTo>
                  <a:lnTo>
                    <a:pt x="1064" y="2768"/>
                  </a:lnTo>
                  <a:lnTo>
                    <a:pt x="1064" y="2772"/>
                  </a:lnTo>
                  <a:lnTo>
                    <a:pt x="1062" y="2776"/>
                  </a:lnTo>
                  <a:lnTo>
                    <a:pt x="1060" y="2784"/>
                  </a:lnTo>
                  <a:lnTo>
                    <a:pt x="1054" y="2790"/>
                  </a:lnTo>
                  <a:lnTo>
                    <a:pt x="1052" y="2796"/>
                  </a:lnTo>
                  <a:lnTo>
                    <a:pt x="1054" y="2802"/>
                  </a:lnTo>
                  <a:lnTo>
                    <a:pt x="1058" y="2806"/>
                  </a:lnTo>
                  <a:lnTo>
                    <a:pt x="1064" y="2808"/>
                  </a:lnTo>
                  <a:lnTo>
                    <a:pt x="1068" y="2808"/>
                  </a:lnTo>
                  <a:lnTo>
                    <a:pt x="1070" y="2806"/>
                  </a:lnTo>
                  <a:lnTo>
                    <a:pt x="1072" y="2804"/>
                  </a:lnTo>
                  <a:lnTo>
                    <a:pt x="1076" y="2794"/>
                  </a:lnTo>
                  <a:lnTo>
                    <a:pt x="1084" y="2784"/>
                  </a:lnTo>
                  <a:lnTo>
                    <a:pt x="1088" y="2780"/>
                  </a:lnTo>
                  <a:lnTo>
                    <a:pt x="1090" y="2776"/>
                  </a:lnTo>
                  <a:lnTo>
                    <a:pt x="1092" y="2768"/>
                  </a:lnTo>
                  <a:lnTo>
                    <a:pt x="1096" y="2760"/>
                  </a:lnTo>
                  <a:lnTo>
                    <a:pt x="1098" y="2756"/>
                  </a:lnTo>
                  <a:lnTo>
                    <a:pt x="1104" y="2752"/>
                  </a:lnTo>
                  <a:lnTo>
                    <a:pt x="1110" y="2748"/>
                  </a:lnTo>
                  <a:lnTo>
                    <a:pt x="1114" y="2742"/>
                  </a:lnTo>
                  <a:lnTo>
                    <a:pt x="1116" y="2738"/>
                  </a:lnTo>
                  <a:lnTo>
                    <a:pt x="1114" y="2732"/>
                  </a:lnTo>
                  <a:lnTo>
                    <a:pt x="1112" y="2726"/>
                  </a:lnTo>
                  <a:lnTo>
                    <a:pt x="1108" y="2722"/>
                  </a:lnTo>
                  <a:lnTo>
                    <a:pt x="1104" y="2718"/>
                  </a:lnTo>
                  <a:lnTo>
                    <a:pt x="1098" y="2716"/>
                  </a:lnTo>
                  <a:lnTo>
                    <a:pt x="1090" y="2712"/>
                  </a:lnTo>
                  <a:lnTo>
                    <a:pt x="1086" y="2708"/>
                  </a:lnTo>
                  <a:lnTo>
                    <a:pt x="1086" y="2704"/>
                  </a:lnTo>
                  <a:lnTo>
                    <a:pt x="1090" y="2698"/>
                  </a:lnTo>
                  <a:lnTo>
                    <a:pt x="1092" y="2692"/>
                  </a:lnTo>
                  <a:lnTo>
                    <a:pt x="1094" y="2684"/>
                  </a:lnTo>
                  <a:lnTo>
                    <a:pt x="1096" y="2676"/>
                  </a:lnTo>
                  <a:lnTo>
                    <a:pt x="1100" y="2672"/>
                  </a:lnTo>
                  <a:lnTo>
                    <a:pt x="1104" y="2670"/>
                  </a:lnTo>
                  <a:lnTo>
                    <a:pt x="1112" y="2666"/>
                  </a:lnTo>
                  <a:lnTo>
                    <a:pt x="1116" y="2668"/>
                  </a:lnTo>
                  <a:lnTo>
                    <a:pt x="1124" y="2670"/>
                  </a:lnTo>
                  <a:lnTo>
                    <a:pt x="1134" y="2672"/>
                  </a:lnTo>
                  <a:lnTo>
                    <a:pt x="1140" y="2674"/>
                  </a:lnTo>
                  <a:lnTo>
                    <a:pt x="1144" y="2678"/>
                  </a:lnTo>
                  <a:lnTo>
                    <a:pt x="1148" y="2688"/>
                  </a:lnTo>
                  <a:lnTo>
                    <a:pt x="1150" y="2696"/>
                  </a:lnTo>
                  <a:lnTo>
                    <a:pt x="1154" y="2700"/>
                  </a:lnTo>
                  <a:lnTo>
                    <a:pt x="1158" y="2702"/>
                  </a:lnTo>
                  <a:lnTo>
                    <a:pt x="1166" y="2702"/>
                  </a:lnTo>
                  <a:lnTo>
                    <a:pt x="1166" y="2700"/>
                  </a:lnTo>
                  <a:lnTo>
                    <a:pt x="1166" y="2696"/>
                  </a:lnTo>
                  <a:lnTo>
                    <a:pt x="1168" y="2688"/>
                  </a:lnTo>
                  <a:lnTo>
                    <a:pt x="1168" y="2684"/>
                  </a:lnTo>
                  <a:lnTo>
                    <a:pt x="1168" y="2678"/>
                  </a:lnTo>
                  <a:lnTo>
                    <a:pt x="1166" y="2674"/>
                  </a:lnTo>
                  <a:lnTo>
                    <a:pt x="1162" y="2670"/>
                  </a:lnTo>
                  <a:lnTo>
                    <a:pt x="1152" y="2662"/>
                  </a:lnTo>
                  <a:lnTo>
                    <a:pt x="1142" y="2654"/>
                  </a:lnTo>
                  <a:lnTo>
                    <a:pt x="1126" y="2646"/>
                  </a:lnTo>
                  <a:lnTo>
                    <a:pt x="1120" y="2642"/>
                  </a:lnTo>
                  <a:lnTo>
                    <a:pt x="1114" y="2636"/>
                  </a:lnTo>
                  <a:lnTo>
                    <a:pt x="1110" y="2632"/>
                  </a:lnTo>
                  <a:lnTo>
                    <a:pt x="1102" y="2628"/>
                  </a:lnTo>
                  <a:lnTo>
                    <a:pt x="1082" y="2620"/>
                  </a:lnTo>
                  <a:lnTo>
                    <a:pt x="1074" y="2616"/>
                  </a:lnTo>
                  <a:lnTo>
                    <a:pt x="1068" y="2610"/>
                  </a:lnTo>
                  <a:lnTo>
                    <a:pt x="1066" y="2606"/>
                  </a:lnTo>
                  <a:lnTo>
                    <a:pt x="1066" y="2602"/>
                  </a:lnTo>
                  <a:lnTo>
                    <a:pt x="1070" y="2600"/>
                  </a:lnTo>
                  <a:lnTo>
                    <a:pt x="1074" y="2594"/>
                  </a:lnTo>
                  <a:lnTo>
                    <a:pt x="1076" y="2592"/>
                  </a:lnTo>
                  <a:lnTo>
                    <a:pt x="1074" y="2590"/>
                  </a:lnTo>
                  <a:lnTo>
                    <a:pt x="1068" y="2588"/>
                  </a:lnTo>
                  <a:lnTo>
                    <a:pt x="1060" y="2586"/>
                  </a:lnTo>
                  <a:lnTo>
                    <a:pt x="1036" y="2584"/>
                  </a:lnTo>
                  <a:lnTo>
                    <a:pt x="1026" y="2580"/>
                  </a:lnTo>
                  <a:lnTo>
                    <a:pt x="1016" y="2576"/>
                  </a:lnTo>
                  <a:lnTo>
                    <a:pt x="1002" y="2560"/>
                  </a:lnTo>
                  <a:lnTo>
                    <a:pt x="990" y="2544"/>
                  </a:lnTo>
                  <a:lnTo>
                    <a:pt x="984" y="2530"/>
                  </a:lnTo>
                  <a:lnTo>
                    <a:pt x="978" y="2518"/>
                  </a:lnTo>
                  <a:lnTo>
                    <a:pt x="974" y="2498"/>
                  </a:lnTo>
                  <a:lnTo>
                    <a:pt x="970" y="2492"/>
                  </a:lnTo>
                  <a:lnTo>
                    <a:pt x="966" y="2490"/>
                  </a:lnTo>
                  <a:lnTo>
                    <a:pt x="958" y="2488"/>
                  </a:lnTo>
                  <a:lnTo>
                    <a:pt x="950" y="2484"/>
                  </a:lnTo>
                  <a:lnTo>
                    <a:pt x="944" y="2476"/>
                  </a:lnTo>
                  <a:lnTo>
                    <a:pt x="934" y="2468"/>
                  </a:lnTo>
                  <a:lnTo>
                    <a:pt x="928" y="2462"/>
                  </a:lnTo>
                  <a:lnTo>
                    <a:pt x="922" y="2456"/>
                  </a:lnTo>
                  <a:lnTo>
                    <a:pt x="920" y="2448"/>
                  </a:lnTo>
                  <a:lnTo>
                    <a:pt x="918" y="2442"/>
                  </a:lnTo>
                  <a:lnTo>
                    <a:pt x="916" y="2434"/>
                  </a:lnTo>
                  <a:lnTo>
                    <a:pt x="918" y="2428"/>
                  </a:lnTo>
                  <a:lnTo>
                    <a:pt x="920" y="2424"/>
                  </a:lnTo>
                  <a:lnTo>
                    <a:pt x="922" y="2422"/>
                  </a:lnTo>
                  <a:lnTo>
                    <a:pt x="926" y="2420"/>
                  </a:lnTo>
                  <a:lnTo>
                    <a:pt x="928" y="2418"/>
                  </a:lnTo>
                  <a:lnTo>
                    <a:pt x="926" y="2414"/>
                  </a:lnTo>
                  <a:lnTo>
                    <a:pt x="918" y="2400"/>
                  </a:lnTo>
                  <a:lnTo>
                    <a:pt x="914" y="2394"/>
                  </a:lnTo>
                  <a:lnTo>
                    <a:pt x="916" y="2388"/>
                  </a:lnTo>
                  <a:lnTo>
                    <a:pt x="920" y="2384"/>
                  </a:lnTo>
                  <a:lnTo>
                    <a:pt x="924" y="2386"/>
                  </a:lnTo>
                  <a:lnTo>
                    <a:pt x="926" y="2388"/>
                  </a:lnTo>
                  <a:lnTo>
                    <a:pt x="930" y="2388"/>
                  </a:lnTo>
                  <a:lnTo>
                    <a:pt x="934" y="2384"/>
                  </a:lnTo>
                  <a:lnTo>
                    <a:pt x="940" y="2378"/>
                  </a:lnTo>
                  <a:lnTo>
                    <a:pt x="950" y="2372"/>
                  </a:lnTo>
                  <a:lnTo>
                    <a:pt x="956" y="2370"/>
                  </a:lnTo>
                  <a:lnTo>
                    <a:pt x="958" y="2372"/>
                  </a:lnTo>
                  <a:lnTo>
                    <a:pt x="960" y="2374"/>
                  </a:lnTo>
                  <a:lnTo>
                    <a:pt x="966" y="2374"/>
                  </a:lnTo>
                  <a:lnTo>
                    <a:pt x="972" y="2372"/>
                  </a:lnTo>
                  <a:lnTo>
                    <a:pt x="974" y="2374"/>
                  </a:lnTo>
                  <a:lnTo>
                    <a:pt x="974" y="2378"/>
                  </a:lnTo>
                  <a:lnTo>
                    <a:pt x="974" y="2380"/>
                  </a:lnTo>
                  <a:lnTo>
                    <a:pt x="972" y="2382"/>
                  </a:lnTo>
                  <a:lnTo>
                    <a:pt x="970" y="2382"/>
                  </a:lnTo>
                  <a:lnTo>
                    <a:pt x="968" y="2384"/>
                  </a:lnTo>
                  <a:lnTo>
                    <a:pt x="968" y="2386"/>
                  </a:lnTo>
                  <a:lnTo>
                    <a:pt x="970" y="2398"/>
                  </a:lnTo>
                  <a:lnTo>
                    <a:pt x="976" y="2414"/>
                  </a:lnTo>
                  <a:lnTo>
                    <a:pt x="982" y="2426"/>
                  </a:lnTo>
                  <a:lnTo>
                    <a:pt x="986" y="2428"/>
                  </a:lnTo>
                  <a:lnTo>
                    <a:pt x="988" y="2424"/>
                  </a:lnTo>
                  <a:lnTo>
                    <a:pt x="994" y="2402"/>
                  </a:lnTo>
                  <a:lnTo>
                    <a:pt x="996" y="2398"/>
                  </a:lnTo>
                  <a:lnTo>
                    <a:pt x="1000" y="2394"/>
                  </a:lnTo>
                  <a:lnTo>
                    <a:pt x="1004" y="2394"/>
                  </a:lnTo>
                  <a:lnTo>
                    <a:pt x="1008" y="2398"/>
                  </a:lnTo>
                  <a:lnTo>
                    <a:pt x="1016" y="2404"/>
                  </a:lnTo>
                  <a:lnTo>
                    <a:pt x="1020" y="2410"/>
                  </a:lnTo>
                  <a:lnTo>
                    <a:pt x="1022" y="2414"/>
                  </a:lnTo>
                  <a:lnTo>
                    <a:pt x="1022" y="2420"/>
                  </a:lnTo>
                  <a:lnTo>
                    <a:pt x="1024" y="2428"/>
                  </a:lnTo>
                  <a:lnTo>
                    <a:pt x="1026" y="2434"/>
                  </a:lnTo>
                  <a:lnTo>
                    <a:pt x="1030" y="2440"/>
                  </a:lnTo>
                  <a:lnTo>
                    <a:pt x="1034" y="2446"/>
                  </a:lnTo>
                  <a:lnTo>
                    <a:pt x="1036" y="2450"/>
                  </a:lnTo>
                  <a:lnTo>
                    <a:pt x="1036" y="2452"/>
                  </a:lnTo>
                  <a:lnTo>
                    <a:pt x="1034" y="2454"/>
                  </a:lnTo>
                  <a:lnTo>
                    <a:pt x="1034" y="2456"/>
                  </a:lnTo>
                  <a:lnTo>
                    <a:pt x="1034" y="2460"/>
                  </a:lnTo>
                  <a:lnTo>
                    <a:pt x="1038" y="2464"/>
                  </a:lnTo>
                  <a:lnTo>
                    <a:pt x="1046" y="2472"/>
                  </a:lnTo>
                  <a:lnTo>
                    <a:pt x="1056" y="2480"/>
                  </a:lnTo>
                  <a:lnTo>
                    <a:pt x="1062" y="2486"/>
                  </a:lnTo>
                  <a:lnTo>
                    <a:pt x="1066" y="2494"/>
                  </a:lnTo>
                  <a:lnTo>
                    <a:pt x="1066" y="2496"/>
                  </a:lnTo>
                  <a:lnTo>
                    <a:pt x="1068" y="2496"/>
                  </a:lnTo>
                  <a:lnTo>
                    <a:pt x="1076" y="2496"/>
                  </a:lnTo>
                  <a:lnTo>
                    <a:pt x="1084" y="2496"/>
                  </a:lnTo>
                  <a:lnTo>
                    <a:pt x="1090" y="2498"/>
                  </a:lnTo>
                  <a:lnTo>
                    <a:pt x="1102" y="2504"/>
                  </a:lnTo>
                  <a:lnTo>
                    <a:pt x="1114" y="2516"/>
                  </a:lnTo>
                  <a:lnTo>
                    <a:pt x="1128" y="2528"/>
                  </a:lnTo>
                  <a:lnTo>
                    <a:pt x="1114" y="2524"/>
                  </a:lnTo>
                  <a:lnTo>
                    <a:pt x="1110" y="2524"/>
                  </a:lnTo>
                  <a:lnTo>
                    <a:pt x="1110" y="2526"/>
                  </a:lnTo>
                  <a:lnTo>
                    <a:pt x="1116" y="2530"/>
                  </a:lnTo>
                  <a:lnTo>
                    <a:pt x="1134" y="2536"/>
                  </a:lnTo>
                  <a:lnTo>
                    <a:pt x="1144" y="2540"/>
                  </a:lnTo>
                  <a:lnTo>
                    <a:pt x="1152" y="2544"/>
                  </a:lnTo>
                  <a:lnTo>
                    <a:pt x="1160" y="2552"/>
                  </a:lnTo>
                  <a:lnTo>
                    <a:pt x="1162" y="2558"/>
                  </a:lnTo>
                  <a:lnTo>
                    <a:pt x="1164" y="2560"/>
                  </a:lnTo>
                  <a:lnTo>
                    <a:pt x="1166" y="2560"/>
                  </a:lnTo>
                  <a:lnTo>
                    <a:pt x="1174" y="2560"/>
                  </a:lnTo>
                  <a:lnTo>
                    <a:pt x="1176" y="2562"/>
                  </a:lnTo>
                  <a:lnTo>
                    <a:pt x="1184" y="2566"/>
                  </a:lnTo>
                  <a:lnTo>
                    <a:pt x="1188" y="2568"/>
                  </a:lnTo>
                  <a:lnTo>
                    <a:pt x="1190" y="2574"/>
                  </a:lnTo>
                  <a:lnTo>
                    <a:pt x="1190" y="2582"/>
                  </a:lnTo>
                  <a:lnTo>
                    <a:pt x="1192" y="2584"/>
                  </a:lnTo>
                  <a:lnTo>
                    <a:pt x="1196" y="2586"/>
                  </a:lnTo>
                  <a:lnTo>
                    <a:pt x="1204" y="2588"/>
                  </a:lnTo>
                  <a:lnTo>
                    <a:pt x="1208" y="2590"/>
                  </a:lnTo>
                  <a:lnTo>
                    <a:pt x="1208" y="2596"/>
                  </a:lnTo>
                  <a:lnTo>
                    <a:pt x="1208" y="2610"/>
                  </a:lnTo>
                  <a:lnTo>
                    <a:pt x="1206" y="2626"/>
                  </a:lnTo>
                  <a:lnTo>
                    <a:pt x="1206" y="2632"/>
                  </a:lnTo>
                  <a:lnTo>
                    <a:pt x="1206" y="2636"/>
                  </a:lnTo>
                  <a:lnTo>
                    <a:pt x="1206" y="2638"/>
                  </a:lnTo>
                  <a:lnTo>
                    <a:pt x="1206" y="2640"/>
                  </a:lnTo>
                  <a:lnTo>
                    <a:pt x="1204" y="2646"/>
                  </a:lnTo>
                  <a:lnTo>
                    <a:pt x="1200" y="2652"/>
                  </a:lnTo>
                  <a:lnTo>
                    <a:pt x="1200" y="2656"/>
                  </a:lnTo>
                  <a:lnTo>
                    <a:pt x="1202" y="2662"/>
                  </a:lnTo>
                  <a:lnTo>
                    <a:pt x="1202" y="2666"/>
                  </a:lnTo>
                  <a:lnTo>
                    <a:pt x="1202" y="2670"/>
                  </a:lnTo>
                  <a:lnTo>
                    <a:pt x="1202" y="2672"/>
                  </a:lnTo>
                  <a:lnTo>
                    <a:pt x="1200" y="2674"/>
                  </a:lnTo>
                  <a:lnTo>
                    <a:pt x="1202" y="2674"/>
                  </a:lnTo>
                  <a:lnTo>
                    <a:pt x="1208" y="2680"/>
                  </a:lnTo>
                  <a:lnTo>
                    <a:pt x="1216" y="2686"/>
                  </a:lnTo>
                  <a:lnTo>
                    <a:pt x="1222" y="2690"/>
                  </a:lnTo>
                  <a:lnTo>
                    <a:pt x="1224" y="2696"/>
                  </a:lnTo>
                  <a:lnTo>
                    <a:pt x="1224" y="2700"/>
                  </a:lnTo>
                  <a:lnTo>
                    <a:pt x="1226" y="2706"/>
                  </a:lnTo>
                  <a:lnTo>
                    <a:pt x="1228" y="2708"/>
                  </a:lnTo>
                  <a:lnTo>
                    <a:pt x="1230" y="2710"/>
                  </a:lnTo>
                  <a:lnTo>
                    <a:pt x="1240" y="2726"/>
                  </a:lnTo>
                  <a:lnTo>
                    <a:pt x="1246" y="2736"/>
                  </a:lnTo>
                  <a:lnTo>
                    <a:pt x="1250" y="2740"/>
                  </a:lnTo>
                  <a:lnTo>
                    <a:pt x="1254" y="2744"/>
                  </a:lnTo>
                  <a:lnTo>
                    <a:pt x="1258" y="2748"/>
                  </a:lnTo>
                  <a:lnTo>
                    <a:pt x="1260" y="2748"/>
                  </a:lnTo>
                  <a:lnTo>
                    <a:pt x="1260" y="2746"/>
                  </a:lnTo>
                  <a:lnTo>
                    <a:pt x="1262" y="2746"/>
                  </a:lnTo>
                  <a:lnTo>
                    <a:pt x="1266" y="2746"/>
                  </a:lnTo>
                  <a:lnTo>
                    <a:pt x="1272" y="2750"/>
                  </a:lnTo>
                  <a:lnTo>
                    <a:pt x="1274" y="2752"/>
                  </a:lnTo>
                  <a:lnTo>
                    <a:pt x="1266" y="2754"/>
                  </a:lnTo>
                  <a:lnTo>
                    <a:pt x="1258" y="2754"/>
                  </a:lnTo>
                  <a:lnTo>
                    <a:pt x="1258" y="2758"/>
                  </a:lnTo>
                  <a:lnTo>
                    <a:pt x="1260" y="2762"/>
                  </a:lnTo>
                  <a:lnTo>
                    <a:pt x="1268" y="2772"/>
                  </a:lnTo>
                  <a:lnTo>
                    <a:pt x="1272" y="2780"/>
                  </a:lnTo>
                  <a:lnTo>
                    <a:pt x="1274" y="2786"/>
                  </a:lnTo>
                  <a:lnTo>
                    <a:pt x="1276" y="2786"/>
                  </a:lnTo>
                  <a:lnTo>
                    <a:pt x="1280" y="2784"/>
                  </a:lnTo>
                  <a:lnTo>
                    <a:pt x="1284" y="2780"/>
                  </a:lnTo>
                  <a:lnTo>
                    <a:pt x="1286" y="2782"/>
                  </a:lnTo>
                  <a:lnTo>
                    <a:pt x="1290" y="2782"/>
                  </a:lnTo>
                  <a:lnTo>
                    <a:pt x="1300" y="2782"/>
                  </a:lnTo>
                  <a:lnTo>
                    <a:pt x="1312" y="2780"/>
                  </a:lnTo>
                  <a:lnTo>
                    <a:pt x="1316" y="2782"/>
                  </a:lnTo>
                  <a:lnTo>
                    <a:pt x="1318" y="2784"/>
                  </a:lnTo>
                  <a:lnTo>
                    <a:pt x="1324" y="2784"/>
                  </a:lnTo>
                  <a:lnTo>
                    <a:pt x="1330" y="2782"/>
                  </a:lnTo>
                  <a:lnTo>
                    <a:pt x="1336" y="2786"/>
                  </a:lnTo>
                  <a:lnTo>
                    <a:pt x="1342" y="2790"/>
                  </a:lnTo>
                  <a:lnTo>
                    <a:pt x="1348" y="2790"/>
                  </a:lnTo>
                  <a:lnTo>
                    <a:pt x="1354" y="2790"/>
                  </a:lnTo>
                  <a:lnTo>
                    <a:pt x="1358" y="2792"/>
                  </a:lnTo>
                  <a:lnTo>
                    <a:pt x="1358" y="2794"/>
                  </a:lnTo>
                  <a:lnTo>
                    <a:pt x="1358" y="2796"/>
                  </a:lnTo>
                  <a:lnTo>
                    <a:pt x="1350" y="2800"/>
                  </a:lnTo>
                  <a:lnTo>
                    <a:pt x="1342" y="2802"/>
                  </a:lnTo>
                  <a:lnTo>
                    <a:pt x="1336" y="2800"/>
                  </a:lnTo>
                  <a:lnTo>
                    <a:pt x="1322" y="2792"/>
                  </a:lnTo>
                  <a:lnTo>
                    <a:pt x="1312" y="2788"/>
                  </a:lnTo>
                  <a:lnTo>
                    <a:pt x="1306" y="2786"/>
                  </a:lnTo>
                  <a:lnTo>
                    <a:pt x="1302" y="2786"/>
                  </a:lnTo>
                  <a:lnTo>
                    <a:pt x="1298" y="2792"/>
                  </a:lnTo>
                  <a:lnTo>
                    <a:pt x="1296" y="2794"/>
                  </a:lnTo>
                  <a:lnTo>
                    <a:pt x="1292" y="2794"/>
                  </a:lnTo>
                  <a:lnTo>
                    <a:pt x="1288" y="2792"/>
                  </a:lnTo>
                  <a:lnTo>
                    <a:pt x="1282" y="2792"/>
                  </a:lnTo>
                  <a:lnTo>
                    <a:pt x="1282" y="2794"/>
                  </a:lnTo>
                  <a:lnTo>
                    <a:pt x="1280" y="2798"/>
                  </a:lnTo>
                  <a:lnTo>
                    <a:pt x="1280" y="2802"/>
                  </a:lnTo>
                  <a:lnTo>
                    <a:pt x="1278" y="2804"/>
                  </a:lnTo>
                  <a:lnTo>
                    <a:pt x="1274" y="2808"/>
                  </a:lnTo>
                  <a:lnTo>
                    <a:pt x="1272" y="2808"/>
                  </a:lnTo>
                  <a:lnTo>
                    <a:pt x="1276" y="2812"/>
                  </a:lnTo>
                  <a:lnTo>
                    <a:pt x="1280" y="2816"/>
                  </a:lnTo>
                  <a:lnTo>
                    <a:pt x="1280" y="2820"/>
                  </a:lnTo>
                  <a:lnTo>
                    <a:pt x="1280" y="2824"/>
                  </a:lnTo>
                  <a:lnTo>
                    <a:pt x="1286" y="2824"/>
                  </a:lnTo>
                  <a:lnTo>
                    <a:pt x="1288" y="2824"/>
                  </a:lnTo>
                  <a:lnTo>
                    <a:pt x="1292" y="2826"/>
                  </a:lnTo>
                  <a:lnTo>
                    <a:pt x="1294" y="2832"/>
                  </a:lnTo>
                  <a:lnTo>
                    <a:pt x="1294" y="2838"/>
                  </a:lnTo>
                  <a:lnTo>
                    <a:pt x="1292" y="2844"/>
                  </a:lnTo>
                  <a:lnTo>
                    <a:pt x="1292" y="2848"/>
                  </a:lnTo>
                  <a:lnTo>
                    <a:pt x="1292" y="2854"/>
                  </a:lnTo>
                  <a:lnTo>
                    <a:pt x="1298" y="2864"/>
                  </a:lnTo>
                  <a:lnTo>
                    <a:pt x="1300" y="2866"/>
                  </a:lnTo>
                  <a:lnTo>
                    <a:pt x="1304" y="2868"/>
                  </a:lnTo>
                  <a:lnTo>
                    <a:pt x="1306" y="2866"/>
                  </a:lnTo>
                  <a:lnTo>
                    <a:pt x="1308" y="2862"/>
                  </a:lnTo>
                  <a:lnTo>
                    <a:pt x="1308" y="2856"/>
                  </a:lnTo>
                  <a:lnTo>
                    <a:pt x="1310" y="2854"/>
                  </a:lnTo>
                  <a:lnTo>
                    <a:pt x="1314" y="2854"/>
                  </a:lnTo>
                  <a:lnTo>
                    <a:pt x="1316" y="2856"/>
                  </a:lnTo>
                  <a:lnTo>
                    <a:pt x="1320" y="2866"/>
                  </a:lnTo>
                  <a:lnTo>
                    <a:pt x="1322" y="2880"/>
                  </a:lnTo>
                  <a:lnTo>
                    <a:pt x="1324" y="2888"/>
                  </a:lnTo>
                  <a:lnTo>
                    <a:pt x="1326" y="2888"/>
                  </a:lnTo>
                  <a:lnTo>
                    <a:pt x="1328" y="2888"/>
                  </a:lnTo>
                  <a:lnTo>
                    <a:pt x="1330" y="2882"/>
                  </a:lnTo>
                  <a:lnTo>
                    <a:pt x="1332" y="2874"/>
                  </a:lnTo>
                  <a:lnTo>
                    <a:pt x="1334" y="2866"/>
                  </a:lnTo>
                  <a:lnTo>
                    <a:pt x="1336" y="2866"/>
                  </a:lnTo>
                  <a:lnTo>
                    <a:pt x="1338" y="2868"/>
                  </a:lnTo>
                  <a:lnTo>
                    <a:pt x="1342" y="2872"/>
                  </a:lnTo>
                  <a:lnTo>
                    <a:pt x="1348" y="2882"/>
                  </a:lnTo>
                  <a:lnTo>
                    <a:pt x="1350" y="2886"/>
                  </a:lnTo>
                  <a:lnTo>
                    <a:pt x="1354" y="2888"/>
                  </a:lnTo>
                  <a:lnTo>
                    <a:pt x="1356" y="2886"/>
                  </a:lnTo>
                  <a:lnTo>
                    <a:pt x="1356" y="2884"/>
                  </a:lnTo>
                  <a:lnTo>
                    <a:pt x="1356" y="2876"/>
                  </a:lnTo>
                  <a:lnTo>
                    <a:pt x="1348" y="2854"/>
                  </a:lnTo>
                  <a:lnTo>
                    <a:pt x="1340" y="2834"/>
                  </a:lnTo>
                  <a:lnTo>
                    <a:pt x="1338" y="2828"/>
                  </a:lnTo>
                  <a:lnTo>
                    <a:pt x="1338" y="2826"/>
                  </a:lnTo>
                  <a:lnTo>
                    <a:pt x="1340" y="2824"/>
                  </a:lnTo>
                  <a:lnTo>
                    <a:pt x="1346" y="2826"/>
                  </a:lnTo>
                  <a:lnTo>
                    <a:pt x="1350" y="2828"/>
                  </a:lnTo>
                  <a:lnTo>
                    <a:pt x="1352" y="2832"/>
                  </a:lnTo>
                  <a:lnTo>
                    <a:pt x="1354" y="2838"/>
                  </a:lnTo>
                  <a:lnTo>
                    <a:pt x="1356" y="2840"/>
                  </a:lnTo>
                  <a:lnTo>
                    <a:pt x="1358" y="2840"/>
                  </a:lnTo>
                  <a:lnTo>
                    <a:pt x="1368" y="2836"/>
                  </a:lnTo>
                  <a:lnTo>
                    <a:pt x="1370" y="2834"/>
                  </a:lnTo>
                  <a:lnTo>
                    <a:pt x="1372" y="2832"/>
                  </a:lnTo>
                  <a:lnTo>
                    <a:pt x="1370" y="2828"/>
                  </a:lnTo>
                  <a:lnTo>
                    <a:pt x="1366" y="2824"/>
                  </a:lnTo>
                  <a:lnTo>
                    <a:pt x="1360" y="2822"/>
                  </a:lnTo>
                  <a:lnTo>
                    <a:pt x="1356" y="2822"/>
                  </a:lnTo>
                  <a:lnTo>
                    <a:pt x="1356" y="2820"/>
                  </a:lnTo>
                  <a:lnTo>
                    <a:pt x="1356" y="2816"/>
                  </a:lnTo>
                  <a:lnTo>
                    <a:pt x="1354" y="2812"/>
                  </a:lnTo>
                  <a:lnTo>
                    <a:pt x="1352" y="2810"/>
                  </a:lnTo>
                  <a:lnTo>
                    <a:pt x="1354" y="2808"/>
                  </a:lnTo>
                  <a:lnTo>
                    <a:pt x="1360" y="2802"/>
                  </a:lnTo>
                  <a:lnTo>
                    <a:pt x="1368" y="2800"/>
                  </a:lnTo>
                  <a:lnTo>
                    <a:pt x="1370" y="2800"/>
                  </a:lnTo>
                  <a:lnTo>
                    <a:pt x="1374" y="2802"/>
                  </a:lnTo>
                  <a:lnTo>
                    <a:pt x="1382" y="2816"/>
                  </a:lnTo>
                  <a:lnTo>
                    <a:pt x="1388" y="2820"/>
                  </a:lnTo>
                  <a:lnTo>
                    <a:pt x="1390" y="2820"/>
                  </a:lnTo>
                  <a:lnTo>
                    <a:pt x="1392" y="2820"/>
                  </a:lnTo>
                  <a:lnTo>
                    <a:pt x="1394" y="2818"/>
                  </a:lnTo>
                  <a:lnTo>
                    <a:pt x="1394" y="2816"/>
                  </a:lnTo>
                  <a:lnTo>
                    <a:pt x="1394" y="2810"/>
                  </a:lnTo>
                  <a:lnTo>
                    <a:pt x="1392" y="2804"/>
                  </a:lnTo>
                  <a:lnTo>
                    <a:pt x="1392" y="2796"/>
                  </a:lnTo>
                  <a:lnTo>
                    <a:pt x="1392" y="2794"/>
                  </a:lnTo>
                  <a:lnTo>
                    <a:pt x="1390" y="2790"/>
                  </a:lnTo>
                  <a:lnTo>
                    <a:pt x="1386" y="2788"/>
                  </a:lnTo>
                  <a:lnTo>
                    <a:pt x="1378" y="2784"/>
                  </a:lnTo>
                  <a:lnTo>
                    <a:pt x="1376" y="2782"/>
                  </a:lnTo>
                  <a:lnTo>
                    <a:pt x="1374" y="2780"/>
                  </a:lnTo>
                  <a:lnTo>
                    <a:pt x="1370" y="2774"/>
                  </a:lnTo>
                  <a:lnTo>
                    <a:pt x="1366" y="2774"/>
                  </a:lnTo>
                  <a:lnTo>
                    <a:pt x="1364" y="2772"/>
                  </a:lnTo>
                  <a:lnTo>
                    <a:pt x="1360" y="2768"/>
                  </a:lnTo>
                  <a:lnTo>
                    <a:pt x="1358" y="2764"/>
                  </a:lnTo>
                  <a:lnTo>
                    <a:pt x="1352" y="2762"/>
                  </a:lnTo>
                  <a:lnTo>
                    <a:pt x="1340" y="2758"/>
                  </a:lnTo>
                  <a:lnTo>
                    <a:pt x="1332" y="2754"/>
                  </a:lnTo>
                  <a:lnTo>
                    <a:pt x="1332" y="2752"/>
                  </a:lnTo>
                  <a:lnTo>
                    <a:pt x="1338" y="2752"/>
                  </a:lnTo>
                  <a:lnTo>
                    <a:pt x="1346" y="2750"/>
                  </a:lnTo>
                  <a:lnTo>
                    <a:pt x="1348" y="2746"/>
                  </a:lnTo>
                  <a:lnTo>
                    <a:pt x="1348" y="2744"/>
                  </a:lnTo>
                  <a:lnTo>
                    <a:pt x="1346" y="2740"/>
                  </a:lnTo>
                  <a:lnTo>
                    <a:pt x="1344" y="2732"/>
                  </a:lnTo>
                  <a:lnTo>
                    <a:pt x="1344" y="2730"/>
                  </a:lnTo>
                  <a:lnTo>
                    <a:pt x="1348" y="2730"/>
                  </a:lnTo>
                  <a:lnTo>
                    <a:pt x="1352" y="2730"/>
                  </a:lnTo>
                  <a:lnTo>
                    <a:pt x="1354" y="2732"/>
                  </a:lnTo>
                  <a:lnTo>
                    <a:pt x="1354" y="2738"/>
                  </a:lnTo>
                  <a:lnTo>
                    <a:pt x="1354" y="2742"/>
                  </a:lnTo>
                  <a:lnTo>
                    <a:pt x="1356" y="2742"/>
                  </a:lnTo>
                  <a:lnTo>
                    <a:pt x="1358" y="2742"/>
                  </a:lnTo>
                  <a:lnTo>
                    <a:pt x="1360" y="2738"/>
                  </a:lnTo>
                  <a:lnTo>
                    <a:pt x="1360" y="2736"/>
                  </a:lnTo>
                  <a:lnTo>
                    <a:pt x="1360" y="2728"/>
                  </a:lnTo>
                  <a:lnTo>
                    <a:pt x="1354" y="2720"/>
                  </a:lnTo>
                  <a:lnTo>
                    <a:pt x="1348" y="2710"/>
                  </a:lnTo>
                  <a:lnTo>
                    <a:pt x="1340" y="2702"/>
                  </a:lnTo>
                  <a:lnTo>
                    <a:pt x="1334" y="2692"/>
                  </a:lnTo>
                  <a:lnTo>
                    <a:pt x="1330" y="2682"/>
                  </a:lnTo>
                  <a:lnTo>
                    <a:pt x="1330" y="2678"/>
                  </a:lnTo>
                  <a:lnTo>
                    <a:pt x="1332" y="2674"/>
                  </a:lnTo>
                  <a:lnTo>
                    <a:pt x="1336" y="2666"/>
                  </a:lnTo>
                  <a:lnTo>
                    <a:pt x="1340" y="2660"/>
                  </a:lnTo>
                  <a:lnTo>
                    <a:pt x="1344" y="2660"/>
                  </a:lnTo>
                  <a:lnTo>
                    <a:pt x="1346" y="2660"/>
                  </a:lnTo>
                  <a:lnTo>
                    <a:pt x="1346" y="2662"/>
                  </a:lnTo>
                  <a:lnTo>
                    <a:pt x="1346" y="2668"/>
                  </a:lnTo>
                  <a:lnTo>
                    <a:pt x="1346" y="2670"/>
                  </a:lnTo>
                  <a:lnTo>
                    <a:pt x="1346" y="2672"/>
                  </a:lnTo>
                  <a:lnTo>
                    <a:pt x="1352" y="2674"/>
                  </a:lnTo>
                  <a:lnTo>
                    <a:pt x="1358" y="2676"/>
                  </a:lnTo>
                  <a:lnTo>
                    <a:pt x="1360" y="2680"/>
                  </a:lnTo>
                  <a:lnTo>
                    <a:pt x="1362" y="2686"/>
                  </a:lnTo>
                  <a:lnTo>
                    <a:pt x="1362" y="2690"/>
                  </a:lnTo>
                  <a:lnTo>
                    <a:pt x="1366" y="2694"/>
                  </a:lnTo>
                  <a:lnTo>
                    <a:pt x="1372" y="2696"/>
                  </a:lnTo>
                  <a:lnTo>
                    <a:pt x="1374" y="2696"/>
                  </a:lnTo>
                  <a:lnTo>
                    <a:pt x="1376" y="2696"/>
                  </a:lnTo>
                  <a:lnTo>
                    <a:pt x="1376" y="2694"/>
                  </a:lnTo>
                  <a:lnTo>
                    <a:pt x="1374" y="2690"/>
                  </a:lnTo>
                  <a:lnTo>
                    <a:pt x="1368" y="2684"/>
                  </a:lnTo>
                  <a:lnTo>
                    <a:pt x="1368" y="2678"/>
                  </a:lnTo>
                  <a:lnTo>
                    <a:pt x="1370" y="2678"/>
                  </a:lnTo>
                  <a:lnTo>
                    <a:pt x="1378" y="2684"/>
                  </a:lnTo>
                  <a:lnTo>
                    <a:pt x="1386" y="2692"/>
                  </a:lnTo>
                  <a:lnTo>
                    <a:pt x="1390" y="2694"/>
                  </a:lnTo>
                  <a:lnTo>
                    <a:pt x="1392" y="2694"/>
                  </a:lnTo>
                  <a:lnTo>
                    <a:pt x="1390" y="2692"/>
                  </a:lnTo>
                  <a:lnTo>
                    <a:pt x="1386" y="2684"/>
                  </a:lnTo>
                  <a:lnTo>
                    <a:pt x="1380" y="2676"/>
                  </a:lnTo>
                  <a:lnTo>
                    <a:pt x="1380" y="2674"/>
                  </a:lnTo>
                  <a:lnTo>
                    <a:pt x="1382" y="2674"/>
                  </a:lnTo>
                  <a:lnTo>
                    <a:pt x="1394" y="2680"/>
                  </a:lnTo>
                  <a:lnTo>
                    <a:pt x="1402" y="2684"/>
                  </a:lnTo>
                  <a:lnTo>
                    <a:pt x="1406" y="2684"/>
                  </a:lnTo>
                  <a:lnTo>
                    <a:pt x="1404" y="2682"/>
                  </a:lnTo>
                  <a:lnTo>
                    <a:pt x="1400" y="2676"/>
                  </a:lnTo>
                  <a:lnTo>
                    <a:pt x="1392" y="2670"/>
                  </a:lnTo>
                  <a:lnTo>
                    <a:pt x="1386" y="2668"/>
                  </a:lnTo>
                  <a:lnTo>
                    <a:pt x="1384" y="2668"/>
                  </a:lnTo>
                  <a:lnTo>
                    <a:pt x="1384" y="2664"/>
                  </a:lnTo>
                  <a:lnTo>
                    <a:pt x="1384" y="2662"/>
                  </a:lnTo>
                  <a:lnTo>
                    <a:pt x="1384" y="2660"/>
                  </a:lnTo>
                  <a:lnTo>
                    <a:pt x="1380" y="2656"/>
                  </a:lnTo>
                  <a:lnTo>
                    <a:pt x="1380" y="2654"/>
                  </a:lnTo>
                  <a:lnTo>
                    <a:pt x="1388" y="2652"/>
                  </a:lnTo>
                  <a:lnTo>
                    <a:pt x="1392" y="2652"/>
                  </a:lnTo>
                  <a:lnTo>
                    <a:pt x="1398" y="2650"/>
                  </a:lnTo>
                  <a:lnTo>
                    <a:pt x="1404" y="2644"/>
                  </a:lnTo>
                  <a:lnTo>
                    <a:pt x="1408" y="2642"/>
                  </a:lnTo>
                  <a:lnTo>
                    <a:pt x="1412" y="2640"/>
                  </a:lnTo>
                  <a:lnTo>
                    <a:pt x="1418" y="2642"/>
                  </a:lnTo>
                  <a:lnTo>
                    <a:pt x="1422" y="2644"/>
                  </a:lnTo>
                  <a:lnTo>
                    <a:pt x="1426" y="2644"/>
                  </a:lnTo>
                  <a:lnTo>
                    <a:pt x="1430" y="2640"/>
                  </a:lnTo>
                  <a:lnTo>
                    <a:pt x="1436" y="2638"/>
                  </a:lnTo>
                  <a:lnTo>
                    <a:pt x="1438" y="2638"/>
                  </a:lnTo>
                  <a:lnTo>
                    <a:pt x="1444" y="2640"/>
                  </a:lnTo>
                  <a:lnTo>
                    <a:pt x="1450" y="2644"/>
                  </a:lnTo>
                  <a:lnTo>
                    <a:pt x="1454" y="2644"/>
                  </a:lnTo>
                  <a:lnTo>
                    <a:pt x="1464" y="2644"/>
                  </a:lnTo>
                  <a:lnTo>
                    <a:pt x="1470" y="2644"/>
                  </a:lnTo>
                  <a:lnTo>
                    <a:pt x="1472" y="2646"/>
                  </a:lnTo>
                  <a:lnTo>
                    <a:pt x="1472" y="2650"/>
                  </a:lnTo>
                  <a:lnTo>
                    <a:pt x="1474" y="2656"/>
                  </a:lnTo>
                  <a:lnTo>
                    <a:pt x="1480" y="2660"/>
                  </a:lnTo>
                  <a:lnTo>
                    <a:pt x="1486" y="2660"/>
                  </a:lnTo>
                  <a:lnTo>
                    <a:pt x="1492" y="2658"/>
                  </a:lnTo>
                  <a:lnTo>
                    <a:pt x="1504" y="2656"/>
                  </a:lnTo>
                  <a:lnTo>
                    <a:pt x="1504" y="2658"/>
                  </a:lnTo>
                  <a:lnTo>
                    <a:pt x="1502" y="2660"/>
                  </a:lnTo>
                  <a:lnTo>
                    <a:pt x="1484" y="2668"/>
                  </a:lnTo>
                  <a:lnTo>
                    <a:pt x="1480" y="2672"/>
                  </a:lnTo>
                  <a:lnTo>
                    <a:pt x="1478" y="2680"/>
                  </a:lnTo>
                  <a:lnTo>
                    <a:pt x="1480" y="2684"/>
                  </a:lnTo>
                  <a:lnTo>
                    <a:pt x="1482" y="2682"/>
                  </a:lnTo>
                  <a:lnTo>
                    <a:pt x="1494" y="2670"/>
                  </a:lnTo>
                  <a:lnTo>
                    <a:pt x="1506" y="2662"/>
                  </a:lnTo>
                  <a:lnTo>
                    <a:pt x="1514" y="2658"/>
                  </a:lnTo>
                  <a:lnTo>
                    <a:pt x="1522" y="2654"/>
                  </a:lnTo>
                  <a:lnTo>
                    <a:pt x="1528" y="2646"/>
                  </a:lnTo>
                  <a:lnTo>
                    <a:pt x="1532" y="2638"/>
                  </a:lnTo>
                  <a:lnTo>
                    <a:pt x="1536" y="2636"/>
                  </a:lnTo>
                  <a:lnTo>
                    <a:pt x="1538" y="2634"/>
                  </a:lnTo>
                  <a:lnTo>
                    <a:pt x="1540" y="2636"/>
                  </a:lnTo>
                  <a:lnTo>
                    <a:pt x="1544" y="2640"/>
                  </a:lnTo>
                  <a:lnTo>
                    <a:pt x="1548" y="2640"/>
                  </a:lnTo>
                  <a:lnTo>
                    <a:pt x="1552" y="2638"/>
                  </a:lnTo>
                  <a:lnTo>
                    <a:pt x="1556" y="2634"/>
                  </a:lnTo>
                  <a:lnTo>
                    <a:pt x="1562" y="2634"/>
                  </a:lnTo>
                  <a:lnTo>
                    <a:pt x="1572" y="2638"/>
                  </a:lnTo>
                  <a:lnTo>
                    <a:pt x="1580" y="2638"/>
                  </a:lnTo>
                  <a:lnTo>
                    <a:pt x="1586" y="2638"/>
                  </a:lnTo>
                  <a:lnTo>
                    <a:pt x="1590" y="2634"/>
                  </a:lnTo>
                  <a:lnTo>
                    <a:pt x="1594" y="2626"/>
                  </a:lnTo>
                  <a:lnTo>
                    <a:pt x="1594" y="2624"/>
                  </a:lnTo>
                  <a:lnTo>
                    <a:pt x="1592" y="2624"/>
                  </a:lnTo>
                  <a:lnTo>
                    <a:pt x="1584" y="2622"/>
                  </a:lnTo>
                  <a:lnTo>
                    <a:pt x="1572" y="2616"/>
                  </a:lnTo>
                  <a:lnTo>
                    <a:pt x="1560" y="2608"/>
                  </a:lnTo>
                  <a:lnTo>
                    <a:pt x="1554" y="2600"/>
                  </a:lnTo>
                  <a:lnTo>
                    <a:pt x="1552" y="2592"/>
                  </a:lnTo>
                  <a:lnTo>
                    <a:pt x="1552" y="2582"/>
                  </a:lnTo>
                  <a:lnTo>
                    <a:pt x="1552" y="2578"/>
                  </a:lnTo>
                  <a:lnTo>
                    <a:pt x="1550" y="2576"/>
                  </a:lnTo>
                  <a:lnTo>
                    <a:pt x="1546" y="2572"/>
                  </a:lnTo>
                  <a:lnTo>
                    <a:pt x="1542" y="2570"/>
                  </a:lnTo>
                  <a:lnTo>
                    <a:pt x="1540" y="2568"/>
                  </a:lnTo>
                  <a:lnTo>
                    <a:pt x="1540" y="2564"/>
                  </a:lnTo>
                  <a:lnTo>
                    <a:pt x="1540" y="2560"/>
                  </a:lnTo>
                  <a:lnTo>
                    <a:pt x="1538" y="2558"/>
                  </a:lnTo>
                  <a:lnTo>
                    <a:pt x="1530" y="2556"/>
                  </a:lnTo>
                  <a:lnTo>
                    <a:pt x="1528" y="2556"/>
                  </a:lnTo>
                  <a:lnTo>
                    <a:pt x="1528" y="2554"/>
                  </a:lnTo>
                  <a:lnTo>
                    <a:pt x="1536" y="2546"/>
                  </a:lnTo>
                  <a:lnTo>
                    <a:pt x="1542" y="2542"/>
                  </a:lnTo>
                  <a:lnTo>
                    <a:pt x="1546" y="2538"/>
                  </a:lnTo>
                  <a:lnTo>
                    <a:pt x="1546" y="2534"/>
                  </a:lnTo>
                  <a:lnTo>
                    <a:pt x="1546" y="2530"/>
                  </a:lnTo>
                  <a:lnTo>
                    <a:pt x="1546" y="2522"/>
                  </a:lnTo>
                  <a:lnTo>
                    <a:pt x="1546" y="2516"/>
                  </a:lnTo>
                  <a:lnTo>
                    <a:pt x="1550" y="2510"/>
                  </a:lnTo>
                  <a:lnTo>
                    <a:pt x="1554" y="2504"/>
                  </a:lnTo>
                  <a:lnTo>
                    <a:pt x="1560" y="2502"/>
                  </a:lnTo>
                  <a:lnTo>
                    <a:pt x="1566" y="2504"/>
                  </a:lnTo>
                  <a:lnTo>
                    <a:pt x="1570" y="2504"/>
                  </a:lnTo>
                  <a:lnTo>
                    <a:pt x="1572" y="2502"/>
                  </a:lnTo>
                  <a:lnTo>
                    <a:pt x="1574" y="2496"/>
                  </a:lnTo>
                  <a:lnTo>
                    <a:pt x="1574" y="2484"/>
                  </a:lnTo>
                  <a:lnTo>
                    <a:pt x="1578" y="2458"/>
                  </a:lnTo>
                  <a:lnTo>
                    <a:pt x="1580" y="2448"/>
                  </a:lnTo>
                  <a:lnTo>
                    <a:pt x="1584" y="2440"/>
                  </a:lnTo>
                  <a:lnTo>
                    <a:pt x="1588" y="2434"/>
                  </a:lnTo>
                  <a:lnTo>
                    <a:pt x="1594" y="2428"/>
                  </a:lnTo>
                  <a:lnTo>
                    <a:pt x="1600" y="2426"/>
                  </a:lnTo>
                  <a:lnTo>
                    <a:pt x="1608" y="2422"/>
                  </a:lnTo>
                  <a:lnTo>
                    <a:pt x="1614" y="2418"/>
                  </a:lnTo>
                  <a:lnTo>
                    <a:pt x="1618" y="2414"/>
                  </a:lnTo>
                  <a:lnTo>
                    <a:pt x="1620" y="2406"/>
                  </a:lnTo>
                  <a:lnTo>
                    <a:pt x="1620" y="2398"/>
                  </a:lnTo>
                  <a:lnTo>
                    <a:pt x="1620" y="2390"/>
                  </a:lnTo>
                  <a:lnTo>
                    <a:pt x="1620" y="2386"/>
                  </a:lnTo>
                  <a:lnTo>
                    <a:pt x="1618" y="2384"/>
                  </a:lnTo>
                  <a:lnTo>
                    <a:pt x="1616" y="2378"/>
                  </a:lnTo>
                  <a:lnTo>
                    <a:pt x="1616" y="2372"/>
                  </a:lnTo>
                  <a:lnTo>
                    <a:pt x="1620" y="2372"/>
                  </a:lnTo>
                  <a:lnTo>
                    <a:pt x="1626" y="2372"/>
                  </a:lnTo>
                  <a:lnTo>
                    <a:pt x="1630" y="2370"/>
                  </a:lnTo>
                  <a:lnTo>
                    <a:pt x="1636" y="2366"/>
                  </a:lnTo>
                  <a:lnTo>
                    <a:pt x="1646" y="2358"/>
                  </a:lnTo>
                  <a:lnTo>
                    <a:pt x="1654" y="2348"/>
                  </a:lnTo>
                  <a:lnTo>
                    <a:pt x="1660" y="2340"/>
                  </a:lnTo>
                  <a:lnTo>
                    <a:pt x="1662" y="2330"/>
                  </a:lnTo>
                  <a:lnTo>
                    <a:pt x="1662" y="2326"/>
                  </a:lnTo>
                  <a:lnTo>
                    <a:pt x="1664" y="2324"/>
                  </a:lnTo>
                  <a:lnTo>
                    <a:pt x="1668" y="2322"/>
                  </a:lnTo>
                  <a:lnTo>
                    <a:pt x="1672" y="2320"/>
                  </a:lnTo>
                  <a:lnTo>
                    <a:pt x="1682" y="2320"/>
                  </a:lnTo>
                  <a:lnTo>
                    <a:pt x="1690" y="2318"/>
                  </a:lnTo>
                  <a:lnTo>
                    <a:pt x="1698" y="2318"/>
                  </a:lnTo>
                  <a:lnTo>
                    <a:pt x="1702" y="2318"/>
                  </a:lnTo>
                  <a:lnTo>
                    <a:pt x="1704" y="2318"/>
                  </a:lnTo>
                  <a:lnTo>
                    <a:pt x="1706" y="2312"/>
                  </a:lnTo>
                  <a:lnTo>
                    <a:pt x="1708" y="2296"/>
                  </a:lnTo>
                  <a:lnTo>
                    <a:pt x="1708" y="2294"/>
                  </a:lnTo>
                  <a:lnTo>
                    <a:pt x="1710" y="2298"/>
                  </a:lnTo>
                  <a:lnTo>
                    <a:pt x="1712" y="2308"/>
                  </a:lnTo>
                  <a:lnTo>
                    <a:pt x="1712" y="2316"/>
                  </a:lnTo>
                  <a:lnTo>
                    <a:pt x="1714" y="2320"/>
                  </a:lnTo>
                  <a:lnTo>
                    <a:pt x="1718" y="2322"/>
                  </a:lnTo>
                  <a:lnTo>
                    <a:pt x="1724" y="2322"/>
                  </a:lnTo>
                  <a:lnTo>
                    <a:pt x="1732" y="2322"/>
                  </a:lnTo>
                  <a:lnTo>
                    <a:pt x="1726" y="2324"/>
                  </a:lnTo>
                  <a:lnTo>
                    <a:pt x="1720" y="2326"/>
                  </a:lnTo>
                  <a:lnTo>
                    <a:pt x="1708" y="2324"/>
                  </a:lnTo>
                  <a:lnTo>
                    <a:pt x="1700" y="2322"/>
                  </a:lnTo>
                  <a:lnTo>
                    <a:pt x="1696" y="2322"/>
                  </a:lnTo>
                  <a:lnTo>
                    <a:pt x="1696" y="2324"/>
                  </a:lnTo>
                  <a:lnTo>
                    <a:pt x="1696" y="2326"/>
                  </a:lnTo>
                  <a:lnTo>
                    <a:pt x="1700" y="2330"/>
                  </a:lnTo>
                  <a:lnTo>
                    <a:pt x="1708" y="2336"/>
                  </a:lnTo>
                  <a:lnTo>
                    <a:pt x="1718" y="2342"/>
                  </a:lnTo>
                  <a:lnTo>
                    <a:pt x="1722" y="2346"/>
                  </a:lnTo>
                  <a:lnTo>
                    <a:pt x="1722" y="2348"/>
                  </a:lnTo>
                  <a:lnTo>
                    <a:pt x="1724" y="2350"/>
                  </a:lnTo>
                  <a:lnTo>
                    <a:pt x="1728" y="2350"/>
                  </a:lnTo>
                  <a:lnTo>
                    <a:pt x="1740" y="2350"/>
                  </a:lnTo>
                  <a:lnTo>
                    <a:pt x="1754" y="2348"/>
                  </a:lnTo>
                  <a:lnTo>
                    <a:pt x="1760" y="2348"/>
                  </a:lnTo>
                  <a:lnTo>
                    <a:pt x="1764" y="2350"/>
                  </a:lnTo>
                  <a:lnTo>
                    <a:pt x="1766" y="2352"/>
                  </a:lnTo>
                  <a:lnTo>
                    <a:pt x="1768" y="2352"/>
                  </a:lnTo>
                  <a:lnTo>
                    <a:pt x="1772" y="2350"/>
                  </a:lnTo>
                  <a:lnTo>
                    <a:pt x="1776" y="2350"/>
                  </a:lnTo>
                  <a:lnTo>
                    <a:pt x="1780" y="2356"/>
                  </a:lnTo>
                  <a:lnTo>
                    <a:pt x="1780" y="2358"/>
                  </a:lnTo>
                  <a:lnTo>
                    <a:pt x="1778" y="2360"/>
                  </a:lnTo>
                  <a:lnTo>
                    <a:pt x="1774" y="2364"/>
                  </a:lnTo>
                  <a:lnTo>
                    <a:pt x="1756" y="2374"/>
                  </a:lnTo>
                  <a:lnTo>
                    <a:pt x="1738" y="2382"/>
                  </a:lnTo>
                  <a:lnTo>
                    <a:pt x="1732" y="2386"/>
                  </a:lnTo>
                  <a:lnTo>
                    <a:pt x="1732" y="2388"/>
                  </a:lnTo>
                  <a:lnTo>
                    <a:pt x="1732" y="2390"/>
                  </a:lnTo>
                  <a:lnTo>
                    <a:pt x="1736" y="2392"/>
                  </a:lnTo>
                  <a:lnTo>
                    <a:pt x="1742" y="2394"/>
                  </a:lnTo>
                  <a:lnTo>
                    <a:pt x="1756" y="2398"/>
                  </a:lnTo>
                  <a:lnTo>
                    <a:pt x="1762" y="2400"/>
                  </a:lnTo>
                  <a:lnTo>
                    <a:pt x="1768" y="2404"/>
                  </a:lnTo>
                  <a:lnTo>
                    <a:pt x="1772" y="2410"/>
                  </a:lnTo>
                  <a:lnTo>
                    <a:pt x="1774" y="2416"/>
                  </a:lnTo>
                  <a:lnTo>
                    <a:pt x="1774" y="2424"/>
                  </a:lnTo>
                  <a:lnTo>
                    <a:pt x="1772" y="2428"/>
                  </a:lnTo>
                  <a:lnTo>
                    <a:pt x="1768" y="2432"/>
                  </a:lnTo>
                  <a:lnTo>
                    <a:pt x="1766" y="2434"/>
                  </a:lnTo>
                  <a:lnTo>
                    <a:pt x="1768" y="2434"/>
                  </a:lnTo>
                  <a:lnTo>
                    <a:pt x="1774" y="2442"/>
                  </a:lnTo>
                  <a:lnTo>
                    <a:pt x="1780" y="2446"/>
                  </a:lnTo>
                  <a:lnTo>
                    <a:pt x="1788" y="2448"/>
                  </a:lnTo>
                  <a:lnTo>
                    <a:pt x="1794" y="2446"/>
                  </a:lnTo>
                  <a:lnTo>
                    <a:pt x="1800" y="2442"/>
                  </a:lnTo>
                  <a:lnTo>
                    <a:pt x="1810" y="2432"/>
                  </a:lnTo>
                  <a:lnTo>
                    <a:pt x="1822" y="2422"/>
                  </a:lnTo>
                  <a:lnTo>
                    <a:pt x="1826" y="2420"/>
                  </a:lnTo>
                  <a:lnTo>
                    <a:pt x="1830" y="2420"/>
                  </a:lnTo>
                  <a:lnTo>
                    <a:pt x="1832" y="2422"/>
                  </a:lnTo>
                  <a:lnTo>
                    <a:pt x="1836" y="2422"/>
                  </a:lnTo>
                  <a:lnTo>
                    <a:pt x="1844" y="2416"/>
                  </a:lnTo>
                  <a:lnTo>
                    <a:pt x="1850" y="2410"/>
                  </a:lnTo>
                  <a:lnTo>
                    <a:pt x="1856" y="2408"/>
                  </a:lnTo>
                  <a:lnTo>
                    <a:pt x="1860" y="2408"/>
                  </a:lnTo>
                  <a:lnTo>
                    <a:pt x="1862" y="2408"/>
                  </a:lnTo>
                  <a:lnTo>
                    <a:pt x="1870" y="2412"/>
                  </a:lnTo>
                  <a:lnTo>
                    <a:pt x="1876" y="2414"/>
                  </a:lnTo>
                  <a:lnTo>
                    <a:pt x="1882" y="2412"/>
                  </a:lnTo>
                  <a:lnTo>
                    <a:pt x="1892" y="2408"/>
                  </a:lnTo>
                  <a:lnTo>
                    <a:pt x="1894" y="2406"/>
                  </a:lnTo>
                  <a:lnTo>
                    <a:pt x="1892" y="2404"/>
                  </a:lnTo>
                  <a:lnTo>
                    <a:pt x="1892" y="2400"/>
                  </a:lnTo>
                  <a:lnTo>
                    <a:pt x="1892" y="2398"/>
                  </a:lnTo>
                  <a:lnTo>
                    <a:pt x="1894" y="2394"/>
                  </a:lnTo>
                  <a:lnTo>
                    <a:pt x="1896" y="2390"/>
                  </a:lnTo>
                  <a:lnTo>
                    <a:pt x="1894" y="2386"/>
                  </a:lnTo>
                  <a:lnTo>
                    <a:pt x="1886" y="2384"/>
                  </a:lnTo>
                  <a:lnTo>
                    <a:pt x="1874" y="2386"/>
                  </a:lnTo>
                  <a:lnTo>
                    <a:pt x="1868" y="2388"/>
                  </a:lnTo>
                  <a:lnTo>
                    <a:pt x="1862" y="2392"/>
                  </a:lnTo>
                  <a:lnTo>
                    <a:pt x="1854" y="2396"/>
                  </a:lnTo>
                  <a:lnTo>
                    <a:pt x="1852" y="2396"/>
                  </a:lnTo>
                  <a:lnTo>
                    <a:pt x="1848" y="2392"/>
                  </a:lnTo>
                  <a:lnTo>
                    <a:pt x="1842" y="2386"/>
                  </a:lnTo>
                  <a:lnTo>
                    <a:pt x="1836" y="2376"/>
                  </a:lnTo>
                  <a:lnTo>
                    <a:pt x="1826" y="2358"/>
                  </a:lnTo>
                  <a:lnTo>
                    <a:pt x="1824" y="2348"/>
                  </a:lnTo>
                  <a:lnTo>
                    <a:pt x="1824" y="2346"/>
                  </a:lnTo>
                  <a:lnTo>
                    <a:pt x="1824" y="2344"/>
                  </a:lnTo>
                  <a:lnTo>
                    <a:pt x="1830" y="2342"/>
                  </a:lnTo>
                  <a:lnTo>
                    <a:pt x="1836" y="2340"/>
                  </a:lnTo>
                  <a:lnTo>
                    <a:pt x="1838" y="2340"/>
                  </a:lnTo>
                  <a:lnTo>
                    <a:pt x="1838" y="2342"/>
                  </a:lnTo>
                  <a:lnTo>
                    <a:pt x="1838" y="2344"/>
                  </a:lnTo>
                  <a:lnTo>
                    <a:pt x="1838" y="2348"/>
                  </a:lnTo>
                  <a:lnTo>
                    <a:pt x="1842" y="2346"/>
                  </a:lnTo>
                  <a:lnTo>
                    <a:pt x="1852" y="2336"/>
                  </a:lnTo>
                  <a:lnTo>
                    <a:pt x="1862" y="2326"/>
                  </a:lnTo>
                  <a:lnTo>
                    <a:pt x="1872" y="2318"/>
                  </a:lnTo>
                  <a:lnTo>
                    <a:pt x="1876" y="2316"/>
                  </a:lnTo>
                  <a:lnTo>
                    <a:pt x="1880" y="2316"/>
                  </a:lnTo>
                  <a:lnTo>
                    <a:pt x="1886" y="2318"/>
                  </a:lnTo>
                  <a:lnTo>
                    <a:pt x="1896" y="2316"/>
                  </a:lnTo>
                  <a:lnTo>
                    <a:pt x="1906" y="2312"/>
                  </a:lnTo>
                  <a:lnTo>
                    <a:pt x="1916" y="2308"/>
                  </a:lnTo>
                  <a:lnTo>
                    <a:pt x="1934" y="2296"/>
                  </a:lnTo>
                  <a:lnTo>
                    <a:pt x="1944" y="2292"/>
                  </a:lnTo>
                  <a:lnTo>
                    <a:pt x="1952" y="2292"/>
                  </a:lnTo>
                  <a:lnTo>
                    <a:pt x="1956" y="2294"/>
                  </a:lnTo>
                  <a:lnTo>
                    <a:pt x="1960" y="2296"/>
                  </a:lnTo>
                  <a:lnTo>
                    <a:pt x="1964" y="2294"/>
                  </a:lnTo>
                  <a:lnTo>
                    <a:pt x="1972" y="2288"/>
                  </a:lnTo>
                  <a:lnTo>
                    <a:pt x="1976" y="2288"/>
                  </a:lnTo>
                  <a:lnTo>
                    <a:pt x="1980" y="2290"/>
                  </a:lnTo>
                  <a:lnTo>
                    <a:pt x="1986" y="2288"/>
                  </a:lnTo>
                  <a:lnTo>
                    <a:pt x="1992" y="2286"/>
                  </a:lnTo>
                  <a:lnTo>
                    <a:pt x="1998" y="2284"/>
                  </a:lnTo>
                  <a:lnTo>
                    <a:pt x="2002" y="2284"/>
                  </a:lnTo>
                  <a:lnTo>
                    <a:pt x="2004" y="2286"/>
                  </a:lnTo>
                  <a:lnTo>
                    <a:pt x="2004" y="2288"/>
                  </a:lnTo>
                  <a:lnTo>
                    <a:pt x="2004" y="2290"/>
                  </a:lnTo>
                  <a:lnTo>
                    <a:pt x="2000" y="2294"/>
                  </a:lnTo>
                  <a:lnTo>
                    <a:pt x="1996" y="2298"/>
                  </a:lnTo>
                  <a:lnTo>
                    <a:pt x="1988" y="2300"/>
                  </a:lnTo>
                  <a:lnTo>
                    <a:pt x="1980" y="2302"/>
                  </a:lnTo>
                  <a:lnTo>
                    <a:pt x="1974" y="2306"/>
                  </a:lnTo>
                  <a:lnTo>
                    <a:pt x="1968" y="2312"/>
                  </a:lnTo>
                  <a:lnTo>
                    <a:pt x="1962" y="2316"/>
                  </a:lnTo>
                  <a:lnTo>
                    <a:pt x="1948" y="2318"/>
                  </a:lnTo>
                  <a:lnTo>
                    <a:pt x="1944" y="2318"/>
                  </a:lnTo>
                  <a:lnTo>
                    <a:pt x="1944" y="2320"/>
                  </a:lnTo>
                  <a:lnTo>
                    <a:pt x="1944" y="2324"/>
                  </a:lnTo>
                  <a:lnTo>
                    <a:pt x="1946" y="2326"/>
                  </a:lnTo>
                  <a:lnTo>
                    <a:pt x="1952" y="2332"/>
                  </a:lnTo>
                  <a:lnTo>
                    <a:pt x="1956" y="2334"/>
                  </a:lnTo>
                  <a:lnTo>
                    <a:pt x="1958" y="2334"/>
                  </a:lnTo>
                  <a:lnTo>
                    <a:pt x="1962" y="2334"/>
                  </a:lnTo>
                  <a:lnTo>
                    <a:pt x="1968" y="2338"/>
                  </a:lnTo>
                  <a:lnTo>
                    <a:pt x="1974" y="2344"/>
                  </a:lnTo>
                  <a:lnTo>
                    <a:pt x="1978" y="2352"/>
                  </a:lnTo>
                  <a:lnTo>
                    <a:pt x="1976" y="2354"/>
                  </a:lnTo>
                  <a:lnTo>
                    <a:pt x="1972" y="2352"/>
                  </a:lnTo>
                  <a:lnTo>
                    <a:pt x="1964" y="2350"/>
                  </a:lnTo>
                  <a:lnTo>
                    <a:pt x="1958" y="2350"/>
                  </a:lnTo>
                  <a:lnTo>
                    <a:pt x="1952" y="2354"/>
                  </a:lnTo>
                  <a:lnTo>
                    <a:pt x="1948" y="2362"/>
                  </a:lnTo>
                  <a:lnTo>
                    <a:pt x="1942" y="2376"/>
                  </a:lnTo>
                  <a:lnTo>
                    <a:pt x="1940" y="2382"/>
                  </a:lnTo>
                  <a:lnTo>
                    <a:pt x="1942" y="2388"/>
                  </a:lnTo>
                  <a:lnTo>
                    <a:pt x="1944" y="2396"/>
                  </a:lnTo>
                  <a:lnTo>
                    <a:pt x="1942" y="2396"/>
                  </a:lnTo>
                  <a:lnTo>
                    <a:pt x="1940" y="2396"/>
                  </a:lnTo>
                  <a:lnTo>
                    <a:pt x="1934" y="2394"/>
                  </a:lnTo>
                  <a:lnTo>
                    <a:pt x="1930" y="2392"/>
                  </a:lnTo>
                  <a:lnTo>
                    <a:pt x="1926" y="2394"/>
                  </a:lnTo>
                  <a:lnTo>
                    <a:pt x="1922" y="2394"/>
                  </a:lnTo>
                  <a:lnTo>
                    <a:pt x="1918" y="2392"/>
                  </a:lnTo>
                  <a:lnTo>
                    <a:pt x="1910" y="2390"/>
                  </a:lnTo>
                  <a:lnTo>
                    <a:pt x="1904" y="2388"/>
                  </a:lnTo>
                  <a:lnTo>
                    <a:pt x="1904" y="2390"/>
                  </a:lnTo>
                  <a:lnTo>
                    <a:pt x="1904" y="2392"/>
                  </a:lnTo>
                  <a:lnTo>
                    <a:pt x="1904" y="2396"/>
                  </a:lnTo>
                  <a:lnTo>
                    <a:pt x="1904" y="2398"/>
                  </a:lnTo>
                  <a:lnTo>
                    <a:pt x="1900" y="2402"/>
                  </a:lnTo>
                  <a:lnTo>
                    <a:pt x="1900" y="2404"/>
                  </a:lnTo>
                  <a:lnTo>
                    <a:pt x="1912" y="2410"/>
                  </a:lnTo>
                  <a:lnTo>
                    <a:pt x="1918" y="2414"/>
                  </a:lnTo>
                  <a:lnTo>
                    <a:pt x="1924" y="2418"/>
                  </a:lnTo>
                  <a:lnTo>
                    <a:pt x="1928" y="2424"/>
                  </a:lnTo>
                  <a:lnTo>
                    <a:pt x="1934" y="2430"/>
                  </a:lnTo>
                  <a:lnTo>
                    <a:pt x="1938" y="2432"/>
                  </a:lnTo>
                  <a:lnTo>
                    <a:pt x="1944" y="2434"/>
                  </a:lnTo>
                  <a:lnTo>
                    <a:pt x="1950" y="2434"/>
                  </a:lnTo>
                  <a:lnTo>
                    <a:pt x="1954" y="2436"/>
                  </a:lnTo>
                  <a:lnTo>
                    <a:pt x="1956" y="2440"/>
                  </a:lnTo>
                  <a:lnTo>
                    <a:pt x="1958" y="2442"/>
                  </a:lnTo>
                  <a:lnTo>
                    <a:pt x="1960" y="2446"/>
                  </a:lnTo>
                  <a:lnTo>
                    <a:pt x="1966" y="2448"/>
                  </a:lnTo>
                  <a:lnTo>
                    <a:pt x="1976" y="2452"/>
                  </a:lnTo>
                  <a:lnTo>
                    <a:pt x="1990" y="2456"/>
                  </a:lnTo>
                  <a:lnTo>
                    <a:pt x="1994" y="2458"/>
                  </a:lnTo>
                  <a:lnTo>
                    <a:pt x="1996" y="2462"/>
                  </a:lnTo>
                  <a:lnTo>
                    <a:pt x="2006" y="2474"/>
                  </a:lnTo>
                  <a:lnTo>
                    <a:pt x="2034" y="2504"/>
                  </a:lnTo>
                  <a:lnTo>
                    <a:pt x="2042" y="2510"/>
                  </a:lnTo>
                  <a:lnTo>
                    <a:pt x="2050" y="2516"/>
                  </a:lnTo>
                  <a:lnTo>
                    <a:pt x="2062" y="2520"/>
                  </a:lnTo>
                  <a:lnTo>
                    <a:pt x="2070" y="2522"/>
                  </a:lnTo>
                  <a:lnTo>
                    <a:pt x="2074" y="2526"/>
                  </a:lnTo>
                  <a:lnTo>
                    <a:pt x="2076" y="2530"/>
                  </a:lnTo>
                  <a:lnTo>
                    <a:pt x="2080" y="2534"/>
                  </a:lnTo>
                  <a:lnTo>
                    <a:pt x="2082" y="2538"/>
                  </a:lnTo>
                  <a:lnTo>
                    <a:pt x="2088" y="2538"/>
                  </a:lnTo>
                  <a:lnTo>
                    <a:pt x="2092" y="2540"/>
                  </a:lnTo>
                  <a:lnTo>
                    <a:pt x="2094" y="2544"/>
                  </a:lnTo>
                  <a:lnTo>
                    <a:pt x="2098" y="2552"/>
                  </a:lnTo>
                  <a:lnTo>
                    <a:pt x="2100" y="2562"/>
                  </a:lnTo>
                  <a:lnTo>
                    <a:pt x="2104" y="2584"/>
                  </a:lnTo>
                  <a:lnTo>
                    <a:pt x="2104" y="2598"/>
                  </a:lnTo>
                  <a:lnTo>
                    <a:pt x="2100" y="2606"/>
                  </a:lnTo>
                  <a:lnTo>
                    <a:pt x="2096" y="2610"/>
                  </a:lnTo>
                  <a:lnTo>
                    <a:pt x="2086" y="2618"/>
                  </a:lnTo>
                  <a:lnTo>
                    <a:pt x="2066" y="2630"/>
                  </a:lnTo>
                  <a:lnTo>
                    <a:pt x="2054" y="2636"/>
                  </a:lnTo>
                  <a:lnTo>
                    <a:pt x="2044" y="2640"/>
                  </a:lnTo>
                  <a:lnTo>
                    <a:pt x="2032" y="2638"/>
                  </a:lnTo>
                  <a:lnTo>
                    <a:pt x="2028" y="2638"/>
                  </a:lnTo>
                  <a:lnTo>
                    <a:pt x="2024" y="2634"/>
                  </a:lnTo>
                  <a:lnTo>
                    <a:pt x="2014" y="2630"/>
                  </a:lnTo>
                  <a:lnTo>
                    <a:pt x="2006" y="2630"/>
                  </a:lnTo>
                  <a:lnTo>
                    <a:pt x="1996" y="2632"/>
                  </a:lnTo>
                  <a:lnTo>
                    <a:pt x="1986" y="2636"/>
                  </a:lnTo>
                  <a:lnTo>
                    <a:pt x="1976" y="2640"/>
                  </a:lnTo>
                  <a:lnTo>
                    <a:pt x="1968" y="2642"/>
                  </a:lnTo>
                  <a:lnTo>
                    <a:pt x="1960" y="2642"/>
                  </a:lnTo>
                  <a:lnTo>
                    <a:pt x="1956" y="2640"/>
                  </a:lnTo>
                  <a:lnTo>
                    <a:pt x="1952" y="2636"/>
                  </a:lnTo>
                  <a:lnTo>
                    <a:pt x="1942" y="2630"/>
                  </a:lnTo>
                  <a:lnTo>
                    <a:pt x="1940" y="2630"/>
                  </a:lnTo>
                  <a:lnTo>
                    <a:pt x="1938" y="2632"/>
                  </a:lnTo>
                  <a:lnTo>
                    <a:pt x="1936" y="2634"/>
                  </a:lnTo>
                  <a:lnTo>
                    <a:pt x="1932" y="2634"/>
                  </a:lnTo>
                  <a:lnTo>
                    <a:pt x="1924" y="2630"/>
                  </a:lnTo>
                  <a:lnTo>
                    <a:pt x="1918" y="2626"/>
                  </a:lnTo>
                  <a:lnTo>
                    <a:pt x="1914" y="2622"/>
                  </a:lnTo>
                  <a:lnTo>
                    <a:pt x="1910" y="2618"/>
                  </a:lnTo>
                  <a:lnTo>
                    <a:pt x="1908" y="2616"/>
                  </a:lnTo>
                  <a:lnTo>
                    <a:pt x="1906" y="2616"/>
                  </a:lnTo>
                  <a:lnTo>
                    <a:pt x="1896" y="2620"/>
                  </a:lnTo>
                  <a:lnTo>
                    <a:pt x="1890" y="2620"/>
                  </a:lnTo>
                  <a:lnTo>
                    <a:pt x="1886" y="2618"/>
                  </a:lnTo>
                  <a:lnTo>
                    <a:pt x="1884" y="2614"/>
                  </a:lnTo>
                  <a:lnTo>
                    <a:pt x="1882" y="2608"/>
                  </a:lnTo>
                  <a:lnTo>
                    <a:pt x="1880" y="2602"/>
                  </a:lnTo>
                  <a:lnTo>
                    <a:pt x="1876" y="2598"/>
                  </a:lnTo>
                  <a:lnTo>
                    <a:pt x="1870" y="2596"/>
                  </a:lnTo>
                  <a:lnTo>
                    <a:pt x="1860" y="2598"/>
                  </a:lnTo>
                  <a:lnTo>
                    <a:pt x="1850" y="2600"/>
                  </a:lnTo>
                  <a:lnTo>
                    <a:pt x="1844" y="2596"/>
                  </a:lnTo>
                  <a:lnTo>
                    <a:pt x="1842" y="2592"/>
                  </a:lnTo>
                  <a:lnTo>
                    <a:pt x="1840" y="2586"/>
                  </a:lnTo>
                  <a:lnTo>
                    <a:pt x="1840" y="2582"/>
                  </a:lnTo>
                  <a:lnTo>
                    <a:pt x="1838" y="2578"/>
                  </a:lnTo>
                  <a:lnTo>
                    <a:pt x="1836" y="2576"/>
                  </a:lnTo>
                  <a:lnTo>
                    <a:pt x="1830" y="2580"/>
                  </a:lnTo>
                  <a:lnTo>
                    <a:pt x="1822" y="2582"/>
                  </a:lnTo>
                  <a:lnTo>
                    <a:pt x="1814" y="2584"/>
                  </a:lnTo>
                  <a:lnTo>
                    <a:pt x="1798" y="2582"/>
                  </a:lnTo>
                  <a:lnTo>
                    <a:pt x="1788" y="2580"/>
                  </a:lnTo>
                  <a:lnTo>
                    <a:pt x="1778" y="2580"/>
                  </a:lnTo>
                  <a:lnTo>
                    <a:pt x="1766" y="2582"/>
                  </a:lnTo>
                  <a:lnTo>
                    <a:pt x="1752" y="2586"/>
                  </a:lnTo>
                  <a:lnTo>
                    <a:pt x="1724" y="2596"/>
                  </a:lnTo>
                  <a:lnTo>
                    <a:pt x="1706" y="2608"/>
                  </a:lnTo>
                  <a:lnTo>
                    <a:pt x="1694" y="2618"/>
                  </a:lnTo>
                  <a:lnTo>
                    <a:pt x="1688" y="2624"/>
                  </a:lnTo>
                  <a:lnTo>
                    <a:pt x="1684" y="2630"/>
                  </a:lnTo>
                  <a:lnTo>
                    <a:pt x="1678" y="2632"/>
                  </a:lnTo>
                  <a:lnTo>
                    <a:pt x="1668" y="2632"/>
                  </a:lnTo>
                  <a:lnTo>
                    <a:pt x="1656" y="2628"/>
                  </a:lnTo>
                  <a:lnTo>
                    <a:pt x="1646" y="2626"/>
                  </a:lnTo>
                  <a:lnTo>
                    <a:pt x="1638" y="2626"/>
                  </a:lnTo>
                  <a:lnTo>
                    <a:pt x="1630" y="2628"/>
                  </a:lnTo>
                  <a:lnTo>
                    <a:pt x="1618" y="2628"/>
                  </a:lnTo>
                  <a:lnTo>
                    <a:pt x="1608" y="2624"/>
                  </a:lnTo>
                  <a:lnTo>
                    <a:pt x="1602" y="2626"/>
                  </a:lnTo>
                  <a:lnTo>
                    <a:pt x="1598" y="2628"/>
                  </a:lnTo>
                  <a:lnTo>
                    <a:pt x="1596" y="2634"/>
                  </a:lnTo>
                  <a:lnTo>
                    <a:pt x="1594" y="2638"/>
                  </a:lnTo>
                  <a:lnTo>
                    <a:pt x="1596" y="2640"/>
                  </a:lnTo>
                  <a:lnTo>
                    <a:pt x="1600" y="2642"/>
                  </a:lnTo>
                  <a:lnTo>
                    <a:pt x="1604" y="2646"/>
                  </a:lnTo>
                  <a:lnTo>
                    <a:pt x="1608" y="2650"/>
                  </a:lnTo>
                  <a:lnTo>
                    <a:pt x="1612" y="2650"/>
                  </a:lnTo>
                  <a:lnTo>
                    <a:pt x="1620" y="2652"/>
                  </a:lnTo>
                  <a:lnTo>
                    <a:pt x="1622" y="2652"/>
                  </a:lnTo>
                  <a:lnTo>
                    <a:pt x="1620" y="2652"/>
                  </a:lnTo>
                  <a:lnTo>
                    <a:pt x="1606" y="2656"/>
                  </a:lnTo>
                  <a:lnTo>
                    <a:pt x="1584" y="2660"/>
                  </a:lnTo>
                  <a:lnTo>
                    <a:pt x="1584" y="2662"/>
                  </a:lnTo>
                  <a:lnTo>
                    <a:pt x="1584" y="2664"/>
                  </a:lnTo>
                  <a:lnTo>
                    <a:pt x="1592" y="2666"/>
                  </a:lnTo>
                  <a:lnTo>
                    <a:pt x="1594" y="2668"/>
                  </a:lnTo>
                  <a:lnTo>
                    <a:pt x="1594" y="2672"/>
                  </a:lnTo>
                  <a:lnTo>
                    <a:pt x="1586" y="2674"/>
                  </a:lnTo>
                  <a:lnTo>
                    <a:pt x="1570" y="2674"/>
                  </a:lnTo>
                  <a:lnTo>
                    <a:pt x="1558" y="2672"/>
                  </a:lnTo>
                  <a:lnTo>
                    <a:pt x="1554" y="2670"/>
                  </a:lnTo>
                  <a:lnTo>
                    <a:pt x="1552" y="2666"/>
                  </a:lnTo>
                  <a:lnTo>
                    <a:pt x="1552" y="2664"/>
                  </a:lnTo>
                  <a:lnTo>
                    <a:pt x="1550" y="2662"/>
                  </a:lnTo>
                  <a:lnTo>
                    <a:pt x="1544" y="2662"/>
                  </a:lnTo>
                  <a:lnTo>
                    <a:pt x="1538" y="2666"/>
                  </a:lnTo>
                  <a:lnTo>
                    <a:pt x="1536" y="2668"/>
                  </a:lnTo>
                  <a:lnTo>
                    <a:pt x="1538" y="2670"/>
                  </a:lnTo>
                  <a:lnTo>
                    <a:pt x="1540" y="2672"/>
                  </a:lnTo>
                  <a:lnTo>
                    <a:pt x="1540" y="2674"/>
                  </a:lnTo>
                  <a:lnTo>
                    <a:pt x="1536" y="2676"/>
                  </a:lnTo>
                  <a:lnTo>
                    <a:pt x="1530" y="2676"/>
                  </a:lnTo>
                  <a:lnTo>
                    <a:pt x="1528" y="2674"/>
                  </a:lnTo>
                  <a:lnTo>
                    <a:pt x="1526" y="2672"/>
                  </a:lnTo>
                  <a:lnTo>
                    <a:pt x="1524" y="2670"/>
                  </a:lnTo>
                  <a:lnTo>
                    <a:pt x="1520" y="2668"/>
                  </a:lnTo>
                  <a:lnTo>
                    <a:pt x="1516" y="2666"/>
                  </a:lnTo>
                  <a:lnTo>
                    <a:pt x="1510" y="2668"/>
                  </a:lnTo>
                  <a:lnTo>
                    <a:pt x="1506" y="2670"/>
                  </a:lnTo>
                  <a:lnTo>
                    <a:pt x="1500" y="2672"/>
                  </a:lnTo>
                  <a:lnTo>
                    <a:pt x="1494" y="2678"/>
                  </a:lnTo>
                  <a:lnTo>
                    <a:pt x="1488" y="2686"/>
                  </a:lnTo>
                  <a:lnTo>
                    <a:pt x="1482" y="2692"/>
                  </a:lnTo>
                  <a:lnTo>
                    <a:pt x="1480" y="2694"/>
                  </a:lnTo>
                  <a:lnTo>
                    <a:pt x="1478" y="2696"/>
                  </a:lnTo>
                  <a:lnTo>
                    <a:pt x="1476" y="2706"/>
                  </a:lnTo>
                  <a:lnTo>
                    <a:pt x="1474" y="2716"/>
                  </a:lnTo>
                  <a:lnTo>
                    <a:pt x="1474" y="2718"/>
                  </a:lnTo>
                  <a:lnTo>
                    <a:pt x="1476" y="2720"/>
                  </a:lnTo>
                  <a:lnTo>
                    <a:pt x="1482" y="2720"/>
                  </a:lnTo>
                  <a:lnTo>
                    <a:pt x="1496" y="2716"/>
                  </a:lnTo>
                  <a:lnTo>
                    <a:pt x="1504" y="2716"/>
                  </a:lnTo>
                  <a:lnTo>
                    <a:pt x="1506" y="2716"/>
                  </a:lnTo>
                  <a:lnTo>
                    <a:pt x="1506" y="2718"/>
                  </a:lnTo>
                  <a:lnTo>
                    <a:pt x="1504" y="2720"/>
                  </a:lnTo>
                  <a:lnTo>
                    <a:pt x="1500" y="2728"/>
                  </a:lnTo>
                  <a:lnTo>
                    <a:pt x="1498" y="2732"/>
                  </a:lnTo>
                  <a:lnTo>
                    <a:pt x="1502" y="2734"/>
                  </a:lnTo>
                  <a:lnTo>
                    <a:pt x="1504" y="2738"/>
                  </a:lnTo>
                  <a:lnTo>
                    <a:pt x="1504" y="2740"/>
                  </a:lnTo>
                  <a:lnTo>
                    <a:pt x="1502" y="2746"/>
                  </a:lnTo>
                  <a:lnTo>
                    <a:pt x="1502" y="2750"/>
                  </a:lnTo>
                  <a:lnTo>
                    <a:pt x="1504" y="2752"/>
                  </a:lnTo>
                  <a:lnTo>
                    <a:pt x="1506" y="2752"/>
                  </a:lnTo>
                  <a:lnTo>
                    <a:pt x="1510" y="2754"/>
                  </a:lnTo>
                  <a:lnTo>
                    <a:pt x="1510" y="2756"/>
                  </a:lnTo>
                  <a:lnTo>
                    <a:pt x="1504" y="2760"/>
                  </a:lnTo>
                  <a:lnTo>
                    <a:pt x="1498" y="2766"/>
                  </a:lnTo>
                  <a:lnTo>
                    <a:pt x="1498" y="2768"/>
                  </a:lnTo>
                  <a:lnTo>
                    <a:pt x="1502" y="2770"/>
                  </a:lnTo>
                  <a:lnTo>
                    <a:pt x="1508" y="2774"/>
                  </a:lnTo>
                  <a:lnTo>
                    <a:pt x="1510" y="2778"/>
                  </a:lnTo>
                  <a:lnTo>
                    <a:pt x="1510" y="2780"/>
                  </a:lnTo>
                  <a:lnTo>
                    <a:pt x="1508" y="2782"/>
                  </a:lnTo>
                  <a:lnTo>
                    <a:pt x="1504" y="2782"/>
                  </a:lnTo>
                  <a:lnTo>
                    <a:pt x="1500" y="2782"/>
                  </a:lnTo>
                  <a:lnTo>
                    <a:pt x="1496" y="2780"/>
                  </a:lnTo>
                  <a:lnTo>
                    <a:pt x="1494" y="2774"/>
                  </a:lnTo>
                  <a:lnTo>
                    <a:pt x="1492" y="2768"/>
                  </a:lnTo>
                  <a:lnTo>
                    <a:pt x="1488" y="2768"/>
                  </a:lnTo>
                  <a:lnTo>
                    <a:pt x="1486" y="2768"/>
                  </a:lnTo>
                  <a:lnTo>
                    <a:pt x="1486" y="2772"/>
                  </a:lnTo>
                  <a:lnTo>
                    <a:pt x="1484" y="2782"/>
                  </a:lnTo>
                  <a:lnTo>
                    <a:pt x="1486" y="2788"/>
                  </a:lnTo>
                  <a:lnTo>
                    <a:pt x="1490" y="2792"/>
                  </a:lnTo>
                  <a:lnTo>
                    <a:pt x="1494" y="2794"/>
                  </a:lnTo>
                  <a:lnTo>
                    <a:pt x="1498" y="2794"/>
                  </a:lnTo>
                  <a:lnTo>
                    <a:pt x="1500" y="2794"/>
                  </a:lnTo>
                  <a:lnTo>
                    <a:pt x="1504" y="2796"/>
                  </a:lnTo>
                  <a:lnTo>
                    <a:pt x="1508" y="2800"/>
                  </a:lnTo>
                  <a:lnTo>
                    <a:pt x="1510" y="2800"/>
                  </a:lnTo>
                  <a:lnTo>
                    <a:pt x="1518" y="2802"/>
                  </a:lnTo>
                  <a:lnTo>
                    <a:pt x="1520" y="2802"/>
                  </a:lnTo>
                  <a:lnTo>
                    <a:pt x="1522" y="2804"/>
                  </a:lnTo>
                  <a:lnTo>
                    <a:pt x="1522" y="2806"/>
                  </a:lnTo>
                  <a:lnTo>
                    <a:pt x="1520" y="2810"/>
                  </a:lnTo>
                  <a:lnTo>
                    <a:pt x="1516" y="2818"/>
                  </a:lnTo>
                  <a:lnTo>
                    <a:pt x="1516" y="2822"/>
                  </a:lnTo>
                  <a:lnTo>
                    <a:pt x="1520" y="2826"/>
                  </a:lnTo>
                  <a:lnTo>
                    <a:pt x="1520" y="2832"/>
                  </a:lnTo>
                  <a:lnTo>
                    <a:pt x="1520" y="2836"/>
                  </a:lnTo>
                  <a:lnTo>
                    <a:pt x="1522" y="2838"/>
                  </a:lnTo>
                  <a:lnTo>
                    <a:pt x="1526" y="2838"/>
                  </a:lnTo>
                  <a:lnTo>
                    <a:pt x="1528" y="2840"/>
                  </a:lnTo>
                  <a:lnTo>
                    <a:pt x="1530" y="2844"/>
                  </a:lnTo>
                  <a:lnTo>
                    <a:pt x="1530" y="2848"/>
                  </a:lnTo>
                  <a:lnTo>
                    <a:pt x="1530" y="2850"/>
                  </a:lnTo>
                  <a:lnTo>
                    <a:pt x="1524" y="2850"/>
                  </a:lnTo>
                  <a:lnTo>
                    <a:pt x="1518" y="2850"/>
                  </a:lnTo>
                  <a:lnTo>
                    <a:pt x="1520" y="2854"/>
                  </a:lnTo>
                  <a:lnTo>
                    <a:pt x="1522" y="2856"/>
                  </a:lnTo>
                  <a:lnTo>
                    <a:pt x="1528" y="2858"/>
                  </a:lnTo>
                  <a:lnTo>
                    <a:pt x="1542" y="2856"/>
                  </a:lnTo>
                  <a:lnTo>
                    <a:pt x="1552" y="2856"/>
                  </a:lnTo>
                  <a:lnTo>
                    <a:pt x="1556" y="2858"/>
                  </a:lnTo>
                  <a:lnTo>
                    <a:pt x="1554" y="2860"/>
                  </a:lnTo>
                  <a:lnTo>
                    <a:pt x="1550" y="2864"/>
                  </a:lnTo>
                  <a:lnTo>
                    <a:pt x="1546" y="2866"/>
                  </a:lnTo>
                  <a:lnTo>
                    <a:pt x="1534" y="2868"/>
                  </a:lnTo>
                  <a:lnTo>
                    <a:pt x="1526" y="2870"/>
                  </a:lnTo>
                  <a:lnTo>
                    <a:pt x="1524" y="2870"/>
                  </a:lnTo>
                  <a:lnTo>
                    <a:pt x="1526" y="2872"/>
                  </a:lnTo>
                  <a:lnTo>
                    <a:pt x="1528" y="2876"/>
                  </a:lnTo>
                  <a:lnTo>
                    <a:pt x="1532" y="2876"/>
                  </a:lnTo>
                  <a:lnTo>
                    <a:pt x="1540" y="2874"/>
                  </a:lnTo>
                  <a:lnTo>
                    <a:pt x="1548" y="2872"/>
                  </a:lnTo>
                  <a:lnTo>
                    <a:pt x="1550" y="2872"/>
                  </a:lnTo>
                  <a:lnTo>
                    <a:pt x="1552" y="2876"/>
                  </a:lnTo>
                  <a:lnTo>
                    <a:pt x="1552" y="2878"/>
                  </a:lnTo>
                  <a:lnTo>
                    <a:pt x="1554" y="2878"/>
                  </a:lnTo>
                  <a:lnTo>
                    <a:pt x="1560" y="2872"/>
                  </a:lnTo>
                  <a:lnTo>
                    <a:pt x="1564" y="2870"/>
                  </a:lnTo>
                  <a:lnTo>
                    <a:pt x="1568" y="2868"/>
                  </a:lnTo>
                  <a:lnTo>
                    <a:pt x="1572" y="2868"/>
                  </a:lnTo>
                  <a:lnTo>
                    <a:pt x="1576" y="2870"/>
                  </a:lnTo>
                  <a:lnTo>
                    <a:pt x="1580" y="2874"/>
                  </a:lnTo>
                  <a:lnTo>
                    <a:pt x="1582" y="2874"/>
                  </a:lnTo>
                  <a:lnTo>
                    <a:pt x="1588" y="2874"/>
                  </a:lnTo>
                  <a:lnTo>
                    <a:pt x="1590" y="2872"/>
                  </a:lnTo>
                  <a:lnTo>
                    <a:pt x="1592" y="2874"/>
                  </a:lnTo>
                  <a:lnTo>
                    <a:pt x="1594" y="2880"/>
                  </a:lnTo>
                  <a:lnTo>
                    <a:pt x="1598" y="2886"/>
                  </a:lnTo>
                  <a:lnTo>
                    <a:pt x="1602" y="2892"/>
                  </a:lnTo>
                  <a:lnTo>
                    <a:pt x="1610" y="2900"/>
                  </a:lnTo>
                  <a:lnTo>
                    <a:pt x="1616" y="2902"/>
                  </a:lnTo>
                  <a:lnTo>
                    <a:pt x="1620" y="2904"/>
                  </a:lnTo>
                  <a:lnTo>
                    <a:pt x="1624" y="2904"/>
                  </a:lnTo>
                  <a:lnTo>
                    <a:pt x="1628" y="2902"/>
                  </a:lnTo>
                  <a:lnTo>
                    <a:pt x="1634" y="2896"/>
                  </a:lnTo>
                  <a:lnTo>
                    <a:pt x="1638" y="2894"/>
                  </a:lnTo>
                  <a:lnTo>
                    <a:pt x="1640" y="2894"/>
                  </a:lnTo>
                  <a:lnTo>
                    <a:pt x="1642" y="2896"/>
                  </a:lnTo>
                  <a:lnTo>
                    <a:pt x="1646" y="2898"/>
                  </a:lnTo>
                  <a:lnTo>
                    <a:pt x="1648" y="2896"/>
                  </a:lnTo>
                  <a:lnTo>
                    <a:pt x="1652" y="2894"/>
                  </a:lnTo>
                  <a:lnTo>
                    <a:pt x="1654" y="2890"/>
                  </a:lnTo>
                  <a:lnTo>
                    <a:pt x="1654" y="2884"/>
                  </a:lnTo>
                  <a:lnTo>
                    <a:pt x="1654" y="2872"/>
                  </a:lnTo>
                  <a:lnTo>
                    <a:pt x="1656" y="2866"/>
                  </a:lnTo>
                  <a:lnTo>
                    <a:pt x="1662" y="2864"/>
                  </a:lnTo>
                  <a:lnTo>
                    <a:pt x="1670" y="2864"/>
                  </a:lnTo>
                  <a:lnTo>
                    <a:pt x="1686" y="2868"/>
                  </a:lnTo>
                  <a:lnTo>
                    <a:pt x="1700" y="2874"/>
                  </a:lnTo>
                  <a:lnTo>
                    <a:pt x="1712" y="2882"/>
                  </a:lnTo>
                  <a:lnTo>
                    <a:pt x="1720" y="2890"/>
                  </a:lnTo>
                  <a:lnTo>
                    <a:pt x="1728" y="2898"/>
                  </a:lnTo>
                  <a:lnTo>
                    <a:pt x="1732" y="2904"/>
                  </a:lnTo>
                  <a:lnTo>
                    <a:pt x="1738" y="2908"/>
                  </a:lnTo>
                  <a:lnTo>
                    <a:pt x="1744" y="2910"/>
                  </a:lnTo>
                  <a:lnTo>
                    <a:pt x="1752" y="2908"/>
                  </a:lnTo>
                  <a:lnTo>
                    <a:pt x="1766" y="2904"/>
                  </a:lnTo>
                  <a:lnTo>
                    <a:pt x="1778" y="2902"/>
                  </a:lnTo>
                  <a:lnTo>
                    <a:pt x="1782" y="2900"/>
                  </a:lnTo>
                  <a:lnTo>
                    <a:pt x="1788" y="2898"/>
                  </a:lnTo>
                  <a:lnTo>
                    <a:pt x="1794" y="2892"/>
                  </a:lnTo>
                  <a:lnTo>
                    <a:pt x="1802" y="2884"/>
                  </a:lnTo>
                  <a:lnTo>
                    <a:pt x="1814" y="2872"/>
                  </a:lnTo>
                  <a:lnTo>
                    <a:pt x="1822" y="2868"/>
                  </a:lnTo>
                  <a:lnTo>
                    <a:pt x="1828" y="2868"/>
                  </a:lnTo>
                  <a:lnTo>
                    <a:pt x="1834" y="2872"/>
                  </a:lnTo>
                  <a:lnTo>
                    <a:pt x="1838" y="2876"/>
                  </a:lnTo>
                  <a:lnTo>
                    <a:pt x="1844" y="2880"/>
                  </a:lnTo>
                  <a:lnTo>
                    <a:pt x="1848" y="2880"/>
                  </a:lnTo>
                  <a:lnTo>
                    <a:pt x="1856" y="2876"/>
                  </a:lnTo>
                  <a:lnTo>
                    <a:pt x="1868" y="2864"/>
                  </a:lnTo>
                  <a:lnTo>
                    <a:pt x="1876" y="2860"/>
                  </a:lnTo>
                  <a:lnTo>
                    <a:pt x="1878" y="2860"/>
                  </a:lnTo>
                  <a:lnTo>
                    <a:pt x="1880" y="2862"/>
                  </a:lnTo>
                  <a:lnTo>
                    <a:pt x="1882" y="2870"/>
                  </a:lnTo>
                  <a:lnTo>
                    <a:pt x="1882" y="2874"/>
                  </a:lnTo>
                  <a:lnTo>
                    <a:pt x="1880" y="2878"/>
                  </a:lnTo>
                  <a:lnTo>
                    <a:pt x="1872" y="2886"/>
                  </a:lnTo>
                  <a:lnTo>
                    <a:pt x="1866" y="2892"/>
                  </a:lnTo>
                  <a:lnTo>
                    <a:pt x="1864" y="2894"/>
                  </a:lnTo>
                  <a:lnTo>
                    <a:pt x="1866" y="2896"/>
                  </a:lnTo>
                  <a:lnTo>
                    <a:pt x="1872" y="2906"/>
                  </a:lnTo>
                  <a:lnTo>
                    <a:pt x="1872" y="2910"/>
                  </a:lnTo>
                  <a:lnTo>
                    <a:pt x="1872" y="2914"/>
                  </a:lnTo>
                  <a:lnTo>
                    <a:pt x="1868" y="2918"/>
                  </a:lnTo>
                  <a:lnTo>
                    <a:pt x="1864" y="2924"/>
                  </a:lnTo>
                  <a:lnTo>
                    <a:pt x="1862" y="2930"/>
                  </a:lnTo>
                  <a:lnTo>
                    <a:pt x="1866" y="2940"/>
                  </a:lnTo>
                  <a:lnTo>
                    <a:pt x="1870" y="2948"/>
                  </a:lnTo>
                  <a:lnTo>
                    <a:pt x="1870" y="2956"/>
                  </a:lnTo>
                  <a:lnTo>
                    <a:pt x="1870" y="2966"/>
                  </a:lnTo>
                  <a:lnTo>
                    <a:pt x="1872" y="2980"/>
                  </a:lnTo>
                  <a:lnTo>
                    <a:pt x="1872" y="2986"/>
                  </a:lnTo>
                  <a:lnTo>
                    <a:pt x="1870" y="2990"/>
                  </a:lnTo>
                  <a:lnTo>
                    <a:pt x="1866" y="2996"/>
                  </a:lnTo>
                  <a:lnTo>
                    <a:pt x="1860" y="3000"/>
                  </a:lnTo>
                  <a:lnTo>
                    <a:pt x="1858" y="3006"/>
                  </a:lnTo>
                  <a:lnTo>
                    <a:pt x="1858" y="3012"/>
                  </a:lnTo>
                  <a:lnTo>
                    <a:pt x="1858" y="3020"/>
                  </a:lnTo>
                  <a:lnTo>
                    <a:pt x="1856" y="3020"/>
                  </a:lnTo>
                  <a:lnTo>
                    <a:pt x="1854" y="3024"/>
                  </a:lnTo>
                  <a:lnTo>
                    <a:pt x="1850" y="3034"/>
                  </a:lnTo>
                  <a:lnTo>
                    <a:pt x="1848" y="3044"/>
                  </a:lnTo>
                  <a:lnTo>
                    <a:pt x="1846" y="3050"/>
                  </a:lnTo>
                  <a:lnTo>
                    <a:pt x="1842" y="3054"/>
                  </a:lnTo>
                  <a:lnTo>
                    <a:pt x="1838" y="3064"/>
                  </a:lnTo>
                  <a:lnTo>
                    <a:pt x="1824" y="3108"/>
                  </a:lnTo>
                  <a:lnTo>
                    <a:pt x="1818" y="3130"/>
                  </a:lnTo>
                  <a:lnTo>
                    <a:pt x="1814" y="3144"/>
                  </a:lnTo>
                  <a:lnTo>
                    <a:pt x="1806" y="3154"/>
                  </a:lnTo>
                  <a:lnTo>
                    <a:pt x="1800" y="3160"/>
                  </a:lnTo>
                  <a:lnTo>
                    <a:pt x="1768" y="3170"/>
                  </a:lnTo>
                  <a:lnTo>
                    <a:pt x="1764" y="3170"/>
                  </a:lnTo>
                  <a:lnTo>
                    <a:pt x="1760" y="3166"/>
                  </a:lnTo>
                  <a:lnTo>
                    <a:pt x="1756" y="3164"/>
                  </a:lnTo>
                  <a:lnTo>
                    <a:pt x="1754" y="3166"/>
                  </a:lnTo>
                  <a:lnTo>
                    <a:pt x="1748" y="3168"/>
                  </a:lnTo>
                  <a:lnTo>
                    <a:pt x="1744" y="3170"/>
                  </a:lnTo>
                  <a:lnTo>
                    <a:pt x="1740" y="3170"/>
                  </a:lnTo>
                  <a:lnTo>
                    <a:pt x="1734" y="3168"/>
                  </a:lnTo>
                  <a:lnTo>
                    <a:pt x="1728" y="3164"/>
                  </a:lnTo>
                  <a:lnTo>
                    <a:pt x="1726" y="3162"/>
                  </a:lnTo>
                  <a:lnTo>
                    <a:pt x="1724" y="3162"/>
                  </a:lnTo>
                  <a:lnTo>
                    <a:pt x="1724" y="3164"/>
                  </a:lnTo>
                  <a:lnTo>
                    <a:pt x="1724" y="3168"/>
                  </a:lnTo>
                  <a:lnTo>
                    <a:pt x="1720" y="3170"/>
                  </a:lnTo>
                  <a:lnTo>
                    <a:pt x="1734" y="3232"/>
                  </a:lnTo>
                  <a:lnTo>
                    <a:pt x="1734" y="3230"/>
                  </a:lnTo>
                  <a:lnTo>
                    <a:pt x="1738" y="3232"/>
                  </a:lnTo>
                  <a:lnTo>
                    <a:pt x="1738" y="3236"/>
                  </a:lnTo>
                  <a:lnTo>
                    <a:pt x="1738" y="3242"/>
                  </a:lnTo>
                  <a:lnTo>
                    <a:pt x="1740" y="3252"/>
                  </a:lnTo>
                  <a:lnTo>
                    <a:pt x="1744" y="3260"/>
                  </a:lnTo>
                  <a:lnTo>
                    <a:pt x="1750" y="3266"/>
                  </a:lnTo>
                  <a:lnTo>
                    <a:pt x="1754" y="3272"/>
                  </a:lnTo>
                  <a:lnTo>
                    <a:pt x="1758" y="3278"/>
                  </a:lnTo>
                  <a:lnTo>
                    <a:pt x="1760" y="3288"/>
                  </a:lnTo>
                  <a:lnTo>
                    <a:pt x="1762" y="3300"/>
                  </a:lnTo>
                  <a:lnTo>
                    <a:pt x="1766" y="3306"/>
                  </a:lnTo>
                  <a:lnTo>
                    <a:pt x="1770" y="3312"/>
                  </a:lnTo>
                  <a:lnTo>
                    <a:pt x="1784" y="3328"/>
                  </a:lnTo>
                  <a:lnTo>
                    <a:pt x="1792" y="3340"/>
                  </a:lnTo>
                  <a:lnTo>
                    <a:pt x="1796" y="3344"/>
                  </a:lnTo>
                  <a:lnTo>
                    <a:pt x="1800" y="3346"/>
                  </a:lnTo>
                  <a:lnTo>
                    <a:pt x="1802" y="3344"/>
                  </a:lnTo>
                  <a:lnTo>
                    <a:pt x="1804" y="3340"/>
                  </a:lnTo>
                  <a:lnTo>
                    <a:pt x="1810" y="3328"/>
                  </a:lnTo>
                  <a:lnTo>
                    <a:pt x="1812" y="3314"/>
                  </a:lnTo>
                  <a:lnTo>
                    <a:pt x="1816" y="3292"/>
                  </a:lnTo>
                  <a:lnTo>
                    <a:pt x="1830" y="3254"/>
                  </a:lnTo>
                  <a:lnTo>
                    <a:pt x="1832" y="3250"/>
                  </a:lnTo>
                  <a:lnTo>
                    <a:pt x="1832" y="3256"/>
                  </a:lnTo>
                  <a:lnTo>
                    <a:pt x="1832" y="3260"/>
                  </a:lnTo>
                  <a:lnTo>
                    <a:pt x="1826" y="3286"/>
                  </a:lnTo>
                  <a:lnTo>
                    <a:pt x="1826" y="3296"/>
                  </a:lnTo>
                  <a:lnTo>
                    <a:pt x="1826" y="3302"/>
                  </a:lnTo>
                  <a:lnTo>
                    <a:pt x="1822" y="3312"/>
                  </a:lnTo>
                  <a:lnTo>
                    <a:pt x="1818" y="3328"/>
                  </a:lnTo>
                  <a:lnTo>
                    <a:pt x="1818" y="3330"/>
                  </a:lnTo>
                  <a:lnTo>
                    <a:pt x="1824" y="3328"/>
                  </a:lnTo>
                  <a:lnTo>
                    <a:pt x="1828" y="3326"/>
                  </a:lnTo>
                  <a:lnTo>
                    <a:pt x="1834" y="3326"/>
                  </a:lnTo>
                  <a:lnTo>
                    <a:pt x="1838" y="3328"/>
                  </a:lnTo>
                  <a:lnTo>
                    <a:pt x="1840" y="3330"/>
                  </a:lnTo>
                  <a:lnTo>
                    <a:pt x="1848" y="3340"/>
                  </a:lnTo>
                  <a:lnTo>
                    <a:pt x="1864" y="3372"/>
                  </a:lnTo>
                  <a:lnTo>
                    <a:pt x="1880" y="3406"/>
                  </a:lnTo>
                  <a:lnTo>
                    <a:pt x="1888" y="3418"/>
                  </a:lnTo>
                  <a:lnTo>
                    <a:pt x="1896" y="3428"/>
                  </a:lnTo>
                  <a:lnTo>
                    <a:pt x="1900" y="3434"/>
                  </a:lnTo>
                  <a:lnTo>
                    <a:pt x="1900" y="3440"/>
                  </a:lnTo>
                  <a:lnTo>
                    <a:pt x="1902" y="3444"/>
                  </a:lnTo>
                  <a:lnTo>
                    <a:pt x="1908" y="3450"/>
                  </a:lnTo>
                  <a:lnTo>
                    <a:pt x="1916" y="3458"/>
                  </a:lnTo>
                  <a:lnTo>
                    <a:pt x="1922" y="3470"/>
                  </a:lnTo>
                  <a:lnTo>
                    <a:pt x="1926" y="3482"/>
                  </a:lnTo>
                  <a:lnTo>
                    <a:pt x="1926" y="3486"/>
                  </a:lnTo>
                  <a:lnTo>
                    <a:pt x="1924" y="3492"/>
                  </a:lnTo>
                  <a:lnTo>
                    <a:pt x="1922" y="3496"/>
                  </a:lnTo>
                  <a:lnTo>
                    <a:pt x="1924" y="3502"/>
                  </a:lnTo>
                  <a:lnTo>
                    <a:pt x="1926" y="3506"/>
                  </a:lnTo>
                  <a:lnTo>
                    <a:pt x="1928" y="3512"/>
                  </a:lnTo>
                  <a:lnTo>
                    <a:pt x="1938" y="3522"/>
                  </a:lnTo>
                  <a:lnTo>
                    <a:pt x="1944" y="3526"/>
                  </a:lnTo>
                  <a:lnTo>
                    <a:pt x="1952" y="3528"/>
                  </a:lnTo>
                  <a:lnTo>
                    <a:pt x="1958" y="3532"/>
                  </a:lnTo>
                  <a:lnTo>
                    <a:pt x="1964" y="3538"/>
                  </a:lnTo>
                  <a:lnTo>
                    <a:pt x="1970" y="3548"/>
                  </a:lnTo>
                  <a:lnTo>
                    <a:pt x="1976" y="3560"/>
                  </a:lnTo>
                  <a:lnTo>
                    <a:pt x="1988" y="3586"/>
                  </a:lnTo>
                  <a:lnTo>
                    <a:pt x="1996" y="3610"/>
                  </a:lnTo>
                  <a:lnTo>
                    <a:pt x="1998" y="3620"/>
                  </a:lnTo>
                  <a:lnTo>
                    <a:pt x="1998" y="3626"/>
                  </a:lnTo>
                  <a:lnTo>
                    <a:pt x="1998" y="3632"/>
                  </a:lnTo>
                  <a:lnTo>
                    <a:pt x="1996" y="3636"/>
                  </a:lnTo>
                  <a:lnTo>
                    <a:pt x="1994" y="3638"/>
                  </a:lnTo>
                  <a:lnTo>
                    <a:pt x="1992" y="3642"/>
                  </a:lnTo>
                  <a:lnTo>
                    <a:pt x="1994" y="3648"/>
                  </a:lnTo>
                  <a:lnTo>
                    <a:pt x="1996" y="3656"/>
                  </a:lnTo>
                  <a:lnTo>
                    <a:pt x="2000" y="3664"/>
                  </a:lnTo>
                  <a:lnTo>
                    <a:pt x="2000" y="3668"/>
                  </a:lnTo>
                  <a:lnTo>
                    <a:pt x="1998" y="3670"/>
                  </a:lnTo>
                  <a:lnTo>
                    <a:pt x="1998" y="3672"/>
                  </a:lnTo>
                  <a:lnTo>
                    <a:pt x="1996" y="3674"/>
                  </a:lnTo>
                  <a:lnTo>
                    <a:pt x="1996" y="3676"/>
                  </a:lnTo>
                  <a:lnTo>
                    <a:pt x="2004" y="3690"/>
                  </a:lnTo>
                  <a:lnTo>
                    <a:pt x="2014" y="3706"/>
                  </a:lnTo>
                  <a:lnTo>
                    <a:pt x="2020" y="3716"/>
                  </a:lnTo>
                  <a:lnTo>
                    <a:pt x="2026" y="3722"/>
                  </a:lnTo>
                  <a:lnTo>
                    <a:pt x="2036" y="3726"/>
                  </a:lnTo>
                  <a:lnTo>
                    <a:pt x="2042" y="3730"/>
                  </a:lnTo>
                  <a:lnTo>
                    <a:pt x="2048" y="3734"/>
                  </a:lnTo>
                  <a:lnTo>
                    <a:pt x="2058" y="3744"/>
                  </a:lnTo>
                  <a:lnTo>
                    <a:pt x="2064" y="3758"/>
                  </a:lnTo>
                  <a:lnTo>
                    <a:pt x="2072" y="3770"/>
                  </a:lnTo>
                  <a:lnTo>
                    <a:pt x="2078" y="3778"/>
                  </a:lnTo>
                  <a:lnTo>
                    <a:pt x="2082" y="3782"/>
                  </a:lnTo>
                  <a:lnTo>
                    <a:pt x="2084" y="3786"/>
                  </a:lnTo>
                  <a:lnTo>
                    <a:pt x="2084" y="3796"/>
                  </a:lnTo>
                  <a:lnTo>
                    <a:pt x="2086" y="3804"/>
                  </a:lnTo>
                  <a:lnTo>
                    <a:pt x="2088" y="3810"/>
                  </a:lnTo>
                  <a:lnTo>
                    <a:pt x="2092" y="3816"/>
                  </a:lnTo>
                  <a:lnTo>
                    <a:pt x="2094" y="3824"/>
                  </a:lnTo>
                  <a:lnTo>
                    <a:pt x="2096" y="3830"/>
                  </a:lnTo>
                  <a:lnTo>
                    <a:pt x="2098" y="3836"/>
                  </a:lnTo>
                  <a:lnTo>
                    <a:pt x="2108" y="3848"/>
                  </a:lnTo>
                  <a:lnTo>
                    <a:pt x="2120" y="3862"/>
                  </a:lnTo>
                  <a:lnTo>
                    <a:pt x="2124" y="3870"/>
                  </a:lnTo>
                  <a:lnTo>
                    <a:pt x="2126" y="3878"/>
                  </a:lnTo>
                  <a:lnTo>
                    <a:pt x="2128" y="3884"/>
                  </a:lnTo>
                  <a:lnTo>
                    <a:pt x="2130" y="3886"/>
                  </a:lnTo>
                  <a:lnTo>
                    <a:pt x="2134" y="3886"/>
                  </a:lnTo>
                  <a:lnTo>
                    <a:pt x="2138" y="3888"/>
                  </a:lnTo>
                  <a:lnTo>
                    <a:pt x="2140" y="3892"/>
                  </a:lnTo>
                  <a:lnTo>
                    <a:pt x="2144" y="3902"/>
                  </a:lnTo>
                  <a:lnTo>
                    <a:pt x="2146" y="3918"/>
                  </a:lnTo>
                  <a:lnTo>
                    <a:pt x="2148" y="3936"/>
                  </a:lnTo>
                  <a:lnTo>
                    <a:pt x="2146" y="3944"/>
                  </a:lnTo>
                  <a:lnTo>
                    <a:pt x="2142" y="3952"/>
                  </a:lnTo>
                  <a:lnTo>
                    <a:pt x="2142" y="3954"/>
                  </a:lnTo>
                  <a:lnTo>
                    <a:pt x="2142" y="3958"/>
                  </a:lnTo>
                  <a:lnTo>
                    <a:pt x="2144" y="3964"/>
                  </a:lnTo>
                  <a:lnTo>
                    <a:pt x="2146" y="3968"/>
                  </a:lnTo>
                  <a:lnTo>
                    <a:pt x="2146" y="3972"/>
                  </a:lnTo>
                  <a:lnTo>
                    <a:pt x="2144" y="3974"/>
                  </a:lnTo>
                  <a:lnTo>
                    <a:pt x="2140" y="3976"/>
                  </a:lnTo>
                  <a:lnTo>
                    <a:pt x="2142" y="3980"/>
                  </a:lnTo>
                  <a:lnTo>
                    <a:pt x="2146" y="3982"/>
                  </a:lnTo>
                  <a:lnTo>
                    <a:pt x="2148" y="3986"/>
                  </a:lnTo>
                  <a:lnTo>
                    <a:pt x="2150" y="3988"/>
                  </a:lnTo>
                  <a:lnTo>
                    <a:pt x="2150" y="3996"/>
                  </a:lnTo>
                  <a:lnTo>
                    <a:pt x="2152" y="4000"/>
                  </a:lnTo>
                  <a:lnTo>
                    <a:pt x="2154" y="4008"/>
                  </a:lnTo>
                  <a:lnTo>
                    <a:pt x="2156" y="4020"/>
                  </a:lnTo>
                  <a:lnTo>
                    <a:pt x="2158" y="4034"/>
                  </a:lnTo>
                  <a:lnTo>
                    <a:pt x="2162" y="4044"/>
                  </a:lnTo>
                  <a:lnTo>
                    <a:pt x="2166" y="4054"/>
                  </a:lnTo>
                  <a:lnTo>
                    <a:pt x="2166" y="4058"/>
                  </a:lnTo>
                  <a:lnTo>
                    <a:pt x="2166" y="4064"/>
                  </a:lnTo>
                  <a:lnTo>
                    <a:pt x="2164" y="4072"/>
                  </a:lnTo>
                  <a:lnTo>
                    <a:pt x="2166" y="4076"/>
                  </a:lnTo>
                  <a:lnTo>
                    <a:pt x="2168" y="4082"/>
                  </a:lnTo>
                  <a:lnTo>
                    <a:pt x="2172" y="4092"/>
                  </a:lnTo>
                  <a:lnTo>
                    <a:pt x="2176" y="4100"/>
                  </a:lnTo>
                  <a:lnTo>
                    <a:pt x="2178" y="4102"/>
                  </a:lnTo>
                  <a:lnTo>
                    <a:pt x="2180" y="4102"/>
                  </a:lnTo>
                  <a:lnTo>
                    <a:pt x="2184" y="4100"/>
                  </a:lnTo>
                  <a:lnTo>
                    <a:pt x="2186" y="4102"/>
                  </a:lnTo>
                  <a:lnTo>
                    <a:pt x="2190" y="4104"/>
                  </a:lnTo>
                  <a:lnTo>
                    <a:pt x="2196" y="4108"/>
                  </a:lnTo>
                  <a:lnTo>
                    <a:pt x="2200" y="4106"/>
                  </a:lnTo>
                  <a:lnTo>
                    <a:pt x="2204" y="4104"/>
                  </a:lnTo>
                  <a:lnTo>
                    <a:pt x="2208" y="4104"/>
                  </a:lnTo>
                  <a:lnTo>
                    <a:pt x="2212" y="4104"/>
                  </a:lnTo>
                  <a:lnTo>
                    <a:pt x="2214" y="4102"/>
                  </a:lnTo>
                  <a:lnTo>
                    <a:pt x="2218" y="4098"/>
                  </a:lnTo>
                  <a:lnTo>
                    <a:pt x="2226" y="4098"/>
                  </a:lnTo>
                  <a:lnTo>
                    <a:pt x="2232" y="4100"/>
                  </a:lnTo>
                  <a:lnTo>
                    <a:pt x="2236" y="4098"/>
                  </a:lnTo>
                  <a:lnTo>
                    <a:pt x="2238" y="4096"/>
                  </a:lnTo>
                  <a:lnTo>
                    <a:pt x="2240" y="4094"/>
                  </a:lnTo>
                  <a:lnTo>
                    <a:pt x="2242" y="4090"/>
                  </a:lnTo>
                  <a:lnTo>
                    <a:pt x="2244" y="4088"/>
                  </a:lnTo>
                  <a:lnTo>
                    <a:pt x="2248" y="4088"/>
                  </a:lnTo>
                  <a:lnTo>
                    <a:pt x="2252" y="4086"/>
                  </a:lnTo>
                  <a:lnTo>
                    <a:pt x="2254" y="4084"/>
                  </a:lnTo>
                  <a:lnTo>
                    <a:pt x="2258" y="4074"/>
                  </a:lnTo>
                  <a:lnTo>
                    <a:pt x="2262" y="4070"/>
                  </a:lnTo>
                  <a:lnTo>
                    <a:pt x="2266" y="4068"/>
                  </a:lnTo>
                  <a:lnTo>
                    <a:pt x="2274" y="4066"/>
                  </a:lnTo>
                  <a:lnTo>
                    <a:pt x="2284" y="4066"/>
                  </a:lnTo>
                  <a:lnTo>
                    <a:pt x="2300" y="4066"/>
                  </a:lnTo>
                  <a:lnTo>
                    <a:pt x="2312" y="4062"/>
                  </a:lnTo>
                  <a:lnTo>
                    <a:pt x="2324" y="4058"/>
                  </a:lnTo>
                  <a:lnTo>
                    <a:pt x="2334" y="4050"/>
                  </a:lnTo>
                  <a:lnTo>
                    <a:pt x="2348" y="4038"/>
                  </a:lnTo>
                  <a:lnTo>
                    <a:pt x="2356" y="4036"/>
                  </a:lnTo>
                  <a:lnTo>
                    <a:pt x="2364" y="4036"/>
                  </a:lnTo>
                  <a:lnTo>
                    <a:pt x="2370" y="4038"/>
                  </a:lnTo>
                  <a:lnTo>
                    <a:pt x="2374" y="4038"/>
                  </a:lnTo>
                  <a:lnTo>
                    <a:pt x="2382" y="4034"/>
                  </a:lnTo>
                  <a:lnTo>
                    <a:pt x="2390" y="4028"/>
                  </a:lnTo>
                  <a:lnTo>
                    <a:pt x="2398" y="4020"/>
                  </a:lnTo>
                  <a:lnTo>
                    <a:pt x="2406" y="4010"/>
                  </a:lnTo>
                  <a:lnTo>
                    <a:pt x="2416" y="4002"/>
                  </a:lnTo>
                  <a:lnTo>
                    <a:pt x="2426" y="3998"/>
                  </a:lnTo>
                  <a:lnTo>
                    <a:pt x="2432" y="3996"/>
                  </a:lnTo>
                  <a:lnTo>
                    <a:pt x="2438" y="3998"/>
                  </a:lnTo>
                  <a:lnTo>
                    <a:pt x="2442" y="3998"/>
                  </a:lnTo>
                  <a:lnTo>
                    <a:pt x="2446" y="3996"/>
                  </a:lnTo>
                  <a:lnTo>
                    <a:pt x="2452" y="3992"/>
                  </a:lnTo>
                  <a:lnTo>
                    <a:pt x="2462" y="3986"/>
                  </a:lnTo>
                  <a:lnTo>
                    <a:pt x="2468" y="3982"/>
                  </a:lnTo>
                  <a:lnTo>
                    <a:pt x="2480" y="3978"/>
                  </a:lnTo>
                  <a:lnTo>
                    <a:pt x="2500" y="3972"/>
                  </a:lnTo>
                  <a:lnTo>
                    <a:pt x="2506" y="3968"/>
                  </a:lnTo>
                  <a:lnTo>
                    <a:pt x="2510" y="3966"/>
                  </a:lnTo>
                  <a:lnTo>
                    <a:pt x="2520" y="3962"/>
                  </a:lnTo>
                  <a:lnTo>
                    <a:pt x="2526" y="3960"/>
                  </a:lnTo>
                  <a:lnTo>
                    <a:pt x="2528" y="3954"/>
                  </a:lnTo>
                  <a:lnTo>
                    <a:pt x="2528" y="3942"/>
                  </a:lnTo>
                  <a:lnTo>
                    <a:pt x="2528" y="3934"/>
                  </a:lnTo>
                  <a:lnTo>
                    <a:pt x="2532" y="3926"/>
                  </a:lnTo>
                  <a:lnTo>
                    <a:pt x="2542" y="3916"/>
                  </a:lnTo>
                  <a:lnTo>
                    <a:pt x="2562" y="3906"/>
                  </a:lnTo>
                  <a:lnTo>
                    <a:pt x="2566" y="3902"/>
                  </a:lnTo>
                  <a:lnTo>
                    <a:pt x="2572" y="3902"/>
                  </a:lnTo>
                  <a:lnTo>
                    <a:pt x="2578" y="3902"/>
                  </a:lnTo>
                  <a:lnTo>
                    <a:pt x="2584" y="3902"/>
                  </a:lnTo>
                  <a:lnTo>
                    <a:pt x="2586" y="3900"/>
                  </a:lnTo>
                  <a:lnTo>
                    <a:pt x="2594" y="3894"/>
                  </a:lnTo>
                  <a:lnTo>
                    <a:pt x="2600" y="3892"/>
                  </a:lnTo>
                  <a:lnTo>
                    <a:pt x="2606" y="3890"/>
                  </a:lnTo>
                  <a:lnTo>
                    <a:pt x="2614" y="3888"/>
                  </a:lnTo>
                  <a:lnTo>
                    <a:pt x="2624" y="3890"/>
                  </a:lnTo>
                  <a:lnTo>
                    <a:pt x="2630" y="3890"/>
                  </a:lnTo>
                  <a:lnTo>
                    <a:pt x="2634" y="3890"/>
                  </a:lnTo>
                  <a:lnTo>
                    <a:pt x="2638" y="3888"/>
                  </a:lnTo>
                  <a:lnTo>
                    <a:pt x="2642" y="3886"/>
                  </a:lnTo>
                  <a:lnTo>
                    <a:pt x="2646" y="3878"/>
                  </a:lnTo>
                  <a:lnTo>
                    <a:pt x="2650" y="3868"/>
                  </a:lnTo>
                  <a:lnTo>
                    <a:pt x="2654" y="3858"/>
                  </a:lnTo>
                  <a:lnTo>
                    <a:pt x="2658" y="3850"/>
                  </a:lnTo>
                  <a:lnTo>
                    <a:pt x="2664" y="3844"/>
                  </a:lnTo>
                  <a:lnTo>
                    <a:pt x="2670" y="3842"/>
                  </a:lnTo>
                  <a:lnTo>
                    <a:pt x="2676" y="3842"/>
                  </a:lnTo>
                  <a:lnTo>
                    <a:pt x="2690" y="3840"/>
                  </a:lnTo>
                  <a:lnTo>
                    <a:pt x="2698" y="3836"/>
                  </a:lnTo>
                  <a:lnTo>
                    <a:pt x="2702" y="3830"/>
                  </a:lnTo>
                  <a:lnTo>
                    <a:pt x="2704" y="3822"/>
                  </a:lnTo>
                  <a:lnTo>
                    <a:pt x="2708" y="3814"/>
                  </a:lnTo>
                  <a:lnTo>
                    <a:pt x="2712" y="3806"/>
                  </a:lnTo>
                  <a:lnTo>
                    <a:pt x="2720" y="3798"/>
                  </a:lnTo>
                  <a:lnTo>
                    <a:pt x="2734" y="3794"/>
                  </a:lnTo>
                  <a:lnTo>
                    <a:pt x="2746" y="3790"/>
                  </a:lnTo>
                  <a:lnTo>
                    <a:pt x="2752" y="3786"/>
                  </a:lnTo>
                  <a:lnTo>
                    <a:pt x="2754" y="3782"/>
                  </a:lnTo>
                  <a:lnTo>
                    <a:pt x="2752" y="3776"/>
                  </a:lnTo>
                  <a:lnTo>
                    <a:pt x="2750" y="3768"/>
                  </a:lnTo>
                  <a:lnTo>
                    <a:pt x="2750" y="3758"/>
                  </a:lnTo>
                  <a:lnTo>
                    <a:pt x="2750" y="3746"/>
                  </a:lnTo>
                  <a:lnTo>
                    <a:pt x="2754" y="3730"/>
                  </a:lnTo>
                  <a:lnTo>
                    <a:pt x="2760" y="3716"/>
                  </a:lnTo>
                  <a:lnTo>
                    <a:pt x="2764" y="3710"/>
                  </a:lnTo>
                  <a:lnTo>
                    <a:pt x="2768" y="3712"/>
                  </a:lnTo>
                  <a:lnTo>
                    <a:pt x="2770" y="3714"/>
                  </a:lnTo>
                  <a:lnTo>
                    <a:pt x="2772" y="3718"/>
                  </a:lnTo>
                  <a:lnTo>
                    <a:pt x="2776" y="3720"/>
                  </a:lnTo>
                  <a:lnTo>
                    <a:pt x="2780" y="3716"/>
                  </a:lnTo>
                  <a:lnTo>
                    <a:pt x="2786" y="3704"/>
                  </a:lnTo>
                  <a:lnTo>
                    <a:pt x="2792" y="3692"/>
                  </a:lnTo>
                  <a:lnTo>
                    <a:pt x="2796" y="3684"/>
                  </a:lnTo>
                  <a:lnTo>
                    <a:pt x="2806" y="3674"/>
                  </a:lnTo>
                  <a:lnTo>
                    <a:pt x="2816" y="3664"/>
                  </a:lnTo>
                  <a:lnTo>
                    <a:pt x="2820" y="3656"/>
                  </a:lnTo>
                  <a:lnTo>
                    <a:pt x="2824" y="3644"/>
                  </a:lnTo>
                  <a:lnTo>
                    <a:pt x="2830" y="3628"/>
                  </a:lnTo>
                  <a:lnTo>
                    <a:pt x="2834" y="3618"/>
                  </a:lnTo>
                  <a:lnTo>
                    <a:pt x="2834" y="3616"/>
                  </a:lnTo>
                  <a:lnTo>
                    <a:pt x="2832" y="3614"/>
                  </a:lnTo>
                  <a:lnTo>
                    <a:pt x="2822" y="3608"/>
                  </a:lnTo>
                  <a:close/>
                  <a:moveTo>
                    <a:pt x="2468" y="3400"/>
                  </a:moveTo>
                  <a:lnTo>
                    <a:pt x="2468" y="3400"/>
                  </a:lnTo>
                  <a:lnTo>
                    <a:pt x="2470" y="3400"/>
                  </a:lnTo>
                  <a:lnTo>
                    <a:pt x="2468" y="3400"/>
                  </a:lnTo>
                  <a:close/>
                  <a:moveTo>
                    <a:pt x="1836" y="3098"/>
                  </a:moveTo>
                  <a:lnTo>
                    <a:pt x="1836" y="3098"/>
                  </a:lnTo>
                  <a:lnTo>
                    <a:pt x="1838" y="3094"/>
                  </a:lnTo>
                  <a:lnTo>
                    <a:pt x="1842" y="3094"/>
                  </a:lnTo>
                  <a:lnTo>
                    <a:pt x="1838" y="3094"/>
                  </a:lnTo>
                  <a:lnTo>
                    <a:pt x="1836" y="3098"/>
                  </a:lnTo>
                  <a:close/>
                  <a:moveTo>
                    <a:pt x="1856" y="3100"/>
                  </a:moveTo>
                  <a:lnTo>
                    <a:pt x="1856" y="3100"/>
                  </a:lnTo>
                  <a:lnTo>
                    <a:pt x="1856" y="3102"/>
                  </a:lnTo>
                  <a:lnTo>
                    <a:pt x="1856" y="3100"/>
                  </a:lnTo>
                  <a:lnTo>
                    <a:pt x="1856" y="3090"/>
                  </a:lnTo>
                  <a:lnTo>
                    <a:pt x="1858" y="3084"/>
                  </a:lnTo>
                  <a:lnTo>
                    <a:pt x="1860" y="3082"/>
                  </a:lnTo>
                  <a:lnTo>
                    <a:pt x="1858" y="3084"/>
                  </a:lnTo>
                  <a:lnTo>
                    <a:pt x="1856" y="3090"/>
                  </a:lnTo>
                  <a:lnTo>
                    <a:pt x="1856" y="3100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4" name="Freeform 6156">
              <a:extLst>
                <a:ext uri="{FF2B5EF4-FFF2-40B4-BE49-F238E27FC236}">
                  <a16:creationId xmlns:a16="http://schemas.microsoft.com/office/drawing/2014/main" id="{BD9AA44D-145D-44AC-A33D-77DC4BFA3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67288" y="879494"/>
              <a:ext cx="3719525" cy="3473436"/>
            </a:xfrm>
            <a:custGeom>
              <a:avLst/>
              <a:gdLst>
                <a:gd name="T0" fmla="*/ 334096 w 5856"/>
                <a:gd name="T1" fmla="*/ 341505 h 5472"/>
                <a:gd name="T2" fmla="*/ 374746 w 5856"/>
                <a:gd name="T3" fmla="*/ 60938 h 5472"/>
                <a:gd name="T4" fmla="*/ 2452998 w 5856"/>
                <a:gd name="T5" fmla="*/ 316114 h 5472"/>
                <a:gd name="T6" fmla="*/ 3177084 w 5856"/>
                <a:gd name="T7" fmla="*/ 608108 h 5472"/>
                <a:gd name="T8" fmla="*/ 2139228 w 5856"/>
                <a:gd name="T9" fmla="*/ 481154 h 5472"/>
                <a:gd name="T10" fmla="*/ 256606 w 5856"/>
                <a:gd name="T11" fmla="*/ 559865 h 5472"/>
                <a:gd name="T12" fmla="*/ 48272 w 5856"/>
                <a:gd name="T13" fmla="*/ 76172 h 5472"/>
                <a:gd name="T14" fmla="*/ 461128 w 5856"/>
                <a:gd name="T15" fmla="*/ 11426 h 5472"/>
                <a:gd name="T16" fmla="*/ 438262 w 5856"/>
                <a:gd name="T17" fmla="*/ 78711 h 5472"/>
                <a:gd name="T18" fmla="*/ 1814025 w 5856"/>
                <a:gd name="T19" fmla="*/ 3336340 h 5472"/>
                <a:gd name="T20" fmla="*/ 2066820 w 5856"/>
                <a:gd name="T21" fmla="*/ 2794248 h 5472"/>
                <a:gd name="T22" fmla="*/ 2090956 w 5856"/>
                <a:gd name="T23" fmla="*/ 2845030 h 5472"/>
                <a:gd name="T24" fmla="*/ 2021088 w 5856"/>
                <a:gd name="T25" fmla="*/ 2668564 h 5472"/>
                <a:gd name="T26" fmla="*/ 2068090 w 5856"/>
                <a:gd name="T27" fmla="*/ 2759971 h 5472"/>
                <a:gd name="T28" fmla="*/ 2012196 w 5856"/>
                <a:gd name="T29" fmla="*/ 2762510 h 5472"/>
                <a:gd name="T30" fmla="*/ 2125255 w 5856"/>
                <a:gd name="T31" fmla="*/ 3088781 h 5472"/>
                <a:gd name="T32" fmla="*/ 2097307 w 5856"/>
                <a:gd name="T33" fmla="*/ 1976667 h 5472"/>
                <a:gd name="T34" fmla="*/ 2010925 w 5856"/>
                <a:gd name="T35" fmla="*/ 3324914 h 5472"/>
                <a:gd name="T36" fmla="*/ 2102389 w 5856"/>
                <a:gd name="T37" fmla="*/ 1863679 h 5472"/>
                <a:gd name="T38" fmla="*/ 1256352 w 5856"/>
                <a:gd name="T39" fmla="*/ 2824717 h 5472"/>
                <a:gd name="T40" fmla="*/ 1637450 w 5856"/>
                <a:gd name="T41" fmla="*/ 2959288 h 5472"/>
                <a:gd name="T42" fmla="*/ 1636179 w 5856"/>
                <a:gd name="T43" fmla="*/ 3313488 h 5472"/>
                <a:gd name="T44" fmla="*/ 1580285 w 5856"/>
                <a:gd name="T45" fmla="*/ 3222082 h 5472"/>
                <a:gd name="T46" fmla="*/ 1342734 w 5856"/>
                <a:gd name="T47" fmla="*/ 2956749 h 5472"/>
                <a:gd name="T48" fmla="*/ 5081 w 5856"/>
                <a:gd name="T49" fmla="*/ 3446790 h 5472"/>
                <a:gd name="T50" fmla="*/ 2179879 w 5856"/>
                <a:gd name="T51" fmla="*/ 2182332 h 5472"/>
                <a:gd name="T52" fmla="*/ 2291667 w 5856"/>
                <a:gd name="T53" fmla="*/ 2007136 h 5472"/>
                <a:gd name="T54" fmla="*/ 1948679 w 5856"/>
                <a:gd name="T55" fmla="*/ 3044347 h 5472"/>
                <a:gd name="T56" fmla="*/ 1984248 w 5856"/>
                <a:gd name="T57" fmla="*/ 3100206 h 5472"/>
                <a:gd name="T58" fmla="*/ 1942328 w 5856"/>
                <a:gd name="T59" fmla="*/ 2744736 h 5472"/>
                <a:gd name="T60" fmla="*/ 2132876 w 5856"/>
                <a:gd name="T61" fmla="*/ 3114171 h 5472"/>
                <a:gd name="T62" fmla="*/ 2483486 w 5856"/>
                <a:gd name="T63" fmla="*/ 1744342 h 5472"/>
                <a:gd name="T64" fmla="*/ 2336129 w 5856"/>
                <a:gd name="T65" fmla="*/ 1971589 h 5472"/>
                <a:gd name="T66" fmla="*/ 2107470 w 5856"/>
                <a:gd name="T67" fmla="*/ 1984284 h 5472"/>
                <a:gd name="T68" fmla="*/ 2536840 w 5856"/>
                <a:gd name="T69" fmla="*/ 1350786 h 5472"/>
                <a:gd name="T70" fmla="*/ 2451728 w 5856"/>
                <a:gd name="T71" fmla="*/ 1727838 h 5472"/>
                <a:gd name="T72" fmla="*/ 2022358 w 5856"/>
                <a:gd name="T73" fmla="*/ 2660947 h 5472"/>
                <a:gd name="T74" fmla="*/ 1906759 w 5856"/>
                <a:gd name="T75" fmla="*/ 2780283 h 5472"/>
                <a:gd name="T76" fmla="*/ 2087145 w 5856"/>
                <a:gd name="T77" fmla="*/ 2730772 h 5472"/>
                <a:gd name="T78" fmla="*/ 1878811 w 5856"/>
                <a:gd name="T79" fmla="*/ 2870420 h 5472"/>
                <a:gd name="T80" fmla="*/ 1669208 w 5856"/>
                <a:gd name="T81" fmla="*/ 3111632 h 5472"/>
                <a:gd name="T82" fmla="*/ 2046494 w 5856"/>
                <a:gd name="T83" fmla="*/ 2306747 h 5472"/>
                <a:gd name="T84" fmla="*/ 3226627 w 5856"/>
                <a:gd name="T85" fmla="*/ 603030 h 5472"/>
                <a:gd name="T86" fmla="*/ 2160824 w 5856"/>
                <a:gd name="T87" fmla="*/ 505275 h 5472"/>
                <a:gd name="T88" fmla="*/ 1448171 w 5856"/>
                <a:gd name="T89" fmla="*/ 275489 h 5472"/>
                <a:gd name="T90" fmla="*/ 899390 w 5856"/>
                <a:gd name="T91" fmla="*/ 483693 h 5472"/>
                <a:gd name="T92" fmla="*/ 736789 w 5856"/>
                <a:gd name="T93" fmla="*/ 700784 h 5472"/>
                <a:gd name="T94" fmla="*/ 137195 w 5856"/>
                <a:gd name="T95" fmla="*/ 684280 h 5472"/>
                <a:gd name="T96" fmla="*/ 415396 w 5856"/>
                <a:gd name="T97" fmla="*/ 2273739 h 5472"/>
                <a:gd name="T98" fmla="*/ 814279 w 5856"/>
                <a:gd name="T99" fmla="*/ 2748545 h 5472"/>
                <a:gd name="T100" fmla="*/ 1185214 w 5856"/>
                <a:gd name="T101" fmla="*/ 2338485 h 5472"/>
                <a:gd name="T102" fmla="*/ 1393547 w 5856"/>
                <a:gd name="T103" fmla="*/ 2695225 h 5472"/>
                <a:gd name="T104" fmla="*/ 1451982 w 5856"/>
                <a:gd name="T105" fmla="*/ 2856456 h 5472"/>
                <a:gd name="T106" fmla="*/ 1629828 w 5856"/>
                <a:gd name="T107" fmla="*/ 2740928 h 5472"/>
                <a:gd name="T108" fmla="*/ 1744157 w 5856"/>
                <a:gd name="T109" fmla="*/ 2391805 h 5472"/>
                <a:gd name="T110" fmla="*/ 1933435 w 5856"/>
                <a:gd name="T111" fmla="*/ 2254696 h 5472"/>
                <a:gd name="T112" fmla="*/ 1986789 w 5856"/>
                <a:gd name="T113" fmla="*/ 2059187 h 5472"/>
                <a:gd name="T114" fmla="*/ 1905488 w 5856"/>
                <a:gd name="T115" fmla="*/ 1812897 h 5472"/>
                <a:gd name="T116" fmla="*/ 2103659 w 5856"/>
                <a:gd name="T117" fmla="*/ 1858600 h 5472"/>
                <a:gd name="T118" fmla="*/ 2129066 w 5856"/>
                <a:gd name="T119" fmla="*/ 1809089 h 5472"/>
                <a:gd name="T120" fmla="*/ 2413618 w 5856"/>
                <a:gd name="T121" fmla="*/ 1277153 h 5472"/>
                <a:gd name="T122" fmla="*/ 3003049 w 5856"/>
                <a:gd name="T123" fmla="*/ 983890 h 5472"/>
                <a:gd name="T124" fmla="*/ 3079269 w 5856"/>
                <a:gd name="T125" fmla="*/ 1027054 h 547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856"/>
                <a:gd name="T190" fmla="*/ 0 h 5472"/>
                <a:gd name="T191" fmla="*/ 5856 w 5856"/>
                <a:gd name="T192" fmla="*/ 5472 h 547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856" h="5472">
                  <a:moveTo>
                    <a:pt x="1912" y="64"/>
                  </a:moveTo>
                  <a:lnTo>
                    <a:pt x="1912" y="64"/>
                  </a:lnTo>
                  <a:lnTo>
                    <a:pt x="1910" y="60"/>
                  </a:lnTo>
                  <a:lnTo>
                    <a:pt x="1902" y="58"/>
                  </a:lnTo>
                  <a:lnTo>
                    <a:pt x="1882" y="54"/>
                  </a:lnTo>
                  <a:lnTo>
                    <a:pt x="1862" y="54"/>
                  </a:lnTo>
                  <a:lnTo>
                    <a:pt x="1854" y="56"/>
                  </a:lnTo>
                  <a:lnTo>
                    <a:pt x="1850" y="60"/>
                  </a:lnTo>
                  <a:lnTo>
                    <a:pt x="1850" y="62"/>
                  </a:lnTo>
                  <a:lnTo>
                    <a:pt x="1852" y="64"/>
                  </a:lnTo>
                  <a:lnTo>
                    <a:pt x="1858" y="68"/>
                  </a:lnTo>
                  <a:lnTo>
                    <a:pt x="1868" y="70"/>
                  </a:lnTo>
                  <a:lnTo>
                    <a:pt x="1880" y="70"/>
                  </a:lnTo>
                  <a:lnTo>
                    <a:pt x="1902" y="68"/>
                  </a:lnTo>
                  <a:lnTo>
                    <a:pt x="1908" y="66"/>
                  </a:lnTo>
                  <a:lnTo>
                    <a:pt x="1912" y="64"/>
                  </a:lnTo>
                  <a:close/>
                  <a:moveTo>
                    <a:pt x="1078" y="706"/>
                  </a:moveTo>
                  <a:lnTo>
                    <a:pt x="1078" y="706"/>
                  </a:lnTo>
                  <a:lnTo>
                    <a:pt x="1094" y="702"/>
                  </a:lnTo>
                  <a:lnTo>
                    <a:pt x="1100" y="700"/>
                  </a:lnTo>
                  <a:lnTo>
                    <a:pt x="1104" y="698"/>
                  </a:lnTo>
                  <a:lnTo>
                    <a:pt x="1104" y="694"/>
                  </a:lnTo>
                  <a:lnTo>
                    <a:pt x="1104" y="690"/>
                  </a:lnTo>
                  <a:lnTo>
                    <a:pt x="1102" y="684"/>
                  </a:lnTo>
                  <a:lnTo>
                    <a:pt x="1094" y="678"/>
                  </a:lnTo>
                  <a:lnTo>
                    <a:pt x="1082" y="674"/>
                  </a:lnTo>
                  <a:lnTo>
                    <a:pt x="1070" y="674"/>
                  </a:lnTo>
                  <a:lnTo>
                    <a:pt x="1058" y="676"/>
                  </a:lnTo>
                  <a:lnTo>
                    <a:pt x="1048" y="682"/>
                  </a:lnTo>
                  <a:lnTo>
                    <a:pt x="1040" y="688"/>
                  </a:lnTo>
                  <a:lnTo>
                    <a:pt x="1036" y="694"/>
                  </a:lnTo>
                  <a:lnTo>
                    <a:pt x="1036" y="700"/>
                  </a:lnTo>
                  <a:lnTo>
                    <a:pt x="1040" y="704"/>
                  </a:lnTo>
                  <a:lnTo>
                    <a:pt x="1048" y="708"/>
                  </a:lnTo>
                  <a:lnTo>
                    <a:pt x="1060" y="708"/>
                  </a:lnTo>
                  <a:lnTo>
                    <a:pt x="1078" y="706"/>
                  </a:lnTo>
                  <a:close/>
                  <a:moveTo>
                    <a:pt x="1928" y="154"/>
                  </a:moveTo>
                  <a:lnTo>
                    <a:pt x="1928" y="154"/>
                  </a:lnTo>
                  <a:lnTo>
                    <a:pt x="1914" y="152"/>
                  </a:lnTo>
                  <a:lnTo>
                    <a:pt x="1902" y="154"/>
                  </a:lnTo>
                  <a:lnTo>
                    <a:pt x="1894" y="156"/>
                  </a:lnTo>
                  <a:lnTo>
                    <a:pt x="1890" y="160"/>
                  </a:lnTo>
                  <a:lnTo>
                    <a:pt x="1890" y="164"/>
                  </a:lnTo>
                  <a:lnTo>
                    <a:pt x="1894" y="168"/>
                  </a:lnTo>
                  <a:lnTo>
                    <a:pt x="1900" y="172"/>
                  </a:lnTo>
                  <a:lnTo>
                    <a:pt x="1910" y="176"/>
                  </a:lnTo>
                  <a:lnTo>
                    <a:pt x="1920" y="178"/>
                  </a:lnTo>
                  <a:lnTo>
                    <a:pt x="1926" y="180"/>
                  </a:lnTo>
                  <a:lnTo>
                    <a:pt x="1932" y="186"/>
                  </a:lnTo>
                  <a:lnTo>
                    <a:pt x="1934" y="188"/>
                  </a:lnTo>
                  <a:lnTo>
                    <a:pt x="1938" y="190"/>
                  </a:lnTo>
                  <a:lnTo>
                    <a:pt x="1956" y="188"/>
                  </a:lnTo>
                  <a:lnTo>
                    <a:pt x="1982" y="180"/>
                  </a:lnTo>
                  <a:lnTo>
                    <a:pt x="1996" y="174"/>
                  </a:lnTo>
                  <a:lnTo>
                    <a:pt x="2000" y="172"/>
                  </a:lnTo>
                  <a:lnTo>
                    <a:pt x="2000" y="170"/>
                  </a:lnTo>
                  <a:lnTo>
                    <a:pt x="1998" y="168"/>
                  </a:lnTo>
                  <a:lnTo>
                    <a:pt x="1994" y="166"/>
                  </a:lnTo>
                  <a:lnTo>
                    <a:pt x="1982" y="162"/>
                  </a:lnTo>
                  <a:lnTo>
                    <a:pt x="1964" y="158"/>
                  </a:lnTo>
                  <a:lnTo>
                    <a:pt x="1928" y="154"/>
                  </a:lnTo>
                  <a:close/>
                  <a:moveTo>
                    <a:pt x="526" y="138"/>
                  </a:moveTo>
                  <a:lnTo>
                    <a:pt x="526" y="138"/>
                  </a:lnTo>
                  <a:lnTo>
                    <a:pt x="532" y="144"/>
                  </a:lnTo>
                  <a:lnTo>
                    <a:pt x="538" y="148"/>
                  </a:lnTo>
                  <a:lnTo>
                    <a:pt x="552" y="152"/>
                  </a:lnTo>
                  <a:lnTo>
                    <a:pt x="558" y="154"/>
                  </a:lnTo>
                  <a:lnTo>
                    <a:pt x="562" y="152"/>
                  </a:lnTo>
                  <a:lnTo>
                    <a:pt x="564" y="150"/>
                  </a:lnTo>
                  <a:lnTo>
                    <a:pt x="564" y="146"/>
                  </a:lnTo>
                  <a:lnTo>
                    <a:pt x="564" y="142"/>
                  </a:lnTo>
                  <a:lnTo>
                    <a:pt x="568" y="140"/>
                  </a:lnTo>
                  <a:lnTo>
                    <a:pt x="572" y="136"/>
                  </a:lnTo>
                  <a:lnTo>
                    <a:pt x="582" y="136"/>
                  </a:lnTo>
                  <a:lnTo>
                    <a:pt x="600" y="134"/>
                  </a:lnTo>
                  <a:lnTo>
                    <a:pt x="604" y="132"/>
                  </a:lnTo>
                  <a:lnTo>
                    <a:pt x="606" y="130"/>
                  </a:lnTo>
                  <a:lnTo>
                    <a:pt x="604" y="128"/>
                  </a:lnTo>
                  <a:lnTo>
                    <a:pt x="598" y="126"/>
                  </a:lnTo>
                  <a:lnTo>
                    <a:pt x="580" y="122"/>
                  </a:lnTo>
                  <a:lnTo>
                    <a:pt x="556" y="120"/>
                  </a:lnTo>
                  <a:lnTo>
                    <a:pt x="534" y="122"/>
                  </a:lnTo>
                  <a:lnTo>
                    <a:pt x="526" y="124"/>
                  </a:lnTo>
                  <a:lnTo>
                    <a:pt x="522" y="126"/>
                  </a:lnTo>
                  <a:lnTo>
                    <a:pt x="522" y="132"/>
                  </a:lnTo>
                  <a:lnTo>
                    <a:pt x="526" y="138"/>
                  </a:lnTo>
                  <a:close/>
                  <a:moveTo>
                    <a:pt x="658" y="948"/>
                  </a:moveTo>
                  <a:lnTo>
                    <a:pt x="658" y="948"/>
                  </a:lnTo>
                  <a:lnTo>
                    <a:pt x="658" y="944"/>
                  </a:lnTo>
                  <a:lnTo>
                    <a:pt x="656" y="942"/>
                  </a:lnTo>
                  <a:lnTo>
                    <a:pt x="644" y="936"/>
                  </a:lnTo>
                  <a:lnTo>
                    <a:pt x="628" y="926"/>
                  </a:lnTo>
                  <a:lnTo>
                    <a:pt x="620" y="920"/>
                  </a:lnTo>
                  <a:lnTo>
                    <a:pt x="612" y="912"/>
                  </a:lnTo>
                  <a:lnTo>
                    <a:pt x="602" y="904"/>
                  </a:lnTo>
                  <a:lnTo>
                    <a:pt x="594" y="904"/>
                  </a:lnTo>
                  <a:lnTo>
                    <a:pt x="588" y="906"/>
                  </a:lnTo>
                  <a:lnTo>
                    <a:pt x="582" y="908"/>
                  </a:lnTo>
                  <a:lnTo>
                    <a:pt x="580" y="910"/>
                  </a:lnTo>
                  <a:lnTo>
                    <a:pt x="580" y="912"/>
                  </a:lnTo>
                  <a:lnTo>
                    <a:pt x="582" y="916"/>
                  </a:lnTo>
                  <a:lnTo>
                    <a:pt x="584" y="920"/>
                  </a:lnTo>
                  <a:lnTo>
                    <a:pt x="582" y="920"/>
                  </a:lnTo>
                  <a:lnTo>
                    <a:pt x="578" y="918"/>
                  </a:lnTo>
                  <a:lnTo>
                    <a:pt x="576" y="918"/>
                  </a:lnTo>
                  <a:lnTo>
                    <a:pt x="574" y="920"/>
                  </a:lnTo>
                  <a:lnTo>
                    <a:pt x="576" y="924"/>
                  </a:lnTo>
                  <a:lnTo>
                    <a:pt x="580" y="930"/>
                  </a:lnTo>
                  <a:lnTo>
                    <a:pt x="588" y="940"/>
                  </a:lnTo>
                  <a:lnTo>
                    <a:pt x="594" y="944"/>
                  </a:lnTo>
                  <a:lnTo>
                    <a:pt x="596" y="946"/>
                  </a:lnTo>
                  <a:lnTo>
                    <a:pt x="600" y="944"/>
                  </a:lnTo>
                  <a:lnTo>
                    <a:pt x="600" y="942"/>
                  </a:lnTo>
                  <a:lnTo>
                    <a:pt x="604" y="942"/>
                  </a:lnTo>
                  <a:lnTo>
                    <a:pt x="610" y="942"/>
                  </a:lnTo>
                  <a:lnTo>
                    <a:pt x="618" y="946"/>
                  </a:lnTo>
                  <a:lnTo>
                    <a:pt x="620" y="948"/>
                  </a:lnTo>
                  <a:lnTo>
                    <a:pt x="620" y="952"/>
                  </a:lnTo>
                  <a:lnTo>
                    <a:pt x="620" y="956"/>
                  </a:lnTo>
                  <a:lnTo>
                    <a:pt x="624" y="958"/>
                  </a:lnTo>
                  <a:lnTo>
                    <a:pt x="638" y="956"/>
                  </a:lnTo>
                  <a:lnTo>
                    <a:pt x="652" y="954"/>
                  </a:lnTo>
                  <a:lnTo>
                    <a:pt x="656" y="950"/>
                  </a:lnTo>
                  <a:lnTo>
                    <a:pt x="658" y="948"/>
                  </a:lnTo>
                  <a:close/>
                  <a:moveTo>
                    <a:pt x="768" y="460"/>
                  </a:moveTo>
                  <a:lnTo>
                    <a:pt x="768" y="460"/>
                  </a:lnTo>
                  <a:lnTo>
                    <a:pt x="752" y="466"/>
                  </a:lnTo>
                  <a:lnTo>
                    <a:pt x="742" y="468"/>
                  </a:lnTo>
                  <a:lnTo>
                    <a:pt x="736" y="468"/>
                  </a:lnTo>
                  <a:lnTo>
                    <a:pt x="732" y="466"/>
                  </a:lnTo>
                  <a:lnTo>
                    <a:pt x="728" y="462"/>
                  </a:lnTo>
                  <a:lnTo>
                    <a:pt x="722" y="460"/>
                  </a:lnTo>
                  <a:lnTo>
                    <a:pt x="712" y="458"/>
                  </a:lnTo>
                  <a:lnTo>
                    <a:pt x="698" y="460"/>
                  </a:lnTo>
                  <a:lnTo>
                    <a:pt x="682" y="462"/>
                  </a:lnTo>
                  <a:lnTo>
                    <a:pt x="674" y="464"/>
                  </a:lnTo>
                  <a:lnTo>
                    <a:pt x="672" y="468"/>
                  </a:lnTo>
                  <a:lnTo>
                    <a:pt x="672" y="470"/>
                  </a:lnTo>
                  <a:lnTo>
                    <a:pt x="674" y="474"/>
                  </a:lnTo>
                  <a:lnTo>
                    <a:pt x="674" y="476"/>
                  </a:lnTo>
                  <a:lnTo>
                    <a:pt x="672" y="478"/>
                  </a:lnTo>
                  <a:lnTo>
                    <a:pt x="664" y="476"/>
                  </a:lnTo>
                  <a:lnTo>
                    <a:pt x="652" y="478"/>
                  </a:lnTo>
                  <a:lnTo>
                    <a:pt x="636" y="480"/>
                  </a:lnTo>
                  <a:lnTo>
                    <a:pt x="620" y="484"/>
                  </a:lnTo>
                  <a:lnTo>
                    <a:pt x="602" y="492"/>
                  </a:lnTo>
                  <a:lnTo>
                    <a:pt x="584" y="500"/>
                  </a:lnTo>
                  <a:lnTo>
                    <a:pt x="568" y="508"/>
                  </a:lnTo>
                  <a:lnTo>
                    <a:pt x="554" y="518"/>
                  </a:lnTo>
                  <a:lnTo>
                    <a:pt x="544" y="528"/>
                  </a:lnTo>
                  <a:lnTo>
                    <a:pt x="538" y="536"/>
                  </a:lnTo>
                  <a:lnTo>
                    <a:pt x="532" y="538"/>
                  </a:lnTo>
                  <a:lnTo>
                    <a:pt x="528" y="538"/>
                  </a:lnTo>
                  <a:lnTo>
                    <a:pt x="526" y="538"/>
                  </a:lnTo>
                  <a:lnTo>
                    <a:pt x="524" y="536"/>
                  </a:lnTo>
                  <a:lnTo>
                    <a:pt x="520" y="534"/>
                  </a:lnTo>
                  <a:lnTo>
                    <a:pt x="514" y="536"/>
                  </a:lnTo>
                  <a:lnTo>
                    <a:pt x="506" y="542"/>
                  </a:lnTo>
                  <a:lnTo>
                    <a:pt x="498" y="548"/>
                  </a:lnTo>
                  <a:lnTo>
                    <a:pt x="494" y="550"/>
                  </a:lnTo>
                  <a:lnTo>
                    <a:pt x="490" y="548"/>
                  </a:lnTo>
                  <a:lnTo>
                    <a:pt x="488" y="546"/>
                  </a:lnTo>
                  <a:lnTo>
                    <a:pt x="488" y="544"/>
                  </a:lnTo>
                  <a:lnTo>
                    <a:pt x="484" y="542"/>
                  </a:lnTo>
                  <a:lnTo>
                    <a:pt x="480" y="542"/>
                  </a:lnTo>
                  <a:lnTo>
                    <a:pt x="474" y="546"/>
                  </a:lnTo>
                  <a:lnTo>
                    <a:pt x="470" y="550"/>
                  </a:lnTo>
                  <a:lnTo>
                    <a:pt x="468" y="554"/>
                  </a:lnTo>
                  <a:lnTo>
                    <a:pt x="470" y="558"/>
                  </a:lnTo>
                  <a:lnTo>
                    <a:pt x="474" y="560"/>
                  </a:lnTo>
                  <a:lnTo>
                    <a:pt x="480" y="564"/>
                  </a:lnTo>
                  <a:lnTo>
                    <a:pt x="480" y="568"/>
                  </a:lnTo>
                  <a:lnTo>
                    <a:pt x="476" y="570"/>
                  </a:lnTo>
                  <a:lnTo>
                    <a:pt x="472" y="572"/>
                  </a:lnTo>
                  <a:lnTo>
                    <a:pt x="470" y="576"/>
                  </a:lnTo>
                  <a:lnTo>
                    <a:pt x="472" y="578"/>
                  </a:lnTo>
                  <a:lnTo>
                    <a:pt x="476" y="580"/>
                  </a:lnTo>
                  <a:lnTo>
                    <a:pt x="478" y="582"/>
                  </a:lnTo>
                  <a:lnTo>
                    <a:pt x="478" y="584"/>
                  </a:lnTo>
                  <a:lnTo>
                    <a:pt x="476" y="586"/>
                  </a:lnTo>
                  <a:lnTo>
                    <a:pt x="468" y="586"/>
                  </a:lnTo>
                  <a:lnTo>
                    <a:pt x="460" y="588"/>
                  </a:lnTo>
                  <a:lnTo>
                    <a:pt x="454" y="594"/>
                  </a:lnTo>
                  <a:lnTo>
                    <a:pt x="450" y="600"/>
                  </a:lnTo>
                  <a:lnTo>
                    <a:pt x="446" y="606"/>
                  </a:lnTo>
                  <a:lnTo>
                    <a:pt x="442" y="614"/>
                  </a:lnTo>
                  <a:lnTo>
                    <a:pt x="436" y="622"/>
                  </a:lnTo>
                  <a:lnTo>
                    <a:pt x="426" y="630"/>
                  </a:lnTo>
                  <a:lnTo>
                    <a:pt x="414" y="636"/>
                  </a:lnTo>
                  <a:lnTo>
                    <a:pt x="390" y="648"/>
                  </a:lnTo>
                  <a:lnTo>
                    <a:pt x="384" y="654"/>
                  </a:lnTo>
                  <a:lnTo>
                    <a:pt x="380" y="658"/>
                  </a:lnTo>
                  <a:lnTo>
                    <a:pt x="380" y="662"/>
                  </a:lnTo>
                  <a:lnTo>
                    <a:pt x="382" y="666"/>
                  </a:lnTo>
                  <a:lnTo>
                    <a:pt x="390" y="666"/>
                  </a:lnTo>
                  <a:lnTo>
                    <a:pt x="400" y="666"/>
                  </a:lnTo>
                  <a:lnTo>
                    <a:pt x="408" y="668"/>
                  </a:lnTo>
                  <a:lnTo>
                    <a:pt x="410" y="670"/>
                  </a:lnTo>
                  <a:lnTo>
                    <a:pt x="408" y="674"/>
                  </a:lnTo>
                  <a:lnTo>
                    <a:pt x="406" y="678"/>
                  </a:lnTo>
                  <a:lnTo>
                    <a:pt x="402" y="680"/>
                  </a:lnTo>
                  <a:lnTo>
                    <a:pt x="402" y="684"/>
                  </a:lnTo>
                  <a:lnTo>
                    <a:pt x="406" y="684"/>
                  </a:lnTo>
                  <a:lnTo>
                    <a:pt x="416" y="682"/>
                  </a:lnTo>
                  <a:lnTo>
                    <a:pt x="438" y="676"/>
                  </a:lnTo>
                  <a:lnTo>
                    <a:pt x="446" y="676"/>
                  </a:lnTo>
                  <a:lnTo>
                    <a:pt x="454" y="676"/>
                  </a:lnTo>
                  <a:lnTo>
                    <a:pt x="460" y="678"/>
                  </a:lnTo>
                  <a:lnTo>
                    <a:pt x="466" y="682"/>
                  </a:lnTo>
                  <a:lnTo>
                    <a:pt x="486" y="692"/>
                  </a:lnTo>
                  <a:lnTo>
                    <a:pt x="496" y="696"/>
                  </a:lnTo>
                  <a:lnTo>
                    <a:pt x="508" y="694"/>
                  </a:lnTo>
                  <a:lnTo>
                    <a:pt x="514" y="692"/>
                  </a:lnTo>
                  <a:lnTo>
                    <a:pt x="518" y="690"/>
                  </a:lnTo>
                  <a:lnTo>
                    <a:pt x="522" y="686"/>
                  </a:lnTo>
                  <a:lnTo>
                    <a:pt x="524" y="680"/>
                  </a:lnTo>
                  <a:lnTo>
                    <a:pt x="526" y="674"/>
                  </a:lnTo>
                  <a:lnTo>
                    <a:pt x="528" y="672"/>
                  </a:lnTo>
                  <a:lnTo>
                    <a:pt x="538" y="670"/>
                  </a:lnTo>
                  <a:lnTo>
                    <a:pt x="542" y="668"/>
                  </a:lnTo>
                  <a:lnTo>
                    <a:pt x="546" y="664"/>
                  </a:lnTo>
                  <a:lnTo>
                    <a:pt x="550" y="660"/>
                  </a:lnTo>
                  <a:lnTo>
                    <a:pt x="554" y="650"/>
                  </a:lnTo>
                  <a:lnTo>
                    <a:pt x="558" y="640"/>
                  </a:lnTo>
                  <a:lnTo>
                    <a:pt x="562" y="634"/>
                  </a:lnTo>
                  <a:lnTo>
                    <a:pt x="566" y="630"/>
                  </a:lnTo>
                  <a:lnTo>
                    <a:pt x="572" y="628"/>
                  </a:lnTo>
                  <a:lnTo>
                    <a:pt x="580" y="624"/>
                  </a:lnTo>
                  <a:lnTo>
                    <a:pt x="584" y="622"/>
                  </a:lnTo>
                  <a:lnTo>
                    <a:pt x="586" y="616"/>
                  </a:lnTo>
                  <a:lnTo>
                    <a:pt x="588" y="606"/>
                  </a:lnTo>
                  <a:lnTo>
                    <a:pt x="590" y="602"/>
                  </a:lnTo>
                  <a:lnTo>
                    <a:pt x="594" y="600"/>
                  </a:lnTo>
                  <a:lnTo>
                    <a:pt x="610" y="594"/>
                  </a:lnTo>
                  <a:lnTo>
                    <a:pt x="638" y="584"/>
                  </a:lnTo>
                  <a:lnTo>
                    <a:pt x="652" y="578"/>
                  </a:lnTo>
                  <a:lnTo>
                    <a:pt x="658" y="572"/>
                  </a:lnTo>
                  <a:lnTo>
                    <a:pt x="662" y="568"/>
                  </a:lnTo>
                  <a:lnTo>
                    <a:pt x="664" y="564"/>
                  </a:lnTo>
                  <a:lnTo>
                    <a:pt x="668" y="558"/>
                  </a:lnTo>
                  <a:lnTo>
                    <a:pt x="674" y="552"/>
                  </a:lnTo>
                  <a:lnTo>
                    <a:pt x="688" y="544"/>
                  </a:lnTo>
                  <a:lnTo>
                    <a:pt x="712" y="534"/>
                  </a:lnTo>
                  <a:lnTo>
                    <a:pt x="744" y="522"/>
                  </a:lnTo>
                  <a:lnTo>
                    <a:pt x="778" y="512"/>
                  </a:lnTo>
                  <a:lnTo>
                    <a:pt x="854" y="492"/>
                  </a:lnTo>
                  <a:lnTo>
                    <a:pt x="924" y="474"/>
                  </a:lnTo>
                  <a:lnTo>
                    <a:pt x="956" y="464"/>
                  </a:lnTo>
                  <a:lnTo>
                    <a:pt x="980" y="454"/>
                  </a:lnTo>
                  <a:lnTo>
                    <a:pt x="990" y="448"/>
                  </a:lnTo>
                  <a:lnTo>
                    <a:pt x="998" y="444"/>
                  </a:lnTo>
                  <a:lnTo>
                    <a:pt x="1002" y="438"/>
                  </a:lnTo>
                  <a:lnTo>
                    <a:pt x="1002" y="432"/>
                  </a:lnTo>
                  <a:lnTo>
                    <a:pt x="1002" y="428"/>
                  </a:lnTo>
                  <a:lnTo>
                    <a:pt x="1000" y="424"/>
                  </a:lnTo>
                  <a:lnTo>
                    <a:pt x="996" y="420"/>
                  </a:lnTo>
                  <a:lnTo>
                    <a:pt x="990" y="416"/>
                  </a:lnTo>
                  <a:lnTo>
                    <a:pt x="974" y="410"/>
                  </a:lnTo>
                  <a:lnTo>
                    <a:pt x="954" y="406"/>
                  </a:lnTo>
                  <a:lnTo>
                    <a:pt x="932" y="408"/>
                  </a:lnTo>
                  <a:lnTo>
                    <a:pt x="908" y="412"/>
                  </a:lnTo>
                  <a:lnTo>
                    <a:pt x="878" y="422"/>
                  </a:lnTo>
                  <a:lnTo>
                    <a:pt x="874" y="426"/>
                  </a:lnTo>
                  <a:lnTo>
                    <a:pt x="870" y="428"/>
                  </a:lnTo>
                  <a:lnTo>
                    <a:pt x="868" y="430"/>
                  </a:lnTo>
                  <a:lnTo>
                    <a:pt x="864" y="434"/>
                  </a:lnTo>
                  <a:lnTo>
                    <a:pt x="856" y="438"/>
                  </a:lnTo>
                  <a:lnTo>
                    <a:pt x="842" y="444"/>
                  </a:lnTo>
                  <a:lnTo>
                    <a:pt x="818" y="450"/>
                  </a:lnTo>
                  <a:lnTo>
                    <a:pt x="808" y="450"/>
                  </a:lnTo>
                  <a:lnTo>
                    <a:pt x="798" y="452"/>
                  </a:lnTo>
                  <a:lnTo>
                    <a:pt x="768" y="460"/>
                  </a:lnTo>
                  <a:close/>
                  <a:moveTo>
                    <a:pt x="484" y="70"/>
                  </a:moveTo>
                  <a:lnTo>
                    <a:pt x="484" y="70"/>
                  </a:lnTo>
                  <a:lnTo>
                    <a:pt x="482" y="70"/>
                  </a:lnTo>
                  <a:lnTo>
                    <a:pt x="484" y="70"/>
                  </a:lnTo>
                  <a:lnTo>
                    <a:pt x="490" y="72"/>
                  </a:lnTo>
                  <a:lnTo>
                    <a:pt x="500" y="74"/>
                  </a:lnTo>
                  <a:lnTo>
                    <a:pt x="510" y="78"/>
                  </a:lnTo>
                  <a:lnTo>
                    <a:pt x="528" y="86"/>
                  </a:lnTo>
                  <a:lnTo>
                    <a:pt x="538" y="86"/>
                  </a:lnTo>
                  <a:lnTo>
                    <a:pt x="554" y="86"/>
                  </a:lnTo>
                  <a:lnTo>
                    <a:pt x="568" y="86"/>
                  </a:lnTo>
                  <a:lnTo>
                    <a:pt x="568" y="84"/>
                  </a:lnTo>
                  <a:lnTo>
                    <a:pt x="566" y="82"/>
                  </a:lnTo>
                  <a:lnTo>
                    <a:pt x="544" y="76"/>
                  </a:lnTo>
                  <a:lnTo>
                    <a:pt x="530" y="72"/>
                  </a:lnTo>
                  <a:lnTo>
                    <a:pt x="512" y="70"/>
                  </a:lnTo>
                  <a:lnTo>
                    <a:pt x="496" y="68"/>
                  </a:lnTo>
                  <a:lnTo>
                    <a:pt x="484" y="70"/>
                  </a:lnTo>
                  <a:close/>
                  <a:moveTo>
                    <a:pt x="542" y="114"/>
                  </a:moveTo>
                  <a:lnTo>
                    <a:pt x="542" y="114"/>
                  </a:lnTo>
                  <a:lnTo>
                    <a:pt x="554" y="116"/>
                  </a:lnTo>
                  <a:lnTo>
                    <a:pt x="558" y="114"/>
                  </a:lnTo>
                  <a:lnTo>
                    <a:pt x="560" y="112"/>
                  </a:lnTo>
                  <a:lnTo>
                    <a:pt x="560" y="110"/>
                  </a:lnTo>
                  <a:lnTo>
                    <a:pt x="560" y="108"/>
                  </a:lnTo>
                  <a:lnTo>
                    <a:pt x="554" y="106"/>
                  </a:lnTo>
                  <a:lnTo>
                    <a:pt x="542" y="106"/>
                  </a:lnTo>
                  <a:lnTo>
                    <a:pt x="532" y="108"/>
                  </a:lnTo>
                  <a:lnTo>
                    <a:pt x="530" y="110"/>
                  </a:lnTo>
                  <a:lnTo>
                    <a:pt x="532" y="112"/>
                  </a:lnTo>
                  <a:lnTo>
                    <a:pt x="534" y="114"/>
                  </a:lnTo>
                  <a:lnTo>
                    <a:pt x="542" y="114"/>
                  </a:lnTo>
                  <a:close/>
                  <a:moveTo>
                    <a:pt x="590" y="96"/>
                  </a:moveTo>
                  <a:lnTo>
                    <a:pt x="590" y="96"/>
                  </a:lnTo>
                  <a:lnTo>
                    <a:pt x="596" y="94"/>
                  </a:lnTo>
                  <a:lnTo>
                    <a:pt x="598" y="92"/>
                  </a:lnTo>
                  <a:lnTo>
                    <a:pt x="598" y="90"/>
                  </a:lnTo>
                  <a:lnTo>
                    <a:pt x="596" y="88"/>
                  </a:lnTo>
                  <a:lnTo>
                    <a:pt x="592" y="86"/>
                  </a:lnTo>
                  <a:lnTo>
                    <a:pt x="584" y="86"/>
                  </a:lnTo>
                  <a:lnTo>
                    <a:pt x="574" y="88"/>
                  </a:lnTo>
                  <a:lnTo>
                    <a:pt x="562" y="90"/>
                  </a:lnTo>
                  <a:lnTo>
                    <a:pt x="556" y="92"/>
                  </a:lnTo>
                  <a:lnTo>
                    <a:pt x="556" y="94"/>
                  </a:lnTo>
                  <a:lnTo>
                    <a:pt x="560" y="96"/>
                  </a:lnTo>
                  <a:lnTo>
                    <a:pt x="576" y="96"/>
                  </a:lnTo>
                  <a:lnTo>
                    <a:pt x="590" y="96"/>
                  </a:lnTo>
                  <a:close/>
                  <a:moveTo>
                    <a:pt x="554" y="70"/>
                  </a:moveTo>
                  <a:lnTo>
                    <a:pt x="554" y="70"/>
                  </a:lnTo>
                  <a:lnTo>
                    <a:pt x="554" y="72"/>
                  </a:lnTo>
                  <a:lnTo>
                    <a:pt x="554" y="74"/>
                  </a:lnTo>
                  <a:lnTo>
                    <a:pt x="562" y="78"/>
                  </a:lnTo>
                  <a:lnTo>
                    <a:pt x="572" y="80"/>
                  </a:lnTo>
                  <a:lnTo>
                    <a:pt x="582" y="80"/>
                  </a:lnTo>
                  <a:lnTo>
                    <a:pt x="584" y="78"/>
                  </a:lnTo>
                  <a:lnTo>
                    <a:pt x="584" y="76"/>
                  </a:lnTo>
                  <a:lnTo>
                    <a:pt x="576" y="72"/>
                  </a:lnTo>
                  <a:lnTo>
                    <a:pt x="564" y="68"/>
                  </a:lnTo>
                  <a:lnTo>
                    <a:pt x="558" y="68"/>
                  </a:lnTo>
                  <a:lnTo>
                    <a:pt x="554" y="70"/>
                  </a:lnTo>
                  <a:close/>
                  <a:moveTo>
                    <a:pt x="1962" y="108"/>
                  </a:moveTo>
                  <a:lnTo>
                    <a:pt x="1962" y="108"/>
                  </a:lnTo>
                  <a:lnTo>
                    <a:pt x="1950" y="114"/>
                  </a:lnTo>
                  <a:lnTo>
                    <a:pt x="1938" y="120"/>
                  </a:lnTo>
                  <a:lnTo>
                    <a:pt x="1916" y="128"/>
                  </a:lnTo>
                  <a:lnTo>
                    <a:pt x="1908" y="132"/>
                  </a:lnTo>
                  <a:lnTo>
                    <a:pt x="1906" y="134"/>
                  </a:lnTo>
                  <a:lnTo>
                    <a:pt x="1908" y="136"/>
                  </a:lnTo>
                  <a:lnTo>
                    <a:pt x="1918" y="138"/>
                  </a:lnTo>
                  <a:lnTo>
                    <a:pt x="1930" y="138"/>
                  </a:lnTo>
                  <a:lnTo>
                    <a:pt x="1938" y="142"/>
                  </a:lnTo>
                  <a:lnTo>
                    <a:pt x="1952" y="146"/>
                  </a:lnTo>
                  <a:lnTo>
                    <a:pt x="1968" y="154"/>
                  </a:lnTo>
                  <a:lnTo>
                    <a:pt x="1980" y="156"/>
                  </a:lnTo>
                  <a:lnTo>
                    <a:pt x="1994" y="158"/>
                  </a:lnTo>
                  <a:lnTo>
                    <a:pt x="2010" y="158"/>
                  </a:lnTo>
                  <a:lnTo>
                    <a:pt x="2016" y="158"/>
                  </a:lnTo>
                  <a:lnTo>
                    <a:pt x="2020" y="156"/>
                  </a:lnTo>
                  <a:lnTo>
                    <a:pt x="2022" y="152"/>
                  </a:lnTo>
                  <a:lnTo>
                    <a:pt x="2024" y="150"/>
                  </a:lnTo>
                  <a:lnTo>
                    <a:pt x="2028" y="146"/>
                  </a:lnTo>
                  <a:lnTo>
                    <a:pt x="2040" y="142"/>
                  </a:lnTo>
                  <a:lnTo>
                    <a:pt x="2058" y="140"/>
                  </a:lnTo>
                  <a:lnTo>
                    <a:pt x="2100" y="140"/>
                  </a:lnTo>
                  <a:lnTo>
                    <a:pt x="2130" y="140"/>
                  </a:lnTo>
                  <a:lnTo>
                    <a:pt x="2138" y="138"/>
                  </a:lnTo>
                  <a:lnTo>
                    <a:pt x="2142" y="136"/>
                  </a:lnTo>
                  <a:lnTo>
                    <a:pt x="2142" y="130"/>
                  </a:lnTo>
                  <a:lnTo>
                    <a:pt x="2136" y="122"/>
                  </a:lnTo>
                  <a:lnTo>
                    <a:pt x="2132" y="114"/>
                  </a:lnTo>
                  <a:lnTo>
                    <a:pt x="2132" y="112"/>
                  </a:lnTo>
                  <a:lnTo>
                    <a:pt x="2134" y="110"/>
                  </a:lnTo>
                  <a:lnTo>
                    <a:pt x="2140" y="108"/>
                  </a:lnTo>
                  <a:lnTo>
                    <a:pt x="2146" y="106"/>
                  </a:lnTo>
                  <a:lnTo>
                    <a:pt x="2162" y="104"/>
                  </a:lnTo>
                  <a:lnTo>
                    <a:pt x="2164" y="102"/>
                  </a:lnTo>
                  <a:lnTo>
                    <a:pt x="2166" y="100"/>
                  </a:lnTo>
                  <a:lnTo>
                    <a:pt x="2164" y="96"/>
                  </a:lnTo>
                  <a:lnTo>
                    <a:pt x="2160" y="92"/>
                  </a:lnTo>
                  <a:lnTo>
                    <a:pt x="2154" y="90"/>
                  </a:lnTo>
                  <a:lnTo>
                    <a:pt x="2142" y="88"/>
                  </a:lnTo>
                  <a:lnTo>
                    <a:pt x="2136" y="88"/>
                  </a:lnTo>
                  <a:lnTo>
                    <a:pt x="2128" y="86"/>
                  </a:lnTo>
                  <a:lnTo>
                    <a:pt x="2118" y="82"/>
                  </a:lnTo>
                  <a:lnTo>
                    <a:pt x="2110" y="74"/>
                  </a:lnTo>
                  <a:lnTo>
                    <a:pt x="2090" y="60"/>
                  </a:lnTo>
                  <a:lnTo>
                    <a:pt x="2082" y="56"/>
                  </a:lnTo>
                  <a:lnTo>
                    <a:pt x="2076" y="52"/>
                  </a:lnTo>
                  <a:lnTo>
                    <a:pt x="2068" y="50"/>
                  </a:lnTo>
                  <a:lnTo>
                    <a:pt x="2060" y="50"/>
                  </a:lnTo>
                  <a:lnTo>
                    <a:pt x="2052" y="54"/>
                  </a:lnTo>
                  <a:lnTo>
                    <a:pt x="2044" y="58"/>
                  </a:lnTo>
                  <a:lnTo>
                    <a:pt x="2034" y="62"/>
                  </a:lnTo>
                  <a:lnTo>
                    <a:pt x="2026" y="66"/>
                  </a:lnTo>
                  <a:lnTo>
                    <a:pt x="2008" y="68"/>
                  </a:lnTo>
                  <a:lnTo>
                    <a:pt x="1988" y="74"/>
                  </a:lnTo>
                  <a:lnTo>
                    <a:pt x="1978" y="78"/>
                  </a:lnTo>
                  <a:lnTo>
                    <a:pt x="1964" y="84"/>
                  </a:lnTo>
                  <a:lnTo>
                    <a:pt x="1954" y="92"/>
                  </a:lnTo>
                  <a:lnTo>
                    <a:pt x="1952" y="94"/>
                  </a:lnTo>
                  <a:lnTo>
                    <a:pt x="1954" y="96"/>
                  </a:lnTo>
                  <a:lnTo>
                    <a:pt x="1960" y="98"/>
                  </a:lnTo>
                  <a:lnTo>
                    <a:pt x="1964" y="98"/>
                  </a:lnTo>
                  <a:lnTo>
                    <a:pt x="1968" y="98"/>
                  </a:lnTo>
                  <a:lnTo>
                    <a:pt x="1968" y="100"/>
                  </a:lnTo>
                  <a:lnTo>
                    <a:pt x="1968" y="102"/>
                  </a:lnTo>
                  <a:lnTo>
                    <a:pt x="1962" y="108"/>
                  </a:lnTo>
                  <a:close/>
                  <a:moveTo>
                    <a:pt x="3810" y="584"/>
                  </a:moveTo>
                  <a:lnTo>
                    <a:pt x="3810" y="584"/>
                  </a:lnTo>
                  <a:lnTo>
                    <a:pt x="3826" y="588"/>
                  </a:lnTo>
                  <a:lnTo>
                    <a:pt x="3834" y="588"/>
                  </a:lnTo>
                  <a:lnTo>
                    <a:pt x="3840" y="584"/>
                  </a:lnTo>
                  <a:lnTo>
                    <a:pt x="3842" y="580"/>
                  </a:lnTo>
                  <a:lnTo>
                    <a:pt x="3842" y="574"/>
                  </a:lnTo>
                  <a:lnTo>
                    <a:pt x="3846" y="570"/>
                  </a:lnTo>
                  <a:lnTo>
                    <a:pt x="3852" y="568"/>
                  </a:lnTo>
                  <a:lnTo>
                    <a:pt x="3864" y="570"/>
                  </a:lnTo>
                  <a:lnTo>
                    <a:pt x="3878" y="574"/>
                  </a:lnTo>
                  <a:lnTo>
                    <a:pt x="3890" y="572"/>
                  </a:lnTo>
                  <a:lnTo>
                    <a:pt x="3900" y="570"/>
                  </a:lnTo>
                  <a:lnTo>
                    <a:pt x="3910" y="566"/>
                  </a:lnTo>
                  <a:lnTo>
                    <a:pt x="3918" y="562"/>
                  </a:lnTo>
                  <a:lnTo>
                    <a:pt x="3926" y="560"/>
                  </a:lnTo>
                  <a:lnTo>
                    <a:pt x="3934" y="562"/>
                  </a:lnTo>
                  <a:lnTo>
                    <a:pt x="3942" y="566"/>
                  </a:lnTo>
                  <a:lnTo>
                    <a:pt x="3952" y="570"/>
                  </a:lnTo>
                  <a:lnTo>
                    <a:pt x="3962" y="572"/>
                  </a:lnTo>
                  <a:lnTo>
                    <a:pt x="3974" y="572"/>
                  </a:lnTo>
                  <a:lnTo>
                    <a:pt x="3986" y="570"/>
                  </a:lnTo>
                  <a:lnTo>
                    <a:pt x="4014" y="562"/>
                  </a:lnTo>
                  <a:lnTo>
                    <a:pt x="4048" y="552"/>
                  </a:lnTo>
                  <a:lnTo>
                    <a:pt x="4056" y="546"/>
                  </a:lnTo>
                  <a:lnTo>
                    <a:pt x="4060" y="542"/>
                  </a:lnTo>
                  <a:lnTo>
                    <a:pt x="4060" y="538"/>
                  </a:lnTo>
                  <a:lnTo>
                    <a:pt x="4056" y="534"/>
                  </a:lnTo>
                  <a:lnTo>
                    <a:pt x="4054" y="530"/>
                  </a:lnTo>
                  <a:lnTo>
                    <a:pt x="4054" y="528"/>
                  </a:lnTo>
                  <a:lnTo>
                    <a:pt x="4056" y="524"/>
                  </a:lnTo>
                  <a:lnTo>
                    <a:pt x="4066" y="524"/>
                  </a:lnTo>
                  <a:lnTo>
                    <a:pt x="4070" y="522"/>
                  </a:lnTo>
                  <a:lnTo>
                    <a:pt x="4074" y="520"/>
                  </a:lnTo>
                  <a:lnTo>
                    <a:pt x="4076" y="518"/>
                  </a:lnTo>
                  <a:lnTo>
                    <a:pt x="4074" y="516"/>
                  </a:lnTo>
                  <a:lnTo>
                    <a:pt x="4068" y="512"/>
                  </a:lnTo>
                  <a:lnTo>
                    <a:pt x="4056" y="506"/>
                  </a:lnTo>
                  <a:lnTo>
                    <a:pt x="4042" y="500"/>
                  </a:lnTo>
                  <a:lnTo>
                    <a:pt x="4026" y="498"/>
                  </a:lnTo>
                  <a:lnTo>
                    <a:pt x="4010" y="496"/>
                  </a:lnTo>
                  <a:lnTo>
                    <a:pt x="3994" y="498"/>
                  </a:lnTo>
                  <a:lnTo>
                    <a:pt x="3980" y="498"/>
                  </a:lnTo>
                  <a:lnTo>
                    <a:pt x="3968" y="496"/>
                  </a:lnTo>
                  <a:lnTo>
                    <a:pt x="3958" y="490"/>
                  </a:lnTo>
                  <a:lnTo>
                    <a:pt x="3948" y="484"/>
                  </a:lnTo>
                  <a:lnTo>
                    <a:pt x="3938" y="478"/>
                  </a:lnTo>
                  <a:lnTo>
                    <a:pt x="3928" y="472"/>
                  </a:lnTo>
                  <a:lnTo>
                    <a:pt x="3918" y="470"/>
                  </a:lnTo>
                  <a:lnTo>
                    <a:pt x="3912" y="472"/>
                  </a:lnTo>
                  <a:lnTo>
                    <a:pt x="3906" y="474"/>
                  </a:lnTo>
                  <a:lnTo>
                    <a:pt x="3898" y="480"/>
                  </a:lnTo>
                  <a:lnTo>
                    <a:pt x="3894" y="486"/>
                  </a:lnTo>
                  <a:lnTo>
                    <a:pt x="3892" y="492"/>
                  </a:lnTo>
                  <a:lnTo>
                    <a:pt x="3894" y="498"/>
                  </a:lnTo>
                  <a:lnTo>
                    <a:pt x="3900" y="506"/>
                  </a:lnTo>
                  <a:lnTo>
                    <a:pt x="3900" y="510"/>
                  </a:lnTo>
                  <a:lnTo>
                    <a:pt x="3896" y="512"/>
                  </a:lnTo>
                  <a:lnTo>
                    <a:pt x="3890" y="512"/>
                  </a:lnTo>
                  <a:lnTo>
                    <a:pt x="3882" y="508"/>
                  </a:lnTo>
                  <a:lnTo>
                    <a:pt x="3862" y="498"/>
                  </a:lnTo>
                  <a:lnTo>
                    <a:pt x="3842" y="484"/>
                  </a:lnTo>
                  <a:lnTo>
                    <a:pt x="3822" y="472"/>
                  </a:lnTo>
                  <a:lnTo>
                    <a:pt x="3814" y="468"/>
                  </a:lnTo>
                  <a:lnTo>
                    <a:pt x="3808" y="468"/>
                  </a:lnTo>
                  <a:lnTo>
                    <a:pt x="3800" y="466"/>
                  </a:lnTo>
                  <a:lnTo>
                    <a:pt x="3794" y="468"/>
                  </a:lnTo>
                  <a:lnTo>
                    <a:pt x="3778" y="476"/>
                  </a:lnTo>
                  <a:lnTo>
                    <a:pt x="3758" y="488"/>
                  </a:lnTo>
                  <a:lnTo>
                    <a:pt x="3748" y="496"/>
                  </a:lnTo>
                  <a:lnTo>
                    <a:pt x="3746" y="502"/>
                  </a:lnTo>
                  <a:lnTo>
                    <a:pt x="3746" y="508"/>
                  </a:lnTo>
                  <a:lnTo>
                    <a:pt x="3748" y="514"/>
                  </a:lnTo>
                  <a:lnTo>
                    <a:pt x="3752" y="524"/>
                  </a:lnTo>
                  <a:lnTo>
                    <a:pt x="3752" y="530"/>
                  </a:lnTo>
                  <a:lnTo>
                    <a:pt x="3746" y="532"/>
                  </a:lnTo>
                  <a:lnTo>
                    <a:pt x="3742" y="536"/>
                  </a:lnTo>
                  <a:lnTo>
                    <a:pt x="3742" y="542"/>
                  </a:lnTo>
                  <a:lnTo>
                    <a:pt x="3744" y="548"/>
                  </a:lnTo>
                  <a:lnTo>
                    <a:pt x="3752" y="554"/>
                  </a:lnTo>
                  <a:lnTo>
                    <a:pt x="3762" y="560"/>
                  </a:lnTo>
                  <a:lnTo>
                    <a:pt x="3776" y="568"/>
                  </a:lnTo>
                  <a:lnTo>
                    <a:pt x="3810" y="584"/>
                  </a:lnTo>
                  <a:close/>
                  <a:moveTo>
                    <a:pt x="4172" y="572"/>
                  </a:moveTo>
                  <a:lnTo>
                    <a:pt x="4172" y="572"/>
                  </a:lnTo>
                  <a:lnTo>
                    <a:pt x="4198" y="578"/>
                  </a:lnTo>
                  <a:lnTo>
                    <a:pt x="4218" y="578"/>
                  </a:lnTo>
                  <a:lnTo>
                    <a:pt x="4262" y="576"/>
                  </a:lnTo>
                  <a:lnTo>
                    <a:pt x="4276" y="574"/>
                  </a:lnTo>
                  <a:lnTo>
                    <a:pt x="4288" y="570"/>
                  </a:lnTo>
                  <a:lnTo>
                    <a:pt x="4294" y="566"/>
                  </a:lnTo>
                  <a:lnTo>
                    <a:pt x="4300" y="560"/>
                  </a:lnTo>
                  <a:lnTo>
                    <a:pt x="4300" y="556"/>
                  </a:lnTo>
                  <a:lnTo>
                    <a:pt x="4300" y="552"/>
                  </a:lnTo>
                  <a:lnTo>
                    <a:pt x="4296" y="550"/>
                  </a:lnTo>
                  <a:lnTo>
                    <a:pt x="4288" y="550"/>
                  </a:lnTo>
                  <a:lnTo>
                    <a:pt x="4280" y="550"/>
                  </a:lnTo>
                  <a:lnTo>
                    <a:pt x="4274" y="548"/>
                  </a:lnTo>
                  <a:lnTo>
                    <a:pt x="4266" y="540"/>
                  </a:lnTo>
                  <a:lnTo>
                    <a:pt x="4260" y="536"/>
                  </a:lnTo>
                  <a:lnTo>
                    <a:pt x="4252" y="534"/>
                  </a:lnTo>
                  <a:lnTo>
                    <a:pt x="4244" y="536"/>
                  </a:lnTo>
                  <a:lnTo>
                    <a:pt x="4230" y="540"/>
                  </a:lnTo>
                  <a:lnTo>
                    <a:pt x="4220" y="542"/>
                  </a:lnTo>
                  <a:lnTo>
                    <a:pt x="4214" y="542"/>
                  </a:lnTo>
                  <a:lnTo>
                    <a:pt x="4212" y="540"/>
                  </a:lnTo>
                  <a:lnTo>
                    <a:pt x="4212" y="536"/>
                  </a:lnTo>
                  <a:lnTo>
                    <a:pt x="4210" y="532"/>
                  </a:lnTo>
                  <a:lnTo>
                    <a:pt x="4204" y="528"/>
                  </a:lnTo>
                  <a:lnTo>
                    <a:pt x="4194" y="526"/>
                  </a:lnTo>
                  <a:lnTo>
                    <a:pt x="4174" y="528"/>
                  </a:lnTo>
                  <a:lnTo>
                    <a:pt x="4154" y="528"/>
                  </a:lnTo>
                  <a:lnTo>
                    <a:pt x="4142" y="526"/>
                  </a:lnTo>
                  <a:lnTo>
                    <a:pt x="4132" y="524"/>
                  </a:lnTo>
                  <a:lnTo>
                    <a:pt x="4126" y="520"/>
                  </a:lnTo>
                  <a:lnTo>
                    <a:pt x="4122" y="514"/>
                  </a:lnTo>
                  <a:lnTo>
                    <a:pt x="4122" y="516"/>
                  </a:lnTo>
                  <a:lnTo>
                    <a:pt x="4118" y="518"/>
                  </a:lnTo>
                  <a:lnTo>
                    <a:pt x="4112" y="530"/>
                  </a:lnTo>
                  <a:lnTo>
                    <a:pt x="4108" y="536"/>
                  </a:lnTo>
                  <a:lnTo>
                    <a:pt x="4110" y="542"/>
                  </a:lnTo>
                  <a:lnTo>
                    <a:pt x="4114" y="550"/>
                  </a:lnTo>
                  <a:lnTo>
                    <a:pt x="4126" y="556"/>
                  </a:lnTo>
                  <a:lnTo>
                    <a:pt x="4144" y="564"/>
                  </a:lnTo>
                  <a:lnTo>
                    <a:pt x="4172" y="572"/>
                  </a:lnTo>
                  <a:close/>
                  <a:moveTo>
                    <a:pt x="5478" y="870"/>
                  </a:moveTo>
                  <a:lnTo>
                    <a:pt x="5478" y="866"/>
                  </a:lnTo>
                  <a:lnTo>
                    <a:pt x="5548" y="856"/>
                  </a:lnTo>
                  <a:lnTo>
                    <a:pt x="5558" y="854"/>
                  </a:lnTo>
                  <a:lnTo>
                    <a:pt x="5564" y="852"/>
                  </a:lnTo>
                  <a:lnTo>
                    <a:pt x="5570" y="848"/>
                  </a:lnTo>
                  <a:lnTo>
                    <a:pt x="5572" y="846"/>
                  </a:lnTo>
                  <a:lnTo>
                    <a:pt x="5570" y="842"/>
                  </a:lnTo>
                  <a:lnTo>
                    <a:pt x="5568" y="838"/>
                  </a:lnTo>
                  <a:lnTo>
                    <a:pt x="5560" y="832"/>
                  </a:lnTo>
                  <a:lnTo>
                    <a:pt x="5546" y="826"/>
                  </a:lnTo>
                  <a:lnTo>
                    <a:pt x="5530" y="820"/>
                  </a:lnTo>
                  <a:lnTo>
                    <a:pt x="5512" y="818"/>
                  </a:lnTo>
                  <a:lnTo>
                    <a:pt x="5494" y="818"/>
                  </a:lnTo>
                  <a:lnTo>
                    <a:pt x="5478" y="820"/>
                  </a:lnTo>
                  <a:lnTo>
                    <a:pt x="5478" y="818"/>
                  </a:lnTo>
                  <a:lnTo>
                    <a:pt x="5454" y="826"/>
                  </a:lnTo>
                  <a:lnTo>
                    <a:pt x="5444" y="832"/>
                  </a:lnTo>
                  <a:lnTo>
                    <a:pt x="5434" y="838"/>
                  </a:lnTo>
                  <a:lnTo>
                    <a:pt x="5428" y="844"/>
                  </a:lnTo>
                  <a:lnTo>
                    <a:pt x="5422" y="850"/>
                  </a:lnTo>
                  <a:lnTo>
                    <a:pt x="5418" y="856"/>
                  </a:lnTo>
                  <a:lnTo>
                    <a:pt x="5418" y="864"/>
                  </a:lnTo>
                  <a:lnTo>
                    <a:pt x="5418" y="868"/>
                  </a:lnTo>
                  <a:lnTo>
                    <a:pt x="5422" y="872"/>
                  </a:lnTo>
                  <a:lnTo>
                    <a:pt x="5426" y="874"/>
                  </a:lnTo>
                  <a:lnTo>
                    <a:pt x="5434" y="874"/>
                  </a:lnTo>
                  <a:lnTo>
                    <a:pt x="5452" y="874"/>
                  </a:lnTo>
                  <a:lnTo>
                    <a:pt x="5478" y="870"/>
                  </a:lnTo>
                  <a:close/>
                  <a:moveTo>
                    <a:pt x="2060" y="404"/>
                  </a:moveTo>
                  <a:lnTo>
                    <a:pt x="2060" y="404"/>
                  </a:lnTo>
                  <a:lnTo>
                    <a:pt x="2068" y="408"/>
                  </a:lnTo>
                  <a:lnTo>
                    <a:pt x="2078" y="408"/>
                  </a:lnTo>
                  <a:lnTo>
                    <a:pt x="2088" y="406"/>
                  </a:lnTo>
                  <a:lnTo>
                    <a:pt x="2096" y="404"/>
                  </a:lnTo>
                  <a:lnTo>
                    <a:pt x="2104" y="400"/>
                  </a:lnTo>
                  <a:lnTo>
                    <a:pt x="2108" y="396"/>
                  </a:lnTo>
                  <a:lnTo>
                    <a:pt x="2112" y="392"/>
                  </a:lnTo>
                  <a:lnTo>
                    <a:pt x="2112" y="388"/>
                  </a:lnTo>
                  <a:lnTo>
                    <a:pt x="2106" y="386"/>
                  </a:lnTo>
                  <a:lnTo>
                    <a:pt x="2100" y="386"/>
                  </a:lnTo>
                  <a:lnTo>
                    <a:pt x="2080" y="392"/>
                  </a:lnTo>
                  <a:lnTo>
                    <a:pt x="2064" y="398"/>
                  </a:lnTo>
                  <a:lnTo>
                    <a:pt x="2060" y="402"/>
                  </a:lnTo>
                  <a:lnTo>
                    <a:pt x="2058" y="404"/>
                  </a:lnTo>
                  <a:lnTo>
                    <a:pt x="2060" y="404"/>
                  </a:lnTo>
                  <a:close/>
                  <a:moveTo>
                    <a:pt x="3868" y="678"/>
                  </a:moveTo>
                  <a:lnTo>
                    <a:pt x="3868" y="678"/>
                  </a:lnTo>
                  <a:lnTo>
                    <a:pt x="3858" y="686"/>
                  </a:lnTo>
                  <a:lnTo>
                    <a:pt x="3856" y="688"/>
                  </a:lnTo>
                  <a:lnTo>
                    <a:pt x="3858" y="690"/>
                  </a:lnTo>
                  <a:lnTo>
                    <a:pt x="3866" y="690"/>
                  </a:lnTo>
                  <a:lnTo>
                    <a:pt x="3896" y="688"/>
                  </a:lnTo>
                  <a:lnTo>
                    <a:pt x="3916" y="688"/>
                  </a:lnTo>
                  <a:lnTo>
                    <a:pt x="3940" y="692"/>
                  </a:lnTo>
                  <a:lnTo>
                    <a:pt x="3970" y="696"/>
                  </a:lnTo>
                  <a:lnTo>
                    <a:pt x="3990" y="696"/>
                  </a:lnTo>
                  <a:lnTo>
                    <a:pt x="4004" y="694"/>
                  </a:lnTo>
                  <a:lnTo>
                    <a:pt x="4006" y="692"/>
                  </a:lnTo>
                  <a:lnTo>
                    <a:pt x="4008" y="690"/>
                  </a:lnTo>
                  <a:lnTo>
                    <a:pt x="4008" y="686"/>
                  </a:lnTo>
                  <a:lnTo>
                    <a:pt x="4006" y="682"/>
                  </a:lnTo>
                  <a:lnTo>
                    <a:pt x="4000" y="674"/>
                  </a:lnTo>
                  <a:lnTo>
                    <a:pt x="3988" y="664"/>
                  </a:lnTo>
                  <a:lnTo>
                    <a:pt x="3972" y="654"/>
                  </a:lnTo>
                  <a:lnTo>
                    <a:pt x="3956" y="648"/>
                  </a:lnTo>
                  <a:lnTo>
                    <a:pt x="3940" y="644"/>
                  </a:lnTo>
                  <a:lnTo>
                    <a:pt x="3928" y="646"/>
                  </a:lnTo>
                  <a:lnTo>
                    <a:pt x="3916" y="648"/>
                  </a:lnTo>
                  <a:lnTo>
                    <a:pt x="3904" y="654"/>
                  </a:lnTo>
                  <a:lnTo>
                    <a:pt x="3894" y="662"/>
                  </a:lnTo>
                  <a:lnTo>
                    <a:pt x="3868" y="678"/>
                  </a:lnTo>
                  <a:close/>
                  <a:moveTo>
                    <a:pt x="5044" y="956"/>
                  </a:moveTo>
                  <a:lnTo>
                    <a:pt x="5044" y="956"/>
                  </a:lnTo>
                  <a:lnTo>
                    <a:pt x="5046" y="954"/>
                  </a:lnTo>
                  <a:lnTo>
                    <a:pt x="5046" y="950"/>
                  </a:lnTo>
                  <a:lnTo>
                    <a:pt x="5044" y="948"/>
                  </a:lnTo>
                  <a:lnTo>
                    <a:pt x="5042" y="946"/>
                  </a:lnTo>
                  <a:lnTo>
                    <a:pt x="5034" y="942"/>
                  </a:lnTo>
                  <a:lnTo>
                    <a:pt x="5024" y="940"/>
                  </a:lnTo>
                  <a:lnTo>
                    <a:pt x="5012" y="938"/>
                  </a:lnTo>
                  <a:lnTo>
                    <a:pt x="5000" y="938"/>
                  </a:lnTo>
                  <a:lnTo>
                    <a:pt x="4990" y="938"/>
                  </a:lnTo>
                  <a:lnTo>
                    <a:pt x="4984" y="942"/>
                  </a:lnTo>
                  <a:lnTo>
                    <a:pt x="4982" y="944"/>
                  </a:lnTo>
                  <a:lnTo>
                    <a:pt x="4982" y="946"/>
                  </a:lnTo>
                  <a:lnTo>
                    <a:pt x="4986" y="950"/>
                  </a:lnTo>
                  <a:lnTo>
                    <a:pt x="4992" y="954"/>
                  </a:lnTo>
                  <a:lnTo>
                    <a:pt x="5002" y="958"/>
                  </a:lnTo>
                  <a:lnTo>
                    <a:pt x="5014" y="960"/>
                  </a:lnTo>
                  <a:lnTo>
                    <a:pt x="5024" y="962"/>
                  </a:lnTo>
                  <a:lnTo>
                    <a:pt x="5034" y="960"/>
                  </a:lnTo>
                  <a:lnTo>
                    <a:pt x="5044" y="956"/>
                  </a:lnTo>
                  <a:close/>
                  <a:moveTo>
                    <a:pt x="3698" y="530"/>
                  </a:moveTo>
                  <a:lnTo>
                    <a:pt x="3698" y="530"/>
                  </a:lnTo>
                  <a:lnTo>
                    <a:pt x="3704" y="524"/>
                  </a:lnTo>
                  <a:lnTo>
                    <a:pt x="3706" y="518"/>
                  </a:lnTo>
                  <a:lnTo>
                    <a:pt x="3704" y="508"/>
                  </a:lnTo>
                  <a:lnTo>
                    <a:pt x="3696" y="498"/>
                  </a:lnTo>
                  <a:lnTo>
                    <a:pt x="3694" y="496"/>
                  </a:lnTo>
                  <a:lnTo>
                    <a:pt x="3692" y="496"/>
                  </a:lnTo>
                  <a:lnTo>
                    <a:pt x="3688" y="500"/>
                  </a:lnTo>
                  <a:lnTo>
                    <a:pt x="3684" y="506"/>
                  </a:lnTo>
                  <a:lnTo>
                    <a:pt x="3682" y="514"/>
                  </a:lnTo>
                  <a:lnTo>
                    <a:pt x="3680" y="524"/>
                  </a:lnTo>
                  <a:lnTo>
                    <a:pt x="3684" y="530"/>
                  </a:lnTo>
                  <a:lnTo>
                    <a:pt x="3686" y="532"/>
                  </a:lnTo>
                  <a:lnTo>
                    <a:pt x="3688" y="532"/>
                  </a:lnTo>
                  <a:lnTo>
                    <a:pt x="3692" y="532"/>
                  </a:lnTo>
                  <a:lnTo>
                    <a:pt x="3698" y="530"/>
                  </a:lnTo>
                  <a:close/>
                  <a:moveTo>
                    <a:pt x="2260" y="322"/>
                  </a:moveTo>
                  <a:lnTo>
                    <a:pt x="2260" y="322"/>
                  </a:lnTo>
                  <a:lnTo>
                    <a:pt x="2286" y="316"/>
                  </a:lnTo>
                  <a:lnTo>
                    <a:pt x="2314" y="310"/>
                  </a:lnTo>
                  <a:lnTo>
                    <a:pt x="2350" y="306"/>
                  </a:lnTo>
                  <a:lnTo>
                    <a:pt x="2398" y="304"/>
                  </a:lnTo>
                  <a:lnTo>
                    <a:pt x="2424" y="302"/>
                  </a:lnTo>
                  <a:lnTo>
                    <a:pt x="2442" y="298"/>
                  </a:lnTo>
                  <a:lnTo>
                    <a:pt x="2456" y="294"/>
                  </a:lnTo>
                  <a:lnTo>
                    <a:pt x="2464" y="288"/>
                  </a:lnTo>
                  <a:lnTo>
                    <a:pt x="2466" y="284"/>
                  </a:lnTo>
                  <a:lnTo>
                    <a:pt x="2466" y="282"/>
                  </a:lnTo>
                  <a:lnTo>
                    <a:pt x="2462" y="274"/>
                  </a:lnTo>
                  <a:lnTo>
                    <a:pt x="2456" y="266"/>
                  </a:lnTo>
                  <a:lnTo>
                    <a:pt x="2442" y="256"/>
                  </a:lnTo>
                  <a:lnTo>
                    <a:pt x="2420" y="240"/>
                  </a:lnTo>
                  <a:lnTo>
                    <a:pt x="2412" y="234"/>
                  </a:lnTo>
                  <a:lnTo>
                    <a:pt x="2406" y="232"/>
                  </a:lnTo>
                  <a:lnTo>
                    <a:pt x="2398" y="232"/>
                  </a:lnTo>
                  <a:lnTo>
                    <a:pt x="2388" y="236"/>
                  </a:lnTo>
                  <a:lnTo>
                    <a:pt x="2376" y="242"/>
                  </a:lnTo>
                  <a:lnTo>
                    <a:pt x="2360" y="254"/>
                  </a:lnTo>
                  <a:lnTo>
                    <a:pt x="2346" y="262"/>
                  </a:lnTo>
                  <a:lnTo>
                    <a:pt x="2344" y="264"/>
                  </a:lnTo>
                  <a:lnTo>
                    <a:pt x="2344" y="262"/>
                  </a:lnTo>
                  <a:lnTo>
                    <a:pt x="2356" y="248"/>
                  </a:lnTo>
                  <a:lnTo>
                    <a:pt x="2364" y="238"/>
                  </a:lnTo>
                  <a:lnTo>
                    <a:pt x="2372" y="226"/>
                  </a:lnTo>
                  <a:lnTo>
                    <a:pt x="2376" y="218"/>
                  </a:lnTo>
                  <a:lnTo>
                    <a:pt x="2374" y="214"/>
                  </a:lnTo>
                  <a:lnTo>
                    <a:pt x="2372" y="212"/>
                  </a:lnTo>
                  <a:lnTo>
                    <a:pt x="2354" y="208"/>
                  </a:lnTo>
                  <a:lnTo>
                    <a:pt x="2344" y="206"/>
                  </a:lnTo>
                  <a:lnTo>
                    <a:pt x="2336" y="206"/>
                  </a:lnTo>
                  <a:lnTo>
                    <a:pt x="2326" y="208"/>
                  </a:lnTo>
                  <a:lnTo>
                    <a:pt x="2316" y="212"/>
                  </a:lnTo>
                  <a:lnTo>
                    <a:pt x="2306" y="222"/>
                  </a:lnTo>
                  <a:lnTo>
                    <a:pt x="2294" y="236"/>
                  </a:lnTo>
                  <a:lnTo>
                    <a:pt x="2286" y="248"/>
                  </a:lnTo>
                  <a:lnTo>
                    <a:pt x="2278" y="256"/>
                  </a:lnTo>
                  <a:lnTo>
                    <a:pt x="2266" y="264"/>
                  </a:lnTo>
                  <a:lnTo>
                    <a:pt x="2260" y="270"/>
                  </a:lnTo>
                  <a:lnTo>
                    <a:pt x="2252" y="278"/>
                  </a:lnTo>
                  <a:lnTo>
                    <a:pt x="2242" y="292"/>
                  </a:lnTo>
                  <a:lnTo>
                    <a:pt x="2230" y="314"/>
                  </a:lnTo>
                  <a:lnTo>
                    <a:pt x="2226" y="324"/>
                  </a:lnTo>
                  <a:lnTo>
                    <a:pt x="2226" y="328"/>
                  </a:lnTo>
                  <a:lnTo>
                    <a:pt x="2228" y="330"/>
                  </a:lnTo>
                  <a:lnTo>
                    <a:pt x="2238" y="328"/>
                  </a:lnTo>
                  <a:lnTo>
                    <a:pt x="2260" y="322"/>
                  </a:lnTo>
                  <a:close/>
                  <a:moveTo>
                    <a:pt x="2156" y="150"/>
                  </a:moveTo>
                  <a:lnTo>
                    <a:pt x="2156" y="150"/>
                  </a:lnTo>
                  <a:lnTo>
                    <a:pt x="2132" y="150"/>
                  </a:lnTo>
                  <a:lnTo>
                    <a:pt x="2100" y="148"/>
                  </a:lnTo>
                  <a:lnTo>
                    <a:pt x="2084" y="150"/>
                  </a:lnTo>
                  <a:lnTo>
                    <a:pt x="2068" y="152"/>
                  </a:lnTo>
                  <a:lnTo>
                    <a:pt x="2054" y="156"/>
                  </a:lnTo>
                  <a:lnTo>
                    <a:pt x="2042" y="162"/>
                  </a:lnTo>
                  <a:lnTo>
                    <a:pt x="2016" y="178"/>
                  </a:lnTo>
                  <a:lnTo>
                    <a:pt x="1988" y="192"/>
                  </a:lnTo>
                  <a:lnTo>
                    <a:pt x="1980" y="198"/>
                  </a:lnTo>
                  <a:lnTo>
                    <a:pt x="1978" y="200"/>
                  </a:lnTo>
                  <a:lnTo>
                    <a:pt x="1978" y="202"/>
                  </a:lnTo>
                  <a:lnTo>
                    <a:pt x="1980" y="204"/>
                  </a:lnTo>
                  <a:lnTo>
                    <a:pt x="1982" y="204"/>
                  </a:lnTo>
                  <a:lnTo>
                    <a:pt x="1996" y="206"/>
                  </a:lnTo>
                  <a:lnTo>
                    <a:pt x="2012" y="206"/>
                  </a:lnTo>
                  <a:lnTo>
                    <a:pt x="2020" y="208"/>
                  </a:lnTo>
                  <a:lnTo>
                    <a:pt x="2024" y="210"/>
                  </a:lnTo>
                  <a:lnTo>
                    <a:pt x="2024" y="214"/>
                  </a:lnTo>
                  <a:lnTo>
                    <a:pt x="2024" y="218"/>
                  </a:lnTo>
                  <a:lnTo>
                    <a:pt x="2026" y="224"/>
                  </a:lnTo>
                  <a:lnTo>
                    <a:pt x="2030" y="230"/>
                  </a:lnTo>
                  <a:lnTo>
                    <a:pt x="2038" y="234"/>
                  </a:lnTo>
                  <a:lnTo>
                    <a:pt x="2046" y="238"/>
                  </a:lnTo>
                  <a:lnTo>
                    <a:pt x="2054" y="238"/>
                  </a:lnTo>
                  <a:lnTo>
                    <a:pt x="2074" y="240"/>
                  </a:lnTo>
                  <a:lnTo>
                    <a:pt x="2100" y="244"/>
                  </a:lnTo>
                  <a:lnTo>
                    <a:pt x="2118" y="246"/>
                  </a:lnTo>
                  <a:lnTo>
                    <a:pt x="2138" y="252"/>
                  </a:lnTo>
                  <a:lnTo>
                    <a:pt x="2158" y="258"/>
                  </a:lnTo>
                  <a:lnTo>
                    <a:pt x="2180" y="260"/>
                  </a:lnTo>
                  <a:lnTo>
                    <a:pt x="2200" y="260"/>
                  </a:lnTo>
                  <a:lnTo>
                    <a:pt x="2218" y="258"/>
                  </a:lnTo>
                  <a:lnTo>
                    <a:pt x="2232" y="252"/>
                  </a:lnTo>
                  <a:lnTo>
                    <a:pt x="2240" y="248"/>
                  </a:lnTo>
                  <a:lnTo>
                    <a:pt x="2244" y="244"/>
                  </a:lnTo>
                  <a:lnTo>
                    <a:pt x="2244" y="240"/>
                  </a:lnTo>
                  <a:lnTo>
                    <a:pt x="2242" y="238"/>
                  </a:lnTo>
                  <a:lnTo>
                    <a:pt x="2240" y="234"/>
                  </a:lnTo>
                  <a:lnTo>
                    <a:pt x="2236" y="232"/>
                  </a:lnTo>
                  <a:lnTo>
                    <a:pt x="2236" y="228"/>
                  </a:lnTo>
                  <a:lnTo>
                    <a:pt x="2236" y="220"/>
                  </a:lnTo>
                  <a:lnTo>
                    <a:pt x="2238" y="210"/>
                  </a:lnTo>
                  <a:lnTo>
                    <a:pt x="2244" y="202"/>
                  </a:lnTo>
                  <a:lnTo>
                    <a:pt x="2248" y="192"/>
                  </a:lnTo>
                  <a:lnTo>
                    <a:pt x="2252" y="184"/>
                  </a:lnTo>
                  <a:lnTo>
                    <a:pt x="2252" y="180"/>
                  </a:lnTo>
                  <a:lnTo>
                    <a:pt x="2252" y="176"/>
                  </a:lnTo>
                  <a:lnTo>
                    <a:pt x="2250" y="174"/>
                  </a:lnTo>
                  <a:lnTo>
                    <a:pt x="2246" y="172"/>
                  </a:lnTo>
                  <a:lnTo>
                    <a:pt x="2238" y="166"/>
                  </a:lnTo>
                  <a:lnTo>
                    <a:pt x="2234" y="162"/>
                  </a:lnTo>
                  <a:lnTo>
                    <a:pt x="2230" y="160"/>
                  </a:lnTo>
                  <a:lnTo>
                    <a:pt x="2226" y="156"/>
                  </a:lnTo>
                  <a:lnTo>
                    <a:pt x="2220" y="156"/>
                  </a:lnTo>
                  <a:lnTo>
                    <a:pt x="2212" y="156"/>
                  </a:lnTo>
                  <a:lnTo>
                    <a:pt x="2184" y="164"/>
                  </a:lnTo>
                  <a:lnTo>
                    <a:pt x="2170" y="170"/>
                  </a:lnTo>
                  <a:lnTo>
                    <a:pt x="2162" y="170"/>
                  </a:lnTo>
                  <a:lnTo>
                    <a:pt x="2160" y="168"/>
                  </a:lnTo>
                  <a:lnTo>
                    <a:pt x="2162" y="164"/>
                  </a:lnTo>
                  <a:lnTo>
                    <a:pt x="2164" y="158"/>
                  </a:lnTo>
                  <a:lnTo>
                    <a:pt x="2164" y="154"/>
                  </a:lnTo>
                  <a:lnTo>
                    <a:pt x="2164" y="150"/>
                  </a:lnTo>
                  <a:lnTo>
                    <a:pt x="2156" y="150"/>
                  </a:lnTo>
                  <a:close/>
                  <a:moveTo>
                    <a:pt x="3192" y="724"/>
                  </a:moveTo>
                  <a:lnTo>
                    <a:pt x="3192" y="724"/>
                  </a:lnTo>
                  <a:lnTo>
                    <a:pt x="3218" y="728"/>
                  </a:lnTo>
                  <a:lnTo>
                    <a:pt x="3242" y="734"/>
                  </a:lnTo>
                  <a:lnTo>
                    <a:pt x="3268" y="744"/>
                  </a:lnTo>
                  <a:lnTo>
                    <a:pt x="3300" y="758"/>
                  </a:lnTo>
                  <a:lnTo>
                    <a:pt x="3308" y="762"/>
                  </a:lnTo>
                  <a:lnTo>
                    <a:pt x="3314" y="764"/>
                  </a:lnTo>
                  <a:lnTo>
                    <a:pt x="3316" y="762"/>
                  </a:lnTo>
                  <a:lnTo>
                    <a:pt x="3316" y="760"/>
                  </a:lnTo>
                  <a:lnTo>
                    <a:pt x="3314" y="752"/>
                  </a:lnTo>
                  <a:lnTo>
                    <a:pt x="3316" y="748"/>
                  </a:lnTo>
                  <a:lnTo>
                    <a:pt x="3320" y="746"/>
                  </a:lnTo>
                  <a:lnTo>
                    <a:pt x="3332" y="746"/>
                  </a:lnTo>
                  <a:lnTo>
                    <a:pt x="3338" y="746"/>
                  </a:lnTo>
                  <a:lnTo>
                    <a:pt x="3368" y="758"/>
                  </a:lnTo>
                  <a:lnTo>
                    <a:pt x="3390" y="768"/>
                  </a:lnTo>
                  <a:lnTo>
                    <a:pt x="3412" y="778"/>
                  </a:lnTo>
                  <a:lnTo>
                    <a:pt x="3420" y="782"/>
                  </a:lnTo>
                  <a:lnTo>
                    <a:pt x="3428" y="782"/>
                  </a:lnTo>
                  <a:lnTo>
                    <a:pt x="3434" y="778"/>
                  </a:lnTo>
                  <a:lnTo>
                    <a:pt x="3440" y="772"/>
                  </a:lnTo>
                  <a:lnTo>
                    <a:pt x="3440" y="766"/>
                  </a:lnTo>
                  <a:lnTo>
                    <a:pt x="3440" y="762"/>
                  </a:lnTo>
                  <a:lnTo>
                    <a:pt x="3436" y="756"/>
                  </a:lnTo>
                  <a:lnTo>
                    <a:pt x="3430" y="752"/>
                  </a:lnTo>
                  <a:lnTo>
                    <a:pt x="3422" y="748"/>
                  </a:lnTo>
                  <a:lnTo>
                    <a:pt x="3414" y="746"/>
                  </a:lnTo>
                  <a:lnTo>
                    <a:pt x="3412" y="744"/>
                  </a:lnTo>
                  <a:lnTo>
                    <a:pt x="3412" y="742"/>
                  </a:lnTo>
                  <a:lnTo>
                    <a:pt x="3414" y="742"/>
                  </a:lnTo>
                  <a:lnTo>
                    <a:pt x="3422" y="738"/>
                  </a:lnTo>
                  <a:lnTo>
                    <a:pt x="3432" y="736"/>
                  </a:lnTo>
                  <a:lnTo>
                    <a:pt x="3432" y="734"/>
                  </a:lnTo>
                  <a:lnTo>
                    <a:pt x="3432" y="732"/>
                  </a:lnTo>
                  <a:lnTo>
                    <a:pt x="3426" y="730"/>
                  </a:lnTo>
                  <a:lnTo>
                    <a:pt x="3418" y="726"/>
                  </a:lnTo>
                  <a:lnTo>
                    <a:pt x="3410" y="724"/>
                  </a:lnTo>
                  <a:lnTo>
                    <a:pt x="3406" y="720"/>
                  </a:lnTo>
                  <a:lnTo>
                    <a:pt x="3406" y="718"/>
                  </a:lnTo>
                  <a:lnTo>
                    <a:pt x="3416" y="714"/>
                  </a:lnTo>
                  <a:lnTo>
                    <a:pt x="3428" y="710"/>
                  </a:lnTo>
                  <a:lnTo>
                    <a:pt x="3430" y="708"/>
                  </a:lnTo>
                  <a:lnTo>
                    <a:pt x="3430" y="706"/>
                  </a:lnTo>
                  <a:lnTo>
                    <a:pt x="3426" y="702"/>
                  </a:lnTo>
                  <a:lnTo>
                    <a:pt x="3418" y="696"/>
                  </a:lnTo>
                  <a:lnTo>
                    <a:pt x="3392" y="686"/>
                  </a:lnTo>
                  <a:lnTo>
                    <a:pt x="3364" y="676"/>
                  </a:lnTo>
                  <a:lnTo>
                    <a:pt x="3352" y="674"/>
                  </a:lnTo>
                  <a:lnTo>
                    <a:pt x="3342" y="676"/>
                  </a:lnTo>
                  <a:lnTo>
                    <a:pt x="3336" y="678"/>
                  </a:lnTo>
                  <a:lnTo>
                    <a:pt x="3330" y="684"/>
                  </a:lnTo>
                  <a:lnTo>
                    <a:pt x="3326" y="688"/>
                  </a:lnTo>
                  <a:lnTo>
                    <a:pt x="3322" y="690"/>
                  </a:lnTo>
                  <a:lnTo>
                    <a:pt x="3320" y="688"/>
                  </a:lnTo>
                  <a:lnTo>
                    <a:pt x="3316" y="682"/>
                  </a:lnTo>
                  <a:lnTo>
                    <a:pt x="3312" y="676"/>
                  </a:lnTo>
                  <a:lnTo>
                    <a:pt x="3306" y="672"/>
                  </a:lnTo>
                  <a:lnTo>
                    <a:pt x="3302" y="668"/>
                  </a:lnTo>
                  <a:lnTo>
                    <a:pt x="3294" y="668"/>
                  </a:lnTo>
                  <a:lnTo>
                    <a:pt x="3278" y="666"/>
                  </a:lnTo>
                  <a:lnTo>
                    <a:pt x="3270" y="664"/>
                  </a:lnTo>
                  <a:lnTo>
                    <a:pt x="3258" y="660"/>
                  </a:lnTo>
                  <a:lnTo>
                    <a:pt x="3244" y="656"/>
                  </a:lnTo>
                  <a:lnTo>
                    <a:pt x="3230" y="654"/>
                  </a:lnTo>
                  <a:lnTo>
                    <a:pt x="3216" y="656"/>
                  </a:lnTo>
                  <a:lnTo>
                    <a:pt x="3204" y="660"/>
                  </a:lnTo>
                  <a:lnTo>
                    <a:pt x="3194" y="666"/>
                  </a:lnTo>
                  <a:lnTo>
                    <a:pt x="3186" y="674"/>
                  </a:lnTo>
                  <a:lnTo>
                    <a:pt x="3186" y="676"/>
                  </a:lnTo>
                  <a:lnTo>
                    <a:pt x="3186" y="680"/>
                  </a:lnTo>
                  <a:lnTo>
                    <a:pt x="3188" y="684"/>
                  </a:lnTo>
                  <a:lnTo>
                    <a:pt x="3190" y="688"/>
                  </a:lnTo>
                  <a:lnTo>
                    <a:pt x="3194" y="692"/>
                  </a:lnTo>
                  <a:lnTo>
                    <a:pt x="3196" y="696"/>
                  </a:lnTo>
                  <a:lnTo>
                    <a:pt x="3196" y="700"/>
                  </a:lnTo>
                  <a:lnTo>
                    <a:pt x="3196" y="702"/>
                  </a:lnTo>
                  <a:lnTo>
                    <a:pt x="3190" y="706"/>
                  </a:lnTo>
                  <a:lnTo>
                    <a:pt x="3184" y="712"/>
                  </a:lnTo>
                  <a:lnTo>
                    <a:pt x="3178" y="714"/>
                  </a:lnTo>
                  <a:lnTo>
                    <a:pt x="3176" y="718"/>
                  </a:lnTo>
                  <a:lnTo>
                    <a:pt x="3180" y="720"/>
                  </a:lnTo>
                  <a:lnTo>
                    <a:pt x="3192" y="724"/>
                  </a:lnTo>
                  <a:close/>
                  <a:moveTo>
                    <a:pt x="614" y="10"/>
                  </a:moveTo>
                  <a:lnTo>
                    <a:pt x="614" y="10"/>
                  </a:lnTo>
                  <a:lnTo>
                    <a:pt x="614" y="8"/>
                  </a:lnTo>
                  <a:lnTo>
                    <a:pt x="612" y="6"/>
                  </a:lnTo>
                  <a:lnTo>
                    <a:pt x="606" y="4"/>
                  </a:lnTo>
                  <a:lnTo>
                    <a:pt x="588" y="0"/>
                  </a:lnTo>
                  <a:lnTo>
                    <a:pt x="576" y="0"/>
                  </a:lnTo>
                  <a:lnTo>
                    <a:pt x="566" y="2"/>
                  </a:lnTo>
                  <a:lnTo>
                    <a:pt x="558" y="4"/>
                  </a:lnTo>
                  <a:lnTo>
                    <a:pt x="554" y="10"/>
                  </a:lnTo>
                  <a:lnTo>
                    <a:pt x="552" y="12"/>
                  </a:lnTo>
                  <a:lnTo>
                    <a:pt x="554" y="14"/>
                  </a:lnTo>
                  <a:lnTo>
                    <a:pt x="558" y="18"/>
                  </a:lnTo>
                  <a:lnTo>
                    <a:pt x="568" y="18"/>
                  </a:lnTo>
                  <a:lnTo>
                    <a:pt x="578" y="18"/>
                  </a:lnTo>
                  <a:lnTo>
                    <a:pt x="602" y="16"/>
                  </a:lnTo>
                  <a:lnTo>
                    <a:pt x="610" y="12"/>
                  </a:lnTo>
                  <a:lnTo>
                    <a:pt x="614" y="10"/>
                  </a:lnTo>
                  <a:close/>
                  <a:moveTo>
                    <a:pt x="444" y="80"/>
                  </a:moveTo>
                  <a:lnTo>
                    <a:pt x="444" y="80"/>
                  </a:lnTo>
                  <a:lnTo>
                    <a:pt x="450" y="82"/>
                  </a:lnTo>
                  <a:lnTo>
                    <a:pt x="450" y="84"/>
                  </a:lnTo>
                  <a:lnTo>
                    <a:pt x="456" y="86"/>
                  </a:lnTo>
                  <a:lnTo>
                    <a:pt x="474" y="88"/>
                  </a:lnTo>
                  <a:lnTo>
                    <a:pt x="502" y="94"/>
                  </a:lnTo>
                  <a:lnTo>
                    <a:pt x="514" y="100"/>
                  </a:lnTo>
                  <a:lnTo>
                    <a:pt x="524" y="102"/>
                  </a:lnTo>
                  <a:lnTo>
                    <a:pt x="536" y="100"/>
                  </a:lnTo>
                  <a:lnTo>
                    <a:pt x="544" y="96"/>
                  </a:lnTo>
                  <a:lnTo>
                    <a:pt x="546" y="94"/>
                  </a:lnTo>
                  <a:lnTo>
                    <a:pt x="544" y="94"/>
                  </a:lnTo>
                  <a:lnTo>
                    <a:pt x="520" y="88"/>
                  </a:lnTo>
                  <a:lnTo>
                    <a:pt x="492" y="76"/>
                  </a:lnTo>
                  <a:lnTo>
                    <a:pt x="478" y="74"/>
                  </a:lnTo>
                  <a:lnTo>
                    <a:pt x="466" y="76"/>
                  </a:lnTo>
                  <a:lnTo>
                    <a:pt x="458" y="76"/>
                  </a:lnTo>
                  <a:lnTo>
                    <a:pt x="452" y="74"/>
                  </a:lnTo>
                  <a:lnTo>
                    <a:pt x="438" y="70"/>
                  </a:lnTo>
                  <a:lnTo>
                    <a:pt x="432" y="68"/>
                  </a:lnTo>
                  <a:lnTo>
                    <a:pt x="426" y="66"/>
                  </a:lnTo>
                  <a:lnTo>
                    <a:pt x="420" y="68"/>
                  </a:lnTo>
                  <a:lnTo>
                    <a:pt x="414" y="74"/>
                  </a:lnTo>
                  <a:lnTo>
                    <a:pt x="412" y="76"/>
                  </a:lnTo>
                  <a:lnTo>
                    <a:pt x="414" y="76"/>
                  </a:lnTo>
                  <a:lnTo>
                    <a:pt x="420" y="78"/>
                  </a:lnTo>
                  <a:lnTo>
                    <a:pt x="432" y="78"/>
                  </a:lnTo>
                  <a:lnTo>
                    <a:pt x="444" y="80"/>
                  </a:lnTo>
                  <a:close/>
                  <a:moveTo>
                    <a:pt x="296" y="786"/>
                  </a:moveTo>
                  <a:lnTo>
                    <a:pt x="296" y="786"/>
                  </a:lnTo>
                  <a:lnTo>
                    <a:pt x="290" y="806"/>
                  </a:lnTo>
                  <a:lnTo>
                    <a:pt x="288" y="812"/>
                  </a:lnTo>
                  <a:lnTo>
                    <a:pt x="288" y="818"/>
                  </a:lnTo>
                  <a:lnTo>
                    <a:pt x="292" y="822"/>
                  </a:lnTo>
                  <a:lnTo>
                    <a:pt x="300" y="826"/>
                  </a:lnTo>
                  <a:lnTo>
                    <a:pt x="310" y="828"/>
                  </a:lnTo>
                  <a:lnTo>
                    <a:pt x="324" y="828"/>
                  </a:lnTo>
                  <a:lnTo>
                    <a:pt x="340" y="828"/>
                  </a:lnTo>
                  <a:lnTo>
                    <a:pt x="338" y="830"/>
                  </a:lnTo>
                  <a:lnTo>
                    <a:pt x="334" y="832"/>
                  </a:lnTo>
                  <a:lnTo>
                    <a:pt x="330" y="836"/>
                  </a:lnTo>
                  <a:lnTo>
                    <a:pt x="330" y="842"/>
                  </a:lnTo>
                  <a:lnTo>
                    <a:pt x="330" y="844"/>
                  </a:lnTo>
                  <a:lnTo>
                    <a:pt x="332" y="848"/>
                  </a:lnTo>
                  <a:lnTo>
                    <a:pt x="344" y="856"/>
                  </a:lnTo>
                  <a:lnTo>
                    <a:pt x="350" y="858"/>
                  </a:lnTo>
                  <a:lnTo>
                    <a:pt x="356" y="860"/>
                  </a:lnTo>
                  <a:lnTo>
                    <a:pt x="360" y="860"/>
                  </a:lnTo>
                  <a:lnTo>
                    <a:pt x="362" y="858"/>
                  </a:lnTo>
                  <a:lnTo>
                    <a:pt x="364" y="852"/>
                  </a:lnTo>
                  <a:lnTo>
                    <a:pt x="366" y="844"/>
                  </a:lnTo>
                  <a:lnTo>
                    <a:pt x="366" y="838"/>
                  </a:lnTo>
                  <a:lnTo>
                    <a:pt x="366" y="834"/>
                  </a:lnTo>
                  <a:lnTo>
                    <a:pt x="368" y="832"/>
                  </a:lnTo>
                  <a:lnTo>
                    <a:pt x="370" y="834"/>
                  </a:lnTo>
                  <a:lnTo>
                    <a:pt x="376" y="842"/>
                  </a:lnTo>
                  <a:lnTo>
                    <a:pt x="380" y="848"/>
                  </a:lnTo>
                  <a:lnTo>
                    <a:pt x="382" y="852"/>
                  </a:lnTo>
                  <a:lnTo>
                    <a:pt x="382" y="856"/>
                  </a:lnTo>
                  <a:lnTo>
                    <a:pt x="382" y="860"/>
                  </a:lnTo>
                  <a:lnTo>
                    <a:pt x="378" y="866"/>
                  </a:lnTo>
                  <a:lnTo>
                    <a:pt x="372" y="870"/>
                  </a:lnTo>
                  <a:lnTo>
                    <a:pt x="368" y="874"/>
                  </a:lnTo>
                  <a:lnTo>
                    <a:pt x="368" y="876"/>
                  </a:lnTo>
                  <a:lnTo>
                    <a:pt x="374" y="878"/>
                  </a:lnTo>
                  <a:lnTo>
                    <a:pt x="388" y="880"/>
                  </a:lnTo>
                  <a:lnTo>
                    <a:pt x="404" y="882"/>
                  </a:lnTo>
                  <a:lnTo>
                    <a:pt x="414" y="884"/>
                  </a:lnTo>
                  <a:lnTo>
                    <a:pt x="420" y="886"/>
                  </a:lnTo>
                  <a:lnTo>
                    <a:pt x="424" y="888"/>
                  </a:lnTo>
                  <a:lnTo>
                    <a:pt x="426" y="890"/>
                  </a:lnTo>
                  <a:lnTo>
                    <a:pt x="430" y="892"/>
                  </a:lnTo>
                  <a:lnTo>
                    <a:pt x="450" y="892"/>
                  </a:lnTo>
                  <a:lnTo>
                    <a:pt x="464" y="894"/>
                  </a:lnTo>
                  <a:lnTo>
                    <a:pt x="476" y="894"/>
                  </a:lnTo>
                  <a:lnTo>
                    <a:pt x="494" y="898"/>
                  </a:lnTo>
                  <a:lnTo>
                    <a:pt x="504" y="898"/>
                  </a:lnTo>
                  <a:lnTo>
                    <a:pt x="514" y="898"/>
                  </a:lnTo>
                  <a:lnTo>
                    <a:pt x="524" y="894"/>
                  </a:lnTo>
                  <a:lnTo>
                    <a:pt x="536" y="888"/>
                  </a:lnTo>
                  <a:lnTo>
                    <a:pt x="540" y="886"/>
                  </a:lnTo>
                  <a:lnTo>
                    <a:pt x="540" y="884"/>
                  </a:lnTo>
                  <a:lnTo>
                    <a:pt x="540" y="882"/>
                  </a:lnTo>
                  <a:lnTo>
                    <a:pt x="538" y="878"/>
                  </a:lnTo>
                  <a:lnTo>
                    <a:pt x="530" y="874"/>
                  </a:lnTo>
                  <a:lnTo>
                    <a:pt x="518" y="868"/>
                  </a:lnTo>
                  <a:lnTo>
                    <a:pt x="506" y="862"/>
                  </a:lnTo>
                  <a:lnTo>
                    <a:pt x="494" y="854"/>
                  </a:lnTo>
                  <a:lnTo>
                    <a:pt x="484" y="846"/>
                  </a:lnTo>
                  <a:lnTo>
                    <a:pt x="476" y="836"/>
                  </a:lnTo>
                  <a:lnTo>
                    <a:pt x="472" y="826"/>
                  </a:lnTo>
                  <a:lnTo>
                    <a:pt x="466" y="820"/>
                  </a:lnTo>
                  <a:lnTo>
                    <a:pt x="456" y="808"/>
                  </a:lnTo>
                  <a:lnTo>
                    <a:pt x="452" y="800"/>
                  </a:lnTo>
                  <a:lnTo>
                    <a:pt x="448" y="792"/>
                  </a:lnTo>
                  <a:lnTo>
                    <a:pt x="448" y="780"/>
                  </a:lnTo>
                  <a:lnTo>
                    <a:pt x="450" y="764"/>
                  </a:lnTo>
                  <a:lnTo>
                    <a:pt x="452" y="756"/>
                  </a:lnTo>
                  <a:lnTo>
                    <a:pt x="456" y="748"/>
                  </a:lnTo>
                  <a:lnTo>
                    <a:pt x="464" y="736"/>
                  </a:lnTo>
                  <a:lnTo>
                    <a:pt x="474" y="726"/>
                  </a:lnTo>
                  <a:lnTo>
                    <a:pt x="482" y="718"/>
                  </a:lnTo>
                  <a:lnTo>
                    <a:pt x="490" y="712"/>
                  </a:lnTo>
                  <a:lnTo>
                    <a:pt x="492" y="706"/>
                  </a:lnTo>
                  <a:lnTo>
                    <a:pt x="492" y="704"/>
                  </a:lnTo>
                  <a:lnTo>
                    <a:pt x="488" y="702"/>
                  </a:lnTo>
                  <a:lnTo>
                    <a:pt x="478" y="696"/>
                  </a:lnTo>
                  <a:lnTo>
                    <a:pt x="458" y="688"/>
                  </a:lnTo>
                  <a:lnTo>
                    <a:pt x="454" y="686"/>
                  </a:lnTo>
                  <a:lnTo>
                    <a:pt x="448" y="686"/>
                  </a:lnTo>
                  <a:lnTo>
                    <a:pt x="434" y="688"/>
                  </a:lnTo>
                  <a:lnTo>
                    <a:pt x="400" y="694"/>
                  </a:lnTo>
                  <a:lnTo>
                    <a:pt x="378" y="698"/>
                  </a:lnTo>
                  <a:lnTo>
                    <a:pt x="366" y="700"/>
                  </a:lnTo>
                  <a:lnTo>
                    <a:pt x="362" y="702"/>
                  </a:lnTo>
                  <a:lnTo>
                    <a:pt x="362" y="706"/>
                  </a:lnTo>
                  <a:lnTo>
                    <a:pt x="362" y="708"/>
                  </a:lnTo>
                  <a:lnTo>
                    <a:pt x="362" y="712"/>
                  </a:lnTo>
                  <a:lnTo>
                    <a:pt x="358" y="716"/>
                  </a:lnTo>
                  <a:lnTo>
                    <a:pt x="348" y="720"/>
                  </a:lnTo>
                  <a:lnTo>
                    <a:pt x="338" y="726"/>
                  </a:lnTo>
                  <a:lnTo>
                    <a:pt x="334" y="730"/>
                  </a:lnTo>
                  <a:lnTo>
                    <a:pt x="332" y="734"/>
                  </a:lnTo>
                  <a:lnTo>
                    <a:pt x="334" y="736"/>
                  </a:lnTo>
                  <a:lnTo>
                    <a:pt x="338" y="742"/>
                  </a:lnTo>
                  <a:lnTo>
                    <a:pt x="340" y="746"/>
                  </a:lnTo>
                  <a:lnTo>
                    <a:pt x="340" y="754"/>
                  </a:lnTo>
                  <a:lnTo>
                    <a:pt x="336" y="764"/>
                  </a:lnTo>
                  <a:lnTo>
                    <a:pt x="330" y="774"/>
                  </a:lnTo>
                  <a:lnTo>
                    <a:pt x="324" y="778"/>
                  </a:lnTo>
                  <a:lnTo>
                    <a:pt x="320" y="778"/>
                  </a:lnTo>
                  <a:lnTo>
                    <a:pt x="316" y="776"/>
                  </a:lnTo>
                  <a:lnTo>
                    <a:pt x="310" y="774"/>
                  </a:lnTo>
                  <a:lnTo>
                    <a:pt x="306" y="774"/>
                  </a:lnTo>
                  <a:lnTo>
                    <a:pt x="302" y="778"/>
                  </a:lnTo>
                  <a:lnTo>
                    <a:pt x="296" y="786"/>
                  </a:lnTo>
                  <a:close/>
                  <a:moveTo>
                    <a:pt x="282" y="168"/>
                  </a:moveTo>
                  <a:lnTo>
                    <a:pt x="282" y="168"/>
                  </a:lnTo>
                  <a:lnTo>
                    <a:pt x="290" y="168"/>
                  </a:lnTo>
                  <a:lnTo>
                    <a:pt x="294" y="164"/>
                  </a:lnTo>
                  <a:lnTo>
                    <a:pt x="292" y="160"/>
                  </a:lnTo>
                  <a:lnTo>
                    <a:pt x="288" y="158"/>
                  </a:lnTo>
                  <a:lnTo>
                    <a:pt x="280" y="154"/>
                  </a:lnTo>
                  <a:lnTo>
                    <a:pt x="270" y="152"/>
                  </a:lnTo>
                  <a:lnTo>
                    <a:pt x="260" y="152"/>
                  </a:lnTo>
                  <a:lnTo>
                    <a:pt x="250" y="156"/>
                  </a:lnTo>
                  <a:lnTo>
                    <a:pt x="242" y="160"/>
                  </a:lnTo>
                  <a:lnTo>
                    <a:pt x="240" y="164"/>
                  </a:lnTo>
                  <a:lnTo>
                    <a:pt x="240" y="166"/>
                  </a:lnTo>
                  <a:lnTo>
                    <a:pt x="244" y="166"/>
                  </a:lnTo>
                  <a:lnTo>
                    <a:pt x="260" y="168"/>
                  </a:lnTo>
                  <a:lnTo>
                    <a:pt x="282" y="168"/>
                  </a:lnTo>
                  <a:close/>
                  <a:moveTo>
                    <a:pt x="416" y="96"/>
                  </a:moveTo>
                  <a:lnTo>
                    <a:pt x="416" y="96"/>
                  </a:lnTo>
                  <a:lnTo>
                    <a:pt x="424" y="96"/>
                  </a:lnTo>
                  <a:lnTo>
                    <a:pt x="428" y="100"/>
                  </a:lnTo>
                  <a:lnTo>
                    <a:pt x="432" y="100"/>
                  </a:lnTo>
                  <a:lnTo>
                    <a:pt x="440" y="100"/>
                  </a:lnTo>
                  <a:lnTo>
                    <a:pt x="452" y="98"/>
                  </a:lnTo>
                  <a:lnTo>
                    <a:pt x="464" y="96"/>
                  </a:lnTo>
                  <a:lnTo>
                    <a:pt x="470" y="96"/>
                  </a:lnTo>
                  <a:lnTo>
                    <a:pt x="472" y="96"/>
                  </a:lnTo>
                  <a:lnTo>
                    <a:pt x="470" y="94"/>
                  </a:lnTo>
                  <a:lnTo>
                    <a:pt x="452" y="88"/>
                  </a:lnTo>
                  <a:lnTo>
                    <a:pt x="440" y="86"/>
                  </a:lnTo>
                  <a:lnTo>
                    <a:pt x="436" y="86"/>
                  </a:lnTo>
                  <a:lnTo>
                    <a:pt x="432" y="88"/>
                  </a:lnTo>
                  <a:lnTo>
                    <a:pt x="428" y="90"/>
                  </a:lnTo>
                  <a:lnTo>
                    <a:pt x="424" y="90"/>
                  </a:lnTo>
                  <a:lnTo>
                    <a:pt x="414" y="88"/>
                  </a:lnTo>
                  <a:lnTo>
                    <a:pt x="404" y="86"/>
                  </a:lnTo>
                  <a:lnTo>
                    <a:pt x="398" y="88"/>
                  </a:lnTo>
                  <a:lnTo>
                    <a:pt x="396" y="92"/>
                  </a:lnTo>
                  <a:lnTo>
                    <a:pt x="394" y="94"/>
                  </a:lnTo>
                  <a:lnTo>
                    <a:pt x="398" y="96"/>
                  </a:lnTo>
                  <a:lnTo>
                    <a:pt x="416" y="96"/>
                  </a:lnTo>
                  <a:close/>
                  <a:moveTo>
                    <a:pt x="406" y="124"/>
                  </a:moveTo>
                  <a:lnTo>
                    <a:pt x="406" y="124"/>
                  </a:lnTo>
                  <a:lnTo>
                    <a:pt x="414" y="122"/>
                  </a:lnTo>
                  <a:lnTo>
                    <a:pt x="416" y="122"/>
                  </a:lnTo>
                  <a:lnTo>
                    <a:pt x="416" y="120"/>
                  </a:lnTo>
                  <a:lnTo>
                    <a:pt x="414" y="116"/>
                  </a:lnTo>
                  <a:lnTo>
                    <a:pt x="408" y="112"/>
                  </a:lnTo>
                  <a:lnTo>
                    <a:pt x="402" y="110"/>
                  </a:lnTo>
                  <a:lnTo>
                    <a:pt x="394" y="110"/>
                  </a:lnTo>
                  <a:lnTo>
                    <a:pt x="390" y="112"/>
                  </a:lnTo>
                  <a:lnTo>
                    <a:pt x="392" y="114"/>
                  </a:lnTo>
                  <a:lnTo>
                    <a:pt x="392" y="116"/>
                  </a:lnTo>
                  <a:lnTo>
                    <a:pt x="392" y="118"/>
                  </a:lnTo>
                  <a:lnTo>
                    <a:pt x="390" y="120"/>
                  </a:lnTo>
                  <a:lnTo>
                    <a:pt x="390" y="122"/>
                  </a:lnTo>
                  <a:lnTo>
                    <a:pt x="392" y="124"/>
                  </a:lnTo>
                  <a:lnTo>
                    <a:pt x="406" y="124"/>
                  </a:lnTo>
                  <a:close/>
                  <a:moveTo>
                    <a:pt x="382" y="134"/>
                  </a:moveTo>
                  <a:lnTo>
                    <a:pt x="382" y="134"/>
                  </a:lnTo>
                  <a:lnTo>
                    <a:pt x="372" y="126"/>
                  </a:lnTo>
                  <a:lnTo>
                    <a:pt x="368" y="124"/>
                  </a:lnTo>
                  <a:lnTo>
                    <a:pt x="364" y="124"/>
                  </a:lnTo>
                  <a:lnTo>
                    <a:pt x="350" y="128"/>
                  </a:lnTo>
                  <a:lnTo>
                    <a:pt x="330" y="136"/>
                  </a:lnTo>
                  <a:lnTo>
                    <a:pt x="328" y="138"/>
                  </a:lnTo>
                  <a:lnTo>
                    <a:pt x="326" y="140"/>
                  </a:lnTo>
                  <a:lnTo>
                    <a:pt x="328" y="142"/>
                  </a:lnTo>
                  <a:lnTo>
                    <a:pt x="332" y="144"/>
                  </a:lnTo>
                  <a:lnTo>
                    <a:pt x="342" y="146"/>
                  </a:lnTo>
                  <a:lnTo>
                    <a:pt x="356" y="148"/>
                  </a:lnTo>
                  <a:lnTo>
                    <a:pt x="370" y="148"/>
                  </a:lnTo>
                  <a:lnTo>
                    <a:pt x="380" y="146"/>
                  </a:lnTo>
                  <a:lnTo>
                    <a:pt x="384" y="144"/>
                  </a:lnTo>
                  <a:lnTo>
                    <a:pt x="386" y="142"/>
                  </a:lnTo>
                  <a:lnTo>
                    <a:pt x="386" y="138"/>
                  </a:lnTo>
                  <a:lnTo>
                    <a:pt x="382" y="134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54" y="118"/>
                  </a:lnTo>
                  <a:lnTo>
                    <a:pt x="62" y="114"/>
                  </a:lnTo>
                  <a:lnTo>
                    <a:pt x="66" y="114"/>
                  </a:lnTo>
                  <a:lnTo>
                    <a:pt x="70" y="116"/>
                  </a:lnTo>
                  <a:lnTo>
                    <a:pt x="76" y="120"/>
                  </a:lnTo>
                  <a:lnTo>
                    <a:pt x="80" y="122"/>
                  </a:lnTo>
                  <a:lnTo>
                    <a:pt x="86" y="124"/>
                  </a:lnTo>
                  <a:lnTo>
                    <a:pt x="92" y="122"/>
                  </a:lnTo>
                  <a:lnTo>
                    <a:pt x="102" y="118"/>
                  </a:lnTo>
                  <a:lnTo>
                    <a:pt x="118" y="110"/>
                  </a:lnTo>
                  <a:lnTo>
                    <a:pt x="130" y="104"/>
                  </a:lnTo>
                  <a:lnTo>
                    <a:pt x="134" y="102"/>
                  </a:lnTo>
                  <a:lnTo>
                    <a:pt x="140" y="102"/>
                  </a:lnTo>
                  <a:lnTo>
                    <a:pt x="148" y="102"/>
                  </a:lnTo>
                  <a:lnTo>
                    <a:pt x="158" y="106"/>
                  </a:lnTo>
                  <a:lnTo>
                    <a:pt x="168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82" y="106"/>
                  </a:lnTo>
                  <a:lnTo>
                    <a:pt x="182" y="102"/>
                  </a:lnTo>
                  <a:lnTo>
                    <a:pt x="176" y="98"/>
                  </a:lnTo>
                  <a:lnTo>
                    <a:pt x="166" y="94"/>
                  </a:lnTo>
                  <a:lnTo>
                    <a:pt x="150" y="90"/>
                  </a:lnTo>
                  <a:lnTo>
                    <a:pt x="126" y="86"/>
                  </a:lnTo>
                  <a:lnTo>
                    <a:pt x="122" y="88"/>
                  </a:lnTo>
                  <a:lnTo>
                    <a:pt x="120" y="90"/>
                  </a:lnTo>
                  <a:lnTo>
                    <a:pt x="118" y="92"/>
                  </a:lnTo>
                  <a:lnTo>
                    <a:pt x="114" y="94"/>
                  </a:lnTo>
                  <a:lnTo>
                    <a:pt x="108" y="98"/>
                  </a:lnTo>
                  <a:lnTo>
                    <a:pt x="96" y="100"/>
                  </a:lnTo>
                  <a:lnTo>
                    <a:pt x="64" y="104"/>
                  </a:lnTo>
                  <a:lnTo>
                    <a:pt x="42" y="108"/>
                  </a:lnTo>
                  <a:lnTo>
                    <a:pt x="34" y="110"/>
                  </a:lnTo>
                  <a:lnTo>
                    <a:pt x="32" y="112"/>
                  </a:lnTo>
                  <a:lnTo>
                    <a:pt x="36" y="114"/>
                  </a:lnTo>
                  <a:lnTo>
                    <a:pt x="46" y="116"/>
                  </a:lnTo>
                  <a:close/>
                  <a:moveTo>
                    <a:pt x="202" y="100"/>
                  </a:moveTo>
                  <a:lnTo>
                    <a:pt x="202" y="100"/>
                  </a:lnTo>
                  <a:lnTo>
                    <a:pt x="210" y="106"/>
                  </a:lnTo>
                  <a:lnTo>
                    <a:pt x="210" y="108"/>
                  </a:lnTo>
                  <a:lnTo>
                    <a:pt x="210" y="112"/>
                  </a:lnTo>
                  <a:lnTo>
                    <a:pt x="208" y="114"/>
                  </a:lnTo>
                  <a:lnTo>
                    <a:pt x="202" y="116"/>
                  </a:lnTo>
                  <a:lnTo>
                    <a:pt x="178" y="118"/>
                  </a:lnTo>
                  <a:lnTo>
                    <a:pt x="152" y="118"/>
                  </a:lnTo>
                  <a:lnTo>
                    <a:pt x="136" y="118"/>
                  </a:lnTo>
                  <a:lnTo>
                    <a:pt x="132" y="120"/>
                  </a:lnTo>
                  <a:lnTo>
                    <a:pt x="134" y="124"/>
                  </a:lnTo>
                  <a:lnTo>
                    <a:pt x="140" y="126"/>
                  </a:lnTo>
                  <a:lnTo>
                    <a:pt x="146" y="132"/>
                  </a:lnTo>
                  <a:lnTo>
                    <a:pt x="146" y="134"/>
                  </a:lnTo>
                  <a:lnTo>
                    <a:pt x="144" y="134"/>
                  </a:lnTo>
                  <a:lnTo>
                    <a:pt x="124" y="132"/>
                  </a:lnTo>
                  <a:lnTo>
                    <a:pt x="110" y="132"/>
                  </a:lnTo>
                  <a:lnTo>
                    <a:pt x="100" y="132"/>
                  </a:lnTo>
                  <a:lnTo>
                    <a:pt x="96" y="134"/>
                  </a:lnTo>
                  <a:lnTo>
                    <a:pt x="96" y="136"/>
                  </a:lnTo>
                  <a:lnTo>
                    <a:pt x="100" y="140"/>
                  </a:lnTo>
                  <a:lnTo>
                    <a:pt x="110" y="144"/>
                  </a:lnTo>
                  <a:lnTo>
                    <a:pt x="118" y="148"/>
                  </a:lnTo>
                  <a:lnTo>
                    <a:pt x="122" y="148"/>
                  </a:lnTo>
                  <a:lnTo>
                    <a:pt x="128" y="144"/>
                  </a:lnTo>
                  <a:lnTo>
                    <a:pt x="140" y="140"/>
                  </a:lnTo>
                  <a:lnTo>
                    <a:pt x="146" y="140"/>
                  </a:lnTo>
                  <a:lnTo>
                    <a:pt x="148" y="140"/>
                  </a:lnTo>
                  <a:lnTo>
                    <a:pt x="146" y="146"/>
                  </a:lnTo>
                  <a:lnTo>
                    <a:pt x="146" y="150"/>
                  </a:lnTo>
                  <a:lnTo>
                    <a:pt x="146" y="152"/>
                  </a:lnTo>
                  <a:lnTo>
                    <a:pt x="150" y="152"/>
                  </a:lnTo>
                  <a:lnTo>
                    <a:pt x="160" y="150"/>
                  </a:lnTo>
                  <a:lnTo>
                    <a:pt x="168" y="148"/>
                  </a:lnTo>
                  <a:lnTo>
                    <a:pt x="176" y="146"/>
                  </a:lnTo>
                  <a:lnTo>
                    <a:pt x="184" y="148"/>
                  </a:lnTo>
                  <a:lnTo>
                    <a:pt x="190" y="150"/>
                  </a:lnTo>
                  <a:lnTo>
                    <a:pt x="192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198" y="142"/>
                  </a:lnTo>
                  <a:lnTo>
                    <a:pt x="192" y="140"/>
                  </a:lnTo>
                  <a:lnTo>
                    <a:pt x="184" y="138"/>
                  </a:lnTo>
                  <a:lnTo>
                    <a:pt x="184" y="136"/>
                  </a:lnTo>
                  <a:lnTo>
                    <a:pt x="186" y="134"/>
                  </a:lnTo>
                  <a:lnTo>
                    <a:pt x="196" y="130"/>
                  </a:lnTo>
                  <a:lnTo>
                    <a:pt x="206" y="130"/>
                  </a:lnTo>
                  <a:lnTo>
                    <a:pt x="216" y="128"/>
                  </a:lnTo>
                  <a:lnTo>
                    <a:pt x="220" y="126"/>
                  </a:lnTo>
                  <a:lnTo>
                    <a:pt x="226" y="124"/>
                  </a:lnTo>
                  <a:lnTo>
                    <a:pt x="230" y="120"/>
                  </a:lnTo>
                  <a:lnTo>
                    <a:pt x="234" y="118"/>
                  </a:lnTo>
                  <a:lnTo>
                    <a:pt x="246" y="118"/>
                  </a:lnTo>
                  <a:lnTo>
                    <a:pt x="262" y="118"/>
                  </a:lnTo>
                  <a:lnTo>
                    <a:pt x="286" y="114"/>
                  </a:lnTo>
                  <a:lnTo>
                    <a:pt x="298" y="112"/>
                  </a:lnTo>
                  <a:lnTo>
                    <a:pt x="304" y="108"/>
                  </a:lnTo>
                  <a:lnTo>
                    <a:pt x="306" y="104"/>
                  </a:lnTo>
                  <a:lnTo>
                    <a:pt x="304" y="102"/>
                  </a:lnTo>
                  <a:lnTo>
                    <a:pt x="298" y="98"/>
                  </a:lnTo>
                  <a:lnTo>
                    <a:pt x="290" y="96"/>
                  </a:lnTo>
                  <a:lnTo>
                    <a:pt x="280" y="96"/>
                  </a:lnTo>
                  <a:lnTo>
                    <a:pt x="270" y="98"/>
                  </a:lnTo>
                  <a:lnTo>
                    <a:pt x="256" y="98"/>
                  </a:lnTo>
                  <a:lnTo>
                    <a:pt x="258" y="98"/>
                  </a:lnTo>
                  <a:lnTo>
                    <a:pt x="260" y="96"/>
                  </a:lnTo>
                  <a:lnTo>
                    <a:pt x="262" y="94"/>
                  </a:lnTo>
                  <a:lnTo>
                    <a:pt x="262" y="92"/>
                  </a:lnTo>
                  <a:lnTo>
                    <a:pt x="258" y="90"/>
                  </a:lnTo>
                  <a:lnTo>
                    <a:pt x="250" y="88"/>
                  </a:lnTo>
                  <a:lnTo>
                    <a:pt x="228" y="88"/>
                  </a:lnTo>
                  <a:lnTo>
                    <a:pt x="208" y="90"/>
                  </a:lnTo>
                  <a:lnTo>
                    <a:pt x="202" y="92"/>
                  </a:lnTo>
                  <a:lnTo>
                    <a:pt x="198" y="96"/>
                  </a:lnTo>
                  <a:lnTo>
                    <a:pt x="198" y="98"/>
                  </a:lnTo>
                  <a:lnTo>
                    <a:pt x="202" y="100"/>
                  </a:lnTo>
                  <a:close/>
                  <a:moveTo>
                    <a:pt x="272" y="70"/>
                  </a:moveTo>
                  <a:lnTo>
                    <a:pt x="272" y="70"/>
                  </a:lnTo>
                  <a:lnTo>
                    <a:pt x="276" y="66"/>
                  </a:lnTo>
                  <a:lnTo>
                    <a:pt x="278" y="64"/>
                  </a:lnTo>
                  <a:lnTo>
                    <a:pt x="276" y="62"/>
                  </a:lnTo>
                  <a:lnTo>
                    <a:pt x="274" y="60"/>
                  </a:lnTo>
                  <a:lnTo>
                    <a:pt x="268" y="60"/>
                  </a:lnTo>
                  <a:lnTo>
                    <a:pt x="262" y="60"/>
                  </a:lnTo>
                  <a:lnTo>
                    <a:pt x="256" y="62"/>
                  </a:lnTo>
                  <a:lnTo>
                    <a:pt x="250" y="66"/>
                  </a:lnTo>
                  <a:lnTo>
                    <a:pt x="246" y="72"/>
                  </a:lnTo>
                  <a:lnTo>
                    <a:pt x="244" y="76"/>
                  </a:lnTo>
                  <a:lnTo>
                    <a:pt x="244" y="78"/>
                  </a:lnTo>
                  <a:lnTo>
                    <a:pt x="248" y="78"/>
                  </a:lnTo>
                  <a:lnTo>
                    <a:pt x="258" y="74"/>
                  </a:lnTo>
                  <a:lnTo>
                    <a:pt x="272" y="70"/>
                  </a:lnTo>
                  <a:close/>
                  <a:moveTo>
                    <a:pt x="228" y="142"/>
                  </a:moveTo>
                  <a:lnTo>
                    <a:pt x="228" y="142"/>
                  </a:lnTo>
                  <a:lnTo>
                    <a:pt x="222" y="144"/>
                  </a:lnTo>
                  <a:lnTo>
                    <a:pt x="220" y="146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2" y="156"/>
                  </a:lnTo>
                  <a:lnTo>
                    <a:pt x="226" y="156"/>
                  </a:lnTo>
                  <a:lnTo>
                    <a:pt x="232" y="156"/>
                  </a:lnTo>
                  <a:lnTo>
                    <a:pt x="238" y="154"/>
                  </a:lnTo>
                  <a:lnTo>
                    <a:pt x="246" y="148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6" y="140"/>
                  </a:lnTo>
                  <a:lnTo>
                    <a:pt x="242" y="138"/>
                  </a:lnTo>
                  <a:lnTo>
                    <a:pt x="228" y="142"/>
                  </a:lnTo>
                  <a:close/>
                  <a:moveTo>
                    <a:pt x="790" y="22"/>
                  </a:moveTo>
                  <a:lnTo>
                    <a:pt x="790" y="22"/>
                  </a:lnTo>
                  <a:lnTo>
                    <a:pt x="792" y="20"/>
                  </a:lnTo>
                  <a:lnTo>
                    <a:pt x="792" y="18"/>
                  </a:lnTo>
                  <a:lnTo>
                    <a:pt x="788" y="14"/>
                  </a:lnTo>
                  <a:lnTo>
                    <a:pt x="780" y="12"/>
                  </a:lnTo>
                  <a:lnTo>
                    <a:pt x="770" y="12"/>
                  </a:lnTo>
                  <a:lnTo>
                    <a:pt x="748" y="12"/>
                  </a:lnTo>
                  <a:lnTo>
                    <a:pt x="736" y="14"/>
                  </a:lnTo>
                  <a:lnTo>
                    <a:pt x="728" y="18"/>
                  </a:lnTo>
                  <a:lnTo>
                    <a:pt x="726" y="18"/>
                  </a:lnTo>
                  <a:lnTo>
                    <a:pt x="726" y="20"/>
                  </a:lnTo>
                  <a:lnTo>
                    <a:pt x="730" y="22"/>
                  </a:lnTo>
                  <a:lnTo>
                    <a:pt x="750" y="26"/>
                  </a:lnTo>
                  <a:lnTo>
                    <a:pt x="774" y="26"/>
                  </a:lnTo>
                  <a:lnTo>
                    <a:pt x="784" y="26"/>
                  </a:lnTo>
                  <a:lnTo>
                    <a:pt x="790" y="22"/>
                  </a:lnTo>
                  <a:close/>
                  <a:moveTo>
                    <a:pt x="596" y="154"/>
                  </a:moveTo>
                  <a:lnTo>
                    <a:pt x="596" y="154"/>
                  </a:lnTo>
                  <a:lnTo>
                    <a:pt x="588" y="158"/>
                  </a:lnTo>
                  <a:lnTo>
                    <a:pt x="586" y="160"/>
                  </a:lnTo>
                  <a:lnTo>
                    <a:pt x="588" y="162"/>
                  </a:lnTo>
                  <a:lnTo>
                    <a:pt x="592" y="164"/>
                  </a:lnTo>
                  <a:lnTo>
                    <a:pt x="608" y="164"/>
                  </a:lnTo>
                  <a:lnTo>
                    <a:pt x="628" y="164"/>
                  </a:lnTo>
                  <a:lnTo>
                    <a:pt x="634" y="162"/>
                  </a:lnTo>
                  <a:lnTo>
                    <a:pt x="638" y="160"/>
                  </a:lnTo>
                  <a:lnTo>
                    <a:pt x="636" y="158"/>
                  </a:lnTo>
                  <a:lnTo>
                    <a:pt x="632" y="156"/>
                  </a:lnTo>
                  <a:lnTo>
                    <a:pt x="618" y="152"/>
                  </a:lnTo>
                  <a:lnTo>
                    <a:pt x="610" y="152"/>
                  </a:lnTo>
                  <a:lnTo>
                    <a:pt x="600" y="154"/>
                  </a:lnTo>
                  <a:lnTo>
                    <a:pt x="596" y="154"/>
                  </a:lnTo>
                  <a:close/>
                  <a:moveTo>
                    <a:pt x="482" y="98"/>
                  </a:moveTo>
                  <a:lnTo>
                    <a:pt x="482" y="98"/>
                  </a:lnTo>
                  <a:lnTo>
                    <a:pt x="460" y="100"/>
                  </a:lnTo>
                  <a:lnTo>
                    <a:pt x="458" y="102"/>
                  </a:lnTo>
                  <a:lnTo>
                    <a:pt x="462" y="106"/>
                  </a:lnTo>
                  <a:lnTo>
                    <a:pt x="470" y="108"/>
                  </a:lnTo>
                  <a:lnTo>
                    <a:pt x="482" y="108"/>
                  </a:lnTo>
                  <a:lnTo>
                    <a:pt x="510" y="106"/>
                  </a:lnTo>
                  <a:lnTo>
                    <a:pt x="514" y="106"/>
                  </a:lnTo>
                  <a:lnTo>
                    <a:pt x="516" y="104"/>
                  </a:lnTo>
                  <a:lnTo>
                    <a:pt x="508" y="100"/>
                  </a:lnTo>
                  <a:lnTo>
                    <a:pt x="496" y="98"/>
                  </a:lnTo>
                  <a:lnTo>
                    <a:pt x="482" y="98"/>
                  </a:lnTo>
                  <a:close/>
                  <a:moveTo>
                    <a:pt x="796" y="100"/>
                  </a:moveTo>
                  <a:lnTo>
                    <a:pt x="796" y="100"/>
                  </a:lnTo>
                  <a:lnTo>
                    <a:pt x="822" y="96"/>
                  </a:lnTo>
                  <a:lnTo>
                    <a:pt x="842" y="92"/>
                  </a:lnTo>
                  <a:lnTo>
                    <a:pt x="848" y="90"/>
                  </a:lnTo>
                  <a:lnTo>
                    <a:pt x="854" y="88"/>
                  </a:lnTo>
                  <a:lnTo>
                    <a:pt x="856" y="84"/>
                  </a:lnTo>
                  <a:lnTo>
                    <a:pt x="858" y="78"/>
                  </a:lnTo>
                  <a:lnTo>
                    <a:pt x="856" y="70"/>
                  </a:lnTo>
                  <a:lnTo>
                    <a:pt x="852" y="66"/>
                  </a:lnTo>
                  <a:lnTo>
                    <a:pt x="844" y="62"/>
                  </a:lnTo>
                  <a:lnTo>
                    <a:pt x="836" y="60"/>
                  </a:lnTo>
                  <a:lnTo>
                    <a:pt x="828" y="60"/>
                  </a:lnTo>
                  <a:lnTo>
                    <a:pt x="820" y="60"/>
                  </a:lnTo>
                  <a:lnTo>
                    <a:pt x="812" y="62"/>
                  </a:lnTo>
                  <a:lnTo>
                    <a:pt x="806" y="66"/>
                  </a:lnTo>
                  <a:lnTo>
                    <a:pt x="800" y="70"/>
                  </a:lnTo>
                  <a:lnTo>
                    <a:pt x="796" y="72"/>
                  </a:lnTo>
                  <a:lnTo>
                    <a:pt x="784" y="74"/>
                  </a:lnTo>
                  <a:lnTo>
                    <a:pt x="768" y="76"/>
                  </a:lnTo>
                  <a:lnTo>
                    <a:pt x="758" y="80"/>
                  </a:lnTo>
                  <a:lnTo>
                    <a:pt x="748" y="86"/>
                  </a:lnTo>
                  <a:lnTo>
                    <a:pt x="742" y="90"/>
                  </a:lnTo>
                  <a:lnTo>
                    <a:pt x="740" y="94"/>
                  </a:lnTo>
                  <a:lnTo>
                    <a:pt x="742" y="98"/>
                  </a:lnTo>
                  <a:lnTo>
                    <a:pt x="748" y="100"/>
                  </a:lnTo>
                  <a:lnTo>
                    <a:pt x="758" y="102"/>
                  </a:lnTo>
                  <a:lnTo>
                    <a:pt x="768" y="102"/>
                  </a:lnTo>
                  <a:lnTo>
                    <a:pt x="796" y="100"/>
                  </a:lnTo>
                  <a:close/>
                  <a:moveTo>
                    <a:pt x="506" y="132"/>
                  </a:moveTo>
                  <a:lnTo>
                    <a:pt x="506" y="132"/>
                  </a:lnTo>
                  <a:lnTo>
                    <a:pt x="494" y="134"/>
                  </a:lnTo>
                  <a:lnTo>
                    <a:pt x="482" y="132"/>
                  </a:lnTo>
                  <a:lnTo>
                    <a:pt x="476" y="134"/>
                  </a:lnTo>
                  <a:lnTo>
                    <a:pt x="472" y="136"/>
                  </a:lnTo>
                  <a:lnTo>
                    <a:pt x="468" y="140"/>
                  </a:lnTo>
                  <a:lnTo>
                    <a:pt x="466" y="148"/>
                  </a:lnTo>
                  <a:lnTo>
                    <a:pt x="466" y="154"/>
                  </a:lnTo>
                  <a:lnTo>
                    <a:pt x="468" y="156"/>
                  </a:lnTo>
                  <a:lnTo>
                    <a:pt x="472" y="158"/>
                  </a:lnTo>
                  <a:lnTo>
                    <a:pt x="478" y="158"/>
                  </a:lnTo>
                  <a:lnTo>
                    <a:pt x="494" y="158"/>
                  </a:lnTo>
                  <a:lnTo>
                    <a:pt x="512" y="158"/>
                  </a:lnTo>
                  <a:lnTo>
                    <a:pt x="520" y="156"/>
                  </a:lnTo>
                  <a:lnTo>
                    <a:pt x="524" y="154"/>
                  </a:lnTo>
                  <a:lnTo>
                    <a:pt x="526" y="150"/>
                  </a:lnTo>
                  <a:lnTo>
                    <a:pt x="524" y="144"/>
                  </a:lnTo>
                  <a:lnTo>
                    <a:pt x="522" y="138"/>
                  </a:lnTo>
                  <a:lnTo>
                    <a:pt x="516" y="134"/>
                  </a:lnTo>
                  <a:lnTo>
                    <a:pt x="512" y="132"/>
                  </a:lnTo>
                  <a:lnTo>
                    <a:pt x="506" y="132"/>
                  </a:lnTo>
                  <a:close/>
                  <a:moveTo>
                    <a:pt x="456" y="58"/>
                  </a:moveTo>
                  <a:lnTo>
                    <a:pt x="456" y="58"/>
                  </a:lnTo>
                  <a:lnTo>
                    <a:pt x="460" y="58"/>
                  </a:lnTo>
                  <a:lnTo>
                    <a:pt x="464" y="58"/>
                  </a:lnTo>
                  <a:lnTo>
                    <a:pt x="470" y="58"/>
                  </a:lnTo>
                  <a:lnTo>
                    <a:pt x="480" y="58"/>
                  </a:lnTo>
                  <a:lnTo>
                    <a:pt x="486" y="58"/>
                  </a:lnTo>
                  <a:lnTo>
                    <a:pt x="492" y="62"/>
                  </a:lnTo>
                  <a:lnTo>
                    <a:pt x="496" y="64"/>
                  </a:lnTo>
                  <a:lnTo>
                    <a:pt x="500" y="64"/>
                  </a:lnTo>
                  <a:lnTo>
                    <a:pt x="508" y="60"/>
                  </a:lnTo>
                  <a:lnTo>
                    <a:pt x="524" y="56"/>
                  </a:lnTo>
                  <a:lnTo>
                    <a:pt x="548" y="52"/>
                  </a:lnTo>
                  <a:lnTo>
                    <a:pt x="552" y="52"/>
                  </a:lnTo>
                  <a:lnTo>
                    <a:pt x="550" y="50"/>
                  </a:lnTo>
                  <a:lnTo>
                    <a:pt x="540" y="48"/>
                  </a:lnTo>
                  <a:lnTo>
                    <a:pt x="498" y="44"/>
                  </a:lnTo>
                  <a:lnTo>
                    <a:pt x="492" y="44"/>
                  </a:lnTo>
                  <a:lnTo>
                    <a:pt x="488" y="44"/>
                  </a:lnTo>
                  <a:lnTo>
                    <a:pt x="488" y="46"/>
                  </a:lnTo>
                  <a:lnTo>
                    <a:pt x="490" y="48"/>
                  </a:lnTo>
                  <a:lnTo>
                    <a:pt x="494" y="52"/>
                  </a:lnTo>
                  <a:lnTo>
                    <a:pt x="492" y="54"/>
                  </a:lnTo>
                  <a:lnTo>
                    <a:pt x="488" y="54"/>
                  </a:lnTo>
                  <a:lnTo>
                    <a:pt x="462" y="52"/>
                  </a:lnTo>
                  <a:lnTo>
                    <a:pt x="454" y="54"/>
                  </a:lnTo>
                  <a:lnTo>
                    <a:pt x="454" y="56"/>
                  </a:lnTo>
                  <a:lnTo>
                    <a:pt x="456" y="58"/>
                  </a:lnTo>
                  <a:close/>
                  <a:moveTo>
                    <a:pt x="678" y="84"/>
                  </a:moveTo>
                  <a:lnTo>
                    <a:pt x="678" y="84"/>
                  </a:lnTo>
                  <a:lnTo>
                    <a:pt x="688" y="82"/>
                  </a:lnTo>
                  <a:lnTo>
                    <a:pt x="696" y="78"/>
                  </a:lnTo>
                  <a:lnTo>
                    <a:pt x="704" y="74"/>
                  </a:lnTo>
                  <a:lnTo>
                    <a:pt x="710" y="70"/>
                  </a:lnTo>
                  <a:lnTo>
                    <a:pt x="710" y="68"/>
                  </a:lnTo>
                  <a:lnTo>
                    <a:pt x="710" y="66"/>
                  </a:lnTo>
                  <a:lnTo>
                    <a:pt x="704" y="64"/>
                  </a:lnTo>
                  <a:lnTo>
                    <a:pt x="692" y="64"/>
                  </a:lnTo>
                  <a:lnTo>
                    <a:pt x="670" y="68"/>
                  </a:lnTo>
                  <a:lnTo>
                    <a:pt x="654" y="72"/>
                  </a:lnTo>
                  <a:lnTo>
                    <a:pt x="646" y="76"/>
                  </a:lnTo>
                  <a:lnTo>
                    <a:pt x="644" y="80"/>
                  </a:lnTo>
                  <a:lnTo>
                    <a:pt x="646" y="82"/>
                  </a:lnTo>
                  <a:lnTo>
                    <a:pt x="658" y="84"/>
                  </a:lnTo>
                  <a:lnTo>
                    <a:pt x="678" y="84"/>
                  </a:lnTo>
                  <a:close/>
                  <a:moveTo>
                    <a:pt x="568" y="44"/>
                  </a:moveTo>
                  <a:lnTo>
                    <a:pt x="568" y="44"/>
                  </a:lnTo>
                  <a:lnTo>
                    <a:pt x="580" y="44"/>
                  </a:lnTo>
                  <a:lnTo>
                    <a:pt x="582" y="44"/>
                  </a:lnTo>
                  <a:lnTo>
                    <a:pt x="580" y="42"/>
                  </a:lnTo>
                  <a:lnTo>
                    <a:pt x="570" y="38"/>
                  </a:lnTo>
                  <a:lnTo>
                    <a:pt x="556" y="34"/>
                  </a:lnTo>
                  <a:lnTo>
                    <a:pt x="544" y="30"/>
                  </a:lnTo>
                  <a:lnTo>
                    <a:pt x="536" y="28"/>
                  </a:lnTo>
                  <a:lnTo>
                    <a:pt x="528" y="30"/>
                  </a:lnTo>
                  <a:lnTo>
                    <a:pt x="518" y="34"/>
                  </a:lnTo>
                  <a:lnTo>
                    <a:pt x="510" y="38"/>
                  </a:lnTo>
                  <a:lnTo>
                    <a:pt x="508" y="40"/>
                  </a:lnTo>
                  <a:lnTo>
                    <a:pt x="510" y="40"/>
                  </a:lnTo>
                  <a:lnTo>
                    <a:pt x="520" y="40"/>
                  </a:lnTo>
                  <a:lnTo>
                    <a:pt x="542" y="42"/>
                  </a:lnTo>
                  <a:lnTo>
                    <a:pt x="568" y="44"/>
                  </a:lnTo>
                  <a:close/>
                  <a:moveTo>
                    <a:pt x="672" y="122"/>
                  </a:moveTo>
                  <a:lnTo>
                    <a:pt x="672" y="122"/>
                  </a:lnTo>
                  <a:lnTo>
                    <a:pt x="682" y="124"/>
                  </a:lnTo>
                  <a:lnTo>
                    <a:pt x="690" y="124"/>
                  </a:lnTo>
                  <a:lnTo>
                    <a:pt x="694" y="124"/>
                  </a:lnTo>
                  <a:lnTo>
                    <a:pt x="698" y="120"/>
                  </a:lnTo>
                  <a:lnTo>
                    <a:pt x="706" y="116"/>
                  </a:lnTo>
                  <a:lnTo>
                    <a:pt x="710" y="112"/>
                  </a:lnTo>
                  <a:lnTo>
                    <a:pt x="718" y="112"/>
                  </a:lnTo>
                  <a:lnTo>
                    <a:pt x="724" y="110"/>
                  </a:lnTo>
                  <a:lnTo>
                    <a:pt x="728" y="106"/>
                  </a:lnTo>
                  <a:lnTo>
                    <a:pt x="730" y="100"/>
                  </a:lnTo>
                  <a:lnTo>
                    <a:pt x="728" y="94"/>
                  </a:lnTo>
                  <a:lnTo>
                    <a:pt x="724" y="88"/>
                  </a:lnTo>
                  <a:lnTo>
                    <a:pt x="716" y="84"/>
                  </a:lnTo>
                  <a:lnTo>
                    <a:pt x="704" y="84"/>
                  </a:lnTo>
                  <a:lnTo>
                    <a:pt x="688" y="88"/>
                  </a:lnTo>
                  <a:lnTo>
                    <a:pt x="670" y="94"/>
                  </a:lnTo>
                  <a:lnTo>
                    <a:pt x="656" y="94"/>
                  </a:lnTo>
                  <a:lnTo>
                    <a:pt x="644" y="92"/>
                  </a:lnTo>
                  <a:lnTo>
                    <a:pt x="634" y="90"/>
                  </a:lnTo>
                  <a:lnTo>
                    <a:pt x="626" y="90"/>
                  </a:lnTo>
                  <a:lnTo>
                    <a:pt x="620" y="90"/>
                  </a:lnTo>
                  <a:lnTo>
                    <a:pt x="614" y="94"/>
                  </a:lnTo>
                  <a:lnTo>
                    <a:pt x="608" y="104"/>
                  </a:lnTo>
                  <a:lnTo>
                    <a:pt x="606" y="116"/>
                  </a:lnTo>
                  <a:lnTo>
                    <a:pt x="606" y="118"/>
                  </a:lnTo>
                  <a:lnTo>
                    <a:pt x="608" y="122"/>
                  </a:lnTo>
                  <a:lnTo>
                    <a:pt x="614" y="124"/>
                  </a:lnTo>
                  <a:lnTo>
                    <a:pt x="622" y="124"/>
                  </a:lnTo>
                  <a:lnTo>
                    <a:pt x="646" y="120"/>
                  </a:lnTo>
                  <a:lnTo>
                    <a:pt x="660" y="120"/>
                  </a:lnTo>
                  <a:lnTo>
                    <a:pt x="672" y="122"/>
                  </a:lnTo>
                  <a:close/>
                  <a:moveTo>
                    <a:pt x="4428" y="2314"/>
                  </a:moveTo>
                  <a:lnTo>
                    <a:pt x="4428" y="2314"/>
                  </a:lnTo>
                  <a:lnTo>
                    <a:pt x="4426" y="2314"/>
                  </a:lnTo>
                  <a:lnTo>
                    <a:pt x="4428" y="2314"/>
                  </a:lnTo>
                  <a:lnTo>
                    <a:pt x="4432" y="2310"/>
                  </a:lnTo>
                  <a:lnTo>
                    <a:pt x="4436" y="2306"/>
                  </a:lnTo>
                  <a:lnTo>
                    <a:pt x="4436" y="2302"/>
                  </a:lnTo>
                  <a:lnTo>
                    <a:pt x="4432" y="2304"/>
                  </a:lnTo>
                  <a:lnTo>
                    <a:pt x="4428" y="2314"/>
                  </a:lnTo>
                  <a:close/>
                  <a:moveTo>
                    <a:pt x="4510" y="2192"/>
                  </a:moveTo>
                  <a:lnTo>
                    <a:pt x="4510" y="2192"/>
                  </a:lnTo>
                  <a:lnTo>
                    <a:pt x="4508" y="2194"/>
                  </a:lnTo>
                  <a:lnTo>
                    <a:pt x="4506" y="2196"/>
                  </a:lnTo>
                  <a:lnTo>
                    <a:pt x="4502" y="2202"/>
                  </a:lnTo>
                  <a:lnTo>
                    <a:pt x="4498" y="2210"/>
                  </a:lnTo>
                  <a:lnTo>
                    <a:pt x="4496" y="2214"/>
                  </a:lnTo>
                  <a:lnTo>
                    <a:pt x="4492" y="2216"/>
                  </a:lnTo>
                  <a:lnTo>
                    <a:pt x="4482" y="2220"/>
                  </a:lnTo>
                  <a:lnTo>
                    <a:pt x="4476" y="2224"/>
                  </a:lnTo>
                  <a:lnTo>
                    <a:pt x="4476" y="2226"/>
                  </a:lnTo>
                  <a:lnTo>
                    <a:pt x="4474" y="2228"/>
                  </a:lnTo>
                  <a:lnTo>
                    <a:pt x="4478" y="2236"/>
                  </a:lnTo>
                  <a:lnTo>
                    <a:pt x="4480" y="2238"/>
                  </a:lnTo>
                  <a:lnTo>
                    <a:pt x="4482" y="2238"/>
                  </a:lnTo>
                  <a:lnTo>
                    <a:pt x="4484" y="2236"/>
                  </a:lnTo>
                  <a:lnTo>
                    <a:pt x="4490" y="2230"/>
                  </a:lnTo>
                  <a:lnTo>
                    <a:pt x="4494" y="2228"/>
                  </a:lnTo>
                  <a:lnTo>
                    <a:pt x="4498" y="2226"/>
                  </a:lnTo>
                  <a:lnTo>
                    <a:pt x="4504" y="2224"/>
                  </a:lnTo>
                  <a:lnTo>
                    <a:pt x="4508" y="2220"/>
                  </a:lnTo>
                  <a:lnTo>
                    <a:pt x="4510" y="2214"/>
                  </a:lnTo>
                  <a:lnTo>
                    <a:pt x="4512" y="2208"/>
                  </a:lnTo>
                  <a:lnTo>
                    <a:pt x="4512" y="2198"/>
                  </a:lnTo>
                  <a:lnTo>
                    <a:pt x="4512" y="2194"/>
                  </a:lnTo>
                  <a:lnTo>
                    <a:pt x="4510" y="2192"/>
                  </a:lnTo>
                  <a:close/>
                  <a:moveTo>
                    <a:pt x="4462" y="2262"/>
                  </a:moveTo>
                  <a:lnTo>
                    <a:pt x="4462" y="2262"/>
                  </a:lnTo>
                  <a:lnTo>
                    <a:pt x="4460" y="2260"/>
                  </a:lnTo>
                  <a:lnTo>
                    <a:pt x="4456" y="2262"/>
                  </a:lnTo>
                  <a:lnTo>
                    <a:pt x="4452" y="2272"/>
                  </a:lnTo>
                  <a:lnTo>
                    <a:pt x="4448" y="2284"/>
                  </a:lnTo>
                  <a:lnTo>
                    <a:pt x="4448" y="2292"/>
                  </a:lnTo>
                  <a:lnTo>
                    <a:pt x="4448" y="2294"/>
                  </a:lnTo>
                  <a:lnTo>
                    <a:pt x="4452" y="2292"/>
                  </a:lnTo>
                  <a:lnTo>
                    <a:pt x="4458" y="2282"/>
                  </a:lnTo>
                  <a:lnTo>
                    <a:pt x="4462" y="2272"/>
                  </a:lnTo>
                  <a:lnTo>
                    <a:pt x="4462" y="2266"/>
                  </a:lnTo>
                  <a:lnTo>
                    <a:pt x="4462" y="2262"/>
                  </a:lnTo>
                  <a:close/>
                  <a:moveTo>
                    <a:pt x="4486" y="4072"/>
                  </a:moveTo>
                  <a:lnTo>
                    <a:pt x="4486" y="4072"/>
                  </a:lnTo>
                  <a:lnTo>
                    <a:pt x="4482" y="4070"/>
                  </a:lnTo>
                  <a:lnTo>
                    <a:pt x="4482" y="4068"/>
                  </a:lnTo>
                  <a:lnTo>
                    <a:pt x="4480" y="4066"/>
                  </a:lnTo>
                  <a:lnTo>
                    <a:pt x="4478" y="4064"/>
                  </a:lnTo>
                  <a:lnTo>
                    <a:pt x="4474" y="4064"/>
                  </a:lnTo>
                  <a:lnTo>
                    <a:pt x="4470" y="4064"/>
                  </a:lnTo>
                  <a:lnTo>
                    <a:pt x="4460" y="4068"/>
                  </a:lnTo>
                  <a:lnTo>
                    <a:pt x="4450" y="4076"/>
                  </a:lnTo>
                  <a:lnTo>
                    <a:pt x="4448" y="4080"/>
                  </a:lnTo>
                  <a:lnTo>
                    <a:pt x="4448" y="4084"/>
                  </a:lnTo>
                  <a:lnTo>
                    <a:pt x="4446" y="4088"/>
                  </a:lnTo>
                  <a:lnTo>
                    <a:pt x="4442" y="4094"/>
                  </a:lnTo>
                  <a:lnTo>
                    <a:pt x="4440" y="4100"/>
                  </a:lnTo>
                  <a:lnTo>
                    <a:pt x="4438" y="4104"/>
                  </a:lnTo>
                  <a:lnTo>
                    <a:pt x="4440" y="4106"/>
                  </a:lnTo>
                  <a:lnTo>
                    <a:pt x="4442" y="4104"/>
                  </a:lnTo>
                  <a:lnTo>
                    <a:pt x="4448" y="4104"/>
                  </a:lnTo>
                  <a:lnTo>
                    <a:pt x="4458" y="4106"/>
                  </a:lnTo>
                  <a:lnTo>
                    <a:pt x="4462" y="4106"/>
                  </a:lnTo>
                  <a:lnTo>
                    <a:pt x="4466" y="4106"/>
                  </a:lnTo>
                  <a:lnTo>
                    <a:pt x="4470" y="4102"/>
                  </a:lnTo>
                  <a:lnTo>
                    <a:pt x="4474" y="4098"/>
                  </a:lnTo>
                  <a:lnTo>
                    <a:pt x="4478" y="4094"/>
                  </a:lnTo>
                  <a:lnTo>
                    <a:pt x="4480" y="4092"/>
                  </a:lnTo>
                  <a:lnTo>
                    <a:pt x="4482" y="4090"/>
                  </a:lnTo>
                  <a:lnTo>
                    <a:pt x="4484" y="4082"/>
                  </a:lnTo>
                  <a:lnTo>
                    <a:pt x="4488" y="4074"/>
                  </a:lnTo>
                  <a:lnTo>
                    <a:pt x="4488" y="4072"/>
                  </a:lnTo>
                  <a:lnTo>
                    <a:pt x="4486" y="4072"/>
                  </a:lnTo>
                  <a:close/>
                  <a:moveTo>
                    <a:pt x="2916" y="5240"/>
                  </a:moveTo>
                  <a:lnTo>
                    <a:pt x="2916" y="5240"/>
                  </a:lnTo>
                  <a:lnTo>
                    <a:pt x="2912" y="5240"/>
                  </a:lnTo>
                  <a:lnTo>
                    <a:pt x="2908" y="5240"/>
                  </a:lnTo>
                  <a:lnTo>
                    <a:pt x="2902" y="5244"/>
                  </a:lnTo>
                  <a:lnTo>
                    <a:pt x="2898" y="5248"/>
                  </a:lnTo>
                  <a:lnTo>
                    <a:pt x="2896" y="5252"/>
                  </a:lnTo>
                  <a:lnTo>
                    <a:pt x="2896" y="5260"/>
                  </a:lnTo>
                  <a:lnTo>
                    <a:pt x="2896" y="5264"/>
                  </a:lnTo>
                  <a:lnTo>
                    <a:pt x="2894" y="5266"/>
                  </a:lnTo>
                  <a:lnTo>
                    <a:pt x="2890" y="5266"/>
                  </a:lnTo>
                  <a:lnTo>
                    <a:pt x="2888" y="5270"/>
                  </a:lnTo>
                  <a:lnTo>
                    <a:pt x="2892" y="5272"/>
                  </a:lnTo>
                  <a:lnTo>
                    <a:pt x="2904" y="5274"/>
                  </a:lnTo>
                  <a:lnTo>
                    <a:pt x="2914" y="5274"/>
                  </a:lnTo>
                  <a:lnTo>
                    <a:pt x="2916" y="5272"/>
                  </a:lnTo>
                  <a:lnTo>
                    <a:pt x="2918" y="5272"/>
                  </a:lnTo>
                  <a:lnTo>
                    <a:pt x="2918" y="5266"/>
                  </a:lnTo>
                  <a:lnTo>
                    <a:pt x="2920" y="5258"/>
                  </a:lnTo>
                  <a:lnTo>
                    <a:pt x="2924" y="5250"/>
                  </a:lnTo>
                  <a:lnTo>
                    <a:pt x="2924" y="5246"/>
                  </a:lnTo>
                  <a:lnTo>
                    <a:pt x="2922" y="5242"/>
                  </a:lnTo>
                  <a:lnTo>
                    <a:pt x="2916" y="5240"/>
                  </a:lnTo>
                  <a:close/>
                  <a:moveTo>
                    <a:pt x="2868" y="5234"/>
                  </a:moveTo>
                  <a:lnTo>
                    <a:pt x="2868" y="5234"/>
                  </a:lnTo>
                  <a:lnTo>
                    <a:pt x="2866" y="5232"/>
                  </a:lnTo>
                  <a:lnTo>
                    <a:pt x="2864" y="5232"/>
                  </a:lnTo>
                  <a:lnTo>
                    <a:pt x="2860" y="5234"/>
                  </a:lnTo>
                  <a:lnTo>
                    <a:pt x="2854" y="5238"/>
                  </a:lnTo>
                  <a:lnTo>
                    <a:pt x="2850" y="5238"/>
                  </a:lnTo>
                  <a:lnTo>
                    <a:pt x="2844" y="5236"/>
                  </a:lnTo>
                  <a:lnTo>
                    <a:pt x="2838" y="5234"/>
                  </a:lnTo>
                  <a:lnTo>
                    <a:pt x="2836" y="5234"/>
                  </a:lnTo>
                  <a:lnTo>
                    <a:pt x="2834" y="5236"/>
                  </a:lnTo>
                  <a:lnTo>
                    <a:pt x="2834" y="5240"/>
                  </a:lnTo>
                  <a:lnTo>
                    <a:pt x="2836" y="5246"/>
                  </a:lnTo>
                  <a:lnTo>
                    <a:pt x="2840" y="5248"/>
                  </a:lnTo>
                  <a:lnTo>
                    <a:pt x="2844" y="5250"/>
                  </a:lnTo>
                  <a:lnTo>
                    <a:pt x="2850" y="5252"/>
                  </a:lnTo>
                  <a:lnTo>
                    <a:pt x="2856" y="5256"/>
                  </a:lnTo>
                  <a:lnTo>
                    <a:pt x="2860" y="5262"/>
                  </a:lnTo>
                  <a:lnTo>
                    <a:pt x="2860" y="5266"/>
                  </a:lnTo>
                  <a:lnTo>
                    <a:pt x="2860" y="5270"/>
                  </a:lnTo>
                  <a:lnTo>
                    <a:pt x="2862" y="5270"/>
                  </a:lnTo>
                  <a:lnTo>
                    <a:pt x="2866" y="5270"/>
                  </a:lnTo>
                  <a:lnTo>
                    <a:pt x="2868" y="5266"/>
                  </a:lnTo>
                  <a:lnTo>
                    <a:pt x="2870" y="5260"/>
                  </a:lnTo>
                  <a:lnTo>
                    <a:pt x="2876" y="5254"/>
                  </a:lnTo>
                  <a:lnTo>
                    <a:pt x="2882" y="5250"/>
                  </a:lnTo>
                  <a:lnTo>
                    <a:pt x="2882" y="5246"/>
                  </a:lnTo>
                  <a:lnTo>
                    <a:pt x="2882" y="5244"/>
                  </a:lnTo>
                  <a:lnTo>
                    <a:pt x="2876" y="5240"/>
                  </a:lnTo>
                  <a:lnTo>
                    <a:pt x="2868" y="5234"/>
                  </a:lnTo>
                  <a:close/>
                  <a:moveTo>
                    <a:pt x="2906" y="5026"/>
                  </a:moveTo>
                  <a:lnTo>
                    <a:pt x="2906" y="5026"/>
                  </a:lnTo>
                  <a:lnTo>
                    <a:pt x="2906" y="5016"/>
                  </a:lnTo>
                  <a:lnTo>
                    <a:pt x="2906" y="5006"/>
                  </a:lnTo>
                  <a:lnTo>
                    <a:pt x="2904" y="5000"/>
                  </a:lnTo>
                  <a:lnTo>
                    <a:pt x="2902" y="5000"/>
                  </a:lnTo>
                  <a:lnTo>
                    <a:pt x="2900" y="5002"/>
                  </a:lnTo>
                  <a:lnTo>
                    <a:pt x="2898" y="5010"/>
                  </a:lnTo>
                  <a:lnTo>
                    <a:pt x="2898" y="5018"/>
                  </a:lnTo>
                  <a:lnTo>
                    <a:pt x="2898" y="5026"/>
                  </a:lnTo>
                  <a:lnTo>
                    <a:pt x="2896" y="5036"/>
                  </a:lnTo>
                  <a:lnTo>
                    <a:pt x="2896" y="5038"/>
                  </a:lnTo>
                  <a:lnTo>
                    <a:pt x="2898" y="5038"/>
                  </a:lnTo>
                  <a:lnTo>
                    <a:pt x="2902" y="5034"/>
                  </a:lnTo>
                  <a:lnTo>
                    <a:pt x="2906" y="5026"/>
                  </a:lnTo>
                  <a:close/>
                  <a:moveTo>
                    <a:pt x="3284" y="4314"/>
                  </a:moveTo>
                  <a:lnTo>
                    <a:pt x="3284" y="4314"/>
                  </a:lnTo>
                  <a:lnTo>
                    <a:pt x="3286" y="4316"/>
                  </a:lnTo>
                  <a:lnTo>
                    <a:pt x="3288" y="4318"/>
                  </a:lnTo>
                  <a:lnTo>
                    <a:pt x="3290" y="4318"/>
                  </a:lnTo>
                  <a:lnTo>
                    <a:pt x="3290" y="4316"/>
                  </a:lnTo>
                  <a:lnTo>
                    <a:pt x="3290" y="4314"/>
                  </a:lnTo>
                  <a:lnTo>
                    <a:pt x="3288" y="4312"/>
                  </a:lnTo>
                  <a:lnTo>
                    <a:pt x="3284" y="4314"/>
                  </a:lnTo>
                  <a:close/>
                  <a:moveTo>
                    <a:pt x="3284" y="4332"/>
                  </a:moveTo>
                  <a:lnTo>
                    <a:pt x="3284" y="4332"/>
                  </a:lnTo>
                  <a:lnTo>
                    <a:pt x="3284" y="4330"/>
                  </a:lnTo>
                  <a:lnTo>
                    <a:pt x="3282" y="4330"/>
                  </a:lnTo>
                  <a:lnTo>
                    <a:pt x="3278" y="4336"/>
                  </a:lnTo>
                  <a:lnTo>
                    <a:pt x="3278" y="4344"/>
                  </a:lnTo>
                  <a:lnTo>
                    <a:pt x="3278" y="4350"/>
                  </a:lnTo>
                  <a:lnTo>
                    <a:pt x="3282" y="4354"/>
                  </a:lnTo>
                  <a:lnTo>
                    <a:pt x="3284" y="4358"/>
                  </a:lnTo>
                  <a:lnTo>
                    <a:pt x="3286" y="4358"/>
                  </a:lnTo>
                  <a:lnTo>
                    <a:pt x="3286" y="4354"/>
                  </a:lnTo>
                  <a:lnTo>
                    <a:pt x="3284" y="4332"/>
                  </a:lnTo>
                  <a:close/>
                  <a:moveTo>
                    <a:pt x="2868" y="5178"/>
                  </a:moveTo>
                  <a:lnTo>
                    <a:pt x="2868" y="5178"/>
                  </a:lnTo>
                  <a:lnTo>
                    <a:pt x="2870" y="5178"/>
                  </a:lnTo>
                  <a:lnTo>
                    <a:pt x="2872" y="5178"/>
                  </a:lnTo>
                  <a:lnTo>
                    <a:pt x="2874" y="5178"/>
                  </a:lnTo>
                  <a:lnTo>
                    <a:pt x="2876" y="5178"/>
                  </a:lnTo>
                  <a:lnTo>
                    <a:pt x="2876" y="5176"/>
                  </a:lnTo>
                  <a:lnTo>
                    <a:pt x="2874" y="5174"/>
                  </a:lnTo>
                  <a:lnTo>
                    <a:pt x="2872" y="5172"/>
                  </a:lnTo>
                  <a:lnTo>
                    <a:pt x="2866" y="5172"/>
                  </a:lnTo>
                  <a:lnTo>
                    <a:pt x="2862" y="5174"/>
                  </a:lnTo>
                  <a:lnTo>
                    <a:pt x="2864" y="5176"/>
                  </a:lnTo>
                  <a:lnTo>
                    <a:pt x="2866" y="5178"/>
                  </a:lnTo>
                  <a:lnTo>
                    <a:pt x="2868" y="5178"/>
                  </a:lnTo>
                  <a:close/>
                  <a:moveTo>
                    <a:pt x="2798" y="5190"/>
                  </a:moveTo>
                  <a:lnTo>
                    <a:pt x="2798" y="5190"/>
                  </a:lnTo>
                  <a:lnTo>
                    <a:pt x="2804" y="5186"/>
                  </a:lnTo>
                  <a:lnTo>
                    <a:pt x="2812" y="5182"/>
                  </a:lnTo>
                  <a:lnTo>
                    <a:pt x="2818" y="5180"/>
                  </a:lnTo>
                  <a:lnTo>
                    <a:pt x="2818" y="5178"/>
                  </a:lnTo>
                  <a:lnTo>
                    <a:pt x="2818" y="5176"/>
                  </a:lnTo>
                  <a:lnTo>
                    <a:pt x="2814" y="5174"/>
                  </a:lnTo>
                  <a:lnTo>
                    <a:pt x="2810" y="5174"/>
                  </a:lnTo>
                  <a:lnTo>
                    <a:pt x="2804" y="5176"/>
                  </a:lnTo>
                  <a:lnTo>
                    <a:pt x="2794" y="5176"/>
                  </a:lnTo>
                  <a:lnTo>
                    <a:pt x="2780" y="5174"/>
                  </a:lnTo>
                  <a:lnTo>
                    <a:pt x="2770" y="5176"/>
                  </a:lnTo>
                  <a:lnTo>
                    <a:pt x="2764" y="5180"/>
                  </a:lnTo>
                  <a:lnTo>
                    <a:pt x="2764" y="5182"/>
                  </a:lnTo>
                  <a:lnTo>
                    <a:pt x="2764" y="5186"/>
                  </a:lnTo>
                  <a:lnTo>
                    <a:pt x="2768" y="5188"/>
                  </a:lnTo>
                  <a:lnTo>
                    <a:pt x="2780" y="5192"/>
                  </a:lnTo>
                  <a:lnTo>
                    <a:pt x="2790" y="5192"/>
                  </a:lnTo>
                  <a:lnTo>
                    <a:pt x="2796" y="5192"/>
                  </a:lnTo>
                  <a:lnTo>
                    <a:pt x="2798" y="5190"/>
                  </a:lnTo>
                  <a:close/>
                  <a:moveTo>
                    <a:pt x="4914" y="1916"/>
                  </a:moveTo>
                  <a:lnTo>
                    <a:pt x="4914" y="1916"/>
                  </a:lnTo>
                  <a:lnTo>
                    <a:pt x="4910" y="1920"/>
                  </a:lnTo>
                  <a:lnTo>
                    <a:pt x="4910" y="1924"/>
                  </a:lnTo>
                  <a:lnTo>
                    <a:pt x="4912" y="1928"/>
                  </a:lnTo>
                  <a:lnTo>
                    <a:pt x="4914" y="1934"/>
                  </a:lnTo>
                  <a:lnTo>
                    <a:pt x="4926" y="1944"/>
                  </a:lnTo>
                  <a:lnTo>
                    <a:pt x="4938" y="1954"/>
                  </a:lnTo>
                  <a:lnTo>
                    <a:pt x="4942" y="1958"/>
                  </a:lnTo>
                  <a:lnTo>
                    <a:pt x="4942" y="1954"/>
                  </a:lnTo>
                  <a:lnTo>
                    <a:pt x="4940" y="1946"/>
                  </a:lnTo>
                  <a:lnTo>
                    <a:pt x="4936" y="1936"/>
                  </a:lnTo>
                  <a:lnTo>
                    <a:pt x="4930" y="1926"/>
                  </a:lnTo>
                  <a:lnTo>
                    <a:pt x="4924" y="1918"/>
                  </a:lnTo>
                  <a:lnTo>
                    <a:pt x="4918" y="1914"/>
                  </a:lnTo>
                  <a:lnTo>
                    <a:pt x="4916" y="1914"/>
                  </a:lnTo>
                  <a:lnTo>
                    <a:pt x="4914" y="1916"/>
                  </a:lnTo>
                  <a:close/>
                  <a:moveTo>
                    <a:pt x="4520" y="2200"/>
                  </a:moveTo>
                  <a:lnTo>
                    <a:pt x="4520" y="2200"/>
                  </a:lnTo>
                  <a:lnTo>
                    <a:pt x="4522" y="2200"/>
                  </a:lnTo>
                  <a:lnTo>
                    <a:pt x="4524" y="2200"/>
                  </a:lnTo>
                  <a:lnTo>
                    <a:pt x="4528" y="2196"/>
                  </a:lnTo>
                  <a:lnTo>
                    <a:pt x="4528" y="2192"/>
                  </a:lnTo>
                  <a:lnTo>
                    <a:pt x="4528" y="2188"/>
                  </a:lnTo>
                  <a:lnTo>
                    <a:pt x="4524" y="2188"/>
                  </a:lnTo>
                  <a:lnTo>
                    <a:pt x="4520" y="2190"/>
                  </a:lnTo>
                  <a:lnTo>
                    <a:pt x="4518" y="2194"/>
                  </a:lnTo>
                  <a:lnTo>
                    <a:pt x="4518" y="2196"/>
                  </a:lnTo>
                  <a:lnTo>
                    <a:pt x="4520" y="2200"/>
                  </a:lnTo>
                  <a:close/>
                  <a:moveTo>
                    <a:pt x="4814" y="1702"/>
                  </a:moveTo>
                  <a:lnTo>
                    <a:pt x="4814" y="1702"/>
                  </a:lnTo>
                  <a:lnTo>
                    <a:pt x="4812" y="1704"/>
                  </a:lnTo>
                  <a:lnTo>
                    <a:pt x="4812" y="1706"/>
                  </a:lnTo>
                  <a:lnTo>
                    <a:pt x="4816" y="1706"/>
                  </a:lnTo>
                  <a:lnTo>
                    <a:pt x="4832" y="1700"/>
                  </a:lnTo>
                  <a:lnTo>
                    <a:pt x="4842" y="1696"/>
                  </a:lnTo>
                  <a:lnTo>
                    <a:pt x="4850" y="1690"/>
                  </a:lnTo>
                  <a:lnTo>
                    <a:pt x="4856" y="1684"/>
                  </a:lnTo>
                  <a:lnTo>
                    <a:pt x="4858" y="1678"/>
                  </a:lnTo>
                  <a:lnTo>
                    <a:pt x="4856" y="1674"/>
                  </a:lnTo>
                  <a:lnTo>
                    <a:pt x="4852" y="1672"/>
                  </a:lnTo>
                  <a:lnTo>
                    <a:pt x="4848" y="1672"/>
                  </a:lnTo>
                  <a:lnTo>
                    <a:pt x="4842" y="1674"/>
                  </a:lnTo>
                  <a:lnTo>
                    <a:pt x="4828" y="1686"/>
                  </a:lnTo>
                  <a:lnTo>
                    <a:pt x="4814" y="1702"/>
                  </a:lnTo>
                  <a:close/>
                  <a:moveTo>
                    <a:pt x="3278" y="4364"/>
                  </a:moveTo>
                  <a:lnTo>
                    <a:pt x="3278" y="4364"/>
                  </a:lnTo>
                  <a:lnTo>
                    <a:pt x="3276" y="4362"/>
                  </a:lnTo>
                  <a:lnTo>
                    <a:pt x="3274" y="4362"/>
                  </a:lnTo>
                  <a:lnTo>
                    <a:pt x="3278" y="4384"/>
                  </a:lnTo>
                  <a:lnTo>
                    <a:pt x="3278" y="4398"/>
                  </a:lnTo>
                  <a:lnTo>
                    <a:pt x="3278" y="4400"/>
                  </a:lnTo>
                  <a:lnTo>
                    <a:pt x="3276" y="4402"/>
                  </a:lnTo>
                  <a:lnTo>
                    <a:pt x="3272" y="4402"/>
                  </a:lnTo>
                  <a:lnTo>
                    <a:pt x="3266" y="4398"/>
                  </a:lnTo>
                  <a:lnTo>
                    <a:pt x="3264" y="4400"/>
                  </a:lnTo>
                  <a:lnTo>
                    <a:pt x="3264" y="4406"/>
                  </a:lnTo>
                  <a:lnTo>
                    <a:pt x="3262" y="4408"/>
                  </a:lnTo>
                  <a:lnTo>
                    <a:pt x="3260" y="4408"/>
                  </a:lnTo>
                  <a:lnTo>
                    <a:pt x="3256" y="4404"/>
                  </a:lnTo>
                  <a:lnTo>
                    <a:pt x="3254" y="4402"/>
                  </a:lnTo>
                  <a:lnTo>
                    <a:pt x="3252" y="4400"/>
                  </a:lnTo>
                  <a:lnTo>
                    <a:pt x="3250" y="4402"/>
                  </a:lnTo>
                  <a:lnTo>
                    <a:pt x="3248" y="4404"/>
                  </a:lnTo>
                  <a:lnTo>
                    <a:pt x="3248" y="4424"/>
                  </a:lnTo>
                  <a:lnTo>
                    <a:pt x="3248" y="4426"/>
                  </a:lnTo>
                  <a:lnTo>
                    <a:pt x="3246" y="4426"/>
                  </a:lnTo>
                  <a:lnTo>
                    <a:pt x="3240" y="4422"/>
                  </a:lnTo>
                  <a:lnTo>
                    <a:pt x="3238" y="4422"/>
                  </a:lnTo>
                  <a:lnTo>
                    <a:pt x="3234" y="4420"/>
                  </a:lnTo>
                  <a:lnTo>
                    <a:pt x="3232" y="4422"/>
                  </a:lnTo>
                  <a:lnTo>
                    <a:pt x="3230" y="4428"/>
                  </a:lnTo>
                  <a:lnTo>
                    <a:pt x="3226" y="4438"/>
                  </a:lnTo>
                  <a:lnTo>
                    <a:pt x="3224" y="4440"/>
                  </a:lnTo>
                  <a:lnTo>
                    <a:pt x="3220" y="4440"/>
                  </a:lnTo>
                  <a:lnTo>
                    <a:pt x="3214" y="4444"/>
                  </a:lnTo>
                  <a:lnTo>
                    <a:pt x="3210" y="4446"/>
                  </a:lnTo>
                  <a:lnTo>
                    <a:pt x="3212" y="4440"/>
                  </a:lnTo>
                  <a:lnTo>
                    <a:pt x="3212" y="4432"/>
                  </a:lnTo>
                  <a:lnTo>
                    <a:pt x="3210" y="4424"/>
                  </a:lnTo>
                  <a:lnTo>
                    <a:pt x="3208" y="4420"/>
                  </a:lnTo>
                  <a:lnTo>
                    <a:pt x="3204" y="4418"/>
                  </a:lnTo>
                  <a:lnTo>
                    <a:pt x="3200" y="4418"/>
                  </a:lnTo>
                  <a:lnTo>
                    <a:pt x="3198" y="4420"/>
                  </a:lnTo>
                  <a:lnTo>
                    <a:pt x="3198" y="4418"/>
                  </a:lnTo>
                  <a:lnTo>
                    <a:pt x="3196" y="4416"/>
                  </a:lnTo>
                  <a:lnTo>
                    <a:pt x="3194" y="4414"/>
                  </a:lnTo>
                  <a:lnTo>
                    <a:pt x="3192" y="4416"/>
                  </a:lnTo>
                  <a:lnTo>
                    <a:pt x="3192" y="4420"/>
                  </a:lnTo>
                  <a:lnTo>
                    <a:pt x="3190" y="4422"/>
                  </a:lnTo>
                  <a:lnTo>
                    <a:pt x="3188" y="4424"/>
                  </a:lnTo>
                  <a:lnTo>
                    <a:pt x="3186" y="4424"/>
                  </a:lnTo>
                  <a:lnTo>
                    <a:pt x="3182" y="4424"/>
                  </a:lnTo>
                  <a:lnTo>
                    <a:pt x="3178" y="4428"/>
                  </a:lnTo>
                  <a:lnTo>
                    <a:pt x="3176" y="4432"/>
                  </a:lnTo>
                  <a:lnTo>
                    <a:pt x="3178" y="4438"/>
                  </a:lnTo>
                  <a:lnTo>
                    <a:pt x="3178" y="4440"/>
                  </a:lnTo>
                  <a:lnTo>
                    <a:pt x="3174" y="4442"/>
                  </a:lnTo>
                  <a:lnTo>
                    <a:pt x="3170" y="4444"/>
                  </a:lnTo>
                  <a:lnTo>
                    <a:pt x="3166" y="4442"/>
                  </a:lnTo>
                  <a:lnTo>
                    <a:pt x="3164" y="4442"/>
                  </a:lnTo>
                  <a:lnTo>
                    <a:pt x="3162" y="4442"/>
                  </a:lnTo>
                  <a:lnTo>
                    <a:pt x="3160" y="4444"/>
                  </a:lnTo>
                  <a:lnTo>
                    <a:pt x="3156" y="4446"/>
                  </a:lnTo>
                  <a:lnTo>
                    <a:pt x="3150" y="4448"/>
                  </a:lnTo>
                  <a:lnTo>
                    <a:pt x="3146" y="4452"/>
                  </a:lnTo>
                  <a:lnTo>
                    <a:pt x="3142" y="4458"/>
                  </a:lnTo>
                  <a:lnTo>
                    <a:pt x="3140" y="4462"/>
                  </a:lnTo>
                  <a:lnTo>
                    <a:pt x="3140" y="4472"/>
                  </a:lnTo>
                  <a:lnTo>
                    <a:pt x="3138" y="4478"/>
                  </a:lnTo>
                  <a:lnTo>
                    <a:pt x="3134" y="4488"/>
                  </a:lnTo>
                  <a:lnTo>
                    <a:pt x="3132" y="4492"/>
                  </a:lnTo>
                  <a:lnTo>
                    <a:pt x="3134" y="4496"/>
                  </a:lnTo>
                  <a:lnTo>
                    <a:pt x="3136" y="4500"/>
                  </a:lnTo>
                  <a:lnTo>
                    <a:pt x="3138" y="4504"/>
                  </a:lnTo>
                  <a:lnTo>
                    <a:pt x="3140" y="4504"/>
                  </a:lnTo>
                  <a:lnTo>
                    <a:pt x="3144" y="4500"/>
                  </a:lnTo>
                  <a:lnTo>
                    <a:pt x="3148" y="4488"/>
                  </a:lnTo>
                  <a:lnTo>
                    <a:pt x="3150" y="4480"/>
                  </a:lnTo>
                  <a:lnTo>
                    <a:pt x="3152" y="4478"/>
                  </a:lnTo>
                  <a:lnTo>
                    <a:pt x="3152" y="4476"/>
                  </a:lnTo>
                  <a:lnTo>
                    <a:pt x="3154" y="4474"/>
                  </a:lnTo>
                  <a:lnTo>
                    <a:pt x="3156" y="4472"/>
                  </a:lnTo>
                  <a:lnTo>
                    <a:pt x="3156" y="4470"/>
                  </a:lnTo>
                  <a:lnTo>
                    <a:pt x="3158" y="4466"/>
                  </a:lnTo>
                  <a:lnTo>
                    <a:pt x="3160" y="4462"/>
                  </a:lnTo>
                  <a:lnTo>
                    <a:pt x="3164" y="4460"/>
                  </a:lnTo>
                  <a:lnTo>
                    <a:pt x="3168" y="4462"/>
                  </a:lnTo>
                  <a:lnTo>
                    <a:pt x="3170" y="4466"/>
                  </a:lnTo>
                  <a:lnTo>
                    <a:pt x="3168" y="4472"/>
                  </a:lnTo>
                  <a:lnTo>
                    <a:pt x="3168" y="4474"/>
                  </a:lnTo>
                  <a:lnTo>
                    <a:pt x="3172" y="4474"/>
                  </a:lnTo>
                  <a:lnTo>
                    <a:pt x="3178" y="4472"/>
                  </a:lnTo>
                  <a:lnTo>
                    <a:pt x="3182" y="4466"/>
                  </a:lnTo>
                  <a:lnTo>
                    <a:pt x="3184" y="4462"/>
                  </a:lnTo>
                  <a:lnTo>
                    <a:pt x="3184" y="4466"/>
                  </a:lnTo>
                  <a:lnTo>
                    <a:pt x="3184" y="4472"/>
                  </a:lnTo>
                  <a:lnTo>
                    <a:pt x="3184" y="4474"/>
                  </a:lnTo>
                  <a:lnTo>
                    <a:pt x="3186" y="4476"/>
                  </a:lnTo>
                  <a:lnTo>
                    <a:pt x="3192" y="4478"/>
                  </a:lnTo>
                  <a:lnTo>
                    <a:pt x="3194" y="4480"/>
                  </a:lnTo>
                  <a:lnTo>
                    <a:pt x="3194" y="4476"/>
                  </a:lnTo>
                  <a:lnTo>
                    <a:pt x="3194" y="4470"/>
                  </a:lnTo>
                  <a:lnTo>
                    <a:pt x="3196" y="4466"/>
                  </a:lnTo>
                  <a:lnTo>
                    <a:pt x="3198" y="4464"/>
                  </a:lnTo>
                  <a:lnTo>
                    <a:pt x="3196" y="4462"/>
                  </a:lnTo>
                  <a:lnTo>
                    <a:pt x="3194" y="4460"/>
                  </a:lnTo>
                  <a:lnTo>
                    <a:pt x="3196" y="4458"/>
                  </a:lnTo>
                  <a:lnTo>
                    <a:pt x="3200" y="4458"/>
                  </a:lnTo>
                  <a:lnTo>
                    <a:pt x="3206" y="4460"/>
                  </a:lnTo>
                  <a:lnTo>
                    <a:pt x="3210" y="4464"/>
                  </a:lnTo>
                  <a:lnTo>
                    <a:pt x="3216" y="4466"/>
                  </a:lnTo>
                  <a:lnTo>
                    <a:pt x="3218" y="4468"/>
                  </a:lnTo>
                  <a:lnTo>
                    <a:pt x="3222" y="4472"/>
                  </a:lnTo>
                  <a:lnTo>
                    <a:pt x="3222" y="4476"/>
                  </a:lnTo>
                  <a:lnTo>
                    <a:pt x="3224" y="4478"/>
                  </a:lnTo>
                  <a:lnTo>
                    <a:pt x="3226" y="4478"/>
                  </a:lnTo>
                  <a:lnTo>
                    <a:pt x="3226" y="4482"/>
                  </a:lnTo>
                  <a:lnTo>
                    <a:pt x="3224" y="4486"/>
                  </a:lnTo>
                  <a:lnTo>
                    <a:pt x="3220" y="4492"/>
                  </a:lnTo>
                  <a:lnTo>
                    <a:pt x="3216" y="4500"/>
                  </a:lnTo>
                  <a:lnTo>
                    <a:pt x="3216" y="4502"/>
                  </a:lnTo>
                  <a:lnTo>
                    <a:pt x="3216" y="4506"/>
                  </a:lnTo>
                  <a:lnTo>
                    <a:pt x="3218" y="4520"/>
                  </a:lnTo>
                  <a:lnTo>
                    <a:pt x="3220" y="4526"/>
                  </a:lnTo>
                  <a:lnTo>
                    <a:pt x="3222" y="4532"/>
                  </a:lnTo>
                  <a:lnTo>
                    <a:pt x="3224" y="4534"/>
                  </a:lnTo>
                  <a:lnTo>
                    <a:pt x="3224" y="4536"/>
                  </a:lnTo>
                  <a:lnTo>
                    <a:pt x="3226" y="4538"/>
                  </a:lnTo>
                  <a:lnTo>
                    <a:pt x="3234" y="4544"/>
                  </a:lnTo>
                  <a:lnTo>
                    <a:pt x="3252" y="4552"/>
                  </a:lnTo>
                  <a:lnTo>
                    <a:pt x="3256" y="4554"/>
                  </a:lnTo>
                  <a:lnTo>
                    <a:pt x="3260" y="4548"/>
                  </a:lnTo>
                  <a:lnTo>
                    <a:pt x="3264" y="4542"/>
                  </a:lnTo>
                  <a:lnTo>
                    <a:pt x="3266" y="4542"/>
                  </a:lnTo>
                  <a:lnTo>
                    <a:pt x="3268" y="4544"/>
                  </a:lnTo>
                  <a:lnTo>
                    <a:pt x="3266" y="4550"/>
                  </a:lnTo>
                  <a:lnTo>
                    <a:pt x="3266" y="4556"/>
                  </a:lnTo>
                  <a:lnTo>
                    <a:pt x="3268" y="4564"/>
                  </a:lnTo>
                  <a:lnTo>
                    <a:pt x="3270" y="4566"/>
                  </a:lnTo>
                  <a:lnTo>
                    <a:pt x="3272" y="4568"/>
                  </a:lnTo>
                  <a:lnTo>
                    <a:pt x="3274" y="4566"/>
                  </a:lnTo>
                  <a:lnTo>
                    <a:pt x="3278" y="4564"/>
                  </a:lnTo>
                  <a:lnTo>
                    <a:pt x="3282" y="4554"/>
                  </a:lnTo>
                  <a:lnTo>
                    <a:pt x="3284" y="4546"/>
                  </a:lnTo>
                  <a:lnTo>
                    <a:pt x="3286" y="4540"/>
                  </a:lnTo>
                  <a:lnTo>
                    <a:pt x="3284" y="4534"/>
                  </a:lnTo>
                  <a:lnTo>
                    <a:pt x="3280" y="4524"/>
                  </a:lnTo>
                  <a:lnTo>
                    <a:pt x="3278" y="4520"/>
                  </a:lnTo>
                  <a:lnTo>
                    <a:pt x="3276" y="4518"/>
                  </a:lnTo>
                  <a:lnTo>
                    <a:pt x="3274" y="4516"/>
                  </a:lnTo>
                  <a:lnTo>
                    <a:pt x="3274" y="4514"/>
                  </a:lnTo>
                  <a:lnTo>
                    <a:pt x="3274" y="4508"/>
                  </a:lnTo>
                  <a:lnTo>
                    <a:pt x="3276" y="4500"/>
                  </a:lnTo>
                  <a:lnTo>
                    <a:pt x="3280" y="4496"/>
                  </a:lnTo>
                  <a:lnTo>
                    <a:pt x="3284" y="4494"/>
                  </a:lnTo>
                  <a:lnTo>
                    <a:pt x="3284" y="4490"/>
                  </a:lnTo>
                  <a:lnTo>
                    <a:pt x="3284" y="4486"/>
                  </a:lnTo>
                  <a:lnTo>
                    <a:pt x="3288" y="4484"/>
                  </a:lnTo>
                  <a:lnTo>
                    <a:pt x="3290" y="4482"/>
                  </a:lnTo>
                  <a:lnTo>
                    <a:pt x="3292" y="4482"/>
                  </a:lnTo>
                  <a:lnTo>
                    <a:pt x="3292" y="4490"/>
                  </a:lnTo>
                  <a:lnTo>
                    <a:pt x="3294" y="4498"/>
                  </a:lnTo>
                  <a:lnTo>
                    <a:pt x="3296" y="4502"/>
                  </a:lnTo>
                  <a:lnTo>
                    <a:pt x="3300" y="4506"/>
                  </a:lnTo>
                  <a:lnTo>
                    <a:pt x="3302" y="4510"/>
                  </a:lnTo>
                  <a:lnTo>
                    <a:pt x="3300" y="4512"/>
                  </a:lnTo>
                  <a:lnTo>
                    <a:pt x="3300" y="4518"/>
                  </a:lnTo>
                  <a:lnTo>
                    <a:pt x="3302" y="4528"/>
                  </a:lnTo>
                  <a:lnTo>
                    <a:pt x="3304" y="4530"/>
                  </a:lnTo>
                  <a:lnTo>
                    <a:pt x="3306" y="4530"/>
                  </a:lnTo>
                  <a:lnTo>
                    <a:pt x="3306" y="4526"/>
                  </a:lnTo>
                  <a:lnTo>
                    <a:pt x="3308" y="4518"/>
                  </a:lnTo>
                  <a:lnTo>
                    <a:pt x="3306" y="4508"/>
                  </a:lnTo>
                  <a:lnTo>
                    <a:pt x="3304" y="4502"/>
                  </a:lnTo>
                  <a:lnTo>
                    <a:pt x="3308" y="4504"/>
                  </a:lnTo>
                  <a:lnTo>
                    <a:pt x="3310" y="4506"/>
                  </a:lnTo>
                  <a:lnTo>
                    <a:pt x="3312" y="4506"/>
                  </a:lnTo>
                  <a:lnTo>
                    <a:pt x="3310" y="4504"/>
                  </a:lnTo>
                  <a:lnTo>
                    <a:pt x="3310" y="4500"/>
                  </a:lnTo>
                  <a:lnTo>
                    <a:pt x="3312" y="4498"/>
                  </a:lnTo>
                  <a:lnTo>
                    <a:pt x="3316" y="4498"/>
                  </a:lnTo>
                  <a:lnTo>
                    <a:pt x="3320" y="4492"/>
                  </a:lnTo>
                  <a:lnTo>
                    <a:pt x="3322" y="4488"/>
                  </a:lnTo>
                  <a:lnTo>
                    <a:pt x="3322" y="4482"/>
                  </a:lnTo>
                  <a:lnTo>
                    <a:pt x="3320" y="4468"/>
                  </a:lnTo>
                  <a:lnTo>
                    <a:pt x="3320" y="4464"/>
                  </a:lnTo>
                  <a:lnTo>
                    <a:pt x="3318" y="4462"/>
                  </a:lnTo>
                  <a:lnTo>
                    <a:pt x="3316" y="4460"/>
                  </a:lnTo>
                  <a:lnTo>
                    <a:pt x="3314" y="4458"/>
                  </a:lnTo>
                  <a:lnTo>
                    <a:pt x="3314" y="4452"/>
                  </a:lnTo>
                  <a:lnTo>
                    <a:pt x="3316" y="4446"/>
                  </a:lnTo>
                  <a:lnTo>
                    <a:pt x="3316" y="4442"/>
                  </a:lnTo>
                  <a:lnTo>
                    <a:pt x="3314" y="4438"/>
                  </a:lnTo>
                  <a:lnTo>
                    <a:pt x="3314" y="4432"/>
                  </a:lnTo>
                  <a:lnTo>
                    <a:pt x="3314" y="4428"/>
                  </a:lnTo>
                  <a:lnTo>
                    <a:pt x="3312" y="4424"/>
                  </a:lnTo>
                  <a:lnTo>
                    <a:pt x="3310" y="4424"/>
                  </a:lnTo>
                  <a:lnTo>
                    <a:pt x="3308" y="4424"/>
                  </a:lnTo>
                  <a:lnTo>
                    <a:pt x="3304" y="4424"/>
                  </a:lnTo>
                  <a:lnTo>
                    <a:pt x="3302" y="4422"/>
                  </a:lnTo>
                  <a:lnTo>
                    <a:pt x="3302" y="4420"/>
                  </a:lnTo>
                  <a:lnTo>
                    <a:pt x="3304" y="4418"/>
                  </a:lnTo>
                  <a:lnTo>
                    <a:pt x="3308" y="4416"/>
                  </a:lnTo>
                  <a:lnTo>
                    <a:pt x="3310" y="4412"/>
                  </a:lnTo>
                  <a:lnTo>
                    <a:pt x="3312" y="4406"/>
                  </a:lnTo>
                  <a:lnTo>
                    <a:pt x="3308" y="4400"/>
                  </a:lnTo>
                  <a:lnTo>
                    <a:pt x="3306" y="4396"/>
                  </a:lnTo>
                  <a:lnTo>
                    <a:pt x="3306" y="4390"/>
                  </a:lnTo>
                  <a:lnTo>
                    <a:pt x="3306" y="4386"/>
                  </a:lnTo>
                  <a:lnTo>
                    <a:pt x="3302" y="4388"/>
                  </a:lnTo>
                  <a:lnTo>
                    <a:pt x="3300" y="4388"/>
                  </a:lnTo>
                  <a:lnTo>
                    <a:pt x="3298" y="4384"/>
                  </a:lnTo>
                  <a:lnTo>
                    <a:pt x="3296" y="4380"/>
                  </a:lnTo>
                  <a:lnTo>
                    <a:pt x="3292" y="4376"/>
                  </a:lnTo>
                  <a:lnTo>
                    <a:pt x="3288" y="4374"/>
                  </a:lnTo>
                  <a:lnTo>
                    <a:pt x="3284" y="4372"/>
                  </a:lnTo>
                  <a:lnTo>
                    <a:pt x="3282" y="4368"/>
                  </a:lnTo>
                  <a:lnTo>
                    <a:pt x="3282" y="4366"/>
                  </a:lnTo>
                  <a:lnTo>
                    <a:pt x="3278" y="4364"/>
                  </a:lnTo>
                  <a:close/>
                  <a:moveTo>
                    <a:pt x="3136" y="4268"/>
                  </a:moveTo>
                  <a:lnTo>
                    <a:pt x="3136" y="4268"/>
                  </a:lnTo>
                  <a:lnTo>
                    <a:pt x="3138" y="4270"/>
                  </a:lnTo>
                  <a:lnTo>
                    <a:pt x="3140" y="4272"/>
                  </a:lnTo>
                  <a:lnTo>
                    <a:pt x="3140" y="4278"/>
                  </a:lnTo>
                  <a:lnTo>
                    <a:pt x="3138" y="4286"/>
                  </a:lnTo>
                  <a:lnTo>
                    <a:pt x="3138" y="4296"/>
                  </a:lnTo>
                  <a:lnTo>
                    <a:pt x="3140" y="4302"/>
                  </a:lnTo>
                  <a:lnTo>
                    <a:pt x="3136" y="4306"/>
                  </a:lnTo>
                  <a:lnTo>
                    <a:pt x="3134" y="4312"/>
                  </a:lnTo>
                  <a:lnTo>
                    <a:pt x="3134" y="4324"/>
                  </a:lnTo>
                  <a:lnTo>
                    <a:pt x="3134" y="4328"/>
                  </a:lnTo>
                  <a:lnTo>
                    <a:pt x="3136" y="4330"/>
                  </a:lnTo>
                  <a:lnTo>
                    <a:pt x="3138" y="4330"/>
                  </a:lnTo>
                  <a:lnTo>
                    <a:pt x="3140" y="4328"/>
                  </a:lnTo>
                  <a:lnTo>
                    <a:pt x="3146" y="4324"/>
                  </a:lnTo>
                  <a:lnTo>
                    <a:pt x="3148" y="4320"/>
                  </a:lnTo>
                  <a:lnTo>
                    <a:pt x="3152" y="4320"/>
                  </a:lnTo>
                  <a:lnTo>
                    <a:pt x="3158" y="4318"/>
                  </a:lnTo>
                  <a:lnTo>
                    <a:pt x="3166" y="4312"/>
                  </a:lnTo>
                  <a:lnTo>
                    <a:pt x="3178" y="4298"/>
                  </a:lnTo>
                  <a:lnTo>
                    <a:pt x="3182" y="4296"/>
                  </a:lnTo>
                  <a:lnTo>
                    <a:pt x="3182" y="4292"/>
                  </a:lnTo>
                  <a:lnTo>
                    <a:pt x="3184" y="4282"/>
                  </a:lnTo>
                  <a:lnTo>
                    <a:pt x="3182" y="4276"/>
                  </a:lnTo>
                  <a:lnTo>
                    <a:pt x="3180" y="4276"/>
                  </a:lnTo>
                  <a:lnTo>
                    <a:pt x="3178" y="4276"/>
                  </a:lnTo>
                  <a:lnTo>
                    <a:pt x="3176" y="4278"/>
                  </a:lnTo>
                  <a:lnTo>
                    <a:pt x="3172" y="4276"/>
                  </a:lnTo>
                  <a:lnTo>
                    <a:pt x="3168" y="4274"/>
                  </a:lnTo>
                  <a:lnTo>
                    <a:pt x="3166" y="4274"/>
                  </a:lnTo>
                  <a:lnTo>
                    <a:pt x="3164" y="4274"/>
                  </a:lnTo>
                  <a:lnTo>
                    <a:pt x="3162" y="4276"/>
                  </a:lnTo>
                  <a:lnTo>
                    <a:pt x="3160" y="4274"/>
                  </a:lnTo>
                  <a:lnTo>
                    <a:pt x="3154" y="4270"/>
                  </a:lnTo>
                  <a:lnTo>
                    <a:pt x="3146" y="4264"/>
                  </a:lnTo>
                  <a:lnTo>
                    <a:pt x="3138" y="4258"/>
                  </a:lnTo>
                  <a:lnTo>
                    <a:pt x="3132" y="4258"/>
                  </a:lnTo>
                  <a:lnTo>
                    <a:pt x="3130" y="4260"/>
                  </a:lnTo>
                  <a:lnTo>
                    <a:pt x="3130" y="4264"/>
                  </a:lnTo>
                  <a:lnTo>
                    <a:pt x="3136" y="4268"/>
                  </a:lnTo>
                  <a:close/>
                  <a:moveTo>
                    <a:pt x="3270" y="4928"/>
                  </a:moveTo>
                  <a:lnTo>
                    <a:pt x="3270" y="4928"/>
                  </a:lnTo>
                  <a:lnTo>
                    <a:pt x="3268" y="4926"/>
                  </a:lnTo>
                  <a:lnTo>
                    <a:pt x="3264" y="4924"/>
                  </a:lnTo>
                  <a:lnTo>
                    <a:pt x="3250" y="4920"/>
                  </a:lnTo>
                  <a:lnTo>
                    <a:pt x="3244" y="4920"/>
                  </a:lnTo>
                  <a:lnTo>
                    <a:pt x="3238" y="4920"/>
                  </a:lnTo>
                  <a:lnTo>
                    <a:pt x="3232" y="4924"/>
                  </a:lnTo>
                  <a:lnTo>
                    <a:pt x="3230" y="4930"/>
                  </a:lnTo>
                  <a:lnTo>
                    <a:pt x="3232" y="4934"/>
                  </a:lnTo>
                  <a:lnTo>
                    <a:pt x="3236" y="4936"/>
                  </a:lnTo>
                  <a:lnTo>
                    <a:pt x="3242" y="4936"/>
                  </a:lnTo>
                  <a:lnTo>
                    <a:pt x="3250" y="4936"/>
                  </a:lnTo>
                  <a:lnTo>
                    <a:pt x="3264" y="4934"/>
                  </a:lnTo>
                  <a:lnTo>
                    <a:pt x="3268" y="4932"/>
                  </a:lnTo>
                  <a:lnTo>
                    <a:pt x="3270" y="4928"/>
                  </a:lnTo>
                  <a:close/>
                  <a:moveTo>
                    <a:pt x="3148" y="4520"/>
                  </a:moveTo>
                  <a:lnTo>
                    <a:pt x="3148" y="4520"/>
                  </a:lnTo>
                  <a:lnTo>
                    <a:pt x="3146" y="4516"/>
                  </a:lnTo>
                  <a:lnTo>
                    <a:pt x="3138" y="4512"/>
                  </a:lnTo>
                  <a:lnTo>
                    <a:pt x="3136" y="4512"/>
                  </a:lnTo>
                  <a:lnTo>
                    <a:pt x="3132" y="4512"/>
                  </a:lnTo>
                  <a:lnTo>
                    <a:pt x="3130" y="4516"/>
                  </a:lnTo>
                  <a:lnTo>
                    <a:pt x="3130" y="4520"/>
                  </a:lnTo>
                  <a:lnTo>
                    <a:pt x="3130" y="4524"/>
                  </a:lnTo>
                  <a:lnTo>
                    <a:pt x="3132" y="4526"/>
                  </a:lnTo>
                  <a:lnTo>
                    <a:pt x="3136" y="4528"/>
                  </a:lnTo>
                  <a:lnTo>
                    <a:pt x="3140" y="4526"/>
                  </a:lnTo>
                  <a:lnTo>
                    <a:pt x="3146" y="4524"/>
                  </a:lnTo>
                  <a:lnTo>
                    <a:pt x="3148" y="4520"/>
                  </a:lnTo>
                  <a:close/>
                  <a:moveTo>
                    <a:pt x="3204" y="4288"/>
                  </a:moveTo>
                  <a:lnTo>
                    <a:pt x="3204" y="4288"/>
                  </a:lnTo>
                  <a:lnTo>
                    <a:pt x="3204" y="4290"/>
                  </a:lnTo>
                  <a:lnTo>
                    <a:pt x="3204" y="4294"/>
                  </a:lnTo>
                  <a:lnTo>
                    <a:pt x="3206" y="4296"/>
                  </a:lnTo>
                  <a:lnTo>
                    <a:pt x="3208" y="4296"/>
                  </a:lnTo>
                  <a:lnTo>
                    <a:pt x="3208" y="4294"/>
                  </a:lnTo>
                  <a:lnTo>
                    <a:pt x="3208" y="4292"/>
                  </a:lnTo>
                  <a:lnTo>
                    <a:pt x="3206" y="4288"/>
                  </a:lnTo>
                  <a:lnTo>
                    <a:pt x="3204" y="4288"/>
                  </a:lnTo>
                  <a:close/>
                  <a:moveTo>
                    <a:pt x="3186" y="4210"/>
                  </a:moveTo>
                  <a:lnTo>
                    <a:pt x="3186" y="4210"/>
                  </a:lnTo>
                  <a:lnTo>
                    <a:pt x="3184" y="4208"/>
                  </a:lnTo>
                  <a:lnTo>
                    <a:pt x="3182" y="4204"/>
                  </a:lnTo>
                  <a:lnTo>
                    <a:pt x="3178" y="4200"/>
                  </a:lnTo>
                  <a:lnTo>
                    <a:pt x="3174" y="4198"/>
                  </a:lnTo>
                  <a:lnTo>
                    <a:pt x="3174" y="4200"/>
                  </a:lnTo>
                  <a:lnTo>
                    <a:pt x="3174" y="4202"/>
                  </a:lnTo>
                  <a:lnTo>
                    <a:pt x="3178" y="4206"/>
                  </a:lnTo>
                  <a:lnTo>
                    <a:pt x="3180" y="4212"/>
                  </a:lnTo>
                  <a:lnTo>
                    <a:pt x="3184" y="4214"/>
                  </a:lnTo>
                  <a:lnTo>
                    <a:pt x="3190" y="4220"/>
                  </a:lnTo>
                  <a:lnTo>
                    <a:pt x="3192" y="4220"/>
                  </a:lnTo>
                  <a:lnTo>
                    <a:pt x="3190" y="4216"/>
                  </a:lnTo>
                  <a:lnTo>
                    <a:pt x="3188" y="4212"/>
                  </a:lnTo>
                  <a:lnTo>
                    <a:pt x="3186" y="4210"/>
                  </a:lnTo>
                  <a:close/>
                  <a:moveTo>
                    <a:pt x="3250" y="5238"/>
                  </a:moveTo>
                  <a:lnTo>
                    <a:pt x="3250" y="5238"/>
                  </a:lnTo>
                  <a:lnTo>
                    <a:pt x="3240" y="5236"/>
                  </a:lnTo>
                  <a:lnTo>
                    <a:pt x="3236" y="5234"/>
                  </a:lnTo>
                  <a:lnTo>
                    <a:pt x="3234" y="5234"/>
                  </a:lnTo>
                  <a:lnTo>
                    <a:pt x="3232" y="5242"/>
                  </a:lnTo>
                  <a:lnTo>
                    <a:pt x="3230" y="5250"/>
                  </a:lnTo>
                  <a:lnTo>
                    <a:pt x="3232" y="5250"/>
                  </a:lnTo>
                  <a:lnTo>
                    <a:pt x="3234" y="5250"/>
                  </a:lnTo>
                  <a:lnTo>
                    <a:pt x="3244" y="5248"/>
                  </a:lnTo>
                  <a:lnTo>
                    <a:pt x="3256" y="5248"/>
                  </a:lnTo>
                  <a:lnTo>
                    <a:pt x="3260" y="5246"/>
                  </a:lnTo>
                  <a:lnTo>
                    <a:pt x="3262" y="5246"/>
                  </a:lnTo>
                  <a:lnTo>
                    <a:pt x="3264" y="5244"/>
                  </a:lnTo>
                  <a:lnTo>
                    <a:pt x="3262" y="5242"/>
                  </a:lnTo>
                  <a:lnTo>
                    <a:pt x="3258" y="5238"/>
                  </a:lnTo>
                  <a:lnTo>
                    <a:pt x="3254" y="5236"/>
                  </a:lnTo>
                  <a:lnTo>
                    <a:pt x="3250" y="5238"/>
                  </a:lnTo>
                  <a:close/>
                  <a:moveTo>
                    <a:pt x="3160" y="4332"/>
                  </a:moveTo>
                  <a:lnTo>
                    <a:pt x="3160" y="4332"/>
                  </a:lnTo>
                  <a:lnTo>
                    <a:pt x="3162" y="4332"/>
                  </a:lnTo>
                  <a:lnTo>
                    <a:pt x="3166" y="4328"/>
                  </a:lnTo>
                  <a:lnTo>
                    <a:pt x="3168" y="4322"/>
                  </a:lnTo>
                  <a:lnTo>
                    <a:pt x="3166" y="4318"/>
                  </a:lnTo>
                  <a:lnTo>
                    <a:pt x="3164" y="4318"/>
                  </a:lnTo>
                  <a:lnTo>
                    <a:pt x="3162" y="4320"/>
                  </a:lnTo>
                  <a:lnTo>
                    <a:pt x="3160" y="4322"/>
                  </a:lnTo>
                  <a:lnTo>
                    <a:pt x="3160" y="4326"/>
                  </a:lnTo>
                  <a:lnTo>
                    <a:pt x="3160" y="4328"/>
                  </a:lnTo>
                  <a:lnTo>
                    <a:pt x="3158" y="4328"/>
                  </a:lnTo>
                  <a:lnTo>
                    <a:pt x="3158" y="4330"/>
                  </a:lnTo>
                  <a:lnTo>
                    <a:pt x="3160" y="4332"/>
                  </a:lnTo>
                  <a:close/>
                  <a:moveTo>
                    <a:pt x="3190" y="5244"/>
                  </a:moveTo>
                  <a:lnTo>
                    <a:pt x="3190" y="5244"/>
                  </a:lnTo>
                  <a:lnTo>
                    <a:pt x="3188" y="5242"/>
                  </a:lnTo>
                  <a:lnTo>
                    <a:pt x="3186" y="5240"/>
                  </a:lnTo>
                  <a:lnTo>
                    <a:pt x="3182" y="5242"/>
                  </a:lnTo>
                  <a:lnTo>
                    <a:pt x="3178" y="5244"/>
                  </a:lnTo>
                  <a:lnTo>
                    <a:pt x="3176" y="5248"/>
                  </a:lnTo>
                  <a:lnTo>
                    <a:pt x="3178" y="5248"/>
                  </a:lnTo>
                  <a:lnTo>
                    <a:pt x="3184" y="5248"/>
                  </a:lnTo>
                  <a:lnTo>
                    <a:pt x="3188" y="5248"/>
                  </a:lnTo>
                  <a:lnTo>
                    <a:pt x="3190" y="5244"/>
                  </a:lnTo>
                  <a:close/>
                  <a:moveTo>
                    <a:pt x="3176" y="5252"/>
                  </a:moveTo>
                  <a:lnTo>
                    <a:pt x="3176" y="5252"/>
                  </a:lnTo>
                  <a:lnTo>
                    <a:pt x="3172" y="5254"/>
                  </a:lnTo>
                  <a:lnTo>
                    <a:pt x="3172" y="5256"/>
                  </a:lnTo>
                  <a:lnTo>
                    <a:pt x="3176" y="5258"/>
                  </a:lnTo>
                  <a:lnTo>
                    <a:pt x="3180" y="5254"/>
                  </a:lnTo>
                  <a:lnTo>
                    <a:pt x="3182" y="5252"/>
                  </a:lnTo>
                  <a:lnTo>
                    <a:pt x="3182" y="5250"/>
                  </a:lnTo>
                  <a:lnTo>
                    <a:pt x="3176" y="5252"/>
                  </a:lnTo>
                  <a:close/>
                  <a:moveTo>
                    <a:pt x="3224" y="5242"/>
                  </a:moveTo>
                  <a:lnTo>
                    <a:pt x="3224" y="5242"/>
                  </a:lnTo>
                  <a:lnTo>
                    <a:pt x="3220" y="5246"/>
                  </a:lnTo>
                  <a:lnTo>
                    <a:pt x="3218" y="5246"/>
                  </a:lnTo>
                  <a:lnTo>
                    <a:pt x="3216" y="5244"/>
                  </a:lnTo>
                  <a:lnTo>
                    <a:pt x="3214" y="5248"/>
                  </a:lnTo>
                  <a:lnTo>
                    <a:pt x="3214" y="5250"/>
                  </a:lnTo>
                  <a:lnTo>
                    <a:pt x="3216" y="5254"/>
                  </a:lnTo>
                  <a:lnTo>
                    <a:pt x="3220" y="5256"/>
                  </a:lnTo>
                  <a:lnTo>
                    <a:pt x="3222" y="5254"/>
                  </a:lnTo>
                  <a:lnTo>
                    <a:pt x="3224" y="5252"/>
                  </a:lnTo>
                  <a:lnTo>
                    <a:pt x="3228" y="5246"/>
                  </a:lnTo>
                  <a:lnTo>
                    <a:pt x="3228" y="5240"/>
                  </a:lnTo>
                  <a:lnTo>
                    <a:pt x="3228" y="5238"/>
                  </a:lnTo>
                  <a:lnTo>
                    <a:pt x="3226" y="5238"/>
                  </a:lnTo>
                  <a:lnTo>
                    <a:pt x="3224" y="5242"/>
                  </a:lnTo>
                  <a:close/>
                  <a:moveTo>
                    <a:pt x="3202" y="5252"/>
                  </a:moveTo>
                  <a:lnTo>
                    <a:pt x="3202" y="5252"/>
                  </a:lnTo>
                  <a:lnTo>
                    <a:pt x="3204" y="5250"/>
                  </a:lnTo>
                  <a:lnTo>
                    <a:pt x="3206" y="5248"/>
                  </a:lnTo>
                  <a:lnTo>
                    <a:pt x="3206" y="5246"/>
                  </a:lnTo>
                  <a:lnTo>
                    <a:pt x="3210" y="5244"/>
                  </a:lnTo>
                  <a:lnTo>
                    <a:pt x="3212" y="5240"/>
                  </a:lnTo>
                  <a:lnTo>
                    <a:pt x="3208" y="5240"/>
                  </a:lnTo>
                  <a:lnTo>
                    <a:pt x="3198" y="5240"/>
                  </a:lnTo>
                  <a:lnTo>
                    <a:pt x="3194" y="5242"/>
                  </a:lnTo>
                  <a:lnTo>
                    <a:pt x="3194" y="5246"/>
                  </a:lnTo>
                  <a:lnTo>
                    <a:pt x="3194" y="5248"/>
                  </a:lnTo>
                  <a:lnTo>
                    <a:pt x="3188" y="5254"/>
                  </a:lnTo>
                  <a:lnTo>
                    <a:pt x="3184" y="5256"/>
                  </a:lnTo>
                  <a:lnTo>
                    <a:pt x="3186" y="5256"/>
                  </a:lnTo>
                  <a:lnTo>
                    <a:pt x="3196" y="5258"/>
                  </a:lnTo>
                  <a:lnTo>
                    <a:pt x="3200" y="5256"/>
                  </a:lnTo>
                  <a:lnTo>
                    <a:pt x="3200" y="5254"/>
                  </a:lnTo>
                  <a:lnTo>
                    <a:pt x="3202" y="5252"/>
                  </a:lnTo>
                  <a:close/>
                  <a:moveTo>
                    <a:pt x="3244" y="4390"/>
                  </a:moveTo>
                  <a:lnTo>
                    <a:pt x="3244" y="4390"/>
                  </a:lnTo>
                  <a:lnTo>
                    <a:pt x="3242" y="4392"/>
                  </a:lnTo>
                  <a:lnTo>
                    <a:pt x="3242" y="4394"/>
                  </a:lnTo>
                  <a:lnTo>
                    <a:pt x="3246" y="4396"/>
                  </a:lnTo>
                  <a:lnTo>
                    <a:pt x="3250" y="4396"/>
                  </a:lnTo>
                  <a:lnTo>
                    <a:pt x="3252" y="4394"/>
                  </a:lnTo>
                  <a:lnTo>
                    <a:pt x="3250" y="4392"/>
                  </a:lnTo>
                  <a:lnTo>
                    <a:pt x="3246" y="4390"/>
                  </a:lnTo>
                  <a:lnTo>
                    <a:pt x="3244" y="4390"/>
                  </a:lnTo>
                  <a:close/>
                  <a:moveTo>
                    <a:pt x="3228" y="4278"/>
                  </a:moveTo>
                  <a:lnTo>
                    <a:pt x="3228" y="4278"/>
                  </a:lnTo>
                  <a:lnTo>
                    <a:pt x="3228" y="4280"/>
                  </a:lnTo>
                  <a:lnTo>
                    <a:pt x="3230" y="4284"/>
                  </a:lnTo>
                  <a:lnTo>
                    <a:pt x="3234" y="4290"/>
                  </a:lnTo>
                  <a:lnTo>
                    <a:pt x="3234" y="4294"/>
                  </a:lnTo>
                  <a:lnTo>
                    <a:pt x="3232" y="4298"/>
                  </a:lnTo>
                  <a:lnTo>
                    <a:pt x="3234" y="4300"/>
                  </a:lnTo>
                  <a:lnTo>
                    <a:pt x="3234" y="4302"/>
                  </a:lnTo>
                  <a:lnTo>
                    <a:pt x="3232" y="4304"/>
                  </a:lnTo>
                  <a:lnTo>
                    <a:pt x="3232" y="4306"/>
                  </a:lnTo>
                  <a:lnTo>
                    <a:pt x="3234" y="4308"/>
                  </a:lnTo>
                  <a:lnTo>
                    <a:pt x="3238" y="4308"/>
                  </a:lnTo>
                  <a:lnTo>
                    <a:pt x="3240" y="4306"/>
                  </a:lnTo>
                  <a:lnTo>
                    <a:pt x="3240" y="4304"/>
                  </a:lnTo>
                  <a:lnTo>
                    <a:pt x="3242" y="4304"/>
                  </a:lnTo>
                  <a:lnTo>
                    <a:pt x="3246" y="4308"/>
                  </a:lnTo>
                  <a:lnTo>
                    <a:pt x="3248" y="4314"/>
                  </a:lnTo>
                  <a:lnTo>
                    <a:pt x="3248" y="4318"/>
                  </a:lnTo>
                  <a:lnTo>
                    <a:pt x="3248" y="4322"/>
                  </a:lnTo>
                  <a:lnTo>
                    <a:pt x="3246" y="4328"/>
                  </a:lnTo>
                  <a:lnTo>
                    <a:pt x="3248" y="4332"/>
                  </a:lnTo>
                  <a:lnTo>
                    <a:pt x="3248" y="4334"/>
                  </a:lnTo>
                  <a:lnTo>
                    <a:pt x="3248" y="4338"/>
                  </a:lnTo>
                  <a:lnTo>
                    <a:pt x="3246" y="4342"/>
                  </a:lnTo>
                  <a:lnTo>
                    <a:pt x="3248" y="4344"/>
                  </a:lnTo>
                  <a:lnTo>
                    <a:pt x="3256" y="4348"/>
                  </a:lnTo>
                  <a:lnTo>
                    <a:pt x="3258" y="4350"/>
                  </a:lnTo>
                  <a:lnTo>
                    <a:pt x="3258" y="4344"/>
                  </a:lnTo>
                  <a:lnTo>
                    <a:pt x="3256" y="4338"/>
                  </a:lnTo>
                  <a:lnTo>
                    <a:pt x="3256" y="4336"/>
                  </a:lnTo>
                  <a:lnTo>
                    <a:pt x="3256" y="4334"/>
                  </a:lnTo>
                  <a:lnTo>
                    <a:pt x="3258" y="4336"/>
                  </a:lnTo>
                  <a:lnTo>
                    <a:pt x="3260" y="4342"/>
                  </a:lnTo>
                  <a:lnTo>
                    <a:pt x="3262" y="4348"/>
                  </a:lnTo>
                  <a:lnTo>
                    <a:pt x="3266" y="4354"/>
                  </a:lnTo>
                  <a:lnTo>
                    <a:pt x="3270" y="4356"/>
                  </a:lnTo>
                  <a:lnTo>
                    <a:pt x="3270" y="4354"/>
                  </a:lnTo>
                  <a:lnTo>
                    <a:pt x="3266" y="4344"/>
                  </a:lnTo>
                  <a:lnTo>
                    <a:pt x="3264" y="4342"/>
                  </a:lnTo>
                  <a:lnTo>
                    <a:pt x="3266" y="4342"/>
                  </a:lnTo>
                  <a:lnTo>
                    <a:pt x="3268" y="4340"/>
                  </a:lnTo>
                  <a:lnTo>
                    <a:pt x="3270" y="4338"/>
                  </a:lnTo>
                  <a:lnTo>
                    <a:pt x="3268" y="4332"/>
                  </a:lnTo>
                  <a:lnTo>
                    <a:pt x="3266" y="4330"/>
                  </a:lnTo>
                  <a:lnTo>
                    <a:pt x="3266" y="4326"/>
                  </a:lnTo>
                  <a:lnTo>
                    <a:pt x="3264" y="4322"/>
                  </a:lnTo>
                  <a:lnTo>
                    <a:pt x="3260" y="4318"/>
                  </a:lnTo>
                  <a:lnTo>
                    <a:pt x="3260" y="4316"/>
                  </a:lnTo>
                  <a:lnTo>
                    <a:pt x="3258" y="4312"/>
                  </a:lnTo>
                  <a:lnTo>
                    <a:pt x="3258" y="4304"/>
                  </a:lnTo>
                  <a:lnTo>
                    <a:pt x="3258" y="4296"/>
                  </a:lnTo>
                  <a:lnTo>
                    <a:pt x="3258" y="4294"/>
                  </a:lnTo>
                  <a:lnTo>
                    <a:pt x="3256" y="4292"/>
                  </a:lnTo>
                  <a:lnTo>
                    <a:pt x="3254" y="4290"/>
                  </a:lnTo>
                  <a:lnTo>
                    <a:pt x="3256" y="4288"/>
                  </a:lnTo>
                  <a:lnTo>
                    <a:pt x="3256" y="4284"/>
                  </a:lnTo>
                  <a:lnTo>
                    <a:pt x="3252" y="4284"/>
                  </a:lnTo>
                  <a:lnTo>
                    <a:pt x="3248" y="4284"/>
                  </a:lnTo>
                  <a:lnTo>
                    <a:pt x="3246" y="4286"/>
                  </a:lnTo>
                  <a:lnTo>
                    <a:pt x="3244" y="4288"/>
                  </a:lnTo>
                  <a:lnTo>
                    <a:pt x="3240" y="4286"/>
                  </a:lnTo>
                  <a:lnTo>
                    <a:pt x="3234" y="4280"/>
                  </a:lnTo>
                  <a:lnTo>
                    <a:pt x="3230" y="4278"/>
                  </a:lnTo>
                  <a:lnTo>
                    <a:pt x="3228" y="4278"/>
                  </a:lnTo>
                  <a:close/>
                  <a:moveTo>
                    <a:pt x="3292" y="3100"/>
                  </a:moveTo>
                  <a:lnTo>
                    <a:pt x="3292" y="3100"/>
                  </a:lnTo>
                  <a:lnTo>
                    <a:pt x="3294" y="3100"/>
                  </a:lnTo>
                  <a:lnTo>
                    <a:pt x="3296" y="3094"/>
                  </a:lnTo>
                  <a:lnTo>
                    <a:pt x="3296" y="3092"/>
                  </a:lnTo>
                  <a:lnTo>
                    <a:pt x="3294" y="3094"/>
                  </a:lnTo>
                  <a:lnTo>
                    <a:pt x="3292" y="3096"/>
                  </a:lnTo>
                  <a:lnTo>
                    <a:pt x="3292" y="3100"/>
                  </a:lnTo>
                  <a:close/>
                  <a:moveTo>
                    <a:pt x="3208" y="4238"/>
                  </a:moveTo>
                  <a:lnTo>
                    <a:pt x="3208" y="4238"/>
                  </a:lnTo>
                  <a:lnTo>
                    <a:pt x="3210" y="4234"/>
                  </a:lnTo>
                  <a:lnTo>
                    <a:pt x="3208" y="4228"/>
                  </a:lnTo>
                  <a:lnTo>
                    <a:pt x="3204" y="4224"/>
                  </a:lnTo>
                  <a:lnTo>
                    <a:pt x="3202" y="4222"/>
                  </a:lnTo>
                  <a:lnTo>
                    <a:pt x="3200" y="4222"/>
                  </a:lnTo>
                  <a:lnTo>
                    <a:pt x="3200" y="4224"/>
                  </a:lnTo>
                  <a:lnTo>
                    <a:pt x="3204" y="4230"/>
                  </a:lnTo>
                  <a:lnTo>
                    <a:pt x="3208" y="4238"/>
                  </a:lnTo>
                  <a:close/>
                  <a:moveTo>
                    <a:pt x="3164" y="4238"/>
                  </a:moveTo>
                  <a:lnTo>
                    <a:pt x="3164" y="4238"/>
                  </a:lnTo>
                  <a:lnTo>
                    <a:pt x="3164" y="4232"/>
                  </a:lnTo>
                  <a:lnTo>
                    <a:pt x="3162" y="4230"/>
                  </a:lnTo>
                  <a:lnTo>
                    <a:pt x="3158" y="4230"/>
                  </a:lnTo>
                  <a:lnTo>
                    <a:pt x="3154" y="4232"/>
                  </a:lnTo>
                  <a:lnTo>
                    <a:pt x="3152" y="4232"/>
                  </a:lnTo>
                  <a:lnTo>
                    <a:pt x="3154" y="4234"/>
                  </a:lnTo>
                  <a:lnTo>
                    <a:pt x="3156" y="4236"/>
                  </a:lnTo>
                  <a:lnTo>
                    <a:pt x="3160" y="4240"/>
                  </a:lnTo>
                  <a:lnTo>
                    <a:pt x="3162" y="4240"/>
                  </a:lnTo>
                  <a:lnTo>
                    <a:pt x="3164" y="4238"/>
                  </a:lnTo>
                  <a:close/>
                  <a:moveTo>
                    <a:pt x="3196" y="4228"/>
                  </a:moveTo>
                  <a:lnTo>
                    <a:pt x="3196" y="4228"/>
                  </a:lnTo>
                  <a:lnTo>
                    <a:pt x="3192" y="4228"/>
                  </a:lnTo>
                  <a:lnTo>
                    <a:pt x="3190" y="4228"/>
                  </a:lnTo>
                  <a:lnTo>
                    <a:pt x="3188" y="4228"/>
                  </a:lnTo>
                  <a:lnTo>
                    <a:pt x="3186" y="4232"/>
                  </a:lnTo>
                  <a:lnTo>
                    <a:pt x="3188" y="4238"/>
                  </a:lnTo>
                  <a:lnTo>
                    <a:pt x="3186" y="4242"/>
                  </a:lnTo>
                  <a:lnTo>
                    <a:pt x="3182" y="4256"/>
                  </a:lnTo>
                  <a:lnTo>
                    <a:pt x="3182" y="4258"/>
                  </a:lnTo>
                  <a:lnTo>
                    <a:pt x="3184" y="4258"/>
                  </a:lnTo>
                  <a:lnTo>
                    <a:pt x="3186" y="4254"/>
                  </a:lnTo>
                  <a:lnTo>
                    <a:pt x="3196" y="4244"/>
                  </a:lnTo>
                  <a:lnTo>
                    <a:pt x="3198" y="4244"/>
                  </a:lnTo>
                  <a:lnTo>
                    <a:pt x="3200" y="4244"/>
                  </a:lnTo>
                  <a:lnTo>
                    <a:pt x="3202" y="4250"/>
                  </a:lnTo>
                  <a:lnTo>
                    <a:pt x="3204" y="4256"/>
                  </a:lnTo>
                  <a:lnTo>
                    <a:pt x="3206" y="4258"/>
                  </a:lnTo>
                  <a:lnTo>
                    <a:pt x="3208" y="4260"/>
                  </a:lnTo>
                  <a:lnTo>
                    <a:pt x="3212" y="4262"/>
                  </a:lnTo>
                  <a:lnTo>
                    <a:pt x="3218" y="4266"/>
                  </a:lnTo>
                  <a:lnTo>
                    <a:pt x="3222" y="4268"/>
                  </a:lnTo>
                  <a:lnTo>
                    <a:pt x="3220" y="4264"/>
                  </a:lnTo>
                  <a:lnTo>
                    <a:pt x="3218" y="4258"/>
                  </a:lnTo>
                  <a:lnTo>
                    <a:pt x="3216" y="4252"/>
                  </a:lnTo>
                  <a:lnTo>
                    <a:pt x="3214" y="4246"/>
                  </a:lnTo>
                  <a:lnTo>
                    <a:pt x="3210" y="4242"/>
                  </a:lnTo>
                  <a:lnTo>
                    <a:pt x="3206" y="4240"/>
                  </a:lnTo>
                  <a:lnTo>
                    <a:pt x="3202" y="4234"/>
                  </a:lnTo>
                  <a:lnTo>
                    <a:pt x="3198" y="4230"/>
                  </a:lnTo>
                  <a:lnTo>
                    <a:pt x="3196" y="4228"/>
                  </a:lnTo>
                  <a:close/>
                  <a:moveTo>
                    <a:pt x="3152" y="5104"/>
                  </a:moveTo>
                  <a:lnTo>
                    <a:pt x="3152" y="5104"/>
                  </a:lnTo>
                  <a:lnTo>
                    <a:pt x="3160" y="5100"/>
                  </a:lnTo>
                  <a:lnTo>
                    <a:pt x="3162" y="5098"/>
                  </a:lnTo>
                  <a:lnTo>
                    <a:pt x="3162" y="5094"/>
                  </a:lnTo>
                  <a:lnTo>
                    <a:pt x="3160" y="5090"/>
                  </a:lnTo>
                  <a:lnTo>
                    <a:pt x="3162" y="5084"/>
                  </a:lnTo>
                  <a:lnTo>
                    <a:pt x="3164" y="5078"/>
                  </a:lnTo>
                  <a:lnTo>
                    <a:pt x="3166" y="5070"/>
                  </a:lnTo>
                  <a:lnTo>
                    <a:pt x="3164" y="5066"/>
                  </a:lnTo>
                  <a:lnTo>
                    <a:pt x="3164" y="5064"/>
                  </a:lnTo>
                  <a:lnTo>
                    <a:pt x="3160" y="5064"/>
                  </a:lnTo>
                  <a:lnTo>
                    <a:pt x="3158" y="5064"/>
                  </a:lnTo>
                  <a:lnTo>
                    <a:pt x="3152" y="5070"/>
                  </a:lnTo>
                  <a:lnTo>
                    <a:pt x="3150" y="5074"/>
                  </a:lnTo>
                  <a:lnTo>
                    <a:pt x="3150" y="5078"/>
                  </a:lnTo>
                  <a:lnTo>
                    <a:pt x="3150" y="5090"/>
                  </a:lnTo>
                  <a:lnTo>
                    <a:pt x="3148" y="5098"/>
                  </a:lnTo>
                  <a:lnTo>
                    <a:pt x="3148" y="5104"/>
                  </a:lnTo>
                  <a:lnTo>
                    <a:pt x="3148" y="5106"/>
                  </a:lnTo>
                  <a:lnTo>
                    <a:pt x="3152" y="5104"/>
                  </a:lnTo>
                  <a:close/>
                  <a:moveTo>
                    <a:pt x="3192" y="4332"/>
                  </a:moveTo>
                  <a:lnTo>
                    <a:pt x="3192" y="4332"/>
                  </a:lnTo>
                  <a:lnTo>
                    <a:pt x="3198" y="4322"/>
                  </a:lnTo>
                  <a:lnTo>
                    <a:pt x="3198" y="4314"/>
                  </a:lnTo>
                  <a:lnTo>
                    <a:pt x="3196" y="4308"/>
                  </a:lnTo>
                  <a:lnTo>
                    <a:pt x="3196" y="4306"/>
                  </a:lnTo>
                  <a:lnTo>
                    <a:pt x="3192" y="4306"/>
                  </a:lnTo>
                  <a:lnTo>
                    <a:pt x="3190" y="4304"/>
                  </a:lnTo>
                  <a:lnTo>
                    <a:pt x="3186" y="4304"/>
                  </a:lnTo>
                  <a:lnTo>
                    <a:pt x="3184" y="4304"/>
                  </a:lnTo>
                  <a:lnTo>
                    <a:pt x="3178" y="4306"/>
                  </a:lnTo>
                  <a:lnTo>
                    <a:pt x="3176" y="4310"/>
                  </a:lnTo>
                  <a:lnTo>
                    <a:pt x="3174" y="4312"/>
                  </a:lnTo>
                  <a:lnTo>
                    <a:pt x="3174" y="4316"/>
                  </a:lnTo>
                  <a:lnTo>
                    <a:pt x="3176" y="4320"/>
                  </a:lnTo>
                  <a:lnTo>
                    <a:pt x="3174" y="4322"/>
                  </a:lnTo>
                  <a:lnTo>
                    <a:pt x="3172" y="4324"/>
                  </a:lnTo>
                  <a:lnTo>
                    <a:pt x="3170" y="4326"/>
                  </a:lnTo>
                  <a:lnTo>
                    <a:pt x="3170" y="4330"/>
                  </a:lnTo>
                  <a:lnTo>
                    <a:pt x="3172" y="4336"/>
                  </a:lnTo>
                  <a:lnTo>
                    <a:pt x="3172" y="4344"/>
                  </a:lnTo>
                  <a:lnTo>
                    <a:pt x="3172" y="4348"/>
                  </a:lnTo>
                  <a:lnTo>
                    <a:pt x="3168" y="4352"/>
                  </a:lnTo>
                  <a:lnTo>
                    <a:pt x="3164" y="4354"/>
                  </a:lnTo>
                  <a:lnTo>
                    <a:pt x="3162" y="4354"/>
                  </a:lnTo>
                  <a:lnTo>
                    <a:pt x="3158" y="4352"/>
                  </a:lnTo>
                  <a:lnTo>
                    <a:pt x="3154" y="4352"/>
                  </a:lnTo>
                  <a:lnTo>
                    <a:pt x="3152" y="4358"/>
                  </a:lnTo>
                  <a:lnTo>
                    <a:pt x="3152" y="4364"/>
                  </a:lnTo>
                  <a:lnTo>
                    <a:pt x="3156" y="4372"/>
                  </a:lnTo>
                  <a:lnTo>
                    <a:pt x="3162" y="4380"/>
                  </a:lnTo>
                  <a:lnTo>
                    <a:pt x="3166" y="4382"/>
                  </a:lnTo>
                  <a:lnTo>
                    <a:pt x="3170" y="4384"/>
                  </a:lnTo>
                  <a:lnTo>
                    <a:pt x="3172" y="4392"/>
                  </a:lnTo>
                  <a:lnTo>
                    <a:pt x="3176" y="4398"/>
                  </a:lnTo>
                  <a:lnTo>
                    <a:pt x="3178" y="4400"/>
                  </a:lnTo>
                  <a:lnTo>
                    <a:pt x="3180" y="4400"/>
                  </a:lnTo>
                  <a:lnTo>
                    <a:pt x="3184" y="4396"/>
                  </a:lnTo>
                  <a:lnTo>
                    <a:pt x="3188" y="4392"/>
                  </a:lnTo>
                  <a:lnTo>
                    <a:pt x="3190" y="4388"/>
                  </a:lnTo>
                  <a:lnTo>
                    <a:pt x="3190" y="4384"/>
                  </a:lnTo>
                  <a:lnTo>
                    <a:pt x="3186" y="4376"/>
                  </a:lnTo>
                  <a:lnTo>
                    <a:pt x="3182" y="4364"/>
                  </a:lnTo>
                  <a:lnTo>
                    <a:pt x="3182" y="4360"/>
                  </a:lnTo>
                  <a:lnTo>
                    <a:pt x="3184" y="4356"/>
                  </a:lnTo>
                  <a:lnTo>
                    <a:pt x="3188" y="4348"/>
                  </a:lnTo>
                  <a:lnTo>
                    <a:pt x="3188" y="4344"/>
                  </a:lnTo>
                  <a:lnTo>
                    <a:pt x="3190" y="4338"/>
                  </a:lnTo>
                  <a:lnTo>
                    <a:pt x="3192" y="4332"/>
                  </a:lnTo>
                  <a:close/>
                  <a:moveTo>
                    <a:pt x="3202" y="4390"/>
                  </a:moveTo>
                  <a:lnTo>
                    <a:pt x="3202" y="4390"/>
                  </a:lnTo>
                  <a:lnTo>
                    <a:pt x="3200" y="4392"/>
                  </a:lnTo>
                  <a:lnTo>
                    <a:pt x="3196" y="4392"/>
                  </a:lnTo>
                  <a:lnTo>
                    <a:pt x="3198" y="4394"/>
                  </a:lnTo>
                  <a:lnTo>
                    <a:pt x="3202" y="4396"/>
                  </a:lnTo>
                  <a:lnTo>
                    <a:pt x="3204" y="4396"/>
                  </a:lnTo>
                  <a:lnTo>
                    <a:pt x="3206" y="4394"/>
                  </a:lnTo>
                  <a:lnTo>
                    <a:pt x="3204" y="4390"/>
                  </a:lnTo>
                  <a:lnTo>
                    <a:pt x="3202" y="4388"/>
                  </a:lnTo>
                  <a:lnTo>
                    <a:pt x="3202" y="4390"/>
                  </a:lnTo>
                  <a:close/>
                  <a:moveTo>
                    <a:pt x="3218" y="4324"/>
                  </a:moveTo>
                  <a:lnTo>
                    <a:pt x="3218" y="4324"/>
                  </a:lnTo>
                  <a:lnTo>
                    <a:pt x="3218" y="4318"/>
                  </a:lnTo>
                  <a:lnTo>
                    <a:pt x="3220" y="4314"/>
                  </a:lnTo>
                  <a:lnTo>
                    <a:pt x="3222" y="4310"/>
                  </a:lnTo>
                  <a:lnTo>
                    <a:pt x="3222" y="4308"/>
                  </a:lnTo>
                  <a:lnTo>
                    <a:pt x="3220" y="4300"/>
                  </a:lnTo>
                  <a:lnTo>
                    <a:pt x="3220" y="4292"/>
                  </a:lnTo>
                  <a:lnTo>
                    <a:pt x="3218" y="4290"/>
                  </a:lnTo>
                  <a:lnTo>
                    <a:pt x="3216" y="4298"/>
                  </a:lnTo>
                  <a:lnTo>
                    <a:pt x="3210" y="4312"/>
                  </a:lnTo>
                  <a:lnTo>
                    <a:pt x="3208" y="4316"/>
                  </a:lnTo>
                  <a:lnTo>
                    <a:pt x="3206" y="4324"/>
                  </a:lnTo>
                  <a:lnTo>
                    <a:pt x="3204" y="4334"/>
                  </a:lnTo>
                  <a:lnTo>
                    <a:pt x="3198" y="4342"/>
                  </a:lnTo>
                  <a:lnTo>
                    <a:pt x="3194" y="4348"/>
                  </a:lnTo>
                  <a:lnTo>
                    <a:pt x="3192" y="4354"/>
                  </a:lnTo>
                  <a:lnTo>
                    <a:pt x="3192" y="4362"/>
                  </a:lnTo>
                  <a:lnTo>
                    <a:pt x="3190" y="4374"/>
                  </a:lnTo>
                  <a:lnTo>
                    <a:pt x="3190" y="4380"/>
                  </a:lnTo>
                  <a:lnTo>
                    <a:pt x="3192" y="4380"/>
                  </a:lnTo>
                  <a:lnTo>
                    <a:pt x="3194" y="4376"/>
                  </a:lnTo>
                  <a:lnTo>
                    <a:pt x="3198" y="4368"/>
                  </a:lnTo>
                  <a:lnTo>
                    <a:pt x="3200" y="4362"/>
                  </a:lnTo>
                  <a:lnTo>
                    <a:pt x="3202" y="4360"/>
                  </a:lnTo>
                  <a:lnTo>
                    <a:pt x="3204" y="4358"/>
                  </a:lnTo>
                  <a:lnTo>
                    <a:pt x="3204" y="4352"/>
                  </a:lnTo>
                  <a:lnTo>
                    <a:pt x="3204" y="4348"/>
                  </a:lnTo>
                  <a:lnTo>
                    <a:pt x="3206" y="4344"/>
                  </a:lnTo>
                  <a:lnTo>
                    <a:pt x="3212" y="4340"/>
                  </a:lnTo>
                  <a:lnTo>
                    <a:pt x="3218" y="4332"/>
                  </a:lnTo>
                  <a:lnTo>
                    <a:pt x="3220" y="4328"/>
                  </a:lnTo>
                  <a:lnTo>
                    <a:pt x="3218" y="4324"/>
                  </a:lnTo>
                  <a:close/>
                  <a:moveTo>
                    <a:pt x="3226" y="4342"/>
                  </a:moveTo>
                  <a:lnTo>
                    <a:pt x="3226" y="4342"/>
                  </a:lnTo>
                  <a:lnTo>
                    <a:pt x="3222" y="4350"/>
                  </a:lnTo>
                  <a:lnTo>
                    <a:pt x="3216" y="4354"/>
                  </a:lnTo>
                  <a:lnTo>
                    <a:pt x="3214" y="4356"/>
                  </a:lnTo>
                  <a:lnTo>
                    <a:pt x="3210" y="4360"/>
                  </a:lnTo>
                  <a:lnTo>
                    <a:pt x="3210" y="4364"/>
                  </a:lnTo>
                  <a:lnTo>
                    <a:pt x="3212" y="4368"/>
                  </a:lnTo>
                  <a:lnTo>
                    <a:pt x="3214" y="4370"/>
                  </a:lnTo>
                  <a:lnTo>
                    <a:pt x="3216" y="4372"/>
                  </a:lnTo>
                  <a:lnTo>
                    <a:pt x="3224" y="4372"/>
                  </a:lnTo>
                  <a:lnTo>
                    <a:pt x="3230" y="4370"/>
                  </a:lnTo>
                  <a:lnTo>
                    <a:pt x="3234" y="4368"/>
                  </a:lnTo>
                  <a:lnTo>
                    <a:pt x="3236" y="4366"/>
                  </a:lnTo>
                  <a:lnTo>
                    <a:pt x="3240" y="4366"/>
                  </a:lnTo>
                  <a:lnTo>
                    <a:pt x="3240" y="4364"/>
                  </a:lnTo>
                  <a:lnTo>
                    <a:pt x="3240" y="4362"/>
                  </a:lnTo>
                  <a:lnTo>
                    <a:pt x="3240" y="4356"/>
                  </a:lnTo>
                  <a:lnTo>
                    <a:pt x="3242" y="4352"/>
                  </a:lnTo>
                  <a:lnTo>
                    <a:pt x="3242" y="4346"/>
                  </a:lnTo>
                  <a:lnTo>
                    <a:pt x="3242" y="4344"/>
                  </a:lnTo>
                  <a:lnTo>
                    <a:pt x="3240" y="4344"/>
                  </a:lnTo>
                  <a:lnTo>
                    <a:pt x="3238" y="4346"/>
                  </a:lnTo>
                  <a:lnTo>
                    <a:pt x="3238" y="4348"/>
                  </a:lnTo>
                  <a:lnTo>
                    <a:pt x="3234" y="4348"/>
                  </a:lnTo>
                  <a:lnTo>
                    <a:pt x="3232" y="4346"/>
                  </a:lnTo>
                  <a:lnTo>
                    <a:pt x="3228" y="4342"/>
                  </a:lnTo>
                  <a:lnTo>
                    <a:pt x="3228" y="4340"/>
                  </a:lnTo>
                  <a:lnTo>
                    <a:pt x="3226" y="4342"/>
                  </a:lnTo>
                  <a:close/>
                  <a:moveTo>
                    <a:pt x="3240" y="4278"/>
                  </a:moveTo>
                  <a:lnTo>
                    <a:pt x="3240" y="4278"/>
                  </a:lnTo>
                  <a:lnTo>
                    <a:pt x="3242" y="4278"/>
                  </a:lnTo>
                  <a:lnTo>
                    <a:pt x="3242" y="4274"/>
                  </a:lnTo>
                  <a:lnTo>
                    <a:pt x="3240" y="4270"/>
                  </a:lnTo>
                  <a:lnTo>
                    <a:pt x="3236" y="4270"/>
                  </a:lnTo>
                  <a:lnTo>
                    <a:pt x="3234" y="4270"/>
                  </a:lnTo>
                  <a:lnTo>
                    <a:pt x="3234" y="4274"/>
                  </a:lnTo>
                  <a:lnTo>
                    <a:pt x="3236" y="4278"/>
                  </a:lnTo>
                  <a:lnTo>
                    <a:pt x="3240" y="4278"/>
                  </a:lnTo>
                  <a:close/>
                  <a:moveTo>
                    <a:pt x="3164" y="5116"/>
                  </a:moveTo>
                  <a:lnTo>
                    <a:pt x="3164" y="5116"/>
                  </a:lnTo>
                  <a:lnTo>
                    <a:pt x="3166" y="5118"/>
                  </a:lnTo>
                  <a:lnTo>
                    <a:pt x="3168" y="5116"/>
                  </a:lnTo>
                  <a:lnTo>
                    <a:pt x="3172" y="5110"/>
                  </a:lnTo>
                  <a:lnTo>
                    <a:pt x="3174" y="5106"/>
                  </a:lnTo>
                  <a:lnTo>
                    <a:pt x="3176" y="5104"/>
                  </a:lnTo>
                  <a:lnTo>
                    <a:pt x="3182" y="5102"/>
                  </a:lnTo>
                  <a:lnTo>
                    <a:pt x="3184" y="5102"/>
                  </a:lnTo>
                  <a:lnTo>
                    <a:pt x="3186" y="5100"/>
                  </a:lnTo>
                  <a:lnTo>
                    <a:pt x="3180" y="5092"/>
                  </a:lnTo>
                  <a:lnTo>
                    <a:pt x="3176" y="5086"/>
                  </a:lnTo>
                  <a:lnTo>
                    <a:pt x="3176" y="5082"/>
                  </a:lnTo>
                  <a:lnTo>
                    <a:pt x="3176" y="5078"/>
                  </a:lnTo>
                  <a:lnTo>
                    <a:pt x="3178" y="5076"/>
                  </a:lnTo>
                  <a:lnTo>
                    <a:pt x="3184" y="5070"/>
                  </a:lnTo>
                  <a:lnTo>
                    <a:pt x="3184" y="5064"/>
                  </a:lnTo>
                  <a:lnTo>
                    <a:pt x="3182" y="5058"/>
                  </a:lnTo>
                  <a:lnTo>
                    <a:pt x="3180" y="5054"/>
                  </a:lnTo>
                  <a:lnTo>
                    <a:pt x="3178" y="5052"/>
                  </a:lnTo>
                  <a:lnTo>
                    <a:pt x="3174" y="5054"/>
                  </a:lnTo>
                  <a:lnTo>
                    <a:pt x="3172" y="5058"/>
                  </a:lnTo>
                  <a:lnTo>
                    <a:pt x="3170" y="5070"/>
                  </a:lnTo>
                  <a:lnTo>
                    <a:pt x="3168" y="5086"/>
                  </a:lnTo>
                  <a:lnTo>
                    <a:pt x="3166" y="5094"/>
                  </a:lnTo>
                  <a:lnTo>
                    <a:pt x="3164" y="5100"/>
                  </a:lnTo>
                  <a:lnTo>
                    <a:pt x="3160" y="5108"/>
                  </a:lnTo>
                  <a:lnTo>
                    <a:pt x="3158" y="5110"/>
                  </a:lnTo>
                  <a:lnTo>
                    <a:pt x="3158" y="5112"/>
                  </a:lnTo>
                  <a:lnTo>
                    <a:pt x="3164" y="5116"/>
                  </a:lnTo>
                  <a:close/>
                  <a:moveTo>
                    <a:pt x="3346" y="4866"/>
                  </a:moveTo>
                  <a:lnTo>
                    <a:pt x="3346" y="4866"/>
                  </a:lnTo>
                  <a:lnTo>
                    <a:pt x="3348" y="4862"/>
                  </a:lnTo>
                  <a:lnTo>
                    <a:pt x="3348" y="4858"/>
                  </a:lnTo>
                  <a:lnTo>
                    <a:pt x="3348" y="4852"/>
                  </a:lnTo>
                  <a:lnTo>
                    <a:pt x="3346" y="4852"/>
                  </a:lnTo>
                  <a:lnTo>
                    <a:pt x="3344" y="4852"/>
                  </a:lnTo>
                  <a:lnTo>
                    <a:pt x="3342" y="4856"/>
                  </a:lnTo>
                  <a:lnTo>
                    <a:pt x="3342" y="4860"/>
                  </a:lnTo>
                  <a:lnTo>
                    <a:pt x="3342" y="4864"/>
                  </a:lnTo>
                  <a:lnTo>
                    <a:pt x="3344" y="4866"/>
                  </a:lnTo>
                  <a:lnTo>
                    <a:pt x="3346" y="4866"/>
                  </a:lnTo>
                  <a:close/>
                  <a:moveTo>
                    <a:pt x="3342" y="4998"/>
                  </a:moveTo>
                  <a:lnTo>
                    <a:pt x="3342" y="4998"/>
                  </a:lnTo>
                  <a:lnTo>
                    <a:pt x="3336" y="4992"/>
                  </a:lnTo>
                  <a:lnTo>
                    <a:pt x="3330" y="4990"/>
                  </a:lnTo>
                  <a:lnTo>
                    <a:pt x="3324" y="4986"/>
                  </a:lnTo>
                  <a:lnTo>
                    <a:pt x="3316" y="4986"/>
                  </a:lnTo>
                  <a:lnTo>
                    <a:pt x="3310" y="4986"/>
                  </a:lnTo>
                  <a:lnTo>
                    <a:pt x="3304" y="4988"/>
                  </a:lnTo>
                  <a:lnTo>
                    <a:pt x="3300" y="4992"/>
                  </a:lnTo>
                  <a:lnTo>
                    <a:pt x="3298" y="4996"/>
                  </a:lnTo>
                  <a:lnTo>
                    <a:pt x="3298" y="5002"/>
                  </a:lnTo>
                  <a:lnTo>
                    <a:pt x="3304" y="5010"/>
                  </a:lnTo>
                  <a:lnTo>
                    <a:pt x="3312" y="5016"/>
                  </a:lnTo>
                  <a:lnTo>
                    <a:pt x="3320" y="5024"/>
                  </a:lnTo>
                  <a:lnTo>
                    <a:pt x="3326" y="5026"/>
                  </a:lnTo>
                  <a:lnTo>
                    <a:pt x="3332" y="5026"/>
                  </a:lnTo>
                  <a:lnTo>
                    <a:pt x="3336" y="5024"/>
                  </a:lnTo>
                  <a:lnTo>
                    <a:pt x="3342" y="5020"/>
                  </a:lnTo>
                  <a:lnTo>
                    <a:pt x="3344" y="5016"/>
                  </a:lnTo>
                  <a:lnTo>
                    <a:pt x="3346" y="5010"/>
                  </a:lnTo>
                  <a:lnTo>
                    <a:pt x="3344" y="5004"/>
                  </a:lnTo>
                  <a:lnTo>
                    <a:pt x="3342" y="4998"/>
                  </a:lnTo>
                  <a:close/>
                  <a:moveTo>
                    <a:pt x="3330" y="5214"/>
                  </a:moveTo>
                  <a:lnTo>
                    <a:pt x="3330" y="5214"/>
                  </a:lnTo>
                  <a:lnTo>
                    <a:pt x="3328" y="5212"/>
                  </a:lnTo>
                  <a:lnTo>
                    <a:pt x="3326" y="5210"/>
                  </a:lnTo>
                  <a:lnTo>
                    <a:pt x="3314" y="5210"/>
                  </a:lnTo>
                  <a:lnTo>
                    <a:pt x="3302" y="5214"/>
                  </a:lnTo>
                  <a:lnTo>
                    <a:pt x="3296" y="5216"/>
                  </a:lnTo>
                  <a:lnTo>
                    <a:pt x="3290" y="5220"/>
                  </a:lnTo>
                  <a:lnTo>
                    <a:pt x="3290" y="5224"/>
                  </a:lnTo>
                  <a:lnTo>
                    <a:pt x="3292" y="5224"/>
                  </a:lnTo>
                  <a:lnTo>
                    <a:pt x="3306" y="5224"/>
                  </a:lnTo>
                  <a:lnTo>
                    <a:pt x="3322" y="5220"/>
                  </a:lnTo>
                  <a:lnTo>
                    <a:pt x="3328" y="5216"/>
                  </a:lnTo>
                  <a:lnTo>
                    <a:pt x="3330" y="5214"/>
                  </a:lnTo>
                  <a:close/>
                  <a:moveTo>
                    <a:pt x="3294" y="4936"/>
                  </a:moveTo>
                  <a:lnTo>
                    <a:pt x="3294" y="4936"/>
                  </a:lnTo>
                  <a:lnTo>
                    <a:pt x="3292" y="4938"/>
                  </a:lnTo>
                  <a:lnTo>
                    <a:pt x="3292" y="4942"/>
                  </a:lnTo>
                  <a:lnTo>
                    <a:pt x="3296" y="4956"/>
                  </a:lnTo>
                  <a:lnTo>
                    <a:pt x="3298" y="4960"/>
                  </a:lnTo>
                  <a:lnTo>
                    <a:pt x="3300" y="4960"/>
                  </a:lnTo>
                  <a:lnTo>
                    <a:pt x="3300" y="4956"/>
                  </a:lnTo>
                  <a:lnTo>
                    <a:pt x="3298" y="4950"/>
                  </a:lnTo>
                  <a:lnTo>
                    <a:pt x="3298" y="4944"/>
                  </a:lnTo>
                  <a:lnTo>
                    <a:pt x="3296" y="4938"/>
                  </a:lnTo>
                  <a:lnTo>
                    <a:pt x="3296" y="4936"/>
                  </a:lnTo>
                  <a:lnTo>
                    <a:pt x="3294" y="4936"/>
                  </a:lnTo>
                  <a:close/>
                  <a:moveTo>
                    <a:pt x="3344" y="5246"/>
                  </a:moveTo>
                  <a:lnTo>
                    <a:pt x="3344" y="5246"/>
                  </a:lnTo>
                  <a:lnTo>
                    <a:pt x="3340" y="5244"/>
                  </a:lnTo>
                  <a:lnTo>
                    <a:pt x="3336" y="5244"/>
                  </a:lnTo>
                  <a:lnTo>
                    <a:pt x="3330" y="5248"/>
                  </a:lnTo>
                  <a:lnTo>
                    <a:pt x="3322" y="5250"/>
                  </a:lnTo>
                  <a:lnTo>
                    <a:pt x="3316" y="5250"/>
                  </a:lnTo>
                  <a:lnTo>
                    <a:pt x="3312" y="5250"/>
                  </a:lnTo>
                  <a:lnTo>
                    <a:pt x="3306" y="5252"/>
                  </a:lnTo>
                  <a:lnTo>
                    <a:pt x="3300" y="5254"/>
                  </a:lnTo>
                  <a:lnTo>
                    <a:pt x="3296" y="5254"/>
                  </a:lnTo>
                  <a:lnTo>
                    <a:pt x="3292" y="5254"/>
                  </a:lnTo>
                  <a:lnTo>
                    <a:pt x="3286" y="5254"/>
                  </a:lnTo>
                  <a:lnTo>
                    <a:pt x="3268" y="5258"/>
                  </a:lnTo>
                  <a:lnTo>
                    <a:pt x="3260" y="5262"/>
                  </a:lnTo>
                  <a:lnTo>
                    <a:pt x="3258" y="5266"/>
                  </a:lnTo>
                  <a:lnTo>
                    <a:pt x="3256" y="5272"/>
                  </a:lnTo>
                  <a:lnTo>
                    <a:pt x="3248" y="5278"/>
                  </a:lnTo>
                  <a:lnTo>
                    <a:pt x="3240" y="5284"/>
                  </a:lnTo>
                  <a:lnTo>
                    <a:pt x="3234" y="5286"/>
                  </a:lnTo>
                  <a:lnTo>
                    <a:pt x="3226" y="5290"/>
                  </a:lnTo>
                  <a:lnTo>
                    <a:pt x="3216" y="5296"/>
                  </a:lnTo>
                  <a:lnTo>
                    <a:pt x="3206" y="5304"/>
                  </a:lnTo>
                  <a:lnTo>
                    <a:pt x="3202" y="5310"/>
                  </a:lnTo>
                  <a:lnTo>
                    <a:pt x="3200" y="5322"/>
                  </a:lnTo>
                  <a:lnTo>
                    <a:pt x="3198" y="5326"/>
                  </a:lnTo>
                  <a:lnTo>
                    <a:pt x="3200" y="5328"/>
                  </a:lnTo>
                  <a:lnTo>
                    <a:pt x="3202" y="5330"/>
                  </a:lnTo>
                  <a:lnTo>
                    <a:pt x="3204" y="5330"/>
                  </a:lnTo>
                  <a:lnTo>
                    <a:pt x="3202" y="5332"/>
                  </a:lnTo>
                  <a:lnTo>
                    <a:pt x="3198" y="5336"/>
                  </a:lnTo>
                  <a:lnTo>
                    <a:pt x="3194" y="5340"/>
                  </a:lnTo>
                  <a:lnTo>
                    <a:pt x="3194" y="5342"/>
                  </a:lnTo>
                  <a:lnTo>
                    <a:pt x="3194" y="5344"/>
                  </a:lnTo>
                  <a:lnTo>
                    <a:pt x="3202" y="5346"/>
                  </a:lnTo>
                  <a:lnTo>
                    <a:pt x="3206" y="5346"/>
                  </a:lnTo>
                  <a:lnTo>
                    <a:pt x="3210" y="5344"/>
                  </a:lnTo>
                  <a:lnTo>
                    <a:pt x="3216" y="5340"/>
                  </a:lnTo>
                  <a:lnTo>
                    <a:pt x="3220" y="5336"/>
                  </a:lnTo>
                  <a:lnTo>
                    <a:pt x="3222" y="5336"/>
                  </a:lnTo>
                  <a:lnTo>
                    <a:pt x="3226" y="5336"/>
                  </a:lnTo>
                  <a:lnTo>
                    <a:pt x="3230" y="5336"/>
                  </a:lnTo>
                  <a:lnTo>
                    <a:pt x="3234" y="5334"/>
                  </a:lnTo>
                  <a:lnTo>
                    <a:pt x="3244" y="5320"/>
                  </a:lnTo>
                  <a:lnTo>
                    <a:pt x="3252" y="5312"/>
                  </a:lnTo>
                  <a:lnTo>
                    <a:pt x="3256" y="5306"/>
                  </a:lnTo>
                  <a:lnTo>
                    <a:pt x="3260" y="5300"/>
                  </a:lnTo>
                  <a:lnTo>
                    <a:pt x="3268" y="5294"/>
                  </a:lnTo>
                  <a:lnTo>
                    <a:pt x="3280" y="5288"/>
                  </a:lnTo>
                  <a:lnTo>
                    <a:pt x="3288" y="5286"/>
                  </a:lnTo>
                  <a:lnTo>
                    <a:pt x="3294" y="5284"/>
                  </a:lnTo>
                  <a:lnTo>
                    <a:pt x="3300" y="5280"/>
                  </a:lnTo>
                  <a:lnTo>
                    <a:pt x="3304" y="5278"/>
                  </a:lnTo>
                  <a:lnTo>
                    <a:pt x="3308" y="5278"/>
                  </a:lnTo>
                  <a:lnTo>
                    <a:pt x="3314" y="5276"/>
                  </a:lnTo>
                  <a:lnTo>
                    <a:pt x="3318" y="5272"/>
                  </a:lnTo>
                  <a:lnTo>
                    <a:pt x="3324" y="5266"/>
                  </a:lnTo>
                  <a:lnTo>
                    <a:pt x="3328" y="5266"/>
                  </a:lnTo>
                  <a:lnTo>
                    <a:pt x="3334" y="5264"/>
                  </a:lnTo>
                  <a:lnTo>
                    <a:pt x="3340" y="5260"/>
                  </a:lnTo>
                  <a:lnTo>
                    <a:pt x="3348" y="5252"/>
                  </a:lnTo>
                  <a:lnTo>
                    <a:pt x="3348" y="5248"/>
                  </a:lnTo>
                  <a:lnTo>
                    <a:pt x="3344" y="5246"/>
                  </a:lnTo>
                  <a:close/>
                  <a:moveTo>
                    <a:pt x="3328" y="4618"/>
                  </a:moveTo>
                  <a:lnTo>
                    <a:pt x="3328" y="4618"/>
                  </a:lnTo>
                  <a:lnTo>
                    <a:pt x="3326" y="4622"/>
                  </a:lnTo>
                  <a:lnTo>
                    <a:pt x="3326" y="4628"/>
                  </a:lnTo>
                  <a:lnTo>
                    <a:pt x="3326" y="4630"/>
                  </a:lnTo>
                  <a:lnTo>
                    <a:pt x="3328" y="4632"/>
                  </a:lnTo>
                  <a:lnTo>
                    <a:pt x="3328" y="4634"/>
                  </a:lnTo>
                  <a:lnTo>
                    <a:pt x="3326" y="4638"/>
                  </a:lnTo>
                  <a:lnTo>
                    <a:pt x="3324" y="4642"/>
                  </a:lnTo>
                  <a:lnTo>
                    <a:pt x="3326" y="4644"/>
                  </a:lnTo>
                  <a:lnTo>
                    <a:pt x="3330" y="4642"/>
                  </a:lnTo>
                  <a:lnTo>
                    <a:pt x="3330" y="4640"/>
                  </a:lnTo>
                  <a:lnTo>
                    <a:pt x="3332" y="4636"/>
                  </a:lnTo>
                  <a:lnTo>
                    <a:pt x="3332" y="4632"/>
                  </a:lnTo>
                  <a:lnTo>
                    <a:pt x="3334" y="4630"/>
                  </a:lnTo>
                  <a:lnTo>
                    <a:pt x="3334" y="4628"/>
                  </a:lnTo>
                  <a:lnTo>
                    <a:pt x="3332" y="4624"/>
                  </a:lnTo>
                  <a:lnTo>
                    <a:pt x="3332" y="4620"/>
                  </a:lnTo>
                  <a:lnTo>
                    <a:pt x="3332" y="4618"/>
                  </a:lnTo>
                  <a:lnTo>
                    <a:pt x="3328" y="4618"/>
                  </a:lnTo>
                  <a:close/>
                  <a:moveTo>
                    <a:pt x="3302" y="3114"/>
                  </a:moveTo>
                  <a:lnTo>
                    <a:pt x="3302" y="3114"/>
                  </a:lnTo>
                  <a:lnTo>
                    <a:pt x="3304" y="3116"/>
                  </a:lnTo>
                  <a:lnTo>
                    <a:pt x="3308" y="3114"/>
                  </a:lnTo>
                  <a:lnTo>
                    <a:pt x="3310" y="3112"/>
                  </a:lnTo>
                  <a:lnTo>
                    <a:pt x="3310" y="3108"/>
                  </a:lnTo>
                  <a:lnTo>
                    <a:pt x="3306" y="3108"/>
                  </a:lnTo>
                  <a:lnTo>
                    <a:pt x="3302" y="3110"/>
                  </a:lnTo>
                  <a:lnTo>
                    <a:pt x="3300" y="3112"/>
                  </a:lnTo>
                  <a:lnTo>
                    <a:pt x="3302" y="3114"/>
                  </a:lnTo>
                  <a:close/>
                  <a:moveTo>
                    <a:pt x="3298" y="3086"/>
                  </a:moveTo>
                  <a:lnTo>
                    <a:pt x="3298" y="3086"/>
                  </a:lnTo>
                  <a:lnTo>
                    <a:pt x="3296" y="3088"/>
                  </a:lnTo>
                  <a:lnTo>
                    <a:pt x="3298" y="3090"/>
                  </a:lnTo>
                  <a:lnTo>
                    <a:pt x="3302" y="3096"/>
                  </a:lnTo>
                  <a:lnTo>
                    <a:pt x="3302" y="3098"/>
                  </a:lnTo>
                  <a:lnTo>
                    <a:pt x="3304" y="3094"/>
                  </a:lnTo>
                  <a:lnTo>
                    <a:pt x="3302" y="3088"/>
                  </a:lnTo>
                  <a:lnTo>
                    <a:pt x="3300" y="3086"/>
                  </a:lnTo>
                  <a:lnTo>
                    <a:pt x="3298" y="3086"/>
                  </a:lnTo>
                  <a:close/>
                  <a:moveTo>
                    <a:pt x="3298" y="4354"/>
                  </a:moveTo>
                  <a:lnTo>
                    <a:pt x="3298" y="4354"/>
                  </a:lnTo>
                  <a:lnTo>
                    <a:pt x="3296" y="4358"/>
                  </a:lnTo>
                  <a:lnTo>
                    <a:pt x="3296" y="4362"/>
                  </a:lnTo>
                  <a:lnTo>
                    <a:pt x="3298" y="4362"/>
                  </a:lnTo>
                  <a:lnTo>
                    <a:pt x="3300" y="4364"/>
                  </a:lnTo>
                  <a:lnTo>
                    <a:pt x="3304" y="4362"/>
                  </a:lnTo>
                  <a:lnTo>
                    <a:pt x="3304" y="4360"/>
                  </a:lnTo>
                  <a:lnTo>
                    <a:pt x="3302" y="4356"/>
                  </a:lnTo>
                  <a:lnTo>
                    <a:pt x="3300" y="4348"/>
                  </a:lnTo>
                  <a:lnTo>
                    <a:pt x="3298" y="4354"/>
                  </a:lnTo>
                  <a:close/>
                  <a:moveTo>
                    <a:pt x="3274" y="4930"/>
                  </a:moveTo>
                  <a:lnTo>
                    <a:pt x="3274" y="4930"/>
                  </a:lnTo>
                  <a:lnTo>
                    <a:pt x="3274" y="4932"/>
                  </a:lnTo>
                  <a:lnTo>
                    <a:pt x="3278" y="4934"/>
                  </a:lnTo>
                  <a:lnTo>
                    <a:pt x="3288" y="4934"/>
                  </a:lnTo>
                  <a:lnTo>
                    <a:pt x="3310" y="4928"/>
                  </a:lnTo>
                  <a:lnTo>
                    <a:pt x="3312" y="4926"/>
                  </a:lnTo>
                  <a:lnTo>
                    <a:pt x="3310" y="4926"/>
                  </a:lnTo>
                  <a:lnTo>
                    <a:pt x="3296" y="4924"/>
                  </a:lnTo>
                  <a:lnTo>
                    <a:pt x="3282" y="4924"/>
                  </a:lnTo>
                  <a:lnTo>
                    <a:pt x="3276" y="4926"/>
                  </a:lnTo>
                  <a:lnTo>
                    <a:pt x="3274" y="4930"/>
                  </a:lnTo>
                  <a:close/>
                  <a:moveTo>
                    <a:pt x="3132" y="5104"/>
                  </a:moveTo>
                  <a:lnTo>
                    <a:pt x="3132" y="5104"/>
                  </a:lnTo>
                  <a:lnTo>
                    <a:pt x="3136" y="5106"/>
                  </a:lnTo>
                  <a:lnTo>
                    <a:pt x="3138" y="5104"/>
                  </a:lnTo>
                  <a:lnTo>
                    <a:pt x="3136" y="5096"/>
                  </a:lnTo>
                  <a:lnTo>
                    <a:pt x="3134" y="5090"/>
                  </a:lnTo>
                  <a:lnTo>
                    <a:pt x="3132" y="5086"/>
                  </a:lnTo>
                  <a:lnTo>
                    <a:pt x="3130" y="5088"/>
                  </a:lnTo>
                  <a:lnTo>
                    <a:pt x="3130" y="5096"/>
                  </a:lnTo>
                  <a:lnTo>
                    <a:pt x="3132" y="5104"/>
                  </a:lnTo>
                  <a:close/>
                  <a:moveTo>
                    <a:pt x="3196" y="4912"/>
                  </a:moveTo>
                  <a:lnTo>
                    <a:pt x="3196" y="4912"/>
                  </a:lnTo>
                  <a:lnTo>
                    <a:pt x="3198" y="4908"/>
                  </a:lnTo>
                  <a:lnTo>
                    <a:pt x="3198" y="4904"/>
                  </a:lnTo>
                  <a:lnTo>
                    <a:pt x="3196" y="4900"/>
                  </a:lnTo>
                  <a:lnTo>
                    <a:pt x="3192" y="4900"/>
                  </a:lnTo>
                  <a:lnTo>
                    <a:pt x="3190" y="4902"/>
                  </a:lnTo>
                  <a:lnTo>
                    <a:pt x="3188" y="4904"/>
                  </a:lnTo>
                  <a:lnTo>
                    <a:pt x="3188" y="4908"/>
                  </a:lnTo>
                  <a:lnTo>
                    <a:pt x="3192" y="4912"/>
                  </a:lnTo>
                  <a:lnTo>
                    <a:pt x="3194" y="4912"/>
                  </a:lnTo>
                  <a:lnTo>
                    <a:pt x="3196" y="4912"/>
                  </a:lnTo>
                  <a:close/>
                  <a:moveTo>
                    <a:pt x="3180" y="4896"/>
                  </a:moveTo>
                  <a:lnTo>
                    <a:pt x="3180" y="4896"/>
                  </a:lnTo>
                  <a:lnTo>
                    <a:pt x="3176" y="4896"/>
                  </a:lnTo>
                  <a:lnTo>
                    <a:pt x="3172" y="4900"/>
                  </a:lnTo>
                  <a:lnTo>
                    <a:pt x="3170" y="4906"/>
                  </a:lnTo>
                  <a:lnTo>
                    <a:pt x="3172" y="4916"/>
                  </a:lnTo>
                  <a:lnTo>
                    <a:pt x="3174" y="4916"/>
                  </a:lnTo>
                  <a:lnTo>
                    <a:pt x="3180" y="4908"/>
                  </a:lnTo>
                  <a:lnTo>
                    <a:pt x="3184" y="4900"/>
                  </a:lnTo>
                  <a:lnTo>
                    <a:pt x="3182" y="4898"/>
                  </a:lnTo>
                  <a:lnTo>
                    <a:pt x="3180" y="4896"/>
                  </a:lnTo>
                  <a:close/>
                  <a:moveTo>
                    <a:pt x="3184" y="5356"/>
                  </a:moveTo>
                  <a:lnTo>
                    <a:pt x="3184" y="5356"/>
                  </a:lnTo>
                  <a:lnTo>
                    <a:pt x="3180" y="5360"/>
                  </a:lnTo>
                  <a:lnTo>
                    <a:pt x="3174" y="5364"/>
                  </a:lnTo>
                  <a:lnTo>
                    <a:pt x="3170" y="5366"/>
                  </a:lnTo>
                  <a:lnTo>
                    <a:pt x="3168" y="5370"/>
                  </a:lnTo>
                  <a:lnTo>
                    <a:pt x="3168" y="5372"/>
                  </a:lnTo>
                  <a:lnTo>
                    <a:pt x="3170" y="5372"/>
                  </a:lnTo>
                  <a:lnTo>
                    <a:pt x="3178" y="5370"/>
                  </a:lnTo>
                  <a:lnTo>
                    <a:pt x="3190" y="5362"/>
                  </a:lnTo>
                  <a:lnTo>
                    <a:pt x="3194" y="5358"/>
                  </a:lnTo>
                  <a:lnTo>
                    <a:pt x="3192" y="5352"/>
                  </a:lnTo>
                  <a:lnTo>
                    <a:pt x="3192" y="5350"/>
                  </a:lnTo>
                  <a:lnTo>
                    <a:pt x="3190" y="5350"/>
                  </a:lnTo>
                  <a:lnTo>
                    <a:pt x="3188" y="5352"/>
                  </a:lnTo>
                  <a:lnTo>
                    <a:pt x="3184" y="5356"/>
                  </a:lnTo>
                  <a:close/>
                  <a:moveTo>
                    <a:pt x="3074" y="5152"/>
                  </a:moveTo>
                  <a:lnTo>
                    <a:pt x="3074" y="5152"/>
                  </a:lnTo>
                  <a:lnTo>
                    <a:pt x="3076" y="5154"/>
                  </a:lnTo>
                  <a:lnTo>
                    <a:pt x="3078" y="5144"/>
                  </a:lnTo>
                  <a:lnTo>
                    <a:pt x="3076" y="5132"/>
                  </a:lnTo>
                  <a:lnTo>
                    <a:pt x="3076" y="5122"/>
                  </a:lnTo>
                  <a:lnTo>
                    <a:pt x="3074" y="5122"/>
                  </a:lnTo>
                  <a:lnTo>
                    <a:pt x="3074" y="5124"/>
                  </a:lnTo>
                  <a:lnTo>
                    <a:pt x="3072" y="5130"/>
                  </a:lnTo>
                  <a:lnTo>
                    <a:pt x="3072" y="5142"/>
                  </a:lnTo>
                  <a:lnTo>
                    <a:pt x="3074" y="5152"/>
                  </a:lnTo>
                  <a:close/>
                  <a:moveTo>
                    <a:pt x="3070" y="5308"/>
                  </a:moveTo>
                  <a:lnTo>
                    <a:pt x="3070" y="5308"/>
                  </a:lnTo>
                  <a:lnTo>
                    <a:pt x="3066" y="5308"/>
                  </a:lnTo>
                  <a:lnTo>
                    <a:pt x="3066" y="5306"/>
                  </a:lnTo>
                  <a:lnTo>
                    <a:pt x="3064" y="5304"/>
                  </a:lnTo>
                  <a:lnTo>
                    <a:pt x="3060" y="5298"/>
                  </a:lnTo>
                  <a:lnTo>
                    <a:pt x="3054" y="5294"/>
                  </a:lnTo>
                  <a:lnTo>
                    <a:pt x="3048" y="5294"/>
                  </a:lnTo>
                  <a:lnTo>
                    <a:pt x="3046" y="5296"/>
                  </a:lnTo>
                  <a:lnTo>
                    <a:pt x="3042" y="5296"/>
                  </a:lnTo>
                  <a:lnTo>
                    <a:pt x="3036" y="5294"/>
                  </a:lnTo>
                  <a:lnTo>
                    <a:pt x="3026" y="5294"/>
                  </a:lnTo>
                  <a:lnTo>
                    <a:pt x="3020" y="5296"/>
                  </a:lnTo>
                  <a:lnTo>
                    <a:pt x="3016" y="5298"/>
                  </a:lnTo>
                  <a:lnTo>
                    <a:pt x="3014" y="5302"/>
                  </a:lnTo>
                  <a:lnTo>
                    <a:pt x="3012" y="5306"/>
                  </a:lnTo>
                  <a:lnTo>
                    <a:pt x="3014" y="5310"/>
                  </a:lnTo>
                  <a:lnTo>
                    <a:pt x="3016" y="5312"/>
                  </a:lnTo>
                  <a:lnTo>
                    <a:pt x="3026" y="5316"/>
                  </a:lnTo>
                  <a:lnTo>
                    <a:pt x="3036" y="5318"/>
                  </a:lnTo>
                  <a:lnTo>
                    <a:pt x="3046" y="5322"/>
                  </a:lnTo>
                  <a:lnTo>
                    <a:pt x="3054" y="5328"/>
                  </a:lnTo>
                  <a:lnTo>
                    <a:pt x="3058" y="5334"/>
                  </a:lnTo>
                  <a:lnTo>
                    <a:pt x="3060" y="5338"/>
                  </a:lnTo>
                  <a:lnTo>
                    <a:pt x="3064" y="5340"/>
                  </a:lnTo>
                  <a:lnTo>
                    <a:pt x="3068" y="5340"/>
                  </a:lnTo>
                  <a:lnTo>
                    <a:pt x="3070" y="5342"/>
                  </a:lnTo>
                  <a:lnTo>
                    <a:pt x="3074" y="5342"/>
                  </a:lnTo>
                  <a:lnTo>
                    <a:pt x="3076" y="5340"/>
                  </a:lnTo>
                  <a:lnTo>
                    <a:pt x="3078" y="5338"/>
                  </a:lnTo>
                  <a:lnTo>
                    <a:pt x="3080" y="5338"/>
                  </a:lnTo>
                  <a:lnTo>
                    <a:pt x="3082" y="5336"/>
                  </a:lnTo>
                  <a:lnTo>
                    <a:pt x="3086" y="5332"/>
                  </a:lnTo>
                  <a:lnTo>
                    <a:pt x="3086" y="5330"/>
                  </a:lnTo>
                  <a:lnTo>
                    <a:pt x="3086" y="5326"/>
                  </a:lnTo>
                  <a:lnTo>
                    <a:pt x="3082" y="5320"/>
                  </a:lnTo>
                  <a:lnTo>
                    <a:pt x="3076" y="5312"/>
                  </a:lnTo>
                  <a:lnTo>
                    <a:pt x="3070" y="5308"/>
                  </a:lnTo>
                  <a:close/>
                  <a:moveTo>
                    <a:pt x="3176" y="5238"/>
                  </a:moveTo>
                  <a:lnTo>
                    <a:pt x="3176" y="5238"/>
                  </a:lnTo>
                  <a:lnTo>
                    <a:pt x="3174" y="5234"/>
                  </a:lnTo>
                  <a:lnTo>
                    <a:pt x="3172" y="5234"/>
                  </a:lnTo>
                  <a:lnTo>
                    <a:pt x="3168" y="5234"/>
                  </a:lnTo>
                  <a:lnTo>
                    <a:pt x="3166" y="5238"/>
                  </a:lnTo>
                  <a:lnTo>
                    <a:pt x="3166" y="5240"/>
                  </a:lnTo>
                  <a:lnTo>
                    <a:pt x="3168" y="5240"/>
                  </a:lnTo>
                  <a:lnTo>
                    <a:pt x="3170" y="5242"/>
                  </a:lnTo>
                  <a:lnTo>
                    <a:pt x="3168" y="5246"/>
                  </a:lnTo>
                  <a:lnTo>
                    <a:pt x="3160" y="5248"/>
                  </a:lnTo>
                  <a:lnTo>
                    <a:pt x="3156" y="5252"/>
                  </a:lnTo>
                  <a:lnTo>
                    <a:pt x="3156" y="5256"/>
                  </a:lnTo>
                  <a:lnTo>
                    <a:pt x="3156" y="5258"/>
                  </a:lnTo>
                  <a:lnTo>
                    <a:pt x="3152" y="5260"/>
                  </a:lnTo>
                  <a:lnTo>
                    <a:pt x="3148" y="5260"/>
                  </a:lnTo>
                  <a:lnTo>
                    <a:pt x="3146" y="5260"/>
                  </a:lnTo>
                  <a:lnTo>
                    <a:pt x="3142" y="5256"/>
                  </a:lnTo>
                  <a:lnTo>
                    <a:pt x="3136" y="5252"/>
                  </a:lnTo>
                  <a:lnTo>
                    <a:pt x="3134" y="5250"/>
                  </a:lnTo>
                  <a:lnTo>
                    <a:pt x="3132" y="5252"/>
                  </a:lnTo>
                  <a:lnTo>
                    <a:pt x="3128" y="5254"/>
                  </a:lnTo>
                  <a:lnTo>
                    <a:pt x="3124" y="5254"/>
                  </a:lnTo>
                  <a:lnTo>
                    <a:pt x="3120" y="5254"/>
                  </a:lnTo>
                  <a:lnTo>
                    <a:pt x="3116" y="5256"/>
                  </a:lnTo>
                  <a:lnTo>
                    <a:pt x="3114" y="5258"/>
                  </a:lnTo>
                  <a:lnTo>
                    <a:pt x="3112" y="5256"/>
                  </a:lnTo>
                  <a:lnTo>
                    <a:pt x="3106" y="5254"/>
                  </a:lnTo>
                  <a:lnTo>
                    <a:pt x="3100" y="5250"/>
                  </a:lnTo>
                  <a:lnTo>
                    <a:pt x="3092" y="5246"/>
                  </a:lnTo>
                  <a:lnTo>
                    <a:pt x="3076" y="5242"/>
                  </a:lnTo>
                  <a:lnTo>
                    <a:pt x="3068" y="5242"/>
                  </a:lnTo>
                  <a:lnTo>
                    <a:pt x="3064" y="5242"/>
                  </a:lnTo>
                  <a:lnTo>
                    <a:pt x="3060" y="5246"/>
                  </a:lnTo>
                  <a:lnTo>
                    <a:pt x="3056" y="5250"/>
                  </a:lnTo>
                  <a:lnTo>
                    <a:pt x="3050" y="5252"/>
                  </a:lnTo>
                  <a:lnTo>
                    <a:pt x="3048" y="5256"/>
                  </a:lnTo>
                  <a:lnTo>
                    <a:pt x="3048" y="5262"/>
                  </a:lnTo>
                  <a:lnTo>
                    <a:pt x="3050" y="5270"/>
                  </a:lnTo>
                  <a:lnTo>
                    <a:pt x="3050" y="5272"/>
                  </a:lnTo>
                  <a:lnTo>
                    <a:pt x="3052" y="5272"/>
                  </a:lnTo>
                  <a:lnTo>
                    <a:pt x="3056" y="5270"/>
                  </a:lnTo>
                  <a:lnTo>
                    <a:pt x="3062" y="5268"/>
                  </a:lnTo>
                  <a:lnTo>
                    <a:pt x="3078" y="5270"/>
                  </a:lnTo>
                  <a:lnTo>
                    <a:pt x="3086" y="5272"/>
                  </a:lnTo>
                  <a:lnTo>
                    <a:pt x="3092" y="5274"/>
                  </a:lnTo>
                  <a:lnTo>
                    <a:pt x="3096" y="5278"/>
                  </a:lnTo>
                  <a:lnTo>
                    <a:pt x="3098" y="5276"/>
                  </a:lnTo>
                  <a:lnTo>
                    <a:pt x="3102" y="5274"/>
                  </a:lnTo>
                  <a:lnTo>
                    <a:pt x="3106" y="5274"/>
                  </a:lnTo>
                  <a:lnTo>
                    <a:pt x="3108" y="5274"/>
                  </a:lnTo>
                  <a:lnTo>
                    <a:pt x="3110" y="5272"/>
                  </a:lnTo>
                  <a:lnTo>
                    <a:pt x="3112" y="5270"/>
                  </a:lnTo>
                  <a:lnTo>
                    <a:pt x="3120" y="5272"/>
                  </a:lnTo>
                  <a:lnTo>
                    <a:pt x="3124" y="5272"/>
                  </a:lnTo>
                  <a:lnTo>
                    <a:pt x="3128" y="5272"/>
                  </a:lnTo>
                  <a:lnTo>
                    <a:pt x="3134" y="5270"/>
                  </a:lnTo>
                  <a:lnTo>
                    <a:pt x="3138" y="5268"/>
                  </a:lnTo>
                  <a:lnTo>
                    <a:pt x="3142" y="5266"/>
                  </a:lnTo>
                  <a:lnTo>
                    <a:pt x="3150" y="5266"/>
                  </a:lnTo>
                  <a:lnTo>
                    <a:pt x="3158" y="5264"/>
                  </a:lnTo>
                  <a:lnTo>
                    <a:pt x="3166" y="5260"/>
                  </a:lnTo>
                  <a:lnTo>
                    <a:pt x="3168" y="5258"/>
                  </a:lnTo>
                  <a:lnTo>
                    <a:pt x="3170" y="5254"/>
                  </a:lnTo>
                  <a:lnTo>
                    <a:pt x="3170" y="5252"/>
                  </a:lnTo>
                  <a:lnTo>
                    <a:pt x="3174" y="5248"/>
                  </a:lnTo>
                  <a:lnTo>
                    <a:pt x="3176" y="5244"/>
                  </a:lnTo>
                  <a:lnTo>
                    <a:pt x="3176" y="5238"/>
                  </a:lnTo>
                  <a:close/>
                  <a:moveTo>
                    <a:pt x="3042" y="5268"/>
                  </a:moveTo>
                  <a:lnTo>
                    <a:pt x="3042" y="5268"/>
                  </a:lnTo>
                  <a:lnTo>
                    <a:pt x="3044" y="5266"/>
                  </a:lnTo>
                  <a:lnTo>
                    <a:pt x="3046" y="5264"/>
                  </a:lnTo>
                  <a:lnTo>
                    <a:pt x="3044" y="5262"/>
                  </a:lnTo>
                  <a:lnTo>
                    <a:pt x="3042" y="5260"/>
                  </a:lnTo>
                  <a:lnTo>
                    <a:pt x="3040" y="5262"/>
                  </a:lnTo>
                  <a:lnTo>
                    <a:pt x="3040" y="5266"/>
                  </a:lnTo>
                  <a:lnTo>
                    <a:pt x="3040" y="5268"/>
                  </a:lnTo>
                  <a:lnTo>
                    <a:pt x="3042" y="5268"/>
                  </a:lnTo>
                  <a:close/>
                  <a:moveTo>
                    <a:pt x="3038" y="5258"/>
                  </a:moveTo>
                  <a:lnTo>
                    <a:pt x="3038" y="5258"/>
                  </a:lnTo>
                  <a:lnTo>
                    <a:pt x="3040" y="5256"/>
                  </a:lnTo>
                  <a:lnTo>
                    <a:pt x="3040" y="5254"/>
                  </a:lnTo>
                  <a:lnTo>
                    <a:pt x="3038" y="5252"/>
                  </a:lnTo>
                  <a:lnTo>
                    <a:pt x="3034" y="5250"/>
                  </a:lnTo>
                  <a:lnTo>
                    <a:pt x="3032" y="5250"/>
                  </a:lnTo>
                  <a:lnTo>
                    <a:pt x="3032" y="5252"/>
                  </a:lnTo>
                  <a:lnTo>
                    <a:pt x="3032" y="5258"/>
                  </a:lnTo>
                  <a:lnTo>
                    <a:pt x="3030" y="5262"/>
                  </a:lnTo>
                  <a:lnTo>
                    <a:pt x="3032" y="5266"/>
                  </a:lnTo>
                  <a:lnTo>
                    <a:pt x="3032" y="5264"/>
                  </a:lnTo>
                  <a:lnTo>
                    <a:pt x="3034" y="5260"/>
                  </a:lnTo>
                  <a:lnTo>
                    <a:pt x="3038" y="5258"/>
                  </a:lnTo>
                  <a:close/>
                  <a:moveTo>
                    <a:pt x="2740" y="626"/>
                  </a:moveTo>
                  <a:lnTo>
                    <a:pt x="2740" y="626"/>
                  </a:lnTo>
                  <a:lnTo>
                    <a:pt x="2756" y="630"/>
                  </a:lnTo>
                  <a:lnTo>
                    <a:pt x="2768" y="628"/>
                  </a:lnTo>
                  <a:lnTo>
                    <a:pt x="2778" y="624"/>
                  </a:lnTo>
                  <a:lnTo>
                    <a:pt x="2784" y="618"/>
                  </a:lnTo>
                  <a:lnTo>
                    <a:pt x="2786" y="612"/>
                  </a:lnTo>
                  <a:lnTo>
                    <a:pt x="2786" y="608"/>
                  </a:lnTo>
                  <a:lnTo>
                    <a:pt x="2784" y="604"/>
                  </a:lnTo>
                  <a:lnTo>
                    <a:pt x="2782" y="602"/>
                  </a:lnTo>
                  <a:lnTo>
                    <a:pt x="2776" y="600"/>
                  </a:lnTo>
                  <a:lnTo>
                    <a:pt x="2764" y="598"/>
                  </a:lnTo>
                  <a:lnTo>
                    <a:pt x="2748" y="598"/>
                  </a:lnTo>
                  <a:lnTo>
                    <a:pt x="2736" y="598"/>
                  </a:lnTo>
                  <a:lnTo>
                    <a:pt x="2726" y="600"/>
                  </a:lnTo>
                  <a:lnTo>
                    <a:pt x="2720" y="604"/>
                  </a:lnTo>
                  <a:lnTo>
                    <a:pt x="2716" y="608"/>
                  </a:lnTo>
                  <a:lnTo>
                    <a:pt x="2720" y="614"/>
                  </a:lnTo>
                  <a:lnTo>
                    <a:pt x="2726" y="618"/>
                  </a:lnTo>
                  <a:lnTo>
                    <a:pt x="2740" y="626"/>
                  </a:lnTo>
                  <a:close/>
                  <a:moveTo>
                    <a:pt x="162" y="3354"/>
                  </a:moveTo>
                  <a:lnTo>
                    <a:pt x="162" y="3354"/>
                  </a:lnTo>
                  <a:lnTo>
                    <a:pt x="160" y="3358"/>
                  </a:lnTo>
                  <a:lnTo>
                    <a:pt x="162" y="3364"/>
                  </a:lnTo>
                  <a:lnTo>
                    <a:pt x="164" y="3366"/>
                  </a:lnTo>
                  <a:lnTo>
                    <a:pt x="166" y="3368"/>
                  </a:lnTo>
                  <a:lnTo>
                    <a:pt x="168" y="3366"/>
                  </a:lnTo>
                  <a:lnTo>
                    <a:pt x="168" y="3362"/>
                  </a:lnTo>
                  <a:lnTo>
                    <a:pt x="166" y="3356"/>
                  </a:lnTo>
                  <a:lnTo>
                    <a:pt x="164" y="3352"/>
                  </a:lnTo>
                  <a:lnTo>
                    <a:pt x="162" y="3352"/>
                  </a:lnTo>
                  <a:lnTo>
                    <a:pt x="162" y="3354"/>
                  </a:lnTo>
                  <a:close/>
                  <a:moveTo>
                    <a:pt x="3766" y="1952"/>
                  </a:moveTo>
                  <a:lnTo>
                    <a:pt x="3766" y="1952"/>
                  </a:lnTo>
                  <a:lnTo>
                    <a:pt x="3772" y="1954"/>
                  </a:lnTo>
                  <a:lnTo>
                    <a:pt x="3776" y="1954"/>
                  </a:lnTo>
                  <a:lnTo>
                    <a:pt x="3780" y="1950"/>
                  </a:lnTo>
                  <a:lnTo>
                    <a:pt x="3782" y="1944"/>
                  </a:lnTo>
                  <a:lnTo>
                    <a:pt x="3784" y="1940"/>
                  </a:lnTo>
                  <a:lnTo>
                    <a:pt x="3782" y="1934"/>
                  </a:lnTo>
                  <a:lnTo>
                    <a:pt x="3780" y="1930"/>
                  </a:lnTo>
                  <a:lnTo>
                    <a:pt x="3774" y="1928"/>
                  </a:lnTo>
                  <a:lnTo>
                    <a:pt x="3768" y="1928"/>
                  </a:lnTo>
                  <a:lnTo>
                    <a:pt x="3764" y="1930"/>
                  </a:lnTo>
                  <a:lnTo>
                    <a:pt x="3760" y="1932"/>
                  </a:lnTo>
                  <a:lnTo>
                    <a:pt x="3758" y="1936"/>
                  </a:lnTo>
                  <a:lnTo>
                    <a:pt x="3758" y="1938"/>
                  </a:lnTo>
                  <a:lnTo>
                    <a:pt x="3760" y="1944"/>
                  </a:lnTo>
                  <a:lnTo>
                    <a:pt x="3762" y="1948"/>
                  </a:lnTo>
                  <a:lnTo>
                    <a:pt x="3766" y="1952"/>
                  </a:lnTo>
                  <a:close/>
                  <a:moveTo>
                    <a:pt x="3314" y="2942"/>
                  </a:moveTo>
                  <a:lnTo>
                    <a:pt x="3314" y="2942"/>
                  </a:lnTo>
                  <a:lnTo>
                    <a:pt x="3316" y="2940"/>
                  </a:lnTo>
                  <a:lnTo>
                    <a:pt x="3318" y="2936"/>
                  </a:lnTo>
                  <a:lnTo>
                    <a:pt x="3316" y="2932"/>
                  </a:lnTo>
                  <a:lnTo>
                    <a:pt x="3312" y="2930"/>
                  </a:lnTo>
                  <a:lnTo>
                    <a:pt x="3310" y="2930"/>
                  </a:lnTo>
                  <a:lnTo>
                    <a:pt x="3310" y="2932"/>
                  </a:lnTo>
                  <a:lnTo>
                    <a:pt x="3310" y="2936"/>
                  </a:lnTo>
                  <a:lnTo>
                    <a:pt x="3312" y="2940"/>
                  </a:lnTo>
                  <a:lnTo>
                    <a:pt x="3314" y="2942"/>
                  </a:lnTo>
                  <a:close/>
                  <a:moveTo>
                    <a:pt x="3310" y="2998"/>
                  </a:moveTo>
                  <a:lnTo>
                    <a:pt x="3310" y="2998"/>
                  </a:lnTo>
                  <a:lnTo>
                    <a:pt x="3308" y="2998"/>
                  </a:lnTo>
                  <a:lnTo>
                    <a:pt x="3308" y="3002"/>
                  </a:lnTo>
                  <a:lnTo>
                    <a:pt x="3310" y="3004"/>
                  </a:lnTo>
                  <a:lnTo>
                    <a:pt x="3312" y="3006"/>
                  </a:lnTo>
                  <a:lnTo>
                    <a:pt x="3314" y="3006"/>
                  </a:lnTo>
                  <a:lnTo>
                    <a:pt x="3314" y="3002"/>
                  </a:lnTo>
                  <a:lnTo>
                    <a:pt x="3312" y="2998"/>
                  </a:lnTo>
                  <a:lnTo>
                    <a:pt x="3310" y="2998"/>
                  </a:lnTo>
                  <a:close/>
                  <a:moveTo>
                    <a:pt x="468" y="3506"/>
                  </a:moveTo>
                  <a:lnTo>
                    <a:pt x="468" y="3506"/>
                  </a:lnTo>
                  <a:lnTo>
                    <a:pt x="468" y="3508"/>
                  </a:lnTo>
                  <a:lnTo>
                    <a:pt x="466" y="3510"/>
                  </a:lnTo>
                  <a:lnTo>
                    <a:pt x="458" y="3514"/>
                  </a:lnTo>
                  <a:lnTo>
                    <a:pt x="452" y="3518"/>
                  </a:lnTo>
                  <a:lnTo>
                    <a:pt x="450" y="3520"/>
                  </a:lnTo>
                  <a:lnTo>
                    <a:pt x="450" y="3522"/>
                  </a:lnTo>
                  <a:lnTo>
                    <a:pt x="452" y="3524"/>
                  </a:lnTo>
                  <a:lnTo>
                    <a:pt x="456" y="3524"/>
                  </a:lnTo>
                  <a:lnTo>
                    <a:pt x="464" y="3520"/>
                  </a:lnTo>
                  <a:lnTo>
                    <a:pt x="476" y="3514"/>
                  </a:lnTo>
                  <a:lnTo>
                    <a:pt x="484" y="3504"/>
                  </a:lnTo>
                  <a:lnTo>
                    <a:pt x="486" y="3502"/>
                  </a:lnTo>
                  <a:lnTo>
                    <a:pt x="486" y="3500"/>
                  </a:lnTo>
                  <a:lnTo>
                    <a:pt x="480" y="3502"/>
                  </a:lnTo>
                  <a:lnTo>
                    <a:pt x="468" y="3506"/>
                  </a:lnTo>
                  <a:close/>
                  <a:moveTo>
                    <a:pt x="1966" y="4176"/>
                  </a:moveTo>
                  <a:lnTo>
                    <a:pt x="1966" y="4176"/>
                  </a:lnTo>
                  <a:lnTo>
                    <a:pt x="1964" y="4176"/>
                  </a:lnTo>
                  <a:lnTo>
                    <a:pt x="1960" y="4184"/>
                  </a:lnTo>
                  <a:lnTo>
                    <a:pt x="1958" y="4200"/>
                  </a:lnTo>
                  <a:lnTo>
                    <a:pt x="1956" y="4222"/>
                  </a:lnTo>
                  <a:lnTo>
                    <a:pt x="1954" y="4242"/>
                  </a:lnTo>
                  <a:lnTo>
                    <a:pt x="1952" y="4252"/>
                  </a:lnTo>
                  <a:lnTo>
                    <a:pt x="1950" y="4260"/>
                  </a:lnTo>
                  <a:lnTo>
                    <a:pt x="1952" y="4272"/>
                  </a:lnTo>
                  <a:lnTo>
                    <a:pt x="1954" y="4278"/>
                  </a:lnTo>
                  <a:lnTo>
                    <a:pt x="1956" y="4280"/>
                  </a:lnTo>
                  <a:lnTo>
                    <a:pt x="1958" y="4274"/>
                  </a:lnTo>
                  <a:lnTo>
                    <a:pt x="1962" y="4248"/>
                  </a:lnTo>
                  <a:lnTo>
                    <a:pt x="1962" y="4240"/>
                  </a:lnTo>
                  <a:lnTo>
                    <a:pt x="1962" y="4236"/>
                  </a:lnTo>
                  <a:lnTo>
                    <a:pt x="1962" y="4234"/>
                  </a:lnTo>
                  <a:lnTo>
                    <a:pt x="1964" y="4232"/>
                  </a:lnTo>
                  <a:lnTo>
                    <a:pt x="1966" y="4228"/>
                  </a:lnTo>
                  <a:lnTo>
                    <a:pt x="1966" y="4226"/>
                  </a:lnTo>
                  <a:lnTo>
                    <a:pt x="1964" y="4218"/>
                  </a:lnTo>
                  <a:lnTo>
                    <a:pt x="1964" y="4210"/>
                  </a:lnTo>
                  <a:lnTo>
                    <a:pt x="1964" y="4206"/>
                  </a:lnTo>
                  <a:lnTo>
                    <a:pt x="1964" y="4204"/>
                  </a:lnTo>
                  <a:lnTo>
                    <a:pt x="1968" y="4200"/>
                  </a:lnTo>
                  <a:lnTo>
                    <a:pt x="1970" y="4192"/>
                  </a:lnTo>
                  <a:lnTo>
                    <a:pt x="1970" y="4182"/>
                  </a:lnTo>
                  <a:lnTo>
                    <a:pt x="1966" y="4176"/>
                  </a:lnTo>
                  <a:close/>
                  <a:moveTo>
                    <a:pt x="1508" y="4454"/>
                  </a:moveTo>
                  <a:lnTo>
                    <a:pt x="1508" y="4454"/>
                  </a:lnTo>
                  <a:lnTo>
                    <a:pt x="1504" y="4444"/>
                  </a:lnTo>
                  <a:lnTo>
                    <a:pt x="1498" y="4430"/>
                  </a:lnTo>
                  <a:lnTo>
                    <a:pt x="1492" y="4416"/>
                  </a:lnTo>
                  <a:lnTo>
                    <a:pt x="1484" y="4404"/>
                  </a:lnTo>
                  <a:lnTo>
                    <a:pt x="1478" y="4396"/>
                  </a:lnTo>
                  <a:lnTo>
                    <a:pt x="1474" y="4388"/>
                  </a:lnTo>
                  <a:lnTo>
                    <a:pt x="1472" y="4380"/>
                  </a:lnTo>
                  <a:lnTo>
                    <a:pt x="1464" y="4372"/>
                  </a:lnTo>
                  <a:lnTo>
                    <a:pt x="1456" y="4364"/>
                  </a:lnTo>
                  <a:lnTo>
                    <a:pt x="1448" y="4360"/>
                  </a:lnTo>
                  <a:lnTo>
                    <a:pt x="1442" y="4360"/>
                  </a:lnTo>
                  <a:lnTo>
                    <a:pt x="1438" y="4362"/>
                  </a:lnTo>
                  <a:lnTo>
                    <a:pt x="1438" y="4364"/>
                  </a:lnTo>
                  <a:lnTo>
                    <a:pt x="1440" y="4368"/>
                  </a:lnTo>
                  <a:lnTo>
                    <a:pt x="1444" y="4372"/>
                  </a:lnTo>
                  <a:lnTo>
                    <a:pt x="1446" y="4382"/>
                  </a:lnTo>
                  <a:lnTo>
                    <a:pt x="1446" y="4392"/>
                  </a:lnTo>
                  <a:lnTo>
                    <a:pt x="1444" y="4398"/>
                  </a:lnTo>
                  <a:lnTo>
                    <a:pt x="1440" y="4404"/>
                  </a:lnTo>
                  <a:lnTo>
                    <a:pt x="1440" y="4410"/>
                  </a:lnTo>
                  <a:lnTo>
                    <a:pt x="1440" y="4420"/>
                  </a:lnTo>
                  <a:lnTo>
                    <a:pt x="1438" y="4430"/>
                  </a:lnTo>
                  <a:lnTo>
                    <a:pt x="1436" y="4438"/>
                  </a:lnTo>
                  <a:lnTo>
                    <a:pt x="1436" y="4436"/>
                  </a:lnTo>
                  <a:lnTo>
                    <a:pt x="1434" y="4432"/>
                  </a:lnTo>
                  <a:lnTo>
                    <a:pt x="1432" y="4432"/>
                  </a:lnTo>
                  <a:lnTo>
                    <a:pt x="1430" y="4440"/>
                  </a:lnTo>
                  <a:lnTo>
                    <a:pt x="1432" y="4456"/>
                  </a:lnTo>
                  <a:lnTo>
                    <a:pt x="1434" y="4476"/>
                  </a:lnTo>
                  <a:lnTo>
                    <a:pt x="1434" y="4500"/>
                  </a:lnTo>
                  <a:lnTo>
                    <a:pt x="1436" y="4512"/>
                  </a:lnTo>
                  <a:lnTo>
                    <a:pt x="1438" y="4524"/>
                  </a:lnTo>
                  <a:lnTo>
                    <a:pt x="1442" y="4534"/>
                  </a:lnTo>
                  <a:lnTo>
                    <a:pt x="1450" y="4544"/>
                  </a:lnTo>
                  <a:lnTo>
                    <a:pt x="1458" y="4548"/>
                  </a:lnTo>
                  <a:lnTo>
                    <a:pt x="1464" y="4550"/>
                  </a:lnTo>
                  <a:lnTo>
                    <a:pt x="1470" y="4550"/>
                  </a:lnTo>
                  <a:lnTo>
                    <a:pt x="1476" y="4548"/>
                  </a:lnTo>
                  <a:lnTo>
                    <a:pt x="1488" y="4540"/>
                  </a:lnTo>
                  <a:lnTo>
                    <a:pt x="1502" y="4532"/>
                  </a:lnTo>
                  <a:lnTo>
                    <a:pt x="1508" y="4526"/>
                  </a:lnTo>
                  <a:lnTo>
                    <a:pt x="1512" y="4520"/>
                  </a:lnTo>
                  <a:lnTo>
                    <a:pt x="1516" y="4510"/>
                  </a:lnTo>
                  <a:lnTo>
                    <a:pt x="1518" y="4502"/>
                  </a:lnTo>
                  <a:lnTo>
                    <a:pt x="1518" y="4484"/>
                  </a:lnTo>
                  <a:lnTo>
                    <a:pt x="1516" y="4476"/>
                  </a:lnTo>
                  <a:lnTo>
                    <a:pt x="1514" y="4472"/>
                  </a:lnTo>
                  <a:lnTo>
                    <a:pt x="1512" y="4466"/>
                  </a:lnTo>
                  <a:lnTo>
                    <a:pt x="1512" y="4462"/>
                  </a:lnTo>
                  <a:lnTo>
                    <a:pt x="1510" y="4458"/>
                  </a:lnTo>
                  <a:lnTo>
                    <a:pt x="1508" y="4454"/>
                  </a:lnTo>
                  <a:close/>
                  <a:moveTo>
                    <a:pt x="1946" y="4308"/>
                  </a:moveTo>
                  <a:lnTo>
                    <a:pt x="1946" y="4308"/>
                  </a:lnTo>
                  <a:lnTo>
                    <a:pt x="1942" y="4310"/>
                  </a:lnTo>
                  <a:lnTo>
                    <a:pt x="1940" y="4316"/>
                  </a:lnTo>
                  <a:lnTo>
                    <a:pt x="1940" y="4322"/>
                  </a:lnTo>
                  <a:lnTo>
                    <a:pt x="1942" y="4328"/>
                  </a:lnTo>
                  <a:lnTo>
                    <a:pt x="1944" y="4328"/>
                  </a:lnTo>
                  <a:lnTo>
                    <a:pt x="1946" y="4326"/>
                  </a:lnTo>
                  <a:lnTo>
                    <a:pt x="1948" y="4320"/>
                  </a:lnTo>
                  <a:lnTo>
                    <a:pt x="1950" y="4312"/>
                  </a:lnTo>
                  <a:lnTo>
                    <a:pt x="1948" y="4310"/>
                  </a:lnTo>
                  <a:lnTo>
                    <a:pt x="1946" y="4308"/>
                  </a:lnTo>
                  <a:close/>
                  <a:moveTo>
                    <a:pt x="1996" y="4488"/>
                  </a:moveTo>
                  <a:lnTo>
                    <a:pt x="1996" y="4488"/>
                  </a:lnTo>
                  <a:lnTo>
                    <a:pt x="1994" y="4492"/>
                  </a:lnTo>
                  <a:lnTo>
                    <a:pt x="1994" y="4496"/>
                  </a:lnTo>
                  <a:lnTo>
                    <a:pt x="1994" y="4504"/>
                  </a:lnTo>
                  <a:lnTo>
                    <a:pt x="1998" y="4508"/>
                  </a:lnTo>
                  <a:lnTo>
                    <a:pt x="2000" y="4510"/>
                  </a:lnTo>
                  <a:lnTo>
                    <a:pt x="2002" y="4508"/>
                  </a:lnTo>
                  <a:lnTo>
                    <a:pt x="2004" y="4506"/>
                  </a:lnTo>
                  <a:lnTo>
                    <a:pt x="2004" y="4502"/>
                  </a:lnTo>
                  <a:lnTo>
                    <a:pt x="2004" y="4494"/>
                  </a:lnTo>
                  <a:lnTo>
                    <a:pt x="2000" y="4488"/>
                  </a:lnTo>
                  <a:lnTo>
                    <a:pt x="1998" y="4488"/>
                  </a:lnTo>
                  <a:lnTo>
                    <a:pt x="1996" y="4488"/>
                  </a:lnTo>
                  <a:close/>
                  <a:moveTo>
                    <a:pt x="1980" y="4454"/>
                  </a:moveTo>
                  <a:lnTo>
                    <a:pt x="1980" y="4454"/>
                  </a:lnTo>
                  <a:lnTo>
                    <a:pt x="1982" y="4454"/>
                  </a:lnTo>
                  <a:lnTo>
                    <a:pt x="1984" y="4454"/>
                  </a:lnTo>
                  <a:lnTo>
                    <a:pt x="1982" y="4448"/>
                  </a:lnTo>
                  <a:lnTo>
                    <a:pt x="1980" y="4448"/>
                  </a:lnTo>
                  <a:lnTo>
                    <a:pt x="1978" y="4448"/>
                  </a:lnTo>
                  <a:lnTo>
                    <a:pt x="1978" y="4450"/>
                  </a:lnTo>
                  <a:lnTo>
                    <a:pt x="1980" y="4454"/>
                  </a:lnTo>
                  <a:close/>
                  <a:moveTo>
                    <a:pt x="1954" y="4386"/>
                  </a:moveTo>
                  <a:lnTo>
                    <a:pt x="1954" y="4386"/>
                  </a:lnTo>
                  <a:lnTo>
                    <a:pt x="1952" y="4390"/>
                  </a:lnTo>
                  <a:lnTo>
                    <a:pt x="1952" y="4394"/>
                  </a:lnTo>
                  <a:lnTo>
                    <a:pt x="1954" y="4396"/>
                  </a:lnTo>
                  <a:lnTo>
                    <a:pt x="1958" y="4396"/>
                  </a:lnTo>
                  <a:lnTo>
                    <a:pt x="1960" y="4394"/>
                  </a:lnTo>
                  <a:lnTo>
                    <a:pt x="1958" y="4390"/>
                  </a:lnTo>
                  <a:lnTo>
                    <a:pt x="1958" y="4386"/>
                  </a:lnTo>
                  <a:lnTo>
                    <a:pt x="1956" y="4386"/>
                  </a:lnTo>
                  <a:lnTo>
                    <a:pt x="1954" y="4386"/>
                  </a:lnTo>
                  <a:close/>
                  <a:moveTo>
                    <a:pt x="2078" y="4702"/>
                  </a:moveTo>
                  <a:lnTo>
                    <a:pt x="2078" y="4702"/>
                  </a:lnTo>
                  <a:lnTo>
                    <a:pt x="2078" y="4706"/>
                  </a:lnTo>
                  <a:lnTo>
                    <a:pt x="2080" y="4710"/>
                  </a:lnTo>
                  <a:lnTo>
                    <a:pt x="2084" y="4714"/>
                  </a:lnTo>
                  <a:lnTo>
                    <a:pt x="2090" y="4720"/>
                  </a:lnTo>
                  <a:lnTo>
                    <a:pt x="2102" y="4728"/>
                  </a:lnTo>
                  <a:lnTo>
                    <a:pt x="2106" y="4730"/>
                  </a:lnTo>
                  <a:lnTo>
                    <a:pt x="2106" y="4726"/>
                  </a:lnTo>
                  <a:lnTo>
                    <a:pt x="2102" y="4716"/>
                  </a:lnTo>
                  <a:lnTo>
                    <a:pt x="2094" y="4706"/>
                  </a:lnTo>
                  <a:lnTo>
                    <a:pt x="2084" y="4700"/>
                  </a:lnTo>
                  <a:lnTo>
                    <a:pt x="2080" y="4700"/>
                  </a:lnTo>
                  <a:lnTo>
                    <a:pt x="2078" y="4702"/>
                  </a:lnTo>
                  <a:close/>
                  <a:moveTo>
                    <a:pt x="2508" y="4960"/>
                  </a:moveTo>
                  <a:lnTo>
                    <a:pt x="2508" y="4960"/>
                  </a:lnTo>
                  <a:lnTo>
                    <a:pt x="2502" y="4956"/>
                  </a:lnTo>
                  <a:lnTo>
                    <a:pt x="2500" y="4950"/>
                  </a:lnTo>
                  <a:lnTo>
                    <a:pt x="2496" y="4932"/>
                  </a:lnTo>
                  <a:lnTo>
                    <a:pt x="2494" y="4924"/>
                  </a:lnTo>
                  <a:lnTo>
                    <a:pt x="2490" y="4918"/>
                  </a:lnTo>
                  <a:lnTo>
                    <a:pt x="2484" y="4914"/>
                  </a:lnTo>
                  <a:lnTo>
                    <a:pt x="2476" y="4912"/>
                  </a:lnTo>
                  <a:lnTo>
                    <a:pt x="2466" y="4916"/>
                  </a:lnTo>
                  <a:lnTo>
                    <a:pt x="2464" y="4920"/>
                  </a:lnTo>
                  <a:lnTo>
                    <a:pt x="2464" y="4926"/>
                  </a:lnTo>
                  <a:lnTo>
                    <a:pt x="2462" y="4928"/>
                  </a:lnTo>
                  <a:lnTo>
                    <a:pt x="2460" y="4932"/>
                  </a:lnTo>
                  <a:lnTo>
                    <a:pt x="2456" y="4936"/>
                  </a:lnTo>
                  <a:lnTo>
                    <a:pt x="2454" y="4938"/>
                  </a:lnTo>
                  <a:lnTo>
                    <a:pt x="2454" y="4940"/>
                  </a:lnTo>
                  <a:lnTo>
                    <a:pt x="2456" y="4942"/>
                  </a:lnTo>
                  <a:lnTo>
                    <a:pt x="2464" y="4944"/>
                  </a:lnTo>
                  <a:lnTo>
                    <a:pt x="2474" y="4942"/>
                  </a:lnTo>
                  <a:lnTo>
                    <a:pt x="2478" y="4944"/>
                  </a:lnTo>
                  <a:lnTo>
                    <a:pt x="2480" y="4948"/>
                  </a:lnTo>
                  <a:lnTo>
                    <a:pt x="2484" y="4958"/>
                  </a:lnTo>
                  <a:lnTo>
                    <a:pt x="2488" y="4972"/>
                  </a:lnTo>
                  <a:lnTo>
                    <a:pt x="2490" y="4976"/>
                  </a:lnTo>
                  <a:lnTo>
                    <a:pt x="2494" y="4978"/>
                  </a:lnTo>
                  <a:lnTo>
                    <a:pt x="2502" y="4984"/>
                  </a:lnTo>
                  <a:lnTo>
                    <a:pt x="2508" y="4988"/>
                  </a:lnTo>
                  <a:lnTo>
                    <a:pt x="2512" y="4990"/>
                  </a:lnTo>
                  <a:lnTo>
                    <a:pt x="2516" y="4990"/>
                  </a:lnTo>
                  <a:lnTo>
                    <a:pt x="2518" y="4990"/>
                  </a:lnTo>
                  <a:lnTo>
                    <a:pt x="2520" y="4988"/>
                  </a:lnTo>
                  <a:lnTo>
                    <a:pt x="2518" y="4984"/>
                  </a:lnTo>
                  <a:lnTo>
                    <a:pt x="2516" y="4978"/>
                  </a:lnTo>
                  <a:lnTo>
                    <a:pt x="2514" y="4976"/>
                  </a:lnTo>
                  <a:lnTo>
                    <a:pt x="2516" y="4974"/>
                  </a:lnTo>
                  <a:lnTo>
                    <a:pt x="2518" y="4970"/>
                  </a:lnTo>
                  <a:lnTo>
                    <a:pt x="2518" y="4966"/>
                  </a:lnTo>
                  <a:lnTo>
                    <a:pt x="2514" y="4964"/>
                  </a:lnTo>
                  <a:lnTo>
                    <a:pt x="2508" y="4960"/>
                  </a:lnTo>
                  <a:close/>
                  <a:moveTo>
                    <a:pt x="2428" y="4870"/>
                  </a:moveTo>
                  <a:lnTo>
                    <a:pt x="2428" y="4870"/>
                  </a:lnTo>
                  <a:lnTo>
                    <a:pt x="2432" y="4868"/>
                  </a:lnTo>
                  <a:lnTo>
                    <a:pt x="2434" y="4862"/>
                  </a:lnTo>
                  <a:lnTo>
                    <a:pt x="2434" y="4858"/>
                  </a:lnTo>
                  <a:lnTo>
                    <a:pt x="2432" y="4856"/>
                  </a:lnTo>
                  <a:lnTo>
                    <a:pt x="2430" y="4856"/>
                  </a:lnTo>
                  <a:lnTo>
                    <a:pt x="2426" y="4858"/>
                  </a:lnTo>
                  <a:lnTo>
                    <a:pt x="2424" y="4860"/>
                  </a:lnTo>
                  <a:lnTo>
                    <a:pt x="2420" y="4866"/>
                  </a:lnTo>
                  <a:lnTo>
                    <a:pt x="2420" y="4868"/>
                  </a:lnTo>
                  <a:lnTo>
                    <a:pt x="2420" y="4872"/>
                  </a:lnTo>
                  <a:lnTo>
                    <a:pt x="2424" y="4872"/>
                  </a:lnTo>
                  <a:lnTo>
                    <a:pt x="2428" y="4870"/>
                  </a:lnTo>
                  <a:close/>
                  <a:moveTo>
                    <a:pt x="2450" y="4852"/>
                  </a:moveTo>
                  <a:lnTo>
                    <a:pt x="2450" y="4852"/>
                  </a:lnTo>
                  <a:lnTo>
                    <a:pt x="2444" y="4848"/>
                  </a:lnTo>
                  <a:lnTo>
                    <a:pt x="2434" y="4840"/>
                  </a:lnTo>
                  <a:lnTo>
                    <a:pt x="2430" y="4836"/>
                  </a:lnTo>
                  <a:lnTo>
                    <a:pt x="2428" y="4838"/>
                  </a:lnTo>
                  <a:lnTo>
                    <a:pt x="2428" y="4846"/>
                  </a:lnTo>
                  <a:lnTo>
                    <a:pt x="2430" y="4848"/>
                  </a:lnTo>
                  <a:lnTo>
                    <a:pt x="2432" y="4850"/>
                  </a:lnTo>
                  <a:lnTo>
                    <a:pt x="2438" y="4854"/>
                  </a:lnTo>
                  <a:lnTo>
                    <a:pt x="2446" y="4854"/>
                  </a:lnTo>
                  <a:lnTo>
                    <a:pt x="2450" y="4852"/>
                  </a:lnTo>
                  <a:close/>
                  <a:moveTo>
                    <a:pt x="2378" y="4806"/>
                  </a:moveTo>
                  <a:lnTo>
                    <a:pt x="2378" y="4806"/>
                  </a:lnTo>
                  <a:lnTo>
                    <a:pt x="2376" y="4806"/>
                  </a:lnTo>
                  <a:lnTo>
                    <a:pt x="2376" y="4810"/>
                  </a:lnTo>
                  <a:lnTo>
                    <a:pt x="2376" y="4812"/>
                  </a:lnTo>
                  <a:lnTo>
                    <a:pt x="2378" y="4814"/>
                  </a:lnTo>
                  <a:lnTo>
                    <a:pt x="2382" y="4814"/>
                  </a:lnTo>
                  <a:lnTo>
                    <a:pt x="2382" y="4810"/>
                  </a:lnTo>
                  <a:lnTo>
                    <a:pt x="2380" y="4806"/>
                  </a:lnTo>
                  <a:lnTo>
                    <a:pt x="2378" y="4806"/>
                  </a:lnTo>
                  <a:close/>
                  <a:moveTo>
                    <a:pt x="2422" y="4774"/>
                  </a:moveTo>
                  <a:lnTo>
                    <a:pt x="2422" y="4774"/>
                  </a:lnTo>
                  <a:lnTo>
                    <a:pt x="2414" y="4778"/>
                  </a:lnTo>
                  <a:lnTo>
                    <a:pt x="2412" y="4782"/>
                  </a:lnTo>
                  <a:lnTo>
                    <a:pt x="2410" y="4784"/>
                  </a:lnTo>
                  <a:lnTo>
                    <a:pt x="2406" y="4788"/>
                  </a:lnTo>
                  <a:lnTo>
                    <a:pt x="2406" y="4790"/>
                  </a:lnTo>
                  <a:lnTo>
                    <a:pt x="2410" y="4792"/>
                  </a:lnTo>
                  <a:lnTo>
                    <a:pt x="2414" y="4790"/>
                  </a:lnTo>
                  <a:lnTo>
                    <a:pt x="2420" y="4796"/>
                  </a:lnTo>
                  <a:lnTo>
                    <a:pt x="2416" y="4796"/>
                  </a:lnTo>
                  <a:lnTo>
                    <a:pt x="2414" y="4796"/>
                  </a:lnTo>
                  <a:lnTo>
                    <a:pt x="2414" y="4798"/>
                  </a:lnTo>
                  <a:lnTo>
                    <a:pt x="2414" y="4800"/>
                  </a:lnTo>
                  <a:lnTo>
                    <a:pt x="2418" y="4804"/>
                  </a:lnTo>
                  <a:lnTo>
                    <a:pt x="2420" y="4804"/>
                  </a:lnTo>
                  <a:lnTo>
                    <a:pt x="2422" y="4802"/>
                  </a:lnTo>
                  <a:lnTo>
                    <a:pt x="2420" y="4798"/>
                  </a:lnTo>
                  <a:lnTo>
                    <a:pt x="2432" y="4808"/>
                  </a:lnTo>
                  <a:lnTo>
                    <a:pt x="2436" y="4808"/>
                  </a:lnTo>
                  <a:lnTo>
                    <a:pt x="2438" y="4804"/>
                  </a:lnTo>
                  <a:lnTo>
                    <a:pt x="2438" y="4798"/>
                  </a:lnTo>
                  <a:lnTo>
                    <a:pt x="2438" y="4790"/>
                  </a:lnTo>
                  <a:lnTo>
                    <a:pt x="2436" y="4782"/>
                  </a:lnTo>
                  <a:lnTo>
                    <a:pt x="2434" y="4776"/>
                  </a:lnTo>
                  <a:lnTo>
                    <a:pt x="2428" y="4774"/>
                  </a:lnTo>
                  <a:lnTo>
                    <a:pt x="2422" y="4774"/>
                  </a:lnTo>
                  <a:close/>
                  <a:moveTo>
                    <a:pt x="2384" y="4796"/>
                  </a:moveTo>
                  <a:lnTo>
                    <a:pt x="2384" y="4796"/>
                  </a:lnTo>
                  <a:lnTo>
                    <a:pt x="2384" y="4798"/>
                  </a:lnTo>
                  <a:lnTo>
                    <a:pt x="2384" y="4802"/>
                  </a:lnTo>
                  <a:lnTo>
                    <a:pt x="2386" y="4806"/>
                  </a:lnTo>
                  <a:lnTo>
                    <a:pt x="2390" y="4806"/>
                  </a:lnTo>
                  <a:lnTo>
                    <a:pt x="2392" y="4806"/>
                  </a:lnTo>
                  <a:lnTo>
                    <a:pt x="2390" y="4802"/>
                  </a:lnTo>
                  <a:lnTo>
                    <a:pt x="2388" y="4798"/>
                  </a:lnTo>
                  <a:lnTo>
                    <a:pt x="2384" y="4796"/>
                  </a:lnTo>
                  <a:close/>
                  <a:moveTo>
                    <a:pt x="2578" y="4662"/>
                  </a:moveTo>
                  <a:lnTo>
                    <a:pt x="2578" y="4662"/>
                  </a:lnTo>
                  <a:lnTo>
                    <a:pt x="2580" y="4662"/>
                  </a:lnTo>
                  <a:lnTo>
                    <a:pt x="2584" y="4660"/>
                  </a:lnTo>
                  <a:lnTo>
                    <a:pt x="2584" y="4650"/>
                  </a:lnTo>
                  <a:lnTo>
                    <a:pt x="2584" y="4640"/>
                  </a:lnTo>
                  <a:lnTo>
                    <a:pt x="2582" y="4634"/>
                  </a:lnTo>
                  <a:lnTo>
                    <a:pt x="2578" y="4634"/>
                  </a:lnTo>
                  <a:lnTo>
                    <a:pt x="2574" y="4640"/>
                  </a:lnTo>
                  <a:lnTo>
                    <a:pt x="2570" y="4646"/>
                  </a:lnTo>
                  <a:lnTo>
                    <a:pt x="2572" y="4650"/>
                  </a:lnTo>
                  <a:lnTo>
                    <a:pt x="2574" y="4652"/>
                  </a:lnTo>
                  <a:lnTo>
                    <a:pt x="2578" y="4656"/>
                  </a:lnTo>
                  <a:lnTo>
                    <a:pt x="2576" y="4658"/>
                  </a:lnTo>
                  <a:lnTo>
                    <a:pt x="2574" y="4660"/>
                  </a:lnTo>
                  <a:lnTo>
                    <a:pt x="2578" y="4662"/>
                  </a:lnTo>
                  <a:close/>
                  <a:moveTo>
                    <a:pt x="2136" y="4766"/>
                  </a:moveTo>
                  <a:lnTo>
                    <a:pt x="2136" y="4766"/>
                  </a:lnTo>
                  <a:lnTo>
                    <a:pt x="2134" y="4768"/>
                  </a:lnTo>
                  <a:lnTo>
                    <a:pt x="2134" y="4772"/>
                  </a:lnTo>
                  <a:lnTo>
                    <a:pt x="2138" y="4782"/>
                  </a:lnTo>
                  <a:lnTo>
                    <a:pt x="2154" y="4806"/>
                  </a:lnTo>
                  <a:lnTo>
                    <a:pt x="2158" y="4812"/>
                  </a:lnTo>
                  <a:lnTo>
                    <a:pt x="2162" y="4812"/>
                  </a:lnTo>
                  <a:lnTo>
                    <a:pt x="2164" y="4810"/>
                  </a:lnTo>
                  <a:lnTo>
                    <a:pt x="2166" y="4806"/>
                  </a:lnTo>
                  <a:lnTo>
                    <a:pt x="2166" y="4794"/>
                  </a:lnTo>
                  <a:lnTo>
                    <a:pt x="2164" y="4790"/>
                  </a:lnTo>
                  <a:lnTo>
                    <a:pt x="2160" y="4786"/>
                  </a:lnTo>
                  <a:lnTo>
                    <a:pt x="2154" y="4780"/>
                  </a:lnTo>
                  <a:lnTo>
                    <a:pt x="2150" y="4772"/>
                  </a:lnTo>
                  <a:lnTo>
                    <a:pt x="2144" y="4768"/>
                  </a:lnTo>
                  <a:lnTo>
                    <a:pt x="2140" y="4766"/>
                  </a:lnTo>
                  <a:lnTo>
                    <a:pt x="2136" y="4766"/>
                  </a:lnTo>
                  <a:close/>
                  <a:moveTo>
                    <a:pt x="2832" y="5258"/>
                  </a:moveTo>
                  <a:lnTo>
                    <a:pt x="2832" y="5258"/>
                  </a:lnTo>
                  <a:lnTo>
                    <a:pt x="2828" y="5254"/>
                  </a:lnTo>
                  <a:lnTo>
                    <a:pt x="2828" y="5248"/>
                  </a:lnTo>
                  <a:lnTo>
                    <a:pt x="2832" y="5234"/>
                  </a:lnTo>
                  <a:lnTo>
                    <a:pt x="2832" y="5226"/>
                  </a:lnTo>
                  <a:lnTo>
                    <a:pt x="2832" y="5220"/>
                  </a:lnTo>
                  <a:lnTo>
                    <a:pt x="2828" y="5214"/>
                  </a:lnTo>
                  <a:lnTo>
                    <a:pt x="2820" y="5212"/>
                  </a:lnTo>
                  <a:lnTo>
                    <a:pt x="2808" y="5212"/>
                  </a:lnTo>
                  <a:lnTo>
                    <a:pt x="2798" y="5214"/>
                  </a:lnTo>
                  <a:lnTo>
                    <a:pt x="2786" y="5216"/>
                  </a:lnTo>
                  <a:lnTo>
                    <a:pt x="2780" y="5216"/>
                  </a:lnTo>
                  <a:lnTo>
                    <a:pt x="2772" y="5212"/>
                  </a:lnTo>
                  <a:lnTo>
                    <a:pt x="2762" y="5208"/>
                  </a:lnTo>
                  <a:lnTo>
                    <a:pt x="2762" y="5206"/>
                  </a:lnTo>
                  <a:lnTo>
                    <a:pt x="2762" y="5204"/>
                  </a:lnTo>
                  <a:lnTo>
                    <a:pt x="2762" y="5196"/>
                  </a:lnTo>
                  <a:lnTo>
                    <a:pt x="2762" y="5190"/>
                  </a:lnTo>
                  <a:lnTo>
                    <a:pt x="2758" y="5184"/>
                  </a:lnTo>
                  <a:lnTo>
                    <a:pt x="2754" y="5178"/>
                  </a:lnTo>
                  <a:lnTo>
                    <a:pt x="2752" y="5174"/>
                  </a:lnTo>
                  <a:lnTo>
                    <a:pt x="2748" y="5174"/>
                  </a:lnTo>
                  <a:lnTo>
                    <a:pt x="2746" y="5176"/>
                  </a:lnTo>
                  <a:lnTo>
                    <a:pt x="2740" y="5178"/>
                  </a:lnTo>
                  <a:lnTo>
                    <a:pt x="2738" y="5178"/>
                  </a:lnTo>
                  <a:lnTo>
                    <a:pt x="2734" y="5174"/>
                  </a:lnTo>
                  <a:lnTo>
                    <a:pt x="2730" y="5168"/>
                  </a:lnTo>
                  <a:lnTo>
                    <a:pt x="2728" y="5170"/>
                  </a:lnTo>
                  <a:lnTo>
                    <a:pt x="2726" y="5170"/>
                  </a:lnTo>
                  <a:lnTo>
                    <a:pt x="2720" y="5166"/>
                  </a:lnTo>
                  <a:lnTo>
                    <a:pt x="2718" y="5164"/>
                  </a:lnTo>
                  <a:lnTo>
                    <a:pt x="2714" y="5162"/>
                  </a:lnTo>
                  <a:lnTo>
                    <a:pt x="2708" y="5164"/>
                  </a:lnTo>
                  <a:lnTo>
                    <a:pt x="2704" y="5166"/>
                  </a:lnTo>
                  <a:lnTo>
                    <a:pt x="2700" y="5166"/>
                  </a:lnTo>
                  <a:lnTo>
                    <a:pt x="2698" y="5162"/>
                  </a:lnTo>
                  <a:lnTo>
                    <a:pt x="2694" y="5154"/>
                  </a:lnTo>
                  <a:lnTo>
                    <a:pt x="2692" y="5150"/>
                  </a:lnTo>
                  <a:lnTo>
                    <a:pt x="2688" y="5148"/>
                  </a:lnTo>
                  <a:lnTo>
                    <a:pt x="2686" y="5150"/>
                  </a:lnTo>
                  <a:lnTo>
                    <a:pt x="2682" y="5152"/>
                  </a:lnTo>
                  <a:lnTo>
                    <a:pt x="2680" y="5156"/>
                  </a:lnTo>
                  <a:lnTo>
                    <a:pt x="2676" y="5166"/>
                  </a:lnTo>
                  <a:lnTo>
                    <a:pt x="2670" y="5178"/>
                  </a:lnTo>
                  <a:lnTo>
                    <a:pt x="2668" y="5180"/>
                  </a:lnTo>
                  <a:lnTo>
                    <a:pt x="2666" y="5180"/>
                  </a:lnTo>
                  <a:lnTo>
                    <a:pt x="2660" y="5176"/>
                  </a:lnTo>
                  <a:lnTo>
                    <a:pt x="2654" y="5174"/>
                  </a:lnTo>
                  <a:lnTo>
                    <a:pt x="2646" y="5172"/>
                  </a:lnTo>
                  <a:lnTo>
                    <a:pt x="2634" y="5174"/>
                  </a:lnTo>
                  <a:lnTo>
                    <a:pt x="2630" y="5174"/>
                  </a:lnTo>
                  <a:lnTo>
                    <a:pt x="2626" y="5176"/>
                  </a:lnTo>
                  <a:lnTo>
                    <a:pt x="2620" y="5174"/>
                  </a:lnTo>
                  <a:lnTo>
                    <a:pt x="2612" y="5172"/>
                  </a:lnTo>
                  <a:lnTo>
                    <a:pt x="2604" y="5172"/>
                  </a:lnTo>
                  <a:lnTo>
                    <a:pt x="2600" y="5170"/>
                  </a:lnTo>
                  <a:lnTo>
                    <a:pt x="2596" y="5168"/>
                  </a:lnTo>
                  <a:lnTo>
                    <a:pt x="2594" y="5162"/>
                  </a:lnTo>
                  <a:lnTo>
                    <a:pt x="2590" y="5154"/>
                  </a:lnTo>
                  <a:lnTo>
                    <a:pt x="2588" y="5148"/>
                  </a:lnTo>
                  <a:lnTo>
                    <a:pt x="2586" y="5144"/>
                  </a:lnTo>
                  <a:lnTo>
                    <a:pt x="2584" y="5144"/>
                  </a:lnTo>
                  <a:lnTo>
                    <a:pt x="2582" y="5144"/>
                  </a:lnTo>
                  <a:lnTo>
                    <a:pt x="2576" y="5146"/>
                  </a:lnTo>
                  <a:lnTo>
                    <a:pt x="2574" y="5146"/>
                  </a:lnTo>
                  <a:lnTo>
                    <a:pt x="2570" y="5142"/>
                  </a:lnTo>
                  <a:lnTo>
                    <a:pt x="2566" y="5140"/>
                  </a:lnTo>
                  <a:lnTo>
                    <a:pt x="2564" y="5140"/>
                  </a:lnTo>
                  <a:lnTo>
                    <a:pt x="2558" y="5140"/>
                  </a:lnTo>
                  <a:lnTo>
                    <a:pt x="2554" y="5142"/>
                  </a:lnTo>
                  <a:lnTo>
                    <a:pt x="2552" y="5140"/>
                  </a:lnTo>
                  <a:lnTo>
                    <a:pt x="2550" y="5138"/>
                  </a:lnTo>
                  <a:lnTo>
                    <a:pt x="2544" y="5132"/>
                  </a:lnTo>
                  <a:lnTo>
                    <a:pt x="2538" y="5128"/>
                  </a:lnTo>
                  <a:lnTo>
                    <a:pt x="2532" y="5128"/>
                  </a:lnTo>
                  <a:lnTo>
                    <a:pt x="2530" y="5130"/>
                  </a:lnTo>
                  <a:lnTo>
                    <a:pt x="2530" y="5132"/>
                  </a:lnTo>
                  <a:lnTo>
                    <a:pt x="2528" y="5136"/>
                  </a:lnTo>
                  <a:lnTo>
                    <a:pt x="2526" y="5136"/>
                  </a:lnTo>
                  <a:lnTo>
                    <a:pt x="2520" y="5136"/>
                  </a:lnTo>
                  <a:lnTo>
                    <a:pt x="2512" y="5132"/>
                  </a:lnTo>
                  <a:lnTo>
                    <a:pt x="2498" y="5130"/>
                  </a:lnTo>
                  <a:lnTo>
                    <a:pt x="2492" y="5130"/>
                  </a:lnTo>
                  <a:lnTo>
                    <a:pt x="2488" y="5132"/>
                  </a:lnTo>
                  <a:lnTo>
                    <a:pt x="2486" y="5136"/>
                  </a:lnTo>
                  <a:lnTo>
                    <a:pt x="2484" y="5140"/>
                  </a:lnTo>
                  <a:lnTo>
                    <a:pt x="2482" y="5150"/>
                  </a:lnTo>
                  <a:lnTo>
                    <a:pt x="2480" y="5152"/>
                  </a:lnTo>
                  <a:lnTo>
                    <a:pt x="2478" y="5154"/>
                  </a:lnTo>
                  <a:lnTo>
                    <a:pt x="2474" y="5156"/>
                  </a:lnTo>
                  <a:lnTo>
                    <a:pt x="2472" y="5160"/>
                  </a:lnTo>
                  <a:lnTo>
                    <a:pt x="2472" y="5164"/>
                  </a:lnTo>
                  <a:lnTo>
                    <a:pt x="2464" y="5164"/>
                  </a:lnTo>
                  <a:lnTo>
                    <a:pt x="2460" y="5166"/>
                  </a:lnTo>
                  <a:lnTo>
                    <a:pt x="2458" y="5168"/>
                  </a:lnTo>
                  <a:lnTo>
                    <a:pt x="2460" y="5172"/>
                  </a:lnTo>
                  <a:lnTo>
                    <a:pt x="2464" y="5174"/>
                  </a:lnTo>
                  <a:lnTo>
                    <a:pt x="2474" y="5174"/>
                  </a:lnTo>
                  <a:lnTo>
                    <a:pt x="2482" y="5174"/>
                  </a:lnTo>
                  <a:lnTo>
                    <a:pt x="2490" y="5174"/>
                  </a:lnTo>
                  <a:lnTo>
                    <a:pt x="2494" y="5174"/>
                  </a:lnTo>
                  <a:lnTo>
                    <a:pt x="2496" y="5178"/>
                  </a:lnTo>
                  <a:lnTo>
                    <a:pt x="2500" y="5180"/>
                  </a:lnTo>
                  <a:lnTo>
                    <a:pt x="2504" y="5180"/>
                  </a:lnTo>
                  <a:lnTo>
                    <a:pt x="2510" y="5180"/>
                  </a:lnTo>
                  <a:lnTo>
                    <a:pt x="2512" y="5180"/>
                  </a:lnTo>
                  <a:lnTo>
                    <a:pt x="2508" y="5188"/>
                  </a:lnTo>
                  <a:lnTo>
                    <a:pt x="2506" y="5194"/>
                  </a:lnTo>
                  <a:lnTo>
                    <a:pt x="2508" y="5198"/>
                  </a:lnTo>
                  <a:lnTo>
                    <a:pt x="2510" y="5200"/>
                  </a:lnTo>
                  <a:lnTo>
                    <a:pt x="2516" y="5200"/>
                  </a:lnTo>
                  <a:lnTo>
                    <a:pt x="2536" y="5204"/>
                  </a:lnTo>
                  <a:lnTo>
                    <a:pt x="2550" y="5210"/>
                  </a:lnTo>
                  <a:lnTo>
                    <a:pt x="2570" y="5218"/>
                  </a:lnTo>
                  <a:lnTo>
                    <a:pt x="2576" y="5220"/>
                  </a:lnTo>
                  <a:lnTo>
                    <a:pt x="2584" y="5220"/>
                  </a:lnTo>
                  <a:lnTo>
                    <a:pt x="2588" y="5220"/>
                  </a:lnTo>
                  <a:lnTo>
                    <a:pt x="2594" y="5218"/>
                  </a:lnTo>
                  <a:lnTo>
                    <a:pt x="2602" y="5214"/>
                  </a:lnTo>
                  <a:lnTo>
                    <a:pt x="2606" y="5214"/>
                  </a:lnTo>
                  <a:lnTo>
                    <a:pt x="2608" y="5214"/>
                  </a:lnTo>
                  <a:lnTo>
                    <a:pt x="2614" y="5218"/>
                  </a:lnTo>
                  <a:lnTo>
                    <a:pt x="2620" y="5216"/>
                  </a:lnTo>
                  <a:lnTo>
                    <a:pt x="2628" y="5216"/>
                  </a:lnTo>
                  <a:lnTo>
                    <a:pt x="2642" y="5218"/>
                  </a:lnTo>
                  <a:lnTo>
                    <a:pt x="2648" y="5220"/>
                  </a:lnTo>
                  <a:lnTo>
                    <a:pt x="2654" y="5224"/>
                  </a:lnTo>
                  <a:lnTo>
                    <a:pt x="2662" y="5230"/>
                  </a:lnTo>
                  <a:lnTo>
                    <a:pt x="2668" y="5234"/>
                  </a:lnTo>
                  <a:lnTo>
                    <a:pt x="2676" y="5238"/>
                  </a:lnTo>
                  <a:lnTo>
                    <a:pt x="2690" y="5242"/>
                  </a:lnTo>
                  <a:lnTo>
                    <a:pt x="2706" y="5246"/>
                  </a:lnTo>
                  <a:lnTo>
                    <a:pt x="2722" y="5248"/>
                  </a:lnTo>
                  <a:lnTo>
                    <a:pt x="2726" y="5246"/>
                  </a:lnTo>
                  <a:lnTo>
                    <a:pt x="2728" y="5244"/>
                  </a:lnTo>
                  <a:lnTo>
                    <a:pt x="2732" y="5244"/>
                  </a:lnTo>
                  <a:lnTo>
                    <a:pt x="2752" y="5248"/>
                  </a:lnTo>
                  <a:lnTo>
                    <a:pt x="2764" y="5250"/>
                  </a:lnTo>
                  <a:lnTo>
                    <a:pt x="2770" y="5248"/>
                  </a:lnTo>
                  <a:lnTo>
                    <a:pt x="2772" y="5246"/>
                  </a:lnTo>
                  <a:lnTo>
                    <a:pt x="2774" y="5244"/>
                  </a:lnTo>
                  <a:lnTo>
                    <a:pt x="2774" y="5242"/>
                  </a:lnTo>
                  <a:lnTo>
                    <a:pt x="2776" y="5242"/>
                  </a:lnTo>
                  <a:lnTo>
                    <a:pt x="2794" y="5250"/>
                  </a:lnTo>
                  <a:lnTo>
                    <a:pt x="2806" y="5256"/>
                  </a:lnTo>
                  <a:lnTo>
                    <a:pt x="2814" y="5258"/>
                  </a:lnTo>
                  <a:lnTo>
                    <a:pt x="2820" y="5260"/>
                  </a:lnTo>
                  <a:lnTo>
                    <a:pt x="2828" y="5264"/>
                  </a:lnTo>
                  <a:lnTo>
                    <a:pt x="2834" y="5268"/>
                  </a:lnTo>
                  <a:lnTo>
                    <a:pt x="2836" y="5268"/>
                  </a:lnTo>
                  <a:lnTo>
                    <a:pt x="2836" y="5266"/>
                  </a:lnTo>
                  <a:lnTo>
                    <a:pt x="2836" y="5262"/>
                  </a:lnTo>
                  <a:lnTo>
                    <a:pt x="2832" y="5258"/>
                  </a:lnTo>
                  <a:close/>
                  <a:moveTo>
                    <a:pt x="2398" y="4778"/>
                  </a:moveTo>
                  <a:lnTo>
                    <a:pt x="2398" y="4778"/>
                  </a:lnTo>
                  <a:lnTo>
                    <a:pt x="2400" y="4780"/>
                  </a:lnTo>
                  <a:lnTo>
                    <a:pt x="2402" y="4780"/>
                  </a:lnTo>
                  <a:lnTo>
                    <a:pt x="2406" y="4780"/>
                  </a:lnTo>
                  <a:lnTo>
                    <a:pt x="2410" y="4776"/>
                  </a:lnTo>
                  <a:lnTo>
                    <a:pt x="2410" y="4774"/>
                  </a:lnTo>
                  <a:lnTo>
                    <a:pt x="2408" y="4772"/>
                  </a:lnTo>
                  <a:lnTo>
                    <a:pt x="2402" y="4772"/>
                  </a:lnTo>
                  <a:lnTo>
                    <a:pt x="2398" y="4774"/>
                  </a:lnTo>
                  <a:lnTo>
                    <a:pt x="2398" y="4776"/>
                  </a:lnTo>
                  <a:lnTo>
                    <a:pt x="2398" y="4778"/>
                  </a:lnTo>
                  <a:close/>
                  <a:moveTo>
                    <a:pt x="2330" y="4760"/>
                  </a:moveTo>
                  <a:lnTo>
                    <a:pt x="2330" y="4760"/>
                  </a:lnTo>
                  <a:lnTo>
                    <a:pt x="2330" y="4762"/>
                  </a:lnTo>
                  <a:lnTo>
                    <a:pt x="2332" y="4764"/>
                  </a:lnTo>
                  <a:lnTo>
                    <a:pt x="2340" y="4770"/>
                  </a:lnTo>
                  <a:lnTo>
                    <a:pt x="2348" y="4774"/>
                  </a:lnTo>
                  <a:lnTo>
                    <a:pt x="2350" y="4774"/>
                  </a:lnTo>
                  <a:lnTo>
                    <a:pt x="2350" y="4770"/>
                  </a:lnTo>
                  <a:lnTo>
                    <a:pt x="2350" y="4768"/>
                  </a:lnTo>
                  <a:lnTo>
                    <a:pt x="2346" y="4764"/>
                  </a:lnTo>
                  <a:lnTo>
                    <a:pt x="2340" y="4760"/>
                  </a:lnTo>
                  <a:lnTo>
                    <a:pt x="2334" y="4758"/>
                  </a:lnTo>
                  <a:lnTo>
                    <a:pt x="2332" y="4758"/>
                  </a:lnTo>
                  <a:lnTo>
                    <a:pt x="2330" y="4760"/>
                  </a:lnTo>
                  <a:close/>
                  <a:moveTo>
                    <a:pt x="2230" y="4942"/>
                  </a:moveTo>
                  <a:lnTo>
                    <a:pt x="2230" y="4942"/>
                  </a:lnTo>
                  <a:lnTo>
                    <a:pt x="2230" y="4944"/>
                  </a:lnTo>
                  <a:lnTo>
                    <a:pt x="2230" y="4946"/>
                  </a:lnTo>
                  <a:lnTo>
                    <a:pt x="2234" y="4952"/>
                  </a:lnTo>
                  <a:lnTo>
                    <a:pt x="2238" y="4956"/>
                  </a:lnTo>
                  <a:lnTo>
                    <a:pt x="2242" y="4956"/>
                  </a:lnTo>
                  <a:lnTo>
                    <a:pt x="2244" y="4954"/>
                  </a:lnTo>
                  <a:lnTo>
                    <a:pt x="2244" y="4952"/>
                  </a:lnTo>
                  <a:lnTo>
                    <a:pt x="2244" y="4950"/>
                  </a:lnTo>
                  <a:lnTo>
                    <a:pt x="2240" y="4944"/>
                  </a:lnTo>
                  <a:lnTo>
                    <a:pt x="2236" y="4940"/>
                  </a:lnTo>
                  <a:lnTo>
                    <a:pt x="2232" y="4940"/>
                  </a:lnTo>
                  <a:lnTo>
                    <a:pt x="2230" y="4942"/>
                  </a:lnTo>
                  <a:close/>
                  <a:moveTo>
                    <a:pt x="2194" y="4886"/>
                  </a:moveTo>
                  <a:lnTo>
                    <a:pt x="2194" y="4886"/>
                  </a:lnTo>
                  <a:lnTo>
                    <a:pt x="2192" y="4890"/>
                  </a:lnTo>
                  <a:lnTo>
                    <a:pt x="2192" y="4896"/>
                  </a:lnTo>
                  <a:lnTo>
                    <a:pt x="2194" y="4904"/>
                  </a:lnTo>
                  <a:lnTo>
                    <a:pt x="2198" y="4910"/>
                  </a:lnTo>
                  <a:lnTo>
                    <a:pt x="2208" y="4920"/>
                  </a:lnTo>
                  <a:lnTo>
                    <a:pt x="2214" y="4924"/>
                  </a:lnTo>
                  <a:lnTo>
                    <a:pt x="2218" y="4924"/>
                  </a:lnTo>
                  <a:lnTo>
                    <a:pt x="2220" y="4920"/>
                  </a:lnTo>
                  <a:lnTo>
                    <a:pt x="2220" y="4914"/>
                  </a:lnTo>
                  <a:lnTo>
                    <a:pt x="2214" y="4900"/>
                  </a:lnTo>
                  <a:lnTo>
                    <a:pt x="2210" y="4894"/>
                  </a:lnTo>
                  <a:lnTo>
                    <a:pt x="2204" y="4888"/>
                  </a:lnTo>
                  <a:lnTo>
                    <a:pt x="2200" y="4886"/>
                  </a:lnTo>
                  <a:lnTo>
                    <a:pt x="2194" y="4886"/>
                  </a:lnTo>
                  <a:close/>
                  <a:moveTo>
                    <a:pt x="2182" y="4866"/>
                  </a:moveTo>
                  <a:lnTo>
                    <a:pt x="2182" y="4866"/>
                  </a:lnTo>
                  <a:lnTo>
                    <a:pt x="2184" y="4868"/>
                  </a:lnTo>
                  <a:lnTo>
                    <a:pt x="2186" y="4866"/>
                  </a:lnTo>
                  <a:lnTo>
                    <a:pt x="2188" y="4862"/>
                  </a:lnTo>
                  <a:lnTo>
                    <a:pt x="2188" y="4856"/>
                  </a:lnTo>
                  <a:lnTo>
                    <a:pt x="2186" y="4850"/>
                  </a:lnTo>
                  <a:lnTo>
                    <a:pt x="2184" y="4850"/>
                  </a:lnTo>
                  <a:lnTo>
                    <a:pt x="2182" y="4850"/>
                  </a:lnTo>
                  <a:lnTo>
                    <a:pt x="2180" y="4854"/>
                  </a:lnTo>
                  <a:lnTo>
                    <a:pt x="2180" y="4860"/>
                  </a:lnTo>
                  <a:lnTo>
                    <a:pt x="2180" y="4864"/>
                  </a:lnTo>
                  <a:lnTo>
                    <a:pt x="2182" y="4866"/>
                  </a:lnTo>
                  <a:close/>
                  <a:moveTo>
                    <a:pt x="2248" y="4964"/>
                  </a:moveTo>
                  <a:lnTo>
                    <a:pt x="2248" y="4964"/>
                  </a:lnTo>
                  <a:lnTo>
                    <a:pt x="2246" y="4968"/>
                  </a:lnTo>
                  <a:lnTo>
                    <a:pt x="2246" y="4974"/>
                  </a:lnTo>
                  <a:lnTo>
                    <a:pt x="2248" y="4976"/>
                  </a:lnTo>
                  <a:lnTo>
                    <a:pt x="2252" y="4978"/>
                  </a:lnTo>
                  <a:lnTo>
                    <a:pt x="2254" y="4978"/>
                  </a:lnTo>
                  <a:lnTo>
                    <a:pt x="2256" y="4980"/>
                  </a:lnTo>
                  <a:lnTo>
                    <a:pt x="2260" y="4990"/>
                  </a:lnTo>
                  <a:lnTo>
                    <a:pt x="2262" y="4996"/>
                  </a:lnTo>
                  <a:lnTo>
                    <a:pt x="2264" y="4996"/>
                  </a:lnTo>
                  <a:lnTo>
                    <a:pt x="2266" y="4994"/>
                  </a:lnTo>
                  <a:lnTo>
                    <a:pt x="2266" y="4990"/>
                  </a:lnTo>
                  <a:lnTo>
                    <a:pt x="2266" y="4984"/>
                  </a:lnTo>
                  <a:lnTo>
                    <a:pt x="2260" y="4974"/>
                  </a:lnTo>
                  <a:lnTo>
                    <a:pt x="2254" y="4964"/>
                  </a:lnTo>
                  <a:lnTo>
                    <a:pt x="2250" y="4964"/>
                  </a:lnTo>
                  <a:lnTo>
                    <a:pt x="2248" y="4964"/>
                  </a:lnTo>
                  <a:close/>
                  <a:moveTo>
                    <a:pt x="2354" y="4788"/>
                  </a:moveTo>
                  <a:lnTo>
                    <a:pt x="2354" y="4788"/>
                  </a:lnTo>
                  <a:lnTo>
                    <a:pt x="2352" y="4784"/>
                  </a:lnTo>
                  <a:lnTo>
                    <a:pt x="2350" y="4792"/>
                  </a:lnTo>
                  <a:lnTo>
                    <a:pt x="2348" y="4796"/>
                  </a:lnTo>
                  <a:lnTo>
                    <a:pt x="2348" y="4800"/>
                  </a:lnTo>
                  <a:lnTo>
                    <a:pt x="2352" y="4800"/>
                  </a:lnTo>
                  <a:lnTo>
                    <a:pt x="2358" y="4802"/>
                  </a:lnTo>
                  <a:lnTo>
                    <a:pt x="2364" y="4802"/>
                  </a:lnTo>
                  <a:lnTo>
                    <a:pt x="2370" y="4804"/>
                  </a:lnTo>
                  <a:lnTo>
                    <a:pt x="2372" y="4804"/>
                  </a:lnTo>
                  <a:lnTo>
                    <a:pt x="2372" y="4800"/>
                  </a:lnTo>
                  <a:lnTo>
                    <a:pt x="2372" y="4798"/>
                  </a:lnTo>
                  <a:lnTo>
                    <a:pt x="2370" y="4796"/>
                  </a:lnTo>
                  <a:lnTo>
                    <a:pt x="2364" y="4794"/>
                  </a:lnTo>
                  <a:lnTo>
                    <a:pt x="2358" y="4792"/>
                  </a:lnTo>
                  <a:lnTo>
                    <a:pt x="2354" y="4788"/>
                  </a:lnTo>
                  <a:close/>
                  <a:moveTo>
                    <a:pt x="2484" y="5128"/>
                  </a:moveTo>
                  <a:lnTo>
                    <a:pt x="2484" y="5128"/>
                  </a:lnTo>
                  <a:lnTo>
                    <a:pt x="2486" y="5124"/>
                  </a:lnTo>
                  <a:lnTo>
                    <a:pt x="2486" y="5120"/>
                  </a:lnTo>
                  <a:lnTo>
                    <a:pt x="2488" y="5108"/>
                  </a:lnTo>
                  <a:lnTo>
                    <a:pt x="2486" y="5092"/>
                  </a:lnTo>
                  <a:lnTo>
                    <a:pt x="2488" y="5076"/>
                  </a:lnTo>
                  <a:lnTo>
                    <a:pt x="2488" y="5062"/>
                  </a:lnTo>
                  <a:lnTo>
                    <a:pt x="2486" y="5056"/>
                  </a:lnTo>
                  <a:lnTo>
                    <a:pt x="2484" y="5050"/>
                  </a:lnTo>
                  <a:lnTo>
                    <a:pt x="2486" y="5038"/>
                  </a:lnTo>
                  <a:lnTo>
                    <a:pt x="2488" y="5028"/>
                  </a:lnTo>
                  <a:lnTo>
                    <a:pt x="2488" y="5020"/>
                  </a:lnTo>
                  <a:lnTo>
                    <a:pt x="2486" y="5014"/>
                  </a:lnTo>
                  <a:lnTo>
                    <a:pt x="2492" y="5004"/>
                  </a:lnTo>
                  <a:lnTo>
                    <a:pt x="2494" y="4998"/>
                  </a:lnTo>
                  <a:lnTo>
                    <a:pt x="2496" y="4994"/>
                  </a:lnTo>
                  <a:lnTo>
                    <a:pt x="2494" y="4990"/>
                  </a:lnTo>
                  <a:lnTo>
                    <a:pt x="2492" y="4988"/>
                  </a:lnTo>
                  <a:lnTo>
                    <a:pt x="2486" y="4982"/>
                  </a:lnTo>
                  <a:lnTo>
                    <a:pt x="2482" y="4978"/>
                  </a:lnTo>
                  <a:lnTo>
                    <a:pt x="2480" y="4972"/>
                  </a:lnTo>
                  <a:lnTo>
                    <a:pt x="2476" y="4962"/>
                  </a:lnTo>
                  <a:lnTo>
                    <a:pt x="2472" y="4956"/>
                  </a:lnTo>
                  <a:lnTo>
                    <a:pt x="2468" y="4954"/>
                  </a:lnTo>
                  <a:lnTo>
                    <a:pt x="2460" y="4956"/>
                  </a:lnTo>
                  <a:lnTo>
                    <a:pt x="2456" y="4958"/>
                  </a:lnTo>
                  <a:lnTo>
                    <a:pt x="2452" y="4956"/>
                  </a:lnTo>
                  <a:lnTo>
                    <a:pt x="2450" y="4956"/>
                  </a:lnTo>
                  <a:lnTo>
                    <a:pt x="2446" y="4958"/>
                  </a:lnTo>
                  <a:lnTo>
                    <a:pt x="2440" y="4962"/>
                  </a:lnTo>
                  <a:lnTo>
                    <a:pt x="2442" y="4956"/>
                  </a:lnTo>
                  <a:lnTo>
                    <a:pt x="2446" y="4946"/>
                  </a:lnTo>
                  <a:lnTo>
                    <a:pt x="2446" y="4942"/>
                  </a:lnTo>
                  <a:lnTo>
                    <a:pt x="2442" y="4940"/>
                  </a:lnTo>
                  <a:lnTo>
                    <a:pt x="2438" y="4938"/>
                  </a:lnTo>
                  <a:lnTo>
                    <a:pt x="2436" y="4932"/>
                  </a:lnTo>
                  <a:lnTo>
                    <a:pt x="2430" y="4914"/>
                  </a:lnTo>
                  <a:lnTo>
                    <a:pt x="2428" y="4904"/>
                  </a:lnTo>
                  <a:lnTo>
                    <a:pt x="2426" y="4898"/>
                  </a:lnTo>
                  <a:lnTo>
                    <a:pt x="2422" y="4892"/>
                  </a:lnTo>
                  <a:lnTo>
                    <a:pt x="2420" y="4890"/>
                  </a:lnTo>
                  <a:lnTo>
                    <a:pt x="2416" y="4890"/>
                  </a:lnTo>
                  <a:lnTo>
                    <a:pt x="2410" y="4890"/>
                  </a:lnTo>
                  <a:lnTo>
                    <a:pt x="2404" y="4890"/>
                  </a:lnTo>
                  <a:lnTo>
                    <a:pt x="2394" y="4884"/>
                  </a:lnTo>
                  <a:lnTo>
                    <a:pt x="2390" y="4880"/>
                  </a:lnTo>
                  <a:lnTo>
                    <a:pt x="2388" y="4876"/>
                  </a:lnTo>
                  <a:lnTo>
                    <a:pt x="2388" y="4872"/>
                  </a:lnTo>
                  <a:lnTo>
                    <a:pt x="2388" y="4868"/>
                  </a:lnTo>
                  <a:lnTo>
                    <a:pt x="2390" y="4862"/>
                  </a:lnTo>
                  <a:lnTo>
                    <a:pt x="2392" y="4858"/>
                  </a:lnTo>
                  <a:lnTo>
                    <a:pt x="2390" y="4852"/>
                  </a:lnTo>
                  <a:lnTo>
                    <a:pt x="2390" y="4848"/>
                  </a:lnTo>
                  <a:lnTo>
                    <a:pt x="2392" y="4846"/>
                  </a:lnTo>
                  <a:lnTo>
                    <a:pt x="2396" y="4844"/>
                  </a:lnTo>
                  <a:lnTo>
                    <a:pt x="2400" y="4842"/>
                  </a:lnTo>
                  <a:lnTo>
                    <a:pt x="2402" y="4836"/>
                  </a:lnTo>
                  <a:lnTo>
                    <a:pt x="2402" y="4832"/>
                  </a:lnTo>
                  <a:lnTo>
                    <a:pt x="2400" y="4826"/>
                  </a:lnTo>
                  <a:lnTo>
                    <a:pt x="2396" y="4822"/>
                  </a:lnTo>
                  <a:lnTo>
                    <a:pt x="2392" y="4818"/>
                  </a:lnTo>
                  <a:lnTo>
                    <a:pt x="2386" y="4816"/>
                  </a:lnTo>
                  <a:lnTo>
                    <a:pt x="2380" y="4818"/>
                  </a:lnTo>
                  <a:lnTo>
                    <a:pt x="2376" y="4820"/>
                  </a:lnTo>
                  <a:lnTo>
                    <a:pt x="2374" y="4820"/>
                  </a:lnTo>
                  <a:lnTo>
                    <a:pt x="2372" y="4814"/>
                  </a:lnTo>
                  <a:lnTo>
                    <a:pt x="2372" y="4812"/>
                  </a:lnTo>
                  <a:lnTo>
                    <a:pt x="2368" y="4808"/>
                  </a:lnTo>
                  <a:lnTo>
                    <a:pt x="2364" y="4806"/>
                  </a:lnTo>
                  <a:lnTo>
                    <a:pt x="2356" y="4804"/>
                  </a:lnTo>
                  <a:lnTo>
                    <a:pt x="2348" y="4802"/>
                  </a:lnTo>
                  <a:lnTo>
                    <a:pt x="2342" y="4796"/>
                  </a:lnTo>
                  <a:lnTo>
                    <a:pt x="2340" y="4790"/>
                  </a:lnTo>
                  <a:lnTo>
                    <a:pt x="2338" y="4784"/>
                  </a:lnTo>
                  <a:lnTo>
                    <a:pt x="2336" y="4776"/>
                  </a:lnTo>
                  <a:lnTo>
                    <a:pt x="2332" y="4768"/>
                  </a:lnTo>
                  <a:lnTo>
                    <a:pt x="2324" y="4762"/>
                  </a:lnTo>
                  <a:lnTo>
                    <a:pt x="2314" y="4758"/>
                  </a:lnTo>
                  <a:lnTo>
                    <a:pt x="2308" y="4756"/>
                  </a:lnTo>
                  <a:lnTo>
                    <a:pt x="2304" y="4754"/>
                  </a:lnTo>
                  <a:lnTo>
                    <a:pt x="2302" y="4748"/>
                  </a:lnTo>
                  <a:lnTo>
                    <a:pt x="2300" y="4740"/>
                  </a:lnTo>
                  <a:lnTo>
                    <a:pt x="2298" y="4738"/>
                  </a:lnTo>
                  <a:lnTo>
                    <a:pt x="2296" y="4734"/>
                  </a:lnTo>
                  <a:lnTo>
                    <a:pt x="2288" y="4728"/>
                  </a:lnTo>
                  <a:lnTo>
                    <a:pt x="2284" y="4728"/>
                  </a:lnTo>
                  <a:lnTo>
                    <a:pt x="2282" y="4730"/>
                  </a:lnTo>
                  <a:lnTo>
                    <a:pt x="2282" y="4732"/>
                  </a:lnTo>
                  <a:lnTo>
                    <a:pt x="2282" y="4740"/>
                  </a:lnTo>
                  <a:lnTo>
                    <a:pt x="2282" y="4742"/>
                  </a:lnTo>
                  <a:lnTo>
                    <a:pt x="2280" y="4740"/>
                  </a:lnTo>
                  <a:lnTo>
                    <a:pt x="2274" y="4736"/>
                  </a:lnTo>
                  <a:lnTo>
                    <a:pt x="2270" y="4732"/>
                  </a:lnTo>
                  <a:lnTo>
                    <a:pt x="2266" y="4728"/>
                  </a:lnTo>
                  <a:lnTo>
                    <a:pt x="2262" y="4718"/>
                  </a:lnTo>
                  <a:lnTo>
                    <a:pt x="2258" y="4710"/>
                  </a:lnTo>
                  <a:lnTo>
                    <a:pt x="2254" y="4708"/>
                  </a:lnTo>
                  <a:lnTo>
                    <a:pt x="2252" y="4708"/>
                  </a:lnTo>
                  <a:lnTo>
                    <a:pt x="2248" y="4702"/>
                  </a:lnTo>
                  <a:lnTo>
                    <a:pt x="2242" y="4692"/>
                  </a:lnTo>
                  <a:lnTo>
                    <a:pt x="2234" y="4680"/>
                  </a:lnTo>
                  <a:lnTo>
                    <a:pt x="2222" y="4670"/>
                  </a:lnTo>
                  <a:lnTo>
                    <a:pt x="2214" y="4666"/>
                  </a:lnTo>
                  <a:lnTo>
                    <a:pt x="2208" y="4664"/>
                  </a:lnTo>
                  <a:lnTo>
                    <a:pt x="2204" y="4662"/>
                  </a:lnTo>
                  <a:lnTo>
                    <a:pt x="2200" y="4658"/>
                  </a:lnTo>
                  <a:lnTo>
                    <a:pt x="2196" y="4652"/>
                  </a:lnTo>
                  <a:lnTo>
                    <a:pt x="2192" y="4646"/>
                  </a:lnTo>
                  <a:lnTo>
                    <a:pt x="2190" y="4644"/>
                  </a:lnTo>
                  <a:lnTo>
                    <a:pt x="2186" y="4642"/>
                  </a:lnTo>
                  <a:lnTo>
                    <a:pt x="2182" y="4640"/>
                  </a:lnTo>
                  <a:lnTo>
                    <a:pt x="2180" y="4638"/>
                  </a:lnTo>
                  <a:lnTo>
                    <a:pt x="2180" y="4632"/>
                  </a:lnTo>
                  <a:lnTo>
                    <a:pt x="2178" y="4626"/>
                  </a:lnTo>
                  <a:lnTo>
                    <a:pt x="2176" y="4624"/>
                  </a:lnTo>
                  <a:lnTo>
                    <a:pt x="2174" y="4622"/>
                  </a:lnTo>
                  <a:lnTo>
                    <a:pt x="2170" y="4620"/>
                  </a:lnTo>
                  <a:lnTo>
                    <a:pt x="2168" y="4618"/>
                  </a:lnTo>
                  <a:lnTo>
                    <a:pt x="2166" y="4612"/>
                  </a:lnTo>
                  <a:lnTo>
                    <a:pt x="2166" y="4604"/>
                  </a:lnTo>
                  <a:lnTo>
                    <a:pt x="2162" y="4598"/>
                  </a:lnTo>
                  <a:lnTo>
                    <a:pt x="2158" y="4592"/>
                  </a:lnTo>
                  <a:lnTo>
                    <a:pt x="2150" y="4582"/>
                  </a:lnTo>
                  <a:lnTo>
                    <a:pt x="2146" y="4582"/>
                  </a:lnTo>
                  <a:lnTo>
                    <a:pt x="2146" y="4584"/>
                  </a:lnTo>
                  <a:lnTo>
                    <a:pt x="2142" y="4586"/>
                  </a:lnTo>
                  <a:lnTo>
                    <a:pt x="2138" y="4586"/>
                  </a:lnTo>
                  <a:lnTo>
                    <a:pt x="2134" y="4584"/>
                  </a:lnTo>
                  <a:lnTo>
                    <a:pt x="2130" y="4582"/>
                  </a:lnTo>
                  <a:lnTo>
                    <a:pt x="2128" y="4580"/>
                  </a:lnTo>
                  <a:lnTo>
                    <a:pt x="2122" y="4582"/>
                  </a:lnTo>
                  <a:lnTo>
                    <a:pt x="2114" y="4584"/>
                  </a:lnTo>
                  <a:lnTo>
                    <a:pt x="2108" y="4584"/>
                  </a:lnTo>
                  <a:lnTo>
                    <a:pt x="2098" y="4584"/>
                  </a:lnTo>
                  <a:lnTo>
                    <a:pt x="2088" y="4580"/>
                  </a:lnTo>
                  <a:lnTo>
                    <a:pt x="2086" y="4578"/>
                  </a:lnTo>
                  <a:lnTo>
                    <a:pt x="2084" y="4576"/>
                  </a:lnTo>
                  <a:lnTo>
                    <a:pt x="2082" y="4572"/>
                  </a:lnTo>
                  <a:lnTo>
                    <a:pt x="2078" y="4568"/>
                  </a:lnTo>
                  <a:lnTo>
                    <a:pt x="2070" y="4566"/>
                  </a:lnTo>
                  <a:lnTo>
                    <a:pt x="2062" y="4564"/>
                  </a:lnTo>
                  <a:lnTo>
                    <a:pt x="2058" y="4566"/>
                  </a:lnTo>
                  <a:lnTo>
                    <a:pt x="2056" y="4570"/>
                  </a:lnTo>
                  <a:lnTo>
                    <a:pt x="2056" y="4576"/>
                  </a:lnTo>
                  <a:lnTo>
                    <a:pt x="2058" y="4584"/>
                  </a:lnTo>
                  <a:lnTo>
                    <a:pt x="2060" y="4594"/>
                  </a:lnTo>
                  <a:lnTo>
                    <a:pt x="2070" y="4612"/>
                  </a:lnTo>
                  <a:lnTo>
                    <a:pt x="2080" y="4626"/>
                  </a:lnTo>
                  <a:lnTo>
                    <a:pt x="2086" y="4634"/>
                  </a:lnTo>
                  <a:lnTo>
                    <a:pt x="2094" y="4640"/>
                  </a:lnTo>
                  <a:lnTo>
                    <a:pt x="2102" y="4650"/>
                  </a:lnTo>
                  <a:lnTo>
                    <a:pt x="2104" y="4654"/>
                  </a:lnTo>
                  <a:lnTo>
                    <a:pt x="2108" y="4658"/>
                  </a:lnTo>
                  <a:lnTo>
                    <a:pt x="2114" y="4658"/>
                  </a:lnTo>
                  <a:lnTo>
                    <a:pt x="2116" y="4658"/>
                  </a:lnTo>
                  <a:lnTo>
                    <a:pt x="2120" y="4660"/>
                  </a:lnTo>
                  <a:lnTo>
                    <a:pt x="2124" y="4664"/>
                  </a:lnTo>
                  <a:lnTo>
                    <a:pt x="2130" y="4672"/>
                  </a:lnTo>
                  <a:lnTo>
                    <a:pt x="2138" y="4686"/>
                  </a:lnTo>
                  <a:lnTo>
                    <a:pt x="2138" y="4690"/>
                  </a:lnTo>
                  <a:lnTo>
                    <a:pt x="2138" y="4692"/>
                  </a:lnTo>
                  <a:lnTo>
                    <a:pt x="2146" y="4698"/>
                  </a:lnTo>
                  <a:lnTo>
                    <a:pt x="2152" y="4702"/>
                  </a:lnTo>
                  <a:lnTo>
                    <a:pt x="2154" y="4706"/>
                  </a:lnTo>
                  <a:lnTo>
                    <a:pt x="2154" y="4716"/>
                  </a:lnTo>
                  <a:lnTo>
                    <a:pt x="2156" y="4720"/>
                  </a:lnTo>
                  <a:lnTo>
                    <a:pt x="2158" y="4724"/>
                  </a:lnTo>
                  <a:lnTo>
                    <a:pt x="2162" y="4730"/>
                  </a:lnTo>
                  <a:lnTo>
                    <a:pt x="2172" y="4736"/>
                  </a:lnTo>
                  <a:lnTo>
                    <a:pt x="2182" y="4742"/>
                  </a:lnTo>
                  <a:lnTo>
                    <a:pt x="2192" y="4748"/>
                  </a:lnTo>
                  <a:lnTo>
                    <a:pt x="2198" y="4756"/>
                  </a:lnTo>
                  <a:lnTo>
                    <a:pt x="2200" y="4760"/>
                  </a:lnTo>
                  <a:lnTo>
                    <a:pt x="2200" y="4762"/>
                  </a:lnTo>
                  <a:lnTo>
                    <a:pt x="2198" y="4766"/>
                  </a:lnTo>
                  <a:lnTo>
                    <a:pt x="2198" y="4772"/>
                  </a:lnTo>
                  <a:lnTo>
                    <a:pt x="2206" y="4794"/>
                  </a:lnTo>
                  <a:lnTo>
                    <a:pt x="2214" y="4820"/>
                  </a:lnTo>
                  <a:lnTo>
                    <a:pt x="2218" y="4828"/>
                  </a:lnTo>
                  <a:lnTo>
                    <a:pt x="2226" y="4834"/>
                  </a:lnTo>
                  <a:lnTo>
                    <a:pt x="2234" y="4838"/>
                  </a:lnTo>
                  <a:lnTo>
                    <a:pt x="2236" y="4844"/>
                  </a:lnTo>
                  <a:lnTo>
                    <a:pt x="2240" y="4854"/>
                  </a:lnTo>
                  <a:lnTo>
                    <a:pt x="2254" y="4870"/>
                  </a:lnTo>
                  <a:lnTo>
                    <a:pt x="2260" y="4876"/>
                  </a:lnTo>
                  <a:lnTo>
                    <a:pt x="2262" y="4882"/>
                  </a:lnTo>
                  <a:lnTo>
                    <a:pt x="2264" y="4886"/>
                  </a:lnTo>
                  <a:lnTo>
                    <a:pt x="2264" y="4890"/>
                  </a:lnTo>
                  <a:lnTo>
                    <a:pt x="2262" y="4898"/>
                  </a:lnTo>
                  <a:lnTo>
                    <a:pt x="2264" y="4900"/>
                  </a:lnTo>
                  <a:lnTo>
                    <a:pt x="2266" y="4904"/>
                  </a:lnTo>
                  <a:lnTo>
                    <a:pt x="2274" y="4912"/>
                  </a:lnTo>
                  <a:lnTo>
                    <a:pt x="2278" y="4922"/>
                  </a:lnTo>
                  <a:lnTo>
                    <a:pt x="2282" y="4934"/>
                  </a:lnTo>
                  <a:lnTo>
                    <a:pt x="2284" y="4946"/>
                  </a:lnTo>
                  <a:lnTo>
                    <a:pt x="2290" y="4960"/>
                  </a:lnTo>
                  <a:lnTo>
                    <a:pt x="2300" y="4976"/>
                  </a:lnTo>
                  <a:lnTo>
                    <a:pt x="2312" y="4992"/>
                  </a:lnTo>
                  <a:lnTo>
                    <a:pt x="2326" y="5008"/>
                  </a:lnTo>
                  <a:lnTo>
                    <a:pt x="2336" y="5018"/>
                  </a:lnTo>
                  <a:lnTo>
                    <a:pt x="2342" y="5028"/>
                  </a:lnTo>
                  <a:lnTo>
                    <a:pt x="2350" y="5038"/>
                  </a:lnTo>
                  <a:lnTo>
                    <a:pt x="2364" y="5054"/>
                  </a:lnTo>
                  <a:lnTo>
                    <a:pt x="2380" y="5072"/>
                  </a:lnTo>
                  <a:lnTo>
                    <a:pt x="2394" y="5084"/>
                  </a:lnTo>
                  <a:lnTo>
                    <a:pt x="2404" y="5094"/>
                  </a:lnTo>
                  <a:lnTo>
                    <a:pt x="2416" y="5108"/>
                  </a:lnTo>
                  <a:lnTo>
                    <a:pt x="2426" y="5122"/>
                  </a:lnTo>
                  <a:lnTo>
                    <a:pt x="2434" y="5132"/>
                  </a:lnTo>
                  <a:lnTo>
                    <a:pt x="2436" y="5134"/>
                  </a:lnTo>
                  <a:lnTo>
                    <a:pt x="2438" y="5134"/>
                  </a:lnTo>
                  <a:lnTo>
                    <a:pt x="2434" y="5120"/>
                  </a:lnTo>
                  <a:lnTo>
                    <a:pt x="2434" y="5112"/>
                  </a:lnTo>
                  <a:lnTo>
                    <a:pt x="2434" y="5110"/>
                  </a:lnTo>
                  <a:lnTo>
                    <a:pt x="2438" y="5112"/>
                  </a:lnTo>
                  <a:lnTo>
                    <a:pt x="2444" y="5114"/>
                  </a:lnTo>
                  <a:lnTo>
                    <a:pt x="2450" y="5118"/>
                  </a:lnTo>
                  <a:lnTo>
                    <a:pt x="2454" y="5120"/>
                  </a:lnTo>
                  <a:lnTo>
                    <a:pt x="2458" y="5118"/>
                  </a:lnTo>
                  <a:lnTo>
                    <a:pt x="2460" y="5114"/>
                  </a:lnTo>
                  <a:lnTo>
                    <a:pt x="2462" y="5108"/>
                  </a:lnTo>
                  <a:lnTo>
                    <a:pt x="2464" y="5108"/>
                  </a:lnTo>
                  <a:lnTo>
                    <a:pt x="2470" y="5116"/>
                  </a:lnTo>
                  <a:lnTo>
                    <a:pt x="2476" y="5126"/>
                  </a:lnTo>
                  <a:lnTo>
                    <a:pt x="2480" y="5128"/>
                  </a:lnTo>
                  <a:lnTo>
                    <a:pt x="2484" y="5128"/>
                  </a:lnTo>
                  <a:close/>
                  <a:moveTo>
                    <a:pt x="2344" y="4774"/>
                  </a:moveTo>
                  <a:lnTo>
                    <a:pt x="2344" y="4774"/>
                  </a:lnTo>
                  <a:lnTo>
                    <a:pt x="2340" y="4772"/>
                  </a:lnTo>
                  <a:lnTo>
                    <a:pt x="2338" y="4772"/>
                  </a:lnTo>
                  <a:lnTo>
                    <a:pt x="2338" y="4774"/>
                  </a:lnTo>
                  <a:lnTo>
                    <a:pt x="2338" y="4776"/>
                  </a:lnTo>
                  <a:lnTo>
                    <a:pt x="2340" y="4784"/>
                  </a:lnTo>
                  <a:lnTo>
                    <a:pt x="2344" y="4792"/>
                  </a:lnTo>
                  <a:lnTo>
                    <a:pt x="2346" y="4792"/>
                  </a:lnTo>
                  <a:lnTo>
                    <a:pt x="2348" y="4788"/>
                  </a:lnTo>
                  <a:lnTo>
                    <a:pt x="2348" y="4780"/>
                  </a:lnTo>
                  <a:lnTo>
                    <a:pt x="2346" y="4776"/>
                  </a:lnTo>
                  <a:lnTo>
                    <a:pt x="2344" y="4774"/>
                  </a:lnTo>
                  <a:close/>
                  <a:moveTo>
                    <a:pt x="2374" y="4792"/>
                  </a:moveTo>
                  <a:lnTo>
                    <a:pt x="2374" y="4792"/>
                  </a:lnTo>
                  <a:lnTo>
                    <a:pt x="2372" y="4786"/>
                  </a:lnTo>
                  <a:lnTo>
                    <a:pt x="2366" y="4784"/>
                  </a:lnTo>
                  <a:lnTo>
                    <a:pt x="2360" y="4782"/>
                  </a:lnTo>
                  <a:lnTo>
                    <a:pt x="2358" y="4782"/>
                  </a:lnTo>
                  <a:lnTo>
                    <a:pt x="2358" y="4784"/>
                  </a:lnTo>
                  <a:lnTo>
                    <a:pt x="2358" y="4788"/>
                  </a:lnTo>
                  <a:lnTo>
                    <a:pt x="2364" y="4790"/>
                  </a:lnTo>
                  <a:lnTo>
                    <a:pt x="2372" y="4794"/>
                  </a:lnTo>
                  <a:lnTo>
                    <a:pt x="2374" y="4794"/>
                  </a:lnTo>
                  <a:lnTo>
                    <a:pt x="2374" y="4792"/>
                  </a:lnTo>
                  <a:close/>
                  <a:moveTo>
                    <a:pt x="2316" y="4736"/>
                  </a:moveTo>
                  <a:lnTo>
                    <a:pt x="2316" y="4736"/>
                  </a:lnTo>
                  <a:lnTo>
                    <a:pt x="2312" y="4736"/>
                  </a:lnTo>
                  <a:lnTo>
                    <a:pt x="2310" y="4736"/>
                  </a:lnTo>
                  <a:lnTo>
                    <a:pt x="2306" y="4740"/>
                  </a:lnTo>
                  <a:lnTo>
                    <a:pt x="2306" y="4746"/>
                  </a:lnTo>
                  <a:lnTo>
                    <a:pt x="2308" y="4750"/>
                  </a:lnTo>
                  <a:lnTo>
                    <a:pt x="2310" y="4752"/>
                  </a:lnTo>
                  <a:lnTo>
                    <a:pt x="2312" y="4752"/>
                  </a:lnTo>
                  <a:lnTo>
                    <a:pt x="2314" y="4752"/>
                  </a:lnTo>
                  <a:lnTo>
                    <a:pt x="2318" y="4746"/>
                  </a:lnTo>
                  <a:lnTo>
                    <a:pt x="2318" y="4740"/>
                  </a:lnTo>
                  <a:lnTo>
                    <a:pt x="2318" y="4736"/>
                  </a:lnTo>
                  <a:lnTo>
                    <a:pt x="2316" y="4736"/>
                  </a:lnTo>
                  <a:close/>
                  <a:moveTo>
                    <a:pt x="36" y="5458"/>
                  </a:moveTo>
                  <a:lnTo>
                    <a:pt x="36" y="5458"/>
                  </a:lnTo>
                  <a:lnTo>
                    <a:pt x="32" y="5458"/>
                  </a:lnTo>
                  <a:lnTo>
                    <a:pt x="30" y="5460"/>
                  </a:lnTo>
                  <a:lnTo>
                    <a:pt x="32" y="5464"/>
                  </a:lnTo>
                  <a:lnTo>
                    <a:pt x="36" y="5470"/>
                  </a:lnTo>
                  <a:lnTo>
                    <a:pt x="38" y="5472"/>
                  </a:lnTo>
                  <a:lnTo>
                    <a:pt x="40" y="5472"/>
                  </a:lnTo>
                  <a:lnTo>
                    <a:pt x="40" y="5468"/>
                  </a:lnTo>
                  <a:lnTo>
                    <a:pt x="40" y="5462"/>
                  </a:lnTo>
                  <a:lnTo>
                    <a:pt x="36" y="5458"/>
                  </a:lnTo>
                  <a:close/>
                  <a:moveTo>
                    <a:pt x="2554" y="4992"/>
                  </a:moveTo>
                  <a:lnTo>
                    <a:pt x="2554" y="4992"/>
                  </a:lnTo>
                  <a:lnTo>
                    <a:pt x="2558" y="4998"/>
                  </a:lnTo>
                  <a:lnTo>
                    <a:pt x="2560" y="4998"/>
                  </a:lnTo>
                  <a:lnTo>
                    <a:pt x="2562" y="4996"/>
                  </a:lnTo>
                  <a:lnTo>
                    <a:pt x="2564" y="4994"/>
                  </a:lnTo>
                  <a:lnTo>
                    <a:pt x="2566" y="4994"/>
                  </a:lnTo>
                  <a:lnTo>
                    <a:pt x="2570" y="4994"/>
                  </a:lnTo>
                  <a:lnTo>
                    <a:pt x="2574" y="4994"/>
                  </a:lnTo>
                  <a:lnTo>
                    <a:pt x="2578" y="4988"/>
                  </a:lnTo>
                  <a:lnTo>
                    <a:pt x="2582" y="4980"/>
                  </a:lnTo>
                  <a:lnTo>
                    <a:pt x="2582" y="4976"/>
                  </a:lnTo>
                  <a:lnTo>
                    <a:pt x="2580" y="4974"/>
                  </a:lnTo>
                  <a:lnTo>
                    <a:pt x="2576" y="4968"/>
                  </a:lnTo>
                  <a:lnTo>
                    <a:pt x="2568" y="4964"/>
                  </a:lnTo>
                  <a:lnTo>
                    <a:pt x="2562" y="4962"/>
                  </a:lnTo>
                  <a:lnTo>
                    <a:pt x="2558" y="4964"/>
                  </a:lnTo>
                  <a:lnTo>
                    <a:pt x="2556" y="4968"/>
                  </a:lnTo>
                  <a:lnTo>
                    <a:pt x="2554" y="4972"/>
                  </a:lnTo>
                  <a:lnTo>
                    <a:pt x="2552" y="4982"/>
                  </a:lnTo>
                  <a:lnTo>
                    <a:pt x="2552" y="4988"/>
                  </a:lnTo>
                  <a:lnTo>
                    <a:pt x="2554" y="4992"/>
                  </a:lnTo>
                  <a:close/>
                  <a:moveTo>
                    <a:pt x="8" y="5430"/>
                  </a:moveTo>
                  <a:lnTo>
                    <a:pt x="8" y="5430"/>
                  </a:lnTo>
                  <a:lnTo>
                    <a:pt x="6" y="5434"/>
                  </a:lnTo>
                  <a:lnTo>
                    <a:pt x="6" y="5436"/>
                  </a:lnTo>
                  <a:lnTo>
                    <a:pt x="6" y="5440"/>
                  </a:lnTo>
                  <a:lnTo>
                    <a:pt x="10" y="5444"/>
                  </a:lnTo>
                  <a:lnTo>
                    <a:pt x="14" y="5442"/>
                  </a:lnTo>
                  <a:lnTo>
                    <a:pt x="14" y="5438"/>
                  </a:lnTo>
                  <a:lnTo>
                    <a:pt x="14" y="5434"/>
                  </a:lnTo>
                  <a:lnTo>
                    <a:pt x="12" y="5430"/>
                  </a:lnTo>
                  <a:lnTo>
                    <a:pt x="10" y="5430"/>
                  </a:lnTo>
                  <a:lnTo>
                    <a:pt x="8" y="5430"/>
                  </a:lnTo>
                  <a:close/>
                  <a:moveTo>
                    <a:pt x="3222" y="4178"/>
                  </a:moveTo>
                  <a:lnTo>
                    <a:pt x="3222" y="4178"/>
                  </a:lnTo>
                  <a:lnTo>
                    <a:pt x="3224" y="4178"/>
                  </a:lnTo>
                  <a:lnTo>
                    <a:pt x="3228" y="4176"/>
                  </a:lnTo>
                  <a:lnTo>
                    <a:pt x="3232" y="4172"/>
                  </a:lnTo>
                  <a:lnTo>
                    <a:pt x="3234" y="4166"/>
                  </a:lnTo>
                  <a:lnTo>
                    <a:pt x="3232" y="4162"/>
                  </a:lnTo>
                  <a:lnTo>
                    <a:pt x="3232" y="4160"/>
                  </a:lnTo>
                  <a:lnTo>
                    <a:pt x="3230" y="4160"/>
                  </a:lnTo>
                  <a:lnTo>
                    <a:pt x="3228" y="4156"/>
                  </a:lnTo>
                  <a:lnTo>
                    <a:pt x="3226" y="4152"/>
                  </a:lnTo>
                  <a:lnTo>
                    <a:pt x="3224" y="4150"/>
                  </a:lnTo>
                  <a:lnTo>
                    <a:pt x="3222" y="4154"/>
                  </a:lnTo>
                  <a:lnTo>
                    <a:pt x="3222" y="4160"/>
                  </a:lnTo>
                  <a:lnTo>
                    <a:pt x="3222" y="4168"/>
                  </a:lnTo>
                  <a:lnTo>
                    <a:pt x="3220" y="4172"/>
                  </a:lnTo>
                  <a:lnTo>
                    <a:pt x="3218" y="4174"/>
                  </a:lnTo>
                  <a:lnTo>
                    <a:pt x="3222" y="4178"/>
                  </a:lnTo>
                  <a:close/>
                  <a:moveTo>
                    <a:pt x="3526" y="3176"/>
                  </a:moveTo>
                  <a:lnTo>
                    <a:pt x="3526" y="3176"/>
                  </a:lnTo>
                  <a:lnTo>
                    <a:pt x="3522" y="3176"/>
                  </a:lnTo>
                  <a:lnTo>
                    <a:pt x="3520" y="3174"/>
                  </a:lnTo>
                  <a:lnTo>
                    <a:pt x="3522" y="3168"/>
                  </a:lnTo>
                  <a:lnTo>
                    <a:pt x="3526" y="3162"/>
                  </a:lnTo>
                  <a:lnTo>
                    <a:pt x="3526" y="3158"/>
                  </a:lnTo>
                  <a:lnTo>
                    <a:pt x="3526" y="3154"/>
                  </a:lnTo>
                  <a:lnTo>
                    <a:pt x="3522" y="3152"/>
                  </a:lnTo>
                  <a:lnTo>
                    <a:pt x="3518" y="3152"/>
                  </a:lnTo>
                  <a:lnTo>
                    <a:pt x="3510" y="3156"/>
                  </a:lnTo>
                  <a:lnTo>
                    <a:pt x="3506" y="3156"/>
                  </a:lnTo>
                  <a:lnTo>
                    <a:pt x="3504" y="3156"/>
                  </a:lnTo>
                  <a:lnTo>
                    <a:pt x="3500" y="3154"/>
                  </a:lnTo>
                  <a:lnTo>
                    <a:pt x="3500" y="3148"/>
                  </a:lnTo>
                  <a:lnTo>
                    <a:pt x="3498" y="3146"/>
                  </a:lnTo>
                  <a:lnTo>
                    <a:pt x="3496" y="3142"/>
                  </a:lnTo>
                  <a:lnTo>
                    <a:pt x="3490" y="3140"/>
                  </a:lnTo>
                  <a:lnTo>
                    <a:pt x="3486" y="3140"/>
                  </a:lnTo>
                  <a:lnTo>
                    <a:pt x="3482" y="3140"/>
                  </a:lnTo>
                  <a:lnTo>
                    <a:pt x="3478" y="3144"/>
                  </a:lnTo>
                  <a:lnTo>
                    <a:pt x="3476" y="3148"/>
                  </a:lnTo>
                  <a:lnTo>
                    <a:pt x="3474" y="3154"/>
                  </a:lnTo>
                  <a:lnTo>
                    <a:pt x="3470" y="3154"/>
                  </a:lnTo>
                  <a:lnTo>
                    <a:pt x="3466" y="3154"/>
                  </a:lnTo>
                  <a:lnTo>
                    <a:pt x="3464" y="3160"/>
                  </a:lnTo>
                  <a:lnTo>
                    <a:pt x="3462" y="3164"/>
                  </a:lnTo>
                  <a:lnTo>
                    <a:pt x="3460" y="3164"/>
                  </a:lnTo>
                  <a:lnTo>
                    <a:pt x="3456" y="3160"/>
                  </a:lnTo>
                  <a:lnTo>
                    <a:pt x="3454" y="3158"/>
                  </a:lnTo>
                  <a:lnTo>
                    <a:pt x="3452" y="3164"/>
                  </a:lnTo>
                  <a:lnTo>
                    <a:pt x="3452" y="3168"/>
                  </a:lnTo>
                  <a:lnTo>
                    <a:pt x="3448" y="3170"/>
                  </a:lnTo>
                  <a:lnTo>
                    <a:pt x="3444" y="3168"/>
                  </a:lnTo>
                  <a:lnTo>
                    <a:pt x="3440" y="3168"/>
                  </a:lnTo>
                  <a:lnTo>
                    <a:pt x="3442" y="3174"/>
                  </a:lnTo>
                  <a:lnTo>
                    <a:pt x="3444" y="3182"/>
                  </a:lnTo>
                  <a:lnTo>
                    <a:pt x="3444" y="3186"/>
                  </a:lnTo>
                  <a:lnTo>
                    <a:pt x="3444" y="3190"/>
                  </a:lnTo>
                  <a:lnTo>
                    <a:pt x="3446" y="3196"/>
                  </a:lnTo>
                  <a:lnTo>
                    <a:pt x="3448" y="3200"/>
                  </a:lnTo>
                  <a:lnTo>
                    <a:pt x="3450" y="3204"/>
                  </a:lnTo>
                  <a:lnTo>
                    <a:pt x="3450" y="3210"/>
                  </a:lnTo>
                  <a:lnTo>
                    <a:pt x="3456" y="3204"/>
                  </a:lnTo>
                  <a:lnTo>
                    <a:pt x="3460" y="3202"/>
                  </a:lnTo>
                  <a:lnTo>
                    <a:pt x="3464" y="3200"/>
                  </a:lnTo>
                  <a:lnTo>
                    <a:pt x="3464" y="3202"/>
                  </a:lnTo>
                  <a:lnTo>
                    <a:pt x="3464" y="3204"/>
                  </a:lnTo>
                  <a:lnTo>
                    <a:pt x="3466" y="3208"/>
                  </a:lnTo>
                  <a:lnTo>
                    <a:pt x="3468" y="3208"/>
                  </a:lnTo>
                  <a:lnTo>
                    <a:pt x="3472" y="3206"/>
                  </a:lnTo>
                  <a:lnTo>
                    <a:pt x="3474" y="3204"/>
                  </a:lnTo>
                  <a:lnTo>
                    <a:pt x="3474" y="3200"/>
                  </a:lnTo>
                  <a:lnTo>
                    <a:pt x="3472" y="3198"/>
                  </a:lnTo>
                  <a:lnTo>
                    <a:pt x="3468" y="3194"/>
                  </a:lnTo>
                  <a:lnTo>
                    <a:pt x="3466" y="3192"/>
                  </a:lnTo>
                  <a:lnTo>
                    <a:pt x="3464" y="3188"/>
                  </a:lnTo>
                  <a:lnTo>
                    <a:pt x="3466" y="3182"/>
                  </a:lnTo>
                  <a:lnTo>
                    <a:pt x="3466" y="3180"/>
                  </a:lnTo>
                  <a:lnTo>
                    <a:pt x="3468" y="3180"/>
                  </a:lnTo>
                  <a:lnTo>
                    <a:pt x="3470" y="3182"/>
                  </a:lnTo>
                  <a:lnTo>
                    <a:pt x="3474" y="3186"/>
                  </a:lnTo>
                  <a:lnTo>
                    <a:pt x="3480" y="3196"/>
                  </a:lnTo>
                  <a:lnTo>
                    <a:pt x="3482" y="3208"/>
                  </a:lnTo>
                  <a:lnTo>
                    <a:pt x="3480" y="3218"/>
                  </a:lnTo>
                  <a:lnTo>
                    <a:pt x="3474" y="3228"/>
                  </a:lnTo>
                  <a:lnTo>
                    <a:pt x="3468" y="3236"/>
                  </a:lnTo>
                  <a:lnTo>
                    <a:pt x="3466" y="3242"/>
                  </a:lnTo>
                  <a:lnTo>
                    <a:pt x="3470" y="3258"/>
                  </a:lnTo>
                  <a:lnTo>
                    <a:pt x="3470" y="3266"/>
                  </a:lnTo>
                  <a:lnTo>
                    <a:pt x="3468" y="3270"/>
                  </a:lnTo>
                  <a:lnTo>
                    <a:pt x="3466" y="3274"/>
                  </a:lnTo>
                  <a:lnTo>
                    <a:pt x="3466" y="3276"/>
                  </a:lnTo>
                  <a:lnTo>
                    <a:pt x="3476" y="3280"/>
                  </a:lnTo>
                  <a:lnTo>
                    <a:pt x="3482" y="3282"/>
                  </a:lnTo>
                  <a:lnTo>
                    <a:pt x="3486" y="3286"/>
                  </a:lnTo>
                  <a:lnTo>
                    <a:pt x="3486" y="3290"/>
                  </a:lnTo>
                  <a:lnTo>
                    <a:pt x="3486" y="3292"/>
                  </a:lnTo>
                  <a:lnTo>
                    <a:pt x="3488" y="3292"/>
                  </a:lnTo>
                  <a:lnTo>
                    <a:pt x="3496" y="3288"/>
                  </a:lnTo>
                  <a:lnTo>
                    <a:pt x="3500" y="3284"/>
                  </a:lnTo>
                  <a:lnTo>
                    <a:pt x="3502" y="3280"/>
                  </a:lnTo>
                  <a:lnTo>
                    <a:pt x="3502" y="3278"/>
                  </a:lnTo>
                  <a:lnTo>
                    <a:pt x="3502" y="3276"/>
                  </a:lnTo>
                  <a:lnTo>
                    <a:pt x="3500" y="3272"/>
                  </a:lnTo>
                  <a:lnTo>
                    <a:pt x="3502" y="3270"/>
                  </a:lnTo>
                  <a:lnTo>
                    <a:pt x="3506" y="3268"/>
                  </a:lnTo>
                  <a:lnTo>
                    <a:pt x="3508" y="3270"/>
                  </a:lnTo>
                  <a:lnTo>
                    <a:pt x="3510" y="3274"/>
                  </a:lnTo>
                  <a:lnTo>
                    <a:pt x="3514" y="3272"/>
                  </a:lnTo>
                  <a:lnTo>
                    <a:pt x="3516" y="3268"/>
                  </a:lnTo>
                  <a:lnTo>
                    <a:pt x="3518" y="3260"/>
                  </a:lnTo>
                  <a:lnTo>
                    <a:pt x="3522" y="3236"/>
                  </a:lnTo>
                  <a:lnTo>
                    <a:pt x="3528" y="3212"/>
                  </a:lnTo>
                  <a:lnTo>
                    <a:pt x="3532" y="3202"/>
                  </a:lnTo>
                  <a:lnTo>
                    <a:pt x="3534" y="3200"/>
                  </a:lnTo>
                  <a:lnTo>
                    <a:pt x="3538" y="3198"/>
                  </a:lnTo>
                  <a:lnTo>
                    <a:pt x="3540" y="3196"/>
                  </a:lnTo>
                  <a:lnTo>
                    <a:pt x="3542" y="3194"/>
                  </a:lnTo>
                  <a:lnTo>
                    <a:pt x="3540" y="3186"/>
                  </a:lnTo>
                  <a:lnTo>
                    <a:pt x="3534" y="3180"/>
                  </a:lnTo>
                  <a:lnTo>
                    <a:pt x="3530" y="3178"/>
                  </a:lnTo>
                  <a:lnTo>
                    <a:pt x="3526" y="3176"/>
                  </a:lnTo>
                  <a:close/>
                  <a:moveTo>
                    <a:pt x="3432" y="3438"/>
                  </a:moveTo>
                  <a:lnTo>
                    <a:pt x="3432" y="3438"/>
                  </a:lnTo>
                  <a:lnTo>
                    <a:pt x="3432" y="3442"/>
                  </a:lnTo>
                  <a:lnTo>
                    <a:pt x="3434" y="3442"/>
                  </a:lnTo>
                  <a:lnTo>
                    <a:pt x="3440" y="3436"/>
                  </a:lnTo>
                  <a:lnTo>
                    <a:pt x="3446" y="3428"/>
                  </a:lnTo>
                  <a:lnTo>
                    <a:pt x="3448" y="3424"/>
                  </a:lnTo>
                  <a:lnTo>
                    <a:pt x="3448" y="3422"/>
                  </a:lnTo>
                  <a:lnTo>
                    <a:pt x="3444" y="3422"/>
                  </a:lnTo>
                  <a:lnTo>
                    <a:pt x="3438" y="3424"/>
                  </a:lnTo>
                  <a:lnTo>
                    <a:pt x="3434" y="3430"/>
                  </a:lnTo>
                  <a:lnTo>
                    <a:pt x="3432" y="3434"/>
                  </a:lnTo>
                  <a:lnTo>
                    <a:pt x="3432" y="3438"/>
                  </a:lnTo>
                  <a:close/>
                  <a:moveTo>
                    <a:pt x="3434" y="3100"/>
                  </a:moveTo>
                  <a:lnTo>
                    <a:pt x="3434" y="3100"/>
                  </a:lnTo>
                  <a:lnTo>
                    <a:pt x="3432" y="3102"/>
                  </a:lnTo>
                  <a:lnTo>
                    <a:pt x="3430" y="3106"/>
                  </a:lnTo>
                  <a:lnTo>
                    <a:pt x="3430" y="3110"/>
                  </a:lnTo>
                  <a:lnTo>
                    <a:pt x="3428" y="3116"/>
                  </a:lnTo>
                  <a:lnTo>
                    <a:pt x="3426" y="3126"/>
                  </a:lnTo>
                  <a:lnTo>
                    <a:pt x="3426" y="3130"/>
                  </a:lnTo>
                  <a:lnTo>
                    <a:pt x="3428" y="3128"/>
                  </a:lnTo>
                  <a:lnTo>
                    <a:pt x="3430" y="3124"/>
                  </a:lnTo>
                  <a:lnTo>
                    <a:pt x="3432" y="3120"/>
                  </a:lnTo>
                  <a:lnTo>
                    <a:pt x="3434" y="3114"/>
                  </a:lnTo>
                  <a:lnTo>
                    <a:pt x="3436" y="3110"/>
                  </a:lnTo>
                  <a:lnTo>
                    <a:pt x="3438" y="3104"/>
                  </a:lnTo>
                  <a:lnTo>
                    <a:pt x="3438" y="3100"/>
                  </a:lnTo>
                  <a:lnTo>
                    <a:pt x="3436" y="3100"/>
                  </a:lnTo>
                  <a:lnTo>
                    <a:pt x="3434" y="3100"/>
                  </a:lnTo>
                  <a:close/>
                  <a:moveTo>
                    <a:pt x="4106" y="2564"/>
                  </a:moveTo>
                  <a:lnTo>
                    <a:pt x="4106" y="2564"/>
                  </a:lnTo>
                  <a:lnTo>
                    <a:pt x="4098" y="2576"/>
                  </a:lnTo>
                  <a:lnTo>
                    <a:pt x="4088" y="2586"/>
                  </a:lnTo>
                  <a:lnTo>
                    <a:pt x="4084" y="2594"/>
                  </a:lnTo>
                  <a:lnTo>
                    <a:pt x="4082" y="2598"/>
                  </a:lnTo>
                  <a:lnTo>
                    <a:pt x="4084" y="2604"/>
                  </a:lnTo>
                  <a:lnTo>
                    <a:pt x="4086" y="2604"/>
                  </a:lnTo>
                  <a:lnTo>
                    <a:pt x="4088" y="2602"/>
                  </a:lnTo>
                  <a:lnTo>
                    <a:pt x="4094" y="2592"/>
                  </a:lnTo>
                  <a:lnTo>
                    <a:pt x="4098" y="2586"/>
                  </a:lnTo>
                  <a:lnTo>
                    <a:pt x="4104" y="2580"/>
                  </a:lnTo>
                  <a:lnTo>
                    <a:pt x="4112" y="2574"/>
                  </a:lnTo>
                  <a:lnTo>
                    <a:pt x="4122" y="2570"/>
                  </a:lnTo>
                  <a:lnTo>
                    <a:pt x="4126" y="2568"/>
                  </a:lnTo>
                  <a:lnTo>
                    <a:pt x="4126" y="2566"/>
                  </a:lnTo>
                  <a:lnTo>
                    <a:pt x="4120" y="2562"/>
                  </a:lnTo>
                  <a:lnTo>
                    <a:pt x="4112" y="2562"/>
                  </a:lnTo>
                  <a:lnTo>
                    <a:pt x="4108" y="2562"/>
                  </a:lnTo>
                  <a:lnTo>
                    <a:pt x="4106" y="2564"/>
                  </a:lnTo>
                  <a:close/>
                  <a:moveTo>
                    <a:pt x="3472" y="4884"/>
                  </a:moveTo>
                  <a:lnTo>
                    <a:pt x="3472" y="4884"/>
                  </a:lnTo>
                  <a:lnTo>
                    <a:pt x="3474" y="4884"/>
                  </a:lnTo>
                  <a:lnTo>
                    <a:pt x="3476" y="4884"/>
                  </a:lnTo>
                  <a:lnTo>
                    <a:pt x="3484" y="4882"/>
                  </a:lnTo>
                  <a:lnTo>
                    <a:pt x="3488" y="4880"/>
                  </a:lnTo>
                  <a:lnTo>
                    <a:pt x="3490" y="4878"/>
                  </a:lnTo>
                  <a:lnTo>
                    <a:pt x="3488" y="4878"/>
                  </a:lnTo>
                  <a:lnTo>
                    <a:pt x="3478" y="4878"/>
                  </a:lnTo>
                  <a:lnTo>
                    <a:pt x="3472" y="4880"/>
                  </a:lnTo>
                  <a:lnTo>
                    <a:pt x="3472" y="4882"/>
                  </a:lnTo>
                  <a:lnTo>
                    <a:pt x="3472" y="4884"/>
                  </a:lnTo>
                  <a:close/>
                  <a:moveTo>
                    <a:pt x="3468" y="3214"/>
                  </a:moveTo>
                  <a:lnTo>
                    <a:pt x="3468" y="3214"/>
                  </a:lnTo>
                  <a:lnTo>
                    <a:pt x="3468" y="3212"/>
                  </a:lnTo>
                  <a:lnTo>
                    <a:pt x="3466" y="3212"/>
                  </a:lnTo>
                  <a:lnTo>
                    <a:pt x="3462" y="3212"/>
                  </a:lnTo>
                  <a:lnTo>
                    <a:pt x="3460" y="3218"/>
                  </a:lnTo>
                  <a:lnTo>
                    <a:pt x="3460" y="3224"/>
                  </a:lnTo>
                  <a:lnTo>
                    <a:pt x="3460" y="3226"/>
                  </a:lnTo>
                  <a:lnTo>
                    <a:pt x="3462" y="3226"/>
                  </a:lnTo>
                  <a:lnTo>
                    <a:pt x="3464" y="3224"/>
                  </a:lnTo>
                  <a:lnTo>
                    <a:pt x="3468" y="3220"/>
                  </a:lnTo>
                  <a:lnTo>
                    <a:pt x="3468" y="3214"/>
                  </a:lnTo>
                  <a:close/>
                  <a:moveTo>
                    <a:pt x="3482" y="3322"/>
                  </a:moveTo>
                  <a:lnTo>
                    <a:pt x="3482" y="3322"/>
                  </a:lnTo>
                  <a:lnTo>
                    <a:pt x="3478" y="3322"/>
                  </a:lnTo>
                  <a:lnTo>
                    <a:pt x="3476" y="3326"/>
                  </a:lnTo>
                  <a:lnTo>
                    <a:pt x="3478" y="3330"/>
                  </a:lnTo>
                  <a:lnTo>
                    <a:pt x="3482" y="3332"/>
                  </a:lnTo>
                  <a:lnTo>
                    <a:pt x="3486" y="3332"/>
                  </a:lnTo>
                  <a:lnTo>
                    <a:pt x="3486" y="3328"/>
                  </a:lnTo>
                  <a:lnTo>
                    <a:pt x="3484" y="3324"/>
                  </a:lnTo>
                  <a:lnTo>
                    <a:pt x="3482" y="3322"/>
                  </a:lnTo>
                  <a:close/>
                  <a:moveTo>
                    <a:pt x="3652" y="3124"/>
                  </a:moveTo>
                  <a:lnTo>
                    <a:pt x="3652" y="3124"/>
                  </a:lnTo>
                  <a:lnTo>
                    <a:pt x="3654" y="3126"/>
                  </a:lnTo>
                  <a:lnTo>
                    <a:pt x="3656" y="3124"/>
                  </a:lnTo>
                  <a:lnTo>
                    <a:pt x="3658" y="3118"/>
                  </a:lnTo>
                  <a:lnTo>
                    <a:pt x="3662" y="3112"/>
                  </a:lnTo>
                  <a:lnTo>
                    <a:pt x="3662" y="3106"/>
                  </a:lnTo>
                  <a:lnTo>
                    <a:pt x="3662" y="3104"/>
                  </a:lnTo>
                  <a:lnTo>
                    <a:pt x="3660" y="3104"/>
                  </a:lnTo>
                  <a:lnTo>
                    <a:pt x="3656" y="3110"/>
                  </a:lnTo>
                  <a:lnTo>
                    <a:pt x="3652" y="3116"/>
                  </a:lnTo>
                  <a:lnTo>
                    <a:pt x="3652" y="3120"/>
                  </a:lnTo>
                  <a:lnTo>
                    <a:pt x="3652" y="3124"/>
                  </a:lnTo>
                  <a:close/>
                  <a:moveTo>
                    <a:pt x="3482" y="4890"/>
                  </a:moveTo>
                  <a:lnTo>
                    <a:pt x="3482" y="4890"/>
                  </a:lnTo>
                  <a:lnTo>
                    <a:pt x="3486" y="4896"/>
                  </a:lnTo>
                  <a:lnTo>
                    <a:pt x="3492" y="4904"/>
                  </a:lnTo>
                  <a:lnTo>
                    <a:pt x="3494" y="4904"/>
                  </a:lnTo>
                  <a:lnTo>
                    <a:pt x="3498" y="4898"/>
                  </a:lnTo>
                  <a:lnTo>
                    <a:pt x="3498" y="4890"/>
                  </a:lnTo>
                  <a:lnTo>
                    <a:pt x="3498" y="4888"/>
                  </a:lnTo>
                  <a:lnTo>
                    <a:pt x="3496" y="4886"/>
                  </a:lnTo>
                  <a:lnTo>
                    <a:pt x="3492" y="4884"/>
                  </a:lnTo>
                  <a:lnTo>
                    <a:pt x="3486" y="4884"/>
                  </a:lnTo>
                  <a:lnTo>
                    <a:pt x="3482" y="4886"/>
                  </a:lnTo>
                  <a:lnTo>
                    <a:pt x="3482" y="4888"/>
                  </a:lnTo>
                  <a:lnTo>
                    <a:pt x="3482" y="4890"/>
                  </a:lnTo>
                  <a:close/>
                  <a:moveTo>
                    <a:pt x="3640" y="3122"/>
                  </a:moveTo>
                  <a:lnTo>
                    <a:pt x="3640" y="3122"/>
                  </a:lnTo>
                  <a:lnTo>
                    <a:pt x="3634" y="3120"/>
                  </a:lnTo>
                  <a:lnTo>
                    <a:pt x="3628" y="3116"/>
                  </a:lnTo>
                  <a:lnTo>
                    <a:pt x="3620" y="3116"/>
                  </a:lnTo>
                  <a:lnTo>
                    <a:pt x="3612" y="3120"/>
                  </a:lnTo>
                  <a:lnTo>
                    <a:pt x="3608" y="3122"/>
                  </a:lnTo>
                  <a:lnTo>
                    <a:pt x="3604" y="3126"/>
                  </a:lnTo>
                  <a:lnTo>
                    <a:pt x="3602" y="3132"/>
                  </a:lnTo>
                  <a:lnTo>
                    <a:pt x="3600" y="3136"/>
                  </a:lnTo>
                  <a:lnTo>
                    <a:pt x="3598" y="3138"/>
                  </a:lnTo>
                  <a:lnTo>
                    <a:pt x="3596" y="3136"/>
                  </a:lnTo>
                  <a:lnTo>
                    <a:pt x="3592" y="3136"/>
                  </a:lnTo>
                  <a:lnTo>
                    <a:pt x="3590" y="3136"/>
                  </a:lnTo>
                  <a:lnTo>
                    <a:pt x="3586" y="3138"/>
                  </a:lnTo>
                  <a:lnTo>
                    <a:pt x="3582" y="3140"/>
                  </a:lnTo>
                  <a:lnTo>
                    <a:pt x="3580" y="3136"/>
                  </a:lnTo>
                  <a:lnTo>
                    <a:pt x="3580" y="3130"/>
                  </a:lnTo>
                  <a:lnTo>
                    <a:pt x="3578" y="3128"/>
                  </a:lnTo>
                  <a:lnTo>
                    <a:pt x="3576" y="3128"/>
                  </a:lnTo>
                  <a:lnTo>
                    <a:pt x="3574" y="3132"/>
                  </a:lnTo>
                  <a:lnTo>
                    <a:pt x="3568" y="3144"/>
                  </a:lnTo>
                  <a:lnTo>
                    <a:pt x="3564" y="3150"/>
                  </a:lnTo>
                  <a:lnTo>
                    <a:pt x="3560" y="3156"/>
                  </a:lnTo>
                  <a:lnTo>
                    <a:pt x="3550" y="3164"/>
                  </a:lnTo>
                  <a:lnTo>
                    <a:pt x="3544" y="3168"/>
                  </a:lnTo>
                  <a:lnTo>
                    <a:pt x="3548" y="3168"/>
                  </a:lnTo>
                  <a:lnTo>
                    <a:pt x="3554" y="3168"/>
                  </a:lnTo>
                  <a:lnTo>
                    <a:pt x="3556" y="3170"/>
                  </a:lnTo>
                  <a:lnTo>
                    <a:pt x="3558" y="3172"/>
                  </a:lnTo>
                  <a:lnTo>
                    <a:pt x="3558" y="3174"/>
                  </a:lnTo>
                  <a:lnTo>
                    <a:pt x="3558" y="3182"/>
                  </a:lnTo>
                  <a:lnTo>
                    <a:pt x="3558" y="3186"/>
                  </a:lnTo>
                  <a:lnTo>
                    <a:pt x="3562" y="3190"/>
                  </a:lnTo>
                  <a:lnTo>
                    <a:pt x="3564" y="3192"/>
                  </a:lnTo>
                  <a:lnTo>
                    <a:pt x="3564" y="3196"/>
                  </a:lnTo>
                  <a:lnTo>
                    <a:pt x="3564" y="3198"/>
                  </a:lnTo>
                  <a:lnTo>
                    <a:pt x="3562" y="3200"/>
                  </a:lnTo>
                  <a:lnTo>
                    <a:pt x="3564" y="3200"/>
                  </a:lnTo>
                  <a:lnTo>
                    <a:pt x="3574" y="3202"/>
                  </a:lnTo>
                  <a:lnTo>
                    <a:pt x="3578" y="3202"/>
                  </a:lnTo>
                  <a:lnTo>
                    <a:pt x="3580" y="3198"/>
                  </a:lnTo>
                  <a:lnTo>
                    <a:pt x="3584" y="3186"/>
                  </a:lnTo>
                  <a:lnTo>
                    <a:pt x="3588" y="3178"/>
                  </a:lnTo>
                  <a:lnTo>
                    <a:pt x="3590" y="3172"/>
                  </a:lnTo>
                  <a:lnTo>
                    <a:pt x="3594" y="3166"/>
                  </a:lnTo>
                  <a:lnTo>
                    <a:pt x="3602" y="3164"/>
                  </a:lnTo>
                  <a:lnTo>
                    <a:pt x="3608" y="3162"/>
                  </a:lnTo>
                  <a:lnTo>
                    <a:pt x="3614" y="3164"/>
                  </a:lnTo>
                  <a:lnTo>
                    <a:pt x="3620" y="3170"/>
                  </a:lnTo>
                  <a:lnTo>
                    <a:pt x="3624" y="3172"/>
                  </a:lnTo>
                  <a:lnTo>
                    <a:pt x="3626" y="3172"/>
                  </a:lnTo>
                  <a:lnTo>
                    <a:pt x="3628" y="3170"/>
                  </a:lnTo>
                  <a:lnTo>
                    <a:pt x="3630" y="3166"/>
                  </a:lnTo>
                  <a:lnTo>
                    <a:pt x="3632" y="3160"/>
                  </a:lnTo>
                  <a:lnTo>
                    <a:pt x="3636" y="3156"/>
                  </a:lnTo>
                  <a:lnTo>
                    <a:pt x="3642" y="3150"/>
                  </a:lnTo>
                  <a:lnTo>
                    <a:pt x="3646" y="3148"/>
                  </a:lnTo>
                  <a:lnTo>
                    <a:pt x="3648" y="3144"/>
                  </a:lnTo>
                  <a:lnTo>
                    <a:pt x="3646" y="3140"/>
                  </a:lnTo>
                  <a:lnTo>
                    <a:pt x="3644" y="3132"/>
                  </a:lnTo>
                  <a:lnTo>
                    <a:pt x="3644" y="3128"/>
                  </a:lnTo>
                  <a:lnTo>
                    <a:pt x="3644" y="3126"/>
                  </a:lnTo>
                  <a:lnTo>
                    <a:pt x="3640" y="3122"/>
                  </a:lnTo>
                  <a:close/>
                  <a:moveTo>
                    <a:pt x="3450" y="4936"/>
                  </a:moveTo>
                  <a:lnTo>
                    <a:pt x="3450" y="4936"/>
                  </a:lnTo>
                  <a:lnTo>
                    <a:pt x="3456" y="4938"/>
                  </a:lnTo>
                  <a:lnTo>
                    <a:pt x="3462" y="4940"/>
                  </a:lnTo>
                  <a:lnTo>
                    <a:pt x="3468" y="4940"/>
                  </a:lnTo>
                  <a:lnTo>
                    <a:pt x="3470" y="4938"/>
                  </a:lnTo>
                  <a:lnTo>
                    <a:pt x="3472" y="4934"/>
                  </a:lnTo>
                  <a:lnTo>
                    <a:pt x="3474" y="4926"/>
                  </a:lnTo>
                  <a:lnTo>
                    <a:pt x="3472" y="4922"/>
                  </a:lnTo>
                  <a:lnTo>
                    <a:pt x="3466" y="4922"/>
                  </a:lnTo>
                  <a:lnTo>
                    <a:pt x="3458" y="4924"/>
                  </a:lnTo>
                  <a:lnTo>
                    <a:pt x="3448" y="4930"/>
                  </a:lnTo>
                  <a:lnTo>
                    <a:pt x="3448" y="4932"/>
                  </a:lnTo>
                  <a:lnTo>
                    <a:pt x="3450" y="4936"/>
                  </a:lnTo>
                  <a:close/>
                  <a:moveTo>
                    <a:pt x="3012" y="5270"/>
                  </a:moveTo>
                  <a:lnTo>
                    <a:pt x="3012" y="5270"/>
                  </a:lnTo>
                  <a:lnTo>
                    <a:pt x="3008" y="5266"/>
                  </a:lnTo>
                  <a:lnTo>
                    <a:pt x="3006" y="5264"/>
                  </a:lnTo>
                  <a:lnTo>
                    <a:pt x="3008" y="5262"/>
                  </a:lnTo>
                  <a:lnTo>
                    <a:pt x="3012" y="5264"/>
                  </a:lnTo>
                  <a:lnTo>
                    <a:pt x="3020" y="5266"/>
                  </a:lnTo>
                  <a:lnTo>
                    <a:pt x="3022" y="5266"/>
                  </a:lnTo>
                  <a:lnTo>
                    <a:pt x="3022" y="5264"/>
                  </a:lnTo>
                  <a:lnTo>
                    <a:pt x="3022" y="5258"/>
                  </a:lnTo>
                  <a:lnTo>
                    <a:pt x="3020" y="5250"/>
                  </a:lnTo>
                  <a:lnTo>
                    <a:pt x="3014" y="5244"/>
                  </a:lnTo>
                  <a:lnTo>
                    <a:pt x="3010" y="5242"/>
                  </a:lnTo>
                  <a:lnTo>
                    <a:pt x="3008" y="5244"/>
                  </a:lnTo>
                  <a:lnTo>
                    <a:pt x="3006" y="5246"/>
                  </a:lnTo>
                  <a:lnTo>
                    <a:pt x="3004" y="5246"/>
                  </a:lnTo>
                  <a:lnTo>
                    <a:pt x="3000" y="5242"/>
                  </a:lnTo>
                  <a:lnTo>
                    <a:pt x="2998" y="5240"/>
                  </a:lnTo>
                  <a:lnTo>
                    <a:pt x="2994" y="5240"/>
                  </a:lnTo>
                  <a:lnTo>
                    <a:pt x="2992" y="5242"/>
                  </a:lnTo>
                  <a:lnTo>
                    <a:pt x="2988" y="5244"/>
                  </a:lnTo>
                  <a:lnTo>
                    <a:pt x="2986" y="5244"/>
                  </a:lnTo>
                  <a:lnTo>
                    <a:pt x="2982" y="5240"/>
                  </a:lnTo>
                  <a:lnTo>
                    <a:pt x="2978" y="5236"/>
                  </a:lnTo>
                  <a:lnTo>
                    <a:pt x="2974" y="5234"/>
                  </a:lnTo>
                  <a:lnTo>
                    <a:pt x="2970" y="5234"/>
                  </a:lnTo>
                  <a:lnTo>
                    <a:pt x="2966" y="5236"/>
                  </a:lnTo>
                  <a:lnTo>
                    <a:pt x="2964" y="5238"/>
                  </a:lnTo>
                  <a:lnTo>
                    <a:pt x="2964" y="5240"/>
                  </a:lnTo>
                  <a:lnTo>
                    <a:pt x="2966" y="5244"/>
                  </a:lnTo>
                  <a:lnTo>
                    <a:pt x="2970" y="5250"/>
                  </a:lnTo>
                  <a:lnTo>
                    <a:pt x="2974" y="5252"/>
                  </a:lnTo>
                  <a:lnTo>
                    <a:pt x="2978" y="5252"/>
                  </a:lnTo>
                  <a:lnTo>
                    <a:pt x="2984" y="5256"/>
                  </a:lnTo>
                  <a:lnTo>
                    <a:pt x="2986" y="5260"/>
                  </a:lnTo>
                  <a:lnTo>
                    <a:pt x="2984" y="5260"/>
                  </a:lnTo>
                  <a:lnTo>
                    <a:pt x="2982" y="5260"/>
                  </a:lnTo>
                  <a:lnTo>
                    <a:pt x="2976" y="5262"/>
                  </a:lnTo>
                  <a:lnTo>
                    <a:pt x="2972" y="5264"/>
                  </a:lnTo>
                  <a:lnTo>
                    <a:pt x="2970" y="5264"/>
                  </a:lnTo>
                  <a:lnTo>
                    <a:pt x="2966" y="5260"/>
                  </a:lnTo>
                  <a:lnTo>
                    <a:pt x="2960" y="5252"/>
                  </a:lnTo>
                  <a:lnTo>
                    <a:pt x="2956" y="5252"/>
                  </a:lnTo>
                  <a:lnTo>
                    <a:pt x="2954" y="5252"/>
                  </a:lnTo>
                  <a:lnTo>
                    <a:pt x="2948" y="5250"/>
                  </a:lnTo>
                  <a:lnTo>
                    <a:pt x="2944" y="5248"/>
                  </a:lnTo>
                  <a:lnTo>
                    <a:pt x="2940" y="5246"/>
                  </a:lnTo>
                  <a:lnTo>
                    <a:pt x="2938" y="5248"/>
                  </a:lnTo>
                  <a:lnTo>
                    <a:pt x="2936" y="5250"/>
                  </a:lnTo>
                  <a:lnTo>
                    <a:pt x="2932" y="5254"/>
                  </a:lnTo>
                  <a:lnTo>
                    <a:pt x="2928" y="5256"/>
                  </a:lnTo>
                  <a:lnTo>
                    <a:pt x="2926" y="5258"/>
                  </a:lnTo>
                  <a:lnTo>
                    <a:pt x="2926" y="5266"/>
                  </a:lnTo>
                  <a:lnTo>
                    <a:pt x="2926" y="5270"/>
                  </a:lnTo>
                  <a:lnTo>
                    <a:pt x="2926" y="5276"/>
                  </a:lnTo>
                  <a:lnTo>
                    <a:pt x="2926" y="5278"/>
                  </a:lnTo>
                  <a:lnTo>
                    <a:pt x="2928" y="5280"/>
                  </a:lnTo>
                  <a:lnTo>
                    <a:pt x="2938" y="5282"/>
                  </a:lnTo>
                  <a:lnTo>
                    <a:pt x="2948" y="5282"/>
                  </a:lnTo>
                  <a:lnTo>
                    <a:pt x="2960" y="5278"/>
                  </a:lnTo>
                  <a:lnTo>
                    <a:pt x="2970" y="5274"/>
                  </a:lnTo>
                  <a:lnTo>
                    <a:pt x="2978" y="5272"/>
                  </a:lnTo>
                  <a:lnTo>
                    <a:pt x="2984" y="5272"/>
                  </a:lnTo>
                  <a:lnTo>
                    <a:pt x="2986" y="5268"/>
                  </a:lnTo>
                  <a:lnTo>
                    <a:pt x="2988" y="5268"/>
                  </a:lnTo>
                  <a:lnTo>
                    <a:pt x="2990" y="5270"/>
                  </a:lnTo>
                  <a:lnTo>
                    <a:pt x="2992" y="5272"/>
                  </a:lnTo>
                  <a:lnTo>
                    <a:pt x="2994" y="5270"/>
                  </a:lnTo>
                  <a:lnTo>
                    <a:pt x="2998" y="5270"/>
                  </a:lnTo>
                  <a:lnTo>
                    <a:pt x="3004" y="5270"/>
                  </a:lnTo>
                  <a:lnTo>
                    <a:pt x="3014" y="5272"/>
                  </a:lnTo>
                  <a:lnTo>
                    <a:pt x="3016" y="5272"/>
                  </a:lnTo>
                  <a:lnTo>
                    <a:pt x="3012" y="5270"/>
                  </a:lnTo>
                  <a:close/>
                  <a:moveTo>
                    <a:pt x="3240" y="4810"/>
                  </a:moveTo>
                  <a:lnTo>
                    <a:pt x="3240" y="4810"/>
                  </a:lnTo>
                  <a:lnTo>
                    <a:pt x="3258" y="4782"/>
                  </a:lnTo>
                  <a:lnTo>
                    <a:pt x="3262" y="4776"/>
                  </a:lnTo>
                  <a:lnTo>
                    <a:pt x="3264" y="4770"/>
                  </a:lnTo>
                  <a:lnTo>
                    <a:pt x="3264" y="4764"/>
                  </a:lnTo>
                  <a:lnTo>
                    <a:pt x="3262" y="4760"/>
                  </a:lnTo>
                  <a:lnTo>
                    <a:pt x="3258" y="4756"/>
                  </a:lnTo>
                  <a:lnTo>
                    <a:pt x="3254" y="4756"/>
                  </a:lnTo>
                  <a:lnTo>
                    <a:pt x="3250" y="4758"/>
                  </a:lnTo>
                  <a:lnTo>
                    <a:pt x="3246" y="4764"/>
                  </a:lnTo>
                  <a:lnTo>
                    <a:pt x="3236" y="4776"/>
                  </a:lnTo>
                  <a:lnTo>
                    <a:pt x="3228" y="4792"/>
                  </a:lnTo>
                  <a:lnTo>
                    <a:pt x="3222" y="4796"/>
                  </a:lnTo>
                  <a:lnTo>
                    <a:pt x="3216" y="4798"/>
                  </a:lnTo>
                  <a:lnTo>
                    <a:pt x="3208" y="4798"/>
                  </a:lnTo>
                  <a:lnTo>
                    <a:pt x="3198" y="4798"/>
                  </a:lnTo>
                  <a:lnTo>
                    <a:pt x="3182" y="4794"/>
                  </a:lnTo>
                  <a:lnTo>
                    <a:pt x="3176" y="4794"/>
                  </a:lnTo>
                  <a:lnTo>
                    <a:pt x="3174" y="4796"/>
                  </a:lnTo>
                  <a:lnTo>
                    <a:pt x="3170" y="4798"/>
                  </a:lnTo>
                  <a:lnTo>
                    <a:pt x="3168" y="4798"/>
                  </a:lnTo>
                  <a:lnTo>
                    <a:pt x="3158" y="4794"/>
                  </a:lnTo>
                  <a:lnTo>
                    <a:pt x="3146" y="4792"/>
                  </a:lnTo>
                  <a:lnTo>
                    <a:pt x="3138" y="4790"/>
                  </a:lnTo>
                  <a:lnTo>
                    <a:pt x="3130" y="4790"/>
                  </a:lnTo>
                  <a:lnTo>
                    <a:pt x="3122" y="4790"/>
                  </a:lnTo>
                  <a:lnTo>
                    <a:pt x="3118" y="4788"/>
                  </a:lnTo>
                  <a:lnTo>
                    <a:pt x="3116" y="4786"/>
                  </a:lnTo>
                  <a:lnTo>
                    <a:pt x="3114" y="4784"/>
                  </a:lnTo>
                  <a:lnTo>
                    <a:pt x="3114" y="4780"/>
                  </a:lnTo>
                  <a:lnTo>
                    <a:pt x="3114" y="4778"/>
                  </a:lnTo>
                  <a:lnTo>
                    <a:pt x="3112" y="4778"/>
                  </a:lnTo>
                  <a:lnTo>
                    <a:pt x="3104" y="4778"/>
                  </a:lnTo>
                  <a:lnTo>
                    <a:pt x="3098" y="4776"/>
                  </a:lnTo>
                  <a:lnTo>
                    <a:pt x="3092" y="4776"/>
                  </a:lnTo>
                  <a:lnTo>
                    <a:pt x="3090" y="4778"/>
                  </a:lnTo>
                  <a:lnTo>
                    <a:pt x="3088" y="4780"/>
                  </a:lnTo>
                  <a:lnTo>
                    <a:pt x="3084" y="4788"/>
                  </a:lnTo>
                  <a:lnTo>
                    <a:pt x="3080" y="4796"/>
                  </a:lnTo>
                  <a:lnTo>
                    <a:pt x="3078" y="4800"/>
                  </a:lnTo>
                  <a:lnTo>
                    <a:pt x="3074" y="4800"/>
                  </a:lnTo>
                  <a:lnTo>
                    <a:pt x="3072" y="4800"/>
                  </a:lnTo>
                  <a:lnTo>
                    <a:pt x="3068" y="4796"/>
                  </a:lnTo>
                  <a:lnTo>
                    <a:pt x="3066" y="4792"/>
                  </a:lnTo>
                  <a:lnTo>
                    <a:pt x="3064" y="4792"/>
                  </a:lnTo>
                  <a:lnTo>
                    <a:pt x="3060" y="4798"/>
                  </a:lnTo>
                  <a:lnTo>
                    <a:pt x="3056" y="4810"/>
                  </a:lnTo>
                  <a:lnTo>
                    <a:pt x="3052" y="4820"/>
                  </a:lnTo>
                  <a:lnTo>
                    <a:pt x="3048" y="4824"/>
                  </a:lnTo>
                  <a:lnTo>
                    <a:pt x="3048" y="4828"/>
                  </a:lnTo>
                  <a:lnTo>
                    <a:pt x="3048" y="4834"/>
                  </a:lnTo>
                  <a:lnTo>
                    <a:pt x="3048" y="4838"/>
                  </a:lnTo>
                  <a:lnTo>
                    <a:pt x="3046" y="4840"/>
                  </a:lnTo>
                  <a:lnTo>
                    <a:pt x="3044" y="4842"/>
                  </a:lnTo>
                  <a:lnTo>
                    <a:pt x="3040" y="4844"/>
                  </a:lnTo>
                  <a:lnTo>
                    <a:pt x="3040" y="4848"/>
                  </a:lnTo>
                  <a:lnTo>
                    <a:pt x="3042" y="4854"/>
                  </a:lnTo>
                  <a:lnTo>
                    <a:pt x="3044" y="4864"/>
                  </a:lnTo>
                  <a:lnTo>
                    <a:pt x="3040" y="4876"/>
                  </a:lnTo>
                  <a:lnTo>
                    <a:pt x="3034" y="4886"/>
                  </a:lnTo>
                  <a:lnTo>
                    <a:pt x="3030" y="4900"/>
                  </a:lnTo>
                  <a:lnTo>
                    <a:pt x="3030" y="4908"/>
                  </a:lnTo>
                  <a:lnTo>
                    <a:pt x="3030" y="4918"/>
                  </a:lnTo>
                  <a:lnTo>
                    <a:pt x="3030" y="4932"/>
                  </a:lnTo>
                  <a:lnTo>
                    <a:pt x="3028" y="4934"/>
                  </a:lnTo>
                  <a:lnTo>
                    <a:pt x="3026" y="4936"/>
                  </a:lnTo>
                  <a:lnTo>
                    <a:pt x="3024" y="4936"/>
                  </a:lnTo>
                  <a:lnTo>
                    <a:pt x="3024" y="4938"/>
                  </a:lnTo>
                  <a:lnTo>
                    <a:pt x="3022" y="4944"/>
                  </a:lnTo>
                  <a:lnTo>
                    <a:pt x="3020" y="4952"/>
                  </a:lnTo>
                  <a:lnTo>
                    <a:pt x="3020" y="4960"/>
                  </a:lnTo>
                  <a:lnTo>
                    <a:pt x="3016" y="4964"/>
                  </a:lnTo>
                  <a:lnTo>
                    <a:pt x="3014" y="4968"/>
                  </a:lnTo>
                  <a:lnTo>
                    <a:pt x="3010" y="4968"/>
                  </a:lnTo>
                  <a:lnTo>
                    <a:pt x="3006" y="4970"/>
                  </a:lnTo>
                  <a:lnTo>
                    <a:pt x="3006" y="4972"/>
                  </a:lnTo>
                  <a:lnTo>
                    <a:pt x="3008" y="4976"/>
                  </a:lnTo>
                  <a:lnTo>
                    <a:pt x="3010" y="4984"/>
                  </a:lnTo>
                  <a:lnTo>
                    <a:pt x="3008" y="4986"/>
                  </a:lnTo>
                  <a:lnTo>
                    <a:pt x="3006" y="4990"/>
                  </a:lnTo>
                  <a:lnTo>
                    <a:pt x="3008" y="5002"/>
                  </a:lnTo>
                  <a:lnTo>
                    <a:pt x="3012" y="5008"/>
                  </a:lnTo>
                  <a:lnTo>
                    <a:pt x="3014" y="5010"/>
                  </a:lnTo>
                  <a:lnTo>
                    <a:pt x="3018" y="5010"/>
                  </a:lnTo>
                  <a:lnTo>
                    <a:pt x="3020" y="5010"/>
                  </a:lnTo>
                  <a:lnTo>
                    <a:pt x="3024" y="5010"/>
                  </a:lnTo>
                  <a:lnTo>
                    <a:pt x="3028" y="5010"/>
                  </a:lnTo>
                  <a:lnTo>
                    <a:pt x="3032" y="5014"/>
                  </a:lnTo>
                  <a:lnTo>
                    <a:pt x="3036" y="5022"/>
                  </a:lnTo>
                  <a:lnTo>
                    <a:pt x="3040" y="5034"/>
                  </a:lnTo>
                  <a:lnTo>
                    <a:pt x="3040" y="5046"/>
                  </a:lnTo>
                  <a:lnTo>
                    <a:pt x="3038" y="5058"/>
                  </a:lnTo>
                  <a:lnTo>
                    <a:pt x="3036" y="5070"/>
                  </a:lnTo>
                  <a:lnTo>
                    <a:pt x="3032" y="5082"/>
                  </a:lnTo>
                  <a:lnTo>
                    <a:pt x="3030" y="5092"/>
                  </a:lnTo>
                  <a:lnTo>
                    <a:pt x="3030" y="5102"/>
                  </a:lnTo>
                  <a:lnTo>
                    <a:pt x="3034" y="5112"/>
                  </a:lnTo>
                  <a:lnTo>
                    <a:pt x="3038" y="5116"/>
                  </a:lnTo>
                  <a:lnTo>
                    <a:pt x="3042" y="5118"/>
                  </a:lnTo>
                  <a:lnTo>
                    <a:pt x="3046" y="5118"/>
                  </a:lnTo>
                  <a:lnTo>
                    <a:pt x="3050" y="5116"/>
                  </a:lnTo>
                  <a:lnTo>
                    <a:pt x="3058" y="5114"/>
                  </a:lnTo>
                  <a:lnTo>
                    <a:pt x="3068" y="5112"/>
                  </a:lnTo>
                  <a:lnTo>
                    <a:pt x="3072" y="5112"/>
                  </a:lnTo>
                  <a:lnTo>
                    <a:pt x="3072" y="5110"/>
                  </a:lnTo>
                  <a:lnTo>
                    <a:pt x="3070" y="5100"/>
                  </a:lnTo>
                  <a:lnTo>
                    <a:pt x="3068" y="5088"/>
                  </a:lnTo>
                  <a:lnTo>
                    <a:pt x="3068" y="5082"/>
                  </a:lnTo>
                  <a:lnTo>
                    <a:pt x="3070" y="5076"/>
                  </a:lnTo>
                  <a:lnTo>
                    <a:pt x="3072" y="5070"/>
                  </a:lnTo>
                  <a:lnTo>
                    <a:pt x="3074" y="5064"/>
                  </a:lnTo>
                  <a:lnTo>
                    <a:pt x="3072" y="5050"/>
                  </a:lnTo>
                  <a:lnTo>
                    <a:pt x="3072" y="5034"/>
                  </a:lnTo>
                  <a:lnTo>
                    <a:pt x="3072" y="5014"/>
                  </a:lnTo>
                  <a:lnTo>
                    <a:pt x="3074" y="5004"/>
                  </a:lnTo>
                  <a:lnTo>
                    <a:pt x="3072" y="4998"/>
                  </a:lnTo>
                  <a:lnTo>
                    <a:pt x="3068" y="4990"/>
                  </a:lnTo>
                  <a:lnTo>
                    <a:pt x="3068" y="4988"/>
                  </a:lnTo>
                  <a:lnTo>
                    <a:pt x="3068" y="4984"/>
                  </a:lnTo>
                  <a:lnTo>
                    <a:pt x="3076" y="4974"/>
                  </a:lnTo>
                  <a:lnTo>
                    <a:pt x="3084" y="4970"/>
                  </a:lnTo>
                  <a:lnTo>
                    <a:pt x="3090" y="4968"/>
                  </a:lnTo>
                  <a:lnTo>
                    <a:pt x="3094" y="4968"/>
                  </a:lnTo>
                  <a:lnTo>
                    <a:pt x="3098" y="4972"/>
                  </a:lnTo>
                  <a:lnTo>
                    <a:pt x="3100" y="4976"/>
                  </a:lnTo>
                  <a:lnTo>
                    <a:pt x="3100" y="4982"/>
                  </a:lnTo>
                  <a:lnTo>
                    <a:pt x="3098" y="4990"/>
                  </a:lnTo>
                  <a:lnTo>
                    <a:pt x="3094" y="4996"/>
                  </a:lnTo>
                  <a:lnTo>
                    <a:pt x="3092" y="5002"/>
                  </a:lnTo>
                  <a:lnTo>
                    <a:pt x="3090" y="5008"/>
                  </a:lnTo>
                  <a:lnTo>
                    <a:pt x="3092" y="5012"/>
                  </a:lnTo>
                  <a:lnTo>
                    <a:pt x="3094" y="5016"/>
                  </a:lnTo>
                  <a:lnTo>
                    <a:pt x="3102" y="5024"/>
                  </a:lnTo>
                  <a:lnTo>
                    <a:pt x="3112" y="5034"/>
                  </a:lnTo>
                  <a:lnTo>
                    <a:pt x="3116" y="5040"/>
                  </a:lnTo>
                  <a:lnTo>
                    <a:pt x="3116" y="5046"/>
                  </a:lnTo>
                  <a:lnTo>
                    <a:pt x="3114" y="5062"/>
                  </a:lnTo>
                  <a:lnTo>
                    <a:pt x="3114" y="5068"/>
                  </a:lnTo>
                  <a:lnTo>
                    <a:pt x="3116" y="5074"/>
                  </a:lnTo>
                  <a:lnTo>
                    <a:pt x="3120" y="5076"/>
                  </a:lnTo>
                  <a:lnTo>
                    <a:pt x="3130" y="5078"/>
                  </a:lnTo>
                  <a:lnTo>
                    <a:pt x="3136" y="5076"/>
                  </a:lnTo>
                  <a:lnTo>
                    <a:pt x="3138" y="5076"/>
                  </a:lnTo>
                  <a:lnTo>
                    <a:pt x="3140" y="5072"/>
                  </a:lnTo>
                  <a:lnTo>
                    <a:pt x="3140" y="5070"/>
                  </a:lnTo>
                  <a:lnTo>
                    <a:pt x="3140" y="5062"/>
                  </a:lnTo>
                  <a:lnTo>
                    <a:pt x="3142" y="5060"/>
                  </a:lnTo>
                  <a:lnTo>
                    <a:pt x="3148" y="5056"/>
                  </a:lnTo>
                  <a:lnTo>
                    <a:pt x="3152" y="5056"/>
                  </a:lnTo>
                  <a:lnTo>
                    <a:pt x="3156" y="5054"/>
                  </a:lnTo>
                  <a:lnTo>
                    <a:pt x="3164" y="5056"/>
                  </a:lnTo>
                  <a:lnTo>
                    <a:pt x="3166" y="5056"/>
                  </a:lnTo>
                  <a:lnTo>
                    <a:pt x="3168" y="5056"/>
                  </a:lnTo>
                  <a:lnTo>
                    <a:pt x="3172" y="5048"/>
                  </a:lnTo>
                  <a:lnTo>
                    <a:pt x="3172" y="5042"/>
                  </a:lnTo>
                  <a:lnTo>
                    <a:pt x="3170" y="5036"/>
                  </a:lnTo>
                  <a:lnTo>
                    <a:pt x="3164" y="5032"/>
                  </a:lnTo>
                  <a:lnTo>
                    <a:pt x="3158" y="5028"/>
                  </a:lnTo>
                  <a:lnTo>
                    <a:pt x="3152" y="5026"/>
                  </a:lnTo>
                  <a:lnTo>
                    <a:pt x="3148" y="5022"/>
                  </a:lnTo>
                  <a:lnTo>
                    <a:pt x="3146" y="5016"/>
                  </a:lnTo>
                  <a:lnTo>
                    <a:pt x="3148" y="5012"/>
                  </a:lnTo>
                  <a:lnTo>
                    <a:pt x="3152" y="5006"/>
                  </a:lnTo>
                  <a:lnTo>
                    <a:pt x="3152" y="4998"/>
                  </a:lnTo>
                  <a:lnTo>
                    <a:pt x="3150" y="4990"/>
                  </a:lnTo>
                  <a:lnTo>
                    <a:pt x="3148" y="4980"/>
                  </a:lnTo>
                  <a:lnTo>
                    <a:pt x="3136" y="4962"/>
                  </a:lnTo>
                  <a:lnTo>
                    <a:pt x="3122" y="4946"/>
                  </a:lnTo>
                  <a:lnTo>
                    <a:pt x="3118" y="4940"/>
                  </a:lnTo>
                  <a:lnTo>
                    <a:pt x="3118" y="4934"/>
                  </a:lnTo>
                  <a:lnTo>
                    <a:pt x="3122" y="4930"/>
                  </a:lnTo>
                  <a:lnTo>
                    <a:pt x="3128" y="4926"/>
                  </a:lnTo>
                  <a:lnTo>
                    <a:pt x="3146" y="4916"/>
                  </a:lnTo>
                  <a:lnTo>
                    <a:pt x="3154" y="4908"/>
                  </a:lnTo>
                  <a:lnTo>
                    <a:pt x="3162" y="4898"/>
                  </a:lnTo>
                  <a:lnTo>
                    <a:pt x="3168" y="4888"/>
                  </a:lnTo>
                  <a:lnTo>
                    <a:pt x="3172" y="4884"/>
                  </a:lnTo>
                  <a:lnTo>
                    <a:pt x="3176" y="4884"/>
                  </a:lnTo>
                  <a:lnTo>
                    <a:pt x="3180" y="4886"/>
                  </a:lnTo>
                  <a:lnTo>
                    <a:pt x="3186" y="4890"/>
                  </a:lnTo>
                  <a:lnTo>
                    <a:pt x="3190" y="4890"/>
                  </a:lnTo>
                  <a:lnTo>
                    <a:pt x="3192" y="4888"/>
                  </a:lnTo>
                  <a:lnTo>
                    <a:pt x="3196" y="4880"/>
                  </a:lnTo>
                  <a:lnTo>
                    <a:pt x="3196" y="4876"/>
                  </a:lnTo>
                  <a:lnTo>
                    <a:pt x="3194" y="4874"/>
                  </a:lnTo>
                  <a:lnTo>
                    <a:pt x="3192" y="4872"/>
                  </a:lnTo>
                  <a:lnTo>
                    <a:pt x="3188" y="4870"/>
                  </a:lnTo>
                  <a:lnTo>
                    <a:pt x="3170" y="4870"/>
                  </a:lnTo>
                  <a:lnTo>
                    <a:pt x="3160" y="4872"/>
                  </a:lnTo>
                  <a:lnTo>
                    <a:pt x="3152" y="4874"/>
                  </a:lnTo>
                  <a:lnTo>
                    <a:pt x="3144" y="4880"/>
                  </a:lnTo>
                  <a:lnTo>
                    <a:pt x="3136" y="4884"/>
                  </a:lnTo>
                  <a:lnTo>
                    <a:pt x="3130" y="4884"/>
                  </a:lnTo>
                  <a:lnTo>
                    <a:pt x="3124" y="4884"/>
                  </a:lnTo>
                  <a:lnTo>
                    <a:pt x="3116" y="4882"/>
                  </a:lnTo>
                  <a:lnTo>
                    <a:pt x="3112" y="4886"/>
                  </a:lnTo>
                  <a:lnTo>
                    <a:pt x="3108" y="4890"/>
                  </a:lnTo>
                  <a:lnTo>
                    <a:pt x="3106" y="4894"/>
                  </a:lnTo>
                  <a:lnTo>
                    <a:pt x="3104" y="4900"/>
                  </a:lnTo>
                  <a:lnTo>
                    <a:pt x="3100" y="4904"/>
                  </a:lnTo>
                  <a:lnTo>
                    <a:pt x="3096" y="4908"/>
                  </a:lnTo>
                  <a:lnTo>
                    <a:pt x="3088" y="4908"/>
                  </a:lnTo>
                  <a:lnTo>
                    <a:pt x="3082" y="4906"/>
                  </a:lnTo>
                  <a:lnTo>
                    <a:pt x="3078" y="4904"/>
                  </a:lnTo>
                  <a:lnTo>
                    <a:pt x="3078" y="4902"/>
                  </a:lnTo>
                  <a:lnTo>
                    <a:pt x="3078" y="4898"/>
                  </a:lnTo>
                  <a:lnTo>
                    <a:pt x="3076" y="4892"/>
                  </a:lnTo>
                  <a:lnTo>
                    <a:pt x="3074" y="4888"/>
                  </a:lnTo>
                  <a:lnTo>
                    <a:pt x="3068" y="4882"/>
                  </a:lnTo>
                  <a:lnTo>
                    <a:pt x="3064" y="4880"/>
                  </a:lnTo>
                  <a:lnTo>
                    <a:pt x="3062" y="4876"/>
                  </a:lnTo>
                  <a:lnTo>
                    <a:pt x="3058" y="4866"/>
                  </a:lnTo>
                  <a:lnTo>
                    <a:pt x="3058" y="4852"/>
                  </a:lnTo>
                  <a:lnTo>
                    <a:pt x="3060" y="4840"/>
                  </a:lnTo>
                  <a:lnTo>
                    <a:pt x="3066" y="4828"/>
                  </a:lnTo>
                  <a:lnTo>
                    <a:pt x="3072" y="4818"/>
                  </a:lnTo>
                  <a:lnTo>
                    <a:pt x="3074" y="4816"/>
                  </a:lnTo>
                  <a:lnTo>
                    <a:pt x="3078" y="4814"/>
                  </a:lnTo>
                  <a:lnTo>
                    <a:pt x="3082" y="4814"/>
                  </a:lnTo>
                  <a:lnTo>
                    <a:pt x="3086" y="4816"/>
                  </a:lnTo>
                  <a:lnTo>
                    <a:pt x="3092" y="4818"/>
                  </a:lnTo>
                  <a:lnTo>
                    <a:pt x="3096" y="4820"/>
                  </a:lnTo>
                  <a:lnTo>
                    <a:pt x="3106" y="4818"/>
                  </a:lnTo>
                  <a:lnTo>
                    <a:pt x="3116" y="4818"/>
                  </a:lnTo>
                  <a:lnTo>
                    <a:pt x="3122" y="4818"/>
                  </a:lnTo>
                  <a:lnTo>
                    <a:pt x="3126" y="4818"/>
                  </a:lnTo>
                  <a:lnTo>
                    <a:pt x="3132" y="4820"/>
                  </a:lnTo>
                  <a:lnTo>
                    <a:pt x="3140" y="4820"/>
                  </a:lnTo>
                  <a:lnTo>
                    <a:pt x="3156" y="4818"/>
                  </a:lnTo>
                  <a:lnTo>
                    <a:pt x="3172" y="4816"/>
                  </a:lnTo>
                  <a:lnTo>
                    <a:pt x="3178" y="4818"/>
                  </a:lnTo>
                  <a:lnTo>
                    <a:pt x="3182" y="4820"/>
                  </a:lnTo>
                  <a:lnTo>
                    <a:pt x="3186" y="4822"/>
                  </a:lnTo>
                  <a:lnTo>
                    <a:pt x="3192" y="4824"/>
                  </a:lnTo>
                  <a:lnTo>
                    <a:pt x="3200" y="4826"/>
                  </a:lnTo>
                  <a:lnTo>
                    <a:pt x="3208" y="4826"/>
                  </a:lnTo>
                  <a:lnTo>
                    <a:pt x="3218" y="4824"/>
                  </a:lnTo>
                  <a:lnTo>
                    <a:pt x="3226" y="4822"/>
                  </a:lnTo>
                  <a:lnTo>
                    <a:pt x="3234" y="4816"/>
                  </a:lnTo>
                  <a:lnTo>
                    <a:pt x="3240" y="4810"/>
                  </a:lnTo>
                  <a:close/>
                  <a:moveTo>
                    <a:pt x="2954" y="5244"/>
                  </a:moveTo>
                  <a:lnTo>
                    <a:pt x="2954" y="5244"/>
                  </a:lnTo>
                  <a:lnTo>
                    <a:pt x="2954" y="5248"/>
                  </a:lnTo>
                  <a:lnTo>
                    <a:pt x="2956" y="5246"/>
                  </a:lnTo>
                  <a:lnTo>
                    <a:pt x="2960" y="5240"/>
                  </a:lnTo>
                  <a:lnTo>
                    <a:pt x="2962" y="5238"/>
                  </a:lnTo>
                  <a:lnTo>
                    <a:pt x="2960" y="5236"/>
                  </a:lnTo>
                  <a:lnTo>
                    <a:pt x="2958" y="5236"/>
                  </a:lnTo>
                  <a:lnTo>
                    <a:pt x="2954" y="5240"/>
                  </a:lnTo>
                  <a:lnTo>
                    <a:pt x="2954" y="5244"/>
                  </a:lnTo>
                  <a:close/>
                  <a:moveTo>
                    <a:pt x="3346" y="4878"/>
                  </a:moveTo>
                  <a:lnTo>
                    <a:pt x="3346" y="4878"/>
                  </a:lnTo>
                  <a:lnTo>
                    <a:pt x="3350" y="4878"/>
                  </a:lnTo>
                  <a:lnTo>
                    <a:pt x="3352" y="4876"/>
                  </a:lnTo>
                  <a:lnTo>
                    <a:pt x="3350" y="4874"/>
                  </a:lnTo>
                  <a:lnTo>
                    <a:pt x="3348" y="4872"/>
                  </a:lnTo>
                  <a:lnTo>
                    <a:pt x="3346" y="4872"/>
                  </a:lnTo>
                  <a:lnTo>
                    <a:pt x="3344" y="4874"/>
                  </a:lnTo>
                  <a:lnTo>
                    <a:pt x="3344" y="4876"/>
                  </a:lnTo>
                  <a:lnTo>
                    <a:pt x="3346" y="4878"/>
                  </a:lnTo>
                  <a:close/>
                  <a:moveTo>
                    <a:pt x="3352" y="4858"/>
                  </a:moveTo>
                  <a:lnTo>
                    <a:pt x="3352" y="4858"/>
                  </a:lnTo>
                  <a:lnTo>
                    <a:pt x="3350" y="4862"/>
                  </a:lnTo>
                  <a:lnTo>
                    <a:pt x="3354" y="4868"/>
                  </a:lnTo>
                  <a:lnTo>
                    <a:pt x="3358" y="4874"/>
                  </a:lnTo>
                  <a:lnTo>
                    <a:pt x="3360" y="4876"/>
                  </a:lnTo>
                  <a:lnTo>
                    <a:pt x="3364" y="4874"/>
                  </a:lnTo>
                  <a:lnTo>
                    <a:pt x="3364" y="4866"/>
                  </a:lnTo>
                  <a:lnTo>
                    <a:pt x="3362" y="4858"/>
                  </a:lnTo>
                  <a:lnTo>
                    <a:pt x="3360" y="4854"/>
                  </a:lnTo>
                  <a:lnTo>
                    <a:pt x="3356" y="4854"/>
                  </a:lnTo>
                  <a:lnTo>
                    <a:pt x="3352" y="4858"/>
                  </a:lnTo>
                  <a:close/>
                  <a:moveTo>
                    <a:pt x="3452" y="4980"/>
                  </a:moveTo>
                  <a:lnTo>
                    <a:pt x="3452" y="4980"/>
                  </a:lnTo>
                  <a:lnTo>
                    <a:pt x="3440" y="4974"/>
                  </a:lnTo>
                  <a:lnTo>
                    <a:pt x="3438" y="4974"/>
                  </a:lnTo>
                  <a:lnTo>
                    <a:pt x="3436" y="4976"/>
                  </a:lnTo>
                  <a:lnTo>
                    <a:pt x="3428" y="4978"/>
                  </a:lnTo>
                  <a:lnTo>
                    <a:pt x="3422" y="4980"/>
                  </a:lnTo>
                  <a:lnTo>
                    <a:pt x="3414" y="4978"/>
                  </a:lnTo>
                  <a:lnTo>
                    <a:pt x="3404" y="4978"/>
                  </a:lnTo>
                  <a:lnTo>
                    <a:pt x="3396" y="4978"/>
                  </a:lnTo>
                  <a:lnTo>
                    <a:pt x="3390" y="4980"/>
                  </a:lnTo>
                  <a:lnTo>
                    <a:pt x="3384" y="4982"/>
                  </a:lnTo>
                  <a:lnTo>
                    <a:pt x="3378" y="4986"/>
                  </a:lnTo>
                  <a:lnTo>
                    <a:pt x="3376" y="4990"/>
                  </a:lnTo>
                  <a:lnTo>
                    <a:pt x="3374" y="4996"/>
                  </a:lnTo>
                  <a:lnTo>
                    <a:pt x="3374" y="5002"/>
                  </a:lnTo>
                  <a:lnTo>
                    <a:pt x="3376" y="5010"/>
                  </a:lnTo>
                  <a:lnTo>
                    <a:pt x="3378" y="5006"/>
                  </a:lnTo>
                  <a:lnTo>
                    <a:pt x="3380" y="4998"/>
                  </a:lnTo>
                  <a:lnTo>
                    <a:pt x="3382" y="4994"/>
                  </a:lnTo>
                  <a:lnTo>
                    <a:pt x="3384" y="4992"/>
                  </a:lnTo>
                  <a:lnTo>
                    <a:pt x="3386" y="4992"/>
                  </a:lnTo>
                  <a:lnTo>
                    <a:pt x="3388" y="4994"/>
                  </a:lnTo>
                  <a:lnTo>
                    <a:pt x="3392" y="5000"/>
                  </a:lnTo>
                  <a:lnTo>
                    <a:pt x="3396" y="5002"/>
                  </a:lnTo>
                  <a:lnTo>
                    <a:pt x="3400" y="5004"/>
                  </a:lnTo>
                  <a:lnTo>
                    <a:pt x="3404" y="5004"/>
                  </a:lnTo>
                  <a:lnTo>
                    <a:pt x="3408" y="5000"/>
                  </a:lnTo>
                  <a:lnTo>
                    <a:pt x="3414" y="4998"/>
                  </a:lnTo>
                  <a:lnTo>
                    <a:pt x="3418" y="4998"/>
                  </a:lnTo>
                  <a:lnTo>
                    <a:pt x="3428" y="5002"/>
                  </a:lnTo>
                  <a:lnTo>
                    <a:pt x="3436" y="5006"/>
                  </a:lnTo>
                  <a:lnTo>
                    <a:pt x="3438" y="5008"/>
                  </a:lnTo>
                  <a:lnTo>
                    <a:pt x="3440" y="5006"/>
                  </a:lnTo>
                  <a:lnTo>
                    <a:pt x="3442" y="5002"/>
                  </a:lnTo>
                  <a:lnTo>
                    <a:pt x="3446" y="5002"/>
                  </a:lnTo>
                  <a:lnTo>
                    <a:pt x="3456" y="5006"/>
                  </a:lnTo>
                  <a:lnTo>
                    <a:pt x="3468" y="5014"/>
                  </a:lnTo>
                  <a:lnTo>
                    <a:pt x="3482" y="5022"/>
                  </a:lnTo>
                  <a:lnTo>
                    <a:pt x="3488" y="5026"/>
                  </a:lnTo>
                  <a:lnTo>
                    <a:pt x="3492" y="5028"/>
                  </a:lnTo>
                  <a:lnTo>
                    <a:pt x="3494" y="5026"/>
                  </a:lnTo>
                  <a:lnTo>
                    <a:pt x="3496" y="5024"/>
                  </a:lnTo>
                  <a:lnTo>
                    <a:pt x="3494" y="5012"/>
                  </a:lnTo>
                  <a:lnTo>
                    <a:pt x="3484" y="4994"/>
                  </a:lnTo>
                  <a:lnTo>
                    <a:pt x="3478" y="4988"/>
                  </a:lnTo>
                  <a:lnTo>
                    <a:pt x="3476" y="4984"/>
                  </a:lnTo>
                  <a:lnTo>
                    <a:pt x="3472" y="4982"/>
                  </a:lnTo>
                  <a:lnTo>
                    <a:pt x="3470" y="4984"/>
                  </a:lnTo>
                  <a:lnTo>
                    <a:pt x="3464" y="4984"/>
                  </a:lnTo>
                  <a:lnTo>
                    <a:pt x="3458" y="4984"/>
                  </a:lnTo>
                  <a:lnTo>
                    <a:pt x="3452" y="4980"/>
                  </a:lnTo>
                  <a:close/>
                  <a:moveTo>
                    <a:pt x="3092" y="4546"/>
                  </a:moveTo>
                  <a:lnTo>
                    <a:pt x="3092" y="4546"/>
                  </a:lnTo>
                  <a:lnTo>
                    <a:pt x="3090" y="4552"/>
                  </a:lnTo>
                  <a:lnTo>
                    <a:pt x="3092" y="4552"/>
                  </a:lnTo>
                  <a:lnTo>
                    <a:pt x="3094" y="4552"/>
                  </a:lnTo>
                  <a:lnTo>
                    <a:pt x="3098" y="4552"/>
                  </a:lnTo>
                  <a:lnTo>
                    <a:pt x="3104" y="4552"/>
                  </a:lnTo>
                  <a:lnTo>
                    <a:pt x="3108" y="4554"/>
                  </a:lnTo>
                  <a:lnTo>
                    <a:pt x="3112" y="4552"/>
                  </a:lnTo>
                  <a:lnTo>
                    <a:pt x="3112" y="4548"/>
                  </a:lnTo>
                  <a:lnTo>
                    <a:pt x="3110" y="4548"/>
                  </a:lnTo>
                  <a:lnTo>
                    <a:pt x="3106" y="4546"/>
                  </a:lnTo>
                  <a:lnTo>
                    <a:pt x="3102" y="4542"/>
                  </a:lnTo>
                  <a:lnTo>
                    <a:pt x="3100" y="4540"/>
                  </a:lnTo>
                  <a:lnTo>
                    <a:pt x="3098" y="4540"/>
                  </a:lnTo>
                  <a:lnTo>
                    <a:pt x="3096" y="4542"/>
                  </a:lnTo>
                  <a:lnTo>
                    <a:pt x="3092" y="4546"/>
                  </a:lnTo>
                  <a:close/>
                  <a:moveTo>
                    <a:pt x="3058" y="4324"/>
                  </a:moveTo>
                  <a:lnTo>
                    <a:pt x="3058" y="4324"/>
                  </a:lnTo>
                  <a:lnTo>
                    <a:pt x="3056" y="4322"/>
                  </a:lnTo>
                  <a:lnTo>
                    <a:pt x="3052" y="4322"/>
                  </a:lnTo>
                  <a:lnTo>
                    <a:pt x="3048" y="4326"/>
                  </a:lnTo>
                  <a:lnTo>
                    <a:pt x="3048" y="4330"/>
                  </a:lnTo>
                  <a:lnTo>
                    <a:pt x="3050" y="4330"/>
                  </a:lnTo>
                  <a:lnTo>
                    <a:pt x="3058" y="4324"/>
                  </a:lnTo>
                  <a:close/>
                  <a:moveTo>
                    <a:pt x="3358" y="4790"/>
                  </a:moveTo>
                  <a:lnTo>
                    <a:pt x="3358" y="4790"/>
                  </a:lnTo>
                  <a:lnTo>
                    <a:pt x="3360" y="4800"/>
                  </a:lnTo>
                  <a:lnTo>
                    <a:pt x="3358" y="4806"/>
                  </a:lnTo>
                  <a:lnTo>
                    <a:pt x="3358" y="4812"/>
                  </a:lnTo>
                  <a:lnTo>
                    <a:pt x="3358" y="4816"/>
                  </a:lnTo>
                  <a:lnTo>
                    <a:pt x="3362" y="4820"/>
                  </a:lnTo>
                  <a:lnTo>
                    <a:pt x="3364" y="4826"/>
                  </a:lnTo>
                  <a:lnTo>
                    <a:pt x="3364" y="4830"/>
                  </a:lnTo>
                  <a:lnTo>
                    <a:pt x="3364" y="4838"/>
                  </a:lnTo>
                  <a:lnTo>
                    <a:pt x="3364" y="4846"/>
                  </a:lnTo>
                  <a:lnTo>
                    <a:pt x="3364" y="4850"/>
                  </a:lnTo>
                  <a:lnTo>
                    <a:pt x="3368" y="4856"/>
                  </a:lnTo>
                  <a:lnTo>
                    <a:pt x="3382" y="4876"/>
                  </a:lnTo>
                  <a:lnTo>
                    <a:pt x="3388" y="4882"/>
                  </a:lnTo>
                  <a:lnTo>
                    <a:pt x="3390" y="4884"/>
                  </a:lnTo>
                  <a:lnTo>
                    <a:pt x="3394" y="4884"/>
                  </a:lnTo>
                  <a:lnTo>
                    <a:pt x="3394" y="4882"/>
                  </a:lnTo>
                  <a:lnTo>
                    <a:pt x="3394" y="4880"/>
                  </a:lnTo>
                  <a:lnTo>
                    <a:pt x="3390" y="4876"/>
                  </a:lnTo>
                  <a:lnTo>
                    <a:pt x="3384" y="4868"/>
                  </a:lnTo>
                  <a:lnTo>
                    <a:pt x="3380" y="4860"/>
                  </a:lnTo>
                  <a:lnTo>
                    <a:pt x="3376" y="4848"/>
                  </a:lnTo>
                  <a:lnTo>
                    <a:pt x="3374" y="4836"/>
                  </a:lnTo>
                  <a:lnTo>
                    <a:pt x="3374" y="4826"/>
                  </a:lnTo>
                  <a:lnTo>
                    <a:pt x="3376" y="4820"/>
                  </a:lnTo>
                  <a:lnTo>
                    <a:pt x="3380" y="4818"/>
                  </a:lnTo>
                  <a:lnTo>
                    <a:pt x="3382" y="4818"/>
                  </a:lnTo>
                  <a:lnTo>
                    <a:pt x="3390" y="4820"/>
                  </a:lnTo>
                  <a:lnTo>
                    <a:pt x="3402" y="4824"/>
                  </a:lnTo>
                  <a:lnTo>
                    <a:pt x="3406" y="4826"/>
                  </a:lnTo>
                  <a:lnTo>
                    <a:pt x="3410" y="4826"/>
                  </a:lnTo>
                  <a:lnTo>
                    <a:pt x="3410" y="4822"/>
                  </a:lnTo>
                  <a:lnTo>
                    <a:pt x="3406" y="4816"/>
                  </a:lnTo>
                  <a:lnTo>
                    <a:pt x="3400" y="4812"/>
                  </a:lnTo>
                  <a:lnTo>
                    <a:pt x="3394" y="4810"/>
                  </a:lnTo>
                  <a:lnTo>
                    <a:pt x="3390" y="4806"/>
                  </a:lnTo>
                  <a:lnTo>
                    <a:pt x="3386" y="4804"/>
                  </a:lnTo>
                  <a:lnTo>
                    <a:pt x="3386" y="4802"/>
                  </a:lnTo>
                  <a:lnTo>
                    <a:pt x="3388" y="4800"/>
                  </a:lnTo>
                  <a:lnTo>
                    <a:pt x="3394" y="4796"/>
                  </a:lnTo>
                  <a:lnTo>
                    <a:pt x="3400" y="4792"/>
                  </a:lnTo>
                  <a:lnTo>
                    <a:pt x="3404" y="4788"/>
                  </a:lnTo>
                  <a:lnTo>
                    <a:pt x="3406" y="4784"/>
                  </a:lnTo>
                  <a:lnTo>
                    <a:pt x="3408" y="4774"/>
                  </a:lnTo>
                  <a:lnTo>
                    <a:pt x="3406" y="4770"/>
                  </a:lnTo>
                  <a:lnTo>
                    <a:pt x="3404" y="4766"/>
                  </a:lnTo>
                  <a:lnTo>
                    <a:pt x="3400" y="4766"/>
                  </a:lnTo>
                  <a:lnTo>
                    <a:pt x="3396" y="4766"/>
                  </a:lnTo>
                  <a:lnTo>
                    <a:pt x="3390" y="4770"/>
                  </a:lnTo>
                  <a:lnTo>
                    <a:pt x="3386" y="4774"/>
                  </a:lnTo>
                  <a:lnTo>
                    <a:pt x="3378" y="4788"/>
                  </a:lnTo>
                  <a:lnTo>
                    <a:pt x="3372" y="4800"/>
                  </a:lnTo>
                  <a:lnTo>
                    <a:pt x="3370" y="4800"/>
                  </a:lnTo>
                  <a:lnTo>
                    <a:pt x="3368" y="4798"/>
                  </a:lnTo>
                  <a:lnTo>
                    <a:pt x="3366" y="4792"/>
                  </a:lnTo>
                  <a:lnTo>
                    <a:pt x="3368" y="4788"/>
                  </a:lnTo>
                  <a:lnTo>
                    <a:pt x="3372" y="4782"/>
                  </a:lnTo>
                  <a:lnTo>
                    <a:pt x="3378" y="4772"/>
                  </a:lnTo>
                  <a:lnTo>
                    <a:pt x="3378" y="4766"/>
                  </a:lnTo>
                  <a:lnTo>
                    <a:pt x="3378" y="4762"/>
                  </a:lnTo>
                  <a:lnTo>
                    <a:pt x="3376" y="4754"/>
                  </a:lnTo>
                  <a:lnTo>
                    <a:pt x="3374" y="4750"/>
                  </a:lnTo>
                  <a:lnTo>
                    <a:pt x="3374" y="4748"/>
                  </a:lnTo>
                  <a:lnTo>
                    <a:pt x="3374" y="4744"/>
                  </a:lnTo>
                  <a:lnTo>
                    <a:pt x="3378" y="4734"/>
                  </a:lnTo>
                  <a:lnTo>
                    <a:pt x="3378" y="4732"/>
                  </a:lnTo>
                  <a:lnTo>
                    <a:pt x="3376" y="4732"/>
                  </a:lnTo>
                  <a:lnTo>
                    <a:pt x="3370" y="4736"/>
                  </a:lnTo>
                  <a:lnTo>
                    <a:pt x="3366" y="4740"/>
                  </a:lnTo>
                  <a:lnTo>
                    <a:pt x="3362" y="4746"/>
                  </a:lnTo>
                  <a:lnTo>
                    <a:pt x="3356" y="4760"/>
                  </a:lnTo>
                  <a:lnTo>
                    <a:pt x="3356" y="4776"/>
                  </a:lnTo>
                  <a:lnTo>
                    <a:pt x="3356" y="4784"/>
                  </a:lnTo>
                  <a:lnTo>
                    <a:pt x="3358" y="4790"/>
                  </a:lnTo>
                  <a:close/>
                  <a:moveTo>
                    <a:pt x="3086" y="4178"/>
                  </a:moveTo>
                  <a:lnTo>
                    <a:pt x="3086" y="4178"/>
                  </a:lnTo>
                  <a:lnTo>
                    <a:pt x="3076" y="4178"/>
                  </a:lnTo>
                  <a:lnTo>
                    <a:pt x="3070" y="4180"/>
                  </a:lnTo>
                  <a:lnTo>
                    <a:pt x="3068" y="4184"/>
                  </a:lnTo>
                  <a:lnTo>
                    <a:pt x="3072" y="4186"/>
                  </a:lnTo>
                  <a:lnTo>
                    <a:pt x="3076" y="4188"/>
                  </a:lnTo>
                  <a:lnTo>
                    <a:pt x="3076" y="4190"/>
                  </a:lnTo>
                  <a:lnTo>
                    <a:pt x="3078" y="4194"/>
                  </a:lnTo>
                  <a:lnTo>
                    <a:pt x="3080" y="4196"/>
                  </a:lnTo>
                  <a:lnTo>
                    <a:pt x="3084" y="4202"/>
                  </a:lnTo>
                  <a:lnTo>
                    <a:pt x="3088" y="4212"/>
                  </a:lnTo>
                  <a:lnTo>
                    <a:pt x="3092" y="4224"/>
                  </a:lnTo>
                  <a:lnTo>
                    <a:pt x="3098" y="4238"/>
                  </a:lnTo>
                  <a:lnTo>
                    <a:pt x="3102" y="4244"/>
                  </a:lnTo>
                  <a:lnTo>
                    <a:pt x="3104" y="4244"/>
                  </a:lnTo>
                  <a:lnTo>
                    <a:pt x="3106" y="4244"/>
                  </a:lnTo>
                  <a:lnTo>
                    <a:pt x="3112" y="4240"/>
                  </a:lnTo>
                  <a:lnTo>
                    <a:pt x="3116" y="4232"/>
                  </a:lnTo>
                  <a:lnTo>
                    <a:pt x="3118" y="4224"/>
                  </a:lnTo>
                  <a:lnTo>
                    <a:pt x="3118" y="4220"/>
                  </a:lnTo>
                  <a:lnTo>
                    <a:pt x="3116" y="4216"/>
                  </a:lnTo>
                  <a:lnTo>
                    <a:pt x="3116" y="4208"/>
                  </a:lnTo>
                  <a:lnTo>
                    <a:pt x="3118" y="4204"/>
                  </a:lnTo>
                  <a:lnTo>
                    <a:pt x="3116" y="4198"/>
                  </a:lnTo>
                  <a:lnTo>
                    <a:pt x="3114" y="4194"/>
                  </a:lnTo>
                  <a:lnTo>
                    <a:pt x="3110" y="4190"/>
                  </a:lnTo>
                  <a:lnTo>
                    <a:pt x="3100" y="4184"/>
                  </a:lnTo>
                  <a:lnTo>
                    <a:pt x="3086" y="4178"/>
                  </a:lnTo>
                  <a:close/>
                  <a:moveTo>
                    <a:pt x="3138" y="4192"/>
                  </a:moveTo>
                  <a:lnTo>
                    <a:pt x="3138" y="4192"/>
                  </a:lnTo>
                  <a:lnTo>
                    <a:pt x="3140" y="4190"/>
                  </a:lnTo>
                  <a:lnTo>
                    <a:pt x="3142" y="4186"/>
                  </a:lnTo>
                  <a:lnTo>
                    <a:pt x="3140" y="4180"/>
                  </a:lnTo>
                  <a:lnTo>
                    <a:pt x="3138" y="4178"/>
                  </a:lnTo>
                  <a:lnTo>
                    <a:pt x="3134" y="4178"/>
                  </a:lnTo>
                  <a:lnTo>
                    <a:pt x="3132" y="4178"/>
                  </a:lnTo>
                  <a:lnTo>
                    <a:pt x="3130" y="4178"/>
                  </a:lnTo>
                  <a:lnTo>
                    <a:pt x="3130" y="4184"/>
                  </a:lnTo>
                  <a:lnTo>
                    <a:pt x="3130" y="4188"/>
                  </a:lnTo>
                  <a:lnTo>
                    <a:pt x="3132" y="4192"/>
                  </a:lnTo>
                  <a:lnTo>
                    <a:pt x="3134" y="4194"/>
                  </a:lnTo>
                  <a:lnTo>
                    <a:pt x="3138" y="4192"/>
                  </a:lnTo>
                  <a:close/>
                  <a:moveTo>
                    <a:pt x="3386" y="4736"/>
                  </a:moveTo>
                  <a:lnTo>
                    <a:pt x="3386" y="4736"/>
                  </a:lnTo>
                  <a:lnTo>
                    <a:pt x="3388" y="4742"/>
                  </a:lnTo>
                  <a:lnTo>
                    <a:pt x="3392" y="4742"/>
                  </a:lnTo>
                  <a:lnTo>
                    <a:pt x="3396" y="4740"/>
                  </a:lnTo>
                  <a:lnTo>
                    <a:pt x="3398" y="4736"/>
                  </a:lnTo>
                  <a:lnTo>
                    <a:pt x="3402" y="4732"/>
                  </a:lnTo>
                  <a:lnTo>
                    <a:pt x="3404" y="4726"/>
                  </a:lnTo>
                  <a:lnTo>
                    <a:pt x="3404" y="4720"/>
                  </a:lnTo>
                  <a:lnTo>
                    <a:pt x="3404" y="4714"/>
                  </a:lnTo>
                  <a:lnTo>
                    <a:pt x="3400" y="4712"/>
                  </a:lnTo>
                  <a:lnTo>
                    <a:pt x="3398" y="4712"/>
                  </a:lnTo>
                  <a:lnTo>
                    <a:pt x="3394" y="4714"/>
                  </a:lnTo>
                  <a:lnTo>
                    <a:pt x="3392" y="4718"/>
                  </a:lnTo>
                  <a:lnTo>
                    <a:pt x="3388" y="4726"/>
                  </a:lnTo>
                  <a:lnTo>
                    <a:pt x="3386" y="4736"/>
                  </a:lnTo>
                  <a:close/>
                  <a:moveTo>
                    <a:pt x="3378" y="4912"/>
                  </a:moveTo>
                  <a:lnTo>
                    <a:pt x="3378" y="4912"/>
                  </a:lnTo>
                  <a:lnTo>
                    <a:pt x="3374" y="4908"/>
                  </a:lnTo>
                  <a:lnTo>
                    <a:pt x="3370" y="4906"/>
                  </a:lnTo>
                  <a:lnTo>
                    <a:pt x="3364" y="4904"/>
                  </a:lnTo>
                  <a:lnTo>
                    <a:pt x="3362" y="4904"/>
                  </a:lnTo>
                  <a:lnTo>
                    <a:pt x="3358" y="4906"/>
                  </a:lnTo>
                  <a:lnTo>
                    <a:pt x="3356" y="4908"/>
                  </a:lnTo>
                  <a:lnTo>
                    <a:pt x="3354" y="4912"/>
                  </a:lnTo>
                  <a:lnTo>
                    <a:pt x="3354" y="4916"/>
                  </a:lnTo>
                  <a:lnTo>
                    <a:pt x="3354" y="4922"/>
                  </a:lnTo>
                  <a:lnTo>
                    <a:pt x="3358" y="4924"/>
                  </a:lnTo>
                  <a:lnTo>
                    <a:pt x="3366" y="4922"/>
                  </a:lnTo>
                  <a:lnTo>
                    <a:pt x="3382" y="4922"/>
                  </a:lnTo>
                  <a:lnTo>
                    <a:pt x="3384" y="4922"/>
                  </a:lnTo>
                  <a:lnTo>
                    <a:pt x="3384" y="4920"/>
                  </a:lnTo>
                  <a:lnTo>
                    <a:pt x="3378" y="4912"/>
                  </a:lnTo>
                  <a:close/>
                  <a:moveTo>
                    <a:pt x="3378" y="5236"/>
                  </a:moveTo>
                  <a:lnTo>
                    <a:pt x="3378" y="5236"/>
                  </a:lnTo>
                  <a:lnTo>
                    <a:pt x="3374" y="5234"/>
                  </a:lnTo>
                  <a:lnTo>
                    <a:pt x="3370" y="5234"/>
                  </a:lnTo>
                  <a:lnTo>
                    <a:pt x="3368" y="5236"/>
                  </a:lnTo>
                  <a:lnTo>
                    <a:pt x="3372" y="5240"/>
                  </a:lnTo>
                  <a:lnTo>
                    <a:pt x="3376" y="5242"/>
                  </a:lnTo>
                  <a:lnTo>
                    <a:pt x="3380" y="5240"/>
                  </a:lnTo>
                  <a:lnTo>
                    <a:pt x="3380" y="5238"/>
                  </a:lnTo>
                  <a:lnTo>
                    <a:pt x="3378" y="5236"/>
                  </a:lnTo>
                  <a:close/>
                  <a:moveTo>
                    <a:pt x="3444" y="5230"/>
                  </a:moveTo>
                  <a:lnTo>
                    <a:pt x="3444" y="5230"/>
                  </a:lnTo>
                  <a:lnTo>
                    <a:pt x="3448" y="5232"/>
                  </a:lnTo>
                  <a:lnTo>
                    <a:pt x="3450" y="5230"/>
                  </a:lnTo>
                  <a:lnTo>
                    <a:pt x="3452" y="5228"/>
                  </a:lnTo>
                  <a:lnTo>
                    <a:pt x="3452" y="5224"/>
                  </a:lnTo>
                  <a:lnTo>
                    <a:pt x="3448" y="5220"/>
                  </a:lnTo>
                  <a:lnTo>
                    <a:pt x="3442" y="5218"/>
                  </a:lnTo>
                  <a:lnTo>
                    <a:pt x="3440" y="5220"/>
                  </a:lnTo>
                  <a:lnTo>
                    <a:pt x="3442" y="5224"/>
                  </a:lnTo>
                  <a:lnTo>
                    <a:pt x="3444" y="5230"/>
                  </a:lnTo>
                  <a:close/>
                  <a:moveTo>
                    <a:pt x="3364" y="4876"/>
                  </a:moveTo>
                  <a:lnTo>
                    <a:pt x="3364" y="4876"/>
                  </a:lnTo>
                  <a:lnTo>
                    <a:pt x="3364" y="4878"/>
                  </a:lnTo>
                  <a:lnTo>
                    <a:pt x="3366" y="4880"/>
                  </a:lnTo>
                  <a:lnTo>
                    <a:pt x="3370" y="4882"/>
                  </a:lnTo>
                  <a:lnTo>
                    <a:pt x="3372" y="4880"/>
                  </a:lnTo>
                  <a:lnTo>
                    <a:pt x="3374" y="4876"/>
                  </a:lnTo>
                  <a:lnTo>
                    <a:pt x="3372" y="4874"/>
                  </a:lnTo>
                  <a:lnTo>
                    <a:pt x="3368" y="4874"/>
                  </a:lnTo>
                  <a:lnTo>
                    <a:pt x="3364" y="4876"/>
                  </a:lnTo>
                  <a:close/>
                  <a:moveTo>
                    <a:pt x="3374" y="5022"/>
                  </a:moveTo>
                  <a:lnTo>
                    <a:pt x="3374" y="5022"/>
                  </a:lnTo>
                  <a:lnTo>
                    <a:pt x="3378" y="5024"/>
                  </a:lnTo>
                  <a:lnTo>
                    <a:pt x="3384" y="5022"/>
                  </a:lnTo>
                  <a:lnTo>
                    <a:pt x="3388" y="5018"/>
                  </a:lnTo>
                  <a:lnTo>
                    <a:pt x="3390" y="5012"/>
                  </a:lnTo>
                  <a:lnTo>
                    <a:pt x="3390" y="5010"/>
                  </a:lnTo>
                  <a:lnTo>
                    <a:pt x="3388" y="5010"/>
                  </a:lnTo>
                  <a:lnTo>
                    <a:pt x="3382" y="5012"/>
                  </a:lnTo>
                  <a:lnTo>
                    <a:pt x="3376" y="5018"/>
                  </a:lnTo>
                  <a:lnTo>
                    <a:pt x="3374" y="5020"/>
                  </a:lnTo>
                  <a:lnTo>
                    <a:pt x="3374" y="5022"/>
                  </a:lnTo>
                  <a:close/>
                  <a:moveTo>
                    <a:pt x="3412" y="3200"/>
                  </a:moveTo>
                  <a:lnTo>
                    <a:pt x="3412" y="3200"/>
                  </a:lnTo>
                  <a:lnTo>
                    <a:pt x="3408" y="3200"/>
                  </a:lnTo>
                  <a:lnTo>
                    <a:pt x="3406" y="3202"/>
                  </a:lnTo>
                  <a:lnTo>
                    <a:pt x="3404" y="3206"/>
                  </a:lnTo>
                  <a:lnTo>
                    <a:pt x="3406" y="3208"/>
                  </a:lnTo>
                  <a:lnTo>
                    <a:pt x="3408" y="3208"/>
                  </a:lnTo>
                  <a:lnTo>
                    <a:pt x="3414" y="3206"/>
                  </a:lnTo>
                  <a:lnTo>
                    <a:pt x="3416" y="3204"/>
                  </a:lnTo>
                  <a:lnTo>
                    <a:pt x="3416" y="3202"/>
                  </a:lnTo>
                  <a:lnTo>
                    <a:pt x="3412" y="3200"/>
                  </a:lnTo>
                  <a:close/>
                  <a:moveTo>
                    <a:pt x="3402" y="3084"/>
                  </a:moveTo>
                  <a:lnTo>
                    <a:pt x="3402" y="3084"/>
                  </a:lnTo>
                  <a:lnTo>
                    <a:pt x="3400" y="3088"/>
                  </a:lnTo>
                  <a:lnTo>
                    <a:pt x="3398" y="3092"/>
                  </a:lnTo>
                  <a:lnTo>
                    <a:pt x="3400" y="3096"/>
                  </a:lnTo>
                  <a:lnTo>
                    <a:pt x="3402" y="3098"/>
                  </a:lnTo>
                  <a:lnTo>
                    <a:pt x="3404" y="3096"/>
                  </a:lnTo>
                  <a:lnTo>
                    <a:pt x="3406" y="3092"/>
                  </a:lnTo>
                  <a:lnTo>
                    <a:pt x="3406" y="3088"/>
                  </a:lnTo>
                  <a:lnTo>
                    <a:pt x="3406" y="3084"/>
                  </a:lnTo>
                  <a:lnTo>
                    <a:pt x="3404" y="3084"/>
                  </a:lnTo>
                  <a:lnTo>
                    <a:pt x="3402" y="3084"/>
                  </a:lnTo>
                  <a:close/>
                  <a:moveTo>
                    <a:pt x="3416" y="3464"/>
                  </a:moveTo>
                  <a:lnTo>
                    <a:pt x="3416" y="3464"/>
                  </a:lnTo>
                  <a:lnTo>
                    <a:pt x="3420" y="3466"/>
                  </a:lnTo>
                  <a:lnTo>
                    <a:pt x="3422" y="3464"/>
                  </a:lnTo>
                  <a:lnTo>
                    <a:pt x="3422" y="3460"/>
                  </a:lnTo>
                  <a:lnTo>
                    <a:pt x="3420" y="3454"/>
                  </a:lnTo>
                  <a:lnTo>
                    <a:pt x="3418" y="3452"/>
                  </a:lnTo>
                  <a:lnTo>
                    <a:pt x="3416" y="3454"/>
                  </a:lnTo>
                  <a:lnTo>
                    <a:pt x="3414" y="3458"/>
                  </a:lnTo>
                  <a:lnTo>
                    <a:pt x="3416" y="3464"/>
                  </a:lnTo>
                  <a:close/>
                  <a:moveTo>
                    <a:pt x="2806" y="3776"/>
                  </a:moveTo>
                  <a:lnTo>
                    <a:pt x="2806" y="3776"/>
                  </a:lnTo>
                  <a:lnTo>
                    <a:pt x="2810" y="3778"/>
                  </a:lnTo>
                  <a:lnTo>
                    <a:pt x="2814" y="3778"/>
                  </a:lnTo>
                  <a:lnTo>
                    <a:pt x="2816" y="3776"/>
                  </a:lnTo>
                  <a:lnTo>
                    <a:pt x="2818" y="3774"/>
                  </a:lnTo>
                  <a:lnTo>
                    <a:pt x="2820" y="3768"/>
                  </a:lnTo>
                  <a:lnTo>
                    <a:pt x="2818" y="3762"/>
                  </a:lnTo>
                  <a:lnTo>
                    <a:pt x="2820" y="3758"/>
                  </a:lnTo>
                  <a:lnTo>
                    <a:pt x="2820" y="3754"/>
                  </a:lnTo>
                  <a:lnTo>
                    <a:pt x="2820" y="3752"/>
                  </a:lnTo>
                  <a:lnTo>
                    <a:pt x="2818" y="3752"/>
                  </a:lnTo>
                  <a:lnTo>
                    <a:pt x="2814" y="3752"/>
                  </a:lnTo>
                  <a:lnTo>
                    <a:pt x="2812" y="3752"/>
                  </a:lnTo>
                  <a:lnTo>
                    <a:pt x="2814" y="3752"/>
                  </a:lnTo>
                  <a:lnTo>
                    <a:pt x="2814" y="3750"/>
                  </a:lnTo>
                  <a:lnTo>
                    <a:pt x="2812" y="3748"/>
                  </a:lnTo>
                  <a:lnTo>
                    <a:pt x="2810" y="3750"/>
                  </a:lnTo>
                  <a:lnTo>
                    <a:pt x="2808" y="3752"/>
                  </a:lnTo>
                  <a:lnTo>
                    <a:pt x="2808" y="3756"/>
                  </a:lnTo>
                  <a:lnTo>
                    <a:pt x="2806" y="3758"/>
                  </a:lnTo>
                  <a:lnTo>
                    <a:pt x="2802" y="3760"/>
                  </a:lnTo>
                  <a:lnTo>
                    <a:pt x="2802" y="3766"/>
                  </a:lnTo>
                  <a:lnTo>
                    <a:pt x="2802" y="3774"/>
                  </a:lnTo>
                  <a:lnTo>
                    <a:pt x="2800" y="3774"/>
                  </a:lnTo>
                  <a:lnTo>
                    <a:pt x="2802" y="3774"/>
                  </a:lnTo>
                  <a:lnTo>
                    <a:pt x="2804" y="3774"/>
                  </a:lnTo>
                  <a:lnTo>
                    <a:pt x="2806" y="3776"/>
                  </a:lnTo>
                  <a:close/>
                  <a:moveTo>
                    <a:pt x="3380" y="3090"/>
                  </a:moveTo>
                  <a:lnTo>
                    <a:pt x="3380" y="3090"/>
                  </a:lnTo>
                  <a:lnTo>
                    <a:pt x="3378" y="3088"/>
                  </a:lnTo>
                  <a:lnTo>
                    <a:pt x="3376" y="3086"/>
                  </a:lnTo>
                  <a:lnTo>
                    <a:pt x="3372" y="3088"/>
                  </a:lnTo>
                  <a:lnTo>
                    <a:pt x="3370" y="3090"/>
                  </a:lnTo>
                  <a:lnTo>
                    <a:pt x="3370" y="3092"/>
                  </a:lnTo>
                  <a:lnTo>
                    <a:pt x="3376" y="3096"/>
                  </a:lnTo>
                  <a:lnTo>
                    <a:pt x="3378" y="3096"/>
                  </a:lnTo>
                  <a:lnTo>
                    <a:pt x="3380" y="3096"/>
                  </a:lnTo>
                  <a:lnTo>
                    <a:pt x="3380" y="3090"/>
                  </a:lnTo>
                  <a:close/>
                  <a:moveTo>
                    <a:pt x="3918" y="2740"/>
                  </a:moveTo>
                  <a:lnTo>
                    <a:pt x="3918" y="2740"/>
                  </a:lnTo>
                  <a:lnTo>
                    <a:pt x="3918" y="2736"/>
                  </a:lnTo>
                  <a:lnTo>
                    <a:pt x="3918" y="2734"/>
                  </a:lnTo>
                  <a:lnTo>
                    <a:pt x="3914" y="2732"/>
                  </a:lnTo>
                  <a:lnTo>
                    <a:pt x="3908" y="2730"/>
                  </a:lnTo>
                  <a:lnTo>
                    <a:pt x="3902" y="2728"/>
                  </a:lnTo>
                  <a:lnTo>
                    <a:pt x="3900" y="2726"/>
                  </a:lnTo>
                  <a:lnTo>
                    <a:pt x="3898" y="2728"/>
                  </a:lnTo>
                  <a:lnTo>
                    <a:pt x="3894" y="2736"/>
                  </a:lnTo>
                  <a:lnTo>
                    <a:pt x="3894" y="2740"/>
                  </a:lnTo>
                  <a:lnTo>
                    <a:pt x="3894" y="2744"/>
                  </a:lnTo>
                  <a:lnTo>
                    <a:pt x="3898" y="2746"/>
                  </a:lnTo>
                  <a:lnTo>
                    <a:pt x="3902" y="2744"/>
                  </a:lnTo>
                  <a:lnTo>
                    <a:pt x="3906" y="2744"/>
                  </a:lnTo>
                  <a:lnTo>
                    <a:pt x="3910" y="2746"/>
                  </a:lnTo>
                  <a:lnTo>
                    <a:pt x="3910" y="2748"/>
                  </a:lnTo>
                  <a:lnTo>
                    <a:pt x="3912" y="2752"/>
                  </a:lnTo>
                  <a:lnTo>
                    <a:pt x="3908" y="2760"/>
                  </a:lnTo>
                  <a:lnTo>
                    <a:pt x="3906" y="2762"/>
                  </a:lnTo>
                  <a:lnTo>
                    <a:pt x="3904" y="2760"/>
                  </a:lnTo>
                  <a:lnTo>
                    <a:pt x="3900" y="2758"/>
                  </a:lnTo>
                  <a:lnTo>
                    <a:pt x="3898" y="2760"/>
                  </a:lnTo>
                  <a:lnTo>
                    <a:pt x="3894" y="2762"/>
                  </a:lnTo>
                  <a:lnTo>
                    <a:pt x="3890" y="2764"/>
                  </a:lnTo>
                  <a:lnTo>
                    <a:pt x="3888" y="2762"/>
                  </a:lnTo>
                  <a:lnTo>
                    <a:pt x="3888" y="2756"/>
                  </a:lnTo>
                  <a:lnTo>
                    <a:pt x="3886" y="2746"/>
                  </a:lnTo>
                  <a:lnTo>
                    <a:pt x="3884" y="2742"/>
                  </a:lnTo>
                  <a:lnTo>
                    <a:pt x="3880" y="2740"/>
                  </a:lnTo>
                  <a:lnTo>
                    <a:pt x="3878" y="2742"/>
                  </a:lnTo>
                  <a:lnTo>
                    <a:pt x="3876" y="2744"/>
                  </a:lnTo>
                  <a:lnTo>
                    <a:pt x="3874" y="2750"/>
                  </a:lnTo>
                  <a:lnTo>
                    <a:pt x="3874" y="2758"/>
                  </a:lnTo>
                  <a:lnTo>
                    <a:pt x="3872" y="2764"/>
                  </a:lnTo>
                  <a:lnTo>
                    <a:pt x="3870" y="2768"/>
                  </a:lnTo>
                  <a:lnTo>
                    <a:pt x="3866" y="2768"/>
                  </a:lnTo>
                  <a:lnTo>
                    <a:pt x="3862" y="2770"/>
                  </a:lnTo>
                  <a:lnTo>
                    <a:pt x="3858" y="2770"/>
                  </a:lnTo>
                  <a:lnTo>
                    <a:pt x="3856" y="2772"/>
                  </a:lnTo>
                  <a:lnTo>
                    <a:pt x="3856" y="2776"/>
                  </a:lnTo>
                  <a:lnTo>
                    <a:pt x="3856" y="2786"/>
                  </a:lnTo>
                  <a:lnTo>
                    <a:pt x="3858" y="2796"/>
                  </a:lnTo>
                  <a:lnTo>
                    <a:pt x="3860" y="2802"/>
                  </a:lnTo>
                  <a:lnTo>
                    <a:pt x="3858" y="2806"/>
                  </a:lnTo>
                  <a:lnTo>
                    <a:pt x="3856" y="2808"/>
                  </a:lnTo>
                  <a:lnTo>
                    <a:pt x="3852" y="2810"/>
                  </a:lnTo>
                  <a:lnTo>
                    <a:pt x="3850" y="2812"/>
                  </a:lnTo>
                  <a:lnTo>
                    <a:pt x="3850" y="2814"/>
                  </a:lnTo>
                  <a:lnTo>
                    <a:pt x="3850" y="2816"/>
                  </a:lnTo>
                  <a:lnTo>
                    <a:pt x="3852" y="2818"/>
                  </a:lnTo>
                  <a:lnTo>
                    <a:pt x="3854" y="2818"/>
                  </a:lnTo>
                  <a:lnTo>
                    <a:pt x="3858" y="2820"/>
                  </a:lnTo>
                  <a:lnTo>
                    <a:pt x="3860" y="2824"/>
                  </a:lnTo>
                  <a:lnTo>
                    <a:pt x="3860" y="2832"/>
                  </a:lnTo>
                  <a:lnTo>
                    <a:pt x="3858" y="2846"/>
                  </a:lnTo>
                  <a:lnTo>
                    <a:pt x="3854" y="2866"/>
                  </a:lnTo>
                  <a:lnTo>
                    <a:pt x="3850" y="2884"/>
                  </a:lnTo>
                  <a:lnTo>
                    <a:pt x="3844" y="2896"/>
                  </a:lnTo>
                  <a:lnTo>
                    <a:pt x="3840" y="2904"/>
                  </a:lnTo>
                  <a:lnTo>
                    <a:pt x="3834" y="2912"/>
                  </a:lnTo>
                  <a:lnTo>
                    <a:pt x="3822" y="2926"/>
                  </a:lnTo>
                  <a:lnTo>
                    <a:pt x="3808" y="2942"/>
                  </a:lnTo>
                  <a:lnTo>
                    <a:pt x="3802" y="2952"/>
                  </a:lnTo>
                  <a:lnTo>
                    <a:pt x="3794" y="2960"/>
                  </a:lnTo>
                  <a:lnTo>
                    <a:pt x="3788" y="2964"/>
                  </a:lnTo>
                  <a:lnTo>
                    <a:pt x="3782" y="2968"/>
                  </a:lnTo>
                  <a:lnTo>
                    <a:pt x="3768" y="2974"/>
                  </a:lnTo>
                  <a:lnTo>
                    <a:pt x="3760" y="2978"/>
                  </a:lnTo>
                  <a:lnTo>
                    <a:pt x="3752" y="2984"/>
                  </a:lnTo>
                  <a:lnTo>
                    <a:pt x="3742" y="2990"/>
                  </a:lnTo>
                  <a:lnTo>
                    <a:pt x="3742" y="2988"/>
                  </a:lnTo>
                  <a:lnTo>
                    <a:pt x="3742" y="2986"/>
                  </a:lnTo>
                  <a:lnTo>
                    <a:pt x="3744" y="2978"/>
                  </a:lnTo>
                  <a:lnTo>
                    <a:pt x="3744" y="2974"/>
                  </a:lnTo>
                  <a:lnTo>
                    <a:pt x="3740" y="2970"/>
                  </a:lnTo>
                  <a:lnTo>
                    <a:pt x="3740" y="2968"/>
                  </a:lnTo>
                  <a:lnTo>
                    <a:pt x="3740" y="2966"/>
                  </a:lnTo>
                  <a:lnTo>
                    <a:pt x="3748" y="2960"/>
                  </a:lnTo>
                  <a:lnTo>
                    <a:pt x="3754" y="2952"/>
                  </a:lnTo>
                  <a:lnTo>
                    <a:pt x="3756" y="2948"/>
                  </a:lnTo>
                  <a:lnTo>
                    <a:pt x="3754" y="2944"/>
                  </a:lnTo>
                  <a:lnTo>
                    <a:pt x="3752" y="2944"/>
                  </a:lnTo>
                  <a:lnTo>
                    <a:pt x="3748" y="2944"/>
                  </a:lnTo>
                  <a:lnTo>
                    <a:pt x="3738" y="2948"/>
                  </a:lnTo>
                  <a:lnTo>
                    <a:pt x="3734" y="2952"/>
                  </a:lnTo>
                  <a:lnTo>
                    <a:pt x="3730" y="2956"/>
                  </a:lnTo>
                  <a:lnTo>
                    <a:pt x="3728" y="2962"/>
                  </a:lnTo>
                  <a:lnTo>
                    <a:pt x="3730" y="2966"/>
                  </a:lnTo>
                  <a:lnTo>
                    <a:pt x="3730" y="2976"/>
                  </a:lnTo>
                  <a:lnTo>
                    <a:pt x="3728" y="2986"/>
                  </a:lnTo>
                  <a:lnTo>
                    <a:pt x="3722" y="2996"/>
                  </a:lnTo>
                  <a:lnTo>
                    <a:pt x="3716" y="3006"/>
                  </a:lnTo>
                  <a:lnTo>
                    <a:pt x="3704" y="3022"/>
                  </a:lnTo>
                  <a:lnTo>
                    <a:pt x="3700" y="3026"/>
                  </a:lnTo>
                  <a:lnTo>
                    <a:pt x="3698" y="3030"/>
                  </a:lnTo>
                  <a:lnTo>
                    <a:pt x="3700" y="3036"/>
                  </a:lnTo>
                  <a:lnTo>
                    <a:pt x="3700" y="3044"/>
                  </a:lnTo>
                  <a:lnTo>
                    <a:pt x="3698" y="3046"/>
                  </a:lnTo>
                  <a:lnTo>
                    <a:pt x="3694" y="3050"/>
                  </a:lnTo>
                  <a:lnTo>
                    <a:pt x="3690" y="3052"/>
                  </a:lnTo>
                  <a:lnTo>
                    <a:pt x="3682" y="3054"/>
                  </a:lnTo>
                  <a:lnTo>
                    <a:pt x="3676" y="3054"/>
                  </a:lnTo>
                  <a:lnTo>
                    <a:pt x="3672" y="3052"/>
                  </a:lnTo>
                  <a:lnTo>
                    <a:pt x="3672" y="3048"/>
                  </a:lnTo>
                  <a:lnTo>
                    <a:pt x="3674" y="3044"/>
                  </a:lnTo>
                  <a:lnTo>
                    <a:pt x="3672" y="3042"/>
                  </a:lnTo>
                  <a:lnTo>
                    <a:pt x="3668" y="3040"/>
                  </a:lnTo>
                  <a:lnTo>
                    <a:pt x="3662" y="3042"/>
                  </a:lnTo>
                  <a:lnTo>
                    <a:pt x="3652" y="3044"/>
                  </a:lnTo>
                  <a:lnTo>
                    <a:pt x="3626" y="3052"/>
                  </a:lnTo>
                  <a:lnTo>
                    <a:pt x="3614" y="3056"/>
                  </a:lnTo>
                  <a:lnTo>
                    <a:pt x="3602" y="3058"/>
                  </a:lnTo>
                  <a:lnTo>
                    <a:pt x="3594" y="3058"/>
                  </a:lnTo>
                  <a:lnTo>
                    <a:pt x="3592" y="3056"/>
                  </a:lnTo>
                  <a:lnTo>
                    <a:pt x="3590" y="3054"/>
                  </a:lnTo>
                  <a:lnTo>
                    <a:pt x="3588" y="3050"/>
                  </a:lnTo>
                  <a:lnTo>
                    <a:pt x="3584" y="3050"/>
                  </a:lnTo>
                  <a:lnTo>
                    <a:pt x="3580" y="3050"/>
                  </a:lnTo>
                  <a:lnTo>
                    <a:pt x="3574" y="3052"/>
                  </a:lnTo>
                  <a:lnTo>
                    <a:pt x="3562" y="3062"/>
                  </a:lnTo>
                  <a:lnTo>
                    <a:pt x="3548" y="3080"/>
                  </a:lnTo>
                  <a:lnTo>
                    <a:pt x="3542" y="3088"/>
                  </a:lnTo>
                  <a:lnTo>
                    <a:pt x="3536" y="3092"/>
                  </a:lnTo>
                  <a:lnTo>
                    <a:pt x="3530" y="3096"/>
                  </a:lnTo>
                  <a:lnTo>
                    <a:pt x="3524" y="3098"/>
                  </a:lnTo>
                  <a:lnTo>
                    <a:pt x="3518" y="3106"/>
                  </a:lnTo>
                  <a:lnTo>
                    <a:pt x="3514" y="3112"/>
                  </a:lnTo>
                  <a:lnTo>
                    <a:pt x="3510" y="3114"/>
                  </a:lnTo>
                  <a:lnTo>
                    <a:pt x="3502" y="3114"/>
                  </a:lnTo>
                  <a:lnTo>
                    <a:pt x="3500" y="3116"/>
                  </a:lnTo>
                  <a:lnTo>
                    <a:pt x="3498" y="3116"/>
                  </a:lnTo>
                  <a:lnTo>
                    <a:pt x="3496" y="3120"/>
                  </a:lnTo>
                  <a:lnTo>
                    <a:pt x="3496" y="3126"/>
                  </a:lnTo>
                  <a:lnTo>
                    <a:pt x="3496" y="3132"/>
                  </a:lnTo>
                  <a:lnTo>
                    <a:pt x="3500" y="3136"/>
                  </a:lnTo>
                  <a:lnTo>
                    <a:pt x="3504" y="3136"/>
                  </a:lnTo>
                  <a:lnTo>
                    <a:pt x="3508" y="3136"/>
                  </a:lnTo>
                  <a:lnTo>
                    <a:pt x="3522" y="3134"/>
                  </a:lnTo>
                  <a:lnTo>
                    <a:pt x="3528" y="3134"/>
                  </a:lnTo>
                  <a:lnTo>
                    <a:pt x="3536" y="3138"/>
                  </a:lnTo>
                  <a:lnTo>
                    <a:pt x="3542" y="3140"/>
                  </a:lnTo>
                  <a:lnTo>
                    <a:pt x="3544" y="3140"/>
                  </a:lnTo>
                  <a:lnTo>
                    <a:pt x="3546" y="3138"/>
                  </a:lnTo>
                  <a:lnTo>
                    <a:pt x="3546" y="3134"/>
                  </a:lnTo>
                  <a:lnTo>
                    <a:pt x="3546" y="3124"/>
                  </a:lnTo>
                  <a:lnTo>
                    <a:pt x="3548" y="3120"/>
                  </a:lnTo>
                  <a:lnTo>
                    <a:pt x="3550" y="3118"/>
                  </a:lnTo>
                  <a:lnTo>
                    <a:pt x="3556" y="3116"/>
                  </a:lnTo>
                  <a:lnTo>
                    <a:pt x="3558" y="3118"/>
                  </a:lnTo>
                  <a:lnTo>
                    <a:pt x="3562" y="3120"/>
                  </a:lnTo>
                  <a:lnTo>
                    <a:pt x="3570" y="3120"/>
                  </a:lnTo>
                  <a:lnTo>
                    <a:pt x="3596" y="3116"/>
                  </a:lnTo>
                  <a:lnTo>
                    <a:pt x="3620" y="3108"/>
                  </a:lnTo>
                  <a:lnTo>
                    <a:pt x="3626" y="3104"/>
                  </a:lnTo>
                  <a:lnTo>
                    <a:pt x="3630" y="3102"/>
                  </a:lnTo>
                  <a:lnTo>
                    <a:pt x="3632" y="3098"/>
                  </a:lnTo>
                  <a:lnTo>
                    <a:pt x="3632" y="3096"/>
                  </a:lnTo>
                  <a:lnTo>
                    <a:pt x="3636" y="3096"/>
                  </a:lnTo>
                  <a:lnTo>
                    <a:pt x="3648" y="3098"/>
                  </a:lnTo>
                  <a:lnTo>
                    <a:pt x="3656" y="3100"/>
                  </a:lnTo>
                  <a:lnTo>
                    <a:pt x="3662" y="3100"/>
                  </a:lnTo>
                  <a:lnTo>
                    <a:pt x="3670" y="3098"/>
                  </a:lnTo>
                  <a:lnTo>
                    <a:pt x="3674" y="3098"/>
                  </a:lnTo>
                  <a:lnTo>
                    <a:pt x="3676" y="3102"/>
                  </a:lnTo>
                  <a:lnTo>
                    <a:pt x="3678" y="3106"/>
                  </a:lnTo>
                  <a:lnTo>
                    <a:pt x="3676" y="3110"/>
                  </a:lnTo>
                  <a:lnTo>
                    <a:pt x="3672" y="3114"/>
                  </a:lnTo>
                  <a:lnTo>
                    <a:pt x="3666" y="3118"/>
                  </a:lnTo>
                  <a:lnTo>
                    <a:pt x="3666" y="3120"/>
                  </a:lnTo>
                  <a:lnTo>
                    <a:pt x="3666" y="3124"/>
                  </a:lnTo>
                  <a:lnTo>
                    <a:pt x="3666" y="3130"/>
                  </a:lnTo>
                  <a:lnTo>
                    <a:pt x="3664" y="3136"/>
                  </a:lnTo>
                  <a:lnTo>
                    <a:pt x="3664" y="3142"/>
                  </a:lnTo>
                  <a:lnTo>
                    <a:pt x="3664" y="3144"/>
                  </a:lnTo>
                  <a:lnTo>
                    <a:pt x="3668" y="3146"/>
                  </a:lnTo>
                  <a:lnTo>
                    <a:pt x="3674" y="3150"/>
                  </a:lnTo>
                  <a:lnTo>
                    <a:pt x="3674" y="3152"/>
                  </a:lnTo>
                  <a:lnTo>
                    <a:pt x="3676" y="3156"/>
                  </a:lnTo>
                  <a:lnTo>
                    <a:pt x="3684" y="3162"/>
                  </a:lnTo>
                  <a:lnTo>
                    <a:pt x="3684" y="3164"/>
                  </a:lnTo>
                  <a:lnTo>
                    <a:pt x="3688" y="3166"/>
                  </a:lnTo>
                  <a:lnTo>
                    <a:pt x="3692" y="3164"/>
                  </a:lnTo>
                  <a:lnTo>
                    <a:pt x="3696" y="3160"/>
                  </a:lnTo>
                  <a:lnTo>
                    <a:pt x="3700" y="3156"/>
                  </a:lnTo>
                  <a:lnTo>
                    <a:pt x="3716" y="3130"/>
                  </a:lnTo>
                  <a:lnTo>
                    <a:pt x="3720" y="3124"/>
                  </a:lnTo>
                  <a:lnTo>
                    <a:pt x="3724" y="3122"/>
                  </a:lnTo>
                  <a:lnTo>
                    <a:pt x="3734" y="3118"/>
                  </a:lnTo>
                  <a:lnTo>
                    <a:pt x="3738" y="3116"/>
                  </a:lnTo>
                  <a:lnTo>
                    <a:pt x="3738" y="3114"/>
                  </a:lnTo>
                  <a:lnTo>
                    <a:pt x="3736" y="3112"/>
                  </a:lnTo>
                  <a:lnTo>
                    <a:pt x="3730" y="3108"/>
                  </a:lnTo>
                  <a:lnTo>
                    <a:pt x="3724" y="3104"/>
                  </a:lnTo>
                  <a:lnTo>
                    <a:pt x="3722" y="3098"/>
                  </a:lnTo>
                  <a:lnTo>
                    <a:pt x="3722" y="3090"/>
                  </a:lnTo>
                  <a:lnTo>
                    <a:pt x="3724" y="3086"/>
                  </a:lnTo>
                  <a:lnTo>
                    <a:pt x="3728" y="3082"/>
                  </a:lnTo>
                  <a:lnTo>
                    <a:pt x="3732" y="3080"/>
                  </a:lnTo>
                  <a:lnTo>
                    <a:pt x="3734" y="3082"/>
                  </a:lnTo>
                  <a:lnTo>
                    <a:pt x="3734" y="3086"/>
                  </a:lnTo>
                  <a:lnTo>
                    <a:pt x="3736" y="3092"/>
                  </a:lnTo>
                  <a:lnTo>
                    <a:pt x="3738" y="3094"/>
                  </a:lnTo>
                  <a:lnTo>
                    <a:pt x="3742" y="3096"/>
                  </a:lnTo>
                  <a:lnTo>
                    <a:pt x="3746" y="3096"/>
                  </a:lnTo>
                  <a:lnTo>
                    <a:pt x="3750" y="3096"/>
                  </a:lnTo>
                  <a:lnTo>
                    <a:pt x="3746" y="3100"/>
                  </a:lnTo>
                  <a:lnTo>
                    <a:pt x="3742" y="3104"/>
                  </a:lnTo>
                  <a:lnTo>
                    <a:pt x="3750" y="3104"/>
                  </a:lnTo>
                  <a:lnTo>
                    <a:pt x="3762" y="3102"/>
                  </a:lnTo>
                  <a:lnTo>
                    <a:pt x="3774" y="3102"/>
                  </a:lnTo>
                  <a:lnTo>
                    <a:pt x="3782" y="3104"/>
                  </a:lnTo>
                  <a:lnTo>
                    <a:pt x="3786" y="3104"/>
                  </a:lnTo>
                  <a:lnTo>
                    <a:pt x="3788" y="3100"/>
                  </a:lnTo>
                  <a:lnTo>
                    <a:pt x="3792" y="3092"/>
                  </a:lnTo>
                  <a:lnTo>
                    <a:pt x="3800" y="3082"/>
                  </a:lnTo>
                  <a:lnTo>
                    <a:pt x="3806" y="3076"/>
                  </a:lnTo>
                  <a:lnTo>
                    <a:pt x="3810" y="3076"/>
                  </a:lnTo>
                  <a:lnTo>
                    <a:pt x="3810" y="3078"/>
                  </a:lnTo>
                  <a:lnTo>
                    <a:pt x="3812" y="3082"/>
                  </a:lnTo>
                  <a:lnTo>
                    <a:pt x="3810" y="3090"/>
                  </a:lnTo>
                  <a:lnTo>
                    <a:pt x="3810" y="3096"/>
                  </a:lnTo>
                  <a:lnTo>
                    <a:pt x="3810" y="3102"/>
                  </a:lnTo>
                  <a:lnTo>
                    <a:pt x="3812" y="3104"/>
                  </a:lnTo>
                  <a:lnTo>
                    <a:pt x="3814" y="3104"/>
                  </a:lnTo>
                  <a:lnTo>
                    <a:pt x="3820" y="3098"/>
                  </a:lnTo>
                  <a:lnTo>
                    <a:pt x="3824" y="3086"/>
                  </a:lnTo>
                  <a:lnTo>
                    <a:pt x="3826" y="3076"/>
                  </a:lnTo>
                  <a:lnTo>
                    <a:pt x="3828" y="3068"/>
                  </a:lnTo>
                  <a:lnTo>
                    <a:pt x="3830" y="3066"/>
                  </a:lnTo>
                  <a:lnTo>
                    <a:pt x="3834" y="3066"/>
                  </a:lnTo>
                  <a:lnTo>
                    <a:pt x="3842" y="3070"/>
                  </a:lnTo>
                  <a:lnTo>
                    <a:pt x="3848" y="3074"/>
                  </a:lnTo>
                  <a:lnTo>
                    <a:pt x="3848" y="3072"/>
                  </a:lnTo>
                  <a:lnTo>
                    <a:pt x="3848" y="3064"/>
                  </a:lnTo>
                  <a:lnTo>
                    <a:pt x="3848" y="3060"/>
                  </a:lnTo>
                  <a:lnTo>
                    <a:pt x="3850" y="3054"/>
                  </a:lnTo>
                  <a:lnTo>
                    <a:pt x="3852" y="3050"/>
                  </a:lnTo>
                  <a:lnTo>
                    <a:pt x="3856" y="3048"/>
                  </a:lnTo>
                  <a:lnTo>
                    <a:pt x="3862" y="3046"/>
                  </a:lnTo>
                  <a:lnTo>
                    <a:pt x="3864" y="3048"/>
                  </a:lnTo>
                  <a:lnTo>
                    <a:pt x="3864" y="3050"/>
                  </a:lnTo>
                  <a:lnTo>
                    <a:pt x="3864" y="3052"/>
                  </a:lnTo>
                  <a:lnTo>
                    <a:pt x="3862" y="3056"/>
                  </a:lnTo>
                  <a:lnTo>
                    <a:pt x="3858" y="3066"/>
                  </a:lnTo>
                  <a:lnTo>
                    <a:pt x="3854" y="3080"/>
                  </a:lnTo>
                  <a:lnTo>
                    <a:pt x="3854" y="3090"/>
                  </a:lnTo>
                  <a:lnTo>
                    <a:pt x="3856" y="3090"/>
                  </a:lnTo>
                  <a:lnTo>
                    <a:pt x="3860" y="3086"/>
                  </a:lnTo>
                  <a:lnTo>
                    <a:pt x="3864" y="3080"/>
                  </a:lnTo>
                  <a:lnTo>
                    <a:pt x="3866" y="3078"/>
                  </a:lnTo>
                  <a:lnTo>
                    <a:pt x="3872" y="3076"/>
                  </a:lnTo>
                  <a:lnTo>
                    <a:pt x="3874" y="3076"/>
                  </a:lnTo>
                  <a:lnTo>
                    <a:pt x="3876" y="3072"/>
                  </a:lnTo>
                  <a:lnTo>
                    <a:pt x="3878" y="3060"/>
                  </a:lnTo>
                  <a:lnTo>
                    <a:pt x="3880" y="3052"/>
                  </a:lnTo>
                  <a:lnTo>
                    <a:pt x="3886" y="3048"/>
                  </a:lnTo>
                  <a:lnTo>
                    <a:pt x="3890" y="3048"/>
                  </a:lnTo>
                  <a:lnTo>
                    <a:pt x="3894" y="3048"/>
                  </a:lnTo>
                  <a:lnTo>
                    <a:pt x="3898" y="3048"/>
                  </a:lnTo>
                  <a:lnTo>
                    <a:pt x="3900" y="3046"/>
                  </a:lnTo>
                  <a:lnTo>
                    <a:pt x="3898" y="3042"/>
                  </a:lnTo>
                  <a:lnTo>
                    <a:pt x="3892" y="3034"/>
                  </a:lnTo>
                  <a:lnTo>
                    <a:pt x="3888" y="3028"/>
                  </a:lnTo>
                  <a:lnTo>
                    <a:pt x="3886" y="3022"/>
                  </a:lnTo>
                  <a:lnTo>
                    <a:pt x="3884" y="3010"/>
                  </a:lnTo>
                  <a:lnTo>
                    <a:pt x="3886" y="3000"/>
                  </a:lnTo>
                  <a:lnTo>
                    <a:pt x="3892" y="2988"/>
                  </a:lnTo>
                  <a:lnTo>
                    <a:pt x="3896" y="2978"/>
                  </a:lnTo>
                  <a:lnTo>
                    <a:pt x="3902" y="2966"/>
                  </a:lnTo>
                  <a:lnTo>
                    <a:pt x="3902" y="2952"/>
                  </a:lnTo>
                  <a:lnTo>
                    <a:pt x="3900" y="2938"/>
                  </a:lnTo>
                  <a:lnTo>
                    <a:pt x="3898" y="2928"/>
                  </a:lnTo>
                  <a:lnTo>
                    <a:pt x="3898" y="2920"/>
                  </a:lnTo>
                  <a:lnTo>
                    <a:pt x="3898" y="2912"/>
                  </a:lnTo>
                  <a:lnTo>
                    <a:pt x="3900" y="2906"/>
                  </a:lnTo>
                  <a:lnTo>
                    <a:pt x="3904" y="2902"/>
                  </a:lnTo>
                  <a:lnTo>
                    <a:pt x="3908" y="2900"/>
                  </a:lnTo>
                  <a:lnTo>
                    <a:pt x="3912" y="2900"/>
                  </a:lnTo>
                  <a:lnTo>
                    <a:pt x="3918" y="2902"/>
                  </a:lnTo>
                  <a:lnTo>
                    <a:pt x="3922" y="2906"/>
                  </a:lnTo>
                  <a:lnTo>
                    <a:pt x="3924" y="2906"/>
                  </a:lnTo>
                  <a:lnTo>
                    <a:pt x="3924" y="2898"/>
                  </a:lnTo>
                  <a:lnTo>
                    <a:pt x="3924" y="2884"/>
                  </a:lnTo>
                  <a:lnTo>
                    <a:pt x="3926" y="2876"/>
                  </a:lnTo>
                  <a:lnTo>
                    <a:pt x="3930" y="2868"/>
                  </a:lnTo>
                  <a:lnTo>
                    <a:pt x="3936" y="2860"/>
                  </a:lnTo>
                  <a:lnTo>
                    <a:pt x="3940" y="2850"/>
                  </a:lnTo>
                  <a:lnTo>
                    <a:pt x="3942" y="2840"/>
                  </a:lnTo>
                  <a:lnTo>
                    <a:pt x="3944" y="2830"/>
                  </a:lnTo>
                  <a:lnTo>
                    <a:pt x="3942" y="2820"/>
                  </a:lnTo>
                  <a:lnTo>
                    <a:pt x="3940" y="2810"/>
                  </a:lnTo>
                  <a:lnTo>
                    <a:pt x="3936" y="2802"/>
                  </a:lnTo>
                  <a:lnTo>
                    <a:pt x="3932" y="2794"/>
                  </a:lnTo>
                  <a:lnTo>
                    <a:pt x="3926" y="2788"/>
                  </a:lnTo>
                  <a:lnTo>
                    <a:pt x="3922" y="2780"/>
                  </a:lnTo>
                  <a:lnTo>
                    <a:pt x="3918" y="2766"/>
                  </a:lnTo>
                  <a:lnTo>
                    <a:pt x="3918" y="2752"/>
                  </a:lnTo>
                  <a:lnTo>
                    <a:pt x="3918" y="2740"/>
                  </a:lnTo>
                  <a:close/>
                  <a:moveTo>
                    <a:pt x="3276" y="3612"/>
                  </a:moveTo>
                  <a:lnTo>
                    <a:pt x="3276" y="3612"/>
                  </a:lnTo>
                  <a:lnTo>
                    <a:pt x="3274" y="3610"/>
                  </a:lnTo>
                  <a:lnTo>
                    <a:pt x="3270" y="3612"/>
                  </a:lnTo>
                  <a:lnTo>
                    <a:pt x="3268" y="3614"/>
                  </a:lnTo>
                  <a:lnTo>
                    <a:pt x="3268" y="3618"/>
                  </a:lnTo>
                  <a:lnTo>
                    <a:pt x="3272" y="3618"/>
                  </a:lnTo>
                  <a:lnTo>
                    <a:pt x="3274" y="3618"/>
                  </a:lnTo>
                  <a:lnTo>
                    <a:pt x="3276" y="3614"/>
                  </a:lnTo>
                  <a:lnTo>
                    <a:pt x="3276" y="3612"/>
                  </a:lnTo>
                  <a:close/>
                  <a:moveTo>
                    <a:pt x="3322" y="3130"/>
                  </a:moveTo>
                  <a:lnTo>
                    <a:pt x="3322" y="3130"/>
                  </a:lnTo>
                  <a:lnTo>
                    <a:pt x="3324" y="3128"/>
                  </a:lnTo>
                  <a:lnTo>
                    <a:pt x="3322" y="3126"/>
                  </a:lnTo>
                  <a:lnTo>
                    <a:pt x="3318" y="3126"/>
                  </a:lnTo>
                  <a:lnTo>
                    <a:pt x="3316" y="3128"/>
                  </a:lnTo>
                  <a:lnTo>
                    <a:pt x="3318" y="3130"/>
                  </a:lnTo>
                  <a:lnTo>
                    <a:pt x="3320" y="3130"/>
                  </a:lnTo>
                  <a:lnTo>
                    <a:pt x="3322" y="3130"/>
                  </a:lnTo>
                  <a:close/>
                  <a:moveTo>
                    <a:pt x="3302" y="3176"/>
                  </a:moveTo>
                  <a:lnTo>
                    <a:pt x="3302" y="3176"/>
                  </a:lnTo>
                  <a:lnTo>
                    <a:pt x="3304" y="3178"/>
                  </a:lnTo>
                  <a:lnTo>
                    <a:pt x="3310" y="3178"/>
                  </a:lnTo>
                  <a:lnTo>
                    <a:pt x="3320" y="3176"/>
                  </a:lnTo>
                  <a:lnTo>
                    <a:pt x="3330" y="3170"/>
                  </a:lnTo>
                  <a:lnTo>
                    <a:pt x="3334" y="3166"/>
                  </a:lnTo>
                  <a:lnTo>
                    <a:pt x="3334" y="3162"/>
                  </a:lnTo>
                  <a:lnTo>
                    <a:pt x="3332" y="3158"/>
                  </a:lnTo>
                  <a:lnTo>
                    <a:pt x="3326" y="3158"/>
                  </a:lnTo>
                  <a:lnTo>
                    <a:pt x="3322" y="3158"/>
                  </a:lnTo>
                  <a:lnTo>
                    <a:pt x="3314" y="3160"/>
                  </a:lnTo>
                  <a:lnTo>
                    <a:pt x="3310" y="3164"/>
                  </a:lnTo>
                  <a:lnTo>
                    <a:pt x="3304" y="3166"/>
                  </a:lnTo>
                  <a:lnTo>
                    <a:pt x="3302" y="3172"/>
                  </a:lnTo>
                  <a:lnTo>
                    <a:pt x="3302" y="3176"/>
                  </a:lnTo>
                  <a:close/>
                  <a:moveTo>
                    <a:pt x="3372" y="3542"/>
                  </a:moveTo>
                  <a:lnTo>
                    <a:pt x="3372" y="3542"/>
                  </a:lnTo>
                  <a:lnTo>
                    <a:pt x="3374" y="3538"/>
                  </a:lnTo>
                  <a:lnTo>
                    <a:pt x="3376" y="3534"/>
                  </a:lnTo>
                  <a:lnTo>
                    <a:pt x="3386" y="3520"/>
                  </a:lnTo>
                  <a:lnTo>
                    <a:pt x="3392" y="3512"/>
                  </a:lnTo>
                  <a:lnTo>
                    <a:pt x="3394" y="3508"/>
                  </a:lnTo>
                  <a:lnTo>
                    <a:pt x="3390" y="3508"/>
                  </a:lnTo>
                  <a:lnTo>
                    <a:pt x="3384" y="3512"/>
                  </a:lnTo>
                  <a:lnTo>
                    <a:pt x="3374" y="3522"/>
                  </a:lnTo>
                  <a:lnTo>
                    <a:pt x="3370" y="3528"/>
                  </a:lnTo>
                  <a:lnTo>
                    <a:pt x="3366" y="3538"/>
                  </a:lnTo>
                  <a:lnTo>
                    <a:pt x="3366" y="3544"/>
                  </a:lnTo>
                  <a:lnTo>
                    <a:pt x="3368" y="3546"/>
                  </a:lnTo>
                  <a:lnTo>
                    <a:pt x="3372" y="3544"/>
                  </a:lnTo>
                  <a:lnTo>
                    <a:pt x="3372" y="3542"/>
                  </a:lnTo>
                  <a:close/>
                  <a:moveTo>
                    <a:pt x="3932" y="2136"/>
                  </a:moveTo>
                  <a:lnTo>
                    <a:pt x="3932" y="2136"/>
                  </a:lnTo>
                  <a:lnTo>
                    <a:pt x="3930" y="2138"/>
                  </a:lnTo>
                  <a:lnTo>
                    <a:pt x="3932" y="2138"/>
                  </a:lnTo>
                  <a:lnTo>
                    <a:pt x="3936" y="2142"/>
                  </a:lnTo>
                  <a:lnTo>
                    <a:pt x="3942" y="2150"/>
                  </a:lnTo>
                  <a:lnTo>
                    <a:pt x="3950" y="2162"/>
                  </a:lnTo>
                  <a:lnTo>
                    <a:pt x="3952" y="2168"/>
                  </a:lnTo>
                  <a:lnTo>
                    <a:pt x="3952" y="2174"/>
                  </a:lnTo>
                  <a:lnTo>
                    <a:pt x="3948" y="2186"/>
                  </a:lnTo>
                  <a:lnTo>
                    <a:pt x="3944" y="2198"/>
                  </a:lnTo>
                  <a:lnTo>
                    <a:pt x="3944" y="2206"/>
                  </a:lnTo>
                  <a:lnTo>
                    <a:pt x="3946" y="2214"/>
                  </a:lnTo>
                  <a:lnTo>
                    <a:pt x="3948" y="2224"/>
                  </a:lnTo>
                  <a:lnTo>
                    <a:pt x="3948" y="2236"/>
                  </a:lnTo>
                  <a:lnTo>
                    <a:pt x="3948" y="2266"/>
                  </a:lnTo>
                  <a:lnTo>
                    <a:pt x="3944" y="2294"/>
                  </a:lnTo>
                  <a:lnTo>
                    <a:pt x="3940" y="2304"/>
                  </a:lnTo>
                  <a:lnTo>
                    <a:pt x="3938" y="2312"/>
                  </a:lnTo>
                  <a:lnTo>
                    <a:pt x="3936" y="2316"/>
                  </a:lnTo>
                  <a:lnTo>
                    <a:pt x="3938" y="2320"/>
                  </a:lnTo>
                  <a:lnTo>
                    <a:pt x="3944" y="2330"/>
                  </a:lnTo>
                  <a:lnTo>
                    <a:pt x="3946" y="2336"/>
                  </a:lnTo>
                  <a:lnTo>
                    <a:pt x="3948" y="2344"/>
                  </a:lnTo>
                  <a:lnTo>
                    <a:pt x="3946" y="2356"/>
                  </a:lnTo>
                  <a:lnTo>
                    <a:pt x="3942" y="2370"/>
                  </a:lnTo>
                  <a:lnTo>
                    <a:pt x="3940" y="2378"/>
                  </a:lnTo>
                  <a:lnTo>
                    <a:pt x="3940" y="2386"/>
                  </a:lnTo>
                  <a:lnTo>
                    <a:pt x="3942" y="2400"/>
                  </a:lnTo>
                  <a:lnTo>
                    <a:pt x="3944" y="2412"/>
                  </a:lnTo>
                  <a:lnTo>
                    <a:pt x="3944" y="2418"/>
                  </a:lnTo>
                  <a:lnTo>
                    <a:pt x="3940" y="2424"/>
                  </a:lnTo>
                  <a:lnTo>
                    <a:pt x="3936" y="2436"/>
                  </a:lnTo>
                  <a:lnTo>
                    <a:pt x="3934" y="2444"/>
                  </a:lnTo>
                  <a:lnTo>
                    <a:pt x="3936" y="2454"/>
                  </a:lnTo>
                  <a:lnTo>
                    <a:pt x="3938" y="2468"/>
                  </a:lnTo>
                  <a:lnTo>
                    <a:pt x="3942" y="2478"/>
                  </a:lnTo>
                  <a:lnTo>
                    <a:pt x="3944" y="2478"/>
                  </a:lnTo>
                  <a:lnTo>
                    <a:pt x="3946" y="2478"/>
                  </a:lnTo>
                  <a:lnTo>
                    <a:pt x="3950" y="2470"/>
                  </a:lnTo>
                  <a:lnTo>
                    <a:pt x="3954" y="2456"/>
                  </a:lnTo>
                  <a:lnTo>
                    <a:pt x="3958" y="2442"/>
                  </a:lnTo>
                  <a:lnTo>
                    <a:pt x="3962" y="2434"/>
                  </a:lnTo>
                  <a:lnTo>
                    <a:pt x="3966" y="2432"/>
                  </a:lnTo>
                  <a:lnTo>
                    <a:pt x="3968" y="2432"/>
                  </a:lnTo>
                  <a:lnTo>
                    <a:pt x="3972" y="2434"/>
                  </a:lnTo>
                  <a:lnTo>
                    <a:pt x="3976" y="2438"/>
                  </a:lnTo>
                  <a:lnTo>
                    <a:pt x="3980" y="2440"/>
                  </a:lnTo>
                  <a:lnTo>
                    <a:pt x="3984" y="2438"/>
                  </a:lnTo>
                  <a:lnTo>
                    <a:pt x="3990" y="2440"/>
                  </a:lnTo>
                  <a:lnTo>
                    <a:pt x="3994" y="2442"/>
                  </a:lnTo>
                  <a:lnTo>
                    <a:pt x="3996" y="2446"/>
                  </a:lnTo>
                  <a:lnTo>
                    <a:pt x="3998" y="2456"/>
                  </a:lnTo>
                  <a:lnTo>
                    <a:pt x="4000" y="2464"/>
                  </a:lnTo>
                  <a:lnTo>
                    <a:pt x="4000" y="2466"/>
                  </a:lnTo>
                  <a:lnTo>
                    <a:pt x="4002" y="2466"/>
                  </a:lnTo>
                  <a:lnTo>
                    <a:pt x="4006" y="2454"/>
                  </a:lnTo>
                  <a:lnTo>
                    <a:pt x="4006" y="2448"/>
                  </a:lnTo>
                  <a:lnTo>
                    <a:pt x="4004" y="2444"/>
                  </a:lnTo>
                  <a:lnTo>
                    <a:pt x="4002" y="2434"/>
                  </a:lnTo>
                  <a:lnTo>
                    <a:pt x="4002" y="2426"/>
                  </a:lnTo>
                  <a:lnTo>
                    <a:pt x="3998" y="2426"/>
                  </a:lnTo>
                  <a:lnTo>
                    <a:pt x="3992" y="2426"/>
                  </a:lnTo>
                  <a:lnTo>
                    <a:pt x="3990" y="2422"/>
                  </a:lnTo>
                  <a:lnTo>
                    <a:pt x="3986" y="2420"/>
                  </a:lnTo>
                  <a:lnTo>
                    <a:pt x="3984" y="2410"/>
                  </a:lnTo>
                  <a:lnTo>
                    <a:pt x="3980" y="2400"/>
                  </a:lnTo>
                  <a:lnTo>
                    <a:pt x="3976" y="2394"/>
                  </a:lnTo>
                  <a:lnTo>
                    <a:pt x="3972" y="2390"/>
                  </a:lnTo>
                  <a:lnTo>
                    <a:pt x="3966" y="2382"/>
                  </a:lnTo>
                  <a:lnTo>
                    <a:pt x="3964" y="2372"/>
                  </a:lnTo>
                  <a:lnTo>
                    <a:pt x="3964" y="2362"/>
                  </a:lnTo>
                  <a:lnTo>
                    <a:pt x="3964" y="2350"/>
                  </a:lnTo>
                  <a:lnTo>
                    <a:pt x="3970" y="2328"/>
                  </a:lnTo>
                  <a:lnTo>
                    <a:pt x="3978" y="2314"/>
                  </a:lnTo>
                  <a:lnTo>
                    <a:pt x="3980" y="2308"/>
                  </a:lnTo>
                  <a:lnTo>
                    <a:pt x="3982" y="2304"/>
                  </a:lnTo>
                  <a:lnTo>
                    <a:pt x="3982" y="2294"/>
                  </a:lnTo>
                  <a:lnTo>
                    <a:pt x="3984" y="2290"/>
                  </a:lnTo>
                  <a:lnTo>
                    <a:pt x="3984" y="2288"/>
                  </a:lnTo>
                  <a:lnTo>
                    <a:pt x="3988" y="2284"/>
                  </a:lnTo>
                  <a:lnTo>
                    <a:pt x="3994" y="2282"/>
                  </a:lnTo>
                  <a:lnTo>
                    <a:pt x="4004" y="2280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6" y="2294"/>
                  </a:lnTo>
                  <a:lnTo>
                    <a:pt x="4048" y="2314"/>
                  </a:lnTo>
                  <a:lnTo>
                    <a:pt x="4052" y="2316"/>
                  </a:lnTo>
                  <a:lnTo>
                    <a:pt x="4052" y="2312"/>
                  </a:lnTo>
                  <a:lnTo>
                    <a:pt x="4048" y="2302"/>
                  </a:lnTo>
                  <a:lnTo>
                    <a:pt x="4040" y="2294"/>
                  </a:lnTo>
                  <a:lnTo>
                    <a:pt x="4034" y="2282"/>
                  </a:lnTo>
                  <a:lnTo>
                    <a:pt x="4032" y="2276"/>
                  </a:lnTo>
                  <a:lnTo>
                    <a:pt x="4030" y="2268"/>
                  </a:lnTo>
                  <a:lnTo>
                    <a:pt x="4026" y="2252"/>
                  </a:lnTo>
                  <a:lnTo>
                    <a:pt x="4020" y="2234"/>
                  </a:lnTo>
                  <a:lnTo>
                    <a:pt x="4012" y="2214"/>
                  </a:lnTo>
                  <a:lnTo>
                    <a:pt x="4010" y="2206"/>
                  </a:lnTo>
                  <a:lnTo>
                    <a:pt x="4010" y="2196"/>
                  </a:lnTo>
                  <a:lnTo>
                    <a:pt x="4008" y="2180"/>
                  </a:lnTo>
                  <a:lnTo>
                    <a:pt x="4004" y="2168"/>
                  </a:lnTo>
                  <a:lnTo>
                    <a:pt x="4002" y="2158"/>
                  </a:lnTo>
                  <a:lnTo>
                    <a:pt x="3998" y="2148"/>
                  </a:lnTo>
                  <a:lnTo>
                    <a:pt x="3998" y="2144"/>
                  </a:lnTo>
                  <a:lnTo>
                    <a:pt x="3994" y="2146"/>
                  </a:lnTo>
                  <a:lnTo>
                    <a:pt x="3992" y="2146"/>
                  </a:lnTo>
                  <a:lnTo>
                    <a:pt x="3992" y="2138"/>
                  </a:lnTo>
                  <a:lnTo>
                    <a:pt x="3994" y="2128"/>
                  </a:lnTo>
                  <a:lnTo>
                    <a:pt x="3992" y="2128"/>
                  </a:lnTo>
                  <a:lnTo>
                    <a:pt x="3990" y="2128"/>
                  </a:lnTo>
                  <a:lnTo>
                    <a:pt x="3988" y="2124"/>
                  </a:lnTo>
                  <a:lnTo>
                    <a:pt x="3988" y="2116"/>
                  </a:lnTo>
                  <a:lnTo>
                    <a:pt x="3988" y="2108"/>
                  </a:lnTo>
                  <a:lnTo>
                    <a:pt x="3992" y="2096"/>
                  </a:lnTo>
                  <a:lnTo>
                    <a:pt x="3994" y="2090"/>
                  </a:lnTo>
                  <a:lnTo>
                    <a:pt x="3996" y="2082"/>
                  </a:lnTo>
                  <a:lnTo>
                    <a:pt x="3996" y="2072"/>
                  </a:lnTo>
                  <a:lnTo>
                    <a:pt x="3994" y="2058"/>
                  </a:lnTo>
                  <a:lnTo>
                    <a:pt x="3990" y="2042"/>
                  </a:lnTo>
                  <a:lnTo>
                    <a:pt x="3988" y="2036"/>
                  </a:lnTo>
                  <a:lnTo>
                    <a:pt x="3986" y="2034"/>
                  </a:lnTo>
                  <a:lnTo>
                    <a:pt x="3988" y="2032"/>
                  </a:lnTo>
                  <a:lnTo>
                    <a:pt x="3988" y="2028"/>
                  </a:lnTo>
                  <a:lnTo>
                    <a:pt x="3986" y="2026"/>
                  </a:lnTo>
                  <a:lnTo>
                    <a:pt x="3984" y="2026"/>
                  </a:lnTo>
                  <a:lnTo>
                    <a:pt x="3982" y="2022"/>
                  </a:lnTo>
                  <a:lnTo>
                    <a:pt x="3982" y="2014"/>
                  </a:lnTo>
                  <a:lnTo>
                    <a:pt x="3978" y="2010"/>
                  </a:lnTo>
                  <a:lnTo>
                    <a:pt x="3978" y="2006"/>
                  </a:lnTo>
                  <a:lnTo>
                    <a:pt x="3980" y="2000"/>
                  </a:lnTo>
                  <a:lnTo>
                    <a:pt x="3984" y="1994"/>
                  </a:lnTo>
                  <a:lnTo>
                    <a:pt x="3982" y="1988"/>
                  </a:lnTo>
                  <a:lnTo>
                    <a:pt x="3978" y="1984"/>
                  </a:lnTo>
                  <a:lnTo>
                    <a:pt x="3974" y="1976"/>
                  </a:lnTo>
                  <a:lnTo>
                    <a:pt x="3970" y="1972"/>
                  </a:lnTo>
                  <a:lnTo>
                    <a:pt x="3970" y="1974"/>
                  </a:lnTo>
                  <a:lnTo>
                    <a:pt x="3966" y="1978"/>
                  </a:lnTo>
                  <a:lnTo>
                    <a:pt x="3962" y="1980"/>
                  </a:lnTo>
                  <a:lnTo>
                    <a:pt x="3958" y="1982"/>
                  </a:lnTo>
                  <a:lnTo>
                    <a:pt x="3954" y="1982"/>
                  </a:lnTo>
                  <a:lnTo>
                    <a:pt x="3954" y="1984"/>
                  </a:lnTo>
                  <a:lnTo>
                    <a:pt x="3960" y="1990"/>
                  </a:lnTo>
                  <a:lnTo>
                    <a:pt x="3966" y="1998"/>
                  </a:lnTo>
                  <a:lnTo>
                    <a:pt x="3968" y="2004"/>
                  </a:lnTo>
                  <a:lnTo>
                    <a:pt x="3970" y="2008"/>
                  </a:lnTo>
                  <a:lnTo>
                    <a:pt x="3966" y="2016"/>
                  </a:lnTo>
                  <a:lnTo>
                    <a:pt x="3964" y="2018"/>
                  </a:lnTo>
                  <a:lnTo>
                    <a:pt x="3962" y="2018"/>
                  </a:lnTo>
                  <a:lnTo>
                    <a:pt x="3960" y="2020"/>
                  </a:lnTo>
                  <a:lnTo>
                    <a:pt x="3960" y="2024"/>
                  </a:lnTo>
                  <a:lnTo>
                    <a:pt x="3962" y="2024"/>
                  </a:lnTo>
                  <a:lnTo>
                    <a:pt x="3964" y="2026"/>
                  </a:lnTo>
                  <a:lnTo>
                    <a:pt x="3966" y="2028"/>
                  </a:lnTo>
                  <a:lnTo>
                    <a:pt x="3966" y="2030"/>
                  </a:lnTo>
                  <a:lnTo>
                    <a:pt x="3962" y="2034"/>
                  </a:lnTo>
                  <a:lnTo>
                    <a:pt x="3958" y="2038"/>
                  </a:lnTo>
                  <a:lnTo>
                    <a:pt x="3954" y="2038"/>
                  </a:lnTo>
                  <a:lnTo>
                    <a:pt x="3954" y="2036"/>
                  </a:lnTo>
                  <a:lnTo>
                    <a:pt x="3952" y="2034"/>
                  </a:lnTo>
                  <a:lnTo>
                    <a:pt x="3952" y="2030"/>
                  </a:lnTo>
                  <a:lnTo>
                    <a:pt x="3950" y="2028"/>
                  </a:lnTo>
                  <a:lnTo>
                    <a:pt x="3946" y="2030"/>
                  </a:lnTo>
                  <a:lnTo>
                    <a:pt x="3940" y="2032"/>
                  </a:lnTo>
                  <a:lnTo>
                    <a:pt x="3936" y="2034"/>
                  </a:lnTo>
                  <a:lnTo>
                    <a:pt x="3932" y="2036"/>
                  </a:lnTo>
                  <a:lnTo>
                    <a:pt x="3934" y="2044"/>
                  </a:lnTo>
                  <a:lnTo>
                    <a:pt x="3936" y="2054"/>
                  </a:lnTo>
                  <a:lnTo>
                    <a:pt x="3938" y="2066"/>
                  </a:lnTo>
                  <a:lnTo>
                    <a:pt x="3936" y="2078"/>
                  </a:lnTo>
                  <a:lnTo>
                    <a:pt x="3930" y="2090"/>
                  </a:lnTo>
                  <a:lnTo>
                    <a:pt x="3928" y="2098"/>
                  </a:lnTo>
                  <a:lnTo>
                    <a:pt x="3928" y="2104"/>
                  </a:lnTo>
                  <a:lnTo>
                    <a:pt x="3930" y="2108"/>
                  </a:lnTo>
                  <a:lnTo>
                    <a:pt x="3928" y="2118"/>
                  </a:lnTo>
                  <a:lnTo>
                    <a:pt x="3926" y="2124"/>
                  </a:lnTo>
                  <a:lnTo>
                    <a:pt x="3928" y="2128"/>
                  </a:lnTo>
                  <a:lnTo>
                    <a:pt x="3930" y="2132"/>
                  </a:lnTo>
                  <a:lnTo>
                    <a:pt x="3934" y="2134"/>
                  </a:lnTo>
                  <a:lnTo>
                    <a:pt x="3934" y="2136"/>
                  </a:lnTo>
                  <a:lnTo>
                    <a:pt x="3932" y="2136"/>
                  </a:lnTo>
                  <a:close/>
                  <a:moveTo>
                    <a:pt x="4070" y="2610"/>
                  </a:moveTo>
                  <a:lnTo>
                    <a:pt x="4070" y="2610"/>
                  </a:lnTo>
                  <a:lnTo>
                    <a:pt x="4068" y="2602"/>
                  </a:lnTo>
                  <a:lnTo>
                    <a:pt x="4068" y="2594"/>
                  </a:lnTo>
                  <a:lnTo>
                    <a:pt x="4070" y="2586"/>
                  </a:lnTo>
                  <a:lnTo>
                    <a:pt x="4072" y="2580"/>
                  </a:lnTo>
                  <a:lnTo>
                    <a:pt x="4078" y="2572"/>
                  </a:lnTo>
                  <a:lnTo>
                    <a:pt x="4078" y="2570"/>
                  </a:lnTo>
                  <a:lnTo>
                    <a:pt x="4076" y="2568"/>
                  </a:lnTo>
                  <a:lnTo>
                    <a:pt x="4072" y="2570"/>
                  </a:lnTo>
                  <a:lnTo>
                    <a:pt x="4068" y="2572"/>
                  </a:lnTo>
                  <a:lnTo>
                    <a:pt x="4062" y="2582"/>
                  </a:lnTo>
                  <a:lnTo>
                    <a:pt x="4054" y="2590"/>
                  </a:lnTo>
                  <a:lnTo>
                    <a:pt x="4050" y="2592"/>
                  </a:lnTo>
                  <a:lnTo>
                    <a:pt x="4044" y="2592"/>
                  </a:lnTo>
                  <a:lnTo>
                    <a:pt x="4040" y="2592"/>
                  </a:lnTo>
                  <a:lnTo>
                    <a:pt x="4038" y="2590"/>
                  </a:lnTo>
                  <a:lnTo>
                    <a:pt x="4036" y="2586"/>
                  </a:lnTo>
                  <a:lnTo>
                    <a:pt x="4034" y="2582"/>
                  </a:lnTo>
                  <a:lnTo>
                    <a:pt x="4032" y="2580"/>
                  </a:lnTo>
                  <a:lnTo>
                    <a:pt x="4028" y="2578"/>
                  </a:lnTo>
                  <a:lnTo>
                    <a:pt x="4022" y="2578"/>
                  </a:lnTo>
                  <a:lnTo>
                    <a:pt x="4012" y="2576"/>
                  </a:lnTo>
                  <a:lnTo>
                    <a:pt x="4004" y="2570"/>
                  </a:lnTo>
                  <a:lnTo>
                    <a:pt x="3994" y="2562"/>
                  </a:lnTo>
                  <a:lnTo>
                    <a:pt x="3984" y="2554"/>
                  </a:lnTo>
                  <a:lnTo>
                    <a:pt x="3966" y="2534"/>
                  </a:lnTo>
                  <a:lnTo>
                    <a:pt x="3952" y="2516"/>
                  </a:lnTo>
                  <a:lnTo>
                    <a:pt x="3946" y="2510"/>
                  </a:lnTo>
                  <a:lnTo>
                    <a:pt x="3940" y="2506"/>
                  </a:lnTo>
                  <a:lnTo>
                    <a:pt x="3934" y="2504"/>
                  </a:lnTo>
                  <a:lnTo>
                    <a:pt x="3930" y="2504"/>
                  </a:lnTo>
                  <a:lnTo>
                    <a:pt x="3926" y="2508"/>
                  </a:lnTo>
                  <a:lnTo>
                    <a:pt x="3924" y="2512"/>
                  </a:lnTo>
                  <a:lnTo>
                    <a:pt x="3924" y="2520"/>
                  </a:lnTo>
                  <a:lnTo>
                    <a:pt x="3928" y="2530"/>
                  </a:lnTo>
                  <a:lnTo>
                    <a:pt x="3932" y="2540"/>
                  </a:lnTo>
                  <a:lnTo>
                    <a:pt x="3932" y="2546"/>
                  </a:lnTo>
                  <a:lnTo>
                    <a:pt x="3932" y="2552"/>
                  </a:lnTo>
                  <a:lnTo>
                    <a:pt x="3930" y="2556"/>
                  </a:lnTo>
                  <a:lnTo>
                    <a:pt x="3928" y="2564"/>
                  </a:lnTo>
                  <a:lnTo>
                    <a:pt x="3926" y="2568"/>
                  </a:lnTo>
                  <a:lnTo>
                    <a:pt x="3928" y="2574"/>
                  </a:lnTo>
                  <a:lnTo>
                    <a:pt x="3928" y="2580"/>
                  </a:lnTo>
                  <a:lnTo>
                    <a:pt x="3928" y="2584"/>
                  </a:lnTo>
                  <a:lnTo>
                    <a:pt x="3922" y="2594"/>
                  </a:lnTo>
                  <a:lnTo>
                    <a:pt x="3918" y="2602"/>
                  </a:lnTo>
                  <a:lnTo>
                    <a:pt x="3916" y="2606"/>
                  </a:lnTo>
                  <a:lnTo>
                    <a:pt x="3916" y="2610"/>
                  </a:lnTo>
                  <a:lnTo>
                    <a:pt x="3918" y="2620"/>
                  </a:lnTo>
                  <a:lnTo>
                    <a:pt x="3918" y="2630"/>
                  </a:lnTo>
                  <a:lnTo>
                    <a:pt x="3914" y="2634"/>
                  </a:lnTo>
                  <a:lnTo>
                    <a:pt x="3912" y="2636"/>
                  </a:lnTo>
                  <a:lnTo>
                    <a:pt x="3906" y="2636"/>
                  </a:lnTo>
                  <a:lnTo>
                    <a:pt x="3900" y="2632"/>
                  </a:lnTo>
                  <a:lnTo>
                    <a:pt x="3886" y="2626"/>
                  </a:lnTo>
                  <a:lnTo>
                    <a:pt x="3876" y="2624"/>
                  </a:lnTo>
                  <a:lnTo>
                    <a:pt x="3874" y="2624"/>
                  </a:lnTo>
                  <a:lnTo>
                    <a:pt x="3872" y="2628"/>
                  </a:lnTo>
                  <a:lnTo>
                    <a:pt x="3874" y="2630"/>
                  </a:lnTo>
                  <a:lnTo>
                    <a:pt x="3878" y="2636"/>
                  </a:lnTo>
                  <a:lnTo>
                    <a:pt x="3880" y="2640"/>
                  </a:lnTo>
                  <a:lnTo>
                    <a:pt x="3880" y="2642"/>
                  </a:lnTo>
                  <a:lnTo>
                    <a:pt x="3878" y="2648"/>
                  </a:lnTo>
                  <a:lnTo>
                    <a:pt x="3872" y="2656"/>
                  </a:lnTo>
                  <a:lnTo>
                    <a:pt x="3866" y="2662"/>
                  </a:lnTo>
                  <a:lnTo>
                    <a:pt x="3858" y="2670"/>
                  </a:lnTo>
                  <a:lnTo>
                    <a:pt x="3854" y="2676"/>
                  </a:lnTo>
                  <a:lnTo>
                    <a:pt x="3852" y="2680"/>
                  </a:lnTo>
                  <a:lnTo>
                    <a:pt x="3852" y="2682"/>
                  </a:lnTo>
                  <a:lnTo>
                    <a:pt x="3854" y="2686"/>
                  </a:lnTo>
                  <a:lnTo>
                    <a:pt x="3856" y="2690"/>
                  </a:lnTo>
                  <a:lnTo>
                    <a:pt x="3862" y="2694"/>
                  </a:lnTo>
                  <a:lnTo>
                    <a:pt x="3866" y="2700"/>
                  </a:lnTo>
                  <a:lnTo>
                    <a:pt x="3866" y="2706"/>
                  </a:lnTo>
                  <a:lnTo>
                    <a:pt x="3864" y="2710"/>
                  </a:lnTo>
                  <a:lnTo>
                    <a:pt x="3860" y="2722"/>
                  </a:lnTo>
                  <a:lnTo>
                    <a:pt x="3862" y="2726"/>
                  </a:lnTo>
                  <a:lnTo>
                    <a:pt x="3864" y="2732"/>
                  </a:lnTo>
                  <a:lnTo>
                    <a:pt x="3866" y="2734"/>
                  </a:lnTo>
                  <a:lnTo>
                    <a:pt x="3870" y="2736"/>
                  </a:lnTo>
                  <a:lnTo>
                    <a:pt x="3874" y="2732"/>
                  </a:lnTo>
                  <a:lnTo>
                    <a:pt x="3880" y="2720"/>
                  </a:lnTo>
                  <a:lnTo>
                    <a:pt x="3884" y="2712"/>
                  </a:lnTo>
                  <a:lnTo>
                    <a:pt x="3888" y="2710"/>
                  </a:lnTo>
                  <a:lnTo>
                    <a:pt x="3890" y="2712"/>
                  </a:lnTo>
                  <a:lnTo>
                    <a:pt x="3896" y="2714"/>
                  </a:lnTo>
                  <a:lnTo>
                    <a:pt x="3900" y="2714"/>
                  </a:lnTo>
                  <a:lnTo>
                    <a:pt x="3908" y="2712"/>
                  </a:lnTo>
                  <a:lnTo>
                    <a:pt x="3912" y="2710"/>
                  </a:lnTo>
                  <a:lnTo>
                    <a:pt x="3910" y="2706"/>
                  </a:lnTo>
                  <a:lnTo>
                    <a:pt x="3894" y="2698"/>
                  </a:lnTo>
                  <a:lnTo>
                    <a:pt x="3886" y="2692"/>
                  </a:lnTo>
                  <a:lnTo>
                    <a:pt x="3878" y="2686"/>
                  </a:lnTo>
                  <a:lnTo>
                    <a:pt x="3874" y="2680"/>
                  </a:lnTo>
                  <a:lnTo>
                    <a:pt x="3874" y="2676"/>
                  </a:lnTo>
                  <a:lnTo>
                    <a:pt x="3876" y="2672"/>
                  </a:lnTo>
                  <a:lnTo>
                    <a:pt x="3882" y="2666"/>
                  </a:lnTo>
                  <a:lnTo>
                    <a:pt x="3886" y="2666"/>
                  </a:lnTo>
                  <a:lnTo>
                    <a:pt x="3888" y="2668"/>
                  </a:lnTo>
                  <a:lnTo>
                    <a:pt x="3892" y="2670"/>
                  </a:lnTo>
                  <a:lnTo>
                    <a:pt x="3896" y="2674"/>
                  </a:lnTo>
                  <a:lnTo>
                    <a:pt x="3900" y="2676"/>
                  </a:lnTo>
                  <a:lnTo>
                    <a:pt x="3906" y="2676"/>
                  </a:lnTo>
                  <a:lnTo>
                    <a:pt x="3912" y="2674"/>
                  </a:lnTo>
                  <a:lnTo>
                    <a:pt x="3918" y="2670"/>
                  </a:lnTo>
                  <a:lnTo>
                    <a:pt x="3924" y="2668"/>
                  </a:lnTo>
                  <a:lnTo>
                    <a:pt x="3930" y="2666"/>
                  </a:lnTo>
                  <a:lnTo>
                    <a:pt x="3936" y="2668"/>
                  </a:lnTo>
                  <a:lnTo>
                    <a:pt x="3954" y="2678"/>
                  </a:lnTo>
                  <a:lnTo>
                    <a:pt x="3984" y="2698"/>
                  </a:lnTo>
                  <a:lnTo>
                    <a:pt x="3992" y="2700"/>
                  </a:lnTo>
                  <a:lnTo>
                    <a:pt x="3996" y="2698"/>
                  </a:lnTo>
                  <a:lnTo>
                    <a:pt x="4000" y="2692"/>
                  </a:lnTo>
                  <a:lnTo>
                    <a:pt x="4002" y="2684"/>
                  </a:lnTo>
                  <a:lnTo>
                    <a:pt x="4008" y="2664"/>
                  </a:lnTo>
                  <a:lnTo>
                    <a:pt x="4012" y="2656"/>
                  </a:lnTo>
                  <a:lnTo>
                    <a:pt x="4018" y="2652"/>
                  </a:lnTo>
                  <a:lnTo>
                    <a:pt x="4030" y="2648"/>
                  </a:lnTo>
                  <a:lnTo>
                    <a:pt x="4042" y="2646"/>
                  </a:lnTo>
                  <a:lnTo>
                    <a:pt x="4054" y="2644"/>
                  </a:lnTo>
                  <a:lnTo>
                    <a:pt x="4068" y="2640"/>
                  </a:lnTo>
                  <a:lnTo>
                    <a:pt x="4090" y="2630"/>
                  </a:lnTo>
                  <a:lnTo>
                    <a:pt x="4096" y="2626"/>
                  </a:lnTo>
                  <a:lnTo>
                    <a:pt x="4096" y="2624"/>
                  </a:lnTo>
                  <a:lnTo>
                    <a:pt x="4094" y="2622"/>
                  </a:lnTo>
                  <a:lnTo>
                    <a:pt x="4092" y="2620"/>
                  </a:lnTo>
                  <a:lnTo>
                    <a:pt x="4090" y="2620"/>
                  </a:lnTo>
                  <a:lnTo>
                    <a:pt x="4084" y="2622"/>
                  </a:lnTo>
                  <a:lnTo>
                    <a:pt x="4082" y="2622"/>
                  </a:lnTo>
                  <a:lnTo>
                    <a:pt x="4078" y="2622"/>
                  </a:lnTo>
                  <a:lnTo>
                    <a:pt x="4074" y="2618"/>
                  </a:lnTo>
                  <a:lnTo>
                    <a:pt x="4070" y="2610"/>
                  </a:lnTo>
                  <a:close/>
                  <a:moveTo>
                    <a:pt x="3802" y="2924"/>
                  </a:moveTo>
                  <a:lnTo>
                    <a:pt x="3802" y="2924"/>
                  </a:lnTo>
                  <a:lnTo>
                    <a:pt x="3806" y="2916"/>
                  </a:lnTo>
                  <a:lnTo>
                    <a:pt x="3806" y="2908"/>
                  </a:lnTo>
                  <a:lnTo>
                    <a:pt x="3804" y="2906"/>
                  </a:lnTo>
                  <a:lnTo>
                    <a:pt x="3802" y="2904"/>
                  </a:lnTo>
                  <a:lnTo>
                    <a:pt x="3800" y="2906"/>
                  </a:lnTo>
                  <a:lnTo>
                    <a:pt x="3796" y="2910"/>
                  </a:lnTo>
                  <a:lnTo>
                    <a:pt x="3792" y="2914"/>
                  </a:lnTo>
                  <a:lnTo>
                    <a:pt x="3792" y="2918"/>
                  </a:lnTo>
                  <a:lnTo>
                    <a:pt x="3792" y="2922"/>
                  </a:lnTo>
                  <a:lnTo>
                    <a:pt x="3792" y="2924"/>
                  </a:lnTo>
                  <a:lnTo>
                    <a:pt x="3794" y="2926"/>
                  </a:lnTo>
                  <a:lnTo>
                    <a:pt x="3798" y="2928"/>
                  </a:lnTo>
                  <a:lnTo>
                    <a:pt x="3800" y="2926"/>
                  </a:lnTo>
                  <a:lnTo>
                    <a:pt x="3802" y="2924"/>
                  </a:lnTo>
                  <a:close/>
                  <a:moveTo>
                    <a:pt x="3594" y="3018"/>
                  </a:moveTo>
                  <a:lnTo>
                    <a:pt x="3594" y="3018"/>
                  </a:lnTo>
                  <a:lnTo>
                    <a:pt x="3596" y="3016"/>
                  </a:lnTo>
                  <a:lnTo>
                    <a:pt x="3596" y="3014"/>
                  </a:lnTo>
                  <a:lnTo>
                    <a:pt x="3594" y="3010"/>
                  </a:lnTo>
                  <a:lnTo>
                    <a:pt x="3592" y="3010"/>
                  </a:lnTo>
                  <a:lnTo>
                    <a:pt x="3590" y="3012"/>
                  </a:lnTo>
                  <a:lnTo>
                    <a:pt x="3588" y="3014"/>
                  </a:lnTo>
                  <a:lnTo>
                    <a:pt x="3590" y="3018"/>
                  </a:lnTo>
                  <a:lnTo>
                    <a:pt x="3594" y="3018"/>
                  </a:lnTo>
                  <a:close/>
                  <a:moveTo>
                    <a:pt x="3048" y="4040"/>
                  </a:moveTo>
                  <a:lnTo>
                    <a:pt x="3048" y="4040"/>
                  </a:lnTo>
                  <a:lnTo>
                    <a:pt x="3046" y="4042"/>
                  </a:lnTo>
                  <a:lnTo>
                    <a:pt x="3044" y="4044"/>
                  </a:lnTo>
                  <a:lnTo>
                    <a:pt x="3042" y="4050"/>
                  </a:lnTo>
                  <a:lnTo>
                    <a:pt x="3044" y="4056"/>
                  </a:lnTo>
                  <a:lnTo>
                    <a:pt x="3046" y="4062"/>
                  </a:lnTo>
                  <a:lnTo>
                    <a:pt x="3048" y="4064"/>
                  </a:lnTo>
                  <a:lnTo>
                    <a:pt x="3050" y="4068"/>
                  </a:lnTo>
                  <a:lnTo>
                    <a:pt x="3052" y="4098"/>
                  </a:lnTo>
                  <a:lnTo>
                    <a:pt x="3054" y="4116"/>
                  </a:lnTo>
                  <a:lnTo>
                    <a:pt x="3056" y="4120"/>
                  </a:lnTo>
                  <a:lnTo>
                    <a:pt x="3058" y="4120"/>
                  </a:lnTo>
                  <a:lnTo>
                    <a:pt x="3062" y="4120"/>
                  </a:lnTo>
                  <a:lnTo>
                    <a:pt x="3064" y="4122"/>
                  </a:lnTo>
                  <a:lnTo>
                    <a:pt x="3066" y="4126"/>
                  </a:lnTo>
                  <a:lnTo>
                    <a:pt x="3070" y="4134"/>
                  </a:lnTo>
                  <a:lnTo>
                    <a:pt x="3074" y="4138"/>
                  </a:lnTo>
                  <a:lnTo>
                    <a:pt x="3076" y="4134"/>
                  </a:lnTo>
                  <a:lnTo>
                    <a:pt x="3076" y="4128"/>
                  </a:lnTo>
                  <a:lnTo>
                    <a:pt x="3078" y="4120"/>
                  </a:lnTo>
                  <a:lnTo>
                    <a:pt x="3078" y="4118"/>
                  </a:lnTo>
                  <a:lnTo>
                    <a:pt x="3082" y="4118"/>
                  </a:lnTo>
                  <a:lnTo>
                    <a:pt x="3086" y="4122"/>
                  </a:lnTo>
                  <a:lnTo>
                    <a:pt x="3090" y="4126"/>
                  </a:lnTo>
                  <a:lnTo>
                    <a:pt x="3092" y="4130"/>
                  </a:lnTo>
                  <a:lnTo>
                    <a:pt x="3090" y="4134"/>
                  </a:lnTo>
                  <a:lnTo>
                    <a:pt x="3086" y="4140"/>
                  </a:lnTo>
                  <a:lnTo>
                    <a:pt x="3080" y="4146"/>
                  </a:lnTo>
                  <a:lnTo>
                    <a:pt x="3076" y="4156"/>
                  </a:lnTo>
                  <a:lnTo>
                    <a:pt x="3078" y="4164"/>
                  </a:lnTo>
                  <a:lnTo>
                    <a:pt x="3078" y="4166"/>
                  </a:lnTo>
                  <a:lnTo>
                    <a:pt x="3082" y="4166"/>
                  </a:lnTo>
                  <a:lnTo>
                    <a:pt x="3084" y="4164"/>
                  </a:lnTo>
                  <a:lnTo>
                    <a:pt x="3088" y="4166"/>
                  </a:lnTo>
                  <a:lnTo>
                    <a:pt x="3092" y="4170"/>
                  </a:lnTo>
                  <a:lnTo>
                    <a:pt x="3096" y="4174"/>
                  </a:lnTo>
                  <a:lnTo>
                    <a:pt x="3100" y="4176"/>
                  </a:lnTo>
                  <a:lnTo>
                    <a:pt x="3104" y="4178"/>
                  </a:lnTo>
                  <a:lnTo>
                    <a:pt x="3112" y="4176"/>
                  </a:lnTo>
                  <a:lnTo>
                    <a:pt x="3112" y="4174"/>
                  </a:lnTo>
                  <a:lnTo>
                    <a:pt x="3112" y="4168"/>
                  </a:lnTo>
                  <a:lnTo>
                    <a:pt x="3112" y="4166"/>
                  </a:lnTo>
                  <a:lnTo>
                    <a:pt x="3116" y="4164"/>
                  </a:lnTo>
                  <a:lnTo>
                    <a:pt x="3120" y="4160"/>
                  </a:lnTo>
                  <a:lnTo>
                    <a:pt x="3124" y="4160"/>
                  </a:lnTo>
                  <a:lnTo>
                    <a:pt x="3138" y="4172"/>
                  </a:lnTo>
                  <a:lnTo>
                    <a:pt x="3144" y="4176"/>
                  </a:lnTo>
                  <a:lnTo>
                    <a:pt x="3148" y="4180"/>
                  </a:lnTo>
                  <a:lnTo>
                    <a:pt x="3152" y="4188"/>
                  </a:lnTo>
                  <a:lnTo>
                    <a:pt x="3154" y="4196"/>
                  </a:lnTo>
                  <a:lnTo>
                    <a:pt x="3156" y="4198"/>
                  </a:lnTo>
                  <a:lnTo>
                    <a:pt x="3158" y="4198"/>
                  </a:lnTo>
                  <a:lnTo>
                    <a:pt x="3162" y="4198"/>
                  </a:lnTo>
                  <a:lnTo>
                    <a:pt x="3162" y="4196"/>
                  </a:lnTo>
                  <a:lnTo>
                    <a:pt x="3162" y="4188"/>
                  </a:lnTo>
                  <a:lnTo>
                    <a:pt x="3154" y="4170"/>
                  </a:lnTo>
                  <a:lnTo>
                    <a:pt x="3154" y="4166"/>
                  </a:lnTo>
                  <a:lnTo>
                    <a:pt x="3154" y="4164"/>
                  </a:lnTo>
                  <a:lnTo>
                    <a:pt x="3160" y="4164"/>
                  </a:lnTo>
                  <a:lnTo>
                    <a:pt x="3164" y="4168"/>
                  </a:lnTo>
                  <a:lnTo>
                    <a:pt x="3168" y="4174"/>
                  </a:lnTo>
                  <a:lnTo>
                    <a:pt x="3172" y="4180"/>
                  </a:lnTo>
                  <a:lnTo>
                    <a:pt x="3176" y="4182"/>
                  </a:lnTo>
                  <a:lnTo>
                    <a:pt x="3180" y="4186"/>
                  </a:lnTo>
                  <a:lnTo>
                    <a:pt x="3184" y="4192"/>
                  </a:lnTo>
                  <a:lnTo>
                    <a:pt x="3186" y="4198"/>
                  </a:lnTo>
                  <a:lnTo>
                    <a:pt x="3186" y="4202"/>
                  </a:lnTo>
                  <a:lnTo>
                    <a:pt x="3188" y="4206"/>
                  </a:lnTo>
                  <a:lnTo>
                    <a:pt x="3196" y="4210"/>
                  </a:lnTo>
                  <a:lnTo>
                    <a:pt x="3206" y="4216"/>
                  </a:lnTo>
                  <a:lnTo>
                    <a:pt x="3210" y="4218"/>
                  </a:lnTo>
                  <a:lnTo>
                    <a:pt x="3212" y="4222"/>
                  </a:lnTo>
                  <a:lnTo>
                    <a:pt x="3212" y="4228"/>
                  </a:lnTo>
                  <a:lnTo>
                    <a:pt x="3216" y="4232"/>
                  </a:lnTo>
                  <a:lnTo>
                    <a:pt x="3218" y="4230"/>
                  </a:lnTo>
                  <a:lnTo>
                    <a:pt x="3220" y="4224"/>
                  </a:lnTo>
                  <a:lnTo>
                    <a:pt x="3222" y="4216"/>
                  </a:lnTo>
                  <a:lnTo>
                    <a:pt x="3222" y="4208"/>
                  </a:lnTo>
                  <a:lnTo>
                    <a:pt x="3220" y="4204"/>
                  </a:lnTo>
                  <a:lnTo>
                    <a:pt x="3218" y="4202"/>
                  </a:lnTo>
                  <a:lnTo>
                    <a:pt x="3210" y="4200"/>
                  </a:lnTo>
                  <a:lnTo>
                    <a:pt x="3206" y="4200"/>
                  </a:lnTo>
                  <a:lnTo>
                    <a:pt x="3206" y="4196"/>
                  </a:lnTo>
                  <a:lnTo>
                    <a:pt x="3206" y="4194"/>
                  </a:lnTo>
                  <a:lnTo>
                    <a:pt x="3206" y="4192"/>
                  </a:lnTo>
                  <a:lnTo>
                    <a:pt x="3204" y="4186"/>
                  </a:lnTo>
                  <a:lnTo>
                    <a:pt x="3198" y="4182"/>
                  </a:lnTo>
                  <a:lnTo>
                    <a:pt x="3196" y="4178"/>
                  </a:lnTo>
                  <a:lnTo>
                    <a:pt x="3194" y="4174"/>
                  </a:lnTo>
                  <a:lnTo>
                    <a:pt x="3196" y="4174"/>
                  </a:lnTo>
                  <a:lnTo>
                    <a:pt x="3198" y="4174"/>
                  </a:lnTo>
                  <a:lnTo>
                    <a:pt x="3206" y="4174"/>
                  </a:lnTo>
                  <a:lnTo>
                    <a:pt x="3210" y="4172"/>
                  </a:lnTo>
                  <a:lnTo>
                    <a:pt x="3212" y="4172"/>
                  </a:lnTo>
                  <a:lnTo>
                    <a:pt x="3214" y="4168"/>
                  </a:lnTo>
                  <a:lnTo>
                    <a:pt x="3210" y="4164"/>
                  </a:lnTo>
                  <a:lnTo>
                    <a:pt x="3194" y="4156"/>
                  </a:lnTo>
                  <a:lnTo>
                    <a:pt x="3190" y="4154"/>
                  </a:lnTo>
                  <a:lnTo>
                    <a:pt x="3186" y="4156"/>
                  </a:lnTo>
                  <a:lnTo>
                    <a:pt x="3186" y="4158"/>
                  </a:lnTo>
                  <a:lnTo>
                    <a:pt x="3184" y="4162"/>
                  </a:lnTo>
                  <a:lnTo>
                    <a:pt x="3184" y="4170"/>
                  </a:lnTo>
                  <a:lnTo>
                    <a:pt x="3182" y="4172"/>
                  </a:lnTo>
                  <a:lnTo>
                    <a:pt x="3180" y="4170"/>
                  </a:lnTo>
                  <a:lnTo>
                    <a:pt x="3178" y="4168"/>
                  </a:lnTo>
                  <a:lnTo>
                    <a:pt x="3176" y="4164"/>
                  </a:lnTo>
                  <a:lnTo>
                    <a:pt x="3176" y="4158"/>
                  </a:lnTo>
                  <a:lnTo>
                    <a:pt x="3176" y="4154"/>
                  </a:lnTo>
                  <a:lnTo>
                    <a:pt x="3174" y="4150"/>
                  </a:lnTo>
                  <a:lnTo>
                    <a:pt x="3170" y="4146"/>
                  </a:lnTo>
                  <a:lnTo>
                    <a:pt x="3164" y="4142"/>
                  </a:lnTo>
                  <a:lnTo>
                    <a:pt x="3158" y="4140"/>
                  </a:lnTo>
                  <a:lnTo>
                    <a:pt x="3154" y="4140"/>
                  </a:lnTo>
                  <a:lnTo>
                    <a:pt x="3152" y="4140"/>
                  </a:lnTo>
                  <a:lnTo>
                    <a:pt x="3150" y="4142"/>
                  </a:lnTo>
                  <a:lnTo>
                    <a:pt x="3148" y="4146"/>
                  </a:lnTo>
                  <a:lnTo>
                    <a:pt x="3144" y="4146"/>
                  </a:lnTo>
                  <a:lnTo>
                    <a:pt x="3142" y="4146"/>
                  </a:lnTo>
                  <a:lnTo>
                    <a:pt x="3140" y="4148"/>
                  </a:lnTo>
                  <a:lnTo>
                    <a:pt x="3140" y="4152"/>
                  </a:lnTo>
                  <a:lnTo>
                    <a:pt x="3140" y="4158"/>
                  </a:lnTo>
                  <a:lnTo>
                    <a:pt x="3138" y="4158"/>
                  </a:lnTo>
                  <a:lnTo>
                    <a:pt x="3136" y="4158"/>
                  </a:lnTo>
                  <a:lnTo>
                    <a:pt x="3130" y="4156"/>
                  </a:lnTo>
                  <a:lnTo>
                    <a:pt x="3126" y="4152"/>
                  </a:lnTo>
                  <a:lnTo>
                    <a:pt x="3122" y="4142"/>
                  </a:lnTo>
                  <a:lnTo>
                    <a:pt x="3120" y="4132"/>
                  </a:lnTo>
                  <a:lnTo>
                    <a:pt x="3120" y="4124"/>
                  </a:lnTo>
                  <a:lnTo>
                    <a:pt x="3120" y="4120"/>
                  </a:lnTo>
                  <a:lnTo>
                    <a:pt x="3120" y="4116"/>
                  </a:lnTo>
                  <a:lnTo>
                    <a:pt x="3116" y="4104"/>
                  </a:lnTo>
                  <a:lnTo>
                    <a:pt x="3112" y="4092"/>
                  </a:lnTo>
                  <a:lnTo>
                    <a:pt x="3112" y="4086"/>
                  </a:lnTo>
                  <a:lnTo>
                    <a:pt x="3116" y="4082"/>
                  </a:lnTo>
                  <a:lnTo>
                    <a:pt x="3120" y="4072"/>
                  </a:lnTo>
                  <a:lnTo>
                    <a:pt x="3120" y="4066"/>
                  </a:lnTo>
                  <a:lnTo>
                    <a:pt x="3120" y="4062"/>
                  </a:lnTo>
                  <a:lnTo>
                    <a:pt x="3124" y="4054"/>
                  </a:lnTo>
                  <a:lnTo>
                    <a:pt x="3128" y="4052"/>
                  </a:lnTo>
                  <a:lnTo>
                    <a:pt x="3130" y="4050"/>
                  </a:lnTo>
                  <a:lnTo>
                    <a:pt x="3132" y="4052"/>
                  </a:lnTo>
                  <a:lnTo>
                    <a:pt x="3134" y="4052"/>
                  </a:lnTo>
                  <a:lnTo>
                    <a:pt x="3136" y="4056"/>
                  </a:lnTo>
                  <a:lnTo>
                    <a:pt x="3138" y="4056"/>
                  </a:lnTo>
                  <a:lnTo>
                    <a:pt x="3144" y="4046"/>
                  </a:lnTo>
                  <a:lnTo>
                    <a:pt x="3148" y="4034"/>
                  </a:lnTo>
                  <a:lnTo>
                    <a:pt x="3154" y="4008"/>
                  </a:lnTo>
                  <a:lnTo>
                    <a:pt x="3154" y="4006"/>
                  </a:lnTo>
                  <a:lnTo>
                    <a:pt x="3152" y="4002"/>
                  </a:lnTo>
                  <a:lnTo>
                    <a:pt x="3146" y="3992"/>
                  </a:lnTo>
                  <a:lnTo>
                    <a:pt x="3144" y="3986"/>
                  </a:lnTo>
                  <a:lnTo>
                    <a:pt x="3142" y="3978"/>
                  </a:lnTo>
                  <a:lnTo>
                    <a:pt x="3142" y="3970"/>
                  </a:lnTo>
                  <a:lnTo>
                    <a:pt x="3144" y="3960"/>
                  </a:lnTo>
                  <a:lnTo>
                    <a:pt x="3148" y="3944"/>
                  </a:lnTo>
                  <a:lnTo>
                    <a:pt x="3146" y="3936"/>
                  </a:lnTo>
                  <a:lnTo>
                    <a:pt x="3146" y="3934"/>
                  </a:lnTo>
                  <a:lnTo>
                    <a:pt x="3142" y="3934"/>
                  </a:lnTo>
                  <a:lnTo>
                    <a:pt x="3140" y="3936"/>
                  </a:lnTo>
                  <a:lnTo>
                    <a:pt x="3136" y="3942"/>
                  </a:lnTo>
                  <a:lnTo>
                    <a:pt x="3132" y="3946"/>
                  </a:lnTo>
                  <a:lnTo>
                    <a:pt x="3126" y="3944"/>
                  </a:lnTo>
                  <a:lnTo>
                    <a:pt x="3122" y="3942"/>
                  </a:lnTo>
                  <a:lnTo>
                    <a:pt x="3114" y="3938"/>
                  </a:lnTo>
                  <a:lnTo>
                    <a:pt x="3100" y="3930"/>
                  </a:lnTo>
                  <a:lnTo>
                    <a:pt x="3094" y="3926"/>
                  </a:lnTo>
                  <a:lnTo>
                    <a:pt x="3086" y="3928"/>
                  </a:lnTo>
                  <a:lnTo>
                    <a:pt x="3076" y="3932"/>
                  </a:lnTo>
                  <a:lnTo>
                    <a:pt x="3076" y="3936"/>
                  </a:lnTo>
                  <a:lnTo>
                    <a:pt x="3074" y="3938"/>
                  </a:lnTo>
                  <a:lnTo>
                    <a:pt x="3074" y="3946"/>
                  </a:lnTo>
                  <a:lnTo>
                    <a:pt x="3074" y="3952"/>
                  </a:lnTo>
                  <a:lnTo>
                    <a:pt x="3072" y="3958"/>
                  </a:lnTo>
                  <a:lnTo>
                    <a:pt x="3068" y="3966"/>
                  </a:lnTo>
                  <a:lnTo>
                    <a:pt x="3068" y="3972"/>
                  </a:lnTo>
                  <a:lnTo>
                    <a:pt x="3068" y="3986"/>
                  </a:lnTo>
                  <a:lnTo>
                    <a:pt x="3070" y="4000"/>
                  </a:lnTo>
                  <a:lnTo>
                    <a:pt x="3068" y="4010"/>
                  </a:lnTo>
                  <a:lnTo>
                    <a:pt x="3066" y="4018"/>
                  </a:lnTo>
                  <a:lnTo>
                    <a:pt x="3064" y="4026"/>
                  </a:lnTo>
                  <a:lnTo>
                    <a:pt x="3062" y="4032"/>
                  </a:lnTo>
                  <a:lnTo>
                    <a:pt x="3064" y="4038"/>
                  </a:lnTo>
                  <a:lnTo>
                    <a:pt x="3066" y="4040"/>
                  </a:lnTo>
                  <a:lnTo>
                    <a:pt x="3068" y="4046"/>
                  </a:lnTo>
                  <a:lnTo>
                    <a:pt x="3070" y="4050"/>
                  </a:lnTo>
                  <a:lnTo>
                    <a:pt x="3068" y="4054"/>
                  </a:lnTo>
                  <a:lnTo>
                    <a:pt x="3066" y="4058"/>
                  </a:lnTo>
                  <a:lnTo>
                    <a:pt x="3062" y="4060"/>
                  </a:lnTo>
                  <a:lnTo>
                    <a:pt x="3060" y="4056"/>
                  </a:lnTo>
                  <a:lnTo>
                    <a:pt x="3058" y="4054"/>
                  </a:lnTo>
                  <a:lnTo>
                    <a:pt x="3052" y="4044"/>
                  </a:lnTo>
                  <a:lnTo>
                    <a:pt x="3050" y="4042"/>
                  </a:lnTo>
                  <a:lnTo>
                    <a:pt x="3048" y="4040"/>
                  </a:lnTo>
                  <a:close/>
                  <a:moveTo>
                    <a:pt x="3012" y="4336"/>
                  </a:moveTo>
                  <a:lnTo>
                    <a:pt x="3012" y="4336"/>
                  </a:lnTo>
                  <a:lnTo>
                    <a:pt x="2996" y="4362"/>
                  </a:lnTo>
                  <a:lnTo>
                    <a:pt x="2978" y="4384"/>
                  </a:lnTo>
                  <a:lnTo>
                    <a:pt x="2960" y="4400"/>
                  </a:lnTo>
                  <a:lnTo>
                    <a:pt x="2950" y="4412"/>
                  </a:lnTo>
                  <a:lnTo>
                    <a:pt x="2948" y="4420"/>
                  </a:lnTo>
                  <a:lnTo>
                    <a:pt x="2944" y="4428"/>
                  </a:lnTo>
                  <a:lnTo>
                    <a:pt x="2944" y="4432"/>
                  </a:lnTo>
                  <a:lnTo>
                    <a:pt x="2946" y="4434"/>
                  </a:lnTo>
                  <a:lnTo>
                    <a:pt x="2950" y="4432"/>
                  </a:lnTo>
                  <a:lnTo>
                    <a:pt x="2954" y="4426"/>
                  </a:lnTo>
                  <a:lnTo>
                    <a:pt x="2960" y="4422"/>
                  </a:lnTo>
                  <a:lnTo>
                    <a:pt x="2968" y="4410"/>
                  </a:lnTo>
                  <a:lnTo>
                    <a:pt x="2994" y="4388"/>
                  </a:lnTo>
                  <a:lnTo>
                    <a:pt x="3002" y="4380"/>
                  </a:lnTo>
                  <a:lnTo>
                    <a:pt x="3006" y="4372"/>
                  </a:lnTo>
                  <a:lnTo>
                    <a:pt x="3008" y="4368"/>
                  </a:lnTo>
                  <a:lnTo>
                    <a:pt x="3008" y="4364"/>
                  </a:lnTo>
                  <a:lnTo>
                    <a:pt x="3010" y="4358"/>
                  </a:lnTo>
                  <a:lnTo>
                    <a:pt x="3012" y="4356"/>
                  </a:lnTo>
                  <a:lnTo>
                    <a:pt x="3016" y="4354"/>
                  </a:lnTo>
                  <a:lnTo>
                    <a:pt x="3022" y="4352"/>
                  </a:lnTo>
                  <a:lnTo>
                    <a:pt x="3024" y="4350"/>
                  </a:lnTo>
                  <a:lnTo>
                    <a:pt x="3028" y="4344"/>
                  </a:lnTo>
                  <a:lnTo>
                    <a:pt x="3030" y="4338"/>
                  </a:lnTo>
                  <a:lnTo>
                    <a:pt x="3030" y="4336"/>
                  </a:lnTo>
                  <a:lnTo>
                    <a:pt x="3034" y="4336"/>
                  </a:lnTo>
                  <a:lnTo>
                    <a:pt x="3038" y="4334"/>
                  </a:lnTo>
                  <a:lnTo>
                    <a:pt x="3042" y="4330"/>
                  </a:lnTo>
                  <a:lnTo>
                    <a:pt x="3044" y="4324"/>
                  </a:lnTo>
                  <a:lnTo>
                    <a:pt x="3042" y="4316"/>
                  </a:lnTo>
                  <a:lnTo>
                    <a:pt x="3040" y="4312"/>
                  </a:lnTo>
                  <a:lnTo>
                    <a:pt x="3040" y="4306"/>
                  </a:lnTo>
                  <a:lnTo>
                    <a:pt x="3040" y="4296"/>
                  </a:lnTo>
                  <a:lnTo>
                    <a:pt x="3040" y="4288"/>
                  </a:lnTo>
                  <a:lnTo>
                    <a:pt x="3038" y="4286"/>
                  </a:lnTo>
                  <a:lnTo>
                    <a:pt x="3036" y="4284"/>
                  </a:lnTo>
                  <a:lnTo>
                    <a:pt x="3034" y="4284"/>
                  </a:lnTo>
                  <a:lnTo>
                    <a:pt x="3032" y="4286"/>
                  </a:lnTo>
                  <a:lnTo>
                    <a:pt x="3032" y="4294"/>
                  </a:lnTo>
                  <a:lnTo>
                    <a:pt x="3030" y="4302"/>
                  </a:lnTo>
                  <a:lnTo>
                    <a:pt x="3028" y="4304"/>
                  </a:lnTo>
                  <a:lnTo>
                    <a:pt x="3026" y="4306"/>
                  </a:lnTo>
                  <a:lnTo>
                    <a:pt x="3024" y="4306"/>
                  </a:lnTo>
                  <a:lnTo>
                    <a:pt x="3024" y="4308"/>
                  </a:lnTo>
                  <a:lnTo>
                    <a:pt x="3026" y="4312"/>
                  </a:lnTo>
                  <a:lnTo>
                    <a:pt x="3028" y="4318"/>
                  </a:lnTo>
                  <a:lnTo>
                    <a:pt x="3028" y="4322"/>
                  </a:lnTo>
                  <a:lnTo>
                    <a:pt x="3026" y="4326"/>
                  </a:lnTo>
                  <a:lnTo>
                    <a:pt x="3022" y="4330"/>
                  </a:lnTo>
                  <a:lnTo>
                    <a:pt x="3020" y="4328"/>
                  </a:lnTo>
                  <a:lnTo>
                    <a:pt x="3018" y="4328"/>
                  </a:lnTo>
                  <a:lnTo>
                    <a:pt x="3012" y="4336"/>
                  </a:lnTo>
                  <a:close/>
                  <a:moveTo>
                    <a:pt x="3126" y="3596"/>
                  </a:moveTo>
                  <a:lnTo>
                    <a:pt x="3126" y="3596"/>
                  </a:lnTo>
                  <a:lnTo>
                    <a:pt x="3122" y="3592"/>
                  </a:lnTo>
                  <a:lnTo>
                    <a:pt x="3118" y="3590"/>
                  </a:lnTo>
                  <a:lnTo>
                    <a:pt x="3116" y="3590"/>
                  </a:lnTo>
                  <a:lnTo>
                    <a:pt x="3114" y="3590"/>
                  </a:lnTo>
                  <a:lnTo>
                    <a:pt x="3110" y="3594"/>
                  </a:lnTo>
                  <a:lnTo>
                    <a:pt x="3104" y="3598"/>
                  </a:lnTo>
                  <a:lnTo>
                    <a:pt x="3098" y="3600"/>
                  </a:lnTo>
                  <a:lnTo>
                    <a:pt x="3092" y="3608"/>
                  </a:lnTo>
                  <a:lnTo>
                    <a:pt x="3072" y="3644"/>
                  </a:lnTo>
                  <a:lnTo>
                    <a:pt x="3062" y="3662"/>
                  </a:lnTo>
                  <a:lnTo>
                    <a:pt x="3060" y="3678"/>
                  </a:lnTo>
                  <a:lnTo>
                    <a:pt x="3060" y="3694"/>
                  </a:lnTo>
                  <a:lnTo>
                    <a:pt x="3062" y="3712"/>
                  </a:lnTo>
                  <a:lnTo>
                    <a:pt x="3066" y="3726"/>
                  </a:lnTo>
                  <a:lnTo>
                    <a:pt x="3070" y="3730"/>
                  </a:lnTo>
                  <a:lnTo>
                    <a:pt x="3074" y="3734"/>
                  </a:lnTo>
                  <a:lnTo>
                    <a:pt x="3078" y="3742"/>
                  </a:lnTo>
                  <a:lnTo>
                    <a:pt x="3082" y="3752"/>
                  </a:lnTo>
                  <a:lnTo>
                    <a:pt x="3086" y="3762"/>
                  </a:lnTo>
                  <a:lnTo>
                    <a:pt x="3088" y="3764"/>
                  </a:lnTo>
                  <a:lnTo>
                    <a:pt x="3090" y="3762"/>
                  </a:lnTo>
                  <a:lnTo>
                    <a:pt x="3090" y="3756"/>
                  </a:lnTo>
                  <a:lnTo>
                    <a:pt x="3090" y="3748"/>
                  </a:lnTo>
                  <a:lnTo>
                    <a:pt x="3092" y="3738"/>
                  </a:lnTo>
                  <a:lnTo>
                    <a:pt x="3094" y="3730"/>
                  </a:lnTo>
                  <a:lnTo>
                    <a:pt x="3096" y="3726"/>
                  </a:lnTo>
                  <a:lnTo>
                    <a:pt x="3098" y="3722"/>
                  </a:lnTo>
                  <a:lnTo>
                    <a:pt x="3102" y="3718"/>
                  </a:lnTo>
                  <a:lnTo>
                    <a:pt x="3106" y="3712"/>
                  </a:lnTo>
                  <a:lnTo>
                    <a:pt x="3110" y="3702"/>
                  </a:lnTo>
                  <a:lnTo>
                    <a:pt x="3114" y="3690"/>
                  </a:lnTo>
                  <a:lnTo>
                    <a:pt x="3120" y="3662"/>
                  </a:lnTo>
                  <a:lnTo>
                    <a:pt x="3126" y="3644"/>
                  </a:lnTo>
                  <a:lnTo>
                    <a:pt x="3130" y="3632"/>
                  </a:lnTo>
                  <a:lnTo>
                    <a:pt x="3130" y="3628"/>
                  </a:lnTo>
                  <a:lnTo>
                    <a:pt x="3128" y="3622"/>
                  </a:lnTo>
                  <a:lnTo>
                    <a:pt x="3128" y="3618"/>
                  </a:lnTo>
                  <a:lnTo>
                    <a:pt x="3128" y="3614"/>
                  </a:lnTo>
                  <a:lnTo>
                    <a:pt x="3130" y="3610"/>
                  </a:lnTo>
                  <a:lnTo>
                    <a:pt x="3132" y="3608"/>
                  </a:lnTo>
                  <a:lnTo>
                    <a:pt x="3132" y="3604"/>
                  </a:lnTo>
                  <a:lnTo>
                    <a:pt x="3130" y="3600"/>
                  </a:lnTo>
                  <a:lnTo>
                    <a:pt x="3126" y="3596"/>
                  </a:lnTo>
                  <a:close/>
                  <a:moveTo>
                    <a:pt x="4186" y="2510"/>
                  </a:moveTo>
                  <a:lnTo>
                    <a:pt x="4186" y="2510"/>
                  </a:lnTo>
                  <a:lnTo>
                    <a:pt x="4182" y="2506"/>
                  </a:lnTo>
                  <a:lnTo>
                    <a:pt x="4182" y="2510"/>
                  </a:lnTo>
                  <a:lnTo>
                    <a:pt x="4180" y="2516"/>
                  </a:lnTo>
                  <a:lnTo>
                    <a:pt x="4180" y="2518"/>
                  </a:lnTo>
                  <a:lnTo>
                    <a:pt x="4176" y="2522"/>
                  </a:lnTo>
                  <a:lnTo>
                    <a:pt x="4166" y="2526"/>
                  </a:lnTo>
                  <a:lnTo>
                    <a:pt x="4156" y="2534"/>
                  </a:lnTo>
                  <a:lnTo>
                    <a:pt x="4148" y="2544"/>
                  </a:lnTo>
                  <a:lnTo>
                    <a:pt x="4140" y="2558"/>
                  </a:lnTo>
                  <a:lnTo>
                    <a:pt x="4140" y="2560"/>
                  </a:lnTo>
                  <a:lnTo>
                    <a:pt x="4140" y="2562"/>
                  </a:lnTo>
                  <a:lnTo>
                    <a:pt x="4142" y="2564"/>
                  </a:lnTo>
                  <a:lnTo>
                    <a:pt x="4144" y="2562"/>
                  </a:lnTo>
                  <a:lnTo>
                    <a:pt x="4152" y="2556"/>
                  </a:lnTo>
                  <a:lnTo>
                    <a:pt x="4162" y="2546"/>
                  </a:lnTo>
                  <a:lnTo>
                    <a:pt x="4170" y="2536"/>
                  </a:lnTo>
                  <a:lnTo>
                    <a:pt x="4176" y="2532"/>
                  </a:lnTo>
                  <a:lnTo>
                    <a:pt x="4182" y="2528"/>
                  </a:lnTo>
                  <a:lnTo>
                    <a:pt x="4192" y="2522"/>
                  </a:lnTo>
                  <a:lnTo>
                    <a:pt x="4196" y="2518"/>
                  </a:lnTo>
                  <a:lnTo>
                    <a:pt x="4202" y="2516"/>
                  </a:lnTo>
                  <a:lnTo>
                    <a:pt x="4212" y="2512"/>
                  </a:lnTo>
                  <a:lnTo>
                    <a:pt x="4216" y="2510"/>
                  </a:lnTo>
                  <a:lnTo>
                    <a:pt x="4218" y="2508"/>
                  </a:lnTo>
                  <a:lnTo>
                    <a:pt x="4218" y="2506"/>
                  </a:lnTo>
                  <a:lnTo>
                    <a:pt x="4216" y="2502"/>
                  </a:lnTo>
                  <a:lnTo>
                    <a:pt x="4214" y="2500"/>
                  </a:lnTo>
                  <a:lnTo>
                    <a:pt x="4210" y="2500"/>
                  </a:lnTo>
                  <a:lnTo>
                    <a:pt x="4204" y="2504"/>
                  </a:lnTo>
                  <a:lnTo>
                    <a:pt x="4194" y="2510"/>
                  </a:lnTo>
                  <a:lnTo>
                    <a:pt x="4190" y="2510"/>
                  </a:lnTo>
                  <a:lnTo>
                    <a:pt x="4186" y="2510"/>
                  </a:lnTo>
                  <a:close/>
                  <a:moveTo>
                    <a:pt x="3264" y="4226"/>
                  </a:moveTo>
                  <a:lnTo>
                    <a:pt x="3264" y="4226"/>
                  </a:lnTo>
                  <a:lnTo>
                    <a:pt x="3258" y="4226"/>
                  </a:lnTo>
                  <a:lnTo>
                    <a:pt x="3250" y="4226"/>
                  </a:lnTo>
                  <a:lnTo>
                    <a:pt x="3242" y="4228"/>
                  </a:lnTo>
                  <a:lnTo>
                    <a:pt x="3234" y="4226"/>
                  </a:lnTo>
                  <a:lnTo>
                    <a:pt x="3230" y="4226"/>
                  </a:lnTo>
                  <a:lnTo>
                    <a:pt x="3228" y="4228"/>
                  </a:lnTo>
                  <a:lnTo>
                    <a:pt x="3228" y="4234"/>
                  </a:lnTo>
                  <a:lnTo>
                    <a:pt x="3234" y="4244"/>
                  </a:lnTo>
                  <a:lnTo>
                    <a:pt x="3242" y="4252"/>
                  </a:lnTo>
                  <a:lnTo>
                    <a:pt x="3246" y="4258"/>
                  </a:lnTo>
                  <a:lnTo>
                    <a:pt x="3248" y="4260"/>
                  </a:lnTo>
                  <a:lnTo>
                    <a:pt x="3250" y="4262"/>
                  </a:lnTo>
                  <a:lnTo>
                    <a:pt x="3254" y="4264"/>
                  </a:lnTo>
                  <a:lnTo>
                    <a:pt x="3258" y="4266"/>
                  </a:lnTo>
                  <a:lnTo>
                    <a:pt x="3258" y="4268"/>
                  </a:lnTo>
                  <a:lnTo>
                    <a:pt x="3256" y="4272"/>
                  </a:lnTo>
                  <a:lnTo>
                    <a:pt x="3254" y="4276"/>
                  </a:lnTo>
                  <a:lnTo>
                    <a:pt x="3252" y="4276"/>
                  </a:lnTo>
                  <a:lnTo>
                    <a:pt x="3252" y="4278"/>
                  </a:lnTo>
                  <a:lnTo>
                    <a:pt x="3256" y="4282"/>
                  </a:lnTo>
                  <a:lnTo>
                    <a:pt x="3260" y="4288"/>
                  </a:lnTo>
                  <a:lnTo>
                    <a:pt x="3264" y="4296"/>
                  </a:lnTo>
                  <a:lnTo>
                    <a:pt x="3266" y="4298"/>
                  </a:lnTo>
                  <a:lnTo>
                    <a:pt x="3268" y="4300"/>
                  </a:lnTo>
                  <a:lnTo>
                    <a:pt x="3272" y="4298"/>
                  </a:lnTo>
                  <a:lnTo>
                    <a:pt x="3276" y="4298"/>
                  </a:lnTo>
                  <a:lnTo>
                    <a:pt x="3280" y="4298"/>
                  </a:lnTo>
                  <a:lnTo>
                    <a:pt x="3282" y="4300"/>
                  </a:lnTo>
                  <a:lnTo>
                    <a:pt x="3286" y="4302"/>
                  </a:lnTo>
                  <a:lnTo>
                    <a:pt x="3288" y="4300"/>
                  </a:lnTo>
                  <a:lnTo>
                    <a:pt x="3286" y="4296"/>
                  </a:lnTo>
                  <a:lnTo>
                    <a:pt x="3282" y="4292"/>
                  </a:lnTo>
                  <a:lnTo>
                    <a:pt x="3282" y="4290"/>
                  </a:lnTo>
                  <a:lnTo>
                    <a:pt x="3282" y="4288"/>
                  </a:lnTo>
                  <a:lnTo>
                    <a:pt x="3282" y="4284"/>
                  </a:lnTo>
                  <a:lnTo>
                    <a:pt x="3278" y="4280"/>
                  </a:lnTo>
                  <a:lnTo>
                    <a:pt x="3276" y="4276"/>
                  </a:lnTo>
                  <a:lnTo>
                    <a:pt x="3276" y="4272"/>
                  </a:lnTo>
                  <a:lnTo>
                    <a:pt x="3276" y="4260"/>
                  </a:lnTo>
                  <a:lnTo>
                    <a:pt x="3276" y="4248"/>
                  </a:lnTo>
                  <a:lnTo>
                    <a:pt x="3276" y="4242"/>
                  </a:lnTo>
                  <a:lnTo>
                    <a:pt x="3274" y="4240"/>
                  </a:lnTo>
                  <a:lnTo>
                    <a:pt x="3270" y="4236"/>
                  </a:lnTo>
                  <a:lnTo>
                    <a:pt x="3270" y="4234"/>
                  </a:lnTo>
                  <a:lnTo>
                    <a:pt x="3268" y="4230"/>
                  </a:lnTo>
                  <a:lnTo>
                    <a:pt x="3264" y="4226"/>
                  </a:lnTo>
                  <a:close/>
                  <a:moveTo>
                    <a:pt x="2906" y="4970"/>
                  </a:moveTo>
                  <a:lnTo>
                    <a:pt x="2906" y="4970"/>
                  </a:lnTo>
                  <a:lnTo>
                    <a:pt x="2908" y="4964"/>
                  </a:lnTo>
                  <a:lnTo>
                    <a:pt x="2910" y="4962"/>
                  </a:lnTo>
                  <a:lnTo>
                    <a:pt x="2914" y="4960"/>
                  </a:lnTo>
                  <a:lnTo>
                    <a:pt x="2918" y="4958"/>
                  </a:lnTo>
                  <a:lnTo>
                    <a:pt x="2918" y="4956"/>
                  </a:lnTo>
                  <a:lnTo>
                    <a:pt x="2918" y="4950"/>
                  </a:lnTo>
                  <a:lnTo>
                    <a:pt x="2916" y="4942"/>
                  </a:lnTo>
                  <a:lnTo>
                    <a:pt x="2914" y="4932"/>
                  </a:lnTo>
                  <a:lnTo>
                    <a:pt x="2914" y="4924"/>
                  </a:lnTo>
                  <a:lnTo>
                    <a:pt x="2916" y="4918"/>
                  </a:lnTo>
                  <a:lnTo>
                    <a:pt x="2920" y="4912"/>
                  </a:lnTo>
                  <a:lnTo>
                    <a:pt x="2930" y="4902"/>
                  </a:lnTo>
                  <a:lnTo>
                    <a:pt x="2934" y="4898"/>
                  </a:lnTo>
                  <a:lnTo>
                    <a:pt x="2938" y="4892"/>
                  </a:lnTo>
                  <a:lnTo>
                    <a:pt x="2940" y="4888"/>
                  </a:lnTo>
                  <a:lnTo>
                    <a:pt x="2944" y="4886"/>
                  </a:lnTo>
                  <a:lnTo>
                    <a:pt x="2952" y="4882"/>
                  </a:lnTo>
                  <a:lnTo>
                    <a:pt x="2954" y="4882"/>
                  </a:lnTo>
                  <a:lnTo>
                    <a:pt x="2958" y="4878"/>
                  </a:lnTo>
                  <a:lnTo>
                    <a:pt x="2958" y="4872"/>
                  </a:lnTo>
                  <a:lnTo>
                    <a:pt x="2958" y="4862"/>
                  </a:lnTo>
                  <a:lnTo>
                    <a:pt x="2956" y="4840"/>
                  </a:lnTo>
                  <a:lnTo>
                    <a:pt x="2958" y="4822"/>
                  </a:lnTo>
                  <a:lnTo>
                    <a:pt x="2962" y="4808"/>
                  </a:lnTo>
                  <a:lnTo>
                    <a:pt x="2964" y="4804"/>
                  </a:lnTo>
                  <a:lnTo>
                    <a:pt x="2968" y="4800"/>
                  </a:lnTo>
                  <a:lnTo>
                    <a:pt x="2972" y="4796"/>
                  </a:lnTo>
                  <a:lnTo>
                    <a:pt x="2974" y="4792"/>
                  </a:lnTo>
                  <a:lnTo>
                    <a:pt x="2978" y="4792"/>
                  </a:lnTo>
                  <a:lnTo>
                    <a:pt x="2982" y="4796"/>
                  </a:lnTo>
                  <a:lnTo>
                    <a:pt x="2988" y="4800"/>
                  </a:lnTo>
                  <a:lnTo>
                    <a:pt x="2992" y="4802"/>
                  </a:lnTo>
                  <a:lnTo>
                    <a:pt x="3002" y="4802"/>
                  </a:lnTo>
                  <a:lnTo>
                    <a:pt x="3010" y="4800"/>
                  </a:lnTo>
                  <a:lnTo>
                    <a:pt x="3012" y="4798"/>
                  </a:lnTo>
                  <a:lnTo>
                    <a:pt x="3014" y="4796"/>
                  </a:lnTo>
                  <a:lnTo>
                    <a:pt x="3012" y="4792"/>
                  </a:lnTo>
                  <a:lnTo>
                    <a:pt x="3006" y="4786"/>
                  </a:lnTo>
                  <a:lnTo>
                    <a:pt x="2988" y="4770"/>
                  </a:lnTo>
                  <a:lnTo>
                    <a:pt x="2980" y="4760"/>
                  </a:lnTo>
                  <a:lnTo>
                    <a:pt x="2972" y="4752"/>
                  </a:lnTo>
                  <a:lnTo>
                    <a:pt x="2970" y="4744"/>
                  </a:lnTo>
                  <a:lnTo>
                    <a:pt x="2970" y="4742"/>
                  </a:lnTo>
                  <a:lnTo>
                    <a:pt x="2970" y="4738"/>
                  </a:lnTo>
                  <a:lnTo>
                    <a:pt x="2974" y="4734"/>
                  </a:lnTo>
                  <a:lnTo>
                    <a:pt x="2976" y="4730"/>
                  </a:lnTo>
                  <a:lnTo>
                    <a:pt x="2974" y="4726"/>
                  </a:lnTo>
                  <a:lnTo>
                    <a:pt x="2972" y="4722"/>
                  </a:lnTo>
                  <a:lnTo>
                    <a:pt x="2966" y="4714"/>
                  </a:lnTo>
                  <a:lnTo>
                    <a:pt x="2964" y="4708"/>
                  </a:lnTo>
                  <a:lnTo>
                    <a:pt x="2962" y="4702"/>
                  </a:lnTo>
                  <a:lnTo>
                    <a:pt x="2960" y="4696"/>
                  </a:lnTo>
                  <a:lnTo>
                    <a:pt x="2958" y="4692"/>
                  </a:lnTo>
                  <a:lnTo>
                    <a:pt x="2954" y="4690"/>
                  </a:lnTo>
                  <a:lnTo>
                    <a:pt x="2950" y="4686"/>
                  </a:lnTo>
                  <a:lnTo>
                    <a:pt x="2948" y="4684"/>
                  </a:lnTo>
                  <a:lnTo>
                    <a:pt x="2950" y="4678"/>
                  </a:lnTo>
                  <a:lnTo>
                    <a:pt x="2950" y="4672"/>
                  </a:lnTo>
                  <a:lnTo>
                    <a:pt x="2952" y="4668"/>
                  </a:lnTo>
                  <a:lnTo>
                    <a:pt x="2956" y="4666"/>
                  </a:lnTo>
                  <a:lnTo>
                    <a:pt x="2958" y="4666"/>
                  </a:lnTo>
                  <a:lnTo>
                    <a:pt x="2964" y="4666"/>
                  </a:lnTo>
                  <a:lnTo>
                    <a:pt x="2966" y="4666"/>
                  </a:lnTo>
                  <a:lnTo>
                    <a:pt x="2966" y="4662"/>
                  </a:lnTo>
                  <a:lnTo>
                    <a:pt x="2964" y="4658"/>
                  </a:lnTo>
                  <a:lnTo>
                    <a:pt x="2956" y="4648"/>
                  </a:lnTo>
                  <a:lnTo>
                    <a:pt x="2954" y="4644"/>
                  </a:lnTo>
                  <a:lnTo>
                    <a:pt x="2954" y="4642"/>
                  </a:lnTo>
                  <a:lnTo>
                    <a:pt x="2954" y="4640"/>
                  </a:lnTo>
                  <a:lnTo>
                    <a:pt x="2956" y="4638"/>
                  </a:lnTo>
                  <a:lnTo>
                    <a:pt x="2958" y="4638"/>
                  </a:lnTo>
                  <a:lnTo>
                    <a:pt x="2960" y="4636"/>
                  </a:lnTo>
                  <a:lnTo>
                    <a:pt x="2958" y="4630"/>
                  </a:lnTo>
                  <a:lnTo>
                    <a:pt x="2958" y="4628"/>
                  </a:lnTo>
                  <a:lnTo>
                    <a:pt x="2966" y="4632"/>
                  </a:lnTo>
                  <a:lnTo>
                    <a:pt x="2972" y="4636"/>
                  </a:lnTo>
                  <a:lnTo>
                    <a:pt x="2976" y="4636"/>
                  </a:lnTo>
                  <a:lnTo>
                    <a:pt x="2980" y="4632"/>
                  </a:lnTo>
                  <a:lnTo>
                    <a:pt x="2986" y="4632"/>
                  </a:lnTo>
                  <a:lnTo>
                    <a:pt x="2992" y="4630"/>
                  </a:lnTo>
                  <a:lnTo>
                    <a:pt x="2998" y="4628"/>
                  </a:lnTo>
                  <a:lnTo>
                    <a:pt x="2998" y="4626"/>
                  </a:lnTo>
                  <a:lnTo>
                    <a:pt x="2998" y="4624"/>
                  </a:lnTo>
                  <a:lnTo>
                    <a:pt x="2990" y="4618"/>
                  </a:lnTo>
                  <a:lnTo>
                    <a:pt x="2982" y="4610"/>
                  </a:lnTo>
                  <a:lnTo>
                    <a:pt x="2980" y="4606"/>
                  </a:lnTo>
                  <a:lnTo>
                    <a:pt x="2982" y="4602"/>
                  </a:lnTo>
                  <a:lnTo>
                    <a:pt x="2986" y="4598"/>
                  </a:lnTo>
                  <a:lnTo>
                    <a:pt x="2988" y="4598"/>
                  </a:lnTo>
                  <a:lnTo>
                    <a:pt x="2990" y="4598"/>
                  </a:lnTo>
                  <a:lnTo>
                    <a:pt x="2994" y="4600"/>
                  </a:lnTo>
                  <a:lnTo>
                    <a:pt x="3002" y="4600"/>
                  </a:lnTo>
                  <a:lnTo>
                    <a:pt x="3014" y="4596"/>
                  </a:lnTo>
                  <a:lnTo>
                    <a:pt x="3020" y="4592"/>
                  </a:lnTo>
                  <a:lnTo>
                    <a:pt x="3024" y="4586"/>
                  </a:lnTo>
                  <a:lnTo>
                    <a:pt x="3024" y="4580"/>
                  </a:lnTo>
                  <a:lnTo>
                    <a:pt x="3022" y="4578"/>
                  </a:lnTo>
                  <a:lnTo>
                    <a:pt x="3022" y="4576"/>
                  </a:lnTo>
                  <a:lnTo>
                    <a:pt x="3018" y="4576"/>
                  </a:lnTo>
                  <a:lnTo>
                    <a:pt x="3014" y="4578"/>
                  </a:lnTo>
                  <a:lnTo>
                    <a:pt x="3012" y="4578"/>
                  </a:lnTo>
                  <a:lnTo>
                    <a:pt x="3010" y="4576"/>
                  </a:lnTo>
                  <a:lnTo>
                    <a:pt x="3006" y="4572"/>
                  </a:lnTo>
                  <a:lnTo>
                    <a:pt x="3004" y="4572"/>
                  </a:lnTo>
                  <a:lnTo>
                    <a:pt x="3000" y="4570"/>
                  </a:lnTo>
                  <a:lnTo>
                    <a:pt x="2998" y="4566"/>
                  </a:lnTo>
                  <a:lnTo>
                    <a:pt x="2994" y="4562"/>
                  </a:lnTo>
                  <a:lnTo>
                    <a:pt x="2988" y="4560"/>
                  </a:lnTo>
                  <a:lnTo>
                    <a:pt x="2984" y="4560"/>
                  </a:lnTo>
                  <a:lnTo>
                    <a:pt x="2982" y="4560"/>
                  </a:lnTo>
                  <a:lnTo>
                    <a:pt x="2976" y="4564"/>
                  </a:lnTo>
                  <a:lnTo>
                    <a:pt x="2974" y="4564"/>
                  </a:lnTo>
                  <a:lnTo>
                    <a:pt x="2972" y="4562"/>
                  </a:lnTo>
                  <a:lnTo>
                    <a:pt x="2972" y="4560"/>
                  </a:lnTo>
                  <a:lnTo>
                    <a:pt x="2974" y="4558"/>
                  </a:lnTo>
                  <a:lnTo>
                    <a:pt x="2976" y="4556"/>
                  </a:lnTo>
                  <a:lnTo>
                    <a:pt x="2976" y="4550"/>
                  </a:lnTo>
                  <a:lnTo>
                    <a:pt x="2974" y="4548"/>
                  </a:lnTo>
                  <a:lnTo>
                    <a:pt x="2972" y="4548"/>
                  </a:lnTo>
                  <a:lnTo>
                    <a:pt x="2968" y="4548"/>
                  </a:lnTo>
                  <a:lnTo>
                    <a:pt x="2964" y="4550"/>
                  </a:lnTo>
                  <a:lnTo>
                    <a:pt x="2962" y="4550"/>
                  </a:lnTo>
                  <a:lnTo>
                    <a:pt x="2960" y="4548"/>
                  </a:lnTo>
                  <a:lnTo>
                    <a:pt x="2960" y="4542"/>
                  </a:lnTo>
                  <a:lnTo>
                    <a:pt x="2960" y="4536"/>
                  </a:lnTo>
                  <a:lnTo>
                    <a:pt x="2962" y="4530"/>
                  </a:lnTo>
                  <a:lnTo>
                    <a:pt x="2958" y="4522"/>
                  </a:lnTo>
                  <a:lnTo>
                    <a:pt x="2954" y="4518"/>
                  </a:lnTo>
                  <a:lnTo>
                    <a:pt x="2952" y="4520"/>
                  </a:lnTo>
                  <a:lnTo>
                    <a:pt x="2948" y="4520"/>
                  </a:lnTo>
                  <a:lnTo>
                    <a:pt x="2946" y="4518"/>
                  </a:lnTo>
                  <a:lnTo>
                    <a:pt x="2944" y="4510"/>
                  </a:lnTo>
                  <a:lnTo>
                    <a:pt x="2942" y="4504"/>
                  </a:lnTo>
                  <a:lnTo>
                    <a:pt x="2940" y="4502"/>
                  </a:lnTo>
                  <a:lnTo>
                    <a:pt x="2938" y="4502"/>
                  </a:lnTo>
                  <a:lnTo>
                    <a:pt x="2936" y="4504"/>
                  </a:lnTo>
                  <a:lnTo>
                    <a:pt x="2934" y="4508"/>
                  </a:lnTo>
                  <a:lnTo>
                    <a:pt x="2932" y="4514"/>
                  </a:lnTo>
                  <a:lnTo>
                    <a:pt x="2928" y="4520"/>
                  </a:lnTo>
                  <a:lnTo>
                    <a:pt x="2926" y="4522"/>
                  </a:lnTo>
                  <a:lnTo>
                    <a:pt x="2924" y="4520"/>
                  </a:lnTo>
                  <a:lnTo>
                    <a:pt x="2926" y="4512"/>
                  </a:lnTo>
                  <a:lnTo>
                    <a:pt x="2928" y="4504"/>
                  </a:lnTo>
                  <a:lnTo>
                    <a:pt x="2926" y="4500"/>
                  </a:lnTo>
                  <a:lnTo>
                    <a:pt x="2924" y="4500"/>
                  </a:lnTo>
                  <a:lnTo>
                    <a:pt x="2920" y="4502"/>
                  </a:lnTo>
                  <a:lnTo>
                    <a:pt x="2918" y="4506"/>
                  </a:lnTo>
                  <a:lnTo>
                    <a:pt x="2916" y="4514"/>
                  </a:lnTo>
                  <a:lnTo>
                    <a:pt x="2910" y="4528"/>
                  </a:lnTo>
                  <a:lnTo>
                    <a:pt x="2904" y="4538"/>
                  </a:lnTo>
                  <a:lnTo>
                    <a:pt x="2900" y="4542"/>
                  </a:lnTo>
                  <a:lnTo>
                    <a:pt x="2896" y="4544"/>
                  </a:lnTo>
                  <a:lnTo>
                    <a:pt x="2896" y="4548"/>
                  </a:lnTo>
                  <a:lnTo>
                    <a:pt x="2894" y="4556"/>
                  </a:lnTo>
                  <a:lnTo>
                    <a:pt x="2892" y="4558"/>
                  </a:lnTo>
                  <a:lnTo>
                    <a:pt x="2890" y="4560"/>
                  </a:lnTo>
                  <a:lnTo>
                    <a:pt x="2890" y="4562"/>
                  </a:lnTo>
                  <a:lnTo>
                    <a:pt x="2888" y="4570"/>
                  </a:lnTo>
                  <a:lnTo>
                    <a:pt x="2884" y="4572"/>
                  </a:lnTo>
                  <a:lnTo>
                    <a:pt x="2882" y="4574"/>
                  </a:lnTo>
                  <a:lnTo>
                    <a:pt x="2880" y="4572"/>
                  </a:lnTo>
                  <a:lnTo>
                    <a:pt x="2876" y="4570"/>
                  </a:lnTo>
                  <a:lnTo>
                    <a:pt x="2874" y="4572"/>
                  </a:lnTo>
                  <a:lnTo>
                    <a:pt x="2868" y="4580"/>
                  </a:lnTo>
                  <a:lnTo>
                    <a:pt x="2868" y="4582"/>
                  </a:lnTo>
                  <a:lnTo>
                    <a:pt x="2868" y="4584"/>
                  </a:lnTo>
                  <a:lnTo>
                    <a:pt x="2872" y="4586"/>
                  </a:lnTo>
                  <a:lnTo>
                    <a:pt x="2876" y="4592"/>
                  </a:lnTo>
                  <a:lnTo>
                    <a:pt x="2874" y="4594"/>
                  </a:lnTo>
                  <a:lnTo>
                    <a:pt x="2872" y="4598"/>
                  </a:lnTo>
                  <a:lnTo>
                    <a:pt x="2868" y="4602"/>
                  </a:lnTo>
                  <a:lnTo>
                    <a:pt x="2864" y="4600"/>
                  </a:lnTo>
                  <a:lnTo>
                    <a:pt x="2862" y="4600"/>
                  </a:lnTo>
                  <a:lnTo>
                    <a:pt x="2858" y="4604"/>
                  </a:lnTo>
                  <a:lnTo>
                    <a:pt x="2854" y="4608"/>
                  </a:lnTo>
                  <a:lnTo>
                    <a:pt x="2854" y="4604"/>
                  </a:lnTo>
                  <a:lnTo>
                    <a:pt x="2856" y="4598"/>
                  </a:lnTo>
                  <a:lnTo>
                    <a:pt x="2856" y="4596"/>
                  </a:lnTo>
                  <a:lnTo>
                    <a:pt x="2854" y="4596"/>
                  </a:lnTo>
                  <a:lnTo>
                    <a:pt x="2850" y="4598"/>
                  </a:lnTo>
                  <a:lnTo>
                    <a:pt x="2844" y="4602"/>
                  </a:lnTo>
                  <a:lnTo>
                    <a:pt x="2836" y="4610"/>
                  </a:lnTo>
                  <a:lnTo>
                    <a:pt x="2828" y="4616"/>
                  </a:lnTo>
                  <a:lnTo>
                    <a:pt x="2822" y="4618"/>
                  </a:lnTo>
                  <a:lnTo>
                    <a:pt x="2816" y="4618"/>
                  </a:lnTo>
                  <a:lnTo>
                    <a:pt x="2814" y="4618"/>
                  </a:lnTo>
                  <a:lnTo>
                    <a:pt x="2812" y="4618"/>
                  </a:lnTo>
                  <a:lnTo>
                    <a:pt x="2812" y="4630"/>
                  </a:lnTo>
                  <a:lnTo>
                    <a:pt x="2810" y="4634"/>
                  </a:lnTo>
                  <a:lnTo>
                    <a:pt x="2806" y="4640"/>
                  </a:lnTo>
                  <a:lnTo>
                    <a:pt x="2798" y="4652"/>
                  </a:lnTo>
                  <a:lnTo>
                    <a:pt x="2786" y="4666"/>
                  </a:lnTo>
                  <a:lnTo>
                    <a:pt x="2780" y="4674"/>
                  </a:lnTo>
                  <a:lnTo>
                    <a:pt x="2778" y="4684"/>
                  </a:lnTo>
                  <a:lnTo>
                    <a:pt x="2774" y="4688"/>
                  </a:lnTo>
                  <a:lnTo>
                    <a:pt x="2766" y="4692"/>
                  </a:lnTo>
                  <a:lnTo>
                    <a:pt x="2746" y="4696"/>
                  </a:lnTo>
                  <a:lnTo>
                    <a:pt x="2724" y="4700"/>
                  </a:lnTo>
                  <a:lnTo>
                    <a:pt x="2716" y="4704"/>
                  </a:lnTo>
                  <a:lnTo>
                    <a:pt x="2712" y="4706"/>
                  </a:lnTo>
                  <a:lnTo>
                    <a:pt x="2710" y="4710"/>
                  </a:lnTo>
                  <a:lnTo>
                    <a:pt x="2708" y="4716"/>
                  </a:lnTo>
                  <a:lnTo>
                    <a:pt x="2710" y="4724"/>
                  </a:lnTo>
                  <a:lnTo>
                    <a:pt x="2708" y="4728"/>
                  </a:lnTo>
                  <a:lnTo>
                    <a:pt x="2704" y="4726"/>
                  </a:lnTo>
                  <a:lnTo>
                    <a:pt x="2702" y="4724"/>
                  </a:lnTo>
                  <a:lnTo>
                    <a:pt x="2700" y="4724"/>
                  </a:lnTo>
                  <a:lnTo>
                    <a:pt x="2698" y="4728"/>
                  </a:lnTo>
                  <a:lnTo>
                    <a:pt x="2698" y="4734"/>
                  </a:lnTo>
                  <a:lnTo>
                    <a:pt x="2700" y="4738"/>
                  </a:lnTo>
                  <a:lnTo>
                    <a:pt x="2702" y="4738"/>
                  </a:lnTo>
                  <a:lnTo>
                    <a:pt x="2702" y="4740"/>
                  </a:lnTo>
                  <a:lnTo>
                    <a:pt x="2700" y="4742"/>
                  </a:lnTo>
                  <a:lnTo>
                    <a:pt x="2698" y="4750"/>
                  </a:lnTo>
                  <a:lnTo>
                    <a:pt x="2696" y="4756"/>
                  </a:lnTo>
                  <a:lnTo>
                    <a:pt x="2692" y="4760"/>
                  </a:lnTo>
                  <a:lnTo>
                    <a:pt x="2692" y="4764"/>
                  </a:lnTo>
                  <a:lnTo>
                    <a:pt x="2696" y="4768"/>
                  </a:lnTo>
                  <a:lnTo>
                    <a:pt x="2698" y="4772"/>
                  </a:lnTo>
                  <a:lnTo>
                    <a:pt x="2698" y="4774"/>
                  </a:lnTo>
                  <a:lnTo>
                    <a:pt x="2690" y="4768"/>
                  </a:lnTo>
                  <a:lnTo>
                    <a:pt x="2684" y="4766"/>
                  </a:lnTo>
                  <a:lnTo>
                    <a:pt x="2678" y="4766"/>
                  </a:lnTo>
                  <a:lnTo>
                    <a:pt x="2672" y="4764"/>
                  </a:lnTo>
                  <a:lnTo>
                    <a:pt x="2672" y="4762"/>
                  </a:lnTo>
                  <a:lnTo>
                    <a:pt x="2672" y="4760"/>
                  </a:lnTo>
                  <a:lnTo>
                    <a:pt x="2674" y="4756"/>
                  </a:lnTo>
                  <a:lnTo>
                    <a:pt x="2672" y="4756"/>
                  </a:lnTo>
                  <a:lnTo>
                    <a:pt x="2670" y="4756"/>
                  </a:lnTo>
                  <a:lnTo>
                    <a:pt x="2666" y="4754"/>
                  </a:lnTo>
                  <a:lnTo>
                    <a:pt x="2664" y="4752"/>
                  </a:lnTo>
                  <a:lnTo>
                    <a:pt x="2664" y="4754"/>
                  </a:lnTo>
                  <a:lnTo>
                    <a:pt x="2662" y="4756"/>
                  </a:lnTo>
                  <a:lnTo>
                    <a:pt x="2656" y="4758"/>
                  </a:lnTo>
                  <a:lnTo>
                    <a:pt x="2650" y="4758"/>
                  </a:lnTo>
                  <a:lnTo>
                    <a:pt x="2644" y="4756"/>
                  </a:lnTo>
                  <a:lnTo>
                    <a:pt x="2640" y="4750"/>
                  </a:lnTo>
                  <a:lnTo>
                    <a:pt x="2638" y="4742"/>
                  </a:lnTo>
                  <a:lnTo>
                    <a:pt x="2632" y="4744"/>
                  </a:lnTo>
                  <a:lnTo>
                    <a:pt x="2628" y="4746"/>
                  </a:lnTo>
                  <a:lnTo>
                    <a:pt x="2622" y="4750"/>
                  </a:lnTo>
                  <a:lnTo>
                    <a:pt x="2620" y="4758"/>
                  </a:lnTo>
                  <a:lnTo>
                    <a:pt x="2618" y="4764"/>
                  </a:lnTo>
                  <a:lnTo>
                    <a:pt x="2614" y="4772"/>
                  </a:lnTo>
                  <a:lnTo>
                    <a:pt x="2610" y="4780"/>
                  </a:lnTo>
                  <a:lnTo>
                    <a:pt x="2606" y="4802"/>
                  </a:lnTo>
                  <a:lnTo>
                    <a:pt x="2606" y="4812"/>
                  </a:lnTo>
                  <a:lnTo>
                    <a:pt x="2608" y="4820"/>
                  </a:lnTo>
                  <a:lnTo>
                    <a:pt x="2610" y="4826"/>
                  </a:lnTo>
                  <a:lnTo>
                    <a:pt x="2616" y="4830"/>
                  </a:lnTo>
                  <a:lnTo>
                    <a:pt x="2620" y="4834"/>
                  </a:lnTo>
                  <a:lnTo>
                    <a:pt x="2620" y="4836"/>
                  </a:lnTo>
                  <a:lnTo>
                    <a:pt x="2616" y="4844"/>
                  </a:lnTo>
                  <a:lnTo>
                    <a:pt x="2614" y="4848"/>
                  </a:lnTo>
                  <a:lnTo>
                    <a:pt x="2614" y="4854"/>
                  </a:lnTo>
                  <a:lnTo>
                    <a:pt x="2614" y="4858"/>
                  </a:lnTo>
                  <a:lnTo>
                    <a:pt x="2618" y="4864"/>
                  </a:lnTo>
                  <a:lnTo>
                    <a:pt x="2622" y="4870"/>
                  </a:lnTo>
                  <a:lnTo>
                    <a:pt x="2624" y="4874"/>
                  </a:lnTo>
                  <a:lnTo>
                    <a:pt x="2624" y="4876"/>
                  </a:lnTo>
                  <a:lnTo>
                    <a:pt x="2622" y="4878"/>
                  </a:lnTo>
                  <a:lnTo>
                    <a:pt x="2620" y="4880"/>
                  </a:lnTo>
                  <a:lnTo>
                    <a:pt x="2626" y="4882"/>
                  </a:lnTo>
                  <a:lnTo>
                    <a:pt x="2630" y="4886"/>
                  </a:lnTo>
                  <a:lnTo>
                    <a:pt x="2632" y="4888"/>
                  </a:lnTo>
                  <a:lnTo>
                    <a:pt x="2632" y="4890"/>
                  </a:lnTo>
                  <a:lnTo>
                    <a:pt x="2630" y="4892"/>
                  </a:lnTo>
                  <a:lnTo>
                    <a:pt x="2628" y="4898"/>
                  </a:lnTo>
                  <a:lnTo>
                    <a:pt x="2626" y="4900"/>
                  </a:lnTo>
                  <a:lnTo>
                    <a:pt x="2628" y="4902"/>
                  </a:lnTo>
                  <a:lnTo>
                    <a:pt x="2632" y="4904"/>
                  </a:lnTo>
                  <a:lnTo>
                    <a:pt x="2634" y="4904"/>
                  </a:lnTo>
                  <a:lnTo>
                    <a:pt x="2640" y="4900"/>
                  </a:lnTo>
                  <a:lnTo>
                    <a:pt x="2646" y="4898"/>
                  </a:lnTo>
                  <a:lnTo>
                    <a:pt x="2650" y="4898"/>
                  </a:lnTo>
                  <a:lnTo>
                    <a:pt x="2652" y="4902"/>
                  </a:lnTo>
                  <a:lnTo>
                    <a:pt x="2652" y="4908"/>
                  </a:lnTo>
                  <a:lnTo>
                    <a:pt x="2652" y="4910"/>
                  </a:lnTo>
                  <a:lnTo>
                    <a:pt x="2650" y="4918"/>
                  </a:lnTo>
                  <a:lnTo>
                    <a:pt x="2648" y="4926"/>
                  </a:lnTo>
                  <a:lnTo>
                    <a:pt x="2648" y="4934"/>
                  </a:lnTo>
                  <a:lnTo>
                    <a:pt x="2652" y="4942"/>
                  </a:lnTo>
                  <a:lnTo>
                    <a:pt x="2658" y="4960"/>
                  </a:lnTo>
                  <a:lnTo>
                    <a:pt x="2660" y="4972"/>
                  </a:lnTo>
                  <a:lnTo>
                    <a:pt x="2660" y="4980"/>
                  </a:lnTo>
                  <a:lnTo>
                    <a:pt x="2660" y="4984"/>
                  </a:lnTo>
                  <a:lnTo>
                    <a:pt x="2660" y="4986"/>
                  </a:lnTo>
                  <a:lnTo>
                    <a:pt x="2666" y="4986"/>
                  </a:lnTo>
                  <a:lnTo>
                    <a:pt x="2678" y="4988"/>
                  </a:lnTo>
                  <a:lnTo>
                    <a:pt x="2684" y="4992"/>
                  </a:lnTo>
                  <a:lnTo>
                    <a:pt x="2692" y="4992"/>
                  </a:lnTo>
                  <a:lnTo>
                    <a:pt x="2698" y="4986"/>
                  </a:lnTo>
                  <a:lnTo>
                    <a:pt x="2702" y="4982"/>
                  </a:lnTo>
                  <a:lnTo>
                    <a:pt x="2706" y="4982"/>
                  </a:lnTo>
                  <a:lnTo>
                    <a:pt x="2712" y="4982"/>
                  </a:lnTo>
                  <a:lnTo>
                    <a:pt x="2716" y="4984"/>
                  </a:lnTo>
                  <a:lnTo>
                    <a:pt x="2720" y="4986"/>
                  </a:lnTo>
                  <a:lnTo>
                    <a:pt x="2722" y="4992"/>
                  </a:lnTo>
                  <a:lnTo>
                    <a:pt x="2724" y="4996"/>
                  </a:lnTo>
                  <a:lnTo>
                    <a:pt x="2724" y="5002"/>
                  </a:lnTo>
                  <a:lnTo>
                    <a:pt x="2724" y="5010"/>
                  </a:lnTo>
                  <a:lnTo>
                    <a:pt x="2726" y="5012"/>
                  </a:lnTo>
                  <a:lnTo>
                    <a:pt x="2728" y="5012"/>
                  </a:lnTo>
                  <a:lnTo>
                    <a:pt x="2734" y="5010"/>
                  </a:lnTo>
                  <a:lnTo>
                    <a:pt x="2740" y="5004"/>
                  </a:lnTo>
                  <a:lnTo>
                    <a:pt x="2742" y="5002"/>
                  </a:lnTo>
                  <a:lnTo>
                    <a:pt x="2746" y="5002"/>
                  </a:lnTo>
                  <a:lnTo>
                    <a:pt x="2754" y="5004"/>
                  </a:lnTo>
                  <a:lnTo>
                    <a:pt x="2756" y="5004"/>
                  </a:lnTo>
                  <a:lnTo>
                    <a:pt x="2760" y="5004"/>
                  </a:lnTo>
                  <a:lnTo>
                    <a:pt x="2764" y="5002"/>
                  </a:lnTo>
                  <a:lnTo>
                    <a:pt x="2768" y="4998"/>
                  </a:lnTo>
                  <a:lnTo>
                    <a:pt x="2770" y="4992"/>
                  </a:lnTo>
                  <a:lnTo>
                    <a:pt x="2774" y="4990"/>
                  </a:lnTo>
                  <a:lnTo>
                    <a:pt x="2776" y="4990"/>
                  </a:lnTo>
                  <a:lnTo>
                    <a:pt x="2778" y="4992"/>
                  </a:lnTo>
                  <a:lnTo>
                    <a:pt x="2784" y="4996"/>
                  </a:lnTo>
                  <a:lnTo>
                    <a:pt x="2788" y="4998"/>
                  </a:lnTo>
                  <a:lnTo>
                    <a:pt x="2792" y="4998"/>
                  </a:lnTo>
                  <a:lnTo>
                    <a:pt x="2794" y="4998"/>
                  </a:lnTo>
                  <a:lnTo>
                    <a:pt x="2796" y="5000"/>
                  </a:lnTo>
                  <a:lnTo>
                    <a:pt x="2796" y="5004"/>
                  </a:lnTo>
                  <a:lnTo>
                    <a:pt x="2796" y="5006"/>
                  </a:lnTo>
                  <a:lnTo>
                    <a:pt x="2798" y="5008"/>
                  </a:lnTo>
                  <a:lnTo>
                    <a:pt x="2800" y="5008"/>
                  </a:lnTo>
                  <a:lnTo>
                    <a:pt x="2806" y="5006"/>
                  </a:lnTo>
                  <a:lnTo>
                    <a:pt x="2814" y="5004"/>
                  </a:lnTo>
                  <a:lnTo>
                    <a:pt x="2820" y="5004"/>
                  </a:lnTo>
                  <a:lnTo>
                    <a:pt x="2826" y="5008"/>
                  </a:lnTo>
                  <a:lnTo>
                    <a:pt x="2830" y="5012"/>
                  </a:lnTo>
                  <a:lnTo>
                    <a:pt x="2834" y="5016"/>
                  </a:lnTo>
                  <a:lnTo>
                    <a:pt x="2836" y="5022"/>
                  </a:lnTo>
                  <a:lnTo>
                    <a:pt x="2836" y="5030"/>
                  </a:lnTo>
                  <a:lnTo>
                    <a:pt x="2836" y="5036"/>
                  </a:lnTo>
                  <a:lnTo>
                    <a:pt x="2836" y="5040"/>
                  </a:lnTo>
                  <a:lnTo>
                    <a:pt x="2840" y="5042"/>
                  </a:lnTo>
                  <a:lnTo>
                    <a:pt x="2846" y="5040"/>
                  </a:lnTo>
                  <a:lnTo>
                    <a:pt x="2852" y="5036"/>
                  </a:lnTo>
                  <a:lnTo>
                    <a:pt x="2868" y="5026"/>
                  </a:lnTo>
                  <a:lnTo>
                    <a:pt x="2876" y="5024"/>
                  </a:lnTo>
                  <a:lnTo>
                    <a:pt x="2882" y="5022"/>
                  </a:lnTo>
                  <a:lnTo>
                    <a:pt x="2886" y="5020"/>
                  </a:lnTo>
                  <a:lnTo>
                    <a:pt x="2890" y="5018"/>
                  </a:lnTo>
                  <a:lnTo>
                    <a:pt x="2894" y="5008"/>
                  </a:lnTo>
                  <a:lnTo>
                    <a:pt x="2896" y="4996"/>
                  </a:lnTo>
                  <a:lnTo>
                    <a:pt x="2898" y="4986"/>
                  </a:lnTo>
                  <a:lnTo>
                    <a:pt x="2898" y="4982"/>
                  </a:lnTo>
                  <a:lnTo>
                    <a:pt x="2902" y="4980"/>
                  </a:lnTo>
                  <a:lnTo>
                    <a:pt x="2904" y="4978"/>
                  </a:lnTo>
                  <a:lnTo>
                    <a:pt x="2906" y="4970"/>
                  </a:lnTo>
                  <a:close/>
                  <a:moveTo>
                    <a:pt x="2606" y="3938"/>
                  </a:moveTo>
                  <a:lnTo>
                    <a:pt x="2606" y="3938"/>
                  </a:lnTo>
                  <a:lnTo>
                    <a:pt x="2616" y="3942"/>
                  </a:lnTo>
                  <a:lnTo>
                    <a:pt x="2622" y="3944"/>
                  </a:lnTo>
                  <a:lnTo>
                    <a:pt x="2624" y="3944"/>
                  </a:lnTo>
                  <a:lnTo>
                    <a:pt x="2626" y="3944"/>
                  </a:lnTo>
                  <a:lnTo>
                    <a:pt x="2630" y="3948"/>
                  </a:lnTo>
                  <a:lnTo>
                    <a:pt x="2634" y="3950"/>
                  </a:lnTo>
                  <a:lnTo>
                    <a:pt x="2638" y="3948"/>
                  </a:lnTo>
                  <a:lnTo>
                    <a:pt x="2640" y="3942"/>
                  </a:lnTo>
                  <a:lnTo>
                    <a:pt x="2640" y="3940"/>
                  </a:lnTo>
                  <a:lnTo>
                    <a:pt x="2642" y="3940"/>
                  </a:lnTo>
                  <a:lnTo>
                    <a:pt x="2646" y="3940"/>
                  </a:lnTo>
                  <a:lnTo>
                    <a:pt x="2652" y="3938"/>
                  </a:lnTo>
                  <a:lnTo>
                    <a:pt x="2654" y="3938"/>
                  </a:lnTo>
                  <a:lnTo>
                    <a:pt x="2654" y="3934"/>
                  </a:lnTo>
                  <a:lnTo>
                    <a:pt x="2656" y="3930"/>
                  </a:lnTo>
                  <a:lnTo>
                    <a:pt x="2658" y="3928"/>
                  </a:lnTo>
                  <a:lnTo>
                    <a:pt x="2664" y="3926"/>
                  </a:lnTo>
                  <a:lnTo>
                    <a:pt x="2666" y="3924"/>
                  </a:lnTo>
                  <a:lnTo>
                    <a:pt x="2670" y="3922"/>
                  </a:lnTo>
                  <a:lnTo>
                    <a:pt x="2670" y="3918"/>
                  </a:lnTo>
                  <a:lnTo>
                    <a:pt x="2672" y="3912"/>
                  </a:lnTo>
                  <a:lnTo>
                    <a:pt x="2674" y="3902"/>
                  </a:lnTo>
                  <a:lnTo>
                    <a:pt x="2678" y="3892"/>
                  </a:lnTo>
                  <a:lnTo>
                    <a:pt x="2684" y="3884"/>
                  </a:lnTo>
                  <a:lnTo>
                    <a:pt x="2690" y="3878"/>
                  </a:lnTo>
                  <a:lnTo>
                    <a:pt x="2692" y="3874"/>
                  </a:lnTo>
                  <a:lnTo>
                    <a:pt x="2692" y="3868"/>
                  </a:lnTo>
                  <a:lnTo>
                    <a:pt x="2690" y="3862"/>
                  </a:lnTo>
                  <a:lnTo>
                    <a:pt x="2686" y="3858"/>
                  </a:lnTo>
                  <a:lnTo>
                    <a:pt x="2682" y="3856"/>
                  </a:lnTo>
                  <a:lnTo>
                    <a:pt x="2680" y="3854"/>
                  </a:lnTo>
                  <a:lnTo>
                    <a:pt x="2676" y="3852"/>
                  </a:lnTo>
                  <a:lnTo>
                    <a:pt x="2674" y="3854"/>
                  </a:lnTo>
                  <a:lnTo>
                    <a:pt x="2670" y="3856"/>
                  </a:lnTo>
                  <a:lnTo>
                    <a:pt x="2666" y="3856"/>
                  </a:lnTo>
                  <a:lnTo>
                    <a:pt x="2660" y="3856"/>
                  </a:lnTo>
                  <a:lnTo>
                    <a:pt x="2654" y="3858"/>
                  </a:lnTo>
                  <a:lnTo>
                    <a:pt x="2652" y="3860"/>
                  </a:lnTo>
                  <a:lnTo>
                    <a:pt x="2648" y="3860"/>
                  </a:lnTo>
                  <a:lnTo>
                    <a:pt x="2642" y="3858"/>
                  </a:lnTo>
                  <a:lnTo>
                    <a:pt x="2636" y="3858"/>
                  </a:lnTo>
                  <a:lnTo>
                    <a:pt x="2634" y="3858"/>
                  </a:lnTo>
                  <a:lnTo>
                    <a:pt x="2632" y="3862"/>
                  </a:lnTo>
                  <a:lnTo>
                    <a:pt x="2630" y="3864"/>
                  </a:lnTo>
                  <a:lnTo>
                    <a:pt x="2626" y="3864"/>
                  </a:lnTo>
                  <a:lnTo>
                    <a:pt x="2622" y="3862"/>
                  </a:lnTo>
                  <a:lnTo>
                    <a:pt x="2620" y="3864"/>
                  </a:lnTo>
                  <a:lnTo>
                    <a:pt x="2618" y="3866"/>
                  </a:lnTo>
                  <a:lnTo>
                    <a:pt x="2616" y="3870"/>
                  </a:lnTo>
                  <a:lnTo>
                    <a:pt x="2616" y="3872"/>
                  </a:lnTo>
                  <a:lnTo>
                    <a:pt x="2614" y="3874"/>
                  </a:lnTo>
                  <a:lnTo>
                    <a:pt x="2608" y="3882"/>
                  </a:lnTo>
                  <a:lnTo>
                    <a:pt x="2604" y="3886"/>
                  </a:lnTo>
                  <a:lnTo>
                    <a:pt x="2598" y="3890"/>
                  </a:lnTo>
                  <a:lnTo>
                    <a:pt x="2596" y="3896"/>
                  </a:lnTo>
                  <a:lnTo>
                    <a:pt x="2596" y="3908"/>
                  </a:lnTo>
                  <a:lnTo>
                    <a:pt x="2596" y="3920"/>
                  </a:lnTo>
                  <a:lnTo>
                    <a:pt x="2596" y="3926"/>
                  </a:lnTo>
                  <a:lnTo>
                    <a:pt x="2600" y="3932"/>
                  </a:lnTo>
                  <a:lnTo>
                    <a:pt x="2606" y="3938"/>
                  </a:lnTo>
                  <a:close/>
                  <a:moveTo>
                    <a:pt x="3234" y="3626"/>
                  </a:moveTo>
                  <a:lnTo>
                    <a:pt x="3234" y="3626"/>
                  </a:lnTo>
                  <a:lnTo>
                    <a:pt x="3234" y="3624"/>
                  </a:lnTo>
                  <a:lnTo>
                    <a:pt x="3232" y="3624"/>
                  </a:lnTo>
                  <a:lnTo>
                    <a:pt x="3226" y="3626"/>
                  </a:lnTo>
                  <a:lnTo>
                    <a:pt x="3222" y="3632"/>
                  </a:lnTo>
                  <a:lnTo>
                    <a:pt x="3222" y="3634"/>
                  </a:lnTo>
                  <a:lnTo>
                    <a:pt x="3224" y="3636"/>
                  </a:lnTo>
                  <a:lnTo>
                    <a:pt x="3226" y="3636"/>
                  </a:lnTo>
                  <a:lnTo>
                    <a:pt x="3230" y="3634"/>
                  </a:lnTo>
                  <a:lnTo>
                    <a:pt x="3234" y="3626"/>
                  </a:lnTo>
                  <a:close/>
                  <a:moveTo>
                    <a:pt x="3140" y="4236"/>
                  </a:moveTo>
                  <a:lnTo>
                    <a:pt x="3140" y="4236"/>
                  </a:lnTo>
                  <a:lnTo>
                    <a:pt x="3142" y="4224"/>
                  </a:lnTo>
                  <a:lnTo>
                    <a:pt x="3142" y="4222"/>
                  </a:lnTo>
                  <a:lnTo>
                    <a:pt x="3138" y="4224"/>
                  </a:lnTo>
                  <a:lnTo>
                    <a:pt x="3136" y="4226"/>
                  </a:lnTo>
                  <a:lnTo>
                    <a:pt x="3136" y="4230"/>
                  </a:lnTo>
                  <a:lnTo>
                    <a:pt x="3134" y="4236"/>
                  </a:lnTo>
                  <a:lnTo>
                    <a:pt x="3134" y="4240"/>
                  </a:lnTo>
                  <a:lnTo>
                    <a:pt x="3136" y="4242"/>
                  </a:lnTo>
                  <a:lnTo>
                    <a:pt x="3138" y="4242"/>
                  </a:lnTo>
                  <a:lnTo>
                    <a:pt x="3140" y="4236"/>
                  </a:lnTo>
                  <a:close/>
                  <a:moveTo>
                    <a:pt x="3216" y="3638"/>
                  </a:moveTo>
                  <a:lnTo>
                    <a:pt x="3216" y="3638"/>
                  </a:lnTo>
                  <a:lnTo>
                    <a:pt x="3216" y="3634"/>
                  </a:lnTo>
                  <a:lnTo>
                    <a:pt x="3212" y="3632"/>
                  </a:lnTo>
                  <a:lnTo>
                    <a:pt x="3208" y="3632"/>
                  </a:lnTo>
                  <a:lnTo>
                    <a:pt x="3206" y="3636"/>
                  </a:lnTo>
                  <a:lnTo>
                    <a:pt x="3208" y="3638"/>
                  </a:lnTo>
                  <a:lnTo>
                    <a:pt x="3210" y="3640"/>
                  </a:lnTo>
                  <a:lnTo>
                    <a:pt x="3214" y="3640"/>
                  </a:lnTo>
                  <a:lnTo>
                    <a:pt x="3216" y="3638"/>
                  </a:lnTo>
                  <a:close/>
                  <a:moveTo>
                    <a:pt x="3130" y="4102"/>
                  </a:moveTo>
                  <a:lnTo>
                    <a:pt x="3130" y="4102"/>
                  </a:lnTo>
                  <a:lnTo>
                    <a:pt x="3128" y="4106"/>
                  </a:lnTo>
                  <a:lnTo>
                    <a:pt x="3128" y="4108"/>
                  </a:lnTo>
                  <a:lnTo>
                    <a:pt x="3132" y="4120"/>
                  </a:lnTo>
                  <a:lnTo>
                    <a:pt x="3134" y="4124"/>
                  </a:lnTo>
                  <a:lnTo>
                    <a:pt x="3136" y="4124"/>
                  </a:lnTo>
                  <a:lnTo>
                    <a:pt x="3136" y="4120"/>
                  </a:lnTo>
                  <a:lnTo>
                    <a:pt x="3136" y="4116"/>
                  </a:lnTo>
                  <a:lnTo>
                    <a:pt x="3134" y="4104"/>
                  </a:lnTo>
                  <a:lnTo>
                    <a:pt x="3132" y="4102"/>
                  </a:lnTo>
                  <a:lnTo>
                    <a:pt x="3130" y="4102"/>
                  </a:lnTo>
                  <a:close/>
                  <a:moveTo>
                    <a:pt x="3462" y="5402"/>
                  </a:moveTo>
                  <a:lnTo>
                    <a:pt x="3462" y="5402"/>
                  </a:lnTo>
                  <a:lnTo>
                    <a:pt x="3462" y="5410"/>
                  </a:lnTo>
                  <a:lnTo>
                    <a:pt x="3462" y="5414"/>
                  </a:lnTo>
                  <a:lnTo>
                    <a:pt x="3466" y="5416"/>
                  </a:lnTo>
                  <a:lnTo>
                    <a:pt x="3472" y="5418"/>
                  </a:lnTo>
                  <a:lnTo>
                    <a:pt x="3476" y="5418"/>
                  </a:lnTo>
                  <a:lnTo>
                    <a:pt x="3478" y="5416"/>
                  </a:lnTo>
                  <a:lnTo>
                    <a:pt x="3478" y="5412"/>
                  </a:lnTo>
                  <a:lnTo>
                    <a:pt x="3474" y="5404"/>
                  </a:lnTo>
                  <a:lnTo>
                    <a:pt x="3468" y="5398"/>
                  </a:lnTo>
                  <a:lnTo>
                    <a:pt x="3464" y="5394"/>
                  </a:lnTo>
                  <a:lnTo>
                    <a:pt x="3462" y="5396"/>
                  </a:lnTo>
                  <a:lnTo>
                    <a:pt x="3462" y="5402"/>
                  </a:lnTo>
                  <a:close/>
                  <a:moveTo>
                    <a:pt x="4244" y="2492"/>
                  </a:moveTo>
                  <a:lnTo>
                    <a:pt x="4244" y="2492"/>
                  </a:lnTo>
                  <a:lnTo>
                    <a:pt x="4244" y="2496"/>
                  </a:lnTo>
                  <a:lnTo>
                    <a:pt x="4248" y="2496"/>
                  </a:lnTo>
                  <a:lnTo>
                    <a:pt x="4256" y="2492"/>
                  </a:lnTo>
                  <a:lnTo>
                    <a:pt x="4264" y="2486"/>
                  </a:lnTo>
                  <a:lnTo>
                    <a:pt x="4280" y="2470"/>
                  </a:lnTo>
                  <a:lnTo>
                    <a:pt x="4284" y="2464"/>
                  </a:lnTo>
                  <a:lnTo>
                    <a:pt x="4284" y="2460"/>
                  </a:lnTo>
                  <a:lnTo>
                    <a:pt x="4282" y="2460"/>
                  </a:lnTo>
                  <a:lnTo>
                    <a:pt x="4276" y="2460"/>
                  </a:lnTo>
                  <a:lnTo>
                    <a:pt x="4266" y="2466"/>
                  </a:lnTo>
                  <a:lnTo>
                    <a:pt x="4254" y="2476"/>
                  </a:lnTo>
                  <a:lnTo>
                    <a:pt x="4248" y="2484"/>
                  </a:lnTo>
                  <a:lnTo>
                    <a:pt x="4244" y="2492"/>
                  </a:lnTo>
                  <a:close/>
                  <a:moveTo>
                    <a:pt x="4364" y="2396"/>
                  </a:moveTo>
                  <a:lnTo>
                    <a:pt x="4364" y="2396"/>
                  </a:lnTo>
                  <a:lnTo>
                    <a:pt x="4368" y="2398"/>
                  </a:lnTo>
                  <a:lnTo>
                    <a:pt x="4370" y="2396"/>
                  </a:lnTo>
                  <a:lnTo>
                    <a:pt x="4370" y="2394"/>
                  </a:lnTo>
                  <a:lnTo>
                    <a:pt x="4368" y="2392"/>
                  </a:lnTo>
                  <a:lnTo>
                    <a:pt x="4366" y="2390"/>
                  </a:lnTo>
                  <a:lnTo>
                    <a:pt x="4364" y="2392"/>
                  </a:lnTo>
                  <a:lnTo>
                    <a:pt x="4364" y="2394"/>
                  </a:lnTo>
                  <a:lnTo>
                    <a:pt x="4364" y="2396"/>
                  </a:lnTo>
                  <a:close/>
                  <a:moveTo>
                    <a:pt x="4388" y="2374"/>
                  </a:moveTo>
                  <a:lnTo>
                    <a:pt x="4388" y="2374"/>
                  </a:lnTo>
                  <a:lnTo>
                    <a:pt x="4392" y="2376"/>
                  </a:lnTo>
                  <a:lnTo>
                    <a:pt x="4392" y="2374"/>
                  </a:lnTo>
                  <a:lnTo>
                    <a:pt x="4394" y="2370"/>
                  </a:lnTo>
                  <a:lnTo>
                    <a:pt x="4392" y="2368"/>
                  </a:lnTo>
                  <a:lnTo>
                    <a:pt x="4390" y="2366"/>
                  </a:lnTo>
                  <a:lnTo>
                    <a:pt x="4388" y="2368"/>
                  </a:lnTo>
                  <a:lnTo>
                    <a:pt x="4388" y="2372"/>
                  </a:lnTo>
                  <a:lnTo>
                    <a:pt x="4388" y="2374"/>
                  </a:lnTo>
                  <a:close/>
                  <a:moveTo>
                    <a:pt x="264" y="3518"/>
                  </a:moveTo>
                  <a:lnTo>
                    <a:pt x="264" y="3518"/>
                  </a:lnTo>
                  <a:lnTo>
                    <a:pt x="266" y="3518"/>
                  </a:lnTo>
                  <a:lnTo>
                    <a:pt x="264" y="3518"/>
                  </a:lnTo>
                  <a:close/>
                  <a:moveTo>
                    <a:pt x="5798" y="1166"/>
                  </a:moveTo>
                  <a:lnTo>
                    <a:pt x="5798" y="1166"/>
                  </a:lnTo>
                  <a:lnTo>
                    <a:pt x="5790" y="1156"/>
                  </a:lnTo>
                  <a:lnTo>
                    <a:pt x="5782" y="1148"/>
                  </a:lnTo>
                  <a:lnTo>
                    <a:pt x="5772" y="1144"/>
                  </a:lnTo>
                  <a:lnTo>
                    <a:pt x="5760" y="1140"/>
                  </a:lnTo>
                  <a:lnTo>
                    <a:pt x="5732" y="1138"/>
                  </a:lnTo>
                  <a:lnTo>
                    <a:pt x="5698" y="1136"/>
                  </a:lnTo>
                  <a:lnTo>
                    <a:pt x="5692" y="1138"/>
                  </a:lnTo>
                  <a:lnTo>
                    <a:pt x="5688" y="1140"/>
                  </a:lnTo>
                  <a:lnTo>
                    <a:pt x="5686" y="1144"/>
                  </a:lnTo>
                  <a:lnTo>
                    <a:pt x="5686" y="1148"/>
                  </a:lnTo>
                  <a:lnTo>
                    <a:pt x="5690" y="1160"/>
                  </a:lnTo>
                  <a:lnTo>
                    <a:pt x="5696" y="1172"/>
                  </a:lnTo>
                  <a:lnTo>
                    <a:pt x="5702" y="1184"/>
                  </a:lnTo>
                  <a:lnTo>
                    <a:pt x="5704" y="1190"/>
                  </a:lnTo>
                  <a:lnTo>
                    <a:pt x="5704" y="1192"/>
                  </a:lnTo>
                  <a:lnTo>
                    <a:pt x="5700" y="1192"/>
                  </a:lnTo>
                  <a:lnTo>
                    <a:pt x="5684" y="1186"/>
                  </a:lnTo>
                  <a:lnTo>
                    <a:pt x="5676" y="1180"/>
                  </a:lnTo>
                  <a:lnTo>
                    <a:pt x="5670" y="1174"/>
                  </a:lnTo>
                  <a:lnTo>
                    <a:pt x="5666" y="1168"/>
                  </a:lnTo>
                  <a:lnTo>
                    <a:pt x="5664" y="1162"/>
                  </a:lnTo>
                  <a:lnTo>
                    <a:pt x="5664" y="1150"/>
                  </a:lnTo>
                  <a:lnTo>
                    <a:pt x="5666" y="1138"/>
                  </a:lnTo>
                  <a:lnTo>
                    <a:pt x="5666" y="1126"/>
                  </a:lnTo>
                  <a:lnTo>
                    <a:pt x="5664" y="1120"/>
                  </a:lnTo>
                  <a:lnTo>
                    <a:pt x="5660" y="1114"/>
                  </a:lnTo>
                  <a:lnTo>
                    <a:pt x="5654" y="1106"/>
                  </a:lnTo>
                  <a:lnTo>
                    <a:pt x="5646" y="1100"/>
                  </a:lnTo>
                  <a:lnTo>
                    <a:pt x="5634" y="1092"/>
                  </a:lnTo>
                  <a:lnTo>
                    <a:pt x="5618" y="1084"/>
                  </a:lnTo>
                  <a:lnTo>
                    <a:pt x="5580" y="1068"/>
                  </a:lnTo>
                  <a:lnTo>
                    <a:pt x="5546" y="1050"/>
                  </a:lnTo>
                  <a:lnTo>
                    <a:pt x="5478" y="1014"/>
                  </a:lnTo>
                  <a:lnTo>
                    <a:pt x="5478" y="1008"/>
                  </a:lnTo>
                  <a:lnTo>
                    <a:pt x="5448" y="994"/>
                  </a:lnTo>
                  <a:lnTo>
                    <a:pt x="5418" y="982"/>
                  </a:lnTo>
                  <a:lnTo>
                    <a:pt x="5386" y="970"/>
                  </a:lnTo>
                  <a:lnTo>
                    <a:pt x="5356" y="962"/>
                  </a:lnTo>
                  <a:lnTo>
                    <a:pt x="5310" y="952"/>
                  </a:lnTo>
                  <a:lnTo>
                    <a:pt x="5294" y="946"/>
                  </a:lnTo>
                  <a:lnTo>
                    <a:pt x="5270" y="944"/>
                  </a:lnTo>
                  <a:lnTo>
                    <a:pt x="5210" y="940"/>
                  </a:lnTo>
                  <a:lnTo>
                    <a:pt x="5170" y="936"/>
                  </a:lnTo>
                  <a:lnTo>
                    <a:pt x="5144" y="930"/>
                  </a:lnTo>
                  <a:lnTo>
                    <a:pt x="5126" y="924"/>
                  </a:lnTo>
                  <a:lnTo>
                    <a:pt x="5116" y="918"/>
                  </a:lnTo>
                  <a:lnTo>
                    <a:pt x="5108" y="916"/>
                  </a:lnTo>
                  <a:lnTo>
                    <a:pt x="5102" y="918"/>
                  </a:lnTo>
                  <a:lnTo>
                    <a:pt x="5096" y="926"/>
                  </a:lnTo>
                  <a:lnTo>
                    <a:pt x="5086" y="942"/>
                  </a:lnTo>
                  <a:lnTo>
                    <a:pt x="5080" y="950"/>
                  </a:lnTo>
                  <a:lnTo>
                    <a:pt x="5078" y="958"/>
                  </a:lnTo>
                  <a:lnTo>
                    <a:pt x="5078" y="964"/>
                  </a:lnTo>
                  <a:lnTo>
                    <a:pt x="5080" y="968"/>
                  </a:lnTo>
                  <a:lnTo>
                    <a:pt x="5084" y="972"/>
                  </a:lnTo>
                  <a:lnTo>
                    <a:pt x="5088" y="974"/>
                  </a:lnTo>
                  <a:lnTo>
                    <a:pt x="5100" y="978"/>
                  </a:lnTo>
                  <a:lnTo>
                    <a:pt x="5110" y="982"/>
                  </a:lnTo>
                  <a:lnTo>
                    <a:pt x="5114" y="986"/>
                  </a:lnTo>
                  <a:lnTo>
                    <a:pt x="5116" y="988"/>
                  </a:lnTo>
                  <a:lnTo>
                    <a:pt x="5116" y="992"/>
                  </a:lnTo>
                  <a:lnTo>
                    <a:pt x="5114" y="998"/>
                  </a:lnTo>
                  <a:lnTo>
                    <a:pt x="5108" y="1004"/>
                  </a:lnTo>
                  <a:lnTo>
                    <a:pt x="5100" y="1012"/>
                  </a:lnTo>
                  <a:lnTo>
                    <a:pt x="5084" y="1024"/>
                  </a:lnTo>
                  <a:lnTo>
                    <a:pt x="5076" y="1028"/>
                  </a:lnTo>
                  <a:lnTo>
                    <a:pt x="5072" y="1030"/>
                  </a:lnTo>
                  <a:lnTo>
                    <a:pt x="5068" y="1028"/>
                  </a:lnTo>
                  <a:lnTo>
                    <a:pt x="5064" y="1026"/>
                  </a:lnTo>
                  <a:lnTo>
                    <a:pt x="5058" y="1020"/>
                  </a:lnTo>
                  <a:lnTo>
                    <a:pt x="5052" y="1012"/>
                  </a:lnTo>
                  <a:lnTo>
                    <a:pt x="5044" y="1004"/>
                  </a:lnTo>
                  <a:lnTo>
                    <a:pt x="5040" y="1000"/>
                  </a:lnTo>
                  <a:lnTo>
                    <a:pt x="5034" y="996"/>
                  </a:lnTo>
                  <a:lnTo>
                    <a:pt x="5028" y="996"/>
                  </a:lnTo>
                  <a:lnTo>
                    <a:pt x="5020" y="994"/>
                  </a:lnTo>
                  <a:lnTo>
                    <a:pt x="5012" y="994"/>
                  </a:lnTo>
                  <a:lnTo>
                    <a:pt x="5006" y="992"/>
                  </a:lnTo>
                  <a:lnTo>
                    <a:pt x="5004" y="990"/>
                  </a:lnTo>
                  <a:lnTo>
                    <a:pt x="5002" y="988"/>
                  </a:lnTo>
                  <a:lnTo>
                    <a:pt x="5000" y="978"/>
                  </a:lnTo>
                  <a:lnTo>
                    <a:pt x="5000" y="970"/>
                  </a:lnTo>
                  <a:lnTo>
                    <a:pt x="5000" y="962"/>
                  </a:lnTo>
                  <a:lnTo>
                    <a:pt x="4998" y="960"/>
                  </a:lnTo>
                  <a:lnTo>
                    <a:pt x="4994" y="958"/>
                  </a:lnTo>
                  <a:lnTo>
                    <a:pt x="4988" y="956"/>
                  </a:lnTo>
                  <a:lnTo>
                    <a:pt x="4980" y="958"/>
                  </a:lnTo>
                  <a:lnTo>
                    <a:pt x="4958" y="964"/>
                  </a:lnTo>
                  <a:lnTo>
                    <a:pt x="4944" y="968"/>
                  </a:lnTo>
                  <a:lnTo>
                    <a:pt x="4930" y="970"/>
                  </a:lnTo>
                  <a:lnTo>
                    <a:pt x="4920" y="972"/>
                  </a:lnTo>
                  <a:lnTo>
                    <a:pt x="4908" y="972"/>
                  </a:lnTo>
                  <a:lnTo>
                    <a:pt x="4890" y="968"/>
                  </a:lnTo>
                  <a:lnTo>
                    <a:pt x="4870" y="964"/>
                  </a:lnTo>
                  <a:lnTo>
                    <a:pt x="4850" y="958"/>
                  </a:lnTo>
                  <a:lnTo>
                    <a:pt x="4828" y="954"/>
                  </a:lnTo>
                  <a:lnTo>
                    <a:pt x="4814" y="954"/>
                  </a:lnTo>
                  <a:lnTo>
                    <a:pt x="4800" y="954"/>
                  </a:lnTo>
                  <a:lnTo>
                    <a:pt x="4784" y="956"/>
                  </a:lnTo>
                  <a:lnTo>
                    <a:pt x="4766" y="958"/>
                  </a:lnTo>
                  <a:lnTo>
                    <a:pt x="4732" y="966"/>
                  </a:lnTo>
                  <a:lnTo>
                    <a:pt x="4706" y="966"/>
                  </a:lnTo>
                  <a:lnTo>
                    <a:pt x="4686" y="964"/>
                  </a:lnTo>
                  <a:lnTo>
                    <a:pt x="4674" y="960"/>
                  </a:lnTo>
                  <a:lnTo>
                    <a:pt x="4668" y="956"/>
                  </a:lnTo>
                  <a:lnTo>
                    <a:pt x="4666" y="952"/>
                  </a:lnTo>
                  <a:lnTo>
                    <a:pt x="4662" y="944"/>
                  </a:lnTo>
                  <a:lnTo>
                    <a:pt x="4664" y="934"/>
                  </a:lnTo>
                  <a:lnTo>
                    <a:pt x="4668" y="924"/>
                  </a:lnTo>
                  <a:lnTo>
                    <a:pt x="4670" y="918"/>
                  </a:lnTo>
                  <a:lnTo>
                    <a:pt x="4670" y="912"/>
                  </a:lnTo>
                  <a:lnTo>
                    <a:pt x="4668" y="906"/>
                  </a:lnTo>
                  <a:lnTo>
                    <a:pt x="4662" y="898"/>
                  </a:lnTo>
                  <a:lnTo>
                    <a:pt x="4656" y="892"/>
                  </a:lnTo>
                  <a:lnTo>
                    <a:pt x="4648" y="884"/>
                  </a:lnTo>
                  <a:lnTo>
                    <a:pt x="4636" y="878"/>
                  </a:lnTo>
                  <a:lnTo>
                    <a:pt x="4624" y="872"/>
                  </a:lnTo>
                  <a:lnTo>
                    <a:pt x="4608" y="868"/>
                  </a:lnTo>
                  <a:lnTo>
                    <a:pt x="4592" y="862"/>
                  </a:lnTo>
                  <a:lnTo>
                    <a:pt x="4572" y="860"/>
                  </a:lnTo>
                  <a:lnTo>
                    <a:pt x="4552" y="856"/>
                  </a:lnTo>
                  <a:lnTo>
                    <a:pt x="4528" y="856"/>
                  </a:lnTo>
                  <a:lnTo>
                    <a:pt x="4504" y="856"/>
                  </a:lnTo>
                  <a:lnTo>
                    <a:pt x="4476" y="860"/>
                  </a:lnTo>
                  <a:lnTo>
                    <a:pt x="4448" y="864"/>
                  </a:lnTo>
                  <a:lnTo>
                    <a:pt x="4420" y="868"/>
                  </a:lnTo>
                  <a:lnTo>
                    <a:pt x="4396" y="870"/>
                  </a:lnTo>
                  <a:lnTo>
                    <a:pt x="4374" y="868"/>
                  </a:lnTo>
                  <a:lnTo>
                    <a:pt x="4358" y="866"/>
                  </a:lnTo>
                  <a:lnTo>
                    <a:pt x="4342" y="860"/>
                  </a:lnTo>
                  <a:lnTo>
                    <a:pt x="4328" y="854"/>
                  </a:lnTo>
                  <a:lnTo>
                    <a:pt x="4318" y="848"/>
                  </a:lnTo>
                  <a:lnTo>
                    <a:pt x="4308" y="840"/>
                  </a:lnTo>
                  <a:lnTo>
                    <a:pt x="4292" y="822"/>
                  </a:lnTo>
                  <a:lnTo>
                    <a:pt x="4278" y="804"/>
                  </a:lnTo>
                  <a:lnTo>
                    <a:pt x="4264" y="788"/>
                  </a:lnTo>
                  <a:lnTo>
                    <a:pt x="4256" y="782"/>
                  </a:lnTo>
                  <a:lnTo>
                    <a:pt x="4246" y="778"/>
                  </a:lnTo>
                  <a:lnTo>
                    <a:pt x="4228" y="772"/>
                  </a:lnTo>
                  <a:lnTo>
                    <a:pt x="4214" y="768"/>
                  </a:lnTo>
                  <a:lnTo>
                    <a:pt x="4186" y="768"/>
                  </a:lnTo>
                  <a:lnTo>
                    <a:pt x="4154" y="764"/>
                  </a:lnTo>
                  <a:lnTo>
                    <a:pt x="4130" y="762"/>
                  </a:lnTo>
                  <a:lnTo>
                    <a:pt x="4100" y="754"/>
                  </a:lnTo>
                  <a:lnTo>
                    <a:pt x="4068" y="748"/>
                  </a:lnTo>
                  <a:lnTo>
                    <a:pt x="4044" y="744"/>
                  </a:lnTo>
                  <a:lnTo>
                    <a:pt x="4002" y="740"/>
                  </a:lnTo>
                  <a:lnTo>
                    <a:pt x="3964" y="738"/>
                  </a:lnTo>
                  <a:lnTo>
                    <a:pt x="3944" y="734"/>
                  </a:lnTo>
                  <a:lnTo>
                    <a:pt x="3922" y="730"/>
                  </a:lnTo>
                  <a:lnTo>
                    <a:pt x="3902" y="724"/>
                  </a:lnTo>
                  <a:lnTo>
                    <a:pt x="3892" y="724"/>
                  </a:lnTo>
                  <a:lnTo>
                    <a:pt x="3892" y="726"/>
                  </a:lnTo>
                  <a:lnTo>
                    <a:pt x="3890" y="728"/>
                  </a:lnTo>
                  <a:lnTo>
                    <a:pt x="3890" y="734"/>
                  </a:lnTo>
                  <a:lnTo>
                    <a:pt x="3892" y="740"/>
                  </a:lnTo>
                  <a:lnTo>
                    <a:pt x="3890" y="744"/>
                  </a:lnTo>
                  <a:lnTo>
                    <a:pt x="3888" y="746"/>
                  </a:lnTo>
                  <a:lnTo>
                    <a:pt x="3882" y="750"/>
                  </a:lnTo>
                  <a:lnTo>
                    <a:pt x="3876" y="752"/>
                  </a:lnTo>
                  <a:lnTo>
                    <a:pt x="3854" y="754"/>
                  </a:lnTo>
                  <a:lnTo>
                    <a:pt x="3842" y="756"/>
                  </a:lnTo>
                  <a:lnTo>
                    <a:pt x="3834" y="758"/>
                  </a:lnTo>
                  <a:lnTo>
                    <a:pt x="3830" y="764"/>
                  </a:lnTo>
                  <a:lnTo>
                    <a:pt x="3830" y="768"/>
                  </a:lnTo>
                  <a:lnTo>
                    <a:pt x="3832" y="776"/>
                  </a:lnTo>
                  <a:lnTo>
                    <a:pt x="3836" y="782"/>
                  </a:lnTo>
                  <a:lnTo>
                    <a:pt x="3846" y="798"/>
                  </a:lnTo>
                  <a:lnTo>
                    <a:pt x="3856" y="812"/>
                  </a:lnTo>
                  <a:lnTo>
                    <a:pt x="3860" y="818"/>
                  </a:lnTo>
                  <a:lnTo>
                    <a:pt x="3862" y="822"/>
                  </a:lnTo>
                  <a:lnTo>
                    <a:pt x="3860" y="826"/>
                  </a:lnTo>
                  <a:lnTo>
                    <a:pt x="3856" y="828"/>
                  </a:lnTo>
                  <a:lnTo>
                    <a:pt x="3848" y="826"/>
                  </a:lnTo>
                  <a:lnTo>
                    <a:pt x="3836" y="824"/>
                  </a:lnTo>
                  <a:lnTo>
                    <a:pt x="3810" y="818"/>
                  </a:lnTo>
                  <a:lnTo>
                    <a:pt x="3792" y="818"/>
                  </a:lnTo>
                  <a:lnTo>
                    <a:pt x="3778" y="818"/>
                  </a:lnTo>
                  <a:lnTo>
                    <a:pt x="3770" y="820"/>
                  </a:lnTo>
                  <a:lnTo>
                    <a:pt x="3760" y="824"/>
                  </a:lnTo>
                  <a:lnTo>
                    <a:pt x="3750" y="824"/>
                  </a:lnTo>
                  <a:lnTo>
                    <a:pt x="3736" y="824"/>
                  </a:lnTo>
                  <a:lnTo>
                    <a:pt x="3716" y="820"/>
                  </a:lnTo>
                  <a:lnTo>
                    <a:pt x="3704" y="818"/>
                  </a:lnTo>
                  <a:lnTo>
                    <a:pt x="3694" y="818"/>
                  </a:lnTo>
                  <a:lnTo>
                    <a:pt x="3686" y="818"/>
                  </a:lnTo>
                  <a:lnTo>
                    <a:pt x="3676" y="820"/>
                  </a:lnTo>
                  <a:lnTo>
                    <a:pt x="3662" y="826"/>
                  </a:lnTo>
                  <a:lnTo>
                    <a:pt x="3650" y="832"/>
                  </a:lnTo>
                  <a:lnTo>
                    <a:pt x="3638" y="836"/>
                  </a:lnTo>
                  <a:lnTo>
                    <a:pt x="3632" y="838"/>
                  </a:lnTo>
                  <a:lnTo>
                    <a:pt x="3624" y="836"/>
                  </a:lnTo>
                  <a:lnTo>
                    <a:pt x="3616" y="836"/>
                  </a:lnTo>
                  <a:lnTo>
                    <a:pt x="3608" y="832"/>
                  </a:lnTo>
                  <a:lnTo>
                    <a:pt x="3598" y="826"/>
                  </a:lnTo>
                  <a:lnTo>
                    <a:pt x="3586" y="818"/>
                  </a:lnTo>
                  <a:lnTo>
                    <a:pt x="3576" y="812"/>
                  </a:lnTo>
                  <a:lnTo>
                    <a:pt x="3566" y="810"/>
                  </a:lnTo>
                  <a:lnTo>
                    <a:pt x="3558" y="810"/>
                  </a:lnTo>
                  <a:lnTo>
                    <a:pt x="3552" y="814"/>
                  </a:lnTo>
                  <a:lnTo>
                    <a:pt x="3546" y="820"/>
                  </a:lnTo>
                  <a:lnTo>
                    <a:pt x="3540" y="828"/>
                  </a:lnTo>
                  <a:lnTo>
                    <a:pt x="3530" y="848"/>
                  </a:lnTo>
                  <a:lnTo>
                    <a:pt x="3520" y="864"/>
                  </a:lnTo>
                  <a:lnTo>
                    <a:pt x="3514" y="872"/>
                  </a:lnTo>
                  <a:lnTo>
                    <a:pt x="3508" y="876"/>
                  </a:lnTo>
                  <a:lnTo>
                    <a:pt x="3500" y="878"/>
                  </a:lnTo>
                  <a:lnTo>
                    <a:pt x="3492" y="878"/>
                  </a:lnTo>
                  <a:lnTo>
                    <a:pt x="3482" y="872"/>
                  </a:lnTo>
                  <a:lnTo>
                    <a:pt x="3470" y="864"/>
                  </a:lnTo>
                  <a:lnTo>
                    <a:pt x="3428" y="824"/>
                  </a:lnTo>
                  <a:lnTo>
                    <a:pt x="3402" y="796"/>
                  </a:lnTo>
                  <a:lnTo>
                    <a:pt x="3390" y="784"/>
                  </a:lnTo>
                  <a:lnTo>
                    <a:pt x="3380" y="776"/>
                  </a:lnTo>
                  <a:lnTo>
                    <a:pt x="3368" y="768"/>
                  </a:lnTo>
                  <a:lnTo>
                    <a:pt x="3352" y="762"/>
                  </a:lnTo>
                  <a:lnTo>
                    <a:pt x="3346" y="760"/>
                  </a:lnTo>
                  <a:lnTo>
                    <a:pt x="3342" y="760"/>
                  </a:lnTo>
                  <a:lnTo>
                    <a:pt x="3338" y="762"/>
                  </a:lnTo>
                  <a:lnTo>
                    <a:pt x="3338" y="764"/>
                  </a:lnTo>
                  <a:lnTo>
                    <a:pt x="3340" y="772"/>
                  </a:lnTo>
                  <a:lnTo>
                    <a:pt x="3344" y="782"/>
                  </a:lnTo>
                  <a:lnTo>
                    <a:pt x="3348" y="792"/>
                  </a:lnTo>
                  <a:lnTo>
                    <a:pt x="3350" y="798"/>
                  </a:lnTo>
                  <a:lnTo>
                    <a:pt x="3348" y="798"/>
                  </a:lnTo>
                  <a:lnTo>
                    <a:pt x="3346" y="798"/>
                  </a:lnTo>
                  <a:lnTo>
                    <a:pt x="3336" y="790"/>
                  </a:lnTo>
                  <a:lnTo>
                    <a:pt x="3318" y="778"/>
                  </a:lnTo>
                  <a:lnTo>
                    <a:pt x="3296" y="766"/>
                  </a:lnTo>
                  <a:lnTo>
                    <a:pt x="3270" y="754"/>
                  </a:lnTo>
                  <a:lnTo>
                    <a:pt x="3242" y="744"/>
                  </a:lnTo>
                  <a:lnTo>
                    <a:pt x="3208" y="734"/>
                  </a:lnTo>
                  <a:lnTo>
                    <a:pt x="3170" y="728"/>
                  </a:lnTo>
                  <a:lnTo>
                    <a:pt x="3128" y="722"/>
                  </a:lnTo>
                  <a:lnTo>
                    <a:pt x="3082" y="716"/>
                  </a:lnTo>
                  <a:lnTo>
                    <a:pt x="3030" y="712"/>
                  </a:lnTo>
                  <a:lnTo>
                    <a:pt x="3012" y="708"/>
                  </a:lnTo>
                  <a:lnTo>
                    <a:pt x="3000" y="704"/>
                  </a:lnTo>
                  <a:lnTo>
                    <a:pt x="2994" y="702"/>
                  </a:lnTo>
                  <a:lnTo>
                    <a:pt x="2992" y="698"/>
                  </a:lnTo>
                  <a:lnTo>
                    <a:pt x="2992" y="694"/>
                  </a:lnTo>
                  <a:lnTo>
                    <a:pt x="2994" y="690"/>
                  </a:lnTo>
                  <a:lnTo>
                    <a:pt x="3002" y="684"/>
                  </a:lnTo>
                  <a:lnTo>
                    <a:pt x="3008" y="678"/>
                  </a:lnTo>
                  <a:lnTo>
                    <a:pt x="3008" y="676"/>
                  </a:lnTo>
                  <a:lnTo>
                    <a:pt x="3006" y="674"/>
                  </a:lnTo>
                  <a:lnTo>
                    <a:pt x="3002" y="672"/>
                  </a:lnTo>
                  <a:lnTo>
                    <a:pt x="2992" y="670"/>
                  </a:lnTo>
                  <a:lnTo>
                    <a:pt x="2946" y="666"/>
                  </a:lnTo>
                  <a:lnTo>
                    <a:pt x="2904" y="664"/>
                  </a:lnTo>
                  <a:lnTo>
                    <a:pt x="2864" y="664"/>
                  </a:lnTo>
                  <a:lnTo>
                    <a:pt x="2844" y="666"/>
                  </a:lnTo>
                  <a:lnTo>
                    <a:pt x="2822" y="670"/>
                  </a:lnTo>
                  <a:lnTo>
                    <a:pt x="2814" y="670"/>
                  </a:lnTo>
                  <a:lnTo>
                    <a:pt x="2806" y="670"/>
                  </a:lnTo>
                  <a:lnTo>
                    <a:pt x="2800" y="670"/>
                  </a:lnTo>
                  <a:lnTo>
                    <a:pt x="2794" y="668"/>
                  </a:lnTo>
                  <a:lnTo>
                    <a:pt x="2790" y="662"/>
                  </a:lnTo>
                  <a:lnTo>
                    <a:pt x="2786" y="654"/>
                  </a:lnTo>
                  <a:lnTo>
                    <a:pt x="2784" y="648"/>
                  </a:lnTo>
                  <a:lnTo>
                    <a:pt x="2780" y="644"/>
                  </a:lnTo>
                  <a:lnTo>
                    <a:pt x="2778" y="642"/>
                  </a:lnTo>
                  <a:lnTo>
                    <a:pt x="2774" y="642"/>
                  </a:lnTo>
                  <a:lnTo>
                    <a:pt x="2762" y="648"/>
                  </a:lnTo>
                  <a:lnTo>
                    <a:pt x="2748" y="654"/>
                  </a:lnTo>
                  <a:lnTo>
                    <a:pt x="2738" y="654"/>
                  </a:lnTo>
                  <a:lnTo>
                    <a:pt x="2730" y="652"/>
                  </a:lnTo>
                  <a:lnTo>
                    <a:pt x="2722" y="648"/>
                  </a:lnTo>
                  <a:lnTo>
                    <a:pt x="2714" y="644"/>
                  </a:lnTo>
                  <a:lnTo>
                    <a:pt x="2704" y="640"/>
                  </a:lnTo>
                  <a:lnTo>
                    <a:pt x="2692" y="638"/>
                  </a:lnTo>
                  <a:lnTo>
                    <a:pt x="2676" y="640"/>
                  </a:lnTo>
                  <a:lnTo>
                    <a:pt x="2660" y="644"/>
                  </a:lnTo>
                  <a:lnTo>
                    <a:pt x="2652" y="650"/>
                  </a:lnTo>
                  <a:lnTo>
                    <a:pt x="2650" y="658"/>
                  </a:lnTo>
                  <a:lnTo>
                    <a:pt x="2648" y="664"/>
                  </a:lnTo>
                  <a:lnTo>
                    <a:pt x="2642" y="672"/>
                  </a:lnTo>
                  <a:lnTo>
                    <a:pt x="2634" y="680"/>
                  </a:lnTo>
                  <a:lnTo>
                    <a:pt x="2614" y="686"/>
                  </a:lnTo>
                  <a:lnTo>
                    <a:pt x="2586" y="692"/>
                  </a:lnTo>
                  <a:lnTo>
                    <a:pt x="2554" y="696"/>
                  </a:lnTo>
                  <a:lnTo>
                    <a:pt x="2530" y="698"/>
                  </a:lnTo>
                  <a:lnTo>
                    <a:pt x="2516" y="696"/>
                  </a:lnTo>
                  <a:lnTo>
                    <a:pt x="2512" y="694"/>
                  </a:lnTo>
                  <a:lnTo>
                    <a:pt x="2512" y="692"/>
                  </a:lnTo>
                  <a:lnTo>
                    <a:pt x="2512" y="690"/>
                  </a:lnTo>
                  <a:lnTo>
                    <a:pt x="2516" y="686"/>
                  </a:lnTo>
                  <a:lnTo>
                    <a:pt x="2528" y="676"/>
                  </a:lnTo>
                  <a:lnTo>
                    <a:pt x="2550" y="666"/>
                  </a:lnTo>
                  <a:lnTo>
                    <a:pt x="2580" y="652"/>
                  </a:lnTo>
                  <a:lnTo>
                    <a:pt x="2610" y="640"/>
                  </a:lnTo>
                  <a:lnTo>
                    <a:pt x="2632" y="628"/>
                  </a:lnTo>
                  <a:lnTo>
                    <a:pt x="2660" y="610"/>
                  </a:lnTo>
                  <a:lnTo>
                    <a:pt x="2672" y="602"/>
                  </a:lnTo>
                  <a:lnTo>
                    <a:pt x="2688" y="594"/>
                  </a:lnTo>
                  <a:lnTo>
                    <a:pt x="2706" y="586"/>
                  </a:lnTo>
                  <a:lnTo>
                    <a:pt x="2734" y="576"/>
                  </a:lnTo>
                  <a:lnTo>
                    <a:pt x="2762" y="566"/>
                  </a:lnTo>
                  <a:lnTo>
                    <a:pt x="2782" y="554"/>
                  </a:lnTo>
                  <a:lnTo>
                    <a:pt x="2788" y="548"/>
                  </a:lnTo>
                  <a:lnTo>
                    <a:pt x="2794" y="542"/>
                  </a:lnTo>
                  <a:lnTo>
                    <a:pt x="2802" y="528"/>
                  </a:lnTo>
                  <a:lnTo>
                    <a:pt x="2806" y="514"/>
                  </a:lnTo>
                  <a:lnTo>
                    <a:pt x="2806" y="502"/>
                  </a:lnTo>
                  <a:lnTo>
                    <a:pt x="2802" y="490"/>
                  </a:lnTo>
                  <a:lnTo>
                    <a:pt x="2798" y="478"/>
                  </a:lnTo>
                  <a:lnTo>
                    <a:pt x="2792" y="470"/>
                  </a:lnTo>
                  <a:lnTo>
                    <a:pt x="2784" y="464"/>
                  </a:lnTo>
                  <a:lnTo>
                    <a:pt x="2776" y="462"/>
                  </a:lnTo>
                  <a:lnTo>
                    <a:pt x="2768" y="460"/>
                  </a:lnTo>
                  <a:lnTo>
                    <a:pt x="2748" y="454"/>
                  </a:lnTo>
                  <a:lnTo>
                    <a:pt x="2738" y="448"/>
                  </a:lnTo>
                  <a:lnTo>
                    <a:pt x="2724" y="438"/>
                  </a:lnTo>
                  <a:lnTo>
                    <a:pt x="2712" y="430"/>
                  </a:lnTo>
                  <a:lnTo>
                    <a:pt x="2700" y="426"/>
                  </a:lnTo>
                  <a:lnTo>
                    <a:pt x="2686" y="424"/>
                  </a:lnTo>
                  <a:lnTo>
                    <a:pt x="2672" y="424"/>
                  </a:lnTo>
                  <a:lnTo>
                    <a:pt x="2644" y="428"/>
                  </a:lnTo>
                  <a:lnTo>
                    <a:pt x="2628" y="428"/>
                  </a:lnTo>
                  <a:lnTo>
                    <a:pt x="2612" y="426"/>
                  </a:lnTo>
                  <a:lnTo>
                    <a:pt x="2598" y="424"/>
                  </a:lnTo>
                  <a:lnTo>
                    <a:pt x="2590" y="424"/>
                  </a:lnTo>
                  <a:lnTo>
                    <a:pt x="2582" y="426"/>
                  </a:lnTo>
                  <a:lnTo>
                    <a:pt x="2578" y="428"/>
                  </a:lnTo>
                  <a:lnTo>
                    <a:pt x="2574" y="432"/>
                  </a:lnTo>
                  <a:lnTo>
                    <a:pt x="2566" y="436"/>
                  </a:lnTo>
                  <a:lnTo>
                    <a:pt x="2554" y="440"/>
                  </a:lnTo>
                  <a:lnTo>
                    <a:pt x="2538" y="444"/>
                  </a:lnTo>
                  <a:lnTo>
                    <a:pt x="2516" y="444"/>
                  </a:lnTo>
                  <a:lnTo>
                    <a:pt x="2512" y="444"/>
                  </a:lnTo>
                  <a:lnTo>
                    <a:pt x="2512" y="442"/>
                  </a:lnTo>
                  <a:lnTo>
                    <a:pt x="2516" y="436"/>
                  </a:lnTo>
                  <a:lnTo>
                    <a:pt x="2528" y="428"/>
                  </a:lnTo>
                  <a:lnTo>
                    <a:pt x="2538" y="420"/>
                  </a:lnTo>
                  <a:lnTo>
                    <a:pt x="2540" y="416"/>
                  </a:lnTo>
                  <a:lnTo>
                    <a:pt x="2542" y="412"/>
                  </a:lnTo>
                  <a:lnTo>
                    <a:pt x="2540" y="410"/>
                  </a:lnTo>
                  <a:lnTo>
                    <a:pt x="2534" y="406"/>
                  </a:lnTo>
                  <a:lnTo>
                    <a:pt x="2524" y="404"/>
                  </a:lnTo>
                  <a:lnTo>
                    <a:pt x="2508" y="402"/>
                  </a:lnTo>
                  <a:lnTo>
                    <a:pt x="2478" y="400"/>
                  </a:lnTo>
                  <a:lnTo>
                    <a:pt x="2458" y="398"/>
                  </a:lnTo>
                  <a:lnTo>
                    <a:pt x="2448" y="394"/>
                  </a:lnTo>
                  <a:lnTo>
                    <a:pt x="2446" y="394"/>
                  </a:lnTo>
                  <a:lnTo>
                    <a:pt x="2446" y="392"/>
                  </a:lnTo>
                  <a:lnTo>
                    <a:pt x="2450" y="388"/>
                  </a:lnTo>
                  <a:lnTo>
                    <a:pt x="2458" y="386"/>
                  </a:lnTo>
                  <a:lnTo>
                    <a:pt x="2486" y="378"/>
                  </a:lnTo>
                  <a:lnTo>
                    <a:pt x="2492" y="376"/>
                  </a:lnTo>
                  <a:lnTo>
                    <a:pt x="2496" y="374"/>
                  </a:lnTo>
                  <a:lnTo>
                    <a:pt x="2496" y="370"/>
                  </a:lnTo>
                  <a:lnTo>
                    <a:pt x="2496" y="366"/>
                  </a:lnTo>
                  <a:lnTo>
                    <a:pt x="2492" y="364"/>
                  </a:lnTo>
                  <a:lnTo>
                    <a:pt x="2486" y="360"/>
                  </a:lnTo>
                  <a:lnTo>
                    <a:pt x="2470" y="352"/>
                  </a:lnTo>
                  <a:lnTo>
                    <a:pt x="2448" y="348"/>
                  </a:lnTo>
                  <a:lnTo>
                    <a:pt x="2422" y="348"/>
                  </a:lnTo>
                  <a:lnTo>
                    <a:pt x="2408" y="348"/>
                  </a:lnTo>
                  <a:lnTo>
                    <a:pt x="2392" y="352"/>
                  </a:lnTo>
                  <a:lnTo>
                    <a:pt x="2378" y="356"/>
                  </a:lnTo>
                  <a:lnTo>
                    <a:pt x="2362" y="362"/>
                  </a:lnTo>
                  <a:lnTo>
                    <a:pt x="2342" y="370"/>
                  </a:lnTo>
                  <a:lnTo>
                    <a:pt x="2326" y="380"/>
                  </a:lnTo>
                  <a:lnTo>
                    <a:pt x="2314" y="388"/>
                  </a:lnTo>
                  <a:lnTo>
                    <a:pt x="2304" y="396"/>
                  </a:lnTo>
                  <a:lnTo>
                    <a:pt x="2296" y="402"/>
                  </a:lnTo>
                  <a:lnTo>
                    <a:pt x="2292" y="408"/>
                  </a:lnTo>
                  <a:lnTo>
                    <a:pt x="2286" y="420"/>
                  </a:lnTo>
                  <a:lnTo>
                    <a:pt x="2284" y="428"/>
                  </a:lnTo>
                  <a:lnTo>
                    <a:pt x="2280" y="434"/>
                  </a:lnTo>
                  <a:lnTo>
                    <a:pt x="2276" y="436"/>
                  </a:lnTo>
                  <a:lnTo>
                    <a:pt x="2272" y="438"/>
                  </a:lnTo>
                  <a:lnTo>
                    <a:pt x="2256" y="440"/>
                  </a:lnTo>
                  <a:lnTo>
                    <a:pt x="2224" y="442"/>
                  </a:lnTo>
                  <a:lnTo>
                    <a:pt x="2208" y="444"/>
                  </a:lnTo>
                  <a:lnTo>
                    <a:pt x="2206" y="444"/>
                  </a:lnTo>
                  <a:lnTo>
                    <a:pt x="2206" y="446"/>
                  </a:lnTo>
                  <a:lnTo>
                    <a:pt x="2206" y="448"/>
                  </a:lnTo>
                  <a:lnTo>
                    <a:pt x="2210" y="452"/>
                  </a:lnTo>
                  <a:lnTo>
                    <a:pt x="2208" y="456"/>
                  </a:lnTo>
                  <a:lnTo>
                    <a:pt x="2206" y="458"/>
                  </a:lnTo>
                  <a:lnTo>
                    <a:pt x="2192" y="464"/>
                  </a:lnTo>
                  <a:lnTo>
                    <a:pt x="2162" y="472"/>
                  </a:lnTo>
                  <a:lnTo>
                    <a:pt x="2132" y="478"/>
                  </a:lnTo>
                  <a:lnTo>
                    <a:pt x="2118" y="478"/>
                  </a:lnTo>
                  <a:lnTo>
                    <a:pt x="2114" y="476"/>
                  </a:lnTo>
                  <a:lnTo>
                    <a:pt x="2112" y="474"/>
                  </a:lnTo>
                  <a:lnTo>
                    <a:pt x="2112" y="470"/>
                  </a:lnTo>
                  <a:lnTo>
                    <a:pt x="2110" y="468"/>
                  </a:lnTo>
                  <a:lnTo>
                    <a:pt x="2108" y="464"/>
                  </a:lnTo>
                  <a:lnTo>
                    <a:pt x="2106" y="462"/>
                  </a:lnTo>
                  <a:lnTo>
                    <a:pt x="2098" y="462"/>
                  </a:lnTo>
                  <a:lnTo>
                    <a:pt x="2076" y="460"/>
                  </a:lnTo>
                  <a:lnTo>
                    <a:pt x="2034" y="464"/>
                  </a:lnTo>
                  <a:lnTo>
                    <a:pt x="1994" y="472"/>
                  </a:lnTo>
                  <a:lnTo>
                    <a:pt x="1982" y="474"/>
                  </a:lnTo>
                  <a:lnTo>
                    <a:pt x="1974" y="478"/>
                  </a:lnTo>
                  <a:lnTo>
                    <a:pt x="1970" y="482"/>
                  </a:lnTo>
                  <a:lnTo>
                    <a:pt x="1968" y="484"/>
                  </a:lnTo>
                  <a:lnTo>
                    <a:pt x="1970" y="490"/>
                  </a:lnTo>
                  <a:lnTo>
                    <a:pt x="1970" y="494"/>
                  </a:lnTo>
                  <a:lnTo>
                    <a:pt x="1970" y="496"/>
                  </a:lnTo>
                  <a:lnTo>
                    <a:pt x="1968" y="500"/>
                  </a:lnTo>
                  <a:lnTo>
                    <a:pt x="1964" y="502"/>
                  </a:lnTo>
                  <a:lnTo>
                    <a:pt x="1954" y="504"/>
                  </a:lnTo>
                  <a:lnTo>
                    <a:pt x="1942" y="506"/>
                  </a:lnTo>
                  <a:lnTo>
                    <a:pt x="1898" y="512"/>
                  </a:lnTo>
                  <a:lnTo>
                    <a:pt x="1850" y="516"/>
                  </a:lnTo>
                  <a:lnTo>
                    <a:pt x="1818" y="522"/>
                  </a:lnTo>
                  <a:lnTo>
                    <a:pt x="1800" y="526"/>
                  </a:lnTo>
                  <a:lnTo>
                    <a:pt x="1790" y="532"/>
                  </a:lnTo>
                  <a:lnTo>
                    <a:pt x="1784" y="538"/>
                  </a:lnTo>
                  <a:lnTo>
                    <a:pt x="1776" y="542"/>
                  </a:lnTo>
                  <a:lnTo>
                    <a:pt x="1764" y="546"/>
                  </a:lnTo>
                  <a:lnTo>
                    <a:pt x="1742" y="550"/>
                  </a:lnTo>
                  <a:lnTo>
                    <a:pt x="1728" y="550"/>
                  </a:lnTo>
                  <a:lnTo>
                    <a:pt x="1718" y="554"/>
                  </a:lnTo>
                  <a:lnTo>
                    <a:pt x="1708" y="558"/>
                  </a:lnTo>
                  <a:lnTo>
                    <a:pt x="1698" y="562"/>
                  </a:lnTo>
                  <a:lnTo>
                    <a:pt x="1692" y="566"/>
                  </a:lnTo>
                  <a:lnTo>
                    <a:pt x="1686" y="572"/>
                  </a:lnTo>
                  <a:lnTo>
                    <a:pt x="1682" y="578"/>
                  </a:lnTo>
                  <a:lnTo>
                    <a:pt x="1680" y="584"/>
                  </a:lnTo>
                  <a:lnTo>
                    <a:pt x="1678" y="590"/>
                  </a:lnTo>
                  <a:lnTo>
                    <a:pt x="1678" y="596"/>
                  </a:lnTo>
                  <a:lnTo>
                    <a:pt x="1680" y="602"/>
                  </a:lnTo>
                  <a:lnTo>
                    <a:pt x="1682" y="608"/>
                  </a:lnTo>
                  <a:lnTo>
                    <a:pt x="1686" y="612"/>
                  </a:lnTo>
                  <a:lnTo>
                    <a:pt x="1690" y="616"/>
                  </a:lnTo>
                  <a:lnTo>
                    <a:pt x="1696" y="618"/>
                  </a:lnTo>
                  <a:lnTo>
                    <a:pt x="1704" y="620"/>
                  </a:lnTo>
                  <a:lnTo>
                    <a:pt x="1716" y="622"/>
                  </a:lnTo>
                  <a:lnTo>
                    <a:pt x="1724" y="624"/>
                  </a:lnTo>
                  <a:lnTo>
                    <a:pt x="1726" y="628"/>
                  </a:lnTo>
                  <a:lnTo>
                    <a:pt x="1724" y="634"/>
                  </a:lnTo>
                  <a:lnTo>
                    <a:pt x="1716" y="638"/>
                  </a:lnTo>
                  <a:lnTo>
                    <a:pt x="1704" y="644"/>
                  </a:lnTo>
                  <a:lnTo>
                    <a:pt x="1690" y="648"/>
                  </a:lnTo>
                  <a:lnTo>
                    <a:pt x="1672" y="652"/>
                  </a:lnTo>
                  <a:lnTo>
                    <a:pt x="1638" y="658"/>
                  </a:lnTo>
                  <a:lnTo>
                    <a:pt x="1604" y="662"/>
                  </a:lnTo>
                  <a:lnTo>
                    <a:pt x="1542" y="662"/>
                  </a:lnTo>
                  <a:lnTo>
                    <a:pt x="1514" y="662"/>
                  </a:lnTo>
                  <a:lnTo>
                    <a:pt x="1490" y="666"/>
                  </a:lnTo>
                  <a:lnTo>
                    <a:pt x="1480" y="668"/>
                  </a:lnTo>
                  <a:lnTo>
                    <a:pt x="1470" y="672"/>
                  </a:lnTo>
                  <a:lnTo>
                    <a:pt x="1462" y="676"/>
                  </a:lnTo>
                  <a:lnTo>
                    <a:pt x="1458" y="682"/>
                  </a:lnTo>
                  <a:lnTo>
                    <a:pt x="1450" y="692"/>
                  </a:lnTo>
                  <a:lnTo>
                    <a:pt x="1450" y="696"/>
                  </a:lnTo>
                  <a:lnTo>
                    <a:pt x="1452" y="698"/>
                  </a:lnTo>
                  <a:lnTo>
                    <a:pt x="1456" y="702"/>
                  </a:lnTo>
                  <a:lnTo>
                    <a:pt x="1462" y="704"/>
                  </a:lnTo>
                  <a:lnTo>
                    <a:pt x="1470" y="706"/>
                  </a:lnTo>
                  <a:lnTo>
                    <a:pt x="1476" y="710"/>
                  </a:lnTo>
                  <a:lnTo>
                    <a:pt x="1476" y="714"/>
                  </a:lnTo>
                  <a:lnTo>
                    <a:pt x="1476" y="718"/>
                  </a:lnTo>
                  <a:lnTo>
                    <a:pt x="1476" y="724"/>
                  </a:lnTo>
                  <a:lnTo>
                    <a:pt x="1472" y="732"/>
                  </a:lnTo>
                  <a:lnTo>
                    <a:pt x="1468" y="738"/>
                  </a:lnTo>
                  <a:lnTo>
                    <a:pt x="1468" y="744"/>
                  </a:lnTo>
                  <a:lnTo>
                    <a:pt x="1468" y="748"/>
                  </a:lnTo>
                  <a:lnTo>
                    <a:pt x="1472" y="752"/>
                  </a:lnTo>
                  <a:lnTo>
                    <a:pt x="1480" y="756"/>
                  </a:lnTo>
                  <a:lnTo>
                    <a:pt x="1492" y="758"/>
                  </a:lnTo>
                  <a:lnTo>
                    <a:pt x="1506" y="760"/>
                  </a:lnTo>
                  <a:lnTo>
                    <a:pt x="1520" y="764"/>
                  </a:lnTo>
                  <a:lnTo>
                    <a:pt x="1524" y="766"/>
                  </a:lnTo>
                  <a:lnTo>
                    <a:pt x="1528" y="770"/>
                  </a:lnTo>
                  <a:lnTo>
                    <a:pt x="1532" y="774"/>
                  </a:lnTo>
                  <a:lnTo>
                    <a:pt x="1532" y="780"/>
                  </a:lnTo>
                  <a:lnTo>
                    <a:pt x="1534" y="786"/>
                  </a:lnTo>
                  <a:lnTo>
                    <a:pt x="1536" y="790"/>
                  </a:lnTo>
                  <a:lnTo>
                    <a:pt x="1540" y="792"/>
                  </a:lnTo>
                  <a:lnTo>
                    <a:pt x="1546" y="794"/>
                  </a:lnTo>
                  <a:lnTo>
                    <a:pt x="1556" y="796"/>
                  </a:lnTo>
                  <a:lnTo>
                    <a:pt x="1568" y="796"/>
                  </a:lnTo>
                  <a:lnTo>
                    <a:pt x="1580" y="798"/>
                  </a:lnTo>
                  <a:lnTo>
                    <a:pt x="1584" y="800"/>
                  </a:lnTo>
                  <a:lnTo>
                    <a:pt x="1586" y="804"/>
                  </a:lnTo>
                  <a:lnTo>
                    <a:pt x="1588" y="806"/>
                  </a:lnTo>
                  <a:lnTo>
                    <a:pt x="1588" y="812"/>
                  </a:lnTo>
                  <a:lnTo>
                    <a:pt x="1586" y="818"/>
                  </a:lnTo>
                  <a:lnTo>
                    <a:pt x="1582" y="828"/>
                  </a:lnTo>
                  <a:lnTo>
                    <a:pt x="1578" y="836"/>
                  </a:lnTo>
                  <a:lnTo>
                    <a:pt x="1576" y="844"/>
                  </a:lnTo>
                  <a:lnTo>
                    <a:pt x="1576" y="852"/>
                  </a:lnTo>
                  <a:lnTo>
                    <a:pt x="1578" y="858"/>
                  </a:lnTo>
                  <a:lnTo>
                    <a:pt x="1582" y="868"/>
                  </a:lnTo>
                  <a:lnTo>
                    <a:pt x="1590" y="876"/>
                  </a:lnTo>
                  <a:lnTo>
                    <a:pt x="1596" y="882"/>
                  </a:lnTo>
                  <a:lnTo>
                    <a:pt x="1598" y="886"/>
                  </a:lnTo>
                  <a:lnTo>
                    <a:pt x="1598" y="890"/>
                  </a:lnTo>
                  <a:lnTo>
                    <a:pt x="1598" y="896"/>
                  </a:lnTo>
                  <a:lnTo>
                    <a:pt x="1596" y="900"/>
                  </a:lnTo>
                  <a:lnTo>
                    <a:pt x="1590" y="906"/>
                  </a:lnTo>
                  <a:lnTo>
                    <a:pt x="1584" y="912"/>
                  </a:lnTo>
                  <a:lnTo>
                    <a:pt x="1570" y="922"/>
                  </a:lnTo>
                  <a:lnTo>
                    <a:pt x="1566" y="924"/>
                  </a:lnTo>
                  <a:lnTo>
                    <a:pt x="1564" y="922"/>
                  </a:lnTo>
                  <a:lnTo>
                    <a:pt x="1566" y="912"/>
                  </a:lnTo>
                  <a:lnTo>
                    <a:pt x="1568" y="898"/>
                  </a:lnTo>
                  <a:lnTo>
                    <a:pt x="1572" y="884"/>
                  </a:lnTo>
                  <a:lnTo>
                    <a:pt x="1572" y="878"/>
                  </a:lnTo>
                  <a:lnTo>
                    <a:pt x="1572" y="872"/>
                  </a:lnTo>
                  <a:lnTo>
                    <a:pt x="1570" y="866"/>
                  </a:lnTo>
                  <a:lnTo>
                    <a:pt x="1566" y="864"/>
                  </a:lnTo>
                  <a:lnTo>
                    <a:pt x="1560" y="864"/>
                  </a:lnTo>
                  <a:lnTo>
                    <a:pt x="1552" y="866"/>
                  </a:lnTo>
                  <a:lnTo>
                    <a:pt x="1542" y="868"/>
                  </a:lnTo>
                  <a:lnTo>
                    <a:pt x="1538" y="868"/>
                  </a:lnTo>
                  <a:lnTo>
                    <a:pt x="1536" y="866"/>
                  </a:lnTo>
                  <a:lnTo>
                    <a:pt x="1536" y="864"/>
                  </a:lnTo>
                  <a:lnTo>
                    <a:pt x="1542" y="856"/>
                  </a:lnTo>
                  <a:lnTo>
                    <a:pt x="1550" y="844"/>
                  </a:lnTo>
                  <a:lnTo>
                    <a:pt x="1560" y="832"/>
                  </a:lnTo>
                  <a:lnTo>
                    <a:pt x="1562" y="826"/>
                  </a:lnTo>
                  <a:lnTo>
                    <a:pt x="1564" y="820"/>
                  </a:lnTo>
                  <a:lnTo>
                    <a:pt x="1562" y="816"/>
                  </a:lnTo>
                  <a:lnTo>
                    <a:pt x="1558" y="812"/>
                  </a:lnTo>
                  <a:lnTo>
                    <a:pt x="1552" y="810"/>
                  </a:lnTo>
                  <a:lnTo>
                    <a:pt x="1540" y="810"/>
                  </a:lnTo>
                  <a:lnTo>
                    <a:pt x="1518" y="810"/>
                  </a:lnTo>
                  <a:lnTo>
                    <a:pt x="1504" y="806"/>
                  </a:lnTo>
                  <a:lnTo>
                    <a:pt x="1492" y="798"/>
                  </a:lnTo>
                  <a:lnTo>
                    <a:pt x="1482" y="792"/>
                  </a:lnTo>
                  <a:lnTo>
                    <a:pt x="1472" y="782"/>
                  </a:lnTo>
                  <a:lnTo>
                    <a:pt x="1460" y="774"/>
                  </a:lnTo>
                  <a:lnTo>
                    <a:pt x="1442" y="768"/>
                  </a:lnTo>
                  <a:lnTo>
                    <a:pt x="1416" y="762"/>
                  </a:lnTo>
                  <a:lnTo>
                    <a:pt x="1400" y="760"/>
                  </a:lnTo>
                  <a:lnTo>
                    <a:pt x="1386" y="760"/>
                  </a:lnTo>
                  <a:lnTo>
                    <a:pt x="1374" y="760"/>
                  </a:lnTo>
                  <a:lnTo>
                    <a:pt x="1364" y="762"/>
                  </a:lnTo>
                  <a:lnTo>
                    <a:pt x="1358" y="764"/>
                  </a:lnTo>
                  <a:lnTo>
                    <a:pt x="1352" y="768"/>
                  </a:lnTo>
                  <a:lnTo>
                    <a:pt x="1346" y="776"/>
                  </a:lnTo>
                  <a:lnTo>
                    <a:pt x="1342" y="784"/>
                  </a:lnTo>
                  <a:lnTo>
                    <a:pt x="1340" y="790"/>
                  </a:lnTo>
                  <a:lnTo>
                    <a:pt x="1336" y="794"/>
                  </a:lnTo>
                  <a:lnTo>
                    <a:pt x="1334" y="794"/>
                  </a:lnTo>
                  <a:lnTo>
                    <a:pt x="1330" y="792"/>
                  </a:lnTo>
                  <a:lnTo>
                    <a:pt x="1316" y="788"/>
                  </a:lnTo>
                  <a:lnTo>
                    <a:pt x="1302" y="788"/>
                  </a:lnTo>
                  <a:lnTo>
                    <a:pt x="1292" y="792"/>
                  </a:lnTo>
                  <a:lnTo>
                    <a:pt x="1284" y="796"/>
                  </a:lnTo>
                  <a:lnTo>
                    <a:pt x="1282" y="800"/>
                  </a:lnTo>
                  <a:lnTo>
                    <a:pt x="1282" y="804"/>
                  </a:lnTo>
                  <a:lnTo>
                    <a:pt x="1282" y="808"/>
                  </a:lnTo>
                  <a:lnTo>
                    <a:pt x="1284" y="812"/>
                  </a:lnTo>
                  <a:lnTo>
                    <a:pt x="1288" y="816"/>
                  </a:lnTo>
                  <a:lnTo>
                    <a:pt x="1294" y="820"/>
                  </a:lnTo>
                  <a:lnTo>
                    <a:pt x="1314" y="828"/>
                  </a:lnTo>
                  <a:lnTo>
                    <a:pt x="1332" y="834"/>
                  </a:lnTo>
                  <a:lnTo>
                    <a:pt x="1342" y="840"/>
                  </a:lnTo>
                  <a:lnTo>
                    <a:pt x="1344" y="842"/>
                  </a:lnTo>
                  <a:lnTo>
                    <a:pt x="1344" y="844"/>
                  </a:lnTo>
                  <a:lnTo>
                    <a:pt x="1340" y="846"/>
                  </a:lnTo>
                  <a:lnTo>
                    <a:pt x="1332" y="848"/>
                  </a:lnTo>
                  <a:lnTo>
                    <a:pt x="1318" y="848"/>
                  </a:lnTo>
                  <a:lnTo>
                    <a:pt x="1280" y="844"/>
                  </a:lnTo>
                  <a:lnTo>
                    <a:pt x="1270" y="842"/>
                  </a:lnTo>
                  <a:lnTo>
                    <a:pt x="1264" y="840"/>
                  </a:lnTo>
                  <a:lnTo>
                    <a:pt x="1260" y="836"/>
                  </a:lnTo>
                  <a:lnTo>
                    <a:pt x="1256" y="830"/>
                  </a:lnTo>
                  <a:lnTo>
                    <a:pt x="1256" y="824"/>
                  </a:lnTo>
                  <a:lnTo>
                    <a:pt x="1256" y="818"/>
                  </a:lnTo>
                  <a:lnTo>
                    <a:pt x="1260" y="804"/>
                  </a:lnTo>
                  <a:lnTo>
                    <a:pt x="1264" y="788"/>
                  </a:lnTo>
                  <a:lnTo>
                    <a:pt x="1268" y="772"/>
                  </a:lnTo>
                  <a:lnTo>
                    <a:pt x="1270" y="758"/>
                  </a:lnTo>
                  <a:lnTo>
                    <a:pt x="1268" y="750"/>
                  </a:lnTo>
                  <a:lnTo>
                    <a:pt x="1266" y="744"/>
                  </a:lnTo>
                  <a:lnTo>
                    <a:pt x="1258" y="734"/>
                  </a:lnTo>
                  <a:lnTo>
                    <a:pt x="1250" y="726"/>
                  </a:lnTo>
                  <a:lnTo>
                    <a:pt x="1244" y="722"/>
                  </a:lnTo>
                  <a:lnTo>
                    <a:pt x="1240" y="722"/>
                  </a:lnTo>
                  <a:lnTo>
                    <a:pt x="1236" y="724"/>
                  </a:lnTo>
                  <a:lnTo>
                    <a:pt x="1234" y="730"/>
                  </a:lnTo>
                  <a:lnTo>
                    <a:pt x="1234" y="738"/>
                  </a:lnTo>
                  <a:lnTo>
                    <a:pt x="1238" y="752"/>
                  </a:lnTo>
                  <a:lnTo>
                    <a:pt x="1240" y="762"/>
                  </a:lnTo>
                  <a:lnTo>
                    <a:pt x="1238" y="772"/>
                  </a:lnTo>
                  <a:lnTo>
                    <a:pt x="1236" y="778"/>
                  </a:lnTo>
                  <a:lnTo>
                    <a:pt x="1230" y="784"/>
                  </a:lnTo>
                  <a:lnTo>
                    <a:pt x="1224" y="788"/>
                  </a:lnTo>
                  <a:lnTo>
                    <a:pt x="1216" y="792"/>
                  </a:lnTo>
                  <a:lnTo>
                    <a:pt x="1198" y="798"/>
                  </a:lnTo>
                  <a:lnTo>
                    <a:pt x="1182" y="804"/>
                  </a:lnTo>
                  <a:lnTo>
                    <a:pt x="1176" y="808"/>
                  </a:lnTo>
                  <a:lnTo>
                    <a:pt x="1170" y="812"/>
                  </a:lnTo>
                  <a:lnTo>
                    <a:pt x="1168" y="818"/>
                  </a:lnTo>
                  <a:lnTo>
                    <a:pt x="1168" y="824"/>
                  </a:lnTo>
                  <a:lnTo>
                    <a:pt x="1172" y="832"/>
                  </a:lnTo>
                  <a:lnTo>
                    <a:pt x="1178" y="842"/>
                  </a:lnTo>
                  <a:lnTo>
                    <a:pt x="1200" y="870"/>
                  </a:lnTo>
                  <a:lnTo>
                    <a:pt x="1208" y="878"/>
                  </a:lnTo>
                  <a:lnTo>
                    <a:pt x="1212" y="886"/>
                  </a:lnTo>
                  <a:lnTo>
                    <a:pt x="1212" y="894"/>
                  </a:lnTo>
                  <a:lnTo>
                    <a:pt x="1210" y="902"/>
                  </a:lnTo>
                  <a:lnTo>
                    <a:pt x="1204" y="912"/>
                  </a:lnTo>
                  <a:lnTo>
                    <a:pt x="1194" y="926"/>
                  </a:lnTo>
                  <a:lnTo>
                    <a:pt x="1184" y="940"/>
                  </a:lnTo>
                  <a:lnTo>
                    <a:pt x="1180" y="950"/>
                  </a:lnTo>
                  <a:lnTo>
                    <a:pt x="1180" y="956"/>
                  </a:lnTo>
                  <a:lnTo>
                    <a:pt x="1182" y="962"/>
                  </a:lnTo>
                  <a:lnTo>
                    <a:pt x="1190" y="974"/>
                  </a:lnTo>
                  <a:lnTo>
                    <a:pt x="1192" y="982"/>
                  </a:lnTo>
                  <a:lnTo>
                    <a:pt x="1194" y="992"/>
                  </a:lnTo>
                  <a:lnTo>
                    <a:pt x="1194" y="996"/>
                  </a:lnTo>
                  <a:lnTo>
                    <a:pt x="1196" y="1000"/>
                  </a:lnTo>
                  <a:lnTo>
                    <a:pt x="1200" y="1002"/>
                  </a:lnTo>
                  <a:lnTo>
                    <a:pt x="1204" y="1002"/>
                  </a:lnTo>
                  <a:lnTo>
                    <a:pt x="1218" y="1000"/>
                  </a:lnTo>
                  <a:lnTo>
                    <a:pt x="1234" y="996"/>
                  </a:lnTo>
                  <a:lnTo>
                    <a:pt x="1254" y="992"/>
                  </a:lnTo>
                  <a:lnTo>
                    <a:pt x="1276" y="992"/>
                  </a:lnTo>
                  <a:lnTo>
                    <a:pt x="1288" y="992"/>
                  </a:lnTo>
                  <a:lnTo>
                    <a:pt x="1298" y="994"/>
                  </a:lnTo>
                  <a:lnTo>
                    <a:pt x="1310" y="998"/>
                  </a:lnTo>
                  <a:lnTo>
                    <a:pt x="1322" y="1004"/>
                  </a:lnTo>
                  <a:lnTo>
                    <a:pt x="1340" y="1016"/>
                  </a:lnTo>
                  <a:lnTo>
                    <a:pt x="1352" y="1028"/>
                  </a:lnTo>
                  <a:lnTo>
                    <a:pt x="1358" y="1036"/>
                  </a:lnTo>
                  <a:lnTo>
                    <a:pt x="1360" y="1044"/>
                  </a:lnTo>
                  <a:lnTo>
                    <a:pt x="1360" y="1050"/>
                  </a:lnTo>
                  <a:lnTo>
                    <a:pt x="1356" y="1054"/>
                  </a:lnTo>
                  <a:lnTo>
                    <a:pt x="1350" y="1066"/>
                  </a:lnTo>
                  <a:lnTo>
                    <a:pt x="1342" y="1078"/>
                  </a:lnTo>
                  <a:lnTo>
                    <a:pt x="1334" y="1092"/>
                  </a:lnTo>
                  <a:lnTo>
                    <a:pt x="1332" y="1096"/>
                  </a:lnTo>
                  <a:lnTo>
                    <a:pt x="1330" y="1098"/>
                  </a:lnTo>
                  <a:lnTo>
                    <a:pt x="1330" y="1092"/>
                  </a:lnTo>
                  <a:lnTo>
                    <a:pt x="1332" y="1082"/>
                  </a:lnTo>
                  <a:lnTo>
                    <a:pt x="1334" y="1066"/>
                  </a:lnTo>
                  <a:lnTo>
                    <a:pt x="1334" y="1052"/>
                  </a:lnTo>
                  <a:lnTo>
                    <a:pt x="1330" y="1038"/>
                  </a:lnTo>
                  <a:lnTo>
                    <a:pt x="1322" y="1026"/>
                  </a:lnTo>
                  <a:lnTo>
                    <a:pt x="1318" y="1020"/>
                  </a:lnTo>
                  <a:lnTo>
                    <a:pt x="1312" y="1016"/>
                  </a:lnTo>
                  <a:lnTo>
                    <a:pt x="1304" y="1014"/>
                  </a:lnTo>
                  <a:lnTo>
                    <a:pt x="1298" y="1012"/>
                  </a:lnTo>
                  <a:lnTo>
                    <a:pt x="1288" y="1010"/>
                  </a:lnTo>
                  <a:lnTo>
                    <a:pt x="1278" y="1010"/>
                  </a:lnTo>
                  <a:lnTo>
                    <a:pt x="1266" y="1012"/>
                  </a:lnTo>
                  <a:lnTo>
                    <a:pt x="1254" y="1016"/>
                  </a:lnTo>
                  <a:lnTo>
                    <a:pt x="1242" y="1020"/>
                  </a:lnTo>
                  <a:lnTo>
                    <a:pt x="1234" y="1026"/>
                  </a:lnTo>
                  <a:lnTo>
                    <a:pt x="1228" y="1032"/>
                  </a:lnTo>
                  <a:lnTo>
                    <a:pt x="1224" y="1036"/>
                  </a:lnTo>
                  <a:lnTo>
                    <a:pt x="1222" y="1044"/>
                  </a:lnTo>
                  <a:lnTo>
                    <a:pt x="1222" y="1050"/>
                  </a:lnTo>
                  <a:lnTo>
                    <a:pt x="1226" y="1062"/>
                  </a:lnTo>
                  <a:lnTo>
                    <a:pt x="1230" y="1076"/>
                  </a:lnTo>
                  <a:lnTo>
                    <a:pt x="1234" y="1088"/>
                  </a:lnTo>
                  <a:lnTo>
                    <a:pt x="1234" y="1092"/>
                  </a:lnTo>
                  <a:lnTo>
                    <a:pt x="1232" y="1098"/>
                  </a:lnTo>
                  <a:lnTo>
                    <a:pt x="1228" y="1102"/>
                  </a:lnTo>
                  <a:lnTo>
                    <a:pt x="1222" y="1106"/>
                  </a:lnTo>
                  <a:lnTo>
                    <a:pt x="1210" y="1112"/>
                  </a:lnTo>
                  <a:lnTo>
                    <a:pt x="1202" y="1120"/>
                  </a:lnTo>
                  <a:lnTo>
                    <a:pt x="1198" y="1128"/>
                  </a:lnTo>
                  <a:lnTo>
                    <a:pt x="1196" y="1136"/>
                  </a:lnTo>
                  <a:lnTo>
                    <a:pt x="1194" y="1144"/>
                  </a:lnTo>
                  <a:lnTo>
                    <a:pt x="1188" y="1152"/>
                  </a:lnTo>
                  <a:lnTo>
                    <a:pt x="1180" y="1160"/>
                  </a:lnTo>
                  <a:lnTo>
                    <a:pt x="1166" y="1168"/>
                  </a:lnTo>
                  <a:lnTo>
                    <a:pt x="1152" y="1176"/>
                  </a:lnTo>
                  <a:lnTo>
                    <a:pt x="1144" y="1184"/>
                  </a:lnTo>
                  <a:lnTo>
                    <a:pt x="1136" y="1196"/>
                  </a:lnTo>
                  <a:lnTo>
                    <a:pt x="1130" y="1200"/>
                  </a:lnTo>
                  <a:lnTo>
                    <a:pt x="1118" y="1202"/>
                  </a:lnTo>
                  <a:lnTo>
                    <a:pt x="1100" y="1200"/>
                  </a:lnTo>
                  <a:lnTo>
                    <a:pt x="1070" y="1196"/>
                  </a:lnTo>
                  <a:lnTo>
                    <a:pt x="1044" y="1190"/>
                  </a:lnTo>
                  <a:lnTo>
                    <a:pt x="1036" y="1186"/>
                  </a:lnTo>
                  <a:lnTo>
                    <a:pt x="1040" y="1184"/>
                  </a:lnTo>
                  <a:lnTo>
                    <a:pt x="1052" y="1180"/>
                  </a:lnTo>
                  <a:lnTo>
                    <a:pt x="1072" y="1176"/>
                  </a:lnTo>
                  <a:lnTo>
                    <a:pt x="1094" y="1168"/>
                  </a:lnTo>
                  <a:lnTo>
                    <a:pt x="1104" y="1162"/>
                  </a:lnTo>
                  <a:lnTo>
                    <a:pt x="1114" y="1156"/>
                  </a:lnTo>
                  <a:lnTo>
                    <a:pt x="1122" y="1148"/>
                  </a:lnTo>
                  <a:lnTo>
                    <a:pt x="1128" y="1138"/>
                  </a:lnTo>
                  <a:lnTo>
                    <a:pt x="1138" y="1122"/>
                  </a:lnTo>
                  <a:lnTo>
                    <a:pt x="1146" y="1112"/>
                  </a:lnTo>
                  <a:lnTo>
                    <a:pt x="1154" y="1106"/>
                  </a:lnTo>
                  <a:lnTo>
                    <a:pt x="1160" y="1104"/>
                  </a:lnTo>
                  <a:lnTo>
                    <a:pt x="1166" y="1100"/>
                  </a:lnTo>
                  <a:lnTo>
                    <a:pt x="1170" y="1096"/>
                  </a:lnTo>
                  <a:lnTo>
                    <a:pt x="1174" y="1088"/>
                  </a:lnTo>
                  <a:lnTo>
                    <a:pt x="1176" y="1072"/>
                  </a:lnTo>
                  <a:lnTo>
                    <a:pt x="1176" y="1058"/>
                  </a:lnTo>
                  <a:lnTo>
                    <a:pt x="1174" y="1044"/>
                  </a:lnTo>
                  <a:lnTo>
                    <a:pt x="1166" y="1034"/>
                  </a:lnTo>
                  <a:lnTo>
                    <a:pt x="1160" y="1026"/>
                  </a:lnTo>
                  <a:lnTo>
                    <a:pt x="1152" y="1016"/>
                  </a:lnTo>
                  <a:lnTo>
                    <a:pt x="1146" y="1004"/>
                  </a:lnTo>
                  <a:lnTo>
                    <a:pt x="1142" y="988"/>
                  </a:lnTo>
                  <a:lnTo>
                    <a:pt x="1142" y="968"/>
                  </a:lnTo>
                  <a:lnTo>
                    <a:pt x="1150" y="928"/>
                  </a:lnTo>
                  <a:lnTo>
                    <a:pt x="1152" y="910"/>
                  </a:lnTo>
                  <a:lnTo>
                    <a:pt x="1154" y="896"/>
                  </a:lnTo>
                  <a:lnTo>
                    <a:pt x="1152" y="882"/>
                  </a:lnTo>
                  <a:lnTo>
                    <a:pt x="1148" y="868"/>
                  </a:lnTo>
                  <a:lnTo>
                    <a:pt x="1140" y="856"/>
                  </a:lnTo>
                  <a:lnTo>
                    <a:pt x="1126" y="844"/>
                  </a:lnTo>
                  <a:lnTo>
                    <a:pt x="1116" y="832"/>
                  </a:lnTo>
                  <a:lnTo>
                    <a:pt x="1114" y="828"/>
                  </a:lnTo>
                  <a:lnTo>
                    <a:pt x="1112" y="824"/>
                  </a:lnTo>
                  <a:lnTo>
                    <a:pt x="1114" y="822"/>
                  </a:lnTo>
                  <a:lnTo>
                    <a:pt x="1118" y="818"/>
                  </a:lnTo>
                  <a:lnTo>
                    <a:pt x="1126" y="812"/>
                  </a:lnTo>
                  <a:lnTo>
                    <a:pt x="1136" y="804"/>
                  </a:lnTo>
                  <a:lnTo>
                    <a:pt x="1146" y="796"/>
                  </a:lnTo>
                  <a:lnTo>
                    <a:pt x="1150" y="790"/>
                  </a:lnTo>
                  <a:lnTo>
                    <a:pt x="1154" y="782"/>
                  </a:lnTo>
                  <a:lnTo>
                    <a:pt x="1156" y="774"/>
                  </a:lnTo>
                  <a:lnTo>
                    <a:pt x="1156" y="764"/>
                  </a:lnTo>
                  <a:lnTo>
                    <a:pt x="1156" y="754"/>
                  </a:lnTo>
                  <a:lnTo>
                    <a:pt x="1152" y="744"/>
                  </a:lnTo>
                  <a:lnTo>
                    <a:pt x="1148" y="738"/>
                  </a:lnTo>
                  <a:lnTo>
                    <a:pt x="1142" y="732"/>
                  </a:lnTo>
                  <a:lnTo>
                    <a:pt x="1134" y="728"/>
                  </a:lnTo>
                  <a:lnTo>
                    <a:pt x="1126" y="724"/>
                  </a:lnTo>
                  <a:lnTo>
                    <a:pt x="1106" y="722"/>
                  </a:lnTo>
                  <a:lnTo>
                    <a:pt x="1086" y="722"/>
                  </a:lnTo>
                  <a:lnTo>
                    <a:pt x="1064" y="724"/>
                  </a:lnTo>
                  <a:lnTo>
                    <a:pt x="1044" y="724"/>
                  </a:lnTo>
                  <a:lnTo>
                    <a:pt x="1028" y="722"/>
                  </a:lnTo>
                  <a:lnTo>
                    <a:pt x="1020" y="722"/>
                  </a:lnTo>
                  <a:lnTo>
                    <a:pt x="1012" y="722"/>
                  </a:lnTo>
                  <a:lnTo>
                    <a:pt x="1006" y="726"/>
                  </a:lnTo>
                  <a:lnTo>
                    <a:pt x="1002" y="732"/>
                  </a:lnTo>
                  <a:lnTo>
                    <a:pt x="994" y="748"/>
                  </a:lnTo>
                  <a:lnTo>
                    <a:pt x="988" y="766"/>
                  </a:lnTo>
                  <a:lnTo>
                    <a:pt x="980" y="788"/>
                  </a:lnTo>
                  <a:lnTo>
                    <a:pt x="970" y="808"/>
                  </a:lnTo>
                  <a:lnTo>
                    <a:pt x="964" y="816"/>
                  </a:lnTo>
                  <a:lnTo>
                    <a:pt x="958" y="824"/>
                  </a:lnTo>
                  <a:lnTo>
                    <a:pt x="948" y="832"/>
                  </a:lnTo>
                  <a:lnTo>
                    <a:pt x="938" y="838"/>
                  </a:lnTo>
                  <a:lnTo>
                    <a:pt x="916" y="848"/>
                  </a:lnTo>
                  <a:lnTo>
                    <a:pt x="908" y="854"/>
                  </a:lnTo>
                  <a:lnTo>
                    <a:pt x="906" y="858"/>
                  </a:lnTo>
                  <a:lnTo>
                    <a:pt x="904" y="862"/>
                  </a:lnTo>
                  <a:lnTo>
                    <a:pt x="906" y="866"/>
                  </a:lnTo>
                  <a:lnTo>
                    <a:pt x="912" y="874"/>
                  </a:lnTo>
                  <a:lnTo>
                    <a:pt x="920" y="884"/>
                  </a:lnTo>
                  <a:lnTo>
                    <a:pt x="922" y="888"/>
                  </a:lnTo>
                  <a:lnTo>
                    <a:pt x="926" y="894"/>
                  </a:lnTo>
                  <a:lnTo>
                    <a:pt x="926" y="902"/>
                  </a:lnTo>
                  <a:lnTo>
                    <a:pt x="926" y="910"/>
                  </a:lnTo>
                  <a:lnTo>
                    <a:pt x="922" y="918"/>
                  </a:lnTo>
                  <a:lnTo>
                    <a:pt x="916" y="928"/>
                  </a:lnTo>
                  <a:lnTo>
                    <a:pt x="912" y="938"/>
                  </a:lnTo>
                  <a:lnTo>
                    <a:pt x="910" y="948"/>
                  </a:lnTo>
                  <a:lnTo>
                    <a:pt x="912" y="954"/>
                  </a:lnTo>
                  <a:lnTo>
                    <a:pt x="916" y="962"/>
                  </a:lnTo>
                  <a:lnTo>
                    <a:pt x="924" y="968"/>
                  </a:lnTo>
                  <a:lnTo>
                    <a:pt x="932" y="974"/>
                  </a:lnTo>
                  <a:lnTo>
                    <a:pt x="952" y="986"/>
                  </a:lnTo>
                  <a:lnTo>
                    <a:pt x="974" y="996"/>
                  </a:lnTo>
                  <a:lnTo>
                    <a:pt x="982" y="1002"/>
                  </a:lnTo>
                  <a:lnTo>
                    <a:pt x="990" y="1008"/>
                  </a:lnTo>
                  <a:lnTo>
                    <a:pt x="996" y="1014"/>
                  </a:lnTo>
                  <a:lnTo>
                    <a:pt x="998" y="1022"/>
                  </a:lnTo>
                  <a:lnTo>
                    <a:pt x="998" y="1030"/>
                  </a:lnTo>
                  <a:lnTo>
                    <a:pt x="992" y="1040"/>
                  </a:lnTo>
                  <a:lnTo>
                    <a:pt x="982" y="1054"/>
                  </a:lnTo>
                  <a:lnTo>
                    <a:pt x="978" y="1058"/>
                  </a:lnTo>
                  <a:lnTo>
                    <a:pt x="974" y="1060"/>
                  </a:lnTo>
                  <a:lnTo>
                    <a:pt x="970" y="1060"/>
                  </a:lnTo>
                  <a:lnTo>
                    <a:pt x="966" y="1060"/>
                  </a:lnTo>
                  <a:lnTo>
                    <a:pt x="956" y="1052"/>
                  </a:lnTo>
                  <a:lnTo>
                    <a:pt x="942" y="1040"/>
                  </a:lnTo>
                  <a:lnTo>
                    <a:pt x="918" y="1024"/>
                  </a:lnTo>
                  <a:lnTo>
                    <a:pt x="884" y="1004"/>
                  </a:lnTo>
                  <a:lnTo>
                    <a:pt x="862" y="994"/>
                  </a:lnTo>
                  <a:lnTo>
                    <a:pt x="838" y="984"/>
                  </a:lnTo>
                  <a:lnTo>
                    <a:pt x="810" y="974"/>
                  </a:lnTo>
                  <a:lnTo>
                    <a:pt x="786" y="966"/>
                  </a:lnTo>
                  <a:lnTo>
                    <a:pt x="762" y="960"/>
                  </a:lnTo>
                  <a:lnTo>
                    <a:pt x="742" y="956"/>
                  </a:lnTo>
                  <a:lnTo>
                    <a:pt x="724" y="954"/>
                  </a:lnTo>
                  <a:lnTo>
                    <a:pt x="706" y="952"/>
                  </a:lnTo>
                  <a:lnTo>
                    <a:pt x="692" y="952"/>
                  </a:lnTo>
                  <a:lnTo>
                    <a:pt x="678" y="954"/>
                  </a:lnTo>
                  <a:lnTo>
                    <a:pt x="668" y="956"/>
                  </a:lnTo>
                  <a:lnTo>
                    <a:pt x="660" y="960"/>
                  </a:lnTo>
                  <a:lnTo>
                    <a:pt x="654" y="964"/>
                  </a:lnTo>
                  <a:lnTo>
                    <a:pt x="650" y="968"/>
                  </a:lnTo>
                  <a:lnTo>
                    <a:pt x="650" y="974"/>
                  </a:lnTo>
                  <a:lnTo>
                    <a:pt x="650" y="980"/>
                  </a:lnTo>
                  <a:lnTo>
                    <a:pt x="654" y="986"/>
                  </a:lnTo>
                  <a:lnTo>
                    <a:pt x="660" y="994"/>
                  </a:lnTo>
                  <a:lnTo>
                    <a:pt x="664" y="998"/>
                  </a:lnTo>
                  <a:lnTo>
                    <a:pt x="664" y="1004"/>
                  </a:lnTo>
                  <a:lnTo>
                    <a:pt x="664" y="1010"/>
                  </a:lnTo>
                  <a:lnTo>
                    <a:pt x="662" y="1016"/>
                  </a:lnTo>
                  <a:lnTo>
                    <a:pt x="654" y="1028"/>
                  </a:lnTo>
                  <a:lnTo>
                    <a:pt x="642" y="1038"/>
                  </a:lnTo>
                  <a:lnTo>
                    <a:pt x="628" y="1044"/>
                  </a:lnTo>
                  <a:lnTo>
                    <a:pt x="622" y="1046"/>
                  </a:lnTo>
                  <a:lnTo>
                    <a:pt x="618" y="1046"/>
                  </a:lnTo>
                  <a:lnTo>
                    <a:pt x="612" y="1046"/>
                  </a:lnTo>
                  <a:lnTo>
                    <a:pt x="608" y="1042"/>
                  </a:lnTo>
                  <a:lnTo>
                    <a:pt x="606" y="1038"/>
                  </a:lnTo>
                  <a:lnTo>
                    <a:pt x="606" y="1030"/>
                  </a:lnTo>
                  <a:lnTo>
                    <a:pt x="604" y="1018"/>
                  </a:lnTo>
                  <a:lnTo>
                    <a:pt x="602" y="1010"/>
                  </a:lnTo>
                  <a:lnTo>
                    <a:pt x="596" y="1006"/>
                  </a:lnTo>
                  <a:lnTo>
                    <a:pt x="590" y="1006"/>
                  </a:lnTo>
                  <a:lnTo>
                    <a:pt x="582" y="1010"/>
                  </a:lnTo>
                  <a:lnTo>
                    <a:pt x="570" y="1016"/>
                  </a:lnTo>
                  <a:lnTo>
                    <a:pt x="542" y="1034"/>
                  </a:lnTo>
                  <a:lnTo>
                    <a:pt x="526" y="1042"/>
                  </a:lnTo>
                  <a:lnTo>
                    <a:pt x="520" y="1042"/>
                  </a:lnTo>
                  <a:lnTo>
                    <a:pt x="516" y="1042"/>
                  </a:lnTo>
                  <a:lnTo>
                    <a:pt x="506" y="1040"/>
                  </a:lnTo>
                  <a:lnTo>
                    <a:pt x="498" y="1036"/>
                  </a:lnTo>
                  <a:lnTo>
                    <a:pt x="488" y="1032"/>
                  </a:lnTo>
                  <a:lnTo>
                    <a:pt x="478" y="1032"/>
                  </a:lnTo>
                  <a:lnTo>
                    <a:pt x="470" y="1032"/>
                  </a:lnTo>
                  <a:lnTo>
                    <a:pt x="462" y="1034"/>
                  </a:lnTo>
                  <a:lnTo>
                    <a:pt x="440" y="1046"/>
                  </a:lnTo>
                  <a:lnTo>
                    <a:pt x="420" y="1056"/>
                  </a:lnTo>
                  <a:lnTo>
                    <a:pt x="412" y="1060"/>
                  </a:lnTo>
                  <a:lnTo>
                    <a:pt x="406" y="1060"/>
                  </a:lnTo>
                  <a:lnTo>
                    <a:pt x="400" y="1060"/>
                  </a:lnTo>
                  <a:lnTo>
                    <a:pt x="396" y="1058"/>
                  </a:lnTo>
                  <a:lnTo>
                    <a:pt x="392" y="1054"/>
                  </a:lnTo>
                  <a:lnTo>
                    <a:pt x="390" y="1052"/>
                  </a:lnTo>
                  <a:lnTo>
                    <a:pt x="388" y="1042"/>
                  </a:lnTo>
                  <a:lnTo>
                    <a:pt x="392" y="1030"/>
                  </a:lnTo>
                  <a:lnTo>
                    <a:pt x="396" y="1020"/>
                  </a:lnTo>
                  <a:lnTo>
                    <a:pt x="406" y="1012"/>
                  </a:lnTo>
                  <a:lnTo>
                    <a:pt x="410" y="1006"/>
                  </a:lnTo>
                  <a:lnTo>
                    <a:pt x="412" y="1004"/>
                  </a:lnTo>
                  <a:lnTo>
                    <a:pt x="410" y="1004"/>
                  </a:lnTo>
                  <a:lnTo>
                    <a:pt x="402" y="1004"/>
                  </a:lnTo>
                  <a:lnTo>
                    <a:pt x="388" y="1008"/>
                  </a:lnTo>
                  <a:lnTo>
                    <a:pt x="368" y="1014"/>
                  </a:lnTo>
                  <a:lnTo>
                    <a:pt x="342" y="1024"/>
                  </a:lnTo>
                  <a:lnTo>
                    <a:pt x="312" y="1038"/>
                  </a:lnTo>
                  <a:lnTo>
                    <a:pt x="276" y="1054"/>
                  </a:lnTo>
                  <a:lnTo>
                    <a:pt x="242" y="1070"/>
                  </a:lnTo>
                  <a:lnTo>
                    <a:pt x="216" y="1078"/>
                  </a:lnTo>
                  <a:lnTo>
                    <a:pt x="196" y="1084"/>
                  </a:lnTo>
                  <a:lnTo>
                    <a:pt x="180" y="1086"/>
                  </a:lnTo>
                  <a:lnTo>
                    <a:pt x="168" y="1088"/>
                  </a:lnTo>
                  <a:lnTo>
                    <a:pt x="158" y="1094"/>
                  </a:lnTo>
                  <a:lnTo>
                    <a:pt x="152" y="1106"/>
                  </a:lnTo>
                  <a:lnTo>
                    <a:pt x="144" y="1124"/>
                  </a:lnTo>
                  <a:lnTo>
                    <a:pt x="138" y="1142"/>
                  </a:lnTo>
                  <a:lnTo>
                    <a:pt x="132" y="1152"/>
                  </a:lnTo>
                  <a:lnTo>
                    <a:pt x="126" y="1158"/>
                  </a:lnTo>
                  <a:lnTo>
                    <a:pt x="120" y="1158"/>
                  </a:lnTo>
                  <a:lnTo>
                    <a:pt x="106" y="1156"/>
                  </a:lnTo>
                  <a:lnTo>
                    <a:pt x="98" y="1156"/>
                  </a:lnTo>
                  <a:lnTo>
                    <a:pt x="86" y="1160"/>
                  </a:lnTo>
                  <a:lnTo>
                    <a:pt x="78" y="1164"/>
                  </a:lnTo>
                  <a:lnTo>
                    <a:pt x="54" y="1230"/>
                  </a:lnTo>
                  <a:lnTo>
                    <a:pt x="44" y="1256"/>
                  </a:lnTo>
                  <a:lnTo>
                    <a:pt x="36" y="1274"/>
                  </a:lnTo>
                  <a:lnTo>
                    <a:pt x="28" y="1292"/>
                  </a:lnTo>
                  <a:lnTo>
                    <a:pt x="20" y="1312"/>
                  </a:lnTo>
                  <a:lnTo>
                    <a:pt x="8" y="1346"/>
                  </a:lnTo>
                  <a:lnTo>
                    <a:pt x="0" y="1382"/>
                  </a:lnTo>
                  <a:lnTo>
                    <a:pt x="0" y="1562"/>
                  </a:lnTo>
                  <a:lnTo>
                    <a:pt x="60" y="1706"/>
                  </a:lnTo>
                  <a:lnTo>
                    <a:pt x="180" y="1898"/>
                  </a:lnTo>
                  <a:lnTo>
                    <a:pt x="236" y="2142"/>
                  </a:lnTo>
                  <a:lnTo>
                    <a:pt x="172" y="2176"/>
                  </a:lnTo>
                  <a:lnTo>
                    <a:pt x="166" y="2200"/>
                  </a:lnTo>
                  <a:lnTo>
                    <a:pt x="124" y="2214"/>
                  </a:lnTo>
                  <a:lnTo>
                    <a:pt x="104" y="2206"/>
                  </a:lnTo>
                  <a:lnTo>
                    <a:pt x="92" y="2204"/>
                  </a:lnTo>
                  <a:lnTo>
                    <a:pt x="86" y="2204"/>
                  </a:lnTo>
                  <a:lnTo>
                    <a:pt x="84" y="2208"/>
                  </a:lnTo>
                  <a:lnTo>
                    <a:pt x="70" y="2258"/>
                  </a:lnTo>
                  <a:lnTo>
                    <a:pt x="60" y="2304"/>
                  </a:lnTo>
                  <a:lnTo>
                    <a:pt x="76" y="2364"/>
                  </a:lnTo>
                  <a:lnTo>
                    <a:pt x="114" y="2388"/>
                  </a:lnTo>
                  <a:lnTo>
                    <a:pt x="142" y="2422"/>
                  </a:lnTo>
                  <a:lnTo>
                    <a:pt x="148" y="2454"/>
                  </a:lnTo>
                  <a:lnTo>
                    <a:pt x="130" y="2486"/>
                  </a:lnTo>
                  <a:lnTo>
                    <a:pt x="98" y="2508"/>
                  </a:lnTo>
                  <a:lnTo>
                    <a:pt x="70" y="2552"/>
                  </a:lnTo>
                  <a:lnTo>
                    <a:pt x="80" y="2588"/>
                  </a:lnTo>
                  <a:lnTo>
                    <a:pt x="132" y="2652"/>
                  </a:lnTo>
                  <a:lnTo>
                    <a:pt x="156" y="2704"/>
                  </a:lnTo>
                  <a:lnTo>
                    <a:pt x="182" y="2744"/>
                  </a:lnTo>
                  <a:lnTo>
                    <a:pt x="180" y="2776"/>
                  </a:lnTo>
                  <a:lnTo>
                    <a:pt x="182" y="2792"/>
                  </a:lnTo>
                  <a:lnTo>
                    <a:pt x="186" y="2844"/>
                  </a:lnTo>
                  <a:lnTo>
                    <a:pt x="190" y="2864"/>
                  </a:lnTo>
                  <a:lnTo>
                    <a:pt x="186" y="2882"/>
                  </a:lnTo>
                  <a:lnTo>
                    <a:pt x="188" y="2896"/>
                  </a:lnTo>
                  <a:lnTo>
                    <a:pt x="182" y="2898"/>
                  </a:lnTo>
                  <a:lnTo>
                    <a:pt x="178" y="2898"/>
                  </a:lnTo>
                  <a:lnTo>
                    <a:pt x="176" y="2896"/>
                  </a:lnTo>
                  <a:lnTo>
                    <a:pt x="176" y="2894"/>
                  </a:lnTo>
                  <a:lnTo>
                    <a:pt x="174" y="2888"/>
                  </a:lnTo>
                  <a:lnTo>
                    <a:pt x="172" y="2886"/>
                  </a:lnTo>
                  <a:lnTo>
                    <a:pt x="170" y="2886"/>
                  </a:lnTo>
                  <a:lnTo>
                    <a:pt x="172" y="2886"/>
                  </a:lnTo>
                  <a:lnTo>
                    <a:pt x="174" y="2888"/>
                  </a:lnTo>
                  <a:lnTo>
                    <a:pt x="176" y="2894"/>
                  </a:lnTo>
                  <a:lnTo>
                    <a:pt x="176" y="2896"/>
                  </a:lnTo>
                  <a:lnTo>
                    <a:pt x="178" y="2898"/>
                  </a:lnTo>
                  <a:lnTo>
                    <a:pt x="182" y="2898"/>
                  </a:lnTo>
                  <a:lnTo>
                    <a:pt x="188" y="2896"/>
                  </a:lnTo>
                  <a:lnTo>
                    <a:pt x="174" y="2986"/>
                  </a:lnTo>
                  <a:lnTo>
                    <a:pt x="174" y="3028"/>
                  </a:lnTo>
                  <a:lnTo>
                    <a:pt x="168" y="3124"/>
                  </a:lnTo>
                  <a:lnTo>
                    <a:pt x="174" y="3168"/>
                  </a:lnTo>
                  <a:lnTo>
                    <a:pt x="210" y="3264"/>
                  </a:lnTo>
                  <a:lnTo>
                    <a:pt x="248" y="3338"/>
                  </a:lnTo>
                  <a:lnTo>
                    <a:pt x="248" y="3362"/>
                  </a:lnTo>
                  <a:lnTo>
                    <a:pt x="254" y="3368"/>
                  </a:lnTo>
                  <a:lnTo>
                    <a:pt x="258" y="3372"/>
                  </a:lnTo>
                  <a:lnTo>
                    <a:pt x="262" y="3384"/>
                  </a:lnTo>
                  <a:lnTo>
                    <a:pt x="264" y="3394"/>
                  </a:lnTo>
                  <a:lnTo>
                    <a:pt x="268" y="3400"/>
                  </a:lnTo>
                  <a:lnTo>
                    <a:pt x="272" y="3406"/>
                  </a:lnTo>
                  <a:lnTo>
                    <a:pt x="276" y="3412"/>
                  </a:lnTo>
                  <a:lnTo>
                    <a:pt x="278" y="3416"/>
                  </a:lnTo>
                  <a:lnTo>
                    <a:pt x="278" y="3424"/>
                  </a:lnTo>
                  <a:lnTo>
                    <a:pt x="280" y="3432"/>
                  </a:lnTo>
                  <a:lnTo>
                    <a:pt x="282" y="3438"/>
                  </a:lnTo>
                  <a:lnTo>
                    <a:pt x="286" y="3444"/>
                  </a:lnTo>
                  <a:lnTo>
                    <a:pt x="294" y="3452"/>
                  </a:lnTo>
                  <a:lnTo>
                    <a:pt x="302" y="3456"/>
                  </a:lnTo>
                  <a:lnTo>
                    <a:pt x="320" y="3464"/>
                  </a:lnTo>
                  <a:lnTo>
                    <a:pt x="334" y="3470"/>
                  </a:lnTo>
                  <a:lnTo>
                    <a:pt x="338" y="3474"/>
                  </a:lnTo>
                  <a:lnTo>
                    <a:pt x="338" y="3478"/>
                  </a:lnTo>
                  <a:lnTo>
                    <a:pt x="338" y="3480"/>
                  </a:lnTo>
                  <a:lnTo>
                    <a:pt x="340" y="3484"/>
                  </a:lnTo>
                  <a:lnTo>
                    <a:pt x="350" y="3490"/>
                  </a:lnTo>
                  <a:lnTo>
                    <a:pt x="360" y="3496"/>
                  </a:lnTo>
                  <a:lnTo>
                    <a:pt x="366" y="3500"/>
                  </a:lnTo>
                  <a:lnTo>
                    <a:pt x="374" y="3508"/>
                  </a:lnTo>
                  <a:lnTo>
                    <a:pt x="382" y="3512"/>
                  </a:lnTo>
                  <a:lnTo>
                    <a:pt x="388" y="3514"/>
                  </a:lnTo>
                  <a:lnTo>
                    <a:pt x="394" y="3514"/>
                  </a:lnTo>
                  <a:lnTo>
                    <a:pt x="404" y="3516"/>
                  </a:lnTo>
                  <a:lnTo>
                    <a:pt x="410" y="3516"/>
                  </a:lnTo>
                  <a:lnTo>
                    <a:pt x="414" y="3522"/>
                  </a:lnTo>
                  <a:lnTo>
                    <a:pt x="420" y="3524"/>
                  </a:lnTo>
                  <a:lnTo>
                    <a:pt x="424" y="3526"/>
                  </a:lnTo>
                  <a:lnTo>
                    <a:pt x="428" y="3524"/>
                  </a:lnTo>
                  <a:lnTo>
                    <a:pt x="432" y="3522"/>
                  </a:lnTo>
                  <a:lnTo>
                    <a:pt x="442" y="3514"/>
                  </a:lnTo>
                  <a:lnTo>
                    <a:pt x="446" y="3512"/>
                  </a:lnTo>
                  <a:lnTo>
                    <a:pt x="450" y="3512"/>
                  </a:lnTo>
                  <a:lnTo>
                    <a:pt x="456" y="3510"/>
                  </a:lnTo>
                  <a:lnTo>
                    <a:pt x="458" y="3508"/>
                  </a:lnTo>
                  <a:lnTo>
                    <a:pt x="462" y="3504"/>
                  </a:lnTo>
                  <a:lnTo>
                    <a:pt x="464" y="3502"/>
                  </a:lnTo>
                  <a:lnTo>
                    <a:pt x="468" y="3502"/>
                  </a:lnTo>
                  <a:lnTo>
                    <a:pt x="472" y="3500"/>
                  </a:lnTo>
                  <a:lnTo>
                    <a:pt x="476" y="3498"/>
                  </a:lnTo>
                  <a:lnTo>
                    <a:pt x="480" y="3494"/>
                  </a:lnTo>
                  <a:lnTo>
                    <a:pt x="482" y="3492"/>
                  </a:lnTo>
                  <a:lnTo>
                    <a:pt x="488" y="3490"/>
                  </a:lnTo>
                  <a:lnTo>
                    <a:pt x="492" y="3490"/>
                  </a:lnTo>
                  <a:lnTo>
                    <a:pt x="500" y="3492"/>
                  </a:lnTo>
                  <a:lnTo>
                    <a:pt x="508" y="3496"/>
                  </a:lnTo>
                  <a:lnTo>
                    <a:pt x="514" y="3502"/>
                  </a:lnTo>
                  <a:lnTo>
                    <a:pt x="518" y="3512"/>
                  </a:lnTo>
                  <a:lnTo>
                    <a:pt x="520" y="3522"/>
                  </a:lnTo>
                  <a:lnTo>
                    <a:pt x="524" y="3542"/>
                  </a:lnTo>
                  <a:lnTo>
                    <a:pt x="526" y="3558"/>
                  </a:lnTo>
                  <a:lnTo>
                    <a:pt x="528" y="3562"/>
                  </a:lnTo>
                  <a:lnTo>
                    <a:pt x="532" y="3564"/>
                  </a:lnTo>
                  <a:lnTo>
                    <a:pt x="542" y="3566"/>
                  </a:lnTo>
                  <a:lnTo>
                    <a:pt x="550" y="3568"/>
                  </a:lnTo>
                  <a:lnTo>
                    <a:pt x="554" y="3570"/>
                  </a:lnTo>
                  <a:lnTo>
                    <a:pt x="558" y="3572"/>
                  </a:lnTo>
                  <a:lnTo>
                    <a:pt x="562" y="3576"/>
                  </a:lnTo>
                  <a:lnTo>
                    <a:pt x="566" y="3574"/>
                  </a:lnTo>
                  <a:lnTo>
                    <a:pt x="570" y="3574"/>
                  </a:lnTo>
                  <a:lnTo>
                    <a:pt x="580" y="3574"/>
                  </a:lnTo>
                  <a:lnTo>
                    <a:pt x="586" y="3574"/>
                  </a:lnTo>
                  <a:lnTo>
                    <a:pt x="590" y="3576"/>
                  </a:lnTo>
                  <a:lnTo>
                    <a:pt x="596" y="3580"/>
                  </a:lnTo>
                  <a:lnTo>
                    <a:pt x="600" y="3584"/>
                  </a:lnTo>
                  <a:lnTo>
                    <a:pt x="604" y="3584"/>
                  </a:lnTo>
                  <a:lnTo>
                    <a:pt x="608" y="3582"/>
                  </a:lnTo>
                  <a:lnTo>
                    <a:pt x="614" y="3580"/>
                  </a:lnTo>
                  <a:lnTo>
                    <a:pt x="620" y="3582"/>
                  </a:lnTo>
                  <a:lnTo>
                    <a:pt x="636" y="3584"/>
                  </a:lnTo>
                  <a:lnTo>
                    <a:pt x="650" y="3588"/>
                  </a:lnTo>
                  <a:lnTo>
                    <a:pt x="652" y="3588"/>
                  </a:lnTo>
                  <a:lnTo>
                    <a:pt x="654" y="3586"/>
                  </a:lnTo>
                  <a:lnTo>
                    <a:pt x="654" y="3582"/>
                  </a:lnTo>
                  <a:lnTo>
                    <a:pt x="656" y="3580"/>
                  </a:lnTo>
                  <a:lnTo>
                    <a:pt x="658" y="3582"/>
                  </a:lnTo>
                  <a:lnTo>
                    <a:pt x="662" y="3586"/>
                  </a:lnTo>
                  <a:lnTo>
                    <a:pt x="664" y="3590"/>
                  </a:lnTo>
                  <a:lnTo>
                    <a:pt x="670" y="3592"/>
                  </a:lnTo>
                  <a:lnTo>
                    <a:pt x="678" y="3594"/>
                  </a:lnTo>
                  <a:lnTo>
                    <a:pt x="688" y="3598"/>
                  </a:lnTo>
                  <a:lnTo>
                    <a:pt x="692" y="3600"/>
                  </a:lnTo>
                  <a:lnTo>
                    <a:pt x="696" y="3600"/>
                  </a:lnTo>
                  <a:lnTo>
                    <a:pt x="696" y="3596"/>
                  </a:lnTo>
                  <a:lnTo>
                    <a:pt x="698" y="3592"/>
                  </a:lnTo>
                  <a:lnTo>
                    <a:pt x="700" y="3592"/>
                  </a:lnTo>
                  <a:lnTo>
                    <a:pt x="702" y="3592"/>
                  </a:lnTo>
                  <a:lnTo>
                    <a:pt x="706" y="3598"/>
                  </a:lnTo>
                  <a:lnTo>
                    <a:pt x="710" y="3600"/>
                  </a:lnTo>
                  <a:lnTo>
                    <a:pt x="712" y="3600"/>
                  </a:lnTo>
                  <a:lnTo>
                    <a:pt x="716" y="3598"/>
                  </a:lnTo>
                  <a:lnTo>
                    <a:pt x="724" y="3594"/>
                  </a:lnTo>
                  <a:lnTo>
                    <a:pt x="726" y="3592"/>
                  </a:lnTo>
                  <a:lnTo>
                    <a:pt x="730" y="3594"/>
                  </a:lnTo>
                  <a:lnTo>
                    <a:pt x="732" y="3594"/>
                  </a:lnTo>
                  <a:lnTo>
                    <a:pt x="734" y="3594"/>
                  </a:lnTo>
                  <a:lnTo>
                    <a:pt x="738" y="3590"/>
                  </a:lnTo>
                  <a:lnTo>
                    <a:pt x="740" y="3588"/>
                  </a:lnTo>
                  <a:lnTo>
                    <a:pt x="746" y="3588"/>
                  </a:lnTo>
                  <a:lnTo>
                    <a:pt x="752" y="3588"/>
                  </a:lnTo>
                  <a:lnTo>
                    <a:pt x="762" y="3590"/>
                  </a:lnTo>
                  <a:lnTo>
                    <a:pt x="770" y="3594"/>
                  </a:lnTo>
                  <a:lnTo>
                    <a:pt x="774" y="3594"/>
                  </a:lnTo>
                  <a:lnTo>
                    <a:pt x="776" y="3592"/>
                  </a:lnTo>
                  <a:lnTo>
                    <a:pt x="778" y="3590"/>
                  </a:lnTo>
                  <a:lnTo>
                    <a:pt x="780" y="3588"/>
                  </a:lnTo>
                  <a:lnTo>
                    <a:pt x="782" y="3586"/>
                  </a:lnTo>
                  <a:lnTo>
                    <a:pt x="786" y="3586"/>
                  </a:lnTo>
                  <a:lnTo>
                    <a:pt x="794" y="3586"/>
                  </a:lnTo>
                  <a:lnTo>
                    <a:pt x="810" y="3590"/>
                  </a:lnTo>
                  <a:lnTo>
                    <a:pt x="820" y="3594"/>
                  </a:lnTo>
                  <a:lnTo>
                    <a:pt x="824" y="3594"/>
                  </a:lnTo>
                  <a:lnTo>
                    <a:pt x="828" y="3590"/>
                  </a:lnTo>
                  <a:lnTo>
                    <a:pt x="832" y="3588"/>
                  </a:lnTo>
                  <a:lnTo>
                    <a:pt x="840" y="3586"/>
                  </a:lnTo>
                  <a:lnTo>
                    <a:pt x="866" y="3582"/>
                  </a:lnTo>
                  <a:lnTo>
                    <a:pt x="892" y="3582"/>
                  </a:lnTo>
                  <a:lnTo>
                    <a:pt x="900" y="3584"/>
                  </a:lnTo>
                  <a:lnTo>
                    <a:pt x="904" y="3586"/>
                  </a:lnTo>
                  <a:lnTo>
                    <a:pt x="904" y="3588"/>
                  </a:lnTo>
                  <a:lnTo>
                    <a:pt x="904" y="3598"/>
                  </a:lnTo>
                  <a:lnTo>
                    <a:pt x="904" y="3606"/>
                  </a:lnTo>
                  <a:lnTo>
                    <a:pt x="904" y="3608"/>
                  </a:lnTo>
                  <a:lnTo>
                    <a:pt x="906" y="3610"/>
                  </a:lnTo>
                  <a:lnTo>
                    <a:pt x="916" y="3612"/>
                  </a:lnTo>
                  <a:lnTo>
                    <a:pt x="920" y="3612"/>
                  </a:lnTo>
                  <a:lnTo>
                    <a:pt x="924" y="3614"/>
                  </a:lnTo>
                  <a:lnTo>
                    <a:pt x="926" y="3616"/>
                  </a:lnTo>
                  <a:lnTo>
                    <a:pt x="926" y="3620"/>
                  </a:lnTo>
                  <a:lnTo>
                    <a:pt x="926" y="3626"/>
                  </a:lnTo>
                  <a:lnTo>
                    <a:pt x="926" y="3630"/>
                  </a:lnTo>
                  <a:lnTo>
                    <a:pt x="928" y="3634"/>
                  </a:lnTo>
                  <a:lnTo>
                    <a:pt x="932" y="3638"/>
                  </a:lnTo>
                  <a:lnTo>
                    <a:pt x="932" y="3642"/>
                  </a:lnTo>
                  <a:lnTo>
                    <a:pt x="932" y="3646"/>
                  </a:lnTo>
                  <a:lnTo>
                    <a:pt x="934" y="3652"/>
                  </a:lnTo>
                  <a:lnTo>
                    <a:pt x="938" y="3654"/>
                  </a:lnTo>
                  <a:lnTo>
                    <a:pt x="936" y="3656"/>
                  </a:lnTo>
                  <a:lnTo>
                    <a:pt x="936" y="3658"/>
                  </a:lnTo>
                  <a:lnTo>
                    <a:pt x="940" y="3662"/>
                  </a:lnTo>
                  <a:lnTo>
                    <a:pt x="944" y="3664"/>
                  </a:lnTo>
                  <a:lnTo>
                    <a:pt x="946" y="3664"/>
                  </a:lnTo>
                  <a:lnTo>
                    <a:pt x="950" y="3664"/>
                  </a:lnTo>
                  <a:lnTo>
                    <a:pt x="952" y="3662"/>
                  </a:lnTo>
                  <a:lnTo>
                    <a:pt x="956" y="3664"/>
                  </a:lnTo>
                  <a:lnTo>
                    <a:pt x="958" y="3666"/>
                  </a:lnTo>
                  <a:lnTo>
                    <a:pt x="962" y="3670"/>
                  </a:lnTo>
                  <a:lnTo>
                    <a:pt x="966" y="3674"/>
                  </a:lnTo>
                  <a:lnTo>
                    <a:pt x="972" y="3676"/>
                  </a:lnTo>
                  <a:lnTo>
                    <a:pt x="976" y="3680"/>
                  </a:lnTo>
                  <a:lnTo>
                    <a:pt x="982" y="3690"/>
                  </a:lnTo>
                  <a:lnTo>
                    <a:pt x="986" y="3696"/>
                  </a:lnTo>
                  <a:lnTo>
                    <a:pt x="992" y="3702"/>
                  </a:lnTo>
                  <a:lnTo>
                    <a:pt x="1000" y="3708"/>
                  </a:lnTo>
                  <a:lnTo>
                    <a:pt x="1008" y="3712"/>
                  </a:lnTo>
                  <a:lnTo>
                    <a:pt x="1016" y="3716"/>
                  </a:lnTo>
                  <a:lnTo>
                    <a:pt x="1024" y="3716"/>
                  </a:lnTo>
                  <a:lnTo>
                    <a:pt x="1032" y="3716"/>
                  </a:lnTo>
                  <a:lnTo>
                    <a:pt x="1038" y="3712"/>
                  </a:lnTo>
                  <a:lnTo>
                    <a:pt x="1044" y="3708"/>
                  </a:lnTo>
                  <a:lnTo>
                    <a:pt x="1048" y="3708"/>
                  </a:lnTo>
                  <a:lnTo>
                    <a:pt x="1052" y="3710"/>
                  </a:lnTo>
                  <a:lnTo>
                    <a:pt x="1052" y="3714"/>
                  </a:lnTo>
                  <a:lnTo>
                    <a:pt x="1050" y="3720"/>
                  </a:lnTo>
                  <a:lnTo>
                    <a:pt x="1046" y="3726"/>
                  </a:lnTo>
                  <a:lnTo>
                    <a:pt x="1040" y="3730"/>
                  </a:lnTo>
                  <a:lnTo>
                    <a:pt x="1028" y="3734"/>
                  </a:lnTo>
                  <a:lnTo>
                    <a:pt x="1016" y="3736"/>
                  </a:lnTo>
                  <a:lnTo>
                    <a:pt x="1006" y="3734"/>
                  </a:lnTo>
                  <a:lnTo>
                    <a:pt x="992" y="3732"/>
                  </a:lnTo>
                  <a:lnTo>
                    <a:pt x="992" y="3734"/>
                  </a:lnTo>
                  <a:lnTo>
                    <a:pt x="994" y="3740"/>
                  </a:lnTo>
                  <a:lnTo>
                    <a:pt x="1018" y="3770"/>
                  </a:lnTo>
                  <a:lnTo>
                    <a:pt x="1048" y="3804"/>
                  </a:lnTo>
                  <a:lnTo>
                    <a:pt x="1060" y="3814"/>
                  </a:lnTo>
                  <a:lnTo>
                    <a:pt x="1070" y="3820"/>
                  </a:lnTo>
                  <a:lnTo>
                    <a:pt x="1078" y="3822"/>
                  </a:lnTo>
                  <a:lnTo>
                    <a:pt x="1090" y="3818"/>
                  </a:lnTo>
                  <a:lnTo>
                    <a:pt x="1102" y="3810"/>
                  </a:lnTo>
                  <a:lnTo>
                    <a:pt x="1116" y="3798"/>
                  </a:lnTo>
                  <a:lnTo>
                    <a:pt x="1124" y="3790"/>
                  </a:lnTo>
                  <a:lnTo>
                    <a:pt x="1128" y="3782"/>
                  </a:lnTo>
                  <a:lnTo>
                    <a:pt x="1128" y="3772"/>
                  </a:lnTo>
                  <a:lnTo>
                    <a:pt x="1128" y="3764"/>
                  </a:lnTo>
                  <a:lnTo>
                    <a:pt x="1128" y="3756"/>
                  </a:lnTo>
                  <a:lnTo>
                    <a:pt x="1128" y="3750"/>
                  </a:lnTo>
                  <a:lnTo>
                    <a:pt x="1132" y="3744"/>
                  </a:lnTo>
                  <a:lnTo>
                    <a:pt x="1138" y="3742"/>
                  </a:lnTo>
                  <a:lnTo>
                    <a:pt x="1144" y="3740"/>
                  </a:lnTo>
                  <a:lnTo>
                    <a:pt x="1148" y="3740"/>
                  </a:lnTo>
                  <a:lnTo>
                    <a:pt x="1148" y="3742"/>
                  </a:lnTo>
                  <a:lnTo>
                    <a:pt x="1146" y="3746"/>
                  </a:lnTo>
                  <a:lnTo>
                    <a:pt x="1142" y="3754"/>
                  </a:lnTo>
                  <a:lnTo>
                    <a:pt x="1142" y="3760"/>
                  </a:lnTo>
                  <a:lnTo>
                    <a:pt x="1144" y="3764"/>
                  </a:lnTo>
                  <a:lnTo>
                    <a:pt x="1146" y="3770"/>
                  </a:lnTo>
                  <a:lnTo>
                    <a:pt x="1146" y="3774"/>
                  </a:lnTo>
                  <a:lnTo>
                    <a:pt x="1144" y="3778"/>
                  </a:lnTo>
                  <a:lnTo>
                    <a:pt x="1144" y="3782"/>
                  </a:lnTo>
                  <a:lnTo>
                    <a:pt x="1144" y="3788"/>
                  </a:lnTo>
                  <a:lnTo>
                    <a:pt x="1146" y="3794"/>
                  </a:lnTo>
                  <a:lnTo>
                    <a:pt x="1150" y="3804"/>
                  </a:lnTo>
                  <a:lnTo>
                    <a:pt x="1154" y="3814"/>
                  </a:lnTo>
                  <a:lnTo>
                    <a:pt x="1154" y="3822"/>
                  </a:lnTo>
                  <a:lnTo>
                    <a:pt x="1150" y="3838"/>
                  </a:lnTo>
                  <a:lnTo>
                    <a:pt x="1148" y="3848"/>
                  </a:lnTo>
                  <a:lnTo>
                    <a:pt x="1148" y="3864"/>
                  </a:lnTo>
                  <a:lnTo>
                    <a:pt x="1148" y="3884"/>
                  </a:lnTo>
                  <a:lnTo>
                    <a:pt x="1152" y="3912"/>
                  </a:lnTo>
                  <a:lnTo>
                    <a:pt x="1170" y="4010"/>
                  </a:lnTo>
                  <a:lnTo>
                    <a:pt x="1176" y="4042"/>
                  </a:lnTo>
                  <a:lnTo>
                    <a:pt x="1184" y="4060"/>
                  </a:lnTo>
                  <a:lnTo>
                    <a:pt x="1194" y="4084"/>
                  </a:lnTo>
                  <a:lnTo>
                    <a:pt x="1210" y="4122"/>
                  </a:lnTo>
                  <a:lnTo>
                    <a:pt x="1224" y="4164"/>
                  </a:lnTo>
                  <a:lnTo>
                    <a:pt x="1230" y="4184"/>
                  </a:lnTo>
                  <a:lnTo>
                    <a:pt x="1232" y="4204"/>
                  </a:lnTo>
                  <a:lnTo>
                    <a:pt x="1236" y="4220"/>
                  </a:lnTo>
                  <a:lnTo>
                    <a:pt x="1240" y="4232"/>
                  </a:lnTo>
                  <a:lnTo>
                    <a:pt x="1254" y="4256"/>
                  </a:lnTo>
                  <a:lnTo>
                    <a:pt x="1262" y="4268"/>
                  </a:lnTo>
                  <a:lnTo>
                    <a:pt x="1268" y="4284"/>
                  </a:lnTo>
                  <a:lnTo>
                    <a:pt x="1276" y="4304"/>
                  </a:lnTo>
                  <a:lnTo>
                    <a:pt x="1282" y="4330"/>
                  </a:lnTo>
                  <a:lnTo>
                    <a:pt x="1290" y="4358"/>
                  </a:lnTo>
                  <a:lnTo>
                    <a:pt x="1296" y="4384"/>
                  </a:lnTo>
                  <a:lnTo>
                    <a:pt x="1306" y="4406"/>
                  </a:lnTo>
                  <a:lnTo>
                    <a:pt x="1314" y="4424"/>
                  </a:lnTo>
                  <a:lnTo>
                    <a:pt x="1324" y="4436"/>
                  </a:lnTo>
                  <a:lnTo>
                    <a:pt x="1328" y="4442"/>
                  </a:lnTo>
                  <a:lnTo>
                    <a:pt x="1334" y="4444"/>
                  </a:lnTo>
                  <a:lnTo>
                    <a:pt x="1338" y="4446"/>
                  </a:lnTo>
                  <a:lnTo>
                    <a:pt x="1344" y="4446"/>
                  </a:lnTo>
                  <a:lnTo>
                    <a:pt x="1348" y="4444"/>
                  </a:lnTo>
                  <a:lnTo>
                    <a:pt x="1354" y="4440"/>
                  </a:lnTo>
                  <a:lnTo>
                    <a:pt x="1362" y="4432"/>
                  </a:lnTo>
                  <a:lnTo>
                    <a:pt x="1366" y="4424"/>
                  </a:lnTo>
                  <a:lnTo>
                    <a:pt x="1368" y="4416"/>
                  </a:lnTo>
                  <a:lnTo>
                    <a:pt x="1368" y="4410"/>
                  </a:lnTo>
                  <a:lnTo>
                    <a:pt x="1368" y="4406"/>
                  </a:lnTo>
                  <a:lnTo>
                    <a:pt x="1372" y="4400"/>
                  </a:lnTo>
                  <a:lnTo>
                    <a:pt x="1376" y="4396"/>
                  </a:lnTo>
                  <a:lnTo>
                    <a:pt x="1384" y="4394"/>
                  </a:lnTo>
                  <a:lnTo>
                    <a:pt x="1402" y="4390"/>
                  </a:lnTo>
                  <a:lnTo>
                    <a:pt x="1412" y="4390"/>
                  </a:lnTo>
                  <a:lnTo>
                    <a:pt x="1418" y="4390"/>
                  </a:lnTo>
                  <a:lnTo>
                    <a:pt x="1420" y="4390"/>
                  </a:lnTo>
                  <a:lnTo>
                    <a:pt x="1420" y="4388"/>
                  </a:lnTo>
                  <a:lnTo>
                    <a:pt x="1420" y="4386"/>
                  </a:lnTo>
                  <a:lnTo>
                    <a:pt x="1416" y="4384"/>
                  </a:lnTo>
                  <a:lnTo>
                    <a:pt x="1408" y="4382"/>
                  </a:lnTo>
                  <a:lnTo>
                    <a:pt x="1404" y="4380"/>
                  </a:lnTo>
                  <a:lnTo>
                    <a:pt x="1400" y="4376"/>
                  </a:lnTo>
                  <a:lnTo>
                    <a:pt x="1402" y="4370"/>
                  </a:lnTo>
                  <a:lnTo>
                    <a:pt x="1406" y="4362"/>
                  </a:lnTo>
                  <a:lnTo>
                    <a:pt x="1410" y="4354"/>
                  </a:lnTo>
                  <a:lnTo>
                    <a:pt x="1412" y="4348"/>
                  </a:lnTo>
                  <a:lnTo>
                    <a:pt x="1412" y="4342"/>
                  </a:lnTo>
                  <a:lnTo>
                    <a:pt x="1414" y="4340"/>
                  </a:lnTo>
                  <a:lnTo>
                    <a:pt x="1428" y="4338"/>
                  </a:lnTo>
                  <a:lnTo>
                    <a:pt x="1434" y="4336"/>
                  </a:lnTo>
                  <a:lnTo>
                    <a:pt x="1436" y="4334"/>
                  </a:lnTo>
                  <a:lnTo>
                    <a:pt x="1438" y="4332"/>
                  </a:lnTo>
                  <a:lnTo>
                    <a:pt x="1438" y="4322"/>
                  </a:lnTo>
                  <a:lnTo>
                    <a:pt x="1436" y="4312"/>
                  </a:lnTo>
                  <a:lnTo>
                    <a:pt x="1434" y="4298"/>
                  </a:lnTo>
                  <a:lnTo>
                    <a:pt x="1432" y="4284"/>
                  </a:lnTo>
                  <a:lnTo>
                    <a:pt x="1434" y="4266"/>
                  </a:lnTo>
                  <a:lnTo>
                    <a:pt x="1440" y="4246"/>
                  </a:lnTo>
                  <a:lnTo>
                    <a:pt x="1448" y="4226"/>
                  </a:lnTo>
                  <a:lnTo>
                    <a:pt x="1454" y="4206"/>
                  </a:lnTo>
                  <a:lnTo>
                    <a:pt x="1456" y="4196"/>
                  </a:lnTo>
                  <a:lnTo>
                    <a:pt x="1454" y="4186"/>
                  </a:lnTo>
                  <a:lnTo>
                    <a:pt x="1452" y="4172"/>
                  </a:lnTo>
                  <a:lnTo>
                    <a:pt x="1448" y="4154"/>
                  </a:lnTo>
                  <a:lnTo>
                    <a:pt x="1448" y="4144"/>
                  </a:lnTo>
                  <a:lnTo>
                    <a:pt x="1450" y="4138"/>
                  </a:lnTo>
                  <a:lnTo>
                    <a:pt x="1450" y="4128"/>
                  </a:lnTo>
                  <a:lnTo>
                    <a:pt x="1446" y="4108"/>
                  </a:lnTo>
                  <a:lnTo>
                    <a:pt x="1444" y="4098"/>
                  </a:lnTo>
                  <a:lnTo>
                    <a:pt x="1442" y="4088"/>
                  </a:lnTo>
                  <a:lnTo>
                    <a:pt x="1444" y="4082"/>
                  </a:lnTo>
                  <a:lnTo>
                    <a:pt x="1444" y="4076"/>
                  </a:lnTo>
                  <a:lnTo>
                    <a:pt x="1448" y="4074"/>
                  </a:lnTo>
                  <a:lnTo>
                    <a:pt x="1452" y="4070"/>
                  </a:lnTo>
                  <a:lnTo>
                    <a:pt x="1460" y="4068"/>
                  </a:lnTo>
                  <a:lnTo>
                    <a:pt x="1470" y="4066"/>
                  </a:lnTo>
                  <a:lnTo>
                    <a:pt x="1480" y="4064"/>
                  </a:lnTo>
                  <a:lnTo>
                    <a:pt x="1488" y="4058"/>
                  </a:lnTo>
                  <a:lnTo>
                    <a:pt x="1490" y="4054"/>
                  </a:lnTo>
                  <a:lnTo>
                    <a:pt x="1492" y="4050"/>
                  </a:lnTo>
                  <a:lnTo>
                    <a:pt x="1494" y="4040"/>
                  </a:lnTo>
                  <a:lnTo>
                    <a:pt x="1496" y="4038"/>
                  </a:lnTo>
                  <a:lnTo>
                    <a:pt x="1498" y="4038"/>
                  </a:lnTo>
                  <a:lnTo>
                    <a:pt x="1502" y="4040"/>
                  </a:lnTo>
                  <a:lnTo>
                    <a:pt x="1506" y="4042"/>
                  </a:lnTo>
                  <a:lnTo>
                    <a:pt x="1512" y="4042"/>
                  </a:lnTo>
                  <a:lnTo>
                    <a:pt x="1520" y="4040"/>
                  </a:lnTo>
                  <a:lnTo>
                    <a:pt x="1530" y="4032"/>
                  </a:lnTo>
                  <a:lnTo>
                    <a:pt x="1536" y="4024"/>
                  </a:lnTo>
                  <a:lnTo>
                    <a:pt x="1538" y="4020"/>
                  </a:lnTo>
                  <a:lnTo>
                    <a:pt x="1538" y="4016"/>
                  </a:lnTo>
                  <a:lnTo>
                    <a:pt x="1538" y="4014"/>
                  </a:lnTo>
                  <a:lnTo>
                    <a:pt x="1538" y="4010"/>
                  </a:lnTo>
                  <a:lnTo>
                    <a:pt x="1542" y="4004"/>
                  </a:lnTo>
                  <a:lnTo>
                    <a:pt x="1550" y="3996"/>
                  </a:lnTo>
                  <a:lnTo>
                    <a:pt x="1566" y="3982"/>
                  </a:lnTo>
                  <a:lnTo>
                    <a:pt x="1584" y="3966"/>
                  </a:lnTo>
                  <a:lnTo>
                    <a:pt x="1600" y="3950"/>
                  </a:lnTo>
                  <a:lnTo>
                    <a:pt x="1624" y="3918"/>
                  </a:lnTo>
                  <a:lnTo>
                    <a:pt x="1644" y="3892"/>
                  </a:lnTo>
                  <a:lnTo>
                    <a:pt x="1654" y="3880"/>
                  </a:lnTo>
                  <a:lnTo>
                    <a:pt x="1666" y="3870"/>
                  </a:lnTo>
                  <a:lnTo>
                    <a:pt x="1674" y="3866"/>
                  </a:lnTo>
                  <a:lnTo>
                    <a:pt x="1680" y="3864"/>
                  </a:lnTo>
                  <a:lnTo>
                    <a:pt x="1688" y="3864"/>
                  </a:lnTo>
                  <a:lnTo>
                    <a:pt x="1692" y="3864"/>
                  </a:lnTo>
                  <a:lnTo>
                    <a:pt x="1696" y="3860"/>
                  </a:lnTo>
                  <a:lnTo>
                    <a:pt x="1704" y="3852"/>
                  </a:lnTo>
                  <a:lnTo>
                    <a:pt x="1714" y="3840"/>
                  </a:lnTo>
                  <a:lnTo>
                    <a:pt x="1722" y="3828"/>
                  </a:lnTo>
                  <a:lnTo>
                    <a:pt x="1724" y="3816"/>
                  </a:lnTo>
                  <a:lnTo>
                    <a:pt x="1724" y="3808"/>
                  </a:lnTo>
                  <a:lnTo>
                    <a:pt x="1722" y="3802"/>
                  </a:lnTo>
                  <a:lnTo>
                    <a:pt x="1720" y="3796"/>
                  </a:lnTo>
                  <a:lnTo>
                    <a:pt x="1720" y="3790"/>
                  </a:lnTo>
                  <a:lnTo>
                    <a:pt x="1724" y="3784"/>
                  </a:lnTo>
                  <a:lnTo>
                    <a:pt x="1736" y="3778"/>
                  </a:lnTo>
                  <a:lnTo>
                    <a:pt x="1748" y="3772"/>
                  </a:lnTo>
                  <a:lnTo>
                    <a:pt x="1756" y="3766"/>
                  </a:lnTo>
                  <a:lnTo>
                    <a:pt x="1768" y="3758"/>
                  </a:lnTo>
                  <a:lnTo>
                    <a:pt x="1770" y="3756"/>
                  </a:lnTo>
                  <a:lnTo>
                    <a:pt x="1772" y="3756"/>
                  </a:lnTo>
                  <a:lnTo>
                    <a:pt x="1774" y="3766"/>
                  </a:lnTo>
                  <a:lnTo>
                    <a:pt x="1774" y="3772"/>
                  </a:lnTo>
                  <a:lnTo>
                    <a:pt x="1778" y="3776"/>
                  </a:lnTo>
                  <a:lnTo>
                    <a:pt x="1780" y="3778"/>
                  </a:lnTo>
                  <a:lnTo>
                    <a:pt x="1784" y="3778"/>
                  </a:lnTo>
                  <a:lnTo>
                    <a:pt x="1790" y="3774"/>
                  </a:lnTo>
                  <a:lnTo>
                    <a:pt x="1794" y="3774"/>
                  </a:lnTo>
                  <a:lnTo>
                    <a:pt x="1798" y="3774"/>
                  </a:lnTo>
                  <a:lnTo>
                    <a:pt x="1804" y="3776"/>
                  </a:lnTo>
                  <a:lnTo>
                    <a:pt x="1808" y="3776"/>
                  </a:lnTo>
                  <a:lnTo>
                    <a:pt x="1810" y="3774"/>
                  </a:lnTo>
                  <a:lnTo>
                    <a:pt x="1808" y="3768"/>
                  </a:lnTo>
                  <a:lnTo>
                    <a:pt x="1806" y="3760"/>
                  </a:lnTo>
                  <a:lnTo>
                    <a:pt x="1806" y="3758"/>
                  </a:lnTo>
                  <a:lnTo>
                    <a:pt x="1810" y="3756"/>
                  </a:lnTo>
                  <a:lnTo>
                    <a:pt x="1812" y="3762"/>
                  </a:lnTo>
                  <a:lnTo>
                    <a:pt x="1816" y="3766"/>
                  </a:lnTo>
                  <a:lnTo>
                    <a:pt x="1818" y="3766"/>
                  </a:lnTo>
                  <a:lnTo>
                    <a:pt x="1820" y="3766"/>
                  </a:lnTo>
                  <a:lnTo>
                    <a:pt x="1824" y="3766"/>
                  </a:lnTo>
                  <a:lnTo>
                    <a:pt x="1826" y="3766"/>
                  </a:lnTo>
                  <a:lnTo>
                    <a:pt x="1828" y="3768"/>
                  </a:lnTo>
                  <a:lnTo>
                    <a:pt x="1830" y="3770"/>
                  </a:lnTo>
                  <a:lnTo>
                    <a:pt x="1832" y="3770"/>
                  </a:lnTo>
                  <a:lnTo>
                    <a:pt x="1836" y="3764"/>
                  </a:lnTo>
                  <a:lnTo>
                    <a:pt x="1842" y="3760"/>
                  </a:lnTo>
                  <a:lnTo>
                    <a:pt x="1844" y="3760"/>
                  </a:lnTo>
                  <a:lnTo>
                    <a:pt x="1848" y="3762"/>
                  </a:lnTo>
                  <a:lnTo>
                    <a:pt x="1852" y="3766"/>
                  </a:lnTo>
                  <a:lnTo>
                    <a:pt x="1856" y="3764"/>
                  </a:lnTo>
                  <a:lnTo>
                    <a:pt x="1860" y="3762"/>
                  </a:lnTo>
                  <a:lnTo>
                    <a:pt x="1864" y="3756"/>
                  </a:lnTo>
                  <a:lnTo>
                    <a:pt x="1866" y="3748"/>
                  </a:lnTo>
                  <a:lnTo>
                    <a:pt x="1868" y="3740"/>
                  </a:lnTo>
                  <a:lnTo>
                    <a:pt x="1868" y="3734"/>
                  </a:lnTo>
                  <a:lnTo>
                    <a:pt x="1866" y="3726"/>
                  </a:lnTo>
                  <a:lnTo>
                    <a:pt x="1864" y="3716"/>
                  </a:lnTo>
                  <a:lnTo>
                    <a:pt x="1866" y="3706"/>
                  </a:lnTo>
                  <a:lnTo>
                    <a:pt x="1866" y="3698"/>
                  </a:lnTo>
                  <a:lnTo>
                    <a:pt x="1866" y="3690"/>
                  </a:lnTo>
                  <a:lnTo>
                    <a:pt x="1864" y="3686"/>
                  </a:lnTo>
                  <a:lnTo>
                    <a:pt x="1866" y="3684"/>
                  </a:lnTo>
                  <a:lnTo>
                    <a:pt x="1868" y="3680"/>
                  </a:lnTo>
                  <a:lnTo>
                    <a:pt x="1870" y="3676"/>
                  </a:lnTo>
                  <a:lnTo>
                    <a:pt x="1872" y="3678"/>
                  </a:lnTo>
                  <a:lnTo>
                    <a:pt x="1872" y="3684"/>
                  </a:lnTo>
                  <a:lnTo>
                    <a:pt x="1876" y="3710"/>
                  </a:lnTo>
                  <a:lnTo>
                    <a:pt x="1880" y="3720"/>
                  </a:lnTo>
                  <a:lnTo>
                    <a:pt x="1882" y="3724"/>
                  </a:lnTo>
                  <a:lnTo>
                    <a:pt x="1884" y="3726"/>
                  </a:lnTo>
                  <a:lnTo>
                    <a:pt x="1888" y="3726"/>
                  </a:lnTo>
                  <a:lnTo>
                    <a:pt x="1890" y="3726"/>
                  </a:lnTo>
                  <a:lnTo>
                    <a:pt x="1898" y="3722"/>
                  </a:lnTo>
                  <a:lnTo>
                    <a:pt x="1900" y="3720"/>
                  </a:lnTo>
                  <a:lnTo>
                    <a:pt x="1904" y="3720"/>
                  </a:lnTo>
                  <a:lnTo>
                    <a:pt x="1906" y="3722"/>
                  </a:lnTo>
                  <a:lnTo>
                    <a:pt x="1910" y="3726"/>
                  </a:lnTo>
                  <a:lnTo>
                    <a:pt x="1916" y="3738"/>
                  </a:lnTo>
                  <a:lnTo>
                    <a:pt x="1922" y="3760"/>
                  </a:lnTo>
                  <a:lnTo>
                    <a:pt x="1926" y="3768"/>
                  </a:lnTo>
                  <a:lnTo>
                    <a:pt x="1928" y="3772"/>
                  </a:lnTo>
                  <a:lnTo>
                    <a:pt x="1928" y="3774"/>
                  </a:lnTo>
                  <a:lnTo>
                    <a:pt x="1928" y="3780"/>
                  </a:lnTo>
                  <a:lnTo>
                    <a:pt x="1926" y="3786"/>
                  </a:lnTo>
                  <a:lnTo>
                    <a:pt x="1926" y="3792"/>
                  </a:lnTo>
                  <a:lnTo>
                    <a:pt x="1930" y="3804"/>
                  </a:lnTo>
                  <a:lnTo>
                    <a:pt x="1934" y="3814"/>
                  </a:lnTo>
                  <a:lnTo>
                    <a:pt x="1936" y="3810"/>
                  </a:lnTo>
                  <a:lnTo>
                    <a:pt x="1936" y="3800"/>
                  </a:lnTo>
                  <a:lnTo>
                    <a:pt x="1938" y="3806"/>
                  </a:lnTo>
                  <a:lnTo>
                    <a:pt x="1942" y="3816"/>
                  </a:lnTo>
                  <a:lnTo>
                    <a:pt x="1946" y="3828"/>
                  </a:lnTo>
                  <a:lnTo>
                    <a:pt x="1952" y="3838"/>
                  </a:lnTo>
                  <a:lnTo>
                    <a:pt x="1968" y="3862"/>
                  </a:lnTo>
                  <a:lnTo>
                    <a:pt x="1972" y="3864"/>
                  </a:lnTo>
                  <a:lnTo>
                    <a:pt x="1974" y="3860"/>
                  </a:lnTo>
                  <a:lnTo>
                    <a:pt x="1976" y="3856"/>
                  </a:lnTo>
                  <a:lnTo>
                    <a:pt x="1978" y="3854"/>
                  </a:lnTo>
                  <a:lnTo>
                    <a:pt x="1980" y="3854"/>
                  </a:lnTo>
                  <a:lnTo>
                    <a:pt x="1982" y="3854"/>
                  </a:lnTo>
                  <a:lnTo>
                    <a:pt x="1990" y="3862"/>
                  </a:lnTo>
                  <a:lnTo>
                    <a:pt x="1994" y="3870"/>
                  </a:lnTo>
                  <a:lnTo>
                    <a:pt x="1998" y="3876"/>
                  </a:lnTo>
                  <a:lnTo>
                    <a:pt x="2004" y="3882"/>
                  </a:lnTo>
                  <a:lnTo>
                    <a:pt x="2008" y="3886"/>
                  </a:lnTo>
                  <a:lnTo>
                    <a:pt x="2008" y="3888"/>
                  </a:lnTo>
                  <a:lnTo>
                    <a:pt x="2006" y="3890"/>
                  </a:lnTo>
                  <a:lnTo>
                    <a:pt x="2002" y="3892"/>
                  </a:lnTo>
                  <a:lnTo>
                    <a:pt x="2000" y="3892"/>
                  </a:lnTo>
                  <a:lnTo>
                    <a:pt x="1996" y="3890"/>
                  </a:lnTo>
                  <a:lnTo>
                    <a:pt x="1992" y="3886"/>
                  </a:lnTo>
                  <a:lnTo>
                    <a:pt x="1990" y="3886"/>
                  </a:lnTo>
                  <a:lnTo>
                    <a:pt x="1988" y="3888"/>
                  </a:lnTo>
                  <a:lnTo>
                    <a:pt x="1986" y="3890"/>
                  </a:lnTo>
                  <a:lnTo>
                    <a:pt x="1986" y="3894"/>
                  </a:lnTo>
                  <a:lnTo>
                    <a:pt x="1992" y="3904"/>
                  </a:lnTo>
                  <a:lnTo>
                    <a:pt x="1998" y="3910"/>
                  </a:lnTo>
                  <a:lnTo>
                    <a:pt x="2000" y="3912"/>
                  </a:lnTo>
                  <a:lnTo>
                    <a:pt x="2000" y="3910"/>
                  </a:lnTo>
                  <a:lnTo>
                    <a:pt x="2002" y="3904"/>
                  </a:lnTo>
                  <a:lnTo>
                    <a:pt x="2004" y="3900"/>
                  </a:lnTo>
                  <a:lnTo>
                    <a:pt x="2006" y="3900"/>
                  </a:lnTo>
                  <a:lnTo>
                    <a:pt x="2010" y="3912"/>
                  </a:lnTo>
                  <a:lnTo>
                    <a:pt x="2016" y="3930"/>
                  </a:lnTo>
                  <a:lnTo>
                    <a:pt x="2024" y="3950"/>
                  </a:lnTo>
                  <a:lnTo>
                    <a:pt x="2028" y="3960"/>
                  </a:lnTo>
                  <a:lnTo>
                    <a:pt x="2032" y="3972"/>
                  </a:lnTo>
                  <a:lnTo>
                    <a:pt x="2032" y="3982"/>
                  </a:lnTo>
                  <a:lnTo>
                    <a:pt x="2030" y="3992"/>
                  </a:lnTo>
                  <a:lnTo>
                    <a:pt x="2016" y="4034"/>
                  </a:lnTo>
                  <a:lnTo>
                    <a:pt x="2014" y="4050"/>
                  </a:lnTo>
                  <a:lnTo>
                    <a:pt x="2014" y="4056"/>
                  </a:lnTo>
                  <a:lnTo>
                    <a:pt x="2016" y="4058"/>
                  </a:lnTo>
                  <a:lnTo>
                    <a:pt x="2020" y="4058"/>
                  </a:lnTo>
                  <a:lnTo>
                    <a:pt x="2022" y="4056"/>
                  </a:lnTo>
                  <a:lnTo>
                    <a:pt x="2026" y="4050"/>
                  </a:lnTo>
                  <a:lnTo>
                    <a:pt x="2028" y="4044"/>
                  </a:lnTo>
                  <a:lnTo>
                    <a:pt x="2030" y="4042"/>
                  </a:lnTo>
                  <a:lnTo>
                    <a:pt x="2034" y="4042"/>
                  </a:lnTo>
                  <a:lnTo>
                    <a:pt x="2036" y="4042"/>
                  </a:lnTo>
                  <a:lnTo>
                    <a:pt x="2036" y="4044"/>
                  </a:lnTo>
                  <a:lnTo>
                    <a:pt x="2032" y="4048"/>
                  </a:lnTo>
                  <a:lnTo>
                    <a:pt x="2032" y="4054"/>
                  </a:lnTo>
                  <a:lnTo>
                    <a:pt x="2032" y="4056"/>
                  </a:lnTo>
                  <a:lnTo>
                    <a:pt x="2036" y="4060"/>
                  </a:lnTo>
                  <a:lnTo>
                    <a:pt x="2040" y="4064"/>
                  </a:lnTo>
                  <a:lnTo>
                    <a:pt x="2042" y="4064"/>
                  </a:lnTo>
                  <a:lnTo>
                    <a:pt x="2046" y="4062"/>
                  </a:lnTo>
                  <a:lnTo>
                    <a:pt x="2048" y="4060"/>
                  </a:lnTo>
                  <a:lnTo>
                    <a:pt x="2050" y="4060"/>
                  </a:lnTo>
                  <a:lnTo>
                    <a:pt x="2052" y="4062"/>
                  </a:lnTo>
                  <a:lnTo>
                    <a:pt x="2056" y="4066"/>
                  </a:lnTo>
                  <a:lnTo>
                    <a:pt x="2062" y="4070"/>
                  </a:lnTo>
                  <a:lnTo>
                    <a:pt x="2066" y="4068"/>
                  </a:lnTo>
                  <a:lnTo>
                    <a:pt x="2068" y="4066"/>
                  </a:lnTo>
                  <a:lnTo>
                    <a:pt x="2072" y="4060"/>
                  </a:lnTo>
                  <a:lnTo>
                    <a:pt x="2080" y="4048"/>
                  </a:lnTo>
                  <a:lnTo>
                    <a:pt x="2086" y="4042"/>
                  </a:lnTo>
                  <a:lnTo>
                    <a:pt x="2092" y="4038"/>
                  </a:lnTo>
                  <a:lnTo>
                    <a:pt x="2106" y="4032"/>
                  </a:lnTo>
                  <a:lnTo>
                    <a:pt x="2112" y="4028"/>
                  </a:lnTo>
                  <a:lnTo>
                    <a:pt x="2118" y="4024"/>
                  </a:lnTo>
                  <a:lnTo>
                    <a:pt x="2122" y="4016"/>
                  </a:lnTo>
                  <a:lnTo>
                    <a:pt x="2124" y="4008"/>
                  </a:lnTo>
                  <a:lnTo>
                    <a:pt x="2126" y="3998"/>
                  </a:lnTo>
                  <a:lnTo>
                    <a:pt x="2122" y="3986"/>
                  </a:lnTo>
                  <a:lnTo>
                    <a:pt x="2128" y="3990"/>
                  </a:lnTo>
                  <a:lnTo>
                    <a:pt x="2130" y="3992"/>
                  </a:lnTo>
                  <a:lnTo>
                    <a:pt x="2132" y="3998"/>
                  </a:lnTo>
                  <a:lnTo>
                    <a:pt x="2132" y="4002"/>
                  </a:lnTo>
                  <a:lnTo>
                    <a:pt x="2136" y="4004"/>
                  </a:lnTo>
                  <a:lnTo>
                    <a:pt x="2138" y="4008"/>
                  </a:lnTo>
                  <a:lnTo>
                    <a:pt x="2140" y="4020"/>
                  </a:lnTo>
                  <a:lnTo>
                    <a:pt x="2144" y="4028"/>
                  </a:lnTo>
                  <a:lnTo>
                    <a:pt x="2146" y="4030"/>
                  </a:lnTo>
                  <a:lnTo>
                    <a:pt x="2148" y="4032"/>
                  </a:lnTo>
                  <a:lnTo>
                    <a:pt x="2152" y="4030"/>
                  </a:lnTo>
                  <a:lnTo>
                    <a:pt x="2156" y="4028"/>
                  </a:lnTo>
                  <a:lnTo>
                    <a:pt x="2158" y="4028"/>
                  </a:lnTo>
                  <a:lnTo>
                    <a:pt x="2156" y="4032"/>
                  </a:lnTo>
                  <a:lnTo>
                    <a:pt x="2152" y="4040"/>
                  </a:lnTo>
                  <a:lnTo>
                    <a:pt x="2150" y="4046"/>
                  </a:lnTo>
                  <a:lnTo>
                    <a:pt x="2150" y="4052"/>
                  </a:lnTo>
                  <a:lnTo>
                    <a:pt x="2154" y="4060"/>
                  </a:lnTo>
                  <a:lnTo>
                    <a:pt x="2156" y="4070"/>
                  </a:lnTo>
                  <a:lnTo>
                    <a:pt x="2158" y="4092"/>
                  </a:lnTo>
                  <a:lnTo>
                    <a:pt x="2160" y="4114"/>
                  </a:lnTo>
                  <a:lnTo>
                    <a:pt x="2164" y="4128"/>
                  </a:lnTo>
                  <a:lnTo>
                    <a:pt x="2168" y="4140"/>
                  </a:lnTo>
                  <a:lnTo>
                    <a:pt x="2172" y="4154"/>
                  </a:lnTo>
                  <a:lnTo>
                    <a:pt x="2172" y="4172"/>
                  </a:lnTo>
                  <a:lnTo>
                    <a:pt x="2174" y="4172"/>
                  </a:lnTo>
                  <a:lnTo>
                    <a:pt x="2176" y="4166"/>
                  </a:lnTo>
                  <a:lnTo>
                    <a:pt x="2178" y="4168"/>
                  </a:lnTo>
                  <a:lnTo>
                    <a:pt x="2180" y="4172"/>
                  </a:lnTo>
                  <a:lnTo>
                    <a:pt x="2184" y="4186"/>
                  </a:lnTo>
                  <a:lnTo>
                    <a:pt x="2188" y="4198"/>
                  </a:lnTo>
                  <a:lnTo>
                    <a:pt x="2190" y="4208"/>
                  </a:lnTo>
                  <a:lnTo>
                    <a:pt x="2192" y="4216"/>
                  </a:lnTo>
                  <a:lnTo>
                    <a:pt x="2194" y="4224"/>
                  </a:lnTo>
                  <a:lnTo>
                    <a:pt x="2192" y="4232"/>
                  </a:lnTo>
                  <a:lnTo>
                    <a:pt x="2192" y="4240"/>
                  </a:lnTo>
                  <a:lnTo>
                    <a:pt x="2192" y="4242"/>
                  </a:lnTo>
                  <a:lnTo>
                    <a:pt x="2194" y="4246"/>
                  </a:lnTo>
                  <a:lnTo>
                    <a:pt x="2194" y="4248"/>
                  </a:lnTo>
                  <a:lnTo>
                    <a:pt x="2194" y="4250"/>
                  </a:lnTo>
                  <a:lnTo>
                    <a:pt x="2192" y="4258"/>
                  </a:lnTo>
                  <a:lnTo>
                    <a:pt x="2190" y="4266"/>
                  </a:lnTo>
                  <a:lnTo>
                    <a:pt x="2192" y="4268"/>
                  </a:lnTo>
                  <a:lnTo>
                    <a:pt x="2196" y="4268"/>
                  </a:lnTo>
                  <a:lnTo>
                    <a:pt x="2198" y="4268"/>
                  </a:lnTo>
                  <a:lnTo>
                    <a:pt x="2200" y="4270"/>
                  </a:lnTo>
                  <a:lnTo>
                    <a:pt x="2200" y="4276"/>
                  </a:lnTo>
                  <a:lnTo>
                    <a:pt x="2196" y="4286"/>
                  </a:lnTo>
                  <a:lnTo>
                    <a:pt x="2196" y="4298"/>
                  </a:lnTo>
                  <a:lnTo>
                    <a:pt x="2194" y="4306"/>
                  </a:lnTo>
                  <a:lnTo>
                    <a:pt x="2192" y="4310"/>
                  </a:lnTo>
                  <a:lnTo>
                    <a:pt x="2190" y="4320"/>
                  </a:lnTo>
                  <a:lnTo>
                    <a:pt x="2188" y="4344"/>
                  </a:lnTo>
                  <a:lnTo>
                    <a:pt x="2188" y="4352"/>
                  </a:lnTo>
                  <a:lnTo>
                    <a:pt x="2190" y="4352"/>
                  </a:lnTo>
                  <a:lnTo>
                    <a:pt x="2198" y="4336"/>
                  </a:lnTo>
                  <a:lnTo>
                    <a:pt x="2198" y="4340"/>
                  </a:lnTo>
                  <a:lnTo>
                    <a:pt x="2198" y="4346"/>
                  </a:lnTo>
                  <a:lnTo>
                    <a:pt x="2190" y="4360"/>
                  </a:lnTo>
                  <a:lnTo>
                    <a:pt x="2186" y="4368"/>
                  </a:lnTo>
                  <a:lnTo>
                    <a:pt x="2188" y="4372"/>
                  </a:lnTo>
                  <a:lnTo>
                    <a:pt x="2188" y="4374"/>
                  </a:lnTo>
                  <a:lnTo>
                    <a:pt x="2186" y="4380"/>
                  </a:lnTo>
                  <a:lnTo>
                    <a:pt x="2182" y="4390"/>
                  </a:lnTo>
                  <a:lnTo>
                    <a:pt x="2182" y="4396"/>
                  </a:lnTo>
                  <a:lnTo>
                    <a:pt x="2182" y="4400"/>
                  </a:lnTo>
                  <a:lnTo>
                    <a:pt x="2180" y="4406"/>
                  </a:lnTo>
                  <a:lnTo>
                    <a:pt x="2178" y="4416"/>
                  </a:lnTo>
                  <a:lnTo>
                    <a:pt x="2176" y="4426"/>
                  </a:lnTo>
                  <a:lnTo>
                    <a:pt x="2178" y="4434"/>
                  </a:lnTo>
                  <a:lnTo>
                    <a:pt x="2180" y="4440"/>
                  </a:lnTo>
                  <a:lnTo>
                    <a:pt x="2182" y="4442"/>
                  </a:lnTo>
                  <a:lnTo>
                    <a:pt x="2184" y="4442"/>
                  </a:lnTo>
                  <a:lnTo>
                    <a:pt x="2186" y="4438"/>
                  </a:lnTo>
                  <a:lnTo>
                    <a:pt x="2190" y="4432"/>
                  </a:lnTo>
                  <a:lnTo>
                    <a:pt x="2190" y="4430"/>
                  </a:lnTo>
                  <a:lnTo>
                    <a:pt x="2192" y="4430"/>
                  </a:lnTo>
                  <a:lnTo>
                    <a:pt x="2198" y="4438"/>
                  </a:lnTo>
                  <a:lnTo>
                    <a:pt x="2204" y="4450"/>
                  </a:lnTo>
                  <a:lnTo>
                    <a:pt x="2210" y="4464"/>
                  </a:lnTo>
                  <a:lnTo>
                    <a:pt x="2220" y="4480"/>
                  </a:lnTo>
                  <a:lnTo>
                    <a:pt x="2224" y="4484"/>
                  </a:lnTo>
                  <a:lnTo>
                    <a:pt x="2228" y="4484"/>
                  </a:lnTo>
                  <a:lnTo>
                    <a:pt x="2232" y="4486"/>
                  </a:lnTo>
                  <a:lnTo>
                    <a:pt x="2234" y="4488"/>
                  </a:lnTo>
                  <a:lnTo>
                    <a:pt x="2234" y="4494"/>
                  </a:lnTo>
                  <a:lnTo>
                    <a:pt x="2234" y="4498"/>
                  </a:lnTo>
                  <a:lnTo>
                    <a:pt x="2236" y="4502"/>
                  </a:lnTo>
                  <a:lnTo>
                    <a:pt x="2238" y="4508"/>
                  </a:lnTo>
                  <a:lnTo>
                    <a:pt x="2248" y="4516"/>
                  </a:lnTo>
                  <a:lnTo>
                    <a:pt x="2254" y="4526"/>
                  </a:lnTo>
                  <a:lnTo>
                    <a:pt x="2258" y="4536"/>
                  </a:lnTo>
                  <a:lnTo>
                    <a:pt x="2262" y="4544"/>
                  </a:lnTo>
                  <a:lnTo>
                    <a:pt x="2266" y="4562"/>
                  </a:lnTo>
                  <a:lnTo>
                    <a:pt x="2266" y="4578"/>
                  </a:lnTo>
                  <a:lnTo>
                    <a:pt x="2266" y="4588"/>
                  </a:lnTo>
                  <a:lnTo>
                    <a:pt x="2264" y="4592"/>
                  </a:lnTo>
                  <a:lnTo>
                    <a:pt x="2264" y="4596"/>
                  </a:lnTo>
                  <a:lnTo>
                    <a:pt x="2268" y="4600"/>
                  </a:lnTo>
                  <a:lnTo>
                    <a:pt x="2270" y="4602"/>
                  </a:lnTo>
                  <a:lnTo>
                    <a:pt x="2272" y="4606"/>
                  </a:lnTo>
                  <a:lnTo>
                    <a:pt x="2274" y="4612"/>
                  </a:lnTo>
                  <a:lnTo>
                    <a:pt x="2272" y="4622"/>
                  </a:lnTo>
                  <a:lnTo>
                    <a:pt x="2272" y="4634"/>
                  </a:lnTo>
                  <a:lnTo>
                    <a:pt x="2276" y="4638"/>
                  </a:lnTo>
                  <a:lnTo>
                    <a:pt x="2278" y="4640"/>
                  </a:lnTo>
                  <a:lnTo>
                    <a:pt x="2278" y="4644"/>
                  </a:lnTo>
                  <a:lnTo>
                    <a:pt x="2278" y="4648"/>
                  </a:lnTo>
                  <a:lnTo>
                    <a:pt x="2282" y="4654"/>
                  </a:lnTo>
                  <a:lnTo>
                    <a:pt x="2292" y="4666"/>
                  </a:lnTo>
                  <a:lnTo>
                    <a:pt x="2296" y="4672"/>
                  </a:lnTo>
                  <a:lnTo>
                    <a:pt x="2300" y="4680"/>
                  </a:lnTo>
                  <a:lnTo>
                    <a:pt x="2302" y="4688"/>
                  </a:lnTo>
                  <a:lnTo>
                    <a:pt x="2302" y="4696"/>
                  </a:lnTo>
                  <a:lnTo>
                    <a:pt x="2302" y="4700"/>
                  </a:lnTo>
                  <a:lnTo>
                    <a:pt x="2302" y="4702"/>
                  </a:lnTo>
                  <a:lnTo>
                    <a:pt x="2308" y="4708"/>
                  </a:lnTo>
                  <a:lnTo>
                    <a:pt x="2320" y="4716"/>
                  </a:lnTo>
                  <a:lnTo>
                    <a:pt x="2330" y="4724"/>
                  </a:lnTo>
                  <a:lnTo>
                    <a:pt x="2344" y="4736"/>
                  </a:lnTo>
                  <a:lnTo>
                    <a:pt x="2354" y="4746"/>
                  </a:lnTo>
                  <a:lnTo>
                    <a:pt x="2364" y="4754"/>
                  </a:lnTo>
                  <a:lnTo>
                    <a:pt x="2376" y="4760"/>
                  </a:lnTo>
                  <a:lnTo>
                    <a:pt x="2382" y="4764"/>
                  </a:lnTo>
                  <a:lnTo>
                    <a:pt x="2384" y="4766"/>
                  </a:lnTo>
                  <a:lnTo>
                    <a:pt x="2386" y="4770"/>
                  </a:lnTo>
                  <a:lnTo>
                    <a:pt x="2390" y="4776"/>
                  </a:lnTo>
                  <a:lnTo>
                    <a:pt x="2392" y="4774"/>
                  </a:lnTo>
                  <a:lnTo>
                    <a:pt x="2396" y="4770"/>
                  </a:lnTo>
                  <a:lnTo>
                    <a:pt x="2400" y="4770"/>
                  </a:lnTo>
                  <a:lnTo>
                    <a:pt x="2404" y="4770"/>
                  </a:lnTo>
                  <a:lnTo>
                    <a:pt x="2408" y="4770"/>
                  </a:lnTo>
                  <a:lnTo>
                    <a:pt x="2410" y="4768"/>
                  </a:lnTo>
                  <a:lnTo>
                    <a:pt x="2410" y="4764"/>
                  </a:lnTo>
                  <a:lnTo>
                    <a:pt x="2414" y="4764"/>
                  </a:lnTo>
                  <a:lnTo>
                    <a:pt x="2416" y="4766"/>
                  </a:lnTo>
                  <a:lnTo>
                    <a:pt x="2414" y="4770"/>
                  </a:lnTo>
                  <a:lnTo>
                    <a:pt x="2414" y="4772"/>
                  </a:lnTo>
                  <a:lnTo>
                    <a:pt x="2418" y="4774"/>
                  </a:lnTo>
                  <a:lnTo>
                    <a:pt x="2420" y="4774"/>
                  </a:lnTo>
                  <a:lnTo>
                    <a:pt x="2422" y="4772"/>
                  </a:lnTo>
                  <a:lnTo>
                    <a:pt x="2422" y="4766"/>
                  </a:lnTo>
                  <a:lnTo>
                    <a:pt x="2420" y="4756"/>
                  </a:lnTo>
                  <a:lnTo>
                    <a:pt x="2416" y="4750"/>
                  </a:lnTo>
                  <a:lnTo>
                    <a:pt x="2414" y="4744"/>
                  </a:lnTo>
                  <a:lnTo>
                    <a:pt x="2412" y="4740"/>
                  </a:lnTo>
                  <a:lnTo>
                    <a:pt x="2410" y="4730"/>
                  </a:lnTo>
                  <a:lnTo>
                    <a:pt x="2406" y="4718"/>
                  </a:lnTo>
                  <a:lnTo>
                    <a:pt x="2402" y="4714"/>
                  </a:lnTo>
                  <a:lnTo>
                    <a:pt x="2398" y="4708"/>
                  </a:lnTo>
                  <a:lnTo>
                    <a:pt x="2392" y="4704"/>
                  </a:lnTo>
                  <a:lnTo>
                    <a:pt x="2388" y="4698"/>
                  </a:lnTo>
                  <a:lnTo>
                    <a:pt x="2388" y="4690"/>
                  </a:lnTo>
                  <a:lnTo>
                    <a:pt x="2388" y="4684"/>
                  </a:lnTo>
                  <a:lnTo>
                    <a:pt x="2390" y="4672"/>
                  </a:lnTo>
                  <a:lnTo>
                    <a:pt x="2390" y="4668"/>
                  </a:lnTo>
                  <a:lnTo>
                    <a:pt x="2386" y="4664"/>
                  </a:lnTo>
                  <a:lnTo>
                    <a:pt x="2384" y="4658"/>
                  </a:lnTo>
                  <a:lnTo>
                    <a:pt x="2386" y="4654"/>
                  </a:lnTo>
                  <a:lnTo>
                    <a:pt x="2386" y="4648"/>
                  </a:lnTo>
                  <a:lnTo>
                    <a:pt x="2388" y="4642"/>
                  </a:lnTo>
                  <a:lnTo>
                    <a:pt x="2388" y="4636"/>
                  </a:lnTo>
                  <a:lnTo>
                    <a:pt x="2388" y="4628"/>
                  </a:lnTo>
                  <a:lnTo>
                    <a:pt x="2390" y="4616"/>
                  </a:lnTo>
                  <a:lnTo>
                    <a:pt x="2386" y="4600"/>
                  </a:lnTo>
                  <a:lnTo>
                    <a:pt x="2384" y="4592"/>
                  </a:lnTo>
                  <a:lnTo>
                    <a:pt x="2378" y="4584"/>
                  </a:lnTo>
                  <a:lnTo>
                    <a:pt x="2366" y="4570"/>
                  </a:lnTo>
                  <a:lnTo>
                    <a:pt x="2354" y="4558"/>
                  </a:lnTo>
                  <a:lnTo>
                    <a:pt x="2350" y="4552"/>
                  </a:lnTo>
                  <a:lnTo>
                    <a:pt x="2348" y="4546"/>
                  </a:lnTo>
                  <a:lnTo>
                    <a:pt x="2344" y="4540"/>
                  </a:lnTo>
                  <a:lnTo>
                    <a:pt x="2342" y="4538"/>
                  </a:lnTo>
                  <a:lnTo>
                    <a:pt x="2334" y="4536"/>
                  </a:lnTo>
                  <a:lnTo>
                    <a:pt x="2324" y="4526"/>
                  </a:lnTo>
                  <a:lnTo>
                    <a:pt x="2310" y="4508"/>
                  </a:lnTo>
                  <a:lnTo>
                    <a:pt x="2306" y="4502"/>
                  </a:lnTo>
                  <a:lnTo>
                    <a:pt x="2304" y="4502"/>
                  </a:lnTo>
                  <a:lnTo>
                    <a:pt x="2300" y="4504"/>
                  </a:lnTo>
                  <a:lnTo>
                    <a:pt x="2296" y="4504"/>
                  </a:lnTo>
                  <a:lnTo>
                    <a:pt x="2292" y="4504"/>
                  </a:lnTo>
                  <a:lnTo>
                    <a:pt x="2286" y="4500"/>
                  </a:lnTo>
                  <a:lnTo>
                    <a:pt x="2276" y="4494"/>
                  </a:lnTo>
                  <a:lnTo>
                    <a:pt x="2272" y="4486"/>
                  </a:lnTo>
                  <a:lnTo>
                    <a:pt x="2270" y="4476"/>
                  </a:lnTo>
                  <a:lnTo>
                    <a:pt x="2264" y="4454"/>
                  </a:lnTo>
                  <a:lnTo>
                    <a:pt x="2262" y="4434"/>
                  </a:lnTo>
                  <a:lnTo>
                    <a:pt x="2260" y="4428"/>
                  </a:lnTo>
                  <a:lnTo>
                    <a:pt x="2258" y="4426"/>
                  </a:lnTo>
                  <a:lnTo>
                    <a:pt x="2254" y="4426"/>
                  </a:lnTo>
                  <a:lnTo>
                    <a:pt x="2252" y="4424"/>
                  </a:lnTo>
                  <a:lnTo>
                    <a:pt x="2248" y="4416"/>
                  </a:lnTo>
                  <a:lnTo>
                    <a:pt x="2244" y="4402"/>
                  </a:lnTo>
                  <a:lnTo>
                    <a:pt x="2244" y="4388"/>
                  </a:lnTo>
                  <a:lnTo>
                    <a:pt x="2242" y="4386"/>
                  </a:lnTo>
                  <a:lnTo>
                    <a:pt x="2240" y="4384"/>
                  </a:lnTo>
                  <a:lnTo>
                    <a:pt x="2230" y="4388"/>
                  </a:lnTo>
                  <a:lnTo>
                    <a:pt x="2226" y="4390"/>
                  </a:lnTo>
                  <a:lnTo>
                    <a:pt x="2222" y="4390"/>
                  </a:lnTo>
                  <a:lnTo>
                    <a:pt x="2220" y="4388"/>
                  </a:lnTo>
                  <a:lnTo>
                    <a:pt x="2220" y="4382"/>
                  </a:lnTo>
                  <a:lnTo>
                    <a:pt x="2218" y="4352"/>
                  </a:lnTo>
                  <a:lnTo>
                    <a:pt x="2218" y="4330"/>
                  </a:lnTo>
                  <a:lnTo>
                    <a:pt x="2220" y="4320"/>
                  </a:lnTo>
                  <a:lnTo>
                    <a:pt x="2224" y="4316"/>
                  </a:lnTo>
                  <a:lnTo>
                    <a:pt x="2226" y="4310"/>
                  </a:lnTo>
                  <a:lnTo>
                    <a:pt x="2228" y="4306"/>
                  </a:lnTo>
                  <a:lnTo>
                    <a:pt x="2232" y="4296"/>
                  </a:lnTo>
                  <a:lnTo>
                    <a:pt x="2234" y="4284"/>
                  </a:lnTo>
                  <a:lnTo>
                    <a:pt x="2236" y="4274"/>
                  </a:lnTo>
                  <a:lnTo>
                    <a:pt x="2242" y="4258"/>
                  </a:lnTo>
                  <a:lnTo>
                    <a:pt x="2248" y="4232"/>
                  </a:lnTo>
                  <a:lnTo>
                    <a:pt x="2252" y="4208"/>
                  </a:lnTo>
                  <a:lnTo>
                    <a:pt x="2252" y="4200"/>
                  </a:lnTo>
                  <a:lnTo>
                    <a:pt x="2252" y="4196"/>
                  </a:lnTo>
                  <a:lnTo>
                    <a:pt x="2248" y="4192"/>
                  </a:lnTo>
                  <a:lnTo>
                    <a:pt x="2248" y="4190"/>
                  </a:lnTo>
                  <a:lnTo>
                    <a:pt x="2248" y="4186"/>
                  </a:lnTo>
                  <a:lnTo>
                    <a:pt x="2250" y="4184"/>
                  </a:lnTo>
                  <a:lnTo>
                    <a:pt x="2252" y="4180"/>
                  </a:lnTo>
                  <a:lnTo>
                    <a:pt x="2256" y="4178"/>
                  </a:lnTo>
                  <a:lnTo>
                    <a:pt x="2272" y="4176"/>
                  </a:lnTo>
                  <a:lnTo>
                    <a:pt x="2278" y="4178"/>
                  </a:lnTo>
                  <a:lnTo>
                    <a:pt x="2282" y="4180"/>
                  </a:lnTo>
                  <a:lnTo>
                    <a:pt x="2286" y="4182"/>
                  </a:lnTo>
                  <a:lnTo>
                    <a:pt x="2286" y="4184"/>
                  </a:lnTo>
                  <a:lnTo>
                    <a:pt x="2284" y="4194"/>
                  </a:lnTo>
                  <a:lnTo>
                    <a:pt x="2282" y="4210"/>
                  </a:lnTo>
                  <a:lnTo>
                    <a:pt x="2282" y="4220"/>
                  </a:lnTo>
                  <a:lnTo>
                    <a:pt x="2284" y="4222"/>
                  </a:lnTo>
                  <a:lnTo>
                    <a:pt x="2286" y="4222"/>
                  </a:lnTo>
                  <a:lnTo>
                    <a:pt x="2292" y="4222"/>
                  </a:lnTo>
                  <a:lnTo>
                    <a:pt x="2296" y="4222"/>
                  </a:lnTo>
                  <a:lnTo>
                    <a:pt x="2300" y="4222"/>
                  </a:lnTo>
                  <a:lnTo>
                    <a:pt x="2304" y="4224"/>
                  </a:lnTo>
                  <a:lnTo>
                    <a:pt x="2306" y="4224"/>
                  </a:lnTo>
                  <a:lnTo>
                    <a:pt x="2310" y="4220"/>
                  </a:lnTo>
                  <a:lnTo>
                    <a:pt x="2316" y="4218"/>
                  </a:lnTo>
                  <a:lnTo>
                    <a:pt x="2318" y="4218"/>
                  </a:lnTo>
                  <a:lnTo>
                    <a:pt x="2322" y="4220"/>
                  </a:lnTo>
                  <a:lnTo>
                    <a:pt x="2330" y="4228"/>
                  </a:lnTo>
                  <a:lnTo>
                    <a:pt x="2336" y="4236"/>
                  </a:lnTo>
                  <a:lnTo>
                    <a:pt x="2342" y="4244"/>
                  </a:lnTo>
                  <a:lnTo>
                    <a:pt x="2346" y="4246"/>
                  </a:lnTo>
                  <a:lnTo>
                    <a:pt x="2350" y="4248"/>
                  </a:lnTo>
                  <a:lnTo>
                    <a:pt x="2354" y="4250"/>
                  </a:lnTo>
                  <a:lnTo>
                    <a:pt x="2356" y="4252"/>
                  </a:lnTo>
                  <a:lnTo>
                    <a:pt x="2360" y="4258"/>
                  </a:lnTo>
                  <a:lnTo>
                    <a:pt x="2362" y="4266"/>
                  </a:lnTo>
                  <a:lnTo>
                    <a:pt x="2364" y="4268"/>
                  </a:lnTo>
                  <a:lnTo>
                    <a:pt x="2368" y="4268"/>
                  </a:lnTo>
                  <a:lnTo>
                    <a:pt x="2362" y="4256"/>
                  </a:lnTo>
                  <a:lnTo>
                    <a:pt x="2362" y="4246"/>
                  </a:lnTo>
                  <a:lnTo>
                    <a:pt x="2362" y="4256"/>
                  </a:lnTo>
                  <a:lnTo>
                    <a:pt x="2368" y="4268"/>
                  </a:lnTo>
                  <a:lnTo>
                    <a:pt x="2374" y="4280"/>
                  </a:lnTo>
                  <a:lnTo>
                    <a:pt x="2376" y="4286"/>
                  </a:lnTo>
                  <a:lnTo>
                    <a:pt x="2374" y="4292"/>
                  </a:lnTo>
                  <a:lnTo>
                    <a:pt x="2374" y="4300"/>
                  </a:lnTo>
                  <a:lnTo>
                    <a:pt x="2376" y="4310"/>
                  </a:lnTo>
                  <a:lnTo>
                    <a:pt x="2378" y="4310"/>
                  </a:lnTo>
                  <a:lnTo>
                    <a:pt x="2380" y="4308"/>
                  </a:lnTo>
                  <a:lnTo>
                    <a:pt x="2386" y="4308"/>
                  </a:lnTo>
                  <a:lnTo>
                    <a:pt x="2388" y="4308"/>
                  </a:lnTo>
                  <a:lnTo>
                    <a:pt x="2388" y="4304"/>
                  </a:lnTo>
                  <a:lnTo>
                    <a:pt x="2388" y="4298"/>
                  </a:lnTo>
                  <a:lnTo>
                    <a:pt x="2388" y="4296"/>
                  </a:lnTo>
                  <a:lnTo>
                    <a:pt x="2390" y="4294"/>
                  </a:lnTo>
                  <a:lnTo>
                    <a:pt x="2392" y="4296"/>
                  </a:lnTo>
                  <a:lnTo>
                    <a:pt x="2396" y="4300"/>
                  </a:lnTo>
                  <a:lnTo>
                    <a:pt x="2398" y="4304"/>
                  </a:lnTo>
                  <a:lnTo>
                    <a:pt x="2398" y="4308"/>
                  </a:lnTo>
                  <a:lnTo>
                    <a:pt x="2394" y="4314"/>
                  </a:lnTo>
                  <a:lnTo>
                    <a:pt x="2390" y="4320"/>
                  </a:lnTo>
                  <a:lnTo>
                    <a:pt x="2390" y="4322"/>
                  </a:lnTo>
                  <a:lnTo>
                    <a:pt x="2392" y="4324"/>
                  </a:lnTo>
                  <a:lnTo>
                    <a:pt x="2396" y="4326"/>
                  </a:lnTo>
                  <a:lnTo>
                    <a:pt x="2398" y="4326"/>
                  </a:lnTo>
                  <a:lnTo>
                    <a:pt x="2402" y="4324"/>
                  </a:lnTo>
                  <a:lnTo>
                    <a:pt x="2404" y="4322"/>
                  </a:lnTo>
                  <a:lnTo>
                    <a:pt x="2406" y="4320"/>
                  </a:lnTo>
                  <a:lnTo>
                    <a:pt x="2406" y="4322"/>
                  </a:lnTo>
                  <a:lnTo>
                    <a:pt x="2412" y="4324"/>
                  </a:lnTo>
                  <a:lnTo>
                    <a:pt x="2416" y="4324"/>
                  </a:lnTo>
                  <a:lnTo>
                    <a:pt x="2422" y="4326"/>
                  </a:lnTo>
                  <a:lnTo>
                    <a:pt x="2424" y="4328"/>
                  </a:lnTo>
                  <a:lnTo>
                    <a:pt x="2428" y="4334"/>
                  </a:lnTo>
                  <a:lnTo>
                    <a:pt x="2430" y="4340"/>
                  </a:lnTo>
                  <a:lnTo>
                    <a:pt x="2434" y="4344"/>
                  </a:lnTo>
                  <a:lnTo>
                    <a:pt x="2436" y="4344"/>
                  </a:lnTo>
                  <a:lnTo>
                    <a:pt x="2438" y="4344"/>
                  </a:lnTo>
                  <a:lnTo>
                    <a:pt x="2444" y="4342"/>
                  </a:lnTo>
                  <a:lnTo>
                    <a:pt x="2446" y="4342"/>
                  </a:lnTo>
                  <a:lnTo>
                    <a:pt x="2450" y="4346"/>
                  </a:lnTo>
                  <a:lnTo>
                    <a:pt x="2452" y="4350"/>
                  </a:lnTo>
                  <a:lnTo>
                    <a:pt x="2452" y="4352"/>
                  </a:lnTo>
                  <a:lnTo>
                    <a:pt x="2448" y="4360"/>
                  </a:lnTo>
                  <a:lnTo>
                    <a:pt x="2444" y="4370"/>
                  </a:lnTo>
                  <a:lnTo>
                    <a:pt x="2442" y="4378"/>
                  </a:lnTo>
                  <a:lnTo>
                    <a:pt x="2440" y="4388"/>
                  </a:lnTo>
                  <a:lnTo>
                    <a:pt x="2440" y="4410"/>
                  </a:lnTo>
                  <a:lnTo>
                    <a:pt x="2442" y="4422"/>
                  </a:lnTo>
                  <a:lnTo>
                    <a:pt x="2444" y="4424"/>
                  </a:lnTo>
                  <a:lnTo>
                    <a:pt x="2446" y="4424"/>
                  </a:lnTo>
                  <a:lnTo>
                    <a:pt x="2450" y="4422"/>
                  </a:lnTo>
                  <a:lnTo>
                    <a:pt x="2456" y="4416"/>
                  </a:lnTo>
                  <a:lnTo>
                    <a:pt x="2478" y="4396"/>
                  </a:lnTo>
                  <a:lnTo>
                    <a:pt x="2488" y="4388"/>
                  </a:lnTo>
                  <a:lnTo>
                    <a:pt x="2496" y="4384"/>
                  </a:lnTo>
                  <a:lnTo>
                    <a:pt x="2500" y="4382"/>
                  </a:lnTo>
                  <a:lnTo>
                    <a:pt x="2502" y="4380"/>
                  </a:lnTo>
                  <a:lnTo>
                    <a:pt x="2502" y="4376"/>
                  </a:lnTo>
                  <a:lnTo>
                    <a:pt x="2502" y="4374"/>
                  </a:lnTo>
                  <a:lnTo>
                    <a:pt x="2508" y="4372"/>
                  </a:lnTo>
                  <a:lnTo>
                    <a:pt x="2512" y="4370"/>
                  </a:lnTo>
                  <a:lnTo>
                    <a:pt x="2516" y="4364"/>
                  </a:lnTo>
                  <a:lnTo>
                    <a:pt x="2520" y="4346"/>
                  </a:lnTo>
                  <a:lnTo>
                    <a:pt x="2524" y="4328"/>
                  </a:lnTo>
                  <a:lnTo>
                    <a:pt x="2526" y="4324"/>
                  </a:lnTo>
                  <a:lnTo>
                    <a:pt x="2526" y="4322"/>
                  </a:lnTo>
                  <a:lnTo>
                    <a:pt x="2528" y="4324"/>
                  </a:lnTo>
                  <a:lnTo>
                    <a:pt x="2534" y="4328"/>
                  </a:lnTo>
                  <a:lnTo>
                    <a:pt x="2536" y="4330"/>
                  </a:lnTo>
                  <a:lnTo>
                    <a:pt x="2538" y="4332"/>
                  </a:lnTo>
                  <a:lnTo>
                    <a:pt x="2544" y="4332"/>
                  </a:lnTo>
                  <a:lnTo>
                    <a:pt x="2548" y="4330"/>
                  </a:lnTo>
                  <a:lnTo>
                    <a:pt x="2556" y="4326"/>
                  </a:lnTo>
                  <a:lnTo>
                    <a:pt x="2566" y="4318"/>
                  </a:lnTo>
                  <a:lnTo>
                    <a:pt x="2576" y="4310"/>
                  </a:lnTo>
                  <a:lnTo>
                    <a:pt x="2584" y="4304"/>
                  </a:lnTo>
                  <a:lnTo>
                    <a:pt x="2598" y="4296"/>
                  </a:lnTo>
                  <a:lnTo>
                    <a:pt x="2604" y="4292"/>
                  </a:lnTo>
                  <a:lnTo>
                    <a:pt x="2610" y="4286"/>
                  </a:lnTo>
                  <a:lnTo>
                    <a:pt x="2614" y="4280"/>
                  </a:lnTo>
                  <a:lnTo>
                    <a:pt x="2618" y="4272"/>
                  </a:lnTo>
                  <a:lnTo>
                    <a:pt x="2622" y="4252"/>
                  </a:lnTo>
                  <a:lnTo>
                    <a:pt x="2622" y="4238"/>
                  </a:lnTo>
                  <a:lnTo>
                    <a:pt x="2624" y="4228"/>
                  </a:lnTo>
                  <a:lnTo>
                    <a:pt x="2624" y="4224"/>
                  </a:lnTo>
                  <a:lnTo>
                    <a:pt x="2626" y="4222"/>
                  </a:lnTo>
                  <a:lnTo>
                    <a:pt x="2628" y="4222"/>
                  </a:lnTo>
                  <a:lnTo>
                    <a:pt x="2630" y="4220"/>
                  </a:lnTo>
                  <a:lnTo>
                    <a:pt x="2630" y="4214"/>
                  </a:lnTo>
                  <a:lnTo>
                    <a:pt x="2628" y="4206"/>
                  </a:lnTo>
                  <a:lnTo>
                    <a:pt x="2624" y="4198"/>
                  </a:lnTo>
                  <a:lnTo>
                    <a:pt x="2622" y="4194"/>
                  </a:lnTo>
                  <a:lnTo>
                    <a:pt x="2622" y="4190"/>
                  </a:lnTo>
                  <a:lnTo>
                    <a:pt x="2624" y="4174"/>
                  </a:lnTo>
                  <a:lnTo>
                    <a:pt x="2624" y="4152"/>
                  </a:lnTo>
                  <a:lnTo>
                    <a:pt x="2622" y="4138"/>
                  </a:lnTo>
                  <a:lnTo>
                    <a:pt x="2616" y="4122"/>
                  </a:lnTo>
                  <a:lnTo>
                    <a:pt x="2606" y="4096"/>
                  </a:lnTo>
                  <a:lnTo>
                    <a:pt x="2598" y="4080"/>
                  </a:lnTo>
                  <a:lnTo>
                    <a:pt x="2590" y="4068"/>
                  </a:lnTo>
                  <a:lnTo>
                    <a:pt x="2584" y="4056"/>
                  </a:lnTo>
                  <a:lnTo>
                    <a:pt x="2580" y="4046"/>
                  </a:lnTo>
                  <a:lnTo>
                    <a:pt x="2572" y="4042"/>
                  </a:lnTo>
                  <a:lnTo>
                    <a:pt x="2562" y="4034"/>
                  </a:lnTo>
                  <a:lnTo>
                    <a:pt x="2548" y="4020"/>
                  </a:lnTo>
                  <a:lnTo>
                    <a:pt x="2534" y="4002"/>
                  </a:lnTo>
                  <a:lnTo>
                    <a:pt x="2522" y="3986"/>
                  </a:lnTo>
                  <a:lnTo>
                    <a:pt x="2514" y="3972"/>
                  </a:lnTo>
                  <a:lnTo>
                    <a:pt x="2510" y="3966"/>
                  </a:lnTo>
                  <a:lnTo>
                    <a:pt x="2510" y="3960"/>
                  </a:lnTo>
                  <a:lnTo>
                    <a:pt x="2508" y="3954"/>
                  </a:lnTo>
                  <a:lnTo>
                    <a:pt x="2506" y="3950"/>
                  </a:lnTo>
                  <a:lnTo>
                    <a:pt x="2500" y="3946"/>
                  </a:lnTo>
                  <a:lnTo>
                    <a:pt x="2492" y="3940"/>
                  </a:lnTo>
                  <a:lnTo>
                    <a:pt x="2486" y="3934"/>
                  </a:lnTo>
                  <a:lnTo>
                    <a:pt x="2482" y="3926"/>
                  </a:lnTo>
                  <a:lnTo>
                    <a:pt x="2478" y="3916"/>
                  </a:lnTo>
                  <a:lnTo>
                    <a:pt x="2478" y="3904"/>
                  </a:lnTo>
                  <a:lnTo>
                    <a:pt x="2480" y="3894"/>
                  </a:lnTo>
                  <a:lnTo>
                    <a:pt x="2482" y="3884"/>
                  </a:lnTo>
                  <a:lnTo>
                    <a:pt x="2486" y="3874"/>
                  </a:lnTo>
                  <a:lnTo>
                    <a:pt x="2492" y="3864"/>
                  </a:lnTo>
                  <a:lnTo>
                    <a:pt x="2498" y="3856"/>
                  </a:lnTo>
                  <a:lnTo>
                    <a:pt x="2506" y="3848"/>
                  </a:lnTo>
                  <a:lnTo>
                    <a:pt x="2512" y="3842"/>
                  </a:lnTo>
                  <a:lnTo>
                    <a:pt x="2516" y="3836"/>
                  </a:lnTo>
                  <a:lnTo>
                    <a:pt x="2518" y="3826"/>
                  </a:lnTo>
                  <a:lnTo>
                    <a:pt x="2520" y="3816"/>
                  </a:lnTo>
                  <a:lnTo>
                    <a:pt x="2522" y="3812"/>
                  </a:lnTo>
                  <a:lnTo>
                    <a:pt x="2526" y="3808"/>
                  </a:lnTo>
                  <a:lnTo>
                    <a:pt x="2532" y="3806"/>
                  </a:lnTo>
                  <a:lnTo>
                    <a:pt x="2534" y="3806"/>
                  </a:lnTo>
                  <a:lnTo>
                    <a:pt x="2536" y="3808"/>
                  </a:lnTo>
                  <a:lnTo>
                    <a:pt x="2540" y="3808"/>
                  </a:lnTo>
                  <a:lnTo>
                    <a:pt x="2544" y="3804"/>
                  </a:lnTo>
                  <a:lnTo>
                    <a:pt x="2546" y="3800"/>
                  </a:lnTo>
                  <a:lnTo>
                    <a:pt x="2548" y="3794"/>
                  </a:lnTo>
                  <a:lnTo>
                    <a:pt x="2554" y="3790"/>
                  </a:lnTo>
                  <a:lnTo>
                    <a:pt x="2562" y="3784"/>
                  </a:lnTo>
                  <a:lnTo>
                    <a:pt x="2568" y="3782"/>
                  </a:lnTo>
                  <a:lnTo>
                    <a:pt x="2572" y="3782"/>
                  </a:lnTo>
                  <a:lnTo>
                    <a:pt x="2574" y="3778"/>
                  </a:lnTo>
                  <a:lnTo>
                    <a:pt x="2576" y="3780"/>
                  </a:lnTo>
                  <a:lnTo>
                    <a:pt x="2578" y="3780"/>
                  </a:lnTo>
                  <a:lnTo>
                    <a:pt x="2582" y="3780"/>
                  </a:lnTo>
                  <a:lnTo>
                    <a:pt x="2584" y="3776"/>
                  </a:lnTo>
                  <a:lnTo>
                    <a:pt x="2584" y="3774"/>
                  </a:lnTo>
                  <a:lnTo>
                    <a:pt x="2586" y="3776"/>
                  </a:lnTo>
                  <a:lnTo>
                    <a:pt x="2590" y="3778"/>
                  </a:lnTo>
                  <a:lnTo>
                    <a:pt x="2592" y="3778"/>
                  </a:lnTo>
                  <a:lnTo>
                    <a:pt x="2594" y="3774"/>
                  </a:lnTo>
                  <a:lnTo>
                    <a:pt x="2592" y="3772"/>
                  </a:lnTo>
                  <a:lnTo>
                    <a:pt x="2592" y="3768"/>
                  </a:lnTo>
                  <a:lnTo>
                    <a:pt x="2592" y="3762"/>
                  </a:lnTo>
                  <a:lnTo>
                    <a:pt x="2592" y="3760"/>
                  </a:lnTo>
                  <a:lnTo>
                    <a:pt x="2594" y="3762"/>
                  </a:lnTo>
                  <a:lnTo>
                    <a:pt x="2596" y="3766"/>
                  </a:lnTo>
                  <a:lnTo>
                    <a:pt x="2602" y="3772"/>
                  </a:lnTo>
                  <a:lnTo>
                    <a:pt x="2604" y="3774"/>
                  </a:lnTo>
                  <a:lnTo>
                    <a:pt x="2610" y="3776"/>
                  </a:lnTo>
                  <a:lnTo>
                    <a:pt x="2614" y="3776"/>
                  </a:lnTo>
                  <a:lnTo>
                    <a:pt x="2616" y="3778"/>
                  </a:lnTo>
                  <a:lnTo>
                    <a:pt x="2614" y="3782"/>
                  </a:lnTo>
                  <a:lnTo>
                    <a:pt x="2614" y="3784"/>
                  </a:lnTo>
                  <a:lnTo>
                    <a:pt x="2616" y="3786"/>
                  </a:lnTo>
                  <a:lnTo>
                    <a:pt x="2620" y="3786"/>
                  </a:lnTo>
                  <a:lnTo>
                    <a:pt x="2630" y="3784"/>
                  </a:lnTo>
                  <a:lnTo>
                    <a:pt x="2632" y="3782"/>
                  </a:lnTo>
                  <a:lnTo>
                    <a:pt x="2634" y="3778"/>
                  </a:lnTo>
                  <a:lnTo>
                    <a:pt x="2632" y="3772"/>
                  </a:lnTo>
                  <a:lnTo>
                    <a:pt x="2634" y="3772"/>
                  </a:lnTo>
                  <a:lnTo>
                    <a:pt x="2636" y="3778"/>
                  </a:lnTo>
                  <a:lnTo>
                    <a:pt x="2640" y="3782"/>
                  </a:lnTo>
                  <a:lnTo>
                    <a:pt x="2642" y="3782"/>
                  </a:lnTo>
                  <a:lnTo>
                    <a:pt x="2644" y="3782"/>
                  </a:lnTo>
                  <a:lnTo>
                    <a:pt x="2648" y="3784"/>
                  </a:lnTo>
                  <a:lnTo>
                    <a:pt x="2648" y="3786"/>
                  </a:lnTo>
                  <a:lnTo>
                    <a:pt x="2646" y="3788"/>
                  </a:lnTo>
                  <a:lnTo>
                    <a:pt x="2642" y="3794"/>
                  </a:lnTo>
                  <a:lnTo>
                    <a:pt x="2640" y="3802"/>
                  </a:lnTo>
                  <a:lnTo>
                    <a:pt x="2638" y="3810"/>
                  </a:lnTo>
                  <a:lnTo>
                    <a:pt x="2640" y="3816"/>
                  </a:lnTo>
                  <a:lnTo>
                    <a:pt x="2642" y="3818"/>
                  </a:lnTo>
                  <a:lnTo>
                    <a:pt x="2642" y="3820"/>
                  </a:lnTo>
                  <a:lnTo>
                    <a:pt x="2642" y="3824"/>
                  </a:lnTo>
                  <a:lnTo>
                    <a:pt x="2644" y="3828"/>
                  </a:lnTo>
                  <a:lnTo>
                    <a:pt x="2646" y="3832"/>
                  </a:lnTo>
                  <a:lnTo>
                    <a:pt x="2648" y="3836"/>
                  </a:lnTo>
                  <a:lnTo>
                    <a:pt x="2648" y="3840"/>
                  </a:lnTo>
                  <a:lnTo>
                    <a:pt x="2648" y="3842"/>
                  </a:lnTo>
                  <a:lnTo>
                    <a:pt x="2652" y="3844"/>
                  </a:lnTo>
                  <a:lnTo>
                    <a:pt x="2664" y="3842"/>
                  </a:lnTo>
                  <a:lnTo>
                    <a:pt x="2672" y="3838"/>
                  </a:lnTo>
                  <a:lnTo>
                    <a:pt x="2674" y="3836"/>
                  </a:lnTo>
                  <a:lnTo>
                    <a:pt x="2674" y="3834"/>
                  </a:lnTo>
                  <a:lnTo>
                    <a:pt x="2670" y="3828"/>
                  </a:lnTo>
                  <a:lnTo>
                    <a:pt x="2668" y="3820"/>
                  </a:lnTo>
                  <a:lnTo>
                    <a:pt x="2666" y="3814"/>
                  </a:lnTo>
                  <a:lnTo>
                    <a:pt x="2662" y="3812"/>
                  </a:lnTo>
                  <a:lnTo>
                    <a:pt x="2660" y="3812"/>
                  </a:lnTo>
                  <a:lnTo>
                    <a:pt x="2658" y="3810"/>
                  </a:lnTo>
                  <a:lnTo>
                    <a:pt x="2660" y="3804"/>
                  </a:lnTo>
                  <a:lnTo>
                    <a:pt x="2666" y="3800"/>
                  </a:lnTo>
                  <a:lnTo>
                    <a:pt x="2684" y="3788"/>
                  </a:lnTo>
                  <a:lnTo>
                    <a:pt x="2692" y="3784"/>
                  </a:lnTo>
                  <a:lnTo>
                    <a:pt x="2698" y="3782"/>
                  </a:lnTo>
                  <a:lnTo>
                    <a:pt x="2704" y="3784"/>
                  </a:lnTo>
                  <a:lnTo>
                    <a:pt x="2716" y="3780"/>
                  </a:lnTo>
                  <a:lnTo>
                    <a:pt x="2722" y="3778"/>
                  </a:lnTo>
                  <a:lnTo>
                    <a:pt x="2726" y="3774"/>
                  </a:lnTo>
                  <a:lnTo>
                    <a:pt x="2730" y="3768"/>
                  </a:lnTo>
                  <a:lnTo>
                    <a:pt x="2730" y="3764"/>
                  </a:lnTo>
                  <a:lnTo>
                    <a:pt x="2736" y="3766"/>
                  </a:lnTo>
                  <a:lnTo>
                    <a:pt x="2740" y="3768"/>
                  </a:lnTo>
                  <a:lnTo>
                    <a:pt x="2742" y="3772"/>
                  </a:lnTo>
                  <a:lnTo>
                    <a:pt x="2746" y="3768"/>
                  </a:lnTo>
                  <a:lnTo>
                    <a:pt x="2750" y="3764"/>
                  </a:lnTo>
                  <a:lnTo>
                    <a:pt x="2752" y="3766"/>
                  </a:lnTo>
                  <a:lnTo>
                    <a:pt x="2754" y="3768"/>
                  </a:lnTo>
                  <a:lnTo>
                    <a:pt x="2758" y="3764"/>
                  </a:lnTo>
                  <a:lnTo>
                    <a:pt x="2762" y="3760"/>
                  </a:lnTo>
                  <a:lnTo>
                    <a:pt x="2764" y="3760"/>
                  </a:lnTo>
                  <a:lnTo>
                    <a:pt x="2768" y="3760"/>
                  </a:lnTo>
                  <a:lnTo>
                    <a:pt x="2772" y="3762"/>
                  </a:lnTo>
                  <a:lnTo>
                    <a:pt x="2774" y="3760"/>
                  </a:lnTo>
                  <a:lnTo>
                    <a:pt x="2774" y="3756"/>
                  </a:lnTo>
                  <a:lnTo>
                    <a:pt x="2776" y="3750"/>
                  </a:lnTo>
                  <a:lnTo>
                    <a:pt x="2778" y="3752"/>
                  </a:lnTo>
                  <a:lnTo>
                    <a:pt x="2780" y="3754"/>
                  </a:lnTo>
                  <a:lnTo>
                    <a:pt x="2782" y="3754"/>
                  </a:lnTo>
                  <a:lnTo>
                    <a:pt x="2784" y="3752"/>
                  </a:lnTo>
                  <a:lnTo>
                    <a:pt x="2788" y="3748"/>
                  </a:lnTo>
                  <a:lnTo>
                    <a:pt x="2790" y="3748"/>
                  </a:lnTo>
                  <a:lnTo>
                    <a:pt x="2792" y="3748"/>
                  </a:lnTo>
                  <a:lnTo>
                    <a:pt x="2796" y="3744"/>
                  </a:lnTo>
                  <a:lnTo>
                    <a:pt x="2798" y="3740"/>
                  </a:lnTo>
                  <a:lnTo>
                    <a:pt x="2798" y="3736"/>
                  </a:lnTo>
                  <a:lnTo>
                    <a:pt x="2794" y="3724"/>
                  </a:lnTo>
                  <a:lnTo>
                    <a:pt x="2792" y="3714"/>
                  </a:lnTo>
                  <a:lnTo>
                    <a:pt x="2790" y="3712"/>
                  </a:lnTo>
                  <a:lnTo>
                    <a:pt x="2792" y="3708"/>
                  </a:lnTo>
                  <a:lnTo>
                    <a:pt x="2794" y="3708"/>
                  </a:lnTo>
                  <a:lnTo>
                    <a:pt x="2796" y="3710"/>
                  </a:lnTo>
                  <a:lnTo>
                    <a:pt x="2804" y="3720"/>
                  </a:lnTo>
                  <a:lnTo>
                    <a:pt x="2808" y="3726"/>
                  </a:lnTo>
                  <a:lnTo>
                    <a:pt x="2812" y="3730"/>
                  </a:lnTo>
                  <a:lnTo>
                    <a:pt x="2810" y="3734"/>
                  </a:lnTo>
                  <a:lnTo>
                    <a:pt x="2810" y="3738"/>
                  </a:lnTo>
                  <a:lnTo>
                    <a:pt x="2812" y="3738"/>
                  </a:lnTo>
                  <a:lnTo>
                    <a:pt x="2818" y="3740"/>
                  </a:lnTo>
                  <a:lnTo>
                    <a:pt x="2820" y="3742"/>
                  </a:lnTo>
                  <a:lnTo>
                    <a:pt x="2824" y="3742"/>
                  </a:lnTo>
                  <a:lnTo>
                    <a:pt x="2826" y="3740"/>
                  </a:lnTo>
                  <a:lnTo>
                    <a:pt x="2828" y="3736"/>
                  </a:lnTo>
                  <a:lnTo>
                    <a:pt x="2828" y="3734"/>
                  </a:lnTo>
                  <a:lnTo>
                    <a:pt x="2826" y="3730"/>
                  </a:lnTo>
                  <a:lnTo>
                    <a:pt x="2826" y="3726"/>
                  </a:lnTo>
                  <a:lnTo>
                    <a:pt x="2826" y="3724"/>
                  </a:lnTo>
                  <a:lnTo>
                    <a:pt x="2828" y="3724"/>
                  </a:lnTo>
                  <a:lnTo>
                    <a:pt x="2830" y="3728"/>
                  </a:lnTo>
                  <a:lnTo>
                    <a:pt x="2834" y="3730"/>
                  </a:lnTo>
                  <a:lnTo>
                    <a:pt x="2836" y="3732"/>
                  </a:lnTo>
                  <a:lnTo>
                    <a:pt x="2838" y="3730"/>
                  </a:lnTo>
                  <a:lnTo>
                    <a:pt x="2840" y="3728"/>
                  </a:lnTo>
                  <a:lnTo>
                    <a:pt x="2838" y="3724"/>
                  </a:lnTo>
                  <a:lnTo>
                    <a:pt x="2836" y="3720"/>
                  </a:lnTo>
                  <a:lnTo>
                    <a:pt x="2838" y="3718"/>
                  </a:lnTo>
                  <a:lnTo>
                    <a:pt x="2840" y="3716"/>
                  </a:lnTo>
                  <a:lnTo>
                    <a:pt x="2842" y="3716"/>
                  </a:lnTo>
                  <a:lnTo>
                    <a:pt x="2844" y="3718"/>
                  </a:lnTo>
                  <a:lnTo>
                    <a:pt x="2846" y="3724"/>
                  </a:lnTo>
                  <a:lnTo>
                    <a:pt x="2846" y="3726"/>
                  </a:lnTo>
                  <a:lnTo>
                    <a:pt x="2848" y="3728"/>
                  </a:lnTo>
                  <a:lnTo>
                    <a:pt x="2850" y="3728"/>
                  </a:lnTo>
                  <a:lnTo>
                    <a:pt x="2854" y="3724"/>
                  </a:lnTo>
                  <a:lnTo>
                    <a:pt x="2860" y="3718"/>
                  </a:lnTo>
                  <a:lnTo>
                    <a:pt x="2864" y="3716"/>
                  </a:lnTo>
                  <a:lnTo>
                    <a:pt x="2874" y="3722"/>
                  </a:lnTo>
                  <a:lnTo>
                    <a:pt x="2876" y="3722"/>
                  </a:lnTo>
                  <a:lnTo>
                    <a:pt x="2878" y="3722"/>
                  </a:lnTo>
                  <a:lnTo>
                    <a:pt x="2878" y="3718"/>
                  </a:lnTo>
                  <a:lnTo>
                    <a:pt x="2878" y="3714"/>
                  </a:lnTo>
                  <a:lnTo>
                    <a:pt x="2878" y="3712"/>
                  </a:lnTo>
                  <a:lnTo>
                    <a:pt x="2880" y="3712"/>
                  </a:lnTo>
                  <a:lnTo>
                    <a:pt x="2882" y="3712"/>
                  </a:lnTo>
                  <a:lnTo>
                    <a:pt x="2884" y="3716"/>
                  </a:lnTo>
                  <a:lnTo>
                    <a:pt x="2886" y="3718"/>
                  </a:lnTo>
                  <a:lnTo>
                    <a:pt x="2894" y="3716"/>
                  </a:lnTo>
                  <a:lnTo>
                    <a:pt x="2902" y="3712"/>
                  </a:lnTo>
                  <a:lnTo>
                    <a:pt x="2910" y="3710"/>
                  </a:lnTo>
                  <a:lnTo>
                    <a:pt x="2914" y="3706"/>
                  </a:lnTo>
                  <a:lnTo>
                    <a:pt x="2916" y="3702"/>
                  </a:lnTo>
                  <a:lnTo>
                    <a:pt x="2918" y="3698"/>
                  </a:lnTo>
                  <a:lnTo>
                    <a:pt x="2918" y="3696"/>
                  </a:lnTo>
                  <a:lnTo>
                    <a:pt x="2922" y="3694"/>
                  </a:lnTo>
                  <a:lnTo>
                    <a:pt x="2926" y="3692"/>
                  </a:lnTo>
                  <a:lnTo>
                    <a:pt x="2924" y="3690"/>
                  </a:lnTo>
                  <a:lnTo>
                    <a:pt x="2922" y="3688"/>
                  </a:lnTo>
                  <a:lnTo>
                    <a:pt x="2924" y="3686"/>
                  </a:lnTo>
                  <a:lnTo>
                    <a:pt x="2926" y="3684"/>
                  </a:lnTo>
                  <a:lnTo>
                    <a:pt x="2930" y="3678"/>
                  </a:lnTo>
                  <a:lnTo>
                    <a:pt x="2932" y="3674"/>
                  </a:lnTo>
                  <a:lnTo>
                    <a:pt x="2936" y="3674"/>
                  </a:lnTo>
                  <a:lnTo>
                    <a:pt x="2940" y="3674"/>
                  </a:lnTo>
                  <a:lnTo>
                    <a:pt x="2944" y="3672"/>
                  </a:lnTo>
                  <a:lnTo>
                    <a:pt x="2948" y="3668"/>
                  </a:lnTo>
                  <a:lnTo>
                    <a:pt x="2954" y="3662"/>
                  </a:lnTo>
                  <a:lnTo>
                    <a:pt x="2956" y="3662"/>
                  </a:lnTo>
                  <a:lnTo>
                    <a:pt x="2956" y="3664"/>
                  </a:lnTo>
                  <a:lnTo>
                    <a:pt x="2958" y="3666"/>
                  </a:lnTo>
                  <a:lnTo>
                    <a:pt x="2960" y="3662"/>
                  </a:lnTo>
                  <a:lnTo>
                    <a:pt x="2974" y="3648"/>
                  </a:lnTo>
                  <a:lnTo>
                    <a:pt x="2980" y="3642"/>
                  </a:lnTo>
                  <a:lnTo>
                    <a:pt x="2980" y="3638"/>
                  </a:lnTo>
                  <a:lnTo>
                    <a:pt x="2978" y="3636"/>
                  </a:lnTo>
                  <a:lnTo>
                    <a:pt x="2976" y="3632"/>
                  </a:lnTo>
                  <a:lnTo>
                    <a:pt x="2978" y="3626"/>
                  </a:lnTo>
                  <a:lnTo>
                    <a:pt x="2980" y="3624"/>
                  </a:lnTo>
                  <a:lnTo>
                    <a:pt x="2982" y="3624"/>
                  </a:lnTo>
                  <a:lnTo>
                    <a:pt x="2984" y="3626"/>
                  </a:lnTo>
                  <a:lnTo>
                    <a:pt x="2986" y="3628"/>
                  </a:lnTo>
                  <a:lnTo>
                    <a:pt x="2988" y="3626"/>
                  </a:lnTo>
                  <a:lnTo>
                    <a:pt x="2990" y="3626"/>
                  </a:lnTo>
                  <a:lnTo>
                    <a:pt x="2994" y="3628"/>
                  </a:lnTo>
                  <a:lnTo>
                    <a:pt x="2998" y="3630"/>
                  </a:lnTo>
                  <a:lnTo>
                    <a:pt x="3000" y="3624"/>
                  </a:lnTo>
                  <a:lnTo>
                    <a:pt x="3004" y="3616"/>
                  </a:lnTo>
                  <a:lnTo>
                    <a:pt x="3008" y="3614"/>
                  </a:lnTo>
                  <a:lnTo>
                    <a:pt x="3012" y="3610"/>
                  </a:lnTo>
                  <a:lnTo>
                    <a:pt x="3016" y="3608"/>
                  </a:lnTo>
                  <a:lnTo>
                    <a:pt x="3016" y="3606"/>
                  </a:lnTo>
                  <a:lnTo>
                    <a:pt x="3012" y="3602"/>
                  </a:lnTo>
                  <a:lnTo>
                    <a:pt x="3010" y="3598"/>
                  </a:lnTo>
                  <a:lnTo>
                    <a:pt x="3010" y="3594"/>
                  </a:lnTo>
                  <a:lnTo>
                    <a:pt x="3012" y="3590"/>
                  </a:lnTo>
                  <a:lnTo>
                    <a:pt x="3014" y="3594"/>
                  </a:lnTo>
                  <a:lnTo>
                    <a:pt x="3018" y="3596"/>
                  </a:lnTo>
                  <a:lnTo>
                    <a:pt x="3022" y="3596"/>
                  </a:lnTo>
                  <a:lnTo>
                    <a:pt x="3026" y="3594"/>
                  </a:lnTo>
                  <a:lnTo>
                    <a:pt x="3030" y="3590"/>
                  </a:lnTo>
                  <a:lnTo>
                    <a:pt x="3030" y="3588"/>
                  </a:lnTo>
                  <a:lnTo>
                    <a:pt x="3028" y="3588"/>
                  </a:lnTo>
                  <a:lnTo>
                    <a:pt x="3024" y="3588"/>
                  </a:lnTo>
                  <a:lnTo>
                    <a:pt x="3020" y="3586"/>
                  </a:lnTo>
                  <a:lnTo>
                    <a:pt x="3020" y="3582"/>
                  </a:lnTo>
                  <a:lnTo>
                    <a:pt x="3022" y="3578"/>
                  </a:lnTo>
                  <a:lnTo>
                    <a:pt x="3024" y="3576"/>
                  </a:lnTo>
                  <a:lnTo>
                    <a:pt x="3026" y="3576"/>
                  </a:lnTo>
                  <a:lnTo>
                    <a:pt x="3030" y="3578"/>
                  </a:lnTo>
                  <a:lnTo>
                    <a:pt x="3032" y="3580"/>
                  </a:lnTo>
                  <a:lnTo>
                    <a:pt x="3038" y="3586"/>
                  </a:lnTo>
                  <a:lnTo>
                    <a:pt x="3040" y="3586"/>
                  </a:lnTo>
                  <a:lnTo>
                    <a:pt x="3042" y="3582"/>
                  </a:lnTo>
                  <a:lnTo>
                    <a:pt x="3038" y="3576"/>
                  </a:lnTo>
                  <a:lnTo>
                    <a:pt x="3036" y="3572"/>
                  </a:lnTo>
                  <a:lnTo>
                    <a:pt x="3038" y="3568"/>
                  </a:lnTo>
                  <a:lnTo>
                    <a:pt x="3042" y="3558"/>
                  </a:lnTo>
                  <a:lnTo>
                    <a:pt x="3044" y="3552"/>
                  </a:lnTo>
                  <a:lnTo>
                    <a:pt x="3040" y="3552"/>
                  </a:lnTo>
                  <a:lnTo>
                    <a:pt x="3038" y="3552"/>
                  </a:lnTo>
                  <a:lnTo>
                    <a:pt x="3036" y="3550"/>
                  </a:lnTo>
                  <a:lnTo>
                    <a:pt x="3038" y="3546"/>
                  </a:lnTo>
                  <a:lnTo>
                    <a:pt x="3042" y="3540"/>
                  </a:lnTo>
                  <a:lnTo>
                    <a:pt x="3048" y="3536"/>
                  </a:lnTo>
                  <a:lnTo>
                    <a:pt x="3052" y="3534"/>
                  </a:lnTo>
                  <a:lnTo>
                    <a:pt x="3052" y="3532"/>
                  </a:lnTo>
                  <a:lnTo>
                    <a:pt x="3050" y="3532"/>
                  </a:lnTo>
                  <a:lnTo>
                    <a:pt x="3046" y="3526"/>
                  </a:lnTo>
                  <a:lnTo>
                    <a:pt x="3042" y="3522"/>
                  </a:lnTo>
                  <a:lnTo>
                    <a:pt x="3040" y="3518"/>
                  </a:lnTo>
                  <a:lnTo>
                    <a:pt x="3038" y="3518"/>
                  </a:lnTo>
                  <a:lnTo>
                    <a:pt x="3042" y="3516"/>
                  </a:lnTo>
                  <a:lnTo>
                    <a:pt x="3046" y="3514"/>
                  </a:lnTo>
                  <a:lnTo>
                    <a:pt x="3046" y="3516"/>
                  </a:lnTo>
                  <a:lnTo>
                    <a:pt x="3048" y="3520"/>
                  </a:lnTo>
                  <a:lnTo>
                    <a:pt x="3050" y="3524"/>
                  </a:lnTo>
                  <a:lnTo>
                    <a:pt x="3054" y="3524"/>
                  </a:lnTo>
                  <a:lnTo>
                    <a:pt x="3058" y="3522"/>
                  </a:lnTo>
                  <a:lnTo>
                    <a:pt x="3060" y="3520"/>
                  </a:lnTo>
                  <a:lnTo>
                    <a:pt x="3062" y="3518"/>
                  </a:lnTo>
                  <a:lnTo>
                    <a:pt x="3062" y="3512"/>
                  </a:lnTo>
                  <a:lnTo>
                    <a:pt x="3060" y="3510"/>
                  </a:lnTo>
                  <a:lnTo>
                    <a:pt x="3060" y="3508"/>
                  </a:lnTo>
                  <a:lnTo>
                    <a:pt x="3062" y="3506"/>
                  </a:lnTo>
                  <a:lnTo>
                    <a:pt x="3068" y="3502"/>
                  </a:lnTo>
                  <a:lnTo>
                    <a:pt x="3074" y="3492"/>
                  </a:lnTo>
                  <a:lnTo>
                    <a:pt x="3080" y="3482"/>
                  </a:lnTo>
                  <a:lnTo>
                    <a:pt x="3080" y="3478"/>
                  </a:lnTo>
                  <a:lnTo>
                    <a:pt x="3080" y="3474"/>
                  </a:lnTo>
                  <a:lnTo>
                    <a:pt x="3080" y="3470"/>
                  </a:lnTo>
                  <a:lnTo>
                    <a:pt x="3080" y="3468"/>
                  </a:lnTo>
                  <a:lnTo>
                    <a:pt x="3084" y="3462"/>
                  </a:lnTo>
                  <a:lnTo>
                    <a:pt x="3090" y="3454"/>
                  </a:lnTo>
                  <a:lnTo>
                    <a:pt x="3098" y="3440"/>
                  </a:lnTo>
                  <a:lnTo>
                    <a:pt x="3100" y="3436"/>
                  </a:lnTo>
                  <a:lnTo>
                    <a:pt x="3102" y="3432"/>
                  </a:lnTo>
                  <a:lnTo>
                    <a:pt x="3104" y="3434"/>
                  </a:lnTo>
                  <a:lnTo>
                    <a:pt x="3106" y="3436"/>
                  </a:lnTo>
                  <a:lnTo>
                    <a:pt x="3108" y="3440"/>
                  </a:lnTo>
                  <a:lnTo>
                    <a:pt x="3110" y="3440"/>
                  </a:lnTo>
                  <a:lnTo>
                    <a:pt x="3112" y="3440"/>
                  </a:lnTo>
                  <a:lnTo>
                    <a:pt x="3116" y="3436"/>
                  </a:lnTo>
                  <a:lnTo>
                    <a:pt x="3120" y="3434"/>
                  </a:lnTo>
                  <a:lnTo>
                    <a:pt x="3122" y="3432"/>
                  </a:lnTo>
                  <a:lnTo>
                    <a:pt x="3118" y="3424"/>
                  </a:lnTo>
                  <a:lnTo>
                    <a:pt x="3116" y="3420"/>
                  </a:lnTo>
                  <a:lnTo>
                    <a:pt x="3116" y="3416"/>
                  </a:lnTo>
                  <a:lnTo>
                    <a:pt x="3118" y="3414"/>
                  </a:lnTo>
                  <a:lnTo>
                    <a:pt x="3122" y="3412"/>
                  </a:lnTo>
                  <a:lnTo>
                    <a:pt x="3122" y="3410"/>
                  </a:lnTo>
                  <a:lnTo>
                    <a:pt x="3122" y="3408"/>
                  </a:lnTo>
                  <a:lnTo>
                    <a:pt x="3122" y="3402"/>
                  </a:lnTo>
                  <a:lnTo>
                    <a:pt x="3122" y="3400"/>
                  </a:lnTo>
                  <a:lnTo>
                    <a:pt x="3124" y="3398"/>
                  </a:lnTo>
                  <a:lnTo>
                    <a:pt x="3120" y="3392"/>
                  </a:lnTo>
                  <a:lnTo>
                    <a:pt x="3118" y="3390"/>
                  </a:lnTo>
                  <a:lnTo>
                    <a:pt x="3124" y="3390"/>
                  </a:lnTo>
                  <a:lnTo>
                    <a:pt x="3128" y="3390"/>
                  </a:lnTo>
                  <a:lnTo>
                    <a:pt x="3132" y="3388"/>
                  </a:lnTo>
                  <a:lnTo>
                    <a:pt x="3134" y="3384"/>
                  </a:lnTo>
                  <a:lnTo>
                    <a:pt x="3134" y="3376"/>
                  </a:lnTo>
                  <a:lnTo>
                    <a:pt x="3134" y="3370"/>
                  </a:lnTo>
                  <a:lnTo>
                    <a:pt x="3132" y="3366"/>
                  </a:lnTo>
                  <a:lnTo>
                    <a:pt x="3128" y="3362"/>
                  </a:lnTo>
                  <a:lnTo>
                    <a:pt x="3136" y="3356"/>
                  </a:lnTo>
                  <a:lnTo>
                    <a:pt x="3140" y="3352"/>
                  </a:lnTo>
                  <a:lnTo>
                    <a:pt x="3136" y="3350"/>
                  </a:lnTo>
                  <a:lnTo>
                    <a:pt x="3128" y="3348"/>
                  </a:lnTo>
                  <a:lnTo>
                    <a:pt x="3122" y="3344"/>
                  </a:lnTo>
                  <a:lnTo>
                    <a:pt x="3118" y="3338"/>
                  </a:lnTo>
                  <a:lnTo>
                    <a:pt x="3112" y="3332"/>
                  </a:lnTo>
                  <a:lnTo>
                    <a:pt x="3108" y="3330"/>
                  </a:lnTo>
                  <a:lnTo>
                    <a:pt x="3102" y="3330"/>
                  </a:lnTo>
                  <a:lnTo>
                    <a:pt x="3096" y="3334"/>
                  </a:lnTo>
                  <a:lnTo>
                    <a:pt x="3086" y="3338"/>
                  </a:lnTo>
                  <a:lnTo>
                    <a:pt x="3082" y="3338"/>
                  </a:lnTo>
                  <a:lnTo>
                    <a:pt x="3078" y="3334"/>
                  </a:lnTo>
                  <a:lnTo>
                    <a:pt x="3076" y="3332"/>
                  </a:lnTo>
                  <a:lnTo>
                    <a:pt x="3074" y="3330"/>
                  </a:lnTo>
                  <a:lnTo>
                    <a:pt x="3070" y="3332"/>
                  </a:lnTo>
                  <a:lnTo>
                    <a:pt x="3070" y="3328"/>
                  </a:lnTo>
                  <a:lnTo>
                    <a:pt x="3072" y="3326"/>
                  </a:lnTo>
                  <a:lnTo>
                    <a:pt x="3074" y="3324"/>
                  </a:lnTo>
                  <a:lnTo>
                    <a:pt x="3082" y="3326"/>
                  </a:lnTo>
                  <a:lnTo>
                    <a:pt x="3088" y="3326"/>
                  </a:lnTo>
                  <a:lnTo>
                    <a:pt x="3090" y="3326"/>
                  </a:lnTo>
                  <a:lnTo>
                    <a:pt x="3092" y="3324"/>
                  </a:lnTo>
                  <a:lnTo>
                    <a:pt x="3098" y="3316"/>
                  </a:lnTo>
                  <a:lnTo>
                    <a:pt x="3106" y="3310"/>
                  </a:lnTo>
                  <a:lnTo>
                    <a:pt x="3116" y="3304"/>
                  </a:lnTo>
                  <a:lnTo>
                    <a:pt x="3124" y="3302"/>
                  </a:lnTo>
                  <a:lnTo>
                    <a:pt x="3128" y="3300"/>
                  </a:lnTo>
                  <a:lnTo>
                    <a:pt x="3132" y="3298"/>
                  </a:lnTo>
                  <a:lnTo>
                    <a:pt x="3132" y="3294"/>
                  </a:lnTo>
                  <a:lnTo>
                    <a:pt x="3130" y="3290"/>
                  </a:lnTo>
                  <a:lnTo>
                    <a:pt x="3122" y="3278"/>
                  </a:lnTo>
                  <a:lnTo>
                    <a:pt x="3110" y="3268"/>
                  </a:lnTo>
                  <a:lnTo>
                    <a:pt x="3100" y="3258"/>
                  </a:lnTo>
                  <a:lnTo>
                    <a:pt x="3090" y="3254"/>
                  </a:lnTo>
                  <a:lnTo>
                    <a:pt x="3086" y="3252"/>
                  </a:lnTo>
                  <a:lnTo>
                    <a:pt x="3086" y="3250"/>
                  </a:lnTo>
                  <a:lnTo>
                    <a:pt x="3086" y="3248"/>
                  </a:lnTo>
                  <a:lnTo>
                    <a:pt x="3086" y="3246"/>
                  </a:lnTo>
                  <a:lnTo>
                    <a:pt x="3086" y="3244"/>
                  </a:lnTo>
                  <a:lnTo>
                    <a:pt x="3082" y="3242"/>
                  </a:lnTo>
                  <a:lnTo>
                    <a:pt x="3078" y="3240"/>
                  </a:lnTo>
                  <a:lnTo>
                    <a:pt x="3074" y="3242"/>
                  </a:lnTo>
                  <a:lnTo>
                    <a:pt x="3068" y="3246"/>
                  </a:lnTo>
                  <a:lnTo>
                    <a:pt x="3062" y="3246"/>
                  </a:lnTo>
                  <a:lnTo>
                    <a:pt x="3056" y="3244"/>
                  </a:lnTo>
                  <a:lnTo>
                    <a:pt x="3050" y="3242"/>
                  </a:lnTo>
                  <a:lnTo>
                    <a:pt x="3046" y="3236"/>
                  </a:lnTo>
                  <a:lnTo>
                    <a:pt x="3044" y="3232"/>
                  </a:lnTo>
                  <a:lnTo>
                    <a:pt x="3042" y="3228"/>
                  </a:lnTo>
                  <a:lnTo>
                    <a:pt x="3044" y="3224"/>
                  </a:lnTo>
                  <a:lnTo>
                    <a:pt x="3046" y="3224"/>
                  </a:lnTo>
                  <a:lnTo>
                    <a:pt x="3048" y="3224"/>
                  </a:lnTo>
                  <a:lnTo>
                    <a:pt x="3052" y="3230"/>
                  </a:lnTo>
                  <a:lnTo>
                    <a:pt x="3056" y="3238"/>
                  </a:lnTo>
                  <a:lnTo>
                    <a:pt x="3060" y="3242"/>
                  </a:lnTo>
                  <a:lnTo>
                    <a:pt x="3062" y="3244"/>
                  </a:lnTo>
                  <a:lnTo>
                    <a:pt x="3066" y="3242"/>
                  </a:lnTo>
                  <a:lnTo>
                    <a:pt x="3072" y="3240"/>
                  </a:lnTo>
                  <a:lnTo>
                    <a:pt x="3078" y="3236"/>
                  </a:lnTo>
                  <a:lnTo>
                    <a:pt x="3080" y="3236"/>
                  </a:lnTo>
                  <a:lnTo>
                    <a:pt x="3084" y="3236"/>
                  </a:lnTo>
                  <a:lnTo>
                    <a:pt x="3088" y="3240"/>
                  </a:lnTo>
                  <a:lnTo>
                    <a:pt x="3090" y="3242"/>
                  </a:lnTo>
                  <a:lnTo>
                    <a:pt x="3092" y="3246"/>
                  </a:lnTo>
                  <a:lnTo>
                    <a:pt x="3094" y="3248"/>
                  </a:lnTo>
                  <a:lnTo>
                    <a:pt x="3098" y="3248"/>
                  </a:lnTo>
                  <a:lnTo>
                    <a:pt x="3104" y="3248"/>
                  </a:lnTo>
                  <a:lnTo>
                    <a:pt x="3110" y="3250"/>
                  </a:lnTo>
                  <a:lnTo>
                    <a:pt x="3122" y="3256"/>
                  </a:lnTo>
                  <a:lnTo>
                    <a:pt x="3128" y="3258"/>
                  </a:lnTo>
                  <a:lnTo>
                    <a:pt x="3130" y="3258"/>
                  </a:lnTo>
                  <a:lnTo>
                    <a:pt x="3132" y="3256"/>
                  </a:lnTo>
                  <a:lnTo>
                    <a:pt x="3132" y="3254"/>
                  </a:lnTo>
                  <a:lnTo>
                    <a:pt x="3128" y="3244"/>
                  </a:lnTo>
                  <a:lnTo>
                    <a:pt x="3120" y="3236"/>
                  </a:lnTo>
                  <a:lnTo>
                    <a:pt x="3114" y="3230"/>
                  </a:lnTo>
                  <a:lnTo>
                    <a:pt x="3112" y="3226"/>
                  </a:lnTo>
                  <a:lnTo>
                    <a:pt x="3108" y="3220"/>
                  </a:lnTo>
                  <a:lnTo>
                    <a:pt x="3100" y="3212"/>
                  </a:lnTo>
                  <a:lnTo>
                    <a:pt x="3092" y="3206"/>
                  </a:lnTo>
                  <a:lnTo>
                    <a:pt x="3090" y="3200"/>
                  </a:lnTo>
                  <a:lnTo>
                    <a:pt x="3090" y="3192"/>
                  </a:lnTo>
                  <a:lnTo>
                    <a:pt x="3088" y="3186"/>
                  </a:lnTo>
                  <a:lnTo>
                    <a:pt x="3086" y="3178"/>
                  </a:lnTo>
                  <a:lnTo>
                    <a:pt x="3082" y="3168"/>
                  </a:lnTo>
                  <a:lnTo>
                    <a:pt x="3078" y="3158"/>
                  </a:lnTo>
                  <a:lnTo>
                    <a:pt x="3072" y="3138"/>
                  </a:lnTo>
                  <a:lnTo>
                    <a:pt x="3070" y="3130"/>
                  </a:lnTo>
                  <a:lnTo>
                    <a:pt x="3066" y="3122"/>
                  </a:lnTo>
                  <a:lnTo>
                    <a:pt x="3060" y="3116"/>
                  </a:lnTo>
                  <a:lnTo>
                    <a:pt x="3052" y="3112"/>
                  </a:lnTo>
                  <a:lnTo>
                    <a:pt x="3044" y="3108"/>
                  </a:lnTo>
                  <a:lnTo>
                    <a:pt x="3040" y="3104"/>
                  </a:lnTo>
                  <a:lnTo>
                    <a:pt x="3036" y="3098"/>
                  </a:lnTo>
                  <a:lnTo>
                    <a:pt x="3034" y="3094"/>
                  </a:lnTo>
                  <a:lnTo>
                    <a:pt x="3032" y="3094"/>
                  </a:lnTo>
                  <a:lnTo>
                    <a:pt x="3026" y="3096"/>
                  </a:lnTo>
                  <a:lnTo>
                    <a:pt x="3022" y="3096"/>
                  </a:lnTo>
                  <a:lnTo>
                    <a:pt x="3022" y="3092"/>
                  </a:lnTo>
                  <a:lnTo>
                    <a:pt x="3024" y="3084"/>
                  </a:lnTo>
                  <a:lnTo>
                    <a:pt x="3026" y="3076"/>
                  </a:lnTo>
                  <a:lnTo>
                    <a:pt x="3038" y="3058"/>
                  </a:lnTo>
                  <a:lnTo>
                    <a:pt x="3044" y="3052"/>
                  </a:lnTo>
                  <a:lnTo>
                    <a:pt x="3048" y="3048"/>
                  </a:lnTo>
                  <a:lnTo>
                    <a:pt x="3054" y="3044"/>
                  </a:lnTo>
                  <a:lnTo>
                    <a:pt x="3056" y="3042"/>
                  </a:lnTo>
                  <a:lnTo>
                    <a:pt x="3058" y="3038"/>
                  </a:lnTo>
                  <a:lnTo>
                    <a:pt x="3062" y="3034"/>
                  </a:lnTo>
                  <a:lnTo>
                    <a:pt x="3064" y="3032"/>
                  </a:lnTo>
                  <a:lnTo>
                    <a:pt x="3064" y="3028"/>
                  </a:lnTo>
                  <a:lnTo>
                    <a:pt x="3062" y="3024"/>
                  </a:lnTo>
                  <a:lnTo>
                    <a:pt x="3060" y="3020"/>
                  </a:lnTo>
                  <a:lnTo>
                    <a:pt x="3060" y="3018"/>
                  </a:lnTo>
                  <a:lnTo>
                    <a:pt x="3062" y="3018"/>
                  </a:lnTo>
                  <a:lnTo>
                    <a:pt x="3064" y="3016"/>
                  </a:lnTo>
                  <a:lnTo>
                    <a:pt x="3066" y="3016"/>
                  </a:lnTo>
                  <a:lnTo>
                    <a:pt x="3066" y="3020"/>
                  </a:lnTo>
                  <a:lnTo>
                    <a:pt x="3068" y="3022"/>
                  </a:lnTo>
                  <a:lnTo>
                    <a:pt x="3070" y="3024"/>
                  </a:lnTo>
                  <a:lnTo>
                    <a:pt x="3072" y="3024"/>
                  </a:lnTo>
                  <a:lnTo>
                    <a:pt x="3076" y="3022"/>
                  </a:lnTo>
                  <a:lnTo>
                    <a:pt x="3080" y="3020"/>
                  </a:lnTo>
                  <a:lnTo>
                    <a:pt x="3082" y="3018"/>
                  </a:lnTo>
                  <a:lnTo>
                    <a:pt x="3084" y="3012"/>
                  </a:lnTo>
                  <a:lnTo>
                    <a:pt x="3086" y="3008"/>
                  </a:lnTo>
                  <a:lnTo>
                    <a:pt x="3088" y="3006"/>
                  </a:lnTo>
                  <a:lnTo>
                    <a:pt x="3090" y="3008"/>
                  </a:lnTo>
                  <a:lnTo>
                    <a:pt x="3092" y="3008"/>
                  </a:lnTo>
                  <a:lnTo>
                    <a:pt x="3094" y="3006"/>
                  </a:lnTo>
                  <a:lnTo>
                    <a:pt x="3096" y="3002"/>
                  </a:lnTo>
                  <a:lnTo>
                    <a:pt x="3100" y="2996"/>
                  </a:lnTo>
                  <a:lnTo>
                    <a:pt x="3106" y="2990"/>
                  </a:lnTo>
                  <a:lnTo>
                    <a:pt x="3114" y="2988"/>
                  </a:lnTo>
                  <a:lnTo>
                    <a:pt x="3118" y="2988"/>
                  </a:lnTo>
                  <a:lnTo>
                    <a:pt x="3122" y="2986"/>
                  </a:lnTo>
                  <a:lnTo>
                    <a:pt x="3128" y="2982"/>
                  </a:lnTo>
                  <a:lnTo>
                    <a:pt x="3134" y="2976"/>
                  </a:lnTo>
                  <a:lnTo>
                    <a:pt x="3136" y="2976"/>
                  </a:lnTo>
                  <a:lnTo>
                    <a:pt x="3138" y="2978"/>
                  </a:lnTo>
                  <a:lnTo>
                    <a:pt x="3140" y="2978"/>
                  </a:lnTo>
                  <a:lnTo>
                    <a:pt x="3142" y="2976"/>
                  </a:lnTo>
                  <a:lnTo>
                    <a:pt x="3142" y="2978"/>
                  </a:lnTo>
                  <a:lnTo>
                    <a:pt x="3144" y="2980"/>
                  </a:lnTo>
                  <a:lnTo>
                    <a:pt x="3144" y="2982"/>
                  </a:lnTo>
                  <a:lnTo>
                    <a:pt x="3148" y="2984"/>
                  </a:lnTo>
                  <a:lnTo>
                    <a:pt x="3152" y="2982"/>
                  </a:lnTo>
                  <a:lnTo>
                    <a:pt x="3156" y="2980"/>
                  </a:lnTo>
                  <a:lnTo>
                    <a:pt x="3158" y="2978"/>
                  </a:lnTo>
                  <a:lnTo>
                    <a:pt x="3156" y="2974"/>
                  </a:lnTo>
                  <a:lnTo>
                    <a:pt x="3156" y="2972"/>
                  </a:lnTo>
                  <a:lnTo>
                    <a:pt x="3156" y="2970"/>
                  </a:lnTo>
                  <a:lnTo>
                    <a:pt x="3158" y="2966"/>
                  </a:lnTo>
                  <a:lnTo>
                    <a:pt x="3162" y="2960"/>
                  </a:lnTo>
                  <a:lnTo>
                    <a:pt x="3164" y="2958"/>
                  </a:lnTo>
                  <a:lnTo>
                    <a:pt x="3164" y="2956"/>
                  </a:lnTo>
                  <a:lnTo>
                    <a:pt x="3158" y="2952"/>
                  </a:lnTo>
                  <a:lnTo>
                    <a:pt x="3150" y="2950"/>
                  </a:lnTo>
                  <a:lnTo>
                    <a:pt x="3144" y="2946"/>
                  </a:lnTo>
                  <a:lnTo>
                    <a:pt x="3140" y="2942"/>
                  </a:lnTo>
                  <a:lnTo>
                    <a:pt x="3138" y="2944"/>
                  </a:lnTo>
                  <a:lnTo>
                    <a:pt x="3134" y="2948"/>
                  </a:lnTo>
                  <a:lnTo>
                    <a:pt x="3132" y="2948"/>
                  </a:lnTo>
                  <a:lnTo>
                    <a:pt x="3126" y="2950"/>
                  </a:lnTo>
                  <a:lnTo>
                    <a:pt x="3116" y="2948"/>
                  </a:lnTo>
                  <a:lnTo>
                    <a:pt x="3114" y="2944"/>
                  </a:lnTo>
                  <a:lnTo>
                    <a:pt x="3112" y="2942"/>
                  </a:lnTo>
                  <a:lnTo>
                    <a:pt x="3108" y="2942"/>
                  </a:lnTo>
                  <a:lnTo>
                    <a:pt x="3102" y="2942"/>
                  </a:lnTo>
                  <a:lnTo>
                    <a:pt x="3100" y="2938"/>
                  </a:lnTo>
                  <a:lnTo>
                    <a:pt x="3096" y="2934"/>
                  </a:lnTo>
                  <a:lnTo>
                    <a:pt x="3094" y="2930"/>
                  </a:lnTo>
                  <a:lnTo>
                    <a:pt x="3090" y="2930"/>
                  </a:lnTo>
                  <a:lnTo>
                    <a:pt x="3080" y="2930"/>
                  </a:lnTo>
                  <a:lnTo>
                    <a:pt x="3072" y="2934"/>
                  </a:lnTo>
                  <a:lnTo>
                    <a:pt x="3066" y="2940"/>
                  </a:lnTo>
                  <a:lnTo>
                    <a:pt x="3062" y="2946"/>
                  </a:lnTo>
                  <a:lnTo>
                    <a:pt x="3056" y="2950"/>
                  </a:lnTo>
                  <a:lnTo>
                    <a:pt x="3052" y="2952"/>
                  </a:lnTo>
                  <a:lnTo>
                    <a:pt x="3050" y="2954"/>
                  </a:lnTo>
                  <a:lnTo>
                    <a:pt x="3050" y="2958"/>
                  </a:lnTo>
                  <a:lnTo>
                    <a:pt x="3052" y="2962"/>
                  </a:lnTo>
                  <a:lnTo>
                    <a:pt x="3050" y="2964"/>
                  </a:lnTo>
                  <a:lnTo>
                    <a:pt x="3044" y="2966"/>
                  </a:lnTo>
                  <a:lnTo>
                    <a:pt x="3032" y="2968"/>
                  </a:lnTo>
                  <a:lnTo>
                    <a:pt x="3026" y="2968"/>
                  </a:lnTo>
                  <a:lnTo>
                    <a:pt x="3020" y="2964"/>
                  </a:lnTo>
                  <a:lnTo>
                    <a:pt x="3018" y="2960"/>
                  </a:lnTo>
                  <a:lnTo>
                    <a:pt x="3014" y="2956"/>
                  </a:lnTo>
                  <a:lnTo>
                    <a:pt x="3014" y="2946"/>
                  </a:lnTo>
                  <a:lnTo>
                    <a:pt x="3014" y="2940"/>
                  </a:lnTo>
                  <a:lnTo>
                    <a:pt x="3016" y="2938"/>
                  </a:lnTo>
                  <a:lnTo>
                    <a:pt x="3018" y="2934"/>
                  </a:lnTo>
                  <a:lnTo>
                    <a:pt x="3018" y="2930"/>
                  </a:lnTo>
                  <a:lnTo>
                    <a:pt x="3014" y="2922"/>
                  </a:lnTo>
                  <a:lnTo>
                    <a:pt x="3008" y="2914"/>
                  </a:lnTo>
                  <a:lnTo>
                    <a:pt x="3004" y="2912"/>
                  </a:lnTo>
                  <a:lnTo>
                    <a:pt x="3002" y="2912"/>
                  </a:lnTo>
                  <a:lnTo>
                    <a:pt x="2996" y="2914"/>
                  </a:lnTo>
                  <a:lnTo>
                    <a:pt x="2988" y="2914"/>
                  </a:lnTo>
                  <a:lnTo>
                    <a:pt x="2980" y="2914"/>
                  </a:lnTo>
                  <a:lnTo>
                    <a:pt x="2976" y="2912"/>
                  </a:lnTo>
                  <a:lnTo>
                    <a:pt x="2974" y="2910"/>
                  </a:lnTo>
                  <a:lnTo>
                    <a:pt x="2970" y="2906"/>
                  </a:lnTo>
                  <a:lnTo>
                    <a:pt x="2966" y="2904"/>
                  </a:lnTo>
                  <a:lnTo>
                    <a:pt x="2962" y="2900"/>
                  </a:lnTo>
                  <a:lnTo>
                    <a:pt x="2958" y="2890"/>
                  </a:lnTo>
                  <a:lnTo>
                    <a:pt x="2958" y="2880"/>
                  </a:lnTo>
                  <a:lnTo>
                    <a:pt x="2960" y="2872"/>
                  </a:lnTo>
                  <a:lnTo>
                    <a:pt x="2962" y="2868"/>
                  </a:lnTo>
                  <a:lnTo>
                    <a:pt x="2964" y="2862"/>
                  </a:lnTo>
                  <a:lnTo>
                    <a:pt x="2966" y="2856"/>
                  </a:lnTo>
                  <a:lnTo>
                    <a:pt x="2970" y="2854"/>
                  </a:lnTo>
                  <a:lnTo>
                    <a:pt x="2976" y="2854"/>
                  </a:lnTo>
                  <a:lnTo>
                    <a:pt x="2982" y="2860"/>
                  </a:lnTo>
                  <a:lnTo>
                    <a:pt x="2986" y="2864"/>
                  </a:lnTo>
                  <a:lnTo>
                    <a:pt x="2988" y="2864"/>
                  </a:lnTo>
                  <a:lnTo>
                    <a:pt x="2992" y="2862"/>
                  </a:lnTo>
                  <a:lnTo>
                    <a:pt x="2996" y="2856"/>
                  </a:lnTo>
                  <a:lnTo>
                    <a:pt x="3000" y="2856"/>
                  </a:lnTo>
                  <a:lnTo>
                    <a:pt x="3002" y="2856"/>
                  </a:lnTo>
                  <a:lnTo>
                    <a:pt x="3010" y="2856"/>
                  </a:lnTo>
                  <a:lnTo>
                    <a:pt x="3018" y="2854"/>
                  </a:lnTo>
                  <a:lnTo>
                    <a:pt x="3024" y="2846"/>
                  </a:lnTo>
                  <a:lnTo>
                    <a:pt x="3026" y="2836"/>
                  </a:lnTo>
                  <a:lnTo>
                    <a:pt x="3026" y="2830"/>
                  </a:lnTo>
                  <a:lnTo>
                    <a:pt x="3032" y="2824"/>
                  </a:lnTo>
                  <a:lnTo>
                    <a:pt x="3044" y="2814"/>
                  </a:lnTo>
                  <a:lnTo>
                    <a:pt x="3058" y="2806"/>
                  </a:lnTo>
                  <a:lnTo>
                    <a:pt x="3070" y="2802"/>
                  </a:lnTo>
                  <a:lnTo>
                    <a:pt x="3076" y="2798"/>
                  </a:lnTo>
                  <a:lnTo>
                    <a:pt x="3078" y="2794"/>
                  </a:lnTo>
                  <a:lnTo>
                    <a:pt x="3080" y="2786"/>
                  </a:lnTo>
                  <a:lnTo>
                    <a:pt x="3088" y="2778"/>
                  </a:lnTo>
                  <a:lnTo>
                    <a:pt x="3094" y="2770"/>
                  </a:lnTo>
                  <a:lnTo>
                    <a:pt x="3094" y="2768"/>
                  </a:lnTo>
                  <a:lnTo>
                    <a:pt x="3096" y="2766"/>
                  </a:lnTo>
                  <a:lnTo>
                    <a:pt x="3100" y="2762"/>
                  </a:lnTo>
                  <a:lnTo>
                    <a:pt x="3104" y="2760"/>
                  </a:lnTo>
                  <a:lnTo>
                    <a:pt x="3108" y="2760"/>
                  </a:lnTo>
                  <a:lnTo>
                    <a:pt x="3114" y="2760"/>
                  </a:lnTo>
                  <a:lnTo>
                    <a:pt x="3120" y="2762"/>
                  </a:lnTo>
                  <a:lnTo>
                    <a:pt x="3122" y="2762"/>
                  </a:lnTo>
                  <a:lnTo>
                    <a:pt x="3124" y="2762"/>
                  </a:lnTo>
                  <a:lnTo>
                    <a:pt x="3128" y="2760"/>
                  </a:lnTo>
                  <a:lnTo>
                    <a:pt x="3130" y="2760"/>
                  </a:lnTo>
                  <a:lnTo>
                    <a:pt x="3132" y="2764"/>
                  </a:lnTo>
                  <a:lnTo>
                    <a:pt x="3138" y="2770"/>
                  </a:lnTo>
                  <a:lnTo>
                    <a:pt x="3144" y="2778"/>
                  </a:lnTo>
                  <a:lnTo>
                    <a:pt x="3146" y="2782"/>
                  </a:lnTo>
                  <a:lnTo>
                    <a:pt x="3144" y="2790"/>
                  </a:lnTo>
                  <a:lnTo>
                    <a:pt x="3138" y="2800"/>
                  </a:lnTo>
                  <a:lnTo>
                    <a:pt x="3132" y="2806"/>
                  </a:lnTo>
                  <a:lnTo>
                    <a:pt x="3128" y="2810"/>
                  </a:lnTo>
                  <a:lnTo>
                    <a:pt x="3120" y="2816"/>
                  </a:lnTo>
                  <a:lnTo>
                    <a:pt x="3114" y="2820"/>
                  </a:lnTo>
                  <a:lnTo>
                    <a:pt x="3114" y="2822"/>
                  </a:lnTo>
                  <a:lnTo>
                    <a:pt x="3114" y="2824"/>
                  </a:lnTo>
                  <a:lnTo>
                    <a:pt x="3116" y="2826"/>
                  </a:lnTo>
                  <a:lnTo>
                    <a:pt x="3114" y="2828"/>
                  </a:lnTo>
                  <a:lnTo>
                    <a:pt x="3110" y="2832"/>
                  </a:lnTo>
                  <a:lnTo>
                    <a:pt x="3104" y="2834"/>
                  </a:lnTo>
                  <a:lnTo>
                    <a:pt x="3104" y="2836"/>
                  </a:lnTo>
                  <a:lnTo>
                    <a:pt x="3106" y="2836"/>
                  </a:lnTo>
                  <a:lnTo>
                    <a:pt x="3110" y="2840"/>
                  </a:lnTo>
                  <a:lnTo>
                    <a:pt x="3116" y="2844"/>
                  </a:lnTo>
                  <a:lnTo>
                    <a:pt x="3120" y="2850"/>
                  </a:lnTo>
                  <a:lnTo>
                    <a:pt x="3122" y="2854"/>
                  </a:lnTo>
                  <a:lnTo>
                    <a:pt x="3122" y="2858"/>
                  </a:lnTo>
                  <a:lnTo>
                    <a:pt x="3120" y="2862"/>
                  </a:lnTo>
                  <a:lnTo>
                    <a:pt x="3118" y="2864"/>
                  </a:lnTo>
                  <a:lnTo>
                    <a:pt x="3116" y="2862"/>
                  </a:lnTo>
                  <a:lnTo>
                    <a:pt x="3112" y="2860"/>
                  </a:lnTo>
                  <a:lnTo>
                    <a:pt x="3110" y="2862"/>
                  </a:lnTo>
                  <a:lnTo>
                    <a:pt x="3108" y="2864"/>
                  </a:lnTo>
                  <a:lnTo>
                    <a:pt x="3106" y="2868"/>
                  </a:lnTo>
                  <a:lnTo>
                    <a:pt x="3102" y="2868"/>
                  </a:lnTo>
                  <a:lnTo>
                    <a:pt x="3100" y="2876"/>
                  </a:lnTo>
                  <a:lnTo>
                    <a:pt x="3100" y="2880"/>
                  </a:lnTo>
                  <a:lnTo>
                    <a:pt x="3102" y="2882"/>
                  </a:lnTo>
                  <a:lnTo>
                    <a:pt x="3104" y="2882"/>
                  </a:lnTo>
                  <a:lnTo>
                    <a:pt x="3106" y="2880"/>
                  </a:lnTo>
                  <a:lnTo>
                    <a:pt x="3112" y="2878"/>
                  </a:lnTo>
                  <a:lnTo>
                    <a:pt x="3120" y="2874"/>
                  </a:lnTo>
                  <a:lnTo>
                    <a:pt x="3124" y="2874"/>
                  </a:lnTo>
                  <a:lnTo>
                    <a:pt x="3124" y="2872"/>
                  </a:lnTo>
                  <a:lnTo>
                    <a:pt x="3124" y="2868"/>
                  </a:lnTo>
                  <a:lnTo>
                    <a:pt x="3124" y="2866"/>
                  </a:lnTo>
                  <a:lnTo>
                    <a:pt x="3128" y="2866"/>
                  </a:lnTo>
                  <a:lnTo>
                    <a:pt x="3132" y="2866"/>
                  </a:lnTo>
                  <a:lnTo>
                    <a:pt x="3136" y="2864"/>
                  </a:lnTo>
                  <a:lnTo>
                    <a:pt x="3142" y="2856"/>
                  </a:lnTo>
                  <a:lnTo>
                    <a:pt x="3148" y="2848"/>
                  </a:lnTo>
                  <a:lnTo>
                    <a:pt x="3152" y="2844"/>
                  </a:lnTo>
                  <a:lnTo>
                    <a:pt x="3156" y="2840"/>
                  </a:lnTo>
                  <a:lnTo>
                    <a:pt x="3162" y="2836"/>
                  </a:lnTo>
                  <a:lnTo>
                    <a:pt x="3164" y="2834"/>
                  </a:lnTo>
                  <a:lnTo>
                    <a:pt x="3168" y="2832"/>
                  </a:lnTo>
                  <a:lnTo>
                    <a:pt x="3176" y="2830"/>
                  </a:lnTo>
                  <a:lnTo>
                    <a:pt x="3182" y="2830"/>
                  </a:lnTo>
                  <a:lnTo>
                    <a:pt x="3186" y="2828"/>
                  </a:lnTo>
                  <a:lnTo>
                    <a:pt x="3188" y="2826"/>
                  </a:lnTo>
                  <a:lnTo>
                    <a:pt x="3190" y="2822"/>
                  </a:lnTo>
                  <a:lnTo>
                    <a:pt x="3194" y="2822"/>
                  </a:lnTo>
                  <a:lnTo>
                    <a:pt x="3196" y="2824"/>
                  </a:lnTo>
                  <a:lnTo>
                    <a:pt x="3200" y="2822"/>
                  </a:lnTo>
                  <a:lnTo>
                    <a:pt x="3202" y="2820"/>
                  </a:lnTo>
                  <a:lnTo>
                    <a:pt x="3206" y="2820"/>
                  </a:lnTo>
                  <a:lnTo>
                    <a:pt x="3212" y="2820"/>
                  </a:lnTo>
                  <a:lnTo>
                    <a:pt x="3220" y="2818"/>
                  </a:lnTo>
                  <a:lnTo>
                    <a:pt x="3226" y="2816"/>
                  </a:lnTo>
                  <a:lnTo>
                    <a:pt x="3230" y="2812"/>
                  </a:lnTo>
                  <a:lnTo>
                    <a:pt x="3232" y="2808"/>
                  </a:lnTo>
                  <a:lnTo>
                    <a:pt x="3230" y="2812"/>
                  </a:lnTo>
                  <a:lnTo>
                    <a:pt x="3232" y="2818"/>
                  </a:lnTo>
                  <a:lnTo>
                    <a:pt x="3236" y="2824"/>
                  </a:lnTo>
                  <a:lnTo>
                    <a:pt x="3242" y="2828"/>
                  </a:lnTo>
                  <a:lnTo>
                    <a:pt x="3244" y="2830"/>
                  </a:lnTo>
                  <a:lnTo>
                    <a:pt x="3246" y="2828"/>
                  </a:lnTo>
                  <a:lnTo>
                    <a:pt x="3250" y="2828"/>
                  </a:lnTo>
                  <a:lnTo>
                    <a:pt x="3254" y="2828"/>
                  </a:lnTo>
                  <a:lnTo>
                    <a:pt x="3264" y="2832"/>
                  </a:lnTo>
                  <a:lnTo>
                    <a:pt x="3268" y="2836"/>
                  </a:lnTo>
                  <a:lnTo>
                    <a:pt x="3272" y="2840"/>
                  </a:lnTo>
                  <a:lnTo>
                    <a:pt x="3274" y="2846"/>
                  </a:lnTo>
                  <a:lnTo>
                    <a:pt x="3272" y="2850"/>
                  </a:lnTo>
                  <a:lnTo>
                    <a:pt x="3264" y="2868"/>
                  </a:lnTo>
                  <a:lnTo>
                    <a:pt x="3262" y="2876"/>
                  </a:lnTo>
                  <a:lnTo>
                    <a:pt x="3262" y="2878"/>
                  </a:lnTo>
                  <a:lnTo>
                    <a:pt x="3264" y="2880"/>
                  </a:lnTo>
                  <a:lnTo>
                    <a:pt x="3266" y="2884"/>
                  </a:lnTo>
                  <a:lnTo>
                    <a:pt x="3262" y="2886"/>
                  </a:lnTo>
                  <a:lnTo>
                    <a:pt x="3258" y="2892"/>
                  </a:lnTo>
                  <a:lnTo>
                    <a:pt x="3254" y="2900"/>
                  </a:lnTo>
                  <a:lnTo>
                    <a:pt x="3250" y="2906"/>
                  </a:lnTo>
                  <a:lnTo>
                    <a:pt x="3248" y="2910"/>
                  </a:lnTo>
                  <a:lnTo>
                    <a:pt x="3244" y="2914"/>
                  </a:lnTo>
                  <a:lnTo>
                    <a:pt x="3242" y="2914"/>
                  </a:lnTo>
                  <a:lnTo>
                    <a:pt x="3252" y="2916"/>
                  </a:lnTo>
                  <a:lnTo>
                    <a:pt x="3258" y="2918"/>
                  </a:lnTo>
                  <a:lnTo>
                    <a:pt x="3260" y="2918"/>
                  </a:lnTo>
                  <a:lnTo>
                    <a:pt x="3258" y="2920"/>
                  </a:lnTo>
                  <a:lnTo>
                    <a:pt x="3258" y="2922"/>
                  </a:lnTo>
                  <a:lnTo>
                    <a:pt x="3254" y="2924"/>
                  </a:lnTo>
                  <a:lnTo>
                    <a:pt x="3256" y="2926"/>
                  </a:lnTo>
                  <a:lnTo>
                    <a:pt x="3262" y="2928"/>
                  </a:lnTo>
                  <a:lnTo>
                    <a:pt x="3268" y="2928"/>
                  </a:lnTo>
                  <a:lnTo>
                    <a:pt x="3270" y="2930"/>
                  </a:lnTo>
                  <a:lnTo>
                    <a:pt x="3270" y="2932"/>
                  </a:lnTo>
                  <a:lnTo>
                    <a:pt x="3270" y="2934"/>
                  </a:lnTo>
                  <a:lnTo>
                    <a:pt x="3270" y="2938"/>
                  </a:lnTo>
                  <a:lnTo>
                    <a:pt x="3274" y="2936"/>
                  </a:lnTo>
                  <a:lnTo>
                    <a:pt x="3278" y="2934"/>
                  </a:lnTo>
                  <a:lnTo>
                    <a:pt x="3280" y="2930"/>
                  </a:lnTo>
                  <a:lnTo>
                    <a:pt x="3282" y="2924"/>
                  </a:lnTo>
                  <a:lnTo>
                    <a:pt x="3284" y="2922"/>
                  </a:lnTo>
                  <a:lnTo>
                    <a:pt x="3292" y="2926"/>
                  </a:lnTo>
                  <a:lnTo>
                    <a:pt x="3300" y="2934"/>
                  </a:lnTo>
                  <a:lnTo>
                    <a:pt x="3302" y="2934"/>
                  </a:lnTo>
                  <a:lnTo>
                    <a:pt x="3304" y="2930"/>
                  </a:lnTo>
                  <a:lnTo>
                    <a:pt x="3304" y="2928"/>
                  </a:lnTo>
                  <a:lnTo>
                    <a:pt x="3306" y="2926"/>
                  </a:lnTo>
                  <a:lnTo>
                    <a:pt x="3312" y="2928"/>
                  </a:lnTo>
                  <a:lnTo>
                    <a:pt x="3318" y="2930"/>
                  </a:lnTo>
                  <a:lnTo>
                    <a:pt x="3324" y="2930"/>
                  </a:lnTo>
                  <a:lnTo>
                    <a:pt x="3324" y="2934"/>
                  </a:lnTo>
                  <a:lnTo>
                    <a:pt x="3322" y="2934"/>
                  </a:lnTo>
                  <a:lnTo>
                    <a:pt x="3320" y="2938"/>
                  </a:lnTo>
                  <a:lnTo>
                    <a:pt x="3320" y="2942"/>
                  </a:lnTo>
                  <a:lnTo>
                    <a:pt x="3324" y="2948"/>
                  </a:lnTo>
                  <a:lnTo>
                    <a:pt x="3326" y="2954"/>
                  </a:lnTo>
                  <a:lnTo>
                    <a:pt x="3326" y="2958"/>
                  </a:lnTo>
                  <a:lnTo>
                    <a:pt x="3324" y="2960"/>
                  </a:lnTo>
                  <a:lnTo>
                    <a:pt x="3324" y="2962"/>
                  </a:lnTo>
                  <a:lnTo>
                    <a:pt x="3324" y="2966"/>
                  </a:lnTo>
                  <a:lnTo>
                    <a:pt x="3328" y="2970"/>
                  </a:lnTo>
                  <a:lnTo>
                    <a:pt x="3332" y="2974"/>
                  </a:lnTo>
                  <a:lnTo>
                    <a:pt x="3334" y="2976"/>
                  </a:lnTo>
                  <a:lnTo>
                    <a:pt x="3334" y="2980"/>
                  </a:lnTo>
                  <a:lnTo>
                    <a:pt x="3332" y="2982"/>
                  </a:lnTo>
                  <a:lnTo>
                    <a:pt x="3330" y="2980"/>
                  </a:lnTo>
                  <a:lnTo>
                    <a:pt x="3328" y="2976"/>
                  </a:lnTo>
                  <a:lnTo>
                    <a:pt x="3326" y="2974"/>
                  </a:lnTo>
                  <a:lnTo>
                    <a:pt x="3322" y="2974"/>
                  </a:lnTo>
                  <a:lnTo>
                    <a:pt x="3312" y="2974"/>
                  </a:lnTo>
                  <a:lnTo>
                    <a:pt x="3310" y="2974"/>
                  </a:lnTo>
                  <a:lnTo>
                    <a:pt x="3312" y="2978"/>
                  </a:lnTo>
                  <a:lnTo>
                    <a:pt x="3312" y="2980"/>
                  </a:lnTo>
                  <a:lnTo>
                    <a:pt x="3312" y="2982"/>
                  </a:lnTo>
                  <a:lnTo>
                    <a:pt x="3310" y="2982"/>
                  </a:lnTo>
                  <a:lnTo>
                    <a:pt x="3308" y="2980"/>
                  </a:lnTo>
                  <a:lnTo>
                    <a:pt x="3306" y="2980"/>
                  </a:lnTo>
                  <a:lnTo>
                    <a:pt x="3302" y="2984"/>
                  </a:lnTo>
                  <a:lnTo>
                    <a:pt x="3302" y="2988"/>
                  </a:lnTo>
                  <a:lnTo>
                    <a:pt x="3304" y="2992"/>
                  </a:lnTo>
                  <a:lnTo>
                    <a:pt x="3308" y="2994"/>
                  </a:lnTo>
                  <a:lnTo>
                    <a:pt x="3312" y="2992"/>
                  </a:lnTo>
                  <a:lnTo>
                    <a:pt x="3314" y="2992"/>
                  </a:lnTo>
                  <a:lnTo>
                    <a:pt x="3316" y="2998"/>
                  </a:lnTo>
                  <a:lnTo>
                    <a:pt x="3318" y="3014"/>
                  </a:lnTo>
                  <a:lnTo>
                    <a:pt x="3318" y="3020"/>
                  </a:lnTo>
                  <a:lnTo>
                    <a:pt x="3320" y="3022"/>
                  </a:lnTo>
                  <a:lnTo>
                    <a:pt x="3324" y="3026"/>
                  </a:lnTo>
                  <a:lnTo>
                    <a:pt x="3324" y="3028"/>
                  </a:lnTo>
                  <a:lnTo>
                    <a:pt x="3322" y="3030"/>
                  </a:lnTo>
                  <a:lnTo>
                    <a:pt x="3324" y="3034"/>
                  </a:lnTo>
                  <a:lnTo>
                    <a:pt x="3326" y="3038"/>
                  </a:lnTo>
                  <a:lnTo>
                    <a:pt x="3324" y="3042"/>
                  </a:lnTo>
                  <a:lnTo>
                    <a:pt x="3320" y="3046"/>
                  </a:lnTo>
                  <a:lnTo>
                    <a:pt x="3316" y="3054"/>
                  </a:lnTo>
                  <a:lnTo>
                    <a:pt x="3308" y="3070"/>
                  </a:lnTo>
                  <a:lnTo>
                    <a:pt x="3308" y="3076"/>
                  </a:lnTo>
                  <a:lnTo>
                    <a:pt x="3308" y="3078"/>
                  </a:lnTo>
                  <a:lnTo>
                    <a:pt x="3310" y="3082"/>
                  </a:lnTo>
                  <a:lnTo>
                    <a:pt x="3310" y="3084"/>
                  </a:lnTo>
                  <a:lnTo>
                    <a:pt x="3312" y="3088"/>
                  </a:lnTo>
                  <a:lnTo>
                    <a:pt x="3312" y="3092"/>
                  </a:lnTo>
                  <a:lnTo>
                    <a:pt x="3314" y="3096"/>
                  </a:lnTo>
                  <a:lnTo>
                    <a:pt x="3312" y="3096"/>
                  </a:lnTo>
                  <a:lnTo>
                    <a:pt x="3308" y="3096"/>
                  </a:lnTo>
                  <a:lnTo>
                    <a:pt x="3308" y="3100"/>
                  </a:lnTo>
                  <a:lnTo>
                    <a:pt x="3310" y="3104"/>
                  </a:lnTo>
                  <a:lnTo>
                    <a:pt x="3312" y="3104"/>
                  </a:lnTo>
                  <a:lnTo>
                    <a:pt x="3316" y="3104"/>
                  </a:lnTo>
                  <a:lnTo>
                    <a:pt x="3316" y="3110"/>
                  </a:lnTo>
                  <a:lnTo>
                    <a:pt x="3316" y="3116"/>
                  </a:lnTo>
                  <a:lnTo>
                    <a:pt x="3318" y="3118"/>
                  </a:lnTo>
                  <a:lnTo>
                    <a:pt x="3322" y="3116"/>
                  </a:lnTo>
                  <a:lnTo>
                    <a:pt x="3326" y="3110"/>
                  </a:lnTo>
                  <a:lnTo>
                    <a:pt x="3330" y="3104"/>
                  </a:lnTo>
                  <a:lnTo>
                    <a:pt x="3330" y="3106"/>
                  </a:lnTo>
                  <a:lnTo>
                    <a:pt x="3330" y="3110"/>
                  </a:lnTo>
                  <a:lnTo>
                    <a:pt x="3330" y="3112"/>
                  </a:lnTo>
                  <a:lnTo>
                    <a:pt x="3334" y="3110"/>
                  </a:lnTo>
                  <a:lnTo>
                    <a:pt x="3334" y="3108"/>
                  </a:lnTo>
                  <a:lnTo>
                    <a:pt x="3338" y="3102"/>
                  </a:lnTo>
                  <a:lnTo>
                    <a:pt x="3342" y="3098"/>
                  </a:lnTo>
                  <a:lnTo>
                    <a:pt x="3346" y="3094"/>
                  </a:lnTo>
                  <a:lnTo>
                    <a:pt x="3348" y="3094"/>
                  </a:lnTo>
                  <a:lnTo>
                    <a:pt x="3348" y="3096"/>
                  </a:lnTo>
                  <a:lnTo>
                    <a:pt x="3346" y="3100"/>
                  </a:lnTo>
                  <a:lnTo>
                    <a:pt x="3344" y="3106"/>
                  </a:lnTo>
                  <a:lnTo>
                    <a:pt x="3346" y="3108"/>
                  </a:lnTo>
                  <a:lnTo>
                    <a:pt x="3350" y="3110"/>
                  </a:lnTo>
                  <a:lnTo>
                    <a:pt x="3354" y="3108"/>
                  </a:lnTo>
                  <a:lnTo>
                    <a:pt x="3356" y="3106"/>
                  </a:lnTo>
                  <a:lnTo>
                    <a:pt x="3356" y="3104"/>
                  </a:lnTo>
                  <a:lnTo>
                    <a:pt x="3354" y="3096"/>
                  </a:lnTo>
                  <a:lnTo>
                    <a:pt x="3354" y="3094"/>
                  </a:lnTo>
                  <a:lnTo>
                    <a:pt x="3356" y="3092"/>
                  </a:lnTo>
                  <a:lnTo>
                    <a:pt x="3358" y="3092"/>
                  </a:lnTo>
                  <a:lnTo>
                    <a:pt x="3358" y="3094"/>
                  </a:lnTo>
                  <a:lnTo>
                    <a:pt x="3360" y="3102"/>
                  </a:lnTo>
                  <a:lnTo>
                    <a:pt x="3362" y="3100"/>
                  </a:lnTo>
                  <a:lnTo>
                    <a:pt x="3366" y="3096"/>
                  </a:lnTo>
                  <a:lnTo>
                    <a:pt x="3368" y="3094"/>
                  </a:lnTo>
                  <a:lnTo>
                    <a:pt x="3368" y="3092"/>
                  </a:lnTo>
                  <a:lnTo>
                    <a:pt x="3364" y="3088"/>
                  </a:lnTo>
                  <a:lnTo>
                    <a:pt x="3362" y="3086"/>
                  </a:lnTo>
                  <a:lnTo>
                    <a:pt x="3366" y="3084"/>
                  </a:lnTo>
                  <a:lnTo>
                    <a:pt x="3376" y="3084"/>
                  </a:lnTo>
                  <a:lnTo>
                    <a:pt x="3384" y="3086"/>
                  </a:lnTo>
                  <a:lnTo>
                    <a:pt x="3390" y="3090"/>
                  </a:lnTo>
                  <a:lnTo>
                    <a:pt x="3394" y="3090"/>
                  </a:lnTo>
                  <a:lnTo>
                    <a:pt x="3396" y="3088"/>
                  </a:lnTo>
                  <a:lnTo>
                    <a:pt x="3396" y="3084"/>
                  </a:lnTo>
                  <a:lnTo>
                    <a:pt x="3396" y="3082"/>
                  </a:lnTo>
                  <a:lnTo>
                    <a:pt x="3400" y="3078"/>
                  </a:lnTo>
                  <a:lnTo>
                    <a:pt x="3406" y="3076"/>
                  </a:lnTo>
                  <a:lnTo>
                    <a:pt x="3412" y="3078"/>
                  </a:lnTo>
                  <a:lnTo>
                    <a:pt x="3418" y="3078"/>
                  </a:lnTo>
                  <a:lnTo>
                    <a:pt x="3422" y="3076"/>
                  </a:lnTo>
                  <a:lnTo>
                    <a:pt x="3428" y="3070"/>
                  </a:lnTo>
                  <a:lnTo>
                    <a:pt x="3434" y="3058"/>
                  </a:lnTo>
                  <a:lnTo>
                    <a:pt x="3438" y="3044"/>
                  </a:lnTo>
                  <a:lnTo>
                    <a:pt x="3440" y="3032"/>
                  </a:lnTo>
                  <a:lnTo>
                    <a:pt x="3440" y="3026"/>
                  </a:lnTo>
                  <a:lnTo>
                    <a:pt x="3436" y="3026"/>
                  </a:lnTo>
                  <a:lnTo>
                    <a:pt x="3434" y="3026"/>
                  </a:lnTo>
                  <a:lnTo>
                    <a:pt x="3432" y="3018"/>
                  </a:lnTo>
                  <a:lnTo>
                    <a:pt x="3434" y="3008"/>
                  </a:lnTo>
                  <a:lnTo>
                    <a:pt x="3436" y="3002"/>
                  </a:lnTo>
                  <a:lnTo>
                    <a:pt x="3436" y="2994"/>
                  </a:lnTo>
                  <a:lnTo>
                    <a:pt x="3436" y="2980"/>
                  </a:lnTo>
                  <a:lnTo>
                    <a:pt x="3432" y="2964"/>
                  </a:lnTo>
                  <a:lnTo>
                    <a:pt x="3426" y="2948"/>
                  </a:lnTo>
                  <a:lnTo>
                    <a:pt x="3418" y="2934"/>
                  </a:lnTo>
                  <a:lnTo>
                    <a:pt x="3410" y="2922"/>
                  </a:lnTo>
                  <a:lnTo>
                    <a:pt x="3402" y="2910"/>
                  </a:lnTo>
                  <a:lnTo>
                    <a:pt x="3398" y="2902"/>
                  </a:lnTo>
                  <a:lnTo>
                    <a:pt x="3392" y="2886"/>
                  </a:lnTo>
                  <a:lnTo>
                    <a:pt x="3388" y="2882"/>
                  </a:lnTo>
                  <a:lnTo>
                    <a:pt x="3386" y="2880"/>
                  </a:lnTo>
                  <a:lnTo>
                    <a:pt x="3380" y="2876"/>
                  </a:lnTo>
                  <a:lnTo>
                    <a:pt x="3374" y="2866"/>
                  </a:lnTo>
                  <a:lnTo>
                    <a:pt x="3370" y="2862"/>
                  </a:lnTo>
                  <a:lnTo>
                    <a:pt x="3366" y="2858"/>
                  </a:lnTo>
                  <a:lnTo>
                    <a:pt x="3360" y="2856"/>
                  </a:lnTo>
                  <a:lnTo>
                    <a:pt x="3354" y="2856"/>
                  </a:lnTo>
                  <a:lnTo>
                    <a:pt x="3352" y="2852"/>
                  </a:lnTo>
                  <a:lnTo>
                    <a:pt x="3352" y="2850"/>
                  </a:lnTo>
                  <a:lnTo>
                    <a:pt x="3354" y="2848"/>
                  </a:lnTo>
                  <a:lnTo>
                    <a:pt x="3356" y="2848"/>
                  </a:lnTo>
                  <a:lnTo>
                    <a:pt x="3358" y="2848"/>
                  </a:lnTo>
                  <a:lnTo>
                    <a:pt x="3360" y="2848"/>
                  </a:lnTo>
                  <a:lnTo>
                    <a:pt x="3360" y="2838"/>
                  </a:lnTo>
                  <a:lnTo>
                    <a:pt x="3358" y="2830"/>
                  </a:lnTo>
                  <a:lnTo>
                    <a:pt x="3358" y="2826"/>
                  </a:lnTo>
                  <a:lnTo>
                    <a:pt x="3360" y="2822"/>
                  </a:lnTo>
                  <a:lnTo>
                    <a:pt x="3362" y="2822"/>
                  </a:lnTo>
                  <a:lnTo>
                    <a:pt x="3368" y="2820"/>
                  </a:lnTo>
                  <a:lnTo>
                    <a:pt x="3372" y="2818"/>
                  </a:lnTo>
                  <a:lnTo>
                    <a:pt x="3374" y="2814"/>
                  </a:lnTo>
                  <a:lnTo>
                    <a:pt x="3376" y="2810"/>
                  </a:lnTo>
                  <a:lnTo>
                    <a:pt x="3378" y="2808"/>
                  </a:lnTo>
                  <a:lnTo>
                    <a:pt x="3384" y="2810"/>
                  </a:lnTo>
                  <a:lnTo>
                    <a:pt x="3386" y="2810"/>
                  </a:lnTo>
                  <a:lnTo>
                    <a:pt x="3390" y="2810"/>
                  </a:lnTo>
                  <a:lnTo>
                    <a:pt x="3396" y="2806"/>
                  </a:lnTo>
                  <a:lnTo>
                    <a:pt x="3402" y="2800"/>
                  </a:lnTo>
                  <a:lnTo>
                    <a:pt x="3426" y="2776"/>
                  </a:lnTo>
                  <a:lnTo>
                    <a:pt x="3434" y="2768"/>
                  </a:lnTo>
                  <a:lnTo>
                    <a:pt x="3442" y="2766"/>
                  </a:lnTo>
                  <a:lnTo>
                    <a:pt x="3444" y="2764"/>
                  </a:lnTo>
                  <a:lnTo>
                    <a:pt x="3446" y="2762"/>
                  </a:lnTo>
                  <a:lnTo>
                    <a:pt x="3448" y="2754"/>
                  </a:lnTo>
                  <a:lnTo>
                    <a:pt x="3448" y="2746"/>
                  </a:lnTo>
                  <a:lnTo>
                    <a:pt x="3448" y="2738"/>
                  </a:lnTo>
                  <a:lnTo>
                    <a:pt x="3448" y="2734"/>
                  </a:lnTo>
                  <a:lnTo>
                    <a:pt x="3448" y="2732"/>
                  </a:lnTo>
                  <a:lnTo>
                    <a:pt x="3446" y="2730"/>
                  </a:lnTo>
                  <a:lnTo>
                    <a:pt x="3444" y="2728"/>
                  </a:lnTo>
                  <a:lnTo>
                    <a:pt x="3444" y="2724"/>
                  </a:lnTo>
                  <a:lnTo>
                    <a:pt x="3450" y="2714"/>
                  </a:lnTo>
                  <a:lnTo>
                    <a:pt x="3464" y="2694"/>
                  </a:lnTo>
                  <a:lnTo>
                    <a:pt x="3474" y="2684"/>
                  </a:lnTo>
                  <a:lnTo>
                    <a:pt x="3478" y="2682"/>
                  </a:lnTo>
                  <a:lnTo>
                    <a:pt x="3480" y="2684"/>
                  </a:lnTo>
                  <a:lnTo>
                    <a:pt x="3482" y="2684"/>
                  </a:lnTo>
                  <a:lnTo>
                    <a:pt x="3488" y="2682"/>
                  </a:lnTo>
                  <a:lnTo>
                    <a:pt x="3492" y="2678"/>
                  </a:lnTo>
                  <a:lnTo>
                    <a:pt x="3492" y="2674"/>
                  </a:lnTo>
                  <a:lnTo>
                    <a:pt x="3492" y="2666"/>
                  </a:lnTo>
                  <a:lnTo>
                    <a:pt x="3492" y="2664"/>
                  </a:lnTo>
                  <a:lnTo>
                    <a:pt x="3498" y="2664"/>
                  </a:lnTo>
                  <a:lnTo>
                    <a:pt x="3506" y="2666"/>
                  </a:lnTo>
                  <a:lnTo>
                    <a:pt x="3510" y="2664"/>
                  </a:lnTo>
                  <a:lnTo>
                    <a:pt x="3514" y="2658"/>
                  </a:lnTo>
                  <a:lnTo>
                    <a:pt x="3518" y="2650"/>
                  </a:lnTo>
                  <a:lnTo>
                    <a:pt x="3524" y="2640"/>
                  </a:lnTo>
                  <a:lnTo>
                    <a:pt x="3524" y="2632"/>
                  </a:lnTo>
                  <a:lnTo>
                    <a:pt x="3526" y="2628"/>
                  </a:lnTo>
                  <a:lnTo>
                    <a:pt x="3528" y="2626"/>
                  </a:lnTo>
                  <a:lnTo>
                    <a:pt x="3532" y="2626"/>
                  </a:lnTo>
                  <a:lnTo>
                    <a:pt x="3536" y="2626"/>
                  </a:lnTo>
                  <a:lnTo>
                    <a:pt x="3536" y="2628"/>
                  </a:lnTo>
                  <a:lnTo>
                    <a:pt x="3536" y="2634"/>
                  </a:lnTo>
                  <a:lnTo>
                    <a:pt x="3534" y="2638"/>
                  </a:lnTo>
                  <a:lnTo>
                    <a:pt x="3536" y="2638"/>
                  </a:lnTo>
                  <a:lnTo>
                    <a:pt x="3538" y="2638"/>
                  </a:lnTo>
                  <a:lnTo>
                    <a:pt x="3542" y="2636"/>
                  </a:lnTo>
                  <a:lnTo>
                    <a:pt x="3548" y="2632"/>
                  </a:lnTo>
                  <a:lnTo>
                    <a:pt x="3550" y="2632"/>
                  </a:lnTo>
                  <a:lnTo>
                    <a:pt x="3552" y="2634"/>
                  </a:lnTo>
                  <a:lnTo>
                    <a:pt x="3552" y="2638"/>
                  </a:lnTo>
                  <a:lnTo>
                    <a:pt x="3552" y="2646"/>
                  </a:lnTo>
                  <a:lnTo>
                    <a:pt x="3554" y="2648"/>
                  </a:lnTo>
                  <a:lnTo>
                    <a:pt x="3556" y="2650"/>
                  </a:lnTo>
                  <a:lnTo>
                    <a:pt x="3570" y="2654"/>
                  </a:lnTo>
                  <a:lnTo>
                    <a:pt x="3580" y="2660"/>
                  </a:lnTo>
                  <a:lnTo>
                    <a:pt x="3584" y="2660"/>
                  </a:lnTo>
                  <a:lnTo>
                    <a:pt x="3590" y="2658"/>
                  </a:lnTo>
                  <a:lnTo>
                    <a:pt x="3598" y="2656"/>
                  </a:lnTo>
                  <a:lnTo>
                    <a:pt x="3608" y="2652"/>
                  </a:lnTo>
                  <a:lnTo>
                    <a:pt x="3616" y="2650"/>
                  </a:lnTo>
                  <a:lnTo>
                    <a:pt x="3622" y="2644"/>
                  </a:lnTo>
                  <a:lnTo>
                    <a:pt x="3632" y="2638"/>
                  </a:lnTo>
                  <a:lnTo>
                    <a:pt x="3648" y="2628"/>
                  </a:lnTo>
                  <a:lnTo>
                    <a:pt x="3658" y="2620"/>
                  </a:lnTo>
                  <a:lnTo>
                    <a:pt x="3666" y="2610"/>
                  </a:lnTo>
                  <a:lnTo>
                    <a:pt x="3686" y="2584"/>
                  </a:lnTo>
                  <a:lnTo>
                    <a:pt x="3712" y="2550"/>
                  </a:lnTo>
                  <a:lnTo>
                    <a:pt x="3728" y="2530"/>
                  </a:lnTo>
                  <a:lnTo>
                    <a:pt x="3748" y="2508"/>
                  </a:lnTo>
                  <a:lnTo>
                    <a:pt x="3768" y="2488"/>
                  </a:lnTo>
                  <a:lnTo>
                    <a:pt x="3780" y="2468"/>
                  </a:lnTo>
                  <a:lnTo>
                    <a:pt x="3790" y="2454"/>
                  </a:lnTo>
                  <a:lnTo>
                    <a:pt x="3796" y="2440"/>
                  </a:lnTo>
                  <a:lnTo>
                    <a:pt x="3804" y="2418"/>
                  </a:lnTo>
                  <a:lnTo>
                    <a:pt x="3808" y="2408"/>
                  </a:lnTo>
                  <a:lnTo>
                    <a:pt x="3816" y="2400"/>
                  </a:lnTo>
                  <a:lnTo>
                    <a:pt x="3824" y="2394"/>
                  </a:lnTo>
                  <a:lnTo>
                    <a:pt x="3828" y="2388"/>
                  </a:lnTo>
                  <a:lnTo>
                    <a:pt x="3832" y="2378"/>
                  </a:lnTo>
                  <a:lnTo>
                    <a:pt x="3834" y="2372"/>
                  </a:lnTo>
                  <a:lnTo>
                    <a:pt x="3838" y="2366"/>
                  </a:lnTo>
                  <a:lnTo>
                    <a:pt x="3844" y="2358"/>
                  </a:lnTo>
                  <a:lnTo>
                    <a:pt x="3854" y="2346"/>
                  </a:lnTo>
                  <a:lnTo>
                    <a:pt x="3860" y="2340"/>
                  </a:lnTo>
                  <a:lnTo>
                    <a:pt x="3866" y="2334"/>
                  </a:lnTo>
                  <a:lnTo>
                    <a:pt x="3874" y="2316"/>
                  </a:lnTo>
                  <a:lnTo>
                    <a:pt x="3880" y="2296"/>
                  </a:lnTo>
                  <a:lnTo>
                    <a:pt x="3882" y="2276"/>
                  </a:lnTo>
                  <a:lnTo>
                    <a:pt x="3884" y="2256"/>
                  </a:lnTo>
                  <a:lnTo>
                    <a:pt x="3884" y="2238"/>
                  </a:lnTo>
                  <a:lnTo>
                    <a:pt x="3882" y="2224"/>
                  </a:lnTo>
                  <a:lnTo>
                    <a:pt x="3880" y="2212"/>
                  </a:lnTo>
                  <a:lnTo>
                    <a:pt x="3878" y="2204"/>
                  </a:lnTo>
                  <a:lnTo>
                    <a:pt x="3878" y="2198"/>
                  </a:lnTo>
                  <a:lnTo>
                    <a:pt x="3880" y="2192"/>
                  </a:lnTo>
                  <a:lnTo>
                    <a:pt x="3882" y="2188"/>
                  </a:lnTo>
                  <a:lnTo>
                    <a:pt x="3888" y="2178"/>
                  </a:lnTo>
                  <a:lnTo>
                    <a:pt x="3892" y="2170"/>
                  </a:lnTo>
                  <a:lnTo>
                    <a:pt x="3896" y="2160"/>
                  </a:lnTo>
                  <a:lnTo>
                    <a:pt x="3898" y="2150"/>
                  </a:lnTo>
                  <a:lnTo>
                    <a:pt x="3904" y="2142"/>
                  </a:lnTo>
                  <a:lnTo>
                    <a:pt x="3914" y="2128"/>
                  </a:lnTo>
                  <a:lnTo>
                    <a:pt x="3920" y="2122"/>
                  </a:lnTo>
                  <a:lnTo>
                    <a:pt x="3922" y="2116"/>
                  </a:lnTo>
                  <a:lnTo>
                    <a:pt x="3920" y="2110"/>
                  </a:lnTo>
                  <a:lnTo>
                    <a:pt x="3916" y="2104"/>
                  </a:lnTo>
                  <a:lnTo>
                    <a:pt x="3910" y="2098"/>
                  </a:lnTo>
                  <a:lnTo>
                    <a:pt x="3908" y="2094"/>
                  </a:lnTo>
                  <a:lnTo>
                    <a:pt x="3908" y="2090"/>
                  </a:lnTo>
                  <a:lnTo>
                    <a:pt x="3910" y="2086"/>
                  </a:lnTo>
                  <a:lnTo>
                    <a:pt x="3910" y="2078"/>
                  </a:lnTo>
                  <a:lnTo>
                    <a:pt x="3910" y="2072"/>
                  </a:lnTo>
                  <a:lnTo>
                    <a:pt x="3906" y="2066"/>
                  </a:lnTo>
                  <a:lnTo>
                    <a:pt x="3904" y="2062"/>
                  </a:lnTo>
                  <a:lnTo>
                    <a:pt x="3906" y="2058"/>
                  </a:lnTo>
                  <a:lnTo>
                    <a:pt x="3914" y="2052"/>
                  </a:lnTo>
                  <a:lnTo>
                    <a:pt x="3918" y="2050"/>
                  </a:lnTo>
                  <a:lnTo>
                    <a:pt x="3920" y="2046"/>
                  </a:lnTo>
                  <a:lnTo>
                    <a:pt x="3918" y="2042"/>
                  </a:lnTo>
                  <a:lnTo>
                    <a:pt x="3910" y="2034"/>
                  </a:lnTo>
                  <a:lnTo>
                    <a:pt x="3892" y="2020"/>
                  </a:lnTo>
                  <a:lnTo>
                    <a:pt x="3880" y="2010"/>
                  </a:lnTo>
                  <a:lnTo>
                    <a:pt x="3864" y="1990"/>
                  </a:lnTo>
                  <a:lnTo>
                    <a:pt x="3858" y="1986"/>
                  </a:lnTo>
                  <a:lnTo>
                    <a:pt x="3854" y="1984"/>
                  </a:lnTo>
                  <a:lnTo>
                    <a:pt x="3842" y="1984"/>
                  </a:lnTo>
                  <a:lnTo>
                    <a:pt x="3832" y="1986"/>
                  </a:lnTo>
                  <a:lnTo>
                    <a:pt x="3826" y="1986"/>
                  </a:lnTo>
                  <a:lnTo>
                    <a:pt x="3820" y="1984"/>
                  </a:lnTo>
                  <a:lnTo>
                    <a:pt x="3814" y="1982"/>
                  </a:lnTo>
                  <a:lnTo>
                    <a:pt x="3812" y="1984"/>
                  </a:lnTo>
                  <a:lnTo>
                    <a:pt x="3808" y="1996"/>
                  </a:lnTo>
                  <a:lnTo>
                    <a:pt x="3804" y="2004"/>
                  </a:lnTo>
                  <a:lnTo>
                    <a:pt x="3800" y="2012"/>
                  </a:lnTo>
                  <a:lnTo>
                    <a:pt x="3792" y="2018"/>
                  </a:lnTo>
                  <a:lnTo>
                    <a:pt x="3780" y="2024"/>
                  </a:lnTo>
                  <a:lnTo>
                    <a:pt x="3772" y="2026"/>
                  </a:lnTo>
                  <a:lnTo>
                    <a:pt x="3766" y="2026"/>
                  </a:lnTo>
                  <a:lnTo>
                    <a:pt x="3764" y="2024"/>
                  </a:lnTo>
                  <a:lnTo>
                    <a:pt x="3762" y="2022"/>
                  </a:lnTo>
                  <a:lnTo>
                    <a:pt x="3760" y="2018"/>
                  </a:lnTo>
                  <a:lnTo>
                    <a:pt x="3762" y="2014"/>
                  </a:lnTo>
                  <a:lnTo>
                    <a:pt x="3764" y="2002"/>
                  </a:lnTo>
                  <a:lnTo>
                    <a:pt x="3768" y="1992"/>
                  </a:lnTo>
                  <a:lnTo>
                    <a:pt x="3772" y="1984"/>
                  </a:lnTo>
                  <a:lnTo>
                    <a:pt x="3770" y="1982"/>
                  </a:lnTo>
                  <a:lnTo>
                    <a:pt x="3768" y="1980"/>
                  </a:lnTo>
                  <a:lnTo>
                    <a:pt x="3766" y="1980"/>
                  </a:lnTo>
                  <a:lnTo>
                    <a:pt x="3760" y="1982"/>
                  </a:lnTo>
                  <a:lnTo>
                    <a:pt x="3750" y="1986"/>
                  </a:lnTo>
                  <a:lnTo>
                    <a:pt x="3746" y="1992"/>
                  </a:lnTo>
                  <a:lnTo>
                    <a:pt x="3746" y="1996"/>
                  </a:lnTo>
                  <a:lnTo>
                    <a:pt x="3748" y="2000"/>
                  </a:lnTo>
                  <a:lnTo>
                    <a:pt x="3750" y="2002"/>
                  </a:lnTo>
                  <a:lnTo>
                    <a:pt x="3750" y="2004"/>
                  </a:lnTo>
                  <a:lnTo>
                    <a:pt x="3746" y="2008"/>
                  </a:lnTo>
                  <a:lnTo>
                    <a:pt x="3738" y="2008"/>
                  </a:lnTo>
                  <a:lnTo>
                    <a:pt x="3732" y="2008"/>
                  </a:lnTo>
                  <a:lnTo>
                    <a:pt x="3730" y="2008"/>
                  </a:lnTo>
                  <a:lnTo>
                    <a:pt x="3728" y="2006"/>
                  </a:lnTo>
                  <a:lnTo>
                    <a:pt x="3728" y="2002"/>
                  </a:lnTo>
                  <a:lnTo>
                    <a:pt x="3730" y="1994"/>
                  </a:lnTo>
                  <a:lnTo>
                    <a:pt x="3734" y="1986"/>
                  </a:lnTo>
                  <a:lnTo>
                    <a:pt x="3736" y="1976"/>
                  </a:lnTo>
                  <a:lnTo>
                    <a:pt x="3736" y="1972"/>
                  </a:lnTo>
                  <a:lnTo>
                    <a:pt x="3734" y="1968"/>
                  </a:lnTo>
                  <a:lnTo>
                    <a:pt x="3732" y="1966"/>
                  </a:lnTo>
                  <a:lnTo>
                    <a:pt x="3728" y="1962"/>
                  </a:lnTo>
                  <a:lnTo>
                    <a:pt x="3722" y="1962"/>
                  </a:lnTo>
                  <a:lnTo>
                    <a:pt x="3714" y="1960"/>
                  </a:lnTo>
                  <a:lnTo>
                    <a:pt x="3696" y="1962"/>
                  </a:lnTo>
                  <a:lnTo>
                    <a:pt x="3682" y="1960"/>
                  </a:lnTo>
                  <a:lnTo>
                    <a:pt x="3672" y="1958"/>
                  </a:lnTo>
                  <a:lnTo>
                    <a:pt x="3666" y="1954"/>
                  </a:lnTo>
                  <a:lnTo>
                    <a:pt x="3666" y="1950"/>
                  </a:lnTo>
                  <a:lnTo>
                    <a:pt x="3666" y="1948"/>
                  </a:lnTo>
                  <a:lnTo>
                    <a:pt x="3674" y="1938"/>
                  </a:lnTo>
                  <a:lnTo>
                    <a:pt x="3686" y="1928"/>
                  </a:lnTo>
                  <a:lnTo>
                    <a:pt x="3706" y="1912"/>
                  </a:lnTo>
                  <a:lnTo>
                    <a:pt x="3746" y="1886"/>
                  </a:lnTo>
                  <a:lnTo>
                    <a:pt x="3768" y="1868"/>
                  </a:lnTo>
                  <a:lnTo>
                    <a:pt x="3776" y="1862"/>
                  </a:lnTo>
                  <a:lnTo>
                    <a:pt x="3782" y="1852"/>
                  </a:lnTo>
                  <a:lnTo>
                    <a:pt x="3788" y="1844"/>
                  </a:lnTo>
                  <a:lnTo>
                    <a:pt x="3794" y="1832"/>
                  </a:lnTo>
                  <a:lnTo>
                    <a:pt x="3802" y="1818"/>
                  </a:lnTo>
                  <a:lnTo>
                    <a:pt x="3812" y="1808"/>
                  </a:lnTo>
                  <a:lnTo>
                    <a:pt x="3824" y="1800"/>
                  </a:lnTo>
                  <a:lnTo>
                    <a:pt x="3838" y="1790"/>
                  </a:lnTo>
                  <a:lnTo>
                    <a:pt x="3852" y="1782"/>
                  </a:lnTo>
                  <a:lnTo>
                    <a:pt x="3866" y="1772"/>
                  </a:lnTo>
                  <a:lnTo>
                    <a:pt x="3878" y="1760"/>
                  </a:lnTo>
                  <a:lnTo>
                    <a:pt x="3882" y="1752"/>
                  </a:lnTo>
                  <a:lnTo>
                    <a:pt x="3886" y="1746"/>
                  </a:lnTo>
                  <a:lnTo>
                    <a:pt x="3894" y="1728"/>
                  </a:lnTo>
                  <a:lnTo>
                    <a:pt x="3908" y="1712"/>
                  </a:lnTo>
                  <a:lnTo>
                    <a:pt x="3926" y="1696"/>
                  </a:lnTo>
                  <a:lnTo>
                    <a:pt x="3944" y="1682"/>
                  </a:lnTo>
                  <a:lnTo>
                    <a:pt x="3966" y="1672"/>
                  </a:lnTo>
                  <a:lnTo>
                    <a:pt x="3986" y="1664"/>
                  </a:lnTo>
                  <a:lnTo>
                    <a:pt x="4006" y="1660"/>
                  </a:lnTo>
                  <a:lnTo>
                    <a:pt x="4014" y="1660"/>
                  </a:lnTo>
                  <a:lnTo>
                    <a:pt x="4022" y="1662"/>
                  </a:lnTo>
                  <a:lnTo>
                    <a:pt x="4036" y="1664"/>
                  </a:lnTo>
                  <a:lnTo>
                    <a:pt x="4048" y="1666"/>
                  </a:lnTo>
                  <a:lnTo>
                    <a:pt x="4068" y="1664"/>
                  </a:lnTo>
                  <a:lnTo>
                    <a:pt x="4082" y="1664"/>
                  </a:lnTo>
                  <a:lnTo>
                    <a:pt x="4090" y="1666"/>
                  </a:lnTo>
                  <a:lnTo>
                    <a:pt x="4098" y="1670"/>
                  </a:lnTo>
                  <a:lnTo>
                    <a:pt x="4104" y="1672"/>
                  </a:lnTo>
                  <a:lnTo>
                    <a:pt x="4108" y="1672"/>
                  </a:lnTo>
                  <a:lnTo>
                    <a:pt x="4110" y="1670"/>
                  </a:lnTo>
                  <a:lnTo>
                    <a:pt x="4112" y="1666"/>
                  </a:lnTo>
                  <a:lnTo>
                    <a:pt x="4116" y="1662"/>
                  </a:lnTo>
                  <a:lnTo>
                    <a:pt x="4124" y="1660"/>
                  </a:lnTo>
                  <a:lnTo>
                    <a:pt x="4136" y="1658"/>
                  </a:lnTo>
                  <a:lnTo>
                    <a:pt x="4154" y="1660"/>
                  </a:lnTo>
                  <a:lnTo>
                    <a:pt x="4188" y="1668"/>
                  </a:lnTo>
                  <a:lnTo>
                    <a:pt x="4200" y="1670"/>
                  </a:lnTo>
                  <a:lnTo>
                    <a:pt x="4208" y="1670"/>
                  </a:lnTo>
                  <a:lnTo>
                    <a:pt x="4214" y="1670"/>
                  </a:lnTo>
                  <a:lnTo>
                    <a:pt x="4220" y="1666"/>
                  </a:lnTo>
                  <a:lnTo>
                    <a:pt x="4224" y="1658"/>
                  </a:lnTo>
                  <a:lnTo>
                    <a:pt x="4228" y="1648"/>
                  </a:lnTo>
                  <a:lnTo>
                    <a:pt x="4230" y="1646"/>
                  </a:lnTo>
                  <a:lnTo>
                    <a:pt x="4236" y="1644"/>
                  </a:lnTo>
                  <a:lnTo>
                    <a:pt x="4250" y="1642"/>
                  </a:lnTo>
                  <a:lnTo>
                    <a:pt x="4272" y="1642"/>
                  </a:lnTo>
                  <a:lnTo>
                    <a:pt x="4294" y="1644"/>
                  </a:lnTo>
                  <a:lnTo>
                    <a:pt x="4314" y="1648"/>
                  </a:lnTo>
                  <a:lnTo>
                    <a:pt x="4322" y="1652"/>
                  </a:lnTo>
                  <a:lnTo>
                    <a:pt x="4328" y="1656"/>
                  </a:lnTo>
                  <a:lnTo>
                    <a:pt x="4330" y="1660"/>
                  </a:lnTo>
                  <a:lnTo>
                    <a:pt x="4330" y="1664"/>
                  </a:lnTo>
                  <a:lnTo>
                    <a:pt x="4328" y="1670"/>
                  </a:lnTo>
                  <a:lnTo>
                    <a:pt x="4320" y="1676"/>
                  </a:lnTo>
                  <a:lnTo>
                    <a:pt x="4314" y="1682"/>
                  </a:lnTo>
                  <a:lnTo>
                    <a:pt x="4312" y="1686"/>
                  </a:lnTo>
                  <a:lnTo>
                    <a:pt x="4312" y="1688"/>
                  </a:lnTo>
                  <a:lnTo>
                    <a:pt x="4314" y="1690"/>
                  </a:lnTo>
                  <a:lnTo>
                    <a:pt x="4324" y="1692"/>
                  </a:lnTo>
                  <a:lnTo>
                    <a:pt x="4340" y="1690"/>
                  </a:lnTo>
                  <a:lnTo>
                    <a:pt x="4358" y="1688"/>
                  </a:lnTo>
                  <a:lnTo>
                    <a:pt x="4374" y="1684"/>
                  </a:lnTo>
                  <a:lnTo>
                    <a:pt x="4386" y="1680"/>
                  </a:lnTo>
                  <a:lnTo>
                    <a:pt x="4394" y="1676"/>
                  </a:lnTo>
                  <a:lnTo>
                    <a:pt x="4398" y="1670"/>
                  </a:lnTo>
                  <a:lnTo>
                    <a:pt x="4404" y="1670"/>
                  </a:lnTo>
                  <a:lnTo>
                    <a:pt x="4410" y="1674"/>
                  </a:lnTo>
                  <a:lnTo>
                    <a:pt x="4418" y="1678"/>
                  </a:lnTo>
                  <a:lnTo>
                    <a:pt x="4426" y="1682"/>
                  </a:lnTo>
                  <a:lnTo>
                    <a:pt x="4436" y="1684"/>
                  </a:lnTo>
                  <a:lnTo>
                    <a:pt x="4448" y="1682"/>
                  </a:lnTo>
                  <a:lnTo>
                    <a:pt x="4454" y="1680"/>
                  </a:lnTo>
                  <a:lnTo>
                    <a:pt x="4462" y="1676"/>
                  </a:lnTo>
                  <a:lnTo>
                    <a:pt x="4466" y="1672"/>
                  </a:lnTo>
                  <a:lnTo>
                    <a:pt x="4468" y="1668"/>
                  </a:lnTo>
                  <a:lnTo>
                    <a:pt x="4468" y="1664"/>
                  </a:lnTo>
                  <a:lnTo>
                    <a:pt x="4466" y="1660"/>
                  </a:lnTo>
                  <a:lnTo>
                    <a:pt x="4458" y="1652"/>
                  </a:lnTo>
                  <a:lnTo>
                    <a:pt x="4448" y="1646"/>
                  </a:lnTo>
                  <a:lnTo>
                    <a:pt x="4442" y="1642"/>
                  </a:lnTo>
                  <a:lnTo>
                    <a:pt x="4440" y="1636"/>
                  </a:lnTo>
                  <a:lnTo>
                    <a:pt x="4438" y="1632"/>
                  </a:lnTo>
                  <a:lnTo>
                    <a:pt x="4438" y="1626"/>
                  </a:lnTo>
                  <a:lnTo>
                    <a:pt x="4440" y="1618"/>
                  </a:lnTo>
                  <a:lnTo>
                    <a:pt x="4446" y="1612"/>
                  </a:lnTo>
                  <a:lnTo>
                    <a:pt x="4456" y="1602"/>
                  </a:lnTo>
                  <a:lnTo>
                    <a:pt x="4468" y="1592"/>
                  </a:lnTo>
                  <a:lnTo>
                    <a:pt x="4496" y="1572"/>
                  </a:lnTo>
                  <a:lnTo>
                    <a:pt x="4514" y="1556"/>
                  </a:lnTo>
                  <a:lnTo>
                    <a:pt x="4536" y="1530"/>
                  </a:lnTo>
                  <a:lnTo>
                    <a:pt x="4546" y="1522"/>
                  </a:lnTo>
                  <a:lnTo>
                    <a:pt x="4562" y="1514"/>
                  </a:lnTo>
                  <a:lnTo>
                    <a:pt x="4584" y="1508"/>
                  </a:lnTo>
                  <a:lnTo>
                    <a:pt x="4616" y="1502"/>
                  </a:lnTo>
                  <a:lnTo>
                    <a:pt x="4630" y="1502"/>
                  </a:lnTo>
                  <a:lnTo>
                    <a:pt x="4642" y="1504"/>
                  </a:lnTo>
                  <a:lnTo>
                    <a:pt x="4650" y="1508"/>
                  </a:lnTo>
                  <a:lnTo>
                    <a:pt x="4656" y="1514"/>
                  </a:lnTo>
                  <a:lnTo>
                    <a:pt x="4660" y="1520"/>
                  </a:lnTo>
                  <a:lnTo>
                    <a:pt x="4664" y="1528"/>
                  </a:lnTo>
                  <a:lnTo>
                    <a:pt x="4664" y="1546"/>
                  </a:lnTo>
                  <a:lnTo>
                    <a:pt x="4666" y="1562"/>
                  </a:lnTo>
                  <a:lnTo>
                    <a:pt x="4666" y="1568"/>
                  </a:lnTo>
                  <a:lnTo>
                    <a:pt x="4668" y="1574"/>
                  </a:lnTo>
                  <a:lnTo>
                    <a:pt x="4672" y="1578"/>
                  </a:lnTo>
                  <a:lnTo>
                    <a:pt x="4676" y="1580"/>
                  </a:lnTo>
                  <a:lnTo>
                    <a:pt x="4684" y="1578"/>
                  </a:lnTo>
                  <a:lnTo>
                    <a:pt x="4694" y="1574"/>
                  </a:lnTo>
                  <a:lnTo>
                    <a:pt x="4714" y="1562"/>
                  </a:lnTo>
                  <a:lnTo>
                    <a:pt x="4728" y="1550"/>
                  </a:lnTo>
                  <a:lnTo>
                    <a:pt x="4738" y="1540"/>
                  </a:lnTo>
                  <a:lnTo>
                    <a:pt x="4746" y="1530"/>
                  </a:lnTo>
                  <a:lnTo>
                    <a:pt x="4752" y="1524"/>
                  </a:lnTo>
                  <a:lnTo>
                    <a:pt x="4758" y="1520"/>
                  </a:lnTo>
                  <a:lnTo>
                    <a:pt x="4766" y="1518"/>
                  </a:lnTo>
                  <a:lnTo>
                    <a:pt x="4778" y="1520"/>
                  </a:lnTo>
                  <a:lnTo>
                    <a:pt x="4784" y="1522"/>
                  </a:lnTo>
                  <a:lnTo>
                    <a:pt x="4788" y="1520"/>
                  </a:lnTo>
                  <a:lnTo>
                    <a:pt x="4790" y="1518"/>
                  </a:lnTo>
                  <a:lnTo>
                    <a:pt x="4792" y="1514"/>
                  </a:lnTo>
                  <a:lnTo>
                    <a:pt x="4790" y="1502"/>
                  </a:lnTo>
                  <a:lnTo>
                    <a:pt x="4788" y="1486"/>
                  </a:lnTo>
                  <a:lnTo>
                    <a:pt x="4788" y="1472"/>
                  </a:lnTo>
                  <a:lnTo>
                    <a:pt x="4790" y="1464"/>
                  </a:lnTo>
                  <a:lnTo>
                    <a:pt x="4792" y="1458"/>
                  </a:lnTo>
                  <a:lnTo>
                    <a:pt x="4796" y="1452"/>
                  </a:lnTo>
                  <a:lnTo>
                    <a:pt x="4802" y="1448"/>
                  </a:lnTo>
                  <a:lnTo>
                    <a:pt x="4812" y="1446"/>
                  </a:lnTo>
                  <a:lnTo>
                    <a:pt x="4824" y="1446"/>
                  </a:lnTo>
                  <a:lnTo>
                    <a:pt x="4854" y="1446"/>
                  </a:lnTo>
                  <a:lnTo>
                    <a:pt x="4856" y="1448"/>
                  </a:lnTo>
                  <a:lnTo>
                    <a:pt x="4858" y="1448"/>
                  </a:lnTo>
                  <a:lnTo>
                    <a:pt x="4854" y="1452"/>
                  </a:lnTo>
                  <a:lnTo>
                    <a:pt x="4848" y="1460"/>
                  </a:lnTo>
                  <a:lnTo>
                    <a:pt x="4838" y="1472"/>
                  </a:lnTo>
                  <a:lnTo>
                    <a:pt x="4830" y="1490"/>
                  </a:lnTo>
                  <a:lnTo>
                    <a:pt x="4828" y="1500"/>
                  </a:lnTo>
                  <a:lnTo>
                    <a:pt x="4824" y="1512"/>
                  </a:lnTo>
                  <a:lnTo>
                    <a:pt x="4822" y="1526"/>
                  </a:lnTo>
                  <a:lnTo>
                    <a:pt x="4818" y="1536"/>
                  </a:lnTo>
                  <a:lnTo>
                    <a:pt x="4814" y="1544"/>
                  </a:lnTo>
                  <a:lnTo>
                    <a:pt x="4810" y="1552"/>
                  </a:lnTo>
                  <a:lnTo>
                    <a:pt x="4798" y="1564"/>
                  </a:lnTo>
                  <a:lnTo>
                    <a:pt x="4784" y="1572"/>
                  </a:lnTo>
                  <a:lnTo>
                    <a:pt x="4766" y="1582"/>
                  </a:lnTo>
                  <a:lnTo>
                    <a:pt x="4748" y="1594"/>
                  </a:lnTo>
                  <a:lnTo>
                    <a:pt x="4726" y="1612"/>
                  </a:lnTo>
                  <a:lnTo>
                    <a:pt x="4716" y="1622"/>
                  </a:lnTo>
                  <a:lnTo>
                    <a:pt x="4704" y="1636"/>
                  </a:lnTo>
                  <a:lnTo>
                    <a:pt x="4664" y="1686"/>
                  </a:lnTo>
                  <a:lnTo>
                    <a:pt x="4646" y="1706"/>
                  </a:lnTo>
                  <a:lnTo>
                    <a:pt x="4630" y="1722"/>
                  </a:lnTo>
                  <a:lnTo>
                    <a:pt x="4614" y="1734"/>
                  </a:lnTo>
                  <a:lnTo>
                    <a:pt x="4600" y="1744"/>
                  </a:lnTo>
                  <a:lnTo>
                    <a:pt x="4584" y="1752"/>
                  </a:lnTo>
                  <a:lnTo>
                    <a:pt x="4568" y="1756"/>
                  </a:lnTo>
                  <a:lnTo>
                    <a:pt x="4554" y="1760"/>
                  </a:lnTo>
                  <a:lnTo>
                    <a:pt x="4546" y="1764"/>
                  </a:lnTo>
                  <a:lnTo>
                    <a:pt x="4544" y="1770"/>
                  </a:lnTo>
                  <a:lnTo>
                    <a:pt x="4542" y="1776"/>
                  </a:lnTo>
                  <a:lnTo>
                    <a:pt x="4542" y="1784"/>
                  </a:lnTo>
                  <a:lnTo>
                    <a:pt x="4540" y="1792"/>
                  </a:lnTo>
                  <a:lnTo>
                    <a:pt x="4532" y="1802"/>
                  </a:lnTo>
                  <a:lnTo>
                    <a:pt x="4520" y="1812"/>
                  </a:lnTo>
                  <a:lnTo>
                    <a:pt x="4514" y="1820"/>
                  </a:lnTo>
                  <a:lnTo>
                    <a:pt x="4508" y="1828"/>
                  </a:lnTo>
                  <a:lnTo>
                    <a:pt x="4502" y="1840"/>
                  </a:lnTo>
                  <a:lnTo>
                    <a:pt x="4498" y="1854"/>
                  </a:lnTo>
                  <a:lnTo>
                    <a:pt x="4496" y="1868"/>
                  </a:lnTo>
                  <a:lnTo>
                    <a:pt x="4494" y="1886"/>
                  </a:lnTo>
                  <a:lnTo>
                    <a:pt x="4494" y="1922"/>
                  </a:lnTo>
                  <a:lnTo>
                    <a:pt x="4496" y="1962"/>
                  </a:lnTo>
                  <a:lnTo>
                    <a:pt x="4502" y="2006"/>
                  </a:lnTo>
                  <a:lnTo>
                    <a:pt x="4508" y="2050"/>
                  </a:lnTo>
                  <a:lnTo>
                    <a:pt x="4518" y="2092"/>
                  </a:lnTo>
                  <a:lnTo>
                    <a:pt x="4520" y="2110"/>
                  </a:lnTo>
                  <a:lnTo>
                    <a:pt x="4522" y="2132"/>
                  </a:lnTo>
                  <a:lnTo>
                    <a:pt x="4526" y="2152"/>
                  </a:lnTo>
                  <a:lnTo>
                    <a:pt x="4530" y="2168"/>
                  </a:lnTo>
                  <a:lnTo>
                    <a:pt x="4532" y="2172"/>
                  </a:lnTo>
                  <a:lnTo>
                    <a:pt x="4536" y="2176"/>
                  </a:lnTo>
                  <a:lnTo>
                    <a:pt x="4542" y="2178"/>
                  </a:lnTo>
                  <a:lnTo>
                    <a:pt x="4548" y="2176"/>
                  </a:lnTo>
                  <a:lnTo>
                    <a:pt x="4556" y="2172"/>
                  </a:lnTo>
                  <a:lnTo>
                    <a:pt x="4564" y="2164"/>
                  </a:lnTo>
                  <a:lnTo>
                    <a:pt x="4574" y="2152"/>
                  </a:lnTo>
                  <a:lnTo>
                    <a:pt x="4588" y="2136"/>
                  </a:lnTo>
                  <a:lnTo>
                    <a:pt x="4594" y="2124"/>
                  </a:lnTo>
                  <a:lnTo>
                    <a:pt x="4600" y="2114"/>
                  </a:lnTo>
                  <a:lnTo>
                    <a:pt x="4608" y="2094"/>
                  </a:lnTo>
                  <a:lnTo>
                    <a:pt x="4610" y="2080"/>
                  </a:lnTo>
                  <a:lnTo>
                    <a:pt x="4612" y="2068"/>
                  </a:lnTo>
                  <a:lnTo>
                    <a:pt x="4612" y="2060"/>
                  </a:lnTo>
                  <a:lnTo>
                    <a:pt x="4614" y="2056"/>
                  </a:lnTo>
                  <a:lnTo>
                    <a:pt x="4618" y="2054"/>
                  </a:lnTo>
                  <a:lnTo>
                    <a:pt x="4626" y="2050"/>
                  </a:lnTo>
                  <a:lnTo>
                    <a:pt x="4644" y="2050"/>
                  </a:lnTo>
                  <a:lnTo>
                    <a:pt x="4654" y="2048"/>
                  </a:lnTo>
                  <a:lnTo>
                    <a:pt x="4660" y="2046"/>
                  </a:lnTo>
                  <a:lnTo>
                    <a:pt x="4664" y="2042"/>
                  </a:lnTo>
                  <a:lnTo>
                    <a:pt x="4668" y="2038"/>
                  </a:lnTo>
                  <a:lnTo>
                    <a:pt x="4670" y="2024"/>
                  </a:lnTo>
                  <a:lnTo>
                    <a:pt x="4670" y="2010"/>
                  </a:lnTo>
                  <a:lnTo>
                    <a:pt x="4670" y="1996"/>
                  </a:lnTo>
                  <a:lnTo>
                    <a:pt x="4672" y="1988"/>
                  </a:lnTo>
                  <a:lnTo>
                    <a:pt x="4676" y="1982"/>
                  </a:lnTo>
                  <a:lnTo>
                    <a:pt x="4680" y="1976"/>
                  </a:lnTo>
                  <a:lnTo>
                    <a:pt x="4686" y="1972"/>
                  </a:lnTo>
                  <a:lnTo>
                    <a:pt x="4694" y="1968"/>
                  </a:lnTo>
                  <a:lnTo>
                    <a:pt x="4704" y="1968"/>
                  </a:lnTo>
                  <a:lnTo>
                    <a:pt x="4730" y="1964"/>
                  </a:lnTo>
                  <a:lnTo>
                    <a:pt x="4740" y="1960"/>
                  </a:lnTo>
                  <a:lnTo>
                    <a:pt x="4744" y="1956"/>
                  </a:lnTo>
                  <a:lnTo>
                    <a:pt x="4748" y="1952"/>
                  </a:lnTo>
                  <a:lnTo>
                    <a:pt x="4750" y="1948"/>
                  </a:lnTo>
                  <a:lnTo>
                    <a:pt x="4750" y="1944"/>
                  </a:lnTo>
                  <a:lnTo>
                    <a:pt x="4748" y="1938"/>
                  </a:lnTo>
                  <a:lnTo>
                    <a:pt x="4744" y="1926"/>
                  </a:lnTo>
                  <a:lnTo>
                    <a:pt x="4740" y="1912"/>
                  </a:lnTo>
                  <a:lnTo>
                    <a:pt x="4738" y="1904"/>
                  </a:lnTo>
                  <a:lnTo>
                    <a:pt x="4738" y="1896"/>
                  </a:lnTo>
                  <a:lnTo>
                    <a:pt x="4740" y="1888"/>
                  </a:lnTo>
                  <a:lnTo>
                    <a:pt x="4744" y="1880"/>
                  </a:lnTo>
                  <a:lnTo>
                    <a:pt x="4748" y="1874"/>
                  </a:lnTo>
                  <a:lnTo>
                    <a:pt x="4752" y="1870"/>
                  </a:lnTo>
                  <a:lnTo>
                    <a:pt x="4756" y="1866"/>
                  </a:lnTo>
                  <a:lnTo>
                    <a:pt x="4760" y="1866"/>
                  </a:lnTo>
                  <a:lnTo>
                    <a:pt x="4770" y="1866"/>
                  </a:lnTo>
                  <a:lnTo>
                    <a:pt x="4778" y="1870"/>
                  </a:lnTo>
                  <a:lnTo>
                    <a:pt x="4784" y="1874"/>
                  </a:lnTo>
                  <a:lnTo>
                    <a:pt x="4792" y="1874"/>
                  </a:lnTo>
                  <a:lnTo>
                    <a:pt x="4794" y="1874"/>
                  </a:lnTo>
                  <a:lnTo>
                    <a:pt x="4796" y="1872"/>
                  </a:lnTo>
                  <a:lnTo>
                    <a:pt x="4800" y="1862"/>
                  </a:lnTo>
                  <a:lnTo>
                    <a:pt x="4800" y="1854"/>
                  </a:lnTo>
                  <a:lnTo>
                    <a:pt x="4800" y="1846"/>
                  </a:lnTo>
                  <a:lnTo>
                    <a:pt x="4798" y="1840"/>
                  </a:lnTo>
                  <a:lnTo>
                    <a:pt x="4796" y="1836"/>
                  </a:lnTo>
                  <a:lnTo>
                    <a:pt x="4788" y="1828"/>
                  </a:lnTo>
                  <a:lnTo>
                    <a:pt x="4782" y="1822"/>
                  </a:lnTo>
                  <a:lnTo>
                    <a:pt x="4774" y="1816"/>
                  </a:lnTo>
                  <a:lnTo>
                    <a:pt x="4772" y="1814"/>
                  </a:lnTo>
                  <a:lnTo>
                    <a:pt x="4772" y="1810"/>
                  </a:lnTo>
                  <a:lnTo>
                    <a:pt x="4772" y="1806"/>
                  </a:lnTo>
                  <a:lnTo>
                    <a:pt x="4774" y="1802"/>
                  </a:lnTo>
                  <a:lnTo>
                    <a:pt x="4782" y="1790"/>
                  </a:lnTo>
                  <a:lnTo>
                    <a:pt x="4790" y="1780"/>
                  </a:lnTo>
                  <a:lnTo>
                    <a:pt x="4794" y="1772"/>
                  </a:lnTo>
                  <a:lnTo>
                    <a:pt x="4794" y="1766"/>
                  </a:lnTo>
                  <a:lnTo>
                    <a:pt x="4792" y="1760"/>
                  </a:lnTo>
                  <a:lnTo>
                    <a:pt x="4788" y="1756"/>
                  </a:lnTo>
                  <a:lnTo>
                    <a:pt x="4782" y="1752"/>
                  </a:lnTo>
                  <a:lnTo>
                    <a:pt x="4768" y="1748"/>
                  </a:lnTo>
                  <a:lnTo>
                    <a:pt x="4756" y="1744"/>
                  </a:lnTo>
                  <a:lnTo>
                    <a:pt x="4750" y="1740"/>
                  </a:lnTo>
                  <a:lnTo>
                    <a:pt x="4746" y="1738"/>
                  </a:lnTo>
                  <a:lnTo>
                    <a:pt x="4746" y="1732"/>
                  </a:lnTo>
                  <a:lnTo>
                    <a:pt x="4748" y="1728"/>
                  </a:lnTo>
                  <a:lnTo>
                    <a:pt x="4752" y="1720"/>
                  </a:lnTo>
                  <a:lnTo>
                    <a:pt x="4762" y="1712"/>
                  </a:lnTo>
                  <a:lnTo>
                    <a:pt x="4782" y="1694"/>
                  </a:lnTo>
                  <a:lnTo>
                    <a:pt x="4794" y="1678"/>
                  </a:lnTo>
                  <a:lnTo>
                    <a:pt x="4800" y="1664"/>
                  </a:lnTo>
                  <a:lnTo>
                    <a:pt x="4804" y="1652"/>
                  </a:lnTo>
                  <a:lnTo>
                    <a:pt x="4806" y="1642"/>
                  </a:lnTo>
                  <a:lnTo>
                    <a:pt x="4810" y="1634"/>
                  </a:lnTo>
                  <a:lnTo>
                    <a:pt x="4816" y="1628"/>
                  </a:lnTo>
                  <a:lnTo>
                    <a:pt x="4828" y="1622"/>
                  </a:lnTo>
                  <a:lnTo>
                    <a:pt x="4840" y="1618"/>
                  </a:lnTo>
                  <a:lnTo>
                    <a:pt x="4848" y="1618"/>
                  </a:lnTo>
                  <a:lnTo>
                    <a:pt x="4852" y="1620"/>
                  </a:lnTo>
                  <a:lnTo>
                    <a:pt x="4854" y="1622"/>
                  </a:lnTo>
                  <a:lnTo>
                    <a:pt x="4856" y="1624"/>
                  </a:lnTo>
                  <a:lnTo>
                    <a:pt x="4862" y="1622"/>
                  </a:lnTo>
                  <a:lnTo>
                    <a:pt x="4872" y="1616"/>
                  </a:lnTo>
                  <a:lnTo>
                    <a:pt x="4888" y="1606"/>
                  </a:lnTo>
                  <a:lnTo>
                    <a:pt x="4900" y="1598"/>
                  </a:lnTo>
                  <a:lnTo>
                    <a:pt x="4908" y="1592"/>
                  </a:lnTo>
                  <a:lnTo>
                    <a:pt x="4914" y="1592"/>
                  </a:lnTo>
                  <a:lnTo>
                    <a:pt x="4916" y="1592"/>
                  </a:lnTo>
                  <a:lnTo>
                    <a:pt x="4918" y="1596"/>
                  </a:lnTo>
                  <a:lnTo>
                    <a:pt x="4918" y="1600"/>
                  </a:lnTo>
                  <a:lnTo>
                    <a:pt x="4914" y="1612"/>
                  </a:lnTo>
                  <a:lnTo>
                    <a:pt x="4910" y="1624"/>
                  </a:lnTo>
                  <a:lnTo>
                    <a:pt x="4910" y="1628"/>
                  </a:lnTo>
                  <a:lnTo>
                    <a:pt x="4910" y="1632"/>
                  </a:lnTo>
                  <a:lnTo>
                    <a:pt x="4912" y="1632"/>
                  </a:lnTo>
                  <a:lnTo>
                    <a:pt x="4916" y="1632"/>
                  </a:lnTo>
                  <a:lnTo>
                    <a:pt x="4934" y="1618"/>
                  </a:lnTo>
                  <a:lnTo>
                    <a:pt x="4958" y="1600"/>
                  </a:lnTo>
                  <a:lnTo>
                    <a:pt x="4980" y="1588"/>
                  </a:lnTo>
                  <a:lnTo>
                    <a:pt x="4990" y="1586"/>
                  </a:lnTo>
                  <a:lnTo>
                    <a:pt x="5000" y="1584"/>
                  </a:lnTo>
                  <a:lnTo>
                    <a:pt x="5016" y="1584"/>
                  </a:lnTo>
                  <a:lnTo>
                    <a:pt x="5032" y="1588"/>
                  </a:lnTo>
                  <a:lnTo>
                    <a:pt x="5048" y="1596"/>
                  </a:lnTo>
                  <a:lnTo>
                    <a:pt x="5060" y="1606"/>
                  </a:lnTo>
                  <a:lnTo>
                    <a:pt x="5072" y="1618"/>
                  </a:lnTo>
                  <a:lnTo>
                    <a:pt x="5080" y="1628"/>
                  </a:lnTo>
                  <a:lnTo>
                    <a:pt x="5082" y="1630"/>
                  </a:lnTo>
                  <a:lnTo>
                    <a:pt x="5084" y="1628"/>
                  </a:lnTo>
                  <a:lnTo>
                    <a:pt x="5086" y="1620"/>
                  </a:lnTo>
                  <a:lnTo>
                    <a:pt x="5094" y="1608"/>
                  </a:lnTo>
                  <a:lnTo>
                    <a:pt x="5108" y="1592"/>
                  </a:lnTo>
                  <a:lnTo>
                    <a:pt x="5118" y="1584"/>
                  </a:lnTo>
                  <a:lnTo>
                    <a:pt x="5132" y="1574"/>
                  </a:lnTo>
                  <a:lnTo>
                    <a:pt x="5148" y="1564"/>
                  </a:lnTo>
                  <a:lnTo>
                    <a:pt x="5168" y="1552"/>
                  </a:lnTo>
                  <a:lnTo>
                    <a:pt x="5186" y="1542"/>
                  </a:lnTo>
                  <a:lnTo>
                    <a:pt x="5202" y="1532"/>
                  </a:lnTo>
                  <a:lnTo>
                    <a:pt x="5236" y="1508"/>
                  </a:lnTo>
                  <a:lnTo>
                    <a:pt x="5252" y="1496"/>
                  </a:lnTo>
                  <a:lnTo>
                    <a:pt x="5272" y="1484"/>
                  </a:lnTo>
                  <a:lnTo>
                    <a:pt x="5290" y="1474"/>
                  </a:lnTo>
                  <a:lnTo>
                    <a:pt x="5312" y="1466"/>
                  </a:lnTo>
                  <a:lnTo>
                    <a:pt x="5330" y="1460"/>
                  </a:lnTo>
                  <a:lnTo>
                    <a:pt x="5348" y="1456"/>
                  </a:lnTo>
                  <a:lnTo>
                    <a:pt x="5362" y="1454"/>
                  </a:lnTo>
                  <a:lnTo>
                    <a:pt x="5374" y="1454"/>
                  </a:lnTo>
                  <a:lnTo>
                    <a:pt x="5396" y="1456"/>
                  </a:lnTo>
                  <a:lnTo>
                    <a:pt x="5410" y="1460"/>
                  </a:lnTo>
                  <a:lnTo>
                    <a:pt x="5422" y="1464"/>
                  </a:lnTo>
                  <a:lnTo>
                    <a:pt x="5430" y="1466"/>
                  </a:lnTo>
                  <a:lnTo>
                    <a:pt x="5434" y="1466"/>
                  </a:lnTo>
                  <a:lnTo>
                    <a:pt x="5438" y="1464"/>
                  </a:lnTo>
                  <a:lnTo>
                    <a:pt x="5448" y="1458"/>
                  </a:lnTo>
                  <a:lnTo>
                    <a:pt x="5454" y="1448"/>
                  </a:lnTo>
                  <a:lnTo>
                    <a:pt x="5458" y="1440"/>
                  </a:lnTo>
                  <a:lnTo>
                    <a:pt x="5456" y="1432"/>
                  </a:lnTo>
                  <a:lnTo>
                    <a:pt x="5450" y="1422"/>
                  </a:lnTo>
                  <a:lnTo>
                    <a:pt x="5436" y="1400"/>
                  </a:lnTo>
                  <a:lnTo>
                    <a:pt x="5428" y="1386"/>
                  </a:lnTo>
                  <a:lnTo>
                    <a:pt x="5420" y="1368"/>
                  </a:lnTo>
                  <a:lnTo>
                    <a:pt x="5412" y="1348"/>
                  </a:lnTo>
                  <a:lnTo>
                    <a:pt x="5404" y="1338"/>
                  </a:lnTo>
                  <a:lnTo>
                    <a:pt x="5400" y="1336"/>
                  </a:lnTo>
                  <a:lnTo>
                    <a:pt x="5396" y="1336"/>
                  </a:lnTo>
                  <a:lnTo>
                    <a:pt x="5390" y="1336"/>
                  </a:lnTo>
                  <a:lnTo>
                    <a:pt x="5384" y="1338"/>
                  </a:lnTo>
                  <a:lnTo>
                    <a:pt x="5378" y="1338"/>
                  </a:lnTo>
                  <a:lnTo>
                    <a:pt x="5376" y="1336"/>
                  </a:lnTo>
                  <a:lnTo>
                    <a:pt x="5374" y="1334"/>
                  </a:lnTo>
                  <a:lnTo>
                    <a:pt x="5368" y="1322"/>
                  </a:lnTo>
                  <a:lnTo>
                    <a:pt x="5368" y="1316"/>
                  </a:lnTo>
                  <a:lnTo>
                    <a:pt x="5368" y="1312"/>
                  </a:lnTo>
                  <a:lnTo>
                    <a:pt x="5372" y="1310"/>
                  </a:lnTo>
                  <a:lnTo>
                    <a:pt x="5374" y="1308"/>
                  </a:lnTo>
                  <a:lnTo>
                    <a:pt x="5384" y="1308"/>
                  </a:lnTo>
                  <a:lnTo>
                    <a:pt x="5398" y="1310"/>
                  </a:lnTo>
                  <a:lnTo>
                    <a:pt x="5414" y="1312"/>
                  </a:lnTo>
                  <a:lnTo>
                    <a:pt x="5432" y="1310"/>
                  </a:lnTo>
                  <a:lnTo>
                    <a:pt x="5440" y="1308"/>
                  </a:lnTo>
                  <a:lnTo>
                    <a:pt x="5448" y="1304"/>
                  </a:lnTo>
                  <a:lnTo>
                    <a:pt x="5454" y="1298"/>
                  </a:lnTo>
                  <a:lnTo>
                    <a:pt x="5462" y="1292"/>
                  </a:lnTo>
                  <a:lnTo>
                    <a:pt x="5478" y="1272"/>
                  </a:lnTo>
                  <a:lnTo>
                    <a:pt x="5478" y="1258"/>
                  </a:lnTo>
                  <a:lnTo>
                    <a:pt x="5486" y="1248"/>
                  </a:lnTo>
                  <a:lnTo>
                    <a:pt x="5490" y="1244"/>
                  </a:lnTo>
                  <a:lnTo>
                    <a:pt x="5490" y="1240"/>
                  </a:lnTo>
                  <a:lnTo>
                    <a:pt x="5490" y="1236"/>
                  </a:lnTo>
                  <a:lnTo>
                    <a:pt x="5488" y="1232"/>
                  </a:lnTo>
                  <a:lnTo>
                    <a:pt x="5480" y="1220"/>
                  </a:lnTo>
                  <a:lnTo>
                    <a:pt x="5478" y="1216"/>
                  </a:lnTo>
                  <a:lnTo>
                    <a:pt x="5478" y="1204"/>
                  </a:lnTo>
                  <a:lnTo>
                    <a:pt x="5480" y="1200"/>
                  </a:lnTo>
                  <a:lnTo>
                    <a:pt x="5484" y="1200"/>
                  </a:lnTo>
                  <a:lnTo>
                    <a:pt x="5490" y="1200"/>
                  </a:lnTo>
                  <a:lnTo>
                    <a:pt x="5496" y="1202"/>
                  </a:lnTo>
                  <a:lnTo>
                    <a:pt x="5502" y="1206"/>
                  </a:lnTo>
                  <a:lnTo>
                    <a:pt x="5510" y="1212"/>
                  </a:lnTo>
                  <a:lnTo>
                    <a:pt x="5516" y="1220"/>
                  </a:lnTo>
                  <a:lnTo>
                    <a:pt x="5520" y="1230"/>
                  </a:lnTo>
                  <a:lnTo>
                    <a:pt x="5524" y="1238"/>
                  </a:lnTo>
                  <a:lnTo>
                    <a:pt x="5530" y="1242"/>
                  </a:lnTo>
                  <a:lnTo>
                    <a:pt x="5536" y="1244"/>
                  </a:lnTo>
                  <a:lnTo>
                    <a:pt x="5542" y="1246"/>
                  </a:lnTo>
                  <a:lnTo>
                    <a:pt x="5556" y="1244"/>
                  </a:lnTo>
                  <a:lnTo>
                    <a:pt x="5572" y="1242"/>
                  </a:lnTo>
                  <a:lnTo>
                    <a:pt x="5588" y="1238"/>
                  </a:lnTo>
                  <a:lnTo>
                    <a:pt x="5596" y="1238"/>
                  </a:lnTo>
                  <a:lnTo>
                    <a:pt x="5604" y="1238"/>
                  </a:lnTo>
                  <a:lnTo>
                    <a:pt x="5610" y="1242"/>
                  </a:lnTo>
                  <a:lnTo>
                    <a:pt x="5618" y="1246"/>
                  </a:lnTo>
                  <a:lnTo>
                    <a:pt x="5624" y="1252"/>
                  </a:lnTo>
                  <a:lnTo>
                    <a:pt x="5628" y="1262"/>
                  </a:lnTo>
                  <a:lnTo>
                    <a:pt x="5638" y="1278"/>
                  </a:lnTo>
                  <a:lnTo>
                    <a:pt x="5648" y="1290"/>
                  </a:lnTo>
                  <a:lnTo>
                    <a:pt x="5656" y="1294"/>
                  </a:lnTo>
                  <a:lnTo>
                    <a:pt x="5664" y="1296"/>
                  </a:lnTo>
                  <a:lnTo>
                    <a:pt x="5674" y="1298"/>
                  </a:lnTo>
                  <a:lnTo>
                    <a:pt x="5682" y="1298"/>
                  </a:lnTo>
                  <a:lnTo>
                    <a:pt x="5690" y="1302"/>
                  </a:lnTo>
                  <a:lnTo>
                    <a:pt x="5696" y="1310"/>
                  </a:lnTo>
                  <a:lnTo>
                    <a:pt x="5700" y="1316"/>
                  </a:lnTo>
                  <a:lnTo>
                    <a:pt x="5706" y="1320"/>
                  </a:lnTo>
                  <a:lnTo>
                    <a:pt x="5710" y="1322"/>
                  </a:lnTo>
                  <a:lnTo>
                    <a:pt x="5716" y="1322"/>
                  </a:lnTo>
                  <a:lnTo>
                    <a:pt x="5726" y="1322"/>
                  </a:lnTo>
                  <a:lnTo>
                    <a:pt x="5738" y="1318"/>
                  </a:lnTo>
                  <a:lnTo>
                    <a:pt x="5748" y="1310"/>
                  </a:lnTo>
                  <a:lnTo>
                    <a:pt x="5756" y="1298"/>
                  </a:lnTo>
                  <a:lnTo>
                    <a:pt x="5764" y="1284"/>
                  </a:lnTo>
                  <a:lnTo>
                    <a:pt x="5766" y="1268"/>
                  </a:lnTo>
                  <a:lnTo>
                    <a:pt x="5768" y="1254"/>
                  </a:lnTo>
                  <a:lnTo>
                    <a:pt x="5770" y="1248"/>
                  </a:lnTo>
                  <a:lnTo>
                    <a:pt x="5774" y="1246"/>
                  </a:lnTo>
                  <a:lnTo>
                    <a:pt x="5782" y="1240"/>
                  </a:lnTo>
                  <a:lnTo>
                    <a:pt x="5792" y="1238"/>
                  </a:lnTo>
                  <a:lnTo>
                    <a:pt x="5802" y="1238"/>
                  </a:lnTo>
                  <a:lnTo>
                    <a:pt x="5816" y="1234"/>
                  </a:lnTo>
                  <a:lnTo>
                    <a:pt x="5830" y="1228"/>
                  </a:lnTo>
                  <a:lnTo>
                    <a:pt x="5836" y="1222"/>
                  </a:lnTo>
                  <a:lnTo>
                    <a:pt x="5844" y="1216"/>
                  </a:lnTo>
                  <a:lnTo>
                    <a:pt x="5854" y="1204"/>
                  </a:lnTo>
                  <a:lnTo>
                    <a:pt x="5856" y="1198"/>
                  </a:lnTo>
                  <a:lnTo>
                    <a:pt x="5856" y="1196"/>
                  </a:lnTo>
                  <a:lnTo>
                    <a:pt x="5854" y="1194"/>
                  </a:lnTo>
                  <a:lnTo>
                    <a:pt x="5846" y="1194"/>
                  </a:lnTo>
                  <a:lnTo>
                    <a:pt x="5836" y="1192"/>
                  </a:lnTo>
                  <a:lnTo>
                    <a:pt x="5824" y="1188"/>
                  </a:lnTo>
                  <a:lnTo>
                    <a:pt x="5816" y="1184"/>
                  </a:lnTo>
                  <a:lnTo>
                    <a:pt x="5810" y="1180"/>
                  </a:lnTo>
                  <a:lnTo>
                    <a:pt x="5804" y="1174"/>
                  </a:lnTo>
                  <a:lnTo>
                    <a:pt x="5798" y="116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5" name="Freeform 6004">
              <a:extLst>
                <a:ext uri="{FF2B5EF4-FFF2-40B4-BE49-F238E27FC236}">
                  <a16:creationId xmlns:a16="http://schemas.microsoft.com/office/drawing/2014/main" id="{8084EDEE-D2EB-49B3-9ADC-8C3B1203D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599" y="3604608"/>
              <a:ext cx="5080" cy="6349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4" y="10"/>
                </a:cxn>
                <a:cxn ang="0">
                  <a:pos x="6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8" h="10">
                  <a:moveTo>
                    <a:pt x="0" y="6"/>
                  </a:moveTo>
                  <a:lnTo>
                    <a:pt x="0" y="6"/>
                  </a:lnTo>
                  <a:lnTo>
                    <a:pt x="2" y="8"/>
                  </a:lnTo>
                  <a:lnTo>
                    <a:pt x="4" y="10"/>
                  </a:lnTo>
                  <a:lnTo>
                    <a:pt x="6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grpSp>
          <p:nvGrpSpPr>
            <p:cNvPr id="16" name="Gruppe 224">
              <a:extLst>
                <a:ext uri="{FF2B5EF4-FFF2-40B4-BE49-F238E27FC236}">
                  <a16:creationId xmlns:a16="http://schemas.microsoft.com/office/drawing/2014/main" id="{2155B84D-46D0-41D5-84D1-1E8824965BEE}"/>
                </a:ext>
              </a:extLst>
            </p:cNvPr>
            <p:cNvGrpSpPr/>
            <p:nvPr/>
          </p:nvGrpSpPr>
          <p:grpSpPr bwMode="auto">
            <a:xfrm>
              <a:off x="61885" y="752495"/>
              <a:ext cx="3986212" cy="2951162"/>
              <a:chOff x="93979" y="699453"/>
              <a:chExt cx="3986530" cy="2951480"/>
            </a:xfrm>
            <a:grpFill/>
          </p:grpSpPr>
          <p:sp>
            <p:nvSpPr>
              <p:cNvPr id="24" name="Freeform 6016">
                <a:extLst>
                  <a:ext uri="{FF2B5EF4-FFF2-40B4-BE49-F238E27FC236}">
                    <a16:creationId xmlns:a16="http://schemas.microsoft.com/office/drawing/2014/main" id="{7596B081-98FC-4084-922B-4FA14F143F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2550" y="1099503"/>
                <a:ext cx="40640" cy="26670"/>
              </a:xfrm>
              <a:custGeom>
                <a:avLst/>
                <a:gdLst/>
                <a:ahLst/>
                <a:cxnLst>
                  <a:cxn ang="0">
                    <a:pos x="54" y="2"/>
                  </a:cxn>
                  <a:cxn ang="0">
                    <a:pos x="54" y="2"/>
                  </a:cxn>
                  <a:cxn ang="0">
                    <a:pos x="32" y="12"/>
                  </a:cxn>
                  <a:cxn ang="0">
                    <a:pos x="10" y="24"/>
                  </a:cxn>
                  <a:cxn ang="0">
                    <a:pos x="4" y="30"/>
                  </a:cxn>
                  <a:cxn ang="0">
                    <a:pos x="0" y="36"/>
                  </a:cxn>
                  <a:cxn ang="0">
                    <a:pos x="2" y="38"/>
                  </a:cxn>
                  <a:cxn ang="0">
                    <a:pos x="4" y="40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8" y="42"/>
                  </a:cxn>
                  <a:cxn ang="0">
                    <a:pos x="40" y="36"/>
                  </a:cxn>
                  <a:cxn ang="0">
                    <a:pos x="50" y="28"/>
                  </a:cxn>
                  <a:cxn ang="0">
                    <a:pos x="58" y="20"/>
                  </a:cxn>
                  <a:cxn ang="0">
                    <a:pos x="62" y="10"/>
                  </a:cxn>
                  <a:cxn ang="0">
                    <a:pos x="64" y="4"/>
                  </a:cxn>
                  <a:cxn ang="0">
                    <a:pos x="64" y="2"/>
                  </a:cxn>
                  <a:cxn ang="0">
                    <a:pos x="62" y="0"/>
                  </a:cxn>
                  <a:cxn ang="0">
                    <a:pos x="58" y="0"/>
                  </a:cxn>
                  <a:cxn ang="0">
                    <a:pos x="54" y="2"/>
                  </a:cxn>
                  <a:cxn ang="0">
                    <a:pos x="54" y="2"/>
                  </a:cxn>
                </a:cxnLst>
                <a:rect l="0" t="0" r="r" b="b"/>
                <a:pathLst>
                  <a:path w="64" h="42">
                    <a:moveTo>
                      <a:pt x="54" y="2"/>
                    </a:moveTo>
                    <a:lnTo>
                      <a:pt x="54" y="2"/>
                    </a:lnTo>
                    <a:lnTo>
                      <a:pt x="32" y="12"/>
                    </a:lnTo>
                    <a:lnTo>
                      <a:pt x="10" y="24"/>
                    </a:lnTo>
                    <a:lnTo>
                      <a:pt x="4" y="30"/>
                    </a:lnTo>
                    <a:lnTo>
                      <a:pt x="0" y="36"/>
                    </a:lnTo>
                    <a:lnTo>
                      <a:pt x="2" y="38"/>
                    </a:lnTo>
                    <a:lnTo>
                      <a:pt x="4" y="40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8" y="42"/>
                    </a:lnTo>
                    <a:lnTo>
                      <a:pt x="40" y="36"/>
                    </a:lnTo>
                    <a:lnTo>
                      <a:pt x="50" y="28"/>
                    </a:lnTo>
                    <a:lnTo>
                      <a:pt x="58" y="20"/>
                    </a:lnTo>
                    <a:lnTo>
                      <a:pt x="62" y="10"/>
                    </a:lnTo>
                    <a:lnTo>
                      <a:pt x="64" y="4"/>
                    </a:lnTo>
                    <a:lnTo>
                      <a:pt x="64" y="2"/>
                    </a:lnTo>
                    <a:lnTo>
                      <a:pt x="62" y="0"/>
                    </a:lnTo>
                    <a:lnTo>
                      <a:pt x="58" y="0"/>
                    </a:lnTo>
                    <a:lnTo>
                      <a:pt x="54" y="2"/>
                    </a:lnTo>
                    <a:lnTo>
                      <a:pt x="54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5" name="Freeform 6017">
                <a:extLst>
                  <a:ext uri="{FF2B5EF4-FFF2-40B4-BE49-F238E27FC236}">
                    <a16:creationId xmlns:a16="http://schemas.microsoft.com/office/drawing/2014/main" id="{B959F5FD-8FF7-4CE7-BD23-C7AFE80341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4910" y="1173163"/>
                <a:ext cx="270510" cy="165100"/>
              </a:xfrm>
              <a:custGeom>
                <a:avLst/>
                <a:gdLst/>
                <a:ahLst/>
                <a:cxnLst>
                  <a:cxn ang="0">
                    <a:pos x="20" y="198"/>
                  </a:cxn>
                  <a:cxn ang="0">
                    <a:pos x="68" y="214"/>
                  </a:cxn>
                  <a:cxn ang="0">
                    <a:pos x="92" y="232"/>
                  </a:cxn>
                  <a:cxn ang="0">
                    <a:pos x="106" y="256"/>
                  </a:cxn>
                  <a:cxn ang="0">
                    <a:pos x="116" y="260"/>
                  </a:cxn>
                  <a:cxn ang="0">
                    <a:pos x="146" y="248"/>
                  </a:cxn>
                  <a:cxn ang="0">
                    <a:pos x="168" y="236"/>
                  </a:cxn>
                  <a:cxn ang="0">
                    <a:pos x="184" y="238"/>
                  </a:cxn>
                  <a:cxn ang="0">
                    <a:pos x="208" y="232"/>
                  </a:cxn>
                  <a:cxn ang="0">
                    <a:pos x="216" y="226"/>
                  </a:cxn>
                  <a:cxn ang="0">
                    <a:pos x="224" y="200"/>
                  </a:cxn>
                  <a:cxn ang="0">
                    <a:pos x="232" y="178"/>
                  </a:cxn>
                  <a:cxn ang="0">
                    <a:pos x="254" y="172"/>
                  </a:cxn>
                  <a:cxn ang="0">
                    <a:pos x="266" y="158"/>
                  </a:cxn>
                  <a:cxn ang="0">
                    <a:pos x="280" y="140"/>
                  </a:cxn>
                  <a:cxn ang="0">
                    <a:pos x="322" y="124"/>
                  </a:cxn>
                  <a:cxn ang="0">
                    <a:pos x="392" y="94"/>
                  </a:cxn>
                  <a:cxn ang="0">
                    <a:pos x="418" y="86"/>
                  </a:cxn>
                  <a:cxn ang="0">
                    <a:pos x="424" y="72"/>
                  </a:cxn>
                  <a:cxn ang="0">
                    <a:pos x="408" y="64"/>
                  </a:cxn>
                  <a:cxn ang="0">
                    <a:pos x="370" y="40"/>
                  </a:cxn>
                  <a:cxn ang="0">
                    <a:pos x="334" y="22"/>
                  </a:cxn>
                  <a:cxn ang="0">
                    <a:pos x="302" y="22"/>
                  </a:cxn>
                  <a:cxn ang="0">
                    <a:pos x="284" y="30"/>
                  </a:cxn>
                  <a:cxn ang="0">
                    <a:pos x="276" y="40"/>
                  </a:cxn>
                  <a:cxn ang="0">
                    <a:pos x="272" y="36"/>
                  </a:cxn>
                  <a:cxn ang="0">
                    <a:pos x="268" y="26"/>
                  </a:cxn>
                  <a:cxn ang="0">
                    <a:pos x="260" y="26"/>
                  </a:cxn>
                  <a:cxn ang="0">
                    <a:pos x="234" y="22"/>
                  </a:cxn>
                  <a:cxn ang="0">
                    <a:pos x="192" y="2"/>
                  </a:cxn>
                  <a:cxn ang="0">
                    <a:pos x="168" y="0"/>
                  </a:cxn>
                  <a:cxn ang="0">
                    <a:pos x="138" y="6"/>
                  </a:cxn>
                  <a:cxn ang="0">
                    <a:pos x="54" y="16"/>
                  </a:cxn>
                  <a:cxn ang="0">
                    <a:pos x="50" y="20"/>
                  </a:cxn>
                  <a:cxn ang="0">
                    <a:pos x="56" y="28"/>
                  </a:cxn>
                  <a:cxn ang="0">
                    <a:pos x="64" y="46"/>
                  </a:cxn>
                  <a:cxn ang="0">
                    <a:pos x="76" y="52"/>
                  </a:cxn>
                  <a:cxn ang="0">
                    <a:pos x="86" y="60"/>
                  </a:cxn>
                  <a:cxn ang="0">
                    <a:pos x="74" y="72"/>
                  </a:cxn>
                  <a:cxn ang="0">
                    <a:pos x="72" y="80"/>
                  </a:cxn>
                  <a:cxn ang="0">
                    <a:pos x="58" y="84"/>
                  </a:cxn>
                  <a:cxn ang="0">
                    <a:pos x="56" y="90"/>
                  </a:cxn>
                  <a:cxn ang="0">
                    <a:pos x="48" y="106"/>
                  </a:cxn>
                  <a:cxn ang="0">
                    <a:pos x="46" y="114"/>
                  </a:cxn>
                  <a:cxn ang="0">
                    <a:pos x="56" y="122"/>
                  </a:cxn>
                  <a:cxn ang="0">
                    <a:pos x="44" y="126"/>
                  </a:cxn>
                  <a:cxn ang="0">
                    <a:pos x="30" y="130"/>
                  </a:cxn>
                  <a:cxn ang="0">
                    <a:pos x="34" y="140"/>
                  </a:cxn>
                  <a:cxn ang="0">
                    <a:pos x="22" y="160"/>
                  </a:cxn>
                  <a:cxn ang="0">
                    <a:pos x="4" y="182"/>
                  </a:cxn>
                  <a:cxn ang="0">
                    <a:pos x="0" y="192"/>
                  </a:cxn>
                  <a:cxn ang="0">
                    <a:pos x="2" y="196"/>
                  </a:cxn>
                </a:cxnLst>
                <a:rect l="0" t="0" r="r" b="b"/>
                <a:pathLst>
                  <a:path w="426" h="260">
                    <a:moveTo>
                      <a:pt x="2" y="196"/>
                    </a:moveTo>
                    <a:lnTo>
                      <a:pt x="2" y="196"/>
                    </a:lnTo>
                    <a:lnTo>
                      <a:pt x="20" y="198"/>
                    </a:lnTo>
                    <a:lnTo>
                      <a:pt x="38" y="204"/>
                    </a:lnTo>
                    <a:lnTo>
                      <a:pt x="68" y="214"/>
                    </a:lnTo>
                    <a:lnTo>
                      <a:pt x="68" y="214"/>
                    </a:lnTo>
                    <a:lnTo>
                      <a:pt x="78" y="220"/>
                    </a:lnTo>
                    <a:lnTo>
                      <a:pt x="86" y="226"/>
                    </a:lnTo>
                    <a:lnTo>
                      <a:pt x="92" y="232"/>
                    </a:lnTo>
                    <a:lnTo>
                      <a:pt x="96" y="240"/>
                    </a:lnTo>
                    <a:lnTo>
                      <a:pt x="102" y="252"/>
                    </a:lnTo>
                    <a:lnTo>
                      <a:pt x="106" y="256"/>
                    </a:lnTo>
                    <a:lnTo>
                      <a:pt x="110" y="260"/>
                    </a:lnTo>
                    <a:lnTo>
                      <a:pt x="110" y="260"/>
                    </a:lnTo>
                    <a:lnTo>
                      <a:pt x="116" y="260"/>
                    </a:lnTo>
                    <a:lnTo>
                      <a:pt x="122" y="260"/>
                    </a:lnTo>
                    <a:lnTo>
                      <a:pt x="134" y="256"/>
                    </a:lnTo>
                    <a:lnTo>
                      <a:pt x="146" y="248"/>
                    </a:lnTo>
                    <a:lnTo>
                      <a:pt x="160" y="240"/>
                    </a:lnTo>
                    <a:lnTo>
                      <a:pt x="160" y="240"/>
                    </a:lnTo>
                    <a:lnTo>
                      <a:pt x="168" y="236"/>
                    </a:lnTo>
                    <a:lnTo>
                      <a:pt x="172" y="234"/>
                    </a:lnTo>
                    <a:lnTo>
                      <a:pt x="180" y="236"/>
                    </a:lnTo>
                    <a:lnTo>
                      <a:pt x="184" y="238"/>
                    </a:lnTo>
                    <a:lnTo>
                      <a:pt x="190" y="238"/>
                    </a:lnTo>
                    <a:lnTo>
                      <a:pt x="198" y="236"/>
                    </a:lnTo>
                    <a:lnTo>
                      <a:pt x="208" y="232"/>
                    </a:lnTo>
                    <a:lnTo>
                      <a:pt x="208" y="232"/>
                    </a:lnTo>
                    <a:lnTo>
                      <a:pt x="212" y="230"/>
                    </a:lnTo>
                    <a:lnTo>
                      <a:pt x="216" y="226"/>
                    </a:lnTo>
                    <a:lnTo>
                      <a:pt x="222" y="218"/>
                    </a:lnTo>
                    <a:lnTo>
                      <a:pt x="224" y="210"/>
                    </a:lnTo>
                    <a:lnTo>
                      <a:pt x="224" y="200"/>
                    </a:lnTo>
                    <a:lnTo>
                      <a:pt x="224" y="192"/>
                    </a:lnTo>
                    <a:lnTo>
                      <a:pt x="226" y="184"/>
                    </a:lnTo>
                    <a:lnTo>
                      <a:pt x="232" y="178"/>
                    </a:lnTo>
                    <a:lnTo>
                      <a:pt x="244" y="174"/>
                    </a:lnTo>
                    <a:lnTo>
                      <a:pt x="244" y="174"/>
                    </a:lnTo>
                    <a:lnTo>
                      <a:pt x="254" y="172"/>
                    </a:lnTo>
                    <a:lnTo>
                      <a:pt x="260" y="170"/>
                    </a:lnTo>
                    <a:lnTo>
                      <a:pt x="264" y="164"/>
                    </a:lnTo>
                    <a:lnTo>
                      <a:pt x="266" y="158"/>
                    </a:lnTo>
                    <a:lnTo>
                      <a:pt x="268" y="152"/>
                    </a:lnTo>
                    <a:lnTo>
                      <a:pt x="272" y="146"/>
                    </a:lnTo>
                    <a:lnTo>
                      <a:pt x="280" y="140"/>
                    </a:lnTo>
                    <a:lnTo>
                      <a:pt x="292" y="136"/>
                    </a:lnTo>
                    <a:lnTo>
                      <a:pt x="292" y="136"/>
                    </a:lnTo>
                    <a:lnTo>
                      <a:pt x="322" y="124"/>
                    </a:lnTo>
                    <a:lnTo>
                      <a:pt x="348" y="112"/>
                    </a:lnTo>
                    <a:lnTo>
                      <a:pt x="370" y="102"/>
                    </a:lnTo>
                    <a:lnTo>
                      <a:pt x="392" y="94"/>
                    </a:lnTo>
                    <a:lnTo>
                      <a:pt x="392" y="94"/>
                    </a:lnTo>
                    <a:lnTo>
                      <a:pt x="408" y="90"/>
                    </a:lnTo>
                    <a:lnTo>
                      <a:pt x="418" y="86"/>
                    </a:lnTo>
                    <a:lnTo>
                      <a:pt x="424" y="82"/>
                    </a:lnTo>
                    <a:lnTo>
                      <a:pt x="426" y="76"/>
                    </a:lnTo>
                    <a:lnTo>
                      <a:pt x="424" y="72"/>
                    </a:lnTo>
                    <a:lnTo>
                      <a:pt x="420" y="70"/>
                    </a:lnTo>
                    <a:lnTo>
                      <a:pt x="408" y="64"/>
                    </a:lnTo>
                    <a:lnTo>
                      <a:pt x="408" y="64"/>
                    </a:lnTo>
                    <a:lnTo>
                      <a:pt x="398" y="60"/>
                    </a:lnTo>
                    <a:lnTo>
                      <a:pt x="390" y="54"/>
                    </a:lnTo>
                    <a:lnTo>
                      <a:pt x="370" y="40"/>
                    </a:lnTo>
                    <a:lnTo>
                      <a:pt x="360" y="32"/>
                    </a:lnTo>
                    <a:lnTo>
                      <a:pt x="348" y="26"/>
                    </a:lnTo>
                    <a:lnTo>
                      <a:pt x="334" y="22"/>
                    </a:lnTo>
                    <a:lnTo>
                      <a:pt x="318" y="22"/>
                    </a:lnTo>
                    <a:lnTo>
                      <a:pt x="318" y="22"/>
                    </a:lnTo>
                    <a:lnTo>
                      <a:pt x="302" y="22"/>
                    </a:lnTo>
                    <a:lnTo>
                      <a:pt x="294" y="24"/>
                    </a:lnTo>
                    <a:lnTo>
                      <a:pt x="288" y="26"/>
                    </a:lnTo>
                    <a:lnTo>
                      <a:pt x="284" y="30"/>
                    </a:lnTo>
                    <a:lnTo>
                      <a:pt x="282" y="36"/>
                    </a:lnTo>
                    <a:lnTo>
                      <a:pt x="280" y="38"/>
                    </a:lnTo>
                    <a:lnTo>
                      <a:pt x="276" y="40"/>
                    </a:lnTo>
                    <a:lnTo>
                      <a:pt x="276" y="40"/>
                    </a:lnTo>
                    <a:lnTo>
                      <a:pt x="272" y="40"/>
                    </a:lnTo>
                    <a:lnTo>
                      <a:pt x="272" y="36"/>
                    </a:lnTo>
                    <a:lnTo>
                      <a:pt x="272" y="32"/>
                    </a:lnTo>
                    <a:lnTo>
                      <a:pt x="272" y="30"/>
                    </a:lnTo>
                    <a:lnTo>
                      <a:pt x="268" y="26"/>
                    </a:lnTo>
                    <a:lnTo>
                      <a:pt x="268" y="26"/>
                    </a:lnTo>
                    <a:lnTo>
                      <a:pt x="266" y="26"/>
                    </a:lnTo>
                    <a:lnTo>
                      <a:pt x="260" y="26"/>
                    </a:lnTo>
                    <a:lnTo>
                      <a:pt x="250" y="24"/>
                    </a:lnTo>
                    <a:lnTo>
                      <a:pt x="234" y="22"/>
                    </a:lnTo>
                    <a:lnTo>
                      <a:pt x="234" y="22"/>
                    </a:lnTo>
                    <a:lnTo>
                      <a:pt x="218" y="16"/>
                    </a:lnTo>
                    <a:lnTo>
                      <a:pt x="208" y="12"/>
                    </a:lnTo>
                    <a:lnTo>
                      <a:pt x="192" y="2"/>
                    </a:lnTo>
                    <a:lnTo>
                      <a:pt x="186" y="0"/>
                    </a:lnTo>
                    <a:lnTo>
                      <a:pt x="178" y="0"/>
                    </a:lnTo>
                    <a:lnTo>
                      <a:pt x="168" y="0"/>
                    </a:lnTo>
                    <a:lnTo>
                      <a:pt x="154" y="2"/>
                    </a:lnTo>
                    <a:lnTo>
                      <a:pt x="154" y="2"/>
                    </a:lnTo>
                    <a:lnTo>
                      <a:pt x="138" y="6"/>
                    </a:lnTo>
                    <a:lnTo>
                      <a:pt x="120" y="8"/>
                    </a:lnTo>
                    <a:lnTo>
                      <a:pt x="82" y="12"/>
                    </a:lnTo>
                    <a:lnTo>
                      <a:pt x="54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4" y="24"/>
                    </a:lnTo>
                    <a:lnTo>
                      <a:pt x="56" y="28"/>
                    </a:lnTo>
                    <a:lnTo>
                      <a:pt x="58" y="36"/>
                    </a:lnTo>
                    <a:lnTo>
                      <a:pt x="60" y="42"/>
                    </a:lnTo>
                    <a:lnTo>
                      <a:pt x="64" y="46"/>
                    </a:lnTo>
                    <a:lnTo>
                      <a:pt x="68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4" y="56"/>
                    </a:lnTo>
                    <a:lnTo>
                      <a:pt x="86" y="58"/>
                    </a:lnTo>
                    <a:lnTo>
                      <a:pt x="86" y="60"/>
                    </a:lnTo>
                    <a:lnTo>
                      <a:pt x="84" y="64"/>
                    </a:lnTo>
                    <a:lnTo>
                      <a:pt x="76" y="68"/>
                    </a:lnTo>
                    <a:lnTo>
                      <a:pt x="74" y="72"/>
                    </a:lnTo>
                    <a:lnTo>
                      <a:pt x="72" y="76"/>
                    </a:lnTo>
                    <a:lnTo>
                      <a:pt x="72" y="76"/>
                    </a:lnTo>
                    <a:lnTo>
                      <a:pt x="72" y="80"/>
                    </a:lnTo>
                    <a:lnTo>
                      <a:pt x="70" y="82"/>
                    </a:lnTo>
                    <a:lnTo>
                      <a:pt x="64" y="82"/>
                    </a:lnTo>
                    <a:lnTo>
                      <a:pt x="58" y="84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54" y="98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12"/>
                    </a:lnTo>
                    <a:lnTo>
                      <a:pt x="46" y="114"/>
                    </a:lnTo>
                    <a:lnTo>
                      <a:pt x="46" y="114"/>
                    </a:lnTo>
                    <a:lnTo>
                      <a:pt x="54" y="118"/>
                    </a:lnTo>
                    <a:lnTo>
                      <a:pt x="56" y="122"/>
                    </a:lnTo>
                    <a:lnTo>
                      <a:pt x="56" y="124"/>
                    </a:lnTo>
                    <a:lnTo>
                      <a:pt x="54" y="124"/>
                    </a:lnTo>
                    <a:lnTo>
                      <a:pt x="44" y="126"/>
                    </a:lnTo>
                    <a:lnTo>
                      <a:pt x="44" y="126"/>
                    </a:lnTo>
                    <a:lnTo>
                      <a:pt x="34" y="128"/>
                    </a:lnTo>
                    <a:lnTo>
                      <a:pt x="30" y="130"/>
                    </a:lnTo>
                    <a:lnTo>
                      <a:pt x="30" y="134"/>
                    </a:lnTo>
                    <a:lnTo>
                      <a:pt x="34" y="140"/>
                    </a:lnTo>
                    <a:lnTo>
                      <a:pt x="34" y="140"/>
                    </a:lnTo>
                    <a:lnTo>
                      <a:pt x="34" y="144"/>
                    </a:lnTo>
                    <a:lnTo>
                      <a:pt x="32" y="150"/>
                    </a:lnTo>
                    <a:lnTo>
                      <a:pt x="22" y="160"/>
                    </a:lnTo>
                    <a:lnTo>
                      <a:pt x="10" y="172"/>
                    </a:lnTo>
                    <a:lnTo>
                      <a:pt x="6" y="178"/>
                    </a:lnTo>
                    <a:lnTo>
                      <a:pt x="4" y="182"/>
                    </a:lnTo>
                    <a:lnTo>
                      <a:pt x="4" y="182"/>
                    </a:lnTo>
                    <a:lnTo>
                      <a:pt x="2" y="188"/>
                    </a:lnTo>
                    <a:lnTo>
                      <a:pt x="0" y="192"/>
                    </a:lnTo>
                    <a:lnTo>
                      <a:pt x="0" y="194"/>
                    </a:lnTo>
                    <a:lnTo>
                      <a:pt x="2" y="196"/>
                    </a:lnTo>
                    <a:lnTo>
                      <a:pt x="2" y="19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6" name="Freeform 6018">
                <a:extLst>
                  <a:ext uri="{FF2B5EF4-FFF2-40B4-BE49-F238E27FC236}">
                    <a16:creationId xmlns:a16="http://schemas.microsoft.com/office/drawing/2014/main" id="{56EFAADF-ED32-4AA0-BB48-0DD304755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8570" y="1024573"/>
                <a:ext cx="190500" cy="87630"/>
              </a:xfrm>
              <a:custGeom>
                <a:avLst/>
                <a:gdLst/>
                <a:ahLst/>
                <a:cxnLst>
                  <a:cxn ang="0">
                    <a:pos x="12" y="124"/>
                  </a:cxn>
                  <a:cxn ang="0">
                    <a:pos x="16" y="130"/>
                  </a:cxn>
                  <a:cxn ang="0">
                    <a:pos x="36" y="120"/>
                  </a:cxn>
                  <a:cxn ang="0">
                    <a:pos x="50" y="118"/>
                  </a:cxn>
                  <a:cxn ang="0">
                    <a:pos x="66" y="124"/>
                  </a:cxn>
                  <a:cxn ang="0">
                    <a:pos x="76" y="124"/>
                  </a:cxn>
                  <a:cxn ang="0">
                    <a:pos x="88" y="114"/>
                  </a:cxn>
                  <a:cxn ang="0">
                    <a:pos x="94" y="122"/>
                  </a:cxn>
                  <a:cxn ang="0">
                    <a:pos x="112" y="138"/>
                  </a:cxn>
                  <a:cxn ang="0">
                    <a:pos x="132" y="132"/>
                  </a:cxn>
                  <a:cxn ang="0">
                    <a:pos x="138" y="114"/>
                  </a:cxn>
                  <a:cxn ang="0">
                    <a:pos x="146" y="110"/>
                  </a:cxn>
                  <a:cxn ang="0">
                    <a:pos x="156" y="114"/>
                  </a:cxn>
                  <a:cxn ang="0">
                    <a:pos x="174" y="94"/>
                  </a:cxn>
                  <a:cxn ang="0">
                    <a:pos x="182" y="76"/>
                  </a:cxn>
                  <a:cxn ang="0">
                    <a:pos x="186" y="66"/>
                  </a:cxn>
                  <a:cxn ang="0">
                    <a:pos x="206" y="56"/>
                  </a:cxn>
                  <a:cxn ang="0">
                    <a:pos x="208" y="64"/>
                  </a:cxn>
                  <a:cxn ang="0">
                    <a:pos x="206" y="88"/>
                  </a:cxn>
                  <a:cxn ang="0">
                    <a:pos x="214" y="96"/>
                  </a:cxn>
                  <a:cxn ang="0">
                    <a:pos x="236" y="100"/>
                  </a:cxn>
                  <a:cxn ang="0">
                    <a:pos x="244" y="92"/>
                  </a:cxn>
                  <a:cxn ang="0">
                    <a:pos x="246" y="80"/>
                  </a:cxn>
                  <a:cxn ang="0">
                    <a:pos x="274" y="74"/>
                  </a:cxn>
                  <a:cxn ang="0">
                    <a:pos x="294" y="60"/>
                  </a:cxn>
                  <a:cxn ang="0">
                    <a:pos x="280" y="42"/>
                  </a:cxn>
                  <a:cxn ang="0">
                    <a:pos x="272" y="36"/>
                  </a:cxn>
                  <a:cxn ang="0">
                    <a:pos x="278" y="28"/>
                  </a:cxn>
                  <a:cxn ang="0">
                    <a:pos x="300" y="18"/>
                  </a:cxn>
                  <a:cxn ang="0">
                    <a:pos x="288" y="8"/>
                  </a:cxn>
                  <a:cxn ang="0">
                    <a:pos x="258" y="0"/>
                  </a:cxn>
                  <a:cxn ang="0">
                    <a:pos x="244" y="4"/>
                  </a:cxn>
                  <a:cxn ang="0">
                    <a:pos x="234" y="16"/>
                  </a:cxn>
                  <a:cxn ang="0">
                    <a:pos x="202" y="12"/>
                  </a:cxn>
                  <a:cxn ang="0">
                    <a:pos x="160" y="18"/>
                  </a:cxn>
                  <a:cxn ang="0">
                    <a:pos x="128" y="38"/>
                  </a:cxn>
                  <a:cxn ang="0">
                    <a:pos x="102" y="58"/>
                  </a:cxn>
                  <a:cxn ang="0">
                    <a:pos x="82" y="66"/>
                  </a:cxn>
                  <a:cxn ang="0">
                    <a:pos x="66" y="78"/>
                  </a:cxn>
                  <a:cxn ang="0">
                    <a:pos x="44" y="90"/>
                  </a:cxn>
                  <a:cxn ang="0">
                    <a:pos x="28" y="86"/>
                  </a:cxn>
                  <a:cxn ang="0">
                    <a:pos x="12" y="96"/>
                  </a:cxn>
                  <a:cxn ang="0">
                    <a:pos x="2" y="112"/>
                  </a:cxn>
                  <a:cxn ang="0">
                    <a:pos x="14" y="116"/>
                  </a:cxn>
                </a:cxnLst>
                <a:rect l="0" t="0" r="r" b="b"/>
                <a:pathLst>
                  <a:path w="300" h="138">
                    <a:moveTo>
                      <a:pt x="14" y="120"/>
                    </a:moveTo>
                    <a:lnTo>
                      <a:pt x="14" y="120"/>
                    </a:lnTo>
                    <a:lnTo>
                      <a:pt x="12" y="124"/>
                    </a:lnTo>
                    <a:lnTo>
                      <a:pt x="12" y="126"/>
                    </a:lnTo>
                    <a:lnTo>
                      <a:pt x="14" y="128"/>
                    </a:lnTo>
                    <a:lnTo>
                      <a:pt x="16" y="130"/>
                    </a:lnTo>
                    <a:lnTo>
                      <a:pt x="24" y="128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42" y="118"/>
                    </a:lnTo>
                    <a:lnTo>
                      <a:pt x="46" y="116"/>
                    </a:lnTo>
                    <a:lnTo>
                      <a:pt x="50" y="118"/>
                    </a:lnTo>
                    <a:lnTo>
                      <a:pt x="52" y="118"/>
                    </a:lnTo>
                    <a:lnTo>
                      <a:pt x="60" y="124"/>
                    </a:lnTo>
                    <a:lnTo>
                      <a:pt x="66" y="124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6" y="124"/>
                    </a:lnTo>
                    <a:lnTo>
                      <a:pt x="82" y="122"/>
                    </a:lnTo>
                    <a:lnTo>
                      <a:pt x="86" y="116"/>
                    </a:lnTo>
                    <a:lnTo>
                      <a:pt x="88" y="114"/>
                    </a:lnTo>
                    <a:lnTo>
                      <a:pt x="90" y="114"/>
                    </a:lnTo>
                    <a:lnTo>
                      <a:pt x="94" y="122"/>
                    </a:lnTo>
                    <a:lnTo>
                      <a:pt x="94" y="122"/>
                    </a:lnTo>
                    <a:lnTo>
                      <a:pt x="98" y="130"/>
                    </a:lnTo>
                    <a:lnTo>
                      <a:pt x="104" y="134"/>
                    </a:lnTo>
                    <a:lnTo>
                      <a:pt x="112" y="138"/>
                    </a:lnTo>
                    <a:lnTo>
                      <a:pt x="118" y="138"/>
                    </a:lnTo>
                    <a:lnTo>
                      <a:pt x="126" y="136"/>
                    </a:lnTo>
                    <a:lnTo>
                      <a:pt x="132" y="132"/>
                    </a:lnTo>
                    <a:lnTo>
                      <a:pt x="136" y="124"/>
                    </a:lnTo>
                    <a:lnTo>
                      <a:pt x="138" y="114"/>
                    </a:lnTo>
                    <a:lnTo>
                      <a:pt x="138" y="114"/>
                    </a:lnTo>
                    <a:lnTo>
                      <a:pt x="138" y="106"/>
                    </a:lnTo>
                    <a:lnTo>
                      <a:pt x="140" y="104"/>
                    </a:lnTo>
                    <a:lnTo>
                      <a:pt x="146" y="110"/>
                    </a:lnTo>
                    <a:lnTo>
                      <a:pt x="150" y="114"/>
                    </a:lnTo>
                    <a:lnTo>
                      <a:pt x="154" y="114"/>
                    </a:lnTo>
                    <a:lnTo>
                      <a:pt x="156" y="114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74" y="94"/>
                    </a:lnTo>
                    <a:lnTo>
                      <a:pt x="174" y="94"/>
                    </a:lnTo>
                    <a:lnTo>
                      <a:pt x="180" y="82"/>
                    </a:lnTo>
                    <a:lnTo>
                      <a:pt x="182" y="76"/>
                    </a:lnTo>
                    <a:lnTo>
                      <a:pt x="182" y="68"/>
                    </a:lnTo>
                    <a:lnTo>
                      <a:pt x="184" y="66"/>
                    </a:lnTo>
                    <a:lnTo>
                      <a:pt x="186" y="66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206" y="56"/>
                    </a:lnTo>
                    <a:lnTo>
                      <a:pt x="208" y="58"/>
                    </a:lnTo>
                    <a:lnTo>
                      <a:pt x="210" y="58"/>
                    </a:lnTo>
                    <a:lnTo>
                      <a:pt x="208" y="64"/>
                    </a:lnTo>
                    <a:lnTo>
                      <a:pt x="206" y="72"/>
                    </a:lnTo>
                    <a:lnTo>
                      <a:pt x="204" y="80"/>
                    </a:lnTo>
                    <a:lnTo>
                      <a:pt x="206" y="88"/>
                    </a:lnTo>
                    <a:lnTo>
                      <a:pt x="208" y="92"/>
                    </a:lnTo>
                    <a:lnTo>
                      <a:pt x="210" y="94"/>
                    </a:lnTo>
                    <a:lnTo>
                      <a:pt x="214" y="96"/>
                    </a:lnTo>
                    <a:lnTo>
                      <a:pt x="222" y="98"/>
                    </a:lnTo>
                    <a:lnTo>
                      <a:pt x="222" y="98"/>
                    </a:lnTo>
                    <a:lnTo>
                      <a:pt x="236" y="100"/>
                    </a:lnTo>
                    <a:lnTo>
                      <a:pt x="242" y="98"/>
                    </a:lnTo>
                    <a:lnTo>
                      <a:pt x="246" y="96"/>
                    </a:lnTo>
                    <a:lnTo>
                      <a:pt x="244" y="92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6" y="80"/>
                    </a:lnTo>
                    <a:lnTo>
                      <a:pt x="254" y="78"/>
                    </a:lnTo>
                    <a:lnTo>
                      <a:pt x="254" y="78"/>
                    </a:lnTo>
                    <a:lnTo>
                      <a:pt x="274" y="74"/>
                    </a:lnTo>
                    <a:lnTo>
                      <a:pt x="284" y="70"/>
                    </a:lnTo>
                    <a:lnTo>
                      <a:pt x="290" y="66"/>
                    </a:lnTo>
                    <a:lnTo>
                      <a:pt x="294" y="60"/>
                    </a:lnTo>
                    <a:lnTo>
                      <a:pt x="294" y="54"/>
                    </a:lnTo>
                    <a:lnTo>
                      <a:pt x="290" y="48"/>
                    </a:lnTo>
                    <a:lnTo>
                      <a:pt x="280" y="42"/>
                    </a:lnTo>
                    <a:lnTo>
                      <a:pt x="280" y="42"/>
                    </a:lnTo>
                    <a:lnTo>
                      <a:pt x="274" y="38"/>
                    </a:lnTo>
                    <a:lnTo>
                      <a:pt x="272" y="36"/>
                    </a:lnTo>
                    <a:lnTo>
                      <a:pt x="272" y="34"/>
                    </a:lnTo>
                    <a:lnTo>
                      <a:pt x="272" y="32"/>
                    </a:lnTo>
                    <a:lnTo>
                      <a:pt x="278" y="28"/>
                    </a:lnTo>
                    <a:lnTo>
                      <a:pt x="288" y="24"/>
                    </a:lnTo>
                    <a:lnTo>
                      <a:pt x="296" y="22"/>
                    </a:lnTo>
                    <a:lnTo>
                      <a:pt x="300" y="18"/>
                    </a:lnTo>
                    <a:lnTo>
                      <a:pt x="300" y="16"/>
                    </a:lnTo>
                    <a:lnTo>
                      <a:pt x="298" y="14"/>
                    </a:lnTo>
                    <a:lnTo>
                      <a:pt x="288" y="8"/>
                    </a:lnTo>
                    <a:lnTo>
                      <a:pt x="288" y="8"/>
                    </a:lnTo>
                    <a:lnTo>
                      <a:pt x="266" y="0"/>
                    </a:lnTo>
                    <a:lnTo>
                      <a:pt x="258" y="0"/>
                    </a:lnTo>
                    <a:lnTo>
                      <a:pt x="254" y="0"/>
                    </a:lnTo>
                    <a:lnTo>
                      <a:pt x="248" y="2"/>
                    </a:lnTo>
                    <a:lnTo>
                      <a:pt x="244" y="4"/>
                    </a:lnTo>
                    <a:lnTo>
                      <a:pt x="238" y="14"/>
                    </a:lnTo>
                    <a:lnTo>
                      <a:pt x="238" y="14"/>
                    </a:lnTo>
                    <a:lnTo>
                      <a:pt x="234" y="16"/>
                    </a:lnTo>
                    <a:lnTo>
                      <a:pt x="232" y="16"/>
                    </a:lnTo>
                    <a:lnTo>
                      <a:pt x="224" y="16"/>
                    </a:lnTo>
                    <a:lnTo>
                      <a:pt x="202" y="12"/>
                    </a:lnTo>
                    <a:lnTo>
                      <a:pt x="186" y="12"/>
                    </a:lnTo>
                    <a:lnTo>
                      <a:pt x="170" y="14"/>
                    </a:lnTo>
                    <a:lnTo>
                      <a:pt x="160" y="18"/>
                    </a:lnTo>
                    <a:lnTo>
                      <a:pt x="150" y="22"/>
                    </a:lnTo>
                    <a:lnTo>
                      <a:pt x="140" y="28"/>
                    </a:lnTo>
                    <a:lnTo>
                      <a:pt x="128" y="38"/>
                    </a:lnTo>
                    <a:lnTo>
                      <a:pt x="128" y="38"/>
                    </a:lnTo>
                    <a:lnTo>
                      <a:pt x="112" y="50"/>
                    </a:lnTo>
                    <a:lnTo>
                      <a:pt x="102" y="58"/>
                    </a:lnTo>
                    <a:lnTo>
                      <a:pt x="94" y="62"/>
                    </a:lnTo>
                    <a:lnTo>
                      <a:pt x="90" y="62"/>
                    </a:lnTo>
                    <a:lnTo>
                      <a:pt x="82" y="66"/>
                    </a:lnTo>
                    <a:lnTo>
                      <a:pt x="76" y="70"/>
                    </a:lnTo>
                    <a:lnTo>
                      <a:pt x="66" y="78"/>
                    </a:lnTo>
                    <a:lnTo>
                      <a:pt x="66" y="78"/>
                    </a:lnTo>
                    <a:lnTo>
                      <a:pt x="58" y="86"/>
                    </a:lnTo>
                    <a:lnTo>
                      <a:pt x="50" y="88"/>
                    </a:lnTo>
                    <a:lnTo>
                      <a:pt x="44" y="90"/>
                    </a:lnTo>
                    <a:lnTo>
                      <a:pt x="38" y="88"/>
                    </a:lnTo>
                    <a:lnTo>
                      <a:pt x="34" y="86"/>
                    </a:lnTo>
                    <a:lnTo>
                      <a:pt x="28" y="86"/>
                    </a:lnTo>
                    <a:lnTo>
                      <a:pt x="20" y="90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4" y="104"/>
                    </a:lnTo>
                    <a:lnTo>
                      <a:pt x="0" y="108"/>
                    </a:lnTo>
                    <a:lnTo>
                      <a:pt x="2" y="112"/>
                    </a:lnTo>
                    <a:lnTo>
                      <a:pt x="4" y="112"/>
                    </a:lnTo>
                    <a:lnTo>
                      <a:pt x="12" y="114"/>
                    </a:lnTo>
                    <a:lnTo>
                      <a:pt x="14" y="116"/>
                    </a:lnTo>
                    <a:lnTo>
                      <a:pt x="14" y="120"/>
                    </a:lnTo>
                    <a:lnTo>
                      <a:pt x="14" y="1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" name="Freeform 6019">
                <a:extLst>
                  <a:ext uri="{FF2B5EF4-FFF2-40B4-BE49-F238E27FC236}">
                    <a16:creationId xmlns:a16="http://schemas.microsoft.com/office/drawing/2014/main" id="{734119CC-5285-455D-B00B-09C290707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8120" y="1056323"/>
                <a:ext cx="35560" cy="10160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18" y="16"/>
                  </a:cxn>
                  <a:cxn ang="0">
                    <a:pos x="38" y="16"/>
                  </a:cxn>
                  <a:cxn ang="0">
                    <a:pos x="46" y="14"/>
                  </a:cxn>
                  <a:cxn ang="0">
                    <a:pos x="54" y="12"/>
                  </a:cxn>
                  <a:cxn ang="0">
                    <a:pos x="54" y="12"/>
                  </a:cxn>
                  <a:cxn ang="0">
                    <a:pos x="56" y="10"/>
                  </a:cxn>
                  <a:cxn ang="0">
                    <a:pos x="56" y="8"/>
                  </a:cxn>
                  <a:cxn ang="0">
                    <a:pos x="54" y="6"/>
                  </a:cxn>
                  <a:cxn ang="0">
                    <a:pos x="46" y="2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</a:cxnLst>
                <a:rect l="0" t="0" r="r" b="b"/>
                <a:pathLst>
                  <a:path w="56" h="16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18" y="16"/>
                    </a:lnTo>
                    <a:lnTo>
                      <a:pt x="38" y="16"/>
                    </a:lnTo>
                    <a:lnTo>
                      <a:pt x="46" y="14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6" y="10"/>
                    </a:lnTo>
                    <a:lnTo>
                      <a:pt x="56" y="8"/>
                    </a:lnTo>
                    <a:lnTo>
                      <a:pt x="54" y="6"/>
                    </a:lnTo>
                    <a:lnTo>
                      <a:pt x="46" y="2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2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" name="Freeform 6020">
                <a:extLst>
                  <a:ext uri="{FF2B5EF4-FFF2-40B4-BE49-F238E27FC236}">
                    <a16:creationId xmlns:a16="http://schemas.microsoft.com/office/drawing/2014/main" id="{700CEBC1-1DE2-471B-89DF-06F7493880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310" y="996633"/>
                <a:ext cx="34290" cy="19050"/>
              </a:xfrm>
              <a:custGeom>
                <a:avLst/>
                <a:gdLst/>
                <a:ahLst/>
                <a:cxnLst>
                  <a:cxn ang="0">
                    <a:pos x="42" y="30"/>
                  </a:cxn>
                  <a:cxn ang="0">
                    <a:pos x="42" y="30"/>
                  </a:cxn>
                  <a:cxn ang="0">
                    <a:pos x="52" y="28"/>
                  </a:cxn>
                  <a:cxn ang="0">
                    <a:pos x="54" y="26"/>
                  </a:cxn>
                  <a:cxn ang="0">
                    <a:pos x="54" y="24"/>
                  </a:cxn>
                  <a:cxn ang="0">
                    <a:pos x="50" y="18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4"/>
                  </a:cxn>
                  <a:cxn ang="0">
                    <a:pos x="26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8" y="22"/>
                  </a:cxn>
                  <a:cxn ang="0">
                    <a:pos x="24" y="28"/>
                  </a:cxn>
                  <a:cxn ang="0">
                    <a:pos x="32" y="28"/>
                  </a:cxn>
                  <a:cxn ang="0">
                    <a:pos x="42" y="30"/>
                  </a:cxn>
                  <a:cxn ang="0">
                    <a:pos x="42" y="30"/>
                  </a:cxn>
                </a:cxnLst>
                <a:rect l="0" t="0" r="r" b="b"/>
                <a:pathLst>
                  <a:path w="54" h="30">
                    <a:moveTo>
                      <a:pt x="42" y="30"/>
                    </a:moveTo>
                    <a:lnTo>
                      <a:pt x="42" y="30"/>
                    </a:lnTo>
                    <a:lnTo>
                      <a:pt x="52" y="28"/>
                    </a:lnTo>
                    <a:lnTo>
                      <a:pt x="54" y="26"/>
                    </a:lnTo>
                    <a:lnTo>
                      <a:pt x="54" y="24"/>
                    </a:lnTo>
                    <a:lnTo>
                      <a:pt x="50" y="1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4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8" y="22"/>
                    </a:lnTo>
                    <a:lnTo>
                      <a:pt x="24" y="28"/>
                    </a:lnTo>
                    <a:lnTo>
                      <a:pt x="32" y="28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9" name="Freeform 6021">
                <a:extLst>
                  <a:ext uri="{FF2B5EF4-FFF2-40B4-BE49-F238E27FC236}">
                    <a16:creationId xmlns:a16="http://schemas.microsoft.com/office/drawing/2014/main" id="{FBA35CF1-15FF-4706-BB28-9FB987A055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4950" y="994093"/>
                <a:ext cx="97790" cy="39370"/>
              </a:xfrm>
              <a:custGeom>
                <a:avLst/>
                <a:gdLst/>
                <a:ahLst/>
                <a:cxnLst>
                  <a:cxn ang="0">
                    <a:pos x="106" y="56"/>
                  </a:cxn>
                  <a:cxn ang="0">
                    <a:pos x="106" y="56"/>
                  </a:cxn>
                  <a:cxn ang="0">
                    <a:pos x="120" y="52"/>
                  </a:cxn>
                  <a:cxn ang="0">
                    <a:pos x="130" y="48"/>
                  </a:cxn>
                  <a:cxn ang="0">
                    <a:pos x="136" y="44"/>
                  </a:cxn>
                  <a:cxn ang="0">
                    <a:pos x="138" y="40"/>
                  </a:cxn>
                  <a:cxn ang="0">
                    <a:pos x="138" y="34"/>
                  </a:cxn>
                  <a:cxn ang="0">
                    <a:pos x="132" y="30"/>
                  </a:cxn>
                  <a:cxn ang="0">
                    <a:pos x="124" y="28"/>
                  </a:cxn>
                  <a:cxn ang="0">
                    <a:pos x="114" y="26"/>
                  </a:cxn>
                  <a:cxn ang="0">
                    <a:pos x="114" y="26"/>
                  </a:cxn>
                  <a:cxn ang="0">
                    <a:pos x="104" y="24"/>
                  </a:cxn>
                  <a:cxn ang="0">
                    <a:pos x="104" y="24"/>
                  </a:cxn>
                  <a:cxn ang="0">
                    <a:pos x="118" y="22"/>
                  </a:cxn>
                  <a:cxn ang="0">
                    <a:pos x="138" y="16"/>
                  </a:cxn>
                  <a:cxn ang="0">
                    <a:pos x="148" y="12"/>
                  </a:cxn>
                  <a:cxn ang="0">
                    <a:pos x="152" y="8"/>
                  </a:cxn>
                  <a:cxn ang="0">
                    <a:pos x="152" y="8"/>
                  </a:cxn>
                  <a:cxn ang="0">
                    <a:pos x="154" y="4"/>
                  </a:cxn>
                  <a:cxn ang="0">
                    <a:pos x="152" y="2"/>
                  </a:cxn>
                  <a:cxn ang="0">
                    <a:pos x="148" y="0"/>
                  </a:cxn>
                  <a:cxn ang="0">
                    <a:pos x="138" y="0"/>
                  </a:cxn>
                  <a:cxn ang="0">
                    <a:pos x="124" y="0"/>
                  </a:cxn>
                  <a:cxn ang="0">
                    <a:pos x="90" y="4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18" y="14"/>
                  </a:cxn>
                  <a:cxn ang="0">
                    <a:pos x="8" y="18"/>
                  </a:cxn>
                  <a:cxn ang="0">
                    <a:pos x="4" y="22"/>
                  </a:cxn>
                  <a:cxn ang="0">
                    <a:pos x="0" y="26"/>
                  </a:cxn>
                  <a:cxn ang="0">
                    <a:pos x="0" y="30"/>
                  </a:cxn>
                  <a:cxn ang="0">
                    <a:pos x="8" y="46"/>
                  </a:cxn>
                  <a:cxn ang="0">
                    <a:pos x="8" y="46"/>
                  </a:cxn>
                  <a:cxn ang="0">
                    <a:pos x="14" y="52"/>
                  </a:cxn>
                  <a:cxn ang="0">
                    <a:pos x="22" y="58"/>
                  </a:cxn>
                  <a:cxn ang="0">
                    <a:pos x="32" y="60"/>
                  </a:cxn>
                  <a:cxn ang="0">
                    <a:pos x="46" y="62"/>
                  </a:cxn>
                  <a:cxn ang="0">
                    <a:pos x="74" y="60"/>
                  </a:cxn>
                  <a:cxn ang="0">
                    <a:pos x="106" y="56"/>
                  </a:cxn>
                  <a:cxn ang="0">
                    <a:pos x="106" y="56"/>
                  </a:cxn>
                </a:cxnLst>
                <a:rect l="0" t="0" r="r" b="b"/>
                <a:pathLst>
                  <a:path w="154" h="62">
                    <a:moveTo>
                      <a:pt x="106" y="56"/>
                    </a:moveTo>
                    <a:lnTo>
                      <a:pt x="106" y="56"/>
                    </a:lnTo>
                    <a:lnTo>
                      <a:pt x="120" y="52"/>
                    </a:lnTo>
                    <a:lnTo>
                      <a:pt x="130" y="48"/>
                    </a:lnTo>
                    <a:lnTo>
                      <a:pt x="136" y="44"/>
                    </a:lnTo>
                    <a:lnTo>
                      <a:pt x="138" y="40"/>
                    </a:lnTo>
                    <a:lnTo>
                      <a:pt x="138" y="34"/>
                    </a:lnTo>
                    <a:lnTo>
                      <a:pt x="132" y="30"/>
                    </a:lnTo>
                    <a:lnTo>
                      <a:pt x="124" y="28"/>
                    </a:lnTo>
                    <a:lnTo>
                      <a:pt x="114" y="26"/>
                    </a:lnTo>
                    <a:lnTo>
                      <a:pt x="114" y="26"/>
                    </a:lnTo>
                    <a:lnTo>
                      <a:pt x="104" y="24"/>
                    </a:lnTo>
                    <a:lnTo>
                      <a:pt x="104" y="24"/>
                    </a:lnTo>
                    <a:lnTo>
                      <a:pt x="118" y="22"/>
                    </a:lnTo>
                    <a:lnTo>
                      <a:pt x="138" y="16"/>
                    </a:lnTo>
                    <a:lnTo>
                      <a:pt x="148" y="12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54" y="4"/>
                    </a:lnTo>
                    <a:lnTo>
                      <a:pt x="152" y="2"/>
                    </a:lnTo>
                    <a:lnTo>
                      <a:pt x="148" y="0"/>
                    </a:lnTo>
                    <a:lnTo>
                      <a:pt x="138" y="0"/>
                    </a:lnTo>
                    <a:lnTo>
                      <a:pt x="124" y="0"/>
                    </a:lnTo>
                    <a:lnTo>
                      <a:pt x="9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18" y="14"/>
                    </a:lnTo>
                    <a:lnTo>
                      <a:pt x="8" y="18"/>
                    </a:lnTo>
                    <a:lnTo>
                      <a:pt x="4" y="22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4" y="52"/>
                    </a:lnTo>
                    <a:lnTo>
                      <a:pt x="22" y="58"/>
                    </a:lnTo>
                    <a:lnTo>
                      <a:pt x="32" y="60"/>
                    </a:lnTo>
                    <a:lnTo>
                      <a:pt x="46" y="62"/>
                    </a:lnTo>
                    <a:lnTo>
                      <a:pt x="74" y="60"/>
                    </a:lnTo>
                    <a:lnTo>
                      <a:pt x="106" y="56"/>
                    </a:lnTo>
                    <a:lnTo>
                      <a:pt x="106" y="5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0" name="Freeform 6022">
                <a:extLst>
                  <a:ext uri="{FF2B5EF4-FFF2-40B4-BE49-F238E27FC236}">
                    <a16:creationId xmlns:a16="http://schemas.microsoft.com/office/drawing/2014/main" id="{26755C6D-2B06-47F9-91C1-7DAD2A050B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920" y="1067753"/>
                <a:ext cx="143510" cy="87630"/>
              </a:xfrm>
              <a:custGeom>
                <a:avLst/>
                <a:gdLst/>
                <a:ahLst/>
                <a:cxnLst>
                  <a:cxn ang="0">
                    <a:pos x="144" y="12"/>
                  </a:cxn>
                  <a:cxn ang="0">
                    <a:pos x="130" y="4"/>
                  </a:cxn>
                  <a:cxn ang="0">
                    <a:pos x="104" y="4"/>
                  </a:cxn>
                  <a:cxn ang="0">
                    <a:pos x="88" y="8"/>
                  </a:cxn>
                  <a:cxn ang="0">
                    <a:pos x="78" y="14"/>
                  </a:cxn>
                  <a:cxn ang="0">
                    <a:pos x="84" y="22"/>
                  </a:cxn>
                  <a:cxn ang="0">
                    <a:pos x="124" y="62"/>
                  </a:cxn>
                  <a:cxn ang="0">
                    <a:pos x="102" y="50"/>
                  </a:cxn>
                  <a:cxn ang="0">
                    <a:pos x="82" y="34"/>
                  </a:cxn>
                  <a:cxn ang="0">
                    <a:pos x="74" y="24"/>
                  </a:cxn>
                  <a:cxn ang="0">
                    <a:pos x="64" y="20"/>
                  </a:cxn>
                  <a:cxn ang="0">
                    <a:pos x="54" y="18"/>
                  </a:cxn>
                  <a:cxn ang="0">
                    <a:pos x="32" y="20"/>
                  </a:cxn>
                  <a:cxn ang="0">
                    <a:pos x="26" y="26"/>
                  </a:cxn>
                  <a:cxn ang="0">
                    <a:pos x="32" y="36"/>
                  </a:cxn>
                  <a:cxn ang="0">
                    <a:pos x="46" y="52"/>
                  </a:cxn>
                  <a:cxn ang="0">
                    <a:pos x="56" y="64"/>
                  </a:cxn>
                  <a:cxn ang="0">
                    <a:pos x="42" y="60"/>
                  </a:cxn>
                  <a:cxn ang="0">
                    <a:pos x="32" y="62"/>
                  </a:cxn>
                  <a:cxn ang="0">
                    <a:pos x="26" y="66"/>
                  </a:cxn>
                  <a:cxn ang="0">
                    <a:pos x="8" y="74"/>
                  </a:cxn>
                  <a:cxn ang="0">
                    <a:pos x="0" y="78"/>
                  </a:cxn>
                  <a:cxn ang="0">
                    <a:pos x="4" y="86"/>
                  </a:cxn>
                  <a:cxn ang="0">
                    <a:pos x="8" y="88"/>
                  </a:cxn>
                  <a:cxn ang="0">
                    <a:pos x="26" y="90"/>
                  </a:cxn>
                  <a:cxn ang="0">
                    <a:pos x="66" y="86"/>
                  </a:cxn>
                  <a:cxn ang="0">
                    <a:pos x="122" y="76"/>
                  </a:cxn>
                  <a:cxn ang="0">
                    <a:pos x="136" y="76"/>
                  </a:cxn>
                  <a:cxn ang="0">
                    <a:pos x="138" y="80"/>
                  </a:cxn>
                  <a:cxn ang="0">
                    <a:pos x="106" y="90"/>
                  </a:cxn>
                  <a:cxn ang="0">
                    <a:pos x="92" y="98"/>
                  </a:cxn>
                  <a:cxn ang="0">
                    <a:pos x="90" y="104"/>
                  </a:cxn>
                  <a:cxn ang="0">
                    <a:pos x="92" y="106"/>
                  </a:cxn>
                  <a:cxn ang="0">
                    <a:pos x="100" y="120"/>
                  </a:cxn>
                  <a:cxn ang="0">
                    <a:pos x="104" y="136"/>
                  </a:cxn>
                  <a:cxn ang="0">
                    <a:pos x="116" y="136"/>
                  </a:cxn>
                  <a:cxn ang="0">
                    <a:pos x="126" y="134"/>
                  </a:cxn>
                  <a:cxn ang="0">
                    <a:pos x="142" y="128"/>
                  </a:cxn>
                  <a:cxn ang="0">
                    <a:pos x="166" y="132"/>
                  </a:cxn>
                  <a:cxn ang="0">
                    <a:pos x="200" y="128"/>
                  </a:cxn>
                  <a:cxn ang="0">
                    <a:pos x="208" y="122"/>
                  </a:cxn>
                  <a:cxn ang="0">
                    <a:pos x="208" y="112"/>
                  </a:cxn>
                  <a:cxn ang="0">
                    <a:pos x="202" y="100"/>
                  </a:cxn>
                  <a:cxn ang="0">
                    <a:pos x="202" y="88"/>
                  </a:cxn>
                  <a:cxn ang="0">
                    <a:pos x="210" y="88"/>
                  </a:cxn>
                  <a:cxn ang="0">
                    <a:pos x="214" y="92"/>
                  </a:cxn>
                  <a:cxn ang="0">
                    <a:pos x="226" y="98"/>
                  </a:cxn>
                  <a:cxn ang="0">
                    <a:pos x="224" y="90"/>
                  </a:cxn>
                  <a:cxn ang="0">
                    <a:pos x="216" y="76"/>
                  </a:cxn>
                  <a:cxn ang="0">
                    <a:pos x="212" y="60"/>
                  </a:cxn>
                  <a:cxn ang="0">
                    <a:pos x="208" y="30"/>
                  </a:cxn>
                  <a:cxn ang="0">
                    <a:pos x="196" y="10"/>
                  </a:cxn>
                  <a:cxn ang="0">
                    <a:pos x="184" y="4"/>
                  </a:cxn>
                  <a:cxn ang="0">
                    <a:pos x="164" y="0"/>
                  </a:cxn>
                  <a:cxn ang="0">
                    <a:pos x="156" y="6"/>
                  </a:cxn>
                  <a:cxn ang="0">
                    <a:pos x="148" y="14"/>
                  </a:cxn>
                  <a:cxn ang="0">
                    <a:pos x="144" y="12"/>
                  </a:cxn>
                </a:cxnLst>
                <a:rect l="0" t="0" r="r" b="b"/>
                <a:pathLst>
                  <a:path w="226" h="138">
                    <a:moveTo>
                      <a:pt x="144" y="12"/>
                    </a:moveTo>
                    <a:lnTo>
                      <a:pt x="144" y="12"/>
                    </a:lnTo>
                    <a:lnTo>
                      <a:pt x="138" y="6"/>
                    </a:lnTo>
                    <a:lnTo>
                      <a:pt x="130" y="4"/>
                    </a:lnTo>
                    <a:lnTo>
                      <a:pt x="118" y="2"/>
                    </a:lnTo>
                    <a:lnTo>
                      <a:pt x="10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102" y="38"/>
                    </a:lnTo>
                    <a:lnTo>
                      <a:pt x="124" y="62"/>
                    </a:lnTo>
                    <a:lnTo>
                      <a:pt x="124" y="62"/>
                    </a:lnTo>
                    <a:lnTo>
                      <a:pt x="102" y="50"/>
                    </a:lnTo>
                    <a:lnTo>
                      <a:pt x="90" y="42"/>
                    </a:lnTo>
                    <a:lnTo>
                      <a:pt x="82" y="34"/>
                    </a:lnTo>
                    <a:lnTo>
                      <a:pt x="78" y="28"/>
                    </a:lnTo>
                    <a:lnTo>
                      <a:pt x="74" y="24"/>
                    </a:lnTo>
                    <a:lnTo>
                      <a:pt x="70" y="22"/>
                    </a:lnTo>
                    <a:lnTo>
                      <a:pt x="64" y="20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40" y="18"/>
                    </a:lnTo>
                    <a:lnTo>
                      <a:pt x="32" y="20"/>
                    </a:lnTo>
                    <a:lnTo>
                      <a:pt x="28" y="22"/>
                    </a:lnTo>
                    <a:lnTo>
                      <a:pt x="26" y="26"/>
                    </a:lnTo>
                    <a:lnTo>
                      <a:pt x="28" y="30"/>
                    </a:lnTo>
                    <a:lnTo>
                      <a:pt x="32" y="36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2"/>
                    </a:lnTo>
                    <a:lnTo>
                      <a:pt x="42" y="60"/>
                    </a:lnTo>
                    <a:lnTo>
                      <a:pt x="36" y="60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26" y="66"/>
                    </a:lnTo>
                    <a:lnTo>
                      <a:pt x="20" y="70"/>
                    </a:lnTo>
                    <a:lnTo>
                      <a:pt x="8" y="74"/>
                    </a:lnTo>
                    <a:lnTo>
                      <a:pt x="4" y="76"/>
                    </a:lnTo>
                    <a:lnTo>
                      <a:pt x="0" y="78"/>
                    </a:lnTo>
                    <a:lnTo>
                      <a:pt x="0" y="82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8" y="88"/>
                    </a:lnTo>
                    <a:lnTo>
                      <a:pt x="12" y="90"/>
                    </a:lnTo>
                    <a:lnTo>
                      <a:pt x="26" y="90"/>
                    </a:lnTo>
                    <a:lnTo>
                      <a:pt x="44" y="88"/>
                    </a:lnTo>
                    <a:lnTo>
                      <a:pt x="66" y="86"/>
                    </a:lnTo>
                    <a:lnTo>
                      <a:pt x="106" y="78"/>
                    </a:lnTo>
                    <a:lnTo>
                      <a:pt x="122" y="76"/>
                    </a:lnTo>
                    <a:lnTo>
                      <a:pt x="136" y="76"/>
                    </a:lnTo>
                    <a:lnTo>
                      <a:pt x="136" y="76"/>
                    </a:lnTo>
                    <a:lnTo>
                      <a:pt x="140" y="78"/>
                    </a:lnTo>
                    <a:lnTo>
                      <a:pt x="138" y="80"/>
                    </a:lnTo>
                    <a:lnTo>
                      <a:pt x="118" y="86"/>
                    </a:lnTo>
                    <a:lnTo>
                      <a:pt x="106" y="90"/>
                    </a:lnTo>
                    <a:lnTo>
                      <a:pt x="96" y="94"/>
                    </a:lnTo>
                    <a:lnTo>
                      <a:pt x="92" y="98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98" y="114"/>
                    </a:lnTo>
                    <a:lnTo>
                      <a:pt x="100" y="120"/>
                    </a:lnTo>
                    <a:lnTo>
                      <a:pt x="102" y="132"/>
                    </a:lnTo>
                    <a:lnTo>
                      <a:pt x="104" y="136"/>
                    </a:lnTo>
                    <a:lnTo>
                      <a:pt x="108" y="138"/>
                    </a:lnTo>
                    <a:lnTo>
                      <a:pt x="116" y="136"/>
                    </a:lnTo>
                    <a:lnTo>
                      <a:pt x="126" y="134"/>
                    </a:lnTo>
                    <a:lnTo>
                      <a:pt x="126" y="134"/>
                    </a:lnTo>
                    <a:lnTo>
                      <a:pt x="136" y="130"/>
                    </a:lnTo>
                    <a:lnTo>
                      <a:pt x="142" y="128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84" y="132"/>
                    </a:lnTo>
                    <a:lnTo>
                      <a:pt x="200" y="128"/>
                    </a:lnTo>
                    <a:lnTo>
                      <a:pt x="206" y="126"/>
                    </a:lnTo>
                    <a:lnTo>
                      <a:pt x="208" y="122"/>
                    </a:lnTo>
                    <a:lnTo>
                      <a:pt x="210" y="118"/>
                    </a:lnTo>
                    <a:lnTo>
                      <a:pt x="208" y="112"/>
                    </a:lnTo>
                    <a:lnTo>
                      <a:pt x="208" y="112"/>
                    </a:lnTo>
                    <a:lnTo>
                      <a:pt x="202" y="100"/>
                    </a:lnTo>
                    <a:lnTo>
                      <a:pt x="202" y="92"/>
                    </a:lnTo>
                    <a:lnTo>
                      <a:pt x="202" y="88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92"/>
                    </a:lnTo>
                    <a:lnTo>
                      <a:pt x="214" y="92"/>
                    </a:lnTo>
                    <a:lnTo>
                      <a:pt x="224" y="98"/>
                    </a:lnTo>
                    <a:lnTo>
                      <a:pt x="226" y="98"/>
                    </a:lnTo>
                    <a:lnTo>
                      <a:pt x="226" y="98"/>
                    </a:lnTo>
                    <a:lnTo>
                      <a:pt x="224" y="90"/>
                    </a:lnTo>
                    <a:lnTo>
                      <a:pt x="216" y="76"/>
                    </a:lnTo>
                    <a:lnTo>
                      <a:pt x="216" y="76"/>
                    </a:lnTo>
                    <a:lnTo>
                      <a:pt x="214" y="68"/>
                    </a:lnTo>
                    <a:lnTo>
                      <a:pt x="212" y="60"/>
                    </a:lnTo>
                    <a:lnTo>
                      <a:pt x="210" y="40"/>
                    </a:lnTo>
                    <a:lnTo>
                      <a:pt x="208" y="30"/>
                    </a:lnTo>
                    <a:lnTo>
                      <a:pt x="204" y="20"/>
                    </a:lnTo>
                    <a:lnTo>
                      <a:pt x="196" y="10"/>
                    </a:lnTo>
                    <a:lnTo>
                      <a:pt x="184" y="4"/>
                    </a:lnTo>
                    <a:lnTo>
                      <a:pt x="184" y="4"/>
                    </a:lnTo>
                    <a:lnTo>
                      <a:pt x="172" y="0"/>
                    </a:lnTo>
                    <a:lnTo>
                      <a:pt x="164" y="0"/>
                    </a:lnTo>
                    <a:lnTo>
                      <a:pt x="160" y="2"/>
                    </a:lnTo>
                    <a:lnTo>
                      <a:pt x="156" y="6"/>
                    </a:lnTo>
                    <a:lnTo>
                      <a:pt x="152" y="14"/>
                    </a:lnTo>
                    <a:lnTo>
                      <a:pt x="148" y="14"/>
                    </a:lnTo>
                    <a:lnTo>
                      <a:pt x="144" y="12"/>
                    </a:lnTo>
                    <a:lnTo>
                      <a:pt x="144" y="1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1" name="Freeform 6023">
                <a:extLst>
                  <a:ext uri="{FF2B5EF4-FFF2-40B4-BE49-F238E27FC236}">
                    <a16:creationId xmlns:a16="http://schemas.microsoft.com/office/drawing/2014/main" id="{BB524794-0877-4BB0-855E-84F00EBB53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2770" y="887413"/>
                <a:ext cx="36830" cy="25400"/>
              </a:xfrm>
              <a:custGeom>
                <a:avLst/>
                <a:gdLst/>
                <a:ahLst/>
                <a:cxnLst>
                  <a:cxn ang="0">
                    <a:pos x="30" y="32"/>
                  </a:cxn>
                  <a:cxn ang="0">
                    <a:pos x="30" y="32"/>
                  </a:cxn>
                  <a:cxn ang="0">
                    <a:pos x="40" y="38"/>
                  </a:cxn>
                  <a:cxn ang="0">
                    <a:pos x="46" y="40"/>
                  </a:cxn>
                  <a:cxn ang="0">
                    <a:pos x="50" y="40"/>
                  </a:cxn>
                  <a:cxn ang="0">
                    <a:pos x="54" y="38"/>
                  </a:cxn>
                  <a:cxn ang="0">
                    <a:pos x="56" y="34"/>
                  </a:cxn>
                  <a:cxn ang="0">
                    <a:pos x="58" y="28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10" y="24"/>
                  </a:cxn>
                  <a:cxn ang="0">
                    <a:pos x="18" y="26"/>
                  </a:cxn>
                  <a:cxn ang="0">
                    <a:pos x="24" y="28"/>
                  </a:cxn>
                  <a:cxn ang="0">
                    <a:pos x="30" y="32"/>
                  </a:cxn>
                  <a:cxn ang="0">
                    <a:pos x="30" y="32"/>
                  </a:cxn>
                </a:cxnLst>
                <a:rect l="0" t="0" r="r" b="b"/>
                <a:pathLst>
                  <a:path w="58" h="40">
                    <a:moveTo>
                      <a:pt x="30" y="32"/>
                    </a:moveTo>
                    <a:lnTo>
                      <a:pt x="30" y="32"/>
                    </a:lnTo>
                    <a:lnTo>
                      <a:pt x="40" y="38"/>
                    </a:lnTo>
                    <a:lnTo>
                      <a:pt x="46" y="40"/>
                    </a:lnTo>
                    <a:lnTo>
                      <a:pt x="50" y="40"/>
                    </a:lnTo>
                    <a:lnTo>
                      <a:pt x="54" y="38"/>
                    </a:lnTo>
                    <a:lnTo>
                      <a:pt x="56" y="34"/>
                    </a:lnTo>
                    <a:lnTo>
                      <a:pt x="58" y="28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10" y="24"/>
                    </a:lnTo>
                    <a:lnTo>
                      <a:pt x="18" y="26"/>
                    </a:lnTo>
                    <a:lnTo>
                      <a:pt x="24" y="28"/>
                    </a:lnTo>
                    <a:lnTo>
                      <a:pt x="30" y="32"/>
                    </a:lnTo>
                    <a:lnTo>
                      <a:pt x="30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2" name="Freeform 6024">
                <a:extLst>
                  <a:ext uri="{FF2B5EF4-FFF2-40B4-BE49-F238E27FC236}">
                    <a16:creationId xmlns:a16="http://schemas.microsoft.com/office/drawing/2014/main" id="{BA716EE0-209F-4C0F-8603-B51C7A4A09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7490" y="963613"/>
                <a:ext cx="102870" cy="24130"/>
              </a:xfrm>
              <a:custGeom>
                <a:avLst/>
                <a:gdLst/>
                <a:ahLst/>
                <a:cxnLst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4" y="32"/>
                  </a:cxn>
                  <a:cxn ang="0">
                    <a:pos x="60" y="36"/>
                  </a:cxn>
                  <a:cxn ang="0">
                    <a:pos x="60" y="36"/>
                  </a:cxn>
                  <a:cxn ang="0">
                    <a:pos x="72" y="38"/>
                  </a:cxn>
                  <a:cxn ang="0">
                    <a:pos x="76" y="36"/>
                  </a:cxn>
                  <a:cxn ang="0">
                    <a:pos x="84" y="34"/>
                  </a:cxn>
                  <a:cxn ang="0">
                    <a:pos x="108" y="34"/>
                  </a:cxn>
                  <a:cxn ang="0">
                    <a:pos x="108" y="34"/>
                  </a:cxn>
                  <a:cxn ang="0">
                    <a:pos x="124" y="36"/>
                  </a:cxn>
                  <a:cxn ang="0">
                    <a:pos x="138" y="34"/>
                  </a:cxn>
                  <a:cxn ang="0">
                    <a:pos x="150" y="32"/>
                  </a:cxn>
                  <a:cxn ang="0">
                    <a:pos x="158" y="28"/>
                  </a:cxn>
                  <a:cxn ang="0">
                    <a:pos x="162" y="24"/>
                  </a:cxn>
                  <a:cxn ang="0">
                    <a:pos x="162" y="22"/>
                  </a:cxn>
                  <a:cxn ang="0">
                    <a:pos x="160" y="18"/>
                  </a:cxn>
                  <a:cxn ang="0">
                    <a:pos x="152" y="12"/>
                  </a:cxn>
                  <a:cxn ang="0">
                    <a:pos x="138" y="6"/>
                  </a:cxn>
                  <a:cxn ang="0">
                    <a:pos x="138" y="6"/>
                  </a:cxn>
                  <a:cxn ang="0">
                    <a:pos x="122" y="0"/>
                  </a:cxn>
                  <a:cxn ang="0">
                    <a:pos x="108" y="0"/>
                  </a:cxn>
                  <a:cxn ang="0">
                    <a:pos x="96" y="0"/>
                  </a:cxn>
                  <a:cxn ang="0">
                    <a:pos x="86" y="2"/>
                  </a:cxn>
                  <a:cxn ang="0">
                    <a:pos x="64" y="10"/>
                  </a:cxn>
                  <a:cxn ang="0">
                    <a:pos x="52" y="14"/>
                  </a:cxn>
                  <a:cxn ang="0">
                    <a:pos x="36" y="16"/>
                  </a:cxn>
                  <a:cxn ang="0">
                    <a:pos x="36" y="16"/>
                  </a:cxn>
                  <a:cxn ang="0">
                    <a:pos x="22" y="20"/>
                  </a:cxn>
                  <a:cxn ang="0">
                    <a:pos x="10" y="24"/>
                  </a:cxn>
                  <a:cxn ang="0">
                    <a:pos x="4" y="28"/>
                  </a:cxn>
                  <a:cxn ang="0">
                    <a:pos x="0" y="30"/>
                  </a:cxn>
                  <a:cxn ang="0">
                    <a:pos x="0" y="34"/>
                  </a:cxn>
                  <a:cxn ang="0">
                    <a:pos x="4" y="36"/>
                  </a:cxn>
                  <a:cxn ang="0">
                    <a:pos x="10" y="36"/>
                  </a:cxn>
                  <a:cxn ang="0">
                    <a:pos x="20" y="34"/>
                  </a:cxn>
                  <a:cxn ang="0">
                    <a:pos x="20" y="34"/>
                  </a:cxn>
                </a:cxnLst>
                <a:rect l="0" t="0" r="r" b="b"/>
                <a:pathLst>
                  <a:path w="162" h="38">
                    <a:moveTo>
                      <a:pt x="20" y="34"/>
                    </a:moveTo>
                    <a:lnTo>
                      <a:pt x="20" y="34"/>
                    </a:lnTo>
                    <a:lnTo>
                      <a:pt x="26" y="32"/>
                    </a:lnTo>
                    <a:lnTo>
                      <a:pt x="34" y="32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72" y="38"/>
                    </a:lnTo>
                    <a:lnTo>
                      <a:pt x="76" y="36"/>
                    </a:lnTo>
                    <a:lnTo>
                      <a:pt x="84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24" y="36"/>
                    </a:lnTo>
                    <a:lnTo>
                      <a:pt x="138" y="34"/>
                    </a:lnTo>
                    <a:lnTo>
                      <a:pt x="150" y="32"/>
                    </a:lnTo>
                    <a:lnTo>
                      <a:pt x="158" y="28"/>
                    </a:lnTo>
                    <a:lnTo>
                      <a:pt x="162" y="24"/>
                    </a:lnTo>
                    <a:lnTo>
                      <a:pt x="162" y="22"/>
                    </a:lnTo>
                    <a:lnTo>
                      <a:pt x="160" y="18"/>
                    </a:lnTo>
                    <a:lnTo>
                      <a:pt x="152" y="12"/>
                    </a:lnTo>
                    <a:lnTo>
                      <a:pt x="138" y="6"/>
                    </a:lnTo>
                    <a:lnTo>
                      <a:pt x="138" y="6"/>
                    </a:lnTo>
                    <a:lnTo>
                      <a:pt x="122" y="0"/>
                    </a:lnTo>
                    <a:lnTo>
                      <a:pt x="108" y="0"/>
                    </a:lnTo>
                    <a:lnTo>
                      <a:pt x="96" y="0"/>
                    </a:lnTo>
                    <a:lnTo>
                      <a:pt x="86" y="2"/>
                    </a:lnTo>
                    <a:lnTo>
                      <a:pt x="64" y="10"/>
                    </a:lnTo>
                    <a:lnTo>
                      <a:pt x="52" y="14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22" y="20"/>
                    </a:lnTo>
                    <a:lnTo>
                      <a:pt x="10" y="24"/>
                    </a:lnTo>
                    <a:lnTo>
                      <a:pt x="4" y="28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10" y="36"/>
                    </a:lnTo>
                    <a:lnTo>
                      <a:pt x="20" y="34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3" name="Freeform 6025">
                <a:extLst>
                  <a:ext uri="{FF2B5EF4-FFF2-40B4-BE49-F238E27FC236}">
                    <a16:creationId xmlns:a16="http://schemas.microsoft.com/office/drawing/2014/main" id="{5F33CE2D-A760-44F5-9011-C8085D4F6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3070" y="928053"/>
                <a:ext cx="168910" cy="82550"/>
              </a:xfrm>
              <a:custGeom>
                <a:avLst/>
                <a:gdLst/>
                <a:ahLst/>
                <a:cxnLst>
                  <a:cxn ang="0">
                    <a:pos x="30" y="40"/>
                  </a:cxn>
                  <a:cxn ang="0">
                    <a:pos x="32" y="50"/>
                  </a:cxn>
                  <a:cxn ang="0">
                    <a:pos x="40" y="46"/>
                  </a:cxn>
                  <a:cxn ang="0">
                    <a:pos x="52" y="44"/>
                  </a:cxn>
                  <a:cxn ang="0">
                    <a:pos x="66" y="54"/>
                  </a:cxn>
                  <a:cxn ang="0">
                    <a:pos x="72" y="62"/>
                  </a:cxn>
                  <a:cxn ang="0">
                    <a:pos x="68" y="70"/>
                  </a:cxn>
                  <a:cxn ang="0">
                    <a:pos x="44" y="68"/>
                  </a:cxn>
                  <a:cxn ang="0">
                    <a:pos x="26" y="70"/>
                  </a:cxn>
                  <a:cxn ang="0">
                    <a:pos x="24" y="74"/>
                  </a:cxn>
                  <a:cxn ang="0">
                    <a:pos x="24" y="82"/>
                  </a:cxn>
                  <a:cxn ang="0">
                    <a:pos x="36" y="90"/>
                  </a:cxn>
                  <a:cxn ang="0">
                    <a:pos x="60" y="92"/>
                  </a:cxn>
                  <a:cxn ang="0">
                    <a:pos x="78" y="88"/>
                  </a:cxn>
                  <a:cxn ang="0">
                    <a:pos x="108" y="82"/>
                  </a:cxn>
                  <a:cxn ang="0">
                    <a:pos x="114" y="86"/>
                  </a:cxn>
                  <a:cxn ang="0">
                    <a:pos x="120" y="92"/>
                  </a:cxn>
                  <a:cxn ang="0">
                    <a:pos x="146" y="90"/>
                  </a:cxn>
                  <a:cxn ang="0">
                    <a:pos x="156" y="90"/>
                  </a:cxn>
                  <a:cxn ang="0">
                    <a:pos x="170" y="92"/>
                  </a:cxn>
                  <a:cxn ang="0">
                    <a:pos x="182" y="102"/>
                  </a:cxn>
                  <a:cxn ang="0">
                    <a:pos x="194" y="120"/>
                  </a:cxn>
                  <a:cxn ang="0">
                    <a:pos x="204" y="126"/>
                  </a:cxn>
                  <a:cxn ang="0">
                    <a:pos x="220" y="130"/>
                  </a:cxn>
                  <a:cxn ang="0">
                    <a:pos x="244" y="128"/>
                  </a:cxn>
                  <a:cxn ang="0">
                    <a:pos x="254" y="126"/>
                  </a:cxn>
                  <a:cxn ang="0">
                    <a:pos x="266" y="122"/>
                  </a:cxn>
                  <a:cxn ang="0">
                    <a:pos x="266" y="114"/>
                  </a:cxn>
                  <a:cxn ang="0">
                    <a:pos x="258" y="102"/>
                  </a:cxn>
                  <a:cxn ang="0">
                    <a:pos x="234" y="82"/>
                  </a:cxn>
                  <a:cxn ang="0">
                    <a:pos x="238" y="78"/>
                  </a:cxn>
                  <a:cxn ang="0">
                    <a:pos x="242" y="76"/>
                  </a:cxn>
                  <a:cxn ang="0">
                    <a:pos x="248" y="68"/>
                  </a:cxn>
                  <a:cxn ang="0">
                    <a:pos x="242" y="58"/>
                  </a:cxn>
                  <a:cxn ang="0">
                    <a:pos x="224" y="50"/>
                  </a:cxn>
                  <a:cxn ang="0">
                    <a:pos x="210" y="48"/>
                  </a:cxn>
                  <a:cxn ang="0">
                    <a:pos x="186" y="44"/>
                  </a:cxn>
                  <a:cxn ang="0">
                    <a:pos x="184" y="40"/>
                  </a:cxn>
                  <a:cxn ang="0">
                    <a:pos x="176" y="32"/>
                  </a:cxn>
                  <a:cxn ang="0">
                    <a:pos x="164" y="28"/>
                  </a:cxn>
                  <a:cxn ang="0">
                    <a:pos x="140" y="26"/>
                  </a:cxn>
                  <a:cxn ang="0">
                    <a:pos x="130" y="32"/>
                  </a:cxn>
                  <a:cxn ang="0">
                    <a:pos x="124" y="36"/>
                  </a:cxn>
                  <a:cxn ang="0">
                    <a:pos x="118" y="28"/>
                  </a:cxn>
                  <a:cxn ang="0">
                    <a:pos x="114" y="24"/>
                  </a:cxn>
                  <a:cxn ang="0">
                    <a:pos x="96" y="10"/>
                  </a:cxn>
                  <a:cxn ang="0">
                    <a:pos x="58" y="0"/>
                  </a:cxn>
                  <a:cxn ang="0">
                    <a:pos x="22" y="2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8" y="34"/>
                  </a:cxn>
                  <a:cxn ang="0">
                    <a:pos x="20" y="30"/>
                  </a:cxn>
                  <a:cxn ang="0">
                    <a:pos x="28" y="34"/>
                  </a:cxn>
                  <a:cxn ang="0">
                    <a:pos x="30" y="40"/>
                  </a:cxn>
                </a:cxnLst>
                <a:rect l="0" t="0" r="r" b="b"/>
                <a:pathLst>
                  <a:path w="266" h="130">
                    <a:moveTo>
                      <a:pt x="30" y="40"/>
                    </a:moveTo>
                    <a:lnTo>
                      <a:pt x="30" y="40"/>
                    </a:lnTo>
                    <a:lnTo>
                      <a:pt x="30" y="48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0" y="46"/>
                    </a:lnTo>
                    <a:lnTo>
                      <a:pt x="46" y="44"/>
                    </a:lnTo>
                    <a:lnTo>
                      <a:pt x="52" y="44"/>
                    </a:lnTo>
                    <a:lnTo>
                      <a:pt x="58" y="46"/>
                    </a:lnTo>
                    <a:lnTo>
                      <a:pt x="66" y="54"/>
                    </a:lnTo>
                    <a:lnTo>
                      <a:pt x="66" y="54"/>
                    </a:lnTo>
                    <a:lnTo>
                      <a:pt x="72" y="62"/>
                    </a:lnTo>
                    <a:lnTo>
                      <a:pt x="72" y="66"/>
                    </a:lnTo>
                    <a:lnTo>
                      <a:pt x="68" y="70"/>
                    </a:lnTo>
                    <a:lnTo>
                      <a:pt x="60" y="70"/>
                    </a:lnTo>
                    <a:lnTo>
                      <a:pt x="44" y="68"/>
                    </a:lnTo>
                    <a:lnTo>
                      <a:pt x="34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4" y="74"/>
                    </a:lnTo>
                    <a:lnTo>
                      <a:pt x="22" y="78"/>
                    </a:lnTo>
                    <a:lnTo>
                      <a:pt x="24" y="82"/>
                    </a:lnTo>
                    <a:lnTo>
                      <a:pt x="28" y="86"/>
                    </a:lnTo>
                    <a:lnTo>
                      <a:pt x="36" y="90"/>
                    </a:lnTo>
                    <a:lnTo>
                      <a:pt x="46" y="92"/>
                    </a:lnTo>
                    <a:lnTo>
                      <a:pt x="60" y="92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98" y="82"/>
                    </a:lnTo>
                    <a:lnTo>
                      <a:pt x="108" y="82"/>
                    </a:lnTo>
                    <a:lnTo>
                      <a:pt x="112" y="82"/>
                    </a:lnTo>
                    <a:lnTo>
                      <a:pt x="114" y="86"/>
                    </a:lnTo>
                    <a:lnTo>
                      <a:pt x="116" y="88"/>
                    </a:lnTo>
                    <a:lnTo>
                      <a:pt x="120" y="92"/>
                    </a:lnTo>
                    <a:lnTo>
                      <a:pt x="130" y="92"/>
                    </a:lnTo>
                    <a:lnTo>
                      <a:pt x="146" y="90"/>
                    </a:lnTo>
                    <a:lnTo>
                      <a:pt x="146" y="90"/>
                    </a:lnTo>
                    <a:lnTo>
                      <a:pt x="156" y="90"/>
                    </a:lnTo>
                    <a:lnTo>
                      <a:pt x="164" y="90"/>
                    </a:lnTo>
                    <a:lnTo>
                      <a:pt x="170" y="92"/>
                    </a:lnTo>
                    <a:lnTo>
                      <a:pt x="174" y="94"/>
                    </a:lnTo>
                    <a:lnTo>
                      <a:pt x="182" y="102"/>
                    </a:lnTo>
                    <a:lnTo>
                      <a:pt x="186" y="110"/>
                    </a:lnTo>
                    <a:lnTo>
                      <a:pt x="194" y="120"/>
                    </a:lnTo>
                    <a:lnTo>
                      <a:pt x="198" y="124"/>
                    </a:lnTo>
                    <a:lnTo>
                      <a:pt x="204" y="126"/>
                    </a:lnTo>
                    <a:lnTo>
                      <a:pt x="210" y="128"/>
                    </a:lnTo>
                    <a:lnTo>
                      <a:pt x="220" y="130"/>
                    </a:lnTo>
                    <a:lnTo>
                      <a:pt x="230" y="130"/>
                    </a:lnTo>
                    <a:lnTo>
                      <a:pt x="244" y="128"/>
                    </a:lnTo>
                    <a:lnTo>
                      <a:pt x="244" y="128"/>
                    </a:lnTo>
                    <a:lnTo>
                      <a:pt x="254" y="126"/>
                    </a:lnTo>
                    <a:lnTo>
                      <a:pt x="262" y="124"/>
                    </a:lnTo>
                    <a:lnTo>
                      <a:pt x="266" y="122"/>
                    </a:lnTo>
                    <a:lnTo>
                      <a:pt x="266" y="118"/>
                    </a:lnTo>
                    <a:lnTo>
                      <a:pt x="266" y="114"/>
                    </a:lnTo>
                    <a:lnTo>
                      <a:pt x="264" y="110"/>
                    </a:lnTo>
                    <a:lnTo>
                      <a:pt x="258" y="102"/>
                    </a:lnTo>
                    <a:lnTo>
                      <a:pt x="240" y="88"/>
                    </a:lnTo>
                    <a:lnTo>
                      <a:pt x="234" y="82"/>
                    </a:lnTo>
                    <a:lnTo>
                      <a:pt x="234" y="80"/>
                    </a:lnTo>
                    <a:lnTo>
                      <a:pt x="238" y="78"/>
                    </a:lnTo>
                    <a:lnTo>
                      <a:pt x="238" y="78"/>
                    </a:lnTo>
                    <a:lnTo>
                      <a:pt x="242" y="76"/>
                    </a:lnTo>
                    <a:lnTo>
                      <a:pt x="246" y="72"/>
                    </a:lnTo>
                    <a:lnTo>
                      <a:pt x="248" y="68"/>
                    </a:lnTo>
                    <a:lnTo>
                      <a:pt x="246" y="64"/>
                    </a:lnTo>
                    <a:lnTo>
                      <a:pt x="242" y="58"/>
                    </a:lnTo>
                    <a:lnTo>
                      <a:pt x="236" y="54"/>
                    </a:lnTo>
                    <a:lnTo>
                      <a:pt x="224" y="50"/>
                    </a:lnTo>
                    <a:lnTo>
                      <a:pt x="210" y="48"/>
                    </a:lnTo>
                    <a:lnTo>
                      <a:pt x="210" y="48"/>
                    </a:lnTo>
                    <a:lnTo>
                      <a:pt x="190" y="46"/>
                    </a:lnTo>
                    <a:lnTo>
                      <a:pt x="186" y="44"/>
                    </a:lnTo>
                    <a:lnTo>
                      <a:pt x="186" y="42"/>
                    </a:lnTo>
                    <a:lnTo>
                      <a:pt x="184" y="40"/>
                    </a:lnTo>
                    <a:lnTo>
                      <a:pt x="182" y="36"/>
                    </a:lnTo>
                    <a:lnTo>
                      <a:pt x="176" y="32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50" y="26"/>
                    </a:lnTo>
                    <a:lnTo>
                      <a:pt x="140" y="26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4"/>
                    </a:lnTo>
                    <a:lnTo>
                      <a:pt x="124" y="36"/>
                    </a:lnTo>
                    <a:lnTo>
                      <a:pt x="122" y="34"/>
                    </a:lnTo>
                    <a:lnTo>
                      <a:pt x="118" y="28"/>
                    </a:lnTo>
                    <a:lnTo>
                      <a:pt x="118" y="28"/>
                    </a:lnTo>
                    <a:lnTo>
                      <a:pt x="114" y="24"/>
                    </a:lnTo>
                    <a:lnTo>
                      <a:pt x="110" y="18"/>
                    </a:lnTo>
                    <a:lnTo>
                      <a:pt x="96" y="10"/>
                    </a:lnTo>
                    <a:lnTo>
                      <a:pt x="78" y="4"/>
                    </a:lnTo>
                    <a:lnTo>
                      <a:pt x="58" y="0"/>
                    </a:lnTo>
                    <a:lnTo>
                      <a:pt x="40" y="0"/>
                    </a:lnTo>
                    <a:lnTo>
                      <a:pt x="22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2"/>
                    </a:lnTo>
                    <a:lnTo>
                      <a:pt x="8" y="34"/>
                    </a:lnTo>
                    <a:lnTo>
                      <a:pt x="14" y="32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8" y="34"/>
                    </a:lnTo>
                    <a:lnTo>
                      <a:pt x="30" y="40"/>
                    </a:lnTo>
                    <a:lnTo>
                      <a:pt x="30" y="4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4" name="Freeform 6026">
                <a:extLst>
                  <a:ext uri="{FF2B5EF4-FFF2-40B4-BE49-F238E27FC236}">
                    <a16:creationId xmlns:a16="http://schemas.microsoft.com/office/drawing/2014/main" id="{64AC6F8C-7AD9-4332-9890-89CB483C8F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4180" y="1013143"/>
                <a:ext cx="44450" cy="33020"/>
              </a:xfrm>
              <a:custGeom>
                <a:avLst/>
                <a:gdLst/>
                <a:ahLst/>
                <a:cxnLst>
                  <a:cxn ang="0">
                    <a:pos x="56" y="52"/>
                  </a:cxn>
                  <a:cxn ang="0">
                    <a:pos x="56" y="52"/>
                  </a:cxn>
                  <a:cxn ang="0">
                    <a:pos x="66" y="50"/>
                  </a:cxn>
                  <a:cxn ang="0">
                    <a:pos x="68" y="48"/>
                  </a:cxn>
                  <a:cxn ang="0">
                    <a:pos x="70" y="46"/>
                  </a:cxn>
                  <a:cxn ang="0">
                    <a:pos x="70" y="44"/>
                  </a:cxn>
                  <a:cxn ang="0">
                    <a:pos x="68" y="40"/>
                  </a:cxn>
                  <a:cxn ang="0">
                    <a:pos x="56" y="26"/>
                  </a:cxn>
                  <a:cxn ang="0">
                    <a:pos x="56" y="26"/>
                  </a:cxn>
                  <a:cxn ang="0">
                    <a:pos x="46" y="18"/>
                  </a:cxn>
                  <a:cxn ang="0">
                    <a:pos x="36" y="12"/>
                  </a:cxn>
                  <a:cxn ang="0">
                    <a:pos x="26" y="6"/>
                  </a:cxn>
                  <a:cxn ang="0">
                    <a:pos x="16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8" y="22"/>
                  </a:cxn>
                  <a:cxn ang="0">
                    <a:pos x="18" y="36"/>
                  </a:cxn>
                  <a:cxn ang="0">
                    <a:pos x="24" y="44"/>
                  </a:cxn>
                  <a:cxn ang="0">
                    <a:pos x="32" y="48"/>
                  </a:cxn>
                  <a:cxn ang="0">
                    <a:pos x="42" y="52"/>
                  </a:cxn>
                  <a:cxn ang="0">
                    <a:pos x="56" y="52"/>
                  </a:cxn>
                  <a:cxn ang="0">
                    <a:pos x="56" y="52"/>
                  </a:cxn>
                </a:cxnLst>
                <a:rect l="0" t="0" r="r" b="b"/>
                <a:pathLst>
                  <a:path w="70" h="52">
                    <a:moveTo>
                      <a:pt x="56" y="52"/>
                    </a:moveTo>
                    <a:lnTo>
                      <a:pt x="56" y="52"/>
                    </a:lnTo>
                    <a:lnTo>
                      <a:pt x="66" y="50"/>
                    </a:lnTo>
                    <a:lnTo>
                      <a:pt x="68" y="48"/>
                    </a:lnTo>
                    <a:lnTo>
                      <a:pt x="70" y="46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46" y="18"/>
                    </a:lnTo>
                    <a:lnTo>
                      <a:pt x="36" y="12"/>
                    </a:lnTo>
                    <a:lnTo>
                      <a:pt x="26" y="6"/>
                    </a:lnTo>
                    <a:lnTo>
                      <a:pt x="16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8" y="22"/>
                    </a:lnTo>
                    <a:lnTo>
                      <a:pt x="18" y="36"/>
                    </a:lnTo>
                    <a:lnTo>
                      <a:pt x="24" y="44"/>
                    </a:lnTo>
                    <a:lnTo>
                      <a:pt x="32" y="48"/>
                    </a:lnTo>
                    <a:lnTo>
                      <a:pt x="42" y="52"/>
                    </a:lnTo>
                    <a:lnTo>
                      <a:pt x="56" y="52"/>
                    </a:lnTo>
                    <a:lnTo>
                      <a:pt x="56" y="5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5" name="Freeform 6027">
                <a:extLst>
                  <a:ext uri="{FF2B5EF4-FFF2-40B4-BE49-F238E27FC236}">
                    <a16:creationId xmlns:a16="http://schemas.microsoft.com/office/drawing/2014/main" id="{76C437A4-7383-47B9-AC71-136CC4D3EE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410" y="957263"/>
                <a:ext cx="95250" cy="54610"/>
              </a:xfrm>
              <a:custGeom>
                <a:avLst/>
                <a:gdLst/>
                <a:ahLst/>
                <a:cxnLst>
                  <a:cxn ang="0">
                    <a:pos x="14" y="38"/>
                  </a:cxn>
                  <a:cxn ang="0">
                    <a:pos x="22" y="44"/>
                  </a:cxn>
                  <a:cxn ang="0">
                    <a:pos x="44" y="54"/>
                  </a:cxn>
                  <a:cxn ang="0">
                    <a:pos x="50" y="56"/>
                  </a:cxn>
                  <a:cxn ang="0">
                    <a:pos x="52" y="58"/>
                  </a:cxn>
                  <a:cxn ang="0">
                    <a:pos x="42" y="64"/>
                  </a:cxn>
                  <a:cxn ang="0">
                    <a:pos x="32" y="68"/>
                  </a:cxn>
                  <a:cxn ang="0">
                    <a:pos x="40" y="68"/>
                  </a:cxn>
                  <a:cxn ang="0">
                    <a:pos x="50" y="70"/>
                  </a:cxn>
                  <a:cxn ang="0">
                    <a:pos x="56" y="76"/>
                  </a:cxn>
                  <a:cxn ang="0">
                    <a:pos x="60" y="84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98" y="76"/>
                  </a:cxn>
                  <a:cxn ang="0">
                    <a:pos x="132" y="70"/>
                  </a:cxn>
                  <a:cxn ang="0">
                    <a:pos x="142" y="64"/>
                  </a:cxn>
                  <a:cxn ang="0">
                    <a:pos x="140" y="60"/>
                  </a:cxn>
                  <a:cxn ang="0">
                    <a:pos x="140" y="52"/>
                  </a:cxn>
                  <a:cxn ang="0">
                    <a:pos x="150" y="42"/>
                  </a:cxn>
                  <a:cxn ang="0">
                    <a:pos x="148" y="36"/>
                  </a:cxn>
                  <a:cxn ang="0">
                    <a:pos x="140" y="32"/>
                  </a:cxn>
                  <a:cxn ang="0">
                    <a:pos x="122" y="24"/>
                  </a:cxn>
                  <a:cxn ang="0">
                    <a:pos x="100" y="22"/>
                  </a:cxn>
                  <a:cxn ang="0">
                    <a:pos x="82" y="14"/>
                  </a:cxn>
                  <a:cxn ang="0">
                    <a:pos x="68" y="8"/>
                  </a:cxn>
                  <a:cxn ang="0">
                    <a:pos x="42" y="0"/>
                  </a:cxn>
                  <a:cxn ang="0">
                    <a:pos x="18" y="0"/>
                  </a:cxn>
                  <a:cxn ang="0">
                    <a:pos x="8" y="8"/>
                  </a:cxn>
                  <a:cxn ang="0">
                    <a:pos x="8" y="14"/>
                  </a:cxn>
                  <a:cxn ang="0">
                    <a:pos x="10" y="20"/>
                  </a:cxn>
                  <a:cxn ang="0">
                    <a:pos x="6" y="28"/>
                  </a:cxn>
                  <a:cxn ang="0">
                    <a:pos x="0" y="30"/>
                  </a:cxn>
                  <a:cxn ang="0">
                    <a:pos x="14" y="38"/>
                  </a:cxn>
                </a:cxnLst>
                <a:rect l="0" t="0" r="r" b="b"/>
                <a:pathLst>
                  <a:path w="150" h="86">
                    <a:moveTo>
                      <a:pt x="14" y="38"/>
                    </a:moveTo>
                    <a:lnTo>
                      <a:pt x="14" y="38"/>
                    </a:lnTo>
                    <a:lnTo>
                      <a:pt x="20" y="42"/>
                    </a:lnTo>
                    <a:lnTo>
                      <a:pt x="22" y="44"/>
                    </a:lnTo>
                    <a:lnTo>
                      <a:pt x="28" y="4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50" y="56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48" y="62"/>
                    </a:lnTo>
                    <a:lnTo>
                      <a:pt x="42" y="64"/>
                    </a:lnTo>
                    <a:lnTo>
                      <a:pt x="32" y="66"/>
                    </a:lnTo>
                    <a:lnTo>
                      <a:pt x="32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50" y="70"/>
                    </a:lnTo>
                    <a:lnTo>
                      <a:pt x="54" y="74"/>
                    </a:lnTo>
                    <a:lnTo>
                      <a:pt x="56" y="76"/>
                    </a:lnTo>
                    <a:lnTo>
                      <a:pt x="58" y="80"/>
                    </a:lnTo>
                    <a:lnTo>
                      <a:pt x="60" y="84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86" y="78"/>
                    </a:lnTo>
                    <a:lnTo>
                      <a:pt x="98" y="76"/>
                    </a:lnTo>
                    <a:lnTo>
                      <a:pt x="122" y="72"/>
                    </a:lnTo>
                    <a:lnTo>
                      <a:pt x="132" y="70"/>
                    </a:lnTo>
                    <a:lnTo>
                      <a:pt x="138" y="68"/>
                    </a:lnTo>
                    <a:lnTo>
                      <a:pt x="142" y="64"/>
                    </a:lnTo>
                    <a:lnTo>
                      <a:pt x="140" y="60"/>
                    </a:lnTo>
                    <a:lnTo>
                      <a:pt x="140" y="60"/>
                    </a:lnTo>
                    <a:lnTo>
                      <a:pt x="138" y="54"/>
                    </a:lnTo>
                    <a:lnTo>
                      <a:pt x="140" y="52"/>
                    </a:lnTo>
                    <a:lnTo>
                      <a:pt x="146" y="46"/>
                    </a:lnTo>
                    <a:lnTo>
                      <a:pt x="150" y="42"/>
                    </a:lnTo>
                    <a:lnTo>
                      <a:pt x="150" y="40"/>
                    </a:lnTo>
                    <a:lnTo>
                      <a:pt x="148" y="36"/>
                    </a:lnTo>
                    <a:lnTo>
                      <a:pt x="140" y="32"/>
                    </a:lnTo>
                    <a:lnTo>
                      <a:pt x="140" y="32"/>
                    </a:lnTo>
                    <a:lnTo>
                      <a:pt x="128" y="26"/>
                    </a:lnTo>
                    <a:lnTo>
                      <a:pt x="122" y="24"/>
                    </a:lnTo>
                    <a:lnTo>
                      <a:pt x="110" y="24"/>
                    </a:lnTo>
                    <a:lnTo>
                      <a:pt x="100" y="22"/>
                    </a:lnTo>
                    <a:lnTo>
                      <a:pt x="92" y="20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68" y="8"/>
                    </a:lnTo>
                    <a:lnTo>
                      <a:pt x="56" y="2"/>
                    </a:lnTo>
                    <a:lnTo>
                      <a:pt x="42" y="0"/>
                    </a:lnTo>
                    <a:lnTo>
                      <a:pt x="30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8" y="8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20"/>
                    </a:lnTo>
                    <a:lnTo>
                      <a:pt x="10" y="24"/>
                    </a:lnTo>
                    <a:lnTo>
                      <a:pt x="6" y="28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6" name="Freeform 6033">
                <a:extLst>
                  <a:ext uri="{FF2B5EF4-FFF2-40B4-BE49-F238E27FC236}">
                    <a16:creationId xmlns:a16="http://schemas.microsoft.com/office/drawing/2014/main" id="{E667BE6A-E78F-4B05-913F-4DEDB5E6D9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430" y="1806893"/>
                <a:ext cx="15240" cy="889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4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</a:cxnLst>
                <a:rect l="0" t="0" r="r" b="b"/>
                <a:pathLst>
                  <a:path w="24" h="14">
                    <a:moveTo>
                      <a:pt x="14" y="0"/>
                    </a:moveTo>
                    <a:lnTo>
                      <a:pt x="14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7" name="Freeform 6037">
                <a:extLst>
                  <a:ext uri="{FF2B5EF4-FFF2-40B4-BE49-F238E27FC236}">
                    <a16:creationId xmlns:a16="http://schemas.microsoft.com/office/drawing/2014/main" id="{D0B15623-F208-4965-94D4-6D7C33511A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950" y="1811973"/>
                <a:ext cx="24130" cy="22860"/>
              </a:xfrm>
              <a:custGeom>
                <a:avLst/>
                <a:gdLst/>
                <a:ahLst/>
                <a:cxnLst>
                  <a:cxn ang="0">
                    <a:pos x="28" y="2"/>
                  </a:cxn>
                  <a:cxn ang="0">
                    <a:pos x="28" y="2"/>
                  </a:cxn>
                  <a:cxn ang="0">
                    <a:pos x="18" y="16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0" y="36"/>
                  </a:cxn>
                  <a:cxn ang="0">
                    <a:pos x="4" y="36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2" y="26"/>
                  </a:cxn>
                  <a:cxn ang="0">
                    <a:pos x="26" y="20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6" y="4"/>
                  </a:cxn>
                  <a:cxn ang="0">
                    <a:pos x="38" y="2"/>
                  </a:cxn>
                  <a:cxn ang="0">
                    <a:pos x="36" y="0"/>
                  </a:cxn>
                  <a:cxn ang="0">
                    <a:pos x="32" y="0"/>
                  </a:cxn>
                  <a:cxn ang="0">
                    <a:pos x="28" y="2"/>
                  </a:cxn>
                  <a:cxn ang="0">
                    <a:pos x="28" y="2"/>
                  </a:cxn>
                </a:cxnLst>
                <a:rect l="0" t="0" r="r" b="b"/>
                <a:pathLst>
                  <a:path w="38" h="36">
                    <a:moveTo>
                      <a:pt x="28" y="2"/>
                    </a:moveTo>
                    <a:lnTo>
                      <a:pt x="28" y="2"/>
                    </a:lnTo>
                    <a:lnTo>
                      <a:pt x="18" y="1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4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2" y="26"/>
                    </a:lnTo>
                    <a:lnTo>
                      <a:pt x="26" y="20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4"/>
                    </a:lnTo>
                    <a:lnTo>
                      <a:pt x="38" y="2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8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8" name="Freeform 6054">
                <a:extLst>
                  <a:ext uri="{FF2B5EF4-FFF2-40B4-BE49-F238E27FC236}">
                    <a16:creationId xmlns:a16="http://schemas.microsoft.com/office/drawing/2014/main" id="{389328A6-4B03-49FD-87C4-7C238520A0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730" y="1058863"/>
                <a:ext cx="317500" cy="121920"/>
              </a:xfrm>
              <a:custGeom>
                <a:avLst/>
                <a:gdLst/>
                <a:ahLst/>
                <a:cxnLst>
                  <a:cxn ang="0">
                    <a:pos x="314" y="78"/>
                  </a:cxn>
                  <a:cxn ang="0">
                    <a:pos x="338" y="86"/>
                  </a:cxn>
                  <a:cxn ang="0">
                    <a:pos x="354" y="100"/>
                  </a:cxn>
                  <a:cxn ang="0">
                    <a:pos x="340" y="106"/>
                  </a:cxn>
                  <a:cxn ang="0">
                    <a:pos x="280" y="102"/>
                  </a:cxn>
                  <a:cxn ang="0">
                    <a:pos x="258" y="102"/>
                  </a:cxn>
                  <a:cxn ang="0">
                    <a:pos x="236" y="72"/>
                  </a:cxn>
                  <a:cxn ang="0">
                    <a:pos x="186" y="46"/>
                  </a:cxn>
                  <a:cxn ang="0">
                    <a:pos x="154" y="54"/>
                  </a:cxn>
                  <a:cxn ang="0">
                    <a:pos x="138" y="36"/>
                  </a:cxn>
                  <a:cxn ang="0">
                    <a:pos x="102" y="32"/>
                  </a:cxn>
                  <a:cxn ang="0">
                    <a:pos x="42" y="58"/>
                  </a:cxn>
                  <a:cxn ang="0">
                    <a:pos x="46" y="66"/>
                  </a:cxn>
                  <a:cxn ang="0">
                    <a:pos x="22" y="88"/>
                  </a:cxn>
                  <a:cxn ang="0">
                    <a:pos x="24" y="98"/>
                  </a:cxn>
                  <a:cxn ang="0">
                    <a:pos x="14" y="110"/>
                  </a:cxn>
                  <a:cxn ang="0">
                    <a:pos x="6" y="132"/>
                  </a:cxn>
                  <a:cxn ang="0">
                    <a:pos x="66" y="146"/>
                  </a:cxn>
                  <a:cxn ang="0">
                    <a:pos x="94" y="138"/>
                  </a:cxn>
                  <a:cxn ang="0">
                    <a:pos x="106" y="146"/>
                  </a:cxn>
                  <a:cxn ang="0">
                    <a:pos x="124" y="148"/>
                  </a:cxn>
                  <a:cxn ang="0">
                    <a:pos x="144" y="126"/>
                  </a:cxn>
                  <a:cxn ang="0">
                    <a:pos x="152" y="130"/>
                  </a:cxn>
                  <a:cxn ang="0">
                    <a:pos x="158" y="140"/>
                  </a:cxn>
                  <a:cxn ang="0">
                    <a:pos x="232" y="132"/>
                  </a:cxn>
                  <a:cxn ang="0">
                    <a:pos x="264" y="134"/>
                  </a:cxn>
                  <a:cxn ang="0">
                    <a:pos x="212" y="148"/>
                  </a:cxn>
                  <a:cxn ang="0">
                    <a:pos x="144" y="160"/>
                  </a:cxn>
                  <a:cxn ang="0">
                    <a:pos x="134" y="176"/>
                  </a:cxn>
                  <a:cxn ang="0">
                    <a:pos x="166" y="190"/>
                  </a:cxn>
                  <a:cxn ang="0">
                    <a:pos x="234" y="184"/>
                  </a:cxn>
                  <a:cxn ang="0">
                    <a:pos x="296" y="164"/>
                  </a:cxn>
                  <a:cxn ang="0">
                    <a:pos x="350" y="146"/>
                  </a:cxn>
                  <a:cxn ang="0">
                    <a:pos x="378" y="152"/>
                  </a:cxn>
                  <a:cxn ang="0">
                    <a:pos x="394" y="144"/>
                  </a:cxn>
                  <a:cxn ang="0">
                    <a:pos x="420" y="150"/>
                  </a:cxn>
                  <a:cxn ang="0">
                    <a:pos x="460" y="138"/>
                  </a:cxn>
                  <a:cxn ang="0">
                    <a:pos x="492" y="106"/>
                  </a:cxn>
                  <a:cxn ang="0">
                    <a:pos x="498" y="84"/>
                  </a:cxn>
                  <a:cxn ang="0">
                    <a:pos x="470" y="68"/>
                  </a:cxn>
                  <a:cxn ang="0">
                    <a:pos x="436" y="70"/>
                  </a:cxn>
                  <a:cxn ang="0">
                    <a:pos x="398" y="80"/>
                  </a:cxn>
                  <a:cxn ang="0">
                    <a:pos x="400" y="68"/>
                  </a:cxn>
                  <a:cxn ang="0">
                    <a:pos x="384" y="60"/>
                  </a:cxn>
                  <a:cxn ang="0">
                    <a:pos x="384" y="52"/>
                  </a:cxn>
                  <a:cxn ang="0">
                    <a:pos x="382" y="40"/>
                  </a:cxn>
                  <a:cxn ang="0">
                    <a:pos x="370" y="18"/>
                  </a:cxn>
                  <a:cxn ang="0">
                    <a:pos x="358" y="0"/>
                  </a:cxn>
                  <a:cxn ang="0">
                    <a:pos x="300" y="28"/>
                  </a:cxn>
                  <a:cxn ang="0">
                    <a:pos x="290" y="40"/>
                  </a:cxn>
                  <a:cxn ang="0">
                    <a:pos x="318" y="54"/>
                  </a:cxn>
                  <a:cxn ang="0">
                    <a:pos x="328" y="66"/>
                  </a:cxn>
                </a:cxnLst>
                <a:rect l="0" t="0" r="r" b="b"/>
                <a:pathLst>
                  <a:path w="500" h="192">
                    <a:moveTo>
                      <a:pt x="322" y="70"/>
                    </a:moveTo>
                    <a:lnTo>
                      <a:pt x="322" y="70"/>
                    </a:lnTo>
                    <a:lnTo>
                      <a:pt x="316" y="76"/>
                    </a:lnTo>
                    <a:lnTo>
                      <a:pt x="314" y="78"/>
                    </a:lnTo>
                    <a:lnTo>
                      <a:pt x="316" y="80"/>
                    </a:lnTo>
                    <a:lnTo>
                      <a:pt x="320" y="82"/>
                    </a:lnTo>
                    <a:lnTo>
                      <a:pt x="330" y="84"/>
                    </a:lnTo>
                    <a:lnTo>
                      <a:pt x="338" y="86"/>
                    </a:lnTo>
                    <a:lnTo>
                      <a:pt x="348" y="90"/>
                    </a:lnTo>
                    <a:lnTo>
                      <a:pt x="354" y="94"/>
                    </a:lnTo>
                    <a:lnTo>
                      <a:pt x="356" y="96"/>
                    </a:lnTo>
                    <a:lnTo>
                      <a:pt x="354" y="100"/>
                    </a:lnTo>
                    <a:lnTo>
                      <a:pt x="354" y="100"/>
                    </a:lnTo>
                    <a:lnTo>
                      <a:pt x="352" y="104"/>
                    </a:lnTo>
                    <a:lnTo>
                      <a:pt x="346" y="108"/>
                    </a:lnTo>
                    <a:lnTo>
                      <a:pt x="340" y="106"/>
                    </a:lnTo>
                    <a:lnTo>
                      <a:pt x="332" y="106"/>
                    </a:lnTo>
                    <a:lnTo>
                      <a:pt x="310" y="102"/>
                    </a:lnTo>
                    <a:lnTo>
                      <a:pt x="296" y="100"/>
                    </a:lnTo>
                    <a:lnTo>
                      <a:pt x="280" y="102"/>
                    </a:lnTo>
                    <a:lnTo>
                      <a:pt x="280" y="102"/>
                    </a:lnTo>
                    <a:lnTo>
                      <a:pt x="268" y="104"/>
                    </a:lnTo>
                    <a:lnTo>
                      <a:pt x="260" y="104"/>
                    </a:lnTo>
                    <a:lnTo>
                      <a:pt x="258" y="102"/>
                    </a:lnTo>
                    <a:lnTo>
                      <a:pt x="256" y="98"/>
                    </a:lnTo>
                    <a:lnTo>
                      <a:pt x="252" y="90"/>
                    </a:lnTo>
                    <a:lnTo>
                      <a:pt x="246" y="82"/>
                    </a:lnTo>
                    <a:lnTo>
                      <a:pt x="236" y="72"/>
                    </a:lnTo>
                    <a:lnTo>
                      <a:pt x="220" y="60"/>
                    </a:lnTo>
                    <a:lnTo>
                      <a:pt x="220" y="60"/>
                    </a:lnTo>
                    <a:lnTo>
                      <a:pt x="200" y="50"/>
                    </a:lnTo>
                    <a:lnTo>
                      <a:pt x="186" y="46"/>
                    </a:lnTo>
                    <a:lnTo>
                      <a:pt x="174" y="46"/>
                    </a:lnTo>
                    <a:lnTo>
                      <a:pt x="166" y="50"/>
                    </a:lnTo>
                    <a:lnTo>
                      <a:pt x="160" y="52"/>
                    </a:lnTo>
                    <a:lnTo>
                      <a:pt x="154" y="54"/>
                    </a:lnTo>
                    <a:lnTo>
                      <a:pt x="150" y="52"/>
                    </a:lnTo>
                    <a:lnTo>
                      <a:pt x="144" y="44"/>
                    </a:lnTo>
                    <a:lnTo>
                      <a:pt x="144" y="44"/>
                    </a:lnTo>
                    <a:lnTo>
                      <a:pt x="138" y="36"/>
                    </a:lnTo>
                    <a:lnTo>
                      <a:pt x="130" y="30"/>
                    </a:lnTo>
                    <a:lnTo>
                      <a:pt x="122" y="30"/>
                    </a:lnTo>
                    <a:lnTo>
                      <a:pt x="112" y="30"/>
                    </a:lnTo>
                    <a:lnTo>
                      <a:pt x="102" y="32"/>
                    </a:lnTo>
                    <a:lnTo>
                      <a:pt x="88" y="38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42" y="58"/>
                    </a:lnTo>
                    <a:lnTo>
                      <a:pt x="40" y="60"/>
                    </a:lnTo>
                    <a:lnTo>
                      <a:pt x="42" y="60"/>
                    </a:lnTo>
                    <a:lnTo>
                      <a:pt x="44" y="64"/>
                    </a:lnTo>
                    <a:lnTo>
                      <a:pt x="46" y="66"/>
                    </a:lnTo>
                    <a:lnTo>
                      <a:pt x="42" y="72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22" y="88"/>
                    </a:lnTo>
                    <a:lnTo>
                      <a:pt x="20" y="94"/>
                    </a:lnTo>
                    <a:lnTo>
                      <a:pt x="20" y="96"/>
                    </a:lnTo>
                    <a:lnTo>
                      <a:pt x="22" y="98"/>
                    </a:lnTo>
                    <a:lnTo>
                      <a:pt x="24" y="98"/>
                    </a:lnTo>
                    <a:lnTo>
                      <a:pt x="26" y="100"/>
                    </a:lnTo>
                    <a:lnTo>
                      <a:pt x="22" y="104"/>
                    </a:lnTo>
                    <a:lnTo>
                      <a:pt x="14" y="110"/>
                    </a:lnTo>
                    <a:lnTo>
                      <a:pt x="14" y="110"/>
                    </a:lnTo>
                    <a:lnTo>
                      <a:pt x="4" y="118"/>
                    </a:lnTo>
                    <a:lnTo>
                      <a:pt x="0" y="124"/>
                    </a:lnTo>
                    <a:lnTo>
                      <a:pt x="2" y="128"/>
                    </a:lnTo>
                    <a:lnTo>
                      <a:pt x="6" y="132"/>
                    </a:lnTo>
                    <a:lnTo>
                      <a:pt x="26" y="138"/>
                    </a:lnTo>
                    <a:lnTo>
                      <a:pt x="54" y="144"/>
                    </a:lnTo>
                    <a:lnTo>
                      <a:pt x="54" y="144"/>
                    </a:lnTo>
                    <a:lnTo>
                      <a:pt x="66" y="146"/>
                    </a:lnTo>
                    <a:lnTo>
                      <a:pt x="76" y="146"/>
                    </a:lnTo>
                    <a:lnTo>
                      <a:pt x="84" y="144"/>
                    </a:lnTo>
                    <a:lnTo>
                      <a:pt x="88" y="142"/>
                    </a:lnTo>
                    <a:lnTo>
                      <a:pt x="94" y="138"/>
                    </a:lnTo>
                    <a:lnTo>
                      <a:pt x="96" y="136"/>
                    </a:lnTo>
                    <a:lnTo>
                      <a:pt x="98" y="140"/>
                    </a:lnTo>
                    <a:lnTo>
                      <a:pt x="98" y="140"/>
                    </a:lnTo>
                    <a:lnTo>
                      <a:pt x="106" y="146"/>
                    </a:lnTo>
                    <a:lnTo>
                      <a:pt x="110" y="148"/>
                    </a:lnTo>
                    <a:lnTo>
                      <a:pt x="114" y="150"/>
                    </a:lnTo>
                    <a:lnTo>
                      <a:pt x="118" y="150"/>
                    </a:lnTo>
                    <a:lnTo>
                      <a:pt x="124" y="148"/>
                    </a:lnTo>
                    <a:lnTo>
                      <a:pt x="128" y="14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44" y="126"/>
                    </a:lnTo>
                    <a:lnTo>
                      <a:pt x="150" y="122"/>
                    </a:lnTo>
                    <a:lnTo>
                      <a:pt x="152" y="122"/>
                    </a:lnTo>
                    <a:lnTo>
                      <a:pt x="154" y="124"/>
                    </a:lnTo>
                    <a:lnTo>
                      <a:pt x="152" y="130"/>
                    </a:lnTo>
                    <a:lnTo>
                      <a:pt x="152" y="130"/>
                    </a:lnTo>
                    <a:lnTo>
                      <a:pt x="150" y="134"/>
                    </a:lnTo>
                    <a:lnTo>
                      <a:pt x="154" y="138"/>
                    </a:lnTo>
                    <a:lnTo>
                      <a:pt x="158" y="140"/>
                    </a:lnTo>
                    <a:lnTo>
                      <a:pt x="166" y="142"/>
                    </a:lnTo>
                    <a:lnTo>
                      <a:pt x="192" y="140"/>
                    </a:lnTo>
                    <a:lnTo>
                      <a:pt x="232" y="132"/>
                    </a:lnTo>
                    <a:lnTo>
                      <a:pt x="232" y="132"/>
                    </a:lnTo>
                    <a:lnTo>
                      <a:pt x="252" y="130"/>
                    </a:lnTo>
                    <a:lnTo>
                      <a:pt x="262" y="130"/>
                    </a:lnTo>
                    <a:lnTo>
                      <a:pt x="266" y="130"/>
                    </a:lnTo>
                    <a:lnTo>
                      <a:pt x="264" y="134"/>
                    </a:lnTo>
                    <a:lnTo>
                      <a:pt x="256" y="138"/>
                    </a:lnTo>
                    <a:lnTo>
                      <a:pt x="244" y="142"/>
                    </a:lnTo>
                    <a:lnTo>
                      <a:pt x="228" y="144"/>
                    </a:lnTo>
                    <a:lnTo>
                      <a:pt x="212" y="148"/>
                    </a:lnTo>
                    <a:lnTo>
                      <a:pt x="212" y="148"/>
                    </a:lnTo>
                    <a:lnTo>
                      <a:pt x="176" y="152"/>
                    </a:lnTo>
                    <a:lnTo>
                      <a:pt x="158" y="156"/>
                    </a:lnTo>
                    <a:lnTo>
                      <a:pt x="144" y="160"/>
                    </a:lnTo>
                    <a:lnTo>
                      <a:pt x="136" y="166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4" y="176"/>
                    </a:lnTo>
                    <a:lnTo>
                      <a:pt x="138" y="178"/>
                    </a:lnTo>
                    <a:lnTo>
                      <a:pt x="152" y="186"/>
                    </a:lnTo>
                    <a:lnTo>
                      <a:pt x="152" y="186"/>
                    </a:lnTo>
                    <a:lnTo>
                      <a:pt x="166" y="190"/>
                    </a:lnTo>
                    <a:lnTo>
                      <a:pt x="178" y="192"/>
                    </a:lnTo>
                    <a:lnTo>
                      <a:pt x="192" y="192"/>
                    </a:lnTo>
                    <a:lnTo>
                      <a:pt x="206" y="190"/>
                    </a:lnTo>
                    <a:lnTo>
                      <a:pt x="234" y="184"/>
                    </a:lnTo>
                    <a:lnTo>
                      <a:pt x="266" y="174"/>
                    </a:lnTo>
                    <a:lnTo>
                      <a:pt x="266" y="174"/>
                    </a:lnTo>
                    <a:lnTo>
                      <a:pt x="282" y="170"/>
                    </a:lnTo>
                    <a:lnTo>
                      <a:pt x="296" y="164"/>
                    </a:lnTo>
                    <a:lnTo>
                      <a:pt x="318" y="154"/>
                    </a:lnTo>
                    <a:lnTo>
                      <a:pt x="328" y="150"/>
                    </a:lnTo>
                    <a:lnTo>
                      <a:pt x="338" y="146"/>
                    </a:lnTo>
                    <a:lnTo>
                      <a:pt x="350" y="146"/>
                    </a:lnTo>
                    <a:lnTo>
                      <a:pt x="360" y="148"/>
                    </a:lnTo>
                    <a:lnTo>
                      <a:pt x="360" y="148"/>
                    </a:lnTo>
                    <a:lnTo>
                      <a:pt x="370" y="150"/>
                    </a:lnTo>
                    <a:lnTo>
                      <a:pt x="378" y="152"/>
                    </a:lnTo>
                    <a:lnTo>
                      <a:pt x="382" y="150"/>
                    </a:lnTo>
                    <a:lnTo>
                      <a:pt x="386" y="148"/>
                    </a:lnTo>
                    <a:lnTo>
                      <a:pt x="388" y="146"/>
                    </a:lnTo>
                    <a:lnTo>
                      <a:pt x="394" y="144"/>
                    </a:lnTo>
                    <a:lnTo>
                      <a:pt x="400" y="144"/>
                    </a:lnTo>
                    <a:lnTo>
                      <a:pt x="410" y="146"/>
                    </a:lnTo>
                    <a:lnTo>
                      <a:pt x="410" y="146"/>
                    </a:lnTo>
                    <a:lnTo>
                      <a:pt x="420" y="150"/>
                    </a:lnTo>
                    <a:lnTo>
                      <a:pt x="430" y="150"/>
                    </a:lnTo>
                    <a:lnTo>
                      <a:pt x="440" y="148"/>
                    </a:lnTo>
                    <a:lnTo>
                      <a:pt x="450" y="144"/>
                    </a:lnTo>
                    <a:lnTo>
                      <a:pt x="460" y="138"/>
                    </a:lnTo>
                    <a:lnTo>
                      <a:pt x="470" y="130"/>
                    </a:lnTo>
                    <a:lnTo>
                      <a:pt x="482" y="120"/>
                    </a:lnTo>
                    <a:lnTo>
                      <a:pt x="492" y="106"/>
                    </a:lnTo>
                    <a:lnTo>
                      <a:pt x="492" y="106"/>
                    </a:lnTo>
                    <a:lnTo>
                      <a:pt x="496" y="100"/>
                    </a:lnTo>
                    <a:lnTo>
                      <a:pt x="500" y="94"/>
                    </a:lnTo>
                    <a:lnTo>
                      <a:pt x="500" y="88"/>
                    </a:lnTo>
                    <a:lnTo>
                      <a:pt x="498" y="84"/>
                    </a:lnTo>
                    <a:lnTo>
                      <a:pt x="496" y="80"/>
                    </a:lnTo>
                    <a:lnTo>
                      <a:pt x="492" y="76"/>
                    </a:lnTo>
                    <a:lnTo>
                      <a:pt x="482" y="70"/>
                    </a:lnTo>
                    <a:lnTo>
                      <a:pt x="470" y="68"/>
                    </a:lnTo>
                    <a:lnTo>
                      <a:pt x="456" y="66"/>
                    </a:lnTo>
                    <a:lnTo>
                      <a:pt x="444" y="68"/>
                    </a:lnTo>
                    <a:lnTo>
                      <a:pt x="436" y="70"/>
                    </a:lnTo>
                    <a:lnTo>
                      <a:pt x="436" y="70"/>
                    </a:lnTo>
                    <a:lnTo>
                      <a:pt x="420" y="76"/>
                    </a:lnTo>
                    <a:lnTo>
                      <a:pt x="406" y="80"/>
                    </a:lnTo>
                    <a:lnTo>
                      <a:pt x="402" y="82"/>
                    </a:lnTo>
                    <a:lnTo>
                      <a:pt x="398" y="80"/>
                    </a:lnTo>
                    <a:lnTo>
                      <a:pt x="398" y="78"/>
                    </a:lnTo>
                    <a:lnTo>
                      <a:pt x="400" y="72"/>
                    </a:lnTo>
                    <a:lnTo>
                      <a:pt x="400" y="72"/>
                    </a:lnTo>
                    <a:lnTo>
                      <a:pt x="400" y="68"/>
                    </a:lnTo>
                    <a:lnTo>
                      <a:pt x="398" y="64"/>
                    </a:lnTo>
                    <a:lnTo>
                      <a:pt x="394" y="62"/>
                    </a:lnTo>
                    <a:lnTo>
                      <a:pt x="390" y="62"/>
                    </a:lnTo>
                    <a:lnTo>
                      <a:pt x="384" y="60"/>
                    </a:lnTo>
                    <a:lnTo>
                      <a:pt x="380" y="60"/>
                    </a:lnTo>
                    <a:lnTo>
                      <a:pt x="380" y="56"/>
                    </a:lnTo>
                    <a:lnTo>
                      <a:pt x="384" y="52"/>
                    </a:lnTo>
                    <a:lnTo>
                      <a:pt x="384" y="52"/>
                    </a:lnTo>
                    <a:lnTo>
                      <a:pt x="388" y="46"/>
                    </a:lnTo>
                    <a:lnTo>
                      <a:pt x="388" y="44"/>
                    </a:lnTo>
                    <a:lnTo>
                      <a:pt x="386" y="42"/>
                    </a:lnTo>
                    <a:lnTo>
                      <a:pt x="382" y="40"/>
                    </a:lnTo>
                    <a:lnTo>
                      <a:pt x="378" y="38"/>
                    </a:lnTo>
                    <a:lnTo>
                      <a:pt x="374" y="34"/>
                    </a:lnTo>
                    <a:lnTo>
                      <a:pt x="372" y="28"/>
                    </a:lnTo>
                    <a:lnTo>
                      <a:pt x="370" y="18"/>
                    </a:lnTo>
                    <a:lnTo>
                      <a:pt x="370" y="18"/>
                    </a:lnTo>
                    <a:lnTo>
                      <a:pt x="368" y="8"/>
                    </a:lnTo>
                    <a:lnTo>
                      <a:pt x="364" y="2"/>
                    </a:lnTo>
                    <a:lnTo>
                      <a:pt x="358" y="0"/>
                    </a:lnTo>
                    <a:lnTo>
                      <a:pt x="350" y="2"/>
                    </a:lnTo>
                    <a:lnTo>
                      <a:pt x="340" y="6"/>
                    </a:lnTo>
                    <a:lnTo>
                      <a:pt x="328" y="12"/>
                    </a:lnTo>
                    <a:lnTo>
                      <a:pt x="300" y="28"/>
                    </a:lnTo>
                    <a:lnTo>
                      <a:pt x="300" y="28"/>
                    </a:lnTo>
                    <a:lnTo>
                      <a:pt x="294" y="32"/>
                    </a:lnTo>
                    <a:lnTo>
                      <a:pt x="292" y="36"/>
                    </a:lnTo>
                    <a:lnTo>
                      <a:pt x="290" y="40"/>
                    </a:lnTo>
                    <a:lnTo>
                      <a:pt x="292" y="42"/>
                    </a:lnTo>
                    <a:lnTo>
                      <a:pt x="298" y="46"/>
                    </a:lnTo>
                    <a:lnTo>
                      <a:pt x="308" y="50"/>
                    </a:lnTo>
                    <a:lnTo>
                      <a:pt x="318" y="54"/>
                    </a:lnTo>
                    <a:lnTo>
                      <a:pt x="326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6"/>
                    </a:lnTo>
                    <a:lnTo>
                      <a:pt x="322" y="70"/>
                    </a:lnTo>
                    <a:lnTo>
                      <a:pt x="322" y="7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9" name="Freeform 6074">
                <a:extLst>
                  <a:ext uri="{FF2B5EF4-FFF2-40B4-BE49-F238E27FC236}">
                    <a16:creationId xmlns:a16="http://schemas.microsoft.com/office/drawing/2014/main" id="{64F2C0C5-9B0D-40D1-B93D-3D3C9DC70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3930" y="3139123"/>
                <a:ext cx="278130" cy="109220"/>
              </a:xfrm>
              <a:custGeom>
                <a:avLst/>
                <a:gdLst/>
                <a:ahLst/>
                <a:cxnLst>
                  <a:cxn ang="0">
                    <a:pos x="416" y="160"/>
                  </a:cxn>
                  <a:cxn ang="0">
                    <a:pos x="436" y="156"/>
                  </a:cxn>
                  <a:cxn ang="0">
                    <a:pos x="428" y="148"/>
                  </a:cxn>
                  <a:cxn ang="0">
                    <a:pos x="414" y="136"/>
                  </a:cxn>
                  <a:cxn ang="0">
                    <a:pos x="384" y="126"/>
                  </a:cxn>
                  <a:cxn ang="0">
                    <a:pos x="374" y="120"/>
                  </a:cxn>
                  <a:cxn ang="0">
                    <a:pos x="376" y="108"/>
                  </a:cxn>
                  <a:cxn ang="0">
                    <a:pos x="358" y="106"/>
                  </a:cxn>
                  <a:cxn ang="0">
                    <a:pos x="350" y="100"/>
                  </a:cxn>
                  <a:cxn ang="0">
                    <a:pos x="338" y="100"/>
                  </a:cxn>
                  <a:cxn ang="0">
                    <a:pos x="326" y="92"/>
                  </a:cxn>
                  <a:cxn ang="0">
                    <a:pos x="300" y="68"/>
                  </a:cxn>
                  <a:cxn ang="0">
                    <a:pos x="300" y="76"/>
                  </a:cxn>
                  <a:cxn ang="0">
                    <a:pos x="292" y="64"/>
                  </a:cxn>
                  <a:cxn ang="0">
                    <a:pos x="286" y="60"/>
                  </a:cxn>
                  <a:cxn ang="0">
                    <a:pos x="260" y="48"/>
                  </a:cxn>
                  <a:cxn ang="0">
                    <a:pos x="230" y="40"/>
                  </a:cxn>
                  <a:cxn ang="0">
                    <a:pos x="216" y="28"/>
                  </a:cxn>
                  <a:cxn ang="0">
                    <a:pos x="194" y="14"/>
                  </a:cxn>
                  <a:cxn ang="0">
                    <a:pos x="180" y="8"/>
                  </a:cxn>
                  <a:cxn ang="0">
                    <a:pos x="164" y="8"/>
                  </a:cxn>
                  <a:cxn ang="0">
                    <a:pos x="150" y="0"/>
                  </a:cxn>
                  <a:cxn ang="0">
                    <a:pos x="136" y="4"/>
                  </a:cxn>
                  <a:cxn ang="0">
                    <a:pos x="112" y="0"/>
                  </a:cxn>
                  <a:cxn ang="0">
                    <a:pos x="92" y="10"/>
                  </a:cxn>
                  <a:cxn ang="0">
                    <a:pos x="56" y="18"/>
                  </a:cxn>
                  <a:cxn ang="0">
                    <a:pos x="24" y="42"/>
                  </a:cxn>
                  <a:cxn ang="0">
                    <a:pos x="24" y="58"/>
                  </a:cxn>
                  <a:cxn ang="0">
                    <a:pos x="2" y="66"/>
                  </a:cxn>
                  <a:cxn ang="0">
                    <a:pos x="4" y="72"/>
                  </a:cxn>
                  <a:cxn ang="0">
                    <a:pos x="18" y="72"/>
                  </a:cxn>
                  <a:cxn ang="0">
                    <a:pos x="24" y="72"/>
                  </a:cxn>
                  <a:cxn ang="0">
                    <a:pos x="40" y="62"/>
                  </a:cxn>
                  <a:cxn ang="0">
                    <a:pos x="70" y="44"/>
                  </a:cxn>
                  <a:cxn ang="0">
                    <a:pos x="92" y="30"/>
                  </a:cxn>
                  <a:cxn ang="0">
                    <a:pos x="132" y="32"/>
                  </a:cxn>
                  <a:cxn ang="0">
                    <a:pos x="124" y="38"/>
                  </a:cxn>
                  <a:cxn ang="0">
                    <a:pos x="118" y="46"/>
                  </a:cxn>
                  <a:cxn ang="0">
                    <a:pos x="164" y="58"/>
                  </a:cxn>
                  <a:cxn ang="0">
                    <a:pos x="186" y="62"/>
                  </a:cxn>
                  <a:cxn ang="0">
                    <a:pos x="214" y="80"/>
                  </a:cxn>
                  <a:cxn ang="0">
                    <a:pos x="242" y="84"/>
                  </a:cxn>
                  <a:cxn ang="0">
                    <a:pos x="256" y="94"/>
                  </a:cxn>
                  <a:cxn ang="0">
                    <a:pos x="268" y="120"/>
                  </a:cxn>
                  <a:cxn ang="0">
                    <a:pos x="288" y="128"/>
                  </a:cxn>
                  <a:cxn ang="0">
                    <a:pos x="318" y="136"/>
                  </a:cxn>
                  <a:cxn ang="0">
                    <a:pos x="310" y="150"/>
                  </a:cxn>
                  <a:cxn ang="0">
                    <a:pos x="290" y="168"/>
                  </a:cxn>
                  <a:cxn ang="0">
                    <a:pos x="348" y="164"/>
                  </a:cxn>
                  <a:cxn ang="0">
                    <a:pos x="382" y="170"/>
                  </a:cxn>
                  <a:cxn ang="0">
                    <a:pos x="400" y="166"/>
                  </a:cxn>
                </a:cxnLst>
                <a:rect l="0" t="0" r="r" b="b"/>
                <a:pathLst>
                  <a:path w="438" h="172">
                    <a:moveTo>
                      <a:pt x="400" y="166"/>
                    </a:moveTo>
                    <a:lnTo>
                      <a:pt x="400" y="166"/>
                    </a:lnTo>
                    <a:lnTo>
                      <a:pt x="410" y="162"/>
                    </a:lnTo>
                    <a:lnTo>
                      <a:pt x="416" y="160"/>
                    </a:lnTo>
                    <a:lnTo>
                      <a:pt x="426" y="160"/>
                    </a:lnTo>
                    <a:lnTo>
                      <a:pt x="432" y="162"/>
                    </a:lnTo>
                    <a:lnTo>
                      <a:pt x="436" y="156"/>
                    </a:lnTo>
                    <a:lnTo>
                      <a:pt x="436" y="156"/>
                    </a:lnTo>
                    <a:lnTo>
                      <a:pt x="438" y="152"/>
                    </a:lnTo>
                    <a:lnTo>
                      <a:pt x="438" y="150"/>
                    </a:lnTo>
                    <a:lnTo>
                      <a:pt x="434" y="150"/>
                    </a:lnTo>
                    <a:lnTo>
                      <a:pt x="428" y="148"/>
                    </a:lnTo>
                    <a:lnTo>
                      <a:pt x="424" y="146"/>
                    </a:lnTo>
                    <a:lnTo>
                      <a:pt x="420" y="144"/>
                    </a:lnTo>
                    <a:lnTo>
                      <a:pt x="420" y="144"/>
                    </a:lnTo>
                    <a:lnTo>
                      <a:pt x="414" y="136"/>
                    </a:lnTo>
                    <a:lnTo>
                      <a:pt x="410" y="132"/>
                    </a:lnTo>
                    <a:lnTo>
                      <a:pt x="400" y="128"/>
                    </a:lnTo>
                    <a:lnTo>
                      <a:pt x="384" y="126"/>
                    </a:lnTo>
                    <a:lnTo>
                      <a:pt x="384" y="126"/>
                    </a:lnTo>
                    <a:lnTo>
                      <a:pt x="372" y="124"/>
                    </a:lnTo>
                    <a:lnTo>
                      <a:pt x="370" y="124"/>
                    </a:lnTo>
                    <a:lnTo>
                      <a:pt x="372" y="122"/>
                    </a:lnTo>
                    <a:lnTo>
                      <a:pt x="374" y="120"/>
                    </a:lnTo>
                    <a:lnTo>
                      <a:pt x="376" y="116"/>
                    </a:lnTo>
                    <a:lnTo>
                      <a:pt x="376" y="112"/>
                    </a:lnTo>
                    <a:lnTo>
                      <a:pt x="376" y="112"/>
                    </a:lnTo>
                    <a:lnTo>
                      <a:pt x="376" y="108"/>
                    </a:lnTo>
                    <a:lnTo>
                      <a:pt x="374" y="108"/>
                    </a:lnTo>
                    <a:lnTo>
                      <a:pt x="368" y="106"/>
                    </a:lnTo>
                    <a:lnTo>
                      <a:pt x="362" y="106"/>
                    </a:lnTo>
                    <a:lnTo>
                      <a:pt x="358" y="106"/>
                    </a:lnTo>
                    <a:lnTo>
                      <a:pt x="356" y="104"/>
                    </a:lnTo>
                    <a:lnTo>
                      <a:pt x="356" y="104"/>
                    </a:lnTo>
                    <a:lnTo>
                      <a:pt x="352" y="102"/>
                    </a:lnTo>
                    <a:lnTo>
                      <a:pt x="350" y="100"/>
                    </a:lnTo>
                    <a:lnTo>
                      <a:pt x="344" y="102"/>
                    </a:lnTo>
                    <a:lnTo>
                      <a:pt x="340" y="102"/>
                    </a:lnTo>
                    <a:lnTo>
                      <a:pt x="338" y="102"/>
                    </a:lnTo>
                    <a:lnTo>
                      <a:pt x="338" y="100"/>
                    </a:lnTo>
                    <a:lnTo>
                      <a:pt x="338" y="100"/>
                    </a:lnTo>
                    <a:lnTo>
                      <a:pt x="334" y="96"/>
                    </a:lnTo>
                    <a:lnTo>
                      <a:pt x="332" y="94"/>
                    </a:lnTo>
                    <a:lnTo>
                      <a:pt x="326" y="92"/>
                    </a:lnTo>
                    <a:lnTo>
                      <a:pt x="320" y="86"/>
                    </a:lnTo>
                    <a:lnTo>
                      <a:pt x="320" y="86"/>
                    </a:lnTo>
                    <a:lnTo>
                      <a:pt x="304" y="70"/>
                    </a:lnTo>
                    <a:lnTo>
                      <a:pt x="300" y="68"/>
                    </a:lnTo>
                    <a:lnTo>
                      <a:pt x="300" y="70"/>
                    </a:lnTo>
                    <a:lnTo>
                      <a:pt x="300" y="72"/>
                    </a:lnTo>
                    <a:lnTo>
                      <a:pt x="300" y="72"/>
                    </a:lnTo>
                    <a:lnTo>
                      <a:pt x="300" y="76"/>
                    </a:lnTo>
                    <a:lnTo>
                      <a:pt x="300" y="76"/>
                    </a:lnTo>
                    <a:lnTo>
                      <a:pt x="296" y="76"/>
                    </a:lnTo>
                    <a:lnTo>
                      <a:pt x="294" y="70"/>
                    </a:lnTo>
                    <a:lnTo>
                      <a:pt x="292" y="64"/>
                    </a:lnTo>
                    <a:lnTo>
                      <a:pt x="292" y="64"/>
                    </a:lnTo>
                    <a:lnTo>
                      <a:pt x="292" y="62"/>
                    </a:lnTo>
                    <a:lnTo>
                      <a:pt x="292" y="60"/>
                    </a:lnTo>
                    <a:lnTo>
                      <a:pt x="286" y="60"/>
                    </a:lnTo>
                    <a:lnTo>
                      <a:pt x="276" y="56"/>
                    </a:lnTo>
                    <a:lnTo>
                      <a:pt x="268" y="54"/>
                    </a:lnTo>
                    <a:lnTo>
                      <a:pt x="260" y="48"/>
                    </a:lnTo>
                    <a:lnTo>
                      <a:pt x="260" y="48"/>
                    </a:lnTo>
                    <a:lnTo>
                      <a:pt x="252" y="42"/>
                    </a:lnTo>
                    <a:lnTo>
                      <a:pt x="244" y="40"/>
                    </a:lnTo>
                    <a:lnTo>
                      <a:pt x="234" y="40"/>
                    </a:lnTo>
                    <a:lnTo>
                      <a:pt x="230" y="40"/>
                    </a:lnTo>
                    <a:lnTo>
                      <a:pt x="226" y="38"/>
                    </a:lnTo>
                    <a:lnTo>
                      <a:pt x="220" y="34"/>
                    </a:lnTo>
                    <a:lnTo>
                      <a:pt x="216" y="28"/>
                    </a:lnTo>
                    <a:lnTo>
                      <a:pt x="216" y="28"/>
                    </a:lnTo>
                    <a:lnTo>
                      <a:pt x="210" y="20"/>
                    </a:lnTo>
                    <a:lnTo>
                      <a:pt x="204" y="16"/>
                    </a:lnTo>
                    <a:lnTo>
                      <a:pt x="200" y="14"/>
                    </a:lnTo>
                    <a:lnTo>
                      <a:pt x="194" y="14"/>
                    </a:lnTo>
                    <a:lnTo>
                      <a:pt x="186" y="14"/>
                    </a:lnTo>
                    <a:lnTo>
                      <a:pt x="182" y="12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76" y="6"/>
                    </a:lnTo>
                    <a:lnTo>
                      <a:pt x="174" y="4"/>
                    </a:lnTo>
                    <a:lnTo>
                      <a:pt x="168" y="6"/>
                    </a:lnTo>
                    <a:lnTo>
                      <a:pt x="164" y="8"/>
                    </a:lnTo>
                    <a:lnTo>
                      <a:pt x="160" y="6"/>
                    </a:lnTo>
                    <a:lnTo>
                      <a:pt x="156" y="4"/>
                    </a:lnTo>
                    <a:lnTo>
                      <a:pt x="156" y="4"/>
                    </a:lnTo>
                    <a:lnTo>
                      <a:pt x="150" y="0"/>
                    </a:lnTo>
                    <a:lnTo>
                      <a:pt x="148" y="2"/>
                    </a:lnTo>
                    <a:lnTo>
                      <a:pt x="146" y="2"/>
                    </a:lnTo>
                    <a:lnTo>
                      <a:pt x="142" y="4"/>
                    </a:lnTo>
                    <a:lnTo>
                      <a:pt x="136" y="4"/>
                    </a:lnTo>
                    <a:lnTo>
                      <a:pt x="126" y="2"/>
                    </a:lnTo>
                    <a:lnTo>
                      <a:pt x="126" y="2"/>
                    </a:lnTo>
                    <a:lnTo>
                      <a:pt x="118" y="0"/>
                    </a:lnTo>
                    <a:lnTo>
                      <a:pt x="112" y="0"/>
                    </a:lnTo>
                    <a:lnTo>
                      <a:pt x="108" y="2"/>
                    </a:lnTo>
                    <a:lnTo>
                      <a:pt x="104" y="4"/>
                    </a:lnTo>
                    <a:lnTo>
                      <a:pt x="98" y="8"/>
                    </a:lnTo>
                    <a:lnTo>
                      <a:pt x="9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68" y="14"/>
                    </a:lnTo>
                    <a:lnTo>
                      <a:pt x="56" y="18"/>
                    </a:lnTo>
                    <a:lnTo>
                      <a:pt x="44" y="22"/>
                    </a:lnTo>
                    <a:lnTo>
                      <a:pt x="36" y="28"/>
                    </a:lnTo>
                    <a:lnTo>
                      <a:pt x="28" y="34"/>
                    </a:lnTo>
                    <a:lnTo>
                      <a:pt x="24" y="42"/>
                    </a:lnTo>
                    <a:lnTo>
                      <a:pt x="22" y="48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2" y="60"/>
                    </a:lnTo>
                    <a:lnTo>
                      <a:pt x="14" y="62"/>
                    </a:lnTo>
                    <a:lnTo>
                      <a:pt x="4" y="64"/>
                    </a:lnTo>
                    <a:lnTo>
                      <a:pt x="2" y="66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2" y="70"/>
                    </a:lnTo>
                    <a:lnTo>
                      <a:pt x="4" y="72"/>
                    </a:lnTo>
                    <a:lnTo>
                      <a:pt x="8" y="72"/>
                    </a:lnTo>
                    <a:lnTo>
                      <a:pt x="14" y="72"/>
                    </a:lnTo>
                    <a:lnTo>
                      <a:pt x="16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4" y="72"/>
                    </a:lnTo>
                    <a:lnTo>
                      <a:pt x="30" y="68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40" y="62"/>
                    </a:lnTo>
                    <a:lnTo>
                      <a:pt x="42" y="58"/>
                    </a:lnTo>
                    <a:lnTo>
                      <a:pt x="52" y="54"/>
                    </a:lnTo>
                    <a:lnTo>
                      <a:pt x="62" y="48"/>
                    </a:lnTo>
                    <a:lnTo>
                      <a:pt x="70" y="44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4" y="34"/>
                    </a:lnTo>
                    <a:lnTo>
                      <a:pt x="92" y="30"/>
                    </a:lnTo>
                    <a:lnTo>
                      <a:pt x="100" y="28"/>
                    </a:lnTo>
                    <a:lnTo>
                      <a:pt x="108" y="28"/>
                    </a:lnTo>
                    <a:lnTo>
                      <a:pt x="124" y="28"/>
                    </a:lnTo>
                    <a:lnTo>
                      <a:pt x="132" y="32"/>
                    </a:lnTo>
                    <a:lnTo>
                      <a:pt x="132" y="32"/>
                    </a:lnTo>
                    <a:lnTo>
                      <a:pt x="134" y="34"/>
                    </a:lnTo>
                    <a:lnTo>
                      <a:pt x="132" y="36"/>
                    </a:lnTo>
                    <a:lnTo>
                      <a:pt x="124" y="38"/>
                    </a:lnTo>
                    <a:lnTo>
                      <a:pt x="116" y="42"/>
                    </a:lnTo>
                    <a:lnTo>
                      <a:pt x="116" y="44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26" y="52"/>
                    </a:lnTo>
                    <a:lnTo>
                      <a:pt x="134" y="56"/>
                    </a:lnTo>
                    <a:lnTo>
                      <a:pt x="146" y="58"/>
                    </a:lnTo>
                    <a:lnTo>
                      <a:pt x="164" y="58"/>
                    </a:lnTo>
                    <a:lnTo>
                      <a:pt x="164" y="58"/>
                    </a:lnTo>
                    <a:lnTo>
                      <a:pt x="174" y="58"/>
                    </a:lnTo>
                    <a:lnTo>
                      <a:pt x="180" y="60"/>
                    </a:lnTo>
                    <a:lnTo>
                      <a:pt x="186" y="62"/>
                    </a:lnTo>
                    <a:lnTo>
                      <a:pt x="190" y="66"/>
                    </a:lnTo>
                    <a:lnTo>
                      <a:pt x="200" y="74"/>
                    </a:lnTo>
                    <a:lnTo>
                      <a:pt x="206" y="78"/>
                    </a:lnTo>
                    <a:lnTo>
                      <a:pt x="214" y="80"/>
                    </a:lnTo>
                    <a:lnTo>
                      <a:pt x="214" y="80"/>
                    </a:lnTo>
                    <a:lnTo>
                      <a:pt x="222" y="84"/>
                    </a:lnTo>
                    <a:lnTo>
                      <a:pt x="230" y="84"/>
                    </a:lnTo>
                    <a:lnTo>
                      <a:pt x="242" y="84"/>
                    </a:lnTo>
                    <a:lnTo>
                      <a:pt x="246" y="84"/>
                    </a:lnTo>
                    <a:lnTo>
                      <a:pt x="250" y="86"/>
                    </a:lnTo>
                    <a:lnTo>
                      <a:pt x="252" y="88"/>
                    </a:lnTo>
                    <a:lnTo>
                      <a:pt x="256" y="94"/>
                    </a:lnTo>
                    <a:lnTo>
                      <a:pt x="256" y="94"/>
                    </a:lnTo>
                    <a:lnTo>
                      <a:pt x="260" y="106"/>
                    </a:lnTo>
                    <a:lnTo>
                      <a:pt x="266" y="116"/>
                    </a:lnTo>
                    <a:lnTo>
                      <a:pt x="268" y="120"/>
                    </a:lnTo>
                    <a:lnTo>
                      <a:pt x="274" y="124"/>
                    </a:lnTo>
                    <a:lnTo>
                      <a:pt x="280" y="126"/>
                    </a:lnTo>
                    <a:lnTo>
                      <a:pt x="288" y="128"/>
                    </a:lnTo>
                    <a:lnTo>
                      <a:pt x="288" y="128"/>
                    </a:lnTo>
                    <a:lnTo>
                      <a:pt x="304" y="128"/>
                    </a:lnTo>
                    <a:lnTo>
                      <a:pt x="310" y="130"/>
                    </a:lnTo>
                    <a:lnTo>
                      <a:pt x="316" y="134"/>
                    </a:lnTo>
                    <a:lnTo>
                      <a:pt x="318" y="136"/>
                    </a:lnTo>
                    <a:lnTo>
                      <a:pt x="318" y="140"/>
                    </a:lnTo>
                    <a:lnTo>
                      <a:pt x="316" y="144"/>
                    </a:lnTo>
                    <a:lnTo>
                      <a:pt x="310" y="150"/>
                    </a:lnTo>
                    <a:lnTo>
                      <a:pt x="310" y="150"/>
                    </a:lnTo>
                    <a:lnTo>
                      <a:pt x="298" y="158"/>
                    </a:lnTo>
                    <a:lnTo>
                      <a:pt x="292" y="162"/>
                    </a:lnTo>
                    <a:lnTo>
                      <a:pt x="290" y="166"/>
                    </a:lnTo>
                    <a:lnTo>
                      <a:pt x="290" y="168"/>
                    </a:lnTo>
                    <a:lnTo>
                      <a:pt x="296" y="170"/>
                    </a:lnTo>
                    <a:lnTo>
                      <a:pt x="328" y="166"/>
                    </a:lnTo>
                    <a:lnTo>
                      <a:pt x="328" y="166"/>
                    </a:lnTo>
                    <a:lnTo>
                      <a:pt x="348" y="164"/>
                    </a:lnTo>
                    <a:lnTo>
                      <a:pt x="360" y="166"/>
                    </a:lnTo>
                    <a:lnTo>
                      <a:pt x="370" y="166"/>
                    </a:lnTo>
                    <a:lnTo>
                      <a:pt x="376" y="168"/>
                    </a:lnTo>
                    <a:lnTo>
                      <a:pt x="382" y="170"/>
                    </a:lnTo>
                    <a:lnTo>
                      <a:pt x="386" y="172"/>
                    </a:lnTo>
                    <a:lnTo>
                      <a:pt x="392" y="170"/>
                    </a:lnTo>
                    <a:lnTo>
                      <a:pt x="400" y="166"/>
                    </a:lnTo>
                    <a:lnTo>
                      <a:pt x="400" y="16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0" name="Freeform 6084">
                <a:extLst>
                  <a:ext uri="{FF2B5EF4-FFF2-40B4-BE49-F238E27FC236}">
                    <a16:creationId xmlns:a16="http://schemas.microsoft.com/office/drawing/2014/main" id="{810B0AAA-5E9C-4103-99F0-614716D1E6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1460" y="3296603"/>
                <a:ext cx="5080" cy="5080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</a:cxnLst>
                <a:rect l="0" t="0" r="r" b="b"/>
                <a:pathLst>
                  <a:path w="8" h="8">
                    <a:moveTo>
                      <a:pt x="0" y="6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1" name="Freeform 6086">
                <a:extLst>
                  <a:ext uri="{FF2B5EF4-FFF2-40B4-BE49-F238E27FC236}">
                    <a16:creationId xmlns:a16="http://schemas.microsoft.com/office/drawing/2014/main" id="{4BDAF60B-FC8E-4381-B91C-90DA4335A5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979" y="1296353"/>
                <a:ext cx="2874010" cy="2354580"/>
              </a:xfrm>
              <a:custGeom>
                <a:avLst/>
                <a:gdLst/>
                <a:ahLst/>
                <a:cxnLst>
                  <a:cxn ang="0">
                    <a:pos x="3400" y="3516"/>
                  </a:cxn>
                  <a:cxn ang="0">
                    <a:pos x="3292" y="3276"/>
                  </a:cxn>
                  <a:cxn ang="0">
                    <a:pos x="3246" y="3102"/>
                  </a:cxn>
                  <a:cxn ang="0">
                    <a:pos x="3116" y="3080"/>
                  </a:cxn>
                  <a:cxn ang="0">
                    <a:pos x="2830" y="2916"/>
                  </a:cxn>
                  <a:cxn ang="0">
                    <a:pos x="3078" y="2572"/>
                  </a:cxn>
                  <a:cxn ang="0">
                    <a:pos x="3134" y="2554"/>
                  </a:cxn>
                  <a:cxn ang="0">
                    <a:pos x="3436" y="2646"/>
                  </a:cxn>
                  <a:cxn ang="0">
                    <a:pos x="3526" y="2642"/>
                  </a:cxn>
                  <a:cxn ang="0">
                    <a:pos x="3686" y="2282"/>
                  </a:cxn>
                  <a:cxn ang="0">
                    <a:pos x="3698" y="2162"/>
                  </a:cxn>
                  <a:cxn ang="0">
                    <a:pos x="3748" y="2092"/>
                  </a:cxn>
                  <a:cxn ang="0">
                    <a:pos x="3924" y="1928"/>
                  </a:cxn>
                  <a:cxn ang="0">
                    <a:pos x="4006" y="1782"/>
                  </a:cxn>
                  <a:cxn ang="0">
                    <a:pos x="4138" y="1824"/>
                  </a:cxn>
                  <a:cxn ang="0">
                    <a:pos x="4150" y="1496"/>
                  </a:cxn>
                  <a:cxn ang="0">
                    <a:pos x="4522" y="1296"/>
                  </a:cxn>
                  <a:cxn ang="0">
                    <a:pos x="4314" y="1090"/>
                  </a:cxn>
                  <a:cxn ang="0">
                    <a:pos x="4060" y="934"/>
                  </a:cxn>
                  <a:cxn ang="0">
                    <a:pos x="3720" y="680"/>
                  </a:cxn>
                  <a:cxn ang="0">
                    <a:pos x="3570" y="1166"/>
                  </a:cxn>
                  <a:cxn ang="0">
                    <a:pos x="3346" y="1132"/>
                  </a:cxn>
                  <a:cxn ang="0">
                    <a:pos x="3060" y="648"/>
                  </a:cxn>
                  <a:cxn ang="0">
                    <a:pos x="3304" y="420"/>
                  </a:cxn>
                  <a:cxn ang="0">
                    <a:pos x="3452" y="258"/>
                  </a:cxn>
                  <a:cxn ang="0">
                    <a:pos x="3282" y="322"/>
                  </a:cxn>
                  <a:cxn ang="0">
                    <a:pos x="3048" y="164"/>
                  </a:cxn>
                  <a:cxn ang="0">
                    <a:pos x="2954" y="232"/>
                  </a:cxn>
                  <a:cxn ang="0">
                    <a:pos x="2726" y="298"/>
                  </a:cxn>
                  <a:cxn ang="0">
                    <a:pos x="2330" y="286"/>
                  </a:cxn>
                  <a:cxn ang="0">
                    <a:pos x="1732" y="136"/>
                  </a:cxn>
                  <a:cxn ang="0">
                    <a:pos x="1406" y="178"/>
                  </a:cxn>
                  <a:cxn ang="0">
                    <a:pos x="636" y="94"/>
                  </a:cxn>
                  <a:cxn ang="0">
                    <a:pos x="54" y="266"/>
                  </a:cxn>
                  <a:cxn ang="0">
                    <a:pos x="28" y="440"/>
                  </a:cxn>
                  <a:cxn ang="0">
                    <a:pos x="270" y="598"/>
                  </a:cxn>
                  <a:cxn ang="0">
                    <a:pos x="246" y="900"/>
                  </a:cxn>
                  <a:cxn ang="0">
                    <a:pos x="218" y="1124"/>
                  </a:cxn>
                  <a:cxn ang="0">
                    <a:pos x="548" y="956"/>
                  </a:cxn>
                  <a:cxn ang="0">
                    <a:pos x="648" y="882"/>
                  </a:cxn>
                  <a:cxn ang="0">
                    <a:pos x="1136" y="842"/>
                  </a:cxn>
                  <a:cxn ang="0">
                    <a:pos x="1412" y="1020"/>
                  </a:cxn>
                  <a:cxn ang="0">
                    <a:pos x="1524" y="1162"/>
                  </a:cxn>
                  <a:cxn ang="0">
                    <a:pos x="1646" y="1306"/>
                  </a:cxn>
                  <a:cxn ang="0">
                    <a:pos x="1750" y="1434"/>
                  </a:cxn>
                  <a:cxn ang="0">
                    <a:pos x="1840" y="1570"/>
                  </a:cxn>
                  <a:cxn ang="0">
                    <a:pos x="1838" y="2170"/>
                  </a:cxn>
                  <a:cxn ang="0">
                    <a:pos x="2146" y="2682"/>
                  </a:cxn>
                  <a:cxn ang="0">
                    <a:pos x="2168" y="2564"/>
                  </a:cxn>
                  <a:cxn ang="0">
                    <a:pos x="2530" y="2998"/>
                  </a:cxn>
                  <a:cxn ang="0">
                    <a:pos x="3202" y="3400"/>
                  </a:cxn>
                  <a:cxn ang="0">
                    <a:pos x="3330" y="3570"/>
                  </a:cxn>
                  <a:cxn ang="0">
                    <a:pos x="3432" y="3656"/>
                  </a:cxn>
                  <a:cxn ang="0">
                    <a:pos x="3562" y="3616"/>
                  </a:cxn>
                  <a:cxn ang="0">
                    <a:pos x="3408" y="1922"/>
                  </a:cxn>
                  <a:cxn ang="0">
                    <a:pos x="3590" y="1870"/>
                  </a:cxn>
                  <a:cxn ang="0">
                    <a:pos x="3578" y="1812"/>
                  </a:cxn>
                  <a:cxn ang="0">
                    <a:pos x="3344" y="1588"/>
                  </a:cxn>
                  <a:cxn ang="0">
                    <a:pos x="3548" y="1750"/>
                  </a:cxn>
                  <a:cxn ang="0">
                    <a:pos x="3418" y="1798"/>
                  </a:cxn>
                  <a:cxn ang="0">
                    <a:pos x="3294" y="1766"/>
                  </a:cxn>
                  <a:cxn ang="0">
                    <a:pos x="3244" y="1726"/>
                  </a:cxn>
                  <a:cxn ang="0">
                    <a:pos x="3258" y="1654"/>
                  </a:cxn>
                </a:cxnLst>
                <a:rect l="0" t="0" r="r" b="b"/>
                <a:pathLst>
                  <a:path w="4526" h="3708">
                    <a:moveTo>
                      <a:pt x="3654" y="3626"/>
                    </a:move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42" y="3614"/>
                    </a:lnTo>
                    <a:lnTo>
                      <a:pt x="3628" y="3600"/>
                    </a:lnTo>
                    <a:lnTo>
                      <a:pt x="3622" y="3596"/>
                    </a:lnTo>
                    <a:lnTo>
                      <a:pt x="3614" y="3592"/>
                    </a:lnTo>
                    <a:lnTo>
                      <a:pt x="3606" y="3590"/>
                    </a:lnTo>
                    <a:lnTo>
                      <a:pt x="3598" y="3588"/>
                    </a:lnTo>
                    <a:lnTo>
                      <a:pt x="3598" y="3588"/>
                    </a:lnTo>
                    <a:lnTo>
                      <a:pt x="3588" y="3590"/>
                    </a:lnTo>
                    <a:lnTo>
                      <a:pt x="3588" y="3588"/>
                    </a:lnTo>
                    <a:lnTo>
                      <a:pt x="3588" y="3588"/>
                    </a:lnTo>
                    <a:lnTo>
                      <a:pt x="3588" y="3586"/>
                    </a:lnTo>
                    <a:lnTo>
                      <a:pt x="3586" y="3584"/>
                    </a:lnTo>
                    <a:lnTo>
                      <a:pt x="3574" y="3582"/>
                    </a:lnTo>
                    <a:lnTo>
                      <a:pt x="3574" y="3582"/>
                    </a:lnTo>
                    <a:lnTo>
                      <a:pt x="3562" y="3582"/>
                    </a:lnTo>
                    <a:lnTo>
                      <a:pt x="3560" y="3582"/>
                    </a:lnTo>
                    <a:lnTo>
                      <a:pt x="3560" y="3584"/>
                    </a:lnTo>
                    <a:lnTo>
                      <a:pt x="3556" y="3590"/>
                    </a:lnTo>
                    <a:lnTo>
                      <a:pt x="3552" y="3594"/>
                    </a:lnTo>
                    <a:lnTo>
                      <a:pt x="3546" y="3598"/>
                    </a:lnTo>
                    <a:lnTo>
                      <a:pt x="3546" y="3598"/>
                    </a:lnTo>
                    <a:lnTo>
                      <a:pt x="3524" y="3608"/>
                    </a:lnTo>
                    <a:lnTo>
                      <a:pt x="3518" y="3612"/>
                    </a:lnTo>
                    <a:lnTo>
                      <a:pt x="3514" y="3616"/>
                    </a:lnTo>
                    <a:lnTo>
                      <a:pt x="3496" y="3622"/>
                    </a:lnTo>
                    <a:lnTo>
                      <a:pt x="3496" y="3622"/>
                    </a:lnTo>
                    <a:lnTo>
                      <a:pt x="3492" y="3622"/>
                    </a:lnTo>
                    <a:lnTo>
                      <a:pt x="3488" y="3620"/>
                    </a:lnTo>
                    <a:lnTo>
                      <a:pt x="3480" y="3612"/>
                    </a:lnTo>
                    <a:lnTo>
                      <a:pt x="3480" y="3612"/>
                    </a:lnTo>
                    <a:lnTo>
                      <a:pt x="3476" y="3608"/>
                    </a:lnTo>
                    <a:lnTo>
                      <a:pt x="3474" y="3604"/>
                    </a:lnTo>
                    <a:lnTo>
                      <a:pt x="3474" y="3604"/>
                    </a:lnTo>
                    <a:lnTo>
                      <a:pt x="3472" y="3602"/>
                    </a:lnTo>
                    <a:lnTo>
                      <a:pt x="3470" y="3602"/>
                    </a:lnTo>
                    <a:lnTo>
                      <a:pt x="3468" y="3604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68" y="3612"/>
                    </a:lnTo>
                    <a:lnTo>
                      <a:pt x="3464" y="3612"/>
                    </a:lnTo>
                    <a:lnTo>
                      <a:pt x="3460" y="3610"/>
                    </a:lnTo>
                    <a:lnTo>
                      <a:pt x="3456" y="3608"/>
                    </a:lnTo>
                    <a:lnTo>
                      <a:pt x="3456" y="3608"/>
                    </a:lnTo>
                    <a:lnTo>
                      <a:pt x="3458" y="3604"/>
                    </a:lnTo>
                    <a:lnTo>
                      <a:pt x="3460" y="3604"/>
                    </a:lnTo>
                    <a:lnTo>
                      <a:pt x="3460" y="3602"/>
                    </a:lnTo>
                    <a:lnTo>
                      <a:pt x="3460" y="3600"/>
                    </a:lnTo>
                    <a:lnTo>
                      <a:pt x="3460" y="3600"/>
                    </a:lnTo>
                    <a:lnTo>
                      <a:pt x="3458" y="3600"/>
                    </a:lnTo>
                    <a:lnTo>
                      <a:pt x="3454" y="3600"/>
                    </a:lnTo>
                    <a:lnTo>
                      <a:pt x="3452" y="3600"/>
                    </a:lnTo>
                    <a:lnTo>
                      <a:pt x="3452" y="3596"/>
                    </a:lnTo>
                    <a:lnTo>
                      <a:pt x="3452" y="3596"/>
                    </a:lnTo>
                    <a:lnTo>
                      <a:pt x="3452" y="3590"/>
                    </a:lnTo>
                    <a:lnTo>
                      <a:pt x="3450" y="3588"/>
                    </a:lnTo>
                    <a:lnTo>
                      <a:pt x="3444" y="3584"/>
                    </a:lnTo>
                    <a:lnTo>
                      <a:pt x="3444" y="3584"/>
                    </a:lnTo>
                    <a:lnTo>
                      <a:pt x="3440" y="3578"/>
                    </a:lnTo>
                    <a:lnTo>
                      <a:pt x="3432" y="3568"/>
                    </a:lnTo>
                    <a:lnTo>
                      <a:pt x="3422" y="3558"/>
                    </a:lnTo>
                    <a:lnTo>
                      <a:pt x="3412" y="3544"/>
                    </a:lnTo>
                    <a:lnTo>
                      <a:pt x="3412" y="3544"/>
                    </a:lnTo>
                    <a:lnTo>
                      <a:pt x="3406" y="3534"/>
                    </a:lnTo>
                    <a:lnTo>
                      <a:pt x="3404" y="3528"/>
                    </a:lnTo>
                    <a:lnTo>
                      <a:pt x="3404" y="3522"/>
                    </a:lnTo>
                    <a:lnTo>
                      <a:pt x="3400" y="3516"/>
                    </a:lnTo>
                    <a:lnTo>
                      <a:pt x="3400" y="3516"/>
                    </a:lnTo>
                    <a:lnTo>
                      <a:pt x="3396" y="3512"/>
                    </a:lnTo>
                    <a:lnTo>
                      <a:pt x="3392" y="3504"/>
                    </a:lnTo>
                    <a:lnTo>
                      <a:pt x="3392" y="3504"/>
                    </a:lnTo>
                    <a:lnTo>
                      <a:pt x="3392" y="3498"/>
                    </a:lnTo>
                    <a:lnTo>
                      <a:pt x="3392" y="3492"/>
                    </a:lnTo>
                    <a:lnTo>
                      <a:pt x="3396" y="3486"/>
                    </a:lnTo>
                    <a:lnTo>
                      <a:pt x="3398" y="3484"/>
                    </a:lnTo>
                    <a:lnTo>
                      <a:pt x="3398" y="3484"/>
                    </a:lnTo>
                    <a:lnTo>
                      <a:pt x="3400" y="3482"/>
                    </a:lnTo>
                    <a:lnTo>
                      <a:pt x="3400" y="3478"/>
                    </a:lnTo>
                    <a:lnTo>
                      <a:pt x="3398" y="3474"/>
                    </a:lnTo>
                    <a:lnTo>
                      <a:pt x="3396" y="3472"/>
                    </a:lnTo>
                    <a:lnTo>
                      <a:pt x="3396" y="3472"/>
                    </a:lnTo>
                    <a:lnTo>
                      <a:pt x="3396" y="3470"/>
                    </a:lnTo>
                    <a:lnTo>
                      <a:pt x="3394" y="3470"/>
                    </a:lnTo>
                    <a:lnTo>
                      <a:pt x="3396" y="3464"/>
                    </a:lnTo>
                    <a:lnTo>
                      <a:pt x="3400" y="3452"/>
                    </a:lnTo>
                    <a:lnTo>
                      <a:pt x="3400" y="3452"/>
                    </a:lnTo>
                    <a:lnTo>
                      <a:pt x="3400" y="3446"/>
                    </a:lnTo>
                    <a:lnTo>
                      <a:pt x="3402" y="3444"/>
                    </a:lnTo>
                    <a:lnTo>
                      <a:pt x="3404" y="3444"/>
                    </a:lnTo>
                    <a:lnTo>
                      <a:pt x="3404" y="3444"/>
                    </a:lnTo>
                    <a:lnTo>
                      <a:pt x="3408" y="3444"/>
                    </a:lnTo>
                    <a:lnTo>
                      <a:pt x="3406" y="3438"/>
                    </a:lnTo>
                    <a:lnTo>
                      <a:pt x="3406" y="3438"/>
                    </a:lnTo>
                    <a:lnTo>
                      <a:pt x="3406" y="3424"/>
                    </a:lnTo>
                    <a:lnTo>
                      <a:pt x="3404" y="3404"/>
                    </a:lnTo>
                    <a:lnTo>
                      <a:pt x="3404" y="3404"/>
                    </a:lnTo>
                    <a:lnTo>
                      <a:pt x="3402" y="3396"/>
                    </a:lnTo>
                    <a:lnTo>
                      <a:pt x="3404" y="3392"/>
                    </a:lnTo>
                    <a:lnTo>
                      <a:pt x="3406" y="3386"/>
                    </a:lnTo>
                    <a:lnTo>
                      <a:pt x="3408" y="3378"/>
                    </a:lnTo>
                    <a:lnTo>
                      <a:pt x="3408" y="3378"/>
                    </a:lnTo>
                    <a:lnTo>
                      <a:pt x="3410" y="3368"/>
                    </a:lnTo>
                    <a:lnTo>
                      <a:pt x="3414" y="3358"/>
                    </a:lnTo>
                    <a:lnTo>
                      <a:pt x="3418" y="3350"/>
                    </a:lnTo>
                    <a:lnTo>
                      <a:pt x="3418" y="3346"/>
                    </a:lnTo>
                    <a:lnTo>
                      <a:pt x="3418" y="3342"/>
                    </a:lnTo>
                    <a:lnTo>
                      <a:pt x="3418" y="3342"/>
                    </a:lnTo>
                    <a:lnTo>
                      <a:pt x="3416" y="3334"/>
                    </a:lnTo>
                    <a:lnTo>
                      <a:pt x="3416" y="3328"/>
                    </a:lnTo>
                    <a:lnTo>
                      <a:pt x="3418" y="3324"/>
                    </a:lnTo>
                    <a:lnTo>
                      <a:pt x="3420" y="3318"/>
                    </a:lnTo>
                    <a:lnTo>
                      <a:pt x="3420" y="3318"/>
                    </a:lnTo>
                    <a:lnTo>
                      <a:pt x="3420" y="3314"/>
                    </a:lnTo>
                    <a:lnTo>
                      <a:pt x="3418" y="3310"/>
                    </a:lnTo>
                    <a:lnTo>
                      <a:pt x="3412" y="3304"/>
                    </a:lnTo>
                    <a:lnTo>
                      <a:pt x="3406" y="3300"/>
                    </a:lnTo>
                    <a:lnTo>
                      <a:pt x="3406" y="3300"/>
                    </a:lnTo>
                    <a:lnTo>
                      <a:pt x="3388" y="3290"/>
                    </a:lnTo>
                    <a:lnTo>
                      <a:pt x="3380" y="3280"/>
                    </a:lnTo>
                    <a:lnTo>
                      <a:pt x="3380" y="3280"/>
                    </a:lnTo>
                    <a:lnTo>
                      <a:pt x="3372" y="3274"/>
                    </a:lnTo>
                    <a:lnTo>
                      <a:pt x="3360" y="3270"/>
                    </a:lnTo>
                    <a:lnTo>
                      <a:pt x="3350" y="3268"/>
                    </a:lnTo>
                    <a:lnTo>
                      <a:pt x="3344" y="3268"/>
                    </a:lnTo>
                    <a:lnTo>
                      <a:pt x="3344" y="3268"/>
                    </a:lnTo>
                    <a:lnTo>
                      <a:pt x="3340" y="3270"/>
                    </a:lnTo>
                    <a:lnTo>
                      <a:pt x="3334" y="3270"/>
                    </a:lnTo>
                    <a:lnTo>
                      <a:pt x="3326" y="3270"/>
                    </a:lnTo>
                    <a:lnTo>
                      <a:pt x="3320" y="3268"/>
                    </a:lnTo>
                    <a:lnTo>
                      <a:pt x="3320" y="3268"/>
                    </a:lnTo>
                    <a:lnTo>
                      <a:pt x="3308" y="3264"/>
                    </a:lnTo>
                    <a:lnTo>
                      <a:pt x="3306" y="3264"/>
                    </a:lnTo>
                    <a:lnTo>
                      <a:pt x="3308" y="3266"/>
                    </a:lnTo>
                    <a:lnTo>
                      <a:pt x="3308" y="3266"/>
                    </a:lnTo>
                    <a:lnTo>
                      <a:pt x="3308" y="3268"/>
                    </a:lnTo>
                    <a:lnTo>
                      <a:pt x="3308" y="3270"/>
                    </a:lnTo>
                    <a:lnTo>
                      <a:pt x="3304" y="3272"/>
                    </a:lnTo>
                    <a:lnTo>
                      <a:pt x="3292" y="3276"/>
                    </a:lnTo>
                    <a:lnTo>
                      <a:pt x="3292" y="3276"/>
                    </a:lnTo>
                    <a:lnTo>
                      <a:pt x="3278" y="3278"/>
                    </a:lnTo>
                    <a:lnTo>
                      <a:pt x="3266" y="3276"/>
                    </a:lnTo>
                    <a:lnTo>
                      <a:pt x="3258" y="3274"/>
                    </a:lnTo>
                    <a:lnTo>
                      <a:pt x="3248" y="3274"/>
                    </a:lnTo>
                    <a:lnTo>
                      <a:pt x="3248" y="3274"/>
                    </a:lnTo>
                    <a:lnTo>
                      <a:pt x="3244" y="3276"/>
                    </a:lnTo>
                    <a:lnTo>
                      <a:pt x="3242" y="3274"/>
                    </a:lnTo>
                    <a:lnTo>
                      <a:pt x="3240" y="3272"/>
                    </a:lnTo>
                    <a:lnTo>
                      <a:pt x="3238" y="3270"/>
                    </a:lnTo>
                    <a:lnTo>
                      <a:pt x="3238" y="3270"/>
                    </a:lnTo>
                    <a:lnTo>
                      <a:pt x="3236" y="3270"/>
                    </a:lnTo>
                    <a:lnTo>
                      <a:pt x="3232" y="3272"/>
                    </a:lnTo>
                    <a:lnTo>
                      <a:pt x="3226" y="3276"/>
                    </a:lnTo>
                    <a:lnTo>
                      <a:pt x="3222" y="3282"/>
                    </a:lnTo>
                    <a:lnTo>
                      <a:pt x="3218" y="3282"/>
                    </a:lnTo>
                    <a:lnTo>
                      <a:pt x="3216" y="3280"/>
                    </a:lnTo>
                    <a:lnTo>
                      <a:pt x="3216" y="3280"/>
                    </a:lnTo>
                    <a:lnTo>
                      <a:pt x="3206" y="3272"/>
                    </a:lnTo>
                    <a:lnTo>
                      <a:pt x="3202" y="3268"/>
                    </a:lnTo>
                    <a:lnTo>
                      <a:pt x="3200" y="3268"/>
                    </a:lnTo>
                    <a:lnTo>
                      <a:pt x="3202" y="3270"/>
                    </a:lnTo>
                    <a:lnTo>
                      <a:pt x="3202" y="3270"/>
                    </a:lnTo>
                    <a:lnTo>
                      <a:pt x="3204" y="3274"/>
                    </a:lnTo>
                    <a:lnTo>
                      <a:pt x="3202" y="3280"/>
                    </a:lnTo>
                    <a:lnTo>
                      <a:pt x="3202" y="3280"/>
                    </a:lnTo>
                    <a:lnTo>
                      <a:pt x="3200" y="3282"/>
                    </a:lnTo>
                    <a:lnTo>
                      <a:pt x="3198" y="3280"/>
                    </a:lnTo>
                    <a:lnTo>
                      <a:pt x="3194" y="3274"/>
                    </a:lnTo>
                    <a:lnTo>
                      <a:pt x="3188" y="3270"/>
                    </a:lnTo>
                    <a:lnTo>
                      <a:pt x="3188" y="3270"/>
                    </a:lnTo>
                    <a:lnTo>
                      <a:pt x="3188" y="3268"/>
                    </a:lnTo>
                    <a:lnTo>
                      <a:pt x="3190" y="3264"/>
                    </a:lnTo>
                    <a:lnTo>
                      <a:pt x="3196" y="3256"/>
                    </a:lnTo>
                    <a:lnTo>
                      <a:pt x="3202" y="3250"/>
                    </a:lnTo>
                    <a:lnTo>
                      <a:pt x="3208" y="3242"/>
                    </a:lnTo>
                    <a:lnTo>
                      <a:pt x="3208" y="3242"/>
                    </a:lnTo>
                    <a:lnTo>
                      <a:pt x="3212" y="3236"/>
                    </a:lnTo>
                    <a:lnTo>
                      <a:pt x="3214" y="3228"/>
                    </a:lnTo>
                    <a:lnTo>
                      <a:pt x="3216" y="3206"/>
                    </a:lnTo>
                    <a:lnTo>
                      <a:pt x="3218" y="3182"/>
                    </a:lnTo>
                    <a:lnTo>
                      <a:pt x="3222" y="3160"/>
                    </a:lnTo>
                    <a:lnTo>
                      <a:pt x="3222" y="3160"/>
                    </a:lnTo>
                    <a:lnTo>
                      <a:pt x="3222" y="3154"/>
                    </a:lnTo>
                    <a:lnTo>
                      <a:pt x="3220" y="3150"/>
                    </a:lnTo>
                    <a:lnTo>
                      <a:pt x="3218" y="3148"/>
                    </a:lnTo>
                    <a:lnTo>
                      <a:pt x="3216" y="3148"/>
                    </a:lnTo>
                    <a:lnTo>
                      <a:pt x="3216" y="3148"/>
                    </a:lnTo>
                    <a:lnTo>
                      <a:pt x="3214" y="3150"/>
                    </a:lnTo>
                    <a:lnTo>
                      <a:pt x="3212" y="3150"/>
                    </a:lnTo>
                    <a:lnTo>
                      <a:pt x="3212" y="3144"/>
                    </a:lnTo>
                    <a:lnTo>
                      <a:pt x="3212" y="3144"/>
                    </a:lnTo>
                    <a:lnTo>
                      <a:pt x="3220" y="3128"/>
                    </a:lnTo>
                    <a:lnTo>
                      <a:pt x="3220" y="3128"/>
                    </a:lnTo>
                    <a:lnTo>
                      <a:pt x="3222" y="3124"/>
                    </a:lnTo>
                    <a:lnTo>
                      <a:pt x="3224" y="3124"/>
                    </a:lnTo>
                    <a:lnTo>
                      <a:pt x="3224" y="3128"/>
                    </a:lnTo>
                    <a:lnTo>
                      <a:pt x="3222" y="3134"/>
                    </a:lnTo>
                    <a:lnTo>
                      <a:pt x="3222" y="3134"/>
                    </a:lnTo>
                    <a:lnTo>
                      <a:pt x="3222" y="3140"/>
                    </a:lnTo>
                    <a:lnTo>
                      <a:pt x="3224" y="3144"/>
                    </a:lnTo>
                    <a:lnTo>
                      <a:pt x="3226" y="3148"/>
                    </a:lnTo>
                    <a:lnTo>
                      <a:pt x="3230" y="3154"/>
                    </a:lnTo>
                    <a:lnTo>
                      <a:pt x="3230" y="3154"/>
                    </a:lnTo>
                    <a:lnTo>
                      <a:pt x="3232" y="3156"/>
                    </a:lnTo>
                    <a:lnTo>
                      <a:pt x="3232" y="3152"/>
                    </a:lnTo>
                    <a:lnTo>
                      <a:pt x="3236" y="3138"/>
                    </a:lnTo>
                    <a:lnTo>
                      <a:pt x="3242" y="3118"/>
                    </a:lnTo>
                    <a:lnTo>
                      <a:pt x="3244" y="3104"/>
                    </a:lnTo>
                    <a:lnTo>
                      <a:pt x="3244" y="3104"/>
                    </a:lnTo>
                    <a:lnTo>
                      <a:pt x="3246" y="3102"/>
                    </a:lnTo>
                    <a:lnTo>
                      <a:pt x="3244" y="3102"/>
                    </a:lnTo>
                    <a:lnTo>
                      <a:pt x="3240" y="3102"/>
                    </a:lnTo>
                    <a:lnTo>
                      <a:pt x="3238" y="3102"/>
                    </a:lnTo>
                    <a:lnTo>
                      <a:pt x="3242" y="3098"/>
                    </a:lnTo>
                    <a:lnTo>
                      <a:pt x="3242" y="3098"/>
                    </a:lnTo>
                    <a:lnTo>
                      <a:pt x="3250" y="3088"/>
                    </a:lnTo>
                    <a:lnTo>
                      <a:pt x="3248" y="3086"/>
                    </a:lnTo>
                    <a:lnTo>
                      <a:pt x="3244" y="3088"/>
                    </a:lnTo>
                    <a:lnTo>
                      <a:pt x="3244" y="3088"/>
                    </a:lnTo>
                    <a:lnTo>
                      <a:pt x="3238" y="3090"/>
                    </a:lnTo>
                    <a:lnTo>
                      <a:pt x="3236" y="3088"/>
                    </a:lnTo>
                    <a:lnTo>
                      <a:pt x="3236" y="3084"/>
                    </a:lnTo>
                    <a:lnTo>
                      <a:pt x="3242" y="3078"/>
                    </a:lnTo>
                    <a:lnTo>
                      <a:pt x="3242" y="3078"/>
                    </a:lnTo>
                    <a:lnTo>
                      <a:pt x="3246" y="3076"/>
                    </a:lnTo>
                    <a:lnTo>
                      <a:pt x="3248" y="3072"/>
                    </a:lnTo>
                    <a:lnTo>
                      <a:pt x="3248" y="3064"/>
                    </a:lnTo>
                    <a:lnTo>
                      <a:pt x="3252" y="3050"/>
                    </a:lnTo>
                    <a:lnTo>
                      <a:pt x="3256" y="3040"/>
                    </a:lnTo>
                    <a:lnTo>
                      <a:pt x="3264" y="3030"/>
                    </a:lnTo>
                    <a:lnTo>
                      <a:pt x="3264" y="3030"/>
                    </a:lnTo>
                    <a:lnTo>
                      <a:pt x="3274" y="3016"/>
                    </a:lnTo>
                    <a:lnTo>
                      <a:pt x="3276" y="3010"/>
                    </a:lnTo>
                    <a:lnTo>
                      <a:pt x="3274" y="3006"/>
                    </a:lnTo>
                    <a:lnTo>
                      <a:pt x="3272" y="3002"/>
                    </a:lnTo>
                    <a:lnTo>
                      <a:pt x="3272" y="3002"/>
                    </a:lnTo>
                    <a:lnTo>
                      <a:pt x="3272" y="2996"/>
                    </a:lnTo>
                    <a:lnTo>
                      <a:pt x="3272" y="2994"/>
                    </a:lnTo>
                    <a:lnTo>
                      <a:pt x="3268" y="2992"/>
                    </a:lnTo>
                    <a:lnTo>
                      <a:pt x="3266" y="2988"/>
                    </a:lnTo>
                    <a:lnTo>
                      <a:pt x="3266" y="2988"/>
                    </a:lnTo>
                    <a:lnTo>
                      <a:pt x="3264" y="2986"/>
                    </a:lnTo>
                    <a:lnTo>
                      <a:pt x="3260" y="2986"/>
                    </a:lnTo>
                    <a:lnTo>
                      <a:pt x="3256" y="2986"/>
                    </a:lnTo>
                    <a:lnTo>
                      <a:pt x="3252" y="2988"/>
                    </a:lnTo>
                    <a:lnTo>
                      <a:pt x="3252" y="2988"/>
                    </a:lnTo>
                    <a:lnTo>
                      <a:pt x="3254" y="2990"/>
                    </a:lnTo>
                    <a:lnTo>
                      <a:pt x="3254" y="2990"/>
                    </a:lnTo>
                    <a:lnTo>
                      <a:pt x="3260" y="2990"/>
                    </a:lnTo>
                    <a:lnTo>
                      <a:pt x="3260" y="2992"/>
                    </a:lnTo>
                    <a:lnTo>
                      <a:pt x="3256" y="2994"/>
                    </a:lnTo>
                    <a:lnTo>
                      <a:pt x="3256" y="2994"/>
                    </a:lnTo>
                    <a:lnTo>
                      <a:pt x="3254" y="2994"/>
                    </a:lnTo>
                    <a:lnTo>
                      <a:pt x="3250" y="2994"/>
                    </a:lnTo>
                    <a:lnTo>
                      <a:pt x="3242" y="2990"/>
                    </a:lnTo>
                    <a:lnTo>
                      <a:pt x="3230" y="2988"/>
                    </a:lnTo>
                    <a:lnTo>
                      <a:pt x="3222" y="2986"/>
                    </a:lnTo>
                    <a:lnTo>
                      <a:pt x="3214" y="2986"/>
                    </a:lnTo>
                    <a:lnTo>
                      <a:pt x="3214" y="2986"/>
                    </a:lnTo>
                    <a:lnTo>
                      <a:pt x="3202" y="2990"/>
                    </a:lnTo>
                    <a:lnTo>
                      <a:pt x="3196" y="2992"/>
                    </a:lnTo>
                    <a:lnTo>
                      <a:pt x="3190" y="2996"/>
                    </a:lnTo>
                    <a:lnTo>
                      <a:pt x="3180" y="2998"/>
                    </a:lnTo>
                    <a:lnTo>
                      <a:pt x="3180" y="2998"/>
                    </a:lnTo>
                    <a:lnTo>
                      <a:pt x="3162" y="3000"/>
                    </a:lnTo>
                    <a:lnTo>
                      <a:pt x="3146" y="3004"/>
                    </a:lnTo>
                    <a:lnTo>
                      <a:pt x="3140" y="3008"/>
                    </a:lnTo>
                    <a:lnTo>
                      <a:pt x="3134" y="3012"/>
                    </a:lnTo>
                    <a:lnTo>
                      <a:pt x="3130" y="3016"/>
                    </a:lnTo>
                    <a:lnTo>
                      <a:pt x="3130" y="3020"/>
                    </a:lnTo>
                    <a:lnTo>
                      <a:pt x="3130" y="3020"/>
                    </a:lnTo>
                    <a:lnTo>
                      <a:pt x="3128" y="3028"/>
                    </a:lnTo>
                    <a:lnTo>
                      <a:pt x="3126" y="3034"/>
                    </a:lnTo>
                    <a:lnTo>
                      <a:pt x="3124" y="3040"/>
                    </a:lnTo>
                    <a:lnTo>
                      <a:pt x="3124" y="3056"/>
                    </a:lnTo>
                    <a:lnTo>
                      <a:pt x="3124" y="3056"/>
                    </a:lnTo>
                    <a:lnTo>
                      <a:pt x="3126" y="3068"/>
                    </a:lnTo>
                    <a:lnTo>
                      <a:pt x="3124" y="3070"/>
                    </a:lnTo>
                    <a:lnTo>
                      <a:pt x="3122" y="3072"/>
                    </a:lnTo>
                    <a:lnTo>
                      <a:pt x="3118" y="3076"/>
                    </a:lnTo>
                    <a:lnTo>
                      <a:pt x="3116" y="3080"/>
                    </a:lnTo>
                    <a:lnTo>
                      <a:pt x="3116" y="3088"/>
                    </a:lnTo>
                    <a:lnTo>
                      <a:pt x="3116" y="3088"/>
                    </a:lnTo>
                    <a:lnTo>
                      <a:pt x="3114" y="3096"/>
                    </a:lnTo>
                    <a:lnTo>
                      <a:pt x="3112" y="3102"/>
                    </a:lnTo>
                    <a:lnTo>
                      <a:pt x="3108" y="3108"/>
                    </a:lnTo>
                    <a:lnTo>
                      <a:pt x="3104" y="3112"/>
                    </a:lnTo>
                    <a:lnTo>
                      <a:pt x="3094" y="3118"/>
                    </a:lnTo>
                    <a:lnTo>
                      <a:pt x="3086" y="3122"/>
                    </a:lnTo>
                    <a:lnTo>
                      <a:pt x="3086" y="3122"/>
                    </a:lnTo>
                    <a:lnTo>
                      <a:pt x="3084" y="3126"/>
                    </a:lnTo>
                    <a:lnTo>
                      <a:pt x="3084" y="3126"/>
                    </a:lnTo>
                    <a:lnTo>
                      <a:pt x="3088" y="3128"/>
                    </a:lnTo>
                    <a:lnTo>
                      <a:pt x="3092" y="3132"/>
                    </a:lnTo>
                    <a:lnTo>
                      <a:pt x="3092" y="3134"/>
                    </a:lnTo>
                    <a:lnTo>
                      <a:pt x="3090" y="3138"/>
                    </a:lnTo>
                    <a:lnTo>
                      <a:pt x="3090" y="3138"/>
                    </a:lnTo>
                    <a:lnTo>
                      <a:pt x="3086" y="3142"/>
                    </a:lnTo>
                    <a:lnTo>
                      <a:pt x="3078" y="3144"/>
                    </a:lnTo>
                    <a:lnTo>
                      <a:pt x="3072" y="3144"/>
                    </a:lnTo>
                    <a:lnTo>
                      <a:pt x="3070" y="3142"/>
                    </a:lnTo>
                    <a:lnTo>
                      <a:pt x="3070" y="3140"/>
                    </a:lnTo>
                    <a:lnTo>
                      <a:pt x="3070" y="3140"/>
                    </a:lnTo>
                    <a:lnTo>
                      <a:pt x="3068" y="3134"/>
                    </a:lnTo>
                    <a:lnTo>
                      <a:pt x="3066" y="3132"/>
                    </a:lnTo>
                    <a:lnTo>
                      <a:pt x="3058" y="3132"/>
                    </a:lnTo>
                    <a:lnTo>
                      <a:pt x="3046" y="3132"/>
                    </a:lnTo>
                    <a:lnTo>
                      <a:pt x="3046" y="3132"/>
                    </a:lnTo>
                    <a:lnTo>
                      <a:pt x="3038" y="3134"/>
                    </a:lnTo>
                    <a:lnTo>
                      <a:pt x="3034" y="3138"/>
                    </a:lnTo>
                    <a:lnTo>
                      <a:pt x="3028" y="3142"/>
                    </a:lnTo>
                    <a:lnTo>
                      <a:pt x="3010" y="3144"/>
                    </a:lnTo>
                    <a:lnTo>
                      <a:pt x="3010" y="3144"/>
                    </a:lnTo>
                    <a:lnTo>
                      <a:pt x="2996" y="3146"/>
                    </a:lnTo>
                    <a:lnTo>
                      <a:pt x="2986" y="3152"/>
                    </a:lnTo>
                    <a:lnTo>
                      <a:pt x="2978" y="3156"/>
                    </a:lnTo>
                    <a:lnTo>
                      <a:pt x="2968" y="3160"/>
                    </a:lnTo>
                    <a:lnTo>
                      <a:pt x="2968" y="3160"/>
                    </a:lnTo>
                    <a:lnTo>
                      <a:pt x="2964" y="3160"/>
                    </a:lnTo>
                    <a:lnTo>
                      <a:pt x="2960" y="3158"/>
                    </a:lnTo>
                    <a:lnTo>
                      <a:pt x="2956" y="3148"/>
                    </a:lnTo>
                    <a:lnTo>
                      <a:pt x="2952" y="3144"/>
                    </a:lnTo>
                    <a:lnTo>
                      <a:pt x="2946" y="3138"/>
                    </a:lnTo>
                    <a:lnTo>
                      <a:pt x="2938" y="3134"/>
                    </a:lnTo>
                    <a:lnTo>
                      <a:pt x="2924" y="3130"/>
                    </a:lnTo>
                    <a:lnTo>
                      <a:pt x="2924" y="3130"/>
                    </a:lnTo>
                    <a:lnTo>
                      <a:pt x="2912" y="3126"/>
                    </a:lnTo>
                    <a:lnTo>
                      <a:pt x="2904" y="3120"/>
                    </a:lnTo>
                    <a:lnTo>
                      <a:pt x="2898" y="3112"/>
                    </a:lnTo>
                    <a:lnTo>
                      <a:pt x="2894" y="3102"/>
                    </a:lnTo>
                    <a:lnTo>
                      <a:pt x="2884" y="3076"/>
                    </a:lnTo>
                    <a:lnTo>
                      <a:pt x="2876" y="3062"/>
                    </a:lnTo>
                    <a:lnTo>
                      <a:pt x="2864" y="3046"/>
                    </a:lnTo>
                    <a:lnTo>
                      <a:pt x="2864" y="3046"/>
                    </a:lnTo>
                    <a:lnTo>
                      <a:pt x="2858" y="3036"/>
                    </a:lnTo>
                    <a:lnTo>
                      <a:pt x="2852" y="3028"/>
                    </a:lnTo>
                    <a:lnTo>
                      <a:pt x="2848" y="3010"/>
                    </a:lnTo>
                    <a:lnTo>
                      <a:pt x="2844" y="2998"/>
                    </a:lnTo>
                    <a:lnTo>
                      <a:pt x="2844" y="2994"/>
                    </a:lnTo>
                    <a:lnTo>
                      <a:pt x="2842" y="2992"/>
                    </a:lnTo>
                    <a:lnTo>
                      <a:pt x="2842" y="2992"/>
                    </a:lnTo>
                    <a:lnTo>
                      <a:pt x="2838" y="2990"/>
                    </a:lnTo>
                    <a:lnTo>
                      <a:pt x="2836" y="2988"/>
                    </a:lnTo>
                    <a:lnTo>
                      <a:pt x="2834" y="2976"/>
                    </a:lnTo>
                    <a:lnTo>
                      <a:pt x="2830" y="2948"/>
                    </a:lnTo>
                    <a:lnTo>
                      <a:pt x="2830" y="2948"/>
                    </a:lnTo>
                    <a:lnTo>
                      <a:pt x="2830" y="2938"/>
                    </a:lnTo>
                    <a:lnTo>
                      <a:pt x="2828" y="2934"/>
                    </a:lnTo>
                    <a:lnTo>
                      <a:pt x="2828" y="2932"/>
                    </a:lnTo>
                    <a:lnTo>
                      <a:pt x="2830" y="2926"/>
                    </a:lnTo>
                    <a:lnTo>
                      <a:pt x="2830" y="2926"/>
                    </a:lnTo>
                    <a:lnTo>
                      <a:pt x="2830" y="2916"/>
                    </a:lnTo>
                    <a:lnTo>
                      <a:pt x="2830" y="2906"/>
                    </a:lnTo>
                    <a:lnTo>
                      <a:pt x="2830" y="2886"/>
                    </a:lnTo>
                    <a:lnTo>
                      <a:pt x="2834" y="2854"/>
                    </a:lnTo>
                    <a:lnTo>
                      <a:pt x="2834" y="2854"/>
                    </a:lnTo>
                    <a:lnTo>
                      <a:pt x="2840" y="2820"/>
                    </a:lnTo>
                    <a:lnTo>
                      <a:pt x="2846" y="2800"/>
                    </a:lnTo>
                    <a:lnTo>
                      <a:pt x="2852" y="2784"/>
                    </a:lnTo>
                    <a:lnTo>
                      <a:pt x="2856" y="2766"/>
                    </a:lnTo>
                    <a:lnTo>
                      <a:pt x="2856" y="2766"/>
                    </a:lnTo>
                    <a:lnTo>
                      <a:pt x="2854" y="2748"/>
                    </a:lnTo>
                    <a:lnTo>
                      <a:pt x="2850" y="2728"/>
                    </a:lnTo>
                    <a:lnTo>
                      <a:pt x="2846" y="2710"/>
                    </a:lnTo>
                    <a:lnTo>
                      <a:pt x="2846" y="2696"/>
                    </a:lnTo>
                    <a:lnTo>
                      <a:pt x="2846" y="2696"/>
                    </a:lnTo>
                    <a:lnTo>
                      <a:pt x="2850" y="2686"/>
                    </a:lnTo>
                    <a:lnTo>
                      <a:pt x="2854" y="2678"/>
                    </a:lnTo>
                    <a:lnTo>
                      <a:pt x="2858" y="2672"/>
                    </a:lnTo>
                    <a:lnTo>
                      <a:pt x="2864" y="2662"/>
                    </a:lnTo>
                    <a:lnTo>
                      <a:pt x="2864" y="2662"/>
                    </a:lnTo>
                    <a:lnTo>
                      <a:pt x="2866" y="2658"/>
                    </a:lnTo>
                    <a:lnTo>
                      <a:pt x="2870" y="2654"/>
                    </a:lnTo>
                    <a:lnTo>
                      <a:pt x="2880" y="2646"/>
                    </a:lnTo>
                    <a:lnTo>
                      <a:pt x="2886" y="2642"/>
                    </a:lnTo>
                    <a:lnTo>
                      <a:pt x="2888" y="2640"/>
                    </a:lnTo>
                    <a:lnTo>
                      <a:pt x="2886" y="2638"/>
                    </a:lnTo>
                    <a:lnTo>
                      <a:pt x="2886" y="2638"/>
                    </a:lnTo>
                    <a:lnTo>
                      <a:pt x="2880" y="2628"/>
                    </a:lnTo>
                    <a:lnTo>
                      <a:pt x="2878" y="2626"/>
                    </a:lnTo>
                    <a:lnTo>
                      <a:pt x="2882" y="2628"/>
                    </a:lnTo>
                    <a:lnTo>
                      <a:pt x="2882" y="2628"/>
                    </a:lnTo>
                    <a:lnTo>
                      <a:pt x="2886" y="2628"/>
                    </a:lnTo>
                    <a:lnTo>
                      <a:pt x="2890" y="2628"/>
                    </a:lnTo>
                    <a:lnTo>
                      <a:pt x="2892" y="2626"/>
                    </a:lnTo>
                    <a:lnTo>
                      <a:pt x="2894" y="2628"/>
                    </a:lnTo>
                    <a:lnTo>
                      <a:pt x="2894" y="2628"/>
                    </a:lnTo>
                    <a:lnTo>
                      <a:pt x="2896" y="2628"/>
                    </a:lnTo>
                    <a:lnTo>
                      <a:pt x="2902" y="2628"/>
                    </a:lnTo>
                    <a:lnTo>
                      <a:pt x="2912" y="2624"/>
                    </a:lnTo>
                    <a:lnTo>
                      <a:pt x="2926" y="2616"/>
                    </a:lnTo>
                    <a:lnTo>
                      <a:pt x="2936" y="2606"/>
                    </a:lnTo>
                    <a:lnTo>
                      <a:pt x="2936" y="2606"/>
                    </a:lnTo>
                    <a:lnTo>
                      <a:pt x="2942" y="2600"/>
                    </a:lnTo>
                    <a:lnTo>
                      <a:pt x="2948" y="2594"/>
                    </a:lnTo>
                    <a:lnTo>
                      <a:pt x="2964" y="2584"/>
                    </a:lnTo>
                    <a:lnTo>
                      <a:pt x="2964" y="2584"/>
                    </a:lnTo>
                    <a:lnTo>
                      <a:pt x="2980" y="2572"/>
                    </a:lnTo>
                    <a:lnTo>
                      <a:pt x="2990" y="2570"/>
                    </a:lnTo>
                    <a:lnTo>
                      <a:pt x="3006" y="2568"/>
                    </a:lnTo>
                    <a:lnTo>
                      <a:pt x="3006" y="2568"/>
                    </a:lnTo>
                    <a:lnTo>
                      <a:pt x="3014" y="2568"/>
                    </a:lnTo>
                    <a:lnTo>
                      <a:pt x="3020" y="2570"/>
                    </a:lnTo>
                    <a:lnTo>
                      <a:pt x="3032" y="2574"/>
                    </a:lnTo>
                    <a:lnTo>
                      <a:pt x="3040" y="2580"/>
                    </a:lnTo>
                    <a:lnTo>
                      <a:pt x="3046" y="2580"/>
                    </a:lnTo>
                    <a:lnTo>
                      <a:pt x="3050" y="2580"/>
                    </a:lnTo>
                    <a:lnTo>
                      <a:pt x="3050" y="2580"/>
                    </a:lnTo>
                    <a:lnTo>
                      <a:pt x="3060" y="2578"/>
                    </a:lnTo>
                    <a:lnTo>
                      <a:pt x="3064" y="2580"/>
                    </a:lnTo>
                    <a:lnTo>
                      <a:pt x="3068" y="2582"/>
                    </a:lnTo>
                    <a:lnTo>
                      <a:pt x="3072" y="2580"/>
                    </a:lnTo>
                    <a:lnTo>
                      <a:pt x="3072" y="2580"/>
                    </a:lnTo>
                    <a:lnTo>
                      <a:pt x="3074" y="2578"/>
                    </a:lnTo>
                    <a:lnTo>
                      <a:pt x="3072" y="2578"/>
                    </a:lnTo>
                    <a:lnTo>
                      <a:pt x="3066" y="2576"/>
                    </a:lnTo>
                    <a:lnTo>
                      <a:pt x="3058" y="2572"/>
                    </a:lnTo>
                    <a:lnTo>
                      <a:pt x="3058" y="2572"/>
                    </a:lnTo>
                    <a:lnTo>
                      <a:pt x="3060" y="2568"/>
                    </a:lnTo>
                    <a:lnTo>
                      <a:pt x="3060" y="2568"/>
                    </a:lnTo>
                    <a:lnTo>
                      <a:pt x="3068" y="2566"/>
                    </a:lnTo>
                    <a:lnTo>
                      <a:pt x="3074" y="2568"/>
                    </a:lnTo>
                    <a:lnTo>
                      <a:pt x="3078" y="2572"/>
                    </a:lnTo>
                    <a:lnTo>
                      <a:pt x="3082" y="2578"/>
                    </a:lnTo>
                    <a:lnTo>
                      <a:pt x="3082" y="2578"/>
                    </a:lnTo>
                    <a:lnTo>
                      <a:pt x="3084" y="2580"/>
                    </a:lnTo>
                    <a:lnTo>
                      <a:pt x="3086" y="2582"/>
                    </a:lnTo>
                    <a:lnTo>
                      <a:pt x="3092" y="2584"/>
                    </a:lnTo>
                    <a:lnTo>
                      <a:pt x="3096" y="2586"/>
                    </a:lnTo>
                    <a:lnTo>
                      <a:pt x="3094" y="2588"/>
                    </a:lnTo>
                    <a:lnTo>
                      <a:pt x="3092" y="2590"/>
                    </a:lnTo>
                    <a:lnTo>
                      <a:pt x="3092" y="2590"/>
                    </a:lnTo>
                    <a:lnTo>
                      <a:pt x="3092" y="2594"/>
                    </a:lnTo>
                    <a:lnTo>
                      <a:pt x="3094" y="2596"/>
                    </a:lnTo>
                    <a:lnTo>
                      <a:pt x="3102" y="2600"/>
                    </a:lnTo>
                    <a:lnTo>
                      <a:pt x="3112" y="2600"/>
                    </a:lnTo>
                    <a:lnTo>
                      <a:pt x="3118" y="2600"/>
                    </a:lnTo>
                    <a:lnTo>
                      <a:pt x="3118" y="2600"/>
                    </a:lnTo>
                    <a:lnTo>
                      <a:pt x="3120" y="2596"/>
                    </a:lnTo>
                    <a:lnTo>
                      <a:pt x="3126" y="2594"/>
                    </a:lnTo>
                    <a:lnTo>
                      <a:pt x="3130" y="2594"/>
                    </a:lnTo>
                    <a:lnTo>
                      <a:pt x="3134" y="2600"/>
                    </a:lnTo>
                    <a:lnTo>
                      <a:pt x="3134" y="2600"/>
                    </a:lnTo>
                    <a:lnTo>
                      <a:pt x="3136" y="2602"/>
                    </a:lnTo>
                    <a:lnTo>
                      <a:pt x="3138" y="2604"/>
                    </a:lnTo>
                    <a:lnTo>
                      <a:pt x="3142" y="2602"/>
                    </a:lnTo>
                    <a:lnTo>
                      <a:pt x="3144" y="2596"/>
                    </a:lnTo>
                    <a:lnTo>
                      <a:pt x="3144" y="2592"/>
                    </a:lnTo>
                    <a:lnTo>
                      <a:pt x="3142" y="2588"/>
                    </a:lnTo>
                    <a:lnTo>
                      <a:pt x="3142" y="2588"/>
                    </a:lnTo>
                    <a:lnTo>
                      <a:pt x="3142" y="2584"/>
                    </a:lnTo>
                    <a:lnTo>
                      <a:pt x="3146" y="2584"/>
                    </a:lnTo>
                    <a:lnTo>
                      <a:pt x="3152" y="2586"/>
                    </a:lnTo>
                    <a:lnTo>
                      <a:pt x="3160" y="2594"/>
                    </a:lnTo>
                    <a:lnTo>
                      <a:pt x="3160" y="2594"/>
                    </a:lnTo>
                    <a:lnTo>
                      <a:pt x="3166" y="2602"/>
                    </a:lnTo>
                    <a:lnTo>
                      <a:pt x="3168" y="2608"/>
                    </a:lnTo>
                    <a:lnTo>
                      <a:pt x="3168" y="2610"/>
                    </a:lnTo>
                    <a:lnTo>
                      <a:pt x="3170" y="2610"/>
                    </a:lnTo>
                    <a:lnTo>
                      <a:pt x="3176" y="2606"/>
                    </a:lnTo>
                    <a:lnTo>
                      <a:pt x="3176" y="2606"/>
                    </a:lnTo>
                    <a:lnTo>
                      <a:pt x="3180" y="2602"/>
                    </a:lnTo>
                    <a:lnTo>
                      <a:pt x="3182" y="2600"/>
                    </a:lnTo>
                    <a:lnTo>
                      <a:pt x="3182" y="2596"/>
                    </a:lnTo>
                    <a:lnTo>
                      <a:pt x="3180" y="2594"/>
                    </a:lnTo>
                    <a:lnTo>
                      <a:pt x="3174" y="2590"/>
                    </a:lnTo>
                    <a:lnTo>
                      <a:pt x="3162" y="2584"/>
                    </a:lnTo>
                    <a:lnTo>
                      <a:pt x="3162" y="2584"/>
                    </a:lnTo>
                    <a:lnTo>
                      <a:pt x="3158" y="2580"/>
                    </a:lnTo>
                    <a:lnTo>
                      <a:pt x="3158" y="2578"/>
                    </a:lnTo>
                    <a:lnTo>
                      <a:pt x="3160" y="2576"/>
                    </a:lnTo>
                    <a:lnTo>
                      <a:pt x="3164" y="2574"/>
                    </a:lnTo>
                    <a:lnTo>
                      <a:pt x="3170" y="2568"/>
                    </a:lnTo>
                    <a:lnTo>
                      <a:pt x="3172" y="2564"/>
                    </a:lnTo>
                    <a:lnTo>
                      <a:pt x="3172" y="2560"/>
                    </a:lnTo>
                    <a:lnTo>
                      <a:pt x="3172" y="2560"/>
                    </a:lnTo>
                    <a:lnTo>
                      <a:pt x="3170" y="2556"/>
                    </a:lnTo>
                    <a:lnTo>
                      <a:pt x="3168" y="2556"/>
                    </a:lnTo>
                    <a:lnTo>
                      <a:pt x="3164" y="2558"/>
                    </a:lnTo>
                    <a:lnTo>
                      <a:pt x="3160" y="2562"/>
                    </a:lnTo>
                    <a:lnTo>
                      <a:pt x="3158" y="2562"/>
                    </a:lnTo>
                    <a:lnTo>
                      <a:pt x="3156" y="2562"/>
                    </a:lnTo>
                    <a:lnTo>
                      <a:pt x="3156" y="2562"/>
                    </a:lnTo>
                    <a:lnTo>
                      <a:pt x="3154" y="2560"/>
                    </a:lnTo>
                    <a:lnTo>
                      <a:pt x="3154" y="2558"/>
                    </a:lnTo>
                    <a:lnTo>
                      <a:pt x="3156" y="2556"/>
                    </a:lnTo>
                    <a:lnTo>
                      <a:pt x="3158" y="2552"/>
                    </a:lnTo>
                    <a:lnTo>
                      <a:pt x="3154" y="2550"/>
                    </a:lnTo>
                    <a:lnTo>
                      <a:pt x="3154" y="2550"/>
                    </a:lnTo>
                    <a:lnTo>
                      <a:pt x="3148" y="2550"/>
                    </a:lnTo>
                    <a:lnTo>
                      <a:pt x="3144" y="2554"/>
                    </a:lnTo>
                    <a:lnTo>
                      <a:pt x="3142" y="2556"/>
                    </a:lnTo>
                    <a:lnTo>
                      <a:pt x="3134" y="2554"/>
                    </a:lnTo>
                    <a:lnTo>
                      <a:pt x="3134" y="2554"/>
                    </a:lnTo>
                    <a:lnTo>
                      <a:pt x="3130" y="2550"/>
                    </a:lnTo>
                    <a:lnTo>
                      <a:pt x="3128" y="2548"/>
                    </a:lnTo>
                    <a:lnTo>
                      <a:pt x="3128" y="2544"/>
                    </a:lnTo>
                    <a:lnTo>
                      <a:pt x="3130" y="2540"/>
                    </a:lnTo>
                    <a:lnTo>
                      <a:pt x="3132" y="2538"/>
                    </a:lnTo>
                    <a:lnTo>
                      <a:pt x="3136" y="2536"/>
                    </a:lnTo>
                    <a:lnTo>
                      <a:pt x="3142" y="2536"/>
                    </a:lnTo>
                    <a:lnTo>
                      <a:pt x="3148" y="2538"/>
                    </a:lnTo>
                    <a:lnTo>
                      <a:pt x="3148" y="2538"/>
                    </a:lnTo>
                    <a:lnTo>
                      <a:pt x="3156" y="2544"/>
                    </a:lnTo>
                    <a:lnTo>
                      <a:pt x="3164" y="2546"/>
                    </a:lnTo>
                    <a:lnTo>
                      <a:pt x="3170" y="2544"/>
                    </a:lnTo>
                    <a:lnTo>
                      <a:pt x="3178" y="2538"/>
                    </a:lnTo>
                    <a:lnTo>
                      <a:pt x="3178" y="2538"/>
                    </a:lnTo>
                    <a:lnTo>
                      <a:pt x="3182" y="2536"/>
                    </a:lnTo>
                    <a:lnTo>
                      <a:pt x="3190" y="2536"/>
                    </a:lnTo>
                    <a:lnTo>
                      <a:pt x="3202" y="2536"/>
                    </a:lnTo>
                    <a:lnTo>
                      <a:pt x="3214" y="2538"/>
                    </a:lnTo>
                    <a:lnTo>
                      <a:pt x="3218" y="2538"/>
                    </a:lnTo>
                    <a:lnTo>
                      <a:pt x="3220" y="2536"/>
                    </a:lnTo>
                    <a:lnTo>
                      <a:pt x="3220" y="2536"/>
                    </a:lnTo>
                    <a:lnTo>
                      <a:pt x="3222" y="2522"/>
                    </a:lnTo>
                    <a:lnTo>
                      <a:pt x="3224" y="2520"/>
                    </a:lnTo>
                    <a:lnTo>
                      <a:pt x="3226" y="2522"/>
                    </a:lnTo>
                    <a:lnTo>
                      <a:pt x="3232" y="2534"/>
                    </a:lnTo>
                    <a:lnTo>
                      <a:pt x="3232" y="2534"/>
                    </a:lnTo>
                    <a:lnTo>
                      <a:pt x="3232" y="2538"/>
                    </a:lnTo>
                    <a:lnTo>
                      <a:pt x="3230" y="2540"/>
                    </a:lnTo>
                    <a:lnTo>
                      <a:pt x="3226" y="2544"/>
                    </a:lnTo>
                    <a:lnTo>
                      <a:pt x="3224" y="2546"/>
                    </a:lnTo>
                    <a:lnTo>
                      <a:pt x="3234" y="2544"/>
                    </a:lnTo>
                    <a:lnTo>
                      <a:pt x="3234" y="2544"/>
                    </a:lnTo>
                    <a:lnTo>
                      <a:pt x="3268" y="2536"/>
                    </a:lnTo>
                    <a:lnTo>
                      <a:pt x="3282" y="2536"/>
                    </a:lnTo>
                    <a:lnTo>
                      <a:pt x="3296" y="2538"/>
                    </a:lnTo>
                    <a:lnTo>
                      <a:pt x="3296" y="2538"/>
                    </a:lnTo>
                    <a:lnTo>
                      <a:pt x="3312" y="2544"/>
                    </a:lnTo>
                    <a:lnTo>
                      <a:pt x="3318" y="2546"/>
                    </a:lnTo>
                    <a:lnTo>
                      <a:pt x="3320" y="2552"/>
                    </a:lnTo>
                    <a:lnTo>
                      <a:pt x="3320" y="2552"/>
                    </a:lnTo>
                    <a:lnTo>
                      <a:pt x="3324" y="2556"/>
                    </a:lnTo>
                    <a:lnTo>
                      <a:pt x="3326" y="2556"/>
                    </a:lnTo>
                    <a:lnTo>
                      <a:pt x="3330" y="2560"/>
                    </a:lnTo>
                    <a:lnTo>
                      <a:pt x="3330" y="2566"/>
                    </a:lnTo>
                    <a:lnTo>
                      <a:pt x="3330" y="2566"/>
                    </a:lnTo>
                    <a:lnTo>
                      <a:pt x="3332" y="2570"/>
                    </a:lnTo>
                    <a:lnTo>
                      <a:pt x="3336" y="2572"/>
                    </a:lnTo>
                    <a:lnTo>
                      <a:pt x="3340" y="2570"/>
                    </a:lnTo>
                    <a:lnTo>
                      <a:pt x="3346" y="2570"/>
                    </a:lnTo>
                    <a:lnTo>
                      <a:pt x="3360" y="2564"/>
                    </a:lnTo>
                    <a:lnTo>
                      <a:pt x="3368" y="2562"/>
                    </a:lnTo>
                    <a:lnTo>
                      <a:pt x="3368" y="2562"/>
                    </a:lnTo>
                    <a:lnTo>
                      <a:pt x="3370" y="2560"/>
                    </a:lnTo>
                    <a:lnTo>
                      <a:pt x="3372" y="2560"/>
                    </a:lnTo>
                    <a:lnTo>
                      <a:pt x="3372" y="2556"/>
                    </a:lnTo>
                    <a:lnTo>
                      <a:pt x="3376" y="2552"/>
                    </a:lnTo>
                    <a:lnTo>
                      <a:pt x="3382" y="2552"/>
                    </a:lnTo>
                    <a:lnTo>
                      <a:pt x="3382" y="2552"/>
                    </a:lnTo>
                    <a:lnTo>
                      <a:pt x="3388" y="2554"/>
                    </a:lnTo>
                    <a:lnTo>
                      <a:pt x="3394" y="2558"/>
                    </a:lnTo>
                    <a:lnTo>
                      <a:pt x="3406" y="2574"/>
                    </a:lnTo>
                    <a:lnTo>
                      <a:pt x="3418" y="2592"/>
                    </a:lnTo>
                    <a:lnTo>
                      <a:pt x="3424" y="2596"/>
                    </a:lnTo>
                    <a:lnTo>
                      <a:pt x="3428" y="2598"/>
                    </a:lnTo>
                    <a:lnTo>
                      <a:pt x="3428" y="2598"/>
                    </a:lnTo>
                    <a:lnTo>
                      <a:pt x="3432" y="2600"/>
                    </a:lnTo>
                    <a:lnTo>
                      <a:pt x="3434" y="2604"/>
                    </a:lnTo>
                    <a:lnTo>
                      <a:pt x="3438" y="2616"/>
                    </a:lnTo>
                    <a:lnTo>
                      <a:pt x="3440" y="2630"/>
                    </a:lnTo>
                    <a:lnTo>
                      <a:pt x="3436" y="2646"/>
                    </a:lnTo>
                    <a:lnTo>
                      <a:pt x="3436" y="2646"/>
                    </a:lnTo>
                    <a:lnTo>
                      <a:pt x="3434" y="2658"/>
                    </a:lnTo>
                    <a:lnTo>
                      <a:pt x="3434" y="2670"/>
                    </a:lnTo>
                    <a:lnTo>
                      <a:pt x="3436" y="2676"/>
                    </a:lnTo>
                    <a:lnTo>
                      <a:pt x="3438" y="2678"/>
                    </a:lnTo>
                    <a:lnTo>
                      <a:pt x="3440" y="2676"/>
                    </a:lnTo>
                    <a:lnTo>
                      <a:pt x="3440" y="2676"/>
                    </a:lnTo>
                    <a:lnTo>
                      <a:pt x="3446" y="2672"/>
                    </a:lnTo>
                    <a:lnTo>
                      <a:pt x="3450" y="2670"/>
                    </a:lnTo>
                    <a:lnTo>
                      <a:pt x="3450" y="2670"/>
                    </a:lnTo>
                    <a:lnTo>
                      <a:pt x="3452" y="2672"/>
                    </a:lnTo>
                    <a:lnTo>
                      <a:pt x="3448" y="2678"/>
                    </a:lnTo>
                    <a:lnTo>
                      <a:pt x="3448" y="2678"/>
                    </a:lnTo>
                    <a:lnTo>
                      <a:pt x="3444" y="2682"/>
                    </a:lnTo>
                    <a:lnTo>
                      <a:pt x="3444" y="2688"/>
                    </a:lnTo>
                    <a:lnTo>
                      <a:pt x="3446" y="2698"/>
                    </a:lnTo>
                    <a:lnTo>
                      <a:pt x="3450" y="2710"/>
                    </a:lnTo>
                    <a:lnTo>
                      <a:pt x="3456" y="2718"/>
                    </a:lnTo>
                    <a:lnTo>
                      <a:pt x="3456" y="2718"/>
                    </a:lnTo>
                    <a:lnTo>
                      <a:pt x="3458" y="2720"/>
                    </a:lnTo>
                    <a:lnTo>
                      <a:pt x="3460" y="2720"/>
                    </a:lnTo>
                    <a:lnTo>
                      <a:pt x="3462" y="2720"/>
                    </a:lnTo>
                    <a:lnTo>
                      <a:pt x="3462" y="2718"/>
                    </a:lnTo>
                    <a:lnTo>
                      <a:pt x="3462" y="2720"/>
                    </a:lnTo>
                    <a:lnTo>
                      <a:pt x="3464" y="2726"/>
                    </a:lnTo>
                    <a:lnTo>
                      <a:pt x="3464" y="2726"/>
                    </a:lnTo>
                    <a:lnTo>
                      <a:pt x="3466" y="2734"/>
                    </a:lnTo>
                    <a:lnTo>
                      <a:pt x="3470" y="2738"/>
                    </a:lnTo>
                    <a:lnTo>
                      <a:pt x="3474" y="2742"/>
                    </a:lnTo>
                    <a:lnTo>
                      <a:pt x="3476" y="2754"/>
                    </a:lnTo>
                    <a:lnTo>
                      <a:pt x="3476" y="2754"/>
                    </a:lnTo>
                    <a:lnTo>
                      <a:pt x="3478" y="2760"/>
                    </a:lnTo>
                    <a:lnTo>
                      <a:pt x="3480" y="2764"/>
                    </a:lnTo>
                    <a:lnTo>
                      <a:pt x="3484" y="2768"/>
                    </a:lnTo>
                    <a:lnTo>
                      <a:pt x="3486" y="2768"/>
                    </a:lnTo>
                    <a:lnTo>
                      <a:pt x="3492" y="2772"/>
                    </a:lnTo>
                    <a:lnTo>
                      <a:pt x="3496" y="2776"/>
                    </a:lnTo>
                    <a:lnTo>
                      <a:pt x="3498" y="2782"/>
                    </a:lnTo>
                    <a:lnTo>
                      <a:pt x="3498" y="2782"/>
                    </a:lnTo>
                    <a:lnTo>
                      <a:pt x="3500" y="2792"/>
                    </a:lnTo>
                    <a:lnTo>
                      <a:pt x="3504" y="2796"/>
                    </a:lnTo>
                    <a:lnTo>
                      <a:pt x="3506" y="2796"/>
                    </a:lnTo>
                    <a:lnTo>
                      <a:pt x="3504" y="2798"/>
                    </a:lnTo>
                    <a:lnTo>
                      <a:pt x="3504" y="2798"/>
                    </a:lnTo>
                    <a:lnTo>
                      <a:pt x="3502" y="2804"/>
                    </a:lnTo>
                    <a:lnTo>
                      <a:pt x="3504" y="2808"/>
                    </a:lnTo>
                    <a:lnTo>
                      <a:pt x="3508" y="2808"/>
                    </a:lnTo>
                    <a:lnTo>
                      <a:pt x="3518" y="2806"/>
                    </a:lnTo>
                    <a:lnTo>
                      <a:pt x="3518" y="2806"/>
                    </a:lnTo>
                    <a:lnTo>
                      <a:pt x="3522" y="2806"/>
                    </a:lnTo>
                    <a:lnTo>
                      <a:pt x="3524" y="2806"/>
                    </a:lnTo>
                    <a:lnTo>
                      <a:pt x="3526" y="2810"/>
                    </a:lnTo>
                    <a:lnTo>
                      <a:pt x="3526" y="2810"/>
                    </a:lnTo>
                    <a:lnTo>
                      <a:pt x="3530" y="2804"/>
                    </a:lnTo>
                    <a:lnTo>
                      <a:pt x="3530" y="2804"/>
                    </a:lnTo>
                    <a:lnTo>
                      <a:pt x="3534" y="2796"/>
                    </a:lnTo>
                    <a:lnTo>
                      <a:pt x="3536" y="2790"/>
                    </a:lnTo>
                    <a:lnTo>
                      <a:pt x="3536" y="2786"/>
                    </a:lnTo>
                    <a:lnTo>
                      <a:pt x="3540" y="2778"/>
                    </a:lnTo>
                    <a:lnTo>
                      <a:pt x="3540" y="2778"/>
                    </a:lnTo>
                    <a:lnTo>
                      <a:pt x="3544" y="2768"/>
                    </a:lnTo>
                    <a:lnTo>
                      <a:pt x="3544" y="2758"/>
                    </a:lnTo>
                    <a:lnTo>
                      <a:pt x="3544" y="2746"/>
                    </a:lnTo>
                    <a:lnTo>
                      <a:pt x="3546" y="2732"/>
                    </a:lnTo>
                    <a:lnTo>
                      <a:pt x="3546" y="2732"/>
                    </a:lnTo>
                    <a:lnTo>
                      <a:pt x="3546" y="2722"/>
                    </a:lnTo>
                    <a:lnTo>
                      <a:pt x="3544" y="2712"/>
                    </a:lnTo>
                    <a:lnTo>
                      <a:pt x="3536" y="2686"/>
                    </a:lnTo>
                    <a:lnTo>
                      <a:pt x="3526" y="2662"/>
                    </a:lnTo>
                    <a:lnTo>
                      <a:pt x="3526" y="2650"/>
                    </a:lnTo>
                    <a:lnTo>
                      <a:pt x="3526" y="2642"/>
                    </a:lnTo>
                    <a:lnTo>
                      <a:pt x="3526" y="2642"/>
                    </a:lnTo>
                    <a:lnTo>
                      <a:pt x="3526" y="2636"/>
                    </a:lnTo>
                    <a:lnTo>
                      <a:pt x="3524" y="2630"/>
                    </a:lnTo>
                    <a:lnTo>
                      <a:pt x="3514" y="2610"/>
                    </a:lnTo>
                    <a:lnTo>
                      <a:pt x="3506" y="2598"/>
                    </a:lnTo>
                    <a:lnTo>
                      <a:pt x="3500" y="2582"/>
                    </a:lnTo>
                    <a:lnTo>
                      <a:pt x="3496" y="2564"/>
                    </a:lnTo>
                    <a:lnTo>
                      <a:pt x="3492" y="2542"/>
                    </a:lnTo>
                    <a:lnTo>
                      <a:pt x="3492" y="2542"/>
                    </a:lnTo>
                    <a:lnTo>
                      <a:pt x="3490" y="2520"/>
                    </a:lnTo>
                    <a:lnTo>
                      <a:pt x="3492" y="2500"/>
                    </a:lnTo>
                    <a:lnTo>
                      <a:pt x="3496" y="2484"/>
                    </a:lnTo>
                    <a:lnTo>
                      <a:pt x="3502" y="2470"/>
                    </a:lnTo>
                    <a:lnTo>
                      <a:pt x="3508" y="2458"/>
                    </a:lnTo>
                    <a:lnTo>
                      <a:pt x="3514" y="2448"/>
                    </a:lnTo>
                    <a:lnTo>
                      <a:pt x="3524" y="2438"/>
                    </a:lnTo>
                    <a:lnTo>
                      <a:pt x="3524" y="2438"/>
                    </a:lnTo>
                    <a:lnTo>
                      <a:pt x="3528" y="2434"/>
                    </a:lnTo>
                    <a:lnTo>
                      <a:pt x="3528" y="2432"/>
                    </a:lnTo>
                    <a:lnTo>
                      <a:pt x="3528" y="2428"/>
                    </a:lnTo>
                    <a:lnTo>
                      <a:pt x="3528" y="2426"/>
                    </a:lnTo>
                    <a:lnTo>
                      <a:pt x="3528" y="2426"/>
                    </a:lnTo>
                    <a:lnTo>
                      <a:pt x="3536" y="2424"/>
                    </a:lnTo>
                    <a:lnTo>
                      <a:pt x="3536" y="2424"/>
                    </a:lnTo>
                    <a:lnTo>
                      <a:pt x="3542" y="2424"/>
                    </a:lnTo>
                    <a:lnTo>
                      <a:pt x="3548" y="2420"/>
                    </a:lnTo>
                    <a:lnTo>
                      <a:pt x="3556" y="2412"/>
                    </a:lnTo>
                    <a:lnTo>
                      <a:pt x="3564" y="2402"/>
                    </a:lnTo>
                    <a:lnTo>
                      <a:pt x="3568" y="2400"/>
                    </a:lnTo>
                    <a:lnTo>
                      <a:pt x="3570" y="2398"/>
                    </a:lnTo>
                    <a:lnTo>
                      <a:pt x="3570" y="2398"/>
                    </a:lnTo>
                    <a:lnTo>
                      <a:pt x="3574" y="2398"/>
                    </a:lnTo>
                    <a:lnTo>
                      <a:pt x="3576" y="2394"/>
                    </a:lnTo>
                    <a:lnTo>
                      <a:pt x="3580" y="2384"/>
                    </a:lnTo>
                    <a:lnTo>
                      <a:pt x="3588" y="2370"/>
                    </a:lnTo>
                    <a:lnTo>
                      <a:pt x="3592" y="2362"/>
                    </a:lnTo>
                    <a:lnTo>
                      <a:pt x="3600" y="2356"/>
                    </a:lnTo>
                    <a:lnTo>
                      <a:pt x="3600" y="2356"/>
                    </a:lnTo>
                    <a:lnTo>
                      <a:pt x="3606" y="2352"/>
                    </a:lnTo>
                    <a:lnTo>
                      <a:pt x="3612" y="2350"/>
                    </a:lnTo>
                    <a:lnTo>
                      <a:pt x="3624" y="2350"/>
                    </a:lnTo>
                    <a:lnTo>
                      <a:pt x="3628" y="2350"/>
                    </a:lnTo>
                    <a:lnTo>
                      <a:pt x="3630" y="2350"/>
                    </a:lnTo>
                    <a:lnTo>
                      <a:pt x="3634" y="2346"/>
                    </a:lnTo>
                    <a:lnTo>
                      <a:pt x="3636" y="2342"/>
                    </a:lnTo>
                    <a:lnTo>
                      <a:pt x="3636" y="2342"/>
                    </a:lnTo>
                    <a:lnTo>
                      <a:pt x="3638" y="2334"/>
                    </a:lnTo>
                    <a:lnTo>
                      <a:pt x="3642" y="2328"/>
                    </a:lnTo>
                    <a:lnTo>
                      <a:pt x="3654" y="2318"/>
                    </a:lnTo>
                    <a:lnTo>
                      <a:pt x="3666" y="2310"/>
                    </a:lnTo>
                    <a:lnTo>
                      <a:pt x="3680" y="2306"/>
                    </a:lnTo>
                    <a:lnTo>
                      <a:pt x="3680" y="2306"/>
                    </a:lnTo>
                    <a:lnTo>
                      <a:pt x="3690" y="2304"/>
                    </a:lnTo>
                    <a:lnTo>
                      <a:pt x="3696" y="2300"/>
                    </a:lnTo>
                    <a:lnTo>
                      <a:pt x="3698" y="2294"/>
                    </a:lnTo>
                    <a:lnTo>
                      <a:pt x="3698" y="2292"/>
                    </a:lnTo>
                    <a:lnTo>
                      <a:pt x="3696" y="2290"/>
                    </a:lnTo>
                    <a:lnTo>
                      <a:pt x="3696" y="2290"/>
                    </a:lnTo>
                    <a:lnTo>
                      <a:pt x="3694" y="2290"/>
                    </a:lnTo>
                    <a:lnTo>
                      <a:pt x="3690" y="2290"/>
                    </a:lnTo>
                    <a:lnTo>
                      <a:pt x="3686" y="2294"/>
                    </a:lnTo>
                    <a:lnTo>
                      <a:pt x="3680" y="2296"/>
                    </a:lnTo>
                    <a:lnTo>
                      <a:pt x="3676" y="2298"/>
                    </a:lnTo>
                    <a:lnTo>
                      <a:pt x="3674" y="2296"/>
                    </a:lnTo>
                    <a:lnTo>
                      <a:pt x="3674" y="2296"/>
                    </a:lnTo>
                    <a:lnTo>
                      <a:pt x="3672" y="2294"/>
                    </a:lnTo>
                    <a:lnTo>
                      <a:pt x="3674" y="2292"/>
                    </a:lnTo>
                    <a:lnTo>
                      <a:pt x="3680" y="2290"/>
                    </a:lnTo>
                    <a:lnTo>
                      <a:pt x="3682" y="2288"/>
                    </a:lnTo>
                    <a:lnTo>
                      <a:pt x="3684" y="2286"/>
                    </a:lnTo>
                    <a:lnTo>
                      <a:pt x="3684" y="2286"/>
                    </a:lnTo>
                    <a:lnTo>
                      <a:pt x="3686" y="2282"/>
                    </a:lnTo>
                    <a:lnTo>
                      <a:pt x="3684" y="2278"/>
                    </a:lnTo>
                    <a:lnTo>
                      <a:pt x="3678" y="2272"/>
                    </a:lnTo>
                    <a:lnTo>
                      <a:pt x="3676" y="2268"/>
                    </a:lnTo>
                    <a:lnTo>
                      <a:pt x="3682" y="2268"/>
                    </a:lnTo>
                    <a:lnTo>
                      <a:pt x="3682" y="2268"/>
                    </a:lnTo>
                    <a:lnTo>
                      <a:pt x="3692" y="2272"/>
                    </a:lnTo>
                    <a:lnTo>
                      <a:pt x="3696" y="2274"/>
                    </a:lnTo>
                    <a:lnTo>
                      <a:pt x="3698" y="2276"/>
                    </a:lnTo>
                    <a:lnTo>
                      <a:pt x="3700" y="2274"/>
                    </a:lnTo>
                    <a:lnTo>
                      <a:pt x="3706" y="2270"/>
                    </a:lnTo>
                    <a:lnTo>
                      <a:pt x="3706" y="2270"/>
                    </a:lnTo>
                    <a:lnTo>
                      <a:pt x="3710" y="2264"/>
                    </a:lnTo>
                    <a:lnTo>
                      <a:pt x="3714" y="2262"/>
                    </a:lnTo>
                    <a:lnTo>
                      <a:pt x="3716" y="2260"/>
                    </a:lnTo>
                    <a:lnTo>
                      <a:pt x="3718" y="2254"/>
                    </a:lnTo>
                    <a:lnTo>
                      <a:pt x="3718" y="2254"/>
                    </a:lnTo>
                    <a:lnTo>
                      <a:pt x="3720" y="2246"/>
                    </a:lnTo>
                    <a:lnTo>
                      <a:pt x="3718" y="2242"/>
                    </a:lnTo>
                    <a:lnTo>
                      <a:pt x="3714" y="2240"/>
                    </a:lnTo>
                    <a:lnTo>
                      <a:pt x="3710" y="2244"/>
                    </a:lnTo>
                    <a:lnTo>
                      <a:pt x="3710" y="2244"/>
                    </a:lnTo>
                    <a:lnTo>
                      <a:pt x="3708" y="2244"/>
                    </a:lnTo>
                    <a:lnTo>
                      <a:pt x="3708" y="2242"/>
                    </a:lnTo>
                    <a:lnTo>
                      <a:pt x="3704" y="2240"/>
                    </a:lnTo>
                    <a:lnTo>
                      <a:pt x="3694" y="2240"/>
                    </a:lnTo>
                    <a:lnTo>
                      <a:pt x="3694" y="2240"/>
                    </a:lnTo>
                    <a:lnTo>
                      <a:pt x="3684" y="2242"/>
                    </a:lnTo>
                    <a:lnTo>
                      <a:pt x="3678" y="2240"/>
                    </a:lnTo>
                    <a:lnTo>
                      <a:pt x="3678" y="2236"/>
                    </a:lnTo>
                    <a:lnTo>
                      <a:pt x="3678" y="2230"/>
                    </a:lnTo>
                    <a:lnTo>
                      <a:pt x="3678" y="2230"/>
                    </a:lnTo>
                    <a:lnTo>
                      <a:pt x="3678" y="2228"/>
                    </a:lnTo>
                    <a:lnTo>
                      <a:pt x="3678" y="2228"/>
                    </a:lnTo>
                    <a:lnTo>
                      <a:pt x="3680" y="2232"/>
                    </a:lnTo>
                    <a:lnTo>
                      <a:pt x="3684" y="2236"/>
                    </a:lnTo>
                    <a:lnTo>
                      <a:pt x="3686" y="2236"/>
                    </a:lnTo>
                    <a:lnTo>
                      <a:pt x="3690" y="2236"/>
                    </a:lnTo>
                    <a:lnTo>
                      <a:pt x="3696" y="2234"/>
                    </a:lnTo>
                    <a:lnTo>
                      <a:pt x="3696" y="2234"/>
                    </a:lnTo>
                    <a:lnTo>
                      <a:pt x="3704" y="2230"/>
                    </a:lnTo>
                    <a:lnTo>
                      <a:pt x="3708" y="2230"/>
                    </a:lnTo>
                    <a:lnTo>
                      <a:pt x="3714" y="2232"/>
                    </a:lnTo>
                    <a:lnTo>
                      <a:pt x="3718" y="2236"/>
                    </a:lnTo>
                    <a:lnTo>
                      <a:pt x="3724" y="2244"/>
                    </a:lnTo>
                    <a:lnTo>
                      <a:pt x="3726" y="2248"/>
                    </a:lnTo>
                    <a:lnTo>
                      <a:pt x="3728" y="2248"/>
                    </a:lnTo>
                    <a:lnTo>
                      <a:pt x="3728" y="2248"/>
                    </a:lnTo>
                    <a:lnTo>
                      <a:pt x="3728" y="2246"/>
                    </a:lnTo>
                    <a:lnTo>
                      <a:pt x="3728" y="2244"/>
                    </a:lnTo>
                    <a:lnTo>
                      <a:pt x="3724" y="2236"/>
                    </a:lnTo>
                    <a:lnTo>
                      <a:pt x="3718" y="2222"/>
                    </a:lnTo>
                    <a:lnTo>
                      <a:pt x="3712" y="2198"/>
                    </a:lnTo>
                    <a:lnTo>
                      <a:pt x="3712" y="2198"/>
                    </a:lnTo>
                    <a:lnTo>
                      <a:pt x="3708" y="2188"/>
                    </a:lnTo>
                    <a:lnTo>
                      <a:pt x="3706" y="2186"/>
                    </a:lnTo>
                    <a:lnTo>
                      <a:pt x="3704" y="2186"/>
                    </a:lnTo>
                    <a:lnTo>
                      <a:pt x="3700" y="2188"/>
                    </a:lnTo>
                    <a:lnTo>
                      <a:pt x="3694" y="2190"/>
                    </a:lnTo>
                    <a:lnTo>
                      <a:pt x="3694" y="2190"/>
                    </a:lnTo>
                    <a:lnTo>
                      <a:pt x="3692" y="2190"/>
                    </a:lnTo>
                    <a:lnTo>
                      <a:pt x="3692" y="2190"/>
                    </a:lnTo>
                    <a:lnTo>
                      <a:pt x="3696" y="2186"/>
                    </a:lnTo>
                    <a:lnTo>
                      <a:pt x="3698" y="2180"/>
                    </a:lnTo>
                    <a:lnTo>
                      <a:pt x="3698" y="2176"/>
                    </a:lnTo>
                    <a:lnTo>
                      <a:pt x="3694" y="2174"/>
                    </a:lnTo>
                    <a:lnTo>
                      <a:pt x="3694" y="2174"/>
                    </a:lnTo>
                    <a:lnTo>
                      <a:pt x="3690" y="2170"/>
                    </a:lnTo>
                    <a:lnTo>
                      <a:pt x="3692" y="2170"/>
                    </a:lnTo>
                    <a:lnTo>
                      <a:pt x="3696" y="2168"/>
                    </a:lnTo>
                    <a:lnTo>
                      <a:pt x="3698" y="2166"/>
                    </a:lnTo>
                    <a:lnTo>
                      <a:pt x="3698" y="2162"/>
                    </a:lnTo>
                    <a:lnTo>
                      <a:pt x="3698" y="2156"/>
                    </a:lnTo>
                    <a:lnTo>
                      <a:pt x="3698" y="2156"/>
                    </a:lnTo>
                    <a:lnTo>
                      <a:pt x="3696" y="2144"/>
                    </a:lnTo>
                    <a:lnTo>
                      <a:pt x="3696" y="2140"/>
                    </a:lnTo>
                    <a:lnTo>
                      <a:pt x="3696" y="2136"/>
                    </a:lnTo>
                    <a:lnTo>
                      <a:pt x="3690" y="2130"/>
                    </a:lnTo>
                    <a:lnTo>
                      <a:pt x="3690" y="2130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86" y="2122"/>
                    </a:lnTo>
                    <a:lnTo>
                      <a:pt x="3686" y="2122"/>
                    </a:lnTo>
                    <a:lnTo>
                      <a:pt x="3694" y="2126"/>
                    </a:lnTo>
                    <a:lnTo>
                      <a:pt x="3696" y="2124"/>
                    </a:lnTo>
                    <a:lnTo>
                      <a:pt x="3696" y="2124"/>
                    </a:lnTo>
                    <a:lnTo>
                      <a:pt x="3692" y="2108"/>
                    </a:lnTo>
                    <a:lnTo>
                      <a:pt x="3692" y="2108"/>
                    </a:lnTo>
                    <a:lnTo>
                      <a:pt x="3688" y="2092"/>
                    </a:lnTo>
                    <a:lnTo>
                      <a:pt x="3690" y="2076"/>
                    </a:lnTo>
                    <a:lnTo>
                      <a:pt x="3690" y="2076"/>
                    </a:lnTo>
                    <a:lnTo>
                      <a:pt x="3692" y="2064"/>
                    </a:lnTo>
                    <a:lnTo>
                      <a:pt x="3696" y="2058"/>
                    </a:lnTo>
                    <a:lnTo>
                      <a:pt x="3702" y="2054"/>
                    </a:lnTo>
                    <a:lnTo>
                      <a:pt x="3702" y="2054"/>
                    </a:lnTo>
                    <a:lnTo>
                      <a:pt x="3704" y="2050"/>
                    </a:lnTo>
                    <a:lnTo>
                      <a:pt x="3704" y="2052"/>
                    </a:lnTo>
                    <a:lnTo>
                      <a:pt x="3700" y="2058"/>
                    </a:lnTo>
                    <a:lnTo>
                      <a:pt x="3698" y="2064"/>
                    </a:lnTo>
                    <a:lnTo>
                      <a:pt x="3698" y="2064"/>
                    </a:lnTo>
                    <a:lnTo>
                      <a:pt x="3694" y="2076"/>
                    </a:lnTo>
                    <a:lnTo>
                      <a:pt x="3694" y="2082"/>
                    </a:lnTo>
                    <a:lnTo>
                      <a:pt x="3696" y="2086"/>
                    </a:lnTo>
                    <a:lnTo>
                      <a:pt x="3696" y="2086"/>
                    </a:lnTo>
                    <a:lnTo>
                      <a:pt x="3696" y="2088"/>
                    </a:lnTo>
                    <a:lnTo>
                      <a:pt x="3696" y="2090"/>
                    </a:lnTo>
                    <a:lnTo>
                      <a:pt x="3694" y="2094"/>
                    </a:lnTo>
                    <a:lnTo>
                      <a:pt x="3696" y="2098"/>
                    </a:lnTo>
                    <a:lnTo>
                      <a:pt x="3696" y="2098"/>
                    </a:lnTo>
                    <a:lnTo>
                      <a:pt x="3698" y="2104"/>
                    </a:lnTo>
                    <a:lnTo>
                      <a:pt x="3696" y="2106"/>
                    </a:lnTo>
                    <a:lnTo>
                      <a:pt x="3696" y="2110"/>
                    </a:lnTo>
                    <a:lnTo>
                      <a:pt x="3700" y="2114"/>
                    </a:lnTo>
                    <a:lnTo>
                      <a:pt x="3700" y="2114"/>
                    </a:lnTo>
                    <a:lnTo>
                      <a:pt x="3706" y="2116"/>
                    </a:lnTo>
                    <a:lnTo>
                      <a:pt x="3708" y="2116"/>
                    </a:lnTo>
                    <a:lnTo>
                      <a:pt x="3710" y="2116"/>
                    </a:lnTo>
                    <a:lnTo>
                      <a:pt x="3712" y="2120"/>
                    </a:lnTo>
                    <a:lnTo>
                      <a:pt x="3712" y="2120"/>
                    </a:lnTo>
                    <a:lnTo>
                      <a:pt x="3712" y="2126"/>
                    </a:lnTo>
                    <a:lnTo>
                      <a:pt x="3712" y="2130"/>
                    </a:lnTo>
                    <a:lnTo>
                      <a:pt x="3712" y="2134"/>
                    </a:lnTo>
                    <a:lnTo>
                      <a:pt x="3716" y="2136"/>
                    </a:lnTo>
                    <a:lnTo>
                      <a:pt x="3716" y="2136"/>
                    </a:lnTo>
                    <a:lnTo>
                      <a:pt x="3718" y="2138"/>
                    </a:lnTo>
                    <a:lnTo>
                      <a:pt x="3716" y="2142"/>
                    </a:lnTo>
                    <a:lnTo>
                      <a:pt x="3710" y="2154"/>
                    </a:lnTo>
                    <a:lnTo>
                      <a:pt x="3706" y="2166"/>
                    </a:lnTo>
                    <a:lnTo>
                      <a:pt x="3706" y="2172"/>
                    </a:lnTo>
                    <a:lnTo>
                      <a:pt x="3710" y="2176"/>
                    </a:lnTo>
                    <a:lnTo>
                      <a:pt x="3710" y="2176"/>
                    </a:lnTo>
                    <a:lnTo>
                      <a:pt x="3712" y="2176"/>
                    </a:lnTo>
                    <a:lnTo>
                      <a:pt x="3714" y="2172"/>
                    </a:lnTo>
                    <a:lnTo>
                      <a:pt x="3720" y="2158"/>
                    </a:lnTo>
                    <a:lnTo>
                      <a:pt x="3728" y="2138"/>
                    </a:lnTo>
                    <a:lnTo>
                      <a:pt x="3738" y="2122"/>
                    </a:lnTo>
                    <a:lnTo>
                      <a:pt x="3738" y="2122"/>
                    </a:lnTo>
                    <a:lnTo>
                      <a:pt x="3744" y="2114"/>
                    </a:lnTo>
                    <a:lnTo>
                      <a:pt x="3746" y="2108"/>
                    </a:lnTo>
                    <a:lnTo>
                      <a:pt x="3748" y="2102"/>
                    </a:lnTo>
                    <a:lnTo>
                      <a:pt x="3748" y="2096"/>
                    </a:lnTo>
                    <a:lnTo>
                      <a:pt x="3748" y="2092"/>
                    </a:lnTo>
                    <a:lnTo>
                      <a:pt x="3746" y="2088"/>
                    </a:lnTo>
                    <a:lnTo>
                      <a:pt x="3744" y="2086"/>
                    </a:lnTo>
                    <a:lnTo>
                      <a:pt x="3740" y="2086"/>
                    </a:lnTo>
                    <a:lnTo>
                      <a:pt x="3740" y="2086"/>
                    </a:lnTo>
                    <a:lnTo>
                      <a:pt x="3738" y="2084"/>
                    </a:lnTo>
                    <a:lnTo>
                      <a:pt x="3736" y="2082"/>
                    </a:lnTo>
                    <a:lnTo>
                      <a:pt x="3732" y="2074"/>
                    </a:lnTo>
                    <a:lnTo>
                      <a:pt x="3726" y="2054"/>
                    </a:lnTo>
                    <a:lnTo>
                      <a:pt x="3726" y="2054"/>
                    </a:lnTo>
                    <a:lnTo>
                      <a:pt x="3724" y="2044"/>
                    </a:lnTo>
                    <a:lnTo>
                      <a:pt x="3726" y="2036"/>
                    </a:lnTo>
                    <a:lnTo>
                      <a:pt x="3730" y="2030"/>
                    </a:lnTo>
                    <a:lnTo>
                      <a:pt x="3738" y="2024"/>
                    </a:lnTo>
                    <a:lnTo>
                      <a:pt x="3738" y="2024"/>
                    </a:lnTo>
                    <a:lnTo>
                      <a:pt x="3742" y="2024"/>
                    </a:lnTo>
                    <a:lnTo>
                      <a:pt x="3736" y="2030"/>
                    </a:lnTo>
                    <a:lnTo>
                      <a:pt x="3732" y="2034"/>
                    </a:lnTo>
                    <a:lnTo>
                      <a:pt x="3730" y="2040"/>
                    </a:lnTo>
                    <a:lnTo>
                      <a:pt x="3730" y="2046"/>
                    </a:lnTo>
                    <a:lnTo>
                      <a:pt x="3732" y="2054"/>
                    </a:lnTo>
                    <a:lnTo>
                      <a:pt x="3732" y="2054"/>
                    </a:lnTo>
                    <a:lnTo>
                      <a:pt x="3738" y="2060"/>
                    </a:lnTo>
                    <a:lnTo>
                      <a:pt x="3742" y="2062"/>
                    </a:lnTo>
                    <a:lnTo>
                      <a:pt x="3748" y="2064"/>
                    </a:lnTo>
                    <a:lnTo>
                      <a:pt x="3750" y="2066"/>
                    </a:lnTo>
                    <a:lnTo>
                      <a:pt x="3750" y="2072"/>
                    </a:lnTo>
                    <a:lnTo>
                      <a:pt x="3750" y="2072"/>
                    </a:lnTo>
                    <a:lnTo>
                      <a:pt x="3750" y="2078"/>
                    </a:lnTo>
                    <a:lnTo>
                      <a:pt x="3752" y="2078"/>
                    </a:lnTo>
                    <a:lnTo>
                      <a:pt x="3754" y="2078"/>
                    </a:lnTo>
                    <a:lnTo>
                      <a:pt x="3758" y="2074"/>
                    </a:lnTo>
                    <a:lnTo>
                      <a:pt x="3766" y="2062"/>
                    </a:lnTo>
                    <a:lnTo>
                      <a:pt x="3774" y="2048"/>
                    </a:lnTo>
                    <a:lnTo>
                      <a:pt x="3774" y="2048"/>
                    </a:lnTo>
                    <a:lnTo>
                      <a:pt x="3784" y="2030"/>
                    </a:lnTo>
                    <a:lnTo>
                      <a:pt x="3790" y="2014"/>
                    </a:lnTo>
                    <a:lnTo>
                      <a:pt x="3790" y="2008"/>
                    </a:lnTo>
                    <a:lnTo>
                      <a:pt x="3790" y="2002"/>
                    </a:lnTo>
                    <a:lnTo>
                      <a:pt x="3790" y="2000"/>
                    </a:lnTo>
                    <a:lnTo>
                      <a:pt x="3786" y="1998"/>
                    </a:lnTo>
                    <a:lnTo>
                      <a:pt x="3786" y="1998"/>
                    </a:lnTo>
                    <a:lnTo>
                      <a:pt x="3778" y="1996"/>
                    </a:lnTo>
                    <a:lnTo>
                      <a:pt x="3776" y="1996"/>
                    </a:lnTo>
                    <a:lnTo>
                      <a:pt x="3776" y="1994"/>
                    </a:lnTo>
                    <a:lnTo>
                      <a:pt x="3778" y="1988"/>
                    </a:lnTo>
                    <a:lnTo>
                      <a:pt x="3784" y="1980"/>
                    </a:lnTo>
                    <a:lnTo>
                      <a:pt x="3784" y="1980"/>
                    </a:lnTo>
                    <a:lnTo>
                      <a:pt x="3796" y="1972"/>
                    </a:lnTo>
                    <a:lnTo>
                      <a:pt x="3808" y="1962"/>
                    </a:lnTo>
                    <a:lnTo>
                      <a:pt x="3824" y="1956"/>
                    </a:lnTo>
                    <a:lnTo>
                      <a:pt x="3838" y="1950"/>
                    </a:lnTo>
                    <a:lnTo>
                      <a:pt x="3838" y="1950"/>
                    </a:lnTo>
                    <a:lnTo>
                      <a:pt x="3854" y="1948"/>
                    </a:lnTo>
                    <a:lnTo>
                      <a:pt x="3870" y="1946"/>
                    </a:lnTo>
                    <a:lnTo>
                      <a:pt x="3886" y="1944"/>
                    </a:lnTo>
                    <a:lnTo>
                      <a:pt x="3890" y="1944"/>
                    </a:lnTo>
                    <a:lnTo>
                      <a:pt x="3892" y="1940"/>
                    </a:lnTo>
                    <a:lnTo>
                      <a:pt x="3892" y="1940"/>
                    </a:lnTo>
                    <a:lnTo>
                      <a:pt x="3894" y="1926"/>
                    </a:lnTo>
                    <a:lnTo>
                      <a:pt x="3896" y="1924"/>
                    </a:lnTo>
                    <a:lnTo>
                      <a:pt x="3898" y="1928"/>
                    </a:lnTo>
                    <a:lnTo>
                      <a:pt x="3898" y="1928"/>
                    </a:lnTo>
                    <a:lnTo>
                      <a:pt x="3900" y="1936"/>
                    </a:lnTo>
                    <a:lnTo>
                      <a:pt x="3904" y="1940"/>
                    </a:lnTo>
                    <a:lnTo>
                      <a:pt x="3906" y="1940"/>
                    </a:lnTo>
                    <a:lnTo>
                      <a:pt x="3908" y="1940"/>
                    </a:lnTo>
                    <a:lnTo>
                      <a:pt x="3914" y="1932"/>
                    </a:lnTo>
                    <a:lnTo>
                      <a:pt x="3914" y="1932"/>
                    </a:lnTo>
                    <a:lnTo>
                      <a:pt x="3920" y="1928"/>
                    </a:lnTo>
                    <a:lnTo>
                      <a:pt x="3922" y="1926"/>
                    </a:lnTo>
                    <a:lnTo>
                      <a:pt x="3924" y="1928"/>
                    </a:lnTo>
                    <a:lnTo>
                      <a:pt x="3924" y="1930"/>
                    </a:lnTo>
                    <a:lnTo>
                      <a:pt x="3924" y="1936"/>
                    </a:lnTo>
                    <a:lnTo>
                      <a:pt x="3926" y="1936"/>
                    </a:lnTo>
                    <a:lnTo>
                      <a:pt x="3928" y="1934"/>
                    </a:lnTo>
                    <a:lnTo>
                      <a:pt x="3928" y="1934"/>
                    </a:lnTo>
                    <a:lnTo>
                      <a:pt x="3932" y="1932"/>
                    </a:lnTo>
                    <a:lnTo>
                      <a:pt x="3936" y="1930"/>
                    </a:lnTo>
                    <a:lnTo>
                      <a:pt x="3946" y="1930"/>
                    </a:lnTo>
                    <a:lnTo>
                      <a:pt x="3952" y="1928"/>
                    </a:lnTo>
                    <a:lnTo>
                      <a:pt x="3952" y="1924"/>
                    </a:lnTo>
                    <a:lnTo>
                      <a:pt x="3952" y="1920"/>
                    </a:lnTo>
                    <a:lnTo>
                      <a:pt x="3952" y="1920"/>
                    </a:lnTo>
                    <a:lnTo>
                      <a:pt x="3948" y="1906"/>
                    </a:lnTo>
                    <a:lnTo>
                      <a:pt x="3946" y="1904"/>
                    </a:lnTo>
                    <a:lnTo>
                      <a:pt x="3942" y="1904"/>
                    </a:lnTo>
                    <a:lnTo>
                      <a:pt x="3942" y="1904"/>
                    </a:lnTo>
                    <a:lnTo>
                      <a:pt x="3940" y="1904"/>
                    </a:lnTo>
                    <a:lnTo>
                      <a:pt x="3942" y="1906"/>
                    </a:lnTo>
                    <a:lnTo>
                      <a:pt x="3946" y="1908"/>
                    </a:lnTo>
                    <a:lnTo>
                      <a:pt x="3948" y="1914"/>
                    </a:lnTo>
                    <a:lnTo>
                      <a:pt x="3948" y="1914"/>
                    </a:lnTo>
                    <a:lnTo>
                      <a:pt x="3944" y="1920"/>
                    </a:lnTo>
                    <a:lnTo>
                      <a:pt x="3940" y="1924"/>
                    </a:lnTo>
                    <a:lnTo>
                      <a:pt x="3936" y="1926"/>
                    </a:lnTo>
                    <a:lnTo>
                      <a:pt x="3932" y="1926"/>
                    </a:lnTo>
                    <a:lnTo>
                      <a:pt x="3930" y="1922"/>
                    </a:lnTo>
                    <a:lnTo>
                      <a:pt x="3928" y="1918"/>
                    </a:lnTo>
                    <a:lnTo>
                      <a:pt x="3928" y="1918"/>
                    </a:lnTo>
                    <a:lnTo>
                      <a:pt x="3924" y="1908"/>
                    </a:lnTo>
                    <a:lnTo>
                      <a:pt x="3924" y="1902"/>
                    </a:lnTo>
                    <a:lnTo>
                      <a:pt x="3920" y="1896"/>
                    </a:lnTo>
                    <a:lnTo>
                      <a:pt x="3912" y="1894"/>
                    </a:lnTo>
                    <a:lnTo>
                      <a:pt x="3912" y="1894"/>
                    </a:lnTo>
                    <a:lnTo>
                      <a:pt x="3910" y="1894"/>
                    </a:lnTo>
                    <a:lnTo>
                      <a:pt x="3910" y="1892"/>
                    </a:lnTo>
                    <a:lnTo>
                      <a:pt x="3918" y="1884"/>
                    </a:lnTo>
                    <a:lnTo>
                      <a:pt x="3926" y="1876"/>
                    </a:lnTo>
                    <a:lnTo>
                      <a:pt x="3926" y="1874"/>
                    </a:lnTo>
                    <a:lnTo>
                      <a:pt x="3924" y="1872"/>
                    </a:lnTo>
                    <a:lnTo>
                      <a:pt x="3924" y="1872"/>
                    </a:lnTo>
                    <a:lnTo>
                      <a:pt x="3922" y="1868"/>
                    </a:lnTo>
                    <a:lnTo>
                      <a:pt x="3920" y="1864"/>
                    </a:lnTo>
                    <a:lnTo>
                      <a:pt x="3922" y="1850"/>
                    </a:lnTo>
                    <a:lnTo>
                      <a:pt x="3928" y="1836"/>
                    </a:lnTo>
                    <a:lnTo>
                      <a:pt x="3936" y="1826"/>
                    </a:lnTo>
                    <a:lnTo>
                      <a:pt x="3936" y="1826"/>
                    </a:lnTo>
                    <a:lnTo>
                      <a:pt x="3940" y="1820"/>
                    </a:lnTo>
                    <a:lnTo>
                      <a:pt x="3940" y="1816"/>
                    </a:lnTo>
                    <a:lnTo>
                      <a:pt x="3940" y="1814"/>
                    </a:lnTo>
                    <a:lnTo>
                      <a:pt x="3942" y="1810"/>
                    </a:lnTo>
                    <a:lnTo>
                      <a:pt x="3942" y="1810"/>
                    </a:lnTo>
                    <a:lnTo>
                      <a:pt x="3944" y="1808"/>
                    </a:lnTo>
                    <a:lnTo>
                      <a:pt x="3946" y="1808"/>
                    </a:lnTo>
                    <a:lnTo>
                      <a:pt x="3948" y="1812"/>
                    </a:lnTo>
                    <a:lnTo>
                      <a:pt x="3952" y="1814"/>
                    </a:lnTo>
                    <a:lnTo>
                      <a:pt x="3954" y="1814"/>
                    </a:lnTo>
                    <a:lnTo>
                      <a:pt x="3958" y="1812"/>
                    </a:lnTo>
                    <a:lnTo>
                      <a:pt x="3958" y="1812"/>
                    </a:lnTo>
                    <a:lnTo>
                      <a:pt x="3966" y="1806"/>
                    </a:lnTo>
                    <a:lnTo>
                      <a:pt x="3970" y="1802"/>
                    </a:lnTo>
                    <a:lnTo>
                      <a:pt x="3974" y="1800"/>
                    </a:lnTo>
                    <a:lnTo>
                      <a:pt x="3976" y="1800"/>
                    </a:lnTo>
                    <a:lnTo>
                      <a:pt x="3976" y="1800"/>
                    </a:lnTo>
                    <a:lnTo>
                      <a:pt x="3982" y="1798"/>
                    </a:lnTo>
                    <a:lnTo>
                      <a:pt x="3984" y="1796"/>
                    </a:lnTo>
                    <a:lnTo>
                      <a:pt x="3988" y="1786"/>
                    </a:lnTo>
                    <a:lnTo>
                      <a:pt x="3992" y="1778"/>
                    </a:lnTo>
                    <a:lnTo>
                      <a:pt x="3996" y="1776"/>
                    </a:lnTo>
                    <a:lnTo>
                      <a:pt x="4000" y="1778"/>
                    </a:lnTo>
                    <a:lnTo>
                      <a:pt x="4000" y="1778"/>
                    </a:lnTo>
                    <a:lnTo>
                      <a:pt x="4006" y="1782"/>
                    </a:lnTo>
                    <a:lnTo>
                      <a:pt x="4008" y="1780"/>
                    </a:lnTo>
                    <a:lnTo>
                      <a:pt x="4010" y="1780"/>
                    </a:lnTo>
                    <a:lnTo>
                      <a:pt x="4012" y="1776"/>
                    </a:lnTo>
                    <a:lnTo>
                      <a:pt x="4016" y="1772"/>
                    </a:lnTo>
                    <a:lnTo>
                      <a:pt x="4016" y="1772"/>
                    </a:lnTo>
                    <a:lnTo>
                      <a:pt x="4022" y="1772"/>
                    </a:lnTo>
                    <a:lnTo>
                      <a:pt x="4024" y="1774"/>
                    </a:lnTo>
                    <a:lnTo>
                      <a:pt x="4028" y="1776"/>
                    </a:lnTo>
                    <a:lnTo>
                      <a:pt x="4036" y="1772"/>
                    </a:lnTo>
                    <a:lnTo>
                      <a:pt x="4036" y="1772"/>
                    </a:lnTo>
                    <a:lnTo>
                      <a:pt x="4044" y="1766"/>
                    </a:lnTo>
                    <a:lnTo>
                      <a:pt x="4052" y="1764"/>
                    </a:lnTo>
                    <a:lnTo>
                      <a:pt x="4060" y="1762"/>
                    </a:lnTo>
                    <a:lnTo>
                      <a:pt x="4066" y="1756"/>
                    </a:lnTo>
                    <a:lnTo>
                      <a:pt x="4066" y="1756"/>
                    </a:lnTo>
                    <a:lnTo>
                      <a:pt x="4070" y="1752"/>
                    </a:lnTo>
                    <a:lnTo>
                      <a:pt x="4070" y="1748"/>
                    </a:lnTo>
                    <a:lnTo>
                      <a:pt x="4068" y="1746"/>
                    </a:lnTo>
                    <a:lnTo>
                      <a:pt x="4066" y="1742"/>
                    </a:lnTo>
                    <a:lnTo>
                      <a:pt x="4066" y="1742"/>
                    </a:lnTo>
                    <a:lnTo>
                      <a:pt x="4064" y="1736"/>
                    </a:lnTo>
                    <a:lnTo>
                      <a:pt x="4062" y="1734"/>
                    </a:lnTo>
                    <a:lnTo>
                      <a:pt x="4054" y="1730"/>
                    </a:lnTo>
                    <a:lnTo>
                      <a:pt x="4054" y="1730"/>
                    </a:lnTo>
                    <a:lnTo>
                      <a:pt x="4052" y="1726"/>
                    </a:lnTo>
                    <a:lnTo>
                      <a:pt x="4050" y="1718"/>
                    </a:lnTo>
                    <a:lnTo>
                      <a:pt x="4050" y="1704"/>
                    </a:lnTo>
                    <a:lnTo>
                      <a:pt x="4050" y="1704"/>
                    </a:lnTo>
                    <a:lnTo>
                      <a:pt x="4052" y="1706"/>
                    </a:lnTo>
                    <a:lnTo>
                      <a:pt x="4054" y="1708"/>
                    </a:lnTo>
                    <a:lnTo>
                      <a:pt x="4054" y="1716"/>
                    </a:lnTo>
                    <a:lnTo>
                      <a:pt x="4054" y="1716"/>
                    </a:lnTo>
                    <a:lnTo>
                      <a:pt x="4054" y="1720"/>
                    </a:lnTo>
                    <a:lnTo>
                      <a:pt x="4056" y="1724"/>
                    </a:lnTo>
                    <a:lnTo>
                      <a:pt x="4060" y="1728"/>
                    </a:lnTo>
                    <a:lnTo>
                      <a:pt x="4066" y="1730"/>
                    </a:lnTo>
                    <a:lnTo>
                      <a:pt x="4066" y="1730"/>
                    </a:lnTo>
                    <a:lnTo>
                      <a:pt x="4078" y="1734"/>
                    </a:lnTo>
                    <a:lnTo>
                      <a:pt x="4088" y="1734"/>
                    </a:lnTo>
                    <a:lnTo>
                      <a:pt x="4096" y="1734"/>
                    </a:lnTo>
                    <a:lnTo>
                      <a:pt x="4106" y="1732"/>
                    </a:lnTo>
                    <a:lnTo>
                      <a:pt x="4122" y="1724"/>
                    </a:lnTo>
                    <a:lnTo>
                      <a:pt x="4144" y="1714"/>
                    </a:lnTo>
                    <a:lnTo>
                      <a:pt x="4144" y="1714"/>
                    </a:lnTo>
                    <a:lnTo>
                      <a:pt x="4152" y="1708"/>
                    </a:lnTo>
                    <a:lnTo>
                      <a:pt x="4156" y="1708"/>
                    </a:lnTo>
                    <a:lnTo>
                      <a:pt x="4156" y="1708"/>
                    </a:lnTo>
                    <a:lnTo>
                      <a:pt x="4158" y="1712"/>
                    </a:lnTo>
                    <a:lnTo>
                      <a:pt x="4160" y="1714"/>
                    </a:lnTo>
                    <a:lnTo>
                      <a:pt x="4164" y="1718"/>
                    </a:lnTo>
                    <a:lnTo>
                      <a:pt x="4172" y="1718"/>
                    </a:lnTo>
                    <a:lnTo>
                      <a:pt x="4188" y="1716"/>
                    </a:lnTo>
                    <a:lnTo>
                      <a:pt x="4188" y="1716"/>
                    </a:lnTo>
                    <a:lnTo>
                      <a:pt x="4202" y="1716"/>
                    </a:lnTo>
                    <a:lnTo>
                      <a:pt x="4194" y="1720"/>
                    </a:lnTo>
                    <a:lnTo>
                      <a:pt x="4172" y="1728"/>
                    </a:lnTo>
                    <a:lnTo>
                      <a:pt x="4148" y="1740"/>
                    </a:lnTo>
                    <a:lnTo>
                      <a:pt x="4148" y="1740"/>
                    </a:lnTo>
                    <a:lnTo>
                      <a:pt x="4136" y="1746"/>
                    </a:lnTo>
                    <a:lnTo>
                      <a:pt x="4126" y="1754"/>
                    </a:lnTo>
                    <a:lnTo>
                      <a:pt x="4118" y="1762"/>
                    </a:lnTo>
                    <a:lnTo>
                      <a:pt x="4110" y="1770"/>
                    </a:lnTo>
                    <a:lnTo>
                      <a:pt x="4106" y="1780"/>
                    </a:lnTo>
                    <a:lnTo>
                      <a:pt x="4104" y="1790"/>
                    </a:lnTo>
                    <a:lnTo>
                      <a:pt x="4106" y="1802"/>
                    </a:lnTo>
                    <a:lnTo>
                      <a:pt x="4110" y="1812"/>
                    </a:lnTo>
                    <a:lnTo>
                      <a:pt x="4110" y="1812"/>
                    </a:lnTo>
                    <a:lnTo>
                      <a:pt x="4116" y="1822"/>
                    </a:lnTo>
                    <a:lnTo>
                      <a:pt x="4124" y="1826"/>
                    </a:lnTo>
                    <a:lnTo>
                      <a:pt x="4130" y="1828"/>
                    </a:lnTo>
                    <a:lnTo>
                      <a:pt x="4138" y="1824"/>
                    </a:lnTo>
                    <a:lnTo>
                      <a:pt x="4146" y="1818"/>
                    </a:lnTo>
                    <a:lnTo>
                      <a:pt x="4154" y="1810"/>
                    </a:lnTo>
                    <a:lnTo>
                      <a:pt x="4174" y="1786"/>
                    </a:lnTo>
                    <a:lnTo>
                      <a:pt x="4174" y="1786"/>
                    </a:lnTo>
                    <a:lnTo>
                      <a:pt x="4182" y="1776"/>
                    </a:lnTo>
                    <a:lnTo>
                      <a:pt x="4190" y="1770"/>
                    </a:lnTo>
                    <a:lnTo>
                      <a:pt x="4196" y="1768"/>
                    </a:lnTo>
                    <a:lnTo>
                      <a:pt x="4202" y="1768"/>
                    </a:lnTo>
                    <a:lnTo>
                      <a:pt x="4208" y="1768"/>
                    </a:lnTo>
                    <a:lnTo>
                      <a:pt x="4216" y="1766"/>
                    </a:lnTo>
                    <a:lnTo>
                      <a:pt x="4224" y="1764"/>
                    </a:lnTo>
                    <a:lnTo>
                      <a:pt x="4238" y="1756"/>
                    </a:lnTo>
                    <a:lnTo>
                      <a:pt x="4238" y="1756"/>
                    </a:lnTo>
                    <a:lnTo>
                      <a:pt x="4252" y="1748"/>
                    </a:lnTo>
                    <a:lnTo>
                      <a:pt x="4266" y="1742"/>
                    </a:lnTo>
                    <a:lnTo>
                      <a:pt x="4290" y="1734"/>
                    </a:lnTo>
                    <a:lnTo>
                      <a:pt x="4300" y="1730"/>
                    </a:lnTo>
                    <a:lnTo>
                      <a:pt x="4306" y="1728"/>
                    </a:lnTo>
                    <a:lnTo>
                      <a:pt x="4308" y="1724"/>
                    </a:lnTo>
                    <a:lnTo>
                      <a:pt x="4304" y="1720"/>
                    </a:lnTo>
                    <a:lnTo>
                      <a:pt x="4304" y="1720"/>
                    </a:lnTo>
                    <a:lnTo>
                      <a:pt x="4284" y="1700"/>
                    </a:lnTo>
                    <a:lnTo>
                      <a:pt x="4280" y="1698"/>
                    </a:lnTo>
                    <a:lnTo>
                      <a:pt x="4276" y="1696"/>
                    </a:lnTo>
                    <a:lnTo>
                      <a:pt x="4270" y="1696"/>
                    </a:lnTo>
                    <a:lnTo>
                      <a:pt x="4264" y="1698"/>
                    </a:lnTo>
                    <a:lnTo>
                      <a:pt x="4264" y="1698"/>
                    </a:lnTo>
                    <a:lnTo>
                      <a:pt x="4258" y="1700"/>
                    </a:lnTo>
                    <a:lnTo>
                      <a:pt x="4246" y="1700"/>
                    </a:lnTo>
                    <a:lnTo>
                      <a:pt x="4236" y="1700"/>
                    </a:lnTo>
                    <a:lnTo>
                      <a:pt x="4224" y="1696"/>
                    </a:lnTo>
                    <a:lnTo>
                      <a:pt x="4212" y="1694"/>
                    </a:lnTo>
                    <a:lnTo>
                      <a:pt x="4204" y="1690"/>
                    </a:lnTo>
                    <a:lnTo>
                      <a:pt x="4198" y="1684"/>
                    </a:lnTo>
                    <a:lnTo>
                      <a:pt x="4196" y="1682"/>
                    </a:lnTo>
                    <a:lnTo>
                      <a:pt x="4196" y="1680"/>
                    </a:lnTo>
                    <a:lnTo>
                      <a:pt x="4196" y="1680"/>
                    </a:lnTo>
                    <a:lnTo>
                      <a:pt x="4196" y="1676"/>
                    </a:lnTo>
                    <a:lnTo>
                      <a:pt x="4194" y="1674"/>
                    </a:lnTo>
                    <a:lnTo>
                      <a:pt x="4186" y="1672"/>
                    </a:lnTo>
                    <a:lnTo>
                      <a:pt x="4178" y="1668"/>
                    </a:lnTo>
                    <a:lnTo>
                      <a:pt x="4172" y="1664"/>
                    </a:lnTo>
                    <a:lnTo>
                      <a:pt x="4166" y="1654"/>
                    </a:lnTo>
                    <a:lnTo>
                      <a:pt x="4160" y="1640"/>
                    </a:lnTo>
                    <a:lnTo>
                      <a:pt x="4160" y="1640"/>
                    </a:lnTo>
                    <a:lnTo>
                      <a:pt x="4156" y="1624"/>
                    </a:lnTo>
                    <a:lnTo>
                      <a:pt x="4156" y="1610"/>
                    </a:lnTo>
                    <a:lnTo>
                      <a:pt x="4158" y="1598"/>
                    </a:lnTo>
                    <a:lnTo>
                      <a:pt x="4160" y="1588"/>
                    </a:lnTo>
                    <a:lnTo>
                      <a:pt x="4162" y="1580"/>
                    </a:lnTo>
                    <a:lnTo>
                      <a:pt x="4162" y="1576"/>
                    </a:lnTo>
                    <a:lnTo>
                      <a:pt x="4158" y="1574"/>
                    </a:lnTo>
                    <a:lnTo>
                      <a:pt x="4148" y="1576"/>
                    </a:lnTo>
                    <a:lnTo>
                      <a:pt x="4148" y="1576"/>
                    </a:lnTo>
                    <a:lnTo>
                      <a:pt x="4134" y="1578"/>
                    </a:lnTo>
                    <a:lnTo>
                      <a:pt x="4126" y="1580"/>
                    </a:lnTo>
                    <a:lnTo>
                      <a:pt x="4124" y="1578"/>
                    </a:lnTo>
                    <a:lnTo>
                      <a:pt x="4126" y="1574"/>
                    </a:lnTo>
                    <a:lnTo>
                      <a:pt x="4140" y="1564"/>
                    </a:lnTo>
                    <a:lnTo>
                      <a:pt x="4164" y="1550"/>
                    </a:lnTo>
                    <a:lnTo>
                      <a:pt x="4164" y="1550"/>
                    </a:lnTo>
                    <a:lnTo>
                      <a:pt x="4178" y="1538"/>
                    </a:lnTo>
                    <a:lnTo>
                      <a:pt x="4182" y="1532"/>
                    </a:lnTo>
                    <a:lnTo>
                      <a:pt x="4184" y="1528"/>
                    </a:lnTo>
                    <a:lnTo>
                      <a:pt x="4184" y="1522"/>
                    </a:lnTo>
                    <a:lnTo>
                      <a:pt x="4180" y="1516"/>
                    </a:lnTo>
                    <a:lnTo>
                      <a:pt x="4174" y="1508"/>
                    </a:lnTo>
                    <a:lnTo>
                      <a:pt x="4166" y="1502"/>
                    </a:lnTo>
                    <a:lnTo>
                      <a:pt x="4166" y="1502"/>
                    </a:lnTo>
                    <a:lnTo>
                      <a:pt x="4160" y="1498"/>
                    </a:lnTo>
                    <a:lnTo>
                      <a:pt x="4150" y="1496"/>
                    </a:lnTo>
                    <a:lnTo>
                      <a:pt x="4140" y="1496"/>
                    </a:lnTo>
                    <a:lnTo>
                      <a:pt x="4130" y="1496"/>
                    </a:lnTo>
                    <a:lnTo>
                      <a:pt x="4102" y="1500"/>
                    </a:lnTo>
                    <a:lnTo>
                      <a:pt x="4074" y="1508"/>
                    </a:lnTo>
                    <a:lnTo>
                      <a:pt x="4044" y="1518"/>
                    </a:lnTo>
                    <a:lnTo>
                      <a:pt x="4018" y="1532"/>
                    </a:lnTo>
                    <a:lnTo>
                      <a:pt x="3996" y="1546"/>
                    </a:lnTo>
                    <a:lnTo>
                      <a:pt x="3988" y="1554"/>
                    </a:lnTo>
                    <a:lnTo>
                      <a:pt x="3982" y="1560"/>
                    </a:lnTo>
                    <a:lnTo>
                      <a:pt x="3982" y="1560"/>
                    </a:lnTo>
                    <a:lnTo>
                      <a:pt x="3964" y="1584"/>
                    </a:lnTo>
                    <a:lnTo>
                      <a:pt x="3948" y="1602"/>
                    </a:lnTo>
                    <a:lnTo>
                      <a:pt x="3934" y="1616"/>
                    </a:lnTo>
                    <a:lnTo>
                      <a:pt x="3922" y="1626"/>
                    </a:lnTo>
                    <a:lnTo>
                      <a:pt x="3914" y="1634"/>
                    </a:lnTo>
                    <a:lnTo>
                      <a:pt x="3908" y="1636"/>
                    </a:lnTo>
                    <a:lnTo>
                      <a:pt x="3908" y="1636"/>
                    </a:lnTo>
                    <a:lnTo>
                      <a:pt x="3908" y="1634"/>
                    </a:lnTo>
                    <a:lnTo>
                      <a:pt x="3914" y="1628"/>
                    </a:lnTo>
                    <a:lnTo>
                      <a:pt x="3914" y="1628"/>
                    </a:lnTo>
                    <a:lnTo>
                      <a:pt x="3924" y="1616"/>
                    </a:lnTo>
                    <a:lnTo>
                      <a:pt x="3936" y="1600"/>
                    </a:lnTo>
                    <a:lnTo>
                      <a:pt x="3964" y="1560"/>
                    </a:lnTo>
                    <a:lnTo>
                      <a:pt x="3978" y="1542"/>
                    </a:lnTo>
                    <a:lnTo>
                      <a:pt x="3994" y="1524"/>
                    </a:lnTo>
                    <a:lnTo>
                      <a:pt x="4010" y="1510"/>
                    </a:lnTo>
                    <a:lnTo>
                      <a:pt x="4020" y="1504"/>
                    </a:lnTo>
                    <a:lnTo>
                      <a:pt x="4030" y="1500"/>
                    </a:lnTo>
                    <a:lnTo>
                      <a:pt x="4030" y="1500"/>
                    </a:lnTo>
                    <a:lnTo>
                      <a:pt x="4040" y="1496"/>
                    </a:lnTo>
                    <a:lnTo>
                      <a:pt x="4050" y="1490"/>
                    </a:lnTo>
                    <a:lnTo>
                      <a:pt x="4056" y="1486"/>
                    </a:lnTo>
                    <a:lnTo>
                      <a:pt x="4060" y="1482"/>
                    </a:lnTo>
                    <a:lnTo>
                      <a:pt x="4066" y="1472"/>
                    </a:lnTo>
                    <a:lnTo>
                      <a:pt x="4068" y="1464"/>
                    </a:lnTo>
                    <a:lnTo>
                      <a:pt x="4072" y="1456"/>
                    </a:lnTo>
                    <a:lnTo>
                      <a:pt x="4076" y="1452"/>
                    </a:lnTo>
                    <a:lnTo>
                      <a:pt x="4082" y="1448"/>
                    </a:lnTo>
                    <a:lnTo>
                      <a:pt x="4090" y="1444"/>
                    </a:lnTo>
                    <a:lnTo>
                      <a:pt x="4102" y="1440"/>
                    </a:lnTo>
                    <a:lnTo>
                      <a:pt x="4136" y="1432"/>
                    </a:lnTo>
                    <a:lnTo>
                      <a:pt x="4136" y="1432"/>
                    </a:lnTo>
                    <a:lnTo>
                      <a:pt x="4160" y="1430"/>
                    </a:lnTo>
                    <a:lnTo>
                      <a:pt x="4182" y="1428"/>
                    </a:lnTo>
                    <a:lnTo>
                      <a:pt x="4202" y="1430"/>
                    </a:lnTo>
                    <a:lnTo>
                      <a:pt x="4220" y="1432"/>
                    </a:lnTo>
                    <a:lnTo>
                      <a:pt x="4252" y="1436"/>
                    </a:lnTo>
                    <a:lnTo>
                      <a:pt x="4278" y="1442"/>
                    </a:lnTo>
                    <a:lnTo>
                      <a:pt x="4304" y="1446"/>
                    </a:lnTo>
                    <a:lnTo>
                      <a:pt x="4316" y="1444"/>
                    </a:lnTo>
                    <a:lnTo>
                      <a:pt x="4330" y="1442"/>
                    </a:lnTo>
                    <a:lnTo>
                      <a:pt x="4342" y="1438"/>
                    </a:lnTo>
                    <a:lnTo>
                      <a:pt x="4356" y="1430"/>
                    </a:lnTo>
                    <a:lnTo>
                      <a:pt x="4370" y="1420"/>
                    </a:lnTo>
                    <a:lnTo>
                      <a:pt x="4386" y="1406"/>
                    </a:lnTo>
                    <a:lnTo>
                      <a:pt x="4386" y="1406"/>
                    </a:lnTo>
                    <a:lnTo>
                      <a:pt x="4414" y="1382"/>
                    </a:lnTo>
                    <a:lnTo>
                      <a:pt x="4434" y="1368"/>
                    </a:lnTo>
                    <a:lnTo>
                      <a:pt x="4448" y="1362"/>
                    </a:lnTo>
                    <a:lnTo>
                      <a:pt x="4458" y="1362"/>
                    </a:lnTo>
                    <a:lnTo>
                      <a:pt x="4470" y="1366"/>
                    </a:lnTo>
                    <a:lnTo>
                      <a:pt x="4474" y="1366"/>
                    </a:lnTo>
                    <a:lnTo>
                      <a:pt x="4482" y="1358"/>
                    </a:lnTo>
                    <a:lnTo>
                      <a:pt x="4482" y="1358"/>
                    </a:lnTo>
                    <a:lnTo>
                      <a:pt x="4492" y="1348"/>
                    </a:lnTo>
                    <a:lnTo>
                      <a:pt x="4502" y="1342"/>
                    </a:lnTo>
                    <a:lnTo>
                      <a:pt x="4518" y="1330"/>
                    </a:lnTo>
                    <a:lnTo>
                      <a:pt x="4524" y="1324"/>
                    </a:lnTo>
                    <a:lnTo>
                      <a:pt x="4526" y="1316"/>
                    </a:lnTo>
                    <a:lnTo>
                      <a:pt x="4526" y="1308"/>
                    </a:lnTo>
                    <a:lnTo>
                      <a:pt x="4522" y="1296"/>
                    </a:lnTo>
                    <a:lnTo>
                      <a:pt x="4522" y="1296"/>
                    </a:lnTo>
                    <a:lnTo>
                      <a:pt x="4518" y="1284"/>
                    </a:lnTo>
                    <a:lnTo>
                      <a:pt x="4518" y="1278"/>
                    </a:lnTo>
                    <a:lnTo>
                      <a:pt x="4518" y="1274"/>
                    </a:lnTo>
                    <a:lnTo>
                      <a:pt x="4522" y="1270"/>
                    </a:lnTo>
                    <a:lnTo>
                      <a:pt x="4524" y="1268"/>
                    </a:lnTo>
                    <a:lnTo>
                      <a:pt x="4526" y="1264"/>
                    </a:lnTo>
                    <a:lnTo>
                      <a:pt x="4524" y="1258"/>
                    </a:lnTo>
                    <a:lnTo>
                      <a:pt x="4522" y="1248"/>
                    </a:lnTo>
                    <a:lnTo>
                      <a:pt x="4522" y="1248"/>
                    </a:lnTo>
                    <a:lnTo>
                      <a:pt x="4516" y="1238"/>
                    </a:lnTo>
                    <a:lnTo>
                      <a:pt x="4510" y="1234"/>
                    </a:lnTo>
                    <a:lnTo>
                      <a:pt x="4502" y="1232"/>
                    </a:lnTo>
                    <a:lnTo>
                      <a:pt x="4496" y="1230"/>
                    </a:lnTo>
                    <a:lnTo>
                      <a:pt x="4488" y="1230"/>
                    </a:lnTo>
                    <a:lnTo>
                      <a:pt x="4480" y="1228"/>
                    </a:lnTo>
                    <a:lnTo>
                      <a:pt x="4472" y="1222"/>
                    </a:lnTo>
                    <a:lnTo>
                      <a:pt x="4464" y="1214"/>
                    </a:lnTo>
                    <a:lnTo>
                      <a:pt x="4464" y="1214"/>
                    </a:lnTo>
                    <a:lnTo>
                      <a:pt x="4454" y="1204"/>
                    </a:lnTo>
                    <a:lnTo>
                      <a:pt x="4446" y="1198"/>
                    </a:lnTo>
                    <a:lnTo>
                      <a:pt x="4436" y="1198"/>
                    </a:lnTo>
                    <a:lnTo>
                      <a:pt x="4428" y="1200"/>
                    </a:lnTo>
                    <a:lnTo>
                      <a:pt x="4416" y="1204"/>
                    </a:lnTo>
                    <a:lnTo>
                      <a:pt x="4406" y="1212"/>
                    </a:lnTo>
                    <a:lnTo>
                      <a:pt x="4376" y="1234"/>
                    </a:lnTo>
                    <a:lnTo>
                      <a:pt x="4376" y="1234"/>
                    </a:lnTo>
                    <a:lnTo>
                      <a:pt x="4362" y="1242"/>
                    </a:lnTo>
                    <a:lnTo>
                      <a:pt x="4352" y="1246"/>
                    </a:lnTo>
                    <a:lnTo>
                      <a:pt x="4344" y="1246"/>
                    </a:lnTo>
                    <a:lnTo>
                      <a:pt x="4342" y="1242"/>
                    </a:lnTo>
                    <a:lnTo>
                      <a:pt x="4342" y="1238"/>
                    </a:lnTo>
                    <a:lnTo>
                      <a:pt x="4346" y="1230"/>
                    </a:lnTo>
                    <a:lnTo>
                      <a:pt x="4354" y="1226"/>
                    </a:lnTo>
                    <a:lnTo>
                      <a:pt x="4364" y="1220"/>
                    </a:lnTo>
                    <a:lnTo>
                      <a:pt x="4364" y="1220"/>
                    </a:lnTo>
                    <a:lnTo>
                      <a:pt x="4376" y="1218"/>
                    </a:lnTo>
                    <a:lnTo>
                      <a:pt x="4386" y="1214"/>
                    </a:lnTo>
                    <a:lnTo>
                      <a:pt x="4400" y="1204"/>
                    </a:lnTo>
                    <a:lnTo>
                      <a:pt x="4414" y="1196"/>
                    </a:lnTo>
                    <a:lnTo>
                      <a:pt x="4424" y="1192"/>
                    </a:lnTo>
                    <a:lnTo>
                      <a:pt x="4438" y="1190"/>
                    </a:lnTo>
                    <a:lnTo>
                      <a:pt x="4438" y="1190"/>
                    </a:lnTo>
                    <a:lnTo>
                      <a:pt x="4450" y="1186"/>
                    </a:lnTo>
                    <a:lnTo>
                      <a:pt x="4456" y="1184"/>
                    </a:lnTo>
                    <a:lnTo>
                      <a:pt x="4458" y="1178"/>
                    </a:lnTo>
                    <a:lnTo>
                      <a:pt x="4456" y="1174"/>
                    </a:lnTo>
                    <a:lnTo>
                      <a:pt x="4450" y="1170"/>
                    </a:lnTo>
                    <a:lnTo>
                      <a:pt x="4442" y="1166"/>
                    </a:lnTo>
                    <a:lnTo>
                      <a:pt x="4432" y="1162"/>
                    </a:lnTo>
                    <a:lnTo>
                      <a:pt x="4418" y="1160"/>
                    </a:lnTo>
                    <a:lnTo>
                      <a:pt x="4418" y="1160"/>
                    </a:lnTo>
                    <a:lnTo>
                      <a:pt x="4406" y="1158"/>
                    </a:lnTo>
                    <a:lnTo>
                      <a:pt x="4400" y="1154"/>
                    </a:lnTo>
                    <a:lnTo>
                      <a:pt x="4396" y="1150"/>
                    </a:lnTo>
                    <a:lnTo>
                      <a:pt x="4394" y="1146"/>
                    </a:lnTo>
                    <a:lnTo>
                      <a:pt x="4392" y="1142"/>
                    </a:lnTo>
                    <a:lnTo>
                      <a:pt x="4388" y="1138"/>
                    </a:lnTo>
                    <a:lnTo>
                      <a:pt x="4378" y="1136"/>
                    </a:lnTo>
                    <a:lnTo>
                      <a:pt x="4364" y="1132"/>
                    </a:lnTo>
                    <a:lnTo>
                      <a:pt x="4364" y="1132"/>
                    </a:lnTo>
                    <a:lnTo>
                      <a:pt x="4350" y="1130"/>
                    </a:lnTo>
                    <a:lnTo>
                      <a:pt x="4342" y="1126"/>
                    </a:lnTo>
                    <a:lnTo>
                      <a:pt x="4340" y="1122"/>
                    </a:lnTo>
                    <a:lnTo>
                      <a:pt x="4338" y="1116"/>
                    </a:lnTo>
                    <a:lnTo>
                      <a:pt x="4340" y="1112"/>
                    </a:lnTo>
                    <a:lnTo>
                      <a:pt x="4338" y="1106"/>
                    </a:lnTo>
                    <a:lnTo>
                      <a:pt x="4334" y="1102"/>
                    </a:lnTo>
                    <a:lnTo>
                      <a:pt x="4324" y="1096"/>
                    </a:lnTo>
                    <a:lnTo>
                      <a:pt x="4324" y="1096"/>
                    </a:lnTo>
                    <a:lnTo>
                      <a:pt x="4314" y="1090"/>
                    </a:lnTo>
                    <a:lnTo>
                      <a:pt x="4304" y="1084"/>
                    </a:lnTo>
                    <a:lnTo>
                      <a:pt x="4296" y="1078"/>
                    </a:lnTo>
                    <a:lnTo>
                      <a:pt x="4290" y="1070"/>
                    </a:lnTo>
                    <a:lnTo>
                      <a:pt x="4286" y="1062"/>
                    </a:lnTo>
                    <a:lnTo>
                      <a:pt x="4286" y="1052"/>
                    </a:lnTo>
                    <a:lnTo>
                      <a:pt x="4288" y="1042"/>
                    </a:lnTo>
                    <a:lnTo>
                      <a:pt x="4294" y="1030"/>
                    </a:lnTo>
                    <a:lnTo>
                      <a:pt x="4294" y="1030"/>
                    </a:lnTo>
                    <a:lnTo>
                      <a:pt x="4298" y="1024"/>
                    </a:lnTo>
                    <a:lnTo>
                      <a:pt x="4298" y="1020"/>
                    </a:lnTo>
                    <a:lnTo>
                      <a:pt x="4298" y="1016"/>
                    </a:lnTo>
                    <a:lnTo>
                      <a:pt x="4296" y="1012"/>
                    </a:lnTo>
                    <a:lnTo>
                      <a:pt x="4290" y="1008"/>
                    </a:lnTo>
                    <a:lnTo>
                      <a:pt x="4282" y="1004"/>
                    </a:lnTo>
                    <a:lnTo>
                      <a:pt x="4274" y="1002"/>
                    </a:lnTo>
                    <a:lnTo>
                      <a:pt x="4268" y="998"/>
                    </a:lnTo>
                    <a:lnTo>
                      <a:pt x="4266" y="996"/>
                    </a:lnTo>
                    <a:lnTo>
                      <a:pt x="4266" y="994"/>
                    </a:lnTo>
                    <a:lnTo>
                      <a:pt x="4266" y="990"/>
                    </a:lnTo>
                    <a:lnTo>
                      <a:pt x="4270" y="986"/>
                    </a:lnTo>
                    <a:lnTo>
                      <a:pt x="4270" y="986"/>
                    </a:lnTo>
                    <a:lnTo>
                      <a:pt x="4274" y="978"/>
                    </a:lnTo>
                    <a:lnTo>
                      <a:pt x="4274" y="970"/>
                    </a:lnTo>
                    <a:lnTo>
                      <a:pt x="4270" y="966"/>
                    </a:lnTo>
                    <a:lnTo>
                      <a:pt x="4264" y="960"/>
                    </a:lnTo>
                    <a:lnTo>
                      <a:pt x="4258" y="954"/>
                    </a:lnTo>
                    <a:lnTo>
                      <a:pt x="4252" y="948"/>
                    </a:lnTo>
                    <a:lnTo>
                      <a:pt x="4246" y="940"/>
                    </a:lnTo>
                    <a:lnTo>
                      <a:pt x="4244" y="928"/>
                    </a:lnTo>
                    <a:lnTo>
                      <a:pt x="4244" y="928"/>
                    </a:lnTo>
                    <a:lnTo>
                      <a:pt x="4240" y="912"/>
                    </a:lnTo>
                    <a:lnTo>
                      <a:pt x="4238" y="908"/>
                    </a:lnTo>
                    <a:lnTo>
                      <a:pt x="4236" y="906"/>
                    </a:lnTo>
                    <a:lnTo>
                      <a:pt x="4230" y="902"/>
                    </a:lnTo>
                    <a:lnTo>
                      <a:pt x="4228" y="898"/>
                    </a:lnTo>
                    <a:lnTo>
                      <a:pt x="4226" y="890"/>
                    </a:lnTo>
                    <a:lnTo>
                      <a:pt x="4226" y="890"/>
                    </a:lnTo>
                    <a:lnTo>
                      <a:pt x="4222" y="882"/>
                    </a:lnTo>
                    <a:lnTo>
                      <a:pt x="4218" y="878"/>
                    </a:lnTo>
                    <a:lnTo>
                      <a:pt x="4210" y="872"/>
                    </a:lnTo>
                    <a:lnTo>
                      <a:pt x="4206" y="868"/>
                    </a:lnTo>
                    <a:lnTo>
                      <a:pt x="4200" y="862"/>
                    </a:lnTo>
                    <a:lnTo>
                      <a:pt x="4194" y="852"/>
                    </a:lnTo>
                    <a:lnTo>
                      <a:pt x="4186" y="838"/>
                    </a:lnTo>
                    <a:lnTo>
                      <a:pt x="4186" y="838"/>
                    </a:lnTo>
                    <a:lnTo>
                      <a:pt x="4180" y="824"/>
                    </a:lnTo>
                    <a:lnTo>
                      <a:pt x="4174" y="816"/>
                    </a:lnTo>
                    <a:lnTo>
                      <a:pt x="4168" y="812"/>
                    </a:lnTo>
                    <a:lnTo>
                      <a:pt x="4164" y="812"/>
                    </a:lnTo>
                    <a:lnTo>
                      <a:pt x="4158" y="814"/>
                    </a:lnTo>
                    <a:lnTo>
                      <a:pt x="4154" y="820"/>
                    </a:lnTo>
                    <a:lnTo>
                      <a:pt x="4140" y="836"/>
                    </a:lnTo>
                    <a:lnTo>
                      <a:pt x="4140" y="836"/>
                    </a:lnTo>
                    <a:lnTo>
                      <a:pt x="4132" y="848"/>
                    </a:lnTo>
                    <a:lnTo>
                      <a:pt x="4128" y="860"/>
                    </a:lnTo>
                    <a:lnTo>
                      <a:pt x="4124" y="884"/>
                    </a:lnTo>
                    <a:lnTo>
                      <a:pt x="4120" y="896"/>
                    </a:lnTo>
                    <a:lnTo>
                      <a:pt x="4116" y="904"/>
                    </a:lnTo>
                    <a:lnTo>
                      <a:pt x="4114" y="906"/>
                    </a:lnTo>
                    <a:lnTo>
                      <a:pt x="4110" y="908"/>
                    </a:lnTo>
                    <a:lnTo>
                      <a:pt x="4106" y="908"/>
                    </a:lnTo>
                    <a:lnTo>
                      <a:pt x="4100" y="906"/>
                    </a:lnTo>
                    <a:lnTo>
                      <a:pt x="4100" y="906"/>
                    </a:lnTo>
                    <a:lnTo>
                      <a:pt x="4090" y="904"/>
                    </a:lnTo>
                    <a:lnTo>
                      <a:pt x="4086" y="906"/>
                    </a:lnTo>
                    <a:lnTo>
                      <a:pt x="4084" y="908"/>
                    </a:lnTo>
                    <a:lnTo>
                      <a:pt x="4084" y="912"/>
                    </a:lnTo>
                    <a:lnTo>
                      <a:pt x="4082" y="916"/>
                    </a:lnTo>
                    <a:lnTo>
                      <a:pt x="4080" y="922"/>
                    </a:lnTo>
                    <a:lnTo>
                      <a:pt x="4074" y="928"/>
                    </a:lnTo>
                    <a:lnTo>
                      <a:pt x="4060" y="934"/>
                    </a:lnTo>
                    <a:lnTo>
                      <a:pt x="4060" y="934"/>
                    </a:lnTo>
                    <a:lnTo>
                      <a:pt x="4048" y="936"/>
                    </a:lnTo>
                    <a:lnTo>
                      <a:pt x="4038" y="934"/>
                    </a:lnTo>
                    <a:lnTo>
                      <a:pt x="4030" y="930"/>
                    </a:lnTo>
                    <a:lnTo>
                      <a:pt x="4024" y="922"/>
                    </a:lnTo>
                    <a:lnTo>
                      <a:pt x="4018" y="914"/>
                    </a:lnTo>
                    <a:lnTo>
                      <a:pt x="4010" y="908"/>
                    </a:lnTo>
                    <a:lnTo>
                      <a:pt x="4002" y="902"/>
                    </a:lnTo>
                    <a:lnTo>
                      <a:pt x="3988" y="900"/>
                    </a:lnTo>
                    <a:lnTo>
                      <a:pt x="3988" y="900"/>
                    </a:lnTo>
                    <a:lnTo>
                      <a:pt x="3976" y="900"/>
                    </a:lnTo>
                    <a:lnTo>
                      <a:pt x="3972" y="900"/>
                    </a:lnTo>
                    <a:lnTo>
                      <a:pt x="3970" y="896"/>
                    </a:lnTo>
                    <a:lnTo>
                      <a:pt x="3972" y="892"/>
                    </a:lnTo>
                    <a:lnTo>
                      <a:pt x="3974" y="888"/>
                    </a:lnTo>
                    <a:lnTo>
                      <a:pt x="3976" y="884"/>
                    </a:lnTo>
                    <a:lnTo>
                      <a:pt x="3974" y="880"/>
                    </a:lnTo>
                    <a:lnTo>
                      <a:pt x="3968" y="874"/>
                    </a:lnTo>
                    <a:lnTo>
                      <a:pt x="3968" y="874"/>
                    </a:lnTo>
                    <a:lnTo>
                      <a:pt x="3962" y="870"/>
                    </a:lnTo>
                    <a:lnTo>
                      <a:pt x="3960" y="866"/>
                    </a:lnTo>
                    <a:lnTo>
                      <a:pt x="3962" y="864"/>
                    </a:lnTo>
                    <a:lnTo>
                      <a:pt x="3964" y="860"/>
                    </a:lnTo>
                    <a:lnTo>
                      <a:pt x="3966" y="856"/>
                    </a:lnTo>
                    <a:lnTo>
                      <a:pt x="3968" y="850"/>
                    </a:lnTo>
                    <a:lnTo>
                      <a:pt x="3968" y="844"/>
                    </a:lnTo>
                    <a:lnTo>
                      <a:pt x="3964" y="836"/>
                    </a:lnTo>
                    <a:lnTo>
                      <a:pt x="3964" y="836"/>
                    </a:lnTo>
                    <a:lnTo>
                      <a:pt x="3960" y="824"/>
                    </a:lnTo>
                    <a:lnTo>
                      <a:pt x="3958" y="814"/>
                    </a:lnTo>
                    <a:lnTo>
                      <a:pt x="3962" y="802"/>
                    </a:lnTo>
                    <a:lnTo>
                      <a:pt x="3966" y="794"/>
                    </a:lnTo>
                    <a:lnTo>
                      <a:pt x="3974" y="776"/>
                    </a:lnTo>
                    <a:lnTo>
                      <a:pt x="3974" y="770"/>
                    </a:lnTo>
                    <a:lnTo>
                      <a:pt x="3972" y="764"/>
                    </a:lnTo>
                    <a:lnTo>
                      <a:pt x="3972" y="764"/>
                    </a:lnTo>
                    <a:lnTo>
                      <a:pt x="3968" y="758"/>
                    </a:lnTo>
                    <a:lnTo>
                      <a:pt x="3964" y="758"/>
                    </a:lnTo>
                    <a:lnTo>
                      <a:pt x="3960" y="760"/>
                    </a:lnTo>
                    <a:lnTo>
                      <a:pt x="3958" y="764"/>
                    </a:lnTo>
                    <a:lnTo>
                      <a:pt x="3954" y="770"/>
                    </a:lnTo>
                    <a:lnTo>
                      <a:pt x="3952" y="772"/>
                    </a:lnTo>
                    <a:lnTo>
                      <a:pt x="3950" y="770"/>
                    </a:lnTo>
                    <a:lnTo>
                      <a:pt x="3950" y="770"/>
                    </a:lnTo>
                    <a:lnTo>
                      <a:pt x="3944" y="766"/>
                    </a:lnTo>
                    <a:lnTo>
                      <a:pt x="3936" y="762"/>
                    </a:lnTo>
                    <a:lnTo>
                      <a:pt x="3914" y="756"/>
                    </a:lnTo>
                    <a:lnTo>
                      <a:pt x="3902" y="752"/>
                    </a:lnTo>
                    <a:lnTo>
                      <a:pt x="3894" y="748"/>
                    </a:lnTo>
                    <a:lnTo>
                      <a:pt x="3888" y="742"/>
                    </a:lnTo>
                    <a:lnTo>
                      <a:pt x="3886" y="740"/>
                    </a:lnTo>
                    <a:lnTo>
                      <a:pt x="3886" y="736"/>
                    </a:lnTo>
                    <a:lnTo>
                      <a:pt x="3886" y="736"/>
                    </a:lnTo>
                    <a:lnTo>
                      <a:pt x="3886" y="728"/>
                    </a:lnTo>
                    <a:lnTo>
                      <a:pt x="3882" y="722"/>
                    </a:lnTo>
                    <a:lnTo>
                      <a:pt x="3878" y="716"/>
                    </a:lnTo>
                    <a:lnTo>
                      <a:pt x="3870" y="710"/>
                    </a:lnTo>
                    <a:lnTo>
                      <a:pt x="3826" y="680"/>
                    </a:lnTo>
                    <a:lnTo>
                      <a:pt x="3826" y="680"/>
                    </a:lnTo>
                    <a:lnTo>
                      <a:pt x="3806" y="668"/>
                    </a:lnTo>
                    <a:lnTo>
                      <a:pt x="3800" y="668"/>
                    </a:lnTo>
                    <a:lnTo>
                      <a:pt x="3796" y="666"/>
                    </a:lnTo>
                    <a:lnTo>
                      <a:pt x="3790" y="668"/>
                    </a:lnTo>
                    <a:lnTo>
                      <a:pt x="3788" y="670"/>
                    </a:lnTo>
                    <a:lnTo>
                      <a:pt x="3780" y="678"/>
                    </a:lnTo>
                    <a:lnTo>
                      <a:pt x="3774" y="680"/>
                    </a:lnTo>
                    <a:lnTo>
                      <a:pt x="3768" y="684"/>
                    </a:lnTo>
                    <a:lnTo>
                      <a:pt x="3760" y="684"/>
                    </a:lnTo>
                    <a:lnTo>
                      <a:pt x="3750" y="686"/>
                    </a:lnTo>
                    <a:lnTo>
                      <a:pt x="3736" y="684"/>
                    </a:lnTo>
                    <a:lnTo>
                      <a:pt x="3720" y="680"/>
                    </a:lnTo>
                    <a:lnTo>
                      <a:pt x="3700" y="674"/>
                    </a:lnTo>
                    <a:lnTo>
                      <a:pt x="3676" y="664"/>
                    </a:lnTo>
                    <a:lnTo>
                      <a:pt x="3676" y="664"/>
                    </a:lnTo>
                    <a:lnTo>
                      <a:pt x="3666" y="662"/>
                    </a:lnTo>
                    <a:lnTo>
                      <a:pt x="3656" y="660"/>
                    </a:lnTo>
                    <a:lnTo>
                      <a:pt x="3648" y="660"/>
                    </a:lnTo>
                    <a:lnTo>
                      <a:pt x="3642" y="662"/>
                    </a:lnTo>
                    <a:lnTo>
                      <a:pt x="3636" y="664"/>
                    </a:lnTo>
                    <a:lnTo>
                      <a:pt x="3632" y="668"/>
                    </a:lnTo>
                    <a:lnTo>
                      <a:pt x="3626" y="678"/>
                    </a:lnTo>
                    <a:lnTo>
                      <a:pt x="3622" y="690"/>
                    </a:lnTo>
                    <a:lnTo>
                      <a:pt x="3622" y="702"/>
                    </a:lnTo>
                    <a:lnTo>
                      <a:pt x="3626" y="712"/>
                    </a:lnTo>
                    <a:lnTo>
                      <a:pt x="3630" y="720"/>
                    </a:lnTo>
                    <a:lnTo>
                      <a:pt x="3630" y="720"/>
                    </a:lnTo>
                    <a:lnTo>
                      <a:pt x="3634" y="726"/>
                    </a:lnTo>
                    <a:lnTo>
                      <a:pt x="3636" y="732"/>
                    </a:lnTo>
                    <a:lnTo>
                      <a:pt x="3638" y="738"/>
                    </a:lnTo>
                    <a:lnTo>
                      <a:pt x="3638" y="746"/>
                    </a:lnTo>
                    <a:lnTo>
                      <a:pt x="3634" y="760"/>
                    </a:lnTo>
                    <a:lnTo>
                      <a:pt x="3626" y="772"/>
                    </a:lnTo>
                    <a:lnTo>
                      <a:pt x="3626" y="772"/>
                    </a:lnTo>
                    <a:lnTo>
                      <a:pt x="3622" y="776"/>
                    </a:lnTo>
                    <a:lnTo>
                      <a:pt x="3622" y="780"/>
                    </a:lnTo>
                    <a:lnTo>
                      <a:pt x="3624" y="782"/>
                    </a:lnTo>
                    <a:lnTo>
                      <a:pt x="3626" y="786"/>
                    </a:lnTo>
                    <a:lnTo>
                      <a:pt x="3634" y="794"/>
                    </a:lnTo>
                    <a:lnTo>
                      <a:pt x="3640" y="802"/>
                    </a:lnTo>
                    <a:lnTo>
                      <a:pt x="3644" y="814"/>
                    </a:lnTo>
                    <a:lnTo>
                      <a:pt x="3644" y="814"/>
                    </a:lnTo>
                    <a:lnTo>
                      <a:pt x="3648" y="824"/>
                    </a:lnTo>
                    <a:lnTo>
                      <a:pt x="3650" y="832"/>
                    </a:lnTo>
                    <a:lnTo>
                      <a:pt x="3650" y="840"/>
                    </a:lnTo>
                    <a:lnTo>
                      <a:pt x="3648" y="844"/>
                    </a:lnTo>
                    <a:lnTo>
                      <a:pt x="3642" y="854"/>
                    </a:lnTo>
                    <a:lnTo>
                      <a:pt x="3636" y="870"/>
                    </a:lnTo>
                    <a:lnTo>
                      <a:pt x="3636" y="870"/>
                    </a:lnTo>
                    <a:lnTo>
                      <a:pt x="3634" y="878"/>
                    </a:lnTo>
                    <a:lnTo>
                      <a:pt x="3630" y="882"/>
                    </a:lnTo>
                    <a:lnTo>
                      <a:pt x="3620" y="888"/>
                    </a:lnTo>
                    <a:lnTo>
                      <a:pt x="3616" y="890"/>
                    </a:lnTo>
                    <a:lnTo>
                      <a:pt x="3612" y="894"/>
                    </a:lnTo>
                    <a:lnTo>
                      <a:pt x="3610" y="900"/>
                    </a:lnTo>
                    <a:lnTo>
                      <a:pt x="3606" y="910"/>
                    </a:lnTo>
                    <a:lnTo>
                      <a:pt x="3606" y="910"/>
                    </a:lnTo>
                    <a:lnTo>
                      <a:pt x="3606" y="916"/>
                    </a:lnTo>
                    <a:lnTo>
                      <a:pt x="3608" y="920"/>
                    </a:lnTo>
                    <a:lnTo>
                      <a:pt x="3614" y="926"/>
                    </a:lnTo>
                    <a:lnTo>
                      <a:pt x="3622" y="932"/>
                    </a:lnTo>
                    <a:lnTo>
                      <a:pt x="3634" y="940"/>
                    </a:lnTo>
                    <a:lnTo>
                      <a:pt x="3648" y="950"/>
                    </a:lnTo>
                    <a:lnTo>
                      <a:pt x="3660" y="964"/>
                    </a:lnTo>
                    <a:lnTo>
                      <a:pt x="3666" y="972"/>
                    </a:lnTo>
                    <a:lnTo>
                      <a:pt x="3672" y="984"/>
                    </a:lnTo>
                    <a:lnTo>
                      <a:pt x="3678" y="996"/>
                    </a:lnTo>
                    <a:lnTo>
                      <a:pt x="3684" y="1010"/>
                    </a:lnTo>
                    <a:lnTo>
                      <a:pt x="3684" y="1010"/>
                    </a:lnTo>
                    <a:lnTo>
                      <a:pt x="3686" y="1026"/>
                    </a:lnTo>
                    <a:lnTo>
                      <a:pt x="3688" y="1040"/>
                    </a:lnTo>
                    <a:lnTo>
                      <a:pt x="3688" y="1052"/>
                    </a:lnTo>
                    <a:lnTo>
                      <a:pt x="3684" y="1066"/>
                    </a:lnTo>
                    <a:lnTo>
                      <a:pt x="3680" y="1078"/>
                    </a:lnTo>
                    <a:lnTo>
                      <a:pt x="3674" y="1088"/>
                    </a:lnTo>
                    <a:lnTo>
                      <a:pt x="3668" y="1100"/>
                    </a:lnTo>
                    <a:lnTo>
                      <a:pt x="3660" y="1108"/>
                    </a:lnTo>
                    <a:lnTo>
                      <a:pt x="3642" y="1126"/>
                    </a:lnTo>
                    <a:lnTo>
                      <a:pt x="3624" y="1140"/>
                    </a:lnTo>
                    <a:lnTo>
                      <a:pt x="3604" y="1150"/>
                    </a:lnTo>
                    <a:lnTo>
                      <a:pt x="3584" y="1158"/>
                    </a:lnTo>
                    <a:lnTo>
                      <a:pt x="3584" y="1158"/>
                    </a:lnTo>
                    <a:lnTo>
                      <a:pt x="3570" y="1166"/>
                    </a:lnTo>
                    <a:lnTo>
                      <a:pt x="3562" y="1172"/>
                    </a:lnTo>
                    <a:lnTo>
                      <a:pt x="3562" y="1174"/>
                    </a:lnTo>
                    <a:lnTo>
                      <a:pt x="3562" y="1176"/>
                    </a:lnTo>
                    <a:lnTo>
                      <a:pt x="3566" y="1184"/>
                    </a:lnTo>
                    <a:lnTo>
                      <a:pt x="3572" y="1190"/>
                    </a:lnTo>
                    <a:lnTo>
                      <a:pt x="3578" y="1200"/>
                    </a:lnTo>
                    <a:lnTo>
                      <a:pt x="3582" y="1212"/>
                    </a:lnTo>
                    <a:lnTo>
                      <a:pt x="3584" y="1220"/>
                    </a:lnTo>
                    <a:lnTo>
                      <a:pt x="3584" y="1228"/>
                    </a:lnTo>
                    <a:lnTo>
                      <a:pt x="3584" y="1228"/>
                    </a:lnTo>
                    <a:lnTo>
                      <a:pt x="3586" y="1244"/>
                    </a:lnTo>
                    <a:lnTo>
                      <a:pt x="3588" y="1260"/>
                    </a:lnTo>
                    <a:lnTo>
                      <a:pt x="3598" y="1290"/>
                    </a:lnTo>
                    <a:lnTo>
                      <a:pt x="3602" y="1302"/>
                    </a:lnTo>
                    <a:lnTo>
                      <a:pt x="3604" y="1314"/>
                    </a:lnTo>
                    <a:lnTo>
                      <a:pt x="3604" y="1324"/>
                    </a:lnTo>
                    <a:lnTo>
                      <a:pt x="3600" y="1328"/>
                    </a:lnTo>
                    <a:lnTo>
                      <a:pt x="3598" y="1330"/>
                    </a:lnTo>
                    <a:lnTo>
                      <a:pt x="3598" y="1330"/>
                    </a:lnTo>
                    <a:lnTo>
                      <a:pt x="3594" y="1334"/>
                    </a:lnTo>
                    <a:lnTo>
                      <a:pt x="3592" y="1336"/>
                    </a:lnTo>
                    <a:lnTo>
                      <a:pt x="3590" y="1344"/>
                    </a:lnTo>
                    <a:lnTo>
                      <a:pt x="3592" y="1352"/>
                    </a:lnTo>
                    <a:lnTo>
                      <a:pt x="3594" y="1358"/>
                    </a:lnTo>
                    <a:lnTo>
                      <a:pt x="3596" y="1362"/>
                    </a:lnTo>
                    <a:lnTo>
                      <a:pt x="3594" y="1366"/>
                    </a:lnTo>
                    <a:lnTo>
                      <a:pt x="3590" y="1364"/>
                    </a:lnTo>
                    <a:lnTo>
                      <a:pt x="3580" y="1358"/>
                    </a:lnTo>
                    <a:lnTo>
                      <a:pt x="3580" y="1358"/>
                    </a:lnTo>
                    <a:lnTo>
                      <a:pt x="3570" y="1354"/>
                    </a:lnTo>
                    <a:lnTo>
                      <a:pt x="3568" y="1354"/>
                    </a:lnTo>
                    <a:lnTo>
                      <a:pt x="3566" y="1356"/>
                    </a:lnTo>
                    <a:lnTo>
                      <a:pt x="3562" y="1362"/>
                    </a:lnTo>
                    <a:lnTo>
                      <a:pt x="3562" y="1370"/>
                    </a:lnTo>
                    <a:lnTo>
                      <a:pt x="3562" y="1376"/>
                    </a:lnTo>
                    <a:lnTo>
                      <a:pt x="3560" y="1382"/>
                    </a:lnTo>
                    <a:lnTo>
                      <a:pt x="3558" y="1384"/>
                    </a:lnTo>
                    <a:lnTo>
                      <a:pt x="3554" y="1384"/>
                    </a:lnTo>
                    <a:lnTo>
                      <a:pt x="3546" y="1380"/>
                    </a:lnTo>
                    <a:lnTo>
                      <a:pt x="3546" y="1380"/>
                    </a:lnTo>
                    <a:lnTo>
                      <a:pt x="3536" y="1372"/>
                    </a:lnTo>
                    <a:lnTo>
                      <a:pt x="3530" y="1366"/>
                    </a:lnTo>
                    <a:lnTo>
                      <a:pt x="3522" y="1352"/>
                    </a:lnTo>
                    <a:lnTo>
                      <a:pt x="3516" y="1342"/>
                    </a:lnTo>
                    <a:lnTo>
                      <a:pt x="3508" y="1332"/>
                    </a:lnTo>
                    <a:lnTo>
                      <a:pt x="3494" y="1316"/>
                    </a:lnTo>
                    <a:lnTo>
                      <a:pt x="3474" y="1298"/>
                    </a:lnTo>
                    <a:lnTo>
                      <a:pt x="3474" y="1298"/>
                    </a:lnTo>
                    <a:lnTo>
                      <a:pt x="3464" y="1286"/>
                    </a:lnTo>
                    <a:lnTo>
                      <a:pt x="3458" y="1276"/>
                    </a:lnTo>
                    <a:lnTo>
                      <a:pt x="3456" y="1266"/>
                    </a:lnTo>
                    <a:lnTo>
                      <a:pt x="3456" y="1254"/>
                    </a:lnTo>
                    <a:lnTo>
                      <a:pt x="3456" y="1234"/>
                    </a:lnTo>
                    <a:lnTo>
                      <a:pt x="3456" y="1222"/>
                    </a:lnTo>
                    <a:lnTo>
                      <a:pt x="3454" y="1210"/>
                    </a:lnTo>
                    <a:lnTo>
                      <a:pt x="3454" y="1210"/>
                    </a:lnTo>
                    <a:lnTo>
                      <a:pt x="3450" y="1194"/>
                    </a:lnTo>
                    <a:lnTo>
                      <a:pt x="3450" y="1182"/>
                    </a:lnTo>
                    <a:lnTo>
                      <a:pt x="3454" y="1172"/>
                    </a:lnTo>
                    <a:lnTo>
                      <a:pt x="3456" y="1162"/>
                    </a:lnTo>
                    <a:lnTo>
                      <a:pt x="3458" y="1154"/>
                    </a:lnTo>
                    <a:lnTo>
                      <a:pt x="3456" y="1148"/>
                    </a:lnTo>
                    <a:lnTo>
                      <a:pt x="3452" y="1142"/>
                    </a:lnTo>
                    <a:lnTo>
                      <a:pt x="3440" y="1138"/>
                    </a:lnTo>
                    <a:lnTo>
                      <a:pt x="3440" y="1138"/>
                    </a:lnTo>
                    <a:lnTo>
                      <a:pt x="3414" y="1134"/>
                    </a:lnTo>
                    <a:lnTo>
                      <a:pt x="3394" y="1130"/>
                    </a:lnTo>
                    <a:lnTo>
                      <a:pt x="3378" y="1130"/>
                    </a:lnTo>
                    <a:lnTo>
                      <a:pt x="3368" y="1130"/>
                    </a:lnTo>
                    <a:lnTo>
                      <a:pt x="3354" y="1132"/>
                    </a:lnTo>
                    <a:lnTo>
                      <a:pt x="3346" y="1132"/>
                    </a:lnTo>
                    <a:lnTo>
                      <a:pt x="3340" y="1130"/>
                    </a:lnTo>
                    <a:lnTo>
                      <a:pt x="3340" y="1130"/>
                    </a:lnTo>
                    <a:lnTo>
                      <a:pt x="3334" y="1128"/>
                    </a:lnTo>
                    <a:lnTo>
                      <a:pt x="3330" y="1124"/>
                    </a:lnTo>
                    <a:lnTo>
                      <a:pt x="3322" y="1116"/>
                    </a:lnTo>
                    <a:lnTo>
                      <a:pt x="3316" y="1110"/>
                    </a:lnTo>
                    <a:lnTo>
                      <a:pt x="3306" y="1104"/>
                    </a:lnTo>
                    <a:lnTo>
                      <a:pt x="3290" y="1098"/>
                    </a:lnTo>
                    <a:lnTo>
                      <a:pt x="3268" y="1092"/>
                    </a:lnTo>
                    <a:lnTo>
                      <a:pt x="3268" y="1092"/>
                    </a:lnTo>
                    <a:lnTo>
                      <a:pt x="3246" y="1084"/>
                    </a:lnTo>
                    <a:lnTo>
                      <a:pt x="3236" y="1078"/>
                    </a:lnTo>
                    <a:lnTo>
                      <a:pt x="3232" y="1072"/>
                    </a:lnTo>
                    <a:lnTo>
                      <a:pt x="3230" y="1066"/>
                    </a:lnTo>
                    <a:lnTo>
                      <a:pt x="3226" y="1058"/>
                    </a:lnTo>
                    <a:lnTo>
                      <a:pt x="3216" y="1048"/>
                    </a:lnTo>
                    <a:lnTo>
                      <a:pt x="3198" y="1036"/>
                    </a:lnTo>
                    <a:lnTo>
                      <a:pt x="3166" y="1022"/>
                    </a:lnTo>
                    <a:lnTo>
                      <a:pt x="3166" y="1022"/>
                    </a:lnTo>
                    <a:lnTo>
                      <a:pt x="3146" y="1016"/>
                    </a:lnTo>
                    <a:lnTo>
                      <a:pt x="3130" y="1012"/>
                    </a:lnTo>
                    <a:lnTo>
                      <a:pt x="3114" y="1010"/>
                    </a:lnTo>
                    <a:lnTo>
                      <a:pt x="3102" y="1010"/>
                    </a:lnTo>
                    <a:lnTo>
                      <a:pt x="3090" y="1012"/>
                    </a:lnTo>
                    <a:lnTo>
                      <a:pt x="3080" y="1014"/>
                    </a:lnTo>
                    <a:lnTo>
                      <a:pt x="3064" y="1020"/>
                    </a:lnTo>
                    <a:lnTo>
                      <a:pt x="3052" y="1026"/>
                    </a:lnTo>
                    <a:lnTo>
                      <a:pt x="3046" y="1028"/>
                    </a:lnTo>
                    <a:lnTo>
                      <a:pt x="3044" y="1026"/>
                    </a:lnTo>
                    <a:lnTo>
                      <a:pt x="3042" y="1022"/>
                    </a:lnTo>
                    <a:lnTo>
                      <a:pt x="3040" y="1008"/>
                    </a:lnTo>
                    <a:lnTo>
                      <a:pt x="3040" y="1008"/>
                    </a:lnTo>
                    <a:lnTo>
                      <a:pt x="3040" y="992"/>
                    </a:lnTo>
                    <a:lnTo>
                      <a:pt x="3038" y="978"/>
                    </a:lnTo>
                    <a:lnTo>
                      <a:pt x="3032" y="962"/>
                    </a:lnTo>
                    <a:lnTo>
                      <a:pt x="3026" y="948"/>
                    </a:lnTo>
                    <a:lnTo>
                      <a:pt x="3024" y="938"/>
                    </a:lnTo>
                    <a:lnTo>
                      <a:pt x="3020" y="928"/>
                    </a:lnTo>
                    <a:lnTo>
                      <a:pt x="3020" y="928"/>
                    </a:lnTo>
                    <a:lnTo>
                      <a:pt x="3018" y="922"/>
                    </a:lnTo>
                    <a:lnTo>
                      <a:pt x="3016" y="918"/>
                    </a:lnTo>
                    <a:lnTo>
                      <a:pt x="3012" y="914"/>
                    </a:lnTo>
                    <a:lnTo>
                      <a:pt x="3008" y="914"/>
                    </a:lnTo>
                    <a:lnTo>
                      <a:pt x="2998" y="912"/>
                    </a:lnTo>
                    <a:lnTo>
                      <a:pt x="2986" y="912"/>
                    </a:lnTo>
                    <a:lnTo>
                      <a:pt x="2974" y="910"/>
                    </a:lnTo>
                    <a:lnTo>
                      <a:pt x="2968" y="908"/>
                    </a:lnTo>
                    <a:lnTo>
                      <a:pt x="2962" y="904"/>
                    </a:lnTo>
                    <a:lnTo>
                      <a:pt x="2958" y="898"/>
                    </a:lnTo>
                    <a:lnTo>
                      <a:pt x="2954" y="890"/>
                    </a:lnTo>
                    <a:lnTo>
                      <a:pt x="2950" y="882"/>
                    </a:lnTo>
                    <a:lnTo>
                      <a:pt x="2948" y="868"/>
                    </a:lnTo>
                    <a:lnTo>
                      <a:pt x="2948" y="868"/>
                    </a:lnTo>
                    <a:lnTo>
                      <a:pt x="2948" y="854"/>
                    </a:lnTo>
                    <a:lnTo>
                      <a:pt x="2948" y="840"/>
                    </a:lnTo>
                    <a:lnTo>
                      <a:pt x="2952" y="824"/>
                    </a:lnTo>
                    <a:lnTo>
                      <a:pt x="2956" y="808"/>
                    </a:lnTo>
                    <a:lnTo>
                      <a:pt x="2968" y="778"/>
                    </a:lnTo>
                    <a:lnTo>
                      <a:pt x="2982" y="750"/>
                    </a:lnTo>
                    <a:lnTo>
                      <a:pt x="2998" y="724"/>
                    </a:lnTo>
                    <a:lnTo>
                      <a:pt x="3014" y="706"/>
                    </a:lnTo>
                    <a:lnTo>
                      <a:pt x="3026" y="692"/>
                    </a:lnTo>
                    <a:lnTo>
                      <a:pt x="3030" y="690"/>
                    </a:lnTo>
                    <a:lnTo>
                      <a:pt x="3034" y="690"/>
                    </a:lnTo>
                    <a:lnTo>
                      <a:pt x="3034" y="690"/>
                    </a:lnTo>
                    <a:lnTo>
                      <a:pt x="3038" y="688"/>
                    </a:lnTo>
                    <a:lnTo>
                      <a:pt x="3042" y="684"/>
                    </a:lnTo>
                    <a:lnTo>
                      <a:pt x="3044" y="670"/>
                    </a:lnTo>
                    <a:lnTo>
                      <a:pt x="3048" y="662"/>
                    </a:lnTo>
                    <a:lnTo>
                      <a:pt x="3052" y="654"/>
                    </a:lnTo>
                    <a:lnTo>
                      <a:pt x="3060" y="648"/>
                    </a:lnTo>
                    <a:lnTo>
                      <a:pt x="3070" y="646"/>
                    </a:lnTo>
                    <a:lnTo>
                      <a:pt x="3070" y="646"/>
                    </a:lnTo>
                    <a:lnTo>
                      <a:pt x="3096" y="644"/>
                    </a:lnTo>
                    <a:lnTo>
                      <a:pt x="3106" y="640"/>
                    </a:lnTo>
                    <a:lnTo>
                      <a:pt x="3116" y="636"/>
                    </a:lnTo>
                    <a:lnTo>
                      <a:pt x="3120" y="630"/>
                    </a:lnTo>
                    <a:lnTo>
                      <a:pt x="3120" y="624"/>
                    </a:lnTo>
                    <a:lnTo>
                      <a:pt x="3116" y="614"/>
                    </a:lnTo>
                    <a:lnTo>
                      <a:pt x="3106" y="604"/>
                    </a:lnTo>
                    <a:lnTo>
                      <a:pt x="3106" y="604"/>
                    </a:lnTo>
                    <a:lnTo>
                      <a:pt x="3098" y="596"/>
                    </a:lnTo>
                    <a:lnTo>
                      <a:pt x="3098" y="594"/>
                    </a:lnTo>
                    <a:lnTo>
                      <a:pt x="3098" y="592"/>
                    </a:lnTo>
                    <a:lnTo>
                      <a:pt x="3104" y="590"/>
                    </a:lnTo>
                    <a:lnTo>
                      <a:pt x="3112" y="590"/>
                    </a:lnTo>
                    <a:lnTo>
                      <a:pt x="3124" y="590"/>
                    </a:lnTo>
                    <a:lnTo>
                      <a:pt x="3136" y="586"/>
                    </a:lnTo>
                    <a:lnTo>
                      <a:pt x="3140" y="584"/>
                    </a:lnTo>
                    <a:lnTo>
                      <a:pt x="3144" y="580"/>
                    </a:lnTo>
                    <a:lnTo>
                      <a:pt x="3148" y="576"/>
                    </a:lnTo>
                    <a:lnTo>
                      <a:pt x="3150" y="568"/>
                    </a:lnTo>
                    <a:lnTo>
                      <a:pt x="3150" y="568"/>
                    </a:lnTo>
                    <a:lnTo>
                      <a:pt x="3152" y="562"/>
                    </a:lnTo>
                    <a:lnTo>
                      <a:pt x="3154" y="558"/>
                    </a:lnTo>
                    <a:lnTo>
                      <a:pt x="3156" y="556"/>
                    </a:lnTo>
                    <a:lnTo>
                      <a:pt x="3158" y="556"/>
                    </a:lnTo>
                    <a:lnTo>
                      <a:pt x="3166" y="560"/>
                    </a:lnTo>
                    <a:lnTo>
                      <a:pt x="3176" y="566"/>
                    </a:lnTo>
                    <a:lnTo>
                      <a:pt x="3188" y="570"/>
                    </a:lnTo>
                    <a:lnTo>
                      <a:pt x="3194" y="572"/>
                    </a:lnTo>
                    <a:lnTo>
                      <a:pt x="3200" y="570"/>
                    </a:lnTo>
                    <a:lnTo>
                      <a:pt x="3206" y="568"/>
                    </a:lnTo>
                    <a:lnTo>
                      <a:pt x="3214" y="562"/>
                    </a:lnTo>
                    <a:lnTo>
                      <a:pt x="3220" y="554"/>
                    </a:lnTo>
                    <a:lnTo>
                      <a:pt x="3228" y="542"/>
                    </a:lnTo>
                    <a:lnTo>
                      <a:pt x="3228" y="542"/>
                    </a:lnTo>
                    <a:lnTo>
                      <a:pt x="3242" y="520"/>
                    </a:lnTo>
                    <a:lnTo>
                      <a:pt x="3252" y="506"/>
                    </a:lnTo>
                    <a:lnTo>
                      <a:pt x="3258" y="496"/>
                    </a:lnTo>
                    <a:lnTo>
                      <a:pt x="3260" y="492"/>
                    </a:lnTo>
                    <a:lnTo>
                      <a:pt x="3258" y="490"/>
                    </a:lnTo>
                    <a:lnTo>
                      <a:pt x="3256" y="488"/>
                    </a:lnTo>
                    <a:lnTo>
                      <a:pt x="3244" y="486"/>
                    </a:lnTo>
                    <a:lnTo>
                      <a:pt x="3228" y="484"/>
                    </a:lnTo>
                    <a:lnTo>
                      <a:pt x="3204" y="478"/>
                    </a:lnTo>
                    <a:lnTo>
                      <a:pt x="3204" y="478"/>
                    </a:lnTo>
                    <a:lnTo>
                      <a:pt x="3186" y="474"/>
                    </a:lnTo>
                    <a:lnTo>
                      <a:pt x="3176" y="470"/>
                    </a:lnTo>
                    <a:lnTo>
                      <a:pt x="3170" y="464"/>
                    </a:lnTo>
                    <a:lnTo>
                      <a:pt x="3164" y="460"/>
                    </a:lnTo>
                    <a:lnTo>
                      <a:pt x="3154" y="450"/>
                    </a:lnTo>
                    <a:lnTo>
                      <a:pt x="3144" y="444"/>
                    </a:lnTo>
                    <a:lnTo>
                      <a:pt x="3132" y="438"/>
                    </a:lnTo>
                    <a:lnTo>
                      <a:pt x="3132" y="438"/>
                    </a:lnTo>
                    <a:lnTo>
                      <a:pt x="3140" y="438"/>
                    </a:lnTo>
                    <a:lnTo>
                      <a:pt x="3148" y="438"/>
                    </a:lnTo>
                    <a:lnTo>
                      <a:pt x="3158" y="440"/>
                    </a:lnTo>
                    <a:lnTo>
                      <a:pt x="3166" y="442"/>
                    </a:lnTo>
                    <a:lnTo>
                      <a:pt x="3184" y="452"/>
                    </a:lnTo>
                    <a:lnTo>
                      <a:pt x="3202" y="462"/>
                    </a:lnTo>
                    <a:lnTo>
                      <a:pt x="3220" y="470"/>
                    </a:lnTo>
                    <a:lnTo>
                      <a:pt x="3230" y="472"/>
                    </a:lnTo>
                    <a:lnTo>
                      <a:pt x="3238" y="474"/>
                    </a:lnTo>
                    <a:lnTo>
                      <a:pt x="3246" y="474"/>
                    </a:lnTo>
                    <a:lnTo>
                      <a:pt x="3254" y="472"/>
                    </a:lnTo>
                    <a:lnTo>
                      <a:pt x="3262" y="466"/>
                    </a:lnTo>
                    <a:lnTo>
                      <a:pt x="3270" y="460"/>
                    </a:lnTo>
                    <a:lnTo>
                      <a:pt x="3270" y="460"/>
                    </a:lnTo>
                    <a:lnTo>
                      <a:pt x="3296" y="434"/>
                    </a:lnTo>
                    <a:lnTo>
                      <a:pt x="3302" y="426"/>
                    </a:lnTo>
                    <a:lnTo>
                      <a:pt x="3304" y="420"/>
                    </a:lnTo>
                    <a:lnTo>
                      <a:pt x="3304" y="416"/>
                    </a:lnTo>
                    <a:lnTo>
                      <a:pt x="3298" y="412"/>
                    </a:lnTo>
                    <a:lnTo>
                      <a:pt x="3278" y="402"/>
                    </a:lnTo>
                    <a:lnTo>
                      <a:pt x="3278" y="402"/>
                    </a:lnTo>
                    <a:lnTo>
                      <a:pt x="3270" y="394"/>
                    </a:lnTo>
                    <a:lnTo>
                      <a:pt x="3270" y="392"/>
                    </a:lnTo>
                    <a:lnTo>
                      <a:pt x="3270" y="390"/>
                    </a:lnTo>
                    <a:lnTo>
                      <a:pt x="3278" y="388"/>
                    </a:lnTo>
                    <a:lnTo>
                      <a:pt x="3288" y="388"/>
                    </a:lnTo>
                    <a:lnTo>
                      <a:pt x="3302" y="388"/>
                    </a:lnTo>
                    <a:lnTo>
                      <a:pt x="3316" y="390"/>
                    </a:lnTo>
                    <a:lnTo>
                      <a:pt x="3328" y="394"/>
                    </a:lnTo>
                    <a:lnTo>
                      <a:pt x="3336" y="400"/>
                    </a:lnTo>
                    <a:lnTo>
                      <a:pt x="3336" y="400"/>
                    </a:lnTo>
                    <a:lnTo>
                      <a:pt x="3346" y="410"/>
                    </a:lnTo>
                    <a:lnTo>
                      <a:pt x="3356" y="418"/>
                    </a:lnTo>
                    <a:lnTo>
                      <a:pt x="3366" y="426"/>
                    </a:lnTo>
                    <a:lnTo>
                      <a:pt x="3374" y="438"/>
                    </a:lnTo>
                    <a:lnTo>
                      <a:pt x="3374" y="438"/>
                    </a:lnTo>
                    <a:lnTo>
                      <a:pt x="3380" y="448"/>
                    </a:lnTo>
                    <a:lnTo>
                      <a:pt x="3388" y="452"/>
                    </a:lnTo>
                    <a:lnTo>
                      <a:pt x="3398" y="454"/>
                    </a:lnTo>
                    <a:lnTo>
                      <a:pt x="3410" y="452"/>
                    </a:lnTo>
                    <a:lnTo>
                      <a:pt x="3410" y="452"/>
                    </a:lnTo>
                    <a:lnTo>
                      <a:pt x="3412" y="450"/>
                    </a:lnTo>
                    <a:lnTo>
                      <a:pt x="3414" y="448"/>
                    </a:lnTo>
                    <a:lnTo>
                      <a:pt x="3412" y="444"/>
                    </a:lnTo>
                    <a:lnTo>
                      <a:pt x="3398" y="436"/>
                    </a:lnTo>
                    <a:lnTo>
                      <a:pt x="3392" y="432"/>
                    </a:lnTo>
                    <a:lnTo>
                      <a:pt x="3386" y="426"/>
                    </a:lnTo>
                    <a:lnTo>
                      <a:pt x="3384" y="424"/>
                    </a:lnTo>
                    <a:lnTo>
                      <a:pt x="3384" y="422"/>
                    </a:lnTo>
                    <a:lnTo>
                      <a:pt x="3386" y="418"/>
                    </a:lnTo>
                    <a:lnTo>
                      <a:pt x="3390" y="416"/>
                    </a:lnTo>
                    <a:lnTo>
                      <a:pt x="3390" y="416"/>
                    </a:lnTo>
                    <a:lnTo>
                      <a:pt x="3398" y="412"/>
                    </a:lnTo>
                    <a:lnTo>
                      <a:pt x="3404" y="406"/>
                    </a:lnTo>
                    <a:lnTo>
                      <a:pt x="3414" y="396"/>
                    </a:lnTo>
                    <a:lnTo>
                      <a:pt x="3426" y="388"/>
                    </a:lnTo>
                    <a:lnTo>
                      <a:pt x="3432" y="386"/>
                    </a:lnTo>
                    <a:lnTo>
                      <a:pt x="3438" y="386"/>
                    </a:lnTo>
                    <a:lnTo>
                      <a:pt x="3438" y="386"/>
                    </a:lnTo>
                    <a:lnTo>
                      <a:pt x="3444" y="386"/>
                    </a:lnTo>
                    <a:lnTo>
                      <a:pt x="3450" y="384"/>
                    </a:lnTo>
                    <a:lnTo>
                      <a:pt x="3456" y="380"/>
                    </a:lnTo>
                    <a:lnTo>
                      <a:pt x="3460" y="374"/>
                    </a:lnTo>
                    <a:lnTo>
                      <a:pt x="3468" y="364"/>
                    </a:lnTo>
                    <a:lnTo>
                      <a:pt x="3474" y="360"/>
                    </a:lnTo>
                    <a:lnTo>
                      <a:pt x="3478" y="360"/>
                    </a:lnTo>
                    <a:lnTo>
                      <a:pt x="3478" y="360"/>
                    </a:lnTo>
                    <a:lnTo>
                      <a:pt x="3484" y="358"/>
                    </a:lnTo>
                    <a:lnTo>
                      <a:pt x="3490" y="354"/>
                    </a:lnTo>
                    <a:lnTo>
                      <a:pt x="3492" y="348"/>
                    </a:lnTo>
                    <a:lnTo>
                      <a:pt x="3494" y="342"/>
                    </a:lnTo>
                    <a:lnTo>
                      <a:pt x="3492" y="334"/>
                    </a:lnTo>
                    <a:lnTo>
                      <a:pt x="3488" y="324"/>
                    </a:lnTo>
                    <a:lnTo>
                      <a:pt x="3482" y="316"/>
                    </a:lnTo>
                    <a:lnTo>
                      <a:pt x="3472" y="306"/>
                    </a:lnTo>
                    <a:lnTo>
                      <a:pt x="3472" y="306"/>
                    </a:lnTo>
                    <a:lnTo>
                      <a:pt x="3464" y="298"/>
                    </a:lnTo>
                    <a:lnTo>
                      <a:pt x="3460" y="292"/>
                    </a:lnTo>
                    <a:lnTo>
                      <a:pt x="3460" y="288"/>
                    </a:lnTo>
                    <a:lnTo>
                      <a:pt x="3462" y="284"/>
                    </a:lnTo>
                    <a:lnTo>
                      <a:pt x="3464" y="282"/>
                    </a:lnTo>
                    <a:lnTo>
                      <a:pt x="3466" y="278"/>
                    </a:lnTo>
                    <a:lnTo>
                      <a:pt x="3464" y="272"/>
                    </a:lnTo>
                    <a:lnTo>
                      <a:pt x="3458" y="266"/>
                    </a:lnTo>
                    <a:lnTo>
                      <a:pt x="3458" y="266"/>
                    </a:lnTo>
                    <a:lnTo>
                      <a:pt x="3452" y="260"/>
                    </a:lnTo>
                    <a:lnTo>
                      <a:pt x="3452" y="258"/>
                    </a:lnTo>
                    <a:lnTo>
                      <a:pt x="3452" y="258"/>
                    </a:lnTo>
                    <a:lnTo>
                      <a:pt x="3458" y="256"/>
                    </a:lnTo>
                    <a:lnTo>
                      <a:pt x="3466" y="256"/>
                    </a:lnTo>
                    <a:lnTo>
                      <a:pt x="3476" y="256"/>
                    </a:lnTo>
                    <a:lnTo>
                      <a:pt x="3484" y="254"/>
                    </a:lnTo>
                    <a:lnTo>
                      <a:pt x="3492" y="250"/>
                    </a:lnTo>
                    <a:lnTo>
                      <a:pt x="3494" y="248"/>
                    </a:lnTo>
                    <a:lnTo>
                      <a:pt x="3496" y="242"/>
                    </a:lnTo>
                    <a:lnTo>
                      <a:pt x="3496" y="242"/>
                    </a:lnTo>
                    <a:lnTo>
                      <a:pt x="3498" y="234"/>
                    </a:lnTo>
                    <a:lnTo>
                      <a:pt x="3496" y="230"/>
                    </a:lnTo>
                    <a:lnTo>
                      <a:pt x="3492" y="228"/>
                    </a:lnTo>
                    <a:lnTo>
                      <a:pt x="3488" y="226"/>
                    </a:lnTo>
                    <a:lnTo>
                      <a:pt x="3486" y="224"/>
                    </a:lnTo>
                    <a:lnTo>
                      <a:pt x="3484" y="222"/>
                    </a:lnTo>
                    <a:lnTo>
                      <a:pt x="3484" y="220"/>
                    </a:lnTo>
                    <a:lnTo>
                      <a:pt x="3490" y="214"/>
                    </a:lnTo>
                    <a:lnTo>
                      <a:pt x="3490" y="214"/>
                    </a:lnTo>
                    <a:lnTo>
                      <a:pt x="3492" y="206"/>
                    </a:lnTo>
                    <a:lnTo>
                      <a:pt x="3492" y="204"/>
                    </a:lnTo>
                    <a:lnTo>
                      <a:pt x="3486" y="202"/>
                    </a:lnTo>
                    <a:lnTo>
                      <a:pt x="3480" y="200"/>
                    </a:lnTo>
                    <a:lnTo>
                      <a:pt x="3472" y="198"/>
                    </a:lnTo>
                    <a:lnTo>
                      <a:pt x="3464" y="196"/>
                    </a:lnTo>
                    <a:lnTo>
                      <a:pt x="3458" y="192"/>
                    </a:lnTo>
                    <a:lnTo>
                      <a:pt x="3454" y="182"/>
                    </a:lnTo>
                    <a:lnTo>
                      <a:pt x="3454" y="182"/>
                    </a:lnTo>
                    <a:lnTo>
                      <a:pt x="3452" y="174"/>
                    </a:lnTo>
                    <a:lnTo>
                      <a:pt x="3446" y="170"/>
                    </a:lnTo>
                    <a:lnTo>
                      <a:pt x="3438" y="168"/>
                    </a:lnTo>
                    <a:lnTo>
                      <a:pt x="3428" y="168"/>
                    </a:lnTo>
                    <a:lnTo>
                      <a:pt x="3404" y="166"/>
                    </a:lnTo>
                    <a:lnTo>
                      <a:pt x="3392" y="164"/>
                    </a:lnTo>
                    <a:lnTo>
                      <a:pt x="3378" y="160"/>
                    </a:lnTo>
                    <a:lnTo>
                      <a:pt x="3378" y="160"/>
                    </a:lnTo>
                    <a:lnTo>
                      <a:pt x="3360" y="152"/>
                    </a:lnTo>
                    <a:lnTo>
                      <a:pt x="3356" y="152"/>
                    </a:lnTo>
                    <a:lnTo>
                      <a:pt x="3354" y="152"/>
                    </a:lnTo>
                    <a:lnTo>
                      <a:pt x="3348" y="156"/>
                    </a:lnTo>
                    <a:lnTo>
                      <a:pt x="3344" y="158"/>
                    </a:lnTo>
                    <a:lnTo>
                      <a:pt x="3334" y="158"/>
                    </a:lnTo>
                    <a:lnTo>
                      <a:pt x="3334" y="158"/>
                    </a:lnTo>
                    <a:lnTo>
                      <a:pt x="3326" y="160"/>
                    </a:lnTo>
                    <a:lnTo>
                      <a:pt x="3320" y="164"/>
                    </a:lnTo>
                    <a:lnTo>
                      <a:pt x="3318" y="172"/>
                    </a:lnTo>
                    <a:lnTo>
                      <a:pt x="3318" y="180"/>
                    </a:lnTo>
                    <a:lnTo>
                      <a:pt x="3322" y="190"/>
                    </a:lnTo>
                    <a:lnTo>
                      <a:pt x="3326" y="198"/>
                    </a:lnTo>
                    <a:lnTo>
                      <a:pt x="3330" y="206"/>
                    </a:lnTo>
                    <a:lnTo>
                      <a:pt x="3338" y="210"/>
                    </a:lnTo>
                    <a:lnTo>
                      <a:pt x="3338" y="210"/>
                    </a:lnTo>
                    <a:lnTo>
                      <a:pt x="3342" y="212"/>
                    </a:lnTo>
                    <a:lnTo>
                      <a:pt x="3346" y="216"/>
                    </a:lnTo>
                    <a:lnTo>
                      <a:pt x="3346" y="222"/>
                    </a:lnTo>
                    <a:lnTo>
                      <a:pt x="3344" y="226"/>
                    </a:lnTo>
                    <a:lnTo>
                      <a:pt x="3342" y="230"/>
                    </a:lnTo>
                    <a:lnTo>
                      <a:pt x="3338" y="232"/>
                    </a:lnTo>
                    <a:lnTo>
                      <a:pt x="3332" y="234"/>
                    </a:lnTo>
                    <a:lnTo>
                      <a:pt x="3326" y="234"/>
                    </a:lnTo>
                    <a:lnTo>
                      <a:pt x="3326" y="234"/>
                    </a:lnTo>
                    <a:lnTo>
                      <a:pt x="3322" y="236"/>
                    </a:lnTo>
                    <a:lnTo>
                      <a:pt x="3320" y="240"/>
                    </a:lnTo>
                    <a:lnTo>
                      <a:pt x="3318" y="256"/>
                    </a:lnTo>
                    <a:lnTo>
                      <a:pt x="3318" y="266"/>
                    </a:lnTo>
                    <a:lnTo>
                      <a:pt x="3316" y="278"/>
                    </a:lnTo>
                    <a:lnTo>
                      <a:pt x="3310" y="288"/>
                    </a:lnTo>
                    <a:lnTo>
                      <a:pt x="3300" y="296"/>
                    </a:lnTo>
                    <a:lnTo>
                      <a:pt x="3300" y="296"/>
                    </a:lnTo>
                    <a:lnTo>
                      <a:pt x="3292" y="302"/>
                    </a:lnTo>
                    <a:lnTo>
                      <a:pt x="3286" y="310"/>
                    </a:lnTo>
                    <a:lnTo>
                      <a:pt x="3284" y="316"/>
                    </a:lnTo>
                    <a:lnTo>
                      <a:pt x="3282" y="322"/>
                    </a:lnTo>
                    <a:lnTo>
                      <a:pt x="3280" y="328"/>
                    </a:lnTo>
                    <a:lnTo>
                      <a:pt x="3278" y="332"/>
                    </a:lnTo>
                    <a:lnTo>
                      <a:pt x="3274" y="338"/>
                    </a:lnTo>
                    <a:lnTo>
                      <a:pt x="3264" y="342"/>
                    </a:lnTo>
                    <a:lnTo>
                      <a:pt x="3264" y="342"/>
                    </a:lnTo>
                    <a:lnTo>
                      <a:pt x="3250" y="344"/>
                    </a:lnTo>
                    <a:lnTo>
                      <a:pt x="3246" y="344"/>
                    </a:lnTo>
                    <a:lnTo>
                      <a:pt x="3244" y="340"/>
                    </a:lnTo>
                    <a:lnTo>
                      <a:pt x="3238" y="330"/>
                    </a:lnTo>
                    <a:lnTo>
                      <a:pt x="3232" y="322"/>
                    </a:lnTo>
                    <a:lnTo>
                      <a:pt x="3222" y="312"/>
                    </a:lnTo>
                    <a:lnTo>
                      <a:pt x="3222" y="312"/>
                    </a:lnTo>
                    <a:lnTo>
                      <a:pt x="3214" y="304"/>
                    </a:lnTo>
                    <a:lnTo>
                      <a:pt x="3210" y="298"/>
                    </a:lnTo>
                    <a:lnTo>
                      <a:pt x="3212" y="292"/>
                    </a:lnTo>
                    <a:lnTo>
                      <a:pt x="3216" y="288"/>
                    </a:lnTo>
                    <a:lnTo>
                      <a:pt x="3226" y="280"/>
                    </a:lnTo>
                    <a:lnTo>
                      <a:pt x="3232" y="276"/>
                    </a:lnTo>
                    <a:lnTo>
                      <a:pt x="3234" y="270"/>
                    </a:lnTo>
                    <a:lnTo>
                      <a:pt x="3234" y="270"/>
                    </a:lnTo>
                    <a:lnTo>
                      <a:pt x="3232" y="260"/>
                    </a:lnTo>
                    <a:lnTo>
                      <a:pt x="3228" y="248"/>
                    </a:lnTo>
                    <a:lnTo>
                      <a:pt x="3220" y="234"/>
                    </a:lnTo>
                    <a:lnTo>
                      <a:pt x="3212" y="220"/>
                    </a:lnTo>
                    <a:lnTo>
                      <a:pt x="3200" y="210"/>
                    </a:lnTo>
                    <a:lnTo>
                      <a:pt x="3190" y="202"/>
                    </a:lnTo>
                    <a:lnTo>
                      <a:pt x="3184" y="200"/>
                    </a:lnTo>
                    <a:lnTo>
                      <a:pt x="3178" y="200"/>
                    </a:lnTo>
                    <a:lnTo>
                      <a:pt x="3172" y="202"/>
                    </a:lnTo>
                    <a:lnTo>
                      <a:pt x="3168" y="206"/>
                    </a:lnTo>
                    <a:lnTo>
                      <a:pt x="3168" y="206"/>
                    </a:lnTo>
                    <a:lnTo>
                      <a:pt x="3158" y="216"/>
                    </a:lnTo>
                    <a:lnTo>
                      <a:pt x="3154" y="230"/>
                    </a:lnTo>
                    <a:lnTo>
                      <a:pt x="3148" y="254"/>
                    </a:lnTo>
                    <a:lnTo>
                      <a:pt x="3146" y="262"/>
                    </a:lnTo>
                    <a:lnTo>
                      <a:pt x="3142" y="268"/>
                    </a:lnTo>
                    <a:lnTo>
                      <a:pt x="3140" y="268"/>
                    </a:lnTo>
                    <a:lnTo>
                      <a:pt x="3138" y="268"/>
                    </a:lnTo>
                    <a:lnTo>
                      <a:pt x="3130" y="260"/>
                    </a:lnTo>
                    <a:lnTo>
                      <a:pt x="3130" y="260"/>
                    </a:lnTo>
                    <a:lnTo>
                      <a:pt x="3124" y="252"/>
                    </a:lnTo>
                    <a:lnTo>
                      <a:pt x="3122" y="246"/>
                    </a:lnTo>
                    <a:lnTo>
                      <a:pt x="3122" y="242"/>
                    </a:lnTo>
                    <a:lnTo>
                      <a:pt x="3124" y="238"/>
                    </a:lnTo>
                    <a:lnTo>
                      <a:pt x="3126" y="236"/>
                    </a:lnTo>
                    <a:lnTo>
                      <a:pt x="3128" y="232"/>
                    </a:lnTo>
                    <a:lnTo>
                      <a:pt x="3124" y="226"/>
                    </a:lnTo>
                    <a:lnTo>
                      <a:pt x="3118" y="216"/>
                    </a:lnTo>
                    <a:lnTo>
                      <a:pt x="3118" y="216"/>
                    </a:lnTo>
                    <a:lnTo>
                      <a:pt x="3112" y="208"/>
                    </a:lnTo>
                    <a:lnTo>
                      <a:pt x="3110" y="204"/>
                    </a:lnTo>
                    <a:lnTo>
                      <a:pt x="3110" y="202"/>
                    </a:lnTo>
                    <a:lnTo>
                      <a:pt x="3114" y="198"/>
                    </a:lnTo>
                    <a:lnTo>
                      <a:pt x="3120" y="194"/>
                    </a:lnTo>
                    <a:lnTo>
                      <a:pt x="3126" y="192"/>
                    </a:lnTo>
                    <a:lnTo>
                      <a:pt x="3128" y="190"/>
                    </a:lnTo>
                    <a:lnTo>
                      <a:pt x="3126" y="186"/>
                    </a:lnTo>
                    <a:lnTo>
                      <a:pt x="3116" y="180"/>
                    </a:lnTo>
                    <a:lnTo>
                      <a:pt x="3116" y="180"/>
                    </a:lnTo>
                    <a:lnTo>
                      <a:pt x="3104" y="174"/>
                    </a:lnTo>
                    <a:lnTo>
                      <a:pt x="3094" y="172"/>
                    </a:lnTo>
                    <a:lnTo>
                      <a:pt x="3088" y="172"/>
                    </a:lnTo>
                    <a:lnTo>
                      <a:pt x="3082" y="174"/>
                    </a:lnTo>
                    <a:lnTo>
                      <a:pt x="3076" y="176"/>
                    </a:lnTo>
                    <a:lnTo>
                      <a:pt x="3070" y="178"/>
                    </a:lnTo>
                    <a:lnTo>
                      <a:pt x="3064" y="176"/>
                    </a:lnTo>
                    <a:lnTo>
                      <a:pt x="3054" y="172"/>
                    </a:lnTo>
                    <a:lnTo>
                      <a:pt x="3054" y="172"/>
                    </a:lnTo>
                    <a:lnTo>
                      <a:pt x="3050" y="170"/>
                    </a:lnTo>
                    <a:lnTo>
                      <a:pt x="3048" y="168"/>
                    </a:lnTo>
                    <a:lnTo>
                      <a:pt x="3048" y="164"/>
                    </a:lnTo>
                    <a:lnTo>
                      <a:pt x="3048" y="162"/>
                    </a:lnTo>
                    <a:lnTo>
                      <a:pt x="3054" y="154"/>
                    </a:lnTo>
                    <a:lnTo>
                      <a:pt x="3062" y="148"/>
                    </a:lnTo>
                    <a:lnTo>
                      <a:pt x="3076" y="134"/>
                    </a:lnTo>
                    <a:lnTo>
                      <a:pt x="3080" y="130"/>
                    </a:lnTo>
                    <a:lnTo>
                      <a:pt x="3080" y="126"/>
                    </a:lnTo>
                    <a:lnTo>
                      <a:pt x="3078" y="124"/>
                    </a:lnTo>
                    <a:lnTo>
                      <a:pt x="3078" y="124"/>
                    </a:lnTo>
                    <a:lnTo>
                      <a:pt x="3064" y="114"/>
                    </a:lnTo>
                    <a:lnTo>
                      <a:pt x="3046" y="102"/>
                    </a:lnTo>
                    <a:lnTo>
                      <a:pt x="3038" y="94"/>
                    </a:lnTo>
                    <a:lnTo>
                      <a:pt x="3032" y="86"/>
                    </a:lnTo>
                    <a:lnTo>
                      <a:pt x="3028" y="78"/>
                    </a:lnTo>
                    <a:lnTo>
                      <a:pt x="3026" y="66"/>
                    </a:lnTo>
                    <a:lnTo>
                      <a:pt x="3026" y="66"/>
                    </a:lnTo>
                    <a:lnTo>
                      <a:pt x="3026" y="62"/>
                    </a:lnTo>
                    <a:lnTo>
                      <a:pt x="3026" y="56"/>
                    </a:lnTo>
                    <a:lnTo>
                      <a:pt x="3020" y="44"/>
                    </a:lnTo>
                    <a:lnTo>
                      <a:pt x="3010" y="34"/>
                    </a:lnTo>
                    <a:lnTo>
                      <a:pt x="2998" y="24"/>
                    </a:lnTo>
                    <a:lnTo>
                      <a:pt x="2986" y="14"/>
                    </a:lnTo>
                    <a:lnTo>
                      <a:pt x="2972" y="8"/>
                    </a:lnTo>
                    <a:lnTo>
                      <a:pt x="2960" y="2"/>
                    </a:lnTo>
                    <a:lnTo>
                      <a:pt x="2948" y="0"/>
                    </a:lnTo>
                    <a:lnTo>
                      <a:pt x="2948" y="0"/>
                    </a:lnTo>
                    <a:lnTo>
                      <a:pt x="2940" y="0"/>
                    </a:lnTo>
                    <a:lnTo>
                      <a:pt x="2936" y="2"/>
                    </a:lnTo>
                    <a:lnTo>
                      <a:pt x="2934" y="4"/>
                    </a:lnTo>
                    <a:lnTo>
                      <a:pt x="2932" y="8"/>
                    </a:lnTo>
                    <a:lnTo>
                      <a:pt x="2932" y="12"/>
                    </a:lnTo>
                    <a:lnTo>
                      <a:pt x="2928" y="16"/>
                    </a:lnTo>
                    <a:lnTo>
                      <a:pt x="2924" y="20"/>
                    </a:lnTo>
                    <a:lnTo>
                      <a:pt x="2916" y="22"/>
                    </a:lnTo>
                    <a:lnTo>
                      <a:pt x="2916" y="22"/>
                    </a:lnTo>
                    <a:lnTo>
                      <a:pt x="2908" y="26"/>
                    </a:lnTo>
                    <a:lnTo>
                      <a:pt x="2904" y="28"/>
                    </a:lnTo>
                    <a:lnTo>
                      <a:pt x="2902" y="30"/>
                    </a:lnTo>
                    <a:lnTo>
                      <a:pt x="2902" y="34"/>
                    </a:lnTo>
                    <a:lnTo>
                      <a:pt x="2902" y="38"/>
                    </a:lnTo>
                    <a:lnTo>
                      <a:pt x="2900" y="42"/>
                    </a:lnTo>
                    <a:lnTo>
                      <a:pt x="2894" y="46"/>
                    </a:lnTo>
                    <a:lnTo>
                      <a:pt x="2886" y="50"/>
                    </a:lnTo>
                    <a:lnTo>
                      <a:pt x="2886" y="50"/>
                    </a:lnTo>
                    <a:lnTo>
                      <a:pt x="2878" y="56"/>
                    </a:lnTo>
                    <a:lnTo>
                      <a:pt x="2876" y="62"/>
                    </a:lnTo>
                    <a:lnTo>
                      <a:pt x="2876" y="70"/>
                    </a:lnTo>
                    <a:lnTo>
                      <a:pt x="2878" y="80"/>
                    </a:lnTo>
                    <a:lnTo>
                      <a:pt x="2886" y="98"/>
                    </a:lnTo>
                    <a:lnTo>
                      <a:pt x="2888" y="106"/>
                    </a:lnTo>
                    <a:lnTo>
                      <a:pt x="2886" y="114"/>
                    </a:lnTo>
                    <a:lnTo>
                      <a:pt x="2886" y="114"/>
                    </a:lnTo>
                    <a:lnTo>
                      <a:pt x="2884" y="128"/>
                    </a:lnTo>
                    <a:lnTo>
                      <a:pt x="2884" y="136"/>
                    </a:lnTo>
                    <a:lnTo>
                      <a:pt x="2886" y="142"/>
                    </a:lnTo>
                    <a:lnTo>
                      <a:pt x="2890" y="150"/>
                    </a:lnTo>
                    <a:lnTo>
                      <a:pt x="2898" y="156"/>
                    </a:lnTo>
                    <a:lnTo>
                      <a:pt x="2910" y="162"/>
                    </a:lnTo>
                    <a:lnTo>
                      <a:pt x="2924" y="168"/>
                    </a:lnTo>
                    <a:lnTo>
                      <a:pt x="2924" y="168"/>
                    </a:lnTo>
                    <a:lnTo>
                      <a:pt x="2940" y="172"/>
                    </a:lnTo>
                    <a:lnTo>
                      <a:pt x="2954" y="180"/>
                    </a:lnTo>
                    <a:lnTo>
                      <a:pt x="2964" y="186"/>
                    </a:lnTo>
                    <a:lnTo>
                      <a:pt x="2970" y="194"/>
                    </a:lnTo>
                    <a:lnTo>
                      <a:pt x="2974" y="202"/>
                    </a:lnTo>
                    <a:lnTo>
                      <a:pt x="2974" y="208"/>
                    </a:lnTo>
                    <a:lnTo>
                      <a:pt x="2972" y="214"/>
                    </a:lnTo>
                    <a:lnTo>
                      <a:pt x="2966" y="218"/>
                    </a:lnTo>
                    <a:lnTo>
                      <a:pt x="2966" y="218"/>
                    </a:lnTo>
                    <a:lnTo>
                      <a:pt x="2958" y="222"/>
                    </a:lnTo>
                    <a:lnTo>
                      <a:pt x="2954" y="226"/>
                    </a:lnTo>
                    <a:lnTo>
                      <a:pt x="2954" y="232"/>
                    </a:lnTo>
                    <a:lnTo>
                      <a:pt x="2956" y="234"/>
                    </a:lnTo>
                    <a:lnTo>
                      <a:pt x="2960" y="238"/>
                    </a:lnTo>
                    <a:lnTo>
                      <a:pt x="2966" y="238"/>
                    </a:lnTo>
                    <a:lnTo>
                      <a:pt x="2972" y="236"/>
                    </a:lnTo>
                    <a:lnTo>
                      <a:pt x="2980" y="234"/>
                    </a:lnTo>
                    <a:lnTo>
                      <a:pt x="2980" y="234"/>
                    </a:lnTo>
                    <a:lnTo>
                      <a:pt x="2986" y="230"/>
                    </a:lnTo>
                    <a:lnTo>
                      <a:pt x="2992" y="230"/>
                    </a:lnTo>
                    <a:lnTo>
                      <a:pt x="2996" y="232"/>
                    </a:lnTo>
                    <a:lnTo>
                      <a:pt x="2996" y="238"/>
                    </a:lnTo>
                    <a:lnTo>
                      <a:pt x="2994" y="246"/>
                    </a:lnTo>
                    <a:lnTo>
                      <a:pt x="2988" y="254"/>
                    </a:lnTo>
                    <a:lnTo>
                      <a:pt x="2980" y="262"/>
                    </a:lnTo>
                    <a:lnTo>
                      <a:pt x="2968" y="272"/>
                    </a:lnTo>
                    <a:lnTo>
                      <a:pt x="2968" y="272"/>
                    </a:lnTo>
                    <a:lnTo>
                      <a:pt x="2956" y="280"/>
                    </a:lnTo>
                    <a:lnTo>
                      <a:pt x="2946" y="282"/>
                    </a:lnTo>
                    <a:lnTo>
                      <a:pt x="2940" y="284"/>
                    </a:lnTo>
                    <a:lnTo>
                      <a:pt x="2934" y="282"/>
                    </a:lnTo>
                    <a:lnTo>
                      <a:pt x="2930" y="280"/>
                    </a:lnTo>
                    <a:lnTo>
                      <a:pt x="2928" y="282"/>
                    </a:lnTo>
                    <a:lnTo>
                      <a:pt x="2926" y="284"/>
                    </a:lnTo>
                    <a:lnTo>
                      <a:pt x="2922" y="290"/>
                    </a:lnTo>
                    <a:lnTo>
                      <a:pt x="2922" y="290"/>
                    </a:lnTo>
                    <a:lnTo>
                      <a:pt x="2920" y="300"/>
                    </a:lnTo>
                    <a:lnTo>
                      <a:pt x="2924" y="312"/>
                    </a:lnTo>
                    <a:lnTo>
                      <a:pt x="2930" y="334"/>
                    </a:lnTo>
                    <a:lnTo>
                      <a:pt x="2934" y="342"/>
                    </a:lnTo>
                    <a:lnTo>
                      <a:pt x="2934" y="348"/>
                    </a:lnTo>
                    <a:lnTo>
                      <a:pt x="2934" y="350"/>
                    </a:lnTo>
                    <a:lnTo>
                      <a:pt x="2930" y="348"/>
                    </a:lnTo>
                    <a:lnTo>
                      <a:pt x="2922" y="344"/>
                    </a:lnTo>
                    <a:lnTo>
                      <a:pt x="2922" y="344"/>
                    </a:lnTo>
                    <a:lnTo>
                      <a:pt x="2902" y="330"/>
                    </a:lnTo>
                    <a:lnTo>
                      <a:pt x="2896" y="326"/>
                    </a:lnTo>
                    <a:lnTo>
                      <a:pt x="2892" y="320"/>
                    </a:lnTo>
                    <a:lnTo>
                      <a:pt x="2892" y="316"/>
                    </a:lnTo>
                    <a:lnTo>
                      <a:pt x="2892" y="312"/>
                    </a:lnTo>
                    <a:lnTo>
                      <a:pt x="2896" y="298"/>
                    </a:lnTo>
                    <a:lnTo>
                      <a:pt x="2896" y="298"/>
                    </a:lnTo>
                    <a:lnTo>
                      <a:pt x="2900" y="286"/>
                    </a:lnTo>
                    <a:lnTo>
                      <a:pt x="2902" y="280"/>
                    </a:lnTo>
                    <a:lnTo>
                      <a:pt x="2900" y="276"/>
                    </a:lnTo>
                    <a:lnTo>
                      <a:pt x="2898" y="272"/>
                    </a:lnTo>
                    <a:lnTo>
                      <a:pt x="2892" y="270"/>
                    </a:lnTo>
                    <a:lnTo>
                      <a:pt x="2886" y="270"/>
                    </a:lnTo>
                    <a:lnTo>
                      <a:pt x="2876" y="270"/>
                    </a:lnTo>
                    <a:lnTo>
                      <a:pt x="2876" y="270"/>
                    </a:lnTo>
                    <a:lnTo>
                      <a:pt x="2866" y="270"/>
                    </a:lnTo>
                    <a:lnTo>
                      <a:pt x="2858" y="268"/>
                    </a:lnTo>
                    <a:lnTo>
                      <a:pt x="2844" y="260"/>
                    </a:lnTo>
                    <a:lnTo>
                      <a:pt x="2838" y="256"/>
                    </a:lnTo>
                    <a:lnTo>
                      <a:pt x="2830" y="254"/>
                    </a:lnTo>
                    <a:lnTo>
                      <a:pt x="2820" y="254"/>
                    </a:lnTo>
                    <a:lnTo>
                      <a:pt x="2810" y="258"/>
                    </a:lnTo>
                    <a:lnTo>
                      <a:pt x="2810" y="258"/>
                    </a:lnTo>
                    <a:lnTo>
                      <a:pt x="2800" y="264"/>
                    </a:lnTo>
                    <a:lnTo>
                      <a:pt x="2796" y="272"/>
                    </a:lnTo>
                    <a:lnTo>
                      <a:pt x="2796" y="278"/>
                    </a:lnTo>
                    <a:lnTo>
                      <a:pt x="2796" y="286"/>
                    </a:lnTo>
                    <a:lnTo>
                      <a:pt x="2798" y="292"/>
                    </a:lnTo>
                    <a:lnTo>
                      <a:pt x="2798" y="298"/>
                    </a:lnTo>
                    <a:lnTo>
                      <a:pt x="2794" y="304"/>
                    </a:lnTo>
                    <a:lnTo>
                      <a:pt x="2786" y="308"/>
                    </a:lnTo>
                    <a:lnTo>
                      <a:pt x="2786" y="308"/>
                    </a:lnTo>
                    <a:lnTo>
                      <a:pt x="2778" y="310"/>
                    </a:lnTo>
                    <a:lnTo>
                      <a:pt x="2772" y="308"/>
                    </a:lnTo>
                    <a:lnTo>
                      <a:pt x="2760" y="302"/>
                    </a:lnTo>
                    <a:lnTo>
                      <a:pt x="2752" y="300"/>
                    </a:lnTo>
                    <a:lnTo>
                      <a:pt x="2742" y="298"/>
                    </a:lnTo>
                    <a:lnTo>
                      <a:pt x="2726" y="298"/>
                    </a:lnTo>
                    <a:lnTo>
                      <a:pt x="2708" y="302"/>
                    </a:lnTo>
                    <a:lnTo>
                      <a:pt x="2708" y="302"/>
                    </a:lnTo>
                    <a:lnTo>
                      <a:pt x="2680" y="306"/>
                    </a:lnTo>
                    <a:lnTo>
                      <a:pt x="2658" y="306"/>
                    </a:lnTo>
                    <a:lnTo>
                      <a:pt x="2640" y="302"/>
                    </a:lnTo>
                    <a:lnTo>
                      <a:pt x="2626" y="298"/>
                    </a:lnTo>
                    <a:lnTo>
                      <a:pt x="2606" y="286"/>
                    </a:lnTo>
                    <a:lnTo>
                      <a:pt x="2598" y="284"/>
                    </a:lnTo>
                    <a:lnTo>
                      <a:pt x="2590" y="286"/>
                    </a:lnTo>
                    <a:lnTo>
                      <a:pt x="2590" y="286"/>
                    </a:lnTo>
                    <a:lnTo>
                      <a:pt x="2580" y="288"/>
                    </a:lnTo>
                    <a:lnTo>
                      <a:pt x="2572" y="288"/>
                    </a:lnTo>
                    <a:lnTo>
                      <a:pt x="2564" y="286"/>
                    </a:lnTo>
                    <a:lnTo>
                      <a:pt x="2556" y="282"/>
                    </a:lnTo>
                    <a:lnTo>
                      <a:pt x="2544" y="272"/>
                    </a:lnTo>
                    <a:lnTo>
                      <a:pt x="2532" y="260"/>
                    </a:lnTo>
                    <a:lnTo>
                      <a:pt x="2520" y="246"/>
                    </a:lnTo>
                    <a:lnTo>
                      <a:pt x="2510" y="234"/>
                    </a:lnTo>
                    <a:lnTo>
                      <a:pt x="2504" y="230"/>
                    </a:lnTo>
                    <a:lnTo>
                      <a:pt x="2498" y="226"/>
                    </a:lnTo>
                    <a:lnTo>
                      <a:pt x="2492" y="224"/>
                    </a:lnTo>
                    <a:lnTo>
                      <a:pt x="2486" y="224"/>
                    </a:lnTo>
                    <a:lnTo>
                      <a:pt x="2486" y="224"/>
                    </a:lnTo>
                    <a:lnTo>
                      <a:pt x="2456" y="230"/>
                    </a:lnTo>
                    <a:lnTo>
                      <a:pt x="2438" y="234"/>
                    </a:lnTo>
                    <a:lnTo>
                      <a:pt x="2422" y="240"/>
                    </a:lnTo>
                    <a:lnTo>
                      <a:pt x="2408" y="246"/>
                    </a:lnTo>
                    <a:lnTo>
                      <a:pt x="2398" y="252"/>
                    </a:lnTo>
                    <a:lnTo>
                      <a:pt x="2394" y="256"/>
                    </a:lnTo>
                    <a:lnTo>
                      <a:pt x="2392" y="262"/>
                    </a:lnTo>
                    <a:lnTo>
                      <a:pt x="2392" y="266"/>
                    </a:lnTo>
                    <a:lnTo>
                      <a:pt x="2394" y="270"/>
                    </a:lnTo>
                    <a:lnTo>
                      <a:pt x="2394" y="270"/>
                    </a:lnTo>
                    <a:lnTo>
                      <a:pt x="2398" y="274"/>
                    </a:lnTo>
                    <a:lnTo>
                      <a:pt x="2400" y="278"/>
                    </a:lnTo>
                    <a:lnTo>
                      <a:pt x="2406" y="280"/>
                    </a:lnTo>
                    <a:lnTo>
                      <a:pt x="2410" y="280"/>
                    </a:lnTo>
                    <a:lnTo>
                      <a:pt x="2420" y="278"/>
                    </a:lnTo>
                    <a:lnTo>
                      <a:pt x="2432" y="274"/>
                    </a:lnTo>
                    <a:lnTo>
                      <a:pt x="2456" y="264"/>
                    </a:lnTo>
                    <a:lnTo>
                      <a:pt x="2464" y="262"/>
                    </a:lnTo>
                    <a:lnTo>
                      <a:pt x="2468" y="262"/>
                    </a:lnTo>
                    <a:lnTo>
                      <a:pt x="2472" y="264"/>
                    </a:lnTo>
                    <a:lnTo>
                      <a:pt x="2472" y="264"/>
                    </a:lnTo>
                    <a:lnTo>
                      <a:pt x="2474" y="266"/>
                    </a:lnTo>
                    <a:lnTo>
                      <a:pt x="2476" y="268"/>
                    </a:lnTo>
                    <a:lnTo>
                      <a:pt x="2472" y="272"/>
                    </a:lnTo>
                    <a:lnTo>
                      <a:pt x="2456" y="278"/>
                    </a:lnTo>
                    <a:lnTo>
                      <a:pt x="2436" y="286"/>
                    </a:lnTo>
                    <a:lnTo>
                      <a:pt x="2428" y="292"/>
                    </a:lnTo>
                    <a:lnTo>
                      <a:pt x="2422" y="298"/>
                    </a:lnTo>
                    <a:lnTo>
                      <a:pt x="2422" y="298"/>
                    </a:lnTo>
                    <a:lnTo>
                      <a:pt x="2422" y="304"/>
                    </a:lnTo>
                    <a:lnTo>
                      <a:pt x="2424" y="308"/>
                    </a:lnTo>
                    <a:lnTo>
                      <a:pt x="2428" y="320"/>
                    </a:lnTo>
                    <a:lnTo>
                      <a:pt x="2440" y="342"/>
                    </a:lnTo>
                    <a:lnTo>
                      <a:pt x="2444" y="350"/>
                    </a:lnTo>
                    <a:lnTo>
                      <a:pt x="2444" y="352"/>
                    </a:lnTo>
                    <a:lnTo>
                      <a:pt x="2444" y="354"/>
                    </a:lnTo>
                    <a:lnTo>
                      <a:pt x="2436" y="350"/>
                    </a:lnTo>
                    <a:lnTo>
                      <a:pt x="2418" y="340"/>
                    </a:lnTo>
                    <a:lnTo>
                      <a:pt x="2418" y="340"/>
                    </a:lnTo>
                    <a:lnTo>
                      <a:pt x="2398" y="326"/>
                    </a:lnTo>
                    <a:lnTo>
                      <a:pt x="2382" y="318"/>
                    </a:lnTo>
                    <a:lnTo>
                      <a:pt x="2364" y="310"/>
                    </a:lnTo>
                    <a:lnTo>
                      <a:pt x="2354" y="306"/>
                    </a:lnTo>
                    <a:lnTo>
                      <a:pt x="2348" y="302"/>
                    </a:lnTo>
                    <a:lnTo>
                      <a:pt x="2340" y="294"/>
                    </a:lnTo>
                    <a:lnTo>
                      <a:pt x="2340" y="294"/>
                    </a:lnTo>
                    <a:lnTo>
                      <a:pt x="2334" y="288"/>
                    </a:lnTo>
                    <a:lnTo>
                      <a:pt x="2330" y="286"/>
                    </a:lnTo>
                    <a:lnTo>
                      <a:pt x="2326" y="288"/>
                    </a:lnTo>
                    <a:lnTo>
                      <a:pt x="2320" y="290"/>
                    </a:lnTo>
                    <a:lnTo>
                      <a:pt x="2314" y="296"/>
                    </a:lnTo>
                    <a:lnTo>
                      <a:pt x="2304" y="300"/>
                    </a:lnTo>
                    <a:lnTo>
                      <a:pt x="2286" y="304"/>
                    </a:lnTo>
                    <a:lnTo>
                      <a:pt x="2262" y="308"/>
                    </a:lnTo>
                    <a:lnTo>
                      <a:pt x="2262" y="308"/>
                    </a:lnTo>
                    <a:lnTo>
                      <a:pt x="2206" y="308"/>
                    </a:lnTo>
                    <a:lnTo>
                      <a:pt x="2180" y="308"/>
                    </a:lnTo>
                    <a:lnTo>
                      <a:pt x="2156" y="306"/>
                    </a:lnTo>
                    <a:lnTo>
                      <a:pt x="2140" y="302"/>
                    </a:lnTo>
                    <a:lnTo>
                      <a:pt x="2128" y="298"/>
                    </a:lnTo>
                    <a:lnTo>
                      <a:pt x="2124" y="296"/>
                    </a:lnTo>
                    <a:lnTo>
                      <a:pt x="2124" y="292"/>
                    </a:lnTo>
                    <a:lnTo>
                      <a:pt x="2126" y="288"/>
                    </a:lnTo>
                    <a:lnTo>
                      <a:pt x="2130" y="284"/>
                    </a:lnTo>
                    <a:lnTo>
                      <a:pt x="2130" y="284"/>
                    </a:lnTo>
                    <a:lnTo>
                      <a:pt x="2142" y="278"/>
                    </a:lnTo>
                    <a:lnTo>
                      <a:pt x="2154" y="274"/>
                    </a:lnTo>
                    <a:lnTo>
                      <a:pt x="2172" y="272"/>
                    </a:lnTo>
                    <a:lnTo>
                      <a:pt x="2178" y="270"/>
                    </a:lnTo>
                    <a:lnTo>
                      <a:pt x="2180" y="268"/>
                    </a:lnTo>
                    <a:lnTo>
                      <a:pt x="2178" y="264"/>
                    </a:lnTo>
                    <a:lnTo>
                      <a:pt x="2170" y="256"/>
                    </a:lnTo>
                    <a:lnTo>
                      <a:pt x="2170" y="256"/>
                    </a:lnTo>
                    <a:lnTo>
                      <a:pt x="2154" y="240"/>
                    </a:lnTo>
                    <a:lnTo>
                      <a:pt x="2144" y="232"/>
                    </a:lnTo>
                    <a:lnTo>
                      <a:pt x="2134" y="228"/>
                    </a:lnTo>
                    <a:lnTo>
                      <a:pt x="2124" y="222"/>
                    </a:lnTo>
                    <a:lnTo>
                      <a:pt x="2110" y="220"/>
                    </a:lnTo>
                    <a:lnTo>
                      <a:pt x="2096" y="220"/>
                    </a:lnTo>
                    <a:lnTo>
                      <a:pt x="2080" y="220"/>
                    </a:lnTo>
                    <a:lnTo>
                      <a:pt x="2080" y="220"/>
                    </a:lnTo>
                    <a:lnTo>
                      <a:pt x="2064" y="222"/>
                    </a:lnTo>
                    <a:lnTo>
                      <a:pt x="2046" y="220"/>
                    </a:lnTo>
                    <a:lnTo>
                      <a:pt x="2030" y="218"/>
                    </a:lnTo>
                    <a:lnTo>
                      <a:pt x="2014" y="212"/>
                    </a:lnTo>
                    <a:lnTo>
                      <a:pt x="1982" y="202"/>
                    </a:lnTo>
                    <a:lnTo>
                      <a:pt x="1948" y="194"/>
                    </a:lnTo>
                    <a:lnTo>
                      <a:pt x="1948" y="194"/>
                    </a:lnTo>
                    <a:lnTo>
                      <a:pt x="1932" y="190"/>
                    </a:lnTo>
                    <a:lnTo>
                      <a:pt x="1918" y="184"/>
                    </a:lnTo>
                    <a:lnTo>
                      <a:pt x="1890" y="172"/>
                    </a:lnTo>
                    <a:lnTo>
                      <a:pt x="1876" y="166"/>
                    </a:lnTo>
                    <a:lnTo>
                      <a:pt x="1862" y="160"/>
                    </a:lnTo>
                    <a:lnTo>
                      <a:pt x="1848" y="158"/>
                    </a:lnTo>
                    <a:lnTo>
                      <a:pt x="1832" y="158"/>
                    </a:lnTo>
                    <a:lnTo>
                      <a:pt x="1832" y="158"/>
                    </a:lnTo>
                    <a:lnTo>
                      <a:pt x="1820" y="160"/>
                    </a:lnTo>
                    <a:lnTo>
                      <a:pt x="1812" y="164"/>
                    </a:lnTo>
                    <a:lnTo>
                      <a:pt x="1808" y="170"/>
                    </a:lnTo>
                    <a:lnTo>
                      <a:pt x="1806" y="176"/>
                    </a:lnTo>
                    <a:lnTo>
                      <a:pt x="1804" y="182"/>
                    </a:lnTo>
                    <a:lnTo>
                      <a:pt x="1800" y="186"/>
                    </a:lnTo>
                    <a:lnTo>
                      <a:pt x="1792" y="188"/>
                    </a:lnTo>
                    <a:lnTo>
                      <a:pt x="1780" y="188"/>
                    </a:lnTo>
                    <a:lnTo>
                      <a:pt x="1780" y="188"/>
                    </a:lnTo>
                    <a:lnTo>
                      <a:pt x="1774" y="186"/>
                    </a:lnTo>
                    <a:lnTo>
                      <a:pt x="1768" y="184"/>
                    </a:lnTo>
                    <a:lnTo>
                      <a:pt x="1764" y="180"/>
                    </a:lnTo>
                    <a:lnTo>
                      <a:pt x="1762" y="176"/>
                    </a:lnTo>
                    <a:lnTo>
                      <a:pt x="1760" y="166"/>
                    </a:lnTo>
                    <a:lnTo>
                      <a:pt x="1760" y="156"/>
                    </a:lnTo>
                    <a:lnTo>
                      <a:pt x="1760" y="146"/>
                    </a:lnTo>
                    <a:lnTo>
                      <a:pt x="1758" y="138"/>
                    </a:lnTo>
                    <a:lnTo>
                      <a:pt x="1756" y="136"/>
                    </a:lnTo>
                    <a:lnTo>
                      <a:pt x="1750" y="134"/>
                    </a:lnTo>
                    <a:lnTo>
                      <a:pt x="1744" y="134"/>
                    </a:lnTo>
                    <a:lnTo>
                      <a:pt x="1736" y="134"/>
                    </a:lnTo>
                    <a:lnTo>
                      <a:pt x="1736" y="134"/>
                    </a:lnTo>
                    <a:lnTo>
                      <a:pt x="1732" y="136"/>
                    </a:lnTo>
                    <a:lnTo>
                      <a:pt x="1730" y="140"/>
                    </a:lnTo>
                    <a:lnTo>
                      <a:pt x="1726" y="148"/>
                    </a:lnTo>
                    <a:lnTo>
                      <a:pt x="1724" y="172"/>
                    </a:lnTo>
                    <a:lnTo>
                      <a:pt x="1720" y="182"/>
                    </a:lnTo>
                    <a:lnTo>
                      <a:pt x="1718" y="186"/>
                    </a:lnTo>
                    <a:lnTo>
                      <a:pt x="1716" y="190"/>
                    </a:lnTo>
                    <a:lnTo>
                      <a:pt x="1712" y="190"/>
                    </a:lnTo>
                    <a:lnTo>
                      <a:pt x="1706" y="190"/>
                    </a:lnTo>
                    <a:lnTo>
                      <a:pt x="1698" y="188"/>
                    </a:lnTo>
                    <a:lnTo>
                      <a:pt x="1688" y="184"/>
                    </a:lnTo>
                    <a:lnTo>
                      <a:pt x="1688" y="184"/>
                    </a:lnTo>
                    <a:lnTo>
                      <a:pt x="1684" y="182"/>
                    </a:lnTo>
                    <a:lnTo>
                      <a:pt x="1678" y="176"/>
                    </a:lnTo>
                    <a:lnTo>
                      <a:pt x="1668" y="162"/>
                    </a:lnTo>
                    <a:lnTo>
                      <a:pt x="1650" y="132"/>
                    </a:lnTo>
                    <a:lnTo>
                      <a:pt x="1640" y="116"/>
                    </a:lnTo>
                    <a:lnTo>
                      <a:pt x="1630" y="106"/>
                    </a:lnTo>
                    <a:lnTo>
                      <a:pt x="1624" y="104"/>
                    </a:lnTo>
                    <a:lnTo>
                      <a:pt x="1620" y="102"/>
                    </a:lnTo>
                    <a:lnTo>
                      <a:pt x="1614" y="102"/>
                    </a:lnTo>
                    <a:lnTo>
                      <a:pt x="1608" y="106"/>
                    </a:lnTo>
                    <a:lnTo>
                      <a:pt x="1608" y="106"/>
                    </a:lnTo>
                    <a:lnTo>
                      <a:pt x="1600" y="114"/>
                    </a:lnTo>
                    <a:lnTo>
                      <a:pt x="1598" y="116"/>
                    </a:lnTo>
                    <a:lnTo>
                      <a:pt x="1600" y="118"/>
                    </a:lnTo>
                    <a:lnTo>
                      <a:pt x="1604" y="120"/>
                    </a:lnTo>
                    <a:lnTo>
                      <a:pt x="1610" y="122"/>
                    </a:lnTo>
                    <a:lnTo>
                      <a:pt x="1616" y="124"/>
                    </a:lnTo>
                    <a:lnTo>
                      <a:pt x="1616" y="126"/>
                    </a:lnTo>
                    <a:lnTo>
                      <a:pt x="1616" y="130"/>
                    </a:lnTo>
                    <a:lnTo>
                      <a:pt x="1610" y="138"/>
                    </a:lnTo>
                    <a:lnTo>
                      <a:pt x="1592" y="150"/>
                    </a:lnTo>
                    <a:lnTo>
                      <a:pt x="1592" y="150"/>
                    </a:lnTo>
                    <a:lnTo>
                      <a:pt x="1574" y="160"/>
                    </a:lnTo>
                    <a:lnTo>
                      <a:pt x="1572" y="160"/>
                    </a:lnTo>
                    <a:lnTo>
                      <a:pt x="1570" y="158"/>
                    </a:lnTo>
                    <a:lnTo>
                      <a:pt x="1568" y="156"/>
                    </a:lnTo>
                    <a:lnTo>
                      <a:pt x="1560" y="156"/>
                    </a:lnTo>
                    <a:lnTo>
                      <a:pt x="1546" y="160"/>
                    </a:lnTo>
                    <a:lnTo>
                      <a:pt x="1522" y="168"/>
                    </a:lnTo>
                    <a:lnTo>
                      <a:pt x="1522" y="168"/>
                    </a:lnTo>
                    <a:lnTo>
                      <a:pt x="1482" y="180"/>
                    </a:lnTo>
                    <a:lnTo>
                      <a:pt x="1476" y="182"/>
                    </a:lnTo>
                    <a:lnTo>
                      <a:pt x="1476" y="180"/>
                    </a:lnTo>
                    <a:lnTo>
                      <a:pt x="1476" y="180"/>
                    </a:lnTo>
                    <a:lnTo>
                      <a:pt x="1494" y="168"/>
                    </a:lnTo>
                    <a:lnTo>
                      <a:pt x="1526" y="152"/>
                    </a:lnTo>
                    <a:lnTo>
                      <a:pt x="1526" y="152"/>
                    </a:lnTo>
                    <a:lnTo>
                      <a:pt x="1552" y="140"/>
                    </a:lnTo>
                    <a:lnTo>
                      <a:pt x="1558" y="136"/>
                    </a:lnTo>
                    <a:lnTo>
                      <a:pt x="1560" y="132"/>
                    </a:lnTo>
                    <a:lnTo>
                      <a:pt x="1560" y="132"/>
                    </a:lnTo>
                    <a:lnTo>
                      <a:pt x="1556" y="132"/>
                    </a:lnTo>
                    <a:lnTo>
                      <a:pt x="1538" y="134"/>
                    </a:lnTo>
                    <a:lnTo>
                      <a:pt x="1538" y="134"/>
                    </a:lnTo>
                    <a:lnTo>
                      <a:pt x="1530" y="136"/>
                    </a:lnTo>
                    <a:lnTo>
                      <a:pt x="1522" y="134"/>
                    </a:lnTo>
                    <a:lnTo>
                      <a:pt x="1510" y="134"/>
                    </a:lnTo>
                    <a:lnTo>
                      <a:pt x="1506" y="134"/>
                    </a:lnTo>
                    <a:lnTo>
                      <a:pt x="1498" y="136"/>
                    </a:lnTo>
                    <a:lnTo>
                      <a:pt x="1488" y="140"/>
                    </a:lnTo>
                    <a:lnTo>
                      <a:pt x="1474" y="148"/>
                    </a:lnTo>
                    <a:lnTo>
                      <a:pt x="1474" y="148"/>
                    </a:lnTo>
                    <a:lnTo>
                      <a:pt x="1462" y="156"/>
                    </a:lnTo>
                    <a:lnTo>
                      <a:pt x="1454" y="160"/>
                    </a:lnTo>
                    <a:lnTo>
                      <a:pt x="1448" y="160"/>
                    </a:lnTo>
                    <a:lnTo>
                      <a:pt x="1442" y="162"/>
                    </a:lnTo>
                    <a:lnTo>
                      <a:pt x="1438" y="162"/>
                    </a:lnTo>
                    <a:lnTo>
                      <a:pt x="1432" y="164"/>
                    </a:lnTo>
                    <a:lnTo>
                      <a:pt x="1422" y="168"/>
                    </a:lnTo>
                    <a:lnTo>
                      <a:pt x="1406" y="178"/>
                    </a:lnTo>
                    <a:lnTo>
                      <a:pt x="1406" y="178"/>
                    </a:lnTo>
                    <a:lnTo>
                      <a:pt x="1378" y="198"/>
                    </a:lnTo>
                    <a:lnTo>
                      <a:pt x="1358" y="210"/>
                    </a:lnTo>
                    <a:lnTo>
                      <a:pt x="1352" y="214"/>
                    </a:lnTo>
                    <a:lnTo>
                      <a:pt x="1350" y="218"/>
                    </a:lnTo>
                    <a:lnTo>
                      <a:pt x="1350" y="224"/>
                    </a:lnTo>
                    <a:lnTo>
                      <a:pt x="1352" y="230"/>
                    </a:lnTo>
                    <a:lnTo>
                      <a:pt x="1352" y="230"/>
                    </a:lnTo>
                    <a:lnTo>
                      <a:pt x="1352" y="234"/>
                    </a:lnTo>
                    <a:lnTo>
                      <a:pt x="1352" y="236"/>
                    </a:lnTo>
                    <a:lnTo>
                      <a:pt x="1340" y="232"/>
                    </a:lnTo>
                    <a:lnTo>
                      <a:pt x="1332" y="230"/>
                    </a:lnTo>
                    <a:lnTo>
                      <a:pt x="1324" y="228"/>
                    </a:lnTo>
                    <a:lnTo>
                      <a:pt x="1316" y="230"/>
                    </a:lnTo>
                    <a:lnTo>
                      <a:pt x="1308" y="232"/>
                    </a:lnTo>
                    <a:lnTo>
                      <a:pt x="1308" y="232"/>
                    </a:lnTo>
                    <a:lnTo>
                      <a:pt x="1300" y="236"/>
                    </a:lnTo>
                    <a:lnTo>
                      <a:pt x="1296" y="236"/>
                    </a:lnTo>
                    <a:lnTo>
                      <a:pt x="1294" y="236"/>
                    </a:lnTo>
                    <a:lnTo>
                      <a:pt x="1290" y="232"/>
                    </a:lnTo>
                    <a:lnTo>
                      <a:pt x="1286" y="228"/>
                    </a:lnTo>
                    <a:lnTo>
                      <a:pt x="1280" y="226"/>
                    </a:lnTo>
                    <a:lnTo>
                      <a:pt x="1270" y="224"/>
                    </a:lnTo>
                    <a:lnTo>
                      <a:pt x="1258" y="222"/>
                    </a:lnTo>
                    <a:lnTo>
                      <a:pt x="1258" y="222"/>
                    </a:lnTo>
                    <a:lnTo>
                      <a:pt x="1236" y="220"/>
                    </a:lnTo>
                    <a:lnTo>
                      <a:pt x="1216" y="214"/>
                    </a:lnTo>
                    <a:lnTo>
                      <a:pt x="1198" y="206"/>
                    </a:lnTo>
                    <a:lnTo>
                      <a:pt x="1178" y="196"/>
                    </a:lnTo>
                    <a:lnTo>
                      <a:pt x="1160" y="186"/>
                    </a:lnTo>
                    <a:lnTo>
                      <a:pt x="1138" y="178"/>
                    </a:lnTo>
                    <a:lnTo>
                      <a:pt x="1114" y="172"/>
                    </a:lnTo>
                    <a:lnTo>
                      <a:pt x="1102" y="172"/>
                    </a:lnTo>
                    <a:lnTo>
                      <a:pt x="1088" y="172"/>
                    </a:lnTo>
                    <a:lnTo>
                      <a:pt x="1088" y="172"/>
                    </a:lnTo>
                    <a:lnTo>
                      <a:pt x="1074" y="170"/>
                    </a:lnTo>
                    <a:lnTo>
                      <a:pt x="1062" y="168"/>
                    </a:lnTo>
                    <a:lnTo>
                      <a:pt x="1052" y="162"/>
                    </a:lnTo>
                    <a:lnTo>
                      <a:pt x="1044" y="158"/>
                    </a:lnTo>
                    <a:lnTo>
                      <a:pt x="1036" y="152"/>
                    </a:lnTo>
                    <a:lnTo>
                      <a:pt x="1026" y="146"/>
                    </a:lnTo>
                    <a:lnTo>
                      <a:pt x="1014" y="142"/>
                    </a:lnTo>
                    <a:lnTo>
                      <a:pt x="998" y="140"/>
                    </a:lnTo>
                    <a:lnTo>
                      <a:pt x="998" y="140"/>
                    </a:lnTo>
                    <a:lnTo>
                      <a:pt x="982" y="138"/>
                    </a:lnTo>
                    <a:lnTo>
                      <a:pt x="970" y="140"/>
                    </a:lnTo>
                    <a:lnTo>
                      <a:pt x="950" y="144"/>
                    </a:lnTo>
                    <a:lnTo>
                      <a:pt x="940" y="146"/>
                    </a:lnTo>
                    <a:lnTo>
                      <a:pt x="932" y="146"/>
                    </a:lnTo>
                    <a:lnTo>
                      <a:pt x="922" y="146"/>
                    </a:lnTo>
                    <a:lnTo>
                      <a:pt x="912" y="142"/>
                    </a:lnTo>
                    <a:lnTo>
                      <a:pt x="912" y="142"/>
                    </a:lnTo>
                    <a:lnTo>
                      <a:pt x="898" y="138"/>
                    </a:lnTo>
                    <a:lnTo>
                      <a:pt x="884" y="134"/>
                    </a:lnTo>
                    <a:lnTo>
                      <a:pt x="852" y="132"/>
                    </a:lnTo>
                    <a:lnTo>
                      <a:pt x="816" y="128"/>
                    </a:lnTo>
                    <a:lnTo>
                      <a:pt x="798" y="122"/>
                    </a:lnTo>
                    <a:lnTo>
                      <a:pt x="778" y="116"/>
                    </a:lnTo>
                    <a:lnTo>
                      <a:pt x="778" y="116"/>
                    </a:lnTo>
                    <a:lnTo>
                      <a:pt x="758" y="110"/>
                    </a:lnTo>
                    <a:lnTo>
                      <a:pt x="744" y="108"/>
                    </a:lnTo>
                    <a:lnTo>
                      <a:pt x="732" y="108"/>
                    </a:lnTo>
                    <a:lnTo>
                      <a:pt x="722" y="110"/>
                    </a:lnTo>
                    <a:lnTo>
                      <a:pt x="710" y="114"/>
                    </a:lnTo>
                    <a:lnTo>
                      <a:pt x="698" y="116"/>
                    </a:lnTo>
                    <a:lnTo>
                      <a:pt x="682" y="114"/>
                    </a:lnTo>
                    <a:lnTo>
                      <a:pt x="664" y="110"/>
                    </a:lnTo>
                    <a:lnTo>
                      <a:pt x="664" y="110"/>
                    </a:lnTo>
                    <a:lnTo>
                      <a:pt x="648" y="104"/>
                    </a:lnTo>
                    <a:lnTo>
                      <a:pt x="640" y="98"/>
                    </a:lnTo>
                    <a:lnTo>
                      <a:pt x="636" y="94"/>
                    </a:lnTo>
                    <a:lnTo>
                      <a:pt x="636" y="90"/>
                    </a:lnTo>
                    <a:lnTo>
                      <a:pt x="634" y="86"/>
                    </a:lnTo>
                    <a:lnTo>
                      <a:pt x="630" y="82"/>
                    </a:lnTo>
                    <a:lnTo>
                      <a:pt x="622" y="82"/>
                    </a:lnTo>
                    <a:lnTo>
                      <a:pt x="604" y="80"/>
                    </a:lnTo>
                    <a:lnTo>
                      <a:pt x="604" y="80"/>
                    </a:lnTo>
                    <a:lnTo>
                      <a:pt x="572" y="82"/>
                    </a:lnTo>
                    <a:lnTo>
                      <a:pt x="556" y="82"/>
                    </a:lnTo>
                    <a:lnTo>
                      <a:pt x="552" y="82"/>
                    </a:lnTo>
                    <a:lnTo>
                      <a:pt x="548" y="80"/>
                    </a:lnTo>
                    <a:lnTo>
                      <a:pt x="540" y="72"/>
                    </a:lnTo>
                    <a:lnTo>
                      <a:pt x="540" y="72"/>
                    </a:lnTo>
                    <a:lnTo>
                      <a:pt x="534" y="66"/>
                    </a:lnTo>
                    <a:lnTo>
                      <a:pt x="528" y="66"/>
                    </a:lnTo>
                    <a:lnTo>
                      <a:pt x="524" y="66"/>
                    </a:lnTo>
                    <a:lnTo>
                      <a:pt x="518" y="68"/>
                    </a:lnTo>
                    <a:lnTo>
                      <a:pt x="510" y="70"/>
                    </a:lnTo>
                    <a:lnTo>
                      <a:pt x="506" y="70"/>
                    </a:lnTo>
                    <a:lnTo>
                      <a:pt x="500" y="66"/>
                    </a:lnTo>
                    <a:lnTo>
                      <a:pt x="500" y="66"/>
                    </a:lnTo>
                    <a:lnTo>
                      <a:pt x="488" y="56"/>
                    </a:lnTo>
                    <a:lnTo>
                      <a:pt x="482" y="52"/>
                    </a:lnTo>
                    <a:lnTo>
                      <a:pt x="474" y="50"/>
                    </a:lnTo>
                    <a:lnTo>
                      <a:pt x="466" y="50"/>
                    </a:lnTo>
                    <a:lnTo>
                      <a:pt x="456" y="52"/>
                    </a:lnTo>
                    <a:lnTo>
                      <a:pt x="444" y="58"/>
                    </a:lnTo>
                    <a:lnTo>
                      <a:pt x="432" y="68"/>
                    </a:lnTo>
                    <a:lnTo>
                      <a:pt x="432" y="68"/>
                    </a:lnTo>
                    <a:lnTo>
                      <a:pt x="418" y="78"/>
                    </a:lnTo>
                    <a:lnTo>
                      <a:pt x="404" y="82"/>
                    </a:lnTo>
                    <a:lnTo>
                      <a:pt x="392" y="84"/>
                    </a:lnTo>
                    <a:lnTo>
                      <a:pt x="378" y="84"/>
                    </a:lnTo>
                    <a:lnTo>
                      <a:pt x="364" y="84"/>
                    </a:lnTo>
                    <a:lnTo>
                      <a:pt x="348" y="86"/>
                    </a:lnTo>
                    <a:lnTo>
                      <a:pt x="330" y="94"/>
                    </a:lnTo>
                    <a:lnTo>
                      <a:pt x="310" y="106"/>
                    </a:lnTo>
                    <a:lnTo>
                      <a:pt x="310" y="106"/>
                    </a:lnTo>
                    <a:lnTo>
                      <a:pt x="300" y="114"/>
                    </a:lnTo>
                    <a:lnTo>
                      <a:pt x="290" y="120"/>
                    </a:lnTo>
                    <a:lnTo>
                      <a:pt x="282" y="122"/>
                    </a:lnTo>
                    <a:lnTo>
                      <a:pt x="274" y="124"/>
                    </a:lnTo>
                    <a:lnTo>
                      <a:pt x="260" y="126"/>
                    </a:lnTo>
                    <a:lnTo>
                      <a:pt x="250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0" y="126"/>
                    </a:lnTo>
                    <a:lnTo>
                      <a:pt x="226" y="130"/>
                    </a:lnTo>
                    <a:lnTo>
                      <a:pt x="222" y="134"/>
                    </a:lnTo>
                    <a:lnTo>
                      <a:pt x="212" y="152"/>
                    </a:lnTo>
                    <a:lnTo>
                      <a:pt x="212" y="152"/>
                    </a:lnTo>
                    <a:lnTo>
                      <a:pt x="202" y="172"/>
                    </a:lnTo>
                    <a:lnTo>
                      <a:pt x="192" y="188"/>
                    </a:lnTo>
                    <a:lnTo>
                      <a:pt x="182" y="202"/>
                    </a:lnTo>
                    <a:lnTo>
                      <a:pt x="172" y="212"/>
                    </a:lnTo>
                    <a:lnTo>
                      <a:pt x="158" y="220"/>
                    </a:lnTo>
                    <a:lnTo>
                      <a:pt x="142" y="224"/>
                    </a:lnTo>
                    <a:lnTo>
                      <a:pt x="122" y="228"/>
                    </a:lnTo>
                    <a:lnTo>
                      <a:pt x="96" y="228"/>
                    </a:lnTo>
                    <a:lnTo>
                      <a:pt x="96" y="228"/>
                    </a:lnTo>
                    <a:lnTo>
                      <a:pt x="84" y="230"/>
                    </a:lnTo>
                    <a:lnTo>
                      <a:pt x="78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4" y="244"/>
                    </a:lnTo>
                    <a:lnTo>
                      <a:pt x="72" y="250"/>
                    </a:lnTo>
                    <a:lnTo>
                      <a:pt x="66" y="254"/>
                    </a:lnTo>
                    <a:lnTo>
                      <a:pt x="58" y="258"/>
                    </a:lnTo>
                    <a:lnTo>
                      <a:pt x="58" y="258"/>
                    </a:lnTo>
                    <a:lnTo>
                      <a:pt x="54" y="260"/>
                    </a:lnTo>
                    <a:lnTo>
                      <a:pt x="52" y="262"/>
                    </a:lnTo>
                    <a:lnTo>
                      <a:pt x="54" y="266"/>
                    </a:lnTo>
                    <a:lnTo>
                      <a:pt x="58" y="268"/>
                    </a:lnTo>
                    <a:lnTo>
                      <a:pt x="72" y="274"/>
                    </a:lnTo>
                    <a:lnTo>
                      <a:pt x="92" y="282"/>
                    </a:lnTo>
                    <a:lnTo>
                      <a:pt x="114" y="292"/>
                    </a:lnTo>
                    <a:lnTo>
                      <a:pt x="136" y="304"/>
                    </a:lnTo>
                    <a:lnTo>
                      <a:pt x="156" y="318"/>
                    </a:lnTo>
                    <a:lnTo>
                      <a:pt x="162" y="326"/>
                    </a:lnTo>
                    <a:lnTo>
                      <a:pt x="168" y="334"/>
                    </a:lnTo>
                    <a:lnTo>
                      <a:pt x="168" y="334"/>
                    </a:lnTo>
                    <a:lnTo>
                      <a:pt x="172" y="342"/>
                    </a:lnTo>
                    <a:lnTo>
                      <a:pt x="176" y="346"/>
                    </a:lnTo>
                    <a:lnTo>
                      <a:pt x="186" y="354"/>
                    </a:lnTo>
                    <a:lnTo>
                      <a:pt x="196" y="356"/>
                    </a:lnTo>
                    <a:lnTo>
                      <a:pt x="206" y="356"/>
                    </a:lnTo>
                    <a:lnTo>
                      <a:pt x="212" y="356"/>
                    </a:lnTo>
                    <a:lnTo>
                      <a:pt x="218" y="356"/>
                    </a:lnTo>
                    <a:lnTo>
                      <a:pt x="220" y="356"/>
                    </a:lnTo>
                    <a:lnTo>
                      <a:pt x="222" y="358"/>
                    </a:lnTo>
                    <a:lnTo>
                      <a:pt x="220" y="364"/>
                    </a:lnTo>
                    <a:lnTo>
                      <a:pt x="220" y="364"/>
                    </a:lnTo>
                    <a:lnTo>
                      <a:pt x="220" y="372"/>
                    </a:lnTo>
                    <a:lnTo>
                      <a:pt x="220" y="376"/>
                    </a:lnTo>
                    <a:lnTo>
                      <a:pt x="224" y="378"/>
                    </a:lnTo>
                    <a:lnTo>
                      <a:pt x="228" y="380"/>
                    </a:lnTo>
                    <a:lnTo>
                      <a:pt x="232" y="380"/>
                    </a:lnTo>
                    <a:lnTo>
                      <a:pt x="236" y="382"/>
                    </a:lnTo>
                    <a:lnTo>
                      <a:pt x="240" y="386"/>
                    </a:lnTo>
                    <a:lnTo>
                      <a:pt x="242" y="392"/>
                    </a:lnTo>
                    <a:lnTo>
                      <a:pt x="242" y="392"/>
                    </a:lnTo>
                    <a:lnTo>
                      <a:pt x="244" y="400"/>
                    </a:lnTo>
                    <a:lnTo>
                      <a:pt x="248" y="402"/>
                    </a:lnTo>
                    <a:lnTo>
                      <a:pt x="254" y="404"/>
                    </a:lnTo>
                    <a:lnTo>
                      <a:pt x="260" y="402"/>
                    </a:lnTo>
                    <a:lnTo>
                      <a:pt x="266" y="402"/>
                    </a:lnTo>
                    <a:lnTo>
                      <a:pt x="270" y="402"/>
                    </a:lnTo>
                    <a:lnTo>
                      <a:pt x="274" y="404"/>
                    </a:lnTo>
                    <a:lnTo>
                      <a:pt x="276" y="410"/>
                    </a:lnTo>
                    <a:lnTo>
                      <a:pt x="276" y="410"/>
                    </a:lnTo>
                    <a:lnTo>
                      <a:pt x="274" y="418"/>
                    </a:lnTo>
                    <a:lnTo>
                      <a:pt x="272" y="418"/>
                    </a:lnTo>
                    <a:lnTo>
                      <a:pt x="270" y="418"/>
                    </a:lnTo>
                    <a:lnTo>
                      <a:pt x="266" y="416"/>
                    </a:lnTo>
                    <a:lnTo>
                      <a:pt x="262" y="416"/>
                    </a:lnTo>
                    <a:lnTo>
                      <a:pt x="258" y="418"/>
                    </a:lnTo>
                    <a:lnTo>
                      <a:pt x="252" y="424"/>
                    </a:lnTo>
                    <a:lnTo>
                      <a:pt x="252" y="424"/>
                    </a:lnTo>
                    <a:lnTo>
                      <a:pt x="250" y="426"/>
                    </a:lnTo>
                    <a:lnTo>
                      <a:pt x="248" y="426"/>
                    </a:lnTo>
                    <a:lnTo>
                      <a:pt x="240" y="422"/>
                    </a:lnTo>
                    <a:lnTo>
                      <a:pt x="234" y="420"/>
                    </a:lnTo>
                    <a:lnTo>
                      <a:pt x="224" y="420"/>
                    </a:lnTo>
                    <a:lnTo>
                      <a:pt x="212" y="420"/>
                    </a:lnTo>
                    <a:lnTo>
                      <a:pt x="194" y="422"/>
                    </a:lnTo>
                    <a:lnTo>
                      <a:pt x="194" y="422"/>
                    </a:lnTo>
                    <a:lnTo>
                      <a:pt x="186" y="422"/>
                    </a:lnTo>
                    <a:lnTo>
                      <a:pt x="180" y="420"/>
                    </a:lnTo>
                    <a:lnTo>
                      <a:pt x="176" y="418"/>
                    </a:lnTo>
                    <a:lnTo>
                      <a:pt x="174" y="416"/>
                    </a:lnTo>
                    <a:lnTo>
                      <a:pt x="174" y="408"/>
                    </a:lnTo>
                    <a:lnTo>
                      <a:pt x="176" y="398"/>
                    </a:lnTo>
                    <a:lnTo>
                      <a:pt x="176" y="390"/>
                    </a:lnTo>
                    <a:lnTo>
                      <a:pt x="174" y="388"/>
                    </a:lnTo>
                    <a:lnTo>
                      <a:pt x="172" y="384"/>
                    </a:lnTo>
                    <a:lnTo>
                      <a:pt x="168" y="384"/>
                    </a:lnTo>
                    <a:lnTo>
                      <a:pt x="162" y="384"/>
                    </a:lnTo>
                    <a:lnTo>
                      <a:pt x="140" y="388"/>
                    </a:lnTo>
                    <a:lnTo>
                      <a:pt x="140" y="388"/>
                    </a:lnTo>
                    <a:lnTo>
                      <a:pt x="116" y="396"/>
                    </a:lnTo>
                    <a:lnTo>
                      <a:pt x="92" y="406"/>
                    </a:lnTo>
                    <a:lnTo>
                      <a:pt x="56" y="424"/>
                    </a:lnTo>
                    <a:lnTo>
                      <a:pt x="28" y="440"/>
                    </a:lnTo>
                    <a:lnTo>
                      <a:pt x="18" y="444"/>
                    </a:lnTo>
                    <a:lnTo>
                      <a:pt x="10" y="446"/>
                    </a:lnTo>
                    <a:lnTo>
                      <a:pt x="10" y="446"/>
                    </a:lnTo>
                    <a:lnTo>
                      <a:pt x="4" y="448"/>
                    </a:lnTo>
                    <a:lnTo>
                      <a:pt x="0" y="452"/>
                    </a:lnTo>
                    <a:lnTo>
                      <a:pt x="0" y="456"/>
                    </a:lnTo>
                    <a:lnTo>
                      <a:pt x="2" y="460"/>
                    </a:lnTo>
                    <a:lnTo>
                      <a:pt x="8" y="466"/>
                    </a:lnTo>
                    <a:lnTo>
                      <a:pt x="16" y="470"/>
                    </a:lnTo>
                    <a:lnTo>
                      <a:pt x="28" y="472"/>
                    </a:lnTo>
                    <a:lnTo>
                      <a:pt x="42" y="474"/>
                    </a:lnTo>
                    <a:lnTo>
                      <a:pt x="42" y="474"/>
                    </a:lnTo>
                    <a:lnTo>
                      <a:pt x="54" y="474"/>
                    </a:lnTo>
                    <a:lnTo>
                      <a:pt x="60" y="478"/>
                    </a:lnTo>
                    <a:lnTo>
                      <a:pt x="58" y="480"/>
                    </a:lnTo>
                    <a:lnTo>
                      <a:pt x="56" y="484"/>
                    </a:lnTo>
                    <a:lnTo>
                      <a:pt x="52" y="488"/>
                    </a:lnTo>
                    <a:lnTo>
                      <a:pt x="50" y="492"/>
                    </a:lnTo>
                    <a:lnTo>
                      <a:pt x="50" y="498"/>
                    </a:lnTo>
                    <a:lnTo>
                      <a:pt x="56" y="502"/>
                    </a:lnTo>
                    <a:lnTo>
                      <a:pt x="56" y="502"/>
                    </a:lnTo>
                    <a:lnTo>
                      <a:pt x="64" y="506"/>
                    </a:lnTo>
                    <a:lnTo>
                      <a:pt x="66" y="512"/>
                    </a:lnTo>
                    <a:lnTo>
                      <a:pt x="68" y="520"/>
                    </a:lnTo>
                    <a:lnTo>
                      <a:pt x="70" y="524"/>
                    </a:lnTo>
                    <a:lnTo>
                      <a:pt x="74" y="528"/>
                    </a:lnTo>
                    <a:lnTo>
                      <a:pt x="82" y="532"/>
                    </a:lnTo>
                    <a:lnTo>
                      <a:pt x="94" y="534"/>
                    </a:lnTo>
                    <a:lnTo>
                      <a:pt x="94" y="534"/>
                    </a:lnTo>
                    <a:lnTo>
                      <a:pt x="110" y="534"/>
                    </a:lnTo>
                    <a:lnTo>
                      <a:pt x="122" y="534"/>
                    </a:lnTo>
                    <a:lnTo>
                      <a:pt x="144" y="528"/>
                    </a:lnTo>
                    <a:lnTo>
                      <a:pt x="154" y="526"/>
                    </a:lnTo>
                    <a:lnTo>
                      <a:pt x="166" y="526"/>
                    </a:lnTo>
                    <a:lnTo>
                      <a:pt x="176" y="528"/>
                    </a:lnTo>
                    <a:lnTo>
                      <a:pt x="190" y="534"/>
                    </a:lnTo>
                    <a:lnTo>
                      <a:pt x="190" y="534"/>
                    </a:lnTo>
                    <a:lnTo>
                      <a:pt x="198" y="536"/>
                    </a:lnTo>
                    <a:lnTo>
                      <a:pt x="204" y="538"/>
                    </a:lnTo>
                    <a:lnTo>
                      <a:pt x="210" y="538"/>
                    </a:lnTo>
                    <a:lnTo>
                      <a:pt x="218" y="536"/>
                    </a:lnTo>
                    <a:lnTo>
                      <a:pt x="230" y="530"/>
                    </a:lnTo>
                    <a:lnTo>
                      <a:pt x="242" y="522"/>
                    </a:lnTo>
                    <a:lnTo>
                      <a:pt x="254" y="512"/>
                    </a:lnTo>
                    <a:lnTo>
                      <a:pt x="266" y="506"/>
                    </a:lnTo>
                    <a:lnTo>
                      <a:pt x="270" y="506"/>
                    </a:lnTo>
                    <a:lnTo>
                      <a:pt x="276" y="506"/>
                    </a:lnTo>
                    <a:lnTo>
                      <a:pt x="280" y="508"/>
                    </a:lnTo>
                    <a:lnTo>
                      <a:pt x="286" y="510"/>
                    </a:lnTo>
                    <a:lnTo>
                      <a:pt x="286" y="510"/>
                    </a:lnTo>
                    <a:lnTo>
                      <a:pt x="290" y="516"/>
                    </a:lnTo>
                    <a:lnTo>
                      <a:pt x="290" y="518"/>
                    </a:lnTo>
                    <a:lnTo>
                      <a:pt x="290" y="522"/>
                    </a:lnTo>
                    <a:lnTo>
                      <a:pt x="288" y="524"/>
                    </a:lnTo>
                    <a:lnTo>
                      <a:pt x="282" y="526"/>
                    </a:lnTo>
                    <a:lnTo>
                      <a:pt x="272" y="528"/>
                    </a:lnTo>
                    <a:lnTo>
                      <a:pt x="264" y="530"/>
                    </a:lnTo>
                    <a:lnTo>
                      <a:pt x="260" y="534"/>
                    </a:lnTo>
                    <a:lnTo>
                      <a:pt x="260" y="536"/>
                    </a:lnTo>
                    <a:lnTo>
                      <a:pt x="262" y="538"/>
                    </a:lnTo>
                    <a:lnTo>
                      <a:pt x="274" y="544"/>
                    </a:lnTo>
                    <a:lnTo>
                      <a:pt x="274" y="544"/>
                    </a:lnTo>
                    <a:lnTo>
                      <a:pt x="280" y="550"/>
                    </a:lnTo>
                    <a:lnTo>
                      <a:pt x="286" y="554"/>
                    </a:lnTo>
                    <a:lnTo>
                      <a:pt x="290" y="558"/>
                    </a:lnTo>
                    <a:lnTo>
                      <a:pt x="292" y="564"/>
                    </a:lnTo>
                    <a:lnTo>
                      <a:pt x="292" y="570"/>
                    </a:lnTo>
                    <a:lnTo>
                      <a:pt x="292" y="574"/>
                    </a:lnTo>
                    <a:lnTo>
                      <a:pt x="288" y="584"/>
                    </a:lnTo>
                    <a:lnTo>
                      <a:pt x="280" y="592"/>
                    </a:lnTo>
                    <a:lnTo>
                      <a:pt x="270" y="598"/>
                    </a:lnTo>
                    <a:lnTo>
                      <a:pt x="258" y="600"/>
                    </a:lnTo>
                    <a:lnTo>
                      <a:pt x="244" y="598"/>
                    </a:lnTo>
                    <a:lnTo>
                      <a:pt x="244" y="598"/>
                    </a:lnTo>
                    <a:lnTo>
                      <a:pt x="240" y="598"/>
                    </a:lnTo>
                    <a:lnTo>
                      <a:pt x="234" y="598"/>
                    </a:lnTo>
                    <a:lnTo>
                      <a:pt x="226" y="602"/>
                    </a:lnTo>
                    <a:lnTo>
                      <a:pt x="220" y="610"/>
                    </a:lnTo>
                    <a:lnTo>
                      <a:pt x="214" y="618"/>
                    </a:lnTo>
                    <a:lnTo>
                      <a:pt x="210" y="624"/>
                    </a:lnTo>
                    <a:lnTo>
                      <a:pt x="202" y="630"/>
                    </a:lnTo>
                    <a:lnTo>
                      <a:pt x="198" y="630"/>
                    </a:lnTo>
                    <a:lnTo>
                      <a:pt x="192" y="630"/>
                    </a:lnTo>
                    <a:lnTo>
                      <a:pt x="186" y="628"/>
                    </a:lnTo>
                    <a:lnTo>
                      <a:pt x="180" y="624"/>
                    </a:lnTo>
                    <a:lnTo>
                      <a:pt x="180" y="624"/>
                    </a:lnTo>
                    <a:lnTo>
                      <a:pt x="172" y="620"/>
                    </a:lnTo>
                    <a:lnTo>
                      <a:pt x="166" y="618"/>
                    </a:lnTo>
                    <a:lnTo>
                      <a:pt x="160" y="618"/>
                    </a:lnTo>
                    <a:lnTo>
                      <a:pt x="154" y="620"/>
                    </a:lnTo>
                    <a:lnTo>
                      <a:pt x="144" y="626"/>
                    </a:lnTo>
                    <a:lnTo>
                      <a:pt x="136" y="636"/>
                    </a:lnTo>
                    <a:lnTo>
                      <a:pt x="124" y="658"/>
                    </a:lnTo>
                    <a:lnTo>
                      <a:pt x="118" y="666"/>
                    </a:lnTo>
                    <a:lnTo>
                      <a:pt x="112" y="672"/>
                    </a:lnTo>
                    <a:lnTo>
                      <a:pt x="112" y="672"/>
                    </a:lnTo>
                    <a:lnTo>
                      <a:pt x="106" y="674"/>
                    </a:lnTo>
                    <a:lnTo>
                      <a:pt x="102" y="678"/>
                    </a:lnTo>
                    <a:lnTo>
                      <a:pt x="96" y="690"/>
                    </a:lnTo>
                    <a:lnTo>
                      <a:pt x="92" y="702"/>
                    </a:lnTo>
                    <a:lnTo>
                      <a:pt x="88" y="708"/>
                    </a:lnTo>
                    <a:lnTo>
                      <a:pt x="82" y="712"/>
                    </a:lnTo>
                    <a:lnTo>
                      <a:pt x="82" y="712"/>
                    </a:lnTo>
                    <a:lnTo>
                      <a:pt x="76" y="716"/>
                    </a:lnTo>
                    <a:lnTo>
                      <a:pt x="74" y="720"/>
                    </a:lnTo>
                    <a:lnTo>
                      <a:pt x="74" y="726"/>
                    </a:lnTo>
                    <a:lnTo>
                      <a:pt x="76" y="730"/>
                    </a:lnTo>
                    <a:lnTo>
                      <a:pt x="88" y="740"/>
                    </a:lnTo>
                    <a:lnTo>
                      <a:pt x="108" y="756"/>
                    </a:lnTo>
                    <a:lnTo>
                      <a:pt x="108" y="756"/>
                    </a:lnTo>
                    <a:lnTo>
                      <a:pt x="116" y="764"/>
                    </a:lnTo>
                    <a:lnTo>
                      <a:pt x="118" y="772"/>
                    </a:lnTo>
                    <a:lnTo>
                      <a:pt x="118" y="778"/>
                    </a:lnTo>
                    <a:lnTo>
                      <a:pt x="116" y="784"/>
                    </a:lnTo>
                    <a:lnTo>
                      <a:pt x="114" y="790"/>
                    </a:lnTo>
                    <a:lnTo>
                      <a:pt x="112" y="794"/>
                    </a:lnTo>
                    <a:lnTo>
                      <a:pt x="112" y="800"/>
                    </a:lnTo>
                    <a:lnTo>
                      <a:pt x="116" y="804"/>
                    </a:lnTo>
                    <a:lnTo>
                      <a:pt x="116" y="804"/>
                    </a:lnTo>
                    <a:lnTo>
                      <a:pt x="132" y="818"/>
                    </a:lnTo>
                    <a:lnTo>
                      <a:pt x="148" y="834"/>
                    </a:lnTo>
                    <a:lnTo>
                      <a:pt x="158" y="840"/>
                    </a:lnTo>
                    <a:lnTo>
                      <a:pt x="168" y="844"/>
                    </a:lnTo>
                    <a:lnTo>
                      <a:pt x="180" y="844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208" y="836"/>
                    </a:lnTo>
                    <a:lnTo>
                      <a:pt x="218" y="834"/>
                    </a:lnTo>
                    <a:lnTo>
                      <a:pt x="228" y="836"/>
                    </a:lnTo>
                    <a:lnTo>
                      <a:pt x="234" y="838"/>
                    </a:lnTo>
                    <a:lnTo>
                      <a:pt x="240" y="842"/>
                    </a:lnTo>
                    <a:lnTo>
                      <a:pt x="242" y="848"/>
                    </a:lnTo>
                    <a:lnTo>
                      <a:pt x="242" y="858"/>
                    </a:lnTo>
                    <a:lnTo>
                      <a:pt x="238" y="868"/>
                    </a:lnTo>
                    <a:lnTo>
                      <a:pt x="238" y="868"/>
                    </a:lnTo>
                    <a:lnTo>
                      <a:pt x="236" y="878"/>
                    </a:lnTo>
                    <a:lnTo>
                      <a:pt x="236" y="884"/>
                    </a:lnTo>
                    <a:lnTo>
                      <a:pt x="238" y="888"/>
                    </a:lnTo>
                    <a:lnTo>
                      <a:pt x="242" y="890"/>
                    </a:lnTo>
                    <a:lnTo>
                      <a:pt x="244" y="892"/>
                    </a:lnTo>
                    <a:lnTo>
                      <a:pt x="246" y="896"/>
                    </a:lnTo>
                    <a:lnTo>
                      <a:pt x="246" y="900"/>
                    </a:lnTo>
                    <a:lnTo>
                      <a:pt x="244" y="908"/>
                    </a:lnTo>
                    <a:lnTo>
                      <a:pt x="244" y="908"/>
                    </a:lnTo>
                    <a:lnTo>
                      <a:pt x="242" y="918"/>
                    </a:lnTo>
                    <a:lnTo>
                      <a:pt x="244" y="922"/>
                    </a:lnTo>
                    <a:lnTo>
                      <a:pt x="248" y="924"/>
                    </a:lnTo>
                    <a:lnTo>
                      <a:pt x="254" y="924"/>
                    </a:lnTo>
                    <a:lnTo>
                      <a:pt x="262" y="920"/>
                    </a:lnTo>
                    <a:lnTo>
                      <a:pt x="270" y="916"/>
                    </a:lnTo>
                    <a:lnTo>
                      <a:pt x="284" y="904"/>
                    </a:lnTo>
                    <a:lnTo>
                      <a:pt x="284" y="904"/>
                    </a:lnTo>
                    <a:lnTo>
                      <a:pt x="292" y="900"/>
                    </a:lnTo>
                    <a:lnTo>
                      <a:pt x="300" y="898"/>
                    </a:lnTo>
                    <a:lnTo>
                      <a:pt x="308" y="898"/>
                    </a:lnTo>
                    <a:lnTo>
                      <a:pt x="316" y="902"/>
                    </a:lnTo>
                    <a:lnTo>
                      <a:pt x="326" y="906"/>
                    </a:lnTo>
                    <a:lnTo>
                      <a:pt x="336" y="912"/>
                    </a:lnTo>
                    <a:lnTo>
                      <a:pt x="352" y="926"/>
                    </a:lnTo>
                    <a:lnTo>
                      <a:pt x="352" y="926"/>
                    </a:lnTo>
                    <a:lnTo>
                      <a:pt x="358" y="930"/>
                    </a:lnTo>
                    <a:lnTo>
                      <a:pt x="362" y="932"/>
                    </a:lnTo>
                    <a:lnTo>
                      <a:pt x="366" y="930"/>
                    </a:lnTo>
                    <a:lnTo>
                      <a:pt x="370" y="926"/>
                    </a:lnTo>
                    <a:lnTo>
                      <a:pt x="376" y="918"/>
                    </a:lnTo>
                    <a:lnTo>
                      <a:pt x="380" y="916"/>
                    </a:lnTo>
                    <a:lnTo>
                      <a:pt x="386" y="918"/>
                    </a:lnTo>
                    <a:lnTo>
                      <a:pt x="386" y="918"/>
                    </a:lnTo>
                    <a:lnTo>
                      <a:pt x="392" y="920"/>
                    </a:lnTo>
                    <a:lnTo>
                      <a:pt x="402" y="918"/>
                    </a:lnTo>
                    <a:lnTo>
                      <a:pt x="420" y="912"/>
                    </a:lnTo>
                    <a:lnTo>
                      <a:pt x="432" y="908"/>
                    </a:lnTo>
                    <a:lnTo>
                      <a:pt x="432" y="908"/>
                    </a:lnTo>
                    <a:lnTo>
                      <a:pt x="432" y="910"/>
                    </a:lnTo>
                    <a:lnTo>
                      <a:pt x="430" y="916"/>
                    </a:lnTo>
                    <a:lnTo>
                      <a:pt x="430" y="916"/>
                    </a:lnTo>
                    <a:lnTo>
                      <a:pt x="418" y="932"/>
                    </a:lnTo>
                    <a:lnTo>
                      <a:pt x="412" y="946"/>
                    </a:lnTo>
                    <a:lnTo>
                      <a:pt x="410" y="962"/>
                    </a:lnTo>
                    <a:lnTo>
                      <a:pt x="410" y="978"/>
                    </a:lnTo>
                    <a:lnTo>
                      <a:pt x="410" y="978"/>
                    </a:lnTo>
                    <a:lnTo>
                      <a:pt x="408" y="986"/>
                    </a:lnTo>
                    <a:lnTo>
                      <a:pt x="406" y="990"/>
                    </a:lnTo>
                    <a:lnTo>
                      <a:pt x="402" y="992"/>
                    </a:lnTo>
                    <a:lnTo>
                      <a:pt x="396" y="994"/>
                    </a:lnTo>
                    <a:lnTo>
                      <a:pt x="392" y="998"/>
                    </a:lnTo>
                    <a:lnTo>
                      <a:pt x="386" y="1000"/>
                    </a:lnTo>
                    <a:lnTo>
                      <a:pt x="380" y="1008"/>
                    </a:lnTo>
                    <a:lnTo>
                      <a:pt x="374" y="1018"/>
                    </a:lnTo>
                    <a:lnTo>
                      <a:pt x="374" y="1018"/>
                    </a:lnTo>
                    <a:lnTo>
                      <a:pt x="368" y="1028"/>
                    </a:lnTo>
                    <a:lnTo>
                      <a:pt x="360" y="1036"/>
                    </a:lnTo>
                    <a:lnTo>
                      <a:pt x="352" y="1040"/>
                    </a:lnTo>
                    <a:lnTo>
                      <a:pt x="342" y="1044"/>
                    </a:lnTo>
                    <a:lnTo>
                      <a:pt x="332" y="1048"/>
                    </a:lnTo>
                    <a:lnTo>
                      <a:pt x="324" y="1054"/>
                    </a:lnTo>
                    <a:lnTo>
                      <a:pt x="314" y="1060"/>
                    </a:lnTo>
                    <a:lnTo>
                      <a:pt x="306" y="1072"/>
                    </a:lnTo>
                    <a:lnTo>
                      <a:pt x="306" y="1072"/>
                    </a:lnTo>
                    <a:lnTo>
                      <a:pt x="300" y="1082"/>
                    </a:lnTo>
                    <a:lnTo>
                      <a:pt x="296" y="1088"/>
                    </a:lnTo>
                    <a:lnTo>
                      <a:pt x="292" y="1090"/>
                    </a:lnTo>
                    <a:lnTo>
                      <a:pt x="288" y="1088"/>
                    </a:lnTo>
                    <a:lnTo>
                      <a:pt x="276" y="1086"/>
                    </a:lnTo>
                    <a:lnTo>
                      <a:pt x="268" y="1088"/>
                    </a:lnTo>
                    <a:lnTo>
                      <a:pt x="254" y="1090"/>
                    </a:lnTo>
                    <a:lnTo>
                      <a:pt x="254" y="1090"/>
                    </a:lnTo>
                    <a:lnTo>
                      <a:pt x="244" y="1096"/>
                    </a:lnTo>
                    <a:lnTo>
                      <a:pt x="236" y="1100"/>
                    </a:lnTo>
                    <a:lnTo>
                      <a:pt x="232" y="1104"/>
                    </a:lnTo>
                    <a:lnTo>
                      <a:pt x="228" y="1110"/>
                    </a:lnTo>
                    <a:lnTo>
                      <a:pt x="222" y="1118"/>
                    </a:lnTo>
                    <a:lnTo>
                      <a:pt x="218" y="1124"/>
                    </a:lnTo>
                    <a:lnTo>
                      <a:pt x="210" y="1128"/>
                    </a:lnTo>
                    <a:lnTo>
                      <a:pt x="210" y="1128"/>
                    </a:lnTo>
                    <a:lnTo>
                      <a:pt x="200" y="1132"/>
                    </a:lnTo>
                    <a:lnTo>
                      <a:pt x="194" y="1138"/>
                    </a:lnTo>
                    <a:lnTo>
                      <a:pt x="188" y="1144"/>
                    </a:lnTo>
                    <a:lnTo>
                      <a:pt x="186" y="1148"/>
                    </a:lnTo>
                    <a:lnTo>
                      <a:pt x="188" y="1152"/>
                    </a:lnTo>
                    <a:lnTo>
                      <a:pt x="192" y="1154"/>
                    </a:lnTo>
                    <a:lnTo>
                      <a:pt x="200" y="1154"/>
                    </a:lnTo>
                    <a:lnTo>
                      <a:pt x="212" y="1150"/>
                    </a:lnTo>
                    <a:lnTo>
                      <a:pt x="212" y="1150"/>
                    </a:lnTo>
                    <a:lnTo>
                      <a:pt x="224" y="1144"/>
                    </a:lnTo>
                    <a:lnTo>
                      <a:pt x="234" y="1138"/>
                    </a:lnTo>
                    <a:lnTo>
                      <a:pt x="248" y="1124"/>
                    </a:lnTo>
                    <a:lnTo>
                      <a:pt x="256" y="1116"/>
                    </a:lnTo>
                    <a:lnTo>
                      <a:pt x="258" y="1116"/>
                    </a:lnTo>
                    <a:lnTo>
                      <a:pt x="262" y="1120"/>
                    </a:lnTo>
                    <a:lnTo>
                      <a:pt x="262" y="1120"/>
                    </a:lnTo>
                    <a:lnTo>
                      <a:pt x="266" y="1124"/>
                    </a:lnTo>
                    <a:lnTo>
                      <a:pt x="270" y="1124"/>
                    </a:lnTo>
                    <a:lnTo>
                      <a:pt x="278" y="1122"/>
                    </a:lnTo>
                    <a:lnTo>
                      <a:pt x="282" y="1120"/>
                    </a:lnTo>
                    <a:lnTo>
                      <a:pt x="284" y="1120"/>
                    </a:lnTo>
                    <a:lnTo>
                      <a:pt x="288" y="1124"/>
                    </a:lnTo>
                    <a:lnTo>
                      <a:pt x="290" y="1128"/>
                    </a:lnTo>
                    <a:lnTo>
                      <a:pt x="290" y="1128"/>
                    </a:lnTo>
                    <a:lnTo>
                      <a:pt x="292" y="1136"/>
                    </a:lnTo>
                    <a:lnTo>
                      <a:pt x="296" y="1138"/>
                    </a:lnTo>
                    <a:lnTo>
                      <a:pt x="298" y="1140"/>
                    </a:lnTo>
                    <a:lnTo>
                      <a:pt x="302" y="1138"/>
                    </a:lnTo>
                    <a:lnTo>
                      <a:pt x="306" y="1136"/>
                    </a:lnTo>
                    <a:lnTo>
                      <a:pt x="308" y="1130"/>
                    </a:lnTo>
                    <a:lnTo>
                      <a:pt x="308" y="1126"/>
                    </a:lnTo>
                    <a:lnTo>
                      <a:pt x="306" y="1120"/>
                    </a:lnTo>
                    <a:lnTo>
                      <a:pt x="306" y="1120"/>
                    </a:lnTo>
                    <a:lnTo>
                      <a:pt x="306" y="1114"/>
                    </a:lnTo>
                    <a:lnTo>
                      <a:pt x="308" y="1110"/>
                    </a:lnTo>
                    <a:lnTo>
                      <a:pt x="312" y="1106"/>
                    </a:lnTo>
                    <a:lnTo>
                      <a:pt x="316" y="1102"/>
                    </a:lnTo>
                    <a:lnTo>
                      <a:pt x="322" y="1100"/>
                    </a:lnTo>
                    <a:lnTo>
                      <a:pt x="328" y="1100"/>
                    </a:lnTo>
                    <a:lnTo>
                      <a:pt x="332" y="1102"/>
                    </a:lnTo>
                    <a:lnTo>
                      <a:pt x="334" y="1108"/>
                    </a:lnTo>
                    <a:lnTo>
                      <a:pt x="334" y="1108"/>
                    </a:lnTo>
                    <a:lnTo>
                      <a:pt x="334" y="1110"/>
                    </a:lnTo>
                    <a:lnTo>
                      <a:pt x="336" y="1110"/>
                    </a:lnTo>
                    <a:lnTo>
                      <a:pt x="340" y="1110"/>
                    </a:lnTo>
                    <a:lnTo>
                      <a:pt x="354" y="1100"/>
                    </a:lnTo>
                    <a:lnTo>
                      <a:pt x="372" y="1088"/>
                    </a:lnTo>
                    <a:lnTo>
                      <a:pt x="380" y="1084"/>
                    </a:lnTo>
                    <a:lnTo>
                      <a:pt x="388" y="1082"/>
                    </a:lnTo>
                    <a:lnTo>
                      <a:pt x="388" y="1082"/>
                    </a:lnTo>
                    <a:lnTo>
                      <a:pt x="394" y="1082"/>
                    </a:lnTo>
                    <a:lnTo>
                      <a:pt x="396" y="1080"/>
                    </a:lnTo>
                    <a:lnTo>
                      <a:pt x="394" y="1074"/>
                    </a:lnTo>
                    <a:lnTo>
                      <a:pt x="394" y="1068"/>
                    </a:lnTo>
                    <a:lnTo>
                      <a:pt x="398" y="1062"/>
                    </a:lnTo>
                    <a:lnTo>
                      <a:pt x="408" y="1052"/>
                    </a:lnTo>
                    <a:lnTo>
                      <a:pt x="424" y="1042"/>
                    </a:lnTo>
                    <a:lnTo>
                      <a:pt x="424" y="1042"/>
                    </a:lnTo>
                    <a:lnTo>
                      <a:pt x="440" y="1032"/>
                    </a:lnTo>
                    <a:lnTo>
                      <a:pt x="452" y="1024"/>
                    </a:lnTo>
                    <a:lnTo>
                      <a:pt x="462" y="1016"/>
                    </a:lnTo>
                    <a:lnTo>
                      <a:pt x="468" y="1010"/>
                    </a:lnTo>
                    <a:lnTo>
                      <a:pt x="478" y="998"/>
                    </a:lnTo>
                    <a:lnTo>
                      <a:pt x="484" y="994"/>
                    </a:lnTo>
                    <a:lnTo>
                      <a:pt x="492" y="988"/>
                    </a:lnTo>
                    <a:lnTo>
                      <a:pt x="492" y="988"/>
                    </a:lnTo>
                    <a:lnTo>
                      <a:pt x="516" y="976"/>
                    </a:lnTo>
                    <a:lnTo>
                      <a:pt x="538" y="964"/>
                    </a:lnTo>
                    <a:lnTo>
                      <a:pt x="548" y="956"/>
                    </a:lnTo>
                    <a:lnTo>
                      <a:pt x="556" y="950"/>
                    </a:lnTo>
                    <a:lnTo>
                      <a:pt x="562" y="942"/>
                    </a:lnTo>
                    <a:lnTo>
                      <a:pt x="566" y="934"/>
                    </a:lnTo>
                    <a:lnTo>
                      <a:pt x="566" y="934"/>
                    </a:lnTo>
                    <a:lnTo>
                      <a:pt x="568" y="928"/>
                    </a:lnTo>
                    <a:lnTo>
                      <a:pt x="572" y="922"/>
                    </a:lnTo>
                    <a:lnTo>
                      <a:pt x="580" y="916"/>
                    </a:lnTo>
                    <a:lnTo>
                      <a:pt x="588" y="912"/>
                    </a:lnTo>
                    <a:lnTo>
                      <a:pt x="592" y="906"/>
                    </a:lnTo>
                    <a:lnTo>
                      <a:pt x="592" y="900"/>
                    </a:lnTo>
                    <a:lnTo>
                      <a:pt x="592" y="900"/>
                    </a:lnTo>
                    <a:lnTo>
                      <a:pt x="592" y="898"/>
                    </a:lnTo>
                    <a:lnTo>
                      <a:pt x="590" y="896"/>
                    </a:lnTo>
                    <a:lnTo>
                      <a:pt x="582" y="892"/>
                    </a:lnTo>
                    <a:lnTo>
                      <a:pt x="564" y="892"/>
                    </a:lnTo>
                    <a:lnTo>
                      <a:pt x="556" y="890"/>
                    </a:lnTo>
                    <a:lnTo>
                      <a:pt x="554" y="890"/>
                    </a:lnTo>
                    <a:lnTo>
                      <a:pt x="554" y="888"/>
                    </a:lnTo>
                    <a:lnTo>
                      <a:pt x="554" y="886"/>
                    </a:lnTo>
                    <a:lnTo>
                      <a:pt x="556" y="882"/>
                    </a:lnTo>
                    <a:lnTo>
                      <a:pt x="570" y="870"/>
                    </a:lnTo>
                    <a:lnTo>
                      <a:pt x="570" y="870"/>
                    </a:lnTo>
                    <a:lnTo>
                      <a:pt x="598" y="846"/>
                    </a:lnTo>
                    <a:lnTo>
                      <a:pt x="616" y="828"/>
                    </a:lnTo>
                    <a:lnTo>
                      <a:pt x="630" y="810"/>
                    </a:lnTo>
                    <a:lnTo>
                      <a:pt x="644" y="786"/>
                    </a:lnTo>
                    <a:lnTo>
                      <a:pt x="644" y="786"/>
                    </a:lnTo>
                    <a:lnTo>
                      <a:pt x="654" y="774"/>
                    </a:lnTo>
                    <a:lnTo>
                      <a:pt x="666" y="764"/>
                    </a:lnTo>
                    <a:lnTo>
                      <a:pt x="680" y="756"/>
                    </a:lnTo>
                    <a:lnTo>
                      <a:pt x="694" y="750"/>
                    </a:lnTo>
                    <a:lnTo>
                      <a:pt x="710" y="750"/>
                    </a:lnTo>
                    <a:lnTo>
                      <a:pt x="726" y="752"/>
                    </a:lnTo>
                    <a:lnTo>
                      <a:pt x="742" y="758"/>
                    </a:lnTo>
                    <a:lnTo>
                      <a:pt x="750" y="764"/>
                    </a:lnTo>
                    <a:lnTo>
                      <a:pt x="758" y="770"/>
                    </a:lnTo>
                    <a:lnTo>
                      <a:pt x="758" y="770"/>
                    </a:lnTo>
                    <a:lnTo>
                      <a:pt x="768" y="782"/>
                    </a:lnTo>
                    <a:lnTo>
                      <a:pt x="770" y="784"/>
                    </a:lnTo>
                    <a:lnTo>
                      <a:pt x="770" y="784"/>
                    </a:lnTo>
                    <a:lnTo>
                      <a:pt x="752" y="776"/>
                    </a:lnTo>
                    <a:lnTo>
                      <a:pt x="738" y="768"/>
                    </a:lnTo>
                    <a:lnTo>
                      <a:pt x="720" y="764"/>
                    </a:lnTo>
                    <a:lnTo>
                      <a:pt x="712" y="762"/>
                    </a:lnTo>
                    <a:lnTo>
                      <a:pt x="704" y="762"/>
                    </a:lnTo>
                    <a:lnTo>
                      <a:pt x="696" y="764"/>
                    </a:lnTo>
                    <a:lnTo>
                      <a:pt x="690" y="768"/>
                    </a:lnTo>
                    <a:lnTo>
                      <a:pt x="690" y="768"/>
                    </a:lnTo>
                    <a:lnTo>
                      <a:pt x="680" y="776"/>
                    </a:lnTo>
                    <a:lnTo>
                      <a:pt x="674" y="784"/>
                    </a:lnTo>
                    <a:lnTo>
                      <a:pt x="672" y="790"/>
                    </a:lnTo>
                    <a:lnTo>
                      <a:pt x="672" y="796"/>
                    </a:lnTo>
                    <a:lnTo>
                      <a:pt x="672" y="802"/>
                    </a:lnTo>
                    <a:lnTo>
                      <a:pt x="670" y="810"/>
                    </a:lnTo>
                    <a:lnTo>
                      <a:pt x="666" y="818"/>
                    </a:lnTo>
                    <a:lnTo>
                      <a:pt x="658" y="828"/>
                    </a:lnTo>
                    <a:lnTo>
                      <a:pt x="658" y="828"/>
                    </a:lnTo>
                    <a:lnTo>
                      <a:pt x="652" y="836"/>
                    </a:lnTo>
                    <a:lnTo>
                      <a:pt x="650" y="844"/>
                    </a:lnTo>
                    <a:lnTo>
                      <a:pt x="652" y="848"/>
                    </a:lnTo>
                    <a:lnTo>
                      <a:pt x="656" y="852"/>
                    </a:lnTo>
                    <a:lnTo>
                      <a:pt x="660" y="856"/>
                    </a:lnTo>
                    <a:lnTo>
                      <a:pt x="662" y="858"/>
                    </a:lnTo>
                    <a:lnTo>
                      <a:pt x="662" y="862"/>
                    </a:lnTo>
                    <a:lnTo>
                      <a:pt x="656" y="866"/>
                    </a:lnTo>
                    <a:lnTo>
                      <a:pt x="656" y="866"/>
                    </a:lnTo>
                    <a:lnTo>
                      <a:pt x="646" y="874"/>
                    </a:lnTo>
                    <a:lnTo>
                      <a:pt x="644" y="876"/>
                    </a:lnTo>
                    <a:lnTo>
                      <a:pt x="644" y="878"/>
                    </a:lnTo>
                    <a:lnTo>
                      <a:pt x="646" y="880"/>
                    </a:lnTo>
                    <a:lnTo>
                      <a:pt x="648" y="882"/>
                    </a:lnTo>
                    <a:lnTo>
                      <a:pt x="658" y="884"/>
                    </a:lnTo>
                    <a:lnTo>
                      <a:pt x="670" y="884"/>
                    </a:lnTo>
                    <a:lnTo>
                      <a:pt x="684" y="882"/>
                    </a:lnTo>
                    <a:lnTo>
                      <a:pt x="698" y="876"/>
                    </a:lnTo>
                    <a:lnTo>
                      <a:pt x="712" y="866"/>
                    </a:lnTo>
                    <a:lnTo>
                      <a:pt x="712" y="866"/>
                    </a:lnTo>
                    <a:lnTo>
                      <a:pt x="732" y="850"/>
                    </a:lnTo>
                    <a:lnTo>
                      <a:pt x="748" y="840"/>
                    </a:lnTo>
                    <a:lnTo>
                      <a:pt x="762" y="834"/>
                    </a:lnTo>
                    <a:lnTo>
                      <a:pt x="778" y="834"/>
                    </a:lnTo>
                    <a:lnTo>
                      <a:pt x="778" y="834"/>
                    </a:lnTo>
                    <a:lnTo>
                      <a:pt x="786" y="832"/>
                    </a:lnTo>
                    <a:lnTo>
                      <a:pt x="790" y="830"/>
                    </a:lnTo>
                    <a:lnTo>
                      <a:pt x="790" y="828"/>
                    </a:lnTo>
                    <a:lnTo>
                      <a:pt x="790" y="824"/>
                    </a:lnTo>
                    <a:lnTo>
                      <a:pt x="790" y="820"/>
                    </a:lnTo>
                    <a:lnTo>
                      <a:pt x="790" y="818"/>
                    </a:lnTo>
                    <a:lnTo>
                      <a:pt x="794" y="814"/>
                    </a:lnTo>
                    <a:lnTo>
                      <a:pt x="800" y="810"/>
                    </a:lnTo>
                    <a:lnTo>
                      <a:pt x="800" y="810"/>
                    </a:lnTo>
                    <a:lnTo>
                      <a:pt x="804" y="806"/>
                    </a:lnTo>
                    <a:lnTo>
                      <a:pt x="806" y="802"/>
                    </a:lnTo>
                    <a:lnTo>
                      <a:pt x="804" y="796"/>
                    </a:lnTo>
                    <a:lnTo>
                      <a:pt x="802" y="790"/>
                    </a:lnTo>
                    <a:lnTo>
                      <a:pt x="800" y="784"/>
                    </a:lnTo>
                    <a:lnTo>
                      <a:pt x="800" y="780"/>
                    </a:lnTo>
                    <a:lnTo>
                      <a:pt x="804" y="776"/>
                    </a:lnTo>
                    <a:lnTo>
                      <a:pt x="812" y="774"/>
                    </a:lnTo>
                    <a:lnTo>
                      <a:pt x="812" y="774"/>
                    </a:lnTo>
                    <a:lnTo>
                      <a:pt x="824" y="772"/>
                    </a:lnTo>
                    <a:lnTo>
                      <a:pt x="834" y="770"/>
                    </a:lnTo>
                    <a:lnTo>
                      <a:pt x="850" y="764"/>
                    </a:lnTo>
                    <a:lnTo>
                      <a:pt x="856" y="764"/>
                    </a:lnTo>
                    <a:lnTo>
                      <a:pt x="860" y="764"/>
                    </a:lnTo>
                    <a:lnTo>
                      <a:pt x="862" y="768"/>
                    </a:lnTo>
                    <a:lnTo>
                      <a:pt x="862" y="774"/>
                    </a:lnTo>
                    <a:lnTo>
                      <a:pt x="862" y="774"/>
                    </a:lnTo>
                    <a:lnTo>
                      <a:pt x="862" y="780"/>
                    </a:lnTo>
                    <a:lnTo>
                      <a:pt x="866" y="784"/>
                    </a:lnTo>
                    <a:lnTo>
                      <a:pt x="870" y="788"/>
                    </a:lnTo>
                    <a:lnTo>
                      <a:pt x="874" y="790"/>
                    </a:lnTo>
                    <a:lnTo>
                      <a:pt x="888" y="794"/>
                    </a:lnTo>
                    <a:lnTo>
                      <a:pt x="896" y="798"/>
                    </a:lnTo>
                    <a:lnTo>
                      <a:pt x="906" y="802"/>
                    </a:lnTo>
                    <a:lnTo>
                      <a:pt x="906" y="802"/>
                    </a:lnTo>
                    <a:lnTo>
                      <a:pt x="912" y="806"/>
                    </a:lnTo>
                    <a:lnTo>
                      <a:pt x="918" y="806"/>
                    </a:lnTo>
                    <a:lnTo>
                      <a:pt x="922" y="804"/>
                    </a:lnTo>
                    <a:lnTo>
                      <a:pt x="924" y="802"/>
                    </a:lnTo>
                    <a:lnTo>
                      <a:pt x="926" y="800"/>
                    </a:lnTo>
                    <a:lnTo>
                      <a:pt x="930" y="800"/>
                    </a:lnTo>
                    <a:lnTo>
                      <a:pt x="934" y="804"/>
                    </a:lnTo>
                    <a:lnTo>
                      <a:pt x="940" y="810"/>
                    </a:lnTo>
                    <a:lnTo>
                      <a:pt x="940" y="810"/>
                    </a:lnTo>
                    <a:lnTo>
                      <a:pt x="948" y="820"/>
                    </a:lnTo>
                    <a:lnTo>
                      <a:pt x="958" y="824"/>
                    </a:lnTo>
                    <a:lnTo>
                      <a:pt x="968" y="828"/>
                    </a:lnTo>
                    <a:lnTo>
                      <a:pt x="978" y="828"/>
                    </a:lnTo>
                    <a:lnTo>
                      <a:pt x="1002" y="826"/>
                    </a:lnTo>
                    <a:lnTo>
                      <a:pt x="1024" y="824"/>
                    </a:lnTo>
                    <a:lnTo>
                      <a:pt x="1024" y="824"/>
                    </a:lnTo>
                    <a:lnTo>
                      <a:pt x="1036" y="826"/>
                    </a:lnTo>
                    <a:lnTo>
                      <a:pt x="1050" y="830"/>
                    </a:lnTo>
                    <a:lnTo>
                      <a:pt x="1076" y="842"/>
                    </a:lnTo>
                    <a:lnTo>
                      <a:pt x="1090" y="846"/>
                    </a:lnTo>
                    <a:lnTo>
                      <a:pt x="1104" y="850"/>
                    </a:lnTo>
                    <a:lnTo>
                      <a:pt x="1116" y="850"/>
                    </a:lnTo>
                    <a:lnTo>
                      <a:pt x="1122" y="848"/>
                    </a:lnTo>
                    <a:lnTo>
                      <a:pt x="1126" y="846"/>
                    </a:lnTo>
                    <a:lnTo>
                      <a:pt x="1126" y="846"/>
                    </a:lnTo>
                    <a:lnTo>
                      <a:pt x="1136" y="842"/>
                    </a:lnTo>
                    <a:lnTo>
                      <a:pt x="1142" y="840"/>
                    </a:lnTo>
                    <a:lnTo>
                      <a:pt x="1146" y="840"/>
                    </a:lnTo>
                    <a:lnTo>
                      <a:pt x="1150" y="842"/>
                    </a:lnTo>
                    <a:lnTo>
                      <a:pt x="1150" y="846"/>
                    </a:lnTo>
                    <a:lnTo>
                      <a:pt x="1150" y="850"/>
                    </a:lnTo>
                    <a:lnTo>
                      <a:pt x="1146" y="854"/>
                    </a:lnTo>
                    <a:lnTo>
                      <a:pt x="1142" y="858"/>
                    </a:lnTo>
                    <a:lnTo>
                      <a:pt x="1142" y="858"/>
                    </a:lnTo>
                    <a:lnTo>
                      <a:pt x="1138" y="860"/>
                    </a:lnTo>
                    <a:lnTo>
                      <a:pt x="1140" y="864"/>
                    </a:lnTo>
                    <a:lnTo>
                      <a:pt x="1146" y="868"/>
                    </a:lnTo>
                    <a:lnTo>
                      <a:pt x="1154" y="874"/>
                    </a:lnTo>
                    <a:lnTo>
                      <a:pt x="1174" y="882"/>
                    </a:lnTo>
                    <a:lnTo>
                      <a:pt x="1192" y="892"/>
                    </a:lnTo>
                    <a:lnTo>
                      <a:pt x="1192" y="892"/>
                    </a:lnTo>
                    <a:lnTo>
                      <a:pt x="1206" y="900"/>
                    </a:lnTo>
                    <a:lnTo>
                      <a:pt x="1216" y="912"/>
                    </a:lnTo>
                    <a:lnTo>
                      <a:pt x="1228" y="924"/>
                    </a:lnTo>
                    <a:lnTo>
                      <a:pt x="1244" y="934"/>
                    </a:lnTo>
                    <a:lnTo>
                      <a:pt x="1244" y="934"/>
                    </a:lnTo>
                    <a:lnTo>
                      <a:pt x="1254" y="938"/>
                    </a:lnTo>
                    <a:lnTo>
                      <a:pt x="1264" y="940"/>
                    </a:lnTo>
                    <a:lnTo>
                      <a:pt x="1272" y="940"/>
                    </a:lnTo>
                    <a:lnTo>
                      <a:pt x="1278" y="940"/>
                    </a:lnTo>
                    <a:lnTo>
                      <a:pt x="1282" y="938"/>
                    </a:lnTo>
                    <a:lnTo>
                      <a:pt x="1284" y="934"/>
                    </a:lnTo>
                    <a:lnTo>
                      <a:pt x="1284" y="930"/>
                    </a:lnTo>
                    <a:lnTo>
                      <a:pt x="1280" y="924"/>
                    </a:lnTo>
                    <a:lnTo>
                      <a:pt x="1280" y="924"/>
                    </a:lnTo>
                    <a:lnTo>
                      <a:pt x="1272" y="912"/>
                    </a:lnTo>
                    <a:lnTo>
                      <a:pt x="1268" y="904"/>
                    </a:lnTo>
                    <a:lnTo>
                      <a:pt x="1268" y="902"/>
                    </a:lnTo>
                    <a:lnTo>
                      <a:pt x="1270" y="902"/>
                    </a:lnTo>
                    <a:lnTo>
                      <a:pt x="1282" y="912"/>
                    </a:lnTo>
                    <a:lnTo>
                      <a:pt x="1282" y="912"/>
                    </a:lnTo>
                    <a:lnTo>
                      <a:pt x="1298" y="928"/>
                    </a:lnTo>
                    <a:lnTo>
                      <a:pt x="1314" y="938"/>
                    </a:lnTo>
                    <a:lnTo>
                      <a:pt x="1320" y="940"/>
                    </a:lnTo>
                    <a:lnTo>
                      <a:pt x="1324" y="940"/>
                    </a:lnTo>
                    <a:lnTo>
                      <a:pt x="1326" y="938"/>
                    </a:lnTo>
                    <a:lnTo>
                      <a:pt x="1326" y="930"/>
                    </a:lnTo>
                    <a:lnTo>
                      <a:pt x="1326" y="930"/>
                    </a:lnTo>
                    <a:lnTo>
                      <a:pt x="1322" y="916"/>
                    </a:lnTo>
                    <a:lnTo>
                      <a:pt x="1322" y="908"/>
                    </a:lnTo>
                    <a:lnTo>
                      <a:pt x="1322" y="906"/>
                    </a:lnTo>
                    <a:lnTo>
                      <a:pt x="1324" y="908"/>
                    </a:lnTo>
                    <a:lnTo>
                      <a:pt x="1332" y="922"/>
                    </a:lnTo>
                    <a:lnTo>
                      <a:pt x="1332" y="922"/>
                    </a:lnTo>
                    <a:lnTo>
                      <a:pt x="1338" y="930"/>
                    </a:lnTo>
                    <a:lnTo>
                      <a:pt x="1344" y="934"/>
                    </a:lnTo>
                    <a:lnTo>
                      <a:pt x="1348" y="936"/>
                    </a:lnTo>
                    <a:lnTo>
                      <a:pt x="1354" y="938"/>
                    </a:lnTo>
                    <a:lnTo>
                      <a:pt x="1358" y="938"/>
                    </a:lnTo>
                    <a:lnTo>
                      <a:pt x="1362" y="940"/>
                    </a:lnTo>
                    <a:lnTo>
                      <a:pt x="1368" y="942"/>
                    </a:lnTo>
                    <a:lnTo>
                      <a:pt x="1372" y="950"/>
                    </a:lnTo>
                    <a:lnTo>
                      <a:pt x="1372" y="950"/>
                    </a:lnTo>
                    <a:lnTo>
                      <a:pt x="1378" y="966"/>
                    </a:lnTo>
                    <a:lnTo>
                      <a:pt x="1382" y="976"/>
                    </a:lnTo>
                    <a:lnTo>
                      <a:pt x="1384" y="982"/>
                    </a:lnTo>
                    <a:lnTo>
                      <a:pt x="1390" y="988"/>
                    </a:lnTo>
                    <a:lnTo>
                      <a:pt x="1390" y="988"/>
                    </a:lnTo>
                    <a:lnTo>
                      <a:pt x="1394" y="992"/>
                    </a:lnTo>
                    <a:lnTo>
                      <a:pt x="1394" y="996"/>
                    </a:lnTo>
                    <a:lnTo>
                      <a:pt x="1390" y="1002"/>
                    </a:lnTo>
                    <a:lnTo>
                      <a:pt x="1388" y="1006"/>
                    </a:lnTo>
                    <a:lnTo>
                      <a:pt x="1388" y="1008"/>
                    </a:lnTo>
                    <a:lnTo>
                      <a:pt x="1392" y="1012"/>
                    </a:lnTo>
                    <a:lnTo>
                      <a:pt x="1398" y="1014"/>
                    </a:lnTo>
                    <a:lnTo>
                      <a:pt x="1398" y="1014"/>
                    </a:lnTo>
                    <a:lnTo>
                      <a:pt x="1412" y="1020"/>
                    </a:lnTo>
                    <a:lnTo>
                      <a:pt x="1414" y="1024"/>
                    </a:lnTo>
                    <a:lnTo>
                      <a:pt x="1416" y="1026"/>
                    </a:lnTo>
                    <a:lnTo>
                      <a:pt x="1422" y="1036"/>
                    </a:lnTo>
                    <a:lnTo>
                      <a:pt x="1426" y="1042"/>
                    </a:lnTo>
                    <a:lnTo>
                      <a:pt x="1434" y="1052"/>
                    </a:lnTo>
                    <a:lnTo>
                      <a:pt x="1434" y="1052"/>
                    </a:lnTo>
                    <a:lnTo>
                      <a:pt x="1452" y="1064"/>
                    </a:lnTo>
                    <a:lnTo>
                      <a:pt x="1464" y="1070"/>
                    </a:lnTo>
                    <a:lnTo>
                      <a:pt x="1466" y="1074"/>
                    </a:lnTo>
                    <a:lnTo>
                      <a:pt x="1460" y="1076"/>
                    </a:lnTo>
                    <a:lnTo>
                      <a:pt x="1460" y="1076"/>
                    </a:lnTo>
                    <a:lnTo>
                      <a:pt x="1452" y="1080"/>
                    </a:lnTo>
                    <a:lnTo>
                      <a:pt x="1450" y="1086"/>
                    </a:lnTo>
                    <a:lnTo>
                      <a:pt x="1448" y="1092"/>
                    </a:lnTo>
                    <a:lnTo>
                      <a:pt x="1442" y="1100"/>
                    </a:lnTo>
                    <a:lnTo>
                      <a:pt x="1442" y="1100"/>
                    </a:lnTo>
                    <a:lnTo>
                      <a:pt x="1440" y="1104"/>
                    </a:lnTo>
                    <a:lnTo>
                      <a:pt x="1440" y="1108"/>
                    </a:lnTo>
                    <a:lnTo>
                      <a:pt x="1440" y="1112"/>
                    </a:lnTo>
                    <a:lnTo>
                      <a:pt x="1442" y="1114"/>
                    </a:lnTo>
                    <a:lnTo>
                      <a:pt x="1446" y="1116"/>
                    </a:lnTo>
                    <a:lnTo>
                      <a:pt x="1450" y="1114"/>
                    </a:lnTo>
                    <a:lnTo>
                      <a:pt x="1452" y="1112"/>
                    </a:lnTo>
                    <a:lnTo>
                      <a:pt x="1456" y="1106"/>
                    </a:lnTo>
                    <a:lnTo>
                      <a:pt x="1456" y="1106"/>
                    </a:lnTo>
                    <a:lnTo>
                      <a:pt x="1462" y="1092"/>
                    </a:lnTo>
                    <a:lnTo>
                      <a:pt x="1466" y="1088"/>
                    </a:lnTo>
                    <a:lnTo>
                      <a:pt x="1470" y="1084"/>
                    </a:lnTo>
                    <a:lnTo>
                      <a:pt x="1474" y="1082"/>
                    </a:lnTo>
                    <a:lnTo>
                      <a:pt x="1478" y="1084"/>
                    </a:lnTo>
                    <a:lnTo>
                      <a:pt x="1484" y="1088"/>
                    </a:lnTo>
                    <a:lnTo>
                      <a:pt x="1488" y="1094"/>
                    </a:lnTo>
                    <a:lnTo>
                      <a:pt x="1488" y="1094"/>
                    </a:lnTo>
                    <a:lnTo>
                      <a:pt x="1492" y="1104"/>
                    </a:lnTo>
                    <a:lnTo>
                      <a:pt x="1494" y="1112"/>
                    </a:lnTo>
                    <a:lnTo>
                      <a:pt x="1494" y="1118"/>
                    </a:lnTo>
                    <a:lnTo>
                      <a:pt x="1492" y="1124"/>
                    </a:lnTo>
                    <a:lnTo>
                      <a:pt x="1488" y="1134"/>
                    </a:lnTo>
                    <a:lnTo>
                      <a:pt x="1488" y="1138"/>
                    </a:lnTo>
                    <a:lnTo>
                      <a:pt x="1488" y="1144"/>
                    </a:lnTo>
                    <a:lnTo>
                      <a:pt x="1488" y="1144"/>
                    </a:lnTo>
                    <a:lnTo>
                      <a:pt x="1492" y="1152"/>
                    </a:lnTo>
                    <a:lnTo>
                      <a:pt x="1494" y="1160"/>
                    </a:lnTo>
                    <a:lnTo>
                      <a:pt x="1496" y="1164"/>
                    </a:lnTo>
                    <a:lnTo>
                      <a:pt x="1498" y="1164"/>
                    </a:lnTo>
                    <a:lnTo>
                      <a:pt x="1502" y="1162"/>
                    </a:lnTo>
                    <a:lnTo>
                      <a:pt x="1508" y="1158"/>
                    </a:lnTo>
                    <a:lnTo>
                      <a:pt x="1508" y="1158"/>
                    </a:lnTo>
                    <a:lnTo>
                      <a:pt x="1516" y="1150"/>
                    </a:lnTo>
                    <a:lnTo>
                      <a:pt x="1524" y="1142"/>
                    </a:lnTo>
                    <a:lnTo>
                      <a:pt x="1526" y="1138"/>
                    </a:lnTo>
                    <a:lnTo>
                      <a:pt x="1526" y="1132"/>
                    </a:lnTo>
                    <a:lnTo>
                      <a:pt x="1524" y="1118"/>
                    </a:lnTo>
                    <a:lnTo>
                      <a:pt x="1524" y="1118"/>
                    </a:lnTo>
                    <a:lnTo>
                      <a:pt x="1522" y="1106"/>
                    </a:lnTo>
                    <a:lnTo>
                      <a:pt x="1524" y="1098"/>
                    </a:lnTo>
                    <a:lnTo>
                      <a:pt x="1528" y="1094"/>
                    </a:lnTo>
                    <a:lnTo>
                      <a:pt x="1530" y="1090"/>
                    </a:lnTo>
                    <a:lnTo>
                      <a:pt x="1530" y="1090"/>
                    </a:lnTo>
                    <a:lnTo>
                      <a:pt x="1528" y="1098"/>
                    </a:lnTo>
                    <a:lnTo>
                      <a:pt x="1530" y="1106"/>
                    </a:lnTo>
                    <a:lnTo>
                      <a:pt x="1532" y="1118"/>
                    </a:lnTo>
                    <a:lnTo>
                      <a:pt x="1534" y="1130"/>
                    </a:lnTo>
                    <a:lnTo>
                      <a:pt x="1532" y="1136"/>
                    </a:lnTo>
                    <a:lnTo>
                      <a:pt x="1530" y="1140"/>
                    </a:lnTo>
                    <a:lnTo>
                      <a:pt x="1530" y="1140"/>
                    </a:lnTo>
                    <a:lnTo>
                      <a:pt x="1526" y="1142"/>
                    </a:lnTo>
                    <a:lnTo>
                      <a:pt x="1526" y="1146"/>
                    </a:lnTo>
                    <a:lnTo>
                      <a:pt x="1526" y="1152"/>
                    </a:lnTo>
                    <a:lnTo>
                      <a:pt x="1526" y="1160"/>
                    </a:lnTo>
                    <a:lnTo>
                      <a:pt x="1524" y="1162"/>
                    </a:lnTo>
                    <a:lnTo>
                      <a:pt x="1522" y="1166"/>
                    </a:lnTo>
                    <a:lnTo>
                      <a:pt x="1522" y="1166"/>
                    </a:lnTo>
                    <a:lnTo>
                      <a:pt x="1516" y="1172"/>
                    </a:lnTo>
                    <a:lnTo>
                      <a:pt x="1512" y="1178"/>
                    </a:lnTo>
                    <a:lnTo>
                      <a:pt x="1512" y="1182"/>
                    </a:lnTo>
                    <a:lnTo>
                      <a:pt x="1512" y="1186"/>
                    </a:lnTo>
                    <a:lnTo>
                      <a:pt x="1518" y="1192"/>
                    </a:lnTo>
                    <a:lnTo>
                      <a:pt x="1520" y="1194"/>
                    </a:lnTo>
                    <a:lnTo>
                      <a:pt x="1524" y="1198"/>
                    </a:lnTo>
                    <a:lnTo>
                      <a:pt x="1524" y="1198"/>
                    </a:lnTo>
                    <a:lnTo>
                      <a:pt x="1528" y="1210"/>
                    </a:lnTo>
                    <a:lnTo>
                      <a:pt x="1534" y="1222"/>
                    </a:lnTo>
                    <a:lnTo>
                      <a:pt x="1542" y="1232"/>
                    </a:lnTo>
                    <a:lnTo>
                      <a:pt x="1554" y="1244"/>
                    </a:lnTo>
                    <a:lnTo>
                      <a:pt x="1554" y="1244"/>
                    </a:lnTo>
                    <a:lnTo>
                      <a:pt x="1558" y="1246"/>
                    </a:lnTo>
                    <a:lnTo>
                      <a:pt x="1560" y="1244"/>
                    </a:lnTo>
                    <a:lnTo>
                      <a:pt x="1562" y="1236"/>
                    </a:lnTo>
                    <a:lnTo>
                      <a:pt x="1564" y="1230"/>
                    </a:lnTo>
                    <a:lnTo>
                      <a:pt x="1566" y="1224"/>
                    </a:lnTo>
                    <a:lnTo>
                      <a:pt x="1574" y="1218"/>
                    </a:lnTo>
                    <a:lnTo>
                      <a:pt x="1584" y="1216"/>
                    </a:lnTo>
                    <a:lnTo>
                      <a:pt x="1584" y="1216"/>
                    </a:lnTo>
                    <a:lnTo>
                      <a:pt x="1592" y="1216"/>
                    </a:lnTo>
                    <a:lnTo>
                      <a:pt x="1594" y="1216"/>
                    </a:lnTo>
                    <a:lnTo>
                      <a:pt x="1586" y="1222"/>
                    </a:lnTo>
                    <a:lnTo>
                      <a:pt x="1582" y="1228"/>
                    </a:lnTo>
                    <a:lnTo>
                      <a:pt x="1578" y="1234"/>
                    </a:lnTo>
                    <a:lnTo>
                      <a:pt x="1574" y="1240"/>
                    </a:lnTo>
                    <a:lnTo>
                      <a:pt x="1576" y="1248"/>
                    </a:lnTo>
                    <a:lnTo>
                      <a:pt x="1576" y="1248"/>
                    </a:lnTo>
                    <a:lnTo>
                      <a:pt x="1582" y="1258"/>
                    </a:lnTo>
                    <a:lnTo>
                      <a:pt x="1586" y="1260"/>
                    </a:lnTo>
                    <a:lnTo>
                      <a:pt x="1588" y="1262"/>
                    </a:lnTo>
                    <a:lnTo>
                      <a:pt x="1590" y="1274"/>
                    </a:lnTo>
                    <a:lnTo>
                      <a:pt x="1590" y="1274"/>
                    </a:lnTo>
                    <a:lnTo>
                      <a:pt x="1592" y="1280"/>
                    </a:lnTo>
                    <a:lnTo>
                      <a:pt x="1596" y="1280"/>
                    </a:lnTo>
                    <a:lnTo>
                      <a:pt x="1600" y="1280"/>
                    </a:lnTo>
                    <a:lnTo>
                      <a:pt x="1604" y="1278"/>
                    </a:lnTo>
                    <a:lnTo>
                      <a:pt x="1608" y="1278"/>
                    </a:lnTo>
                    <a:lnTo>
                      <a:pt x="1610" y="1278"/>
                    </a:lnTo>
                    <a:lnTo>
                      <a:pt x="1610" y="1280"/>
                    </a:lnTo>
                    <a:lnTo>
                      <a:pt x="1606" y="1290"/>
                    </a:lnTo>
                    <a:lnTo>
                      <a:pt x="1606" y="1290"/>
                    </a:lnTo>
                    <a:lnTo>
                      <a:pt x="1598" y="1306"/>
                    </a:lnTo>
                    <a:lnTo>
                      <a:pt x="1596" y="1318"/>
                    </a:lnTo>
                    <a:lnTo>
                      <a:pt x="1598" y="1322"/>
                    </a:lnTo>
                    <a:lnTo>
                      <a:pt x="1600" y="1322"/>
                    </a:lnTo>
                    <a:lnTo>
                      <a:pt x="1600" y="1322"/>
                    </a:lnTo>
                    <a:lnTo>
                      <a:pt x="1602" y="1322"/>
                    </a:lnTo>
                    <a:lnTo>
                      <a:pt x="1602" y="1324"/>
                    </a:lnTo>
                    <a:lnTo>
                      <a:pt x="1602" y="1330"/>
                    </a:lnTo>
                    <a:lnTo>
                      <a:pt x="1602" y="1336"/>
                    </a:lnTo>
                    <a:lnTo>
                      <a:pt x="1604" y="1340"/>
                    </a:lnTo>
                    <a:lnTo>
                      <a:pt x="1608" y="1342"/>
                    </a:lnTo>
                    <a:lnTo>
                      <a:pt x="1608" y="1342"/>
                    </a:lnTo>
                    <a:lnTo>
                      <a:pt x="1610" y="1342"/>
                    </a:lnTo>
                    <a:lnTo>
                      <a:pt x="1612" y="1340"/>
                    </a:lnTo>
                    <a:lnTo>
                      <a:pt x="1614" y="1330"/>
                    </a:lnTo>
                    <a:lnTo>
                      <a:pt x="1616" y="1320"/>
                    </a:lnTo>
                    <a:lnTo>
                      <a:pt x="1618" y="1316"/>
                    </a:lnTo>
                    <a:lnTo>
                      <a:pt x="1622" y="1314"/>
                    </a:lnTo>
                    <a:lnTo>
                      <a:pt x="1622" y="1314"/>
                    </a:lnTo>
                    <a:lnTo>
                      <a:pt x="1630" y="1310"/>
                    </a:lnTo>
                    <a:lnTo>
                      <a:pt x="1636" y="1304"/>
                    </a:lnTo>
                    <a:lnTo>
                      <a:pt x="1642" y="1300"/>
                    </a:lnTo>
                    <a:lnTo>
                      <a:pt x="1642" y="1300"/>
                    </a:lnTo>
                    <a:lnTo>
                      <a:pt x="1644" y="1304"/>
                    </a:lnTo>
                    <a:lnTo>
                      <a:pt x="1644" y="1304"/>
                    </a:lnTo>
                    <a:lnTo>
                      <a:pt x="1646" y="1306"/>
                    </a:lnTo>
                    <a:lnTo>
                      <a:pt x="1648" y="1308"/>
                    </a:lnTo>
                    <a:lnTo>
                      <a:pt x="1654" y="1308"/>
                    </a:lnTo>
                    <a:lnTo>
                      <a:pt x="1660" y="1308"/>
                    </a:lnTo>
                    <a:lnTo>
                      <a:pt x="1660" y="1310"/>
                    </a:lnTo>
                    <a:lnTo>
                      <a:pt x="1660" y="1314"/>
                    </a:lnTo>
                    <a:lnTo>
                      <a:pt x="1660" y="1314"/>
                    </a:lnTo>
                    <a:lnTo>
                      <a:pt x="1660" y="1318"/>
                    </a:lnTo>
                    <a:lnTo>
                      <a:pt x="1658" y="1318"/>
                    </a:lnTo>
                    <a:lnTo>
                      <a:pt x="1656" y="1316"/>
                    </a:lnTo>
                    <a:lnTo>
                      <a:pt x="1652" y="1314"/>
                    </a:lnTo>
                    <a:lnTo>
                      <a:pt x="1648" y="1312"/>
                    </a:lnTo>
                    <a:lnTo>
                      <a:pt x="1642" y="1314"/>
                    </a:lnTo>
                    <a:lnTo>
                      <a:pt x="1634" y="1318"/>
                    </a:lnTo>
                    <a:lnTo>
                      <a:pt x="1634" y="1318"/>
                    </a:lnTo>
                    <a:lnTo>
                      <a:pt x="1622" y="1330"/>
                    </a:lnTo>
                    <a:lnTo>
                      <a:pt x="1618" y="1336"/>
                    </a:lnTo>
                    <a:lnTo>
                      <a:pt x="1618" y="1342"/>
                    </a:lnTo>
                    <a:lnTo>
                      <a:pt x="1618" y="1350"/>
                    </a:lnTo>
                    <a:lnTo>
                      <a:pt x="1618" y="1350"/>
                    </a:lnTo>
                    <a:lnTo>
                      <a:pt x="1620" y="1356"/>
                    </a:lnTo>
                    <a:lnTo>
                      <a:pt x="1622" y="1358"/>
                    </a:lnTo>
                    <a:lnTo>
                      <a:pt x="1626" y="1360"/>
                    </a:lnTo>
                    <a:lnTo>
                      <a:pt x="1628" y="1362"/>
                    </a:lnTo>
                    <a:lnTo>
                      <a:pt x="1624" y="1366"/>
                    </a:lnTo>
                    <a:lnTo>
                      <a:pt x="1624" y="1366"/>
                    </a:lnTo>
                    <a:lnTo>
                      <a:pt x="1622" y="1368"/>
                    </a:lnTo>
                    <a:lnTo>
                      <a:pt x="1622" y="1370"/>
                    </a:lnTo>
                    <a:lnTo>
                      <a:pt x="1624" y="1372"/>
                    </a:lnTo>
                    <a:lnTo>
                      <a:pt x="1626" y="1374"/>
                    </a:lnTo>
                    <a:lnTo>
                      <a:pt x="1624" y="1376"/>
                    </a:lnTo>
                    <a:lnTo>
                      <a:pt x="1624" y="1376"/>
                    </a:lnTo>
                    <a:lnTo>
                      <a:pt x="1620" y="1378"/>
                    </a:lnTo>
                    <a:lnTo>
                      <a:pt x="1620" y="1382"/>
                    </a:lnTo>
                    <a:lnTo>
                      <a:pt x="1620" y="1384"/>
                    </a:lnTo>
                    <a:lnTo>
                      <a:pt x="1622" y="1386"/>
                    </a:lnTo>
                    <a:lnTo>
                      <a:pt x="1630" y="1392"/>
                    </a:lnTo>
                    <a:lnTo>
                      <a:pt x="1642" y="1396"/>
                    </a:lnTo>
                    <a:lnTo>
                      <a:pt x="1642" y="1396"/>
                    </a:lnTo>
                    <a:lnTo>
                      <a:pt x="1650" y="1398"/>
                    </a:lnTo>
                    <a:lnTo>
                      <a:pt x="1656" y="1396"/>
                    </a:lnTo>
                    <a:lnTo>
                      <a:pt x="1662" y="1394"/>
                    </a:lnTo>
                    <a:lnTo>
                      <a:pt x="1670" y="1394"/>
                    </a:lnTo>
                    <a:lnTo>
                      <a:pt x="1670" y="1394"/>
                    </a:lnTo>
                    <a:lnTo>
                      <a:pt x="1676" y="1396"/>
                    </a:lnTo>
                    <a:lnTo>
                      <a:pt x="1676" y="1398"/>
                    </a:lnTo>
                    <a:lnTo>
                      <a:pt x="1676" y="1400"/>
                    </a:lnTo>
                    <a:lnTo>
                      <a:pt x="1682" y="1400"/>
                    </a:lnTo>
                    <a:lnTo>
                      <a:pt x="1682" y="1400"/>
                    </a:lnTo>
                    <a:lnTo>
                      <a:pt x="1688" y="1402"/>
                    </a:lnTo>
                    <a:lnTo>
                      <a:pt x="1688" y="1404"/>
                    </a:lnTo>
                    <a:lnTo>
                      <a:pt x="1686" y="1412"/>
                    </a:lnTo>
                    <a:lnTo>
                      <a:pt x="1686" y="1416"/>
                    </a:lnTo>
                    <a:lnTo>
                      <a:pt x="1686" y="1420"/>
                    </a:lnTo>
                    <a:lnTo>
                      <a:pt x="1688" y="1422"/>
                    </a:lnTo>
                    <a:lnTo>
                      <a:pt x="1694" y="1420"/>
                    </a:lnTo>
                    <a:lnTo>
                      <a:pt x="1694" y="1420"/>
                    </a:lnTo>
                    <a:lnTo>
                      <a:pt x="1700" y="1420"/>
                    </a:lnTo>
                    <a:lnTo>
                      <a:pt x="1702" y="1422"/>
                    </a:lnTo>
                    <a:lnTo>
                      <a:pt x="1706" y="1424"/>
                    </a:lnTo>
                    <a:lnTo>
                      <a:pt x="1714" y="1422"/>
                    </a:lnTo>
                    <a:lnTo>
                      <a:pt x="1714" y="1422"/>
                    </a:lnTo>
                    <a:lnTo>
                      <a:pt x="1718" y="1422"/>
                    </a:lnTo>
                    <a:lnTo>
                      <a:pt x="1722" y="1422"/>
                    </a:lnTo>
                    <a:lnTo>
                      <a:pt x="1730" y="1426"/>
                    </a:lnTo>
                    <a:lnTo>
                      <a:pt x="1736" y="1430"/>
                    </a:lnTo>
                    <a:lnTo>
                      <a:pt x="1738" y="1430"/>
                    </a:lnTo>
                    <a:lnTo>
                      <a:pt x="1742" y="1428"/>
                    </a:lnTo>
                    <a:lnTo>
                      <a:pt x="1742" y="1428"/>
                    </a:lnTo>
                    <a:lnTo>
                      <a:pt x="1744" y="1428"/>
                    </a:lnTo>
                    <a:lnTo>
                      <a:pt x="1748" y="1430"/>
                    </a:lnTo>
                    <a:lnTo>
                      <a:pt x="1750" y="1434"/>
                    </a:lnTo>
                    <a:lnTo>
                      <a:pt x="1750" y="1442"/>
                    </a:lnTo>
                    <a:lnTo>
                      <a:pt x="1748" y="1444"/>
                    </a:lnTo>
                    <a:lnTo>
                      <a:pt x="1744" y="1446"/>
                    </a:lnTo>
                    <a:lnTo>
                      <a:pt x="1744" y="1446"/>
                    </a:lnTo>
                    <a:lnTo>
                      <a:pt x="1742" y="1448"/>
                    </a:lnTo>
                    <a:lnTo>
                      <a:pt x="1742" y="1450"/>
                    </a:lnTo>
                    <a:lnTo>
                      <a:pt x="1748" y="1458"/>
                    </a:lnTo>
                    <a:lnTo>
                      <a:pt x="1758" y="1464"/>
                    </a:lnTo>
                    <a:lnTo>
                      <a:pt x="1764" y="1464"/>
                    </a:lnTo>
                    <a:lnTo>
                      <a:pt x="1768" y="1464"/>
                    </a:lnTo>
                    <a:lnTo>
                      <a:pt x="1768" y="1464"/>
                    </a:lnTo>
                    <a:lnTo>
                      <a:pt x="1774" y="1458"/>
                    </a:lnTo>
                    <a:lnTo>
                      <a:pt x="1778" y="1454"/>
                    </a:lnTo>
                    <a:lnTo>
                      <a:pt x="1778" y="1452"/>
                    </a:lnTo>
                    <a:lnTo>
                      <a:pt x="1778" y="1454"/>
                    </a:lnTo>
                    <a:lnTo>
                      <a:pt x="1780" y="1460"/>
                    </a:lnTo>
                    <a:lnTo>
                      <a:pt x="1780" y="1460"/>
                    </a:lnTo>
                    <a:lnTo>
                      <a:pt x="1780" y="1468"/>
                    </a:lnTo>
                    <a:lnTo>
                      <a:pt x="1784" y="1470"/>
                    </a:lnTo>
                    <a:lnTo>
                      <a:pt x="1786" y="1470"/>
                    </a:lnTo>
                    <a:lnTo>
                      <a:pt x="1786" y="1474"/>
                    </a:lnTo>
                    <a:lnTo>
                      <a:pt x="1786" y="1474"/>
                    </a:lnTo>
                    <a:lnTo>
                      <a:pt x="1784" y="1476"/>
                    </a:lnTo>
                    <a:lnTo>
                      <a:pt x="1782" y="1476"/>
                    </a:lnTo>
                    <a:lnTo>
                      <a:pt x="1780" y="1472"/>
                    </a:lnTo>
                    <a:lnTo>
                      <a:pt x="1776" y="1468"/>
                    </a:lnTo>
                    <a:lnTo>
                      <a:pt x="1774" y="1468"/>
                    </a:lnTo>
                    <a:lnTo>
                      <a:pt x="1772" y="1470"/>
                    </a:lnTo>
                    <a:lnTo>
                      <a:pt x="1772" y="1470"/>
                    </a:lnTo>
                    <a:lnTo>
                      <a:pt x="1770" y="1472"/>
                    </a:lnTo>
                    <a:lnTo>
                      <a:pt x="1772" y="1476"/>
                    </a:lnTo>
                    <a:lnTo>
                      <a:pt x="1780" y="1484"/>
                    </a:lnTo>
                    <a:lnTo>
                      <a:pt x="1790" y="1486"/>
                    </a:lnTo>
                    <a:lnTo>
                      <a:pt x="1794" y="1486"/>
                    </a:lnTo>
                    <a:lnTo>
                      <a:pt x="1794" y="1484"/>
                    </a:lnTo>
                    <a:lnTo>
                      <a:pt x="1794" y="1484"/>
                    </a:lnTo>
                    <a:lnTo>
                      <a:pt x="1796" y="1478"/>
                    </a:lnTo>
                    <a:lnTo>
                      <a:pt x="1800" y="1474"/>
                    </a:lnTo>
                    <a:lnTo>
                      <a:pt x="1804" y="1474"/>
                    </a:lnTo>
                    <a:lnTo>
                      <a:pt x="1804" y="1478"/>
                    </a:lnTo>
                    <a:lnTo>
                      <a:pt x="1804" y="1478"/>
                    </a:lnTo>
                    <a:lnTo>
                      <a:pt x="1804" y="1486"/>
                    </a:lnTo>
                    <a:lnTo>
                      <a:pt x="1806" y="1492"/>
                    </a:lnTo>
                    <a:lnTo>
                      <a:pt x="1808" y="1498"/>
                    </a:lnTo>
                    <a:lnTo>
                      <a:pt x="1808" y="1504"/>
                    </a:lnTo>
                    <a:lnTo>
                      <a:pt x="1808" y="1504"/>
                    </a:lnTo>
                    <a:lnTo>
                      <a:pt x="1808" y="1510"/>
                    </a:lnTo>
                    <a:lnTo>
                      <a:pt x="1810" y="1512"/>
                    </a:lnTo>
                    <a:lnTo>
                      <a:pt x="1812" y="1510"/>
                    </a:lnTo>
                    <a:lnTo>
                      <a:pt x="1816" y="1506"/>
                    </a:lnTo>
                    <a:lnTo>
                      <a:pt x="1816" y="1506"/>
                    </a:lnTo>
                    <a:lnTo>
                      <a:pt x="1818" y="1504"/>
                    </a:lnTo>
                    <a:lnTo>
                      <a:pt x="1820" y="1506"/>
                    </a:lnTo>
                    <a:lnTo>
                      <a:pt x="1822" y="1508"/>
                    </a:lnTo>
                    <a:lnTo>
                      <a:pt x="1822" y="1508"/>
                    </a:lnTo>
                    <a:lnTo>
                      <a:pt x="1822" y="1516"/>
                    </a:lnTo>
                    <a:lnTo>
                      <a:pt x="1824" y="1520"/>
                    </a:lnTo>
                    <a:lnTo>
                      <a:pt x="1828" y="1526"/>
                    </a:lnTo>
                    <a:lnTo>
                      <a:pt x="1832" y="1528"/>
                    </a:lnTo>
                    <a:lnTo>
                      <a:pt x="1832" y="1530"/>
                    </a:lnTo>
                    <a:lnTo>
                      <a:pt x="1832" y="1534"/>
                    </a:lnTo>
                    <a:lnTo>
                      <a:pt x="1832" y="1534"/>
                    </a:lnTo>
                    <a:lnTo>
                      <a:pt x="1832" y="1538"/>
                    </a:lnTo>
                    <a:lnTo>
                      <a:pt x="1830" y="1538"/>
                    </a:lnTo>
                    <a:lnTo>
                      <a:pt x="1826" y="1540"/>
                    </a:lnTo>
                    <a:lnTo>
                      <a:pt x="1824" y="1540"/>
                    </a:lnTo>
                    <a:lnTo>
                      <a:pt x="1824" y="1542"/>
                    </a:lnTo>
                    <a:lnTo>
                      <a:pt x="1830" y="1550"/>
                    </a:lnTo>
                    <a:lnTo>
                      <a:pt x="1830" y="1550"/>
                    </a:lnTo>
                    <a:lnTo>
                      <a:pt x="1836" y="1562"/>
                    </a:lnTo>
                    <a:lnTo>
                      <a:pt x="1840" y="1570"/>
                    </a:lnTo>
                    <a:lnTo>
                      <a:pt x="1840" y="1582"/>
                    </a:lnTo>
                    <a:lnTo>
                      <a:pt x="1840" y="1600"/>
                    </a:lnTo>
                    <a:lnTo>
                      <a:pt x="1840" y="1600"/>
                    </a:lnTo>
                    <a:lnTo>
                      <a:pt x="1838" y="1608"/>
                    </a:lnTo>
                    <a:lnTo>
                      <a:pt x="1836" y="1610"/>
                    </a:lnTo>
                    <a:lnTo>
                      <a:pt x="1834" y="1608"/>
                    </a:lnTo>
                    <a:lnTo>
                      <a:pt x="1834" y="1604"/>
                    </a:lnTo>
                    <a:lnTo>
                      <a:pt x="1828" y="1570"/>
                    </a:lnTo>
                    <a:lnTo>
                      <a:pt x="1828" y="1570"/>
                    </a:lnTo>
                    <a:lnTo>
                      <a:pt x="1824" y="1564"/>
                    </a:lnTo>
                    <a:lnTo>
                      <a:pt x="1816" y="1560"/>
                    </a:lnTo>
                    <a:lnTo>
                      <a:pt x="1808" y="1558"/>
                    </a:lnTo>
                    <a:lnTo>
                      <a:pt x="1798" y="1556"/>
                    </a:lnTo>
                    <a:lnTo>
                      <a:pt x="1776" y="1554"/>
                    </a:lnTo>
                    <a:lnTo>
                      <a:pt x="1766" y="1552"/>
                    </a:lnTo>
                    <a:lnTo>
                      <a:pt x="1758" y="1548"/>
                    </a:lnTo>
                    <a:lnTo>
                      <a:pt x="1758" y="1548"/>
                    </a:lnTo>
                    <a:lnTo>
                      <a:pt x="1752" y="1546"/>
                    </a:lnTo>
                    <a:lnTo>
                      <a:pt x="1746" y="1546"/>
                    </a:lnTo>
                    <a:lnTo>
                      <a:pt x="1744" y="1548"/>
                    </a:lnTo>
                    <a:lnTo>
                      <a:pt x="1742" y="1552"/>
                    </a:lnTo>
                    <a:lnTo>
                      <a:pt x="1744" y="1556"/>
                    </a:lnTo>
                    <a:lnTo>
                      <a:pt x="1746" y="1564"/>
                    </a:lnTo>
                    <a:lnTo>
                      <a:pt x="1754" y="1578"/>
                    </a:lnTo>
                    <a:lnTo>
                      <a:pt x="1754" y="1578"/>
                    </a:lnTo>
                    <a:lnTo>
                      <a:pt x="1758" y="1586"/>
                    </a:lnTo>
                    <a:lnTo>
                      <a:pt x="1764" y="1598"/>
                    </a:lnTo>
                    <a:lnTo>
                      <a:pt x="1770" y="1626"/>
                    </a:lnTo>
                    <a:lnTo>
                      <a:pt x="1774" y="1658"/>
                    </a:lnTo>
                    <a:lnTo>
                      <a:pt x="1774" y="1690"/>
                    </a:lnTo>
                    <a:lnTo>
                      <a:pt x="1774" y="1690"/>
                    </a:lnTo>
                    <a:lnTo>
                      <a:pt x="1774" y="1726"/>
                    </a:lnTo>
                    <a:lnTo>
                      <a:pt x="1770" y="1768"/>
                    </a:lnTo>
                    <a:lnTo>
                      <a:pt x="1766" y="1810"/>
                    </a:lnTo>
                    <a:lnTo>
                      <a:pt x="1762" y="1828"/>
                    </a:lnTo>
                    <a:lnTo>
                      <a:pt x="1756" y="1842"/>
                    </a:lnTo>
                    <a:lnTo>
                      <a:pt x="1756" y="1842"/>
                    </a:lnTo>
                    <a:lnTo>
                      <a:pt x="1754" y="1854"/>
                    </a:lnTo>
                    <a:lnTo>
                      <a:pt x="1754" y="1870"/>
                    </a:lnTo>
                    <a:lnTo>
                      <a:pt x="1756" y="1886"/>
                    </a:lnTo>
                    <a:lnTo>
                      <a:pt x="1760" y="1904"/>
                    </a:lnTo>
                    <a:lnTo>
                      <a:pt x="1764" y="1920"/>
                    </a:lnTo>
                    <a:lnTo>
                      <a:pt x="1766" y="1938"/>
                    </a:lnTo>
                    <a:lnTo>
                      <a:pt x="1766" y="1956"/>
                    </a:lnTo>
                    <a:lnTo>
                      <a:pt x="1762" y="1972"/>
                    </a:lnTo>
                    <a:lnTo>
                      <a:pt x="1762" y="1972"/>
                    </a:lnTo>
                    <a:lnTo>
                      <a:pt x="1760" y="1986"/>
                    </a:lnTo>
                    <a:lnTo>
                      <a:pt x="1758" y="1996"/>
                    </a:lnTo>
                    <a:lnTo>
                      <a:pt x="1762" y="2006"/>
                    </a:lnTo>
                    <a:lnTo>
                      <a:pt x="1766" y="2012"/>
                    </a:lnTo>
                    <a:lnTo>
                      <a:pt x="1774" y="2030"/>
                    </a:lnTo>
                    <a:lnTo>
                      <a:pt x="1778" y="2042"/>
                    </a:lnTo>
                    <a:lnTo>
                      <a:pt x="1780" y="2056"/>
                    </a:lnTo>
                    <a:lnTo>
                      <a:pt x="1780" y="2056"/>
                    </a:lnTo>
                    <a:lnTo>
                      <a:pt x="1784" y="2072"/>
                    </a:lnTo>
                    <a:lnTo>
                      <a:pt x="1786" y="2082"/>
                    </a:lnTo>
                    <a:lnTo>
                      <a:pt x="1792" y="2090"/>
                    </a:lnTo>
                    <a:lnTo>
                      <a:pt x="1798" y="2096"/>
                    </a:lnTo>
                    <a:lnTo>
                      <a:pt x="1808" y="2104"/>
                    </a:lnTo>
                    <a:lnTo>
                      <a:pt x="1812" y="2110"/>
                    </a:lnTo>
                    <a:lnTo>
                      <a:pt x="1814" y="2118"/>
                    </a:lnTo>
                    <a:lnTo>
                      <a:pt x="1814" y="2118"/>
                    </a:lnTo>
                    <a:lnTo>
                      <a:pt x="1816" y="2124"/>
                    </a:lnTo>
                    <a:lnTo>
                      <a:pt x="1818" y="2128"/>
                    </a:lnTo>
                    <a:lnTo>
                      <a:pt x="1824" y="2132"/>
                    </a:lnTo>
                    <a:lnTo>
                      <a:pt x="1828" y="2136"/>
                    </a:lnTo>
                    <a:lnTo>
                      <a:pt x="1832" y="2140"/>
                    </a:lnTo>
                    <a:lnTo>
                      <a:pt x="1834" y="2146"/>
                    </a:lnTo>
                    <a:lnTo>
                      <a:pt x="1836" y="2158"/>
                    </a:lnTo>
                    <a:lnTo>
                      <a:pt x="1836" y="2158"/>
                    </a:lnTo>
                    <a:lnTo>
                      <a:pt x="1838" y="2170"/>
                    </a:lnTo>
                    <a:lnTo>
                      <a:pt x="1842" y="2178"/>
                    </a:lnTo>
                    <a:lnTo>
                      <a:pt x="1846" y="2182"/>
                    </a:lnTo>
                    <a:lnTo>
                      <a:pt x="1852" y="2186"/>
                    </a:lnTo>
                    <a:lnTo>
                      <a:pt x="1856" y="2188"/>
                    </a:lnTo>
                    <a:lnTo>
                      <a:pt x="1860" y="2190"/>
                    </a:lnTo>
                    <a:lnTo>
                      <a:pt x="1862" y="2194"/>
                    </a:lnTo>
                    <a:lnTo>
                      <a:pt x="1860" y="2200"/>
                    </a:lnTo>
                    <a:lnTo>
                      <a:pt x="1860" y="2200"/>
                    </a:lnTo>
                    <a:lnTo>
                      <a:pt x="1858" y="2208"/>
                    </a:lnTo>
                    <a:lnTo>
                      <a:pt x="1858" y="2214"/>
                    </a:lnTo>
                    <a:lnTo>
                      <a:pt x="1860" y="2218"/>
                    </a:lnTo>
                    <a:lnTo>
                      <a:pt x="1862" y="2224"/>
                    </a:lnTo>
                    <a:lnTo>
                      <a:pt x="1872" y="2238"/>
                    </a:lnTo>
                    <a:lnTo>
                      <a:pt x="1890" y="2260"/>
                    </a:lnTo>
                    <a:lnTo>
                      <a:pt x="1890" y="2260"/>
                    </a:lnTo>
                    <a:lnTo>
                      <a:pt x="1900" y="2272"/>
                    </a:lnTo>
                    <a:lnTo>
                      <a:pt x="1904" y="2282"/>
                    </a:lnTo>
                    <a:lnTo>
                      <a:pt x="1908" y="2292"/>
                    </a:lnTo>
                    <a:lnTo>
                      <a:pt x="1908" y="2298"/>
                    </a:lnTo>
                    <a:lnTo>
                      <a:pt x="1910" y="2310"/>
                    </a:lnTo>
                    <a:lnTo>
                      <a:pt x="1912" y="2314"/>
                    </a:lnTo>
                    <a:lnTo>
                      <a:pt x="1916" y="2318"/>
                    </a:lnTo>
                    <a:lnTo>
                      <a:pt x="1916" y="2318"/>
                    </a:lnTo>
                    <a:lnTo>
                      <a:pt x="1920" y="2322"/>
                    </a:lnTo>
                    <a:lnTo>
                      <a:pt x="1926" y="2324"/>
                    </a:lnTo>
                    <a:lnTo>
                      <a:pt x="1940" y="2326"/>
                    </a:lnTo>
                    <a:lnTo>
                      <a:pt x="1948" y="2328"/>
                    </a:lnTo>
                    <a:lnTo>
                      <a:pt x="1958" y="2332"/>
                    </a:lnTo>
                    <a:lnTo>
                      <a:pt x="1968" y="2336"/>
                    </a:lnTo>
                    <a:lnTo>
                      <a:pt x="1978" y="2344"/>
                    </a:lnTo>
                    <a:lnTo>
                      <a:pt x="1978" y="2344"/>
                    </a:lnTo>
                    <a:lnTo>
                      <a:pt x="1986" y="2352"/>
                    </a:lnTo>
                    <a:lnTo>
                      <a:pt x="1994" y="2358"/>
                    </a:lnTo>
                    <a:lnTo>
                      <a:pt x="2006" y="2360"/>
                    </a:lnTo>
                    <a:lnTo>
                      <a:pt x="2016" y="2364"/>
                    </a:lnTo>
                    <a:lnTo>
                      <a:pt x="2022" y="2368"/>
                    </a:lnTo>
                    <a:lnTo>
                      <a:pt x="2030" y="2374"/>
                    </a:lnTo>
                    <a:lnTo>
                      <a:pt x="2030" y="2374"/>
                    </a:lnTo>
                    <a:lnTo>
                      <a:pt x="2036" y="2382"/>
                    </a:lnTo>
                    <a:lnTo>
                      <a:pt x="2040" y="2388"/>
                    </a:lnTo>
                    <a:lnTo>
                      <a:pt x="2046" y="2400"/>
                    </a:lnTo>
                    <a:lnTo>
                      <a:pt x="2048" y="2410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66" y="2454"/>
                    </a:lnTo>
                    <a:lnTo>
                      <a:pt x="2078" y="2480"/>
                    </a:lnTo>
                    <a:lnTo>
                      <a:pt x="2092" y="2520"/>
                    </a:lnTo>
                    <a:lnTo>
                      <a:pt x="2100" y="2548"/>
                    </a:lnTo>
                    <a:lnTo>
                      <a:pt x="2106" y="2560"/>
                    </a:lnTo>
                    <a:lnTo>
                      <a:pt x="2112" y="2568"/>
                    </a:lnTo>
                    <a:lnTo>
                      <a:pt x="2112" y="2568"/>
                    </a:lnTo>
                    <a:lnTo>
                      <a:pt x="2120" y="2578"/>
                    </a:lnTo>
                    <a:lnTo>
                      <a:pt x="2130" y="2586"/>
                    </a:lnTo>
                    <a:lnTo>
                      <a:pt x="2150" y="2604"/>
                    </a:lnTo>
                    <a:lnTo>
                      <a:pt x="2160" y="2614"/>
                    </a:lnTo>
                    <a:lnTo>
                      <a:pt x="2166" y="2624"/>
                    </a:lnTo>
                    <a:lnTo>
                      <a:pt x="2170" y="2636"/>
                    </a:lnTo>
                    <a:lnTo>
                      <a:pt x="2170" y="2650"/>
                    </a:lnTo>
                    <a:lnTo>
                      <a:pt x="2170" y="2650"/>
                    </a:lnTo>
                    <a:lnTo>
                      <a:pt x="2170" y="2656"/>
                    </a:lnTo>
                    <a:lnTo>
                      <a:pt x="2168" y="2662"/>
                    </a:lnTo>
                    <a:lnTo>
                      <a:pt x="2164" y="2664"/>
                    </a:lnTo>
                    <a:lnTo>
                      <a:pt x="2162" y="2668"/>
                    </a:lnTo>
                    <a:lnTo>
                      <a:pt x="2154" y="2668"/>
                    </a:lnTo>
                    <a:lnTo>
                      <a:pt x="2148" y="2668"/>
                    </a:lnTo>
                    <a:lnTo>
                      <a:pt x="2142" y="2668"/>
                    </a:lnTo>
                    <a:lnTo>
                      <a:pt x="2138" y="2668"/>
                    </a:lnTo>
                    <a:lnTo>
                      <a:pt x="2140" y="2672"/>
                    </a:lnTo>
                    <a:lnTo>
                      <a:pt x="2146" y="2682"/>
                    </a:lnTo>
                    <a:lnTo>
                      <a:pt x="2146" y="2682"/>
                    </a:lnTo>
                    <a:lnTo>
                      <a:pt x="2156" y="2692"/>
                    </a:lnTo>
                    <a:lnTo>
                      <a:pt x="2166" y="2700"/>
                    </a:lnTo>
                    <a:lnTo>
                      <a:pt x="2188" y="2716"/>
                    </a:lnTo>
                    <a:lnTo>
                      <a:pt x="2212" y="2730"/>
                    </a:lnTo>
                    <a:lnTo>
                      <a:pt x="2226" y="2738"/>
                    </a:lnTo>
                    <a:lnTo>
                      <a:pt x="2238" y="2748"/>
                    </a:lnTo>
                    <a:lnTo>
                      <a:pt x="2238" y="2748"/>
                    </a:lnTo>
                    <a:lnTo>
                      <a:pt x="2244" y="2754"/>
                    </a:lnTo>
                    <a:lnTo>
                      <a:pt x="2248" y="2758"/>
                    </a:lnTo>
                    <a:lnTo>
                      <a:pt x="2250" y="2764"/>
                    </a:lnTo>
                    <a:lnTo>
                      <a:pt x="2252" y="2770"/>
                    </a:lnTo>
                    <a:lnTo>
                      <a:pt x="2250" y="2782"/>
                    </a:lnTo>
                    <a:lnTo>
                      <a:pt x="2250" y="2794"/>
                    </a:lnTo>
                    <a:lnTo>
                      <a:pt x="2248" y="2808"/>
                    </a:lnTo>
                    <a:lnTo>
                      <a:pt x="2250" y="2814"/>
                    </a:lnTo>
                    <a:lnTo>
                      <a:pt x="2252" y="2820"/>
                    </a:lnTo>
                    <a:lnTo>
                      <a:pt x="2256" y="2828"/>
                    </a:lnTo>
                    <a:lnTo>
                      <a:pt x="2262" y="2834"/>
                    </a:lnTo>
                    <a:lnTo>
                      <a:pt x="2270" y="2842"/>
                    </a:lnTo>
                    <a:lnTo>
                      <a:pt x="2280" y="2850"/>
                    </a:lnTo>
                    <a:lnTo>
                      <a:pt x="2280" y="2850"/>
                    </a:lnTo>
                    <a:lnTo>
                      <a:pt x="2300" y="2866"/>
                    </a:lnTo>
                    <a:lnTo>
                      <a:pt x="2316" y="2882"/>
                    </a:lnTo>
                    <a:lnTo>
                      <a:pt x="2326" y="2894"/>
                    </a:lnTo>
                    <a:lnTo>
                      <a:pt x="2332" y="2906"/>
                    </a:lnTo>
                    <a:lnTo>
                      <a:pt x="2336" y="2914"/>
                    </a:lnTo>
                    <a:lnTo>
                      <a:pt x="2340" y="2918"/>
                    </a:lnTo>
                    <a:lnTo>
                      <a:pt x="2344" y="2920"/>
                    </a:lnTo>
                    <a:lnTo>
                      <a:pt x="2350" y="2916"/>
                    </a:lnTo>
                    <a:lnTo>
                      <a:pt x="2350" y="2916"/>
                    </a:lnTo>
                    <a:lnTo>
                      <a:pt x="2358" y="2910"/>
                    </a:lnTo>
                    <a:lnTo>
                      <a:pt x="2362" y="2906"/>
                    </a:lnTo>
                    <a:lnTo>
                      <a:pt x="2364" y="2900"/>
                    </a:lnTo>
                    <a:lnTo>
                      <a:pt x="2364" y="2896"/>
                    </a:lnTo>
                    <a:lnTo>
                      <a:pt x="2358" y="2884"/>
                    </a:lnTo>
                    <a:lnTo>
                      <a:pt x="2346" y="2864"/>
                    </a:lnTo>
                    <a:lnTo>
                      <a:pt x="2346" y="2864"/>
                    </a:lnTo>
                    <a:lnTo>
                      <a:pt x="2340" y="2856"/>
                    </a:lnTo>
                    <a:lnTo>
                      <a:pt x="2336" y="2850"/>
                    </a:lnTo>
                    <a:lnTo>
                      <a:pt x="2332" y="2850"/>
                    </a:lnTo>
                    <a:lnTo>
                      <a:pt x="2330" y="2850"/>
                    </a:lnTo>
                    <a:lnTo>
                      <a:pt x="2324" y="2854"/>
                    </a:lnTo>
                    <a:lnTo>
                      <a:pt x="2320" y="2854"/>
                    </a:lnTo>
                    <a:lnTo>
                      <a:pt x="2316" y="2850"/>
                    </a:lnTo>
                    <a:lnTo>
                      <a:pt x="2316" y="2850"/>
                    </a:lnTo>
                    <a:lnTo>
                      <a:pt x="2312" y="2846"/>
                    </a:lnTo>
                    <a:lnTo>
                      <a:pt x="2310" y="2842"/>
                    </a:lnTo>
                    <a:lnTo>
                      <a:pt x="2310" y="2832"/>
                    </a:lnTo>
                    <a:lnTo>
                      <a:pt x="2310" y="2826"/>
                    </a:lnTo>
                    <a:lnTo>
                      <a:pt x="2310" y="2820"/>
                    </a:lnTo>
                    <a:lnTo>
                      <a:pt x="2306" y="2810"/>
                    </a:lnTo>
                    <a:lnTo>
                      <a:pt x="2300" y="2798"/>
                    </a:lnTo>
                    <a:lnTo>
                      <a:pt x="2300" y="2798"/>
                    </a:lnTo>
                    <a:lnTo>
                      <a:pt x="2290" y="2776"/>
                    </a:lnTo>
                    <a:lnTo>
                      <a:pt x="2286" y="2762"/>
                    </a:lnTo>
                    <a:lnTo>
                      <a:pt x="2282" y="2748"/>
                    </a:lnTo>
                    <a:lnTo>
                      <a:pt x="2276" y="2730"/>
                    </a:lnTo>
                    <a:lnTo>
                      <a:pt x="2276" y="2730"/>
                    </a:lnTo>
                    <a:lnTo>
                      <a:pt x="2270" y="2718"/>
                    </a:lnTo>
                    <a:lnTo>
                      <a:pt x="2264" y="2708"/>
                    </a:lnTo>
                    <a:lnTo>
                      <a:pt x="2250" y="2690"/>
                    </a:lnTo>
                    <a:lnTo>
                      <a:pt x="2236" y="2672"/>
                    </a:lnTo>
                    <a:lnTo>
                      <a:pt x="2230" y="2662"/>
                    </a:lnTo>
                    <a:lnTo>
                      <a:pt x="2224" y="2648"/>
                    </a:lnTo>
                    <a:lnTo>
                      <a:pt x="2224" y="2648"/>
                    </a:lnTo>
                    <a:lnTo>
                      <a:pt x="2220" y="2636"/>
                    </a:lnTo>
                    <a:lnTo>
                      <a:pt x="2214" y="2624"/>
                    </a:lnTo>
                    <a:lnTo>
                      <a:pt x="2198" y="2604"/>
                    </a:lnTo>
                    <a:lnTo>
                      <a:pt x="2182" y="2584"/>
                    </a:lnTo>
                    <a:lnTo>
                      <a:pt x="2168" y="2564"/>
                    </a:lnTo>
                    <a:lnTo>
                      <a:pt x="2168" y="2564"/>
                    </a:lnTo>
                    <a:lnTo>
                      <a:pt x="2160" y="2550"/>
                    </a:lnTo>
                    <a:lnTo>
                      <a:pt x="2154" y="2534"/>
                    </a:lnTo>
                    <a:lnTo>
                      <a:pt x="2148" y="2516"/>
                    </a:lnTo>
                    <a:lnTo>
                      <a:pt x="2144" y="2498"/>
                    </a:lnTo>
                    <a:lnTo>
                      <a:pt x="2142" y="2482"/>
                    </a:lnTo>
                    <a:lnTo>
                      <a:pt x="2142" y="2470"/>
                    </a:lnTo>
                    <a:lnTo>
                      <a:pt x="2144" y="2466"/>
                    </a:lnTo>
                    <a:lnTo>
                      <a:pt x="2146" y="2464"/>
                    </a:lnTo>
                    <a:lnTo>
                      <a:pt x="2148" y="2464"/>
                    </a:lnTo>
                    <a:lnTo>
                      <a:pt x="2154" y="2466"/>
                    </a:lnTo>
                    <a:lnTo>
                      <a:pt x="2154" y="2466"/>
                    </a:lnTo>
                    <a:lnTo>
                      <a:pt x="2168" y="2474"/>
                    </a:lnTo>
                    <a:lnTo>
                      <a:pt x="2172" y="2476"/>
                    </a:lnTo>
                    <a:lnTo>
                      <a:pt x="2178" y="2474"/>
                    </a:lnTo>
                    <a:lnTo>
                      <a:pt x="2186" y="2478"/>
                    </a:lnTo>
                    <a:lnTo>
                      <a:pt x="2186" y="2478"/>
                    </a:lnTo>
                    <a:lnTo>
                      <a:pt x="2198" y="2484"/>
                    </a:lnTo>
                    <a:lnTo>
                      <a:pt x="2202" y="2488"/>
                    </a:lnTo>
                    <a:lnTo>
                      <a:pt x="2206" y="2492"/>
                    </a:lnTo>
                    <a:lnTo>
                      <a:pt x="2214" y="2508"/>
                    </a:lnTo>
                    <a:lnTo>
                      <a:pt x="2222" y="2536"/>
                    </a:lnTo>
                    <a:lnTo>
                      <a:pt x="2222" y="2536"/>
                    </a:lnTo>
                    <a:lnTo>
                      <a:pt x="2228" y="2556"/>
                    </a:lnTo>
                    <a:lnTo>
                      <a:pt x="2236" y="2574"/>
                    </a:lnTo>
                    <a:lnTo>
                      <a:pt x="2244" y="2594"/>
                    </a:lnTo>
                    <a:lnTo>
                      <a:pt x="2254" y="2612"/>
                    </a:lnTo>
                    <a:lnTo>
                      <a:pt x="2264" y="2628"/>
                    </a:lnTo>
                    <a:lnTo>
                      <a:pt x="2276" y="2642"/>
                    </a:lnTo>
                    <a:lnTo>
                      <a:pt x="2288" y="2654"/>
                    </a:lnTo>
                    <a:lnTo>
                      <a:pt x="2300" y="2664"/>
                    </a:lnTo>
                    <a:lnTo>
                      <a:pt x="2300" y="2664"/>
                    </a:lnTo>
                    <a:lnTo>
                      <a:pt x="2308" y="2672"/>
                    </a:lnTo>
                    <a:lnTo>
                      <a:pt x="2314" y="2678"/>
                    </a:lnTo>
                    <a:lnTo>
                      <a:pt x="2320" y="2694"/>
                    </a:lnTo>
                    <a:lnTo>
                      <a:pt x="2324" y="2700"/>
                    </a:lnTo>
                    <a:lnTo>
                      <a:pt x="2328" y="2706"/>
                    </a:lnTo>
                    <a:lnTo>
                      <a:pt x="2338" y="2714"/>
                    </a:lnTo>
                    <a:lnTo>
                      <a:pt x="2352" y="2722"/>
                    </a:lnTo>
                    <a:lnTo>
                      <a:pt x="2352" y="2722"/>
                    </a:lnTo>
                    <a:lnTo>
                      <a:pt x="2360" y="2724"/>
                    </a:lnTo>
                    <a:lnTo>
                      <a:pt x="2364" y="2728"/>
                    </a:lnTo>
                    <a:lnTo>
                      <a:pt x="2368" y="2732"/>
                    </a:lnTo>
                    <a:lnTo>
                      <a:pt x="2370" y="2736"/>
                    </a:lnTo>
                    <a:lnTo>
                      <a:pt x="2368" y="2746"/>
                    </a:lnTo>
                    <a:lnTo>
                      <a:pt x="2366" y="2754"/>
                    </a:lnTo>
                    <a:lnTo>
                      <a:pt x="2364" y="2764"/>
                    </a:lnTo>
                    <a:lnTo>
                      <a:pt x="2362" y="2772"/>
                    </a:lnTo>
                    <a:lnTo>
                      <a:pt x="2364" y="2776"/>
                    </a:lnTo>
                    <a:lnTo>
                      <a:pt x="2368" y="2782"/>
                    </a:lnTo>
                    <a:lnTo>
                      <a:pt x="2372" y="2786"/>
                    </a:lnTo>
                    <a:lnTo>
                      <a:pt x="2380" y="2790"/>
                    </a:lnTo>
                    <a:lnTo>
                      <a:pt x="2380" y="2790"/>
                    </a:lnTo>
                    <a:lnTo>
                      <a:pt x="2394" y="2798"/>
                    </a:lnTo>
                    <a:lnTo>
                      <a:pt x="2402" y="2804"/>
                    </a:lnTo>
                    <a:lnTo>
                      <a:pt x="2408" y="2810"/>
                    </a:lnTo>
                    <a:lnTo>
                      <a:pt x="2410" y="2816"/>
                    </a:lnTo>
                    <a:lnTo>
                      <a:pt x="2422" y="2834"/>
                    </a:lnTo>
                    <a:lnTo>
                      <a:pt x="2432" y="2848"/>
                    </a:lnTo>
                    <a:lnTo>
                      <a:pt x="2450" y="2864"/>
                    </a:lnTo>
                    <a:lnTo>
                      <a:pt x="2450" y="2864"/>
                    </a:lnTo>
                    <a:lnTo>
                      <a:pt x="2476" y="2890"/>
                    </a:lnTo>
                    <a:lnTo>
                      <a:pt x="2494" y="2912"/>
                    </a:lnTo>
                    <a:lnTo>
                      <a:pt x="2504" y="2928"/>
                    </a:lnTo>
                    <a:lnTo>
                      <a:pt x="2512" y="2942"/>
                    </a:lnTo>
                    <a:lnTo>
                      <a:pt x="2516" y="2954"/>
                    </a:lnTo>
                    <a:lnTo>
                      <a:pt x="2518" y="2964"/>
                    </a:lnTo>
                    <a:lnTo>
                      <a:pt x="2522" y="2976"/>
                    </a:lnTo>
                    <a:lnTo>
                      <a:pt x="2526" y="2988"/>
                    </a:lnTo>
                    <a:lnTo>
                      <a:pt x="2526" y="2988"/>
                    </a:lnTo>
                    <a:lnTo>
                      <a:pt x="2530" y="2998"/>
                    </a:lnTo>
                    <a:lnTo>
                      <a:pt x="2530" y="3010"/>
                    </a:lnTo>
                    <a:lnTo>
                      <a:pt x="2528" y="3020"/>
                    </a:lnTo>
                    <a:lnTo>
                      <a:pt x="2524" y="3028"/>
                    </a:lnTo>
                    <a:lnTo>
                      <a:pt x="2518" y="3038"/>
                    </a:lnTo>
                    <a:lnTo>
                      <a:pt x="2516" y="3050"/>
                    </a:lnTo>
                    <a:lnTo>
                      <a:pt x="2516" y="3060"/>
                    </a:lnTo>
                    <a:lnTo>
                      <a:pt x="2520" y="3072"/>
                    </a:lnTo>
                    <a:lnTo>
                      <a:pt x="2520" y="3072"/>
                    </a:lnTo>
                    <a:lnTo>
                      <a:pt x="2528" y="3084"/>
                    </a:lnTo>
                    <a:lnTo>
                      <a:pt x="2534" y="3094"/>
                    </a:lnTo>
                    <a:lnTo>
                      <a:pt x="2550" y="3106"/>
                    </a:lnTo>
                    <a:lnTo>
                      <a:pt x="2570" y="3120"/>
                    </a:lnTo>
                    <a:lnTo>
                      <a:pt x="2580" y="3130"/>
                    </a:lnTo>
                    <a:lnTo>
                      <a:pt x="2594" y="3140"/>
                    </a:lnTo>
                    <a:lnTo>
                      <a:pt x="2594" y="3140"/>
                    </a:lnTo>
                    <a:lnTo>
                      <a:pt x="2606" y="3152"/>
                    </a:lnTo>
                    <a:lnTo>
                      <a:pt x="2618" y="3158"/>
                    </a:lnTo>
                    <a:lnTo>
                      <a:pt x="2628" y="3162"/>
                    </a:lnTo>
                    <a:lnTo>
                      <a:pt x="2638" y="3164"/>
                    </a:lnTo>
                    <a:lnTo>
                      <a:pt x="2648" y="3168"/>
                    </a:lnTo>
                    <a:lnTo>
                      <a:pt x="2658" y="3170"/>
                    </a:lnTo>
                    <a:lnTo>
                      <a:pt x="2668" y="3176"/>
                    </a:lnTo>
                    <a:lnTo>
                      <a:pt x="2680" y="3186"/>
                    </a:lnTo>
                    <a:lnTo>
                      <a:pt x="2680" y="3186"/>
                    </a:lnTo>
                    <a:lnTo>
                      <a:pt x="2694" y="3198"/>
                    </a:lnTo>
                    <a:lnTo>
                      <a:pt x="2714" y="3210"/>
                    </a:lnTo>
                    <a:lnTo>
                      <a:pt x="2736" y="3224"/>
                    </a:lnTo>
                    <a:lnTo>
                      <a:pt x="2762" y="3236"/>
                    </a:lnTo>
                    <a:lnTo>
                      <a:pt x="2814" y="3260"/>
                    </a:lnTo>
                    <a:lnTo>
                      <a:pt x="2862" y="3278"/>
                    </a:lnTo>
                    <a:lnTo>
                      <a:pt x="2862" y="3278"/>
                    </a:lnTo>
                    <a:lnTo>
                      <a:pt x="2880" y="3282"/>
                    </a:lnTo>
                    <a:lnTo>
                      <a:pt x="2894" y="3282"/>
                    </a:lnTo>
                    <a:lnTo>
                      <a:pt x="2906" y="3278"/>
                    </a:lnTo>
                    <a:lnTo>
                      <a:pt x="2916" y="3272"/>
                    </a:lnTo>
                    <a:lnTo>
                      <a:pt x="2926" y="3266"/>
                    </a:lnTo>
                    <a:lnTo>
                      <a:pt x="2938" y="3260"/>
                    </a:lnTo>
                    <a:lnTo>
                      <a:pt x="2950" y="3258"/>
                    </a:lnTo>
                    <a:lnTo>
                      <a:pt x="2968" y="3260"/>
                    </a:lnTo>
                    <a:lnTo>
                      <a:pt x="2968" y="3260"/>
                    </a:lnTo>
                    <a:lnTo>
                      <a:pt x="2984" y="3264"/>
                    </a:lnTo>
                    <a:lnTo>
                      <a:pt x="2996" y="3272"/>
                    </a:lnTo>
                    <a:lnTo>
                      <a:pt x="3006" y="3280"/>
                    </a:lnTo>
                    <a:lnTo>
                      <a:pt x="3014" y="3290"/>
                    </a:lnTo>
                    <a:lnTo>
                      <a:pt x="3032" y="3314"/>
                    </a:lnTo>
                    <a:lnTo>
                      <a:pt x="3042" y="3326"/>
                    </a:lnTo>
                    <a:lnTo>
                      <a:pt x="3054" y="3338"/>
                    </a:lnTo>
                    <a:lnTo>
                      <a:pt x="3054" y="3338"/>
                    </a:lnTo>
                    <a:lnTo>
                      <a:pt x="3072" y="3356"/>
                    </a:lnTo>
                    <a:lnTo>
                      <a:pt x="3086" y="3364"/>
                    </a:lnTo>
                    <a:lnTo>
                      <a:pt x="3094" y="3368"/>
                    </a:lnTo>
                    <a:lnTo>
                      <a:pt x="3104" y="3368"/>
                    </a:lnTo>
                    <a:lnTo>
                      <a:pt x="3104" y="3368"/>
                    </a:lnTo>
                    <a:lnTo>
                      <a:pt x="3116" y="3368"/>
                    </a:lnTo>
                    <a:lnTo>
                      <a:pt x="3124" y="3370"/>
                    </a:lnTo>
                    <a:lnTo>
                      <a:pt x="3140" y="3376"/>
                    </a:lnTo>
                    <a:lnTo>
                      <a:pt x="3140" y="3376"/>
                    </a:lnTo>
                    <a:lnTo>
                      <a:pt x="3146" y="3382"/>
                    </a:lnTo>
                    <a:lnTo>
                      <a:pt x="3150" y="3386"/>
                    </a:lnTo>
                    <a:lnTo>
                      <a:pt x="3152" y="3388"/>
                    </a:lnTo>
                    <a:lnTo>
                      <a:pt x="3160" y="3390"/>
                    </a:lnTo>
                    <a:lnTo>
                      <a:pt x="3160" y="3390"/>
                    </a:lnTo>
                    <a:lnTo>
                      <a:pt x="3174" y="3392"/>
                    </a:lnTo>
                    <a:lnTo>
                      <a:pt x="3186" y="3398"/>
                    </a:lnTo>
                    <a:lnTo>
                      <a:pt x="3196" y="3404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4"/>
                    </a:lnTo>
                    <a:lnTo>
                      <a:pt x="3202" y="3402"/>
                    </a:lnTo>
                    <a:lnTo>
                      <a:pt x="3202" y="3400"/>
                    </a:lnTo>
                    <a:lnTo>
                      <a:pt x="3210" y="3404"/>
                    </a:lnTo>
                    <a:lnTo>
                      <a:pt x="3210" y="3404"/>
                    </a:lnTo>
                    <a:lnTo>
                      <a:pt x="3212" y="3406"/>
                    </a:lnTo>
                    <a:lnTo>
                      <a:pt x="3218" y="3406"/>
                    </a:lnTo>
                    <a:lnTo>
                      <a:pt x="3226" y="3406"/>
                    </a:lnTo>
                    <a:lnTo>
                      <a:pt x="3234" y="3404"/>
                    </a:lnTo>
                    <a:lnTo>
                      <a:pt x="3236" y="3402"/>
                    </a:lnTo>
                    <a:lnTo>
                      <a:pt x="3234" y="3400"/>
                    </a:lnTo>
                    <a:lnTo>
                      <a:pt x="3234" y="3400"/>
                    </a:lnTo>
                    <a:lnTo>
                      <a:pt x="3230" y="3398"/>
                    </a:lnTo>
                    <a:lnTo>
                      <a:pt x="3230" y="3396"/>
                    </a:lnTo>
                    <a:lnTo>
                      <a:pt x="3230" y="3394"/>
                    </a:lnTo>
                    <a:lnTo>
                      <a:pt x="3232" y="3394"/>
                    </a:lnTo>
                    <a:lnTo>
                      <a:pt x="3232" y="3394"/>
                    </a:lnTo>
                    <a:lnTo>
                      <a:pt x="3236" y="3396"/>
                    </a:lnTo>
                    <a:lnTo>
                      <a:pt x="3238" y="3396"/>
                    </a:lnTo>
                    <a:lnTo>
                      <a:pt x="3240" y="3392"/>
                    </a:lnTo>
                    <a:lnTo>
                      <a:pt x="3240" y="3392"/>
                    </a:lnTo>
                    <a:lnTo>
                      <a:pt x="3242" y="3398"/>
                    </a:lnTo>
                    <a:lnTo>
                      <a:pt x="3242" y="3398"/>
                    </a:lnTo>
                    <a:lnTo>
                      <a:pt x="3248" y="3406"/>
                    </a:lnTo>
                    <a:lnTo>
                      <a:pt x="3252" y="3410"/>
                    </a:lnTo>
                    <a:lnTo>
                      <a:pt x="3254" y="3412"/>
                    </a:lnTo>
                    <a:lnTo>
                      <a:pt x="3252" y="3416"/>
                    </a:lnTo>
                    <a:lnTo>
                      <a:pt x="3252" y="3416"/>
                    </a:lnTo>
                    <a:lnTo>
                      <a:pt x="3250" y="3418"/>
                    </a:lnTo>
                    <a:lnTo>
                      <a:pt x="3250" y="3418"/>
                    </a:lnTo>
                    <a:lnTo>
                      <a:pt x="3246" y="3416"/>
                    </a:lnTo>
                    <a:lnTo>
                      <a:pt x="3244" y="3412"/>
                    </a:lnTo>
                    <a:lnTo>
                      <a:pt x="3242" y="3412"/>
                    </a:lnTo>
                    <a:lnTo>
                      <a:pt x="3240" y="3414"/>
                    </a:lnTo>
                    <a:lnTo>
                      <a:pt x="3240" y="3414"/>
                    </a:lnTo>
                    <a:lnTo>
                      <a:pt x="3238" y="3418"/>
                    </a:lnTo>
                    <a:lnTo>
                      <a:pt x="3242" y="3422"/>
                    </a:lnTo>
                    <a:lnTo>
                      <a:pt x="3246" y="3426"/>
                    </a:lnTo>
                    <a:lnTo>
                      <a:pt x="3252" y="3434"/>
                    </a:lnTo>
                    <a:lnTo>
                      <a:pt x="3252" y="3434"/>
                    </a:lnTo>
                    <a:lnTo>
                      <a:pt x="3258" y="3442"/>
                    </a:lnTo>
                    <a:lnTo>
                      <a:pt x="3266" y="3448"/>
                    </a:lnTo>
                    <a:lnTo>
                      <a:pt x="3274" y="3454"/>
                    </a:lnTo>
                    <a:lnTo>
                      <a:pt x="3278" y="3460"/>
                    </a:lnTo>
                    <a:lnTo>
                      <a:pt x="3282" y="3466"/>
                    </a:lnTo>
                    <a:lnTo>
                      <a:pt x="3282" y="3466"/>
                    </a:lnTo>
                    <a:lnTo>
                      <a:pt x="3288" y="3478"/>
                    </a:lnTo>
                    <a:lnTo>
                      <a:pt x="3294" y="3486"/>
                    </a:lnTo>
                    <a:lnTo>
                      <a:pt x="3304" y="3494"/>
                    </a:lnTo>
                    <a:lnTo>
                      <a:pt x="3316" y="3506"/>
                    </a:lnTo>
                    <a:lnTo>
                      <a:pt x="3316" y="3506"/>
                    </a:lnTo>
                    <a:lnTo>
                      <a:pt x="3318" y="3510"/>
                    </a:lnTo>
                    <a:lnTo>
                      <a:pt x="3318" y="3512"/>
                    </a:lnTo>
                    <a:lnTo>
                      <a:pt x="3314" y="3514"/>
                    </a:lnTo>
                    <a:lnTo>
                      <a:pt x="3310" y="3518"/>
                    </a:lnTo>
                    <a:lnTo>
                      <a:pt x="3310" y="3518"/>
                    </a:lnTo>
                    <a:lnTo>
                      <a:pt x="3310" y="3520"/>
                    </a:lnTo>
                    <a:lnTo>
                      <a:pt x="3310" y="3520"/>
                    </a:lnTo>
                    <a:lnTo>
                      <a:pt x="3316" y="3522"/>
                    </a:lnTo>
                    <a:lnTo>
                      <a:pt x="3318" y="3522"/>
                    </a:lnTo>
                    <a:lnTo>
                      <a:pt x="3318" y="3522"/>
                    </a:lnTo>
                    <a:lnTo>
                      <a:pt x="3318" y="3528"/>
                    </a:lnTo>
                    <a:lnTo>
                      <a:pt x="3318" y="3528"/>
                    </a:lnTo>
                    <a:lnTo>
                      <a:pt x="3318" y="3534"/>
                    </a:lnTo>
                    <a:lnTo>
                      <a:pt x="3316" y="3534"/>
                    </a:lnTo>
                    <a:lnTo>
                      <a:pt x="3314" y="3536"/>
                    </a:lnTo>
                    <a:lnTo>
                      <a:pt x="3312" y="3540"/>
                    </a:lnTo>
                    <a:lnTo>
                      <a:pt x="3312" y="3540"/>
                    </a:lnTo>
                    <a:lnTo>
                      <a:pt x="3312" y="3550"/>
                    </a:lnTo>
                    <a:lnTo>
                      <a:pt x="3314" y="3558"/>
                    </a:lnTo>
                    <a:lnTo>
                      <a:pt x="3318" y="3564"/>
                    </a:lnTo>
                    <a:lnTo>
                      <a:pt x="3322" y="3566"/>
                    </a:lnTo>
                    <a:lnTo>
                      <a:pt x="3322" y="3566"/>
                    </a:lnTo>
                    <a:lnTo>
                      <a:pt x="3330" y="3570"/>
                    </a:lnTo>
                    <a:lnTo>
                      <a:pt x="3334" y="3574"/>
                    </a:lnTo>
                    <a:lnTo>
                      <a:pt x="3338" y="3578"/>
                    </a:lnTo>
                    <a:lnTo>
                      <a:pt x="3338" y="3578"/>
                    </a:lnTo>
                    <a:lnTo>
                      <a:pt x="3340" y="3582"/>
                    </a:lnTo>
                    <a:lnTo>
                      <a:pt x="3342" y="3580"/>
                    </a:lnTo>
                    <a:lnTo>
                      <a:pt x="3348" y="3574"/>
                    </a:lnTo>
                    <a:lnTo>
                      <a:pt x="3348" y="3574"/>
                    </a:lnTo>
                    <a:lnTo>
                      <a:pt x="3350" y="3572"/>
                    </a:lnTo>
                    <a:lnTo>
                      <a:pt x="3350" y="3570"/>
                    </a:lnTo>
                    <a:lnTo>
                      <a:pt x="3348" y="3566"/>
                    </a:lnTo>
                    <a:lnTo>
                      <a:pt x="3338" y="3558"/>
                    </a:lnTo>
                    <a:lnTo>
                      <a:pt x="3338" y="3558"/>
                    </a:lnTo>
                    <a:lnTo>
                      <a:pt x="3336" y="3554"/>
                    </a:lnTo>
                    <a:lnTo>
                      <a:pt x="3336" y="3552"/>
                    </a:lnTo>
                    <a:lnTo>
                      <a:pt x="3336" y="3550"/>
                    </a:lnTo>
                    <a:lnTo>
                      <a:pt x="3338" y="3552"/>
                    </a:lnTo>
                    <a:lnTo>
                      <a:pt x="3338" y="3552"/>
                    </a:lnTo>
                    <a:lnTo>
                      <a:pt x="3342" y="3554"/>
                    </a:lnTo>
                    <a:lnTo>
                      <a:pt x="3348" y="3558"/>
                    </a:lnTo>
                    <a:lnTo>
                      <a:pt x="3354" y="3562"/>
                    </a:lnTo>
                    <a:lnTo>
                      <a:pt x="3358" y="3566"/>
                    </a:lnTo>
                    <a:lnTo>
                      <a:pt x="3358" y="3566"/>
                    </a:lnTo>
                    <a:lnTo>
                      <a:pt x="3358" y="3576"/>
                    </a:lnTo>
                    <a:lnTo>
                      <a:pt x="3360" y="3578"/>
                    </a:lnTo>
                    <a:lnTo>
                      <a:pt x="3362" y="3582"/>
                    </a:lnTo>
                    <a:lnTo>
                      <a:pt x="3362" y="3582"/>
                    </a:lnTo>
                    <a:lnTo>
                      <a:pt x="3366" y="3584"/>
                    </a:lnTo>
                    <a:lnTo>
                      <a:pt x="3368" y="3586"/>
                    </a:lnTo>
                    <a:lnTo>
                      <a:pt x="3374" y="3586"/>
                    </a:lnTo>
                    <a:lnTo>
                      <a:pt x="3384" y="3592"/>
                    </a:lnTo>
                    <a:lnTo>
                      <a:pt x="3384" y="3592"/>
                    </a:lnTo>
                    <a:lnTo>
                      <a:pt x="3398" y="3604"/>
                    </a:lnTo>
                    <a:lnTo>
                      <a:pt x="3402" y="3608"/>
                    </a:lnTo>
                    <a:lnTo>
                      <a:pt x="3402" y="3612"/>
                    </a:lnTo>
                    <a:lnTo>
                      <a:pt x="3402" y="3612"/>
                    </a:lnTo>
                    <a:lnTo>
                      <a:pt x="3402" y="3620"/>
                    </a:lnTo>
                    <a:lnTo>
                      <a:pt x="3400" y="3624"/>
                    </a:lnTo>
                    <a:lnTo>
                      <a:pt x="3398" y="3626"/>
                    </a:lnTo>
                    <a:lnTo>
                      <a:pt x="3398" y="3626"/>
                    </a:lnTo>
                    <a:lnTo>
                      <a:pt x="3398" y="3628"/>
                    </a:lnTo>
                    <a:lnTo>
                      <a:pt x="3396" y="3630"/>
                    </a:lnTo>
                    <a:lnTo>
                      <a:pt x="3400" y="3634"/>
                    </a:lnTo>
                    <a:lnTo>
                      <a:pt x="3404" y="3636"/>
                    </a:lnTo>
                    <a:lnTo>
                      <a:pt x="3408" y="3638"/>
                    </a:lnTo>
                    <a:lnTo>
                      <a:pt x="3408" y="3638"/>
                    </a:lnTo>
                    <a:lnTo>
                      <a:pt x="3410" y="3640"/>
                    </a:lnTo>
                    <a:lnTo>
                      <a:pt x="3414" y="3640"/>
                    </a:lnTo>
                    <a:lnTo>
                      <a:pt x="3414" y="3642"/>
                    </a:lnTo>
                    <a:lnTo>
                      <a:pt x="3416" y="3640"/>
                    </a:lnTo>
                    <a:lnTo>
                      <a:pt x="3416" y="3640"/>
                    </a:lnTo>
                    <a:lnTo>
                      <a:pt x="3416" y="3636"/>
                    </a:lnTo>
                    <a:lnTo>
                      <a:pt x="3414" y="3634"/>
                    </a:lnTo>
                    <a:lnTo>
                      <a:pt x="3410" y="3630"/>
                    </a:lnTo>
                    <a:lnTo>
                      <a:pt x="3406" y="3626"/>
                    </a:lnTo>
                    <a:lnTo>
                      <a:pt x="3408" y="3626"/>
                    </a:lnTo>
                    <a:lnTo>
                      <a:pt x="3410" y="3624"/>
                    </a:lnTo>
                    <a:lnTo>
                      <a:pt x="3410" y="3624"/>
                    </a:lnTo>
                    <a:lnTo>
                      <a:pt x="3414" y="3622"/>
                    </a:lnTo>
                    <a:lnTo>
                      <a:pt x="3414" y="3624"/>
                    </a:lnTo>
                    <a:lnTo>
                      <a:pt x="3416" y="3628"/>
                    </a:lnTo>
                    <a:lnTo>
                      <a:pt x="3418" y="3630"/>
                    </a:lnTo>
                    <a:lnTo>
                      <a:pt x="3418" y="3630"/>
                    </a:lnTo>
                    <a:lnTo>
                      <a:pt x="3420" y="3630"/>
                    </a:lnTo>
                    <a:lnTo>
                      <a:pt x="3422" y="3632"/>
                    </a:lnTo>
                    <a:lnTo>
                      <a:pt x="3422" y="3636"/>
                    </a:lnTo>
                    <a:lnTo>
                      <a:pt x="3422" y="3642"/>
                    </a:lnTo>
                    <a:lnTo>
                      <a:pt x="3422" y="3646"/>
                    </a:lnTo>
                    <a:lnTo>
                      <a:pt x="3422" y="3646"/>
                    </a:lnTo>
                    <a:lnTo>
                      <a:pt x="3428" y="3654"/>
                    </a:lnTo>
                    <a:lnTo>
                      <a:pt x="3430" y="3656"/>
                    </a:lnTo>
                    <a:lnTo>
                      <a:pt x="3432" y="3656"/>
                    </a:lnTo>
                    <a:lnTo>
                      <a:pt x="3432" y="3656"/>
                    </a:lnTo>
                    <a:lnTo>
                      <a:pt x="3434" y="3648"/>
                    </a:lnTo>
                    <a:lnTo>
                      <a:pt x="3436" y="3646"/>
                    </a:lnTo>
                    <a:lnTo>
                      <a:pt x="3440" y="3644"/>
                    </a:lnTo>
                    <a:lnTo>
                      <a:pt x="3440" y="3644"/>
                    </a:lnTo>
                    <a:lnTo>
                      <a:pt x="3452" y="3646"/>
                    </a:lnTo>
                    <a:lnTo>
                      <a:pt x="3464" y="3650"/>
                    </a:lnTo>
                    <a:lnTo>
                      <a:pt x="3472" y="3652"/>
                    </a:lnTo>
                    <a:lnTo>
                      <a:pt x="3476" y="3654"/>
                    </a:lnTo>
                    <a:lnTo>
                      <a:pt x="3476" y="3654"/>
                    </a:lnTo>
                    <a:lnTo>
                      <a:pt x="3478" y="3652"/>
                    </a:lnTo>
                    <a:lnTo>
                      <a:pt x="3480" y="3654"/>
                    </a:lnTo>
                    <a:lnTo>
                      <a:pt x="3482" y="3662"/>
                    </a:lnTo>
                    <a:lnTo>
                      <a:pt x="3482" y="3662"/>
                    </a:lnTo>
                    <a:lnTo>
                      <a:pt x="3484" y="3666"/>
                    </a:lnTo>
                    <a:lnTo>
                      <a:pt x="3484" y="3670"/>
                    </a:lnTo>
                    <a:lnTo>
                      <a:pt x="3486" y="3672"/>
                    </a:lnTo>
                    <a:lnTo>
                      <a:pt x="3490" y="3676"/>
                    </a:lnTo>
                    <a:lnTo>
                      <a:pt x="3490" y="3676"/>
                    </a:lnTo>
                    <a:lnTo>
                      <a:pt x="3496" y="3678"/>
                    </a:lnTo>
                    <a:lnTo>
                      <a:pt x="3498" y="3678"/>
                    </a:lnTo>
                    <a:lnTo>
                      <a:pt x="3498" y="3674"/>
                    </a:lnTo>
                    <a:lnTo>
                      <a:pt x="3498" y="3674"/>
                    </a:lnTo>
                    <a:lnTo>
                      <a:pt x="3500" y="3668"/>
                    </a:lnTo>
                    <a:lnTo>
                      <a:pt x="3502" y="3666"/>
                    </a:lnTo>
                    <a:lnTo>
                      <a:pt x="3504" y="3666"/>
                    </a:lnTo>
                    <a:lnTo>
                      <a:pt x="3504" y="3668"/>
                    </a:lnTo>
                    <a:lnTo>
                      <a:pt x="3504" y="3668"/>
                    </a:lnTo>
                    <a:lnTo>
                      <a:pt x="3504" y="3672"/>
                    </a:lnTo>
                    <a:lnTo>
                      <a:pt x="3508" y="3680"/>
                    </a:lnTo>
                    <a:lnTo>
                      <a:pt x="3510" y="3686"/>
                    </a:lnTo>
                    <a:lnTo>
                      <a:pt x="3510" y="3694"/>
                    </a:lnTo>
                    <a:lnTo>
                      <a:pt x="3510" y="3694"/>
                    </a:lnTo>
                    <a:lnTo>
                      <a:pt x="3510" y="3696"/>
                    </a:lnTo>
                    <a:lnTo>
                      <a:pt x="3510" y="3698"/>
                    </a:lnTo>
                    <a:lnTo>
                      <a:pt x="3516" y="3698"/>
                    </a:lnTo>
                    <a:lnTo>
                      <a:pt x="3528" y="3696"/>
                    </a:lnTo>
                    <a:lnTo>
                      <a:pt x="3528" y="3696"/>
                    </a:lnTo>
                    <a:lnTo>
                      <a:pt x="3530" y="3696"/>
                    </a:lnTo>
                    <a:lnTo>
                      <a:pt x="3532" y="3696"/>
                    </a:lnTo>
                    <a:lnTo>
                      <a:pt x="3532" y="3692"/>
                    </a:lnTo>
                    <a:lnTo>
                      <a:pt x="3532" y="3690"/>
                    </a:lnTo>
                    <a:lnTo>
                      <a:pt x="3538" y="3688"/>
                    </a:lnTo>
                    <a:lnTo>
                      <a:pt x="3538" y="3688"/>
                    </a:lnTo>
                    <a:lnTo>
                      <a:pt x="3544" y="3688"/>
                    </a:lnTo>
                    <a:lnTo>
                      <a:pt x="3546" y="3686"/>
                    </a:lnTo>
                    <a:lnTo>
                      <a:pt x="3548" y="3684"/>
                    </a:lnTo>
                    <a:lnTo>
                      <a:pt x="3546" y="3680"/>
                    </a:lnTo>
                    <a:lnTo>
                      <a:pt x="3542" y="3672"/>
                    </a:lnTo>
                    <a:lnTo>
                      <a:pt x="3542" y="3672"/>
                    </a:lnTo>
                    <a:lnTo>
                      <a:pt x="3536" y="3664"/>
                    </a:lnTo>
                    <a:lnTo>
                      <a:pt x="3534" y="3660"/>
                    </a:lnTo>
                    <a:lnTo>
                      <a:pt x="3534" y="3658"/>
                    </a:lnTo>
                    <a:lnTo>
                      <a:pt x="3532" y="3658"/>
                    </a:lnTo>
                    <a:lnTo>
                      <a:pt x="3532" y="3658"/>
                    </a:lnTo>
                    <a:lnTo>
                      <a:pt x="3530" y="3658"/>
                    </a:lnTo>
                    <a:lnTo>
                      <a:pt x="3528" y="3656"/>
                    </a:lnTo>
                    <a:lnTo>
                      <a:pt x="3526" y="3652"/>
                    </a:lnTo>
                    <a:lnTo>
                      <a:pt x="3528" y="3648"/>
                    </a:lnTo>
                    <a:lnTo>
                      <a:pt x="3530" y="3646"/>
                    </a:lnTo>
                    <a:lnTo>
                      <a:pt x="3532" y="3646"/>
                    </a:lnTo>
                    <a:lnTo>
                      <a:pt x="3532" y="3646"/>
                    </a:lnTo>
                    <a:lnTo>
                      <a:pt x="3538" y="3644"/>
                    </a:lnTo>
                    <a:lnTo>
                      <a:pt x="3544" y="3642"/>
                    </a:lnTo>
                    <a:lnTo>
                      <a:pt x="3550" y="3636"/>
                    </a:lnTo>
                    <a:lnTo>
                      <a:pt x="3556" y="3628"/>
                    </a:lnTo>
                    <a:lnTo>
                      <a:pt x="3556" y="3628"/>
                    </a:lnTo>
                    <a:lnTo>
                      <a:pt x="3558" y="3624"/>
                    </a:lnTo>
                    <a:lnTo>
                      <a:pt x="3558" y="3622"/>
                    </a:lnTo>
                    <a:lnTo>
                      <a:pt x="3558" y="3618"/>
                    </a:lnTo>
                    <a:lnTo>
                      <a:pt x="3562" y="3616"/>
                    </a:lnTo>
                    <a:lnTo>
                      <a:pt x="3562" y="3616"/>
                    </a:lnTo>
                    <a:lnTo>
                      <a:pt x="3566" y="3614"/>
                    </a:lnTo>
                    <a:lnTo>
                      <a:pt x="3568" y="3612"/>
                    </a:lnTo>
                    <a:lnTo>
                      <a:pt x="3570" y="3610"/>
                    </a:lnTo>
                    <a:lnTo>
                      <a:pt x="3576" y="3610"/>
                    </a:lnTo>
                    <a:lnTo>
                      <a:pt x="3576" y="3610"/>
                    </a:lnTo>
                    <a:lnTo>
                      <a:pt x="3586" y="3612"/>
                    </a:lnTo>
                    <a:lnTo>
                      <a:pt x="3598" y="3620"/>
                    </a:lnTo>
                    <a:lnTo>
                      <a:pt x="3606" y="3626"/>
                    </a:lnTo>
                    <a:lnTo>
                      <a:pt x="3608" y="3630"/>
                    </a:lnTo>
                    <a:lnTo>
                      <a:pt x="3608" y="3632"/>
                    </a:lnTo>
                    <a:lnTo>
                      <a:pt x="3608" y="3632"/>
                    </a:lnTo>
                    <a:lnTo>
                      <a:pt x="3606" y="3636"/>
                    </a:lnTo>
                    <a:lnTo>
                      <a:pt x="3608" y="3638"/>
                    </a:lnTo>
                    <a:lnTo>
                      <a:pt x="3610" y="3640"/>
                    </a:lnTo>
                    <a:lnTo>
                      <a:pt x="3612" y="3640"/>
                    </a:lnTo>
                    <a:lnTo>
                      <a:pt x="3612" y="3640"/>
                    </a:lnTo>
                    <a:lnTo>
                      <a:pt x="3616" y="3638"/>
                    </a:lnTo>
                    <a:lnTo>
                      <a:pt x="3616" y="3638"/>
                    </a:lnTo>
                    <a:lnTo>
                      <a:pt x="3618" y="3638"/>
                    </a:lnTo>
                    <a:lnTo>
                      <a:pt x="3620" y="3638"/>
                    </a:lnTo>
                    <a:lnTo>
                      <a:pt x="3620" y="3638"/>
                    </a:lnTo>
                    <a:lnTo>
                      <a:pt x="3622" y="3638"/>
                    </a:lnTo>
                    <a:lnTo>
                      <a:pt x="3620" y="3640"/>
                    </a:lnTo>
                    <a:lnTo>
                      <a:pt x="3618" y="3648"/>
                    </a:lnTo>
                    <a:lnTo>
                      <a:pt x="3614" y="3658"/>
                    </a:lnTo>
                    <a:lnTo>
                      <a:pt x="3612" y="3662"/>
                    </a:lnTo>
                    <a:lnTo>
                      <a:pt x="3614" y="3666"/>
                    </a:lnTo>
                    <a:lnTo>
                      <a:pt x="3614" y="3666"/>
                    </a:lnTo>
                    <a:lnTo>
                      <a:pt x="3622" y="3682"/>
                    </a:lnTo>
                    <a:lnTo>
                      <a:pt x="3626" y="3690"/>
                    </a:lnTo>
                    <a:lnTo>
                      <a:pt x="3632" y="3696"/>
                    </a:lnTo>
                    <a:lnTo>
                      <a:pt x="3632" y="3696"/>
                    </a:lnTo>
                    <a:lnTo>
                      <a:pt x="3636" y="3700"/>
                    </a:lnTo>
                    <a:lnTo>
                      <a:pt x="3638" y="3702"/>
                    </a:lnTo>
                    <a:lnTo>
                      <a:pt x="3640" y="3704"/>
                    </a:lnTo>
                    <a:lnTo>
                      <a:pt x="3640" y="3708"/>
                    </a:lnTo>
                    <a:lnTo>
                      <a:pt x="3672" y="3654"/>
                    </a:lnTo>
                    <a:lnTo>
                      <a:pt x="3672" y="3654"/>
                    </a:lnTo>
                    <a:lnTo>
                      <a:pt x="3654" y="3626"/>
                    </a:lnTo>
                    <a:lnTo>
                      <a:pt x="3654" y="3626"/>
                    </a:lnTo>
                    <a:close/>
                    <a:moveTo>
                      <a:pt x="3590" y="1870"/>
                    </a:moveTo>
                    <a:lnTo>
                      <a:pt x="3590" y="1870"/>
                    </a:lnTo>
                    <a:lnTo>
                      <a:pt x="3570" y="1886"/>
                    </a:lnTo>
                    <a:lnTo>
                      <a:pt x="3558" y="1894"/>
                    </a:lnTo>
                    <a:lnTo>
                      <a:pt x="3546" y="1900"/>
                    </a:lnTo>
                    <a:lnTo>
                      <a:pt x="3546" y="1900"/>
                    </a:lnTo>
                    <a:lnTo>
                      <a:pt x="3536" y="1904"/>
                    </a:lnTo>
                    <a:lnTo>
                      <a:pt x="3524" y="1910"/>
                    </a:lnTo>
                    <a:lnTo>
                      <a:pt x="3508" y="1920"/>
                    </a:lnTo>
                    <a:lnTo>
                      <a:pt x="3488" y="1932"/>
                    </a:lnTo>
                    <a:lnTo>
                      <a:pt x="3488" y="1932"/>
                    </a:lnTo>
                    <a:lnTo>
                      <a:pt x="3466" y="1938"/>
                    </a:lnTo>
                    <a:lnTo>
                      <a:pt x="3448" y="1942"/>
                    </a:lnTo>
                    <a:lnTo>
                      <a:pt x="3434" y="1942"/>
                    </a:lnTo>
                    <a:lnTo>
                      <a:pt x="3426" y="1940"/>
                    </a:lnTo>
                    <a:lnTo>
                      <a:pt x="3426" y="1940"/>
                    </a:lnTo>
                    <a:lnTo>
                      <a:pt x="3424" y="1938"/>
                    </a:lnTo>
                    <a:lnTo>
                      <a:pt x="3424" y="1938"/>
                    </a:lnTo>
                    <a:lnTo>
                      <a:pt x="3430" y="1936"/>
                    </a:lnTo>
                    <a:lnTo>
                      <a:pt x="3434" y="1936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26" y="1932"/>
                    </a:lnTo>
                    <a:lnTo>
                      <a:pt x="3418" y="1930"/>
                    </a:lnTo>
                    <a:lnTo>
                      <a:pt x="3410" y="1930"/>
                    </a:lnTo>
                    <a:lnTo>
                      <a:pt x="3408" y="1928"/>
                    </a:lnTo>
                    <a:lnTo>
                      <a:pt x="3406" y="1926"/>
                    </a:lnTo>
                    <a:lnTo>
                      <a:pt x="3406" y="1926"/>
                    </a:lnTo>
                    <a:lnTo>
                      <a:pt x="3408" y="1922"/>
                    </a:lnTo>
                    <a:lnTo>
                      <a:pt x="3410" y="1916"/>
                    </a:lnTo>
                    <a:lnTo>
                      <a:pt x="3414" y="1910"/>
                    </a:lnTo>
                    <a:lnTo>
                      <a:pt x="3416" y="1900"/>
                    </a:lnTo>
                    <a:lnTo>
                      <a:pt x="3416" y="1900"/>
                    </a:lnTo>
                    <a:lnTo>
                      <a:pt x="3420" y="1892"/>
                    </a:lnTo>
                    <a:lnTo>
                      <a:pt x="3422" y="1890"/>
                    </a:lnTo>
                    <a:lnTo>
                      <a:pt x="3426" y="1886"/>
                    </a:lnTo>
                    <a:lnTo>
                      <a:pt x="3430" y="1880"/>
                    </a:lnTo>
                    <a:lnTo>
                      <a:pt x="3430" y="1880"/>
                    </a:lnTo>
                    <a:lnTo>
                      <a:pt x="3434" y="1872"/>
                    </a:lnTo>
                    <a:lnTo>
                      <a:pt x="3436" y="1870"/>
                    </a:lnTo>
                    <a:lnTo>
                      <a:pt x="3438" y="1872"/>
                    </a:lnTo>
                    <a:lnTo>
                      <a:pt x="3440" y="1880"/>
                    </a:lnTo>
                    <a:lnTo>
                      <a:pt x="3440" y="1880"/>
                    </a:lnTo>
                    <a:lnTo>
                      <a:pt x="3446" y="1882"/>
                    </a:lnTo>
                    <a:lnTo>
                      <a:pt x="3448" y="1884"/>
                    </a:lnTo>
                    <a:lnTo>
                      <a:pt x="3450" y="1886"/>
                    </a:lnTo>
                    <a:lnTo>
                      <a:pt x="3448" y="1888"/>
                    </a:lnTo>
                    <a:lnTo>
                      <a:pt x="3442" y="1892"/>
                    </a:lnTo>
                    <a:lnTo>
                      <a:pt x="3432" y="1894"/>
                    </a:lnTo>
                    <a:lnTo>
                      <a:pt x="3432" y="1894"/>
                    </a:lnTo>
                    <a:lnTo>
                      <a:pt x="3426" y="1894"/>
                    </a:lnTo>
                    <a:lnTo>
                      <a:pt x="3424" y="1896"/>
                    </a:lnTo>
                    <a:lnTo>
                      <a:pt x="3422" y="1898"/>
                    </a:lnTo>
                    <a:lnTo>
                      <a:pt x="3422" y="1902"/>
                    </a:lnTo>
                    <a:lnTo>
                      <a:pt x="3422" y="1904"/>
                    </a:lnTo>
                    <a:lnTo>
                      <a:pt x="3424" y="1906"/>
                    </a:lnTo>
                    <a:lnTo>
                      <a:pt x="3428" y="1908"/>
                    </a:lnTo>
                    <a:lnTo>
                      <a:pt x="3432" y="1908"/>
                    </a:lnTo>
                    <a:lnTo>
                      <a:pt x="3432" y="1908"/>
                    </a:lnTo>
                    <a:lnTo>
                      <a:pt x="3438" y="1908"/>
                    </a:lnTo>
                    <a:lnTo>
                      <a:pt x="3442" y="1910"/>
                    </a:lnTo>
                    <a:lnTo>
                      <a:pt x="3444" y="1912"/>
                    </a:lnTo>
                    <a:lnTo>
                      <a:pt x="3446" y="1910"/>
                    </a:lnTo>
                    <a:lnTo>
                      <a:pt x="3446" y="1910"/>
                    </a:lnTo>
                    <a:lnTo>
                      <a:pt x="3450" y="1904"/>
                    </a:lnTo>
                    <a:lnTo>
                      <a:pt x="3456" y="1900"/>
                    </a:lnTo>
                    <a:lnTo>
                      <a:pt x="3466" y="1896"/>
                    </a:lnTo>
                    <a:lnTo>
                      <a:pt x="3466" y="1896"/>
                    </a:lnTo>
                    <a:lnTo>
                      <a:pt x="3470" y="1892"/>
                    </a:lnTo>
                    <a:lnTo>
                      <a:pt x="3474" y="1888"/>
                    </a:lnTo>
                    <a:lnTo>
                      <a:pt x="3482" y="1880"/>
                    </a:lnTo>
                    <a:lnTo>
                      <a:pt x="3488" y="1876"/>
                    </a:lnTo>
                    <a:lnTo>
                      <a:pt x="3496" y="1874"/>
                    </a:lnTo>
                    <a:lnTo>
                      <a:pt x="3504" y="1874"/>
                    </a:lnTo>
                    <a:lnTo>
                      <a:pt x="3518" y="1876"/>
                    </a:lnTo>
                    <a:lnTo>
                      <a:pt x="3518" y="1876"/>
                    </a:lnTo>
                    <a:lnTo>
                      <a:pt x="3534" y="1880"/>
                    </a:lnTo>
                    <a:lnTo>
                      <a:pt x="3538" y="1880"/>
                    </a:lnTo>
                    <a:lnTo>
                      <a:pt x="3536" y="1878"/>
                    </a:lnTo>
                    <a:lnTo>
                      <a:pt x="3532" y="1876"/>
                    </a:lnTo>
                    <a:lnTo>
                      <a:pt x="3532" y="1872"/>
                    </a:lnTo>
                    <a:lnTo>
                      <a:pt x="3532" y="1870"/>
                    </a:lnTo>
                    <a:lnTo>
                      <a:pt x="3532" y="1870"/>
                    </a:lnTo>
                    <a:lnTo>
                      <a:pt x="3536" y="1866"/>
                    </a:lnTo>
                    <a:lnTo>
                      <a:pt x="3540" y="1864"/>
                    </a:lnTo>
                    <a:lnTo>
                      <a:pt x="3560" y="1862"/>
                    </a:lnTo>
                    <a:lnTo>
                      <a:pt x="3560" y="1862"/>
                    </a:lnTo>
                    <a:lnTo>
                      <a:pt x="3580" y="1860"/>
                    </a:lnTo>
                    <a:lnTo>
                      <a:pt x="3584" y="1860"/>
                    </a:lnTo>
                    <a:lnTo>
                      <a:pt x="3586" y="1858"/>
                    </a:lnTo>
                    <a:lnTo>
                      <a:pt x="3586" y="1858"/>
                    </a:lnTo>
                    <a:lnTo>
                      <a:pt x="3586" y="1854"/>
                    </a:lnTo>
                    <a:lnTo>
                      <a:pt x="3586" y="1852"/>
                    </a:lnTo>
                    <a:lnTo>
                      <a:pt x="3588" y="1850"/>
                    </a:lnTo>
                    <a:lnTo>
                      <a:pt x="3588" y="1850"/>
                    </a:lnTo>
                    <a:lnTo>
                      <a:pt x="3590" y="1850"/>
                    </a:lnTo>
                    <a:lnTo>
                      <a:pt x="3592" y="1852"/>
                    </a:lnTo>
                    <a:lnTo>
                      <a:pt x="3594" y="1858"/>
                    </a:lnTo>
                    <a:lnTo>
                      <a:pt x="3592" y="1864"/>
                    </a:lnTo>
                    <a:lnTo>
                      <a:pt x="3590" y="1870"/>
                    </a:lnTo>
                    <a:lnTo>
                      <a:pt x="3590" y="1870"/>
                    </a:lnTo>
                    <a:close/>
                    <a:moveTo>
                      <a:pt x="3578" y="1812"/>
                    </a:moveTo>
                    <a:lnTo>
                      <a:pt x="3578" y="1812"/>
                    </a:lnTo>
                    <a:lnTo>
                      <a:pt x="3586" y="1806"/>
                    </a:lnTo>
                    <a:lnTo>
                      <a:pt x="3596" y="1804"/>
                    </a:lnTo>
                    <a:lnTo>
                      <a:pt x="3624" y="1798"/>
                    </a:lnTo>
                    <a:lnTo>
                      <a:pt x="3624" y="1798"/>
                    </a:lnTo>
                    <a:lnTo>
                      <a:pt x="3636" y="1796"/>
                    </a:lnTo>
                    <a:lnTo>
                      <a:pt x="3642" y="1794"/>
                    </a:lnTo>
                    <a:lnTo>
                      <a:pt x="3656" y="1802"/>
                    </a:lnTo>
                    <a:lnTo>
                      <a:pt x="3656" y="1802"/>
                    </a:lnTo>
                    <a:lnTo>
                      <a:pt x="3662" y="1804"/>
                    </a:lnTo>
                    <a:lnTo>
                      <a:pt x="3664" y="1804"/>
                    </a:lnTo>
                    <a:lnTo>
                      <a:pt x="3668" y="1804"/>
                    </a:lnTo>
                    <a:lnTo>
                      <a:pt x="3668" y="1802"/>
                    </a:lnTo>
                    <a:lnTo>
                      <a:pt x="3672" y="1794"/>
                    </a:lnTo>
                    <a:lnTo>
                      <a:pt x="3674" y="1790"/>
                    </a:lnTo>
                    <a:lnTo>
                      <a:pt x="3678" y="1788"/>
                    </a:lnTo>
                    <a:lnTo>
                      <a:pt x="3678" y="1788"/>
                    </a:lnTo>
                    <a:lnTo>
                      <a:pt x="3686" y="1782"/>
                    </a:lnTo>
                    <a:lnTo>
                      <a:pt x="3696" y="1778"/>
                    </a:lnTo>
                    <a:lnTo>
                      <a:pt x="3706" y="1776"/>
                    </a:lnTo>
                    <a:lnTo>
                      <a:pt x="3716" y="1770"/>
                    </a:lnTo>
                    <a:lnTo>
                      <a:pt x="3716" y="1770"/>
                    </a:lnTo>
                    <a:lnTo>
                      <a:pt x="3714" y="1774"/>
                    </a:lnTo>
                    <a:lnTo>
                      <a:pt x="3712" y="1778"/>
                    </a:lnTo>
                    <a:lnTo>
                      <a:pt x="3708" y="1782"/>
                    </a:lnTo>
                    <a:lnTo>
                      <a:pt x="3702" y="1784"/>
                    </a:lnTo>
                    <a:lnTo>
                      <a:pt x="3702" y="1784"/>
                    </a:lnTo>
                    <a:lnTo>
                      <a:pt x="3698" y="1786"/>
                    </a:lnTo>
                    <a:lnTo>
                      <a:pt x="3694" y="1790"/>
                    </a:lnTo>
                    <a:lnTo>
                      <a:pt x="3696" y="1794"/>
                    </a:lnTo>
                    <a:lnTo>
                      <a:pt x="3698" y="1798"/>
                    </a:lnTo>
                    <a:lnTo>
                      <a:pt x="3698" y="1798"/>
                    </a:lnTo>
                    <a:lnTo>
                      <a:pt x="3702" y="1800"/>
                    </a:lnTo>
                    <a:lnTo>
                      <a:pt x="3702" y="1802"/>
                    </a:lnTo>
                    <a:lnTo>
                      <a:pt x="3700" y="1806"/>
                    </a:lnTo>
                    <a:lnTo>
                      <a:pt x="3700" y="1814"/>
                    </a:lnTo>
                    <a:lnTo>
                      <a:pt x="3700" y="1814"/>
                    </a:lnTo>
                    <a:lnTo>
                      <a:pt x="3700" y="1820"/>
                    </a:lnTo>
                    <a:lnTo>
                      <a:pt x="3696" y="1822"/>
                    </a:lnTo>
                    <a:lnTo>
                      <a:pt x="3690" y="1826"/>
                    </a:lnTo>
                    <a:lnTo>
                      <a:pt x="3684" y="1830"/>
                    </a:lnTo>
                    <a:lnTo>
                      <a:pt x="3684" y="1830"/>
                    </a:lnTo>
                    <a:lnTo>
                      <a:pt x="3680" y="1834"/>
                    </a:lnTo>
                    <a:lnTo>
                      <a:pt x="3676" y="1836"/>
                    </a:lnTo>
                    <a:lnTo>
                      <a:pt x="3662" y="1838"/>
                    </a:lnTo>
                    <a:lnTo>
                      <a:pt x="3648" y="1838"/>
                    </a:lnTo>
                    <a:lnTo>
                      <a:pt x="3638" y="1834"/>
                    </a:lnTo>
                    <a:lnTo>
                      <a:pt x="3638" y="1834"/>
                    </a:lnTo>
                    <a:lnTo>
                      <a:pt x="3628" y="1832"/>
                    </a:lnTo>
                    <a:lnTo>
                      <a:pt x="3616" y="1830"/>
                    </a:lnTo>
                    <a:lnTo>
                      <a:pt x="3604" y="1832"/>
                    </a:lnTo>
                    <a:lnTo>
                      <a:pt x="3594" y="1834"/>
                    </a:lnTo>
                    <a:lnTo>
                      <a:pt x="3594" y="1834"/>
                    </a:lnTo>
                    <a:lnTo>
                      <a:pt x="3588" y="1838"/>
                    </a:lnTo>
                    <a:lnTo>
                      <a:pt x="3582" y="1840"/>
                    </a:lnTo>
                    <a:lnTo>
                      <a:pt x="3574" y="1842"/>
                    </a:lnTo>
                    <a:lnTo>
                      <a:pt x="3574" y="1842"/>
                    </a:lnTo>
                    <a:lnTo>
                      <a:pt x="3568" y="1842"/>
                    </a:lnTo>
                    <a:lnTo>
                      <a:pt x="3562" y="1842"/>
                    </a:lnTo>
                    <a:lnTo>
                      <a:pt x="3560" y="1840"/>
                    </a:lnTo>
                    <a:lnTo>
                      <a:pt x="3558" y="1838"/>
                    </a:lnTo>
                    <a:lnTo>
                      <a:pt x="3558" y="1834"/>
                    </a:lnTo>
                    <a:lnTo>
                      <a:pt x="3560" y="1828"/>
                    </a:lnTo>
                    <a:lnTo>
                      <a:pt x="3560" y="1828"/>
                    </a:lnTo>
                    <a:lnTo>
                      <a:pt x="3564" y="1820"/>
                    </a:lnTo>
                    <a:lnTo>
                      <a:pt x="3570" y="1818"/>
                    </a:lnTo>
                    <a:lnTo>
                      <a:pt x="3574" y="1816"/>
                    </a:lnTo>
                    <a:lnTo>
                      <a:pt x="3578" y="1812"/>
                    </a:lnTo>
                    <a:lnTo>
                      <a:pt x="3578" y="1812"/>
                    </a:lnTo>
                    <a:close/>
                    <a:moveTo>
                      <a:pt x="3092" y="1606"/>
                    </a:moveTo>
                    <a:lnTo>
                      <a:pt x="3092" y="1606"/>
                    </a:lnTo>
                    <a:lnTo>
                      <a:pt x="3104" y="1594"/>
                    </a:lnTo>
                    <a:lnTo>
                      <a:pt x="3118" y="1586"/>
                    </a:lnTo>
                    <a:lnTo>
                      <a:pt x="3158" y="1566"/>
                    </a:lnTo>
                    <a:lnTo>
                      <a:pt x="3158" y="1566"/>
                    </a:lnTo>
                    <a:lnTo>
                      <a:pt x="3164" y="1564"/>
                    </a:lnTo>
                    <a:lnTo>
                      <a:pt x="3164" y="1564"/>
                    </a:lnTo>
                    <a:lnTo>
                      <a:pt x="3168" y="1560"/>
                    </a:lnTo>
                    <a:lnTo>
                      <a:pt x="3172" y="1556"/>
                    </a:lnTo>
                    <a:lnTo>
                      <a:pt x="3176" y="1544"/>
                    </a:lnTo>
                    <a:lnTo>
                      <a:pt x="3176" y="1544"/>
                    </a:lnTo>
                    <a:lnTo>
                      <a:pt x="3180" y="1538"/>
                    </a:lnTo>
                    <a:lnTo>
                      <a:pt x="3184" y="1534"/>
                    </a:lnTo>
                    <a:lnTo>
                      <a:pt x="3188" y="1534"/>
                    </a:lnTo>
                    <a:lnTo>
                      <a:pt x="3190" y="1536"/>
                    </a:lnTo>
                    <a:lnTo>
                      <a:pt x="3190" y="1538"/>
                    </a:lnTo>
                    <a:lnTo>
                      <a:pt x="3190" y="1542"/>
                    </a:lnTo>
                    <a:lnTo>
                      <a:pt x="3190" y="1542"/>
                    </a:lnTo>
                    <a:lnTo>
                      <a:pt x="3188" y="1548"/>
                    </a:lnTo>
                    <a:lnTo>
                      <a:pt x="3192" y="1544"/>
                    </a:lnTo>
                    <a:lnTo>
                      <a:pt x="3196" y="1536"/>
                    </a:lnTo>
                    <a:lnTo>
                      <a:pt x="3200" y="1524"/>
                    </a:lnTo>
                    <a:lnTo>
                      <a:pt x="3200" y="1524"/>
                    </a:lnTo>
                    <a:lnTo>
                      <a:pt x="3204" y="1516"/>
                    </a:lnTo>
                    <a:lnTo>
                      <a:pt x="3206" y="1516"/>
                    </a:lnTo>
                    <a:lnTo>
                      <a:pt x="3208" y="1516"/>
                    </a:lnTo>
                    <a:lnTo>
                      <a:pt x="3208" y="1522"/>
                    </a:lnTo>
                    <a:lnTo>
                      <a:pt x="3206" y="1532"/>
                    </a:lnTo>
                    <a:lnTo>
                      <a:pt x="3206" y="1532"/>
                    </a:lnTo>
                    <a:lnTo>
                      <a:pt x="3204" y="1538"/>
                    </a:lnTo>
                    <a:lnTo>
                      <a:pt x="3204" y="1540"/>
                    </a:lnTo>
                    <a:lnTo>
                      <a:pt x="3204" y="1540"/>
                    </a:lnTo>
                    <a:lnTo>
                      <a:pt x="3216" y="1532"/>
                    </a:lnTo>
                    <a:lnTo>
                      <a:pt x="3216" y="1532"/>
                    </a:lnTo>
                    <a:lnTo>
                      <a:pt x="3218" y="1530"/>
                    </a:lnTo>
                    <a:lnTo>
                      <a:pt x="3220" y="1526"/>
                    </a:lnTo>
                    <a:lnTo>
                      <a:pt x="3218" y="1520"/>
                    </a:lnTo>
                    <a:lnTo>
                      <a:pt x="3216" y="1514"/>
                    </a:lnTo>
                    <a:lnTo>
                      <a:pt x="3216" y="1512"/>
                    </a:lnTo>
                    <a:lnTo>
                      <a:pt x="3216" y="1510"/>
                    </a:lnTo>
                    <a:lnTo>
                      <a:pt x="3216" y="1510"/>
                    </a:lnTo>
                    <a:lnTo>
                      <a:pt x="3220" y="1508"/>
                    </a:lnTo>
                    <a:lnTo>
                      <a:pt x="3224" y="1510"/>
                    </a:lnTo>
                    <a:lnTo>
                      <a:pt x="3236" y="1514"/>
                    </a:lnTo>
                    <a:lnTo>
                      <a:pt x="3248" y="1520"/>
                    </a:lnTo>
                    <a:lnTo>
                      <a:pt x="3254" y="1522"/>
                    </a:lnTo>
                    <a:lnTo>
                      <a:pt x="3260" y="1522"/>
                    </a:lnTo>
                    <a:lnTo>
                      <a:pt x="3260" y="1522"/>
                    </a:lnTo>
                    <a:lnTo>
                      <a:pt x="3268" y="1522"/>
                    </a:lnTo>
                    <a:lnTo>
                      <a:pt x="3272" y="1522"/>
                    </a:lnTo>
                    <a:lnTo>
                      <a:pt x="3276" y="1522"/>
                    </a:lnTo>
                    <a:lnTo>
                      <a:pt x="3284" y="1522"/>
                    </a:lnTo>
                    <a:lnTo>
                      <a:pt x="3284" y="1522"/>
                    </a:lnTo>
                    <a:lnTo>
                      <a:pt x="3288" y="1524"/>
                    </a:lnTo>
                    <a:lnTo>
                      <a:pt x="3292" y="1528"/>
                    </a:lnTo>
                    <a:lnTo>
                      <a:pt x="3296" y="1542"/>
                    </a:lnTo>
                    <a:lnTo>
                      <a:pt x="3298" y="1550"/>
                    </a:lnTo>
                    <a:lnTo>
                      <a:pt x="3302" y="1558"/>
                    </a:lnTo>
                    <a:lnTo>
                      <a:pt x="3308" y="1566"/>
                    </a:lnTo>
                    <a:lnTo>
                      <a:pt x="3314" y="1570"/>
                    </a:lnTo>
                    <a:lnTo>
                      <a:pt x="3314" y="1570"/>
                    </a:lnTo>
                    <a:lnTo>
                      <a:pt x="3320" y="1572"/>
                    </a:lnTo>
                    <a:lnTo>
                      <a:pt x="3328" y="1572"/>
                    </a:lnTo>
                    <a:lnTo>
                      <a:pt x="3340" y="1570"/>
                    </a:lnTo>
                    <a:lnTo>
                      <a:pt x="3344" y="1570"/>
                    </a:lnTo>
                    <a:lnTo>
                      <a:pt x="3348" y="1570"/>
                    </a:lnTo>
                    <a:lnTo>
                      <a:pt x="3348" y="1574"/>
                    </a:lnTo>
                    <a:lnTo>
                      <a:pt x="3346" y="1580"/>
                    </a:lnTo>
                    <a:lnTo>
                      <a:pt x="3346" y="1580"/>
                    </a:lnTo>
                    <a:lnTo>
                      <a:pt x="3344" y="1588"/>
                    </a:lnTo>
                    <a:lnTo>
                      <a:pt x="3346" y="1594"/>
                    </a:lnTo>
                    <a:lnTo>
                      <a:pt x="3358" y="1604"/>
                    </a:lnTo>
                    <a:lnTo>
                      <a:pt x="3358" y="1604"/>
                    </a:lnTo>
                    <a:lnTo>
                      <a:pt x="3360" y="1606"/>
                    </a:lnTo>
                    <a:lnTo>
                      <a:pt x="3360" y="1610"/>
                    </a:lnTo>
                    <a:lnTo>
                      <a:pt x="3358" y="1618"/>
                    </a:lnTo>
                    <a:lnTo>
                      <a:pt x="3354" y="1624"/>
                    </a:lnTo>
                    <a:lnTo>
                      <a:pt x="3354" y="1626"/>
                    </a:lnTo>
                    <a:lnTo>
                      <a:pt x="3356" y="1630"/>
                    </a:lnTo>
                    <a:lnTo>
                      <a:pt x="3356" y="1630"/>
                    </a:lnTo>
                    <a:lnTo>
                      <a:pt x="3362" y="1630"/>
                    </a:lnTo>
                    <a:lnTo>
                      <a:pt x="3364" y="1630"/>
                    </a:lnTo>
                    <a:lnTo>
                      <a:pt x="3366" y="1630"/>
                    </a:lnTo>
                    <a:lnTo>
                      <a:pt x="3368" y="1632"/>
                    </a:lnTo>
                    <a:lnTo>
                      <a:pt x="3368" y="1632"/>
                    </a:lnTo>
                    <a:lnTo>
                      <a:pt x="3370" y="1634"/>
                    </a:lnTo>
                    <a:lnTo>
                      <a:pt x="3368" y="1636"/>
                    </a:lnTo>
                    <a:lnTo>
                      <a:pt x="3364" y="1640"/>
                    </a:lnTo>
                    <a:lnTo>
                      <a:pt x="3362" y="1642"/>
                    </a:lnTo>
                    <a:lnTo>
                      <a:pt x="3362" y="1648"/>
                    </a:lnTo>
                    <a:lnTo>
                      <a:pt x="3362" y="1648"/>
                    </a:lnTo>
                    <a:lnTo>
                      <a:pt x="3362" y="1652"/>
                    </a:lnTo>
                    <a:lnTo>
                      <a:pt x="3364" y="1654"/>
                    </a:lnTo>
                    <a:lnTo>
                      <a:pt x="3372" y="1652"/>
                    </a:lnTo>
                    <a:lnTo>
                      <a:pt x="3380" y="1652"/>
                    </a:lnTo>
                    <a:lnTo>
                      <a:pt x="3382" y="1652"/>
                    </a:lnTo>
                    <a:lnTo>
                      <a:pt x="3382" y="1656"/>
                    </a:lnTo>
                    <a:lnTo>
                      <a:pt x="3382" y="1656"/>
                    </a:lnTo>
                    <a:lnTo>
                      <a:pt x="3382" y="1662"/>
                    </a:lnTo>
                    <a:lnTo>
                      <a:pt x="3386" y="1664"/>
                    </a:lnTo>
                    <a:lnTo>
                      <a:pt x="3392" y="1666"/>
                    </a:lnTo>
                    <a:lnTo>
                      <a:pt x="3402" y="1668"/>
                    </a:lnTo>
                    <a:lnTo>
                      <a:pt x="3402" y="1668"/>
                    </a:lnTo>
                    <a:lnTo>
                      <a:pt x="3416" y="1672"/>
                    </a:lnTo>
                    <a:lnTo>
                      <a:pt x="3430" y="1674"/>
                    </a:lnTo>
                    <a:lnTo>
                      <a:pt x="3446" y="1674"/>
                    </a:lnTo>
                    <a:lnTo>
                      <a:pt x="3460" y="1676"/>
                    </a:lnTo>
                    <a:lnTo>
                      <a:pt x="3460" y="1676"/>
                    </a:lnTo>
                    <a:lnTo>
                      <a:pt x="3470" y="1676"/>
                    </a:lnTo>
                    <a:lnTo>
                      <a:pt x="3478" y="1676"/>
                    </a:lnTo>
                    <a:lnTo>
                      <a:pt x="3484" y="1678"/>
                    </a:lnTo>
                    <a:lnTo>
                      <a:pt x="3484" y="1678"/>
                    </a:lnTo>
                    <a:lnTo>
                      <a:pt x="3484" y="1680"/>
                    </a:lnTo>
                    <a:lnTo>
                      <a:pt x="3484" y="1680"/>
                    </a:lnTo>
                    <a:lnTo>
                      <a:pt x="3484" y="1682"/>
                    </a:lnTo>
                    <a:lnTo>
                      <a:pt x="3484" y="1684"/>
                    </a:lnTo>
                    <a:lnTo>
                      <a:pt x="3490" y="1686"/>
                    </a:lnTo>
                    <a:lnTo>
                      <a:pt x="3508" y="1686"/>
                    </a:lnTo>
                    <a:lnTo>
                      <a:pt x="3508" y="1686"/>
                    </a:lnTo>
                    <a:lnTo>
                      <a:pt x="3514" y="1688"/>
                    </a:lnTo>
                    <a:lnTo>
                      <a:pt x="3518" y="1692"/>
                    </a:lnTo>
                    <a:lnTo>
                      <a:pt x="3526" y="1704"/>
                    </a:lnTo>
                    <a:lnTo>
                      <a:pt x="3532" y="1716"/>
                    </a:lnTo>
                    <a:lnTo>
                      <a:pt x="3534" y="1718"/>
                    </a:lnTo>
                    <a:lnTo>
                      <a:pt x="3536" y="1718"/>
                    </a:lnTo>
                    <a:lnTo>
                      <a:pt x="3536" y="1718"/>
                    </a:lnTo>
                    <a:lnTo>
                      <a:pt x="3540" y="1716"/>
                    </a:lnTo>
                    <a:lnTo>
                      <a:pt x="3542" y="1716"/>
                    </a:lnTo>
                    <a:lnTo>
                      <a:pt x="3544" y="1720"/>
                    </a:lnTo>
                    <a:lnTo>
                      <a:pt x="3544" y="1726"/>
                    </a:lnTo>
                    <a:lnTo>
                      <a:pt x="3544" y="1726"/>
                    </a:lnTo>
                    <a:lnTo>
                      <a:pt x="3544" y="1730"/>
                    </a:lnTo>
                    <a:lnTo>
                      <a:pt x="3546" y="1734"/>
                    </a:lnTo>
                    <a:lnTo>
                      <a:pt x="3552" y="1742"/>
                    </a:lnTo>
                    <a:lnTo>
                      <a:pt x="3556" y="1748"/>
                    </a:lnTo>
                    <a:lnTo>
                      <a:pt x="3560" y="1756"/>
                    </a:lnTo>
                    <a:lnTo>
                      <a:pt x="3560" y="1756"/>
                    </a:lnTo>
                    <a:lnTo>
                      <a:pt x="3558" y="1758"/>
                    </a:lnTo>
                    <a:lnTo>
                      <a:pt x="3558" y="1758"/>
                    </a:lnTo>
                    <a:lnTo>
                      <a:pt x="3554" y="1754"/>
                    </a:lnTo>
                    <a:lnTo>
                      <a:pt x="3548" y="1750"/>
                    </a:lnTo>
                    <a:lnTo>
                      <a:pt x="3546" y="1750"/>
                    </a:lnTo>
                    <a:lnTo>
                      <a:pt x="3544" y="1750"/>
                    </a:lnTo>
                    <a:lnTo>
                      <a:pt x="3544" y="1750"/>
                    </a:lnTo>
                    <a:lnTo>
                      <a:pt x="3542" y="1752"/>
                    </a:lnTo>
                    <a:lnTo>
                      <a:pt x="3542" y="1754"/>
                    </a:lnTo>
                    <a:lnTo>
                      <a:pt x="3546" y="1760"/>
                    </a:lnTo>
                    <a:lnTo>
                      <a:pt x="3548" y="1766"/>
                    </a:lnTo>
                    <a:lnTo>
                      <a:pt x="3546" y="1768"/>
                    </a:lnTo>
                    <a:lnTo>
                      <a:pt x="3544" y="1770"/>
                    </a:lnTo>
                    <a:lnTo>
                      <a:pt x="3544" y="1770"/>
                    </a:lnTo>
                    <a:lnTo>
                      <a:pt x="3542" y="1772"/>
                    </a:lnTo>
                    <a:lnTo>
                      <a:pt x="3538" y="1770"/>
                    </a:lnTo>
                    <a:lnTo>
                      <a:pt x="3530" y="1764"/>
                    </a:lnTo>
                    <a:lnTo>
                      <a:pt x="3520" y="1760"/>
                    </a:lnTo>
                    <a:lnTo>
                      <a:pt x="3516" y="1758"/>
                    </a:lnTo>
                    <a:lnTo>
                      <a:pt x="3512" y="1760"/>
                    </a:lnTo>
                    <a:lnTo>
                      <a:pt x="3512" y="1760"/>
                    </a:lnTo>
                    <a:lnTo>
                      <a:pt x="3508" y="1762"/>
                    </a:lnTo>
                    <a:lnTo>
                      <a:pt x="3508" y="1758"/>
                    </a:lnTo>
                    <a:lnTo>
                      <a:pt x="3508" y="1754"/>
                    </a:lnTo>
                    <a:lnTo>
                      <a:pt x="3508" y="1754"/>
                    </a:lnTo>
                    <a:lnTo>
                      <a:pt x="3504" y="1754"/>
                    </a:lnTo>
                    <a:lnTo>
                      <a:pt x="3504" y="1754"/>
                    </a:lnTo>
                    <a:lnTo>
                      <a:pt x="3502" y="1754"/>
                    </a:lnTo>
                    <a:lnTo>
                      <a:pt x="3502" y="1754"/>
                    </a:lnTo>
                    <a:lnTo>
                      <a:pt x="3504" y="1750"/>
                    </a:lnTo>
                    <a:lnTo>
                      <a:pt x="3506" y="1746"/>
                    </a:lnTo>
                    <a:lnTo>
                      <a:pt x="3504" y="1744"/>
                    </a:lnTo>
                    <a:lnTo>
                      <a:pt x="3502" y="1742"/>
                    </a:lnTo>
                    <a:lnTo>
                      <a:pt x="3502" y="1742"/>
                    </a:lnTo>
                    <a:lnTo>
                      <a:pt x="3498" y="1742"/>
                    </a:lnTo>
                    <a:lnTo>
                      <a:pt x="3496" y="1740"/>
                    </a:lnTo>
                    <a:lnTo>
                      <a:pt x="3494" y="1734"/>
                    </a:lnTo>
                    <a:lnTo>
                      <a:pt x="3494" y="1728"/>
                    </a:lnTo>
                    <a:lnTo>
                      <a:pt x="3492" y="1728"/>
                    </a:lnTo>
                    <a:lnTo>
                      <a:pt x="3490" y="1726"/>
                    </a:lnTo>
                    <a:lnTo>
                      <a:pt x="3490" y="1726"/>
                    </a:lnTo>
                    <a:lnTo>
                      <a:pt x="3486" y="1726"/>
                    </a:lnTo>
                    <a:lnTo>
                      <a:pt x="3482" y="1726"/>
                    </a:lnTo>
                    <a:lnTo>
                      <a:pt x="3480" y="1724"/>
                    </a:lnTo>
                    <a:lnTo>
                      <a:pt x="3478" y="1726"/>
                    </a:lnTo>
                    <a:lnTo>
                      <a:pt x="3478" y="1726"/>
                    </a:lnTo>
                    <a:lnTo>
                      <a:pt x="3480" y="1730"/>
                    </a:lnTo>
                    <a:lnTo>
                      <a:pt x="3484" y="1736"/>
                    </a:lnTo>
                    <a:lnTo>
                      <a:pt x="3490" y="1744"/>
                    </a:lnTo>
                    <a:lnTo>
                      <a:pt x="3496" y="1756"/>
                    </a:lnTo>
                    <a:lnTo>
                      <a:pt x="3496" y="1756"/>
                    </a:lnTo>
                    <a:lnTo>
                      <a:pt x="3496" y="1762"/>
                    </a:lnTo>
                    <a:lnTo>
                      <a:pt x="3494" y="1766"/>
                    </a:lnTo>
                    <a:lnTo>
                      <a:pt x="3486" y="1776"/>
                    </a:lnTo>
                    <a:lnTo>
                      <a:pt x="3482" y="1782"/>
                    </a:lnTo>
                    <a:lnTo>
                      <a:pt x="3480" y="1788"/>
                    </a:lnTo>
                    <a:lnTo>
                      <a:pt x="3476" y="1796"/>
                    </a:lnTo>
                    <a:lnTo>
                      <a:pt x="3476" y="1806"/>
                    </a:lnTo>
                    <a:lnTo>
                      <a:pt x="3476" y="1806"/>
                    </a:lnTo>
                    <a:lnTo>
                      <a:pt x="3476" y="1826"/>
                    </a:lnTo>
                    <a:lnTo>
                      <a:pt x="3476" y="1832"/>
                    </a:lnTo>
                    <a:lnTo>
                      <a:pt x="3472" y="1838"/>
                    </a:lnTo>
                    <a:lnTo>
                      <a:pt x="3468" y="1842"/>
                    </a:lnTo>
                    <a:lnTo>
                      <a:pt x="3464" y="1844"/>
                    </a:lnTo>
                    <a:lnTo>
                      <a:pt x="3448" y="1852"/>
                    </a:lnTo>
                    <a:lnTo>
                      <a:pt x="3448" y="1852"/>
                    </a:lnTo>
                    <a:lnTo>
                      <a:pt x="3446" y="1846"/>
                    </a:lnTo>
                    <a:lnTo>
                      <a:pt x="3444" y="1838"/>
                    </a:lnTo>
                    <a:lnTo>
                      <a:pt x="3440" y="1818"/>
                    </a:lnTo>
                    <a:lnTo>
                      <a:pt x="3438" y="1808"/>
                    </a:lnTo>
                    <a:lnTo>
                      <a:pt x="3434" y="1802"/>
                    </a:lnTo>
                    <a:lnTo>
                      <a:pt x="3428" y="1796"/>
                    </a:lnTo>
                    <a:lnTo>
                      <a:pt x="3424" y="1796"/>
                    </a:lnTo>
                    <a:lnTo>
                      <a:pt x="3424" y="1796"/>
                    </a:lnTo>
                    <a:lnTo>
                      <a:pt x="3418" y="1798"/>
                    </a:lnTo>
                    <a:lnTo>
                      <a:pt x="3414" y="1800"/>
                    </a:lnTo>
                    <a:lnTo>
                      <a:pt x="3408" y="1808"/>
                    </a:lnTo>
                    <a:lnTo>
                      <a:pt x="3404" y="1816"/>
                    </a:lnTo>
                    <a:lnTo>
                      <a:pt x="3400" y="1818"/>
                    </a:lnTo>
                    <a:lnTo>
                      <a:pt x="3398" y="1820"/>
                    </a:lnTo>
                    <a:lnTo>
                      <a:pt x="3398" y="1820"/>
                    </a:lnTo>
                    <a:lnTo>
                      <a:pt x="3394" y="1818"/>
                    </a:lnTo>
                    <a:lnTo>
                      <a:pt x="3392" y="1816"/>
                    </a:lnTo>
                    <a:lnTo>
                      <a:pt x="3388" y="1810"/>
                    </a:lnTo>
                    <a:lnTo>
                      <a:pt x="3390" y="1802"/>
                    </a:lnTo>
                    <a:lnTo>
                      <a:pt x="3392" y="1798"/>
                    </a:lnTo>
                    <a:lnTo>
                      <a:pt x="3394" y="1796"/>
                    </a:lnTo>
                    <a:lnTo>
                      <a:pt x="3394" y="1796"/>
                    </a:lnTo>
                    <a:lnTo>
                      <a:pt x="3400" y="1790"/>
                    </a:lnTo>
                    <a:lnTo>
                      <a:pt x="3406" y="1784"/>
                    </a:lnTo>
                    <a:lnTo>
                      <a:pt x="3410" y="1776"/>
                    </a:lnTo>
                    <a:lnTo>
                      <a:pt x="3412" y="1764"/>
                    </a:lnTo>
                    <a:lnTo>
                      <a:pt x="3412" y="1764"/>
                    </a:lnTo>
                    <a:lnTo>
                      <a:pt x="3412" y="1758"/>
                    </a:lnTo>
                    <a:lnTo>
                      <a:pt x="3412" y="1754"/>
                    </a:lnTo>
                    <a:lnTo>
                      <a:pt x="3410" y="1746"/>
                    </a:lnTo>
                    <a:lnTo>
                      <a:pt x="3408" y="1740"/>
                    </a:lnTo>
                    <a:lnTo>
                      <a:pt x="3408" y="1738"/>
                    </a:lnTo>
                    <a:lnTo>
                      <a:pt x="3410" y="1738"/>
                    </a:lnTo>
                    <a:lnTo>
                      <a:pt x="3410" y="1738"/>
                    </a:lnTo>
                    <a:lnTo>
                      <a:pt x="3414" y="1736"/>
                    </a:lnTo>
                    <a:lnTo>
                      <a:pt x="3414" y="1734"/>
                    </a:lnTo>
                    <a:lnTo>
                      <a:pt x="3410" y="1728"/>
                    </a:lnTo>
                    <a:lnTo>
                      <a:pt x="3402" y="1722"/>
                    </a:lnTo>
                    <a:lnTo>
                      <a:pt x="3392" y="1716"/>
                    </a:lnTo>
                    <a:lnTo>
                      <a:pt x="3392" y="1716"/>
                    </a:lnTo>
                    <a:lnTo>
                      <a:pt x="3382" y="1712"/>
                    </a:lnTo>
                    <a:lnTo>
                      <a:pt x="3380" y="1708"/>
                    </a:lnTo>
                    <a:lnTo>
                      <a:pt x="3378" y="1706"/>
                    </a:lnTo>
                    <a:lnTo>
                      <a:pt x="3372" y="1704"/>
                    </a:lnTo>
                    <a:lnTo>
                      <a:pt x="3372" y="1704"/>
                    </a:lnTo>
                    <a:lnTo>
                      <a:pt x="3366" y="1702"/>
                    </a:lnTo>
                    <a:lnTo>
                      <a:pt x="3362" y="1698"/>
                    </a:lnTo>
                    <a:lnTo>
                      <a:pt x="3358" y="1696"/>
                    </a:lnTo>
                    <a:lnTo>
                      <a:pt x="3356" y="1696"/>
                    </a:lnTo>
                    <a:lnTo>
                      <a:pt x="3352" y="1698"/>
                    </a:lnTo>
                    <a:lnTo>
                      <a:pt x="3346" y="1702"/>
                    </a:lnTo>
                    <a:lnTo>
                      <a:pt x="3346" y="1702"/>
                    </a:lnTo>
                    <a:lnTo>
                      <a:pt x="3342" y="1706"/>
                    </a:lnTo>
                    <a:lnTo>
                      <a:pt x="3340" y="1710"/>
                    </a:lnTo>
                    <a:lnTo>
                      <a:pt x="3342" y="1712"/>
                    </a:lnTo>
                    <a:lnTo>
                      <a:pt x="3344" y="1714"/>
                    </a:lnTo>
                    <a:lnTo>
                      <a:pt x="3346" y="1718"/>
                    </a:lnTo>
                    <a:lnTo>
                      <a:pt x="3340" y="1720"/>
                    </a:lnTo>
                    <a:lnTo>
                      <a:pt x="3340" y="1720"/>
                    </a:lnTo>
                    <a:lnTo>
                      <a:pt x="3334" y="1722"/>
                    </a:lnTo>
                    <a:lnTo>
                      <a:pt x="3330" y="1726"/>
                    </a:lnTo>
                    <a:lnTo>
                      <a:pt x="3328" y="1732"/>
                    </a:lnTo>
                    <a:lnTo>
                      <a:pt x="3328" y="1738"/>
                    </a:lnTo>
                    <a:lnTo>
                      <a:pt x="3326" y="1748"/>
                    </a:lnTo>
                    <a:lnTo>
                      <a:pt x="3324" y="1752"/>
                    </a:lnTo>
                    <a:lnTo>
                      <a:pt x="3322" y="1752"/>
                    </a:lnTo>
                    <a:lnTo>
                      <a:pt x="3322" y="1752"/>
                    </a:lnTo>
                    <a:lnTo>
                      <a:pt x="3320" y="1752"/>
                    </a:lnTo>
                    <a:lnTo>
                      <a:pt x="3318" y="1748"/>
                    </a:lnTo>
                    <a:lnTo>
                      <a:pt x="3318" y="1738"/>
                    </a:lnTo>
                    <a:lnTo>
                      <a:pt x="3318" y="1734"/>
                    </a:lnTo>
                    <a:lnTo>
                      <a:pt x="3316" y="1734"/>
                    </a:lnTo>
                    <a:lnTo>
                      <a:pt x="3314" y="1736"/>
                    </a:lnTo>
                    <a:lnTo>
                      <a:pt x="3308" y="1744"/>
                    </a:lnTo>
                    <a:lnTo>
                      <a:pt x="3308" y="1744"/>
                    </a:lnTo>
                    <a:lnTo>
                      <a:pt x="3300" y="1752"/>
                    </a:lnTo>
                    <a:lnTo>
                      <a:pt x="3296" y="1754"/>
                    </a:lnTo>
                    <a:lnTo>
                      <a:pt x="3294" y="1756"/>
                    </a:lnTo>
                    <a:lnTo>
                      <a:pt x="3294" y="1766"/>
                    </a:lnTo>
                    <a:lnTo>
                      <a:pt x="3294" y="1766"/>
                    </a:lnTo>
                    <a:lnTo>
                      <a:pt x="3296" y="1772"/>
                    </a:lnTo>
                    <a:lnTo>
                      <a:pt x="3294" y="1778"/>
                    </a:lnTo>
                    <a:lnTo>
                      <a:pt x="3290" y="1786"/>
                    </a:lnTo>
                    <a:lnTo>
                      <a:pt x="3286" y="1792"/>
                    </a:lnTo>
                    <a:lnTo>
                      <a:pt x="3286" y="1796"/>
                    </a:lnTo>
                    <a:lnTo>
                      <a:pt x="3286" y="1800"/>
                    </a:lnTo>
                    <a:lnTo>
                      <a:pt x="3286" y="1800"/>
                    </a:lnTo>
                    <a:lnTo>
                      <a:pt x="3288" y="1808"/>
                    </a:lnTo>
                    <a:lnTo>
                      <a:pt x="3286" y="1812"/>
                    </a:lnTo>
                    <a:lnTo>
                      <a:pt x="3284" y="1818"/>
                    </a:lnTo>
                    <a:lnTo>
                      <a:pt x="3286" y="1828"/>
                    </a:lnTo>
                    <a:lnTo>
                      <a:pt x="3286" y="1828"/>
                    </a:lnTo>
                    <a:lnTo>
                      <a:pt x="3292" y="1840"/>
                    </a:lnTo>
                    <a:lnTo>
                      <a:pt x="3294" y="1852"/>
                    </a:lnTo>
                    <a:lnTo>
                      <a:pt x="3296" y="1862"/>
                    </a:lnTo>
                    <a:lnTo>
                      <a:pt x="3294" y="1872"/>
                    </a:lnTo>
                    <a:lnTo>
                      <a:pt x="3294" y="1880"/>
                    </a:lnTo>
                    <a:lnTo>
                      <a:pt x="3290" y="1890"/>
                    </a:lnTo>
                    <a:lnTo>
                      <a:pt x="3282" y="1908"/>
                    </a:lnTo>
                    <a:lnTo>
                      <a:pt x="3282" y="1908"/>
                    </a:lnTo>
                    <a:lnTo>
                      <a:pt x="3276" y="1916"/>
                    </a:lnTo>
                    <a:lnTo>
                      <a:pt x="3270" y="1922"/>
                    </a:lnTo>
                    <a:lnTo>
                      <a:pt x="3264" y="1928"/>
                    </a:lnTo>
                    <a:lnTo>
                      <a:pt x="3258" y="1930"/>
                    </a:lnTo>
                    <a:lnTo>
                      <a:pt x="3252" y="1930"/>
                    </a:lnTo>
                    <a:lnTo>
                      <a:pt x="3246" y="1926"/>
                    </a:lnTo>
                    <a:lnTo>
                      <a:pt x="3242" y="1922"/>
                    </a:lnTo>
                    <a:lnTo>
                      <a:pt x="3236" y="1914"/>
                    </a:lnTo>
                    <a:lnTo>
                      <a:pt x="3236" y="1914"/>
                    </a:lnTo>
                    <a:lnTo>
                      <a:pt x="3232" y="1904"/>
                    </a:lnTo>
                    <a:lnTo>
                      <a:pt x="3230" y="1898"/>
                    </a:lnTo>
                    <a:lnTo>
                      <a:pt x="3230" y="1884"/>
                    </a:lnTo>
                    <a:lnTo>
                      <a:pt x="3230" y="1872"/>
                    </a:lnTo>
                    <a:lnTo>
                      <a:pt x="3230" y="1864"/>
                    </a:lnTo>
                    <a:lnTo>
                      <a:pt x="3230" y="1856"/>
                    </a:lnTo>
                    <a:lnTo>
                      <a:pt x="3230" y="1856"/>
                    </a:lnTo>
                    <a:lnTo>
                      <a:pt x="3228" y="1842"/>
                    </a:lnTo>
                    <a:lnTo>
                      <a:pt x="3228" y="1834"/>
                    </a:lnTo>
                    <a:lnTo>
                      <a:pt x="3232" y="1824"/>
                    </a:lnTo>
                    <a:lnTo>
                      <a:pt x="3234" y="1810"/>
                    </a:lnTo>
                    <a:lnTo>
                      <a:pt x="3234" y="1810"/>
                    </a:lnTo>
                    <a:lnTo>
                      <a:pt x="3234" y="1802"/>
                    </a:lnTo>
                    <a:lnTo>
                      <a:pt x="3236" y="1796"/>
                    </a:lnTo>
                    <a:lnTo>
                      <a:pt x="3238" y="1792"/>
                    </a:lnTo>
                    <a:lnTo>
                      <a:pt x="3240" y="1792"/>
                    </a:lnTo>
                    <a:lnTo>
                      <a:pt x="3242" y="1790"/>
                    </a:lnTo>
                    <a:lnTo>
                      <a:pt x="3242" y="1784"/>
                    </a:lnTo>
                    <a:lnTo>
                      <a:pt x="3242" y="1784"/>
                    </a:lnTo>
                    <a:lnTo>
                      <a:pt x="3240" y="1780"/>
                    </a:lnTo>
                    <a:lnTo>
                      <a:pt x="3242" y="1776"/>
                    </a:lnTo>
                    <a:lnTo>
                      <a:pt x="3246" y="1764"/>
                    </a:lnTo>
                    <a:lnTo>
                      <a:pt x="3248" y="1754"/>
                    </a:lnTo>
                    <a:lnTo>
                      <a:pt x="3248" y="1752"/>
                    </a:lnTo>
                    <a:lnTo>
                      <a:pt x="3246" y="1748"/>
                    </a:lnTo>
                    <a:lnTo>
                      <a:pt x="3246" y="1748"/>
                    </a:lnTo>
                    <a:lnTo>
                      <a:pt x="3240" y="1748"/>
                    </a:lnTo>
                    <a:lnTo>
                      <a:pt x="3238" y="1752"/>
                    </a:lnTo>
                    <a:lnTo>
                      <a:pt x="3234" y="1758"/>
                    </a:lnTo>
                    <a:lnTo>
                      <a:pt x="3228" y="1764"/>
                    </a:lnTo>
                    <a:lnTo>
                      <a:pt x="3228" y="1764"/>
                    </a:lnTo>
                    <a:lnTo>
                      <a:pt x="3226" y="1766"/>
                    </a:lnTo>
                    <a:lnTo>
                      <a:pt x="3224" y="1766"/>
                    </a:lnTo>
                    <a:lnTo>
                      <a:pt x="3224" y="1758"/>
                    </a:lnTo>
                    <a:lnTo>
                      <a:pt x="3226" y="1750"/>
                    </a:lnTo>
                    <a:lnTo>
                      <a:pt x="3230" y="1746"/>
                    </a:lnTo>
                    <a:lnTo>
                      <a:pt x="3232" y="1742"/>
                    </a:lnTo>
                    <a:lnTo>
                      <a:pt x="3232" y="1742"/>
                    </a:lnTo>
                    <a:lnTo>
                      <a:pt x="3236" y="1740"/>
                    </a:lnTo>
                    <a:lnTo>
                      <a:pt x="3238" y="1736"/>
                    </a:lnTo>
                    <a:lnTo>
                      <a:pt x="3240" y="1732"/>
                    </a:lnTo>
                    <a:lnTo>
                      <a:pt x="3244" y="1726"/>
                    </a:lnTo>
                    <a:lnTo>
                      <a:pt x="3244" y="1726"/>
                    </a:lnTo>
                    <a:lnTo>
                      <a:pt x="3252" y="1714"/>
                    </a:lnTo>
                    <a:lnTo>
                      <a:pt x="3258" y="1700"/>
                    </a:lnTo>
                    <a:lnTo>
                      <a:pt x="3264" y="1692"/>
                    </a:lnTo>
                    <a:lnTo>
                      <a:pt x="3266" y="1690"/>
                    </a:lnTo>
                    <a:lnTo>
                      <a:pt x="3266" y="1692"/>
                    </a:lnTo>
                    <a:lnTo>
                      <a:pt x="3266" y="1692"/>
                    </a:lnTo>
                    <a:lnTo>
                      <a:pt x="3268" y="1696"/>
                    </a:lnTo>
                    <a:lnTo>
                      <a:pt x="3270" y="1696"/>
                    </a:lnTo>
                    <a:lnTo>
                      <a:pt x="3274" y="1694"/>
                    </a:lnTo>
                    <a:lnTo>
                      <a:pt x="3278" y="1692"/>
                    </a:lnTo>
                    <a:lnTo>
                      <a:pt x="3280" y="1692"/>
                    </a:lnTo>
                    <a:lnTo>
                      <a:pt x="3278" y="1698"/>
                    </a:lnTo>
                    <a:lnTo>
                      <a:pt x="3278" y="1698"/>
                    </a:lnTo>
                    <a:lnTo>
                      <a:pt x="3278" y="1702"/>
                    </a:lnTo>
                    <a:lnTo>
                      <a:pt x="3278" y="1702"/>
                    </a:lnTo>
                    <a:lnTo>
                      <a:pt x="3284" y="1696"/>
                    </a:lnTo>
                    <a:lnTo>
                      <a:pt x="3292" y="1688"/>
                    </a:lnTo>
                    <a:lnTo>
                      <a:pt x="3296" y="1686"/>
                    </a:lnTo>
                    <a:lnTo>
                      <a:pt x="3300" y="1684"/>
                    </a:lnTo>
                    <a:lnTo>
                      <a:pt x="3300" y="1684"/>
                    </a:lnTo>
                    <a:lnTo>
                      <a:pt x="3310" y="1684"/>
                    </a:lnTo>
                    <a:lnTo>
                      <a:pt x="3314" y="1684"/>
                    </a:lnTo>
                    <a:lnTo>
                      <a:pt x="3320" y="1678"/>
                    </a:lnTo>
                    <a:lnTo>
                      <a:pt x="3324" y="1676"/>
                    </a:lnTo>
                    <a:lnTo>
                      <a:pt x="3328" y="1678"/>
                    </a:lnTo>
                    <a:lnTo>
                      <a:pt x="3336" y="1680"/>
                    </a:lnTo>
                    <a:lnTo>
                      <a:pt x="3346" y="1686"/>
                    </a:lnTo>
                    <a:lnTo>
                      <a:pt x="3346" y="1686"/>
                    </a:lnTo>
                    <a:lnTo>
                      <a:pt x="3352" y="1690"/>
                    </a:lnTo>
                    <a:lnTo>
                      <a:pt x="3354" y="1690"/>
                    </a:lnTo>
                    <a:lnTo>
                      <a:pt x="3356" y="1688"/>
                    </a:lnTo>
                    <a:lnTo>
                      <a:pt x="3358" y="1686"/>
                    </a:lnTo>
                    <a:lnTo>
                      <a:pt x="3358" y="1682"/>
                    </a:lnTo>
                    <a:lnTo>
                      <a:pt x="3360" y="1680"/>
                    </a:lnTo>
                    <a:lnTo>
                      <a:pt x="3362" y="1680"/>
                    </a:lnTo>
                    <a:lnTo>
                      <a:pt x="3362" y="1680"/>
                    </a:lnTo>
                    <a:lnTo>
                      <a:pt x="3370" y="1684"/>
                    </a:lnTo>
                    <a:lnTo>
                      <a:pt x="3380" y="1686"/>
                    </a:lnTo>
                    <a:lnTo>
                      <a:pt x="3386" y="1684"/>
                    </a:lnTo>
                    <a:lnTo>
                      <a:pt x="3388" y="1682"/>
                    </a:lnTo>
                    <a:lnTo>
                      <a:pt x="3388" y="1678"/>
                    </a:lnTo>
                    <a:lnTo>
                      <a:pt x="3388" y="1678"/>
                    </a:lnTo>
                    <a:lnTo>
                      <a:pt x="3384" y="1674"/>
                    </a:lnTo>
                    <a:lnTo>
                      <a:pt x="3380" y="1672"/>
                    </a:lnTo>
                    <a:lnTo>
                      <a:pt x="3376" y="1670"/>
                    </a:lnTo>
                    <a:lnTo>
                      <a:pt x="3374" y="1662"/>
                    </a:lnTo>
                    <a:lnTo>
                      <a:pt x="3374" y="1662"/>
                    </a:lnTo>
                    <a:lnTo>
                      <a:pt x="3374" y="1658"/>
                    </a:lnTo>
                    <a:lnTo>
                      <a:pt x="3372" y="1658"/>
                    </a:lnTo>
                    <a:lnTo>
                      <a:pt x="3368" y="1658"/>
                    </a:lnTo>
                    <a:lnTo>
                      <a:pt x="3360" y="1658"/>
                    </a:lnTo>
                    <a:lnTo>
                      <a:pt x="3348" y="1654"/>
                    </a:lnTo>
                    <a:lnTo>
                      <a:pt x="3348" y="1654"/>
                    </a:lnTo>
                    <a:lnTo>
                      <a:pt x="3346" y="1652"/>
                    </a:lnTo>
                    <a:lnTo>
                      <a:pt x="3344" y="1650"/>
                    </a:lnTo>
                    <a:lnTo>
                      <a:pt x="3344" y="1644"/>
                    </a:lnTo>
                    <a:lnTo>
                      <a:pt x="3346" y="1638"/>
                    </a:lnTo>
                    <a:lnTo>
                      <a:pt x="3344" y="1638"/>
                    </a:lnTo>
                    <a:lnTo>
                      <a:pt x="3340" y="1640"/>
                    </a:lnTo>
                    <a:lnTo>
                      <a:pt x="3340" y="1640"/>
                    </a:lnTo>
                    <a:lnTo>
                      <a:pt x="3330" y="1642"/>
                    </a:lnTo>
                    <a:lnTo>
                      <a:pt x="3314" y="1644"/>
                    </a:lnTo>
                    <a:lnTo>
                      <a:pt x="3300" y="1646"/>
                    </a:lnTo>
                    <a:lnTo>
                      <a:pt x="3294" y="1648"/>
                    </a:lnTo>
                    <a:lnTo>
                      <a:pt x="3288" y="1652"/>
                    </a:lnTo>
                    <a:lnTo>
                      <a:pt x="3288" y="1652"/>
                    </a:lnTo>
                    <a:lnTo>
                      <a:pt x="3280" y="1656"/>
                    </a:lnTo>
                    <a:lnTo>
                      <a:pt x="3274" y="1656"/>
                    </a:lnTo>
                    <a:lnTo>
                      <a:pt x="3268" y="1656"/>
                    </a:lnTo>
                    <a:lnTo>
                      <a:pt x="3258" y="1654"/>
                    </a:lnTo>
                    <a:lnTo>
                      <a:pt x="3258" y="1654"/>
                    </a:lnTo>
                    <a:lnTo>
                      <a:pt x="3252" y="1654"/>
                    </a:lnTo>
                    <a:lnTo>
                      <a:pt x="3250" y="1652"/>
                    </a:lnTo>
                    <a:lnTo>
                      <a:pt x="3244" y="1646"/>
                    </a:lnTo>
                    <a:lnTo>
                      <a:pt x="3238" y="1636"/>
                    </a:lnTo>
                    <a:lnTo>
                      <a:pt x="3234" y="1632"/>
                    </a:lnTo>
                    <a:lnTo>
                      <a:pt x="3228" y="1630"/>
                    </a:lnTo>
                    <a:lnTo>
                      <a:pt x="3228" y="1630"/>
                    </a:lnTo>
                    <a:lnTo>
                      <a:pt x="3222" y="1628"/>
                    </a:lnTo>
                    <a:lnTo>
                      <a:pt x="3218" y="1628"/>
                    </a:lnTo>
                    <a:lnTo>
                      <a:pt x="3210" y="1632"/>
                    </a:lnTo>
                    <a:lnTo>
                      <a:pt x="3208" y="1634"/>
                    </a:lnTo>
                    <a:lnTo>
                      <a:pt x="3206" y="1634"/>
                    </a:lnTo>
                    <a:lnTo>
                      <a:pt x="3206" y="1632"/>
                    </a:lnTo>
                    <a:lnTo>
                      <a:pt x="3204" y="1628"/>
                    </a:lnTo>
                    <a:lnTo>
                      <a:pt x="3204" y="1628"/>
                    </a:lnTo>
                    <a:lnTo>
                      <a:pt x="3202" y="1618"/>
                    </a:lnTo>
                    <a:lnTo>
                      <a:pt x="3200" y="1616"/>
                    </a:lnTo>
                    <a:lnTo>
                      <a:pt x="3198" y="1614"/>
                    </a:lnTo>
                    <a:lnTo>
                      <a:pt x="3190" y="1618"/>
                    </a:lnTo>
                    <a:lnTo>
                      <a:pt x="3180" y="1628"/>
                    </a:lnTo>
                    <a:lnTo>
                      <a:pt x="3180" y="1628"/>
                    </a:lnTo>
                    <a:lnTo>
                      <a:pt x="3176" y="1632"/>
                    </a:lnTo>
                    <a:lnTo>
                      <a:pt x="3170" y="1634"/>
                    </a:lnTo>
                    <a:lnTo>
                      <a:pt x="3164" y="1636"/>
                    </a:lnTo>
                    <a:lnTo>
                      <a:pt x="3156" y="1636"/>
                    </a:lnTo>
                    <a:lnTo>
                      <a:pt x="3150" y="1638"/>
                    </a:lnTo>
                    <a:lnTo>
                      <a:pt x="3144" y="1642"/>
                    </a:lnTo>
                    <a:lnTo>
                      <a:pt x="3144" y="1642"/>
                    </a:lnTo>
                    <a:lnTo>
                      <a:pt x="3134" y="1648"/>
                    </a:lnTo>
                    <a:lnTo>
                      <a:pt x="3126" y="1650"/>
                    </a:lnTo>
                    <a:lnTo>
                      <a:pt x="3118" y="1648"/>
                    </a:lnTo>
                    <a:lnTo>
                      <a:pt x="3110" y="1648"/>
                    </a:lnTo>
                    <a:lnTo>
                      <a:pt x="3110" y="1648"/>
                    </a:lnTo>
                    <a:lnTo>
                      <a:pt x="3106" y="1650"/>
                    </a:lnTo>
                    <a:lnTo>
                      <a:pt x="3104" y="1648"/>
                    </a:lnTo>
                    <a:lnTo>
                      <a:pt x="3108" y="1640"/>
                    </a:lnTo>
                    <a:lnTo>
                      <a:pt x="3112" y="1632"/>
                    </a:lnTo>
                    <a:lnTo>
                      <a:pt x="3110" y="1630"/>
                    </a:lnTo>
                    <a:lnTo>
                      <a:pt x="3108" y="1628"/>
                    </a:lnTo>
                    <a:lnTo>
                      <a:pt x="3108" y="1628"/>
                    </a:lnTo>
                    <a:lnTo>
                      <a:pt x="3104" y="1628"/>
                    </a:lnTo>
                    <a:lnTo>
                      <a:pt x="3098" y="1630"/>
                    </a:lnTo>
                    <a:lnTo>
                      <a:pt x="3086" y="1636"/>
                    </a:lnTo>
                    <a:lnTo>
                      <a:pt x="3074" y="1642"/>
                    </a:lnTo>
                    <a:lnTo>
                      <a:pt x="3068" y="1642"/>
                    </a:lnTo>
                    <a:lnTo>
                      <a:pt x="3062" y="1642"/>
                    </a:lnTo>
                    <a:lnTo>
                      <a:pt x="3062" y="1642"/>
                    </a:lnTo>
                    <a:lnTo>
                      <a:pt x="3058" y="1640"/>
                    </a:lnTo>
                    <a:lnTo>
                      <a:pt x="3058" y="1638"/>
                    </a:lnTo>
                    <a:lnTo>
                      <a:pt x="3060" y="1636"/>
                    </a:lnTo>
                    <a:lnTo>
                      <a:pt x="3064" y="1632"/>
                    </a:lnTo>
                    <a:lnTo>
                      <a:pt x="3076" y="1620"/>
                    </a:lnTo>
                    <a:lnTo>
                      <a:pt x="3092" y="1606"/>
                    </a:lnTo>
                    <a:lnTo>
                      <a:pt x="3092" y="160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2" name="Freeform 6087">
                <a:extLst>
                  <a:ext uri="{FF2B5EF4-FFF2-40B4-BE49-F238E27FC236}">
                    <a16:creationId xmlns:a16="http://schemas.microsoft.com/office/drawing/2014/main" id="{F28CB7AD-FD35-403B-BA1D-CA1588D18B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7860" y="823913"/>
                <a:ext cx="304800" cy="171450"/>
              </a:xfrm>
              <a:custGeom>
                <a:avLst/>
                <a:gdLst/>
                <a:ahLst/>
                <a:cxnLst>
                  <a:cxn ang="0">
                    <a:pos x="78" y="174"/>
                  </a:cxn>
                  <a:cxn ang="0">
                    <a:pos x="110" y="166"/>
                  </a:cxn>
                  <a:cxn ang="0">
                    <a:pos x="110" y="174"/>
                  </a:cxn>
                  <a:cxn ang="0">
                    <a:pos x="176" y="164"/>
                  </a:cxn>
                  <a:cxn ang="0">
                    <a:pos x="174" y="172"/>
                  </a:cxn>
                  <a:cxn ang="0">
                    <a:pos x="118" y="192"/>
                  </a:cxn>
                  <a:cxn ang="0">
                    <a:pos x="108" y="204"/>
                  </a:cxn>
                  <a:cxn ang="0">
                    <a:pos x="148" y="238"/>
                  </a:cxn>
                  <a:cxn ang="0">
                    <a:pos x="224" y="268"/>
                  </a:cxn>
                  <a:cxn ang="0">
                    <a:pos x="260" y="262"/>
                  </a:cxn>
                  <a:cxn ang="0">
                    <a:pos x="268" y="252"/>
                  </a:cxn>
                  <a:cxn ang="0">
                    <a:pos x="288" y="260"/>
                  </a:cxn>
                  <a:cxn ang="0">
                    <a:pos x="282" y="242"/>
                  </a:cxn>
                  <a:cxn ang="0">
                    <a:pos x="296" y="246"/>
                  </a:cxn>
                  <a:cxn ang="0">
                    <a:pos x="322" y="266"/>
                  </a:cxn>
                  <a:cxn ang="0">
                    <a:pos x="328" y="246"/>
                  </a:cxn>
                  <a:cxn ang="0">
                    <a:pos x="340" y="234"/>
                  </a:cxn>
                  <a:cxn ang="0">
                    <a:pos x="364" y="230"/>
                  </a:cxn>
                  <a:cxn ang="0">
                    <a:pos x="426" y="192"/>
                  </a:cxn>
                  <a:cxn ang="0">
                    <a:pos x="480" y="174"/>
                  </a:cxn>
                  <a:cxn ang="0">
                    <a:pos x="472" y="166"/>
                  </a:cxn>
                  <a:cxn ang="0">
                    <a:pos x="438" y="146"/>
                  </a:cxn>
                  <a:cxn ang="0">
                    <a:pos x="400" y="146"/>
                  </a:cxn>
                  <a:cxn ang="0">
                    <a:pos x="390" y="142"/>
                  </a:cxn>
                  <a:cxn ang="0">
                    <a:pos x="400" y="122"/>
                  </a:cxn>
                  <a:cxn ang="0">
                    <a:pos x="382" y="108"/>
                  </a:cxn>
                  <a:cxn ang="0">
                    <a:pos x="376" y="86"/>
                  </a:cxn>
                  <a:cxn ang="0">
                    <a:pos x="352" y="78"/>
                  </a:cxn>
                  <a:cxn ang="0">
                    <a:pos x="328" y="90"/>
                  </a:cxn>
                  <a:cxn ang="0">
                    <a:pos x="326" y="102"/>
                  </a:cxn>
                  <a:cxn ang="0">
                    <a:pos x="306" y="92"/>
                  </a:cxn>
                  <a:cxn ang="0">
                    <a:pos x="306" y="74"/>
                  </a:cxn>
                  <a:cxn ang="0">
                    <a:pos x="274" y="68"/>
                  </a:cxn>
                  <a:cxn ang="0">
                    <a:pos x="192" y="20"/>
                  </a:cxn>
                  <a:cxn ang="0">
                    <a:pos x="134" y="0"/>
                  </a:cxn>
                  <a:cxn ang="0">
                    <a:pos x="100" y="4"/>
                  </a:cxn>
                  <a:cxn ang="0">
                    <a:pos x="112" y="20"/>
                  </a:cxn>
                  <a:cxn ang="0">
                    <a:pos x="98" y="28"/>
                  </a:cxn>
                  <a:cxn ang="0">
                    <a:pos x="66" y="32"/>
                  </a:cxn>
                  <a:cxn ang="0">
                    <a:pos x="54" y="54"/>
                  </a:cxn>
                  <a:cxn ang="0">
                    <a:pos x="26" y="76"/>
                  </a:cxn>
                  <a:cxn ang="0">
                    <a:pos x="18" y="92"/>
                  </a:cxn>
                  <a:cxn ang="0">
                    <a:pos x="50" y="100"/>
                  </a:cxn>
                  <a:cxn ang="0">
                    <a:pos x="90" y="104"/>
                  </a:cxn>
                  <a:cxn ang="0">
                    <a:pos x="72" y="112"/>
                  </a:cxn>
                  <a:cxn ang="0">
                    <a:pos x="4" y="106"/>
                  </a:cxn>
                  <a:cxn ang="0">
                    <a:pos x="2" y="116"/>
                  </a:cxn>
                  <a:cxn ang="0">
                    <a:pos x="32" y="148"/>
                  </a:cxn>
                </a:cxnLst>
                <a:rect l="0" t="0" r="r" b="b"/>
                <a:pathLst>
                  <a:path w="480" h="270">
                    <a:moveTo>
                      <a:pt x="54" y="164"/>
                    </a:moveTo>
                    <a:lnTo>
                      <a:pt x="54" y="164"/>
                    </a:lnTo>
                    <a:lnTo>
                      <a:pt x="66" y="172"/>
                    </a:lnTo>
                    <a:lnTo>
                      <a:pt x="78" y="174"/>
                    </a:lnTo>
                    <a:lnTo>
                      <a:pt x="88" y="172"/>
                    </a:lnTo>
                    <a:lnTo>
                      <a:pt x="98" y="170"/>
                    </a:lnTo>
                    <a:lnTo>
                      <a:pt x="108" y="164"/>
                    </a:lnTo>
                    <a:lnTo>
                      <a:pt x="110" y="166"/>
                    </a:lnTo>
                    <a:lnTo>
                      <a:pt x="108" y="170"/>
                    </a:lnTo>
                    <a:lnTo>
                      <a:pt x="108" y="170"/>
                    </a:lnTo>
                    <a:lnTo>
                      <a:pt x="108" y="172"/>
                    </a:lnTo>
                    <a:lnTo>
                      <a:pt x="110" y="174"/>
                    </a:lnTo>
                    <a:lnTo>
                      <a:pt x="116" y="176"/>
                    </a:lnTo>
                    <a:lnTo>
                      <a:pt x="142" y="168"/>
                    </a:lnTo>
                    <a:lnTo>
                      <a:pt x="168" y="162"/>
                    </a:lnTo>
                    <a:lnTo>
                      <a:pt x="176" y="164"/>
                    </a:lnTo>
                    <a:lnTo>
                      <a:pt x="176" y="164"/>
                    </a:lnTo>
                    <a:lnTo>
                      <a:pt x="176" y="168"/>
                    </a:lnTo>
                    <a:lnTo>
                      <a:pt x="176" y="168"/>
                    </a:lnTo>
                    <a:lnTo>
                      <a:pt x="174" y="172"/>
                    </a:lnTo>
                    <a:lnTo>
                      <a:pt x="170" y="174"/>
                    </a:lnTo>
                    <a:lnTo>
                      <a:pt x="158" y="180"/>
                    </a:lnTo>
                    <a:lnTo>
                      <a:pt x="130" y="188"/>
                    </a:lnTo>
                    <a:lnTo>
                      <a:pt x="118" y="192"/>
                    </a:lnTo>
                    <a:lnTo>
                      <a:pt x="108" y="196"/>
                    </a:lnTo>
                    <a:lnTo>
                      <a:pt x="104" y="200"/>
                    </a:lnTo>
                    <a:lnTo>
                      <a:pt x="106" y="202"/>
                    </a:lnTo>
                    <a:lnTo>
                      <a:pt x="108" y="204"/>
                    </a:lnTo>
                    <a:lnTo>
                      <a:pt x="108" y="204"/>
                    </a:lnTo>
                    <a:lnTo>
                      <a:pt x="122" y="214"/>
                    </a:lnTo>
                    <a:lnTo>
                      <a:pt x="134" y="226"/>
                    </a:lnTo>
                    <a:lnTo>
                      <a:pt x="148" y="238"/>
                    </a:lnTo>
                    <a:lnTo>
                      <a:pt x="166" y="250"/>
                    </a:lnTo>
                    <a:lnTo>
                      <a:pt x="166" y="250"/>
                    </a:lnTo>
                    <a:lnTo>
                      <a:pt x="194" y="260"/>
                    </a:lnTo>
                    <a:lnTo>
                      <a:pt x="224" y="268"/>
                    </a:lnTo>
                    <a:lnTo>
                      <a:pt x="238" y="270"/>
                    </a:lnTo>
                    <a:lnTo>
                      <a:pt x="250" y="270"/>
                    </a:lnTo>
                    <a:lnTo>
                      <a:pt x="258" y="266"/>
                    </a:lnTo>
                    <a:lnTo>
                      <a:pt x="260" y="262"/>
                    </a:lnTo>
                    <a:lnTo>
                      <a:pt x="262" y="260"/>
                    </a:lnTo>
                    <a:lnTo>
                      <a:pt x="262" y="260"/>
                    </a:lnTo>
                    <a:lnTo>
                      <a:pt x="262" y="254"/>
                    </a:lnTo>
                    <a:lnTo>
                      <a:pt x="268" y="252"/>
                    </a:lnTo>
                    <a:lnTo>
                      <a:pt x="274" y="254"/>
                    </a:lnTo>
                    <a:lnTo>
                      <a:pt x="280" y="256"/>
                    </a:lnTo>
                    <a:lnTo>
                      <a:pt x="284" y="258"/>
                    </a:lnTo>
                    <a:lnTo>
                      <a:pt x="288" y="260"/>
                    </a:lnTo>
                    <a:lnTo>
                      <a:pt x="290" y="258"/>
                    </a:lnTo>
                    <a:lnTo>
                      <a:pt x="286" y="250"/>
                    </a:lnTo>
                    <a:lnTo>
                      <a:pt x="286" y="250"/>
                    </a:lnTo>
                    <a:lnTo>
                      <a:pt x="282" y="242"/>
                    </a:lnTo>
                    <a:lnTo>
                      <a:pt x="280" y="236"/>
                    </a:lnTo>
                    <a:lnTo>
                      <a:pt x="282" y="236"/>
                    </a:lnTo>
                    <a:lnTo>
                      <a:pt x="284" y="236"/>
                    </a:lnTo>
                    <a:lnTo>
                      <a:pt x="296" y="246"/>
                    </a:lnTo>
                    <a:lnTo>
                      <a:pt x="314" y="260"/>
                    </a:lnTo>
                    <a:lnTo>
                      <a:pt x="314" y="260"/>
                    </a:lnTo>
                    <a:lnTo>
                      <a:pt x="320" y="266"/>
                    </a:lnTo>
                    <a:lnTo>
                      <a:pt x="322" y="266"/>
                    </a:lnTo>
                    <a:lnTo>
                      <a:pt x="324" y="266"/>
                    </a:lnTo>
                    <a:lnTo>
                      <a:pt x="326" y="262"/>
                    </a:lnTo>
                    <a:lnTo>
                      <a:pt x="328" y="254"/>
                    </a:lnTo>
                    <a:lnTo>
                      <a:pt x="328" y="246"/>
                    </a:lnTo>
                    <a:lnTo>
                      <a:pt x="330" y="240"/>
                    </a:lnTo>
                    <a:lnTo>
                      <a:pt x="334" y="236"/>
                    </a:lnTo>
                    <a:lnTo>
                      <a:pt x="336" y="234"/>
                    </a:lnTo>
                    <a:lnTo>
                      <a:pt x="340" y="234"/>
                    </a:lnTo>
                    <a:lnTo>
                      <a:pt x="340" y="234"/>
                    </a:lnTo>
                    <a:lnTo>
                      <a:pt x="348" y="236"/>
                    </a:lnTo>
                    <a:lnTo>
                      <a:pt x="356" y="234"/>
                    </a:lnTo>
                    <a:lnTo>
                      <a:pt x="364" y="230"/>
                    </a:lnTo>
                    <a:lnTo>
                      <a:pt x="374" y="226"/>
                    </a:lnTo>
                    <a:lnTo>
                      <a:pt x="414" y="198"/>
                    </a:lnTo>
                    <a:lnTo>
                      <a:pt x="414" y="198"/>
                    </a:lnTo>
                    <a:lnTo>
                      <a:pt x="426" y="192"/>
                    </a:lnTo>
                    <a:lnTo>
                      <a:pt x="440" y="186"/>
                    </a:lnTo>
                    <a:lnTo>
                      <a:pt x="466" y="180"/>
                    </a:lnTo>
                    <a:lnTo>
                      <a:pt x="474" y="176"/>
                    </a:lnTo>
                    <a:lnTo>
                      <a:pt x="480" y="174"/>
                    </a:lnTo>
                    <a:lnTo>
                      <a:pt x="480" y="172"/>
                    </a:lnTo>
                    <a:lnTo>
                      <a:pt x="480" y="170"/>
                    </a:lnTo>
                    <a:lnTo>
                      <a:pt x="472" y="166"/>
                    </a:lnTo>
                    <a:lnTo>
                      <a:pt x="472" y="166"/>
                    </a:lnTo>
                    <a:lnTo>
                      <a:pt x="464" y="162"/>
                    </a:lnTo>
                    <a:lnTo>
                      <a:pt x="456" y="156"/>
                    </a:lnTo>
                    <a:lnTo>
                      <a:pt x="444" y="148"/>
                    </a:lnTo>
                    <a:lnTo>
                      <a:pt x="438" y="146"/>
                    </a:lnTo>
                    <a:lnTo>
                      <a:pt x="430" y="144"/>
                    </a:lnTo>
                    <a:lnTo>
                      <a:pt x="418" y="144"/>
                    </a:lnTo>
                    <a:lnTo>
                      <a:pt x="400" y="146"/>
                    </a:lnTo>
                    <a:lnTo>
                      <a:pt x="400" y="146"/>
                    </a:lnTo>
                    <a:lnTo>
                      <a:pt x="388" y="148"/>
                    </a:lnTo>
                    <a:lnTo>
                      <a:pt x="384" y="148"/>
                    </a:lnTo>
                    <a:lnTo>
                      <a:pt x="386" y="146"/>
                    </a:lnTo>
                    <a:lnTo>
                      <a:pt x="390" y="142"/>
                    </a:lnTo>
                    <a:lnTo>
                      <a:pt x="396" y="136"/>
                    </a:lnTo>
                    <a:lnTo>
                      <a:pt x="400" y="130"/>
                    </a:lnTo>
                    <a:lnTo>
                      <a:pt x="400" y="126"/>
                    </a:lnTo>
                    <a:lnTo>
                      <a:pt x="400" y="122"/>
                    </a:lnTo>
                    <a:lnTo>
                      <a:pt x="396" y="118"/>
                    </a:lnTo>
                    <a:lnTo>
                      <a:pt x="392" y="114"/>
                    </a:lnTo>
                    <a:lnTo>
                      <a:pt x="392" y="114"/>
                    </a:lnTo>
                    <a:lnTo>
                      <a:pt x="382" y="108"/>
                    </a:lnTo>
                    <a:lnTo>
                      <a:pt x="376" y="100"/>
                    </a:lnTo>
                    <a:lnTo>
                      <a:pt x="376" y="96"/>
                    </a:lnTo>
                    <a:lnTo>
                      <a:pt x="376" y="90"/>
                    </a:lnTo>
                    <a:lnTo>
                      <a:pt x="376" y="86"/>
                    </a:lnTo>
                    <a:lnTo>
                      <a:pt x="372" y="82"/>
                    </a:lnTo>
                    <a:lnTo>
                      <a:pt x="366" y="80"/>
                    </a:lnTo>
                    <a:lnTo>
                      <a:pt x="352" y="78"/>
                    </a:lnTo>
                    <a:lnTo>
                      <a:pt x="352" y="78"/>
                    </a:lnTo>
                    <a:lnTo>
                      <a:pt x="338" y="76"/>
                    </a:lnTo>
                    <a:lnTo>
                      <a:pt x="330" y="80"/>
                    </a:lnTo>
                    <a:lnTo>
                      <a:pt x="328" y="84"/>
                    </a:lnTo>
                    <a:lnTo>
                      <a:pt x="328" y="90"/>
                    </a:lnTo>
                    <a:lnTo>
                      <a:pt x="330" y="96"/>
                    </a:lnTo>
                    <a:lnTo>
                      <a:pt x="328" y="100"/>
                    </a:lnTo>
                    <a:lnTo>
                      <a:pt x="328" y="102"/>
                    </a:lnTo>
                    <a:lnTo>
                      <a:pt x="326" y="102"/>
                    </a:lnTo>
                    <a:lnTo>
                      <a:pt x="318" y="100"/>
                    </a:lnTo>
                    <a:lnTo>
                      <a:pt x="318" y="100"/>
                    </a:lnTo>
                    <a:lnTo>
                      <a:pt x="310" y="96"/>
                    </a:lnTo>
                    <a:lnTo>
                      <a:pt x="306" y="92"/>
                    </a:lnTo>
                    <a:lnTo>
                      <a:pt x="306" y="86"/>
                    </a:lnTo>
                    <a:lnTo>
                      <a:pt x="308" y="82"/>
                    </a:lnTo>
                    <a:lnTo>
                      <a:pt x="308" y="78"/>
                    </a:lnTo>
                    <a:lnTo>
                      <a:pt x="306" y="74"/>
                    </a:lnTo>
                    <a:lnTo>
                      <a:pt x="298" y="70"/>
                    </a:lnTo>
                    <a:lnTo>
                      <a:pt x="284" y="70"/>
                    </a:lnTo>
                    <a:lnTo>
                      <a:pt x="284" y="70"/>
                    </a:lnTo>
                    <a:lnTo>
                      <a:pt x="274" y="68"/>
                    </a:lnTo>
                    <a:lnTo>
                      <a:pt x="266" y="66"/>
                    </a:lnTo>
                    <a:lnTo>
                      <a:pt x="248" y="56"/>
                    </a:lnTo>
                    <a:lnTo>
                      <a:pt x="212" y="32"/>
                    </a:lnTo>
                    <a:lnTo>
                      <a:pt x="192" y="20"/>
                    </a:lnTo>
                    <a:lnTo>
                      <a:pt x="170" y="10"/>
                    </a:lnTo>
                    <a:lnTo>
                      <a:pt x="158" y="6"/>
                    </a:lnTo>
                    <a:lnTo>
                      <a:pt x="146" y="2"/>
                    </a:lnTo>
                    <a:lnTo>
                      <a:pt x="134" y="0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04" y="2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2" y="10"/>
                    </a:lnTo>
                    <a:lnTo>
                      <a:pt x="108" y="14"/>
                    </a:lnTo>
                    <a:lnTo>
                      <a:pt x="112" y="20"/>
                    </a:lnTo>
                    <a:lnTo>
                      <a:pt x="114" y="24"/>
                    </a:lnTo>
                    <a:lnTo>
                      <a:pt x="114" y="24"/>
                    </a:lnTo>
                    <a:lnTo>
                      <a:pt x="110" y="26"/>
                    </a:lnTo>
                    <a:lnTo>
                      <a:pt x="98" y="28"/>
                    </a:lnTo>
                    <a:lnTo>
                      <a:pt x="98" y="28"/>
                    </a:lnTo>
                    <a:lnTo>
                      <a:pt x="82" y="28"/>
                    </a:lnTo>
                    <a:lnTo>
                      <a:pt x="70" y="30"/>
                    </a:lnTo>
                    <a:lnTo>
                      <a:pt x="66" y="32"/>
                    </a:lnTo>
                    <a:lnTo>
                      <a:pt x="64" y="36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4" y="54"/>
                    </a:lnTo>
                    <a:lnTo>
                      <a:pt x="52" y="58"/>
                    </a:lnTo>
                    <a:lnTo>
                      <a:pt x="42" y="64"/>
                    </a:lnTo>
                    <a:lnTo>
                      <a:pt x="32" y="72"/>
                    </a:lnTo>
                    <a:lnTo>
                      <a:pt x="26" y="76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18" y="88"/>
                    </a:lnTo>
                    <a:lnTo>
                      <a:pt x="18" y="92"/>
                    </a:lnTo>
                    <a:lnTo>
                      <a:pt x="20" y="94"/>
                    </a:lnTo>
                    <a:lnTo>
                      <a:pt x="24" y="96"/>
                    </a:lnTo>
                    <a:lnTo>
                      <a:pt x="34" y="98"/>
                    </a:lnTo>
                    <a:lnTo>
                      <a:pt x="50" y="100"/>
                    </a:lnTo>
                    <a:lnTo>
                      <a:pt x="78" y="102"/>
                    </a:lnTo>
                    <a:lnTo>
                      <a:pt x="86" y="102"/>
                    </a:lnTo>
                    <a:lnTo>
                      <a:pt x="88" y="102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6" y="108"/>
                    </a:lnTo>
                    <a:lnTo>
                      <a:pt x="82" y="110"/>
                    </a:lnTo>
                    <a:lnTo>
                      <a:pt x="72" y="112"/>
                    </a:lnTo>
                    <a:lnTo>
                      <a:pt x="58" y="112"/>
                    </a:lnTo>
                    <a:lnTo>
                      <a:pt x="42" y="110"/>
                    </a:lnTo>
                    <a:lnTo>
                      <a:pt x="14" y="106"/>
                    </a:lnTo>
                    <a:lnTo>
                      <a:pt x="4" y="106"/>
                    </a:lnTo>
                    <a:lnTo>
                      <a:pt x="2" y="108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2" y="116"/>
                    </a:lnTo>
                    <a:lnTo>
                      <a:pt x="4" y="122"/>
                    </a:lnTo>
                    <a:lnTo>
                      <a:pt x="8" y="128"/>
                    </a:lnTo>
                    <a:lnTo>
                      <a:pt x="14" y="134"/>
                    </a:lnTo>
                    <a:lnTo>
                      <a:pt x="32" y="148"/>
                    </a:lnTo>
                    <a:lnTo>
                      <a:pt x="54" y="164"/>
                    </a:lnTo>
                    <a:lnTo>
                      <a:pt x="54" y="1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3" name="Freeform 6088">
                <a:extLst>
                  <a:ext uri="{FF2B5EF4-FFF2-40B4-BE49-F238E27FC236}">
                    <a16:creationId xmlns:a16="http://schemas.microsoft.com/office/drawing/2014/main" id="{0BF443AB-CB22-40B7-9128-631D3D610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0580" y="1206183"/>
                <a:ext cx="734060" cy="539750"/>
              </a:xfrm>
              <a:custGeom>
                <a:avLst/>
                <a:gdLst/>
                <a:ahLst/>
                <a:cxnLst>
                  <a:cxn ang="0">
                    <a:pos x="1088" y="504"/>
                  </a:cxn>
                  <a:cxn ang="0">
                    <a:pos x="1060" y="480"/>
                  </a:cxn>
                  <a:cxn ang="0">
                    <a:pos x="960" y="426"/>
                  </a:cxn>
                  <a:cxn ang="0">
                    <a:pos x="890" y="396"/>
                  </a:cxn>
                  <a:cxn ang="0">
                    <a:pos x="890" y="348"/>
                  </a:cxn>
                  <a:cxn ang="0">
                    <a:pos x="926" y="328"/>
                  </a:cxn>
                  <a:cxn ang="0">
                    <a:pos x="926" y="298"/>
                  </a:cxn>
                  <a:cxn ang="0">
                    <a:pos x="846" y="276"/>
                  </a:cxn>
                  <a:cxn ang="0">
                    <a:pos x="844" y="232"/>
                  </a:cxn>
                  <a:cxn ang="0">
                    <a:pos x="782" y="204"/>
                  </a:cxn>
                  <a:cxn ang="0">
                    <a:pos x="706" y="174"/>
                  </a:cxn>
                  <a:cxn ang="0">
                    <a:pos x="642" y="134"/>
                  </a:cxn>
                  <a:cxn ang="0">
                    <a:pos x="560" y="98"/>
                  </a:cxn>
                  <a:cxn ang="0">
                    <a:pos x="462" y="112"/>
                  </a:cxn>
                  <a:cxn ang="0">
                    <a:pos x="404" y="110"/>
                  </a:cxn>
                  <a:cxn ang="0">
                    <a:pos x="388" y="90"/>
                  </a:cxn>
                  <a:cxn ang="0">
                    <a:pos x="352" y="18"/>
                  </a:cxn>
                  <a:cxn ang="0">
                    <a:pos x="200" y="50"/>
                  </a:cxn>
                  <a:cxn ang="0">
                    <a:pos x="174" y="84"/>
                  </a:cxn>
                  <a:cxn ang="0">
                    <a:pos x="168" y="138"/>
                  </a:cxn>
                  <a:cxn ang="0">
                    <a:pos x="222" y="180"/>
                  </a:cxn>
                  <a:cxn ang="0">
                    <a:pos x="150" y="122"/>
                  </a:cxn>
                  <a:cxn ang="0">
                    <a:pos x="188" y="26"/>
                  </a:cxn>
                  <a:cxn ang="0">
                    <a:pos x="116" y="8"/>
                  </a:cxn>
                  <a:cxn ang="0">
                    <a:pos x="18" y="90"/>
                  </a:cxn>
                  <a:cxn ang="0">
                    <a:pos x="58" y="196"/>
                  </a:cxn>
                  <a:cxn ang="0">
                    <a:pos x="40" y="216"/>
                  </a:cxn>
                  <a:cxn ang="0">
                    <a:pos x="118" y="270"/>
                  </a:cxn>
                  <a:cxn ang="0">
                    <a:pos x="234" y="288"/>
                  </a:cxn>
                  <a:cxn ang="0">
                    <a:pos x="336" y="290"/>
                  </a:cxn>
                  <a:cxn ang="0">
                    <a:pos x="358" y="284"/>
                  </a:cxn>
                  <a:cxn ang="0">
                    <a:pos x="462" y="284"/>
                  </a:cxn>
                  <a:cxn ang="0">
                    <a:pos x="498" y="274"/>
                  </a:cxn>
                  <a:cxn ang="0">
                    <a:pos x="580" y="338"/>
                  </a:cxn>
                  <a:cxn ang="0">
                    <a:pos x="538" y="376"/>
                  </a:cxn>
                  <a:cxn ang="0">
                    <a:pos x="654" y="402"/>
                  </a:cxn>
                  <a:cxn ang="0">
                    <a:pos x="712" y="474"/>
                  </a:cxn>
                  <a:cxn ang="0">
                    <a:pos x="640" y="558"/>
                  </a:cxn>
                  <a:cxn ang="0">
                    <a:pos x="628" y="608"/>
                  </a:cxn>
                  <a:cxn ang="0">
                    <a:pos x="510" y="624"/>
                  </a:cxn>
                  <a:cxn ang="0">
                    <a:pos x="514" y="688"/>
                  </a:cxn>
                  <a:cxn ang="0">
                    <a:pos x="616" y="688"/>
                  </a:cxn>
                  <a:cxn ang="0">
                    <a:pos x="656" y="674"/>
                  </a:cxn>
                  <a:cxn ang="0">
                    <a:pos x="736" y="724"/>
                  </a:cxn>
                  <a:cxn ang="0">
                    <a:pos x="732" y="752"/>
                  </a:cxn>
                  <a:cxn ang="0">
                    <a:pos x="854" y="818"/>
                  </a:cxn>
                  <a:cxn ang="0">
                    <a:pos x="966" y="822"/>
                  </a:cxn>
                  <a:cxn ang="0">
                    <a:pos x="854" y="724"/>
                  </a:cxn>
                  <a:cxn ang="0">
                    <a:pos x="908" y="744"/>
                  </a:cxn>
                  <a:cxn ang="0">
                    <a:pos x="1012" y="814"/>
                  </a:cxn>
                  <a:cxn ang="0">
                    <a:pos x="1018" y="766"/>
                  </a:cxn>
                  <a:cxn ang="0">
                    <a:pos x="1022" y="724"/>
                  </a:cxn>
                  <a:cxn ang="0">
                    <a:pos x="1000" y="694"/>
                  </a:cxn>
                  <a:cxn ang="0">
                    <a:pos x="942" y="632"/>
                  </a:cxn>
                  <a:cxn ang="0">
                    <a:pos x="890" y="586"/>
                  </a:cxn>
                  <a:cxn ang="0">
                    <a:pos x="902" y="544"/>
                  </a:cxn>
                  <a:cxn ang="0">
                    <a:pos x="942" y="544"/>
                  </a:cxn>
                  <a:cxn ang="0">
                    <a:pos x="990" y="580"/>
                  </a:cxn>
                  <a:cxn ang="0">
                    <a:pos x="1070" y="648"/>
                  </a:cxn>
                  <a:cxn ang="0">
                    <a:pos x="1102" y="596"/>
                  </a:cxn>
                  <a:cxn ang="0">
                    <a:pos x="1128" y="568"/>
                  </a:cxn>
                  <a:cxn ang="0">
                    <a:pos x="1148" y="514"/>
                  </a:cxn>
                </a:cxnLst>
                <a:rect l="0" t="0" r="r" b="b"/>
                <a:pathLst>
                  <a:path w="1156" h="850">
                    <a:moveTo>
                      <a:pt x="1148" y="514"/>
                    </a:moveTo>
                    <a:lnTo>
                      <a:pt x="1148" y="514"/>
                    </a:lnTo>
                    <a:lnTo>
                      <a:pt x="1144" y="506"/>
                    </a:lnTo>
                    <a:lnTo>
                      <a:pt x="1138" y="502"/>
                    </a:lnTo>
                    <a:lnTo>
                      <a:pt x="1134" y="500"/>
                    </a:lnTo>
                    <a:lnTo>
                      <a:pt x="1128" y="498"/>
                    </a:lnTo>
                    <a:lnTo>
                      <a:pt x="1116" y="498"/>
                    </a:lnTo>
                    <a:lnTo>
                      <a:pt x="1106" y="502"/>
                    </a:lnTo>
                    <a:lnTo>
                      <a:pt x="1096" y="506"/>
                    </a:lnTo>
                    <a:lnTo>
                      <a:pt x="1090" y="508"/>
                    </a:lnTo>
                    <a:lnTo>
                      <a:pt x="1088" y="506"/>
                    </a:lnTo>
                    <a:lnTo>
                      <a:pt x="1088" y="504"/>
                    </a:lnTo>
                    <a:lnTo>
                      <a:pt x="1090" y="496"/>
                    </a:lnTo>
                    <a:lnTo>
                      <a:pt x="1090" y="496"/>
                    </a:lnTo>
                    <a:lnTo>
                      <a:pt x="1092" y="486"/>
                    </a:lnTo>
                    <a:lnTo>
                      <a:pt x="1090" y="482"/>
                    </a:lnTo>
                    <a:lnTo>
                      <a:pt x="1088" y="480"/>
                    </a:lnTo>
                    <a:lnTo>
                      <a:pt x="1084" y="480"/>
                    </a:lnTo>
                    <a:lnTo>
                      <a:pt x="1076" y="482"/>
                    </a:lnTo>
                    <a:lnTo>
                      <a:pt x="1062" y="486"/>
                    </a:lnTo>
                    <a:lnTo>
                      <a:pt x="1060" y="486"/>
                    </a:lnTo>
                    <a:lnTo>
                      <a:pt x="1058" y="486"/>
                    </a:lnTo>
                    <a:lnTo>
                      <a:pt x="1060" y="480"/>
                    </a:lnTo>
                    <a:lnTo>
                      <a:pt x="1060" y="480"/>
                    </a:lnTo>
                    <a:lnTo>
                      <a:pt x="1062" y="472"/>
                    </a:lnTo>
                    <a:lnTo>
                      <a:pt x="1062" y="466"/>
                    </a:lnTo>
                    <a:lnTo>
                      <a:pt x="1060" y="462"/>
                    </a:lnTo>
                    <a:lnTo>
                      <a:pt x="1056" y="458"/>
                    </a:lnTo>
                    <a:lnTo>
                      <a:pt x="1042" y="450"/>
                    </a:lnTo>
                    <a:lnTo>
                      <a:pt x="1022" y="436"/>
                    </a:lnTo>
                    <a:lnTo>
                      <a:pt x="1022" y="436"/>
                    </a:lnTo>
                    <a:lnTo>
                      <a:pt x="1010" y="430"/>
                    </a:lnTo>
                    <a:lnTo>
                      <a:pt x="996" y="428"/>
                    </a:lnTo>
                    <a:lnTo>
                      <a:pt x="984" y="426"/>
                    </a:lnTo>
                    <a:lnTo>
                      <a:pt x="970" y="426"/>
                    </a:lnTo>
                    <a:lnTo>
                      <a:pt x="960" y="426"/>
                    </a:lnTo>
                    <a:lnTo>
                      <a:pt x="950" y="424"/>
                    </a:lnTo>
                    <a:lnTo>
                      <a:pt x="944" y="420"/>
                    </a:lnTo>
                    <a:lnTo>
                      <a:pt x="942" y="416"/>
                    </a:lnTo>
                    <a:lnTo>
                      <a:pt x="940" y="410"/>
                    </a:lnTo>
                    <a:lnTo>
                      <a:pt x="940" y="410"/>
                    </a:lnTo>
                    <a:lnTo>
                      <a:pt x="938" y="406"/>
                    </a:lnTo>
                    <a:lnTo>
                      <a:pt x="936" y="402"/>
                    </a:lnTo>
                    <a:lnTo>
                      <a:pt x="930" y="400"/>
                    </a:lnTo>
                    <a:lnTo>
                      <a:pt x="926" y="398"/>
                    </a:lnTo>
                    <a:lnTo>
                      <a:pt x="914" y="396"/>
                    </a:lnTo>
                    <a:lnTo>
                      <a:pt x="900" y="396"/>
                    </a:lnTo>
                    <a:lnTo>
                      <a:pt x="890" y="396"/>
                    </a:lnTo>
                    <a:lnTo>
                      <a:pt x="882" y="394"/>
                    </a:lnTo>
                    <a:lnTo>
                      <a:pt x="882" y="394"/>
                    </a:lnTo>
                    <a:lnTo>
                      <a:pt x="882" y="392"/>
                    </a:lnTo>
                    <a:lnTo>
                      <a:pt x="890" y="384"/>
                    </a:lnTo>
                    <a:lnTo>
                      <a:pt x="890" y="384"/>
                    </a:lnTo>
                    <a:lnTo>
                      <a:pt x="896" y="380"/>
                    </a:lnTo>
                    <a:lnTo>
                      <a:pt x="900" y="376"/>
                    </a:lnTo>
                    <a:lnTo>
                      <a:pt x="902" y="372"/>
                    </a:lnTo>
                    <a:lnTo>
                      <a:pt x="902" y="366"/>
                    </a:lnTo>
                    <a:lnTo>
                      <a:pt x="900" y="360"/>
                    </a:lnTo>
                    <a:lnTo>
                      <a:pt x="894" y="352"/>
                    </a:lnTo>
                    <a:lnTo>
                      <a:pt x="890" y="348"/>
                    </a:lnTo>
                    <a:lnTo>
                      <a:pt x="888" y="344"/>
                    </a:lnTo>
                    <a:lnTo>
                      <a:pt x="890" y="344"/>
                    </a:lnTo>
                    <a:lnTo>
                      <a:pt x="902" y="346"/>
                    </a:lnTo>
                    <a:lnTo>
                      <a:pt x="902" y="346"/>
                    </a:lnTo>
                    <a:lnTo>
                      <a:pt x="916" y="348"/>
                    </a:lnTo>
                    <a:lnTo>
                      <a:pt x="928" y="348"/>
                    </a:lnTo>
                    <a:lnTo>
                      <a:pt x="938" y="346"/>
                    </a:lnTo>
                    <a:lnTo>
                      <a:pt x="942" y="342"/>
                    </a:lnTo>
                    <a:lnTo>
                      <a:pt x="944" y="340"/>
                    </a:lnTo>
                    <a:lnTo>
                      <a:pt x="944" y="338"/>
                    </a:lnTo>
                    <a:lnTo>
                      <a:pt x="938" y="334"/>
                    </a:lnTo>
                    <a:lnTo>
                      <a:pt x="926" y="328"/>
                    </a:lnTo>
                    <a:lnTo>
                      <a:pt x="906" y="324"/>
                    </a:lnTo>
                    <a:lnTo>
                      <a:pt x="906" y="324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80" y="316"/>
                    </a:lnTo>
                    <a:lnTo>
                      <a:pt x="900" y="312"/>
                    </a:lnTo>
                    <a:lnTo>
                      <a:pt x="910" y="308"/>
                    </a:lnTo>
                    <a:lnTo>
                      <a:pt x="920" y="304"/>
                    </a:lnTo>
                    <a:lnTo>
                      <a:pt x="920" y="304"/>
                    </a:lnTo>
                    <a:lnTo>
                      <a:pt x="924" y="300"/>
                    </a:lnTo>
                    <a:lnTo>
                      <a:pt x="926" y="298"/>
                    </a:lnTo>
                    <a:lnTo>
                      <a:pt x="926" y="294"/>
                    </a:lnTo>
                    <a:lnTo>
                      <a:pt x="926" y="290"/>
                    </a:lnTo>
                    <a:lnTo>
                      <a:pt x="922" y="284"/>
                    </a:lnTo>
                    <a:lnTo>
                      <a:pt x="914" y="278"/>
                    </a:lnTo>
                    <a:lnTo>
                      <a:pt x="904" y="272"/>
                    </a:lnTo>
                    <a:lnTo>
                      <a:pt x="894" y="268"/>
                    </a:lnTo>
                    <a:lnTo>
                      <a:pt x="886" y="268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72" y="274"/>
                    </a:lnTo>
                    <a:lnTo>
                      <a:pt x="864" y="276"/>
                    </a:lnTo>
                    <a:lnTo>
                      <a:pt x="846" y="276"/>
                    </a:lnTo>
                    <a:lnTo>
                      <a:pt x="842" y="276"/>
                    </a:lnTo>
                    <a:lnTo>
                      <a:pt x="840" y="274"/>
                    </a:lnTo>
                    <a:lnTo>
                      <a:pt x="842" y="270"/>
                    </a:lnTo>
                    <a:lnTo>
                      <a:pt x="852" y="266"/>
                    </a:lnTo>
                    <a:lnTo>
                      <a:pt x="852" y="266"/>
                    </a:lnTo>
                    <a:lnTo>
                      <a:pt x="874" y="258"/>
                    </a:lnTo>
                    <a:lnTo>
                      <a:pt x="880" y="254"/>
                    </a:lnTo>
                    <a:lnTo>
                      <a:pt x="882" y="252"/>
                    </a:lnTo>
                    <a:lnTo>
                      <a:pt x="878" y="248"/>
                    </a:lnTo>
                    <a:lnTo>
                      <a:pt x="872" y="244"/>
                    </a:lnTo>
                    <a:lnTo>
                      <a:pt x="844" y="232"/>
                    </a:lnTo>
                    <a:lnTo>
                      <a:pt x="844" y="232"/>
                    </a:lnTo>
                    <a:lnTo>
                      <a:pt x="826" y="226"/>
                    </a:lnTo>
                    <a:lnTo>
                      <a:pt x="812" y="226"/>
                    </a:lnTo>
                    <a:lnTo>
                      <a:pt x="802" y="228"/>
                    </a:lnTo>
                    <a:lnTo>
                      <a:pt x="794" y="230"/>
                    </a:lnTo>
                    <a:lnTo>
                      <a:pt x="790" y="232"/>
                    </a:lnTo>
                    <a:lnTo>
                      <a:pt x="786" y="232"/>
                    </a:lnTo>
                    <a:lnTo>
                      <a:pt x="786" y="230"/>
                    </a:lnTo>
                    <a:lnTo>
                      <a:pt x="786" y="220"/>
                    </a:lnTo>
                    <a:lnTo>
                      <a:pt x="786" y="220"/>
                    </a:lnTo>
                    <a:lnTo>
                      <a:pt x="788" y="210"/>
                    </a:lnTo>
                    <a:lnTo>
                      <a:pt x="784" y="206"/>
                    </a:lnTo>
                    <a:lnTo>
                      <a:pt x="782" y="204"/>
                    </a:lnTo>
                    <a:lnTo>
                      <a:pt x="776" y="204"/>
                    </a:lnTo>
                    <a:lnTo>
                      <a:pt x="768" y="206"/>
                    </a:lnTo>
                    <a:lnTo>
                      <a:pt x="764" y="204"/>
                    </a:lnTo>
                    <a:lnTo>
                      <a:pt x="762" y="198"/>
                    </a:lnTo>
                    <a:lnTo>
                      <a:pt x="762" y="198"/>
                    </a:lnTo>
                    <a:lnTo>
                      <a:pt x="762" y="190"/>
                    </a:lnTo>
                    <a:lnTo>
                      <a:pt x="756" y="184"/>
                    </a:lnTo>
                    <a:lnTo>
                      <a:pt x="748" y="178"/>
                    </a:lnTo>
                    <a:lnTo>
                      <a:pt x="738" y="174"/>
                    </a:lnTo>
                    <a:lnTo>
                      <a:pt x="728" y="170"/>
                    </a:lnTo>
                    <a:lnTo>
                      <a:pt x="716" y="170"/>
                    </a:lnTo>
                    <a:lnTo>
                      <a:pt x="706" y="174"/>
                    </a:lnTo>
                    <a:lnTo>
                      <a:pt x="696" y="182"/>
                    </a:lnTo>
                    <a:lnTo>
                      <a:pt x="696" y="182"/>
                    </a:lnTo>
                    <a:lnTo>
                      <a:pt x="686" y="190"/>
                    </a:lnTo>
                    <a:lnTo>
                      <a:pt x="680" y="192"/>
                    </a:lnTo>
                    <a:lnTo>
                      <a:pt x="674" y="190"/>
                    </a:lnTo>
                    <a:lnTo>
                      <a:pt x="670" y="186"/>
                    </a:lnTo>
                    <a:lnTo>
                      <a:pt x="666" y="178"/>
                    </a:lnTo>
                    <a:lnTo>
                      <a:pt x="662" y="168"/>
                    </a:lnTo>
                    <a:lnTo>
                      <a:pt x="652" y="148"/>
                    </a:lnTo>
                    <a:lnTo>
                      <a:pt x="652" y="148"/>
                    </a:lnTo>
                    <a:lnTo>
                      <a:pt x="648" y="138"/>
                    </a:lnTo>
                    <a:lnTo>
                      <a:pt x="642" y="134"/>
                    </a:lnTo>
                    <a:lnTo>
                      <a:pt x="638" y="134"/>
                    </a:lnTo>
                    <a:lnTo>
                      <a:pt x="632" y="134"/>
                    </a:lnTo>
                    <a:lnTo>
                      <a:pt x="628" y="134"/>
                    </a:lnTo>
                    <a:lnTo>
                      <a:pt x="622" y="134"/>
                    </a:lnTo>
                    <a:lnTo>
                      <a:pt x="616" y="128"/>
                    </a:lnTo>
                    <a:lnTo>
                      <a:pt x="610" y="120"/>
                    </a:lnTo>
                    <a:lnTo>
                      <a:pt x="610" y="120"/>
                    </a:lnTo>
                    <a:lnTo>
                      <a:pt x="602" y="110"/>
                    </a:lnTo>
                    <a:lnTo>
                      <a:pt x="594" y="104"/>
                    </a:lnTo>
                    <a:lnTo>
                      <a:pt x="586" y="100"/>
                    </a:lnTo>
                    <a:lnTo>
                      <a:pt x="578" y="100"/>
                    </a:lnTo>
                    <a:lnTo>
                      <a:pt x="560" y="98"/>
                    </a:lnTo>
                    <a:lnTo>
                      <a:pt x="552" y="98"/>
                    </a:lnTo>
                    <a:lnTo>
                      <a:pt x="546" y="94"/>
                    </a:lnTo>
                    <a:lnTo>
                      <a:pt x="546" y="94"/>
                    </a:lnTo>
                    <a:lnTo>
                      <a:pt x="528" y="88"/>
                    </a:lnTo>
                    <a:lnTo>
                      <a:pt x="518" y="84"/>
                    </a:lnTo>
                    <a:lnTo>
                      <a:pt x="506" y="82"/>
                    </a:lnTo>
                    <a:lnTo>
                      <a:pt x="494" y="84"/>
                    </a:lnTo>
                    <a:lnTo>
                      <a:pt x="484" y="88"/>
                    </a:lnTo>
                    <a:lnTo>
                      <a:pt x="474" y="94"/>
                    </a:lnTo>
                    <a:lnTo>
                      <a:pt x="466" y="106"/>
                    </a:lnTo>
                    <a:lnTo>
                      <a:pt x="466" y="106"/>
                    </a:lnTo>
                    <a:lnTo>
                      <a:pt x="462" y="112"/>
                    </a:lnTo>
                    <a:lnTo>
                      <a:pt x="460" y="116"/>
                    </a:lnTo>
                    <a:lnTo>
                      <a:pt x="456" y="118"/>
                    </a:lnTo>
                    <a:lnTo>
                      <a:pt x="452" y="118"/>
                    </a:lnTo>
                    <a:lnTo>
                      <a:pt x="444" y="116"/>
                    </a:lnTo>
                    <a:lnTo>
                      <a:pt x="436" y="112"/>
                    </a:lnTo>
                    <a:lnTo>
                      <a:pt x="428" y="106"/>
                    </a:lnTo>
                    <a:lnTo>
                      <a:pt x="420" y="104"/>
                    </a:lnTo>
                    <a:lnTo>
                      <a:pt x="416" y="102"/>
                    </a:lnTo>
                    <a:lnTo>
                      <a:pt x="412" y="104"/>
                    </a:lnTo>
                    <a:lnTo>
                      <a:pt x="408" y="106"/>
                    </a:lnTo>
                    <a:lnTo>
                      <a:pt x="404" y="110"/>
                    </a:lnTo>
                    <a:lnTo>
                      <a:pt x="404" y="110"/>
                    </a:lnTo>
                    <a:lnTo>
                      <a:pt x="396" y="118"/>
                    </a:lnTo>
                    <a:lnTo>
                      <a:pt x="388" y="124"/>
                    </a:lnTo>
                    <a:lnTo>
                      <a:pt x="380" y="130"/>
                    </a:lnTo>
                    <a:lnTo>
                      <a:pt x="376" y="132"/>
                    </a:lnTo>
                    <a:lnTo>
                      <a:pt x="372" y="132"/>
                    </a:lnTo>
                    <a:lnTo>
                      <a:pt x="370" y="130"/>
                    </a:lnTo>
                    <a:lnTo>
                      <a:pt x="372" y="126"/>
                    </a:lnTo>
                    <a:lnTo>
                      <a:pt x="376" y="118"/>
                    </a:lnTo>
                    <a:lnTo>
                      <a:pt x="376" y="118"/>
                    </a:lnTo>
                    <a:lnTo>
                      <a:pt x="382" y="110"/>
                    </a:lnTo>
                    <a:lnTo>
                      <a:pt x="386" y="100"/>
                    </a:lnTo>
                    <a:lnTo>
                      <a:pt x="388" y="90"/>
                    </a:lnTo>
                    <a:lnTo>
                      <a:pt x="388" y="82"/>
                    </a:lnTo>
                    <a:lnTo>
                      <a:pt x="386" y="72"/>
                    </a:lnTo>
                    <a:lnTo>
                      <a:pt x="382" y="64"/>
                    </a:lnTo>
                    <a:lnTo>
                      <a:pt x="376" y="58"/>
                    </a:lnTo>
                    <a:lnTo>
                      <a:pt x="368" y="54"/>
                    </a:lnTo>
                    <a:lnTo>
                      <a:pt x="368" y="54"/>
                    </a:lnTo>
                    <a:lnTo>
                      <a:pt x="360" y="50"/>
                    </a:lnTo>
                    <a:lnTo>
                      <a:pt x="356" y="44"/>
                    </a:lnTo>
                    <a:lnTo>
                      <a:pt x="356" y="38"/>
                    </a:lnTo>
                    <a:lnTo>
                      <a:pt x="354" y="32"/>
                    </a:lnTo>
                    <a:lnTo>
                      <a:pt x="354" y="24"/>
                    </a:lnTo>
                    <a:lnTo>
                      <a:pt x="352" y="18"/>
                    </a:lnTo>
                    <a:lnTo>
                      <a:pt x="346" y="14"/>
                    </a:lnTo>
                    <a:lnTo>
                      <a:pt x="338" y="12"/>
                    </a:lnTo>
                    <a:lnTo>
                      <a:pt x="338" y="12"/>
                    </a:lnTo>
                    <a:lnTo>
                      <a:pt x="326" y="10"/>
                    </a:lnTo>
                    <a:lnTo>
                      <a:pt x="306" y="12"/>
                    </a:lnTo>
                    <a:lnTo>
                      <a:pt x="282" y="14"/>
                    </a:lnTo>
                    <a:lnTo>
                      <a:pt x="260" y="18"/>
                    </a:lnTo>
                    <a:lnTo>
                      <a:pt x="236" y="24"/>
                    </a:lnTo>
                    <a:lnTo>
                      <a:pt x="218" y="32"/>
                    </a:lnTo>
                    <a:lnTo>
                      <a:pt x="210" y="38"/>
                    </a:lnTo>
                    <a:lnTo>
                      <a:pt x="204" y="44"/>
                    </a:lnTo>
                    <a:lnTo>
                      <a:pt x="200" y="50"/>
                    </a:lnTo>
                    <a:lnTo>
                      <a:pt x="198" y="56"/>
                    </a:lnTo>
                    <a:lnTo>
                      <a:pt x="198" y="56"/>
                    </a:lnTo>
                    <a:lnTo>
                      <a:pt x="198" y="62"/>
                    </a:lnTo>
                    <a:lnTo>
                      <a:pt x="196" y="66"/>
                    </a:lnTo>
                    <a:lnTo>
                      <a:pt x="194" y="68"/>
                    </a:lnTo>
                    <a:lnTo>
                      <a:pt x="192" y="70"/>
                    </a:lnTo>
                    <a:lnTo>
                      <a:pt x="186" y="72"/>
                    </a:lnTo>
                    <a:lnTo>
                      <a:pt x="178" y="70"/>
                    </a:lnTo>
                    <a:lnTo>
                      <a:pt x="174" y="72"/>
                    </a:lnTo>
                    <a:lnTo>
                      <a:pt x="172" y="72"/>
                    </a:lnTo>
                    <a:lnTo>
                      <a:pt x="172" y="74"/>
                    </a:lnTo>
                    <a:lnTo>
                      <a:pt x="174" y="84"/>
                    </a:lnTo>
                    <a:lnTo>
                      <a:pt x="182" y="100"/>
                    </a:lnTo>
                    <a:lnTo>
                      <a:pt x="182" y="100"/>
                    </a:lnTo>
                    <a:lnTo>
                      <a:pt x="188" y="116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8" y="130"/>
                    </a:lnTo>
                    <a:lnTo>
                      <a:pt x="184" y="130"/>
                    </a:lnTo>
                    <a:lnTo>
                      <a:pt x="180" y="132"/>
                    </a:lnTo>
                    <a:lnTo>
                      <a:pt x="174" y="132"/>
                    </a:lnTo>
                    <a:lnTo>
                      <a:pt x="168" y="134"/>
                    </a:lnTo>
                    <a:lnTo>
                      <a:pt x="168" y="136"/>
                    </a:lnTo>
                    <a:lnTo>
                      <a:pt x="168" y="138"/>
                    </a:lnTo>
                    <a:lnTo>
                      <a:pt x="174" y="148"/>
                    </a:lnTo>
                    <a:lnTo>
                      <a:pt x="174" y="148"/>
                    </a:lnTo>
                    <a:lnTo>
                      <a:pt x="184" y="158"/>
                    </a:lnTo>
                    <a:lnTo>
                      <a:pt x="192" y="164"/>
                    </a:lnTo>
                    <a:lnTo>
                      <a:pt x="200" y="166"/>
                    </a:lnTo>
                    <a:lnTo>
                      <a:pt x="208" y="166"/>
                    </a:lnTo>
                    <a:lnTo>
                      <a:pt x="212" y="164"/>
                    </a:lnTo>
                    <a:lnTo>
                      <a:pt x="218" y="166"/>
                    </a:lnTo>
                    <a:lnTo>
                      <a:pt x="220" y="168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2" y="180"/>
                    </a:lnTo>
                    <a:lnTo>
                      <a:pt x="220" y="182"/>
                    </a:lnTo>
                    <a:lnTo>
                      <a:pt x="216" y="184"/>
                    </a:lnTo>
                    <a:lnTo>
                      <a:pt x="210" y="184"/>
                    </a:lnTo>
                    <a:lnTo>
                      <a:pt x="196" y="180"/>
                    </a:lnTo>
                    <a:lnTo>
                      <a:pt x="180" y="174"/>
                    </a:lnTo>
                    <a:lnTo>
                      <a:pt x="164" y="164"/>
                    </a:lnTo>
                    <a:lnTo>
                      <a:pt x="152" y="150"/>
                    </a:lnTo>
                    <a:lnTo>
                      <a:pt x="148" y="144"/>
                    </a:lnTo>
                    <a:lnTo>
                      <a:pt x="146" y="136"/>
                    </a:lnTo>
                    <a:lnTo>
                      <a:pt x="146" y="130"/>
                    </a:lnTo>
                    <a:lnTo>
                      <a:pt x="150" y="122"/>
                    </a:lnTo>
                    <a:lnTo>
                      <a:pt x="150" y="122"/>
                    </a:lnTo>
                    <a:lnTo>
                      <a:pt x="154" y="110"/>
                    </a:lnTo>
                    <a:lnTo>
                      <a:pt x="152" y="102"/>
                    </a:lnTo>
                    <a:lnTo>
                      <a:pt x="150" y="98"/>
                    </a:lnTo>
                    <a:lnTo>
                      <a:pt x="144" y="94"/>
                    </a:lnTo>
                    <a:lnTo>
                      <a:pt x="142" y="90"/>
                    </a:lnTo>
                    <a:lnTo>
                      <a:pt x="140" y="84"/>
                    </a:lnTo>
                    <a:lnTo>
                      <a:pt x="144" y="74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68" y="44"/>
                    </a:lnTo>
                    <a:lnTo>
                      <a:pt x="180" y="34"/>
                    </a:lnTo>
                    <a:lnTo>
                      <a:pt x="188" y="26"/>
                    </a:lnTo>
                    <a:lnTo>
                      <a:pt x="198" y="22"/>
                    </a:lnTo>
                    <a:lnTo>
                      <a:pt x="208" y="16"/>
                    </a:lnTo>
                    <a:lnTo>
                      <a:pt x="212" y="14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2" y="8"/>
                    </a:lnTo>
                    <a:lnTo>
                      <a:pt x="210" y="6"/>
                    </a:lnTo>
                    <a:lnTo>
                      <a:pt x="200" y="2"/>
                    </a:lnTo>
                    <a:lnTo>
                      <a:pt x="184" y="0"/>
                    </a:lnTo>
                    <a:lnTo>
                      <a:pt x="164" y="0"/>
                    </a:lnTo>
                    <a:lnTo>
                      <a:pt x="140" y="2"/>
                    </a:lnTo>
                    <a:lnTo>
                      <a:pt x="116" y="8"/>
                    </a:lnTo>
                    <a:lnTo>
                      <a:pt x="92" y="1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52" y="38"/>
                    </a:lnTo>
                    <a:lnTo>
                      <a:pt x="40" y="48"/>
                    </a:lnTo>
                    <a:lnTo>
                      <a:pt x="34" y="56"/>
                    </a:lnTo>
                    <a:lnTo>
                      <a:pt x="32" y="62"/>
                    </a:lnTo>
                    <a:lnTo>
                      <a:pt x="30" y="72"/>
                    </a:lnTo>
                    <a:lnTo>
                      <a:pt x="28" y="76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18" y="90"/>
                    </a:lnTo>
                    <a:lnTo>
                      <a:pt x="14" y="96"/>
                    </a:lnTo>
                    <a:lnTo>
                      <a:pt x="8" y="112"/>
                    </a:lnTo>
                    <a:lnTo>
                      <a:pt x="4" y="132"/>
                    </a:lnTo>
                    <a:lnTo>
                      <a:pt x="2" y="156"/>
                    </a:lnTo>
                    <a:lnTo>
                      <a:pt x="2" y="156"/>
                    </a:lnTo>
                    <a:lnTo>
                      <a:pt x="0" y="168"/>
                    </a:lnTo>
                    <a:lnTo>
                      <a:pt x="0" y="178"/>
                    </a:lnTo>
                    <a:lnTo>
                      <a:pt x="2" y="184"/>
                    </a:lnTo>
                    <a:lnTo>
                      <a:pt x="8" y="188"/>
                    </a:lnTo>
                    <a:lnTo>
                      <a:pt x="14" y="192"/>
                    </a:lnTo>
                    <a:lnTo>
                      <a:pt x="26" y="194"/>
                    </a:lnTo>
                    <a:lnTo>
                      <a:pt x="58" y="196"/>
                    </a:lnTo>
                    <a:lnTo>
                      <a:pt x="58" y="196"/>
                    </a:lnTo>
                    <a:lnTo>
                      <a:pt x="76" y="200"/>
                    </a:lnTo>
                    <a:lnTo>
                      <a:pt x="90" y="202"/>
                    </a:lnTo>
                    <a:lnTo>
                      <a:pt x="100" y="208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2" y="218"/>
                    </a:lnTo>
                    <a:lnTo>
                      <a:pt x="94" y="220"/>
                    </a:lnTo>
                    <a:lnTo>
                      <a:pt x="78" y="218"/>
                    </a:lnTo>
                    <a:lnTo>
                      <a:pt x="78" y="218"/>
                    </a:lnTo>
                    <a:lnTo>
                      <a:pt x="50" y="216"/>
                    </a:lnTo>
                    <a:lnTo>
                      <a:pt x="40" y="216"/>
                    </a:lnTo>
                    <a:lnTo>
                      <a:pt x="32" y="218"/>
                    </a:lnTo>
                    <a:lnTo>
                      <a:pt x="32" y="220"/>
                    </a:lnTo>
                    <a:lnTo>
                      <a:pt x="30" y="222"/>
                    </a:lnTo>
                    <a:lnTo>
                      <a:pt x="32" y="228"/>
                    </a:lnTo>
                    <a:lnTo>
                      <a:pt x="40" y="238"/>
                    </a:lnTo>
                    <a:lnTo>
                      <a:pt x="52" y="250"/>
                    </a:lnTo>
                    <a:lnTo>
                      <a:pt x="52" y="250"/>
                    </a:lnTo>
                    <a:lnTo>
                      <a:pt x="68" y="262"/>
                    </a:lnTo>
                    <a:lnTo>
                      <a:pt x="82" y="268"/>
                    </a:lnTo>
                    <a:lnTo>
                      <a:pt x="94" y="270"/>
                    </a:lnTo>
                    <a:lnTo>
                      <a:pt x="106" y="270"/>
                    </a:lnTo>
                    <a:lnTo>
                      <a:pt x="118" y="270"/>
                    </a:lnTo>
                    <a:lnTo>
                      <a:pt x="130" y="270"/>
                    </a:lnTo>
                    <a:lnTo>
                      <a:pt x="142" y="272"/>
                    </a:lnTo>
                    <a:lnTo>
                      <a:pt x="152" y="278"/>
                    </a:lnTo>
                    <a:lnTo>
                      <a:pt x="152" y="278"/>
                    </a:lnTo>
                    <a:lnTo>
                      <a:pt x="162" y="284"/>
                    </a:lnTo>
                    <a:lnTo>
                      <a:pt x="174" y="288"/>
                    </a:lnTo>
                    <a:lnTo>
                      <a:pt x="184" y="290"/>
                    </a:lnTo>
                    <a:lnTo>
                      <a:pt x="194" y="288"/>
                    </a:lnTo>
                    <a:lnTo>
                      <a:pt x="208" y="286"/>
                    </a:lnTo>
                    <a:lnTo>
                      <a:pt x="218" y="286"/>
                    </a:lnTo>
                    <a:lnTo>
                      <a:pt x="218" y="286"/>
                    </a:lnTo>
                    <a:lnTo>
                      <a:pt x="234" y="288"/>
                    </a:lnTo>
                    <a:lnTo>
                      <a:pt x="244" y="290"/>
                    </a:lnTo>
                    <a:lnTo>
                      <a:pt x="260" y="290"/>
                    </a:lnTo>
                    <a:lnTo>
                      <a:pt x="268" y="290"/>
                    </a:lnTo>
                    <a:lnTo>
                      <a:pt x="276" y="290"/>
                    </a:lnTo>
                    <a:lnTo>
                      <a:pt x="288" y="292"/>
                    </a:lnTo>
                    <a:lnTo>
                      <a:pt x="304" y="296"/>
                    </a:lnTo>
                    <a:lnTo>
                      <a:pt x="304" y="296"/>
                    </a:lnTo>
                    <a:lnTo>
                      <a:pt x="316" y="300"/>
                    </a:lnTo>
                    <a:lnTo>
                      <a:pt x="324" y="298"/>
                    </a:lnTo>
                    <a:lnTo>
                      <a:pt x="328" y="296"/>
                    </a:lnTo>
                    <a:lnTo>
                      <a:pt x="332" y="292"/>
                    </a:lnTo>
                    <a:lnTo>
                      <a:pt x="336" y="290"/>
                    </a:lnTo>
                    <a:lnTo>
                      <a:pt x="340" y="290"/>
                    </a:lnTo>
                    <a:lnTo>
                      <a:pt x="346" y="292"/>
                    </a:lnTo>
                    <a:lnTo>
                      <a:pt x="356" y="298"/>
                    </a:lnTo>
                    <a:lnTo>
                      <a:pt x="356" y="298"/>
                    </a:lnTo>
                    <a:lnTo>
                      <a:pt x="374" y="312"/>
                    </a:lnTo>
                    <a:lnTo>
                      <a:pt x="378" y="314"/>
                    </a:lnTo>
                    <a:lnTo>
                      <a:pt x="380" y="312"/>
                    </a:lnTo>
                    <a:lnTo>
                      <a:pt x="378" y="310"/>
                    </a:lnTo>
                    <a:lnTo>
                      <a:pt x="376" y="306"/>
                    </a:lnTo>
                    <a:lnTo>
                      <a:pt x="362" y="292"/>
                    </a:lnTo>
                    <a:lnTo>
                      <a:pt x="362" y="292"/>
                    </a:lnTo>
                    <a:lnTo>
                      <a:pt x="358" y="284"/>
                    </a:lnTo>
                    <a:lnTo>
                      <a:pt x="358" y="282"/>
                    </a:lnTo>
                    <a:lnTo>
                      <a:pt x="360" y="282"/>
                    </a:lnTo>
                    <a:lnTo>
                      <a:pt x="368" y="282"/>
                    </a:lnTo>
                    <a:lnTo>
                      <a:pt x="380" y="284"/>
                    </a:lnTo>
                    <a:lnTo>
                      <a:pt x="410" y="290"/>
                    </a:lnTo>
                    <a:lnTo>
                      <a:pt x="444" y="296"/>
                    </a:lnTo>
                    <a:lnTo>
                      <a:pt x="444" y="296"/>
                    </a:lnTo>
                    <a:lnTo>
                      <a:pt x="450" y="296"/>
                    </a:lnTo>
                    <a:lnTo>
                      <a:pt x="454" y="296"/>
                    </a:lnTo>
                    <a:lnTo>
                      <a:pt x="458" y="294"/>
                    </a:lnTo>
                    <a:lnTo>
                      <a:pt x="460" y="290"/>
                    </a:lnTo>
                    <a:lnTo>
                      <a:pt x="462" y="284"/>
                    </a:lnTo>
                    <a:lnTo>
                      <a:pt x="460" y="274"/>
                    </a:lnTo>
                    <a:lnTo>
                      <a:pt x="456" y="260"/>
                    </a:lnTo>
                    <a:lnTo>
                      <a:pt x="456" y="260"/>
                    </a:lnTo>
                    <a:lnTo>
                      <a:pt x="458" y="260"/>
                    </a:lnTo>
                    <a:lnTo>
                      <a:pt x="464" y="264"/>
                    </a:lnTo>
                    <a:lnTo>
                      <a:pt x="464" y="264"/>
                    </a:lnTo>
                    <a:lnTo>
                      <a:pt x="472" y="270"/>
                    </a:lnTo>
                    <a:lnTo>
                      <a:pt x="478" y="272"/>
                    </a:lnTo>
                    <a:lnTo>
                      <a:pt x="484" y="272"/>
                    </a:lnTo>
                    <a:lnTo>
                      <a:pt x="490" y="272"/>
                    </a:lnTo>
                    <a:lnTo>
                      <a:pt x="494" y="272"/>
                    </a:lnTo>
                    <a:lnTo>
                      <a:pt x="498" y="274"/>
                    </a:lnTo>
                    <a:lnTo>
                      <a:pt x="500" y="278"/>
                    </a:lnTo>
                    <a:lnTo>
                      <a:pt x="502" y="286"/>
                    </a:lnTo>
                    <a:lnTo>
                      <a:pt x="502" y="286"/>
                    </a:lnTo>
                    <a:lnTo>
                      <a:pt x="502" y="294"/>
                    </a:lnTo>
                    <a:lnTo>
                      <a:pt x="504" y="302"/>
                    </a:lnTo>
                    <a:lnTo>
                      <a:pt x="508" y="306"/>
                    </a:lnTo>
                    <a:lnTo>
                      <a:pt x="512" y="310"/>
                    </a:lnTo>
                    <a:lnTo>
                      <a:pt x="528" y="318"/>
                    </a:lnTo>
                    <a:lnTo>
                      <a:pt x="556" y="326"/>
                    </a:lnTo>
                    <a:lnTo>
                      <a:pt x="556" y="326"/>
                    </a:lnTo>
                    <a:lnTo>
                      <a:pt x="570" y="332"/>
                    </a:lnTo>
                    <a:lnTo>
                      <a:pt x="580" y="338"/>
                    </a:lnTo>
                    <a:lnTo>
                      <a:pt x="584" y="344"/>
                    </a:lnTo>
                    <a:lnTo>
                      <a:pt x="584" y="348"/>
                    </a:lnTo>
                    <a:lnTo>
                      <a:pt x="580" y="352"/>
                    </a:lnTo>
                    <a:lnTo>
                      <a:pt x="574" y="356"/>
                    </a:lnTo>
                    <a:lnTo>
                      <a:pt x="568" y="356"/>
                    </a:lnTo>
                    <a:lnTo>
                      <a:pt x="558" y="356"/>
                    </a:lnTo>
                    <a:lnTo>
                      <a:pt x="558" y="356"/>
                    </a:lnTo>
                    <a:lnTo>
                      <a:pt x="550" y="358"/>
                    </a:lnTo>
                    <a:lnTo>
                      <a:pt x="542" y="360"/>
                    </a:lnTo>
                    <a:lnTo>
                      <a:pt x="538" y="366"/>
                    </a:lnTo>
                    <a:lnTo>
                      <a:pt x="538" y="370"/>
                    </a:lnTo>
                    <a:lnTo>
                      <a:pt x="538" y="376"/>
                    </a:lnTo>
                    <a:lnTo>
                      <a:pt x="544" y="378"/>
                    </a:lnTo>
                    <a:lnTo>
                      <a:pt x="550" y="380"/>
                    </a:lnTo>
                    <a:lnTo>
                      <a:pt x="562" y="378"/>
                    </a:lnTo>
                    <a:lnTo>
                      <a:pt x="562" y="378"/>
                    </a:lnTo>
                    <a:lnTo>
                      <a:pt x="576" y="374"/>
                    </a:lnTo>
                    <a:lnTo>
                      <a:pt x="590" y="374"/>
                    </a:lnTo>
                    <a:lnTo>
                      <a:pt x="606" y="376"/>
                    </a:lnTo>
                    <a:lnTo>
                      <a:pt x="618" y="380"/>
                    </a:lnTo>
                    <a:lnTo>
                      <a:pt x="630" y="384"/>
                    </a:lnTo>
                    <a:lnTo>
                      <a:pt x="640" y="390"/>
                    </a:lnTo>
                    <a:lnTo>
                      <a:pt x="648" y="396"/>
                    </a:lnTo>
                    <a:lnTo>
                      <a:pt x="654" y="402"/>
                    </a:lnTo>
                    <a:lnTo>
                      <a:pt x="654" y="402"/>
                    </a:lnTo>
                    <a:lnTo>
                      <a:pt x="656" y="406"/>
                    </a:lnTo>
                    <a:lnTo>
                      <a:pt x="662" y="408"/>
                    </a:lnTo>
                    <a:lnTo>
                      <a:pt x="674" y="414"/>
                    </a:lnTo>
                    <a:lnTo>
                      <a:pt x="682" y="416"/>
                    </a:lnTo>
                    <a:lnTo>
                      <a:pt x="688" y="420"/>
                    </a:lnTo>
                    <a:lnTo>
                      <a:pt x="692" y="428"/>
                    </a:lnTo>
                    <a:lnTo>
                      <a:pt x="696" y="438"/>
                    </a:lnTo>
                    <a:lnTo>
                      <a:pt x="696" y="438"/>
                    </a:lnTo>
                    <a:lnTo>
                      <a:pt x="698" y="450"/>
                    </a:lnTo>
                    <a:lnTo>
                      <a:pt x="704" y="460"/>
                    </a:lnTo>
                    <a:lnTo>
                      <a:pt x="712" y="474"/>
                    </a:lnTo>
                    <a:lnTo>
                      <a:pt x="716" y="480"/>
                    </a:lnTo>
                    <a:lnTo>
                      <a:pt x="718" y="486"/>
                    </a:lnTo>
                    <a:lnTo>
                      <a:pt x="716" y="490"/>
                    </a:lnTo>
                    <a:lnTo>
                      <a:pt x="710" y="494"/>
                    </a:lnTo>
                    <a:lnTo>
                      <a:pt x="710" y="494"/>
                    </a:lnTo>
                    <a:lnTo>
                      <a:pt x="696" y="504"/>
                    </a:lnTo>
                    <a:lnTo>
                      <a:pt x="682" y="518"/>
                    </a:lnTo>
                    <a:lnTo>
                      <a:pt x="668" y="532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44" y="554"/>
                    </a:lnTo>
                    <a:lnTo>
                      <a:pt x="640" y="558"/>
                    </a:lnTo>
                    <a:lnTo>
                      <a:pt x="640" y="564"/>
                    </a:lnTo>
                    <a:lnTo>
                      <a:pt x="642" y="570"/>
                    </a:lnTo>
                    <a:lnTo>
                      <a:pt x="646" y="580"/>
                    </a:lnTo>
                    <a:lnTo>
                      <a:pt x="654" y="590"/>
                    </a:lnTo>
                    <a:lnTo>
                      <a:pt x="666" y="604"/>
                    </a:lnTo>
                    <a:lnTo>
                      <a:pt x="666" y="606"/>
                    </a:lnTo>
                    <a:lnTo>
                      <a:pt x="666" y="608"/>
                    </a:lnTo>
                    <a:lnTo>
                      <a:pt x="656" y="606"/>
                    </a:lnTo>
                    <a:lnTo>
                      <a:pt x="656" y="606"/>
                    </a:lnTo>
                    <a:lnTo>
                      <a:pt x="646" y="602"/>
                    </a:lnTo>
                    <a:lnTo>
                      <a:pt x="636" y="604"/>
                    </a:lnTo>
                    <a:lnTo>
                      <a:pt x="628" y="608"/>
                    </a:lnTo>
                    <a:lnTo>
                      <a:pt x="620" y="612"/>
                    </a:lnTo>
                    <a:lnTo>
                      <a:pt x="608" y="616"/>
                    </a:lnTo>
                    <a:lnTo>
                      <a:pt x="594" y="620"/>
                    </a:lnTo>
                    <a:lnTo>
                      <a:pt x="576" y="620"/>
                    </a:lnTo>
                    <a:lnTo>
                      <a:pt x="552" y="614"/>
                    </a:lnTo>
                    <a:lnTo>
                      <a:pt x="552" y="614"/>
                    </a:lnTo>
                    <a:lnTo>
                      <a:pt x="528" y="610"/>
                    </a:lnTo>
                    <a:lnTo>
                      <a:pt x="516" y="608"/>
                    </a:lnTo>
                    <a:lnTo>
                      <a:pt x="510" y="608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0" y="624"/>
                    </a:lnTo>
                    <a:lnTo>
                      <a:pt x="504" y="630"/>
                    </a:lnTo>
                    <a:lnTo>
                      <a:pt x="494" y="638"/>
                    </a:lnTo>
                    <a:lnTo>
                      <a:pt x="494" y="638"/>
                    </a:lnTo>
                    <a:lnTo>
                      <a:pt x="488" y="642"/>
                    </a:lnTo>
                    <a:lnTo>
                      <a:pt x="484" y="648"/>
                    </a:lnTo>
                    <a:lnTo>
                      <a:pt x="482" y="652"/>
                    </a:lnTo>
                    <a:lnTo>
                      <a:pt x="480" y="658"/>
                    </a:lnTo>
                    <a:lnTo>
                      <a:pt x="482" y="664"/>
                    </a:lnTo>
                    <a:lnTo>
                      <a:pt x="484" y="668"/>
                    </a:lnTo>
                    <a:lnTo>
                      <a:pt x="494" y="678"/>
                    </a:lnTo>
                    <a:lnTo>
                      <a:pt x="506" y="686"/>
                    </a:lnTo>
                    <a:lnTo>
                      <a:pt x="514" y="688"/>
                    </a:lnTo>
                    <a:lnTo>
                      <a:pt x="522" y="690"/>
                    </a:lnTo>
                    <a:lnTo>
                      <a:pt x="532" y="690"/>
                    </a:lnTo>
                    <a:lnTo>
                      <a:pt x="542" y="690"/>
                    </a:lnTo>
                    <a:lnTo>
                      <a:pt x="552" y="686"/>
                    </a:lnTo>
                    <a:lnTo>
                      <a:pt x="562" y="682"/>
                    </a:lnTo>
                    <a:lnTo>
                      <a:pt x="562" y="682"/>
                    </a:lnTo>
                    <a:lnTo>
                      <a:pt x="580" y="676"/>
                    </a:lnTo>
                    <a:lnTo>
                      <a:pt x="592" y="674"/>
                    </a:lnTo>
                    <a:lnTo>
                      <a:pt x="602" y="676"/>
                    </a:lnTo>
                    <a:lnTo>
                      <a:pt x="608" y="680"/>
                    </a:lnTo>
                    <a:lnTo>
                      <a:pt x="612" y="684"/>
                    </a:lnTo>
                    <a:lnTo>
                      <a:pt x="616" y="688"/>
                    </a:lnTo>
                    <a:lnTo>
                      <a:pt x="622" y="686"/>
                    </a:lnTo>
                    <a:lnTo>
                      <a:pt x="628" y="680"/>
                    </a:lnTo>
                    <a:lnTo>
                      <a:pt x="628" y="680"/>
                    </a:lnTo>
                    <a:lnTo>
                      <a:pt x="634" y="674"/>
                    </a:lnTo>
                    <a:lnTo>
                      <a:pt x="640" y="674"/>
                    </a:lnTo>
                    <a:lnTo>
                      <a:pt x="642" y="676"/>
                    </a:lnTo>
                    <a:lnTo>
                      <a:pt x="644" y="680"/>
                    </a:lnTo>
                    <a:lnTo>
                      <a:pt x="646" y="688"/>
                    </a:lnTo>
                    <a:lnTo>
                      <a:pt x="648" y="690"/>
                    </a:lnTo>
                    <a:lnTo>
                      <a:pt x="650" y="686"/>
                    </a:lnTo>
                    <a:lnTo>
                      <a:pt x="650" y="686"/>
                    </a:lnTo>
                    <a:lnTo>
                      <a:pt x="656" y="674"/>
                    </a:lnTo>
                    <a:lnTo>
                      <a:pt x="658" y="672"/>
                    </a:lnTo>
                    <a:lnTo>
                      <a:pt x="662" y="672"/>
                    </a:lnTo>
                    <a:lnTo>
                      <a:pt x="666" y="674"/>
                    </a:lnTo>
                    <a:lnTo>
                      <a:pt x="672" y="680"/>
                    </a:lnTo>
                    <a:lnTo>
                      <a:pt x="696" y="706"/>
                    </a:lnTo>
                    <a:lnTo>
                      <a:pt x="696" y="706"/>
                    </a:lnTo>
                    <a:lnTo>
                      <a:pt x="708" y="720"/>
                    </a:lnTo>
                    <a:lnTo>
                      <a:pt x="718" y="726"/>
                    </a:lnTo>
                    <a:lnTo>
                      <a:pt x="724" y="728"/>
                    </a:lnTo>
                    <a:lnTo>
                      <a:pt x="728" y="728"/>
                    </a:lnTo>
                    <a:lnTo>
                      <a:pt x="732" y="726"/>
                    </a:lnTo>
                    <a:lnTo>
                      <a:pt x="736" y="724"/>
                    </a:lnTo>
                    <a:lnTo>
                      <a:pt x="742" y="726"/>
                    </a:lnTo>
                    <a:lnTo>
                      <a:pt x="750" y="732"/>
                    </a:lnTo>
                    <a:lnTo>
                      <a:pt x="750" y="732"/>
                    </a:lnTo>
                    <a:lnTo>
                      <a:pt x="756" y="738"/>
                    </a:lnTo>
                    <a:lnTo>
                      <a:pt x="756" y="740"/>
                    </a:lnTo>
                    <a:lnTo>
                      <a:pt x="754" y="742"/>
                    </a:lnTo>
                    <a:lnTo>
                      <a:pt x="750" y="744"/>
                    </a:lnTo>
                    <a:lnTo>
                      <a:pt x="742" y="744"/>
                    </a:lnTo>
                    <a:lnTo>
                      <a:pt x="734" y="746"/>
                    </a:lnTo>
                    <a:lnTo>
                      <a:pt x="732" y="748"/>
                    </a:lnTo>
                    <a:lnTo>
                      <a:pt x="732" y="750"/>
                    </a:lnTo>
                    <a:lnTo>
                      <a:pt x="732" y="752"/>
                    </a:lnTo>
                    <a:lnTo>
                      <a:pt x="734" y="756"/>
                    </a:lnTo>
                    <a:lnTo>
                      <a:pt x="744" y="768"/>
                    </a:lnTo>
                    <a:lnTo>
                      <a:pt x="744" y="768"/>
                    </a:lnTo>
                    <a:lnTo>
                      <a:pt x="754" y="776"/>
                    </a:lnTo>
                    <a:lnTo>
                      <a:pt x="766" y="780"/>
                    </a:lnTo>
                    <a:lnTo>
                      <a:pt x="792" y="788"/>
                    </a:lnTo>
                    <a:lnTo>
                      <a:pt x="816" y="794"/>
                    </a:lnTo>
                    <a:lnTo>
                      <a:pt x="826" y="798"/>
                    </a:lnTo>
                    <a:lnTo>
                      <a:pt x="834" y="804"/>
                    </a:lnTo>
                    <a:lnTo>
                      <a:pt x="834" y="804"/>
                    </a:lnTo>
                    <a:lnTo>
                      <a:pt x="842" y="812"/>
                    </a:lnTo>
                    <a:lnTo>
                      <a:pt x="854" y="818"/>
                    </a:lnTo>
                    <a:lnTo>
                      <a:pt x="868" y="824"/>
                    </a:lnTo>
                    <a:lnTo>
                      <a:pt x="882" y="828"/>
                    </a:lnTo>
                    <a:lnTo>
                      <a:pt x="916" y="836"/>
                    </a:lnTo>
                    <a:lnTo>
                      <a:pt x="948" y="846"/>
                    </a:lnTo>
                    <a:lnTo>
                      <a:pt x="948" y="846"/>
                    </a:lnTo>
                    <a:lnTo>
                      <a:pt x="962" y="850"/>
                    </a:lnTo>
                    <a:lnTo>
                      <a:pt x="970" y="850"/>
                    </a:lnTo>
                    <a:lnTo>
                      <a:pt x="972" y="848"/>
                    </a:lnTo>
                    <a:lnTo>
                      <a:pt x="974" y="846"/>
                    </a:lnTo>
                    <a:lnTo>
                      <a:pt x="974" y="840"/>
                    </a:lnTo>
                    <a:lnTo>
                      <a:pt x="972" y="832"/>
                    </a:lnTo>
                    <a:lnTo>
                      <a:pt x="966" y="822"/>
                    </a:lnTo>
                    <a:lnTo>
                      <a:pt x="958" y="812"/>
                    </a:lnTo>
                    <a:lnTo>
                      <a:pt x="948" y="802"/>
                    </a:lnTo>
                    <a:lnTo>
                      <a:pt x="948" y="802"/>
                    </a:lnTo>
                    <a:lnTo>
                      <a:pt x="936" y="792"/>
                    </a:lnTo>
                    <a:lnTo>
                      <a:pt x="920" y="780"/>
                    </a:lnTo>
                    <a:lnTo>
                      <a:pt x="888" y="758"/>
                    </a:lnTo>
                    <a:lnTo>
                      <a:pt x="872" y="748"/>
                    </a:lnTo>
                    <a:lnTo>
                      <a:pt x="862" y="738"/>
                    </a:lnTo>
                    <a:lnTo>
                      <a:pt x="854" y="732"/>
                    </a:lnTo>
                    <a:lnTo>
                      <a:pt x="854" y="728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8" y="722"/>
                    </a:lnTo>
                    <a:lnTo>
                      <a:pt x="864" y="724"/>
                    </a:lnTo>
                    <a:lnTo>
                      <a:pt x="880" y="736"/>
                    </a:lnTo>
                    <a:lnTo>
                      <a:pt x="894" y="748"/>
                    </a:lnTo>
                    <a:lnTo>
                      <a:pt x="900" y="748"/>
                    </a:lnTo>
                    <a:lnTo>
                      <a:pt x="902" y="748"/>
                    </a:lnTo>
                    <a:lnTo>
                      <a:pt x="902" y="746"/>
                    </a:lnTo>
                    <a:lnTo>
                      <a:pt x="902" y="746"/>
                    </a:lnTo>
                    <a:lnTo>
                      <a:pt x="902" y="742"/>
                    </a:lnTo>
                    <a:lnTo>
                      <a:pt x="904" y="742"/>
                    </a:lnTo>
                    <a:lnTo>
                      <a:pt x="908" y="744"/>
                    </a:lnTo>
                    <a:lnTo>
                      <a:pt x="924" y="754"/>
                    </a:lnTo>
                    <a:lnTo>
                      <a:pt x="932" y="762"/>
                    </a:lnTo>
                    <a:lnTo>
                      <a:pt x="944" y="770"/>
                    </a:lnTo>
                    <a:lnTo>
                      <a:pt x="956" y="776"/>
                    </a:lnTo>
                    <a:lnTo>
                      <a:pt x="968" y="778"/>
                    </a:lnTo>
                    <a:lnTo>
                      <a:pt x="968" y="778"/>
                    </a:lnTo>
                    <a:lnTo>
                      <a:pt x="980" y="782"/>
                    </a:lnTo>
                    <a:lnTo>
                      <a:pt x="990" y="788"/>
                    </a:lnTo>
                    <a:lnTo>
                      <a:pt x="998" y="798"/>
                    </a:lnTo>
                    <a:lnTo>
                      <a:pt x="1004" y="806"/>
                    </a:lnTo>
                    <a:lnTo>
                      <a:pt x="1010" y="812"/>
                    </a:lnTo>
                    <a:lnTo>
                      <a:pt x="1012" y="814"/>
                    </a:lnTo>
                    <a:lnTo>
                      <a:pt x="1014" y="812"/>
                    </a:lnTo>
                    <a:lnTo>
                      <a:pt x="1012" y="802"/>
                    </a:lnTo>
                    <a:lnTo>
                      <a:pt x="1012" y="802"/>
                    </a:lnTo>
                    <a:lnTo>
                      <a:pt x="1012" y="792"/>
                    </a:lnTo>
                    <a:lnTo>
                      <a:pt x="1012" y="788"/>
                    </a:lnTo>
                    <a:lnTo>
                      <a:pt x="1014" y="788"/>
                    </a:lnTo>
                    <a:lnTo>
                      <a:pt x="1016" y="788"/>
                    </a:lnTo>
                    <a:lnTo>
                      <a:pt x="1018" y="788"/>
                    </a:lnTo>
                    <a:lnTo>
                      <a:pt x="1020" y="786"/>
                    </a:lnTo>
                    <a:lnTo>
                      <a:pt x="1020" y="780"/>
                    </a:lnTo>
                    <a:lnTo>
                      <a:pt x="1018" y="766"/>
                    </a:lnTo>
                    <a:lnTo>
                      <a:pt x="1018" y="766"/>
                    </a:lnTo>
                    <a:lnTo>
                      <a:pt x="1016" y="750"/>
                    </a:lnTo>
                    <a:lnTo>
                      <a:pt x="1018" y="752"/>
                    </a:lnTo>
                    <a:lnTo>
                      <a:pt x="1020" y="754"/>
                    </a:lnTo>
                    <a:lnTo>
                      <a:pt x="1022" y="758"/>
                    </a:lnTo>
                    <a:lnTo>
                      <a:pt x="1026" y="760"/>
                    </a:lnTo>
                    <a:lnTo>
                      <a:pt x="1028" y="756"/>
                    </a:lnTo>
                    <a:lnTo>
                      <a:pt x="1032" y="746"/>
                    </a:lnTo>
                    <a:lnTo>
                      <a:pt x="1032" y="746"/>
                    </a:lnTo>
                    <a:lnTo>
                      <a:pt x="1032" y="734"/>
                    </a:lnTo>
                    <a:lnTo>
                      <a:pt x="1030" y="728"/>
                    </a:lnTo>
                    <a:lnTo>
                      <a:pt x="1026" y="724"/>
                    </a:lnTo>
                    <a:lnTo>
                      <a:pt x="1022" y="724"/>
                    </a:lnTo>
                    <a:lnTo>
                      <a:pt x="1018" y="722"/>
                    </a:lnTo>
                    <a:lnTo>
                      <a:pt x="1014" y="722"/>
                    </a:lnTo>
                    <a:lnTo>
                      <a:pt x="1014" y="720"/>
                    </a:lnTo>
                    <a:lnTo>
                      <a:pt x="1018" y="714"/>
                    </a:lnTo>
                    <a:lnTo>
                      <a:pt x="1018" y="714"/>
                    </a:lnTo>
                    <a:lnTo>
                      <a:pt x="1022" y="708"/>
                    </a:lnTo>
                    <a:lnTo>
                      <a:pt x="1020" y="704"/>
                    </a:lnTo>
                    <a:lnTo>
                      <a:pt x="1016" y="702"/>
                    </a:lnTo>
                    <a:lnTo>
                      <a:pt x="1012" y="700"/>
                    </a:lnTo>
                    <a:lnTo>
                      <a:pt x="1006" y="700"/>
                    </a:lnTo>
                    <a:lnTo>
                      <a:pt x="1000" y="698"/>
                    </a:lnTo>
                    <a:lnTo>
                      <a:pt x="1000" y="694"/>
                    </a:lnTo>
                    <a:lnTo>
                      <a:pt x="1002" y="688"/>
                    </a:lnTo>
                    <a:lnTo>
                      <a:pt x="1002" y="688"/>
                    </a:lnTo>
                    <a:lnTo>
                      <a:pt x="1006" y="682"/>
                    </a:lnTo>
                    <a:lnTo>
                      <a:pt x="1010" y="676"/>
                    </a:lnTo>
                    <a:lnTo>
                      <a:pt x="1008" y="672"/>
                    </a:lnTo>
                    <a:lnTo>
                      <a:pt x="1006" y="668"/>
                    </a:lnTo>
                    <a:lnTo>
                      <a:pt x="1000" y="664"/>
                    </a:lnTo>
                    <a:lnTo>
                      <a:pt x="992" y="660"/>
                    </a:lnTo>
                    <a:lnTo>
                      <a:pt x="966" y="648"/>
                    </a:lnTo>
                    <a:lnTo>
                      <a:pt x="966" y="648"/>
                    </a:lnTo>
                    <a:lnTo>
                      <a:pt x="952" y="642"/>
                    </a:lnTo>
                    <a:lnTo>
                      <a:pt x="942" y="632"/>
                    </a:lnTo>
                    <a:lnTo>
                      <a:pt x="936" y="622"/>
                    </a:lnTo>
                    <a:lnTo>
                      <a:pt x="930" y="612"/>
                    </a:lnTo>
                    <a:lnTo>
                      <a:pt x="928" y="602"/>
                    </a:lnTo>
                    <a:lnTo>
                      <a:pt x="924" y="596"/>
                    </a:lnTo>
                    <a:lnTo>
                      <a:pt x="918" y="592"/>
                    </a:lnTo>
                    <a:lnTo>
                      <a:pt x="912" y="592"/>
                    </a:lnTo>
                    <a:lnTo>
                      <a:pt x="912" y="592"/>
                    </a:lnTo>
                    <a:lnTo>
                      <a:pt x="904" y="594"/>
                    </a:lnTo>
                    <a:lnTo>
                      <a:pt x="896" y="594"/>
                    </a:lnTo>
                    <a:lnTo>
                      <a:pt x="892" y="592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4" y="584"/>
                    </a:lnTo>
                    <a:lnTo>
                      <a:pt x="900" y="580"/>
                    </a:lnTo>
                    <a:lnTo>
                      <a:pt x="908" y="578"/>
                    </a:lnTo>
                    <a:lnTo>
                      <a:pt x="908" y="578"/>
                    </a:lnTo>
                    <a:lnTo>
                      <a:pt x="912" y="576"/>
                    </a:lnTo>
                    <a:lnTo>
                      <a:pt x="916" y="576"/>
                    </a:lnTo>
                    <a:lnTo>
                      <a:pt x="916" y="572"/>
                    </a:lnTo>
                    <a:lnTo>
                      <a:pt x="916" y="570"/>
                    </a:lnTo>
                    <a:lnTo>
                      <a:pt x="914" y="564"/>
                    </a:lnTo>
                    <a:lnTo>
                      <a:pt x="910" y="556"/>
                    </a:lnTo>
                    <a:lnTo>
                      <a:pt x="902" y="546"/>
                    </a:lnTo>
                    <a:lnTo>
                      <a:pt x="902" y="544"/>
                    </a:lnTo>
                    <a:lnTo>
                      <a:pt x="904" y="544"/>
                    </a:lnTo>
                    <a:lnTo>
                      <a:pt x="910" y="546"/>
                    </a:lnTo>
                    <a:lnTo>
                      <a:pt x="910" y="546"/>
                    </a:lnTo>
                    <a:lnTo>
                      <a:pt x="918" y="548"/>
                    </a:lnTo>
                    <a:lnTo>
                      <a:pt x="924" y="546"/>
                    </a:lnTo>
                    <a:lnTo>
                      <a:pt x="928" y="542"/>
                    </a:lnTo>
                    <a:lnTo>
                      <a:pt x="930" y="538"/>
                    </a:lnTo>
                    <a:lnTo>
                      <a:pt x="932" y="536"/>
                    </a:lnTo>
                    <a:lnTo>
                      <a:pt x="934" y="534"/>
                    </a:lnTo>
                    <a:lnTo>
                      <a:pt x="938" y="536"/>
                    </a:lnTo>
                    <a:lnTo>
                      <a:pt x="942" y="544"/>
                    </a:lnTo>
                    <a:lnTo>
                      <a:pt x="942" y="544"/>
                    </a:lnTo>
                    <a:lnTo>
                      <a:pt x="950" y="552"/>
                    </a:lnTo>
                    <a:lnTo>
                      <a:pt x="954" y="556"/>
                    </a:lnTo>
                    <a:lnTo>
                      <a:pt x="958" y="558"/>
                    </a:lnTo>
                    <a:lnTo>
                      <a:pt x="962" y="558"/>
                    </a:lnTo>
                    <a:lnTo>
                      <a:pt x="968" y="560"/>
                    </a:lnTo>
                    <a:lnTo>
                      <a:pt x="972" y="562"/>
                    </a:lnTo>
                    <a:lnTo>
                      <a:pt x="974" y="568"/>
                    </a:lnTo>
                    <a:lnTo>
                      <a:pt x="974" y="568"/>
                    </a:lnTo>
                    <a:lnTo>
                      <a:pt x="976" y="574"/>
                    </a:lnTo>
                    <a:lnTo>
                      <a:pt x="980" y="576"/>
                    </a:lnTo>
                    <a:lnTo>
                      <a:pt x="986" y="580"/>
                    </a:lnTo>
                    <a:lnTo>
                      <a:pt x="990" y="580"/>
                    </a:lnTo>
                    <a:lnTo>
                      <a:pt x="992" y="582"/>
                    </a:lnTo>
                    <a:lnTo>
                      <a:pt x="994" y="586"/>
                    </a:lnTo>
                    <a:lnTo>
                      <a:pt x="994" y="592"/>
                    </a:lnTo>
                    <a:lnTo>
                      <a:pt x="994" y="592"/>
                    </a:lnTo>
                    <a:lnTo>
                      <a:pt x="994" y="596"/>
                    </a:lnTo>
                    <a:lnTo>
                      <a:pt x="996" y="600"/>
                    </a:lnTo>
                    <a:lnTo>
                      <a:pt x="1008" y="614"/>
                    </a:lnTo>
                    <a:lnTo>
                      <a:pt x="1022" y="626"/>
                    </a:lnTo>
                    <a:lnTo>
                      <a:pt x="1040" y="638"/>
                    </a:lnTo>
                    <a:lnTo>
                      <a:pt x="1056" y="646"/>
                    </a:lnTo>
                    <a:lnTo>
                      <a:pt x="1064" y="648"/>
                    </a:lnTo>
                    <a:lnTo>
                      <a:pt x="1070" y="648"/>
                    </a:lnTo>
                    <a:lnTo>
                      <a:pt x="1074" y="646"/>
                    </a:lnTo>
                    <a:lnTo>
                      <a:pt x="1078" y="642"/>
                    </a:lnTo>
                    <a:lnTo>
                      <a:pt x="1080" y="636"/>
                    </a:lnTo>
                    <a:lnTo>
                      <a:pt x="1078" y="628"/>
                    </a:lnTo>
                    <a:lnTo>
                      <a:pt x="1078" y="628"/>
                    </a:lnTo>
                    <a:lnTo>
                      <a:pt x="1078" y="618"/>
                    </a:lnTo>
                    <a:lnTo>
                      <a:pt x="1078" y="612"/>
                    </a:lnTo>
                    <a:lnTo>
                      <a:pt x="1080" y="606"/>
                    </a:lnTo>
                    <a:lnTo>
                      <a:pt x="1082" y="602"/>
                    </a:lnTo>
                    <a:lnTo>
                      <a:pt x="1086" y="600"/>
                    </a:lnTo>
                    <a:lnTo>
                      <a:pt x="1092" y="598"/>
                    </a:lnTo>
                    <a:lnTo>
                      <a:pt x="1102" y="596"/>
                    </a:lnTo>
                    <a:lnTo>
                      <a:pt x="1118" y="598"/>
                    </a:lnTo>
                    <a:lnTo>
                      <a:pt x="1122" y="596"/>
                    </a:lnTo>
                    <a:lnTo>
                      <a:pt x="1122" y="596"/>
                    </a:lnTo>
                    <a:lnTo>
                      <a:pt x="1122" y="592"/>
                    </a:lnTo>
                    <a:lnTo>
                      <a:pt x="1122" y="588"/>
                    </a:lnTo>
                    <a:lnTo>
                      <a:pt x="1122" y="588"/>
                    </a:lnTo>
                    <a:lnTo>
                      <a:pt x="1118" y="582"/>
                    </a:lnTo>
                    <a:lnTo>
                      <a:pt x="1118" y="576"/>
                    </a:lnTo>
                    <a:lnTo>
                      <a:pt x="1120" y="574"/>
                    </a:lnTo>
                    <a:lnTo>
                      <a:pt x="1122" y="574"/>
                    </a:lnTo>
                    <a:lnTo>
                      <a:pt x="1128" y="570"/>
                    </a:lnTo>
                    <a:lnTo>
                      <a:pt x="1128" y="568"/>
                    </a:lnTo>
                    <a:lnTo>
                      <a:pt x="1126" y="564"/>
                    </a:lnTo>
                    <a:lnTo>
                      <a:pt x="1126" y="564"/>
                    </a:lnTo>
                    <a:lnTo>
                      <a:pt x="1126" y="560"/>
                    </a:lnTo>
                    <a:lnTo>
                      <a:pt x="1126" y="558"/>
                    </a:lnTo>
                    <a:lnTo>
                      <a:pt x="1130" y="554"/>
                    </a:lnTo>
                    <a:lnTo>
                      <a:pt x="1144" y="548"/>
                    </a:lnTo>
                    <a:lnTo>
                      <a:pt x="1150" y="544"/>
                    </a:lnTo>
                    <a:lnTo>
                      <a:pt x="1154" y="536"/>
                    </a:lnTo>
                    <a:lnTo>
                      <a:pt x="1156" y="532"/>
                    </a:lnTo>
                    <a:lnTo>
                      <a:pt x="1154" y="528"/>
                    </a:lnTo>
                    <a:lnTo>
                      <a:pt x="1148" y="514"/>
                    </a:lnTo>
                    <a:lnTo>
                      <a:pt x="1148" y="5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4" name="Freeform 6089">
                <a:extLst>
                  <a:ext uri="{FF2B5EF4-FFF2-40B4-BE49-F238E27FC236}">
                    <a16:creationId xmlns:a16="http://schemas.microsoft.com/office/drawing/2014/main" id="{36923DF5-2329-495E-95CC-CBAB6942BC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1770" y="1751013"/>
                <a:ext cx="20320" cy="1524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8" y="18"/>
                  </a:cxn>
                  <a:cxn ang="0">
                    <a:pos x="14" y="22"/>
                  </a:cxn>
                  <a:cxn ang="0">
                    <a:pos x="20" y="24"/>
                  </a:cxn>
                  <a:cxn ang="0">
                    <a:pos x="26" y="24"/>
                  </a:cxn>
                  <a:cxn ang="0">
                    <a:pos x="30" y="22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2" y="12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32" h="24">
                    <a:moveTo>
                      <a:pt x="6" y="0"/>
                    </a:move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8" y="18"/>
                    </a:lnTo>
                    <a:lnTo>
                      <a:pt x="14" y="22"/>
                    </a:lnTo>
                    <a:lnTo>
                      <a:pt x="20" y="24"/>
                    </a:lnTo>
                    <a:lnTo>
                      <a:pt x="26" y="24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2" y="12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5" name="Freeform 6091">
                <a:extLst>
                  <a:ext uri="{FF2B5EF4-FFF2-40B4-BE49-F238E27FC236}">
                    <a16:creationId xmlns:a16="http://schemas.microsoft.com/office/drawing/2014/main" id="{56E3DD82-ED37-4FFB-AD92-B87128687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6840" y="1799273"/>
                <a:ext cx="13970" cy="15240"/>
              </a:xfrm>
              <a:custGeom>
                <a:avLst/>
                <a:gdLst/>
                <a:ahLst/>
                <a:cxnLst>
                  <a:cxn ang="0">
                    <a:pos x="4" y="24"/>
                  </a:cxn>
                  <a:cxn ang="0">
                    <a:pos x="4" y="24"/>
                  </a:cxn>
                  <a:cxn ang="0">
                    <a:pos x="12" y="22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4" y="24"/>
                  </a:cxn>
                </a:cxnLst>
                <a:rect l="0" t="0" r="r" b="b"/>
                <a:pathLst>
                  <a:path w="22" h="24">
                    <a:moveTo>
                      <a:pt x="4" y="24"/>
                    </a:moveTo>
                    <a:lnTo>
                      <a:pt x="4" y="24"/>
                    </a:lnTo>
                    <a:lnTo>
                      <a:pt x="12" y="22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4" y="2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6" name="Freeform 6092">
                <a:extLst>
                  <a:ext uri="{FF2B5EF4-FFF2-40B4-BE49-F238E27FC236}">
                    <a16:creationId xmlns:a16="http://schemas.microsoft.com/office/drawing/2014/main" id="{F21B1FB5-13BC-4780-A86D-75859DCFDB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040" y="1724343"/>
                <a:ext cx="22860" cy="34290"/>
              </a:xfrm>
              <a:custGeom>
                <a:avLst/>
                <a:gdLst/>
                <a:ahLst/>
                <a:cxnLst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0"/>
                  </a:cxn>
                  <a:cxn ang="0">
                    <a:pos x="30" y="42"/>
                  </a:cxn>
                  <a:cxn ang="0">
                    <a:pos x="34" y="32"/>
                  </a:cxn>
                  <a:cxn ang="0">
                    <a:pos x="36" y="22"/>
                  </a:cxn>
                  <a:cxn ang="0">
                    <a:pos x="36" y="12"/>
                  </a:cxn>
                  <a:cxn ang="0">
                    <a:pos x="34" y="4"/>
                  </a:cxn>
                  <a:cxn ang="0">
                    <a:pos x="32" y="2"/>
                  </a:cxn>
                  <a:cxn ang="0">
                    <a:pos x="28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8" y="48"/>
                  </a:cxn>
                  <a:cxn ang="0">
                    <a:pos x="14" y="52"/>
                  </a:cxn>
                  <a:cxn ang="0">
                    <a:pos x="20" y="54"/>
                  </a:cxn>
                  <a:cxn ang="0">
                    <a:pos x="20" y="54"/>
                  </a:cxn>
                </a:cxnLst>
                <a:rect l="0" t="0" r="r" b="b"/>
                <a:pathLst>
                  <a:path w="36" h="54">
                    <a:moveTo>
                      <a:pt x="20" y="54"/>
                    </a:moveTo>
                    <a:lnTo>
                      <a:pt x="20" y="54"/>
                    </a:lnTo>
                    <a:lnTo>
                      <a:pt x="26" y="50"/>
                    </a:lnTo>
                    <a:lnTo>
                      <a:pt x="30" y="42"/>
                    </a:lnTo>
                    <a:lnTo>
                      <a:pt x="34" y="32"/>
                    </a:lnTo>
                    <a:lnTo>
                      <a:pt x="36" y="22"/>
                    </a:lnTo>
                    <a:lnTo>
                      <a:pt x="36" y="12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8" y="48"/>
                    </a:lnTo>
                    <a:lnTo>
                      <a:pt x="14" y="52"/>
                    </a:lnTo>
                    <a:lnTo>
                      <a:pt x="20" y="54"/>
                    </a:lnTo>
                    <a:lnTo>
                      <a:pt x="20" y="5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7" name="Freeform 6094">
                <a:extLst>
                  <a:ext uri="{FF2B5EF4-FFF2-40B4-BE49-F238E27FC236}">
                    <a16:creationId xmlns:a16="http://schemas.microsoft.com/office/drawing/2014/main" id="{03E88A3C-453F-4E28-8007-8B465EBF67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8240" y="1463993"/>
                <a:ext cx="59690" cy="48260"/>
              </a:xfrm>
              <a:custGeom>
                <a:avLst/>
                <a:gdLst/>
                <a:ahLst/>
                <a:cxnLst>
                  <a:cxn ang="0">
                    <a:pos x="8" y="26"/>
                  </a:cxn>
                  <a:cxn ang="0">
                    <a:pos x="8" y="26"/>
                  </a:cxn>
                  <a:cxn ang="0">
                    <a:pos x="4" y="36"/>
                  </a:cxn>
                  <a:cxn ang="0">
                    <a:pos x="0" y="46"/>
                  </a:cxn>
                  <a:cxn ang="0">
                    <a:pos x="0" y="56"/>
                  </a:cxn>
                  <a:cxn ang="0">
                    <a:pos x="2" y="64"/>
                  </a:cxn>
                  <a:cxn ang="0">
                    <a:pos x="8" y="70"/>
                  </a:cxn>
                  <a:cxn ang="0">
                    <a:pos x="18" y="74"/>
                  </a:cxn>
                  <a:cxn ang="0">
                    <a:pos x="34" y="76"/>
                  </a:cxn>
                  <a:cxn ang="0">
                    <a:pos x="54" y="76"/>
                  </a:cxn>
                  <a:cxn ang="0">
                    <a:pos x="54" y="76"/>
                  </a:cxn>
                  <a:cxn ang="0">
                    <a:pos x="72" y="74"/>
                  </a:cxn>
                  <a:cxn ang="0">
                    <a:pos x="84" y="70"/>
                  </a:cxn>
                  <a:cxn ang="0">
                    <a:pos x="90" y="64"/>
                  </a:cxn>
                  <a:cxn ang="0">
                    <a:pos x="94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92" y="22"/>
                  </a:cxn>
                  <a:cxn ang="0">
                    <a:pos x="92" y="22"/>
                  </a:cxn>
                  <a:cxn ang="0">
                    <a:pos x="92" y="18"/>
                  </a:cxn>
                  <a:cxn ang="0">
                    <a:pos x="90" y="14"/>
                  </a:cxn>
                  <a:cxn ang="0">
                    <a:pos x="88" y="10"/>
                  </a:cxn>
                  <a:cxn ang="0">
                    <a:pos x="84" y="6"/>
                  </a:cxn>
                  <a:cxn ang="0">
                    <a:pos x="74" y="2"/>
                  </a:cxn>
                  <a:cxn ang="0">
                    <a:pos x="60" y="0"/>
                  </a:cxn>
                  <a:cxn ang="0">
                    <a:pos x="46" y="2"/>
                  </a:cxn>
                  <a:cxn ang="0">
                    <a:pos x="32" y="6"/>
                  </a:cxn>
                  <a:cxn ang="0">
                    <a:pos x="18" y="14"/>
                  </a:cxn>
                  <a:cxn ang="0">
                    <a:pos x="14" y="20"/>
                  </a:cxn>
                  <a:cxn ang="0">
                    <a:pos x="8" y="26"/>
                  </a:cxn>
                  <a:cxn ang="0">
                    <a:pos x="8" y="26"/>
                  </a:cxn>
                </a:cxnLst>
                <a:rect l="0" t="0" r="r" b="b"/>
                <a:pathLst>
                  <a:path w="94" h="76">
                    <a:moveTo>
                      <a:pt x="8" y="26"/>
                    </a:moveTo>
                    <a:lnTo>
                      <a:pt x="8" y="26"/>
                    </a:lnTo>
                    <a:lnTo>
                      <a:pt x="4" y="36"/>
                    </a:lnTo>
                    <a:lnTo>
                      <a:pt x="0" y="46"/>
                    </a:lnTo>
                    <a:lnTo>
                      <a:pt x="0" y="56"/>
                    </a:lnTo>
                    <a:lnTo>
                      <a:pt x="2" y="64"/>
                    </a:lnTo>
                    <a:lnTo>
                      <a:pt x="8" y="70"/>
                    </a:lnTo>
                    <a:lnTo>
                      <a:pt x="18" y="74"/>
                    </a:lnTo>
                    <a:lnTo>
                      <a:pt x="34" y="76"/>
                    </a:lnTo>
                    <a:lnTo>
                      <a:pt x="54" y="76"/>
                    </a:lnTo>
                    <a:lnTo>
                      <a:pt x="54" y="76"/>
                    </a:lnTo>
                    <a:lnTo>
                      <a:pt x="72" y="74"/>
                    </a:lnTo>
                    <a:lnTo>
                      <a:pt x="84" y="70"/>
                    </a:lnTo>
                    <a:lnTo>
                      <a:pt x="90" y="64"/>
                    </a:lnTo>
                    <a:lnTo>
                      <a:pt x="94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18"/>
                    </a:lnTo>
                    <a:lnTo>
                      <a:pt x="90" y="14"/>
                    </a:lnTo>
                    <a:lnTo>
                      <a:pt x="88" y="10"/>
                    </a:lnTo>
                    <a:lnTo>
                      <a:pt x="84" y="6"/>
                    </a:lnTo>
                    <a:lnTo>
                      <a:pt x="74" y="2"/>
                    </a:lnTo>
                    <a:lnTo>
                      <a:pt x="60" y="0"/>
                    </a:lnTo>
                    <a:lnTo>
                      <a:pt x="46" y="2"/>
                    </a:lnTo>
                    <a:lnTo>
                      <a:pt x="32" y="6"/>
                    </a:lnTo>
                    <a:lnTo>
                      <a:pt x="18" y="14"/>
                    </a:lnTo>
                    <a:lnTo>
                      <a:pt x="14" y="20"/>
                    </a:lnTo>
                    <a:lnTo>
                      <a:pt x="8" y="26"/>
                    </a:lnTo>
                    <a:lnTo>
                      <a:pt x="8" y="2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8" name="Freeform 6098">
                <a:extLst>
                  <a:ext uri="{FF2B5EF4-FFF2-40B4-BE49-F238E27FC236}">
                    <a16:creationId xmlns:a16="http://schemas.microsoft.com/office/drawing/2014/main" id="{A38F622D-0125-49C9-9DA2-4BED2B7C8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8780" y="1211263"/>
                <a:ext cx="63500" cy="43180"/>
              </a:xfrm>
              <a:custGeom>
                <a:avLst/>
                <a:gdLst/>
                <a:ahLst/>
                <a:cxnLst>
                  <a:cxn ang="0">
                    <a:pos x="46" y="2"/>
                  </a:cxn>
                  <a:cxn ang="0">
                    <a:pos x="46" y="2"/>
                  </a:cxn>
                  <a:cxn ang="0">
                    <a:pos x="32" y="4"/>
                  </a:cxn>
                  <a:cxn ang="0">
                    <a:pos x="20" y="6"/>
                  </a:cxn>
                  <a:cxn ang="0">
                    <a:pos x="10" y="10"/>
                  </a:cxn>
                  <a:cxn ang="0">
                    <a:pos x="4" y="12"/>
                  </a:cxn>
                  <a:cxn ang="0">
                    <a:pos x="0" y="16"/>
                  </a:cxn>
                  <a:cxn ang="0">
                    <a:pos x="0" y="20"/>
                  </a:cxn>
                  <a:cxn ang="0">
                    <a:pos x="2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20" y="28"/>
                  </a:cxn>
                  <a:cxn ang="0">
                    <a:pos x="28" y="32"/>
                  </a:cxn>
                  <a:cxn ang="0">
                    <a:pos x="32" y="36"/>
                  </a:cxn>
                  <a:cxn ang="0">
                    <a:pos x="34" y="40"/>
                  </a:cxn>
                  <a:cxn ang="0">
                    <a:pos x="34" y="40"/>
                  </a:cxn>
                  <a:cxn ang="0">
                    <a:pos x="38" y="46"/>
                  </a:cxn>
                  <a:cxn ang="0">
                    <a:pos x="44" y="50"/>
                  </a:cxn>
                  <a:cxn ang="0">
                    <a:pos x="54" y="56"/>
                  </a:cxn>
                  <a:cxn ang="0">
                    <a:pos x="64" y="66"/>
                  </a:cxn>
                  <a:cxn ang="0">
                    <a:pos x="64" y="66"/>
                  </a:cxn>
                  <a:cxn ang="0">
                    <a:pos x="68" y="68"/>
                  </a:cxn>
                  <a:cxn ang="0">
                    <a:pos x="70" y="68"/>
                  </a:cxn>
                  <a:cxn ang="0">
                    <a:pos x="70" y="66"/>
                  </a:cxn>
                  <a:cxn ang="0">
                    <a:pos x="70" y="66"/>
                  </a:cxn>
                  <a:cxn ang="0">
                    <a:pos x="70" y="62"/>
                  </a:cxn>
                  <a:cxn ang="0">
                    <a:pos x="74" y="60"/>
                  </a:cxn>
                  <a:cxn ang="0">
                    <a:pos x="80" y="56"/>
                  </a:cxn>
                  <a:cxn ang="0">
                    <a:pos x="86" y="48"/>
                  </a:cxn>
                  <a:cxn ang="0">
                    <a:pos x="86" y="48"/>
                  </a:cxn>
                  <a:cxn ang="0">
                    <a:pos x="100" y="26"/>
                  </a:cxn>
                  <a:cxn ang="0">
                    <a:pos x="100" y="20"/>
                  </a:cxn>
                  <a:cxn ang="0">
                    <a:pos x="100" y="16"/>
                  </a:cxn>
                  <a:cxn ang="0">
                    <a:pos x="98" y="14"/>
                  </a:cxn>
                  <a:cxn ang="0">
                    <a:pos x="94" y="10"/>
                  </a:cxn>
                  <a:cxn ang="0">
                    <a:pos x="94" y="10"/>
                  </a:cxn>
                  <a:cxn ang="0">
                    <a:pos x="86" y="6"/>
                  </a:cxn>
                  <a:cxn ang="0">
                    <a:pos x="80" y="2"/>
                  </a:cxn>
                  <a:cxn ang="0">
                    <a:pos x="70" y="0"/>
                  </a:cxn>
                  <a:cxn ang="0">
                    <a:pos x="46" y="2"/>
                  </a:cxn>
                  <a:cxn ang="0">
                    <a:pos x="46" y="2"/>
                  </a:cxn>
                </a:cxnLst>
                <a:rect l="0" t="0" r="r" b="b"/>
                <a:pathLst>
                  <a:path w="100" h="68">
                    <a:moveTo>
                      <a:pt x="46" y="2"/>
                    </a:moveTo>
                    <a:lnTo>
                      <a:pt x="46" y="2"/>
                    </a:lnTo>
                    <a:lnTo>
                      <a:pt x="32" y="4"/>
                    </a:lnTo>
                    <a:lnTo>
                      <a:pt x="20" y="6"/>
                    </a:lnTo>
                    <a:lnTo>
                      <a:pt x="10" y="10"/>
                    </a:lnTo>
                    <a:lnTo>
                      <a:pt x="4" y="12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20" y="28"/>
                    </a:lnTo>
                    <a:lnTo>
                      <a:pt x="28" y="32"/>
                    </a:lnTo>
                    <a:lnTo>
                      <a:pt x="32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6"/>
                    </a:lnTo>
                    <a:lnTo>
                      <a:pt x="44" y="50"/>
                    </a:lnTo>
                    <a:lnTo>
                      <a:pt x="54" y="56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8" y="68"/>
                    </a:lnTo>
                    <a:lnTo>
                      <a:pt x="70" y="68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70" y="62"/>
                    </a:lnTo>
                    <a:lnTo>
                      <a:pt x="74" y="60"/>
                    </a:lnTo>
                    <a:lnTo>
                      <a:pt x="80" y="56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100" y="26"/>
                    </a:lnTo>
                    <a:lnTo>
                      <a:pt x="100" y="20"/>
                    </a:lnTo>
                    <a:lnTo>
                      <a:pt x="100" y="16"/>
                    </a:lnTo>
                    <a:lnTo>
                      <a:pt x="98" y="14"/>
                    </a:lnTo>
                    <a:lnTo>
                      <a:pt x="94" y="10"/>
                    </a:lnTo>
                    <a:lnTo>
                      <a:pt x="94" y="10"/>
                    </a:lnTo>
                    <a:lnTo>
                      <a:pt x="86" y="6"/>
                    </a:lnTo>
                    <a:lnTo>
                      <a:pt x="80" y="2"/>
                    </a:lnTo>
                    <a:lnTo>
                      <a:pt x="70" y="0"/>
                    </a:lnTo>
                    <a:lnTo>
                      <a:pt x="46" y="2"/>
                    </a:lnTo>
                    <a:lnTo>
                      <a:pt x="4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9" name="Freeform 6099">
                <a:extLst>
                  <a:ext uri="{FF2B5EF4-FFF2-40B4-BE49-F238E27FC236}">
                    <a16:creationId xmlns:a16="http://schemas.microsoft.com/office/drawing/2014/main" id="{FB4A4CF8-75CC-469B-842D-239AEFCAF3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3550" y="1088073"/>
                <a:ext cx="48260" cy="10160"/>
              </a:xfrm>
              <a:custGeom>
                <a:avLst/>
                <a:gdLst/>
                <a:ahLst/>
                <a:cxnLst>
                  <a:cxn ang="0">
                    <a:pos x="76" y="2"/>
                  </a:cxn>
                  <a:cxn ang="0">
                    <a:pos x="76" y="2"/>
                  </a:cxn>
                  <a:cxn ang="0">
                    <a:pos x="68" y="0"/>
                  </a:cxn>
                  <a:cxn ang="0">
                    <a:pos x="56" y="0"/>
                  </a:cxn>
                  <a:cxn ang="0">
                    <a:pos x="30" y="2"/>
                  </a:cxn>
                  <a:cxn ang="0">
                    <a:pos x="16" y="6"/>
                  </a:cxn>
                  <a:cxn ang="0">
                    <a:pos x="6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8" y="16"/>
                  </a:cxn>
                  <a:cxn ang="0">
                    <a:pos x="20" y="16"/>
                  </a:cxn>
                  <a:cxn ang="0">
                    <a:pos x="48" y="14"/>
                  </a:cxn>
                  <a:cxn ang="0">
                    <a:pos x="70" y="8"/>
                  </a:cxn>
                  <a:cxn ang="0">
                    <a:pos x="76" y="4"/>
                  </a:cxn>
                  <a:cxn ang="0">
                    <a:pos x="76" y="2"/>
                  </a:cxn>
                  <a:cxn ang="0">
                    <a:pos x="76" y="2"/>
                  </a:cxn>
                  <a:cxn ang="0">
                    <a:pos x="76" y="2"/>
                  </a:cxn>
                </a:cxnLst>
                <a:rect l="0" t="0" r="r" b="b"/>
                <a:pathLst>
                  <a:path w="76" h="16">
                    <a:moveTo>
                      <a:pt x="76" y="2"/>
                    </a:moveTo>
                    <a:lnTo>
                      <a:pt x="76" y="2"/>
                    </a:lnTo>
                    <a:lnTo>
                      <a:pt x="68" y="0"/>
                    </a:lnTo>
                    <a:lnTo>
                      <a:pt x="56" y="0"/>
                    </a:lnTo>
                    <a:lnTo>
                      <a:pt x="30" y="2"/>
                    </a:lnTo>
                    <a:lnTo>
                      <a:pt x="16" y="6"/>
                    </a:lnTo>
                    <a:lnTo>
                      <a:pt x="6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16"/>
                    </a:lnTo>
                    <a:lnTo>
                      <a:pt x="20" y="16"/>
                    </a:lnTo>
                    <a:lnTo>
                      <a:pt x="48" y="14"/>
                    </a:lnTo>
                    <a:lnTo>
                      <a:pt x="70" y="8"/>
                    </a:lnTo>
                    <a:lnTo>
                      <a:pt x="76" y="4"/>
                    </a:lnTo>
                    <a:lnTo>
                      <a:pt x="76" y="2"/>
                    </a:lnTo>
                    <a:lnTo>
                      <a:pt x="76" y="2"/>
                    </a:lnTo>
                    <a:lnTo>
                      <a:pt x="7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0" name="Freeform 6100">
                <a:extLst>
                  <a:ext uri="{FF2B5EF4-FFF2-40B4-BE49-F238E27FC236}">
                    <a16:creationId xmlns:a16="http://schemas.microsoft.com/office/drawing/2014/main" id="{7D48BE0B-5177-4F0F-A004-6626F76FB6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3390" y="1129983"/>
                <a:ext cx="30480" cy="2032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0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8" y="30"/>
                  </a:cxn>
                  <a:cxn ang="0">
                    <a:pos x="16" y="32"/>
                  </a:cxn>
                  <a:cxn ang="0">
                    <a:pos x="26" y="32"/>
                  </a:cxn>
                  <a:cxn ang="0">
                    <a:pos x="34" y="30"/>
                  </a:cxn>
                  <a:cxn ang="0">
                    <a:pos x="42" y="28"/>
                  </a:cxn>
                  <a:cxn ang="0">
                    <a:pos x="46" y="22"/>
                  </a:cxn>
                  <a:cxn ang="0">
                    <a:pos x="48" y="20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20"/>
                  </a:cxn>
                  <a:cxn ang="0">
                    <a:pos x="0" y="20"/>
                  </a:cxn>
                </a:cxnLst>
                <a:rect l="0" t="0" r="r" b="b"/>
                <a:pathLst>
                  <a:path w="48" h="32">
                    <a:moveTo>
                      <a:pt x="0" y="20"/>
                    </a:moveTo>
                    <a:lnTo>
                      <a:pt x="0" y="20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8" y="30"/>
                    </a:lnTo>
                    <a:lnTo>
                      <a:pt x="16" y="32"/>
                    </a:lnTo>
                    <a:lnTo>
                      <a:pt x="26" y="32"/>
                    </a:lnTo>
                    <a:lnTo>
                      <a:pt x="34" y="30"/>
                    </a:lnTo>
                    <a:lnTo>
                      <a:pt x="42" y="28"/>
                    </a:lnTo>
                    <a:lnTo>
                      <a:pt x="46" y="22"/>
                    </a:lnTo>
                    <a:lnTo>
                      <a:pt x="48" y="20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1" name="Freeform 6101">
                <a:extLst>
                  <a:ext uri="{FF2B5EF4-FFF2-40B4-BE49-F238E27FC236}">
                    <a16:creationId xmlns:a16="http://schemas.microsoft.com/office/drawing/2014/main" id="{6AE0505A-68D7-48D6-B88E-A4E0CFAE0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8470" y="1065213"/>
                <a:ext cx="44450" cy="21590"/>
              </a:xfrm>
              <a:custGeom>
                <a:avLst/>
                <a:gdLst/>
                <a:ahLst/>
                <a:cxnLst>
                  <a:cxn ang="0">
                    <a:pos x="62" y="18"/>
                  </a:cxn>
                  <a:cxn ang="0">
                    <a:pos x="62" y="18"/>
                  </a:cxn>
                  <a:cxn ang="0">
                    <a:pos x="52" y="16"/>
                  </a:cxn>
                  <a:cxn ang="0">
                    <a:pos x="44" y="14"/>
                  </a:cxn>
                  <a:cxn ang="0">
                    <a:pos x="34" y="6"/>
                  </a:cxn>
                  <a:cxn ang="0">
                    <a:pos x="30" y="2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26" y="34"/>
                  </a:cxn>
                  <a:cxn ang="0">
                    <a:pos x="40" y="32"/>
                  </a:cxn>
                  <a:cxn ang="0">
                    <a:pos x="52" y="30"/>
                  </a:cxn>
                  <a:cxn ang="0">
                    <a:pos x="62" y="28"/>
                  </a:cxn>
                  <a:cxn ang="0">
                    <a:pos x="68" y="24"/>
                  </a:cxn>
                  <a:cxn ang="0">
                    <a:pos x="70" y="22"/>
                  </a:cxn>
                  <a:cxn ang="0">
                    <a:pos x="70" y="20"/>
                  </a:cxn>
                  <a:cxn ang="0">
                    <a:pos x="62" y="18"/>
                  </a:cxn>
                  <a:cxn ang="0">
                    <a:pos x="62" y="18"/>
                  </a:cxn>
                </a:cxnLst>
                <a:rect l="0" t="0" r="r" b="b"/>
                <a:pathLst>
                  <a:path w="70" h="34">
                    <a:moveTo>
                      <a:pt x="62" y="18"/>
                    </a:moveTo>
                    <a:lnTo>
                      <a:pt x="62" y="18"/>
                    </a:lnTo>
                    <a:lnTo>
                      <a:pt x="52" y="16"/>
                    </a:lnTo>
                    <a:lnTo>
                      <a:pt x="44" y="14"/>
                    </a:lnTo>
                    <a:lnTo>
                      <a:pt x="34" y="6"/>
                    </a:lnTo>
                    <a:lnTo>
                      <a:pt x="30" y="2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26" y="34"/>
                    </a:lnTo>
                    <a:lnTo>
                      <a:pt x="40" y="32"/>
                    </a:lnTo>
                    <a:lnTo>
                      <a:pt x="52" y="30"/>
                    </a:lnTo>
                    <a:lnTo>
                      <a:pt x="62" y="28"/>
                    </a:lnTo>
                    <a:lnTo>
                      <a:pt x="68" y="24"/>
                    </a:lnTo>
                    <a:lnTo>
                      <a:pt x="70" y="22"/>
                    </a:lnTo>
                    <a:lnTo>
                      <a:pt x="70" y="20"/>
                    </a:lnTo>
                    <a:lnTo>
                      <a:pt x="62" y="18"/>
                    </a:lnTo>
                    <a:lnTo>
                      <a:pt x="6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2" name="Freeform 6102">
                <a:extLst>
                  <a:ext uri="{FF2B5EF4-FFF2-40B4-BE49-F238E27FC236}">
                    <a16:creationId xmlns:a16="http://schemas.microsoft.com/office/drawing/2014/main" id="{0F2A3ABB-062B-4636-9E6E-95378346A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2780" y="1048703"/>
                <a:ext cx="449580" cy="129540"/>
              </a:xfrm>
              <a:custGeom>
                <a:avLst/>
                <a:gdLst/>
                <a:ahLst/>
                <a:cxnLst>
                  <a:cxn ang="0">
                    <a:pos x="342" y="198"/>
                  </a:cxn>
                  <a:cxn ang="0">
                    <a:pos x="406" y="202"/>
                  </a:cxn>
                  <a:cxn ang="0">
                    <a:pos x="530" y="198"/>
                  </a:cxn>
                  <a:cxn ang="0">
                    <a:pos x="560" y="176"/>
                  </a:cxn>
                  <a:cxn ang="0">
                    <a:pos x="566" y="188"/>
                  </a:cxn>
                  <a:cxn ang="0">
                    <a:pos x="624" y="200"/>
                  </a:cxn>
                  <a:cxn ang="0">
                    <a:pos x="680" y="190"/>
                  </a:cxn>
                  <a:cxn ang="0">
                    <a:pos x="688" y="174"/>
                  </a:cxn>
                  <a:cxn ang="0">
                    <a:pos x="708" y="168"/>
                  </a:cxn>
                  <a:cxn ang="0">
                    <a:pos x="694" y="158"/>
                  </a:cxn>
                  <a:cxn ang="0">
                    <a:pos x="700" y="144"/>
                  </a:cxn>
                  <a:cxn ang="0">
                    <a:pos x="700" y="126"/>
                  </a:cxn>
                  <a:cxn ang="0">
                    <a:pos x="672" y="110"/>
                  </a:cxn>
                  <a:cxn ang="0">
                    <a:pos x="642" y="104"/>
                  </a:cxn>
                  <a:cxn ang="0">
                    <a:pos x="600" y="96"/>
                  </a:cxn>
                  <a:cxn ang="0">
                    <a:pos x="480" y="110"/>
                  </a:cxn>
                  <a:cxn ang="0">
                    <a:pos x="442" y="126"/>
                  </a:cxn>
                  <a:cxn ang="0">
                    <a:pos x="416" y="122"/>
                  </a:cxn>
                  <a:cxn ang="0">
                    <a:pos x="374" y="120"/>
                  </a:cxn>
                  <a:cxn ang="0">
                    <a:pos x="346" y="114"/>
                  </a:cxn>
                  <a:cxn ang="0">
                    <a:pos x="330" y="110"/>
                  </a:cxn>
                  <a:cxn ang="0">
                    <a:pos x="324" y="124"/>
                  </a:cxn>
                  <a:cxn ang="0">
                    <a:pos x="310" y="116"/>
                  </a:cxn>
                  <a:cxn ang="0">
                    <a:pos x="310" y="102"/>
                  </a:cxn>
                  <a:cxn ang="0">
                    <a:pos x="294" y="84"/>
                  </a:cxn>
                  <a:cxn ang="0">
                    <a:pos x="268" y="84"/>
                  </a:cxn>
                  <a:cxn ang="0">
                    <a:pos x="262" y="76"/>
                  </a:cxn>
                  <a:cxn ang="0">
                    <a:pos x="308" y="74"/>
                  </a:cxn>
                  <a:cxn ang="0">
                    <a:pos x="316" y="66"/>
                  </a:cxn>
                  <a:cxn ang="0">
                    <a:pos x="278" y="52"/>
                  </a:cxn>
                  <a:cxn ang="0">
                    <a:pos x="240" y="34"/>
                  </a:cxn>
                  <a:cxn ang="0">
                    <a:pos x="182" y="36"/>
                  </a:cxn>
                  <a:cxn ang="0">
                    <a:pos x="154" y="30"/>
                  </a:cxn>
                  <a:cxn ang="0">
                    <a:pos x="124" y="10"/>
                  </a:cxn>
                  <a:cxn ang="0">
                    <a:pos x="78" y="6"/>
                  </a:cxn>
                  <a:cxn ang="0">
                    <a:pos x="10" y="0"/>
                  </a:cxn>
                  <a:cxn ang="0">
                    <a:pos x="2" y="12"/>
                  </a:cxn>
                  <a:cxn ang="0">
                    <a:pos x="18" y="32"/>
                  </a:cxn>
                  <a:cxn ang="0">
                    <a:pos x="58" y="52"/>
                  </a:cxn>
                  <a:cxn ang="0">
                    <a:pos x="66" y="66"/>
                  </a:cxn>
                  <a:cxn ang="0">
                    <a:pos x="112" y="66"/>
                  </a:cxn>
                  <a:cxn ang="0">
                    <a:pos x="160" y="60"/>
                  </a:cxn>
                  <a:cxn ang="0">
                    <a:pos x="186" y="84"/>
                  </a:cxn>
                  <a:cxn ang="0">
                    <a:pos x="202" y="98"/>
                  </a:cxn>
                  <a:cxn ang="0">
                    <a:pos x="194" y="120"/>
                  </a:cxn>
                  <a:cxn ang="0">
                    <a:pos x="186" y="142"/>
                  </a:cxn>
                  <a:cxn ang="0">
                    <a:pos x="198" y="154"/>
                  </a:cxn>
                  <a:cxn ang="0">
                    <a:pos x="206" y="182"/>
                  </a:cxn>
                  <a:cxn ang="0">
                    <a:pos x="232" y="190"/>
                  </a:cxn>
                  <a:cxn ang="0">
                    <a:pos x="250" y="186"/>
                  </a:cxn>
                  <a:cxn ang="0">
                    <a:pos x="282" y="198"/>
                  </a:cxn>
                  <a:cxn ang="0">
                    <a:pos x="326" y="188"/>
                  </a:cxn>
                  <a:cxn ang="0">
                    <a:pos x="342" y="188"/>
                  </a:cxn>
                </a:cxnLst>
                <a:rect l="0" t="0" r="r" b="b"/>
                <a:pathLst>
                  <a:path w="708" h="204">
                    <a:moveTo>
                      <a:pt x="342" y="188"/>
                    </a:moveTo>
                    <a:lnTo>
                      <a:pt x="342" y="188"/>
                    </a:lnTo>
                    <a:lnTo>
                      <a:pt x="342" y="196"/>
                    </a:lnTo>
                    <a:lnTo>
                      <a:pt x="342" y="198"/>
                    </a:lnTo>
                    <a:lnTo>
                      <a:pt x="344" y="200"/>
                    </a:lnTo>
                    <a:lnTo>
                      <a:pt x="352" y="202"/>
                    </a:lnTo>
                    <a:lnTo>
                      <a:pt x="364" y="204"/>
                    </a:lnTo>
                    <a:lnTo>
                      <a:pt x="406" y="202"/>
                    </a:lnTo>
                    <a:lnTo>
                      <a:pt x="472" y="202"/>
                    </a:lnTo>
                    <a:lnTo>
                      <a:pt x="472" y="202"/>
                    </a:lnTo>
                    <a:lnTo>
                      <a:pt x="506" y="202"/>
                    </a:lnTo>
                    <a:lnTo>
                      <a:pt x="530" y="198"/>
                    </a:lnTo>
                    <a:lnTo>
                      <a:pt x="546" y="192"/>
                    </a:lnTo>
                    <a:lnTo>
                      <a:pt x="554" y="186"/>
                    </a:lnTo>
                    <a:lnTo>
                      <a:pt x="558" y="180"/>
                    </a:lnTo>
                    <a:lnTo>
                      <a:pt x="560" y="176"/>
                    </a:lnTo>
                    <a:lnTo>
                      <a:pt x="562" y="178"/>
                    </a:lnTo>
                    <a:lnTo>
                      <a:pt x="562" y="184"/>
                    </a:lnTo>
                    <a:lnTo>
                      <a:pt x="562" y="184"/>
                    </a:lnTo>
                    <a:lnTo>
                      <a:pt x="566" y="188"/>
                    </a:lnTo>
                    <a:lnTo>
                      <a:pt x="570" y="190"/>
                    </a:lnTo>
                    <a:lnTo>
                      <a:pt x="584" y="196"/>
                    </a:lnTo>
                    <a:lnTo>
                      <a:pt x="604" y="200"/>
                    </a:lnTo>
                    <a:lnTo>
                      <a:pt x="624" y="200"/>
                    </a:lnTo>
                    <a:lnTo>
                      <a:pt x="646" y="200"/>
                    </a:lnTo>
                    <a:lnTo>
                      <a:pt x="664" y="198"/>
                    </a:lnTo>
                    <a:lnTo>
                      <a:pt x="676" y="192"/>
                    </a:lnTo>
                    <a:lnTo>
                      <a:pt x="680" y="190"/>
                    </a:lnTo>
                    <a:lnTo>
                      <a:pt x="682" y="186"/>
                    </a:lnTo>
                    <a:lnTo>
                      <a:pt x="682" y="186"/>
                    </a:lnTo>
                    <a:lnTo>
                      <a:pt x="684" y="178"/>
                    </a:lnTo>
                    <a:lnTo>
                      <a:pt x="688" y="174"/>
                    </a:lnTo>
                    <a:lnTo>
                      <a:pt x="694" y="172"/>
                    </a:lnTo>
                    <a:lnTo>
                      <a:pt x="700" y="170"/>
                    </a:lnTo>
                    <a:lnTo>
                      <a:pt x="706" y="168"/>
                    </a:lnTo>
                    <a:lnTo>
                      <a:pt x="708" y="168"/>
                    </a:lnTo>
                    <a:lnTo>
                      <a:pt x="708" y="166"/>
                    </a:lnTo>
                    <a:lnTo>
                      <a:pt x="700" y="162"/>
                    </a:lnTo>
                    <a:lnTo>
                      <a:pt x="700" y="162"/>
                    </a:lnTo>
                    <a:lnTo>
                      <a:pt x="694" y="158"/>
                    </a:lnTo>
                    <a:lnTo>
                      <a:pt x="690" y="154"/>
                    </a:lnTo>
                    <a:lnTo>
                      <a:pt x="692" y="152"/>
                    </a:lnTo>
                    <a:lnTo>
                      <a:pt x="696" y="148"/>
                    </a:lnTo>
                    <a:lnTo>
                      <a:pt x="700" y="144"/>
                    </a:lnTo>
                    <a:lnTo>
                      <a:pt x="702" y="140"/>
                    </a:lnTo>
                    <a:lnTo>
                      <a:pt x="704" y="134"/>
                    </a:lnTo>
                    <a:lnTo>
                      <a:pt x="700" y="126"/>
                    </a:lnTo>
                    <a:lnTo>
                      <a:pt x="700" y="126"/>
                    </a:lnTo>
                    <a:lnTo>
                      <a:pt x="694" y="118"/>
                    </a:lnTo>
                    <a:lnTo>
                      <a:pt x="688" y="114"/>
                    </a:lnTo>
                    <a:lnTo>
                      <a:pt x="680" y="112"/>
                    </a:lnTo>
                    <a:lnTo>
                      <a:pt x="672" y="110"/>
                    </a:lnTo>
                    <a:lnTo>
                      <a:pt x="654" y="110"/>
                    </a:lnTo>
                    <a:lnTo>
                      <a:pt x="648" y="108"/>
                    </a:lnTo>
                    <a:lnTo>
                      <a:pt x="642" y="104"/>
                    </a:lnTo>
                    <a:lnTo>
                      <a:pt x="642" y="104"/>
                    </a:lnTo>
                    <a:lnTo>
                      <a:pt x="636" y="98"/>
                    </a:lnTo>
                    <a:lnTo>
                      <a:pt x="626" y="96"/>
                    </a:lnTo>
                    <a:lnTo>
                      <a:pt x="614" y="94"/>
                    </a:lnTo>
                    <a:lnTo>
                      <a:pt x="600" y="96"/>
                    </a:lnTo>
                    <a:lnTo>
                      <a:pt x="560" y="98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480" y="110"/>
                    </a:lnTo>
                    <a:lnTo>
                      <a:pt x="464" y="114"/>
                    </a:lnTo>
                    <a:lnTo>
                      <a:pt x="454" y="120"/>
                    </a:lnTo>
                    <a:lnTo>
                      <a:pt x="446" y="124"/>
                    </a:lnTo>
                    <a:lnTo>
                      <a:pt x="442" y="126"/>
                    </a:lnTo>
                    <a:lnTo>
                      <a:pt x="438" y="128"/>
                    </a:lnTo>
                    <a:lnTo>
                      <a:pt x="430" y="126"/>
                    </a:lnTo>
                    <a:lnTo>
                      <a:pt x="416" y="122"/>
                    </a:lnTo>
                    <a:lnTo>
                      <a:pt x="416" y="122"/>
                    </a:lnTo>
                    <a:lnTo>
                      <a:pt x="402" y="118"/>
                    </a:lnTo>
                    <a:lnTo>
                      <a:pt x="390" y="118"/>
                    </a:lnTo>
                    <a:lnTo>
                      <a:pt x="382" y="118"/>
                    </a:lnTo>
                    <a:lnTo>
                      <a:pt x="374" y="120"/>
                    </a:lnTo>
                    <a:lnTo>
                      <a:pt x="368" y="122"/>
                    </a:lnTo>
                    <a:lnTo>
                      <a:pt x="362" y="122"/>
                    </a:lnTo>
                    <a:lnTo>
                      <a:pt x="354" y="120"/>
                    </a:lnTo>
                    <a:lnTo>
                      <a:pt x="346" y="114"/>
                    </a:lnTo>
                    <a:lnTo>
                      <a:pt x="346" y="114"/>
                    </a:lnTo>
                    <a:lnTo>
                      <a:pt x="338" y="110"/>
                    </a:lnTo>
                    <a:lnTo>
                      <a:pt x="332" y="108"/>
                    </a:lnTo>
                    <a:lnTo>
                      <a:pt x="330" y="110"/>
                    </a:lnTo>
                    <a:lnTo>
                      <a:pt x="328" y="114"/>
                    </a:lnTo>
                    <a:lnTo>
                      <a:pt x="328" y="118"/>
                    </a:lnTo>
                    <a:lnTo>
                      <a:pt x="326" y="122"/>
                    </a:lnTo>
                    <a:lnTo>
                      <a:pt x="324" y="124"/>
                    </a:lnTo>
                    <a:lnTo>
                      <a:pt x="318" y="122"/>
                    </a:lnTo>
                    <a:lnTo>
                      <a:pt x="318" y="122"/>
                    </a:lnTo>
                    <a:lnTo>
                      <a:pt x="312" y="118"/>
                    </a:lnTo>
                    <a:lnTo>
                      <a:pt x="310" y="116"/>
                    </a:lnTo>
                    <a:lnTo>
                      <a:pt x="310" y="112"/>
                    </a:lnTo>
                    <a:lnTo>
                      <a:pt x="310" y="110"/>
                    </a:lnTo>
                    <a:lnTo>
                      <a:pt x="312" y="106"/>
                    </a:lnTo>
                    <a:lnTo>
                      <a:pt x="310" y="102"/>
                    </a:lnTo>
                    <a:lnTo>
                      <a:pt x="308" y="96"/>
                    </a:lnTo>
                    <a:lnTo>
                      <a:pt x="300" y="90"/>
                    </a:lnTo>
                    <a:lnTo>
                      <a:pt x="300" y="90"/>
                    </a:lnTo>
                    <a:lnTo>
                      <a:pt x="294" y="84"/>
                    </a:lnTo>
                    <a:lnTo>
                      <a:pt x="286" y="82"/>
                    </a:lnTo>
                    <a:lnTo>
                      <a:pt x="280" y="82"/>
                    </a:lnTo>
                    <a:lnTo>
                      <a:pt x="276" y="82"/>
                    </a:lnTo>
                    <a:lnTo>
                      <a:pt x="268" y="84"/>
                    </a:lnTo>
                    <a:lnTo>
                      <a:pt x="266" y="82"/>
                    </a:lnTo>
                    <a:lnTo>
                      <a:pt x="264" y="78"/>
                    </a:lnTo>
                    <a:lnTo>
                      <a:pt x="264" y="78"/>
                    </a:lnTo>
                    <a:lnTo>
                      <a:pt x="262" y="76"/>
                    </a:lnTo>
                    <a:lnTo>
                      <a:pt x="264" y="74"/>
                    </a:lnTo>
                    <a:lnTo>
                      <a:pt x="270" y="72"/>
                    </a:lnTo>
                    <a:lnTo>
                      <a:pt x="290" y="72"/>
                    </a:lnTo>
                    <a:lnTo>
                      <a:pt x="308" y="74"/>
                    </a:lnTo>
                    <a:lnTo>
                      <a:pt x="314" y="72"/>
                    </a:lnTo>
                    <a:lnTo>
                      <a:pt x="316" y="70"/>
                    </a:lnTo>
                    <a:lnTo>
                      <a:pt x="316" y="66"/>
                    </a:lnTo>
                    <a:lnTo>
                      <a:pt x="316" y="66"/>
                    </a:lnTo>
                    <a:lnTo>
                      <a:pt x="314" y="62"/>
                    </a:lnTo>
                    <a:lnTo>
                      <a:pt x="308" y="58"/>
                    </a:lnTo>
                    <a:lnTo>
                      <a:pt x="296" y="56"/>
                    </a:lnTo>
                    <a:lnTo>
                      <a:pt x="278" y="52"/>
                    </a:lnTo>
                    <a:lnTo>
                      <a:pt x="268" y="48"/>
                    </a:lnTo>
                    <a:lnTo>
                      <a:pt x="258" y="44"/>
                    </a:lnTo>
                    <a:lnTo>
                      <a:pt x="258" y="44"/>
                    </a:lnTo>
                    <a:lnTo>
                      <a:pt x="240" y="34"/>
                    </a:lnTo>
                    <a:lnTo>
                      <a:pt x="232" y="32"/>
                    </a:lnTo>
                    <a:lnTo>
                      <a:pt x="224" y="30"/>
                    </a:lnTo>
                    <a:lnTo>
                      <a:pt x="204" y="32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70" y="36"/>
                    </a:lnTo>
                    <a:lnTo>
                      <a:pt x="162" y="34"/>
                    </a:lnTo>
                    <a:lnTo>
                      <a:pt x="154" y="30"/>
                    </a:lnTo>
                    <a:lnTo>
                      <a:pt x="148" y="24"/>
                    </a:lnTo>
                    <a:lnTo>
                      <a:pt x="136" y="14"/>
                    </a:lnTo>
                    <a:lnTo>
                      <a:pt x="130" y="10"/>
                    </a:lnTo>
                    <a:lnTo>
                      <a:pt x="124" y="10"/>
                    </a:lnTo>
                    <a:lnTo>
                      <a:pt x="124" y="10"/>
                    </a:lnTo>
                    <a:lnTo>
                      <a:pt x="114" y="10"/>
                    </a:lnTo>
                    <a:lnTo>
                      <a:pt x="104" y="10"/>
                    </a:lnTo>
                    <a:lnTo>
                      <a:pt x="78" y="6"/>
                    </a:lnTo>
                    <a:lnTo>
                      <a:pt x="4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0" y="24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26" y="38"/>
                    </a:lnTo>
                    <a:lnTo>
                      <a:pt x="36" y="42"/>
                    </a:lnTo>
                    <a:lnTo>
                      <a:pt x="50" y="48"/>
                    </a:lnTo>
                    <a:lnTo>
                      <a:pt x="58" y="52"/>
                    </a:lnTo>
                    <a:lnTo>
                      <a:pt x="62" y="56"/>
                    </a:lnTo>
                    <a:lnTo>
                      <a:pt x="62" y="60"/>
                    </a:lnTo>
                    <a:lnTo>
                      <a:pt x="62" y="60"/>
                    </a:lnTo>
                    <a:lnTo>
                      <a:pt x="66" y="66"/>
                    </a:lnTo>
                    <a:lnTo>
                      <a:pt x="70" y="68"/>
                    </a:lnTo>
                    <a:lnTo>
                      <a:pt x="78" y="70"/>
                    </a:lnTo>
                    <a:lnTo>
                      <a:pt x="88" y="70"/>
                    </a:lnTo>
                    <a:lnTo>
                      <a:pt x="112" y="66"/>
                    </a:lnTo>
                    <a:lnTo>
                      <a:pt x="138" y="60"/>
                    </a:lnTo>
                    <a:lnTo>
                      <a:pt x="138" y="60"/>
                    </a:lnTo>
                    <a:lnTo>
                      <a:pt x="150" y="60"/>
                    </a:lnTo>
                    <a:lnTo>
                      <a:pt x="160" y="60"/>
                    </a:lnTo>
                    <a:lnTo>
                      <a:pt x="166" y="62"/>
                    </a:lnTo>
                    <a:lnTo>
                      <a:pt x="170" y="66"/>
                    </a:lnTo>
                    <a:lnTo>
                      <a:pt x="180" y="78"/>
                    </a:lnTo>
                    <a:lnTo>
                      <a:pt x="186" y="84"/>
                    </a:lnTo>
                    <a:lnTo>
                      <a:pt x="194" y="90"/>
                    </a:lnTo>
                    <a:lnTo>
                      <a:pt x="194" y="90"/>
                    </a:lnTo>
                    <a:lnTo>
                      <a:pt x="198" y="94"/>
                    </a:lnTo>
                    <a:lnTo>
                      <a:pt x="202" y="98"/>
                    </a:lnTo>
                    <a:lnTo>
                      <a:pt x="202" y="102"/>
                    </a:lnTo>
                    <a:lnTo>
                      <a:pt x="202" y="106"/>
                    </a:lnTo>
                    <a:lnTo>
                      <a:pt x="200" y="114"/>
                    </a:lnTo>
                    <a:lnTo>
                      <a:pt x="194" y="120"/>
                    </a:lnTo>
                    <a:lnTo>
                      <a:pt x="190" y="128"/>
                    </a:lnTo>
                    <a:lnTo>
                      <a:pt x="186" y="134"/>
                    </a:lnTo>
                    <a:lnTo>
                      <a:pt x="184" y="140"/>
                    </a:lnTo>
                    <a:lnTo>
                      <a:pt x="186" y="142"/>
                    </a:lnTo>
                    <a:lnTo>
                      <a:pt x="190" y="144"/>
                    </a:lnTo>
                    <a:lnTo>
                      <a:pt x="190" y="144"/>
                    </a:lnTo>
                    <a:lnTo>
                      <a:pt x="196" y="150"/>
                    </a:lnTo>
                    <a:lnTo>
                      <a:pt x="198" y="154"/>
                    </a:lnTo>
                    <a:lnTo>
                      <a:pt x="200" y="164"/>
                    </a:lnTo>
                    <a:lnTo>
                      <a:pt x="200" y="170"/>
                    </a:lnTo>
                    <a:lnTo>
                      <a:pt x="202" y="176"/>
                    </a:lnTo>
                    <a:lnTo>
                      <a:pt x="206" y="182"/>
                    </a:lnTo>
                    <a:lnTo>
                      <a:pt x="216" y="186"/>
                    </a:lnTo>
                    <a:lnTo>
                      <a:pt x="216" y="186"/>
                    </a:lnTo>
                    <a:lnTo>
                      <a:pt x="224" y="190"/>
                    </a:lnTo>
                    <a:lnTo>
                      <a:pt x="232" y="190"/>
                    </a:lnTo>
                    <a:lnTo>
                      <a:pt x="236" y="190"/>
                    </a:lnTo>
                    <a:lnTo>
                      <a:pt x="240" y="188"/>
                    </a:lnTo>
                    <a:lnTo>
                      <a:pt x="244" y="186"/>
                    </a:lnTo>
                    <a:lnTo>
                      <a:pt x="250" y="186"/>
                    </a:lnTo>
                    <a:lnTo>
                      <a:pt x="260" y="188"/>
                    </a:lnTo>
                    <a:lnTo>
                      <a:pt x="274" y="194"/>
                    </a:lnTo>
                    <a:lnTo>
                      <a:pt x="274" y="194"/>
                    </a:lnTo>
                    <a:lnTo>
                      <a:pt x="282" y="198"/>
                    </a:lnTo>
                    <a:lnTo>
                      <a:pt x="290" y="198"/>
                    </a:lnTo>
                    <a:lnTo>
                      <a:pt x="304" y="198"/>
                    </a:lnTo>
                    <a:lnTo>
                      <a:pt x="316" y="194"/>
                    </a:lnTo>
                    <a:lnTo>
                      <a:pt x="326" y="188"/>
                    </a:lnTo>
                    <a:lnTo>
                      <a:pt x="340" y="180"/>
                    </a:lnTo>
                    <a:lnTo>
                      <a:pt x="342" y="180"/>
                    </a:lnTo>
                    <a:lnTo>
                      <a:pt x="342" y="180"/>
                    </a:lnTo>
                    <a:lnTo>
                      <a:pt x="342" y="188"/>
                    </a:lnTo>
                    <a:lnTo>
                      <a:pt x="342" y="18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3" name="Freeform 6103">
                <a:extLst>
                  <a:ext uri="{FF2B5EF4-FFF2-40B4-BE49-F238E27FC236}">
                    <a16:creationId xmlns:a16="http://schemas.microsoft.com/office/drawing/2014/main" id="{1C45815A-AF3F-45D6-BBC4-ACD8D0A682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750" y="1119823"/>
                <a:ext cx="81280" cy="49530"/>
              </a:xfrm>
              <a:custGeom>
                <a:avLst/>
                <a:gdLst/>
                <a:ahLst/>
                <a:cxnLst>
                  <a:cxn ang="0">
                    <a:pos x="94" y="78"/>
                  </a:cxn>
                  <a:cxn ang="0">
                    <a:pos x="94" y="78"/>
                  </a:cxn>
                  <a:cxn ang="0">
                    <a:pos x="110" y="76"/>
                  </a:cxn>
                  <a:cxn ang="0">
                    <a:pos x="120" y="72"/>
                  </a:cxn>
                  <a:cxn ang="0">
                    <a:pos x="126" y="66"/>
                  </a:cxn>
                  <a:cxn ang="0">
                    <a:pos x="128" y="58"/>
                  </a:cxn>
                  <a:cxn ang="0">
                    <a:pos x="126" y="48"/>
                  </a:cxn>
                  <a:cxn ang="0">
                    <a:pos x="120" y="38"/>
                  </a:cxn>
                  <a:cxn ang="0">
                    <a:pos x="114" y="28"/>
                  </a:cxn>
                  <a:cxn ang="0">
                    <a:pos x="104" y="16"/>
                  </a:cxn>
                  <a:cxn ang="0">
                    <a:pos x="104" y="16"/>
                  </a:cxn>
                  <a:cxn ang="0">
                    <a:pos x="92" y="8"/>
                  </a:cxn>
                  <a:cxn ang="0">
                    <a:pos x="80" y="2"/>
                  </a:cxn>
                  <a:cxn ang="0">
                    <a:pos x="68" y="0"/>
                  </a:cxn>
                  <a:cxn ang="0">
                    <a:pos x="58" y="0"/>
                  </a:cxn>
                  <a:cxn ang="0">
                    <a:pos x="46" y="2"/>
                  </a:cxn>
                  <a:cxn ang="0">
                    <a:pos x="34" y="8"/>
                  </a:cxn>
                  <a:cxn ang="0">
                    <a:pos x="24" y="1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6" y="36"/>
                  </a:cxn>
                  <a:cxn ang="0">
                    <a:pos x="2" y="42"/>
                  </a:cxn>
                  <a:cxn ang="0">
                    <a:pos x="0" y="48"/>
                  </a:cxn>
                  <a:cxn ang="0">
                    <a:pos x="0" y="52"/>
                  </a:cxn>
                  <a:cxn ang="0">
                    <a:pos x="4" y="56"/>
                  </a:cxn>
                  <a:cxn ang="0">
                    <a:pos x="10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2" y="62"/>
                  </a:cxn>
                  <a:cxn ang="0">
                    <a:pos x="40" y="64"/>
                  </a:cxn>
                  <a:cxn ang="0">
                    <a:pos x="54" y="70"/>
                  </a:cxn>
                  <a:cxn ang="0">
                    <a:pos x="68" y="76"/>
                  </a:cxn>
                  <a:cxn ang="0">
                    <a:pos x="80" y="76"/>
                  </a:cxn>
                  <a:cxn ang="0">
                    <a:pos x="94" y="78"/>
                  </a:cxn>
                  <a:cxn ang="0">
                    <a:pos x="94" y="78"/>
                  </a:cxn>
                </a:cxnLst>
                <a:rect l="0" t="0" r="r" b="b"/>
                <a:pathLst>
                  <a:path w="128" h="78">
                    <a:moveTo>
                      <a:pt x="94" y="78"/>
                    </a:moveTo>
                    <a:lnTo>
                      <a:pt x="94" y="78"/>
                    </a:lnTo>
                    <a:lnTo>
                      <a:pt x="110" y="76"/>
                    </a:lnTo>
                    <a:lnTo>
                      <a:pt x="120" y="72"/>
                    </a:lnTo>
                    <a:lnTo>
                      <a:pt x="126" y="66"/>
                    </a:lnTo>
                    <a:lnTo>
                      <a:pt x="128" y="58"/>
                    </a:lnTo>
                    <a:lnTo>
                      <a:pt x="126" y="48"/>
                    </a:lnTo>
                    <a:lnTo>
                      <a:pt x="120" y="38"/>
                    </a:lnTo>
                    <a:lnTo>
                      <a:pt x="114" y="28"/>
                    </a:lnTo>
                    <a:lnTo>
                      <a:pt x="104" y="16"/>
                    </a:lnTo>
                    <a:lnTo>
                      <a:pt x="104" y="16"/>
                    </a:lnTo>
                    <a:lnTo>
                      <a:pt x="92" y="8"/>
                    </a:lnTo>
                    <a:lnTo>
                      <a:pt x="80" y="2"/>
                    </a:lnTo>
                    <a:lnTo>
                      <a:pt x="68" y="0"/>
                    </a:lnTo>
                    <a:lnTo>
                      <a:pt x="58" y="0"/>
                    </a:lnTo>
                    <a:lnTo>
                      <a:pt x="46" y="2"/>
                    </a:lnTo>
                    <a:lnTo>
                      <a:pt x="34" y="8"/>
                    </a:lnTo>
                    <a:lnTo>
                      <a:pt x="24" y="1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6" y="36"/>
                    </a:lnTo>
                    <a:lnTo>
                      <a:pt x="2" y="42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6"/>
                    </a:lnTo>
                    <a:lnTo>
                      <a:pt x="10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2" y="62"/>
                    </a:lnTo>
                    <a:lnTo>
                      <a:pt x="40" y="64"/>
                    </a:lnTo>
                    <a:lnTo>
                      <a:pt x="54" y="70"/>
                    </a:lnTo>
                    <a:lnTo>
                      <a:pt x="68" y="76"/>
                    </a:lnTo>
                    <a:lnTo>
                      <a:pt x="80" y="76"/>
                    </a:lnTo>
                    <a:lnTo>
                      <a:pt x="94" y="78"/>
                    </a:lnTo>
                    <a:lnTo>
                      <a:pt x="94" y="7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4" name="Freeform 6104">
                <a:extLst>
                  <a:ext uri="{FF2B5EF4-FFF2-40B4-BE49-F238E27FC236}">
                    <a16:creationId xmlns:a16="http://schemas.microsoft.com/office/drawing/2014/main" id="{624623ED-3264-4653-BA07-9F43DF33B6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0560" y="1010603"/>
                <a:ext cx="80010" cy="19050"/>
              </a:xfrm>
              <a:custGeom>
                <a:avLst/>
                <a:gdLst/>
                <a:ahLst/>
                <a:cxnLst>
                  <a:cxn ang="0">
                    <a:pos x="92" y="28"/>
                  </a:cxn>
                  <a:cxn ang="0">
                    <a:pos x="92" y="28"/>
                  </a:cxn>
                  <a:cxn ang="0">
                    <a:pos x="108" y="28"/>
                  </a:cxn>
                  <a:cxn ang="0">
                    <a:pos x="120" y="26"/>
                  </a:cxn>
                  <a:cxn ang="0">
                    <a:pos x="124" y="22"/>
                  </a:cxn>
                  <a:cxn ang="0">
                    <a:pos x="126" y="20"/>
                  </a:cxn>
                  <a:cxn ang="0">
                    <a:pos x="126" y="16"/>
                  </a:cxn>
                  <a:cxn ang="0">
                    <a:pos x="122" y="12"/>
                  </a:cxn>
                  <a:cxn ang="0">
                    <a:pos x="112" y="8"/>
                  </a:cxn>
                  <a:cxn ang="0">
                    <a:pos x="100" y="4"/>
                  </a:cxn>
                  <a:cxn ang="0">
                    <a:pos x="82" y="2"/>
                  </a:cxn>
                  <a:cxn ang="0">
                    <a:pos x="82" y="2"/>
                  </a:cxn>
                  <a:cxn ang="0">
                    <a:pos x="48" y="0"/>
                  </a:cxn>
                  <a:cxn ang="0">
                    <a:pos x="22" y="4"/>
                  </a:cxn>
                  <a:cxn ang="0">
                    <a:pos x="14" y="6"/>
                  </a:cxn>
                  <a:cxn ang="0">
                    <a:pos x="6" y="8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6" y="28"/>
                  </a:cxn>
                  <a:cxn ang="0">
                    <a:pos x="26" y="30"/>
                  </a:cxn>
                  <a:cxn ang="0">
                    <a:pos x="56" y="28"/>
                  </a:cxn>
                  <a:cxn ang="0">
                    <a:pos x="92" y="28"/>
                  </a:cxn>
                  <a:cxn ang="0">
                    <a:pos x="92" y="28"/>
                  </a:cxn>
                </a:cxnLst>
                <a:rect l="0" t="0" r="r" b="b"/>
                <a:pathLst>
                  <a:path w="126" h="30">
                    <a:moveTo>
                      <a:pt x="92" y="28"/>
                    </a:moveTo>
                    <a:lnTo>
                      <a:pt x="92" y="28"/>
                    </a:lnTo>
                    <a:lnTo>
                      <a:pt x="108" y="28"/>
                    </a:lnTo>
                    <a:lnTo>
                      <a:pt x="120" y="26"/>
                    </a:lnTo>
                    <a:lnTo>
                      <a:pt x="124" y="22"/>
                    </a:lnTo>
                    <a:lnTo>
                      <a:pt x="126" y="20"/>
                    </a:lnTo>
                    <a:lnTo>
                      <a:pt x="126" y="16"/>
                    </a:lnTo>
                    <a:lnTo>
                      <a:pt x="122" y="12"/>
                    </a:lnTo>
                    <a:lnTo>
                      <a:pt x="112" y="8"/>
                    </a:lnTo>
                    <a:lnTo>
                      <a:pt x="100" y="4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48" y="0"/>
                    </a:lnTo>
                    <a:lnTo>
                      <a:pt x="22" y="4"/>
                    </a:lnTo>
                    <a:lnTo>
                      <a:pt x="14" y="6"/>
                    </a:lnTo>
                    <a:lnTo>
                      <a:pt x="6" y="8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6" y="28"/>
                    </a:lnTo>
                    <a:lnTo>
                      <a:pt x="26" y="30"/>
                    </a:lnTo>
                    <a:lnTo>
                      <a:pt x="56" y="28"/>
                    </a:lnTo>
                    <a:lnTo>
                      <a:pt x="92" y="28"/>
                    </a:lnTo>
                    <a:lnTo>
                      <a:pt x="92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5" name="Freeform 6105">
                <a:extLst>
                  <a:ext uri="{FF2B5EF4-FFF2-40B4-BE49-F238E27FC236}">
                    <a16:creationId xmlns:a16="http://schemas.microsoft.com/office/drawing/2014/main" id="{BE3B61C2-16AA-4F77-A0ED-3A0170CD1F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4560" y="944563"/>
                <a:ext cx="34290" cy="12700"/>
              </a:xfrm>
              <a:custGeom>
                <a:avLst/>
                <a:gdLst/>
                <a:ahLst/>
                <a:cxnLst>
                  <a:cxn ang="0">
                    <a:pos x="54" y="4"/>
                  </a:cxn>
                  <a:cxn ang="0">
                    <a:pos x="54" y="4"/>
                  </a:cxn>
                  <a:cxn ang="0">
                    <a:pos x="54" y="2"/>
                  </a:cxn>
                  <a:cxn ang="0">
                    <a:pos x="50" y="0"/>
                  </a:cxn>
                  <a:cxn ang="0">
                    <a:pos x="36" y="0"/>
                  </a:cxn>
                  <a:cxn ang="0">
                    <a:pos x="18" y="6"/>
                  </a:cxn>
                  <a:cxn ang="0">
                    <a:pos x="8" y="10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20" y="18"/>
                  </a:cxn>
                  <a:cxn ang="0">
                    <a:pos x="42" y="12"/>
                  </a:cxn>
                  <a:cxn ang="0">
                    <a:pos x="50" y="8"/>
                  </a:cxn>
                  <a:cxn ang="0">
                    <a:pos x="54" y="4"/>
                  </a:cxn>
                  <a:cxn ang="0">
                    <a:pos x="54" y="4"/>
                  </a:cxn>
                </a:cxnLst>
                <a:rect l="0" t="0" r="r" b="b"/>
                <a:pathLst>
                  <a:path w="54" h="20">
                    <a:moveTo>
                      <a:pt x="54" y="4"/>
                    </a:moveTo>
                    <a:lnTo>
                      <a:pt x="54" y="4"/>
                    </a:lnTo>
                    <a:lnTo>
                      <a:pt x="54" y="2"/>
                    </a:lnTo>
                    <a:lnTo>
                      <a:pt x="50" y="0"/>
                    </a:lnTo>
                    <a:lnTo>
                      <a:pt x="36" y="0"/>
                    </a:lnTo>
                    <a:lnTo>
                      <a:pt x="18" y="6"/>
                    </a:lnTo>
                    <a:lnTo>
                      <a:pt x="8" y="1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20" y="18"/>
                    </a:lnTo>
                    <a:lnTo>
                      <a:pt x="42" y="12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6" name="Freeform 6106">
                <a:extLst>
                  <a:ext uri="{FF2B5EF4-FFF2-40B4-BE49-F238E27FC236}">
                    <a16:creationId xmlns:a16="http://schemas.microsoft.com/office/drawing/2014/main" id="{211588FE-50B6-4167-853C-946877EB7D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7400" y="727393"/>
                <a:ext cx="784860" cy="367030"/>
              </a:xfrm>
              <a:custGeom>
                <a:avLst/>
                <a:gdLst/>
                <a:ahLst/>
                <a:cxnLst>
                  <a:cxn ang="0">
                    <a:pos x="68" y="162"/>
                  </a:cxn>
                  <a:cxn ang="0">
                    <a:pos x="122" y="204"/>
                  </a:cxn>
                  <a:cxn ang="0">
                    <a:pos x="246" y="182"/>
                  </a:cxn>
                  <a:cxn ang="0">
                    <a:pos x="202" y="210"/>
                  </a:cxn>
                  <a:cxn ang="0">
                    <a:pos x="334" y="210"/>
                  </a:cxn>
                  <a:cxn ang="0">
                    <a:pos x="494" y="186"/>
                  </a:cxn>
                  <a:cxn ang="0">
                    <a:pos x="540" y="190"/>
                  </a:cxn>
                  <a:cxn ang="0">
                    <a:pos x="450" y="222"/>
                  </a:cxn>
                  <a:cxn ang="0">
                    <a:pos x="402" y="274"/>
                  </a:cxn>
                  <a:cxn ang="0">
                    <a:pos x="402" y="298"/>
                  </a:cxn>
                  <a:cxn ang="0">
                    <a:pos x="246" y="240"/>
                  </a:cxn>
                  <a:cxn ang="0">
                    <a:pos x="226" y="284"/>
                  </a:cxn>
                  <a:cxn ang="0">
                    <a:pos x="296" y="336"/>
                  </a:cxn>
                  <a:cxn ang="0">
                    <a:pos x="336" y="356"/>
                  </a:cxn>
                  <a:cxn ang="0">
                    <a:pos x="298" y="364"/>
                  </a:cxn>
                  <a:cxn ang="0">
                    <a:pos x="168" y="410"/>
                  </a:cxn>
                  <a:cxn ang="0">
                    <a:pos x="226" y="422"/>
                  </a:cxn>
                  <a:cxn ang="0">
                    <a:pos x="256" y="440"/>
                  </a:cxn>
                  <a:cxn ang="0">
                    <a:pos x="330" y="460"/>
                  </a:cxn>
                  <a:cxn ang="0">
                    <a:pos x="342" y="464"/>
                  </a:cxn>
                  <a:cxn ang="0">
                    <a:pos x="238" y="460"/>
                  </a:cxn>
                  <a:cxn ang="0">
                    <a:pos x="140" y="450"/>
                  </a:cxn>
                  <a:cxn ang="0">
                    <a:pos x="160" y="502"/>
                  </a:cxn>
                  <a:cxn ang="0">
                    <a:pos x="92" y="546"/>
                  </a:cxn>
                  <a:cxn ang="0">
                    <a:pos x="146" y="562"/>
                  </a:cxn>
                  <a:cxn ang="0">
                    <a:pos x="244" y="562"/>
                  </a:cxn>
                  <a:cxn ang="0">
                    <a:pos x="322" y="552"/>
                  </a:cxn>
                  <a:cxn ang="0">
                    <a:pos x="438" y="548"/>
                  </a:cxn>
                  <a:cxn ang="0">
                    <a:pos x="462" y="578"/>
                  </a:cxn>
                  <a:cxn ang="0">
                    <a:pos x="560" y="538"/>
                  </a:cxn>
                  <a:cxn ang="0">
                    <a:pos x="518" y="514"/>
                  </a:cxn>
                  <a:cxn ang="0">
                    <a:pos x="550" y="472"/>
                  </a:cxn>
                  <a:cxn ang="0">
                    <a:pos x="550" y="432"/>
                  </a:cxn>
                  <a:cxn ang="0">
                    <a:pos x="668" y="402"/>
                  </a:cxn>
                  <a:cxn ang="0">
                    <a:pos x="684" y="372"/>
                  </a:cxn>
                  <a:cxn ang="0">
                    <a:pos x="686" y="348"/>
                  </a:cxn>
                  <a:cxn ang="0">
                    <a:pos x="658" y="326"/>
                  </a:cxn>
                  <a:cxn ang="0">
                    <a:pos x="588" y="318"/>
                  </a:cxn>
                  <a:cxn ang="0">
                    <a:pos x="752" y="284"/>
                  </a:cxn>
                  <a:cxn ang="0">
                    <a:pos x="832" y="278"/>
                  </a:cxn>
                  <a:cxn ang="0">
                    <a:pos x="1076" y="154"/>
                  </a:cxn>
                  <a:cxn ang="0">
                    <a:pos x="1000" y="142"/>
                  </a:cxn>
                  <a:cxn ang="0">
                    <a:pos x="1232" y="76"/>
                  </a:cxn>
                  <a:cxn ang="0">
                    <a:pos x="1168" y="54"/>
                  </a:cxn>
                  <a:cxn ang="0">
                    <a:pos x="1094" y="20"/>
                  </a:cxn>
                  <a:cxn ang="0">
                    <a:pos x="962" y="40"/>
                  </a:cxn>
                  <a:cxn ang="0">
                    <a:pos x="1006" y="20"/>
                  </a:cxn>
                  <a:cxn ang="0">
                    <a:pos x="858" y="2"/>
                  </a:cxn>
                  <a:cxn ang="0">
                    <a:pos x="690" y="10"/>
                  </a:cxn>
                  <a:cxn ang="0">
                    <a:pos x="500" y="14"/>
                  </a:cxn>
                  <a:cxn ang="0">
                    <a:pos x="412" y="24"/>
                  </a:cxn>
                  <a:cxn ang="0">
                    <a:pos x="392" y="42"/>
                  </a:cxn>
                  <a:cxn ang="0">
                    <a:pos x="340" y="70"/>
                  </a:cxn>
                  <a:cxn ang="0">
                    <a:pos x="264" y="52"/>
                  </a:cxn>
                  <a:cxn ang="0">
                    <a:pos x="224" y="76"/>
                  </a:cxn>
                  <a:cxn ang="0">
                    <a:pos x="248" y="98"/>
                  </a:cxn>
                  <a:cxn ang="0">
                    <a:pos x="130" y="92"/>
                  </a:cxn>
                  <a:cxn ang="0">
                    <a:pos x="50" y="104"/>
                  </a:cxn>
                  <a:cxn ang="0">
                    <a:pos x="12" y="144"/>
                  </a:cxn>
                </a:cxnLst>
                <a:rect l="0" t="0" r="r" b="b"/>
                <a:pathLst>
                  <a:path w="1236" h="578">
                    <a:moveTo>
                      <a:pt x="44" y="148"/>
                    </a:moveTo>
                    <a:lnTo>
                      <a:pt x="44" y="148"/>
                    </a:lnTo>
                    <a:lnTo>
                      <a:pt x="50" y="150"/>
                    </a:lnTo>
                    <a:lnTo>
                      <a:pt x="58" y="152"/>
                    </a:lnTo>
                    <a:lnTo>
                      <a:pt x="74" y="150"/>
                    </a:lnTo>
                    <a:lnTo>
                      <a:pt x="80" y="150"/>
                    </a:lnTo>
                    <a:lnTo>
                      <a:pt x="80" y="152"/>
                    </a:lnTo>
                    <a:lnTo>
                      <a:pt x="74" y="156"/>
                    </a:lnTo>
                    <a:lnTo>
                      <a:pt x="74" y="156"/>
                    </a:lnTo>
                    <a:lnTo>
                      <a:pt x="68" y="162"/>
                    </a:lnTo>
                    <a:lnTo>
                      <a:pt x="62" y="168"/>
                    </a:lnTo>
                    <a:lnTo>
                      <a:pt x="62" y="172"/>
                    </a:lnTo>
                    <a:lnTo>
                      <a:pt x="62" y="178"/>
                    </a:lnTo>
                    <a:lnTo>
                      <a:pt x="66" y="182"/>
                    </a:lnTo>
                    <a:lnTo>
                      <a:pt x="72" y="186"/>
                    </a:lnTo>
                    <a:lnTo>
                      <a:pt x="82" y="190"/>
                    </a:lnTo>
                    <a:lnTo>
                      <a:pt x="94" y="194"/>
                    </a:lnTo>
                    <a:lnTo>
                      <a:pt x="94" y="194"/>
                    </a:lnTo>
                    <a:lnTo>
                      <a:pt x="108" y="200"/>
                    </a:lnTo>
                    <a:lnTo>
                      <a:pt x="122" y="204"/>
                    </a:lnTo>
                    <a:lnTo>
                      <a:pt x="144" y="212"/>
                    </a:lnTo>
                    <a:lnTo>
                      <a:pt x="156" y="216"/>
                    </a:lnTo>
                    <a:lnTo>
                      <a:pt x="166" y="214"/>
                    </a:lnTo>
                    <a:lnTo>
                      <a:pt x="178" y="212"/>
                    </a:lnTo>
                    <a:lnTo>
                      <a:pt x="192" y="204"/>
                    </a:lnTo>
                    <a:lnTo>
                      <a:pt x="192" y="204"/>
                    </a:lnTo>
                    <a:lnTo>
                      <a:pt x="206" y="194"/>
                    </a:lnTo>
                    <a:lnTo>
                      <a:pt x="222" y="188"/>
                    </a:lnTo>
                    <a:lnTo>
                      <a:pt x="234" y="184"/>
                    </a:lnTo>
                    <a:lnTo>
                      <a:pt x="246" y="182"/>
                    </a:lnTo>
                    <a:lnTo>
                      <a:pt x="254" y="182"/>
                    </a:lnTo>
                    <a:lnTo>
                      <a:pt x="258" y="182"/>
                    </a:lnTo>
                    <a:lnTo>
                      <a:pt x="256" y="184"/>
                    </a:lnTo>
                    <a:lnTo>
                      <a:pt x="250" y="186"/>
                    </a:lnTo>
                    <a:lnTo>
                      <a:pt x="250" y="186"/>
                    </a:lnTo>
                    <a:lnTo>
                      <a:pt x="224" y="194"/>
                    </a:lnTo>
                    <a:lnTo>
                      <a:pt x="212" y="200"/>
                    </a:lnTo>
                    <a:lnTo>
                      <a:pt x="204" y="206"/>
                    </a:lnTo>
                    <a:lnTo>
                      <a:pt x="202" y="208"/>
                    </a:lnTo>
                    <a:lnTo>
                      <a:pt x="202" y="210"/>
                    </a:lnTo>
                    <a:lnTo>
                      <a:pt x="204" y="214"/>
                    </a:lnTo>
                    <a:lnTo>
                      <a:pt x="208" y="216"/>
                    </a:lnTo>
                    <a:lnTo>
                      <a:pt x="224" y="220"/>
                    </a:lnTo>
                    <a:lnTo>
                      <a:pt x="254" y="224"/>
                    </a:lnTo>
                    <a:lnTo>
                      <a:pt x="254" y="224"/>
                    </a:lnTo>
                    <a:lnTo>
                      <a:pt x="284" y="224"/>
                    </a:lnTo>
                    <a:lnTo>
                      <a:pt x="304" y="224"/>
                    </a:lnTo>
                    <a:lnTo>
                      <a:pt x="318" y="220"/>
                    </a:lnTo>
                    <a:lnTo>
                      <a:pt x="326" y="216"/>
                    </a:lnTo>
                    <a:lnTo>
                      <a:pt x="334" y="210"/>
                    </a:lnTo>
                    <a:lnTo>
                      <a:pt x="338" y="210"/>
                    </a:lnTo>
                    <a:lnTo>
                      <a:pt x="346" y="214"/>
                    </a:lnTo>
                    <a:lnTo>
                      <a:pt x="346" y="214"/>
                    </a:lnTo>
                    <a:lnTo>
                      <a:pt x="358" y="218"/>
                    </a:lnTo>
                    <a:lnTo>
                      <a:pt x="374" y="218"/>
                    </a:lnTo>
                    <a:lnTo>
                      <a:pt x="394" y="216"/>
                    </a:lnTo>
                    <a:lnTo>
                      <a:pt x="418" y="212"/>
                    </a:lnTo>
                    <a:lnTo>
                      <a:pt x="442" y="206"/>
                    </a:lnTo>
                    <a:lnTo>
                      <a:pt x="468" y="196"/>
                    </a:lnTo>
                    <a:lnTo>
                      <a:pt x="494" y="186"/>
                    </a:lnTo>
                    <a:lnTo>
                      <a:pt x="520" y="174"/>
                    </a:lnTo>
                    <a:lnTo>
                      <a:pt x="520" y="174"/>
                    </a:lnTo>
                    <a:lnTo>
                      <a:pt x="546" y="160"/>
                    </a:lnTo>
                    <a:lnTo>
                      <a:pt x="544" y="162"/>
                    </a:lnTo>
                    <a:lnTo>
                      <a:pt x="540" y="168"/>
                    </a:lnTo>
                    <a:lnTo>
                      <a:pt x="536" y="176"/>
                    </a:lnTo>
                    <a:lnTo>
                      <a:pt x="534" y="180"/>
                    </a:lnTo>
                    <a:lnTo>
                      <a:pt x="534" y="184"/>
                    </a:lnTo>
                    <a:lnTo>
                      <a:pt x="536" y="186"/>
                    </a:lnTo>
                    <a:lnTo>
                      <a:pt x="540" y="190"/>
                    </a:lnTo>
                    <a:lnTo>
                      <a:pt x="548" y="192"/>
                    </a:lnTo>
                    <a:lnTo>
                      <a:pt x="558" y="192"/>
                    </a:lnTo>
                    <a:lnTo>
                      <a:pt x="558" y="192"/>
                    </a:lnTo>
                    <a:lnTo>
                      <a:pt x="576" y="194"/>
                    </a:lnTo>
                    <a:lnTo>
                      <a:pt x="584" y="196"/>
                    </a:lnTo>
                    <a:lnTo>
                      <a:pt x="584" y="196"/>
                    </a:lnTo>
                    <a:lnTo>
                      <a:pt x="580" y="198"/>
                    </a:lnTo>
                    <a:lnTo>
                      <a:pt x="570" y="200"/>
                    </a:lnTo>
                    <a:lnTo>
                      <a:pt x="524" y="208"/>
                    </a:lnTo>
                    <a:lnTo>
                      <a:pt x="450" y="222"/>
                    </a:lnTo>
                    <a:lnTo>
                      <a:pt x="450" y="222"/>
                    </a:lnTo>
                    <a:lnTo>
                      <a:pt x="388" y="236"/>
                    </a:lnTo>
                    <a:lnTo>
                      <a:pt x="370" y="238"/>
                    </a:lnTo>
                    <a:lnTo>
                      <a:pt x="360" y="242"/>
                    </a:lnTo>
                    <a:lnTo>
                      <a:pt x="358" y="242"/>
                    </a:lnTo>
                    <a:lnTo>
                      <a:pt x="358" y="244"/>
                    </a:lnTo>
                    <a:lnTo>
                      <a:pt x="362" y="248"/>
                    </a:lnTo>
                    <a:lnTo>
                      <a:pt x="386" y="264"/>
                    </a:lnTo>
                    <a:lnTo>
                      <a:pt x="386" y="264"/>
                    </a:lnTo>
                    <a:lnTo>
                      <a:pt x="402" y="274"/>
                    </a:lnTo>
                    <a:lnTo>
                      <a:pt x="418" y="282"/>
                    </a:lnTo>
                    <a:lnTo>
                      <a:pt x="442" y="292"/>
                    </a:lnTo>
                    <a:lnTo>
                      <a:pt x="450" y="296"/>
                    </a:lnTo>
                    <a:lnTo>
                      <a:pt x="452" y="298"/>
                    </a:lnTo>
                    <a:lnTo>
                      <a:pt x="448" y="302"/>
                    </a:lnTo>
                    <a:lnTo>
                      <a:pt x="436" y="304"/>
                    </a:lnTo>
                    <a:lnTo>
                      <a:pt x="436" y="304"/>
                    </a:lnTo>
                    <a:lnTo>
                      <a:pt x="422" y="304"/>
                    </a:lnTo>
                    <a:lnTo>
                      <a:pt x="410" y="302"/>
                    </a:lnTo>
                    <a:lnTo>
                      <a:pt x="402" y="298"/>
                    </a:lnTo>
                    <a:lnTo>
                      <a:pt x="394" y="292"/>
                    </a:lnTo>
                    <a:lnTo>
                      <a:pt x="378" y="276"/>
                    </a:lnTo>
                    <a:lnTo>
                      <a:pt x="368" y="268"/>
                    </a:lnTo>
                    <a:lnTo>
                      <a:pt x="356" y="260"/>
                    </a:lnTo>
                    <a:lnTo>
                      <a:pt x="356" y="260"/>
                    </a:lnTo>
                    <a:lnTo>
                      <a:pt x="338" y="254"/>
                    </a:lnTo>
                    <a:lnTo>
                      <a:pt x="316" y="248"/>
                    </a:lnTo>
                    <a:lnTo>
                      <a:pt x="292" y="244"/>
                    </a:lnTo>
                    <a:lnTo>
                      <a:pt x="268" y="242"/>
                    </a:lnTo>
                    <a:lnTo>
                      <a:pt x="246" y="240"/>
                    </a:lnTo>
                    <a:lnTo>
                      <a:pt x="228" y="242"/>
                    </a:lnTo>
                    <a:lnTo>
                      <a:pt x="220" y="244"/>
                    </a:lnTo>
                    <a:lnTo>
                      <a:pt x="216" y="246"/>
                    </a:lnTo>
                    <a:lnTo>
                      <a:pt x="212" y="250"/>
                    </a:lnTo>
                    <a:lnTo>
                      <a:pt x="210" y="254"/>
                    </a:lnTo>
                    <a:lnTo>
                      <a:pt x="210" y="254"/>
                    </a:lnTo>
                    <a:lnTo>
                      <a:pt x="210" y="270"/>
                    </a:lnTo>
                    <a:lnTo>
                      <a:pt x="212" y="274"/>
                    </a:lnTo>
                    <a:lnTo>
                      <a:pt x="214" y="278"/>
                    </a:lnTo>
                    <a:lnTo>
                      <a:pt x="226" y="284"/>
                    </a:lnTo>
                    <a:lnTo>
                      <a:pt x="250" y="292"/>
                    </a:lnTo>
                    <a:lnTo>
                      <a:pt x="250" y="292"/>
                    </a:lnTo>
                    <a:lnTo>
                      <a:pt x="262" y="298"/>
                    </a:lnTo>
                    <a:lnTo>
                      <a:pt x="276" y="304"/>
                    </a:lnTo>
                    <a:lnTo>
                      <a:pt x="294" y="318"/>
                    </a:lnTo>
                    <a:lnTo>
                      <a:pt x="300" y="326"/>
                    </a:lnTo>
                    <a:lnTo>
                      <a:pt x="302" y="330"/>
                    </a:lnTo>
                    <a:lnTo>
                      <a:pt x="302" y="334"/>
                    </a:lnTo>
                    <a:lnTo>
                      <a:pt x="296" y="336"/>
                    </a:lnTo>
                    <a:lnTo>
                      <a:pt x="296" y="336"/>
                    </a:lnTo>
                    <a:lnTo>
                      <a:pt x="290" y="338"/>
                    </a:lnTo>
                    <a:lnTo>
                      <a:pt x="286" y="340"/>
                    </a:lnTo>
                    <a:lnTo>
                      <a:pt x="284" y="344"/>
                    </a:lnTo>
                    <a:lnTo>
                      <a:pt x="286" y="346"/>
                    </a:lnTo>
                    <a:lnTo>
                      <a:pt x="290" y="348"/>
                    </a:lnTo>
                    <a:lnTo>
                      <a:pt x="296" y="352"/>
                    </a:lnTo>
                    <a:lnTo>
                      <a:pt x="308" y="354"/>
                    </a:lnTo>
                    <a:lnTo>
                      <a:pt x="320" y="356"/>
                    </a:lnTo>
                    <a:lnTo>
                      <a:pt x="320" y="356"/>
                    </a:lnTo>
                    <a:lnTo>
                      <a:pt x="336" y="356"/>
                    </a:lnTo>
                    <a:lnTo>
                      <a:pt x="348" y="360"/>
                    </a:lnTo>
                    <a:lnTo>
                      <a:pt x="356" y="362"/>
                    </a:lnTo>
                    <a:lnTo>
                      <a:pt x="362" y="366"/>
                    </a:lnTo>
                    <a:lnTo>
                      <a:pt x="364" y="368"/>
                    </a:lnTo>
                    <a:lnTo>
                      <a:pt x="360" y="368"/>
                    </a:lnTo>
                    <a:lnTo>
                      <a:pt x="352" y="368"/>
                    </a:lnTo>
                    <a:lnTo>
                      <a:pt x="340" y="368"/>
                    </a:lnTo>
                    <a:lnTo>
                      <a:pt x="340" y="368"/>
                    </a:lnTo>
                    <a:lnTo>
                      <a:pt x="320" y="366"/>
                    </a:lnTo>
                    <a:lnTo>
                      <a:pt x="298" y="364"/>
                    </a:lnTo>
                    <a:lnTo>
                      <a:pt x="250" y="366"/>
                    </a:lnTo>
                    <a:lnTo>
                      <a:pt x="228" y="368"/>
                    </a:lnTo>
                    <a:lnTo>
                      <a:pt x="208" y="372"/>
                    </a:lnTo>
                    <a:lnTo>
                      <a:pt x="192" y="376"/>
                    </a:lnTo>
                    <a:lnTo>
                      <a:pt x="182" y="382"/>
                    </a:lnTo>
                    <a:lnTo>
                      <a:pt x="182" y="382"/>
                    </a:lnTo>
                    <a:lnTo>
                      <a:pt x="176" y="388"/>
                    </a:lnTo>
                    <a:lnTo>
                      <a:pt x="172" y="394"/>
                    </a:lnTo>
                    <a:lnTo>
                      <a:pt x="170" y="402"/>
                    </a:lnTo>
                    <a:lnTo>
                      <a:pt x="168" y="410"/>
                    </a:lnTo>
                    <a:lnTo>
                      <a:pt x="170" y="416"/>
                    </a:lnTo>
                    <a:lnTo>
                      <a:pt x="176" y="420"/>
                    </a:lnTo>
                    <a:lnTo>
                      <a:pt x="184" y="422"/>
                    </a:lnTo>
                    <a:lnTo>
                      <a:pt x="196" y="420"/>
                    </a:lnTo>
                    <a:lnTo>
                      <a:pt x="196" y="420"/>
                    </a:lnTo>
                    <a:lnTo>
                      <a:pt x="208" y="418"/>
                    </a:lnTo>
                    <a:lnTo>
                      <a:pt x="216" y="418"/>
                    </a:lnTo>
                    <a:lnTo>
                      <a:pt x="220" y="418"/>
                    </a:lnTo>
                    <a:lnTo>
                      <a:pt x="224" y="420"/>
                    </a:lnTo>
                    <a:lnTo>
                      <a:pt x="226" y="422"/>
                    </a:lnTo>
                    <a:lnTo>
                      <a:pt x="230" y="424"/>
                    </a:lnTo>
                    <a:lnTo>
                      <a:pt x="236" y="424"/>
                    </a:lnTo>
                    <a:lnTo>
                      <a:pt x="246" y="424"/>
                    </a:lnTo>
                    <a:lnTo>
                      <a:pt x="246" y="424"/>
                    </a:lnTo>
                    <a:lnTo>
                      <a:pt x="256" y="422"/>
                    </a:lnTo>
                    <a:lnTo>
                      <a:pt x="260" y="422"/>
                    </a:lnTo>
                    <a:lnTo>
                      <a:pt x="260" y="424"/>
                    </a:lnTo>
                    <a:lnTo>
                      <a:pt x="260" y="428"/>
                    </a:lnTo>
                    <a:lnTo>
                      <a:pt x="258" y="434"/>
                    </a:lnTo>
                    <a:lnTo>
                      <a:pt x="256" y="440"/>
                    </a:lnTo>
                    <a:lnTo>
                      <a:pt x="258" y="450"/>
                    </a:lnTo>
                    <a:lnTo>
                      <a:pt x="266" y="460"/>
                    </a:lnTo>
                    <a:lnTo>
                      <a:pt x="266" y="460"/>
                    </a:lnTo>
                    <a:lnTo>
                      <a:pt x="270" y="464"/>
                    </a:lnTo>
                    <a:lnTo>
                      <a:pt x="276" y="468"/>
                    </a:lnTo>
                    <a:lnTo>
                      <a:pt x="282" y="470"/>
                    </a:lnTo>
                    <a:lnTo>
                      <a:pt x="288" y="472"/>
                    </a:lnTo>
                    <a:lnTo>
                      <a:pt x="302" y="470"/>
                    </a:lnTo>
                    <a:lnTo>
                      <a:pt x="316" y="466"/>
                    </a:lnTo>
                    <a:lnTo>
                      <a:pt x="330" y="460"/>
                    </a:lnTo>
                    <a:lnTo>
                      <a:pt x="342" y="450"/>
                    </a:lnTo>
                    <a:lnTo>
                      <a:pt x="354" y="442"/>
                    </a:lnTo>
                    <a:lnTo>
                      <a:pt x="366" y="432"/>
                    </a:lnTo>
                    <a:lnTo>
                      <a:pt x="366" y="432"/>
                    </a:lnTo>
                    <a:lnTo>
                      <a:pt x="372" y="426"/>
                    </a:lnTo>
                    <a:lnTo>
                      <a:pt x="372" y="428"/>
                    </a:lnTo>
                    <a:lnTo>
                      <a:pt x="372" y="430"/>
                    </a:lnTo>
                    <a:lnTo>
                      <a:pt x="366" y="440"/>
                    </a:lnTo>
                    <a:lnTo>
                      <a:pt x="356" y="452"/>
                    </a:lnTo>
                    <a:lnTo>
                      <a:pt x="342" y="464"/>
                    </a:lnTo>
                    <a:lnTo>
                      <a:pt x="326" y="476"/>
                    </a:lnTo>
                    <a:lnTo>
                      <a:pt x="316" y="482"/>
                    </a:lnTo>
                    <a:lnTo>
                      <a:pt x="306" y="484"/>
                    </a:lnTo>
                    <a:lnTo>
                      <a:pt x="296" y="486"/>
                    </a:lnTo>
                    <a:lnTo>
                      <a:pt x="286" y="486"/>
                    </a:lnTo>
                    <a:lnTo>
                      <a:pt x="286" y="486"/>
                    </a:lnTo>
                    <a:lnTo>
                      <a:pt x="270" y="482"/>
                    </a:lnTo>
                    <a:lnTo>
                      <a:pt x="256" y="476"/>
                    </a:lnTo>
                    <a:lnTo>
                      <a:pt x="246" y="468"/>
                    </a:lnTo>
                    <a:lnTo>
                      <a:pt x="238" y="460"/>
                    </a:lnTo>
                    <a:lnTo>
                      <a:pt x="228" y="452"/>
                    </a:lnTo>
                    <a:lnTo>
                      <a:pt x="218" y="446"/>
                    </a:lnTo>
                    <a:lnTo>
                      <a:pt x="206" y="440"/>
                    </a:lnTo>
                    <a:lnTo>
                      <a:pt x="190" y="438"/>
                    </a:lnTo>
                    <a:lnTo>
                      <a:pt x="190" y="438"/>
                    </a:lnTo>
                    <a:lnTo>
                      <a:pt x="160" y="440"/>
                    </a:lnTo>
                    <a:lnTo>
                      <a:pt x="150" y="440"/>
                    </a:lnTo>
                    <a:lnTo>
                      <a:pt x="144" y="444"/>
                    </a:lnTo>
                    <a:lnTo>
                      <a:pt x="140" y="446"/>
                    </a:lnTo>
                    <a:lnTo>
                      <a:pt x="140" y="450"/>
                    </a:lnTo>
                    <a:lnTo>
                      <a:pt x="144" y="456"/>
                    </a:lnTo>
                    <a:lnTo>
                      <a:pt x="150" y="462"/>
                    </a:lnTo>
                    <a:lnTo>
                      <a:pt x="150" y="462"/>
                    </a:lnTo>
                    <a:lnTo>
                      <a:pt x="166" y="476"/>
                    </a:lnTo>
                    <a:lnTo>
                      <a:pt x="182" y="490"/>
                    </a:lnTo>
                    <a:lnTo>
                      <a:pt x="184" y="494"/>
                    </a:lnTo>
                    <a:lnTo>
                      <a:pt x="184" y="496"/>
                    </a:lnTo>
                    <a:lnTo>
                      <a:pt x="182" y="498"/>
                    </a:lnTo>
                    <a:lnTo>
                      <a:pt x="174" y="500"/>
                    </a:lnTo>
                    <a:lnTo>
                      <a:pt x="160" y="502"/>
                    </a:lnTo>
                    <a:lnTo>
                      <a:pt x="160" y="502"/>
                    </a:lnTo>
                    <a:lnTo>
                      <a:pt x="142" y="502"/>
                    </a:lnTo>
                    <a:lnTo>
                      <a:pt x="124" y="506"/>
                    </a:lnTo>
                    <a:lnTo>
                      <a:pt x="110" y="512"/>
                    </a:lnTo>
                    <a:lnTo>
                      <a:pt x="98" y="518"/>
                    </a:lnTo>
                    <a:lnTo>
                      <a:pt x="90" y="526"/>
                    </a:lnTo>
                    <a:lnTo>
                      <a:pt x="88" y="534"/>
                    </a:lnTo>
                    <a:lnTo>
                      <a:pt x="88" y="538"/>
                    </a:lnTo>
                    <a:lnTo>
                      <a:pt x="88" y="542"/>
                    </a:lnTo>
                    <a:lnTo>
                      <a:pt x="92" y="546"/>
                    </a:lnTo>
                    <a:lnTo>
                      <a:pt x="96" y="550"/>
                    </a:lnTo>
                    <a:lnTo>
                      <a:pt x="96" y="550"/>
                    </a:lnTo>
                    <a:lnTo>
                      <a:pt x="100" y="552"/>
                    </a:lnTo>
                    <a:lnTo>
                      <a:pt x="104" y="552"/>
                    </a:lnTo>
                    <a:lnTo>
                      <a:pt x="114" y="552"/>
                    </a:lnTo>
                    <a:lnTo>
                      <a:pt x="124" y="552"/>
                    </a:lnTo>
                    <a:lnTo>
                      <a:pt x="130" y="554"/>
                    </a:lnTo>
                    <a:lnTo>
                      <a:pt x="138" y="558"/>
                    </a:lnTo>
                    <a:lnTo>
                      <a:pt x="138" y="558"/>
                    </a:lnTo>
                    <a:lnTo>
                      <a:pt x="146" y="562"/>
                    </a:lnTo>
                    <a:lnTo>
                      <a:pt x="154" y="566"/>
                    </a:lnTo>
                    <a:lnTo>
                      <a:pt x="162" y="566"/>
                    </a:lnTo>
                    <a:lnTo>
                      <a:pt x="170" y="564"/>
                    </a:lnTo>
                    <a:lnTo>
                      <a:pt x="186" y="560"/>
                    </a:lnTo>
                    <a:lnTo>
                      <a:pt x="200" y="552"/>
                    </a:lnTo>
                    <a:lnTo>
                      <a:pt x="200" y="552"/>
                    </a:lnTo>
                    <a:lnTo>
                      <a:pt x="206" y="552"/>
                    </a:lnTo>
                    <a:lnTo>
                      <a:pt x="212" y="552"/>
                    </a:lnTo>
                    <a:lnTo>
                      <a:pt x="226" y="556"/>
                    </a:lnTo>
                    <a:lnTo>
                      <a:pt x="244" y="562"/>
                    </a:lnTo>
                    <a:lnTo>
                      <a:pt x="256" y="566"/>
                    </a:lnTo>
                    <a:lnTo>
                      <a:pt x="272" y="566"/>
                    </a:lnTo>
                    <a:lnTo>
                      <a:pt x="272" y="566"/>
                    </a:lnTo>
                    <a:lnTo>
                      <a:pt x="286" y="566"/>
                    </a:lnTo>
                    <a:lnTo>
                      <a:pt x="294" y="564"/>
                    </a:lnTo>
                    <a:lnTo>
                      <a:pt x="298" y="560"/>
                    </a:lnTo>
                    <a:lnTo>
                      <a:pt x="302" y="556"/>
                    </a:lnTo>
                    <a:lnTo>
                      <a:pt x="306" y="554"/>
                    </a:lnTo>
                    <a:lnTo>
                      <a:pt x="312" y="552"/>
                    </a:lnTo>
                    <a:lnTo>
                      <a:pt x="322" y="552"/>
                    </a:lnTo>
                    <a:lnTo>
                      <a:pt x="336" y="558"/>
                    </a:lnTo>
                    <a:lnTo>
                      <a:pt x="336" y="558"/>
                    </a:lnTo>
                    <a:lnTo>
                      <a:pt x="346" y="560"/>
                    </a:lnTo>
                    <a:lnTo>
                      <a:pt x="356" y="560"/>
                    </a:lnTo>
                    <a:lnTo>
                      <a:pt x="376" y="560"/>
                    </a:lnTo>
                    <a:lnTo>
                      <a:pt x="394" y="556"/>
                    </a:lnTo>
                    <a:lnTo>
                      <a:pt x="412" y="552"/>
                    </a:lnTo>
                    <a:lnTo>
                      <a:pt x="426" y="548"/>
                    </a:lnTo>
                    <a:lnTo>
                      <a:pt x="436" y="548"/>
                    </a:lnTo>
                    <a:lnTo>
                      <a:pt x="438" y="548"/>
                    </a:lnTo>
                    <a:lnTo>
                      <a:pt x="440" y="550"/>
                    </a:lnTo>
                    <a:lnTo>
                      <a:pt x="442" y="554"/>
                    </a:lnTo>
                    <a:lnTo>
                      <a:pt x="440" y="560"/>
                    </a:lnTo>
                    <a:lnTo>
                      <a:pt x="440" y="560"/>
                    </a:lnTo>
                    <a:lnTo>
                      <a:pt x="438" y="564"/>
                    </a:lnTo>
                    <a:lnTo>
                      <a:pt x="438" y="570"/>
                    </a:lnTo>
                    <a:lnTo>
                      <a:pt x="440" y="572"/>
                    </a:lnTo>
                    <a:lnTo>
                      <a:pt x="442" y="576"/>
                    </a:lnTo>
                    <a:lnTo>
                      <a:pt x="450" y="578"/>
                    </a:lnTo>
                    <a:lnTo>
                      <a:pt x="462" y="578"/>
                    </a:lnTo>
                    <a:lnTo>
                      <a:pt x="474" y="574"/>
                    </a:lnTo>
                    <a:lnTo>
                      <a:pt x="486" y="570"/>
                    </a:lnTo>
                    <a:lnTo>
                      <a:pt x="510" y="558"/>
                    </a:lnTo>
                    <a:lnTo>
                      <a:pt x="510" y="558"/>
                    </a:lnTo>
                    <a:lnTo>
                      <a:pt x="518" y="552"/>
                    </a:lnTo>
                    <a:lnTo>
                      <a:pt x="528" y="552"/>
                    </a:lnTo>
                    <a:lnTo>
                      <a:pt x="544" y="550"/>
                    </a:lnTo>
                    <a:lnTo>
                      <a:pt x="550" y="550"/>
                    </a:lnTo>
                    <a:lnTo>
                      <a:pt x="556" y="546"/>
                    </a:lnTo>
                    <a:lnTo>
                      <a:pt x="560" y="538"/>
                    </a:lnTo>
                    <a:lnTo>
                      <a:pt x="562" y="526"/>
                    </a:lnTo>
                    <a:lnTo>
                      <a:pt x="562" y="526"/>
                    </a:lnTo>
                    <a:lnTo>
                      <a:pt x="562" y="520"/>
                    </a:lnTo>
                    <a:lnTo>
                      <a:pt x="560" y="518"/>
                    </a:lnTo>
                    <a:lnTo>
                      <a:pt x="558" y="514"/>
                    </a:lnTo>
                    <a:lnTo>
                      <a:pt x="556" y="514"/>
                    </a:lnTo>
                    <a:lnTo>
                      <a:pt x="546" y="512"/>
                    </a:lnTo>
                    <a:lnTo>
                      <a:pt x="536" y="512"/>
                    </a:lnTo>
                    <a:lnTo>
                      <a:pt x="526" y="514"/>
                    </a:lnTo>
                    <a:lnTo>
                      <a:pt x="518" y="514"/>
                    </a:lnTo>
                    <a:lnTo>
                      <a:pt x="512" y="512"/>
                    </a:lnTo>
                    <a:lnTo>
                      <a:pt x="510" y="510"/>
                    </a:lnTo>
                    <a:lnTo>
                      <a:pt x="508" y="506"/>
                    </a:lnTo>
                    <a:lnTo>
                      <a:pt x="508" y="506"/>
                    </a:lnTo>
                    <a:lnTo>
                      <a:pt x="510" y="500"/>
                    </a:lnTo>
                    <a:lnTo>
                      <a:pt x="512" y="494"/>
                    </a:lnTo>
                    <a:lnTo>
                      <a:pt x="514" y="490"/>
                    </a:lnTo>
                    <a:lnTo>
                      <a:pt x="520" y="488"/>
                    </a:lnTo>
                    <a:lnTo>
                      <a:pt x="532" y="482"/>
                    </a:lnTo>
                    <a:lnTo>
                      <a:pt x="550" y="472"/>
                    </a:lnTo>
                    <a:lnTo>
                      <a:pt x="550" y="472"/>
                    </a:lnTo>
                    <a:lnTo>
                      <a:pt x="554" y="468"/>
                    </a:lnTo>
                    <a:lnTo>
                      <a:pt x="556" y="464"/>
                    </a:lnTo>
                    <a:lnTo>
                      <a:pt x="556" y="460"/>
                    </a:lnTo>
                    <a:lnTo>
                      <a:pt x="556" y="456"/>
                    </a:lnTo>
                    <a:lnTo>
                      <a:pt x="552" y="448"/>
                    </a:lnTo>
                    <a:lnTo>
                      <a:pt x="548" y="442"/>
                    </a:lnTo>
                    <a:lnTo>
                      <a:pt x="546" y="436"/>
                    </a:lnTo>
                    <a:lnTo>
                      <a:pt x="548" y="434"/>
                    </a:lnTo>
                    <a:lnTo>
                      <a:pt x="550" y="432"/>
                    </a:lnTo>
                    <a:lnTo>
                      <a:pt x="560" y="430"/>
                    </a:lnTo>
                    <a:lnTo>
                      <a:pt x="582" y="434"/>
                    </a:lnTo>
                    <a:lnTo>
                      <a:pt x="582" y="434"/>
                    </a:lnTo>
                    <a:lnTo>
                      <a:pt x="602" y="436"/>
                    </a:lnTo>
                    <a:lnTo>
                      <a:pt x="620" y="434"/>
                    </a:lnTo>
                    <a:lnTo>
                      <a:pt x="636" y="430"/>
                    </a:lnTo>
                    <a:lnTo>
                      <a:pt x="650" y="424"/>
                    </a:lnTo>
                    <a:lnTo>
                      <a:pt x="660" y="418"/>
                    </a:lnTo>
                    <a:lnTo>
                      <a:pt x="666" y="410"/>
                    </a:lnTo>
                    <a:lnTo>
                      <a:pt x="668" y="402"/>
                    </a:lnTo>
                    <a:lnTo>
                      <a:pt x="668" y="400"/>
                    </a:lnTo>
                    <a:lnTo>
                      <a:pt x="666" y="396"/>
                    </a:lnTo>
                    <a:lnTo>
                      <a:pt x="666" y="396"/>
                    </a:lnTo>
                    <a:lnTo>
                      <a:pt x="664" y="394"/>
                    </a:lnTo>
                    <a:lnTo>
                      <a:pt x="664" y="392"/>
                    </a:lnTo>
                    <a:lnTo>
                      <a:pt x="666" y="388"/>
                    </a:lnTo>
                    <a:lnTo>
                      <a:pt x="680" y="382"/>
                    </a:lnTo>
                    <a:lnTo>
                      <a:pt x="684" y="378"/>
                    </a:lnTo>
                    <a:lnTo>
                      <a:pt x="684" y="376"/>
                    </a:lnTo>
                    <a:lnTo>
                      <a:pt x="684" y="372"/>
                    </a:lnTo>
                    <a:lnTo>
                      <a:pt x="678" y="366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48" y="350"/>
                    </a:lnTo>
                    <a:lnTo>
                      <a:pt x="644" y="348"/>
                    </a:lnTo>
                    <a:lnTo>
                      <a:pt x="644" y="346"/>
                    </a:lnTo>
                    <a:lnTo>
                      <a:pt x="650" y="346"/>
                    </a:lnTo>
                    <a:lnTo>
                      <a:pt x="662" y="348"/>
                    </a:lnTo>
                    <a:lnTo>
                      <a:pt x="674" y="348"/>
                    </a:lnTo>
                    <a:lnTo>
                      <a:pt x="686" y="348"/>
                    </a:lnTo>
                    <a:lnTo>
                      <a:pt x="690" y="348"/>
                    </a:lnTo>
                    <a:lnTo>
                      <a:pt x="694" y="346"/>
                    </a:lnTo>
                    <a:lnTo>
                      <a:pt x="696" y="344"/>
                    </a:lnTo>
                    <a:lnTo>
                      <a:pt x="694" y="340"/>
                    </a:lnTo>
                    <a:lnTo>
                      <a:pt x="694" y="340"/>
                    </a:lnTo>
                    <a:lnTo>
                      <a:pt x="690" y="332"/>
                    </a:lnTo>
                    <a:lnTo>
                      <a:pt x="684" y="328"/>
                    </a:lnTo>
                    <a:lnTo>
                      <a:pt x="680" y="324"/>
                    </a:lnTo>
                    <a:lnTo>
                      <a:pt x="674" y="324"/>
                    </a:lnTo>
                    <a:lnTo>
                      <a:pt x="658" y="326"/>
                    </a:lnTo>
                    <a:lnTo>
                      <a:pt x="638" y="328"/>
                    </a:lnTo>
                    <a:lnTo>
                      <a:pt x="638" y="328"/>
                    </a:lnTo>
                    <a:lnTo>
                      <a:pt x="614" y="328"/>
                    </a:lnTo>
                    <a:lnTo>
                      <a:pt x="592" y="328"/>
                    </a:lnTo>
                    <a:lnTo>
                      <a:pt x="584" y="328"/>
                    </a:lnTo>
                    <a:lnTo>
                      <a:pt x="578" y="326"/>
                    </a:lnTo>
                    <a:lnTo>
                      <a:pt x="576" y="324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8" y="318"/>
                    </a:lnTo>
                    <a:lnTo>
                      <a:pt x="602" y="314"/>
                    </a:lnTo>
                    <a:lnTo>
                      <a:pt x="644" y="312"/>
                    </a:lnTo>
                    <a:lnTo>
                      <a:pt x="692" y="310"/>
                    </a:lnTo>
                    <a:lnTo>
                      <a:pt x="730" y="306"/>
                    </a:lnTo>
                    <a:lnTo>
                      <a:pt x="730" y="306"/>
                    </a:lnTo>
                    <a:lnTo>
                      <a:pt x="742" y="304"/>
                    </a:lnTo>
                    <a:lnTo>
                      <a:pt x="750" y="300"/>
                    </a:lnTo>
                    <a:lnTo>
                      <a:pt x="752" y="296"/>
                    </a:lnTo>
                    <a:lnTo>
                      <a:pt x="752" y="290"/>
                    </a:lnTo>
                    <a:lnTo>
                      <a:pt x="752" y="284"/>
                    </a:lnTo>
                    <a:lnTo>
                      <a:pt x="754" y="284"/>
                    </a:lnTo>
                    <a:lnTo>
                      <a:pt x="762" y="286"/>
                    </a:lnTo>
                    <a:lnTo>
                      <a:pt x="762" y="286"/>
                    </a:lnTo>
                    <a:lnTo>
                      <a:pt x="770" y="290"/>
                    </a:lnTo>
                    <a:lnTo>
                      <a:pt x="780" y="292"/>
                    </a:lnTo>
                    <a:lnTo>
                      <a:pt x="790" y="294"/>
                    </a:lnTo>
                    <a:lnTo>
                      <a:pt x="800" y="292"/>
                    </a:lnTo>
                    <a:lnTo>
                      <a:pt x="812" y="290"/>
                    </a:lnTo>
                    <a:lnTo>
                      <a:pt x="822" y="286"/>
                    </a:lnTo>
                    <a:lnTo>
                      <a:pt x="832" y="278"/>
                    </a:lnTo>
                    <a:lnTo>
                      <a:pt x="842" y="270"/>
                    </a:lnTo>
                    <a:lnTo>
                      <a:pt x="842" y="270"/>
                    </a:lnTo>
                    <a:lnTo>
                      <a:pt x="852" y="260"/>
                    </a:lnTo>
                    <a:lnTo>
                      <a:pt x="866" y="248"/>
                    </a:lnTo>
                    <a:lnTo>
                      <a:pt x="882" y="238"/>
                    </a:lnTo>
                    <a:lnTo>
                      <a:pt x="902" y="228"/>
                    </a:lnTo>
                    <a:lnTo>
                      <a:pt x="954" y="204"/>
                    </a:lnTo>
                    <a:lnTo>
                      <a:pt x="1020" y="178"/>
                    </a:lnTo>
                    <a:lnTo>
                      <a:pt x="1020" y="178"/>
                    </a:lnTo>
                    <a:lnTo>
                      <a:pt x="1076" y="154"/>
                    </a:lnTo>
                    <a:lnTo>
                      <a:pt x="1092" y="146"/>
                    </a:lnTo>
                    <a:lnTo>
                      <a:pt x="1098" y="142"/>
                    </a:lnTo>
                    <a:lnTo>
                      <a:pt x="1098" y="140"/>
                    </a:lnTo>
                    <a:lnTo>
                      <a:pt x="1094" y="140"/>
                    </a:lnTo>
                    <a:lnTo>
                      <a:pt x="1084" y="140"/>
                    </a:lnTo>
                    <a:lnTo>
                      <a:pt x="1038" y="142"/>
                    </a:lnTo>
                    <a:lnTo>
                      <a:pt x="1038" y="142"/>
                    </a:lnTo>
                    <a:lnTo>
                      <a:pt x="1014" y="144"/>
                    </a:lnTo>
                    <a:lnTo>
                      <a:pt x="1002" y="144"/>
                    </a:lnTo>
                    <a:lnTo>
                      <a:pt x="1000" y="142"/>
                    </a:lnTo>
                    <a:lnTo>
                      <a:pt x="1000" y="142"/>
                    </a:lnTo>
                    <a:lnTo>
                      <a:pt x="1006" y="138"/>
                    </a:lnTo>
                    <a:lnTo>
                      <a:pt x="1034" y="130"/>
                    </a:lnTo>
                    <a:lnTo>
                      <a:pt x="1072" y="122"/>
                    </a:lnTo>
                    <a:lnTo>
                      <a:pt x="1072" y="122"/>
                    </a:lnTo>
                    <a:lnTo>
                      <a:pt x="1118" y="112"/>
                    </a:lnTo>
                    <a:lnTo>
                      <a:pt x="1172" y="100"/>
                    </a:lnTo>
                    <a:lnTo>
                      <a:pt x="1198" y="92"/>
                    </a:lnTo>
                    <a:lnTo>
                      <a:pt x="1218" y="84"/>
                    </a:lnTo>
                    <a:lnTo>
                      <a:pt x="1232" y="76"/>
                    </a:lnTo>
                    <a:lnTo>
                      <a:pt x="1236" y="72"/>
                    </a:lnTo>
                    <a:lnTo>
                      <a:pt x="1236" y="68"/>
                    </a:lnTo>
                    <a:lnTo>
                      <a:pt x="1236" y="68"/>
                    </a:lnTo>
                    <a:lnTo>
                      <a:pt x="1236" y="64"/>
                    </a:lnTo>
                    <a:lnTo>
                      <a:pt x="1234" y="62"/>
                    </a:lnTo>
                    <a:lnTo>
                      <a:pt x="1224" y="58"/>
                    </a:lnTo>
                    <a:lnTo>
                      <a:pt x="1210" y="58"/>
                    </a:lnTo>
                    <a:lnTo>
                      <a:pt x="1196" y="56"/>
                    </a:lnTo>
                    <a:lnTo>
                      <a:pt x="1182" y="56"/>
                    </a:lnTo>
                    <a:lnTo>
                      <a:pt x="1168" y="54"/>
                    </a:lnTo>
                    <a:lnTo>
                      <a:pt x="1160" y="50"/>
                    </a:lnTo>
                    <a:lnTo>
                      <a:pt x="1158" y="48"/>
                    </a:lnTo>
                    <a:lnTo>
                      <a:pt x="1156" y="44"/>
                    </a:lnTo>
                    <a:lnTo>
                      <a:pt x="1156" y="44"/>
                    </a:lnTo>
                    <a:lnTo>
                      <a:pt x="1156" y="40"/>
                    </a:lnTo>
                    <a:lnTo>
                      <a:pt x="1154" y="36"/>
                    </a:lnTo>
                    <a:lnTo>
                      <a:pt x="1146" y="30"/>
                    </a:lnTo>
                    <a:lnTo>
                      <a:pt x="1136" y="26"/>
                    </a:lnTo>
                    <a:lnTo>
                      <a:pt x="1122" y="24"/>
                    </a:lnTo>
                    <a:lnTo>
                      <a:pt x="1094" y="20"/>
                    </a:lnTo>
                    <a:lnTo>
                      <a:pt x="1078" y="20"/>
                    </a:lnTo>
                    <a:lnTo>
                      <a:pt x="1078" y="20"/>
                    </a:lnTo>
                    <a:lnTo>
                      <a:pt x="1062" y="22"/>
                    </a:lnTo>
                    <a:lnTo>
                      <a:pt x="1050" y="22"/>
                    </a:lnTo>
                    <a:lnTo>
                      <a:pt x="1038" y="22"/>
                    </a:lnTo>
                    <a:lnTo>
                      <a:pt x="1018" y="30"/>
                    </a:lnTo>
                    <a:lnTo>
                      <a:pt x="1018" y="30"/>
                    </a:lnTo>
                    <a:lnTo>
                      <a:pt x="1004" y="34"/>
                    </a:lnTo>
                    <a:lnTo>
                      <a:pt x="990" y="38"/>
                    </a:lnTo>
                    <a:lnTo>
                      <a:pt x="962" y="40"/>
                    </a:lnTo>
                    <a:lnTo>
                      <a:pt x="948" y="40"/>
                    </a:lnTo>
                    <a:lnTo>
                      <a:pt x="948" y="40"/>
                    </a:lnTo>
                    <a:lnTo>
                      <a:pt x="948" y="38"/>
                    </a:lnTo>
                    <a:lnTo>
                      <a:pt x="958" y="36"/>
                    </a:lnTo>
                    <a:lnTo>
                      <a:pt x="958" y="36"/>
                    </a:lnTo>
                    <a:lnTo>
                      <a:pt x="986" y="30"/>
                    </a:lnTo>
                    <a:lnTo>
                      <a:pt x="1004" y="24"/>
                    </a:lnTo>
                    <a:lnTo>
                      <a:pt x="1008" y="22"/>
                    </a:lnTo>
                    <a:lnTo>
                      <a:pt x="1008" y="20"/>
                    </a:lnTo>
                    <a:lnTo>
                      <a:pt x="1006" y="20"/>
                    </a:lnTo>
                    <a:lnTo>
                      <a:pt x="998" y="18"/>
                    </a:lnTo>
                    <a:lnTo>
                      <a:pt x="980" y="16"/>
                    </a:lnTo>
                    <a:lnTo>
                      <a:pt x="980" y="16"/>
                    </a:lnTo>
                    <a:lnTo>
                      <a:pt x="958" y="16"/>
                    </a:lnTo>
                    <a:lnTo>
                      <a:pt x="942" y="14"/>
                    </a:lnTo>
                    <a:lnTo>
                      <a:pt x="912" y="6"/>
                    </a:lnTo>
                    <a:lnTo>
                      <a:pt x="900" y="2"/>
                    </a:lnTo>
                    <a:lnTo>
                      <a:pt x="888" y="0"/>
                    </a:lnTo>
                    <a:lnTo>
                      <a:pt x="874" y="0"/>
                    </a:lnTo>
                    <a:lnTo>
                      <a:pt x="858" y="2"/>
                    </a:lnTo>
                    <a:lnTo>
                      <a:pt x="858" y="2"/>
                    </a:lnTo>
                    <a:lnTo>
                      <a:pt x="830" y="4"/>
                    </a:lnTo>
                    <a:lnTo>
                      <a:pt x="808" y="4"/>
                    </a:lnTo>
                    <a:lnTo>
                      <a:pt x="788" y="4"/>
                    </a:lnTo>
                    <a:lnTo>
                      <a:pt x="776" y="6"/>
                    </a:lnTo>
                    <a:lnTo>
                      <a:pt x="762" y="10"/>
                    </a:lnTo>
                    <a:lnTo>
                      <a:pt x="762" y="10"/>
                    </a:lnTo>
                    <a:lnTo>
                      <a:pt x="746" y="14"/>
                    </a:lnTo>
                    <a:lnTo>
                      <a:pt x="728" y="14"/>
                    </a:lnTo>
                    <a:lnTo>
                      <a:pt x="690" y="10"/>
                    </a:lnTo>
                    <a:lnTo>
                      <a:pt x="666" y="10"/>
                    </a:lnTo>
                    <a:lnTo>
                      <a:pt x="640" y="10"/>
                    </a:lnTo>
                    <a:lnTo>
                      <a:pt x="608" y="12"/>
                    </a:lnTo>
                    <a:lnTo>
                      <a:pt x="574" y="20"/>
                    </a:lnTo>
                    <a:lnTo>
                      <a:pt x="574" y="20"/>
                    </a:lnTo>
                    <a:lnTo>
                      <a:pt x="556" y="22"/>
                    </a:lnTo>
                    <a:lnTo>
                      <a:pt x="540" y="22"/>
                    </a:lnTo>
                    <a:lnTo>
                      <a:pt x="526" y="20"/>
                    </a:lnTo>
                    <a:lnTo>
                      <a:pt x="514" y="16"/>
                    </a:lnTo>
                    <a:lnTo>
                      <a:pt x="500" y="14"/>
                    </a:lnTo>
                    <a:lnTo>
                      <a:pt x="490" y="12"/>
                    </a:lnTo>
                    <a:lnTo>
                      <a:pt x="478" y="14"/>
                    </a:lnTo>
                    <a:lnTo>
                      <a:pt x="466" y="18"/>
                    </a:lnTo>
                    <a:lnTo>
                      <a:pt x="466" y="18"/>
                    </a:lnTo>
                    <a:lnTo>
                      <a:pt x="454" y="22"/>
                    </a:lnTo>
                    <a:lnTo>
                      <a:pt x="442" y="24"/>
                    </a:lnTo>
                    <a:lnTo>
                      <a:pt x="432" y="24"/>
                    </a:lnTo>
                    <a:lnTo>
                      <a:pt x="422" y="24"/>
                    </a:lnTo>
                    <a:lnTo>
                      <a:pt x="416" y="22"/>
                    </a:lnTo>
                    <a:lnTo>
                      <a:pt x="412" y="24"/>
                    </a:lnTo>
                    <a:lnTo>
                      <a:pt x="416" y="28"/>
                    </a:lnTo>
                    <a:lnTo>
                      <a:pt x="424" y="36"/>
                    </a:lnTo>
                    <a:lnTo>
                      <a:pt x="424" y="36"/>
                    </a:lnTo>
                    <a:lnTo>
                      <a:pt x="430" y="44"/>
                    </a:lnTo>
                    <a:lnTo>
                      <a:pt x="430" y="46"/>
                    </a:lnTo>
                    <a:lnTo>
                      <a:pt x="430" y="48"/>
                    </a:lnTo>
                    <a:lnTo>
                      <a:pt x="424" y="48"/>
                    </a:lnTo>
                    <a:lnTo>
                      <a:pt x="414" y="46"/>
                    </a:lnTo>
                    <a:lnTo>
                      <a:pt x="404" y="44"/>
                    </a:lnTo>
                    <a:lnTo>
                      <a:pt x="392" y="42"/>
                    </a:lnTo>
                    <a:lnTo>
                      <a:pt x="384" y="44"/>
                    </a:lnTo>
                    <a:lnTo>
                      <a:pt x="380" y="46"/>
                    </a:lnTo>
                    <a:lnTo>
                      <a:pt x="378" y="50"/>
                    </a:lnTo>
                    <a:lnTo>
                      <a:pt x="378" y="50"/>
                    </a:lnTo>
                    <a:lnTo>
                      <a:pt x="376" y="58"/>
                    </a:lnTo>
                    <a:lnTo>
                      <a:pt x="372" y="62"/>
                    </a:lnTo>
                    <a:lnTo>
                      <a:pt x="366" y="66"/>
                    </a:lnTo>
                    <a:lnTo>
                      <a:pt x="360" y="68"/>
                    </a:lnTo>
                    <a:lnTo>
                      <a:pt x="352" y="70"/>
                    </a:lnTo>
                    <a:lnTo>
                      <a:pt x="340" y="70"/>
                    </a:lnTo>
                    <a:lnTo>
                      <a:pt x="312" y="68"/>
                    </a:lnTo>
                    <a:lnTo>
                      <a:pt x="312" y="68"/>
                    </a:lnTo>
                    <a:lnTo>
                      <a:pt x="300" y="66"/>
                    </a:lnTo>
                    <a:lnTo>
                      <a:pt x="292" y="64"/>
                    </a:lnTo>
                    <a:lnTo>
                      <a:pt x="290" y="60"/>
                    </a:lnTo>
                    <a:lnTo>
                      <a:pt x="290" y="58"/>
                    </a:lnTo>
                    <a:lnTo>
                      <a:pt x="290" y="56"/>
                    </a:lnTo>
                    <a:lnTo>
                      <a:pt x="288" y="54"/>
                    </a:lnTo>
                    <a:lnTo>
                      <a:pt x="280" y="52"/>
                    </a:lnTo>
                    <a:lnTo>
                      <a:pt x="264" y="52"/>
                    </a:lnTo>
                    <a:lnTo>
                      <a:pt x="264" y="52"/>
                    </a:lnTo>
                    <a:lnTo>
                      <a:pt x="250" y="52"/>
                    </a:lnTo>
                    <a:lnTo>
                      <a:pt x="244" y="52"/>
                    </a:lnTo>
                    <a:lnTo>
                      <a:pt x="244" y="56"/>
                    </a:lnTo>
                    <a:lnTo>
                      <a:pt x="246" y="60"/>
                    </a:lnTo>
                    <a:lnTo>
                      <a:pt x="248" y="64"/>
                    </a:lnTo>
                    <a:lnTo>
                      <a:pt x="248" y="66"/>
                    </a:lnTo>
                    <a:lnTo>
                      <a:pt x="248" y="68"/>
                    </a:lnTo>
                    <a:lnTo>
                      <a:pt x="240" y="72"/>
                    </a:lnTo>
                    <a:lnTo>
                      <a:pt x="224" y="76"/>
                    </a:lnTo>
                    <a:lnTo>
                      <a:pt x="224" y="76"/>
                    </a:lnTo>
                    <a:lnTo>
                      <a:pt x="208" y="78"/>
                    </a:lnTo>
                    <a:lnTo>
                      <a:pt x="206" y="78"/>
                    </a:lnTo>
                    <a:lnTo>
                      <a:pt x="206" y="80"/>
                    </a:lnTo>
                    <a:lnTo>
                      <a:pt x="212" y="82"/>
                    </a:lnTo>
                    <a:lnTo>
                      <a:pt x="224" y="86"/>
                    </a:lnTo>
                    <a:lnTo>
                      <a:pt x="248" y="92"/>
                    </a:lnTo>
                    <a:lnTo>
                      <a:pt x="254" y="94"/>
                    </a:lnTo>
                    <a:lnTo>
                      <a:pt x="252" y="96"/>
                    </a:lnTo>
                    <a:lnTo>
                      <a:pt x="248" y="98"/>
                    </a:lnTo>
                    <a:lnTo>
                      <a:pt x="248" y="98"/>
                    </a:lnTo>
                    <a:lnTo>
                      <a:pt x="238" y="98"/>
                    </a:lnTo>
                    <a:lnTo>
                      <a:pt x="228" y="98"/>
                    </a:lnTo>
                    <a:lnTo>
                      <a:pt x="206" y="92"/>
                    </a:lnTo>
                    <a:lnTo>
                      <a:pt x="194" y="90"/>
                    </a:lnTo>
                    <a:lnTo>
                      <a:pt x="180" y="88"/>
                    </a:lnTo>
                    <a:lnTo>
                      <a:pt x="166" y="86"/>
                    </a:lnTo>
                    <a:lnTo>
                      <a:pt x="146" y="88"/>
                    </a:lnTo>
                    <a:lnTo>
                      <a:pt x="146" y="88"/>
                    </a:lnTo>
                    <a:lnTo>
                      <a:pt x="130" y="92"/>
                    </a:lnTo>
                    <a:lnTo>
                      <a:pt x="120" y="94"/>
                    </a:lnTo>
                    <a:lnTo>
                      <a:pt x="112" y="98"/>
                    </a:lnTo>
                    <a:lnTo>
                      <a:pt x="108" y="102"/>
                    </a:lnTo>
                    <a:lnTo>
                      <a:pt x="104" y="106"/>
                    </a:lnTo>
                    <a:lnTo>
                      <a:pt x="100" y="106"/>
                    </a:lnTo>
                    <a:lnTo>
                      <a:pt x="92" y="108"/>
                    </a:lnTo>
                    <a:lnTo>
                      <a:pt x="80" y="106"/>
                    </a:lnTo>
                    <a:lnTo>
                      <a:pt x="80" y="106"/>
                    </a:lnTo>
                    <a:lnTo>
                      <a:pt x="66" y="104"/>
                    </a:lnTo>
                    <a:lnTo>
                      <a:pt x="50" y="104"/>
                    </a:lnTo>
                    <a:lnTo>
                      <a:pt x="36" y="108"/>
                    </a:lnTo>
                    <a:lnTo>
                      <a:pt x="22" y="112"/>
                    </a:lnTo>
                    <a:lnTo>
                      <a:pt x="12" y="118"/>
                    </a:lnTo>
                    <a:lnTo>
                      <a:pt x="4" y="124"/>
                    </a:lnTo>
                    <a:lnTo>
                      <a:pt x="0" y="130"/>
                    </a:lnTo>
                    <a:lnTo>
                      <a:pt x="2" y="134"/>
                    </a:lnTo>
                    <a:lnTo>
                      <a:pt x="4" y="138"/>
                    </a:lnTo>
                    <a:lnTo>
                      <a:pt x="4" y="138"/>
                    </a:lnTo>
                    <a:lnTo>
                      <a:pt x="8" y="142"/>
                    </a:lnTo>
                    <a:lnTo>
                      <a:pt x="12" y="144"/>
                    </a:lnTo>
                    <a:lnTo>
                      <a:pt x="16" y="144"/>
                    </a:lnTo>
                    <a:lnTo>
                      <a:pt x="22" y="144"/>
                    </a:lnTo>
                    <a:lnTo>
                      <a:pt x="32" y="144"/>
                    </a:lnTo>
                    <a:lnTo>
                      <a:pt x="36" y="144"/>
                    </a:lnTo>
                    <a:lnTo>
                      <a:pt x="44" y="148"/>
                    </a:lnTo>
                    <a:lnTo>
                      <a:pt x="44" y="14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7" name="Freeform 6107">
                <a:extLst>
                  <a:ext uri="{FF2B5EF4-FFF2-40B4-BE49-F238E27FC236}">
                    <a16:creationId xmlns:a16="http://schemas.microsoft.com/office/drawing/2014/main" id="{165D7CC8-E490-4889-B516-468D89A49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5530" y="1211263"/>
                <a:ext cx="121920" cy="48260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42"/>
                  </a:cxn>
                  <a:cxn ang="0">
                    <a:pos x="26" y="46"/>
                  </a:cxn>
                  <a:cxn ang="0">
                    <a:pos x="26" y="52"/>
                  </a:cxn>
                  <a:cxn ang="0">
                    <a:pos x="28" y="56"/>
                  </a:cxn>
                  <a:cxn ang="0">
                    <a:pos x="30" y="62"/>
                  </a:cxn>
                  <a:cxn ang="0">
                    <a:pos x="36" y="66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6" y="76"/>
                  </a:cxn>
                  <a:cxn ang="0">
                    <a:pos x="66" y="76"/>
                  </a:cxn>
                  <a:cxn ang="0">
                    <a:pos x="72" y="76"/>
                  </a:cxn>
                  <a:cxn ang="0">
                    <a:pos x="80" y="74"/>
                  </a:cxn>
                  <a:cxn ang="0">
                    <a:pos x="94" y="68"/>
                  </a:cxn>
                  <a:cxn ang="0">
                    <a:pos x="104" y="66"/>
                  </a:cxn>
                  <a:cxn ang="0">
                    <a:pos x="118" y="68"/>
                  </a:cxn>
                  <a:cxn ang="0">
                    <a:pos x="118" y="68"/>
                  </a:cxn>
                  <a:cxn ang="0">
                    <a:pos x="148" y="70"/>
                  </a:cxn>
                  <a:cxn ang="0">
                    <a:pos x="176" y="72"/>
                  </a:cxn>
                  <a:cxn ang="0">
                    <a:pos x="184" y="70"/>
                  </a:cxn>
                  <a:cxn ang="0">
                    <a:pos x="192" y="68"/>
                  </a:cxn>
                  <a:cxn ang="0">
                    <a:pos x="192" y="66"/>
                  </a:cxn>
                  <a:cxn ang="0">
                    <a:pos x="192" y="62"/>
                  </a:cxn>
                  <a:cxn ang="0">
                    <a:pos x="188" y="58"/>
                  </a:cxn>
                  <a:cxn ang="0">
                    <a:pos x="188" y="58"/>
                  </a:cxn>
                  <a:cxn ang="0">
                    <a:pos x="174" y="42"/>
                  </a:cxn>
                  <a:cxn ang="0">
                    <a:pos x="166" y="34"/>
                  </a:cxn>
                  <a:cxn ang="0">
                    <a:pos x="156" y="26"/>
                  </a:cxn>
                  <a:cxn ang="0">
                    <a:pos x="144" y="18"/>
                  </a:cxn>
                  <a:cxn ang="0">
                    <a:pos x="130" y="12"/>
                  </a:cxn>
                  <a:cxn ang="0">
                    <a:pos x="114" y="10"/>
                  </a:cxn>
                  <a:cxn ang="0">
                    <a:pos x="96" y="10"/>
                  </a:cxn>
                  <a:cxn ang="0">
                    <a:pos x="96" y="10"/>
                  </a:cxn>
                  <a:cxn ang="0">
                    <a:pos x="76" y="8"/>
                  </a:cxn>
                  <a:cxn ang="0">
                    <a:pos x="58" y="6"/>
                  </a:cxn>
                  <a:cxn ang="0">
                    <a:pos x="30" y="2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8" y="4"/>
                  </a:cxn>
                  <a:cxn ang="0">
                    <a:pos x="4" y="6"/>
                  </a:cxn>
                  <a:cxn ang="0">
                    <a:pos x="2" y="16"/>
                  </a:cxn>
                  <a:cxn ang="0">
                    <a:pos x="2" y="16"/>
                  </a:cxn>
                </a:cxnLst>
                <a:rect l="0" t="0" r="r" b="b"/>
                <a:pathLst>
                  <a:path w="192" h="76">
                    <a:moveTo>
                      <a:pt x="2" y="16"/>
                    </a:moveTo>
                    <a:lnTo>
                      <a:pt x="2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42"/>
                    </a:lnTo>
                    <a:lnTo>
                      <a:pt x="26" y="46"/>
                    </a:lnTo>
                    <a:lnTo>
                      <a:pt x="26" y="52"/>
                    </a:lnTo>
                    <a:lnTo>
                      <a:pt x="28" y="56"/>
                    </a:lnTo>
                    <a:lnTo>
                      <a:pt x="30" y="62"/>
                    </a:lnTo>
                    <a:lnTo>
                      <a:pt x="36" y="66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6" y="76"/>
                    </a:lnTo>
                    <a:lnTo>
                      <a:pt x="66" y="76"/>
                    </a:lnTo>
                    <a:lnTo>
                      <a:pt x="72" y="76"/>
                    </a:lnTo>
                    <a:lnTo>
                      <a:pt x="80" y="74"/>
                    </a:lnTo>
                    <a:lnTo>
                      <a:pt x="94" y="68"/>
                    </a:lnTo>
                    <a:lnTo>
                      <a:pt x="104" y="66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48" y="70"/>
                    </a:lnTo>
                    <a:lnTo>
                      <a:pt x="176" y="72"/>
                    </a:lnTo>
                    <a:lnTo>
                      <a:pt x="184" y="70"/>
                    </a:lnTo>
                    <a:lnTo>
                      <a:pt x="192" y="68"/>
                    </a:lnTo>
                    <a:lnTo>
                      <a:pt x="192" y="66"/>
                    </a:lnTo>
                    <a:lnTo>
                      <a:pt x="192" y="62"/>
                    </a:lnTo>
                    <a:lnTo>
                      <a:pt x="188" y="58"/>
                    </a:lnTo>
                    <a:lnTo>
                      <a:pt x="188" y="58"/>
                    </a:lnTo>
                    <a:lnTo>
                      <a:pt x="174" y="42"/>
                    </a:lnTo>
                    <a:lnTo>
                      <a:pt x="166" y="34"/>
                    </a:lnTo>
                    <a:lnTo>
                      <a:pt x="156" y="26"/>
                    </a:lnTo>
                    <a:lnTo>
                      <a:pt x="144" y="18"/>
                    </a:lnTo>
                    <a:lnTo>
                      <a:pt x="130" y="12"/>
                    </a:lnTo>
                    <a:lnTo>
                      <a:pt x="114" y="10"/>
                    </a:lnTo>
                    <a:lnTo>
                      <a:pt x="96" y="10"/>
                    </a:lnTo>
                    <a:lnTo>
                      <a:pt x="96" y="10"/>
                    </a:lnTo>
                    <a:lnTo>
                      <a:pt x="76" y="8"/>
                    </a:lnTo>
                    <a:lnTo>
                      <a:pt x="58" y="6"/>
                    </a:lnTo>
                    <a:lnTo>
                      <a:pt x="30" y="2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2" y="16"/>
                    </a:lnTo>
                    <a:lnTo>
                      <a:pt x="2" y="1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8" name="Freeform 6108">
                <a:extLst>
                  <a:ext uri="{FF2B5EF4-FFF2-40B4-BE49-F238E27FC236}">
                    <a16:creationId xmlns:a16="http://schemas.microsoft.com/office/drawing/2014/main" id="{EF78F154-29E9-4C4C-BB77-0F3E6DDDFB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2760" y="1103313"/>
                <a:ext cx="29210" cy="11430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2" y="18"/>
                  </a:cxn>
                  <a:cxn ang="0">
                    <a:pos x="8" y="18"/>
                  </a:cxn>
                  <a:cxn ang="0">
                    <a:pos x="14" y="18"/>
                  </a:cxn>
                  <a:cxn ang="0">
                    <a:pos x="30" y="12"/>
                  </a:cxn>
                  <a:cxn ang="0">
                    <a:pos x="42" y="4"/>
                  </a:cxn>
                  <a:cxn ang="0">
                    <a:pos x="46" y="2"/>
                  </a:cxn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16" y="6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2" y="18"/>
                  </a:cxn>
                </a:cxnLst>
                <a:rect l="0" t="0" r="r" b="b"/>
                <a:pathLst>
                  <a:path w="46" h="18">
                    <a:moveTo>
                      <a:pt x="2" y="18"/>
                    </a:moveTo>
                    <a:lnTo>
                      <a:pt x="2" y="18"/>
                    </a:lnTo>
                    <a:lnTo>
                      <a:pt x="8" y="18"/>
                    </a:lnTo>
                    <a:lnTo>
                      <a:pt x="14" y="18"/>
                    </a:lnTo>
                    <a:lnTo>
                      <a:pt x="30" y="12"/>
                    </a:lnTo>
                    <a:lnTo>
                      <a:pt x="42" y="4"/>
                    </a:lnTo>
                    <a:lnTo>
                      <a:pt x="46" y="2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32" y="2"/>
                    </a:lnTo>
                    <a:lnTo>
                      <a:pt x="16" y="6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9" name="Freeform 6109">
                <a:extLst>
                  <a:ext uri="{FF2B5EF4-FFF2-40B4-BE49-F238E27FC236}">
                    <a16:creationId xmlns:a16="http://schemas.microsoft.com/office/drawing/2014/main" id="{016E3BF1-1536-480B-99C5-B8921301B2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4530" y="1190943"/>
                <a:ext cx="138430" cy="102870"/>
              </a:xfrm>
              <a:custGeom>
                <a:avLst/>
                <a:gdLst/>
                <a:ahLst/>
                <a:cxnLst>
                  <a:cxn ang="0">
                    <a:pos x="166" y="92"/>
                  </a:cxn>
                  <a:cxn ang="0">
                    <a:pos x="186" y="66"/>
                  </a:cxn>
                  <a:cxn ang="0">
                    <a:pos x="216" y="36"/>
                  </a:cxn>
                  <a:cxn ang="0">
                    <a:pos x="218" y="28"/>
                  </a:cxn>
                  <a:cxn ang="0">
                    <a:pos x="216" y="22"/>
                  </a:cxn>
                  <a:cxn ang="0">
                    <a:pos x="204" y="16"/>
                  </a:cxn>
                  <a:cxn ang="0">
                    <a:pos x="190" y="12"/>
                  </a:cxn>
                  <a:cxn ang="0">
                    <a:pos x="172" y="12"/>
                  </a:cxn>
                  <a:cxn ang="0">
                    <a:pos x="156" y="16"/>
                  </a:cxn>
                  <a:cxn ang="0">
                    <a:pos x="140" y="12"/>
                  </a:cxn>
                  <a:cxn ang="0">
                    <a:pos x="122" y="4"/>
                  </a:cxn>
                  <a:cxn ang="0">
                    <a:pos x="106" y="0"/>
                  </a:cxn>
                  <a:cxn ang="0">
                    <a:pos x="84" y="0"/>
                  </a:cxn>
                  <a:cxn ang="0">
                    <a:pos x="48" y="6"/>
                  </a:cxn>
                  <a:cxn ang="0">
                    <a:pos x="20" y="16"/>
                  </a:cxn>
                  <a:cxn ang="0">
                    <a:pos x="16" y="24"/>
                  </a:cxn>
                  <a:cxn ang="0">
                    <a:pos x="22" y="30"/>
                  </a:cxn>
                  <a:cxn ang="0">
                    <a:pos x="18" y="32"/>
                  </a:cxn>
                  <a:cxn ang="0">
                    <a:pos x="6" y="32"/>
                  </a:cxn>
                  <a:cxn ang="0">
                    <a:pos x="0" y="48"/>
                  </a:cxn>
                  <a:cxn ang="0">
                    <a:pos x="0" y="74"/>
                  </a:cxn>
                  <a:cxn ang="0">
                    <a:pos x="2" y="98"/>
                  </a:cxn>
                  <a:cxn ang="0">
                    <a:pos x="10" y="114"/>
                  </a:cxn>
                  <a:cxn ang="0">
                    <a:pos x="20" y="134"/>
                  </a:cxn>
                  <a:cxn ang="0">
                    <a:pos x="20" y="142"/>
                  </a:cxn>
                  <a:cxn ang="0">
                    <a:pos x="22" y="154"/>
                  </a:cxn>
                  <a:cxn ang="0">
                    <a:pos x="30" y="156"/>
                  </a:cxn>
                  <a:cxn ang="0">
                    <a:pos x="54" y="156"/>
                  </a:cxn>
                  <a:cxn ang="0">
                    <a:pos x="62" y="160"/>
                  </a:cxn>
                  <a:cxn ang="0">
                    <a:pos x="70" y="160"/>
                  </a:cxn>
                  <a:cxn ang="0">
                    <a:pos x="76" y="146"/>
                  </a:cxn>
                  <a:cxn ang="0">
                    <a:pos x="82" y="138"/>
                  </a:cxn>
                  <a:cxn ang="0">
                    <a:pos x="90" y="132"/>
                  </a:cxn>
                  <a:cxn ang="0">
                    <a:pos x="90" y="122"/>
                  </a:cxn>
                  <a:cxn ang="0">
                    <a:pos x="86" y="114"/>
                  </a:cxn>
                  <a:cxn ang="0">
                    <a:pos x="84" y="106"/>
                  </a:cxn>
                  <a:cxn ang="0">
                    <a:pos x="88" y="104"/>
                  </a:cxn>
                  <a:cxn ang="0">
                    <a:pos x="112" y="106"/>
                  </a:cxn>
                  <a:cxn ang="0">
                    <a:pos x="142" y="106"/>
                  </a:cxn>
                  <a:cxn ang="0">
                    <a:pos x="156" y="102"/>
                  </a:cxn>
                  <a:cxn ang="0">
                    <a:pos x="166" y="92"/>
                  </a:cxn>
                </a:cxnLst>
                <a:rect l="0" t="0" r="r" b="b"/>
                <a:pathLst>
                  <a:path w="218" h="162">
                    <a:moveTo>
                      <a:pt x="166" y="92"/>
                    </a:moveTo>
                    <a:lnTo>
                      <a:pt x="166" y="92"/>
                    </a:lnTo>
                    <a:lnTo>
                      <a:pt x="176" y="80"/>
                    </a:lnTo>
                    <a:lnTo>
                      <a:pt x="186" y="66"/>
                    </a:lnTo>
                    <a:lnTo>
                      <a:pt x="208" y="46"/>
                    </a:lnTo>
                    <a:lnTo>
                      <a:pt x="216" y="36"/>
                    </a:lnTo>
                    <a:lnTo>
                      <a:pt x="218" y="32"/>
                    </a:lnTo>
                    <a:lnTo>
                      <a:pt x="218" y="28"/>
                    </a:lnTo>
                    <a:lnTo>
                      <a:pt x="218" y="24"/>
                    </a:lnTo>
                    <a:lnTo>
                      <a:pt x="216" y="22"/>
                    </a:lnTo>
                    <a:lnTo>
                      <a:pt x="210" y="18"/>
                    </a:lnTo>
                    <a:lnTo>
                      <a:pt x="204" y="16"/>
                    </a:lnTo>
                    <a:lnTo>
                      <a:pt x="204" y="16"/>
                    </a:lnTo>
                    <a:lnTo>
                      <a:pt x="190" y="12"/>
                    </a:lnTo>
                    <a:lnTo>
                      <a:pt x="180" y="12"/>
                    </a:lnTo>
                    <a:lnTo>
                      <a:pt x="172" y="12"/>
                    </a:lnTo>
                    <a:lnTo>
                      <a:pt x="166" y="14"/>
                    </a:lnTo>
                    <a:lnTo>
                      <a:pt x="156" y="16"/>
                    </a:lnTo>
                    <a:lnTo>
                      <a:pt x="148" y="16"/>
                    </a:lnTo>
                    <a:lnTo>
                      <a:pt x="140" y="12"/>
                    </a:lnTo>
                    <a:lnTo>
                      <a:pt x="140" y="12"/>
                    </a:lnTo>
                    <a:lnTo>
                      <a:pt x="122" y="4"/>
                    </a:lnTo>
                    <a:lnTo>
                      <a:pt x="114" y="2"/>
                    </a:lnTo>
                    <a:lnTo>
                      <a:pt x="106" y="0"/>
                    </a:lnTo>
                    <a:lnTo>
                      <a:pt x="96" y="0"/>
                    </a:lnTo>
                    <a:lnTo>
                      <a:pt x="84" y="0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30" y="10"/>
                    </a:lnTo>
                    <a:lnTo>
                      <a:pt x="20" y="16"/>
                    </a:lnTo>
                    <a:lnTo>
                      <a:pt x="16" y="20"/>
                    </a:lnTo>
                    <a:lnTo>
                      <a:pt x="16" y="2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4" y="36"/>
                    </a:lnTo>
                    <a:lnTo>
                      <a:pt x="0" y="4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88"/>
                    </a:lnTo>
                    <a:lnTo>
                      <a:pt x="2" y="98"/>
                    </a:lnTo>
                    <a:lnTo>
                      <a:pt x="6" y="108"/>
                    </a:lnTo>
                    <a:lnTo>
                      <a:pt x="10" y="114"/>
                    </a:lnTo>
                    <a:lnTo>
                      <a:pt x="18" y="126"/>
                    </a:lnTo>
                    <a:lnTo>
                      <a:pt x="20" y="134"/>
                    </a:lnTo>
                    <a:lnTo>
                      <a:pt x="20" y="142"/>
                    </a:lnTo>
                    <a:lnTo>
                      <a:pt x="20" y="142"/>
                    </a:lnTo>
                    <a:lnTo>
                      <a:pt x="20" y="150"/>
                    </a:lnTo>
                    <a:lnTo>
                      <a:pt x="22" y="154"/>
                    </a:lnTo>
                    <a:lnTo>
                      <a:pt x="26" y="156"/>
                    </a:lnTo>
                    <a:lnTo>
                      <a:pt x="30" y="156"/>
                    </a:lnTo>
                    <a:lnTo>
                      <a:pt x="46" y="156"/>
                    </a:lnTo>
                    <a:lnTo>
                      <a:pt x="54" y="156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8" y="162"/>
                    </a:lnTo>
                    <a:lnTo>
                      <a:pt x="70" y="160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8" y="140"/>
                    </a:lnTo>
                    <a:lnTo>
                      <a:pt x="82" y="138"/>
                    </a:lnTo>
                    <a:lnTo>
                      <a:pt x="88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90" y="122"/>
                    </a:lnTo>
                    <a:lnTo>
                      <a:pt x="86" y="114"/>
                    </a:lnTo>
                    <a:lnTo>
                      <a:pt x="86" y="114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6" y="104"/>
                    </a:lnTo>
                    <a:lnTo>
                      <a:pt x="88" y="104"/>
                    </a:lnTo>
                    <a:lnTo>
                      <a:pt x="98" y="104"/>
                    </a:lnTo>
                    <a:lnTo>
                      <a:pt x="112" y="106"/>
                    </a:lnTo>
                    <a:lnTo>
                      <a:pt x="128" y="108"/>
                    </a:lnTo>
                    <a:lnTo>
                      <a:pt x="142" y="106"/>
                    </a:lnTo>
                    <a:lnTo>
                      <a:pt x="150" y="106"/>
                    </a:lnTo>
                    <a:lnTo>
                      <a:pt x="156" y="102"/>
                    </a:lnTo>
                    <a:lnTo>
                      <a:pt x="162" y="98"/>
                    </a:lnTo>
                    <a:lnTo>
                      <a:pt x="166" y="92"/>
                    </a:lnTo>
                    <a:lnTo>
                      <a:pt x="166" y="9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60" name="Freeform 6110">
                <a:extLst>
                  <a:ext uri="{FF2B5EF4-FFF2-40B4-BE49-F238E27FC236}">
                    <a16:creationId xmlns:a16="http://schemas.microsoft.com/office/drawing/2014/main" id="{CCAC0523-B456-451E-B398-5D7BE1D7D4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2970" y="1573213"/>
                <a:ext cx="176530" cy="121920"/>
              </a:xfrm>
              <a:custGeom>
                <a:avLst/>
                <a:gdLst/>
                <a:ahLst/>
                <a:cxnLst>
                  <a:cxn ang="0">
                    <a:pos x="272" y="132"/>
                  </a:cxn>
                  <a:cxn ang="0">
                    <a:pos x="258" y="122"/>
                  </a:cxn>
                  <a:cxn ang="0">
                    <a:pos x="250" y="126"/>
                  </a:cxn>
                  <a:cxn ang="0">
                    <a:pos x="236" y="124"/>
                  </a:cxn>
                  <a:cxn ang="0">
                    <a:pos x="228" y="120"/>
                  </a:cxn>
                  <a:cxn ang="0">
                    <a:pos x="220" y="102"/>
                  </a:cxn>
                  <a:cxn ang="0">
                    <a:pos x="212" y="88"/>
                  </a:cxn>
                  <a:cxn ang="0">
                    <a:pos x="192" y="78"/>
                  </a:cxn>
                  <a:cxn ang="0">
                    <a:pos x="178" y="72"/>
                  </a:cxn>
                  <a:cxn ang="0">
                    <a:pos x="140" y="46"/>
                  </a:cxn>
                  <a:cxn ang="0">
                    <a:pos x="122" y="34"/>
                  </a:cxn>
                  <a:cxn ang="0">
                    <a:pos x="110" y="34"/>
                  </a:cxn>
                  <a:cxn ang="0">
                    <a:pos x="106" y="36"/>
                  </a:cxn>
                  <a:cxn ang="0">
                    <a:pos x="100" y="40"/>
                  </a:cxn>
                  <a:cxn ang="0">
                    <a:pos x="96" y="38"/>
                  </a:cxn>
                  <a:cxn ang="0">
                    <a:pos x="86" y="24"/>
                  </a:cxn>
                  <a:cxn ang="0">
                    <a:pos x="76" y="8"/>
                  </a:cxn>
                  <a:cxn ang="0">
                    <a:pos x="66" y="0"/>
                  </a:cxn>
                  <a:cxn ang="0">
                    <a:pos x="62" y="2"/>
                  </a:cxn>
                  <a:cxn ang="0">
                    <a:pos x="54" y="6"/>
                  </a:cxn>
                  <a:cxn ang="0">
                    <a:pos x="42" y="26"/>
                  </a:cxn>
                  <a:cxn ang="0">
                    <a:pos x="36" y="58"/>
                  </a:cxn>
                  <a:cxn ang="0">
                    <a:pos x="34" y="90"/>
                  </a:cxn>
                  <a:cxn ang="0">
                    <a:pos x="38" y="106"/>
                  </a:cxn>
                  <a:cxn ang="0">
                    <a:pos x="38" y="116"/>
                  </a:cxn>
                  <a:cxn ang="0">
                    <a:pos x="34" y="124"/>
                  </a:cxn>
                  <a:cxn ang="0">
                    <a:pos x="18" y="134"/>
                  </a:cxn>
                  <a:cxn ang="0">
                    <a:pos x="4" y="142"/>
                  </a:cxn>
                  <a:cxn ang="0">
                    <a:pos x="0" y="150"/>
                  </a:cxn>
                  <a:cxn ang="0">
                    <a:pos x="4" y="158"/>
                  </a:cxn>
                  <a:cxn ang="0">
                    <a:pos x="4" y="160"/>
                  </a:cxn>
                  <a:cxn ang="0">
                    <a:pos x="16" y="162"/>
                  </a:cxn>
                  <a:cxn ang="0">
                    <a:pos x="50" y="156"/>
                  </a:cxn>
                  <a:cxn ang="0">
                    <a:pos x="64" y="156"/>
                  </a:cxn>
                  <a:cxn ang="0">
                    <a:pos x="66" y="162"/>
                  </a:cxn>
                  <a:cxn ang="0">
                    <a:pos x="66" y="166"/>
                  </a:cxn>
                  <a:cxn ang="0">
                    <a:pos x="70" y="182"/>
                  </a:cxn>
                  <a:cxn ang="0">
                    <a:pos x="82" y="190"/>
                  </a:cxn>
                  <a:cxn ang="0">
                    <a:pos x="96" y="190"/>
                  </a:cxn>
                  <a:cxn ang="0">
                    <a:pos x="110" y="176"/>
                  </a:cxn>
                  <a:cxn ang="0">
                    <a:pos x="114" y="166"/>
                  </a:cxn>
                  <a:cxn ang="0">
                    <a:pos x="124" y="160"/>
                  </a:cxn>
                  <a:cxn ang="0">
                    <a:pos x="134" y="158"/>
                  </a:cxn>
                  <a:cxn ang="0">
                    <a:pos x="142" y="150"/>
                  </a:cxn>
                  <a:cxn ang="0">
                    <a:pos x="144" y="142"/>
                  </a:cxn>
                  <a:cxn ang="0">
                    <a:pos x="154" y="128"/>
                  </a:cxn>
                  <a:cxn ang="0">
                    <a:pos x="170" y="124"/>
                  </a:cxn>
                  <a:cxn ang="0">
                    <a:pos x="184" y="130"/>
                  </a:cxn>
                  <a:cxn ang="0">
                    <a:pos x="192" y="142"/>
                  </a:cxn>
                  <a:cxn ang="0">
                    <a:pos x="194" y="148"/>
                  </a:cxn>
                  <a:cxn ang="0">
                    <a:pos x="198" y="154"/>
                  </a:cxn>
                  <a:cxn ang="0">
                    <a:pos x="214" y="156"/>
                  </a:cxn>
                  <a:cxn ang="0">
                    <a:pos x="232" y="160"/>
                  </a:cxn>
                  <a:cxn ang="0">
                    <a:pos x="254" y="162"/>
                  </a:cxn>
                  <a:cxn ang="0">
                    <a:pos x="272" y="158"/>
                  </a:cxn>
                  <a:cxn ang="0">
                    <a:pos x="278" y="148"/>
                  </a:cxn>
                  <a:cxn ang="0">
                    <a:pos x="272" y="132"/>
                  </a:cxn>
                </a:cxnLst>
                <a:rect l="0" t="0" r="r" b="b"/>
                <a:pathLst>
                  <a:path w="278" h="192">
                    <a:moveTo>
                      <a:pt x="272" y="132"/>
                    </a:moveTo>
                    <a:lnTo>
                      <a:pt x="272" y="132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6" y="122"/>
                    </a:lnTo>
                    <a:lnTo>
                      <a:pt x="250" y="126"/>
                    </a:lnTo>
                    <a:lnTo>
                      <a:pt x="244" y="126"/>
                    </a:lnTo>
                    <a:lnTo>
                      <a:pt x="236" y="124"/>
                    </a:lnTo>
                    <a:lnTo>
                      <a:pt x="236" y="124"/>
                    </a:lnTo>
                    <a:lnTo>
                      <a:pt x="228" y="120"/>
                    </a:lnTo>
                    <a:lnTo>
                      <a:pt x="224" y="114"/>
                    </a:lnTo>
                    <a:lnTo>
                      <a:pt x="220" y="102"/>
                    </a:lnTo>
                    <a:lnTo>
                      <a:pt x="218" y="96"/>
                    </a:lnTo>
                    <a:lnTo>
                      <a:pt x="212" y="88"/>
                    </a:lnTo>
                    <a:lnTo>
                      <a:pt x="204" y="82"/>
                    </a:lnTo>
                    <a:lnTo>
                      <a:pt x="192" y="78"/>
                    </a:lnTo>
                    <a:lnTo>
                      <a:pt x="192" y="78"/>
                    </a:lnTo>
                    <a:lnTo>
                      <a:pt x="178" y="72"/>
                    </a:lnTo>
                    <a:lnTo>
                      <a:pt x="164" y="64"/>
                    </a:lnTo>
                    <a:lnTo>
                      <a:pt x="140" y="46"/>
                    </a:lnTo>
                    <a:lnTo>
                      <a:pt x="130" y="38"/>
                    </a:lnTo>
                    <a:lnTo>
                      <a:pt x="122" y="34"/>
                    </a:lnTo>
                    <a:lnTo>
                      <a:pt x="114" y="32"/>
                    </a:lnTo>
                    <a:lnTo>
                      <a:pt x="110" y="34"/>
                    </a:lnTo>
                    <a:lnTo>
                      <a:pt x="106" y="36"/>
                    </a:lnTo>
                    <a:lnTo>
                      <a:pt x="106" y="36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6" y="38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70" y="2"/>
                    </a:lnTo>
                    <a:lnTo>
                      <a:pt x="66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58" y="2"/>
                    </a:lnTo>
                    <a:lnTo>
                      <a:pt x="54" y="6"/>
                    </a:lnTo>
                    <a:lnTo>
                      <a:pt x="48" y="14"/>
                    </a:lnTo>
                    <a:lnTo>
                      <a:pt x="42" y="26"/>
                    </a:lnTo>
                    <a:lnTo>
                      <a:pt x="38" y="42"/>
                    </a:lnTo>
                    <a:lnTo>
                      <a:pt x="36" y="58"/>
                    </a:lnTo>
                    <a:lnTo>
                      <a:pt x="34" y="74"/>
                    </a:lnTo>
                    <a:lnTo>
                      <a:pt x="34" y="90"/>
                    </a:lnTo>
                    <a:lnTo>
                      <a:pt x="38" y="106"/>
                    </a:lnTo>
                    <a:lnTo>
                      <a:pt x="38" y="106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36" y="122"/>
                    </a:lnTo>
                    <a:lnTo>
                      <a:pt x="34" y="124"/>
                    </a:lnTo>
                    <a:lnTo>
                      <a:pt x="26" y="130"/>
                    </a:lnTo>
                    <a:lnTo>
                      <a:pt x="18" y="134"/>
                    </a:lnTo>
                    <a:lnTo>
                      <a:pt x="10" y="138"/>
                    </a:lnTo>
                    <a:lnTo>
                      <a:pt x="4" y="142"/>
                    </a:lnTo>
                    <a:lnTo>
                      <a:pt x="2" y="146"/>
                    </a:lnTo>
                    <a:lnTo>
                      <a:pt x="0" y="150"/>
                    </a:lnTo>
                    <a:lnTo>
                      <a:pt x="2" y="154"/>
                    </a:lnTo>
                    <a:lnTo>
                      <a:pt x="4" y="158"/>
                    </a:lnTo>
                    <a:lnTo>
                      <a:pt x="4" y="158"/>
                    </a:lnTo>
                    <a:lnTo>
                      <a:pt x="4" y="160"/>
                    </a:lnTo>
                    <a:lnTo>
                      <a:pt x="8" y="162"/>
                    </a:lnTo>
                    <a:lnTo>
                      <a:pt x="16" y="162"/>
                    </a:lnTo>
                    <a:lnTo>
                      <a:pt x="38" y="158"/>
                    </a:lnTo>
                    <a:lnTo>
                      <a:pt x="50" y="156"/>
                    </a:lnTo>
                    <a:lnTo>
                      <a:pt x="60" y="156"/>
                    </a:lnTo>
                    <a:lnTo>
                      <a:pt x="64" y="156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6" y="166"/>
                    </a:lnTo>
                    <a:lnTo>
                      <a:pt x="66" y="166"/>
                    </a:lnTo>
                    <a:lnTo>
                      <a:pt x="66" y="174"/>
                    </a:lnTo>
                    <a:lnTo>
                      <a:pt x="70" y="182"/>
                    </a:lnTo>
                    <a:lnTo>
                      <a:pt x="74" y="188"/>
                    </a:lnTo>
                    <a:lnTo>
                      <a:pt x="82" y="190"/>
                    </a:lnTo>
                    <a:lnTo>
                      <a:pt x="88" y="192"/>
                    </a:lnTo>
                    <a:lnTo>
                      <a:pt x="96" y="190"/>
                    </a:lnTo>
                    <a:lnTo>
                      <a:pt x="104" y="184"/>
                    </a:lnTo>
                    <a:lnTo>
                      <a:pt x="110" y="176"/>
                    </a:lnTo>
                    <a:lnTo>
                      <a:pt x="110" y="176"/>
                    </a:lnTo>
                    <a:lnTo>
                      <a:pt x="114" y="166"/>
                    </a:lnTo>
                    <a:lnTo>
                      <a:pt x="120" y="162"/>
                    </a:lnTo>
                    <a:lnTo>
                      <a:pt x="124" y="160"/>
                    </a:lnTo>
                    <a:lnTo>
                      <a:pt x="130" y="158"/>
                    </a:lnTo>
                    <a:lnTo>
                      <a:pt x="134" y="158"/>
                    </a:lnTo>
                    <a:lnTo>
                      <a:pt x="138" y="156"/>
                    </a:lnTo>
                    <a:lnTo>
                      <a:pt x="142" y="150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8" y="134"/>
                    </a:lnTo>
                    <a:lnTo>
                      <a:pt x="154" y="128"/>
                    </a:lnTo>
                    <a:lnTo>
                      <a:pt x="162" y="124"/>
                    </a:lnTo>
                    <a:lnTo>
                      <a:pt x="170" y="124"/>
                    </a:lnTo>
                    <a:lnTo>
                      <a:pt x="178" y="126"/>
                    </a:lnTo>
                    <a:lnTo>
                      <a:pt x="184" y="130"/>
                    </a:lnTo>
                    <a:lnTo>
                      <a:pt x="190" y="136"/>
                    </a:lnTo>
                    <a:lnTo>
                      <a:pt x="192" y="142"/>
                    </a:lnTo>
                    <a:lnTo>
                      <a:pt x="192" y="142"/>
                    </a:lnTo>
                    <a:lnTo>
                      <a:pt x="194" y="148"/>
                    </a:lnTo>
                    <a:lnTo>
                      <a:pt x="196" y="152"/>
                    </a:lnTo>
                    <a:lnTo>
                      <a:pt x="198" y="154"/>
                    </a:lnTo>
                    <a:lnTo>
                      <a:pt x="202" y="156"/>
                    </a:lnTo>
                    <a:lnTo>
                      <a:pt x="214" y="156"/>
                    </a:lnTo>
                    <a:lnTo>
                      <a:pt x="232" y="160"/>
                    </a:lnTo>
                    <a:lnTo>
                      <a:pt x="232" y="160"/>
                    </a:lnTo>
                    <a:lnTo>
                      <a:pt x="244" y="162"/>
                    </a:lnTo>
                    <a:lnTo>
                      <a:pt x="254" y="162"/>
                    </a:lnTo>
                    <a:lnTo>
                      <a:pt x="264" y="160"/>
                    </a:lnTo>
                    <a:lnTo>
                      <a:pt x="272" y="158"/>
                    </a:lnTo>
                    <a:lnTo>
                      <a:pt x="276" y="154"/>
                    </a:lnTo>
                    <a:lnTo>
                      <a:pt x="278" y="148"/>
                    </a:lnTo>
                    <a:lnTo>
                      <a:pt x="278" y="140"/>
                    </a:lnTo>
                    <a:lnTo>
                      <a:pt x="272" y="132"/>
                    </a:lnTo>
                    <a:lnTo>
                      <a:pt x="272" y="1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61" name="Freeform 6111">
                <a:extLst>
                  <a:ext uri="{FF2B5EF4-FFF2-40B4-BE49-F238E27FC236}">
                    <a16:creationId xmlns:a16="http://schemas.microsoft.com/office/drawing/2014/main" id="{1877BE0A-6F56-481C-A27A-0A34E52510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8050" y="1465263"/>
                <a:ext cx="15240" cy="24130"/>
              </a:xfrm>
              <a:custGeom>
                <a:avLst/>
                <a:gdLst/>
                <a:ahLst/>
                <a:cxnLst>
                  <a:cxn ang="0">
                    <a:pos x="4" y="28"/>
                  </a:cxn>
                  <a:cxn ang="0">
                    <a:pos x="4" y="28"/>
                  </a:cxn>
                  <a:cxn ang="0">
                    <a:pos x="12" y="36"/>
                  </a:cxn>
                  <a:cxn ang="0">
                    <a:pos x="16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4" y="30"/>
                  </a:cxn>
                  <a:cxn ang="0">
                    <a:pos x="24" y="1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6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8"/>
                  </a:cxn>
                  <a:cxn ang="0">
                    <a:pos x="4" y="28"/>
                  </a:cxn>
                </a:cxnLst>
                <a:rect l="0" t="0" r="r" b="b"/>
                <a:pathLst>
                  <a:path w="24" h="38">
                    <a:moveTo>
                      <a:pt x="4" y="28"/>
                    </a:moveTo>
                    <a:lnTo>
                      <a:pt x="4" y="28"/>
                    </a:lnTo>
                    <a:lnTo>
                      <a:pt x="12" y="36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4" y="30"/>
                    </a:lnTo>
                    <a:lnTo>
                      <a:pt x="24" y="1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6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8"/>
                    </a:lnTo>
                    <a:lnTo>
                      <a:pt x="4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62" name="Freeform 6112">
                <a:extLst>
                  <a:ext uri="{FF2B5EF4-FFF2-40B4-BE49-F238E27FC236}">
                    <a16:creationId xmlns:a16="http://schemas.microsoft.com/office/drawing/2014/main" id="{38B7836B-BB22-444E-A126-690C4924DA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8060" y="1697673"/>
                <a:ext cx="52070" cy="36830"/>
              </a:xfrm>
              <a:custGeom>
                <a:avLst/>
                <a:gdLst/>
                <a:ahLst/>
                <a:cxnLst>
                  <a:cxn ang="0">
                    <a:pos x="78" y="4"/>
                  </a:cxn>
                  <a:cxn ang="0">
                    <a:pos x="78" y="4"/>
                  </a:cxn>
                  <a:cxn ang="0">
                    <a:pos x="72" y="2"/>
                  </a:cxn>
                  <a:cxn ang="0">
                    <a:pos x="68" y="0"/>
                  </a:cxn>
                  <a:cxn ang="0">
                    <a:pos x="54" y="2"/>
                  </a:cxn>
                  <a:cxn ang="0">
                    <a:pos x="38" y="6"/>
                  </a:cxn>
                  <a:cxn ang="0">
                    <a:pos x="24" y="14"/>
                  </a:cxn>
                  <a:cxn ang="0">
                    <a:pos x="12" y="22"/>
                  </a:cxn>
                  <a:cxn ang="0">
                    <a:pos x="4" y="32"/>
                  </a:cxn>
                  <a:cxn ang="0">
                    <a:pos x="0" y="38"/>
                  </a:cxn>
                  <a:cxn ang="0">
                    <a:pos x="0" y="42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6" y="58"/>
                  </a:cxn>
                  <a:cxn ang="0">
                    <a:pos x="22" y="58"/>
                  </a:cxn>
                  <a:cxn ang="0">
                    <a:pos x="28" y="56"/>
                  </a:cxn>
                  <a:cxn ang="0">
                    <a:pos x="42" y="50"/>
                  </a:cxn>
                  <a:cxn ang="0">
                    <a:pos x="58" y="42"/>
                  </a:cxn>
                  <a:cxn ang="0">
                    <a:pos x="70" y="32"/>
                  </a:cxn>
                  <a:cxn ang="0">
                    <a:pos x="78" y="20"/>
                  </a:cxn>
                  <a:cxn ang="0">
                    <a:pos x="80" y="16"/>
                  </a:cxn>
                  <a:cxn ang="0">
                    <a:pos x="82" y="10"/>
                  </a:cxn>
                  <a:cxn ang="0">
                    <a:pos x="80" y="6"/>
                  </a:cxn>
                  <a:cxn ang="0">
                    <a:pos x="78" y="4"/>
                  </a:cxn>
                  <a:cxn ang="0">
                    <a:pos x="78" y="4"/>
                  </a:cxn>
                </a:cxnLst>
                <a:rect l="0" t="0" r="r" b="b"/>
                <a:pathLst>
                  <a:path w="82" h="58">
                    <a:moveTo>
                      <a:pt x="78" y="4"/>
                    </a:moveTo>
                    <a:lnTo>
                      <a:pt x="78" y="4"/>
                    </a:lnTo>
                    <a:lnTo>
                      <a:pt x="72" y="2"/>
                    </a:lnTo>
                    <a:lnTo>
                      <a:pt x="68" y="0"/>
                    </a:lnTo>
                    <a:lnTo>
                      <a:pt x="54" y="2"/>
                    </a:lnTo>
                    <a:lnTo>
                      <a:pt x="38" y="6"/>
                    </a:lnTo>
                    <a:lnTo>
                      <a:pt x="24" y="14"/>
                    </a:lnTo>
                    <a:lnTo>
                      <a:pt x="12" y="22"/>
                    </a:lnTo>
                    <a:lnTo>
                      <a:pt x="4" y="3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6" y="58"/>
                    </a:lnTo>
                    <a:lnTo>
                      <a:pt x="22" y="58"/>
                    </a:lnTo>
                    <a:lnTo>
                      <a:pt x="28" y="56"/>
                    </a:lnTo>
                    <a:lnTo>
                      <a:pt x="42" y="50"/>
                    </a:lnTo>
                    <a:lnTo>
                      <a:pt x="58" y="42"/>
                    </a:lnTo>
                    <a:lnTo>
                      <a:pt x="70" y="32"/>
                    </a:lnTo>
                    <a:lnTo>
                      <a:pt x="78" y="20"/>
                    </a:lnTo>
                    <a:lnTo>
                      <a:pt x="80" y="16"/>
                    </a:lnTo>
                    <a:lnTo>
                      <a:pt x="82" y="10"/>
                    </a:lnTo>
                    <a:lnTo>
                      <a:pt x="80" y="6"/>
                    </a:lnTo>
                    <a:lnTo>
                      <a:pt x="78" y="4"/>
                    </a:lnTo>
                    <a:lnTo>
                      <a:pt x="78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63" name="Freeform 6113">
                <a:extLst>
                  <a:ext uri="{FF2B5EF4-FFF2-40B4-BE49-F238E27FC236}">
                    <a16:creationId xmlns:a16="http://schemas.microsoft.com/office/drawing/2014/main" id="{8C0038FA-A280-4E2C-BECF-8E5DAE9AD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7630" y="1230313"/>
                <a:ext cx="467360" cy="227330"/>
              </a:xfrm>
              <a:custGeom>
                <a:avLst/>
                <a:gdLst/>
                <a:ahLst/>
                <a:cxnLst>
                  <a:cxn ang="0">
                    <a:pos x="700" y="272"/>
                  </a:cxn>
                  <a:cxn ang="0">
                    <a:pos x="720" y="274"/>
                  </a:cxn>
                  <a:cxn ang="0">
                    <a:pos x="736" y="254"/>
                  </a:cxn>
                  <a:cxn ang="0">
                    <a:pos x="708" y="238"/>
                  </a:cxn>
                  <a:cxn ang="0">
                    <a:pos x="684" y="224"/>
                  </a:cxn>
                  <a:cxn ang="0">
                    <a:pos x="646" y="206"/>
                  </a:cxn>
                  <a:cxn ang="0">
                    <a:pos x="608" y="190"/>
                  </a:cxn>
                  <a:cxn ang="0">
                    <a:pos x="586" y="166"/>
                  </a:cxn>
                  <a:cxn ang="0">
                    <a:pos x="592" y="128"/>
                  </a:cxn>
                  <a:cxn ang="0">
                    <a:pos x="560" y="58"/>
                  </a:cxn>
                  <a:cxn ang="0">
                    <a:pos x="506" y="10"/>
                  </a:cxn>
                  <a:cxn ang="0">
                    <a:pos x="482" y="10"/>
                  </a:cxn>
                  <a:cxn ang="0">
                    <a:pos x="438" y="8"/>
                  </a:cxn>
                  <a:cxn ang="0">
                    <a:pos x="450" y="68"/>
                  </a:cxn>
                  <a:cxn ang="0">
                    <a:pos x="478" y="114"/>
                  </a:cxn>
                  <a:cxn ang="0">
                    <a:pos x="456" y="132"/>
                  </a:cxn>
                  <a:cxn ang="0">
                    <a:pos x="420" y="68"/>
                  </a:cxn>
                  <a:cxn ang="0">
                    <a:pos x="382" y="40"/>
                  </a:cxn>
                  <a:cxn ang="0">
                    <a:pos x="354" y="26"/>
                  </a:cxn>
                  <a:cxn ang="0">
                    <a:pos x="352" y="40"/>
                  </a:cxn>
                  <a:cxn ang="0">
                    <a:pos x="372" y="58"/>
                  </a:cxn>
                  <a:cxn ang="0">
                    <a:pos x="336" y="62"/>
                  </a:cxn>
                  <a:cxn ang="0">
                    <a:pos x="318" y="74"/>
                  </a:cxn>
                  <a:cxn ang="0">
                    <a:pos x="296" y="40"/>
                  </a:cxn>
                  <a:cxn ang="0">
                    <a:pos x="224" y="38"/>
                  </a:cxn>
                  <a:cxn ang="0">
                    <a:pos x="190" y="60"/>
                  </a:cxn>
                  <a:cxn ang="0">
                    <a:pos x="206" y="32"/>
                  </a:cxn>
                  <a:cxn ang="0">
                    <a:pos x="196" y="2"/>
                  </a:cxn>
                  <a:cxn ang="0">
                    <a:pos x="100" y="26"/>
                  </a:cxn>
                  <a:cxn ang="0">
                    <a:pos x="22" y="72"/>
                  </a:cxn>
                  <a:cxn ang="0">
                    <a:pos x="40" y="86"/>
                  </a:cxn>
                  <a:cxn ang="0">
                    <a:pos x="2" y="116"/>
                  </a:cxn>
                  <a:cxn ang="0">
                    <a:pos x="14" y="130"/>
                  </a:cxn>
                  <a:cxn ang="0">
                    <a:pos x="34" y="146"/>
                  </a:cxn>
                  <a:cxn ang="0">
                    <a:pos x="116" y="140"/>
                  </a:cxn>
                  <a:cxn ang="0">
                    <a:pos x="76" y="160"/>
                  </a:cxn>
                  <a:cxn ang="0">
                    <a:pos x="44" y="192"/>
                  </a:cxn>
                  <a:cxn ang="0">
                    <a:pos x="110" y="204"/>
                  </a:cxn>
                  <a:cxn ang="0">
                    <a:pos x="210" y="202"/>
                  </a:cxn>
                  <a:cxn ang="0">
                    <a:pos x="276" y="214"/>
                  </a:cxn>
                  <a:cxn ang="0">
                    <a:pos x="294" y="230"/>
                  </a:cxn>
                  <a:cxn ang="0">
                    <a:pos x="168" y="230"/>
                  </a:cxn>
                  <a:cxn ang="0">
                    <a:pos x="70" y="254"/>
                  </a:cxn>
                  <a:cxn ang="0">
                    <a:pos x="122" y="300"/>
                  </a:cxn>
                  <a:cxn ang="0">
                    <a:pos x="222" y="308"/>
                  </a:cxn>
                  <a:cxn ang="0">
                    <a:pos x="232" y="350"/>
                  </a:cxn>
                  <a:cxn ang="0">
                    <a:pos x="314" y="358"/>
                  </a:cxn>
                  <a:cxn ang="0">
                    <a:pos x="420" y="332"/>
                  </a:cxn>
                  <a:cxn ang="0">
                    <a:pos x="478" y="318"/>
                  </a:cxn>
                  <a:cxn ang="0">
                    <a:pos x="490" y="296"/>
                  </a:cxn>
                  <a:cxn ang="0">
                    <a:pos x="516" y="294"/>
                  </a:cxn>
                  <a:cxn ang="0">
                    <a:pos x="540" y="312"/>
                  </a:cxn>
                  <a:cxn ang="0">
                    <a:pos x="560" y="324"/>
                  </a:cxn>
                  <a:cxn ang="0">
                    <a:pos x="592" y="328"/>
                  </a:cxn>
                  <a:cxn ang="0">
                    <a:pos x="640" y="334"/>
                  </a:cxn>
                  <a:cxn ang="0">
                    <a:pos x="680" y="324"/>
                  </a:cxn>
                  <a:cxn ang="0">
                    <a:pos x="700" y="306"/>
                  </a:cxn>
                  <a:cxn ang="0">
                    <a:pos x="692" y="288"/>
                  </a:cxn>
                  <a:cxn ang="0">
                    <a:pos x="648" y="300"/>
                  </a:cxn>
                  <a:cxn ang="0">
                    <a:pos x="632" y="278"/>
                  </a:cxn>
                  <a:cxn ang="0">
                    <a:pos x="660" y="282"/>
                  </a:cxn>
                  <a:cxn ang="0">
                    <a:pos x="668" y="272"/>
                  </a:cxn>
                </a:cxnLst>
                <a:rect l="0" t="0" r="r" b="b"/>
                <a:pathLst>
                  <a:path w="736" h="358">
                    <a:moveTo>
                      <a:pt x="674" y="264"/>
                    </a:moveTo>
                    <a:lnTo>
                      <a:pt x="674" y="264"/>
                    </a:lnTo>
                    <a:lnTo>
                      <a:pt x="682" y="262"/>
                    </a:lnTo>
                    <a:lnTo>
                      <a:pt x="686" y="262"/>
                    </a:lnTo>
                    <a:lnTo>
                      <a:pt x="690" y="264"/>
                    </a:lnTo>
                    <a:lnTo>
                      <a:pt x="694" y="268"/>
                    </a:lnTo>
                    <a:lnTo>
                      <a:pt x="700" y="272"/>
                    </a:lnTo>
                    <a:lnTo>
                      <a:pt x="702" y="274"/>
                    </a:lnTo>
                    <a:lnTo>
                      <a:pt x="704" y="272"/>
                    </a:lnTo>
                    <a:lnTo>
                      <a:pt x="704" y="272"/>
                    </a:lnTo>
                    <a:lnTo>
                      <a:pt x="710" y="268"/>
                    </a:lnTo>
                    <a:lnTo>
                      <a:pt x="714" y="268"/>
                    </a:lnTo>
                    <a:lnTo>
                      <a:pt x="718" y="272"/>
                    </a:lnTo>
                    <a:lnTo>
                      <a:pt x="720" y="274"/>
                    </a:lnTo>
                    <a:lnTo>
                      <a:pt x="726" y="274"/>
                    </a:lnTo>
                    <a:lnTo>
                      <a:pt x="726" y="274"/>
                    </a:lnTo>
                    <a:lnTo>
                      <a:pt x="730" y="274"/>
                    </a:lnTo>
                    <a:lnTo>
                      <a:pt x="734" y="272"/>
                    </a:lnTo>
                    <a:lnTo>
                      <a:pt x="736" y="268"/>
                    </a:lnTo>
                    <a:lnTo>
                      <a:pt x="736" y="264"/>
                    </a:lnTo>
                    <a:lnTo>
                      <a:pt x="736" y="254"/>
                    </a:lnTo>
                    <a:lnTo>
                      <a:pt x="734" y="244"/>
                    </a:lnTo>
                    <a:lnTo>
                      <a:pt x="734" y="244"/>
                    </a:lnTo>
                    <a:lnTo>
                      <a:pt x="732" y="240"/>
                    </a:lnTo>
                    <a:lnTo>
                      <a:pt x="728" y="238"/>
                    </a:lnTo>
                    <a:lnTo>
                      <a:pt x="720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8" y="234"/>
                    </a:lnTo>
                    <a:lnTo>
                      <a:pt x="708" y="234"/>
                    </a:lnTo>
                    <a:lnTo>
                      <a:pt x="706" y="230"/>
                    </a:lnTo>
                    <a:lnTo>
                      <a:pt x="704" y="230"/>
                    </a:lnTo>
                    <a:lnTo>
                      <a:pt x="698" y="228"/>
                    </a:lnTo>
                    <a:lnTo>
                      <a:pt x="692" y="228"/>
                    </a:lnTo>
                    <a:lnTo>
                      <a:pt x="684" y="224"/>
                    </a:lnTo>
                    <a:lnTo>
                      <a:pt x="674" y="218"/>
                    </a:lnTo>
                    <a:lnTo>
                      <a:pt x="660" y="210"/>
                    </a:lnTo>
                    <a:lnTo>
                      <a:pt x="660" y="210"/>
                    </a:lnTo>
                    <a:lnTo>
                      <a:pt x="652" y="204"/>
                    </a:lnTo>
                    <a:lnTo>
                      <a:pt x="648" y="200"/>
                    </a:lnTo>
                    <a:lnTo>
                      <a:pt x="644" y="202"/>
                    </a:lnTo>
                    <a:lnTo>
                      <a:pt x="646" y="206"/>
                    </a:lnTo>
                    <a:lnTo>
                      <a:pt x="646" y="206"/>
                    </a:lnTo>
                    <a:lnTo>
                      <a:pt x="646" y="208"/>
                    </a:lnTo>
                    <a:lnTo>
                      <a:pt x="642" y="210"/>
                    </a:lnTo>
                    <a:lnTo>
                      <a:pt x="632" y="208"/>
                    </a:lnTo>
                    <a:lnTo>
                      <a:pt x="618" y="200"/>
                    </a:lnTo>
                    <a:lnTo>
                      <a:pt x="612" y="196"/>
                    </a:lnTo>
                    <a:lnTo>
                      <a:pt x="608" y="190"/>
                    </a:lnTo>
                    <a:lnTo>
                      <a:pt x="608" y="190"/>
                    </a:lnTo>
                    <a:lnTo>
                      <a:pt x="602" y="184"/>
                    </a:lnTo>
                    <a:lnTo>
                      <a:pt x="598" y="180"/>
                    </a:lnTo>
                    <a:lnTo>
                      <a:pt x="590" y="174"/>
                    </a:lnTo>
                    <a:lnTo>
                      <a:pt x="586" y="172"/>
                    </a:lnTo>
                    <a:lnTo>
                      <a:pt x="584" y="168"/>
                    </a:lnTo>
                    <a:lnTo>
                      <a:pt x="586" y="166"/>
                    </a:lnTo>
                    <a:lnTo>
                      <a:pt x="588" y="162"/>
                    </a:lnTo>
                    <a:lnTo>
                      <a:pt x="588" y="162"/>
                    </a:lnTo>
                    <a:lnTo>
                      <a:pt x="594" y="152"/>
                    </a:lnTo>
                    <a:lnTo>
                      <a:pt x="596" y="146"/>
                    </a:lnTo>
                    <a:lnTo>
                      <a:pt x="596" y="140"/>
                    </a:lnTo>
                    <a:lnTo>
                      <a:pt x="594" y="134"/>
                    </a:lnTo>
                    <a:lnTo>
                      <a:pt x="592" y="128"/>
                    </a:lnTo>
                    <a:lnTo>
                      <a:pt x="588" y="124"/>
                    </a:lnTo>
                    <a:lnTo>
                      <a:pt x="582" y="118"/>
                    </a:lnTo>
                    <a:lnTo>
                      <a:pt x="582" y="118"/>
                    </a:lnTo>
                    <a:lnTo>
                      <a:pt x="576" y="112"/>
                    </a:lnTo>
                    <a:lnTo>
                      <a:pt x="572" y="102"/>
                    </a:lnTo>
                    <a:lnTo>
                      <a:pt x="566" y="82"/>
                    </a:lnTo>
                    <a:lnTo>
                      <a:pt x="560" y="58"/>
                    </a:lnTo>
                    <a:lnTo>
                      <a:pt x="554" y="48"/>
                    </a:lnTo>
                    <a:lnTo>
                      <a:pt x="548" y="38"/>
                    </a:lnTo>
                    <a:lnTo>
                      <a:pt x="548" y="38"/>
                    </a:lnTo>
                    <a:lnTo>
                      <a:pt x="540" y="28"/>
                    </a:lnTo>
                    <a:lnTo>
                      <a:pt x="532" y="24"/>
                    </a:lnTo>
                    <a:lnTo>
                      <a:pt x="522" y="20"/>
                    </a:lnTo>
                    <a:lnTo>
                      <a:pt x="506" y="10"/>
                    </a:lnTo>
                    <a:lnTo>
                      <a:pt x="506" y="10"/>
                    </a:lnTo>
                    <a:lnTo>
                      <a:pt x="498" y="6"/>
                    </a:lnTo>
                    <a:lnTo>
                      <a:pt x="492" y="4"/>
                    </a:lnTo>
                    <a:lnTo>
                      <a:pt x="490" y="4"/>
                    </a:lnTo>
                    <a:lnTo>
                      <a:pt x="488" y="6"/>
                    </a:lnTo>
                    <a:lnTo>
                      <a:pt x="486" y="8"/>
                    </a:lnTo>
                    <a:lnTo>
                      <a:pt x="482" y="10"/>
                    </a:lnTo>
                    <a:lnTo>
                      <a:pt x="476" y="10"/>
                    </a:lnTo>
                    <a:lnTo>
                      <a:pt x="464" y="6"/>
                    </a:lnTo>
                    <a:lnTo>
                      <a:pt x="464" y="6"/>
                    </a:lnTo>
                    <a:lnTo>
                      <a:pt x="450" y="2"/>
                    </a:lnTo>
                    <a:lnTo>
                      <a:pt x="446" y="2"/>
                    </a:lnTo>
                    <a:lnTo>
                      <a:pt x="440" y="4"/>
                    </a:lnTo>
                    <a:lnTo>
                      <a:pt x="438" y="8"/>
                    </a:lnTo>
                    <a:lnTo>
                      <a:pt x="436" y="12"/>
                    </a:lnTo>
                    <a:lnTo>
                      <a:pt x="436" y="20"/>
                    </a:lnTo>
                    <a:lnTo>
                      <a:pt x="440" y="28"/>
                    </a:lnTo>
                    <a:lnTo>
                      <a:pt x="440" y="28"/>
                    </a:lnTo>
                    <a:lnTo>
                      <a:pt x="444" y="38"/>
                    </a:lnTo>
                    <a:lnTo>
                      <a:pt x="446" y="48"/>
                    </a:lnTo>
                    <a:lnTo>
                      <a:pt x="450" y="68"/>
                    </a:lnTo>
                    <a:lnTo>
                      <a:pt x="454" y="78"/>
                    </a:lnTo>
                    <a:lnTo>
                      <a:pt x="458" y="88"/>
                    </a:lnTo>
                    <a:lnTo>
                      <a:pt x="464" y="98"/>
                    </a:lnTo>
                    <a:lnTo>
                      <a:pt x="472" y="106"/>
                    </a:lnTo>
                    <a:lnTo>
                      <a:pt x="472" y="106"/>
                    </a:lnTo>
                    <a:lnTo>
                      <a:pt x="476" y="110"/>
                    </a:lnTo>
                    <a:lnTo>
                      <a:pt x="478" y="114"/>
                    </a:lnTo>
                    <a:lnTo>
                      <a:pt x="478" y="116"/>
                    </a:lnTo>
                    <a:lnTo>
                      <a:pt x="474" y="118"/>
                    </a:lnTo>
                    <a:lnTo>
                      <a:pt x="468" y="122"/>
                    </a:lnTo>
                    <a:lnTo>
                      <a:pt x="462" y="128"/>
                    </a:lnTo>
                    <a:lnTo>
                      <a:pt x="462" y="128"/>
                    </a:lnTo>
                    <a:lnTo>
                      <a:pt x="458" y="130"/>
                    </a:lnTo>
                    <a:lnTo>
                      <a:pt x="456" y="132"/>
                    </a:lnTo>
                    <a:lnTo>
                      <a:pt x="452" y="130"/>
                    </a:lnTo>
                    <a:lnTo>
                      <a:pt x="446" y="122"/>
                    </a:lnTo>
                    <a:lnTo>
                      <a:pt x="434" y="104"/>
                    </a:lnTo>
                    <a:lnTo>
                      <a:pt x="434" y="104"/>
                    </a:lnTo>
                    <a:lnTo>
                      <a:pt x="430" y="94"/>
                    </a:lnTo>
                    <a:lnTo>
                      <a:pt x="426" y="84"/>
                    </a:lnTo>
                    <a:lnTo>
                      <a:pt x="420" y="68"/>
                    </a:lnTo>
                    <a:lnTo>
                      <a:pt x="418" y="62"/>
                    </a:lnTo>
                    <a:lnTo>
                      <a:pt x="412" y="56"/>
                    </a:lnTo>
                    <a:lnTo>
                      <a:pt x="406" y="50"/>
                    </a:lnTo>
                    <a:lnTo>
                      <a:pt x="396" y="46"/>
                    </a:lnTo>
                    <a:lnTo>
                      <a:pt x="396" y="46"/>
                    </a:lnTo>
                    <a:lnTo>
                      <a:pt x="384" y="42"/>
                    </a:lnTo>
                    <a:lnTo>
                      <a:pt x="382" y="40"/>
                    </a:lnTo>
                    <a:lnTo>
                      <a:pt x="384" y="38"/>
                    </a:lnTo>
                    <a:lnTo>
                      <a:pt x="384" y="36"/>
                    </a:lnTo>
                    <a:lnTo>
                      <a:pt x="384" y="34"/>
                    </a:lnTo>
                    <a:lnTo>
                      <a:pt x="380" y="32"/>
                    </a:lnTo>
                    <a:lnTo>
                      <a:pt x="372" y="30"/>
                    </a:lnTo>
                    <a:lnTo>
                      <a:pt x="372" y="30"/>
                    </a:lnTo>
                    <a:lnTo>
                      <a:pt x="354" y="26"/>
                    </a:lnTo>
                    <a:lnTo>
                      <a:pt x="340" y="26"/>
                    </a:lnTo>
                    <a:lnTo>
                      <a:pt x="338" y="28"/>
                    </a:lnTo>
                    <a:lnTo>
                      <a:pt x="338" y="30"/>
                    </a:lnTo>
                    <a:lnTo>
                      <a:pt x="340" y="32"/>
                    </a:lnTo>
                    <a:lnTo>
                      <a:pt x="346" y="36"/>
                    </a:lnTo>
                    <a:lnTo>
                      <a:pt x="346" y="36"/>
                    </a:lnTo>
                    <a:lnTo>
                      <a:pt x="352" y="40"/>
                    </a:lnTo>
                    <a:lnTo>
                      <a:pt x="356" y="44"/>
                    </a:lnTo>
                    <a:lnTo>
                      <a:pt x="358" y="46"/>
                    </a:lnTo>
                    <a:lnTo>
                      <a:pt x="356" y="48"/>
                    </a:lnTo>
                    <a:lnTo>
                      <a:pt x="356" y="52"/>
                    </a:lnTo>
                    <a:lnTo>
                      <a:pt x="362" y="54"/>
                    </a:lnTo>
                    <a:lnTo>
                      <a:pt x="362" y="54"/>
                    </a:lnTo>
                    <a:lnTo>
                      <a:pt x="372" y="58"/>
                    </a:lnTo>
                    <a:lnTo>
                      <a:pt x="376" y="62"/>
                    </a:lnTo>
                    <a:lnTo>
                      <a:pt x="376" y="64"/>
                    </a:lnTo>
                    <a:lnTo>
                      <a:pt x="372" y="64"/>
                    </a:lnTo>
                    <a:lnTo>
                      <a:pt x="354" y="60"/>
                    </a:lnTo>
                    <a:lnTo>
                      <a:pt x="354" y="60"/>
                    </a:lnTo>
                    <a:lnTo>
                      <a:pt x="344" y="60"/>
                    </a:lnTo>
                    <a:lnTo>
                      <a:pt x="336" y="62"/>
                    </a:lnTo>
                    <a:lnTo>
                      <a:pt x="332" y="66"/>
                    </a:lnTo>
                    <a:lnTo>
                      <a:pt x="330" y="70"/>
                    </a:lnTo>
                    <a:lnTo>
                      <a:pt x="328" y="76"/>
                    </a:lnTo>
                    <a:lnTo>
                      <a:pt x="326" y="78"/>
                    </a:lnTo>
                    <a:lnTo>
                      <a:pt x="322" y="78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4" y="68"/>
                    </a:lnTo>
                    <a:lnTo>
                      <a:pt x="314" y="64"/>
                    </a:lnTo>
                    <a:lnTo>
                      <a:pt x="318" y="56"/>
                    </a:lnTo>
                    <a:lnTo>
                      <a:pt x="318" y="52"/>
                    </a:lnTo>
                    <a:lnTo>
                      <a:pt x="316" y="48"/>
                    </a:lnTo>
                    <a:lnTo>
                      <a:pt x="310" y="44"/>
                    </a:lnTo>
                    <a:lnTo>
                      <a:pt x="296" y="40"/>
                    </a:lnTo>
                    <a:lnTo>
                      <a:pt x="296" y="40"/>
                    </a:lnTo>
                    <a:lnTo>
                      <a:pt x="268" y="34"/>
                    </a:lnTo>
                    <a:lnTo>
                      <a:pt x="250" y="30"/>
                    </a:lnTo>
                    <a:lnTo>
                      <a:pt x="238" y="32"/>
                    </a:lnTo>
                    <a:lnTo>
                      <a:pt x="230" y="36"/>
                    </a:lnTo>
                    <a:lnTo>
                      <a:pt x="230" y="36"/>
                    </a:lnTo>
                    <a:lnTo>
                      <a:pt x="224" y="38"/>
                    </a:lnTo>
                    <a:lnTo>
                      <a:pt x="224" y="42"/>
                    </a:lnTo>
                    <a:lnTo>
                      <a:pt x="226" y="46"/>
                    </a:lnTo>
                    <a:lnTo>
                      <a:pt x="224" y="48"/>
                    </a:lnTo>
                    <a:lnTo>
                      <a:pt x="220" y="50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190" y="60"/>
                    </a:lnTo>
                    <a:lnTo>
                      <a:pt x="186" y="60"/>
                    </a:lnTo>
                    <a:lnTo>
                      <a:pt x="192" y="54"/>
                    </a:lnTo>
                    <a:lnTo>
                      <a:pt x="204" y="44"/>
                    </a:lnTo>
                    <a:lnTo>
                      <a:pt x="206" y="40"/>
                    </a:lnTo>
                    <a:lnTo>
                      <a:pt x="206" y="36"/>
                    </a:lnTo>
                    <a:lnTo>
                      <a:pt x="206" y="36"/>
                    </a:lnTo>
                    <a:lnTo>
                      <a:pt x="206" y="32"/>
                    </a:lnTo>
                    <a:lnTo>
                      <a:pt x="206" y="28"/>
                    </a:lnTo>
                    <a:lnTo>
                      <a:pt x="208" y="20"/>
                    </a:lnTo>
                    <a:lnTo>
                      <a:pt x="208" y="16"/>
                    </a:lnTo>
                    <a:lnTo>
                      <a:pt x="208" y="12"/>
                    </a:lnTo>
                    <a:lnTo>
                      <a:pt x="204" y="8"/>
                    </a:lnTo>
                    <a:lnTo>
                      <a:pt x="196" y="2"/>
                    </a:lnTo>
                    <a:lnTo>
                      <a:pt x="196" y="2"/>
                    </a:lnTo>
                    <a:lnTo>
                      <a:pt x="186" y="0"/>
                    </a:lnTo>
                    <a:lnTo>
                      <a:pt x="176" y="0"/>
                    </a:lnTo>
                    <a:lnTo>
                      <a:pt x="162" y="4"/>
                    </a:lnTo>
                    <a:lnTo>
                      <a:pt x="150" y="8"/>
                    </a:lnTo>
                    <a:lnTo>
                      <a:pt x="122" y="18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82" y="32"/>
                    </a:lnTo>
                    <a:lnTo>
                      <a:pt x="66" y="4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4" y="66"/>
                    </a:lnTo>
                    <a:lnTo>
                      <a:pt x="22" y="70"/>
                    </a:lnTo>
                    <a:lnTo>
                      <a:pt x="22" y="72"/>
                    </a:lnTo>
                    <a:lnTo>
                      <a:pt x="26" y="74"/>
                    </a:lnTo>
                    <a:lnTo>
                      <a:pt x="36" y="78"/>
                    </a:lnTo>
                    <a:lnTo>
                      <a:pt x="40" y="80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0" y="86"/>
                    </a:lnTo>
                    <a:lnTo>
                      <a:pt x="32" y="90"/>
                    </a:lnTo>
                    <a:lnTo>
                      <a:pt x="20" y="94"/>
                    </a:lnTo>
                    <a:lnTo>
                      <a:pt x="16" y="98"/>
                    </a:lnTo>
                    <a:lnTo>
                      <a:pt x="10" y="104"/>
                    </a:lnTo>
                    <a:lnTo>
                      <a:pt x="10" y="104"/>
                    </a:lnTo>
                    <a:lnTo>
                      <a:pt x="4" y="110"/>
                    </a:lnTo>
                    <a:lnTo>
                      <a:pt x="2" y="116"/>
                    </a:lnTo>
                    <a:lnTo>
                      <a:pt x="0" y="122"/>
                    </a:lnTo>
                    <a:lnTo>
                      <a:pt x="0" y="126"/>
                    </a:lnTo>
                    <a:lnTo>
                      <a:pt x="2" y="130"/>
                    </a:lnTo>
                    <a:lnTo>
                      <a:pt x="6" y="132"/>
                    </a:lnTo>
                    <a:lnTo>
                      <a:pt x="10" y="132"/>
                    </a:lnTo>
                    <a:lnTo>
                      <a:pt x="14" y="130"/>
                    </a:lnTo>
                    <a:lnTo>
                      <a:pt x="14" y="130"/>
                    </a:lnTo>
                    <a:lnTo>
                      <a:pt x="20" y="128"/>
                    </a:lnTo>
                    <a:lnTo>
                      <a:pt x="24" y="126"/>
                    </a:lnTo>
                    <a:lnTo>
                      <a:pt x="26" y="128"/>
                    </a:lnTo>
                    <a:lnTo>
                      <a:pt x="28" y="130"/>
                    </a:lnTo>
                    <a:lnTo>
                      <a:pt x="30" y="138"/>
                    </a:lnTo>
                    <a:lnTo>
                      <a:pt x="34" y="146"/>
                    </a:lnTo>
                    <a:lnTo>
                      <a:pt x="34" y="146"/>
                    </a:lnTo>
                    <a:lnTo>
                      <a:pt x="38" y="150"/>
                    </a:lnTo>
                    <a:lnTo>
                      <a:pt x="44" y="150"/>
                    </a:lnTo>
                    <a:lnTo>
                      <a:pt x="64" y="150"/>
                    </a:lnTo>
                    <a:lnTo>
                      <a:pt x="88" y="144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16" y="140"/>
                    </a:lnTo>
                    <a:lnTo>
                      <a:pt x="120" y="142"/>
                    </a:lnTo>
                    <a:lnTo>
                      <a:pt x="122" y="144"/>
                    </a:lnTo>
                    <a:lnTo>
                      <a:pt x="120" y="146"/>
                    </a:lnTo>
                    <a:lnTo>
                      <a:pt x="114" y="150"/>
                    </a:lnTo>
                    <a:lnTo>
                      <a:pt x="98" y="156"/>
                    </a:lnTo>
                    <a:lnTo>
                      <a:pt x="76" y="160"/>
                    </a:lnTo>
                    <a:lnTo>
                      <a:pt x="76" y="160"/>
                    </a:lnTo>
                    <a:lnTo>
                      <a:pt x="46" y="168"/>
                    </a:lnTo>
                    <a:lnTo>
                      <a:pt x="38" y="170"/>
                    </a:lnTo>
                    <a:lnTo>
                      <a:pt x="34" y="174"/>
                    </a:lnTo>
                    <a:lnTo>
                      <a:pt x="32" y="178"/>
                    </a:lnTo>
                    <a:lnTo>
                      <a:pt x="34" y="182"/>
                    </a:lnTo>
                    <a:lnTo>
                      <a:pt x="38" y="188"/>
                    </a:lnTo>
                    <a:lnTo>
                      <a:pt x="44" y="192"/>
                    </a:lnTo>
                    <a:lnTo>
                      <a:pt x="44" y="192"/>
                    </a:lnTo>
                    <a:lnTo>
                      <a:pt x="56" y="202"/>
                    </a:lnTo>
                    <a:lnTo>
                      <a:pt x="66" y="206"/>
                    </a:lnTo>
                    <a:lnTo>
                      <a:pt x="76" y="206"/>
                    </a:lnTo>
                    <a:lnTo>
                      <a:pt x="94" y="204"/>
                    </a:lnTo>
                    <a:lnTo>
                      <a:pt x="94" y="204"/>
                    </a:lnTo>
                    <a:lnTo>
                      <a:pt x="110" y="204"/>
                    </a:lnTo>
                    <a:lnTo>
                      <a:pt x="120" y="206"/>
                    </a:lnTo>
                    <a:lnTo>
                      <a:pt x="132" y="208"/>
                    </a:lnTo>
                    <a:lnTo>
                      <a:pt x="152" y="208"/>
                    </a:lnTo>
                    <a:lnTo>
                      <a:pt x="152" y="208"/>
                    </a:lnTo>
                    <a:lnTo>
                      <a:pt x="176" y="206"/>
                    </a:lnTo>
                    <a:lnTo>
                      <a:pt x="194" y="202"/>
                    </a:lnTo>
                    <a:lnTo>
                      <a:pt x="210" y="202"/>
                    </a:lnTo>
                    <a:lnTo>
                      <a:pt x="220" y="202"/>
                    </a:lnTo>
                    <a:lnTo>
                      <a:pt x="232" y="204"/>
                    </a:lnTo>
                    <a:lnTo>
                      <a:pt x="232" y="204"/>
                    </a:lnTo>
                    <a:lnTo>
                      <a:pt x="250" y="208"/>
                    </a:lnTo>
                    <a:lnTo>
                      <a:pt x="262" y="210"/>
                    </a:lnTo>
                    <a:lnTo>
                      <a:pt x="268" y="210"/>
                    </a:lnTo>
                    <a:lnTo>
                      <a:pt x="276" y="214"/>
                    </a:lnTo>
                    <a:lnTo>
                      <a:pt x="276" y="214"/>
                    </a:lnTo>
                    <a:lnTo>
                      <a:pt x="290" y="220"/>
                    </a:lnTo>
                    <a:lnTo>
                      <a:pt x="302" y="226"/>
                    </a:lnTo>
                    <a:lnTo>
                      <a:pt x="306" y="228"/>
                    </a:lnTo>
                    <a:lnTo>
                      <a:pt x="306" y="230"/>
                    </a:lnTo>
                    <a:lnTo>
                      <a:pt x="294" y="230"/>
                    </a:lnTo>
                    <a:lnTo>
                      <a:pt x="294" y="230"/>
                    </a:lnTo>
                    <a:lnTo>
                      <a:pt x="280" y="230"/>
                    </a:lnTo>
                    <a:lnTo>
                      <a:pt x="276" y="232"/>
                    </a:lnTo>
                    <a:lnTo>
                      <a:pt x="268" y="232"/>
                    </a:lnTo>
                    <a:lnTo>
                      <a:pt x="246" y="230"/>
                    </a:lnTo>
                    <a:lnTo>
                      <a:pt x="246" y="230"/>
                    </a:lnTo>
                    <a:lnTo>
                      <a:pt x="210" y="228"/>
                    </a:lnTo>
                    <a:lnTo>
                      <a:pt x="168" y="230"/>
                    </a:lnTo>
                    <a:lnTo>
                      <a:pt x="126" y="234"/>
                    </a:lnTo>
                    <a:lnTo>
                      <a:pt x="90" y="240"/>
                    </a:lnTo>
                    <a:lnTo>
                      <a:pt x="90" y="240"/>
                    </a:lnTo>
                    <a:lnTo>
                      <a:pt x="76" y="244"/>
                    </a:lnTo>
                    <a:lnTo>
                      <a:pt x="70" y="250"/>
                    </a:lnTo>
                    <a:lnTo>
                      <a:pt x="70" y="252"/>
                    </a:lnTo>
                    <a:lnTo>
                      <a:pt x="70" y="254"/>
                    </a:lnTo>
                    <a:lnTo>
                      <a:pt x="72" y="262"/>
                    </a:lnTo>
                    <a:lnTo>
                      <a:pt x="78" y="268"/>
                    </a:lnTo>
                    <a:lnTo>
                      <a:pt x="86" y="274"/>
                    </a:lnTo>
                    <a:lnTo>
                      <a:pt x="100" y="290"/>
                    </a:lnTo>
                    <a:lnTo>
                      <a:pt x="100" y="290"/>
                    </a:lnTo>
                    <a:lnTo>
                      <a:pt x="110" y="296"/>
                    </a:lnTo>
                    <a:lnTo>
                      <a:pt x="122" y="300"/>
                    </a:lnTo>
                    <a:lnTo>
                      <a:pt x="138" y="302"/>
                    </a:lnTo>
                    <a:lnTo>
                      <a:pt x="156" y="304"/>
                    </a:lnTo>
                    <a:lnTo>
                      <a:pt x="190" y="304"/>
                    </a:lnTo>
                    <a:lnTo>
                      <a:pt x="214" y="304"/>
                    </a:lnTo>
                    <a:lnTo>
                      <a:pt x="214" y="304"/>
                    </a:lnTo>
                    <a:lnTo>
                      <a:pt x="220" y="306"/>
                    </a:lnTo>
                    <a:lnTo>
                      <a:pt x="222" y="308"/>
                    </a:lnTo>
                    <a:lnTo>
                      <a:pt x="224" y="314"/>
                    </a:lnTo>
                    <a:lnTo>
                      <a:pt x="224" y="320"/>
                    </a:lnTo>
                    <a:lnTo>
                      <a:pt x="222" y="332"/>
                    </a:lnTo>
                    <a:lnTo>
                      <a:pt x="222" y="338"/>
                    </a:lnTo>
                    <a:lnTo>
                      <a:pt x="224" y="342"/>
                    </a:lnTo>
                    <a:lnTo>
                      <a:pt x="224" y="342"/>
                    </a:lnTo>
                    <a:lnTo>
                      <a:pt x="232" y="350"/>
                    </a:lnTo>
                    <a:lnTo>
                      <a:pt x="238" y="356"/>
                    </a:lnTo>
                    <a:lnTo>
                      <a:pt x="246" y="358"/>
                    </a:lnTo>
                    <a:lnTo>
                      <a:pt x="260" y="358"/>
                    </a:lnTo>
                    <a:lnTo>
                      <a:pt x="260" y="358"/>
                    </a:lnTo>
                    <a:lnTo>
                      <a:pt x="282" y="358"/>
                    </a:lnTo>
                    <a:lnTo>
                      <a:pt x="300" y="358"/>
                    </a:lnTo>
                    <a:lnTo>
                      <a:pt x="314" y="358"/>
                    </a:lnTo>
                    <a:lnTo>
                      <a:pt x="324" y="356"/>
                    </a:lnTo>
                    <a:lnTo>
                      <a:pt x="324" y="356"/>
                    </a:lnTo>
                    <a:lnTo>
                      <a:pt x="342" y="352"/>
                    </a:lnTo>
                    <a:lnTo>
                      <a:pt x="370" y="348"/>
                    </a:lnTo>
                    <a:lnTo>
                      <a:pt x="398" y="342"/>
                    </a:lnTo>
                    <a:lnTo>
                      <a:pt x="412" y="338"/>
                    </a:lnTo>
                    <a:lnTo>
                      <a:pt x="420" y="332"/>
                    </a:lnTo>
                    <a:lnTo>
                      <a:pt x="420" y="332"/>
                    </a:lnTo>
                    <a:lnTo>
                      <a:pt x="428" y="328"/>
                    </a:lnTo>
                    <a:lnTo>
                      <a:pt x="436" y="326"/>
                    </a:lnTo>
                    <a:lnTo>
                      <a:pt x="450" y="326"/>
                    </a:lnTo>
                    <a:lnTo>
                      <a:pt x="462" y="324"/>
                    </a:lnTo>
                    <a:lnTo>
                      <a:pt x="470" y="322"/>
                    </a:lnTo>
                    <a:lnTo>
                      <a:pt x="478" y="318"/>
                    </a:lnTo>
                    <a:lnTo>
                      <a:pt x="478" y="318"/>
                    </a:lnTo>
                    <a:lnTo>
                      <a:pt x="486" y="312"/>
                    </a:lnTo>
                    <a:lnTo>
                      <a:pt x="488" y="308"/>
                    </a:lnTo>
                    <a:lnTo>
                      <a:pt x="490" y="304"/>
                    </a:lnTo>
                    <a:lnTo>
                      <a:pt x="490" y="302"/>
                    </a:lnTo>
                    <a:lnTo>
                      <a:pt x="490" y="300"/>
                    </a:lnTo>
                    <a:lnTo>
                      <a:pt x="490" y="296"/>
                    </a:lnTo>
                    <a:lnTo>
                      <a:pt x="494" y="294"/>
                    </a:lnTo>
                    <a:lnTo>
                      <a:pt x="500" y="290"/>
                    </a:lnTo>
                    <a:lnTo>
                      <a:pt x="500" y="290"/>
                    </a:lnTo>
                    <a:lnTo>
                      <a:pt x="506" y="288"/>
                    </a:lnTo>
                    <a:lnTo>
                      <a:pt x="512" y="290"/>
                    </a:lnTo>
                    <a:lnTo>
                      <a:pt x="514" y="292"/>
                    </a:lnTo>
                    <a:lnTo>
                      <a:pt x="516" y="294"/>
                    </a:lnTo>
                    <a:lnTo>
                      <a:pt x="514" y="304"/>
                    </a:lnTo>
                    <a:lnTo>
                      <a:pt x="514" y="304"/>
                    </a:lnTo>
                    <a:lnTo>
                      <a:pt x="514" y="312"/>
                    </a:lnTo>
                    <a:lnTo>
                      <a:pt x="514" y="312"/>
                    </a:lnTo>
                    <a:lnTo>
                      <a:pt x="518" y="312"/>
                    </a:lnTo>
                    <a:lnTo>
                      <a:pt x="530" y="310"/>
                    </a:lnTo>
                    <a:lnTo>
                      <a:pt x="540" y="312"/>
                    </a:lnTo>
                    <a:lnTo>
                      <a:pt x="554" y="314"/>
                    </a:lnTo>
                    <a:lnTo>
                      <a:pt x="554" y="314"/>
                    </a:lnTo>
                    <a:lnTo>
                      <a:pt x="564" y="318"/>
                    </a:lnTo>
                    <a:lnTo>
                      <a:pt x="568" y="320"/>
                    </a:lnTo>
                    <a:lnTo>
                      <a:pt x="568" y="322"/>
                    </a:lnTo>
                    <a:lnTo>
                      <a:pt x="566" y="322"/>
                    </a:lnTo>
                    <a:lnTo>
                      <a:pt x="560" y="324"/>
                    </a:lnTo>
                    <a:lnTo>
                      <a:pt x="562" y="326"/>
                    </a:lnTo>
                    <a:lnTo>
                      <a:pt x="568" y="330"/>
                    </a:lnTo>
                    <a:lnTo>
                      <a:pt x="568" y="330"/>
                    </a:lnTo>
                    <a:lnTo>
                      <a:pt x="576" y="332"/>
                    </a:lnTo>
                    <a:lnTo>
                      <a:pt x="582" y="332"/>
                    </a:lnTo>
                    <a:lnTo>
                      <a:pt x="588" y="330"/>
                    </a:lnTo>
                    <a:lnTo>
                      <a:pt x="592" y="328"/>
                    </a:lnTo>
                    <a:lnTo>
                      <a:pt x="596" y="328"/>
                    </a:lnTo>
                    <a:lnTo>
                      <a:pt x="602" y="328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28" y="336"/>
                    </a:lnTo>
                    <a:lnTo>
                      <a:pt x="636" y="336"/>
                    </a:lnTo>
                    <a:lnTo>
                      <a:pt x="640" y="334"/>
                    </a:lnTo>
                    <a:lnTo>
                      <a:pt x="648" y="336"/>
                    </a:lnTo>
                    <a:lnTo>
                      <a:pt x="648" y="336"/>
                    </a:lnTo>
                    <a:lnTo>
                      <a:pt x="654" y="336"/>
                    </a:lnTo>
                    <a:lnTo>
                      <a:pt x="658" y="336"/>
                    </a:lnTo>
                    <a:lnTo>
                      <a:pt x="668" y="332"/>
                    </a:lnTo>
                    <a:lnTo>
                      <a:pt x="676" y="326"/>
                    </a:lnTo>
                    <a:lnTo>
                      <a:pt x="680" y="324"/>
                    </a:lnTo>
                    <a:lnTo>
                      <a:pt x="686" y="324"/>
                    </a:lnTo>
                    <a:lnTo>
                      <a:pt x="686" y="324"/>
                    </a:lnTo>
                    <a:lnTo>
                      <a:pt x="694" y="322"/>
                    </a:lnTo>
                    <a:lnTo>
                      <a:pt x="700" y="316"/>
                    </a:lnTo>
                    <a:lnTo>
                      <a:pt x="702" y="314"/>
                    </a:lnTo>
                    <a:lnTo>
                      <a:pt x="702" y="310"/>
                    </a:lnTo>
                    <a:lnTo>
                      <a:pt x="700" y="306"/>
                    </a:lnTo>
                    <a:lnTo>
                      <a:pt x="696" y="304"/>
                    </a:lnTo>
                    <a:lnTo>
                      <a:pt x="696" y="304"/>
                    </a:lnTo>
                    <a:lnTo>
                      <a:pt x="692" y="300"/>
                    </a:lnTo>
                    <a:lnTo>
                      <a:pt x="690" y="298"/>
                    </a:lnTo>
                    <a:lnTo>
                      <a:pt x="692" y="294"/>
                    </a:lnTo>
                    <a:lnTo>
                      <a:pt x="694" y="290"/>
                    </a:lnTo>
                    <a:lnTo>
                      <a:pt x="692" y="288"/>
                    </a:lnTo>
                    <a:lnTo>
                      <a:pt x="688" y="286"/>
                    </a:lnTo>
                    <a:lnTo>
                      <a:pt x="688" y="286"/>
                    </a:lnTo>
                    <a:lnTo>
                      <a:pt x="682" y="286"/>
                    </a:lnTo>
                    <a:lnTo>
                      <a:pt x="674" y="288"/>
                    </a:lnTo>
                    <a:lnTo>
                      <a:pt x="660" y="296"/>
                    </a:lnTo>
                    <a:lnTo>
                      <a:pt x="648" y="300"/>
                    </a:lnTo>
                    <a:lnTo>
                      <a:pt x="648" y="300"/>
                    </a:lnTo>
                    <a:lnTo>
                      <a:pt x="650" y="296"/>
                    </a:lnTo>
                    <a:lnTo>
                      <a:pt x="650" y="296"/>
                    </a:lnTo>
                    <a:lnTo>
                      <a:pt x="652" y="290"/>
                    </a:lnTo>
                    <a:lnTo>
                      <a:pt x="650" y="286"/>
                    </a:lnTo>
                    <a:lnTo>
                      <a:pt x="646" y="284"/>
                    </a:lnTo>
                    <a:lnTo>
                      <a:pt x="642" y="280"/>
                    </a:lnTo>
                    <a:lnTo>
                      <a:pt x="632" y="278"/>
                    </a:lnTo>
                    <a:lnTo>
                      <a:pt x="630" y="276"/>
                    </a:lnTo>
                    <a:lnTo>
                      <a:pt x="632" y="274"/>
                    </a:lnTo>
                    <a:lnTo>
                      <a:pt x="632" y="274"/>
                    </a:lnTo>
                    <a:lnTo>
                      <a:pt x="634" y="272"/>
                    </a:lnTo>
                    <a:lnTo>
                      <a:pt x="638" y="272"/>
                    </a:lnTo>
                    <a:lnTo>
                      <a:pt x="650" y="278"/>
                    </a:lnTo>
                    <a:lnTo>
                      <a:pt x="660" y="282"/>
                    </a:lnTo>
                    <a:lnTo>
                      <a:pt x="666" y="282"/>
                    </a:lnTo>
                    <a:lnTo>
                      <a:pt x="670" y="280"/>
                    </a:lnTo>
                    <a:lnTo>
                      <a:pt x="670" y="280"/>
                    </a:lnTo>
                    <a:lnTo>
                      <a:pt x="672" y="278"/>
                    </a:lnTo>
                    <a:lnTo>
                      <a:pt x="672" y="276"/>
                    </a:lnTo>
                    <a:lnTo>
                      <a:pt x="670" y="272"/>
                    </a:lnTo>
                    <a:lnTo>
                      <a:pt x="668" y="272"/>
                    </a:lnTo>
                    <a:lnTo>
                      <a:pt x="668" y="270"/>
                    </a:lnTo>
                    <a:lnTo>
                      <a:pt x="670" y="266"/>
                    </a:lnTo>
                    <a:lnTo>
                      <a:pt x="674" y="264"/>
                    </a:lnTo>
                    <a:lnTo>
                      <a:pt x="674" y="2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64" name="Freeform 6115">
                <a:extLst>
                  <a:ext uri="{FF2B5EF4-FFF2-40B4-BE49-F238E27FC236}">
                    <a16:creationId xmlns:a16="http://schemas.microsoft.com/office/drawing/2014/main" id="{F03141EB-4CB1-4BCF-A727-88619382F2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730" y="1203643"/>
                <a:ext cx="165100" cy="125730"/>
              </a:xfrm>
              <a:custGeom>
                <a:avLst/>
                <a:gdLst/>
                <a:ahLst/>
                <a:cxnLst>
                  <a:cxn ang="0">
                    <a:pos x="256" y="98"/>
                  </a:cxn>
                  <a:cxn ang="0">
                    <a:pos x="250" y="90"/>
                  </a:cxn>
                  <a:cxn ang="0">
                    <a:pos x="242" y="92"/>
                  </a:cxn>
                  <a:cxn ang="0">
                    <a:pos x="234" y="94"/>
                  </a:cxn>
                  <a:cxn ang="0">
                    <a:pos x="222" y="84"/>
                  </a:cxn>
                  <a:cxn ang="0">
                    <a:pos x="216" y="74"/>
                  </a:cxn>
                  <a:cxn ang="0">
                    <a:pos x="192" y="60"/>
                  </a:cxn>
                  <a:cxn ang="0">
                    <a:pos x="188" y="56"/>
                  </a:cxn>
                  <a:cxn ang="0">
                    <a:pos x="196" y="52"/>
                  </a:cxn>
                  <a:cxn ang="0">
                    <a:pos x="208" y="48"/>
                  </a:cxn>
                  <a:cxn ang="0">
                    <a:pos x="226" y="42"/>
                  </a:cxn>
                  <a:cxn ang="0">
                    <a:pos x="222" y="38"/>
                  </a:cxn>
                  <a:cxn ang="0">
                    <a:pos x="216" y="32"/>
                  </a:cxn>
                  <a:cxn ang="0">
                    <a:pos x="222" y="24"/>
                  </a:cxn>
                  <a:cxn ang="0">
                    <a:pos x="230" y="20"/>
                  </a:cxn>
                  <a:cxn ang="0">
                    <a:pos x="230" y="10"/>
                  </a:cxn>
                  <a:cxn ang="0">
                    <a:pos x="218" y="4"/>
                  </a:cxn>
                  <a:cxn ang="0">
                    <a:pos x="194" y="4"/>
                  </a:cxn>
                  <a:cxn ang="0">
                    <a:pos x="180" y="8"/>
                  </a:cxn>
                  <a:cxn ang="0">
                    <a:pos x="152" y="12"/>
                  </a:cxn>
                  <a:cxn ang="0">
                    <a:pos x="130" y="6"/>
                  </a:cxn>
                  <a:cxn ang="0">
                    <a:pos x="110" y="0"/>
                  </a:cxn>
                  <a:cxn ang="0">
                    <a:pos x="86" y="4"/>
                  </a:cxn>
                  <a:cxn ang="0">
                    <a:pos x="64" y="14"/>
                  </a:cxn>
                  <a:cxn ang="0">
                    <a:pos x="50" y="24"/>
                  </a:cxn>
                  <a:cxn ang="0">
                    <a:pos x="48" y="34"/>
                  </a:cxn>
                  <a:cxn ang="0">
                    <a:pos x="62" y="44"/>
                  </a:cxn>
                  <a:cxn ang="0">
                    <a:pos x="70" y="48"/>
                  </a:cxn>
                  <a:cxn ang="0">
                    <a:pos x="88" y="58"/>
                  </a:cxn>
                  <a:cxn ang="0">
                    <a:pos x="96" y="68"/>
                  </a:cxn>
                  <a:cxn ang="0">
                    <a:pos x="92" y="78"/>
                  </a:cxn>
                  <a:cxn ang="0">
                    <a:pos x="78" y="88"/>
                  </a:cxn>
                  <a:cxn ang="0">
                    <a:pos x="74" y="88"/>
                  </a:cxn>
                  <a:cxn ang="0">
                    <a:pos x="58" y="86"/>
                  </a:cxn>
                  <a:cxn ang="0">
                    <a:pos x="38" y="74"/>
                  </a:cxn>
                  <a:cxn ang="0">
                    <a:pos x="20" y="64"/>
                  </a:cxn>
                  <a:cxn ang="0">
                    <a:pos x="10" y="64"/>
                  </a:cxn>
                  <a:cxn ang="0">
                    <a:pos x="2" y="72"/>
                  </a:cxn>
                  <a:cxn ang="0">
                    <a:pos x="0" y="78"/>
                  </a:cxn>
                  <a:cxn ang="0">
                    <a:pos x="6" y="94"/>
                  </a:cxn>
                  <a:cxn ang="0">
                    <a:pos x="26" y="110"/>
                  </a:cxn>
                  <a:cxn ang="0">
                    <a:pos x="56" y="124"/>
                  </a:cxn>
                  <a:cxn ang="0">
                    <a:pos x="74" y="132"/>
                  </a:cxn>
                  <a:cxn ang="0">
                    <a:pos x="104" y="148"/>
                  </a:cxn>
                  <a:cxn ang="0">
                    <a:pos x="124" y="168"/>
                  </a:cxn>
                  <a:cxn ang="0">
                    <a:pos x="150" y="194"/>
                  </a:cxn>
                  <a:cxn ang="0">
                    <a:pos x="162" y="198"/>
                  </a:cxn>
                  <a:cxn ang="0">
                    <a:pos x="176" y="194"/>
                  </a:cxn>
                  <a:cxn ang="0">
                    <a:pos x="180" y="184"/>
                  </a:cxn>
                  <a:cxn ang="0">
                    <a:pos x="182" y="174"/>
                  </a:cxn>
                  <a:cxn ang="0">
                    <a:pos x="192" y="170"/>
                  </a:cxn>
                  <a:cxn ang="0">
                    <a:pos x="200" y="172"/>
                  </a:cxn>
                  <a:cxn ang="0">
                    <a:pos x="220" y="170"/>
                  </a:cxn>
                  <a:cxn ang="0">
                    <a:pos x="238" y="162"/>
                  </a:cxn>
                  <a:cxn ang="0">
                    <a:pos x="250" y="148"/>
                  </a:cxn>
                  <a:cxn ang="0">
                    <a:pos x="252" y="138"/>
                  </a:cxn>
                  <a:cxn ang="0">
                    <a:pos x="252" y="124"/>
                  </a:cxn>
                  <a:cxn ang="0">
                    <a:pos x="258" y="114"/>
                  </a:cxn>
                  <a:cxn ang="0">
                    <a:pos x="258" y="106"/>
                  </a:cxn>
                  <a:cxn ang="0">
                    <a:pos x="256" y="98"/>
                  </a:cxn>
                </a:cxnLst>
                <a:rect l="0" t="0" r="r" b="b"/>
                <a:pathLst>
                  <a:path w="260" h="198">
                    <a:moveTo>
                      <a:pt x="256" y="98"/>
                    </a:moveTo>
                    <a:lnTo>
                      <a:pt x="256" y="98"/>
                    </a:lnTo>
                    <a:lnTo>
                      <a:pt x="254" y="92"/>
                    </a:lnTo>
                    <a:lnTo>
                      <a:pt x="250" y="90"/>
                    </a:lnTo>
                    <a:lnTo>
                      <a:pt x="246" y="90"/>
                    </a:lnTo>
                    <a:lnTo>
                      <a:pt x="242" y="92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28" y="90"/>
                    </a:lnTo>
                    <a:lnTo>
                      <a:pt x="222" y="84"/>
                    </a:lnTo>
                    <a:lnTo>
                      <a:pt x="222" y="84"/>
                    </a:lnTo>
                    <a:lnTo>
                      <a:pt x="216" y="74"/>
                    </a:lnTo>
                    <a:lnTo>
                      <a:pt x="208" y="68"/>
                    </a:lnTo>
                    <a:lnTo>
                      <a:pt x="192" y="60"/>
                    </a:lnTo>
                    <a:lnTo>
                      <a:pt x="190" y="58"/>
                    </a:lnTo>
                    <a:lnTo>
                      <a:pt x="188" y="56"/>
                    </a:lnTo>
                    <a:lnTo>
                      <a:pt x="190" y="54"/>
                    </a:lnTo>
                    <a:lnTo>
                      <a:pt x="196" y="52"/>
                    </a:lnTo>
                    <a:lnTo>
                      <a:pt x="208" y="48"/>
                    </a:lnTo>
                    <a:lnTo>
                      <a:pt x="208" y="48"/>
                    </a:lnTo>
                    <a:lnTo>
                      <a:pt x="220" y="46"/>
                    </a:lnTo>
                    <a:lnTo>
                      <a:pt x="226" y="42"/>
                    </a:lnTo>
                    <a:lnTo>
                      <a:pt x="226" y="40"/>
                    </a:lnTo>
                    <a:lnTo>
                      <a:pt x="222" y="38"/>
                    </a:lnTo>
                    <a:lnTo>
                      <a:pt x="218" y="34"/>
                    </a:lnTo>
                    <a:lnTo>
                      <a:pt x="216" y="32"/>
                    </a:lnTo>
                    <a:lnTo>
                      <a:pt x="216" y="28"/>
                    </a:lnTo>
                    <a:lnTo>
                      <a:pt x="222" y="24"/>
                    </a:lnTo>
                    <a:lnTo>
                      <a:pt x="222" y="24"/>
                    </a:lnTo>
                    <a:lnTo>
                      <a:pt x="230" y="20"/>
                    </a:lnTo>
                    <a:lnTo>
                      <a:pt x="232" y="16"/>
                    </a:lnTo>
                    <a:lnTo>
                      <a:pt x="230" y="10"/>
                    </a:lnTo>
                    <a:lnTo>
                      <a:pt x="226" y="6"/>
                    </a:lnTo>
                    <a:lnTo>
                      <a:pt x="218" y="4"/>
                    </a:lnTo>
                    <a:lnTo>
                      <a:pt x="208" y="4"/>
                    </a:lnTo>
                    <a:lnTo>
                      <a:pt x="194" y="4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64" y="12"/>
                    </a:lnTo>
                    <a:lnTo>
                      <a:pt x="152" y="12"/>
                    </a:lnTo>
                    <a:lnTo>
                      <a:pt x="140" y="10"/>
                    </a:lnTo>
                    <a:lnTo>
                      <a:pt x="130" y="6"/>
                    </a:lnTo>
                    <a:lnTo>
                      <a:pt x="120" y="4"/>
                    </a:lnTo>
                    <a:lnTo>
                      <a:pt x="110" y="0"/>
                    </a:lnTo>
                    <a:lnTo>
                      <a:pt x="98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64" y="14"/>
                    </a:lnTo>
                    <a:lnTo>
                      <a:pt x="56" y="20"/>
                    </a:lnTo>
                    <a:lnTo>
                      <a:pt x="50" y="24"/>
                    </a:lnTo>
                    <a:lnTo>
                      <a:pt x="46" y="28"/>
                    </a:lnTo>
                    <a:lnTo>
                      <a:pt x="48" y="34"/>
                    </a:lnTo>
                    <a:lnTo>
                      <a:pt x="52" y="38"/>
                    </a:lnTo>
                    <a:lnTo>
                      <a:pt x="62" y="44"/>
                    </a:lnTo>
                    <a:lnTo>
                      <a:pt x="70" y="48"/>
                    </a:lnTo>
                    <a:lnTo>
                      <a:pt x="70" y="48"/>
                    </a:lnTo>
                    <a:lnTo>
                      <a:pt x="82" y="52"/>
                    </a:lnTo>
                    <a:lnTo>
                      <a:pt x="88" y="58"/>
                    </a:lnTo>
                    <a:lnTo>
                      <a:pt x="94" y="62"/>
                    </a:lnTo>
                    <a:lnTo>
                      <a:pt x="96" y="68"/>
                    </a:lnTo>
                    <a:lnTo>
                      <a:pt x="94" y="74"/>
                    </a:lnTo>
                    <a:lnTo>
                      <a:pt x="92" y="78"/>
                    </a:lnTo>
                    <a:lnTo>
                      <a:pt x="86" y="84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74" y="88"/>
                    </a:lnTo>
                    <a:lnTo>
                      <a:pt x="68" y="90"/>
                    </a:lnTo>
                    <a:lnTo>
                      <a:pt x="58" y="86"/>
                    </a:lnTo>
                    <a:lnTo>
                      <a:pt x="48" y="80"/>
                    </a:lnTo>
                    <a:lnTo>
                      <a:pt x="38" y="74"/>
                    </a:lnTo>
                    <a:lnTo>
                      <a:pt x="28" y="68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0" y="64"/>
                    </a:lnTo>
                    <a:lnTo>
                      <a:pt x="6" y="66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0" y="78"/>
                    </a:lnTo>
                    <a:lnTo>
                      <a:pt x="0" y="86"/>
                    </a:lnTo>
                    <a:lnTo>
                      <a:pt x="6" y="94"/>
                    </a:lnTo>
                    <a:lnTo>
                      <a:pt x="14" y="102"/>
                    </a:lnTo>
                    <a:lnTo>
                      <a:pt x="26" y="110"/>
                    </a:lnTo>
                    <a:lnTo>
                      <a:pt x="40" y="118"/>
                    </a:lnTo>
                    <a:lnTo>
                      <a:pt x="56" y="124"/>
                    </a:lnTo>
                    <a:lnTo>
                      <a:pt x="74" y="132"/>
                    </a:lnTo>
                    <a:lnTo>
                      <a:pt x="74" y="132"/>
                    </a:lnTo>
                    <a:lnTo>
                      <a:pt x="90" y="138"/>
                    </a:lnTo>
                    <a:lnTo>
                      <a:pt x="104" y="148"/>
                    </a:lnTo>
                    <a:lnTo>
                      <a:pt x="116" y="158"/>
                    </a:lnTo>
                    <a:lnTo>
                      <a:pt x="124" y="168"/>
                    </a:lnTo>
                    <a:lnTo>
                      <a:pt x="142" y="188"/>
                    </a:lnTo>
                    <a:lnTo>
                      <a:pt x="150" y="194"/>
                    </a:lnTo>
                    <a:lnTo>
                      <a:pt x="162" y="198"/>
                    </a:lnTo>
                    <a:lnTo>
                      <a:pt x="162" y="198"/>
                    </a:lnTo>
                    <a:lnTo>
                      <a:pt x="170" y="198"/>
                    </a:lnTo>
                    <a:lnTo>
                      <a:pt x="176" y="194"/>
                    </a:lnTo>
                    <a:lnTo>
                      <a:pt x="178" y="190"/>
                    </a:lnTo>
                    <a:lnTo>
                      <a:pt x="180" y="184"/>
                    </a:lnTo>
                    <a:lnTo>
                      <a:pt x="182" y="178"/>
                    </a:lnTo>
                    <a:lnTo>
                      <a:pt x="182" y="174"/>
                    </a:lnTo>
                    <a:lnTo>
                      <a:pt x="186" y="170"/>
                    </a:lnTo>
                    <a:lnTo>
                      <a:pt x="192" y="170"/>
                    </a:lnTo>
                    <a:lnTo>
                      <a:pt x="192" y="170"/>
                    </a:lnTo>
                    <a:lnTo>
                      <a:pt x="200" y="172"/>
                    </a:lnTo>
                    <a:lnTo>
                      <a:pt x="210" y="172"/>
                    </a:lnTo>
                    <a:lnTo>
                      <a:pt x="220" y="170"/>
                    </a:lnTo>
                    <a:lnTo>
                      <a:pt x="230" y="166"/>
                    </a:lnTo>
                    <a:lnTo>
                      <a:pt x="238" y="162"/>
                    </a:lnTo>
                    <a:lnTo>
                      <a:pt x="246" y="156"/>
                    </a:lnTo>
                    <a:lnTo>
                      <a:pt x="250" y="148"/>
                    </a:lnTo>
                    <a:lnTo>
                      <a:pt x="252" y="138"/>
                    </a:lnTo>
                    <a:lnTo>
                      <a:pt x="252" y="138"/>
                    </a:lnTo>
                    <a:lnTo>
                      <a:pt x="252" y="130"/>
                    </a:lnTo>
                    <a:lnTo>
                      <a:pt x="252" y="124"/>
                    </a:lnTo>
                    <a:lnTo>
                      <a:pt x="256" y="118"/>
                    </a:lnTo>
                    <a:lnTo>
                      <a:pt x="258" y="114"/>
                    </a:lnTo>
                    <a:lnTo>
                      <a:pt x="260" y="112"/>
                    </a:lnTo>
                    <a:lnTo>
                      <a:pt x="258" y="106"/>
                    </a:lnTo>
                    <a:lnTo>
                      <a:pt x="256" y="98"/>
                    </a:lnTo>
                    <a:lnTo>
                      <a:pt x="256" y="9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65" name="Freeform 6116">
                <a:extLst>
                  <a:ext uri="{FF2B5EF4-FFF2-40B4-BE49-F238E27FC236}">
                    <a16:creationId xmlns:a16="http://schemas.microsoft.com/office/drawing/2014/main" id="{170CA12A-DB47-4EEB-9B96-2238AF20A6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0060" y="1098233"/>
                <a:ext cx="34290" cy="8890"/>
              </a:xfrm>
              <a:custGeom>
                <a:avLst/>
                <a:gdLst/>
                <a:ahLst/>
                <a:cxnLst>
                  <a:cxn ang="0">
                    <a:pos x="2" y="14"/>
                  </a:cxn>
                  <a:cxn ang="0">
                    <a:pos x="2" y="14"/>
                  </a:cxn>
                  <a:cxn ang="0">
                    <a:pos x="8" y="14"/>
                  </a:cxn>
                  <a:cxn ang="0">
                    <a:pos x="16" y="14"/>
                  </a:cxn>
                  <a:cxn ang="0">
                    <a:pos x="36" y="10"/>
                  </a:cxn>
                  <a:cxn ang="0">
                    <a:pos x="50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18" y="4"/>
                  </a:cxn>
                  <a:cxn ang="0">
                    <a:pos x="2" y="10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</a:cxnLst>
                <a:rect l="0" t="0" r="r" b="b"/>
                <a:pathLst>
                  <a:path w="54" h="14">
                    <a:moveTo>
                      <a:pt x="2" y="14"/>
                    </a:moveTo>
                    <a:lnTo>
                      <a:pt x="2" y="14"/>
                    </a:lnTo>
                    <a:lnTo>
                      <a:pt x="8" y="14"/>
                    </a:lnTo>
                    <a:lnTo>
                      <a:pt x="16" y="14"/>
                    </a:lnTo>
                    <a:lnTo>
                      <a:pt x="36" y="10"/>
                    </a:lnTo>
                    <a:lnTo>
                      <a:pt x="50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48" y="0"/>
                    </a:lnTo>
                    <a:lnTo>
                      <a:pt x="38" y="0"/>
                    </a:lnTo>
                    <a:lnTo>
                      <a:pt x="18" y="4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66" name="Freeform 6117">
                <a:extLst>
                  <a:ext uri="{FF2B5EF4-FFF2-40B4-BE49-F238E27FC236}">
                    <a16:creationId xmlns:a16="http://schemas.microsoft.com/office/drawing/2014/main" id="{1DEC7AD3-BEE9-4DEA-BA20-1079ED2645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200" y="1394143"/>
                <a:ext cx="114300" cy="66040"/>
              </a:xfrm>
              <a:custGeom>
                <a:avLst/>
                <a:gdLst/>
                <a:ahLst/>
                <a:cxnLst>
                  <a:cxn ang="0">
                    <a:pos x="42" y="32"/>
                  </a:cxn>
                  <a:cxn ang="0">
                    <a:pos x="42" y="32"/>
                  </a:cxn>
                  <a:cxn ang="0">
                    <a:pos x="32" y="42"/>
                  </a:cxn>
                  <a:cxn ang="0">
                    <a:pos x="24" y="50"/>
                  </a:cxn>
                  <a:cxn ang="0">
                    <a:pos x="14" y="52"/>
                  </a:cxn>
                  <a:cxn ang="0">
                    <a:pos x="8" y="54"/>
                  </a:cxn>
                  <a:cxn ang="0">
                    <a:pos x="2" y="56"/>
                  </a:cxn>
                  <a:cxn ang="0">
                    <a:pos x="0" y="58"/>
                  </a:cxn>
                  <a:cxn ang="0">
                    <a:pos x="2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20" y="74"/>
                  </a:cxn>
                  <a:cxn ang="0">
                    <a:pos x="34" y="78"/>
                  </a:cxn>
                  <a:cxn ang="0">
                    <a:pos x="72" y="86"/>
                  </a:cxn>
                  <a:cxn ang="0">
                    <a:pos x="72" y="86"/>
                  </a:cxn>
                  <a:cxn ang="0">
                    <a:pos x="84" y="88"/>
                  </a:cxn>
                  <a:cxn ang="0">
                    <a:pos x="94" y="92"/>
                  </a:cxn>
                  <a:cxn ang="0">
                    <a:pos x="112" y="100"/>
                  </a:cxn>
                  <a:cxn ang="0">
                    <a:pos x="120" y="102"/>
                  </a:cxn>
                  <a:cxn ang="0">
                    <a:pos x="128" y="104"/>
                  </a:cxn>
                  <a:cxn ang="0">
                    <a:pos x="136" y="102"/>
                  </a:cxn>
                  <a:cxn ang="0">
                    <a:pos x="142" y="96"/>
                  </a:cxn>
                  <a:cxn ang="0">
                    <a:pos x="142" y="96"/>
                  </a:cxn>
                  <a:cxn ang="0">
                    <a:pos x="150" y="90"/>
                  </a:cxn>
                  <a:cxn ang="0">
                    <a:pos x="156" y="88"/>
                  </a:cxn>
                  <a:cxn ang="0">
                    <a:pos x="164" y="86"/>
                  </a:cxn>
                  <a:cxn ang="0">
                    <a:pos x="170" y="86"/>
                  </a:cxn>
                  <a:cxn ang="0">
                    <a:pos x="174" y="84"/>
                  </a:cxn>
                  <a:cxn ang="0">
                    <a:pos x="178" y="78"/>
                  </a:cxn>
                  <a:cxn ang="0">
                    <a:pos x="178" y="78"/>
                  </a:cxn>
                  <a:cxn ang="0">
                    <a:pos x="180" y="74"/>
                  </a:cxn>
                  <a:cxn ang="0">
                    <a:pos x="180" y="72"/>
                  </a:cxn>
                  <a:cxn ang="0">
                    <a:pos x="174" y="72"/>
                  </a:cxn>
                  <a:cxn ang="0">
                    <a:pos x="170" y="72"/>
                  </a:cxn>
                  <a:cxn ang="0">
                    <a:pos x="164" y="70"/>
                  </a:cxn>
                  <a:cxn ang="0">
                    <a:pos x="158" y="66"/>
                  </a:cxn>
                  <a:cxn ang="0">
                    <a:pos x="152" y="58"/>
                  </a:cxn>
                  <a:cxn ang="0">
                    <a:pos x="152" y="58"/>
                  </a:cxn>
                  <a:cxn ang="0">
                    <a:pos x="148" y="50"/>
                  </a:cxn>
                  <a:cxn ang="0">
                    <a:pos x="144" y="44"/>
                  </a:cxn>
                  <a:cxn ang="0">
                    <a:pos x="140" y="42"/>
                  </a:cxn>
                  <a:cxn ang="0">
                    <a:pos x="136" y="42"/>
                  </a:cxn>
                  <a:cxn ang="0">
                    <a:pos x="124" y="36"/>
                  </a:cxn>
                  <a:cxn ang="0">
                    <a:pos x="116" y="30"/>
                  </a:cxn>
                  <a:cxn ang="0">
                    <a:pos x="106" y="20"/>
                  </a:cxn>
                  <a:cxn ang="0">
                    <a:pos x="106" y="20"/>
                  </a:cxn>
                  <a:cxn ang="0">
                    <a:pos x="94" y="10"/>
                  </a:cxn>
                  <a:cxn ang="0">
                    <a:pos x="86" y="2"/>
                  </a:cxn>
                  <a:cxn ang="0">
                    <a:pos x="78" y="0"/>
                  </a:cxn>
                  <a:cxn ang="0">
                    <a:pos x="70" y="0"/>
                  </a:cxn>
                  <a:cxn ang="0">
                    <a:pos x="64" y="4"/>
                  </a:cxn>
                  <a:cxn ang="0">
                    <a:pos x="56" y="10"/>
                  </a:cxn>
                  <a:cxn ang="0">
                    <a:pos x="42" y="32"/>
                  </a:cxn>
                  <a:cxn ang="0">
                    <a:pos x="42" y="32"/>
                  </a:cxn>
                </a:cxnLst>
                <a:rect l="0" t="0" r="r" b="b"/>
                <a:pathLst>
                  <a:path w="180" h="104">
                    <a:moveTo>
                      <a:pt x="42" y="32"/>
                    </a:moveTo>
                    <a:lnTo>
                      <a:pt x="42" y="32"/>
                    </a:lnTo>
                    <a:lnTo>
                      <a:pt x="32" y="42"/>
                    </a:lnTo>
                    <a:lnTo>
                      <a:pt x="24" y="50"/>
                    </a:lnTo>
                    <a:lnTo>
                      <a:pt x="14" y="52"/>
                    </a:lnTo>
                    <a:lnTo>
                      <a:pt x="8" y="54"/>
                    </a:lnTo>
                    <a:lnTo>
                      <a:pt x="2" y="56"/>
                    </a:lnTo>
                    <a:lnTo>
                      <a:pt x="0" y="58"/>
                    </a:lnTo>
                    <a:lnTo>
                      <a:pt x="2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20" y="74"/>
                    </a:lnTo>
                    <a:lnTo>
                      <a:pt x="34" y="78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84" y="88"/>
                    </a:lnTo>
                    <a:lnTo>
                      <a:pt x="94" y="92"/>
                    </a:lnTo>
                    <a:lnTo>
                      <a:pt x="112" y="100"/>
                    </a:lnTo>
                    <a:lnTo>
                      <a:pt x="120" y="102"/>
                    </a:lnTo>
                    <a:lnTo>
                      <a:pt x="128" y="104"/>
                    </a:lnTo>
                    <a:lnTo>
                      <a:pt x="136" y="102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50" y="90"/>
                    </a:lnTo>
                    <a:lnTo>
                      <a:pt x="156" y="88"/>
                    </a:lnTo>
                    <a:lnTo>
                      <a:pt x="164" y="86"/>
                    </a:lnTo>
                    <a:lnTo>
                      <a:pt x="170" y="86"/>
                    </a:lnTo>
                    <a:lnTo>
                      <a:pt x="174" y="84"/>
                    </a:lnTo>
                    <a:lnTo>
                      <a:pt x="178" y="78"/>
                    </a:lnTo>
                    <a:lnTo>
                      <a:pt x="178" y="78"/>
                    </a:lnTo>
                    <a:lnTo>
                      <a:pt x="180" y="74"/>
                    </a:lnTo>
                    <a:lnTo>
                      <a:pt x="180" y="72"/>
                    </a:lnTo>
                    <a:lnTo>
                      <a:pt x="174" y="72"/>
                    </a:lnTo>
                    <a:lnTo>
                      <a:pt x="170" y="72"/>
                    </a:lnTo>
                    <a:lnTo>
                      <a:pt x="164" y="70"/>
                    </a:lnTo>
                    <a:lnTo>
                      <a:pt x="158" y="66"/>
                    </a:lnTo>
                    <a:lnTo>
                      <a:pt x="152" y="58"/>
                    </a:lnTo>
                    <a:lnTo>
                      <a:pt x="152" y="58"/>
                    </a:lnTo>
                    <a:lnTo>
                      <a:pt x="148" y="50"/>
                    </a:lnTo>
                    <a:lnTo>
                      <a:pt x="144" y="44"/>
                    </a:lnTo>
                    <a:lnTo>
                      <a:pt x="140" y="42"/>
                    </a:lnTo>
                    <a:lnTo>
                      <a:pt x="136" y="42"/>
                    </a:lnTo>
                    <a:lnTo>
                      <a:pt x="124" y="36"/>
                    </a:lnTo>
                    <a:lnTo>
                      <a:pt x="116" y="30"/>
                    </a:lnTo>
                    <a:lnTo>
                      <a:pt x="106" y="20"/>
                    </a:lnTo>
                    <a:lnTo>
                      <a:pt x="106" y="20"/>
                    </a:lnTo>
                    <a:lnTo>
                      <a:pt x="94" y="10"/>
                    </a:lnTo>
                    <a:lnTo>
                      <a:pt x="86" y="2"/>
                    </a:lnTo>
                    <a:lnTo>
                      <a:pt x="78" y="0"/>
                    </a:lnTo>
                    <a:lnTo>
                      <a:pt x="70" y="0"/>
                    </a:lnTo>
                    <a:lnTo>
                      <a:pt x="64" y="4"/>
                    </a:lnTo>
                    <a:lnTo>
                      <a:pt x="56" y="10"/>
                    </a:lnTo>
                    <a:lnTo>
                      <a:pt x="42" y="32"/>
                    </a:lnTo>
                    <a:lnTo>
                      <a:pt x="42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67" name="Freeform 6118">
                <a:extLst>
                  <a:ext uri="{FF2B5EF4-FFF2-40B4-BE49-F238E27FC236}">
                    <a16:creationId xmlns:a16="http://schemas.microsoft.com/office/drawing/2014/main" id="{B582EADF-956E-496C-92BD-43C5229770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9839" y="699453"/>
                <a:ext cx="1550670" cy="1127760"/>
              </a:xfrm>
              <a:custGeom>
                <a:avLst/>
                <a:gdLst/>
                <a:ahLst/>
                <a:cxnLst>
                  <a:cxn ang="0">
                    <a:pos x="220" y="296"/>
                  </a:cxn>
                  <a:cxn ang="0">
                    <a:pos x="150" y="400"/>
                  </a:cxn>
                  <a:cxn ang="0">
                    <a:pos x="96" y="502"/>
                  </a:cxn>
                  <a:cxn ang="0">
                    <a:pos x="62" y="558"/>
                  </a:cxn>
                  <a:cxn ang="0">
                    <a:pos x="228" y="618"/>
                  </a:cxn>
                  <a:cxn ang="0">
                    <a:pos x="350" y="620"/>
                  </a:cxn>
                  <a:cxn ang="0">
                    <a:pos x="584" y="666"/>
                  </a:cxn>
                  <a:cxn ang="0">
                    <a:pos x="674" y="786"/>
                  </a:cxn>
                  <a:cxn ang="0">
                    <a:pos x="706" y="902"/>
                  </a:cxn>
                  <a:cxn ang="0">
                    <a:pos x="744" y="990"/>
                  </a:cxn>
                  <a:cxn ang="0">
                    <a:pos x="836" y="1010"/>
                  </a:cxn>
                  <a:cxn ang="0">
                    <a:pos x="750" y="1050"/>
                  </a:cxn>
                  <a:cxn ang="0">
                    <a:pos x="890" y="1110"/>
                  </a:cxn>
                  <a:cxn ang="0">
                    <a:pos x="788" y="1212"/>
                  </a:cxn>
                  <a:cxn ang="0">
                    <a:pos x="782" y="1328"/>
                  </a:cxn>
                  <a:cxn ang="0">
                    <a:pos x="834" y="1452"/>
                  </a:cxn>
                  <a:cxn ang="0">
                    <a:pos x="922" y="1474"/>
                  </a:cxn>
                  <a:cxn ang="0">
                    <a:pos x="860" y="1502"/>
                  </a:cxn>
                  <a:cxn ang="0">
                    <a:pos x="908" y="1598"/>
                  </a:cxn>
                  <a:cxn ang="0">
                    <a:pos x="966" y="1678"/>
                  </a:cxn>
                  <a:cxn ang="0">
                    <a:pos x="1032" y="1712"/>
                  </a:cxn>
                  <a:cxn ang="0">
                    <a:pos x="1090" y="1738"/>
                  </a:cxn>
                  <a:cxn ang="0">
                    <a:pos x="1196" y="1768"/>
                  </a:cxn>
                  <a:cxn ang="0">
                    <a:pos x="1232" y="1622"/>
                  </a:cxn>
                  <a:cxn ang="0">
                    <a:pos x="1262" y="1566"/>
                  </a:cxn>
                  <a:cxn ang="0">
                    <a:pos x="1262" y="1486"/>
                  </a:cxn>
                  <a:cxn ang="0">
                    <a:pos x="1332" y="1420"/>
                  </a:cxn>
                  <a:cxn ang="0">
                    <a:pos x="1402" y="1376"/>
                  </a:cxn>
                  <a:cxn ang="0">
                    <a:pos x="1412" y="1372"/>
                  </a:cxn>
                  <a:cxn ang="0">
                    <a:pos x="1468" y="1372"/>
                  </a:cxn>
                  <a:cxn ang="0">
                    <a:pos x="1628" y="1238"/>
                  </a:cxn>
                  <a:cxn ang="0">
                    <a:pos x="1748" y="1208"/>
                  </a:cxn>
                  <a:cxn ang="0">
                    <a:pos x="2012" y="1102"/>
                  </a:cxn>
                  <a:cxn ang="0">
                    <a:pos x="1846" y="1076"/>
                  </a:cxn>
                  <a:cxn ang="0">
                    <a:pos x="1800" y="1058"/>
                  </a:cxn>
                  <a:cxn ang="0">
                    <a:pos x="1842" y="970"/>
                  </a:cxn>
                  <a:cxn ang="0">
                    <a:pos x="2060" y="1056"/>
                  </a:cxn>
                  <a:cxn ang="0">
                    <a:pos x="2054" y="956"/>
                  </a:cxn>
                  <a:cxn ang="0">
                    <a:pos x="1916" y="858"/>
                  </a:cxn>
                  <a:cxn ang="0">
                    <a:pos x="2100" y="830"/>
                  </a:cxn>
                  <a:cxn ang="0">
                    <a:pos x="2142" y="768"/>
                  </a:cxn>
                  <a:cxn ang="0">
                    <a:pos x="2154" y="698"/>
                  </a:cxn>
                  <a:cxn ang="0">
                    <a:pos x="2066" y="608"/>
                  </a:cxn>
                  <a:cxn ang="0">
                    <a:pos x="2144" y="562"/>
                  </a:cxn>
                  <a:cxn ang="0">
                    <a:pos x="2144" y="504"/>
                  </a:cxn>
                  <a:cxn ang="0">
                    <a:pos x="2096" y="408"/>
                  </a:cxn>
                  <a:cxn ang="0">
                    <a:pos x="2228" y="310"/>
                  </a:cxn>
                  <a:cxn ang="0">
                    <a:pos x="2278" y="276"/>
                  </a:cxn>
                  <a:cxn ang="0">
                    <a:pos x="2298" y="244"/>
                  </a:cxn>
                  <a:cxn ang="0">
                    <a:pos x="2322" y="150"/>
                  </a:cxn>
                  <a:cxn ang="0">
                    <a:pos x="2050" y="210"/>
                  </a:cxn>
                  <a:cxn ang="0">
                    <a:pos x="1962" y="152"/>
                  </a:cxn>
                  <a:cxn ang="0">
                    <a:pos x="1616" y="174"/>
                  </a:cxn>
                  <a:cxn ang="0">
                    <a:pos x="2034" y="78"/>
                  </a:cxn>
                  <a:cxn ang="0">
                    <a:pos x="1724" y="52"/>
                  </a:cxn>
                  <a:cxn ang="0">
                    <a:pos x="1618" y="2"/>
                  </a:cxn>
                  <a:cxn ang="0">
                    <a:pos x="1402" y="44"/>
                  </a:cxn>
                  <a:cxn ang="0">
                    <a:pos x="1048" y="56"/>
                  </a:cxn>
                  <a:cxn ang="0">
                    <a:pos x="1110" y="74"/>
                  </a:cxn>
                  <a:cxn ang="0">
                    <a:pos x="1108" y="158"/>
                  </a:cxn>
                  <a:cxn ang="0">
                    <a:pos x="900" y="148"/>
                  </a:cxn>
                  <a:cxn ang="0">
                    <a:pos x="756" y="114"/>
                  </a:cxn>
                </a:cxnLst>
                <a:rect l="0" t="0" r="r" b="b"/>
                <a:pathLst>
                  <a:path w="2442" h="1776">
                    <a:moveTo>
                      <a:pt x="470" y="176"/>
                    </a:moveTo>
                    <a:lnTo>
                      <a:pt x="470" y="176"/>
                    </a:lnTo>
                    <a:lnTo>
                      <a:pt x="476" y="186"/>
                    </a:lnTo>
                    <a:lnTo>
                      <a:pt x="478" y="194"/>
                    </a:lnTo>
                    <a:lnTo>
                      <a:pt x="480" y="202"/>
                    </a:lnTo>
                    <a:lnTo>
                      <a:pt x="478" y="210"/>
                    </a:lnTo>
                    <a:lnTo>
                      <a:pt x="474" y="216"/>
                    </a:lnTo>
                    <a:lnTo>
                      <a:pt x="466" y="218"/>
                    </a:lnTo>
                    <a:lnTo>
                      <a:pt x="458" y="220"/>
                    </a:lnTo>
                    <a:lnTo>
                      <a:pt x="446" y="218"/>
                    </a:lnTo>
                    <a:lnTo>
                      <a:pt x="446" y="218"/>
                    </a:lnTo>
                    <a:lnTo>
                      <a:pt x="426" y="212"/>
                    </a:lnTo>
                    <a:lnTo>
                      <a:pt x="406" y="210"/>
                    </a:lnTo>
                    <a:lnTo>
                      <a:pt x="386" y="210"/>
                    </a:lnTo>
                    <a:lnTo>
                      <a:pt x="368" y="212"/>
                    </a:lnTo>
                    <a:lnTo>
                      <a:pt x="350" y="216"/>
                    </a:lnTo>
                    <a:lnTo>
                      <a:pt x="334" y="222"/>
                    </a:lnTo>
                    <a:lnTo>
                      <a:pt x="318" y="230"/>
                    </a:lnTo>
                    <a:lnTo>
                      <a:pt x="304" y="238"/>
                    </a:lnTo>
                    <a:lnTo>
                      <a:pt x="304" y="238"/>
                    </a:lnTo>
                    <a:lnTo>
                      <a:pt x="272" y="256"/>
                    </a:lnTo>
                    <a:lnTo>
                      <a:pt x="244" y="270"/>
                    </a:lnTo>
                    <a:lnTo>
                      <a:pt x="232" y="276"/>
                    </a:lnTo>
                    <a:lnTo>
                      <a:pt x="222" y="284"/>
                    </a:lnTo>
                    <a:lnTo>
                      <a:pt x="218" y="290"/>
                    </a:lnTo>
                    <a:lnTo>
                      <a:pt x="218" y="292"/>
                    </a:lnTo>
                    <a:lnTo>
                      <a:pt x="220" y="296"/>
                    </a:lnTo>
                    <a:lnTo>
                      <a:pt x="220" y="296"/>
                    </a:lnTo>
                    <a:lnTo>
                      <a:pt x="226" y="300"/>
                    </a:lnTo>
                    <a:lnTo>
                      <a:pt x="234" y="304"/>
                    </a:lnTo>
                    <a:lnTo>
                      <a:pt x="244" y="308"/>
                    </a:lnTo>
                    <a:lnTo>
                      <a:pt x="256" y="308"/>
                    </a:lnTo>
                    <a:lnTo>
                      <a:pt x="280" y="308"/>
                    </a:lnTo>
                    <a:lnTo>
                      <a:pt x="302" y="306"/>
                    </a:lnTo>
                    <a:lnTo>
                      <a:pt x="302" y="306"/>
                    </a:lnTo>
                    <a:lnTo>
                      <a:pt x="310" y="306"/>
                    </a:lnTo>
                    <a:lnTo>
                      <a:pt x="316" y="310"/>
                    </a:lnTo>
                    <a:lnTo>
                      <a:pt x="318" y="318"/>
                    </a:lnTo>
                    <a:lnTo>
                      <a:pt x="320" y="326"/>
                    </a:lnTo>
                    <a:lnTo>
                      <a:pt x="318" y="338"/>
                    </a:lnTo>
                    <a:lnTo>
                      <a:pt x="314" y="348"/>
                    </a:lnTo>
                    <a:lnTo>
                      <a:pt x="308" y="360"/>
                    </a:lnTo>
                    <a:lnTo>
                      <a:pt x="300" y="370"/>
                    </a:lnTo>
                    <a:lnTo>
                      <a:pt x="300" y="370"/>
                    </a:lnTo>
                    <a:lnTo>
                      <a:pt x="290" y="380"/>
                    </a:lnTo>
                    <a:lnTo>
                      <a:pt x="280" y="384"/>
                    </a:lnTo>
                    <a:lnTo>
                      <a:pt x="268" y="386"/>
                    </a:lnTo>
                    <a:lnTo>
                      <a:pt x="254" y="386"/>
                    </a:lnTo>
                    <a:lnTo>
                      <a:pt x="224" y="382"/>
                    </a:lnTo>
                    <a:lnTo>
                      <a:pt x="206" y="382"/>
                    </a:lnTo>
                    <a:lnTo>
                      <a:pt x="188" y="384"/>
                    </a:lnTo>
                    <a:lnTo>
                      <a:pt x="188" y="384"/>
                    </a:lnTo>
                    <a:lnTo>
                      <a:pt x="172" y="388"/>
                    </a:lnTo>
                    <a:lnTo>
                      <a:pt x="162" y="392"/>
                    </a:lnTo>
                    <a:lnTo>
                      <a:pt x="154" y="396"/>
                    </a:lnTo>
                    <a:lnTo>
                      <a:pt x="150" y="400"/>
                    </a:lnTo>
                    <a:lnTo>
                      <a:pt x="142" y="404"/>
                    </a:lnTo>
                    <a:lnTo>
                      <a:pt x="130" y="408"/>
                    </a:lnTo>
                    <a:lnTo>
                      <a:pt x="112" y="412"/>
                    </a:lnTo>
                    <a:lnTo>
                      <a:pt x="84" y="418"/>
                    </a:lnTo>
                    <a:lnTo>
                      <a:pt x="84" y="418"/>
                    </a:lnTo>
                    <a:lnTo>
                      <a:pt x="54" y="422"/>
                    </a:lnTo>
                    <a:lnTo>
                      <a:pt x="32" y="428"/>
                    </a:lnTo>
                    <a:lnTo>
                      <a:pt x="16" y="434"/>
                    </a:lnTo>
                    <a:lnTo>
                      <a:pt x="4" y="440"/>
                    </a:lnTo>
                    <a:lnTo>
                      <a:pt x="0" y="448"/>
                    </a:lnTo>
                    <a:lnTo>
                      <a:pt x="0" y="456"/>
                    </a:lnTo>
                    <a:lnTo>
                      <a:pt x="4" y="464"/>
                    </a:lnTo>
                    <a:lnTo>
                      <a:pt x="12" y="472"/>
                    </a:lnTo>
                    <a:lnTo>
                      <a:pt x="12" y="472"/>
                    </a:lnTo>
                    <a:lnTo>
                      <a:pt x="20" y="478"/>
                    </a:lnTo>
                    <a:lnTo>
                      <a:pt x="28" y="482"/>
                    </a:lnTo>
                    <a:lnTo>
                      <a:pt x="38" y="484"/>
                    </a:lnTo>
                    <a:lnTo>
                      <a:pt x="48" y="484"/>
                    </a:lnTo>
                    <a:lnTo>
                      <a:pt x="52" y="486"/>
                    </a:lnTo>
                    <a:lnTo>
                      <a:pt x="56" y="490"/>
                    </a:lnTo>
                    <a:lnTo>
                      <a:pt x="56" y="490"/>
                    </a:lnTo>
                    <a:lnTo>
                      <a:pt x="62" y="494"/>
                    </a:lnTo>
                    <a:lnTo>
                      <a:pt x="68" y="496"/>
                    </a:lnTo>
                    <a:lnTo>
                      <a:pt x="78" y="496"/>
                    </a:lnTo>
                    <a:lnTo>
                      <a:pt x="88" y="496"/>
                    </a:lnTo>
                    <a:lnTo>
                      <a:pt x="92" y="498"/>
                    </a:lnTo>
                    <a:lnTo>
                      <a:pt x="96" y="502"/>
                    </a:lnTo>
                    <a:lnTo>
                      <a:pt x="96" y="502"/>
                    </a:lnTo>
                    <a:lnTo>
                      <a:pt x="102" y="506"/>
                    </a:lnTo>
                    <a:lnTo>
                      <a:pt x="108" y="510"/>
                    </a:lnTo>
                    <a:lnTo>
                      <a:pt x="116" y="514"/>
                    </a:lnTo>
                    <a:lnTo>
                      <a:pt x="124" y="514"/>
                    </a:lnTo>
                    <a:lnTo>
                      <a:pt x="144" y="516"/>
                    </a:lnTo>
                    <a:lnTo>
                      <a:pt x="174" y="516"/>
                    </a:lnTo>
                    <a:lnTo>
                      <a:pt x="174" y="516"/>
                    </a:lnTo>
                    <a:lnTo>
                      <a:pt x="192" y="516"/>
                    </a:lnTo>
                    <a:lnTo>
                      <a:pt x="208" y="514"/>
                    </a:lnTo>
                    <a:lnTo>
                      <a:pt x="238" y="508"/>
                    </a:lnTo>
                    <a:lnTo>
                      <a:pt x="250" y="506"/>
                    </a:lnTo>
                    <a:lnTo>
                      <a:pt x="260" y="506"/>
                    </a:lnTo>
                    <a:lnTo>
                      <a:pt x="268" y="506"/>
                    </a:lnTo>
                    <a:lnTo>
                      <a:pt x="272" y="512"/>
                    </a:lnTo>
                    <a:lnTo>
                      <a:pt x="272" y="512"/>
                    </a:lnTo>
                    <a:lnTo>
                      <a:pt x="272" y="516"/>
                    </a:lnTo>
                    <a:lnTo>
                      <a:pt x="268" y="520"/>
                    </a:lnTo>
                    <a:lnTo>
                      <a:pt x="260" y="524"/>
                    </a:lnTo>
                    <a:lnTo>
                      <a:pt x="248" y="524"/>
                    </a:lnTo>
                    <a:lnTo>
                      <a:pt x="174" y="528"/>
                    </a:lnTo>
                    <a:lnTo>
                      <a:pt x="174" y="528"/>
                    </a:lnTo>
                    <a:lnTo>
                      <a:pt x="128" y="534"/>
                    </a:lnTo>
                    <a:lnTo>
                      <a:pt x="106" y="538"/>
                    </a:lnTo>
                    <a:lnTo>
                      <a:pt x="86" y="542"/>
                    </a:lnTo>
                    <a:lnTo>
                      <a:pt x="72" y="546"/>
                    </a:lnTo>
                    <a:lnTo>
                      <a:pt x="62" y="552"/>
                    </a:lnTo>
                    <a:lnTo>
                      <a:pt x="60" y="554"/>
                    </a:lnTo>
                    <a:lnTo>
                      <a:pt x="62" y="558"/>
                    </a:lnTo>
                    <a:lnTo>
                      <a:pt x="64" y="562"/>
                    </a:lnTo>
                    <a:lnTo>
                      <a:pt x="68" y="564"/>
                    </a:lnTo>
                    <a:lnTo>
                      <a:pt x="68" y="564"/>
                    </a:lnTo>
                    <a:lnTo>
                      <a:pt x="84" y="570"/>
                    </a:lnTo>
                    <a:lnTo>
                      <a:pt x="102" y="574"/>
                    </a:lnTo>
                    <a:lnTo>
                      <a:pt x="140" y="580"/>
                    </a:lnTo>
                    <a:lnTo>
                      <a:pt x="154" y="584"/>
                    </a:lnTo>
                    <a:lnTo>
                      <a:pt x="162" y="586"/>
                    </a:lnTo>
                    <a:lnTo>
                      <a:pt x="162" y="588"/>
                    </a:lnTo>
                    <a:lnTo>
                      <a:pt x="160" y="590"/>
                    </a:lnTo>
                    <a:lnTo>
                      <a:pt x="148" y="594"/>
                    </a:lnTo>
                    <a:lnTo>
                      <a:pt x="148" y="594"/>
                    </a:lnTo>
                    <a:lnTo>
                      <a:pt x="136" y="598"/>
                    </a:lnTo>
                    <a:lnTo>
                      <a:pt x="132" y="602"/>
                    </a:lnTo>
                    <a:lnTo>
                      <a:pt x="132" y="604"/>
                    </a:lnTo>
                    <a:lnTo>
                      <a:pt x="132" y="606"/>
                    </a:lnTo>
                    <a:lnTo>
                      <a:pt x="136" y="608"/>
                    </a:lnTo>
                    <a:lnTo>
                      <a:pt x="146" y="614"/>
                    </a:lnTo>
                    <a:lnTo>
                      <a:pt x="182" y="624"/>
                    </a:lnTo>
                    <a:lnTo>
                      <a:pt x="224" y="636"/>
                    </a:lnTo>
                    <a:lnTo>
                      <a:pt x="224" y="636"/>
                    </a:lnTo>
                    <a:lnTo>
                      <a:pt x="242" y="642"/>
                    </a:lnTo>
                    <a:lnTo>
                      <a:pt x="248" y="642"/>
                    </a:lnTo>
                    <a:lnTo>
                      <a:pt x="248" y="642"/>
                    </a:lnTo>
                    <a:lnTo>
                      <a:pt x="248" y="640"/>
                    </a:lnTo>
                    <a:lnTo>
                      <a:pt x="242" y="634"/>
                    </a:lnTo>
                    <a:lnTo>
                      <a:pt x="230" y="622"/>
                    </a:lnTo>
                    <a:lnTo>
                      <a:pt x="228" y="618"/>
                    </a:lnTo>
                    <a:lnTo>
                      <a:pt x="228" y="616"/>
                    </a:lnTo>
                    <a:lnTo>
                      <a:pt x="232" y="614"/>
                    </a:lnTo>
                    <a:lnTo>
                      <a:pt x="232" y="614"/>
                    </a:lnTo>
                    <a:lnTo>
                      <a:pt x="238" y="612"/>
                    </a:lnTo>
                    <a:lnTo>
                      <a:pt x="242" y="614"/>
                    </a:lnTo>
                    <a:lnTo>
                      <a:pt x="246" y="620"/>
                    </a:lnTo>
                    <a:lnTo>
                      <a:pt x="250" y="622"/>
                    </a:lnTo>
                    <a:lnTo>
                      <a:pt x="254" y="622"/>
                    </a:lnTo>
                    <a:lnTo>
                      <a:pt x="262" y="622"/>
                    </a:lnTo>
                    <a:lnTo>
                      <a:pt x="272" y="618"/>
                    </a:lnTo>
                    <a:lnTo>
                      <a:pt x="272" y="618"/>
                    </a:lnTo>
                    <a:lnTo>
                      <a:pt x="282" y="614"/>
                    </a:lnTo>
                    <a:lnTo>
                      <a:pt x="286" y="614"/>
                    </a:lnTo>
                    <a:lnTo>
                      <a:pt x="286" y="616"/>
                    </a:lnTo>
                    <a:lnTo>
                      <a:pt x="286" y="618"/>
                    </a:lnTo>
                    <a:lnTo>
                      <a:pt x="284" y="622"/>
                    </a:lnTo>
                    <a:lnTo>
                      <a:pt x="286" y="626"/>
                    </a:lnTo>
                    <a:lnTo>
                      <a:pt x="290" y="630"/>
                    </a:lnTo>
                    <a:lnTo>
                      <a:pt x="300" y="630"/>
                    </a:lnTo>
                    <a:lnTo>
                      <a:pt x="300" y="630"/>
                    </a:lnTo>
                    <a:lnTo>
                      <a:pt x="312" y="630"/>
                    </a:lnTo>
                    <a:lnTo>
                      <a:pt x="320" y="626"/>
                    </a:lnTo>
                    <a:lnTo>
                      <a:pt x="326" y="622"/>
                    </a:lnTo>
                    <a:lnTo>
                      <a:pt x="330" y="618"/>
                    </a:lnTo>
                    <a:lnTo>
                      <a:pt x="334" y="616"/>
                    </a:lnTo>
                    <a:lnTo>
                      <a:pt x="338" y="614"/>
                    </a:lnTo>
                    <a:lnTo>
                      <a:pt x="344" y="614"/>
                    </a:lnTo>
                    <a:lnTo>
                      <a:pt x="350" y="620"/>
                    </a:lnTo>
                    <a:lnTo>
                      <a:pt x="350" y="620"/>
                    </a:lnTo>
                    <a:lnTo>
                      <a:pt x="358" y="624"/>
                    </a:lnTo>
                    <a:lnTo>
                      <a:pt x="364" y="624"/>
                    </a:lnTo>
                    <a:lnTo>
                      <a:pt x="368" y="622"/>
                    </a:lnTo>
                    <a:lnTo>
                      <a:pt x="370" y="618"/>
                    </a:lnTo>
                    <a:lnTo>
                      <a:pt x="374" y="614"/>
                    </a:lnTo>
                    <a:lnTo>
                      <a:pt x="380" y="610"/>
                    </a:lnTo>
                    <a:lnTo>
                      <a:pt x="386" y="610"/>
                    </a:lnTo>
                    <a:lnTo>
                      <a:pt x="396" y="612"/>
                    </a:lnTo>
                    <a:lnTo>
                      <a:pt x="396" y="612"/>
                    </a:lnTo>
                    <a:lnTo>
                      <a:pt x="408" y="616"/>
                    </a:lnTo>
                    <a:lnTo>
                      <a:pt x="420" y="618"/>
                    </a:lnTo>
                    <a:lnTo>
                      <a:pt x="446" y="618"/>
                    </a:lnTo>
                    <a:lnTo>
                      <a:pt x="468" y="620"/>
                    </a:lnTo>
                    <a:lnTo>
                      <a:pt x="476" y="622"/>
                    </a:lnTo>
                    <a:lnTo>
                      <a:pt x="484" y="628"/>
                    </a:lnTo>
                    <a:lnTo>
                      <a:pt x="484" y="628"/>
                    </a:lnTo>
                    <a:lnTo>
                      <a:pt x="488" y="632"/>
                    </a:lnTo>
                    <a:lnTo>
                      <a:pt x="492" y="634"/>
                    </a:lnTo>
                    <a:lnTo>
                      <a:pt x="500" y="634"/>
                    </a:lnTo>
                    <a:lnTo>
                      <a:pt x="506" y="634"/>
                    </a:lnTo>
                    <a:lnTo>
                      <a:pt x="512" y="634"/>
                    </a:lnTo>
                    <a:lnTo>
                      <a:pt x="522" y="638"/>
                    </a:lnTo>
                    <a:lnTo>
                      <a:pt x="534" y="642"/>
                    </a:lnTo>
                    <a:lnTo>
                      <a:pt x="534" y="642"/>
                    </a:lnTo>
                    <a:lnTo>
                      <a:pt x="560" y="654"/>
                    </a:lnTo>
                    <a:lnTo>
                      <a:pt x="578" y="664"/>
                    </a:lnTo>
                    <a:lnTo>
                      <a:pt x="584" y="666"/>
                    </a:lnTo>
                    <a:lnTo>
                      <a:pt x="584" y="670"/>
                    </a:lnTo>
                    <a:lnTo>
                      <a:pt x="584" y="674"/>
                    </a:lnTo>
                    <a:lnTo>
                      <a:pt x="578" y="680"/>
                    </a:lnTo>
                    <a:lnTo>
                      <a:pt x="578" y="680"/>
                    </a:lnTo>
                    <a:lnTo>
                      <a:pt x="576" y="684"/>
                    </a:lnTo>
                    <a:lnTo>
                      <a:pt x="576" y="688"/>
                    </a:lnTo>
                    <a:lnTo>
                      <a:pt x="578" y="692"/>
                    </a:lnTo>
                    <a:lnTo>
                      <a:pt x="582" y="696"/>
                    </a:lnTo>
                    <a:lnTo>
                      <a:pt x="596" y="704"/>
                    </a:lnTo>
                    <a:lnTo>
                      <a:pt x="612" y="714"/>
                    </a:lnTo>
                    <a:lnTo>
                      <a:pt x="642" y="734"/>
                    </a:lnTo>
                    <a:lnTo>
                      <a:pt x="652" y="742"/>
                    </a:lnTo>
                    <a:lnTo>
                      <a:pt x="654" y="746"/>
                    </a:lnTo>
                    <a:lnTo>
                      <a:pt x="654" y="750"/>
                    </a:lnTo>
                    <a:lnTo>
                      <a:pt x="654" y="750"/>
                    </a:lnTo>
                    <a:lnTo>
                      <a:pt x="650" y="756"/>
                    </a:lnTo>
                    <a:lnTo>
                      <a:pt x="644" y="764"/>
                    </a:lnTo>
                    <a:lnTo>
                      <a:pt x="632" y="776"/>
                    </a:lnTo>
                    <a:lnTo>
                      <a:pt x="628" y="780"/>
                    </a:lnTo>
                    <a:lnTo>
                      <a:pt x="628" y="782"/>
                    </a:lnTo>
                    <a:lnTo>
                      <a:pt x="632" y="784"/>
                    </a:lnTo>
                    <a:lnTo>
                      <a:pt x="642" y="780"/>
                    </a:lnTo>
                    <a:lnTo>
                      <a:pt x="642" y="780"/>
                    </a:lnTo>
                    <a:lnTo>
                      <a:pt x="660" y="776"/>
                    </a:lnTo>
                    <a:lnTo>
                      <a:pt x="666" y="776"/>
                    </a:lnTo>
                    <a:lnTo>
                      <a:pt x="668" y="776"/>
                    </a:lnTo>
                    <a:lnTo>
                      <a:pt x="670" y="782"/>
                    </a:lnTo>
                    <a:lnTo>
                      <a:pt x="674" y="786"/>
                    </a:lnTo>
                    <a:lnTo>
                      <a:pt x="678" y="790"/>
                    </a:lnTo>
                    <a:lnTo>
                      <a:pt x="678" y="790"/>
                    </a:lnTo>
                    <a:lnTo>
                      <a:pt x="684" y="794"/>
                    </a:lnTo>
                    <a:lnTo>
                      <a:pt x="686" y="798"/>
                    </a:lnTo>
                    <a:lnTo>
                      <a:pt x="684" y="802"/>
                    </a:lnTo>
                    <a:lnTo>
                      <a:pt x="682" y="806"/>
                    </a:lnTo>
                    <a:lnTo>
                      <a:pt x="680" y="810"/>
                    </a:lnTo>
                    <a:lnTo>
                      <a:pt x="680" y="814"/>
                    </a:lnTo>
                    <a:lnTo>
                      <a:pt x="686" y="818"/>
                    </a:lnTo>
                    <a:lnTo>
                      <a:pt x="696" y="824"/>
                    </a:lnTo>
                    <a:lnTo>
                      <a:pt x="696" y="824"/>
                    </a:lnTo>
                    <a:lnTo>
                      <a:pt x="704" y="828"/>
                    </a:lnTo>
                    <a:lnTo>
                      <a:pt x="708" y="834"/>
                    </a:lnTo>
                    <a:lnTo>
                      <a:pt x="706" y="838"/>
                    </a:lnTo>
                    <a:lnTo>
                      <a:pt x="702" y="844"/>
                    </a:lnTo>
                    <a:lnTo>
                      <a:pt x="700" y="850"/>
                    </a:lnTo>
                    <a:lnTo>
                      <a:pt x="698" y="854"/>
                    </a:lnTo>
                    <a:lnTo>
                      <a:pt x="702" y="858"/>
                    </a:lnTo>
                    <a:lnTo>
                      <a:pt x="710" y="862"/>
                    </a:lnTo>
                    <a:lnTo>
                      <a:pt x="710" y="862"/>
                    </a:lnTo>
                    <a:lnTo>
                      <a:pt x="720" y="864"/>
                    </a:lnTo>
                    <a:lnTo>
                      <a:pt x="726" y="870"/>
                    </a:lnTo>
                    <a:lnTo>
                      <a:pt x="730" y="876"/>
                    </a:lnTo>
                    <a:lnTo>
                      <a:pt x="730" y="882"/>
                    </a:lnTo>
                    <a:lnTo>
                      <a:pt x="728" y="888"/>
                    </a:lnTo>
                    <a:lnTo>
                      <a:pt x="722" y="894"/>
                    </a:lnTo>
                    <a:lnTo>
                      <a:pt x="716" y="898"/>
                    </a:lnTo>
                    <a:lnTo>
                      <a:pt x="706" y="902"/>
                    </a:lnTo>
                    <a:lnTo>
                      <a:pt x="706" y="902"/>
                    </a:lnTo>
                    <a:lnTo>
                      <a:pt x="698" y="904"/>
                    </a:lnTo>
                    <a:lnTo>
                      <a:pt x="694" y="906"/>
                    </a:lnTo>
                    <a:lnTo>
                      <a:pt x="690" y="910"/>
                    </a:lnTo>
                    <a:lnTo>
                      <a:pt x="690" y="916"/>
                    </a:lnTo>
                    <a:lnTo>
                      <a:pt x="690" y="922"/>
                    </a:lnTo>
                    <a:lnTo>
                      <a:pt x="694" y="928"/>
                    </a:lnTo>
                    <a:lnTo>
                      <a:pt x="704" y="942"/>
                    </a:lnTo>
                    <a:lnTo>
                      <a:pt x="704" y="942"/>
                    </a:lnTo>
                    <a:lnTo>
                      <a:pt x="708" y="948"/>
                    </a:lnTo>
                    <a:lnTo>
                      <a:pt x="708" y="952"/>
                    </a:lnTo>
                    <a:lnTo>
                      <a:pt x="704" y="956"/>
                    </a:lnTo>
                    <a:lnTo>
                      <a:pt x="698" y="956"/>
                    </a:lnTo>
                    <a:lnTo>
                      <a:pt x="686" y="960"/>
                    </a:lnTo>
                    <a:lnTo>
                      <a:pt x="682" y="960"/>
                    </a:lnTo>
                    <a:lnTo>
                      <a:pt x="684" y="964"/>
                    </a:lnTo>
                    <a:lnTo>
                      <a:pt x="684" y="964"/>
                    </a:lnTo>
                    <a:lnTo>
                      <a:pt x="690" y="972"/>
                    </a:lnTo>
                    <a:lnTo>
                      <a:pt x="696" y="980"/>
                    </a:lnTo>
                    <a:lnTo>
                      <a:pt x="698" y="984"/>
                    </a:lnTo>
                    <a:lnTo>
                      <a:pt x="702" y="986"/>
                    </a:lnTo>
                    <a:lnTo>
                      <a:pt x="706" y="986"/>
                    </a:lnTo>
                    <a:lnTo>
                      <a:pt x="710" y="984"/>
                    </a:lnTo>
                    <a:lnTo>
                      <a:pt x="710" y="984"/>
                    </a:lnTo>
                    <a:lnTo>
                      <a:pt x="716" y="984"/>
                    </a:lnTo>
                    <a:lnTo>
                      <a:pt x="722" y="984"/>
                    </a:lnTo>
                    <a:lnTo>
                      <a:pt x="738" y="988"/>
                    </a:lnTo>
                    <a:lnTo>
                      <a:pt x="744" y="990"/>
                    </a:lnTo>
                    <a:lnTo>
                      <a:pt x="752" y="988"/>
                    </a:lnTo>
                    <a:lnTo>
                      <a:pt x="758" y="984"/>
                    </a:lnTo>
                    <a:lnTo>
                      <a:pt x="764" y="974"/>
                    </a:lnTo>
                    <a:lnTo>
                      <a:pt x="764" y="974"/>
                    </a:lnTo>
                    <a:lnTo>
                      <a:pt x="768" y="970"/>
                    </a:lnTo>
                    <a:lnTo>
                      <a:pt x="770" y="966"/>
                    </a:lnTo>
                    <a:lnTo>
                      <a:pt x="780" y="960"/>
                    </a:lnTo>
                    <a:lnTo>
                      <a:pt x="790" y="960"/>
                    </a:lnTo>
                    <a:lnTo>
                      <a:pt x="800" y="960"/>
                    </a:lnTo>
                    <a:lnTo>
                      <a:pt x="808" y="962"/>
                    </a:lnTo>
                    <a:lnTo>
                      <a:pt x="816" y="966"/>
                    </a:lnTo>
                    <a:lnTo>
                      <a:pt x="818" y="970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2" y="978"/>
                    </a:lnTo>
                    <a:lnTo>
                      <a:pt x="810" y="980"/>
                    </a:lnTo>
                    <a:lnTo>
                      <a:pt x="812" y="982"/>
                    </a:lnTo>
                    <a:lnTo>
                      <a:pt x="818" y="982"/>
                    </a:lnTo>
                    <a:lnTo>
                      <a:pt x="822" y="984"/>
                    </a:lnTo>
                    <a:lnTo>
                      <a:pt x="828" y="986"/>
                    </a:lnTo>
                    <a:lnTo>
                      <a:pt x="828" y="990"/>
                    </a:lnTo>
                    <a:lnTo>
                      <a:pt x="826" y="994"/>
                    </a:lnTo>
                    <a:lnTo>
                      <a:pt x="826" y="994"/>
                    </a:lnTo>
                    <a:lnTo>
                      <a:pt x="824" y="998"/>
                    </a:lnTo>
                    <a:lnTo>
                      <a:pt x="824" y="1000"/>
                    </a:lnTo>
                    <a:lnTo>
                      <a:pt x="828" y="1006"/>
                    </a:lnTo>
                    <a:lnTo>
                      <a:pt x="836" y="1010"/>
                    </a:lnTo>
                    <a:lnTo>
                      <a:pt x="846" y="1014"/>
                    </a:lnTo>
                    <a:lnTo>
                      <a:pt x="866" y="1020"/>
                    </a:lnTo>
                    <a:lnTo>
                      <a:pt x="872" y="1022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68" y="1034"/>
                    </a:lnTo>
                    <a:lnTo>
                      <a:pt x="866" y="1040"/>
                    </a:lnTo>
                    <a:lnTo>
                      <a:pt x="868" y="1044"/>
                    </a:lnTo>
                    <a:lnTo>
                      <a:pt x="874" y="1050"/>
                    </a:lnTo>
                    <a:lnTo>
                      <a:pt x="874" y="1050"/>
                    </a:lnTo>
                    <a:lnTo>
                      <a:pt x="874" y="1052"/>
                    </a:lnTo>
                    <a:lnTo>
                      <a:pt x="872" y="1054"/>
                    </a:lnTo>
                    <a:lnTo>
                      <a:pt x="862" y="1052"/>
                    </a:lnTo>
                    <a:lnTo>
                      <a:pt x="848" y="1048"/>
                    </a:lnTo>
                    <a:lnTo>
                      <a:pt x="832" y="1040"/>
                    </a:lnTo>
                    <a:lnTo>
                      <a:pt x="832" y="1040"/>
                    </a:lnTo>
                    <a:lnTo>
                      <a:pt x="822" y="1036"/>
                    </a:lnTo>
                    <a:lnTo>
                      <a:pt x="810" y="1032"/>
                    </a:lnTo>
                    <a:lnTo>
                      <a:pt x="784" y="1028"/>
                    </a:lnTo>
                    <a:lnTo>
                      <a:pt x="758" y="1028"/>
                    </a:lnTo>
                    <a:lnTo>
                      <a:pt x="748" y="1030"/>
                    </a:lnTo>
                    <a:lnTo>
                      <a:pt x="742" y="1032"/>
                    </a:lnTo>
                    <a:lnTo>
                      <a:pt x="742" y="1032"/>
                    </a:lnTo>
                    <a:lnTo>
                      <a:pt x="738" y="1036"/>
                    </a:lnTo>
                    <a:lnTo>
                      <a:pt x="740" y="1042"/>
                    </a:lnTo>
                    <a:lnTo>
                      <a:pt x="744" y="1046"/>
                    </a:lnTo>
                    <a:lnTo>
                      <a:pt x="750" y="1050"/>
                    </a:lnTo>
                    <a:lnTo>
                      <a:pt x="764" y="1056"/>
                    </a:lnTo>
                    <a:lnTo>
                      <a:pt x="782" y="1060"/>
                    </a:lnTo>
                    <a:lnTo>
                      <a:pt x="782" y="1060"/>
                    </a:lnTo>
                    <a:lnTo>
                      <a:pt x="796" y="1060"/>
                    </a:lnTo>
                    <a:lnTo>
                      <a:pt x="804" y="1064"/>
                    </a:lnTo>
                    <a:lnTo>
                      <a:pt x="810" y="1068"/>
                    </a:lnTo>
                    <a:lnTo>
                      <a:pt x="816" y="1072"/>
                    </a:lnTo>
                    <a:lnTo>
                      <a:pt x="820" y="1078"/>
                    </a:lnTo>
                    <a:lnTo>
                      <a:pt x="824" y="1082"/>
                    </a:lnTo>
                    <a:lnTo>
                      <a:pt x="832" y="1086"/>
                    </a:lnTo>
                    <a:lnTo>
                      <a:pt x="844" y="1088"/>
                    </a:lnTo>
                    <a:lnTo>
                      <a:pt x="844" y="1088"/>
                    </a:lnTo>
                    <a:lnTo>
                      <a:pt x="856" y="1090"/>
                    </a:lnTo>
                    <a:lnTo>
                      <a:pt x="864" y="1092"/>
                    </a:lnTo>
                    <a:lnTo>
                      <a:pt x="868" y="1096"/>
                    </a:lnTo>
                    <a:lnTo>
                      <a:pt x="870" y="1098"/>
                    </a:lnTo>
                    <a:lnTo>
                      <a:pt x="866" y="1108"/>
                    </a:lnTo>
                    <a:lnTo>
                      <a:pt x="866" y="1112"/>
                    </a:lnTo>
                    <a:lnTo>
                      <a:pt x="868" y="1118"/>
                    </a:lnTo>
                    <a:lnTo>
                      <a:pt x="868" y="1118"/>
                    </a:lnTo>
                    <a:lnTo>
                      <a:pt x="872" y="1122"/>
                    </a:lnTo>
                    <a:lnTo>
                      <a:pt x="876" y="1120"/>
                    </a:lnTo>
                    <a:lnTo>
                      <a:pt x="880" y="1118"/>
                    </a:lnTo>
                    <a:lnTo>
                      <a:pt x="882" y="1114"/>
                    </a:lnTo>
                    <a:lnTo>
                      <a:pt x="888" y="1106"/>
                    </a:lnTo>
                    <a:lnTo>
                      <a:pt x="888" y="1106"/>
                    </a:lnTo>
                    <a:lnTo>
                      <a:pt x="890" y="1110"/>
                    </a:lnTo>
                    <a:lnTo>
                      <a:pt x="890" y="1110"/>
                    </a:lnTo>
                    <a:lnTo>
                      <a:pt x="888" y="1116"/>
                    </a:lnTo>
                    <a:lnTo>
                      <a:pt x="888" y="1122"/>
                    </a:lnTo>
                    <a:lnTo>
                      <a:pt x="882" y="1134"/>
                    </a:lnTo>
                    <a:lnTo>
                      <a:pt x="876" y="1148"/>
                    </a:lnTo>
                    <a:lnTo>
                      <a:pt x="872" y="1164"/>
                    </a:lnTo>
                    <a:lnTo>
                      <a:pt x="872" y="1164"/>
                    </a:lnTo>
                    <a:lnTo>
                      <a:pt x="870" y="1170"/>
                    </a:lnTo>
                    <a:lnTo>
                      <a:pt x="872" y="1176"/>
                    </a:lnTo>
                    <a:lnTo>
                      <a:pt x="876" y="1182"/>
                    </a:lnTo>
                    <a:lnTo>
                      <a:pt x="876" y="1184"/>
                    </a:lnTo>
                    <a:lnTo>
                      <a:pt x="876" y="1186"/>
                    </a:lnTo>
                    <a:lnTo>
                      <a:pt x="866" y="1192"/>
                    </a:lnTo>
                    <a:lnTo>
                      <a:pt x="866" y="1192"/>
                    </a:lnTo>
                    <a:lnTo>
                      <a:pt x="858" y="1194"/>
                    </a:lnTo>
                    <a:lnTo>
                      <a:pt x="850" y="1196"/>
                    </a:lnTo>
                    <a:lnTo>
                      <a:pt x="838" y="1192"/>
                    </a:lnTo>
                    <a:lnTo>
                      <a:pt x="828" y="1190"/>
                    </a:lnTo>
                    <a:lnTo>
                      <a:pt x="822" y="1190"/>
                    </a:lnTo>
                    <a:lnTo>
                      <a:pt x="818" y="1194"/>
                    </a:lnTo>
                    <a:lnTo>
                      <a:pt x="818" y="1194"/>
                    </a:lnTo>
                    <a:lnTo>
                      <a:pt x="812" y="1196"/>
                    </a:lnTo>
                    <a:lnTo>
                      <a:pt x="806" y="1198"/>
                    </a:lnTo>
                    <a:lnTo>
                      <a:pt x="796" y="1202"/>
                    </a:lnTo>
                    <a:lnTo>
                      <a:pt x="788" y="1204"/>
                    </a:lnTo>
                    <a:lnTo>
                      <a:pt x="786" y="1206"/>
                    </a:lnTo>
                    <a:lnTo>
                      <a:pt x="788" y="1210"/>
                    </a:lnTo>
                    <a:lnTo>
                      <a:pt x="788" y="1210"/>
                    </a:lnTo>
                    <a:lnTo>
                      <a:pt x="788" y="1212"/>
                    </a:lnTo>
                    <a:lnTo>
                      <a:pt x="788" y="1214"/>
                    </a:lnTo>
                    <a:lnTo>
                      <a:pt x="784" y="1214"/>
                    </a:lnTo>
                    <a:lnTo>
                      <a:pt x="784" y="1216"/>
                    </a:lnTo>
                    <a:lnTo>
                      <a:pt x="784" y="1216"/>
                    </a:lnTo>
                    <a:lnTo>
                      <a:pt x="790" y="1222"/>
                    </a:lnTo>
                    <a:lnTo>
                      <a:pt x="790" y="1222"/>
                    </a:lnTo>
                    <a:lnTo>
                      <a:pt x="794" y="1226"/>
                    </a:lnTo>
                    <a:lnTo>
                      <a:pt x="794" y="1228"/>
                    </a:lnTo>
                    <a:lnTo>
                      <a:pt x="792" y="1232"/>
                    </a:lnTo>
                    <a:lnTo>
                      <a:pt x="788" y="1234"/>
                    </a:lnTo>
                    <a:lnTo>
                      <a:pt x="778" y="1240"/>
                    </a:lnTo>
                    <a:lnTo>
                      <a:pt x="774" y="1242"/>
                    </a:lnTo>
                    <a:lnTo>
                      <a:pt x="774" y="1246"/>
                    </a:lnTo>
                    <a:lnTo>
                      <a:pt x="774" y="1246"/>
                    </a:lnTo>
                    <a:lnTo>
                      <a:pt x="774" y="1252"/>
                    </a:lnTo>
                    <a:lnTo>
                      <a:pt x="772" y="1260"/>
                    </a:lnTo>
                    <a:lnTo>
                      <a:pt x="762" y="1284"/>
                    </a:lnTo>
                    <a:lnTo>
                      <a:pt x="762" y="1284"/>
                    </a:lnTo>
                    <a:lnTo>
                      <a:pt x="762" y="1292"/>
                    </a:lnTo>
                    <a:lnTo>
                      <a:pt x="762" y="1296"/>
                    </a:lnTo>
                    <a:lnTo>
                      <a:pt x="766" y="1300"/>
                    </a:lnTo>
                    <a:lnTo>
                      <a:pt x="772" y="1302"/>
                    </a:lnTo>
                    <a:lnTo>
                      <a:pt x="788" y="1306"/>
                    </a:lnTo>
                    <a:lnTo>
                      <a:pt x="810" y="1306"/>
                    </a:lnTo>
                    <a:lnTo>
                      <a:pt x="810" y="1306"/>
                    </a:lnTo>
                    <a:lnTo>
                      <a:pt x="800" y="1312"/>
                    </a:lnTo>
                    <a:lnTo>
                      <a:pt x="790" y="1320"/>
                    </a:lnTo>
                    <a:lnTo>
                      <a:pt x="782" y="1328"/>
                    </a:lnTo>
                    <a:lnTo>
                      <a:pt x="776" y="1338"/>
                    </a:lnTo>
                    <a:lnTo>
                      <a:pt x="772" y="1346"/>
                    </a:lnTo>
                    <a:lnTo>
                      <a:pt x="772" y="1354"/>
                    </a:lnTo>
                    <a:lnTo>
                      <a:pt x="774" y="1362"/>
                    </a:lnTo>
                    <a:lnTo>
                      <a:pt x="780" y="1368"/>
                    </a:lnTo>
                    <a:lnTo>
                      <a:pt x="780" y="1368"/>
                    </a:lnTo>
                    <a:lnTo>
                      <a:pt x="786" y="1374"/>
                    </a:lnTo>
                    <a:lnTo>
                      <a:pt x="790" y="1378"/>
                    </a:lnTo>
                    <a:lnTo>
                      <a:pt x="792" y="1384"/>
                    </a:lnTo>
                    <a:lnTo>
                      <a:pt x="792" y="1390"/>
                    </a:lnTo>
                    <a:lnTo>
                      <a:pt x="792" y="1392"/>
                    </a:lnTo>
                    <a:lnTo>
                      <a:pt x="796" y="1392"/>
                    </a:lnTo>
                    <a:lnTo>
                      <a:pt x="796" y="1392"/>
                    </a:lnTo>
                    <a:lnTo>
                      <a:pt x="806" y="1394"/>
                    </a:lnTo>
                    <a:lnTo>
                      <a:pt x="812" y="1400"/>
                    </a:lnTo>
                    <a:lnTo>
                      <a:pt x="818" y="1406"/>
                    </a:lnTo>
                    <a:lnTo>
                      <a:pt x="818" y="1410"/>
                    </a:lnTo>
                    <a:lnTo>
                      <a:pt x="818" y="1414"/>
                    </a:lnTo>
                    <a:lnTo>
                      <a:pt x="818" y="1414"/>
                    </a:lnTo>
                    <a:lnTo>
                      <a:pt x="818" y="1420"/>
                    </a:lnTo>
                    <a:lnTo>
                      <a:pt x="818" y="1422"/>
                    </a:lnTo>
                    <a:lnTo>
                      <a:pt x="824" y="1426"/>
                    </a:lnTo>
                    <a:lnTo>
                      <a:pt x="828" y="1430"/>
                    </a:lnTo>
                    <a:lnTo>
                      <a:pt x="830" y="1434"/>
                    </a:lnTo>
                    <a:lnTo>
                      <a:pt x="830" y="1440"/>
                    </a:lnTo>
                    <a:lnTo>
                      <a:pt x="830" y="1440"/>
                    </a:lnTo>
                    <a:lnTo>
                      <a:pt x="830" y="1450"/>
                    </a:lnTo>
                    <a:lnTo>
                      <a:pt x="834" y="1452"/>
                    </a:lnTo>
                    <a:lnTo>
                      <a:pt x="836" y="1454"/>
                    </a:lnTo>
                    <a:lnTo>
                      <a:pt x="836" y="1462"/>
                    </a:lnTo>
                    <a:lnTo>
                      <a:pt x="836" y="1462"/>
                    </a:lnTo>
                    <a:lnTo>
                      <a:pt x="836" y="1476"/>
                    </a:lnTo>
                    <a:lnTo>
                      <a:pt x="836" y="1482"/>
                    </a:lnTo>
                    <a:lnTo>
                      <a:pt x="840" y="1488"/>
                    </a:lnTo>
                    <a:lnTo>
                      <a:pt x="842" y="1490"/>
                    </a:lnTo>
                    <a:lnTo>
                      <a:pt x="848" y="1488"/>
                    </a:lnTo>
                    <a:lnTo>
                      <a:pt x="852" y="1482"/>
                    </a:lnTo>
                    <a:lnTo>
                      <a:pt x="860" y="1470"/>
                    </a:lnTo>
                    <a:lnTo>
                      <a:pt x="860" y="1470"/>
                    </a:lnTo>
                    <a:lnTo>
                      <a:pt x="870" y="1454"/>
                    </a:lnTo>
                    <a:lnTo>
                      <a:pt x="872" y="1454"/>
                    </a:lnTo>
                    <a:lnTo>
                      <a:pt x="874" y="1456"/>
                    </a:lnTo>
                    <a:lnTo>
                      <a:pt x="876" y="1462"/>
                    </a:lnTo>
                    <a:lnTo>
                      <a:pt x="878" y="1462"/>
                    </a:lnTo>
                    <a:lnTo>
                      <a:pt x="882" y="1460"/>
                    </a:lnTo>
                    <a:lnTo>
                      <a:pt x="882" y="1460"/>
                    </a:lnTo>
                    <a:lnTo>
                      <a:pt x="888" y="1456"/>
                    </a:lnTo>
                    <a:lnTo>
                      <a:pt x="894" y="1454"/>
                    </a:lnTo>
                    <a:lnTo>
                      <a:pt x="900" y="1452"/>
                    </a:lnTo>
                    <a:lnTo>
                      <a:pt x="906" y="1454"/>
                    </a:lnTo>
                    <a:lnTo>
                      <a:pt x="912" y="1456"/>
                    </a:lnTo>
                    <a:lnTo>
                      <a:pt x="916" y="1458"/>
                    </a:lnTo>
                    <a:lnTo>
                      <a:pt x="918" y="1464"/>
                    </a:lnTo>
                    <a:lnTo>
                      <a:pt x="920" y="1470"/>
                    </a:lnTo>
                    <a:lnTo>
                      <a:pt x="920" y="1470"/>
                    </a:lnTo>
                    <a:lnTo>
                      <a:pt x="922" y="1474"/>
                    </a:lnTo>
                    <a:lnTo>
                      <a:pt x="920" y="1474"/>
                    </a:lnTo>
                    <a:lnTo>
                      <a:pt x="912" y="1470"/>
                    </a:lnTo>
                    <a:lnTo>
                      <a:pt x="902" y="1464"/>
                    </a:lnTo>
                    <a:lnTo>
                      <a:pt x="896" y="1462"/>
                    </a:lnTo>
                    <a:lnTo>
                      <a:pt x="890" y="1464"/>
                    </a:lnTo>
                    <a:lnTo>
                      <a:pt x="890" y="1464"/>
                    </a:lnTo>
                    <a:lnTo>
                      <a:pt x="888" y="1466"/>
                    </a:lnTo>
                    <a:lnTo>
                      <a:pt x="888" y="1468"/>
                    </a:lnTo>
                    <a:lnTo>
                      <a:pt x="894" y="1474"/>
                    </a:lnTo>
                    <a:lnTo>
                      <a:pt x="898" y="1474"/>
                    </a:lnTo>
                    <a:lnTo>
                      <a:pt x="898" y="1476"/>
                    </a:lnTo>
                    <a:lnTo>
                      <a:pt x="896" y="1478"/>
                    </a:lnTo>
                    <a:lnTo>
                      <a:pt x="890" y="1478"/>
                    </a:lnTo>
                    <a:lnTo>
                      <a:pt x="890" y="1478"/>
                    </a:lnTo>
                    <a:lnTo>
                      <a:pt x="884" y="1480"/>
                    </a:lnTo>
                    <a:lnTo>
                      <a:pt x="880" y="1480"/>
                    </a:lnTo>
                    <a:lnTo>
                      <a:pt x="880" y="1484"/>
                    </a:lnTo>
                    <a:lnTo>
                      <a:pt x="880" y="1486"/>
                    </a:lnTo>
                    <a:lnTo>
                      <a:pt x="880" y="1488"/>
                    </a:lnTo>
                    <a:lnTo>
                      <a:pt x="880" y="1490"/>
                    </a:lnTo>
                    <a:lnTo>
                      <a:pt x="876" y="1492"/>
                    </a:lnTo>
                    <a:lnTo>
                      <a:pt x="868" y="1492"/>
                    </a:lnTo>
                    <a:lnTo>
                      <a:pt x="868" y="1492"/>
                    </a:lnTo>
                    <a:lnTo>
                      <a:pt x="856" y="1494"/>
                    </a:lnTo>
                    <a:lnTo>
                      <a:pt x="856" y="1496"/>
                    </a:lnTo>
                    <a:lnTo>
                      <a:pt x="856" y="1496"/>
                    </a:lnTo>
                    <a:lnTo>
                      <a:pt x="860" y="1500"/>
                    </a:lnTo>
                    <a:lnTo>
                      <a:pt x="860" y="1502"/>
                    </a:lnTo>
                    <a:lnTo>
                      <a:pt x="858" y="1504"/>
                    </a:lnTo>
                    <a:lnTo>
                      <a:pt x="858" y="1504"/>
                    </a:lnTo>
                    <a:lnTo>
                      <a:pt x="854" y="1506"/>
                    </a:lnTo>
                    <a:lnTo>
                      <a:pt x="854" y="1506"/>
                    </a:lnTo>
                    <a:lnTo>
                      <a:pt x="856" y="1510"/>
                    </a:lnTo>
                    <a:lnTo>
                      <a:pt x="860" y="1514"/>
                    </a:lnTo>
                    <a:lnTo>
                      <a:pt x="862" y="1516"/>
                    </a:lnTo>
                    <a:lnTo>
                      <a:pt x="860" y="1518"/>
                    </a:lnTo>
                    <a:lnTo>
                      <a:pt x="860" y="1518"/>
                    </a:lnTo>
                    <a:lnTo>
                      <a:pt x="860" y="1522"/>
                    </a:lnTo>
                    <a:lnTo>
                      <a:pt x="860" y="1526"/>
                    </a:lnTo>
                    <a:lnTo>
                      <a:pt x="862" y="1534"/>
                    </a:lnTo>
                    <a:lnTo>
                      <a:pt x="874" y="1554"/>
                    </a:lnTo>
                    <a:lnTo>
                      <a:pt x="874" y="1554"/>
                    </a:lnTo>
                    <a:lnTo>
                      <a:pt x="878" y="1558"/>
                    </a:lnTo>
                    <a:lnTo>
                      <a:pt x="882" y="1560"/>
                    </a:lnTo>
                    <a:lnTo>
                      <a:pt x="890" y="1562"/>
                    </a:lnTo>
                    <a:lnTo>
                      <a:pt x="898" y="1562"/>
                    </a:lnTo>
                    <a:lnTo>
                      <a:pt x="898" y="1564"/>
                    </a:lnTo>
                    <a:lnTo>
                      <a:pt x="898" y="1568"/>
                    </a:lnTo>
                    <a:lnTo>
                      <a:pt x="898" y="1568"/>
                    </a:lnTo>
                    <a:lnTo>
                      <a:pt x="896" y="1572"/>
                    </a:lnTo>
                    <a:lnTo>
                      <a:pt x="898" y="1576"/>
                    </a:lnTo>
                    <a:lnTo>
                      <a:pt x="902" y="1582"/>
                    </a:lnTo>
                    <a:lnTo>
                      <a:pt x="906" y="1590"/>
                    </a:lnTo>
                    <a:lnTo>
                      <a:pt x="908" y="1594"/>
                    </a:lnTo>
                    <a:lnTo>
                      <a:pt x="908" y="1598"/>
                    </a:lnTo>
                    <a:lnTo>
                      <a:pt x="908" y="1598"/>
                    </a:lnTo>
                    <a:lnTo>
                      <a:pt x="908" y="1606"/>
                    </a:lnTo>
                    <a:lnTo>
                      <a:pt x="910" y="1610"/>
                    </a:lnTo>
                    <a:lnTo>
                      <a:pt x="914" y="1614"/>
                    </a:lnTo>
                    <a:lnTo>
                      <a:pt x="926" y="1618"/>
                    </a:lnTo>
                    <a:lnTo>
                      <a:pt x="926" y="1618"/>
                    </a:lnTo>
                    <a:lnTo>
                      <a:pt x="932" y="1622"/>
                    </a:lnTo>
                    <a:lnTo>
                      <a:pt x="934" y="1626"/>
                    </a:lnTo>
                    <a:lnTo>
                      <a:pt x="936" y="1630"/>
                    </a:lnTo>
                    <a:lnTo>
                      <a:pt x="934" y="1634"/>
                    </a:lnTo>
                    <a:lnTo>
                      <a:pt x="934" y="1640"/>
                    </a:lnTo>
                    <a:lnTo>
                      <a:pt x="934" y="1640"/>
                    </a:lnTo>
                    <a:lnTo>
                      <a:pt x="938" y="1640"/>
                    </a:lnTo>
                    <a:lnTo>
                      <a:pt x="938" y="1640"/>
                    </a:lnTo>
                    <a:lnTo>
                      <a:pt x="942" y="1640"/>
                    </a:lnTo>
                    <a:lnTo>
                      <a:pt x="944" y="1640"/>
                    </a:lnTo>
                    <a:lnTo>
                      <a:pt x="946" y="1648"/>
                    </a:lnTo>
                    <a:lnTo>
                      <a:pt x="946" y="1654"/>
                    </a:lnTo>
                    <a:lnTo>
                      <a:pt x="948" y="1656"/>
                    </a:lnTo>
                    <a:lnTo>
                      <a:pt x="950" y="1656"/>
                    </a:lnTo>
                    <a:lnTo>
                      <a:pt x="950" y="1656"/>
                    </a:lnTo>
                    <a:lnTo>
                      <a:pt x="956" y="1656"/>
                    </a:lnTo>
                    <a:lnTo>
                      <a:pt x="958" y="1656"/>
                    </a:lnTo>
                    <a:lnTo>
                      <a:pt x="958" y="1662"/>
                    </a:lnTo>
                    <a:lnTo>
                      <a:pt x="954" y="1672"/>
                    </a:lnTo>
                    <a:lnTo>
                      <a:pt x="954" y="1672"/>
                    </a:lnTo>
                    <a:lnTo>
                      <a:pt x="952" y="1676"/>
                    </a:lnTo>
                    <a:lnTo>
                      <a:pt x="956" y="1678"/>
                    </a:lnTo>
                    <a:lnTo>
                      <a:pt x="966" y="1678"/>
                    </a:lnTo>
                    <a:lnTo>
                      <a:pt x="978" y="1678"/>
                    </a:lnTo>
                    <a:lnTo>
                      <a:pt x="980" y="1680"/>
                    </a:lnTo>
                    <a:lnTo>
                      <a:pt x="980" y="1684"/>
                    </a:lnTo>
                    <a:lnTo>
                      <a:pt x="980" y="1684"/>
                    </a:lnTo>
                    <a:lnTo>
                      <a:pt x="978" y="1690"/>
                    </a:lnTo>
                    <a:lnTo>
                      <a:pt x="978" y="1692"/>
                    </a:lnTo>
                    <a:lnTo>
                      <a:pt x="980" y="1694"/>
                    </a:lnTo>
                    <a:lnTo>
                      <a:pt x="982" y="1694"/>
                    </a:lnTo>
                    <a:lnTo>
                      <a:pt x="990" y="1694"/>
                    </a:lnTo>
                    <a:lnTo>
                      <a:pt x="994" y="1696"/>
                    </a:lnTo>
                    <a:lnTo>
                      <a:pt x="996" y="1698"/>
                    </a:lnTo>
                    <a:lnTo>
                      <a:pt x="996" y="1698"/>
                    </a:lnTo>
                    <a:lnTo>
                      <a:pt x="998" y="1700"/>
                    </a:lnTo>
                    <a:lnTo>
                      <a:pt x="996" y="1702"/>
                    </a:lnTo>
                    <a:lnTo>
                      <a:pt x="994" y="1704"/>
                    </a:lnTo>
                    <a:lnTo>
                      <a:pt x="990" y="1706"/>
                    </a:lnTo>
                    <a:lnTo>
                      <a:pt x="990" y="1708"/>
                    </a:lnTo>
                    <a:lnTo>
                      <a:pt x="990" y="1712"/>
                    </a:lnTo>
                    <a:lnTo>
                      <a:pt x="990" y="1712"/>
                    </a:lnTo>
                    <a:lnTo>
                      <a:pt x="992" y="1722"/>
                    </a:lnTo>
                    <a:lnTo>
                      <a:pt x="996" y="1724"/>
                    </a:lnTo>
                    <a:lnTo>
                      <a:pt x="1000" y="1726"/>
                    </a:lnTo>
                    <a:lnTo>
                      <a:pt x="1004" y="1726"/>
                    </a:lnTo>
                    <a:lnTo>
                      <a:pt x="1010" y="1726"/>
                    </a:lnTo>
                    <a:lnTo>
                      <a:pt x="1016" y="1722"/>
                    </a:lnTo>
                    <a:lnTo>
                      <a:pt x="1024" y="1718"/>
                    </a:lnTo>
                    <a:lnTo>
                      <a:pt x="1024" y="1718"/>
                    </a:lnTo>
                    <a:lnTo>
                      <a:pt x="1032" y="1712"/>
                    </a:lnTo>
                    <a:lnTo>
                      <a:pt x="1038" y="1712"/>
                    </a:lnTo>
                    <a:lnTo>
                      <a:pt x="1040" y="1712"/>
                    </a:lnTo>
                    <a:lnTo>
                      <a:pt x="1044" y="1714"/>
                    </a:lnTo>
                    <a:lnTo>
                      <a:pt x="1048" y="1716"/>
                    </a:lnTo>
                    <a:lnTo>
                      <a:pt x="1050" y="1716"/>
                    </a:lnTo>
                    <a:lnTo>
                      <a:pt x="1054" y="1714"/>
                    </a:lnTo>
                    <a:lnTo>
                      <a:pt x="1054" y="1714"/>
                    </a:lnTo>
                    <a:lnTo>
                      <a:pt x="1064" y="1708"/>
                    </a:lnTo>
                    <a:lnTo>
                      <a:pt x="1072" y="1704"/>
                    </a:lnTo>
                    <a:lnTo>
                      <a:pt x="1080" y="1700"/>
                    </a:lnTo>
                    <a:lnTo>
                      <a:pt x="1080" y="1696"/>
                    </a:lnTo>
                    <a:lnTo>
                      <a:pt x="1080" y="1692"/>
                    </a:lnTo>
                    <a:lnTo>
                      <a:pt x="1080" y="1692"/>
                    </a:lnTo>
                    <a:lnTo>
                      <a:pt x="1080" y="1688"/>
                    </a:lnTo>
                    <a:lnTo>
                      <a:pt x="1082" y="1686"/>
                    </a:lnTo>
                    <a:lnTo>
                      <a:pt x="1084" y="1688"/>
                    </a:lnTo>
                    <a:lnTo>
                      <a:pt x="1086" y="1690"/>
                    </a:lnTo>
                    <a:lnTo>
                      <a:pt x="1088" y="1694"/>
                    </a:lnTo>
                    <a:lnTo>
                      <a:pt x="1090" y="1698"/>
                    </a:lnTo>
                    <a:lnTo>
                      <a:pt x="1090" y="1704"/>
                    </a:lnTo>
                    <a:lnTo>
                      <a:pt x="1086" y="1710"/>
                    </a:lnTo>
                    <a:lnTo>
                      <a:pt x="1086" y="1710"/>
                    </a:lnTo>
                    <a:lnTo>
                      <a:pt x="1078" y="1718"/>
                    </a:lnTo>
                    <a:lnTo>
                      <a:pt x="1076" y="1726"/>
                    </a:lnTo>
                    <a:lnTo>
                      <a:pt x="1076" y="1728"/>
                    </a:lnTo>
                    <a:lnTo>
                      <a:pt x="1078" y="1732"/>
                    </a:lnTo>
                    <a:lnTo>
                      <a:pt x="1090" y="1738"/>
                    </a:lnTo>
                    <a:lnTo>
                      <a:pt x="1090" y="1738"/>
                    </a:lnTo>
                    <a:lnTo>
                      <a:pt x="1098" y="1740"/>
                    </a:lnTo>
                    <a:lnTo>
                      <a:pt x="1106" y="1740"/>
                    </a:lnTo>
                    <a:lnTo>
                      <a:pt x="1120" y="1738"/>
                    </a:lnTo>
                    <a:lnTo>
                      <a:pt x="1124" y="1738"/>
                    </a:lnTo>
                    <a:lnTo>
                      <a:pt x="1126" y="1740"/>
                    </a:lnTo>
                    <a:lnTo>
                      <a:pt x="1126" y="1744"/>
                    </a:lnTo>
                    <a:lnTo>
                      <a:pt x="1120" y="1752"/>
                    </a:lnTo>
                    <a:lnTo>
                      <a:pt x="1120" y="1752"/>
                    </a:lnTo>
                    <a:lnTo>
                      <a:pt x="1116" y="1758"/>
                    </a:lnTo>
                    <a:lnTo>
                      <a:pt x="1116" y="1762"/>
                    </a:lnTo>
                    <a:lnTo>
                      <a:pt x="1118" y="1766"/>
                    </a:lnTo>
                    <a:lnTo>
                      <a:pt x="1122" y="1768"/>
                    </a:lnTo>
                    <a:lnTo>
                      <a:pt x="1126" y="1770"/>
                    </a:lnTo>
                    <a:lnTo>
                      <a:pt x="1132" y="1770"/>
                    </a:lnTo>
                    <a:lnTo>
                      <a:pt x="1136" y="1768"/>
                    </a:lnTo>
                    <a:lnTo>
                      <a:pt x="1140" y="1766"/>
                    </a:lnTo>
                    <a:lnTo>
                      <a:pt x="1140" y="1766"/>
                    </a:lnTo>
                    <a:lnTo>
                      <a:pt x="1150" y="1760"/>
                    </a:lnTo>
                    <a:lnTo>
                      <a:pt x="1154" y="1758"/>
                    </a:lnTo>
                    <a:lnTo>
                      <a:pt x="1156" y="1758"/>
                    </a:lnTo>
                    <a:lnTo>
                      <a:pt x="1162" y="1762"/>
                    </a:lnTo>
                    <a:lnTo>
                      <a:pt x="1170" y="1770"/>
                    </a:lnTo>
                    <a:lnTo>
                      <a:pt x="1170" y="1770"/>
                    </a:lnTo>
                    <a:lnTo>
                      <a:pt x="1182" y="1776"/>
                    </a:lnTo>
                    <a:lnTo>
                      <a:pt x="1186" y="1776"/>
                    </a:lnTo>
                    <a:lnTo>
                      <a:pt x="1190" y="1776"/>
                    </a:lnTo>
                    <a:lnTo>
                      <a:pt x="1194" y="1774"/>
                    </a:lnTo>
                    <a:lnTo>
                      <a:pt x="1196" y="1768"/>
                    </a:lnTo>
                    <a:lnTo>
                      <a:pt x="1198" y="1764"/>
                    </a:lnTo>
                    <a:lnTo>
                      <a:pt x="1200" y="1756"/>
                    </a:lnTo>
                    <a:lnTo>
                      <a:pt x="1200" y="1756"/>
                    </a:lnTo>
                    <a:lnTo>
                      <a:pt x="1200" y="1750"/>
                    </a:lnTo>
                    <a:lnTo>
                      <a:pt x="1198" y="1746"/>
                    </a:lnTo>
                    <a:lnTo>
                      <a:pt x="1194" y="1746"/>
                    </a:lnTo>
                    <a:lnTo>
                      <a:pt x="1192" y="1746"/>
                    </a:lnTo>
                    <a:lnTo>
                      <a:pt x="1186" y="1746"/>
                    </a:lnTo>
                    <a:lnTo>
                      <a:pt x="1186" y="1746"/>
                    </a:lnTo>
                    <a:lnTo>
                      <a:pt x="1186" y="1744"/>
                    </a:lnTo>
                    <a:lnTo>
                      <a:pt x="1186" y="1744"/>
                    </a:lnTo>
                    <a:lnTo>
                      <a:pt x="1190" y="1740"/>
                    </a:lnTo>
                    <a:lnTo>
                      <a:pt x="1194" y="1738"/>
                    </a:lnTo>
                    <a:lnTo>
                      <a:pt x="1204" y="1734"/>
                    </a:lnTo>
                    <a:lnTo>
                      <a:pt x="1208" y="1732"/>
                    </a:lnTo>
                    <a:lnTo>
                      <a:pt x="1210" y="1728"/>
                    </a:lnTo>
                    <a:lnTo>
                      <a:pt x="1212" y="1724"/>
                    </a:lnTo>
                    <a:lnTo>
                      <a:pt x="1212" y="1718"/>
                    </a:lnTo>
                    <a:lnTo>
                      <a:pt x="1212" y="1718"/>
                    </a:lnTo>
                    <a:lnTo>
                      <a:pt x="1210" y="1712"/>
                    </a:lnTo>
                    <a:lnTo>
                      <a:pt x="1214" y="1702"/>
                    </a:lnTo>
                    <a:lnTo>
                      <a:pt x="1224" y="1676"/>
                    </a:lnTo>
                    <a:lnTo>
                      <a:pt x="1234" y="1652"/>
                    </a:lnTo>
                    <a:lnTo>
                      <a:pt x="1236" y="1640"/>
                    </a:lnTo>
                    <a:lnTo>
                      <a:pt x="1236" y="1630"/>
                    </a:lnTo>
                    <a:lnTo>
                      <a:pt x="1236" y="1630"/>
                    </a:lnTo>
                    <a:lnTo>
                      <a:pt x="1234" y="1624"/>
                    </a:lnTo>
                    <a:lnTo>
                      <a:pt x="1232" y="1622"/>
                    </a:lnTo>
                    <a:lnTo>
                      <a:pt x="1230" y="1622"/>
                    </a:lnTo>
                    <a:lnTo>
                      <a:pt x="1228" y="1622"/>
                    </a:lnTo>
                    <a:lnTo>
                      <a:pt x="1226" y="1622"/>
                    </a:lnTo>
                    <a:lnTo>
                      <a:pt x="1222" y="1622"/>
                    </a:lnTo>
                    <a:lnTo>
                      <a:pt x="1220" y="1620"/>
                    </a:lnTo>
                    <a:lnTo>
                      <a:pt x="1214" y="1616"/>
                    </a:lnTo>
                    <a:lnTo>
                      <a:pt x="1214" y="1616"/>
                    </a:lnTo>
                    <a:lnTo>
                      <a:pt x="1212" y="1610"/>
                    </a:lnTo>
                    <a:lnTo>
                      <a:pt x="1212" y="1610"/>
                    </a:lnTo>
                    <a:lnTo>
                      <a:pt x="1222" y="1612"/>
                    </a:lnTo>
                    <a:lnTo>
                      <a:pt x="1232" y="1614"/>
                    </a:lnTo>
                    <a:lnTo>
                      <a:pt x="1236" y="1614"/>
                    </a:lnTo>
                    <a:lnTo>
                      <a:pt x="1236" y="1610"/>
                    </a:lnTo>
                    <a:lnTo>
                      <a:pt x="1236" y="1610"/>
                    </a:lnTo>
                    <a:lnTo>
                      <a:pt x="1234" y="1604"/>
                    </a:lnTo>
                    <a:lnTo>
                      <a:pt x="1232" y="1602"/>
                    </a:lnTo>
                    <a:lnTo>
                      <a:pt x="1226" y="1600"/>
                    </a:lnTo>
                    <a:lnTo>
                      <a:pt x="1220" y="1598"/>
                    </a:lnTo>
                    <a:lnTo>
                      <a:pt x="1220" y="1596"/>
                    </a:lnTo>
                    <a:lnTo>
                      <a:pt x="1222" y="1592"/>
                    </a:lnTo>
                    <a:lnTo>
                      <a:pt x="1222" y="1592"/>
                    </a:lnTo>
                    <a:lnTo>
                      <a:pt x="1226" y="1590"/>
                    </a:lnTo>
                    <a:lnTo>
                      <a:pt x="1230" y="1588"/>
                    </a:lnTo>
                    <a:lnTo>
                      <a:pt x="1244" y="1584"/>
                    </a:lnTo>
                    <a:lnTo>
                      <a:pt x="1250" y="1582"/>
                    </a:lnTo>
                    <a:lnTo>
                      <a:pt x="1256" y="1580"/>
                    </a:lnTo>
                    <a:lnTo>
                      <a:pt x="1260" y="1574"/>
                    </a:lnTo>
                    <a:lnTo>
                      <a:pt x="1262" y="1566"/>
                    </a:lnTo>
                    <a:lnTo>
                      <a:pt x="1262" y="1566"/>
                    </a:lnTo>
                    <a:lnTo>
                      <a:pt x="1264" y="1560"/>
                    </a:lnTo>
                    <a:lnTo>
                      <a:pt x="1266" y="1558"/>
                    </a:lnTo>
                    <a:lnTo>
                      <a:pt x="1268" y="1558"/>
                    </a:lnTo>
                    <a:lnTo>
                      <a:pt x="1272" y="1560"/>
                    </a:lnTo>
                    <a:lnTo>
                      <a:pt x="1278" y="1562"/>
                    </a:lnTo>
                    <a:lnTo>
                      <a:pt x="1280" y="1560"/>
                    </a:lnTo>
                    <a:lnTo>
                      <a:pt x="1280" y="1556"/>
                    </a:lnTo>
                    <a:lnTo>
                      <a:pt x="1280" y="1556"/>
                    </a:lnTo>
                    <a:lnTo>
                      <a:pt x="1282" y="1550"/>
                    </a:lnTo>
                    <a:lnTo>
                      <a:pt x="1284" y="1546"/>
                    </a:lnTo>
                    <a:lnTo>
                      <a:pt x="1294" y="1538"/>
                    </a:lnTo>
                    <a:lnTo>
                      <a:pt x="1300" y="1530"/>
                    </a:lnTo>
                    <a:lnTo>
                      <a:pt x="1302" y="1526"/>
                    </a:lnTo>
                    <a:lnTo>
                      <a:pt x="1302" y="1520"/>
                    </a:lnTo>
                    <a:lnTo>
                      <a:pt x="1302" y="1520"/>
                    </a:lnTo>
                    <a:lnTo>
                      <a:pt x="1300" y="1510"/>
                    </a:lnTo>
                    <a:lnTo>
                      <a:pt x="1300" y="1502"/>
                    </a:lnTo>
                    <a:lnTo>
                      <a:pt x="1300" y="1500"/>
                    </a:lnTo>
                    <a:lnTo>
                      <a:pt x="1298" y="1500"/>
                    </a:lnTo>
                    <a:lnTo>
                      <a:pt x="1286" y="1498"/>
                    </a:lnTo>
                    <a:lnTo>
                      <a:pt x="1286" y="1498"/>
                    </a:lnTo>
                    <a:lnTo>
                      <a:pt x="1278" y="1498"/>
                    </a:lnTo>
                    <a:lnTo>
                      <a:pt x="1270" y="1496"/>
                    </a:lnTo>
                    <a:lnTo>
                      <a:pt x="1266" y="1492"/>
                    </a:lnTo>
                    <a:lnTo>
                      <a:pt x="1262" y="1490"/>
                    </a:lnTo>
                    <a:lnTo>
                      <a:pt x="1260" y="1486"/>
                    </a:lnTo>
                    <a:lnTo>
                      <a:pt x="1262" y="1486"/>
                    </a:lnTo>
                    <a:lnTo>
                      <a:pt x="1264" y="1484"/>
                    </a:lnTo>
                    <a:lnTo>
                      <a:pt x="1270" y="1486"/>
                    </a:lnTo>
                    <a:lnTo>
                      <a:pt x="1270" y="1486"/>
                    </a:lnTo>
                    <a:lnTo>
                      <a:pt x="1276" y="1486"/>
                    </a:lnTo>
                    <a:lnTo>
                      <a:pt x="1280" y="1486"/>
                    </a:lnTo>
                    <a:lnTo>
                      <a:pt x="1288" y="1484"/>
                    </a:lnTo>
                    <a:lnTo>
                      <a:pt x="1294" y="1482"/>
                    </a:lnTo>
                    <a:lnTo>
                      <a:pt x="1300" y="1482"/>
                    </a:lnTo>
                    <a:lnTo>
                      <a:pt x="1300" y="1482"/>
                    </a:lnTo>
                    <a:lnTo>
                      <a:pt x="1308" y="1482"/>
                    </a:lnTo>
                    <a:lnTo>
                      <a:pt x="1308" y="1482"/>
                    </a:lnTo>
                    <a:lnTo>
                      <a:pt x="1308" y="1478"/>
                    </a:lnTo>
                    <a:lnTo>
                      <a:pt x="1302" y="1470"/>
                    </a:lnTo>
                    <a:lnTo>
                      <a:pt x="1290" y="1454"/>
                    </a:lnTo>
                    <a:lnTo>
                      <a:pt x="1290" y="1454"/>
                    </a:lnTo>
                    <a:lnTo>
                      <a:pt x="1282" y="1448"/>
                    </a:lnTo>
                    <a:lnTo>
                      <a:pt x="1280" y="1442"/>
                    </a:lnTo>
                    <a:lnTo>
                      <a:pt x="1280" y="1438"/>
                    </a:lnTo>
                    <a:lnTo>
                      <a:pt x="1284" y="1434"/>
                    </a:lnTo>
                    <a:lnTo>
                      <a:pt x="1288" y="1434"/>
                    </a:lnTo>
                    <a:lnTo>
                      <a:pt x="1296" y="1434"/>
                    </a:lnTo>
                    <a:lnTo>
                      <a:pt x="1310" y="1438"/>
                    </a:lnTo>
                    <a:lnTo>
                      <a:pt x="1310" y="1438"/>
                    </a:lnTo>
                    <a:lnTo>
                      <a:pt x="1316" y="1438"/>
                    </a:lnTo>
                    <a:lnTo>
                      <a:pt x="1320" y="1436"/>
                    </a:lnTo>
                    <a:lnTo>
                      <a:pt x="1324" y="1434"/>
                    </a:lnTo>
                    <a:lnTo>
                      <a:pt x="1326" y="1430"/>
                    </a:lnTo>
                    <a:lnTo>
                      <a:pt x="1332" y="1420"/>
                    </a:lnTo>
                    <a:lnTo>
                      <a:pt x="1334" y="1418"/>
                    </a:lnTo>
                    <a:lnTo>
                      <a:pt x="1338" y="1418"/>
                    </a:lnTo>
                    <a:lnTo>
                      <a:pt x="1338" y="1418"/>
                    </a:lnTo>
                    <a:lnTo>
                      <a:pt x="1344" y="1420"/>
                    </a:lnTo>
                    <a:lnTo>
                      <a:pt x="1346" y="1418"/>
                    </a:lnTo>
                    <a:lnTo>
                      <a:pt x="1344" y="1414"/>
                    </a:lnTo>
                    <a:lnTo>
                      <a:pt x="1334" y="1408"/>
                    </a:lnTo>
                    <a:lnTo>
                      <a:pt x="1334" y="1408"/>
                    </a:lnTo>
                    <a:lnTo>
                      <a:pt x="1326" y="1404"/>
                    </a:lnTo>
                    <a:lnTo>
                      <a:pt x="1324" y="1404"/>
                    </a:lnTo>
                    <a:lnTo>
                      <a:pt x="1326" y="1402"/>
                    </a:lnTo>
                    <a:lnTo>
                      <a:pt x="1330" y="1402"/>
                    </a:lnTo>
                    <a:lnTo>
                      <a:pt x="1338" y="1400"/>
                    </a:lnTo>
                    <a:lnTo>
                      <a:pt x="1338" y="1400"/>
                    </a:lnTo>
                    <a:lnTo>
                      <a:pt x="1344" y="1398"/>
                    </a:lnTo>
                    <a:lnTo>
                      <a:pt x="1352" y="1398"/>
                    </a:lnTo>
                    <a:lnTo>
                      <a:pt x="1360" y="1400"/>
                    </a:lnTo>
                    <a:lnTo>
                      <a:pt x="1370" y="1398"/>
                    </a:lnTo>
                    <a:lnTo>
                      <a:pt x="1370" y="1398"/>
                    </a:lnTo>
                    <a:lnTo>
                      <a:pt x="1380" y="1396"/>
                    </a:lnTo>
                    <a:lnTo>
                      <a:pt x="1388" y="1396"/>
                    </a:lnTo>
                    <a:lnTo>
                      <a:pt x="1394" y="1396"/>
                    </a:lnTo>
                    <a:lnTo>
                      <a:pt x="1398" y="1390"/>
                    </a:lnTo>
                    <a:lnTo>
                      <a:pt x="1398" y="1390"/>
                    </a:lnTo>
                    <a:lnTo>
                      <a:pt x="1400" y="1386"/>
                    </a:lnTo>
                    <a:lnTo>
                      <a:pt x="1398" y="1384"/>
                    </a:lnTo>
                    <a:lnTo>
                      <a:pt x="1396" y="1380"/>
                    </a:lnTo>
                    <a:lnTo>
                      <a:pt x="1402" y="1376"/>
                    </a:lnTo>
                    <a:lnTo>
                      <a:pt x="1402" y="1376"/>
                    </a:lnTo>
                    <a:lnTo>
                      <a:pt x="1404" y="1372"/>
                    </a:lnTo>
                    <a:lnTo>
                      <a:pt x="1404" y="1368"/>
                    </a:lnTo>
                    <a:lnTo>
                      <a:pt x="1404" y="1364"/>
                    </a:lnTo>
                    <a:lnTo>
                      <a:pt x="1410" y="1360"/>
                    </a:lnTo>
                    <a:lnTo>
                      <a:pt x="1410" y="1360"/>
                    </a:lnTo>
                    <a:lnTo>
                      <a:pt x="1414" y="1356"/>
                    </a:lnTo>
                    <a:lnTo>
                      <a:pt x="1416" y="1354"/>
                    </a:lnTo>
                    <a:lnTo>
                      <a:pt x="1414" y="1352"/>
                    </a:lnTo>
                    <a:lnTo>
                      <a:pt x="1412" y="1350"/>
                    </a:lnTo>
                    <a:lnTo>
                      <a:pt x="1406" y="1346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10" y="1342"/>
                    </a:lnTo>
                    <a:lnTo>
                      <a:pt x="1414" y="1344"/>
                    </a:lnTo>
                    <a:lnTo>
                      <a:pt x="1420" y="1344"/>
                    </a:lnTo>
                    <a:lnTo>
                      <a:pt x="1430" y="1344"/>
                    </a:lnTo>
                    <a:lnTo>
                      <a:pt x="1430" y="1344"/>
                    </a:lnTo>
                    <a:lnTo>
                      <a:pt x="1436" y="1344"/>
                    </a:lnTo>
                    <a:lnTo>
                      <a:pt x="1434" y="1348"/>
                    </a:lnTo>
                    <a:lnTo>
                      <a:pt x="1428" y="1352"/>
                    </a:lnTo>
                    <a:lnTo>
                      <a:pt x="1424" y="1358"/>
                    </a:lnTo>
                    <a:lnTo>
                      <a:pt x="1424" y="1358"/>
                    </a:lnTo>
                    <a:lnTo>
                      <a:pt x="1422" y="1362"/>
                    </a:lnTo>
                    <a:lnTo>
                      <a:pt x="1418" y="1364"/>
                    </a:lnTo>
                    <a:lnTo>
                      <a:pt x="1414" y="1368"/>
                    </a:lnTo>
                    <a:lnTo>
                      <a:pt x="1412" y="1372"/>
                    </a:lnTo>
                    <a:lnTo>
                      <a:pt x="1412" y="1372"/>
                    </a:lnTo>
                    <a:lnTo>
                      <a:pt x="1410" y="1378"/>
                    </a:lnTo>
                    <a:lnTo>
                      <a:pt x="1408" y="1386"/>
                    </a:lnTo>
                    <a:lnTo>
                      <a:pt x="1406" y="1392"/>
                    </a:lnTo>
                    <a:lnTo>
                      <a:pt x="1406" y="1394"/>
                    </a:lnTo>
                    <a:lnTo>
                      <a:pt x="1408" y="1396"/>
                    </a:lnTo>
                    <a:lnTo>
                      <a:pt x="1408" y="1396"/>
                    </a:lnTo>
                    <a:lnTo>
                      <a:pt x="1414" y="1398"/>
                    </a:lnTo>
                    <a:lnTo>
                      <a:pt x="1420" y="1398"/>
                    </a:lnTo>
                    <a:lnTo>
                      <a:pt x="1426" y="1396"/>
                    </a:lnTo>
                    <a:lnTo>
                      <a:pt x="1432" y="1390"/>
                    </a:lnTo>
                    <a:lnTo>
                      <a:pt x="1432" y="1390"/>
                    </a:lnTo>
                    <a:lnTo>
                      <a:pt x="1440" y="1380"/>
                    </a:lnTo>
                    <a:lnTo>
                      <a:pt x="1444" y="1380"/>
                    </a:lnTo>
                    <a:lnTo>
                      <a:pt x="1448" y="1384"/>
                    </a:lnTo>
                    <a:lnTo>
                      <a:pt x="1448" y="1384"/>
                    </a:lnTo>
                    <a:lnTo>
                      <a:pt x="1452" y="1386"/>
                    </a:lnTo>
                    <a:lnTo>
                      <a:pt x="1454" y="1384"/>
                    </a:lnTo>
                    <a:lnTo>
                      <a:pt x="1454" y="1382"/>
                    </a:lnTo>
                    <a:lnTo>
                      <a:pt x="1452" y="1378"/>
                    </a:lnTo>
                    <a:lnTo>
                      <a:pt x="1452" y="1378"/>
                    </a:lnTo>
                    <a:lnTo>
                      <a:pt x="1452" y="1376"/>
                    </a:lnTo>
                    <a:lnTo>
                      <a:pt x="1452" y="1374"/>
                    </a:lnTo>
                    <a:lnTo>
                      <a:pt x="1456" y="1372"/>
                    </a:lnTo>
                    <a:lnTo>
                      <a:pt x="1462" y="1370"/>
                    </a:lnTo>
                    <a:lnTo>
                      <a:pt x="1466" y="1370"/>
                    </a:lnTo>
                    <a:lnTo>
                      <a:pt x="1468" y="1372"/>
                    </a:lnTo>
                    <a:lnTo>
                      <a:pt x="1468" y="1372"/>
                    </a:lnTo>
                    <a:lnTo>
                      <a:pt x="1472" y="1372"/>
                    </a:lnTo>
                    <a:lnTo>
                      <a:pt x="1476" y="1372"/>
                    </a:lnTo>
                    <a:lnTo>
                      <a:pt x="1484" y="1370"/>
                    </a:lnTo>
                    <a:lnTo>
                      <a:pt x="1498" y="1362"/>
                    </a:lnTo>
                    <a:lnTo>
                      <a:pt x="1498" y="1362"/>
                    </a:lnTo>
                    <a:lnTo>
                      <a:pt x="1502" y="1360"/>
                    </a:lnTo>
                    <a:lnTo>
                      <a:pt x="1502" y="1354"/>
                    </a:lnTo>
                    <a:lnTo>
                      <a:pt x="1502" y="1350"/>
                    </a:lnTo>
                    <a:lnTo>
                      <a:pt x="1502" y="1350"/>
                    </a:lnTo>
                    <a:lnTo>
                      <a:pt x="1504" y="1350"/>
                    </a:lnTo>
                    <a:lnTo>
                      <a:pt x="1504" y="1350"/>
                    </a:lnTo>
                    <a:lnTo>
                      <a:pt x="1508" y="1350"/>
                    </a:lnTo>
                    <a:lnTo>
                      <a:pt x="1510" y="1352"/>
                    </a:lnTo>
                    <a:lnTo>
                      <a:pt x="1510" y="1354"/>
                    </a:lnTo>
                    <a:lnTo>
                      <a:pt x="1512" y="1354"/>
                    </a:lnTo>
                    <a:lnTo>
                      <a:pt x="1512" y="1354"/>
                    </a:lnTo>
                    <a:lnTo>
                      <a:pt x="1520" y="1350"/>
                    </a:lnTo>
                    <a:lnTo>
                      <a:pt x="1532" y="1344"/>
                    </a:lnTo>
                    <a:lnTo>
                      <a:pt x="1558" y="1324"/>
                    </a:lnTo>
                    <a:lnTo>
                      <a:pt x="1570" y="1314"/>
                    </a:lnTo>
                    <a:lnTo>
                      <a:pt x="1580" y="1302"/>
                    </a:lnTo>
                    <a:lnTo>
                      <a:pt x="1588" y="1290"/>
                    </a:lnTo>
                    <a:lnTo>
                      <a:pt x="1592" y="1280"/>
                    </a:lnTo>
                    <a:lnTo>
                      <a:pt x="1592" y="1280"/>
                    </a:lnTo>
                    <a:lnTo>
                      <a:pt x="1600" y="1264"/>
                    </a:lnTo>
                    <a:lnTo>
                      <a:pt x="1610" y="1250"/>
                    </a:lnTo>
                    <a:lnTo>
                      <a:pt x="1622" y="1242"/>
                    </a:lnTo>
                    <a:lnTo>
                      <a:pt x="1628" y="1238"/>
                    </a:lnTo>
                    <a:lnTo>
                      <a:pt x="1634" y="1238"/>
                    </a:lnTo>
                    <a:lnTo>
                      <a:pt x="1634" y="1238"/>
                    </a:lnTo>
                    <a:lnTo>
                      <a:pt x="1642" y="1236"/>
                    </a:lnTo>
                    <a:lnTo>
                      <a:pt x="1646" y="1234"/>
                    </a:lnTo>
                    <a:lnTo>
                      <a:pt x="1648" y="1232"/>
                    </a:lnTo>
                    <a:lnTo>
                      <a:pt x="1648" y="1228"/>
                    </a:lnTo>
                    <a:lnTo>
                      <a:pt x="1646" y="1222"/>
                    </a:lnTo>
                    <a:lnTo>
                      <a:pt x="1640" y="1214"/>
                    </a:lnTo>
                    <a:lnTo>
                      <a:pt x="1632" y="1204"/>
                    </a:lnTo>
                    <a:lnTo>
                      <a:pt x="1632" y="1204"/>
                    </a:lnTo>
                    <a:lnTo>
                      <a:pt x="1626" y="1198"/>
                    </a:lnTo>
                    <a:lnTo>
                      <a:pt x="1624" y="1194"/>
                    </a:lnTo>
                    <a:lnTo>
                      <a:pt x="1636" y="1200"/>
                    </a:lnTo>
                    <a:lnTo>
                      <a:pt x="1670" y="1222"/>
                    </a:lnTo>
                    <a:lnTo>
                      <a:pt x="1670" y="1222"/>
                    </a:lnTo>
                    <a:lnTo>
                      <a:pt x="1684" y="1226"/>
                    </a:lnTo>
                    <a:lnTo>
                      <a:pt x="1694" y="1228"/>
                    </a:lnTo>
                    <a:lnTo>
                      <a:pt x="1702" y="1228"/>
                    </a:lnTo>
                    <a:lnTo>
                      <a:pt x="1710" y="1226"/>
                    </a:lnTo>
                    <a:lnTo>
                      <a:pt x="1718" y="1224"/>
                    </a:lnTo>
                    <a:lnTo>
                      <a:pt x="1724" y="1218"/>
                    </a:lnTo>
                    <a:lnTo>
                      <a:pt x="1730" y="1212"/>
                    </a:lnTo>
                    <a:lnTo>
                      <a:pt x="1730" y="1212"/>
                    </a:lnTo>
                    <a:lnTo>
                      <a:pt x="1732" y="1206"/>
                    </a:lnTo>
                    <a:lnTo>
                      <a:pt x="1734" y="1204"/>
                    </a:lnTo>
                    <a:lnTo>
                      <a:pt x="1738" y="1204"/>
                    </a:lnTo>
                    <a:lnTo>
                      <a:pt x="1742" y="1206"/>
                    </a:lnTo>
                    <a:lnTo>
                      <a:pt x="1748" y="1208"/>
                    </a:lnTo>
                    <a:lnTo>
                      <a:pt x="1756" y="1208"/>
                    </a:lnTo>
                    <a:lnTo>
                      <a:pt x="1766" y="1208"/>
                    </a:lnTo>
                    <a:lnTo>
                      <a:pt x="1782" y="1202"/>
                    </a:lnTo>
                    <a:lnTo>
                      <a:pt x="1782" y="1202"/>
                    </a:lnTo>
                    <a:lnTo>
                      <a:pt x="1800" y="1196"/>
                    </a:lnTo>
                    <a:lnTo>
                      <a:pt x="1818" y="1190"/>
                    </a:lnTo>
                    <a:lnTo>
                      <a:pt x="1856" y="1184"/>
                    </a:lnTo>
                    <a:lnTo>
                      <a:pt x="1886" y="1178"/>
                    </a:lnTo>
                    <a:lnTo>
                      <a:pt x="1898" y="1172"/>
                    </a:lnTo>
                    <a:lnTo>
                      <a:pt x="1906" y="1166"/>
                    </a:lnTo>
                    <a:lnTo>
                      <a:pt x="1906" y="1166"/>
                    </a:lnTo>
                    <a:lnTo>
                      <a:pt x="1920" y="1154"/>
                    </a:lnTo>
                    <a:lnTo>
                      <a:pt x="1934" y="1142"/>
                    </a:lnTo>
                    <a:lnTo>
                      <a:pt x="1950" y="1132"/>
                    </a:lnTo>
                    <a:lnTo>
                      <a:pt x="1960" y="1128"/>
                    </a:lnTo>
                    <a:lnTo>
                      <a:pt x="1970" y="1128"/>
                    </a:lnTo>
                    <a:lnTo>
                      <a:pt x="1970" y="1128"/>
                    </a:lnTo>
                    <a:lnTo>
                      <a:pt x="1978" y="1126"/>
                    </a:lnTo>
                    <a:lnTo>
                      <a:pt x="1982" y="1122"/>
                    </a:lnTo>
                    <a:lnTo>
                      <a:pt x="1982" y="1120"/>
                    </a:lnTo>
                    <a:lnTo>
                      <a:pt x="1982" y="1116"/>
                    </a:lnTo>
                    <a:lnTo>
                      <a:pt x="1982" y="1112"/>
                    </a:lnTo>
                    <a:lnTo>
                      <a:pt x="1982" y="1108"/>
                    </a:lnTo>
                    <a:lnTo>
                      <a:pt x="1986" y="1106"/>
                    </a:lnTo>
                    <a:lnTo>
                      <a:pt x="1994" y="1106"/>
                    </a:lnTo>
                    <a:lnTo>
                      <a:pt x="1994" y="1106"/>
                    </a:lnTo>
                    <a:lnTo>
                      <a:pt x="2008" y="1104"/>
                    </a:lnTo>
                    <a:lnTo>
                      <a:pt x="2012" y="1102"/>
                    </a:lnTo>
                    <a:lnTo>
                      <a:pt x="2012" y="1102"/>
                    </a:lnTo>
                    <a:lnTo>
                      <a:pt x="2016" y="1096"/>
                    </a:lnTo>
                    <a:lnTo>
                      <a:pt x="2022" y="1092"/>
                    </a:lnTo>
                    <a:lnTo>
                      <a:pt x="2030" y="1088"/>
                    </a:lnTo>
                    <a:lnTo>
                      <a:pt x="2030" y="1088"/>
                    </a:lnTo>
                    <a:lnTo>
                      <a:pt x="2046" y="1080"/>
                    </a:lnTo>
                    <a:lnTo>
                      <a:pt x="2046" y="1078"/>
                    </a:lnTo>
                    <a:lnTo>
                      <a:pt x="2044" y="1076"/>
                    </a:lnTo>
                    <a:lnTo>
                      <a:pt x="2028" y="1076"/>
                    </a:lnTo>
                    <a:lnTo>
                      <a:pt x="2000" y="1080"/>
                    </a:lnTo>
                    <a:lnTo>
                      <a:pt x="2000" y="1080"/>
                    </a:lnTo>
                    <a:lnTo>
                      <a:pt x="1984" y="1080"/>
                    </a:lnTo>
                    <a:lnTo>
                      <a:pt x="1970" y="1076"/>
                    </a:lnTo>
                    <a:lnTo>
                      <a:pt x="1956" y="1070"/>
                    </a:lnTo>
                    <a:lnTo>
                      <a:pt x="1944" y="1064"/>
                    </a:lnTo>
                    <a:lnTo>
                      <a:pt x="1932" y="1058"/>
                    </a:lnTo>
                    <a:lnTo>
                      <a:pt x="1920" y="1056"/>
                    </a:lnTo>
                    <a:lnTo>
                      <a:pt x="1914" y="1056"/>
                    </a:lnTo>
                    <a:lnTo>
                      <a:pt x="1906" y="1058"/>
                    </a:lnTo>
                    <a:lnTo>
                      <a:pt x="1900" y="1060"/>
                    </a:lnTo>
                    <a:lnTo>
                      <a:pt x="1892" y="1064"/>
                    </a:lnTo>
                    <a:lnTo>
                      <a:pt x="1892" y="1064"/>
                    </a:lnTo>
                    <a:lnTo>
                      <a:pt x="1884" y="1068"/>
                    </a:lnTo>
                    <a:lnTo>
                      <a:pt x="1878" y="1070"/>
                    </a:lnTo>
                    <a:lnTo>
                      <a:pt x="1866" y="1070"/>
                    </a:lnTo>
                    <a:lnTo>
                      <a:pt x="1860" y="1070"/>
                    </a:lnTo>
                    <a:lnTo>
                      <a:pt x="1854" y="1072"/>
                    </a:lnTo>
                    <a:lnTo>
                      <a:pt x="1846" y="1076"/>
                    </a:lnTo>
                    <a:lnTo>
                      <a:pt x="1838" y="1082"/>
                    </a:lnTo>
                    <a:lnTo>
                      <a:pt x="1838" y="1082"/>
                    </a:lnTo>
                    <a:lnTo>
                      <a:pt x="1834" y="1086"/>
                    </a:lnTo>
                    <a:lnTo>
                      <a:pt x="1828" y="1090"/>
                    </a:lnTo>
                    <a:lnTo>
                      <a:pt x="1824" y="1090"/>
                    </a:lnTo>
                    <a:lnTo>
                      <a:pt x="1820" y="1090"/>
                    </a:lnTo>
                    <a:lnTo>
                      <a:pt x="1818" y="1088"/>
                    </a:lnTo>
                    <a:lnTo>
                      <a:pt x="1820" y="1084"/>
                    </a:lnTo>
                    <a:lnTo>
                      <a:pt x="1824" y="1078"/>
                    </a:lnTo>
                    <a:lnTo>
                      <a:pt x="1832" y="1070"/>
                    </a:lnTo>
                    <a:lnTo>
                      <a:pt x="1832" y="1070"/>
                    </a:lnTo>
                    <a:lnTo>
                      <a:pt x="1840" y="1064"/>
                    </a:lnTo>
                    <a:lnTo>
                      <a:pt x="1848" y="1062"/>
                    </a:lnTo>
                    <a:lnTo>
                      <a:pt x="1852" y="1062"/>
                    </a:lnTo>
                    <a:lnTo>
                      <a:pt x="1856" y="1062"/>
                    </a:lnTo>
                    <a:lnTo>
                      <a:pt x="1864" y="1064"/>
                    </a:lnTo>
                    <a:lnTo>
                      <a:pt x="1866" y="1064"/>
                    </a:lnTo>
                    <a:lnTo>
                      <a:pt x="1870" y="1062"/>
                    </a:lnTo>
                    <a:lnTo>
                      <a:pt x="1870" y="1062"/>
                    </a:lnTo>
                    <a:lnTo>
                      <a:pt x="1876" y="1058"/>
                    </a:lnTo>
                    <a:lnTo>
                      <a:pt x="1878" y="1056"/>
                    </a:lnTo>
                    <a:lnTo>
                      <a:pt x="1878" y="1054"/>
                    </a:lnTo>
                    <a:lnTo>
                      <a:pt x="1874" y="1052"/>
                    </a:lnTo>
                    <a:lnTo>
                      <a:pt x="1868" y="1052"/>
                    </a:lnTo>
                    <a:lnTo>
                      <a:pt x="1844" y="1054"/>
                    </a:lnTo>
                    <a:lnTo>
                      <a:pt x="1844" y="1054"/>
                    </a:lnTo>
                    <a:lnTo>
                      <a:pt x="1816" y="1058"/>
                    </a:lnTo>
                    <a:lnTo>
                      <a:pt x="1800" y="1058"/>
                    </a:lnTo>
                    <a:lnTo>
                      <a:pt x="1798" y="1056"/>
                    </a:lnTo>
                    <a:lnTo>
                      <a:pt x="1796" y="1052"/>
                    </a:lnTo>
                    <a:lnTo>
                      <a:pt x="1798" y="1046"/>
                    </a:lnTo>
                    <a:lnTo>
                      <a:pt x="1804" y="1038"/>
                    </a:lnTo>
                    <a:lnTo>
                      <a:pt x="1804" y="1038"/>
                    </a:lnTo>
                    <a:lnTo>
                      <a:pt x="1814" y="1022"/>
                    </a:lnTo>
                    <a:lnTo>
                      <a:pt x="1818" y="1014"/>
                    </a:lnTo>
                    <a:lnTo>
                      <a:pt x="1820" y="1012"/>
                    </a:lnTo>
                    <a:lnTo>
                      <a:pt x="1822" y="1010"/>
                    </a:lnTo>
                    <a:lnTo>
                      <a:pt x="1828" y="1016"/>
                    </a:lnTo>
                    <a:lnTo>
                      <a:pt x="1828" y="1016"/>
                    </a:lnTo>
                    <a:lnTo>
                      <a:pt x="1836" y="1022"/>
                    </a:lnTo>
                    <a:lnTo>
                      <a:pt x="1840" y="1022"/>
                    </a:lnTo>
                    <a:lnTo>
                      <a:pt x="1844" y="1022"/>
                    </a:lnTo>
                    <a:lnTo>
                      <a:pt x="1882" y="1010"/>
                    </a:lnTo>
                    <a:lnTo>
                      <a:pt x="1882" y="1010"/>
                    </a:lnTo>
                    <a:lnTo>
                      <a:pt x="1896" y="1006"/>
                    </a:lnTo>
                    <a:lnTo>
                      <a:pt x="1904" y="1000"/>
                    </a:lnTo>
                    <a:lnTo>
                      <a:pt x="1908" y="996"/>
                    </a:lnTo>
                    <a:lnTo>
                      <a:pt x="1910" y="992"/>
                    </a:lnTo>
                    <a:lnTo>
                      <a:pt x="1906" y="986"/>
                    </a:lnTo>
                    <a:lnTo>
                      <a:pt x="1898" y="984"/>
                    </a:lnTo>
                    <a:lnTo>
                      <a:pt x="1888" y="980"/>
                    </a:lnTo>
                    <a:lnTo>
                      <a:pt x="1874" y="978"/>
                    </a:lnTo>
                    <a:lnTo>
                      <a:pt x="1874" y="978"/>
                    </a:lnTo>
                    <a:lnTo>
                      <a:pt x="1850" y="974"/>
                    </a:lnTo>
                    <a:lnTo>
                      <a:pt x="1844" y="972"/>
                    </a:lnTo>
                    <a:lnTo>
                      <a:pt x="1842" y="970"/>
                    </a:lnTo>
                    <a:lnTo>
                      <a:pt x="1844" y="968"/>
                    </a:lnTo>
                    <a:lnTo>
                      <a:pt x="1850" y="966"/>
                    </a:lnTo>
                    <a:lnTo>
                      <a:pt x="1870" y="966"/>
                    </a:lnTo>
                    <a:lnTo>
                      <a:pt x="1870" y="966"/>
                    </a:lnTo>
                    <a:lnTo>
                      <a:pt x="1892" y="970"/>
                    </a:lnTo>
                    <a:lnTo>
                      <a:pt x="1906" y="976"/>
                    </a:lnTo>
                    <a:lnTo>
                      <a:pt x="1918" y="980"/>
                    </a:lnTo>
                    <a:lnTo>
                      <a:pt x="1932" y="986"/>
                    </a:lnTo>
                    <a:lnTo>
                      <a:pt x="1932" y="986"/>
                    </a:lnTo>
                    <a:lnTo>
                      <a:pt x="1946" y="992"/>
                    </a:lnTo>
                    <a:lnTo>
                      <a:pt x="1954" y="998"/>
                    </a:lnTo>
                    <a:lnTo>
                      <a:pt x="1958" y="1008"/>
                    </a:lnTo>
                    <a:lnTo>
                      <a:pt x="1960" y="1022"/>
                    </a:lnTo>
                    <a:lnTo>
                      <a:pt x="1960" y="1022"/>
                    </a:lnTo>
                    <a:lnTo>
                      <a:pt x="1964" y="1030"/>
                    </a:lnTo>
                    <a:lnTo>
                      <a:pt x="1970" y="1038"/>
                    </a:lnTo>
                    <a:lnTo>
                      <a:pt x="1978" y="1044"/>
                    </a:lnTo>
                    <a:lnTo>
                      <a:pt x="1988" y="1050"/>
                    </a:lnTo>
                    <a:lnTo>
                      <a:pt x="1998" y="1052"/>
                    </a:lnTo>
                    <a:lnTo>
                      <a:pt x="2008" y="1054"/>
                    </a:lnTo>
                    <a:lnTo>
                      <a:pt x="2016" y="1054"/>
                    </a:lnTo>
                    <a:lnTo>
                      <a:pt x="2022" y="1052"/>
                    </a:lnTo>
                    <a:lnTo>
                      <a:pt x="2022" y="1052"/>
                    </a:lnTo>
                    <a:lnTo>
                      <a:pt x="2030" y="1048"/>
                    </a:lnTo>
                    <a:lnTo>
                      <a:pt x="2036" y="1050"/>
                    </a:lnTo>
                    <a:lnTo>
                      <a:pt x="2046" y="1052"/>
                    </a:lnTo>
                    <a:lnTo>
                      <a:pt x="2060" y="1056"/>
                    </a:lnTo>
                    <a:lnTo>
                      <a:pt x="2060" y="1056"/>
                    </a:lnTo>
                    <a:lnTo>
                      <a:pt x="2068" y="1054"/>
                    </a:lnTo>
                    <a:lnTo>
                      <a:pt x="2070" y="1050"/>
                    </a:lnTo>
                    <a:lnTo>
                      <a:pt x="2072" y="1042"/>
                    </a:lnTo>
                    <a:lnTo>
                      <a:pt x="2070" y="1032"/>
                    </a:lnTo>
                    <a:lnTo>
                      <a:pt x="2066" y="1008"/>
                    </a:lnTo>
                    <a:lnTo>
                      <a:pt x="2064" y="996"/>
                    </a:lnTo>
                    <a:lnTo>
                      <a:pt x="2064" y="984"/>
                    </a:lnTo>
                    <a:lnTo>
                      <a:pt x="2064" y="984"/>
                    </a:lnTo>
                    <a:lnTo>
                      <a:pt x="2062" y="976"/>
                    </a:lnTo>
                    <a:lnTo>
                      <a:pt x="2062" y="974"/>
                    </a:lnTo>
                    <a:lnTo>
                      <a:pt x="2060" y="974"/>
                    </a:lnTo>
                    <a:lnTo>
                      <a:pt x="2056" y="976"/>
                    </a:lnTo>
                    <a:lnTo>
                      <a:pt x="2050" y="980"/>
                    </a:lnTo>
                    <a:lnTo>
                      <a:pt x="2044" y="986"/>
                    </a:lnTo>
                    <a:lnTo>
                      <a:pt x="2038" y="990"/>
                    </a:lnTo>
                    <a:lnTo>
                      <a:pt x="2032" y="990"/>
                    </a:lnTo>
                    <a:lnTo>
                      <a:pt x="2030" y="988"/>
                    </a:lnTo>
                    <a:lnTo>
                      <a:pt x="2030" y="986"/>
                    </a:lnTo>
                    <a:lnTo>
                      <a:pt x="2030" y="986"/>
                    </a:lnTo>
                    <a:lnTo>
                      <a:pt x="2028" y="976"/>
                    </a:lnTo>
                    <a:lnTo>
                      <a:pt x="2028" y="974"/>
                    </a:lnTo>
                    <a:lnTo>
                      <a:pt x="2032" y="974"/>
                    </a:lnTo>
                    <a:lnTo>
                      <a:pt x="2038" y="972"/>
                    </a:lnTo>
                    <a:lnTo>
                      <a:pt x="2044" y="968"/>
                    </a:lnTo>
                    <a:lnTo>
                      <a:pt x="2050" y="962"/>
                    </a:lnTo>
                    <a:lnTo>
                      <a:pt x="2050" y="962"/>
                    </a:lnTo>
                    <a:lnTo>
                      <a:pt x="2054" y="956"/>
                    </a:lnTo>
                    <a:lnTo>
                      <a:pt x="2054" y="956"/>
                    </a:lnTo>
                    <a:lnTo>
                      <a:pt x="2054" y="954"/>
                    </a:lnTo>
                    <a:lnTo>
                      <a:pt x="2044" y="958"/>
                    </a:lnTo>
                    <a:lnTo>
                      <a:pt x="2032" y="962"/>
                    </a:lnTo>
                    <a:lnTo>
                      <a:pt x="2030" y="960"/>
                    </a:lnTo>
                    <a:lnTo>
                      <a:pt x="2030" y="956"/>
                    </a:lnTo>
                    <a:lnTo>
                      <a:pt x="2030" y="956"/>
                    </a:lnTo>
                    <a:lnTo>
                      <a:pt x="2032" y="950"/>
                    </a:lnTo>
                    <a:lnTo>
                      <a:pt x="2030" y="944"/>
                    </a:lnTo>
                    <a:lnTo>
                      <a:pt x="2026" y="940"/>
                    </a:lnTo>
                    <a:lnTo>
                      <a:pt x="2020" y="938"/>
                    </a:lnTo>
                    <a:lnTo>
                      <a:pt x="2002" y="932"/>
                    </a:lnTo>
                    <a:lnTo>
                      <a:pt x="1980" y="926"/>
                    </a:lnTo>
                    <a:lnTo>
                      <a:pt x="1980" y="926"/>
                    </a:lnTo>
                    <a:lnTo>
                      <a:pt x="1960" y="918"/>
                    </a:lnTo>
                    <a:lnTo>
                      <a:pt x="1948" y="912"/>
                    </a:lnTo>
                    <a:lnTo>
                      <a:pt x="1944" y="908"/>
                    </a:lnTo>
                    <a:lnTo>
                      <a:pt x="1944" y="904"/>
                    </a:lnTo>
                    <a:lnTo>
                      <a:pt x="1944" y="900"/>
                    </a:lnTo>
                    <a:lnTo>
                      <a:pt x="1944" y="896"/>
                    </a:lnTo>
                    <a:lnTo>
                      <a:pt x="1942" y="892"/>
                    </a:lnTo>
                    <a:lnTo>
                      <a:pt x="1934" y="886"/>
                    </a:lnTo>
                    <a:lnTo>
                      <a:pt x="1934" y="886"/>
                    </a:lnTo>
                    <a:lnTo>
                      <a:pt x="1924" y="880"/>
                    </a:lnTo>
                    <a:lnTo>
                      <a:pt x="1922" y="874"/>
                    </a:lnTo>
                    <a:lnTo>
                      <a:pt x="1922" y="870"/>
                    </a:lnTo>
                    <a:lnTo>
                      <a:pt x="1924" y="866"/>
                    </a:lnTo>
                    <a:lnTo>
                      <a:pt x="1922" y="862"/>
                    </a:lnTo>
                    <a:lnTo>
                      <a:pt x="1916" y="858"/>
                    </a:lnTo>
                    <a:lnTo>
                      <a:pt x="1902" y="852"/>
                    </a:lnTo>
                    <a:lnTo>
                      <a:pt x="1878" y="846"/>
                    </a:lnTo>
                    <a:lnTo>
                      <a:pt x="1878" y="846"/>
                    </a:lnTo>
                    <a:lnTo>
                      <a:pt x="1888" y="846"/>
                    </a:lnTo>
                    <a:lnTo>
                      <a:pt x="1896" y="844"/>
                    </a:lnTo>
                    <a:lnTo>
                      <a:pt x="1904" y="842"/>
                    </a:lnTo>
                    <a:lnTo>
                      <a:pt x="1910" y="838"/>
                    </a:lnTo>
                    <a:lnTo>
                      <a:pt x="1926" y="828"/>
                    </a:lnTo>
                    <a:lnTo>
                      <a:pt x="1948" y="818"/>
                    </a:lnTo>
                    <a:lnTo>
                      <a:pt x="1948" y="818"/>
                    </a:lnTo>
                    <a:lnTo>
                      <a:pt x="1954" y="816"/>
                    </a:lnTo>
                    <a:lnTo>
                      <a:pt x="1960" y="816"/>
                    </a:lnTo>
                    <a:lnTo>
                      <a:pt x="1974" y="818"/>
                    </a:lnTo>
                    <a:lnTo>
                      <a:pt x="1988" y="824"/>
                    </a:lnTo>
                    <a:lnTo>
                      <a:pt x="2002" y="832"/>
                    </a:lnTo>
                    <a:lnTo>
                      <a:pt x="2016" y="838"/>
                    </a:lnTo>
                    <a:lnTo>
                      <a:pt x="2030" y="842"/>
                    </a:lnTo>
                    <a:lnTo>
                      <a:pt x="2038" y="844"/>
                    </a:lnTo>
                    <a:lnTo>
                      <a:pt x="2044" y="842"/>
                    </a:lnTo>
                    <a:lnTo>
                      <a:pt x="2052" y="840"/>
                    </a:lnTo>
                    <a:lnTo>
                      <a:pt x="2058" y="836"/>
                    </a:lnTo>
                    <a:lnTo>
                      <a:pt x="2058" y="836"/>
                    </a:lnTo>
                    <a:lnTo>
                      <a:pt x="2070" y="830"/>
                    </a:lnTo>
                    <a:lnTo>
                      <a:pt x="2078" y="826"/>
                    </a:lnTo>
                    <a:lnTo>
                      <a:pt x="2086" y="826"/>
                    </a:lnTo>
                    <a:lnTo>
                      <a:pt x="2092" y="828"/>
                    </a:lnTo>
                    <a:lnTo>
                      <a:pt x="2096" y="830"/>
                    </a:lnTo>
                    <a:lnTo>
                      <a:pt x="2100" y="830"/>
                    </a:lnTo>
                    <a:lnTo>
                      <a:pt x="2106" y="826"/>
                    </a:lnTo>
                    <a:lnTo>
                      <a:pt x="2112" y="818"/>
                    </a:lnTo>
                    <a:lnTo>
                      <a:pt x="2112" y="818"/>
                    </a:lnTo>
                    <a:lnTo>
                      <a:pt x="2118" y="810"/>
                    </a:lnTo>
                    <a:lnTo>
                      <a:pt x="2118" y="806"/>
                    </a:lnTo>
                    <a:lnTo>
                      <a:pt x="2116" y="802"/>
                    </a:lnTo>
                    <a:lnTo>
                      <a:pt x="2112" y="796"/>
                    </a:lnTo>
                    <a:lnTo>
                      <a:pt x="2104" y="792"/>
                    </a:lnTo>
                    <a:lnTo>
                      <a:pt x="2092" y="790"/>
                    </a:lnTo>
                    <a:lnTo>
                      <a:pt x="2080" y="788"/>
                    </a:lnTo>
                    <a:lnTo>
                      <a:pt x="2054" y="786"/>
                    </a:lnTo>
                    <a:lnTo>
                      <a:pt x="2054" y="786"/>
                    </a:lnTo>
                    <a:lnTo>
                      <a:pt x="2044" y="786"/>
                    </a:lnTo>
                    <a:lnTo>
                      <a:pt x="2040" y="784"/>
                    </a:lnTo>
                    <a:lnTo>
                      <a:pt x="2040" y="780"/>
                    </a:lnTo>
                    <a:lnTo>
                      <a:pt x="2040" y="776"/>
                    </a:lnTo>
                    <a:lnTo>
                      <a:pt x="2046" y="768"/>
                    </a:lnTo>
                    <a:lnTo>
                      <a:pt x="2054" y="762"/>
                    </a:lnTo>
                    <a:lnTo>
                      <a:pt x="2066" y="758"/>
                    </a:lnTo>
                    <a:lnTo>
                      <a:pt x="2078" y="754"/>
                    </a:lnTo>
                    <a:lnTo>
                      <a:pt x="2092" y="752"/>
                    </a:lnTo>
                    <a:lnTo>
                      <a:pt x="2092" y="752"/>
                    </a:lnTo>
                    <a:lnTo>
                      <a:pt x="2104" y="754"/>
                    </a:lnTo>
                    <a:lnTo>
                      <a:pt x="2112" y="758"/>
                    </a:lnTo>
                    <a:lnTo>
                      <a:pt x="2122" y="766"/>
                    </a:lnTo>
                    <a:lnTo>
                      <a:pt x="2128" y="768"/>
                    </a:lnTo>
                    <a:lnTo>
                      <a:pt x="2132" y="770"/>
                    </a:lnTo>
                    <a:lnTo>
                      <a:pt x="2142" y="768"/>
                    </a:lnTo>
                    <a:lnTo>
                      <a:pt x="2152" y="766"/>
                    </a:lnTo>
                    <a:lnTo>
                      <a:pt x="2152" y="766"/>
                    </a:lnTo>
                    <a:lnTo>
                      <a:pt x="2162" y="762"/>
                    </a:lnTo>
                    <a:lnTo>
                      <a:pt x="2164" y="758"/>
                    </a:lnTo>
                    <a:lnTo>
                      <a:pt x="2166" y="754"/>
                    </a:lnTo>
                    <a:lnTo>
                      <a:pt x="2162" y="750"/>
                    </a:lnTo>
                    <a:lnTo>
                      <a:pt x="2154" y="746"/>
                    </a:lnTo>
                    <a:lnTo>
                      <a:pt x="2146" y="742"/>
                    </a:lnTo>
                    <a:lnTo>
                      <a:pt x="2134" y="740"/>
                    </a:lnTo>
                    <a:lnTo>
                      <a:pt x="2120" y="738"/>
                    </a:lnTo>
                    <a:lnTo>
                      <a:pt x="2120" y="738"/>
                    </a:lnTo>
                    <a:lnTo>
                      <a:pt x="2112" y="738"/>
                    </a:lnTo>
                    <a:lnTo>
                      <a:pt x="2108" y="736"/>
                    </a:lnTo>
                    <a:lnTo>
                      <a:pt x="2104" y="732"/>
                    </a:lnTo>
                    <a:lnTo>
                      <a:pt x="2102" y="728"/>
                    </a:lnTo>
                    <a:lnTo>
                      <a:pt x="2100" y="718"/>
                    </a:lnTo>
                    <a:lnTo>
                      <a:pt x="2102" y="708"/>
                    </a:lnTo>
                    <a:lnTo>
                      <a:pt x="2108" y="700"/>
                    </a:lnTo>
                    <a:lnTo>
                      <a:pt x="2114" y="694"/>
                    </a:lnTo>
                    <a:lnTo>
                      <a:pt x="2118" y="692"/>
                    </a:lnTo>
                    <a:lnTo>
                      <a:pt x="2122" y="692"/>
                    </a:lnTo>
                    <a:lnTo>
                      <a:pt x="2124" y="692"/>
                    </a:lnTo>
                    <a:lnTo>
                      <a:pt x="2126" y="696"/>
                    </a:lnTo>
                    <a:lnTo>
                      <a:pt x="2126" y="696"/>
                    </a:lnTo>
                    <a:lnTo>
                      <a:pt x="2132" y="700"/>
                    </a:lnTo>
                    <a:lnTo>
                      <a:pt x="2140" y="702"/>
                    </a:lnTo>
                    <a:lnTo>
                      <a:pt x="2148" y="702"/>
                    </a:lnTo>
                    <a:lnTo>
                      <a:pt x="2154" y="698"/>
                    </a:lnTo>
                    <a:lnTo>
                      <a:pt x="2158" y="692"/>
                    </a:lnTo>
                    <a:lnTo>
                      <a:pt x="2162" y="686"/>
                    </a:lnTo>
                    <a:lnTo>
                      <a:pt x="2160" y="678"/>
                    </a:lnTo>
                    <a:lnTo>
                      <a:pt x="2156" y="670"/>
                    </a:lnTo>
                    <a:lnTo>
                      <a:pt x="2156" y="670"/>
                    </a:lnTo>
                    <a:lnTo>
                      <a:pt x="2150" y="662"/>
                    </a:lnTo>
                    <a:lnTo>
                      <a:pt x="2150" y="658"/>
                    </a:lnTo>
                    <a:lnTo>
                      <a:pt x="2154" y="656"/>
                    </a:lnTo>
                    <a:lnTo>
                      <a:pt x="2156" y="656"/>
                    </a:lnTo>
                    <a:lnTo>
                      <a:pt x="2160" y="656"/>
                    </a:lnTo>
                    <a:lnTo>
                      <a:pt x="2160" y="654"/>
                    </a:lnTo>
                    <a:lnTo>
                      <a:pt x="2144" y="646"/>
                    </a:lnTo>
                    <a:lnTo>
                      <a:pt x="2144" y="646"/>
                    </a:lnTo>
                    <a:lnTo>
                      <a:pt x="2132" y="640"/>
                    </a:lnTo>
                    <a:lnTo>
                      <a:pt x="2128" y="636"/>
                    </a:lnTo>
                    <a:lnTo>
                      <a:pt x="2128" y="634"/>
                    </a:lnTo>
                    <a:lnTo>
                      <a:pt x="2130" y="632"/>
                    </a:lnTo>
                    <a:lnTo>
                      <a:pt x="2140" y="628"/>
                    </a:lnTo>
                    <a:lnTo>
                      <a:pt x="2142" y="624"/>
                    </a:lnTo>
                    <a:lnTo>
                      <a:pt x="2142" y="620"/>
                    </a:lnTo>
                    <a:lnTo>
                      <a:pt x="2142" y="620"/>
                    </a:lnTo>
                    <a:lnTo>
                      <a:pt x="2140" y="616"/>
                    </a:lnTo>
                    <a:lnTo>
                      <a:pt x="2136" y="614"/>
                    </a:lnTo>
                    <a:lnTo>
                      <a:pt x="2126" y="612"/>
                    </a:lnTo>
                    <a:lnTo>
                      <a:pt x="2098" y="612"/>
                    </a:lnTo>
                    <a:lnTo>
                      <a:pt x="2084" y="612"/>
                    </a:lnTo>
                    <a:lnTo>
                      <a:pt x="2074" y="612"/>
                    </a:lnTo>
                    <a:lnTo>
                      <a:pt x="2066" y="608"/>
                    </a:lnTo>
                    <a:lnTo>
                      <a:pt x="2064" y="606"/>
                    </a:lnTo>
                    <a:lnTo>
                      <a:pt x="2062" y="602"/>
                    </a:lnTo>
                    <a:lnTo>
                      <a:pt x="2062" y="602"/>
                    </a:lnTo>
                    <a:lnTo>
                      <a:pt x="2062" y="598"/>
                    </a:lnTo>
                    <a:lnTo>
                      <a:pt x="2060" y="594"/>
                    </a:lnTo>
                    <a:lnTo>
                      <a:pt x="2056" y="590"/>
                    </a:lnTo>
                    <a:lnTo>
                      <a:pt x="2048" y="586"/>
                    </a:lnTo>
                    <a:lnTo>
                      <a:pt x="2040" y="582"/>
                    </a:lnTo>
                    <a:lnTo>
                      <a:pt x="2032" y="580"/>
                    </a:lnTo>
                    <a:lnTo>
                      <a:pt x="2028" y="578"/>
                    </a:lnTo>
                    <a:lnTo>
                      <a:pt x="2026" y="576"/>
                    </a:lnTo>
                    <a:lnTo>
                      <a:pt x="2028" y="574"/>
                    </a:lnTo>
                    <a:lnTo>
                      <a:pt x="2032" y="568"/>
                    </a:lnTo>
                    <a:lnTo>
                      <a:pt x="2032" y="568"/>
                    </a:lnTo>
                    <a:lnTo>
                      <a:pt x="2040" y="566"/>
                    </a:lnTo>
                    <a:lnTo>
                      <a:pt x="2046" y="566"/>
                    </a:lnTo>
                    <a:lnTo>
                      <a:pt x="2050" y="570"/>
                    </a:lnTo>
                    <a:lnTo>
                      <a:pt x="2054" y="574"/>
                    </a:lnTo>
                    <a:lnTo>
                      <a:pt x="2058" y="578"/>
                    </a:lnTo>
                    <a:lnTo>
                      <a:pt x="2064" y="580"/>
                    </a:lnTo>
                    <a:lnTo>
                      <a:pt x="2072" y="580"/>
                    </a:lnTo>
                    <a:lnTo>
                      <a:pt x="2082" y="574"/>
                    </a:lnTo>
                    <a:lnTo>
                      <a:pt x="2082" y="574"/>
                    </a:lnTo>
                    <a:lnTo>
                      <a:pt x="2094" y="566"/>
                    </a:lnTo>
                    <a:lnTo>
                      <a:pt x="2106" y="562"/>
                    </a:lnTo>
                    <a:lnTo>
                      <a:pt x="2120" y="560"/>
                    </a:lnTo>
                    <a:lnTo>
                      <a:pt x="2132" y="560"/>
                    </a:lnTo>
                    <a:lnTo>
                      <a:pt x="2144" y="562"/>
                    </a:lnTo>
                    <a:lnTo>
                      <a:pt x="2156" y="564"/>
                    </a:lnTo>
                    <a:lnTo>
                      <a:pt x="2178" y="574"/>
                    </a:lnTo>
                    <a:lnTo>
                      <a:pt x="2178" y="574"/>
                    </a:lnTo>
                    <a:lnTo>
                      <a:pt x="2188" y="576"/>
                    </a:lnTo>
                    <a:lnTo>
                      <a:pt x="2196" y="574"/>
                    </a:lnTo>
                    <a:lnTo>
                      <a:pt x="2202" y="570"/>
                    </a:lnTo>
                    <a:lnTo>
                      <a:pt x="2206" y="564"/>
                    </a:lnTo>
                    <a:lnTo>
                      <a:pt x="2208" y="556"/>
                    </a:lnTo>
                    <a:lnTo>
                      <a:pt x="2206" y="546"/>
                    </a:lnTo>
                    <a:lnTo>
                      <a:pt x="2202" y="536"/>
                    </a:lnTo>
                    <a:lnTo>
                      <a:pt x="2194" y="528"/>
                    </a:lnTo>
                    <a:lnTo>
                      <a:pt x="2194" y="528"/>
                    </a:lnTo>
                    <a:lnTo>
                      <a:pt x="2186" y="522"/>
                    </a:lnTo>
                    <a:lnTo>
                      <a:pt x="2180" y="522"/>
                    </a:lnTo>
                    <a:lnTo>
                      <a:pt x="2176" y="524"/>
                    </a:lnTo>
                    <a:lnTo>
                      <a:pt x="2172" y="528"/>
                    </a:lnTo>
                    <a:lnTo>
                      <a:pt x="2166" y="532"/>
                    </a:lnTo>
                    <a:lnTo>
                      <a:pt x="2158" y="534"/>
                    </a:lnTo>
                    <a:lnTo>
                      <a:pt x="2148" y="532"/>
                    </a:lnTo>
                    <a:lnTo>
                      <a:pt x="2132" y="524"/>
                    </a:lnTo>
                    <a:lnTo>
                      <a:pt x="2132" y="524"/>
                    </a:lnTo>
                    <a:lnTo>
                      <a:pt x="2106" y="506"/>
                    </a:lnTo>
                    <a:lnTo>
                      <a:pt x="2102" y="502"/>
                    </a:lnTo>
                    <a:lnTo>
                      <a:pt x="2102" y="500"/>
                    </a:lnTo>
                    <a:lnTo>
                      <a:pt x="2102" y="498"/>
                    </a:lnTo>
                    <a:lnTo>
                      <a:pt x="2106" y="498"/>
                    </a:lnTo>
                    <a:lnTo>
                      <a:pt x="2116" y="498"/>
                    </a:lnTo>
                    <a:lnTo>
                      <a:pt x="2144" y="504"/>
                    </a:lnTo>
                    <a:lnTo>
                      <a:pt x="2144" y="504"/>
                    </a:lnTo>
                    <a:lnTo>
                      <a:pt x="2170" y="508"/>
                    </a:lnTo>
                    <a:lnTo>
                      <a:pt x="2174" y="508"/>
                    </a:lnTo>
                    <a:lnTo>
                      <a:pt x="2174" y="506"/>
                    </a:lnTo>
                    <a:lnTo>
                      <a:pt x="2168" y="502"/>
                    </a:lnTo>
                    <a:lnTo>
                      <a:pt x="2156" y="496"/>
                    </a:lnTo>
                    <a:lnTo>
                      <a:pt x="2120" y="480"/>
                    </a:lnTo>
                    <a:lnTo>
                      <a:pt x="2120" y="480"/>
                    </a:lnTo>
                    <a:lnTo>
                      <a:pt x="2100" y="474"/>
                    </a:lnTo>
                    <a:lnTo>
                      <a:pt x="2086" y="474"/>
                    </a:lnTo>
                    <a:lnTo>
                      <a:pt x="2078" y="476"/>
                    </a:lnTo>
                    <a:lnTo>
                      <a:pt x="2074" y="482"/>
                    </a:lnTo>
                    <a:lnTo>
                      <a:pt x="2070" y="494"/>
                    </a:lnTo>
                    <a:lnTo>
                      <a:pt x="2066" y="500"/>
                    </a:lnTo>
                    <a:lnTo>
                      <a:pt x="2060" y="504"/>
                    </a:lnTo>
                    <a:lnTo>
                      <a:pt x="2060" y="504"/>
                    </a:lnTo>
                    <a:lnTo>
                      <a:pt x="2056" y="504"/>
                    </a:lnTo>
                    <a:lnTo>
                      <a:pt x="2054" y="502"/>
                    </a:lnTo>
                    <a:lnTo>
                      <a:pt x="2052" y="500"/>
                    </a:lnTo>
                    <a:lnTo>
                      <a:pt x="2052" y="498"/>
                    </a:lnTo>
                    <a:lnTo>
                      <a:pt x="2054" y="490"/>
                    </a:lnTo>
                    <a:lnTo>
                      <a:pt x="2060" y="478"/>
                    </a:lnTo>
                    <a:lnTo>
                      <a:pt x="2072" y="454"/>
                    </a:lnTo>
                    <a:lnTo>
                      <a:pt x="2080" y="440"/>
                    </a:lnTo>
                    <a:lnTo>
                      <a:pt x="2086" y="426"/>
                    </a:lnTo>
                    <a:lnTo>
                      <a:pt x="2086" y="426"/>
                    </a:lnTo>
                    <a:lnTo>
                      <a:pt x="2090" y="414"/>
                    </a:lnTo>
                    <a:lnTo>
                      <a:pt x="2096" y="408"/>
                    </a:lnTo>
                    <a:lnTo>
                      <a:pt x="2104" y="404"/>
                    </a:lnTo>
                    <a:lnTo>
                      <a:pt x="2110" y="404"/>
                    </a:lnTo>
                    <a:lnTo>
                      <a:pt x="2124" y="404"/>
                    </a:lnTo>
                    <a:lnTo>
                      <a:pt x="2130" y="404"/>
                    </a:lnTo>
                    <a:lnTo>
                      <a:pt x="2134" y="402"/>
                    </a:lnTo>
                    <a:lnTo>
                      <a:pt x="2134" y="402"/>
                    </a:lnTo>
                    <a:lnTo>
                      <a:pt x="2146" y="392"/>
                    </a:lnTo>
                    <a:lnTo>
                      <a:pt x="2160" y="382"/>
                    </a:lnTo>
                    <a:lnTo>
                      <a:pt x="2166" y="376"/>
                    </a:lnTo>
                    <a:lnTo>
                      <a:pt x="2168" y="372"/>
                    </a:lnTo>
                    <a:lnTo>
                      <a:pt x="2168" y="370"/>
                    </a:lnTo>
                    <a:lnTo>
                      <a:pt x="2166" y="368"/>
                    </a:lnTo>
                    <a:lnTo>
                      <a:pt x="2160" y="366"/>
                    </a:lnTo>
                    <a:lnTo>
                      <a:pt x="2160" y="366"/>
                    </a:lnTo>
                    <a:lnTo>
                      <a:pt x="2152" y="362"/>
                    </a:lnTo>
                    <a:lnTo>
                      <a:pt x="2146" y="358"/>
                    </a:lnTo>
                    <a:lnTo>
                      <a:pt x="2144" y="354"/>
                    </a:lnTo>
                    <a:lnTo>
                      <a:pt x="2144" y="348"/>
                    </a:lnTo>
                    <a:lnTo>
                      <a:pt x="2146" y="344"/>
                    </a:lnTo>
                    <a:lnTo>
                      <a:pt x="2150" y="338"/>
                    </a:lnTo>
                    <a:lnTo>
                      <a:pt x="2158" y="336"/>
                    </a:lnTo>
                    <a:lnTo>
                      <a:pt x="2168" y="334"/>
                    </a:lnTo>
                    <a:lnTo>
                      <a:pt x="2168" y="334"/>
                    </a:lnTo>
                    <a:lnTo>
                      <a:pt x="2190" y="334"/>
                    </a:lnTo>
                    <a:lnTo>
                      <a:pt x="2204" y="330"/>
                    </a:lnTo>
                    <a:lnTo>
                      <a:pt x="2216" y="322"/>
                    </a:lnTo>
                    <a:lnTo>
                      <a:pt x="2228" y="310"/>
                    </a:lnTo>
                    <a:lnTo>
                      <a:pt x="2228" y="310"/>
                    </a:lnTo>
                    <a:lnTo>
                      <a:pt x="2230" y="306"/>
                    </a:lnTo>
                    <a:lnTo>
                      <a:pt x="2230" y="304"/>
                    </a:lnTo>
                    <a:lnTo>
                      <a:pt x="2228" y="302"/>
                    </a:lnTo>
                    <a:lnTo>
                      <a:pt x="2226" y="300"/>
                    </a:lnTo>
                    <a:lnTo>
                      <a:pt x="2214" y="300"/>
                    </a:lnTo>
                    <a:lnTo>
                      <a:pt x="2200" y="300"/>
                    </a:lnTo>
                    <a:lnTo>
                      <a:pt x="2162" y="308"/>
                    </a:lnTo>
                    <a:lnTo>
                      <a:pt x="2142" y="312"/>
                    </a:lnTo>
                    <a:lnTo>
                      <a:pt x="2124" y="318"/>
                    </a:lnTo>
                    <a:lnTo>
                      <a:pt x="2124" y="318"/>
                    </a:lnTo>
                    <a:lnTo>
                      <a:pt x="2112" y="322"/>
                    </a:lnTo>
                    <a:lnTo>
                      <a:pt x="2108" y="320"/>
                    </a:lnTo>
                    <a:lnTo>
                      <a:pt x="2106" y="320"/>
                    </a:lnTo>
                    <a:lnTo>
                      <a:pt x="2106" y="316"/>
                    </a:lnTo>
                    <a:lnTo>
                      <a:pt x="2108" y="314"/>
                    </a:lnTo>
                    <a:lnTo>
                      <a:pt x="2114" y="306"/>
                    </a:lnTo>
                    <a:lnTo>
                      <a:pt x="2124" y="298"/>
                    </a:lnTo>
                    <a:lnTo>
                      <a:pt x="2138" y="292"/>
                    </a:lnTo>
                    <a:lnTo>
                      <a:pt x="2152" y="288"/>
                    </a:lnTo>
                    <a:lnTo>
                      <a:pt x="2160" y="288"/>
                    </a:lnTo>
                    <a:lnTo>
                      <a:pt x="2168" y="288"/>
                    </a:lnTo>
                    <a:lnTo>
                      <a:pt x="2168" y="288"/>
                    </a:lnTo>
                    <a:lnTo>
                      <a:pt x="2182" y="292"/>
                    </a:lnTo>
                    <a:lnTo>
                      <a:pt x="2198" y="292"/>
                    </a:lnTo>
                    <a:lnTo>
                      <a:pt x="2214" y="292"/>
                    </a:lnTo>
                    <a:lnTo>
                      <a:pt x="2228" y="290"/>
                    </a:lnTo>
                    <a:lnTo>
                      <a:pt x="2256" y="284"/>
                    </a:lnTo>
                    <a:lnTo>
                      <a:pt x="2278" y="276"/>
                    </a:lnTo>
                    <a:lnTo>
                      <a:pt x="2278" y="276"/>
                    </a:lnTo>
                    <a:lnTo>
                      <a:pt x="2284" y="270"/>
                    </a:lnTo>
                    <a:lnTo>
                      <a:pt x="2286" y="268"/>
                    </a:lnTo>
                    <a:lnTo>
                      <a:pt x="2284" y="268"/>
                    </a:lnTo>
                    <a:lnTo>
                      <a:pt x="2280" y="264"/>
                    </a:lnTo>
                    <a:lnTo>
                      <a:pt x="2270" y="262"/>
                    </a:lnTo>
                    <a:lnTo>
                      <a:pt x="2244" y="260"/>
                    </a:lnTo>
                    <a:lnTo>
                      <a:pt x="2232" y="260"/>
                    </a:lnTo>
                    <a:lnTo>
                      <a:pt x="2220" y="262"/>
                    </a:lnTo>
                    <a:lnTo>
                      <a:pt x="2220" y="262"/>
                    </a:lnTo>
                    <a:lnTo>
                      <a:pt x="2206" y="264"/>
                    </a:lnTo>
                    <a:lnTo>
                      <a:pt x="2188" y="264"/>
                    </a:lnTo>
                    <a:lnTo>
                      <a:pt x="2154" y="262"/>
                    </a:lnTo>
                    <a:lnTo>
                      <a:pt x="2134" y="258"/>
                    </a:lnTo>
                    <a:lnTo>
                      <a:pt x="2150" y="258"/>
                    </a:lnTo>
                    <a:lnTo>
                      <a:pt x="2150" y="258"/>
                    </a:lnTo>
                    <a:lnTo>
                      <a:pt x="2168" y="260"/>
                    </a:lnTo>
                    <a:lnTo>
                      <a:pt x="2182" y="258"/>
                    </a:lnTo>
                    <a:lnTo>
                      <a:pt x="2192" y="256"/>
                    </a:lnTo>
                    <a:lnTo>
                      <a:pt x="2200" y="252"/>
                    </a:lnTo>
                    <a:lnTo>
                      <a:pt x="2214" y="248"/>
                    </a:lnTo>
                    <a:lnTo>
                      <a:pt x="2222" y="246"/>
                    </a:lnTo>
                    <a:lnTo>
                      <a:pt x="2232" y="248"/>
                    </a:lnTo>
                    <a:lnTo>
                      <a:pt x="2232" y="248"/>
                    </a:lnTo>
                    <a:lnTo>
                      <a:pt x="2244" y="250"/>
                    </a:lnTo>
                    <a:lnTo>
                      <a:pt x="2254" y="250"/>
                    </a:lnTo>
                    <a:lnTo>
                      <a:pt x="2274" y="248"/>
                    </a:lnTo>
                    <a:lnTo>
                      <a:pt x="2298" y="244"/>
                    </a:lnTo>
                    <a:lnTo>
                      <a:pt x="2330" y="242"/>
                    </a:lnTo>
                    <a:lnTo>
                      <a:pt x="2330" y="242"/>
                    </a:lnTo>
                    <a:lnTo>
                      <a:pt x="2342" y="240"/>
                    </a:lnTo>
                    <a:lnTo>
                      <a:pt x="2344" y="238"/>
                    </a:lnTo>
                    <a:lnTo>
                      <a:pt x="2344" y="238"/>
                    </a:lnTo>
                    <a:lnTo>
                      <a:pt x="2342" y="232"/>
                    </a:lnTo>
                    <a:lnTo>
                      <a:pt x="2336" y="228"/>
                    </a:lnTo>
                    <a:lnTo>
                      <a:pt x="2330" y="224"/>
                    </a:lnTo>
                    <a:lnTo>
                      <a:pt x="2328" y="220"/>
                    </a:lnTo>
                    <a:lnTo>
                      <a:pt x="2330" y="220"/>
                    </a:lnTo>
                    <a:lnTo>
                      <a:pt x="2334" y="218"/>
                    </a:lnTo>
                    <a:lnTo>
                      <a:pt x="2348" y="218"/>
                    </a:lnTo>
                    <a:lnTo>
                      <a:pt x="2348" y="218"/>
                    </a:lnTo>
                    <a:lnTo>
                      <a:pt x="2360" y="216"/>
                    </a:lnTo>
                    <a:lnTo>
                      <a:pt x="2372" y="214"/>
                    </a:lnTo>
                    <a:lnTo>
                      <a:pt x="2382" y="212"/>
                    </a:lnTo>
                    <a:lnTo>
                      <a:pt x="2392" y="206"/>
                    </a:lnTo>
                    <a:lnTo>
                      <a:pt x="2412" y="196"/>
                    </a:lnTo>
                    <a:lnTo>
                      <a:pt x="2436" y="182"/>
                    </a:lnTo>
                    <a:lnTo>
                      <a:pt x="2436" y="182"/>
                    </a:lnTo>
                    <a:lnTo>
                      <a:pt x="2440" y="180"/>
                    </a:lnTo>
                    <a:lnTo>
                      <a:pt x="2442" y="176"/>
                    </a:lnTo>
                    <a:lnTo>
                      <a:pt x="2438" y="174"/>
                    </a:lnTo>
                    <a:lnTo>
                      <a:pt x="2434" y="170"/>
                    </a:lnTo>
                    <a:lnTo>
                      <a:pt x="2414" y="164"/>
                    </a:lnTo>
                    <a:lnTo>
                      <a:pt x="2388" y="158"/>
                    </a:lnTo>
                    <a:lnTo>
                      <a:pt x="2356" y="154"/>
                    </a:lnTo>
                    <a:lnTo>
                      <a:pt x="2322" y="150"/>
                    </a:lnTo>
                    <a:lnTo>
                      <a:pt x="2292" y="148"/>
                    </a:lnTo>
                    <a:lnTo>
                      <a:pt x="2264" y="150"/>
                    </a:lnTo>
                    <a:lnTo>
                      <a:pt x="2264" y="150"/>
                    </a:lnTo>
                    <a:lnTo>
                      <a:pt x="2244" y="152"/>
                    </a:lnTo>
                    <a:lnTo>
                      <a:pt x="2230" y="158"/>
                    </a:lnTo>
                    <a:lnTo>
                      <a:pt x="2220" y="164"/>
                    </a:lnTo>
                    <a:lnTo>
                      <a:pt x="2214" y="172"/>
                    </a:lnTo>
                    <a:lnTo>
                      <a:pt x="2210" y="180"/>
                    </a:lnTo>
                    <a:lnTo>
                      <a:pt x="2204" y="184"/>
                    </a:lnTo>
                    <a:lnTo>
                      <a:pt x="2198" y="186"/>
                    </a:lnTo>
                    <a:lnTo>
                      <a:pt x="2188" y="186"/>
                    </a:lnTo>
                    <a:lnTo>
                      <a:pt x="2188" y="186"/>
                    </a:lnTo>
                    <a:lnTo>
                      <a:pt x="2176" y="184"/>
                    </a:lnTo>
                    <a:lnTo>
                      <a:pt x="2162" y="182"/>
                    </a:lnTo>
                    <a:lnTo>
                      <a:pt x="2140" y="184"/>
                    </a:lnTo>
                    <a:lnTo>
                      <a:pt x="2126" y="184"/>
                    </a:lnTo>
                    <a:lnTo>
                      <a:pt x="2126" y="182"/>
                    </a:lnTo>
                    <a:lnTo>
                      <a:pt x="2126" y="182"/>
                    </a:lnTo>
                    <a:lnTo>
                      <a:pt x="2130" y="178"/>
                    </a:lnTo>
                    <a:lnTo>
                      <a:pt x="2130" y="178"/>
                    </a:lnTo>
                    <a:lnTo>
                      <a:pt x="2134" y="172"/>
                    </a:lnTo>
                    <a:lnTo>
                      <a:pt x="2134" y="170"/>
                    </a:lnTo>
                    <a:lnTo>
                      <a:pt x="2128" y="170"/>
                    </a:lnTo>
                    <a:lnTo>
                      <a:pt x="2120" y="172"/>
                    </a:lnTo>
                    <a:lnTo>
                      <a:pt x="2108" y="176"/>
                    </a:lnTo>
                    <a:lnTo>
                      <a:pt x="2092" y="184"/>
                    </a:lnTo>
                    <a:lnTo>
                      <a:pt x="2074" y="196"/>
                    </a:lnTo>
                    <a:lnTo>
                      <a:pt x="2050" y="210"/>
                    </a:lnTo>
                    <a:lnTo>
                      <a:pt x="2050" y="210"/>
                    </a:lnTo>
                    <a:lnTo>
                      <a:pt x="2028" y="224"/>
                    </a:lnTo>
                    <a:lnTo>
                      <a:pt x="2010" y="234"/>
                    </a:lnTo>
                    <a:lnTo>
                      <a:pt x="1996" y="242"/>
                    </a:lnTo>
                    <a:lnTo>
                      <a:pt x="1986" y="244"/>
                    </a:lnTo>
                    <a:lnTo>
                      <a:pt x="1984" y="244"/>
                    </a:lnTo>
                    <a:lnTo>
                      <a:pt x="1982" y="244"/>
                    </a:lnTo>
                    <a:lnTo>
                      <a:pt x="1984" y="238"/>
                    </a:lnTo>
                    <a:lnTo>
                      <a:pt x="1992" y="228"/>
                    </a:lnTo>
                    <a:lnTo>
                      <a:pt x="2008" y="216"/>
                    </a:lnTo>
                    <a:lnTo>
                      <a:pt x="2008" y="216"/>
                    </a:lnTo>
                    <a:lnTo>
                      <a:pt x="2026" y="200"/>
                    </a:lnTo>
                    <a:lnTo>
                      <a:pt x="2040" y="186"/>
                    </a:lnTo>
                    <a:lnTo>
                      <a:pt x="2050" y="172"/>
                    </a:lnTo>
                    <a:lnTo>
                      <a:pt x="2052" y="166"/>
                    </a:lnTo>
                    <a:lnTo>
                      <a:pt x="2052" y="160"/>
                    </a:lnTo>
                    <a:lnTo>
                      <a:pt x="2052" y="156"/>
                    </a:lnTo>
                    <a:lnTo>
                      <a:pt x="2050" y="150"/>
                    </a:lnTo>
                    <a:lnTo>
                      <a:pt x="2048" y="146"/>
                    </a:lnTo>
                    <a:lnTo>
                      <a:pt x="2042" y="144"/>
                    </a:lnTo>
                    <a:lnTo>
                      <a:pt x="2036" y="140"/>
                    </a:lnTo>
                    <a:lnTo>
                      <a:pt x="2028" y="138"/>
                    </a:lnTo>
                    <a:lnTo>
                      <a:pt x="2004" y="138"/>
                    </a:lnTo>
                    <a:lnTo>
                      <a:pt x="2004" y="138"/>
                    </a:lnTo>
                    <a:lnTo>
                      <a:pt x="1984" y="138"/>
                    </a:lnTo>
                    <a:lnTo>
                      <a:pt x="1972" y="142"/>
                    </a:lnTo>
                    <a:lnTo>
                      <a:pt x="1964" y="146"/>
                    </a:lnTo>
                    <a:lnTo>
                      <a:pt x="1962" y="152"/>
                    </a:lnTo>
                    <a:lnTo>
                      <a:pt x="1960" y="156"/>
                    </a:lnTo>
                    <a:lnTo>
                      <a:pt x="1958" y="162"/>
                    </a:lnTo>
                    <a:lnTo>
                      <a:pt x="1952" y="168"/>
                    </a:lnTo>
                    <a:lnTo>
                      <a:pt x="1940" y="172"/>
                    </a:lnTo>
                    <a:lnTo>
                      <a:pt x="1940" y="172"/>
                    </a:lnTo>
                    <a:lnTo>
                      <a:pt x="1910" y="178"/>
                    </a:lnTo>
                    <a:lnTo>
                      <a:pt x="1886" y="182"/>
                    </a:lnTo>
                    <a:lnTo>
                      <a:pt x="1878" y="182"/>
                    </a:lnTo>
                    <a:lnTo>
                      <a:pt x="1876" y="180"/>
                    </a:lnTo>
                    <a:lnTo>
                      <a:pt x="1880" y="176"/>
                    </a:lnTo>
                    <a:lnTo>
                      <a:pt x="1890" y="172"/>
                    </a:lnTo>
                    <a:lnTo>
                      <a:pt x="1890" y="172"/>
                    </a:lnTo>
                    <a:lnTo>
                      <a:pt x="1916" y="160"/>
                    </a:lnTo>
                    <a:lnTo>
                      <a:pt x="1922" y="154"/>
                    </a:lnTo>
                    <a:lnTo>
                      <a:pt x="1924" y="152"/>
                    </a:lnTo>
                    <a:lnTo>
                      <a:pt x="1924" y="150"/>
                    </a:lnTo>
                    <a:lnTo>
                      <a:pt x="1924" y="148"/>
                    </a:lnTo>
                    <a:lnTo>
                      <a:pt x="1920" y="148"/>
                    </a:lnTo>
                    <a:lnTo>
                      <a:pt x="1906" y="144"/>
                    </a:lnTo>
                    <a:lnTo>
                      <a:pt x="1884" y="142"/>
                    </a:lnTo>
                    <a:lnTo>
                      <a:pt x="1852" y="140"/>
                    </a:lnTo>
                    <a:lnTo>
                      <a:pt x="1852" y="140"/>
                    </a:lnTo>
                    <a:lnTo>
                      <a:pt x="1812" y="142"/>
                    </a:lnTo>
                    <a:lnTo>
                      <a:pt x="1770" y="146"/>
                    </a:lnTo>
                    <a:lnTo>
                      <a:pt x="1730" y="152"/>
                    </a:lnTo>
                    <a:lnTo>
                      <a:pt x="1694" y="160"/>
                    </a:lnTo>
                    <a:lnTo>
                      <a:pt x="1636" y="172"/>
                    </a:lnTo>
                    <a:lnTo>
                      <a:pt x="1616" y="174"/>
                    </a:lnTo>
                    <a:lnTo>
                      <a:pt x="1610" y="174"/>
                    </a:lnTo>
                    <a:lnTo>
                      <a:pt x="1608" y="174"/>
                    </a:lnTo>
                    <a:lnTo>
                      <a:pt x="1608" y="174"/>
                    </a:lnTo>
                    <a:lnTo>
                      <a:pt x="1604" y="170"/>
                    </a:lnTo>
                    <a:lnTo>
                      <a:pt x="1602" y="168"/>
                    </a:lnTo>
                    <a:lnTo>
                      <a:pt x="1604" y="164"/>
                    </a:lnTo>
                    <a:lnTo>
                      <a:pt x="1606" y="162"/>
                    </a:lnTo>
                    <a:lnTo>
                      <a:pt x="1618" y="156"/>
                    </a:lnTo>
                    <a:lnTo>
                      <a:pt x="1636" y="152"/>
                    </a:lnTo>
                    <a:lnTo>
                      <a:pt x="1686" y="142"/>
                    </a:lnTo>
                    <a:lnTo>
                      <a:pt x="1744" y="134"/>
                    </a:lnTo>
                    <a:lnTo>
                      <a:pt x="1744" y="134"/>
                    </a:lnTo>
                    <a:lnTo>
                      <a:pt x="1772" y="130"/>
                    </a:lnTo>
                    <a:lnTo>
                      <a:pt x="1802" y="130"/>
                    </a:lnTo>
                    <a:lnTo>
                      <a:pt x="1864" y="130"/>
                    </a:lnTo>
                    <a:lnTo>
                      <a:pt x="1926" y="130"/>
                    </a:lnTo>
                    <a:lnTo>
                      <a:pt x="1956" y="128"/>
                    </a:lnTo>
                    <a:lnTo>
                      <a:pt x="1984" y="124"/>
                    </a:lnTo>
                    <a:lnTo>
                      <a:pt x="1984" y="124"/>
                    </a:lnTo>
                    <a:lnTo>
                      <a:pt x="2020" y="114"/>
                    </a:lnTo>
                    <a:lnTo>
                      <a:pt x="2054" y="104"/>
                    </a:lnTo>
                    <a:lnTo>
                      <a:pt x="2066" y="98"/>
                    </a:lnTo>
                    <a:lnTo>
                      <a:pt x="2072" y="92"/>
                    </a:lnTo>
                    <a:lnTo>
                      <a:pt x="2072" y="90"/>
                    </a:lnTo>
                    <a:lnTo>
                      <a:pt x="2070" y="88"/>
                    </a:lnTo>
                    <a:lnTo>
                      <a:pt x="2062" y="84"/>
                    </a:lnTo>
                    <a:lnTo>
                      <a:pt x="2062" y="84"/>
                    </a:lnTo>
                    <a:lnTo>
                      <a:pt x="2034" y="78"/>
                    </a:lnTo>
                    <a:lnTo>
                      <a:pt x="2004" y="72"/>
                    </a:lnTo>
                    <a:lnTo>
                      <a:pt x="1988" y="70"/>
                    </a:lnTo>
                    <a:lnTo>
                      <a:pt x="1970" y="68"/>
                    </a:lnTo>
                    <a:lnTo>
                      <a:pt x="1952" y="70"/>
                    </a:lnTo>
                    <a:lnTo>
                      <a:pt x="1932" y="72"/>
                    </a:lnTo>
                    <a:lnTo>
                      <a:pt x="1932" y="72"/>
                    </a:lnTo>
                    <a:lnTo>
                      <a:pt x="1914" y="76"/>
                    </a:lnTo>
                    <a:lnTo>
                      <a:pt x="1916" y="74"/>
                    </a:lnTo>
                    <a:lnTo>
                      <a:pt x="1922" y="70"/>
                    </a:lnTo>
                    <a:lnTo>
                      <a:pt x="1930" y="64"/>
                    </a:lnTo>
                    <a:lnTo>
                      <a:pt x="1936" y="58"/>
                    </a:lnTo>
                    <a:lnTo>
                      <a:pt x="1938" y="56"/>
                    </a:lnTo>
                    <a:lnTo>
                      <a:pt x="1938" y="52"/>
                    </a:lnTo>
                    <a:lnTo>
                      <a:pt x="1936" y="50"/>
                    </a:lnTo>
                    <a:lnTo>
                      <a:pt x="1932" y="46"/>
                    </a:lnTo>
                    <a:lnTo>
                      <a:pt x="1932" y="46"/>
                    </a:lnTo>
                    <a:lnTo>
                      <a:pt x="1922" y="42"/>
                    </a:lnTo>
                    <a:lnTo>
                      <a:pt x="1912" y="42"/>
                    </a:lnTo>
                    <a:lnTo>
                      <a:pt x="1898" y="42"/>
                    </a:lnTo>
                    <a:lnTo>
                      <a:pt x="1884" y="46"/>
                    </a:lnTo>
                    <a:lnTo>
                      <a:pt x="1866" y="48"/>
                    </a:lnTo>
                    <a:lnTo>
                      <a:pt x="1846" y="50"/>
                    </a:lnTo>
                    <a:lnTo>
                      <a:pt x="1822" y="52"/>
                    </a:lnTo>
                    <a:lnTo>
                      <a:pt x="1794" y="50"/>
                    </a:lnTo>
                    <a:lnTo>
                      <a:pt x="1794" y="50"/>
                    </a:lnTo>
                    <a:lnTo>
                      <a:pt x="1766" y="48"/>
                    </a:lnTo>
                    <a:lnTo>
                      <a:pt x="1744" y="48"/>
                    </a:lnTo>
                    <a:lnTo>
                      <a:pt x="1724" y="52"/>
                    </a:lnTo>
                    <a:lnTo>
                      <a:pt x="1708" y="54"/>
                    </a:lnTo>
                    <a:lnTo>
                      <a:pt x="1678" y="60"/>
                    </a:lnTo>
                    <a:lnTo>
                      <a:pt x="1660" y="60"/>
                    </a:lnTo>
                    <a:lnTo>
                      <a:pt x="1638" y="60"/>
                    </a:lnTo>
                    <a:lnTo>
                      <a:pt x="1638" y="60"/>
                    </a:lnTo>
                    <a:lnTo>
                      <a:pt x="1622" y="58"/>
                    </a:lnTo>
                    <a:lnTo>
                      <a:pt x="1616" y="56"/>
                    </a:lnTo>
                    <a:lnTo>
                      <a:pt x="1618" y="54"/>
                    </a:lnTo>
                    <a:lnTo>
                      <a:pt x="1628" y="52"/>
                    </a:lnTo>
                    <a:lnTo>
                      <a:pt x="1692" y="46"/>
                    </a:lnTo>
                    <a:lnTo>
                      <a:pt x="1692" y="46"/>
                    </a:lnTo>
                    <a:lnTo>
                      <a:pt x="1734" y="44"/>
                    </a:lnTo>
                    <a:lnTo>
                      <a:pt x="1794" y="42"/>
                    </a:lnTo>
                    <a:lnTo>
                      <a:pt x="1852" y="38"/>
                    </a:lnTo>
                    <a:lnTo>
                      <a:pt x="1894" y="34"/>
                    </a:lnTo>
                    <a:lnTo>
                      <a:pt x="1894" y="34"/>
                    </a:lnTo>
                    <a:lnTo>
                      <a:pt x="1900" y="32"/>
                    </a:lnTo>
                    <a:lnTo>
                      <a:pt x="1902" y="32"/>
                    </a:lnTo>
                    <a:lnTo>
                      <a:pt x="1902" y="30"/>
                    </a:lnTo>
                    <a:lnTo>
                      <a:pt x="1898" y="28"/>
                    </a:lnTo>
                    <a:lnTo>
                      <a:pt x="1882" y="24"/>
                    </a:lnTo>
                    <a:lnTo>
                      <a:pt x="1858" y="20"/>
                    </a:lnTo>
                    <a:lnTo>
                      <a:pt x="1798" y="12"/>
                    </a:lnTo>
                    <a:lnTo>
                      <a:pt x="1732" y="6"/>
                    </a:lnTo>
                    <a:lnTo>
                      <a:pt x="1732" y="6"/>
                    </a:lnTo>
                    <a:lnTo>
                      <a:pt x="1686" y="2"/>
                    </a:lnTo>
                    <a:lnTo>
                      <a:pt x="1648" y="0"/>
                    </a:lnTo>
                    <a:lnTo>
                      <a:pt x="1618" y="2"/>
                    </a:lnTo>
                    <a:lnTo>
                      <a:pt x="1594" y="2"/>
                    </a:lnTo>
                    <a:lnTo>
                      <a:pt x="1552" y="6"/>
                    </a:lnTo>
                    <a:lnTo>
                      <a:pt x="1528" y="8"/>
                    </a:lnTo>
                    <a:lnTo>
                      <a:pt x="1504" y="6"/>
                    </a:lnTo>
                    <a:lnTo>
                      <a:pt x="1504" y="6"/>
                    </a:lnTo>
                    <a:lnTo>
                      <a:pt x="1480" y="6"/>
                    </a:lnTo>
                    <a:lnTo>
                      <a:pt x="1466" y="8"/>
                    </a:lnTo>
                    <a:lnTo>
                      <a:pt x="1460" y="10"/>
                    </a:lnTo>
                    <a:lnTo>
                      <a:pt x="1458" y="14"/>
                    </a:lnTo>
                    <a:lnTo>
                      <a:pt x="1458" y="16"/>
                    </a:lnTo>
                    <a:lnTo>
                      <a:pt x="1458" y="18"/>
                    </a:lnTo>
                    <a:lnTo>
                      <a:pt x="1452" y="18"/>
                    </a:lnTo>
                    <a:lnTo>
                      <a:pt x="1442" y="16"/>
                    </a:lnTo>
                    <a:lnTo>
                      <a:pt x="1442" y="16"/>
                    </a:lnTo>
                    <a:lnTo>
                      <a:pt x="1420" y="12"/>
                    </a:lnTo>
                    <a:lnTo>
                      <a:pt x="1410" y="14"/>
                    </a:lnTo>
                    <a:lnTo>
                      <a:pt x="1400" y="16"/>
                    </a:lnTo>
                    <a:lnTo>
                      <a:pt x="1384" y="18"/>
                    </a:lnTo>
                    <a:lnTo>
                      <a:pt x="1384" y="18"/>
                    </a:lnTo>
                    <a:lnTo>
                      <a:pt x="1374" y="18"/>
                    </a:lnTo>
                    <a:lnTo>
                      <a:pt x="1368" y="20"/>
                    </a:lnTo>
                    <a:lnTo>
                      <a:pt x="1366" y="24"/>
                    </a:lnTo>
                    <a:lnTo>
                      <a:pt x="1366" y="28"/>
                    </a:lnTo>
                    <a:lnTo>
                      <a:pt x="1370" y="32"/>
                    </a:lnTo>
                    <a:lnTo>
                      <a:pt x="1378" y="36"/>
                    </a:lnTo>
                    <a:lnTo>
                      <a:pt x="1388" y="40"/>
                    </a:lnTo>
                    <a:lnTo>
                      <a:pt x="1402" y="44"/>
                    </a:lnTo>
                    <a:lnTo>
                      <a:pt x="1402" y="44"/>
                    </a:lnTo>
                    <a:lnTo>
                      <a:pt x="1412" y="46"/>
                    </a:lnTo>
                    <a:lnTo>
                      <a:pt x="1416" y="46"/>
                    </a:lnTo>
                    <a:lnTo>
                      <a:pt x="1412" y="48"/>
                    </a:lnTo>
                    <a:lnTo>
                      <a:pt x="1406" y="50"/>
                    </a:lnTo>
                    <a:lnTo>
                      <a:pt x="1386" y="52"/>
                    </a:lnTo>
                    <a:lnTo>
                      <a:pt x="1378" y="54"/>
                    </a:lnTo>
                    <a:lnTo>
                      <a:pt x="1372" y="56"/>
                    </a:lnTo>
                    <a:lnTo>
                      <a:pt x="1372" y="56"/>
                    </a:lnTo>
                    <a:lnTo>
                      <a:pt x="1356" y="62"/>
                    </a:lnTo>
                    <a:lnTo>
                      <a:pt x="1332" y="64"/>
                    </a:lnTo>
                    <a:lnTo>
                      <a:pt x="1318" y="66"/>
                    </a:lnTo>
                    <a:lnTo>
                      <a:pt x="1304" y="64"/>
                    </a:lnTo>
                    <a:lnTo>
                      <a:pt x="1290" y="62"/>
                    </a:lnTo>
                    <a:lnTo>
                      <a:pt x="1278" y="56"/>
                    </a:lnTo>
                    <a:lnTo>
                      <a:pt x="1278" y="56"/>
                    </a:lnTo>
                    <a:lnTo>
                      <a:pt x="1254" y="46"/>
                    </a:lnTo>
                    <a:lnTo>
                      <a:pt x="1242" y="42"/>
                    </a:lnTo>
                    <a:lnTo>
                      <a:pt x="1228" y="38"/>
                    </a:lnTo>
                    <a:lnTo>
                      <a:pt x="1212" y="36"/>
                    </a:lnTo>
                    <a:lnTo>
                      <a:pt x="1194" y="34"/>
                    </a:lnTo>
                    <a:lnTo>
                      <a:pt x="1176" y="36"/>
                    </a:lnTo>
                    <a:lnTo>
                      <a:pt x="1154" y="38"/>
                    </a:lnTo>
                    <a:lnTo>
                      <a:pt x="1154" y="38"/>
                    </a:lnTo>
                    <a:lnTo>
                      <a:pt x="1114" y="44"/>
                    </a:lnTo>
                    <a:lnTo>
                      <a:pt x="1078" y="48"/>
                    </a:lnTo>
                    <a:lnTo>
                      <a:pt x="1064" y="50"/>
                    </a:lnTo>
                    <a:lnTo>
                      <a:pt x="1054" y="54"/>
                    </a:lnTo>
                    <a:lnTo>
                      <a:pt x="1048" y="56"/>
                    </a:lnTo>
                    <a:lnTo>
                      <a:pt x="1048" y="58"/>
                    </a:lnTo>
                    <a:lnTo>
                      <a:pt x="1048" y="60"/>
                    </a:lnTo>
                    <a:lnTo>
                      <a:pt x="1048" y="60"/>
                    </a:lnTo>
                    <a:lnTo>
                      <a:pt x="1054" y="64"/>
                    </a:lnTo>
                    <a:lnTo>
                      <a:pt x="1062" y="66"/>
                    </a:lnTo>
                    <a:lnTo>
                      <a:pt x="1092" y="68"/>
                    </a:lnTo>
                    <a:lnTo>
                      <a:pt x="1128" y="66"/>
                    </a:lnTo>
                    <a:lnTo>
                      <a:pt x="1170" y="66"/>
                    </a:lnTo>
                    <a:lnTo>
                      <a:pt x="1170" y="66"/>
                    </a:lnTo>
                    <a:lnTo>
                      <a:pt x="1208" y="68"/>
                    </a:lnTo>
                    <a:lnTo>
                      <a:pt x="1246" y="72"/>
                    </a:lnTo>
                    <a:lnTo>
                      <a:pt x="1280" y="76"/>
                    </a:lnTo>
                    <a:lnTo>
                      <a:pt x="1314" y="82"/>
                    </a:lnTo>
                    <a:lnTo>
                      <a:pt x="1314" y="82"/>
                    </a:lnTo>
                    <a:lnTo>
                      <a:pt x="1326" y="86"/>
                    </a:lnTo>
                    <a:lnTo>
                      <a:pt x="1332" y="88"/>
                    </a:lnTo>
                    <a:lnTo>
                      <a:pt x="1332" y="90"/>
                    </a:lnTo>
                    <a:lnTo>
                      <a:pt x="1332" y="90"/>
                    </a:lnTo>
                    <a:lnTo>
                      <a:pt x="1326" y="92"/>
                    </a:lnTo>
                    <a:lnTo>
                      <a:pt x="1308" y="92"/>
                    </a:lnTo>
                    <a:lnTo>
                      <a:pt x="1294" y="90"/>
                    </a:lnTo>
                    <a:lnTo>
                      <a:pt x="1282" y="88"/>
                    </a:lnTo>
                    <a:lnTo>
                      <a:pt x="1282" y="88"/>
                    </a:lnTo>
                    <a:lnTo>
                      <a:pt x="1268" y="84"/>
                    </a:lnTo>
                    <a:lnTo>
                      <a:pt x="1252" y="82"/>
                    </a:lnTo>
                    <a:lnTo>
                      <a:pt x="1214" y="78"/>
                    </a:lnTo>
                    <a:lnTo>
                      <a:pt x="1110" y="74"/>
                    </a:lnTo>
                    <a:lnTo>
                      <a:pt x="1110" y="74"/>
                    </a:lnTo>
                    <a:lnTo>
                      <a:pt x="1092" y="76"/>
                    </a:lnTo>
                    <a:lnTo>
                      <a:pt x="1090" y="76"/>
                    </a:lnTo>
                    <a:lnTo>
                      <a:pt x="1092" y="78"/>
                    </a:lnTo>
                    <a:lnTo>
                      <a:pt x="1106" y="84"/>
                    </a:lnTo>
                    <a:lnTo>
                      <a:pt x="1126" y="92"/>
                    </a:lnTo>
                    <a:lnTo>
                      <a:pt x="1148" y="100"/>
                    </a:lnTo>
                    <a:lnTo>
                      <a:pt x="1164" y="108"/>
                    </a:lnTo>
                    <a:lnTo>
                      <a:pt x="1168" y="110"/>
                    </a:lnTo>
                    <a:lnTo>
                      <a:pt x="1168" y="114"/>
                    </a:lnTo>
                    <a:lnTo>
                      <a:pt x="1164" y="116"/>
                    </a:lnTo>
                    <a:lnTo>
                      <a:pt x="1154" y="116"/>
                    </a:lnTo>
                    <a:lnTo>
                      <a:pt x="1154" y="116"/>
                    </a:lnTo>
                    <a:lnTo>
                      <a:pt x="1146" y="118"/>
                    </a:lnTo>
                    <a:lnTo>
                      <a:pt x="1142" y="120"/>
                    </a:lnTo>
                    <a:lnTo>
                      <a:pt x="1138" y="122"/>
                    </a:lnTo>
                    <a:lnTo>
                      <a:pt x="1138" y="126"/>
                    </a:lnTo>
                    <a:lnTo>
                      <a:pt x="1136" y="132"/>
                    </a:lnTo>
                    <a:lnTo>
                      <a:pt x="1138" y="140"/>
                    </a:lnTo>
                    <a:lnTo>
                      <a:pt x="1142" y="148"/>
                    </a:lnTo>
                    <a:lnTo>
                      <a:pt x="1142" y="156"/>
                    </a:lnTo>
                    <a:lnTo>
                      <a:pt x="1142" y="158"/>
                    </a:lnTo>
                    <a:lnTo>
                      <a:pt x="1140" y="160"/>
                    </a:lnTo>
                    <a:lnTo>
                      <a:pt x="1136" y="162"/>
                    </a:lnTo>
                    <a:lnTo>
                      <a:pt x="1132" y="164"/>
                    </a:lnTo>
                    <a:lnTo>
                      <a:pt x="1132" y="164"/>
                    </a:lnTo>
                    <a:lnTo>
                      <a:pt x="1122" y="164"/>
                    </a:lnTo>
                    <a:lnTo>
                      <a:pt x="1114" y="162"/>
                    </a:lnTo>
                    <a:lnTo>
                      <a:pt x="1108" y="158"/>
                    </a:lnTo>
                    <a:lnTo>
                      <a:pt x="1102" y="152"/>
                    </a:lnTo>
                    <a:lnTo>
                      <a:pt x="1094" y="146"/>
                    </a:lnTo>
                    <a:lnTo>
                      <a:pt x="1084" y="142"/>
                    </a:lnTo>
                    <a:lnTo>
                      <a:pt x="1070" y="136"/>
                    </a:lnTo>
                    <a:lnTo>
                      <a:pt x="1052" y="132"/>
                    </a:lnTo>
                    <a:lnTo>
                      <a:pt x="1052" y="132"/>
                    </a:lnTo>
                    <a:lnTo>
                      <a:pt x="1034" y="128"/>
                    </a:lnTo>
                    <a:lnTo>
                      <a:pt x="1016" y="124"/>
                    </a:lnTo>
                    <a:lnTo>
                      <a:pt x="986" y="114"/>
                    </a:lnTo>
                    <a:lnTo>
                      <a:pt x="954" y="104"/>
                    </a:lnTo>
                    <a:lnTo>
                      <a:pt x="936" y="100"/>
                    </a:lnTo>
                    <a:lnTo>
                      <a:pt x="916" y="98"/>
                    </a:lnTo>
                    <a:lnTo>
                      <a:pt x="916" y="98"/>
                    </a:lnTo>
                    <a:lnTo>
                      <a:pt x="896" y="98"/>
                    </a:lnTo>
                    <a:lnTo>
                      <a:pt x="884" y="100"/>
                    </a:lnTo>
                    <a:lnTo>
                      <a:pt x="876" y="102"/>
                    </a:lnTo>
                    <a:lnTo>
                      <a:pt x="874" y="104"/>
                    </a:lnTo>
                    <a:lnTo>
                      <a:pt x="874" y="106"/>
                    </a:lnTo>
                    <a:lnTo>
                      <a:pt x="876" y="112"/>
                    </a:lnTo>
                    <a:lnTo>
                      <a:pt x="884" y="118"/>
                    </a:lnTo>
                    <a:lnTo>
                      <a:pt x="914" y="138"/>
                    </a:lnTo>
                    <a:lnTo>
                      <a:pt x="914" y="138"/>
                    </a:lnTo>
                    <a:lnTo>
                      <a:pt x="926" y="146"/>
                    </a:lnTo>
                    <a:lnTo>
                      <a:pt x="928" y="148"/>
                    </a:lnTo>
                    <a:lnTo>
                      <a:pt x="928" y="150"/>
                    </a:lnTo>
                    <a:lnTo>
                      <a:pt x="922" y="150"/>
                    </a:lnTo>
                    <a:lnTo>
                      <a:pt x="912" y="148"/>
                    </a:lnTo>
                    <a:lnTo>
                      <a:pt x="900" y="148"/>
                    </a:lnTo>
                    <a:lnTo>
                      <a:pt x="888" y="148"/>
                    </a:lnTo>
                    <a:lnTo>
                      <a:pt x="884" y="148"/>
                    </a:lnTo>
                    <a:lnTo>
                      <a:pt x="882" y="150"/>
                    </a:lnTo>
                    <a:lnTo>
                      <a:pt x="882" y="154"/>
                    </a:lnTo>
                    <a:lnTo>
                      <a:pt x="884" y="158"/>
                    </a:lnTo>
                    <a:lnTo>
                      <a:pt x="884" y="158"/>
                    </a:lnTo>
                    <a:lnTo>
                      <a:pt x="886" y="160"/>
                    </a:lnTo>
                    <a:lnTo>
                      <a:pt x="886" y="162"/>
                    </a:lnTo>
                    <a:lnTo>
                      <a:pt x="878" y="160"/>
                    </a:lnTo>
                    <a:lnTo>
                      <a:pt x="866" y="156"/>
                    </a:lnTo>
                    <a:lnTo>
                      <a:pt x="850" y="150"/>
                    </a:lnTo>
                    <a:lnTo>
                      <a:pt x="834" y="148"/>
                    </a:lnTo>
                    <a:lnTo>
                      <a:pt x="824" y="148"/>
                    </a:lnTo>
                    <a:lnTo>
                      <a:pt x="814" y="148"/>
                    </a:lnTo>
                    <a:lnTo>
                      <a:pt x="806" y="152"/>
                    </a:lnTo>
                    <a:lnTo>
                      <a:pt x="796" y="156"/>
                    </a:lnTo>
                    <a:lnTo>
                      <a:pt x="788" y="164"/>
                    </a:lnTo>
                    <a:lnTo>
                      <a:pt x="782" y="172"/>
                    </a:lnTo>
                    <a:lnTo>
                      <a:pt x="782" y="172"/>
                    </a:lnTo>
                    <a:lnTo>
                      <a:pt x="770" y="190"/>
                    </a:lnTo>
                    <a:lnTo>
                      <a:pt x="772" y="180"/>
                    </a:lnTo>
                    <a:lnTo>
                      <a:pt x="776" y="168"/>
                    </a:lnTo>
                    <a:lnTo>
                      <a:pt x="776" y="154"/>
                    </a:lnTo>
                    <a:lnTo>
                      <a:pt x="774" y="138"/>
                    </a:lnTo>
                    <a:lnTo>
                      <a:pt x="772" y="132"/>
                    </a:lnTo>
                    <a:lnTo>
                      <a:pt x="766" y="124"/>
                    </a:lnTo>
                    <a:lnTo>
                      <a:pt x="766" y="124"/>
                    </a:lnTo>
                    <a:lnTo>
                      <a:pt x="756" y="114"/>
                    </a:lnTo>
                    <a:lnTo>
                      <a:pt x="746" y="108"/>
                    </a:lnTo>
                    <a:lnTo>
                      <a:pt x="732" y="108"/>
                    </a:lnTo>
                    <a:lnTo>
                      <a:pt x="716" y="110"/>
                    </a:lnTo>
                    <a:lnTo>
                      <a:pt x="672" y="120"/>
                    </a:lnTo>
                    <a:lnTo>
                      <a:pt x="640" y="126"/>
                    </a:lnTo>
                    <a:lnTo>
                      <a:pt x="598" y="130"/>
                    </a:lnTo>
                    <a:lnTo>
                      <a:pt x="598" y="130"/>
                    </a:lnTo>
                    <a:lnTo>
                      <a:pt x="558" y="136"/>
                    </a:lnTo>
                    <a:lnTo>
                      <a:pt x="526" y="140"/>
                    </a:lnTo>
                    <a:lnTo>
                      <a:pt x="502" y="146"/>
                    </a:lnTo>
                    <a:lnTo>
                      <a:pt x="484" y="152"/>
                    </a:lnTo>
                    <a:lnTo>
                      <a:pt x="472" y="156"/>
                    </a:lnTo>
                    <a:lnTo>
                      <a:pt x="466" y="164"/>
                    </a:lnTo>
                    <a:lnTo>
                      <a:pt x="466" y="166"/>
                    </a:lnTo>
                    <a:lnTo>
                      <a:pt x="466" y="170"/>
                    </a:lnTo>
                    <a:lnTo>
                      <a:pt x="470" y="176"/>
                    </a:lnTo>
                    <a:lnTo>
                      <a:pt x="470" y="17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</p:grpSp>
        <p:sp>
          <p:nvSpPr>
            <p:cNvPr id="17" name="Freeform 6134">
              <a:extLst>
                <a:ext uri="{FF2B5EF4-FFF2-40B4-BE49-F238E27FC236}">
                  <a16:creationId xmlns:a16="http://schemas.microsoft.com/office/drawing/2014/main" id="{A9DCC582-A1A0-4FB1-89DA-92B483934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9028" y="3600798"/>
              <a:ext cx="3810" cy="5079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2" y="8"/>
                </a:cxn>
                <a:cxn ang="0">
                  <a:pos x="4" y="8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2" y="8"/>
                </a:cxn>
              </a:cxnLst>
              <a:rect l="0" t="0" r="r" b="b"/>
              <a:pathLst>
                <a:path w="6" h="8">
                  <a:moveTo>
                    <a:pt x="2" y="8"/>
                  </a:moveTo>
                  <a:lnTo>
                    <a:pt x="2" y="8"/>
                  </a:lnTo>
                  <a:lnTo>
                    <a:pt x="4" y="8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8" name="Freeform 6135">
              <a:extLst>
                <a:ext uri="{FF2B5EF4-FFF2-40B4-BE49-F238E27FC236}">
                  <a16:creationId xmlns:a16="http://schemas.microsoft.com/office/drawing/2014/main" id="{F9DC916C-CBD5-458C-9970-CEB3ABBA7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4396" y="3592522"/>
              <a:ext cx="1587" cy="158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9" name="Freeform 6136">
              <a:extLst>
                <a:ext uri="{FF2B5EF4-FFF2-40B4-BE49-F238E27FC236}">
                  <a16:creationId xmlns:a16="http://schemas.microsoft.com/office/drawing/2014/main" id="{1BD91E4C-36AC-4448-8182-76F9AF81F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2678" y="3591909"/>
              <a:ext cx="3810" cy="5079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</a:cxnLst>
              <a:rect l="0" t="0" r="r" b="b"/>
              <a:pathLst>
                <a:path w="6" h="8">
                  <a:moveTo>
                    <a:pt x="6" y="2"/>
                  </a:moveTo>
                  <a:lnTo>
                    <a:pt x="6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20" name="Freeform 6138">
              <a:extLst>
                <a:ext uri="{FF2B5EF4-FFF2-40B4-BE49-F238E27FC236}">
                  <a16:creationId xmlns:a16="http://schemas.microsoft.com/office/drawing/2014/main" id="{E5271EC9-A99E-4B58-A4A3-9DD1534B25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3948" y="3604608"/>
              <a:ext cx="2540" cy="381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21" name="Freeform 6144">
              <a:extLst>
                <a:ext uri="{FF2B5EF4-FFF2-40B4-BE49-F238E27FC236}">
                  <a16:creationId xmlns:a16="http://schemas.microsoft.com/office/drawing/2014/main" id="{2114C6FB-0432-4C65-A5AC-32B440A7F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0139" y="3583020"/>
              <a:ext cx="5080" cy="3810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8" y="2"/>
                </a:cxn>
                <a:cxn ang="0">
                  <a:pos x="8" y="2"/>
                </a:cxn>
              </a:cxnLst>
              <a:rect l="0" t="0" r="r" b="b"/>
              <a:pathLst>
                <a:path w="8" h="6">
                  <a:moveTo>
                    <a:pt x="8" y="2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22" name="Freeform 6149">
              <a:extLst>
                <a:ext uri="{FF2B5EF4-FFF2-40B4-BE49-F238E27FC236}">
                  <a16:creationId xmlns:a16="http://schemas.microsoft.com/office/drawing/2014/main" id="{C9F02387-3E9D-4298-ABB1-2023C5002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3758" y="3592522"/>
              <a:ext cx="3175" cy="158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6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23" name="Freeform 6150">
              <a:extLst>
                <a:ext uri="{FF2B5EF4-FFF2-40B4-BE49-F238E27FC236}">
                  <a16:creationId xmlns:a16="http://schemas.microsoft.com/office/drawing/2014/main" id="{406A1CE4-1AB8-4314-8540-C0E55A353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329" y="3600798"/>
              <a:ext cx="3810" cy="254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</p:grpSp>
      <p:sp>
        <p:nvSpPr>
          <p:cNvPr id="68" name="Oval 67">
            <a:extLst>
              <a:ext uri="{FF2B5EF4-FFF2-40B4-BE49-F238E27FC236}">
                <a16:creationId xmlns:a16="http://schemas.microsoft.com/office/drawing/2014/main" id="{A63AAB2E-23E4-4B5A-82D3-890A455E3FBD}"/>
              </a:ext>
            </a:extLst>
          </p:cNvPr>
          <p:cNvSpPr/>
          <p:nvPr/>
        </p:nvSpPr>
        <p:spPr>
          <a:xfrm>
            <a:off x="7627217" y="1716585"/>
            <a:ext cx="825878" cy="82587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34ABFA6-685A-4800-AAFC-77D9B7FF32BE}"/>
              </a:ext>
            </a:extLst>
          </p:cNvPr>
          <p:cNvSpPr txBox="1"/>
          <p:nvPr/>
        </p:nvSpPr>
        <p:spPr>
          <a:xfrm>
            <a:off x="8686638" y="1698637"/>
            <a:ext cx="2953819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CEDA647-4AAC-49A8-B0D6-BDB638564592}"/>
              </a:ext>
            </a:extLst>
          </p:cNvPr>
          <p:cNvSpPr/>
          <p:nvPr/>
        </p:nvSpPr>
        <p:spPr>
          <a:xfrm>
            <a:off x="7627217" y="3203486"/>
            <a:ext cx="825878" cy="82587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39A2202-DA58-44DE-8AC0-3B8218D83AF6}"/>
              </a:ext>
            </a:extLst>
          </p:cNvPr>
          <p:cNvSpPr txBox="1"/>
          <p:nvPr/>
        </p:nvSpPr>
        <p:spPr>
          <a:xfrm>
            <a:off x="8686638" y="3185538"/>
            <a:ext cx="2953819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8619EA79-1E33-4BD5-B017-3F040D4348F8}"/>
              </a:ext>
            </a:extLst>
          </p:cNvPr>
          <p:cNvSpPr/>
          <p:nvPr/>
        </p:nvSpPr>
        <p:spPr>
          <a:xfrm>
            <a:off x="7627217" y="4671137"/>
            <a:ext cx="825878" cy="82587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75D46776-EB11-49F1-A469-229A6E1824E6}"/>
              </a:ext>
            </a:extLst>
          </p:cNvPr>
          <p:cNvSpPr txBox="1"/>
          <p:nvPr/>
        </p:nvSpPr>
        <p:spPr>
          <a:xfrm>
            <a:off x="8686638" y="4653189"/>
            <a:ext cx="2953819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A39B0CD1-A343-4E72-8387-CE1A3D384EA1}"/>
              </a:ext>
            </a:extLst>
          </p:cNvPr>
          <p:cNvSpPr/>
          <p:nvPr/>
        </p:nvSpPr>
        <p:spPr>
          <a:xfrm>
            <a:off x="8241772" y="2350385"/>
            <a:ext cx="192078" cy="19207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5B431803-450E-49DF-842E-C1BD11D64444}"/>
              </a:ext>
            </a:extLst>
          </p:cNvPr>
          <p:cNvSpPr/>
          <p:nvPr/>
        </p:nvSpPr>
        <p:spPr>
          <a:xfrm>
            <a:off x="8241772" y="3837286"/>
            <a:ext cx="192078" cy="192078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B2CEA865-01EE-4D88-9522-56D66F176ACD}"/>
              </a:ext>
            </a:extLst>
          </p:cNvPr>
          <p:cNvSpPr/>
          <p:nvPr/>
        </p:nvSpPr>
        <p:spPr>
          <a:xfrm>
            <a:off x="8241772" y="5304937"/>
            <a:ext cx="192078" cy="192078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8055E2B5-6145-42EE-89AE-FEE059CE9A0C}"/>
              </a:ext>
            </a:extLst>
          </p:cNvPr>
          <p:cNvGrpSpPr/>
          <p:nvPr/>
        </p:nvGrpSpPr>
        <p:grpSpPr>
          <a:xfrm>
            <a:off x="7929825" y="1985855"/>
            <a:ext cx="220663" cy="287338"/>
            <a:chOff x="11066463" y="1360488"/>
            <a:chExt cx="220663" cy="287338"/>
          </a:xfrm>
          <a:solidFill>
            <a:schemeClr val="bg1"/>
          </a:solidFill>
        </p:grpSpPr>
        <p:sp>
          <p:nvSpPr>
            <p:cNvPr id="100" name="Freeform 180">
              <a:extLst>
                <a:ext uri="{FF2B5EF4-FFF2-40B4-BE49-F238E27FC236}">
                  <a16:creationId xmlns:a16="http://schemas.microsoft.com/office/drawing/2014/main" id="{928E53C0-E213-43D5-BFA3-08DEAA4D28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66463" y="1360488"/>
              <a:ext cx="220663" cy="287338"/>
            </a:xfrm>
            <a:custGeom>
              <a:avLst/>
              <a:gdLst>
                <a:gd name="T0" fmla="*/ 30 w 691"/>
                <a:gd name="T1" fmla="*/ 871 h 901"/>
                <a:gd name="T2" fmla="*/ 30 w 691"/>
                <a:gd name="T3" fmla="*/ 30 h 901"/>
                <a:gd name="T4" fmla="*/ 421 w 691"/>
                <a:gd name="T5" fmla="*/ 30 h 901"/>
                <a:gd name="T6" fmla="*/ 421 w 691"/>
                <a:gd name="T7" fmla="*/ 254 h 901"/>
                <a:gd name="T8" fmla="*/ 421 w 691"/>
                <a:gd name="T9" fmla="*/ 258 h 901"/>
                <a:gd name="T10" fmla="*/ 422 w 691"/>
                <a:gd name="T11" fmla="*/ 261 h 901"/>
                <a:gd name="T12" fmla="*/ 423 w 691"/>
                <a:gd name="T13" fmla="*/ 263 h 901"/>
                <a:gd name="T14" fmla="*/ 425 w 691"/>
                <a:gd name="T15" fmla="*/ 265 h 901"/>
                <a:gd name="T16" fmla="*/ 427 w 691"/>
                <a:gd name="T17" fmla="*/ 267 h 901"/>
                <a:gd name="T18" fmla="*/ 429 w 691"/>
                <a:gd name="T19" fmla="*/ 268 h 901"/>
                <a:gd name="T20" fmla="*/ 432 w 691"/>
                <a:gd name="T21" fmla="*/ 269 h 901"/>
                <a:gd name="T22" fmla="*/ 436 w 691"/>
                <a:gd name="T23" fmla="*/ 269 h 901"/>
                <a:gd name="T24" fmla="*/ 660 w 691"/>
                <a:gd name="T25" fmla="*/ 269 h 901"/>
                <a:gd name="T26" fmla="*/ 660 w 691"/>
                <a:gd name="T27" fmla="*/ 871 h 901"/>
                <a:gd name="T28" fmla="*/ 30 w 691"/>
                <a:gd name="T29" fmla="*/ 871 h 901"/>
                <a:gd name="T30" fmla="*/ 450 w 691"/>
                <a:gd name="T31" fmla="*/ 52 h 901"/>
                <a:gd name="T32" fmla="*/ 640 w 691"/>
                <a:gd name="T33" fmla="*/ 239 h 901"/>
                <a:gd name="T34" fmla="*/ 450 w 691"/>
                <a:gd name="T35" fmla="*/ 239 h 901"/>
                <a:gd name="T36" fmla="*/ 450 w 691"/>
                <a:gd name="T37" fmla="*/ 52 h 901"/>
                <a:gd name="T38" fmla="*/ 686 w 691"/>
                <a:gd name="T39" fmla="*/ 244 h 901"/>
                <a:gd name="T40" fmla="*/ 446 w 691"/>
                <a:gd name="T41" fmla="*/ 4 h 901"/>
                <a:gd name="T42" fmla="*/ 444 w 691"/>
                <a:gd name="T43" fmla="*/ 2 h 901"/>
                <a:gd name="T44" fmla="*/ 441 w 691"/>
                <a:gd name="T45" fmla="*/ 1 h 901"/>
                <a:gd name="T46" fmla="*/ 439 w 691"/>
                <a:gd name="T47" fmla="*/ 0 h 901"/>
                <a:gd name="T48" fmla="*/ 436 w 691"/>
                <a:gd name="T49" fmla="*/ 0 h 901"/>
                <a:gd name="T50" fmla="*/ 15 w 691"/>
                <a:gd name="T51" fmla="*/ 0 h 901"/>
                <a:gd name="T52" fmla="*/ 12 w 691"/>
                <a:gd name="T53" fmla="*/ 0 h 901"/>
                <a:gd name="T54" fmla="*/ 9 w 691"/>
                <a:gd name="T55" fmla="*/ 1 h 901"/>
                <a:gd name="T56" fmla="*/ 6 w 691"/>
                <a:gd name="T57" fmla="*/ 2 h 901"/>
                <a:gd name="T58" fmla="*/ 4 w 691"/>
                <a:gd name="T59" fmla="*/ 4 h 901"/>
                <a:gd name="T60" fmla="*/ 2 w 691"/>
                <a:gd name="T61" fmla="*/ 6 h 901"/>
                <a:gd name="T62" fmla="*/ 1 w 691"/>
                <a:gd name="T63" fmla="*/ 9 h 901"/>
                <a:gd name="T64" fmla="*/ 0 w 691"/>
                <a:gd name="T65" fmla="*/ 11 h 901"/>
                <a:gd name="T66" fmla="*/ 0 w 691"/>
                <a:gd name="T67" fmla="*/ 15 h 901"/>
                <a:gd name="T68" fmla="*/ 0 w 691"/>
                <a:gd name="T69" fmla="*/ 886 h 901"/>
                <a:gd name="T70" fmla="*/ 0 w 691"/>
                <a:gd name="T71" fmla="*/ 889 h 901"/>
                <a:gd name="T72" fmla="*/ 1 w 691"/>
                <a:gd name="T73" fmla="*/ 891 h 901"/>
                <a:gd name="T74" fmla="*/ 2 w 691"/>
                <a:gd name="T75" fmla="*/ 894 h 901"/>
                <a:gd name="T76" fmla="*/ 4 w 691"/>
                <a:gd name="T77" fmla="*/ 897 h 901"/>
                <a:gd name="T78" fmla="*/ 6 w 691"/>
                <a:gd name="T79" fmla="*/ 898 h 901"/>
                <a:gd name="T80" fmla="*/ 9 w 691"/>
                <a:gd name="T81" fmla="*/ 900 h 901"/>
                <a:gd name="T82" fmla="*/ 12 w 691"/>
                <a:gd name="T83" fmla="*/ 900 h 901"/>
                <a:gd name="T84" fmla="*/ 15 w 691"/>
                <a:gd name="T85" fmla="*/ 901 h 901"/>
                <a:gd name="T86" fmla="*/ 676 w 691"/>
                <a:gd name="T87" fmla="*/ 901 h 901"/>
                <a:gd name="T88" fmla="*/ 678 w 691"/>
                <a:gd name="T89" fmla="*/ 900 h 901"/>
                <a:gd name="T90" fmla="*/ 682 w 691"/>
                <a:gd name="T91" fmla="*/ 900 h 901"/>
                <a:gd name="T92" fmla="*/ 684 w 691"/>
                <a:gd name="T93" fmla="*/ 898 h 901"/>
                <a:gd name="T94" fmla="*/ 686 w 691"/>
                <a:gd name="T95" fmla="*/ 897 h 901"/>
                <a:gd name="T96" fmla="*/ 688 w 691"/>
                <a:gd name="T97" fmla="*/ 894 h 901"/>
                <a:gd name="T98" fmla="*/ 689 w 691"/>
                <a:gd name="T99" fmla="*/ 891 h 901"/>
                <a:gd name="T100" fmla="*/ 690 w 691"/>
                <a:gd name="T101" fmla="*/ 889 h 901"/>
                <a:gd name="T102" fmla="*/ 691 w 691"/>
                <a:gd name="T103" fmla="*/ 886 h 901"/>
                <a:gd name="T104" fmla="*/ 691 w 691"/>
                <a:gd name="T105" fmla="*/ 254 h 901"/>
                <a:gd name="T106" fmla="*/ 689 w 691"/>
                <a:gd name="T107" fmla="*/ 249 h 901"/>
                <a:gd name="T108" fmla="*/ 686 w 691"/>
                <a:gd name="T109" fmla="*/ 244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91" h="901">
                  <a:moveTo>
                    <a:pt x="30" y="871"/>
                  </a:moveTo>
                  <a:lnTo>
                    <a:pt x="30" y="30"/>
                  </a:lnTo>
                  <a:lnTo>
                    <a:pt x="421" y="30"/>
                  </a:lnTo>
                  <a:lnTo>
                    <a:pt x="421" y="254"/>
                  </a:lnTo>
                  <a:lnTo>
                    <a:pt x="421" y="258"/>
                  </a:lnTo>
                  <a:lnTo>
                    <a:pt x="422" y="261"/>
                  </a:lnTo>
                  <a:lnTo>
                    <a:pt x="423" y="263"/>
                  </a:lnTo>
                  <a:lnTo>
                    <a:pt x="425" y="265"/>
                  </a:lnTo>
                  <a:lnTo>
                    <a:pt x="427" y="267"/>
                  </a:lnTo>
                  <a:lnTo>
                    <a:pt x="429" y="268"/>
                  </a:lnTo>
                  <a:lnTo>
                    <a:pt x="432" y="269"/>
                  </a:lnTo>
                  <a:lnTo>
                    <a:pt x="436" y="269"/>
                  </a:lnTo>
                  <a:lnTo>
                    <a:pt x="660" y="269"/>
                  </a:lnTo>
                  <a:lnTo>
                    <a:pt x="660" y="871"/>
                  </a:lnTo>
                  <a:lnTo>
                    <a:pt x="30" y="871"/>
                  </a:lnTo>
                  <a:close/>
                  <a:moveTo>
                    <a:pt x="450" y="52"/>
                  </a:moveTo>
                  <a:lnTo>
                    <a:pt x="640" y="239"/>
                  </a:lnTo>
                  <a:lnTo>
                    <a:pt x="450" y="239"/>
                  </a:lnTo>
                  <a:lnTo>
                    <a:pt x="450" y="52"/>
                  </a:lnTo>
                  <a:close/>
                  <a:moveTo>
                    <a:pt x="686" y="244"/>
                  </a:moveTo>
                  <a:lnTo>
                    <a:pt x="446" y="4"/>
                  </a:lnTo>
                  <a:lnTo>
                    <a:pt x="444" y="2"/>
                  </a:lnTo>
                  <a:lnTo>
                    <a:pt x="441" y="1"/>
                  </a:lnTo>
                  <a:lnTo>
                    <a:pt x="439" y="0"/>
                  </a:lnTo>
                  <a:lnTo>
                    <a:pt x="43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886"/>
                  </a:lnTo>
                  <a:lnTo>
                    <a:pt x="0" y="889"/>
                  </a:lnTo>
                  <a:lnTo>
                    <a:pt x="1" y="891"/>
                  </a:lnTo>
                  <a:lnTo>
                    <a:pt x="2" y="894"/>
                  </a:lnTo>
                  <a:lnTo>
                    <a:pt x="4" y="897"/>
                  </a:lnTo>
                  <a:lnTo>
                    <a:pt x="6" y="898"/>
                  </a:lnTo>
                  <a:lnTo>
                    <a:pt x="9" y="900"/>
                  </a:lnTo>
                  <a:lnTo>
                    <a:pt x="12" y="900"/>
                  </a:lnTo>
                  <a:lnTo>
                    <a:pt x="15" y="901"/>
                  </a:lnTo>
                  <a:lnTo>
                    <a:pt x="676" y="901"/>
                  </a:lnTo>
                  <a:lnTo>
                    <a:pt x="678" y="900"/>
                  </a:lnTo>
                  <a:lnTo>
                    <a:pt x="682" y="900"/>
                  </a:lnTo>
                  <a:lnTo>
                    <a:pt x="684" y="898"/>
                  </a:lnTo>
                  <a:lnTo>
                    <a:pt x="686" y="897"/>
                  </a:lnTo>
                  <a:lnTo>
                    <a:pt x="688" y="894"/>
                  </a:lnTo>
                  <a:lnTo>
                    <a:pt x="689" y="891"/>
                  </a:lnTo>
                  <a:lnTo>
                    <a:pt x="690" y="889"/>
                  </a:lnTo>
                  <a:lnTo>
                    <a:pt x="691" y="886"/>
                  </a:lnTo>
                  <a:lnTo>
                    <a:pt x="691" y="254"/>
                  </a:lnTo>
                  <a:lnTo>
                    <a:pt x="689" y="249"/>
                  </a:lnTo>
                  <a:lnTo>
                    <a:pt x="686" y="2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181">
              <a:extLst>
                <a:ext uri="{FF2B5EF4-FFF2-40B4-BE49-F238E27FC236}">
                  <a16:creationId xmlns:a16="http://schemas.microsoft.com/office/drawing/2014/main" id="{361B3604-A712-4DB4-9EC2-6124EE6AD7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0763" y="1474788"/>
              <a:ext cx="57150" cy="9525"/>
            </a:xfrm>
            <a:custGeom>
              <a:avLst/>
              <a:gdLst>
                <a:gd name="T0" fmla="*/ 167 w 182"/>
                <a:gd name="T1" fmla="*/ 0 h 31"/>
                <a:gd name="T2" fmla="*/ 15 w 182"/>
                <a:gd name="T3" fmla="*/ 0 h 31"/>
                <a:gd name="T4" fmla="*/ 13 w 182"/>
                <a:gd name="T5" fmla="*/ 1 h 31"/>
                <a:gd name="T6" fmla="*/ 10 w 182"/>
                <a:gd name="T7" fmla="*/ 2 h 31"/>
                <a:gd name="T8" fmla="*/ 8 w 182"/>
                <a:gd name="T9" fmla="*/ 3 h 31"/>
                <a:gd name="T10" fmla="*/ 5 w 182"/>
                <a:gd name="T11" fmla="*/ 6 h 31"/>
                <a:gd name="T12" fmla="*/ 4 w 182"/>
                <a:gd name="T13" fmla="*/ 8 h 31"/>
                <a:gd name="T14" fmla="*/ 1 w 182"/>
                <a:gd name="T15" fmla="*/ 10 h 31"/>
                <a:gd name="T16" fmla="*/ 1 w 182"/>
                <a:gd name="T17" fmla="*/ 13 h 31"/>
                <a:gd name="T18" fmla="*/ 0 w 182"/>
                <a:gd name="T19" fmla="*/ 15 h 31"/>
                <a:gd name="T20" fmla="*/ 1 w 182"/>
                <a:gd name="T21" fmla="*/ 20 h 31"/>
                <a:gd name="T22" fmla="*/ 1 w 182"/>
                <a:gd name="T23" fmla="*/ 22 h 31"/>
                <a:gd name="T24" fmla="*/ 4 w 182"/>
                <a:gd name="T25" fmla="*/ 25 h 31"/>
                <a:gd name="T26" fmla="*/ 5 w 182"/>
                <a:gd name="T27" fmla="*/ 27 h 31"/>
                <a:gd name="T28" fmla="*/ 8 w 182"/>
                <a:gd name="T29" fmla="*/ 28 h 31"/>
                <a:gd name="T30" fmla="*/ 10 w 182"/>
                <a:gd name="T31" fmla="*/ 30 h 31"/>
                <a:gd name="T32" fmla="*/ 13 w 182"/>
                <a:gd name="T33" fmla="*/ 30 h 31"/>
                <a:gd name="T34" fmla="*/ 15 w 182"/>
                <a:gd name="T35" fmla="*/ 31 h 31"/>
                <a:gd name="T36" fmla="*/ 167 w 182"/>
                <a:gd name="T37" fmla="*/ 31 h 31"/>
                <a:gd name="T38" fmla="*/ 171 w 182"/>
                <a:gd name="T39" fmla="*/ 30 h 31"/>
                <a:gd name="T40" fmla="*/ 173 w 182"/>
                <a:gd name="T41" fmla="*/ 30 h 31"/>
                <a:gd name="T42" fmla="*/ 176 w 182"/>
                <a:gd name="T43" fmla="*/ 28 h 31"/>
                <a:gd name="T44" fmla="*/ 178 w 182"/>
                <a:gd name="T45" fmla="*/ 27 h 31"/>
                <a:gd name="T46" fmla="*/ 180 w 182"/>
                <a:gd name="T47" fmla="*/ 25 h 31"/>
                <a:gd name="T48" fmla="*/ 181 w 182"/>
                <a:gd name="T49" fmla="*/ 22 h 31"/>
                <a:gd name="T50" fmla="*/ 182 w 182"/>
                <a:gd name="T51" fmla="*/ 20 h 31"/>
                <a:gd name="T52" fmla="*/ 182 w 182"/>
                <a:gd name="T53" fmla="*/ 15 h 31"/>
                <a:gd name="T54" fmla="*/ 182 w 182"/>
                <a:gd name="T55" fmla="*/ 13 h 31"/>
                <a:gd name="T56" fmla="*/ 181 w 182"/>
                <a:gd name="T57" fmla="*/ 10 h 31"/>
                <a:gd name="T58" fmla="*/ 180 w 182"/>
                <a:gd name="T59" fmla="*/ 8 h 31"/>
                <a:gd name="T60" fmla="*/ 178 w 182"/>
                <a:gd name="T61" fmla="*/ 6 h 31"/>
                <a:gd name="T62" fmla="*/ 176 w 182"/>
                <a:gd name="T63" fmla="*/ 3 h 31"/>
                <a:gd name="T64" fmla="*/ 173 w 182"/>
                <a:gd name="T65" fmla="*/ 2 h 31"/>
                <a:gd name="T66" fmla="*/ 171 w 182"/>
                <a:gd name="T67" fmla="*/ 1 h 31"/>
                <a:gd name="T68" fmla="*/ 167 w 182"/>
                <a:gd name="T6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2" h="31">
                  <a:moveTo>
                    <a:pt x="167" y="0"/>
                  </a:moveTo>
                  <a:lnTo>
                    <a:pt x="15" y="0"/>
                  </a:lnTo>
                  <a:lnTo>
                    <a:pt x="13" y="1"/>
                  </a:lnTo>
                  <a:lnTo>
                    <a:pt x="10" y="2"/>
                  </a:lnTo>
                  <a:lnTo>
                    <a:pt x="8" y="3"/>
                  </a:lnTo>
                  <a:lnTo>
                    <a:pt x="5" y="6"/>
                  </a:lnTo>
                  <a:lnTo>
                    <a:pt x="4" y="8"/>
                  </a:lnTo>
                  <a:lnTo>
                    <a:pt x="1" y="10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4" y="25"/>
                  </a:lnTo>
                  <a:lnTo>
                    <a:pt x="5" y="27"/>
                  </a:lnTo>
                  <a:lnTo>
                    <a:pt x="8" y="28"/>
                  </a:lnTo>
                  <a:lnTo>
                    <a:pt x="10" y="30"/>
                  </a:lnTo>
                  <a:lnTo>
                    <a:pt x="13" y="30"/>
                  </a:lnTo>
                  <a:lnTo>
                    <a:pt x="15" y="31"/>
                  </a:lnTo>
                  <a:lnTo>
                    <a:pt x="167" y="31"/>
                  </a:lnTo>
                  <a:lnTo>
                    <a:pt x="171" y="30"/>
                  </a:lnTo>
                  <a:lnTo>
                    <a:pt x="173" y="30"/>
                  </a:lnTo>
                  <a:lnTo>
                    <a:pt x="176" y="28"/>
                  </a:lnTo>
                  <a:lnTo>
                    <a:pt x="178" y="27"/>
                  </a:lnTo>
                  <a:lnTo>
                    <a:pt x="180" y="25"/>
                  </a:lnTo>
                  <a:lnTo>
                    <a:pt x="181" y="22"/>
                  </a:lnTo>
                  <a:lnTo>
                    <a:pt x="182" y="20"/>
                  </a:lnTo>
                  <a:lnTo>
                    <a:pt x="182" y="15"/>
                  </a:lnTo>
                  <a:lnTo>
                    <a:pt x="182" y="13"/>
                  </a:lnTo>
                  <a:lnTo>
                    <a:pt x="181" y="10"/>
                  </a:lnTo>
                  <a:lnTo>
                    <a:pt x="180" y="8"/>
                  </a:lnTo>
                  <a:lnTo>
                    <a:pt x="178" y="6"/>
                  </a:lnTo>
                  <a:lnTo>
                    <a:pt x="176" y="3"/>
                  </a:lnTo>
                  <a:lnTo>
                    <a:pt x="173" y="2"/>
                  </a:lnTo>
                  <a:lnTo>
                    <a:pt x="171" y="1"/>
                  </a:lnTo>
                  <a:lnTo>
                    <a:pt x="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82">
              <a:extLst>
                <a:ext uri="{FF2B5EF4-FFF2-40B4-BE49-F238E27FC236}">
                  <a16:creationId xmlns:a16="http://schemas.microsoft.com/office/drawing/2014/main" id="{7AE774F8-0409-480E-8023-F1114FDA9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0763" y="1522413"/>
              <a:ext cx="57150" cy="9525"/>
            </a:xfrm>
            <a:custGeom>
              <a:avLst/>
              <a:gdLst>
                <a:gd name="T0" fmla="*/ 167 w 182"/>
                <a:gd name="T1" fmla="*/ 0 h 30"/>
                <a:gd name="T2" fmla="*/ 15 w 182"/>
                <a:gd name="T3" fmla="*/ 0 h 30"/>
                <a:gd name="T4" fmla="*/ 13 w 182"/>
                <a:gd name="T5" fmla="*/ 0 h 30"/>
                <a:gd name="T6" fmla="*/ 10 w 182"/>
                <a:gd name="T7" fmla="*/ 1 h 30"/>
                <a:gd name="T8" fmla="*/ 8 w 182"/>
                <a:gd name="T9" fmla="*/ 2 h 30"/>
                <a:gd name="T10" fmla="*/ 5 w 182"/>
                <a:gd name="T11" fmla="*/ 4 h 30"/>
                <a:gd name="T12" fmla="*/ 4 w 182"/>
                <a:gd name="T13" fmla="*/ 7 h 30"/>
                <a:gd name="T14" fmla="*/ 1 w 182"/>
                <a:gd name="T15" fmla="*/ 10 h 30"/>
                <a:gd name="T16" fmla="*/ 1 w 182"/>
                <a:gd name="T17" fmla="*/ 12 h 30"/>
                <a:gd name="T18" fmla="*/ 0 w 182"/>
                <a:gd name="T19" fmla="*/ 15 h 30"/>
                <a:gd name="T20" fmla="*/ 1 w 182"/>
                <a:gd name="T21" fmla="*/ 18 h 30"/>
                <a:gd name="T22" fmla="*/ 1 w 182"/>
                <a:gd name="T23" fmla="*/ 22 h 30"/>
                <a:gd name="T24" fmla="*/ 4 w 182"/>
                <a:gd name="T25" fmla="*/ 24 h 30"/>
                <a:gd name="T26" fmla="*/ 5 w 182"/>
                <a:gd name="T27" fmla="*/ 26 h 30"/>
                <a:gd name="T28" fmla="*/ 8 w 182"/>
                <a:gd name="T29" fmla="*/ 28 h 30"/>
                <a:gd name="T30" fmla="*/ 10 w 182"/>
                <a:gd name="T31" fmla="*/ 29 h 30"/>
                <a:gd name="T32" fmla="*/ 13 w 182"/>
                <a:gd name="T33" fmla="*/ 30 h 30"/>
                <a:gd name="T34" fmla="*/ 15 w 182"/>
                <a:gd name="T35" fmla="*/ 30 h 30"/>
                <a:gd name="T36" fmla="*/ 167 w 182"/>
                <a:gd name="T37" fmla="*/ 30 h 30"/>
                <a:gd name="T38" fmla="*/ 171 w 182"/>
                <a:gd name="T39" fmla="*/ 30 h 30"/>
                <a:gd name="T40" fmla="*/ 173 w 182"/>
                <a:gd name="T41" fmla="*/ 29 h 30"/>
                <a:gd name="T42" fmla="*/ 176 w 182"/>
                <a:gd name="T43" fmla="*/ 28 h 30"/>
                <a:gd name="T44" fmla="*/ 178 w 182"/>
                <a:gd name="T45" fmla="*/ 26 h 30"/>
                <a:gd name="T46" fmla="*/ 180 w 182"/>
                <a:gd name="T47" fmla="*/ 24 h 30"/>
                <a:gd name="T48" fmla="*/ 181 w 182"/>
                <a:gd name="T49" fmla="*/ 22 h 30"/>
                <a:gd name="T50" fmla="*/ 182 w 182"/>
                <a:gd name="T51" fmla="*/ 18 h 30"/>
                <a:gd name="T52" fmla="*/ 182 w 182"/>
                <a:gd name="T53" fmla="*/ 15 h 30"/>
                <a:gd name="T54" fmla="*/ 182 w 182"/>
                <a:gd name="T55" fmla="*/ 12 h 30"/>
                <a:gd name="T56" fmla="*/ 181 w 182"/>
                <a:gd name="T57" fmla="*/ 10 h 30"/>
                <a:gd name="T58" fmla="*/ 180 w 182"/>
                <a:gd name="T59" fmla="*/ 7 h 30"/>
                <a:gd name="T60" fmla="*/ 178 w 182"/>
                <a:gd name="T61" fmla="*/ 4 h 30"/>
                <a:gd name="T62" fmla="*/ 176 w 182"/>
                <a:gd name="T63" fmla="*/ 2 h 30"/>
                <a:gd name="T64" fmla="*/ 173 w 182"/>
                <a:gd name="T65" fmla="*/ 1 h 30"/>
                <a:gd name="T66" fmla="*/ 171 w 182"/>
                <a:gd name="T67" fmla="*/ 0 h 30"/>
                <a:gd name="T68" fmla="*/ 167 w 18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2" h="30">
                  <a:moveTo>
                    <a:pt x="167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5" y="4"/>
                  </a:lnTo>
                  <a:lnTo>
                    <a:pt x="4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2"/>
                  </a:lnTo>
                  <a:lnTo>
                    <a:pt x="4" y="24"/>
                  </a:lnTo>
                  <a:lnTo>
                    <a:pt x="5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167" y="30"/>
                  </a:lnTo>
                  <a:lnTo>
                    <a:pt x="171" y="30"/>
                  </a:lnTo>
                  <a:lnTo>
                    <a:pt x="173" y="29"/>
                  </a:lnTo>
                  <a:lnTo>
                    <a:pt x="176" y="28"/>
                  </a:lnTo>
                  <a:lnTo>
                    <a:pt x="178" y="26"/>
                  </a:lnTo>
                  <a:lnTo>
                    <a:pt x="180" y="24"/>
                  </a:lnTo>
                  <a:lnTo>
                    <a:pt x="181" y="22"/>
                  </a:lnTo>
                  <a:lnTo>
                    <a:pt x="182" y="18"/>
                  </a:lnTo>
                  <a:lnTo>
                    <a:pt x="182" y="15"/>
                  </a:lnTo>
                  <a:lnTo>
                    <a:pt x="182" y="12"/>
                  </a:lnTo>
                  <a:lnTo>
                    <a:pt x="181" y="10"/>
                  </a:lnTo>
                  <a:lnTo>
                    <a:pt x="180" y="7"/>
                  </a:lnTo>
                  <a:lnTo>
                    <a:pt x="178" y="4"/>
                  </a:lnTo>
                  <a:lnTo>
                    <a:pt x="176" y="2"/>
                  </a:lnTo>
                  <a:lnTo>
                    <a:pt x="173" y="1"/>
                  </a:lnTo>
                  <a:lnTo>
                    <a:pt x="171" y="0"/>
                  </a:lnTo>
                  <a:lnTo>
                    <a:pt x="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183">
              <a:extLst>
                <a:ext uri="{FF2B5EF4-FFF2-40B4-BE49-F238E27FC236}">
                  <a16:creationId xmlns:a16="http://schemas.microsoft.com/office/drawing/2014/main" id="{ABE9AEEB-19DE-46EB-A1D8-4E5856620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0763" y="1579563"/>
              <a:ext cx="57150" cy="9525"/>
            </a:xfrm>
            <a:custGeom>
              <a:avLst/>
              <a:gdLst>
                <a:gd name="T0" fmla="*/ 167 w 182"/>
                <a:gd name="T1" fmla="*/ 0 h 30"/>
                <a:gd name="T2" fmla="*/ 15 w 182"/>
                <a:gd name="T3" fmla="*/ 0 h 30"/>
                <a:gd name="T4" fmla="*/ 13 w 182"/>
                <a:gd name="T5" fmla="*/ 1 h 30"/>
                <a:gd name="T6" fmla="*/ 10 w 182"/>
                <a:gd name="T7" fmla="*/ 1 h 30"/>
                <a:gd name="T8" fmla="*/ 8 w 182"/>
                <a:gd name="T9" fmla="*/ 3 h 30"/>
                <a:gd name="T10" fmla="*/ 5 w 182"/>
                <a:gd name="T11" fmla="*/ 5 h 30"/>
                <a:gd name="T12" fmla="*/ 4 w 182"/>
                <a:gd name="T13" fmla="*/ 7 h 30"/>
                <a:gd name="T14" fmla="*/ 1 w 182"/>
                <a:gd name="T15" fmla="*/ 10 h 30"/>
                <a:gd name="T16" fmla="*/ 1 w 182"/>
                <a:gd name="T17" fmla="*/ 13 h 30"/>
                <a:gd name="T18" fmla="*/ 0 w 182"/>
                <a:gd name="T19" fmla="*/ 15 h 30"/>
                <a:gd name="T20" fmla="*/ 1 w 182"/>
                <a:gd name="T21" fmla="*/ 18 h 30"/>
                <a:gd name="T22" fmla="*/ 1 w 182"/>
                <a:gd name="T23" fmla="*/ 21 h 30"/>
                <a:gd name="T24" fmla="*/ 4 w 182"/>
                <a:gd name="T25" fmla="*/ 24 h 30"/>
                <a:gd name="T26" fmla="*/ 5 w 182"/>
                <a:gd name="T27" fmla="*/ 26 h 30"/>
                <a:gd name="T28" fmla="*/ 8 w 182"/>
                <a:gd name="T29" fmla="*/ 28 h 30"/>
                <a:gd name="T30" fmla="*/ 10 w 182"/>
                <a:gd name="T31" fmla="*/ 29 h 30"/>
                <a:gd name="T32" fmla="*/ 13 w 182"/>
                <a:gd name="T33" fmla="*/ 30 h 30"/>
                <a:gd name="T34" fmla="*/ 15 w 182"/>
                <a:gd name="T35" fmla="*/ 30 h 30"/>
                <a:gd name="T36" fmla="*/ 167 w 182"/>
                <a:gd name="T37" fmla="*/ 30 h 30"/>
                <a:gd name="T38" fmla="*/ 171 w 182"/>
                <a:gd name="T39" fmla="*/ 30 h 30"/>
                <a:gd name="T40" fmla="*/ 173 w 182"/>
                <a:gd name="T41" fmla="*/ 29 h 30"/>
                <a:gd name="T42" fmla="*/ 176 w 182"/>
                <a:gd name="T43" fmla="*/ 28 h 30"/>
                <a:gd name="T44" fmla="*/ 178 w 182"/>
                <a:gd name="T45" fmla="*/ 26 h 30"/>
                <a:gd name="T46" fmla="*/ 180 w 182"/>
                <a:gd name="T47" fmla="*/ 24 h 30"/>
                <a:gd name="T48" fmla="*/ 181 w 182"/>
                <a:gd name="T49" fmla="*/ 21 h 30"/>
                <a:gd name="T50" fmla="*/ 182 w 182"/>
                <a:gd name="T51" fmla="*/ 18 h 30"/>
                <a:gd name="T52" fmla="*/ 182 w 182"/>
                <a:gd name="T53" fmla="*/ 15 h 30"/>
                <a:gd name="T54" fmla="*/ 182 w 182"/>
                <a:gd name="T55" fmla="*/ 13 h 30"/>
                <a:gd name="T56" fmla="*/ 181 w 182"/>
                <a:gd name="T57" fmla="*/ 10 h 30"/>
                <a:gd name="T58" fmla="*/ 180 w 182"/>
                <a:gd name="T59" fmla="*/ 7 h 30"/>
                <a:gd name="T60" fmla="*/ 178 w 182"/>
                <a:gd name="T61" fmla="*/ 5 h 30"/>
                <a:gd name="T62" fmla="*/ 176 w 182"/>
                <a:gd name="T63" fmla="*/ 3 h 30"/>
                <a:gd name="T64" fmla="*/ 173 w 182"/>
                <a:gd name="T65" fmla="*/ 1 h 30"/>
                <a:gd name="T66" fmla="*/ 171 w 182"/>
                <a:gd name="T67" fmla="*/ 1 h 30"/>
                <a:gd name="T68" fmla="*/ 167 w 18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2" h="30">
                  <a:moveTo>
                    <a:pt x="167" y="0"/>
                  </a:moveTo>
                  <a:lnTo>
                    <a:pt x="15" y="0"/>
                  </a:lnTo>
                  <a:lnTo>
                    <a:pt x="13" y="1"/>
                  </a:lnTo>
                  <a:lnTo>
                    <a:pt x="10" y="1"/>
                  </a:lnTo>
                  <a:lnTo>
                    <a:pt x="8" y="3"/>
                  </a:lnTo>
                  <a:lnTo>
                    <a:pt x="5" y="5"/>
                  </a:lnTo>
                  <a:lnTo>
                    <a:pt x="4" y="7"/>
                  </a:lnTo>
                  <a:lnTo>
                    <a:pt x="1" y="10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4" y="24"/>
                  </a:lnTo>
                  <a:lnTo>
                    <a:pt x="5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167" y="30"/>
                  </a:lnTo>
                  <a:lnTo>
                    <a:pt x="171" y="30"/>
                  </a:lnTo>
                  <a:lnTo>
                    <a:pt x="173" y="29"/>
                  </a:lnTo>
                  <a:lnTo>
                    <a:pt x="176" y="28"/>
                  </a:lnTo>
                  <a:lnTo>
                    <a:pt x="178" y="26"/>
                  </a:lnTo>
                  <a:lnTo>
                    <a:pt x="180" y="24"/>
                  </a:lnTo>
                  <a:lnTo>
                    <a:pt x="181" y="21"/>
                  </a:lnTo>
                  <a:lnTo>
                    <a:pt x="182" y="18"/>
                  </a:lnTo>
                  <a:lnTo>
                    <a:pt x="182" y="15"/>
                  </a:lnTo>
                  <a:lnTo>
                    <a:pt x="182" y="13"/>
                  </a:lnTo>
                  <a:lnTo>
                    <a:pt x="181" y="10"/>
                  </a:lnTo>
                  <a:lnTo>
                    <a:pt x="180" y="7"/>
                  </a:lnTo>
                  <a:lnTo>
                    <a:pt x="178" y="5"/>
                  </a:lnTo>
                  <a:lnTo>
                    <a:pt x="176" y="3"/>
                  </a:lnTo>
                  <a:lnTo>
                    <a:pt x="173" y="1"/>
                  </a:lnTo>
                  <a:lnTo>
                    <a:pt x="171" y="1"/>
                  </a:lnTo>
                  <a:lnTo>
                    <a:pt x="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184">
              <a:extLst>
                <a:ext uri="{FF2B5EF4-FFF2-40B4-BE49-F238E27FC236}">
                  <a16:creationId xmlns:a16="http://schemas.microsoft.com/office/drawing/2014/main" id="{A9DBBEB3-6C23-4C85-B1EB-2DCDA4556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9325" y="1450976"/>
              <a:ext cx="57150" cy="39688"/>
            </a:xfrm>
            <a:custGeom>
              <a:avLst/>
              <a:gdLst>
                <a:gd name="T0" fmla="*/ 156 w 181"/>
                <a:gd name="T1" fmla="*/ 4 h 126"/>
                <a:gd name="T2" fmla="*/ 71 w 181"/>
                <a:gd name="T3" fmla="*/ 88 h 126"/>
                <a:gd name="T4" fmla="*/ 25 w 181"/>
                <a:gd name="T5" fmla="*/ 43 h 126"/>
                <a:gd name="T6" fmla="*/ 23 w 181"/>
                <a:gd name="T7" fmla="*/ 41 h 126"/>
                <a:gd name="T8" fmla="*/ 20 w 181"/>
                <a:gd name="T9" fmla="*/ 39 h 126"/>
                <a:gd name="T10" fmla="*/ 18 w 181"/>
                <a:gd name="T11" fmla="*/ 39 h 126"/>
                <a:gd name="T12" fmla="*/ 15 w 181"/>
                <a:gd name="T13" fmla="*/ 38 h 126"/>
                <a:gd name="T14" fmla="*/ 11 w 181"/>
                <a:gd name="T15" fmla="*/ 39 h 126"/>
                <a:gd name="T16" fmla="*/ 9 w 181"/>
                <a:gd name="T17" fmla="*/ 39 h 126"/>
                <a:gd name="T18" fmla="*/ 6 w 181"/>
                <a:gd name="T19" fmla="*/ 41 h 126"/>
                <a:gd name="T20" fmla="*/ 4 w 181"/>
                <a:gd name="T21" fmla="*/ 43 h 126"/>
                <a:gd name="T22" fmla="*/ 2 w 181"/>
                <a:gd name="T23" fmla="*/ 45 h 126"/>
                <a:gd name="T24" fmla="*/ 1 w 181"/>
                <a:gd name="T25" fmla="*/ 47 h 126"/>
                <a:gd name="T26" fmla="*/ 0 w 181"/>
                <a:gd name="T27" fmla="*/ 51 h 126"/>
                <a:gd name="T28" fmla="*/ 0 w 181"/>
                <a:gd name="T29" fmla="*/ 53 h 126"/>
                <a:gd name="T30" fmla="*/ 0 w 181"/>
                <a:gd name="T31" fmla="*/ 56 h 126"/>
                <a:gd name="T32" fmla="*/ 1 w 181"/>
                <a:gd name="T33" fmla="*/ 59 h 126"/>
                <a:gd name="T34" fmla="*/ 2 w 181"/>
                <a:gd name="T35" fmla="*/ 61 h 126"/>
                <a:gd name="T36" fmla="*/ 4 w 181"/>
                <a:gd name="T37" fmla="*/ 63 h 126"/>
                <a:gd name="T38" fmla="*/ 61 w 181"/>
                <a:gd name="T39" fmla="*/ 121 h 126"/>
                <a:gd name="T40" fmla="*/ 63 w 181"/>
                <a:gd name="T41" fmla="*/ 122 h 126"/>
                <a:gd name="T42" fmla="*/ 66 w 181"/>
                <a:gd name="T43" fmla="*/ 124 h 126"/>
                <a:gd name="T44" fmla="*/ 68 w 181"/>
                <a:gd name="T45" fmla="*/ 126 h 126"/>
                <a:gd name="T46" fmla="*/ 71 w 181"/>
                <a:gd name="T47" fmla="*/ 126 h 126"/>
                <a:gd name="T48" fmla="*/ 74 w 181"/>
                <a:gd name="T49" fmla="*/ 126 h 126"/>
                <a:gd name="T50" fmla="*/ 77 w 181"/>
                <a:gd name="T51" fmla="*/ 124 h 126"/>
                <a:gd name="T52" fmla="*/ 80 w 181"/>
                <a:gd name="T53" fmla="*/ 122 h 126"/>
                <a:gd name="T54" fmla="*/ 82 w 181"/>
                <a:gd name="T55" fmla="*/ 121 h 126"/>
                <a:gd name="T56" fmla="*/ 176 w 181"/>
                <a:gd name="T57" fmla="*/ 26 h 126"/>
                <a:gd name="T58" fmla="*/ 178 w 181"/>
                <a:gd name="T59" fmla="*/ 24 h 126"/>
                <a:gd name="T60" fmla="*/ 180 w 181"/>
                <a:gd name="T61" fmla="*/ 21 h 126"/>
                <a:gd name="T62" fmla="*/ 180 w 181"/>
                <a:gd name="T63" fmla="*/ 17 h 126"/>
                <a:gd name="T64" fmla="*/ 181 w 181"/>
                <a:gd name="T65" fmla="*/ 15 h 126"/>
                <a:gd name="T66" fmla="*/ 180 w 181"/>
                <a:gd name="T67" fmla="*/ 12 h 126"/>
                <a:gd name="T68" fmla="*/ 180 w 181"/>
                <a:gd name="T69" fmla="*/ 9 h 126"/>
                <a:gd name="T70" fmla="*/ 178 w 181"/>
                <a:gd name="T71" fmla="*/ 6 h 126"/>
                <a:gd name="T72" fmla="*/ 176 w 181"/>
                <a:gd name="T73" fmla="*/ 4 h 126"/>
                <a:gd name="T74" fmla="*/ 172 w 181"/>
                <a:gd name="T75" fmla="*/ 1 h 126"/>
                <a:gd name="T76" fmla="*/ 166 w 181"/>
                <a:gd name="T77" fmla="*/ 0 h 126"/>
                <a:gd name="T78" fmla="*/ 160 w 181"/>
                <a:gd name="T79" fmla="*/ 1 h 126"/>
                <a:gd name="T80" fmla="*/ 156 w 181"/>
                <a:gd name="T81" fmla="*/ 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1" h="126">
                  <a:moveTo>
                    <a:pt x="156" y="4"/>
                  </a:moveTo>
                  <a:lnTo>
                    <a:pt x="71" y="88"/>
                  </a:lnTo>
                  <a:lnTo>
                    <a:pt x="25" y="43"/>
                  </a:lnTo>
                  <a:lnTo>
                    <a:pt x="23" y="41"/>
                  </a:lnTo>
                  <a:lnTo>
                    <a:pt x="20" y="39"/>
                  </a:lnTo>
                  <a:lnTo>
                    <a:pt x="18" y="39"/>
                  </a:lnTo>
                  <a:lnTo>
                    <a:pt x="15" y="38"/>
                  </a:lnTo>
                  <a:lnTo>
                    <a:pt x="11" y="39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4" y="43"/>
                  </a:lnTo>
                  <a:lnTo>
                    <a:pt x="2" y="45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0" y="56"/>
                  </a:lnTo>
                  <a:lnTo>
                    <a:pt x="1" y="59"/>
                  </a:lnTo>
                  <a:lnTo>
                    <a:pt x="2" y="61"/>
                  </a:lnTo>
                  <a:lnTo>
                    <a:pt x="4" y="63"/>
                  </a:lnTo>
                  <a:lnTo>
                    <a:pt x="61" y="121"/>
                  </a:lnTo>
                  <a:lnTo>
                    <a:pt x="63" y="122"/>
                  </a:lnTo>
                  <a:lnTo>
                    <a:pt x="66" y="124"/>
                  </a:lnTo>
                  <a:lnTo>
                    <a:pt x="68" y="126"/>
                  </a:lnTo>
                  <a:lnTo>
                    <a:pt x="71" y="126"/>
                  </a:lnTo>
                  <a:lnTo>
                    <a:pt x="74" y="126"/>
                  </a:lnTo>
                  <a:lnTo>
                    <a:pt x="77" y="124"/>
                  </a:lnTo>
                  <a:lnTo>
                    <a:pt x="80" y="122"/>
                  </a:lnTo>
                  <a:lnTo>
                    <a:pt x="82" y="121"/>
                  </a:lnTo>
                  <a:lnTo>
                    <a:pt x="176" y="26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0" y="17"/>
                  </a:lnTo>
                  <a:lnTo>
                    <a:pt x="181" y="15"/>
                  </a:lnTo>
                  <a:lnTo>
                    <a:pt x="180" y="12"/>
                  </a:lnTo>
                  <a:lnTo>
                    <a:pt x="180" y="9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2" y="1"/>
                  </a:lnTo>
                  <a:lnTo>
                    <a:pt x="166" y="0"/>
                  </a:lnTo>
                  <a:lnTo>
                    <a:pt x="160" y="1"/>
                  </a:lnTo>
                  <a:lnTo>
                    <a:pt x="156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185">
              <a:extLst>
                <a:ext uri="{FF2B5EF4-FFF2-40B4-BE49-F238E27FC236}">
                  <a16:creationId xmlns:a16="http://schemas.microsoft.com/office/drawing/2014/main" id="{2223B595-8F12-4E33-AA34-7B6B53BEB4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9325" y="1504951"/>
              <a:ext cx="57150" cy="39688"/>
            </a:xfrm>
            <a:custGeom>
              <a:avLst/>
              <a:gdLst>
                <a:gd name="T0" fmla="*/ 156 w 181"/>
                <a:gd name="T1" fmla="*/ 4 h 124"/>
                <a:gd name="T2" fmla="*/ 71 w 181"/>
                <a:gd name="T3" fmla="*/ 88 h 124"/>
                <a:gd name="T4" fmla="*/ 25 w 181"/>
                <a:gd name="T5" fmla="*/ 41 h 124"/>
                <a:gd name="T6" fmla="*/ 23 w 181"/>
                <a:gd name="T7" fmla="*/ 39 h 124"/>
                <a:gd name="T8" fmla="*/ 20 w 181"/>
                <a:gd name="T9" fmla="*/ 38 h 124"/>
                <a:gd name="T10" fmla="*/ 18 w 181"/>
                <a:gd name="T11" fmla="*/ 37 h 124"/>
                <a:gd name="T12" fmla="*/ 15 w 181"/>
                <a:gd name="T13" fmla="*/ 37 h 124"/>
                <a:gd name="T14" fmla="*/ 11 w 181"/>
                <a:gd name="T15" fmla="*/ 37 h 124"/>
                <a:gd name="T16" fmla="*/ 9 w 181"/>
                <a:gd name="T17" fmla="*/ 38 h 124"/>
                <a:gd name="T18" fmla="*/ 6 w 181"/>
                <a:gd name="T19" fmla="*/ 39 h 124"/>
                <a:gd name="T20" fmla="*/ 4 w 181"/>
                <a:gd name="T21" fmla="*/ 41 h 124"/>
                <a:gd name="T22" fmla="*/ 2 w 181"/>
                <a:gd name="T23" fmla="*/ 43 h 124"/>
                <a:gd name="T24" fmla="*/ 1 w 181"/>
                <a:gd name="T25" fmla="*/ 47 h 124"/>
                <a:gd name="T26" fmla="*/ 0 w 181"/>
                <a:gd name="T27" fmla="*/ 49 h 124"/>
                <a:gd name="T28" fmla="*/ 0 w 181"/>
                <a:gd name="T29" fmla="*/ 52 h 124"/>
                <a:gd name="T30" fmla="*/ 0 w 181"/>
                <a:gd name="T31" fmla="*/ 55 h 124"/>
                <a:gd name="T32" fmla="*/ 1 w 181"/>
                <a:gd name="T33" fmla="*/ 57 h 124"/>
                <a:gd name="T34" fmla="*/ 2 w 181"/>
                <a:gd name="T35" fmla="*/ 61 h 124"/>
                <a:gd name="T36" fmla="*/ 4 w 181"/>
                <a:gd name="T37" fmla="*/ 63 h 124"/>
                <a:gd name="T38" fmla="*/ 61 w 181"/>
                <a:gd name="T39" fmla="*/ 119 h 124"/>
                <a:gd name="T40" fmla="*/ 63 w 181"/>
                <a:gd name="T41" fmla="*/ 122 h 124"/>
                <a:gd name="T42" fmla="*/ 66 w 181"/>
                <a:gd name="T43" fmla="*/ 123 h 124"/>
                <a:gd name="T44" fmla="*/ 68 w 181"/>
                <a:gd name="T45" fmla="*/ 124 h 124"/>
                <a:gd name="T46" fmla="*/ 71 w 181"/>
                <a:gd name="T47" fmla="*/ 124 h 124"/>
                <a:gd name="T48" fmla="*/ 74 w 181"/>
                <a:gd name="T49" fmla="*/ 124 h 124"/>
                <a:gd name="T50" fmla="*/ 77 w 181"/>
                <a:gd name="T51" fmla="*/ 123 h 124"/>
                <a:gd name="T52" fmla="*/ 80 w 181"/>
                <a:gd name="T53" fmla="*/ 122 h 124"/>
                <a:gd name="T54" fmla="*/ 82 w 181"/>
                <a:gd name="T55" fmla="*/ 119 h 124"/>
                <a:gd name="T56" fmla="*/ 176 w 181"/>
                <a:gd name="T57" fmla="*/ 25 h 124"/>
                <a:gd name="T58" fmla="*/ 178 w 181"/>
                <a:gd name="T59" fmla="*/ 23 h 124"/>
                <a:gd name="T60" fmla="*/ 180 w 181"/>
                <a:gd name="T61" fmla="*/ 20 h 124"/>
                <a:gd name="T62" fmla="*/ 180 w 181"/>
                <a:gd name="T63" fmla="*/ 18 h 124"/>
                <a:gd name="T64" fmla="*/ 181 w 181"/>
                <a:gd name="T65" fmla="*/ 14 h 124"/>
                <a:gd name="T66" fmla="*/ 180 w 181"/>
                <a:gd name="T67" fmla="*/ 11 h 124"/>
                <a:gd name="T68" fmla="*/ 180 w 181"/>
                <a:gd name="T69" fmla="*/ 9 h 124"/>
                <a:gd name="T70" fmla="*/ 178 w 181"/>
                <a:gd name="T71" fmla="*/ 6 h 124"/>
                <a:gd name="T72" fmla="*/ 176 w 181"/>
                <a:gd name="T73" fmla="*/ 4 h 124"/>
                <a:gd name="T74" fmla="*/ 174 w 181"/>
                <a:gd name="T75" fmla="*/ 2 h 124"/>
                <a:gd name="T76" fmla="*/ 172 w 181"/>
                <a:gd name="T77" fmla="*/ 1 h 124"/>
                <a:gd name="T78" fmla="*/ 169 w 181"/>
                <a:gd name="T79" fmla="*/ 0 h 124"/>
                <a:gd name="T80" fmla="*/ 166 w 181"/>
                <a:gd name="T81" fmla="*/ 0 h 124"/>
                <a:gd name="T82" fmla="*/ 163 w 181"/>
                <a:gd name="T83" fmla="*/ 0 h 124"/>
                <a:gd name="T84" fmla="*/ 160 w 181"/>
                <a:gd name="T85" fmla="*/ 1 h 124"/>
                <a:gd name="T86" fmla="*/ 158 w 181"/>
                <a:gd name="T87" fmla="*/ 2 h 124"/>
                <a:gd name="T88" fmla="*/ 156 w 181"/>
                <a:gd name="T89" fmla="*/ 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1" h="124">
                  <a:moveTo>
                    <a:pt x="156" y="4"/>
                  </a:moveTo>
                  <a:lnTo>
                    <a:pt x="71" y="88"/>
                  </a:lnTo>
                  <a:lnTo>
                    <a:pt x="25" y="41"/>
                  </a:lnTo>
                  <a:lnTo>
                    <a:pt x="23" y="39"/>
                  </a:lnTo>
                  <a:lnTo>
                    <a:pt x="20" y="38"/>
                  </a:lnTo>
                  <a:lnTo>
                    <a:pt x="18" y="37"/>
                  </a:lnTo>
                  <a:lnTo>
                    <a:pt x="15" y="37"/>
                  </a:lnTo>
                  <a:lnTo>
                    <a:pt x="11" y="37"/>
                  </a:lnTo>
                  <a:lnTo>
                    <a:pt x="9" y="38"/>
                  </a:lnTo>
                  <a:lnTo>
                    <a:pt x="6" y="39"/>
                  </a:lnTo>
                  <a:lnTo>
                    <a:pt x="4" y="41"/>
                  </a:lnTo>
                  <a:lnTo>
                    <a:pt x="2" y="43"/>
                  </a:lnTo>
                  <a:lnTo>
                    <a:pt x="1" y="47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0" y="55"/>
                  </a:lnTo>
                  <a:lnTo>
                    <a:pt x="1" y="57"/>
                  </a:lnTo>
                  <a:lnTo>
                    <a:pt x="2" y="61"/>
                  </a:lnTo>
                  <a:lnTo>
                    <a:pt x="4" y="63"/>
                  </a:lnTo>
                  <a:lnTo>
                    <a:pt x="61" y="119"/>
                  </a:lnTo>
                  <a:lnTo>
                    <a:pt x="63" y="122"/>
                  </a:lnTo>
                  <a:lnTo>
                    <a:pt x="66" y="123"/>
                  </a:lnTo>
                  <a:lnTo>
                    <a:pt x="68" y="124"/>
                  </a:lnTo>
                  <a:lnTo>
                    <a:pt x="71" y="124"/>
                  </a:lnTo>
                  <a:lnTo>
                    <a:pt x="74" y="124"/>
                  </a:lnTo>
                  <a:lnTo>
                    <a:pt x="77" y="123"/>
                  </a:lnTo>
                  <a:lnTo>
                    <a:pt x="80" y="122"/>
                  </a:lnTo>
                  <a:lnTo>
                    <a:pt x="82" y="119"/>
                  </a:lnTo>
                  <a:lnTo>
                    <a:pt x="176" y="25"/>
                  </a:lnTo>
                  <a:lnTo>
                    <a:pt x="178" y="23"/>
                  </a:lnTo>
                  <a:lnTo>
                    <a:pt x="180" y="20"/>
                  </a:lnTo>
                  <a:lnTo>
                    <a:pt x="180" y="18"/>
                  </a:lnTo>
                  <a:lnTo>
                    <a:pt x="181" y="14"/>
                  </a:lnTo>
                  <a:lnTo>
                    <a:pt x="180" y="11"/>
                  </a:lnTo>
                  <a:lnTo>
                    <a:pt x="180" y="9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9" y="0"/>
                  </a:lnTo>
                  <a:lnTo>
                    <a:pt x="166" y="0"/>
                  </a:lnTo>
                  <a:lnTo>
                    <a:pt x="163" y="0"/>
                  </a:lnTo>
                  <a:lnTo>
                    <a:pt x="160" y="1"/>
                  </a:lnTo>
                  <a:lnTo>
                    <a:pt x="158" y="2"/>
                  </a:lnTo>
                  <a:lnTo>
                    <a:pt x="156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86">
              <a:extLst>
                <a:ext uri="{FF2B5EF4-FFF2-40B4-BE49-F238E27FC236}">
                  <a16:creationId xmlns:a16="http://schemas.microsoft.com/office/drawing/2014/main" id="{79193162-D106-4974-A2A2-8D89BA87E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9325" y="1558926"/>
              <a:ext cx="57150" cy="39688"/>
            </a:xfrm>
            <a:custGeom>
              <a:avLst/>
              <a:gdLst>
                <a:gd name="T0" fmla="*/ 156 w 181"/>
                <a:gd name="T1" fmla="*/ 5 h 126"/>
                <a:gd name="T2" fmla="*/ 71 w 181"/>
                <a:gd name="T3" fmla="*/ 88 h 126"/>
                <a:gd name="T4" fmla="*/ 25 w 181"/>
                <a:gd name="T5" fmla="*/ 43 h 126"/>
                <a:gd name="T6" fmla="*/ 23 w 181"/>
                <a:gd name="T7" fmla="*/ 41 h 126"/>
                <a:gd name="T8" fmla="*/ 20 w 181"/>
                <a:gd name="T9" fmla="*/ 40 h 126"/>
                <a:gd name="T10" fmla="*/ 18 w 181"/>
                <a:gd name="T11" fmla="*/ 39 h 126"/>
                <a:gd name="T12" fmla="*/ 15 w 181"/>
                <a:gd name="T13" fmla="*/ 39 h 126"/>
                <a:gd name="T14" fmla="*/ 11 w 181"/>
                <a:gd name="T15" fmla="*/ 39 h 126"/>
                <a:gd name="T16" fmla="*/ 9 w 181"/>
                <a:gd name="T17" fmla="*/ 40 h 126"/>
                <a:gd name="T18" fmla="*/ 6 w 181"/>
                <a:gd name="T19" fmla="*/ 41 h 126"/>
                <a:gd name="T20" fmla="*/ 4 w 181"/>
                <a:gd name="T21" fmla="*/ 43 h 126"/>
                <a:gd name="T22" fmla="*/ 2 w 181"/>
                <a:gd name="T23" fmla="*/ 46 h 126"/>
                <a:gd name="T24" fmla="*/ 1 w 181"/>
                <a:gd name="T25" fmla="*/ 49 h 126"/>
                <a:gd name="T26" fmla="*/ 0 w 181"/>
                <a:gd name="T27" fmla="*/ 51 h 126"/>
                <a:gd name="T28" fmla="*/ 0 w 181"/>
                <a:gd name="T29" fmla="*/ 54 h 126"/>
                <a:gd name="T30" fmla="*/ 0 w 181"/>
                <a:gd name="T31" fmla="*/ 57 h 126"/>
                <a:gd name="T32" fmla="*/ 1 w 181"/>
                <a:gd name="T33" fmla="*/ 60 h 126"/>
                <a:gd name="T34" fmla="*/ 2 w 181"/>
                <a:gd name="T35" fmla="*/ 63 h 126"/>
                <a:gd name="T36" fmla="*/ 4 w 181"/>
                <a:gd name="T37" fmla="*/ 65 h 126"/>
                <a:gd name="T38" fmla="*/ 61 w 181"/>
                <a:gd name="T39" fmla="*/ 122 h 126"/>
                <a:gd name="T40" fmla="*/ 63 w 181"/>
                <a:gd name="T41" fmla="*/ 124 h 126"/>
                <a:gd name="T42" fmla="*/ 66 w 181"/>
                <a:gd name="T43" fmla="*/ 125 h 126"/>
                <a:gd name="T44" fmla="*/ 68 w 181"/>
                <a:gd name="T45" fmla="*/ 126 h 126"/>
                <a:gd name="T46" fmla="*/ 71 w 181"/>
                <a:gd name="T47" fmla="*/ 126 h 126"/>
                <a:gd name="T48" fmla="*/ 74 w 181"/>
                <a:gd name="T49" fmla="*/ 126 h 126"/>
                <a:gd name="T50" fmla="*/ 77 w 181"/>
                <a:gd name="T51" fmla="*/ 125 h 126"/>
                <a:gd name="T52" fmla="*/ 80 w 181"/>
                <a:gd name="T53" fmla="*/ 124 h 126"/>
                <a:gd name="T54" fmla="*/ 82 w 181"/>
                <a:gd name="T55" fmla="*/ 122 h 126"/>
                <a:gd name="T56" fmla="*/ 176 w 181"/>
                <a:gd name="T57" fmla="*/ 27 h 126"/>
                <a:gd name="T58" fmla="*/ 178 w 181"/>
                <a:gd name="T59" fmla="*/ 24 h 126"/>
                <a:gd name="T60" fmla="*/ 180 w 181"/>
                <a:gd name="T61" fmla="*/ 22 h 126"/>
                <a:gd name="T62" fmla="*/ 180 w 181"/>
                <a:gd name="T63" fmla="*/ 19 h 126"/>
                <a:gd name="T64" fmla="*/ 181 w 181"/>
                <a:gd name="T65" fmla="*/ 16 h 126"/>
                <a:gd name="T66" fmla="*/ 180 w 181"/>
                <a:gd name="T67" fmla="*/ 12 h 126"/>
                <a:gd name="T68" fmla="*/ 180 w 181"/>
                <a:gd name="T69" fmla="*/ 10 h 126"/>
                <a:gd name="T70" fmla="*/ 178 w 181"/>
                <a:gd name="T71" fmla="*/ 7 h 126"/>
                <a:gd name="T72" fmla="*/ 176 w 181"/>
                <a:gd name="T73" fmla="*/ 5 h 126"/>
                <a:gd name="T74" fmla="*/ 174 w 181"/>
                <a:gd name="T75" fmla="*/ 3 h 126"/>
                <a:gd name="T76" fmla="*/ 172 w 181"/>
                <a:gd name="T77" fmla="*/ 2 h 126"/>
                <a:gd name="T78" fmla="*/ 169 w 181"/>
                <a:gd name="T79" fmla="*/ 1 h 126"/>
                <a:gd name="T80" fmla="*/ 166 w 181"/>
                <a:gd name="T81" fmla="*/ 0 h 126"/>
                <a:gd name="T82" fmla="*/ 163 w 181"/>
                <a:gd name="T83" fmla="*/ 1 h 126"/>
                <a:gd name="T84" fmla="*/ 160 w 181"/>
                <a:gd name="T85" fmla="*/ 2 h 126"/>
                <a:gd name="T86" fmla="*/ 158 w 181"/>
                <a:gd name="T87" fmla="*/ 3 h 126"/>
                <a:gd name="T88" fmla="*/ 156 w 181"/>
                <a:gd name="T89" fmla="*/ 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1" h="126">
                  <a:moveTo>
                    <a:pt x="156" y="5"/>
                  </a:moveTo>
                  <a:lnTo>
                    <a:pt x="71" y="88"/>
                  </a:lnTo>
                  <a:lnTo>
                    <a:pt x="25" y="43"/>
                  </a:lnTo>
                  <a:lnTo>
                    <a:pt x="23" y="41"/>
                  </a:lnTo>
                  <a:lnTo>
                    <a:pt x="20" y="40"/>
                  </a:lnTo>
                  <a:lnTo>
                    <a:pt x="18" y="39"/>
                  </a:lnTo>
                  <a:lnTo>
                    <a:pt x="15" y="39"/>
                  </a:lnTo>
                  <a:lnTo>
                    <a:pt x="11" y="39"/>
                  </a:lnTo>
                  <a:lnTo>
                    <a:pt x="9" y="40"/>
                  </a:lnTo>
                  <a:lnTo>
                    <a:pt x="6" y="41"/>
                  </a:lnTo>
                  <a:lnTo>
                    <a:pt x="4" y="43"/>
                  </a:lnTo>
                  <a:lnTo>
                    <a:pt x="2" y="46"/>
                  </a:lnTo>
                  <a:lnTo>
                    <a:pt x="1" y="49"/>
                  </a:lnTo>
                  <a:lnTo>
                    <a:pt x="0" y="51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1" y="60"/>
                  </a:lnTo>
                  <a:lnTo>
                    <a:pt x="2" y="63"/>
                  </a:lnTo>
                  <a:lnTo>
                    <a:pt x="4" y="65"/>
                  </a:lnTo>
                  <a:lnTo>
                    <a:pt x="61" y="122"/>
                  </a:lnTo>
                  <a:lnTo>
                    <a:pt x="63" y="124"/>
                  </a:lnTo>
                  <a:lnTo>
                    <a:pt x="66" y="125"/>
                  </a:lnTo>
                  <a:lnTo>
                    <a:pt x="68" y="126"/>
                  </a:lnTo>
                  <a:lnTo>
                    <a:pt x="71" y="126"/>
                  </a:lnTo>
                  <a:lnTo>
                    <a:pt x="74" y="126"/>
                  </a:lnTo>
                  <a:lnTo>
                    <a:pt x="77" y="125"/>
                  </a:lnTo>
                  <a:lnTo>
                    <a:pt x="80" y="124"/>
                  </a:lnTo>
                  <a:lnTo>
                    <a:pt x="82" y="122"/>
                  </a:lnTo>
                  <a:lnTo>
                    <a:pt x="176" y="27"/>
                  </a:lnTo>
                  <a:lnTo>
                    <a:pt x="178" y="24"/>
                  </a:lnTo>
                  <a:lnTo>
                    <a:pt x="180" y="22"/>
                  </a:lnTo>
                  <a:lnTo>
                    <a:pt x="180" y="19"/>
                  </a:lnTo>
                  <a:lnTo>
                    <a:pt x="181" y="16"/>
                  </a:lnTo>
                  <a:lnTo>
                    <a:pt x="180" y="12"/>
                  </a:lnTo>
                  <a:lnTo>
                    <a:pt x="180" y="10"/>
                  </a:lnTo>
                  <a:lnTo>
                    <a:pt x="178" y="7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2" y="2"/>
                  </a:lnTo>
                  <a:lnTo>
                    <a:pt x="169" y="1"/>
                  </a:lnTo>
                  <a:lnTo>
                    <a:pt x="166" y="0"/>
                  </a:lnTo>
                  <a:lnTo>
                    <a:pt x="163" y="1"/>
                  </a:lnTo>
                  <a:lnTo>
                    <a:pt x="160" y="2"/>
                  </a:lnTo>
                  <a:lnTo>
                    <a:pt x="158" y="3"/>
                  </a:lnTo>
                  <a:lnTo>
                    <a:pt x="156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CB520553-C82E-4FAA-867A-DD7BDB2939BC}"/>
              </a:ext>
            </a:extLst>
          </p:cNvPr>
          <p:cNvGrpSpPr/>
          <p:nvPr/>
        </p:nvGrpSpPr>
        <p:grpSpPr>
          <a:xfrm>
            <a:off x="7897281" y="4941201"/>
            <a:ext cx="285750" cy="285750"/>
            <a:chOff x="6451600" y="2505076"/>
            <a:chExt cx="285750" cy="285750"/>
          </a:xfrm>
          <a:solidFill>
            <a:schemeClr val="bg1"/>
          </a:solidFill>
        </p:grpSpPr>
        <p:sp>
          <p:nvSpPr>
            <p:cNvPr id="108" name="Freeform 296">
              <a:extLst>
                <a:ext uri="{FF2B5EF4-FFF2-40B4-BE49-F238E27FC236}">
                  <a16:creationId xmlns:a16="http://schemas.microsoft.com/office/drawing/2014/main" id="{DA5F12AA-4326-4FD0-AB6D-C03F14F317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75425" y="2505076"/>
              <a:ext cx="161925" cy="209550"/>
            </a:xfrm>
            <a:custGeom>
              <a:avLst/>
              <a:gdLst>
                <a:gd name="T0" fmla="*/ 330 w 510"/>
                <a:gd name="T1" fmla="*/ 53 h 660"/>
                <a:gd name="T2" fmla="*/ 459 w 510"/>
                <a:gd name="T3" fmla="*/ 180 h 660"/>
                <a:gd name="T4" fmla="*/ 330 w 510"/>
                <a:gd name="T5" fmla="*/ 180 h 660"/>
                <a:gd name="T6" fmla="*/ 330 w 510"/>
                <a:gd name="T7" fmla="*/ 53 h 660"/>
                <a:gd name="T8" fmla="*/ 509 w 510"/>
                <a:gd name="T9" fmla="*/ 191 h 660"/>
                <a:gd name="T10" fmla="*/ 508 w 510"/>
                <a:gd name="T11" fmla="*/ 187 h 660"/>
                <a:gd name="T12" fmla="*/ 506 w 510"/>
                <a:gd name="T13" fmla="*/ 185 h 660"/>
                <a:gd name="T14" fmla="*/ 326 w 510"/>
                <a:gd name="T15" fmla="*/ 4 h 660"/>
                <a:gd name="T16" fmla="*/ 323 w 510"/>
                <a:gd name="T17" fmla="*/ 3 h 660"/>
                <a:gd name="T18" fmla="*/ 321 w 510"/>
                <a:gd name="T19" fmla="*/ 1 h 660"/>
                <a:gd name="T20" fmla="*/ 317 w 510"/>
                <a:gd name="T21" fmla="*/ 1 h 660"/>
                <a:gd name="T22" fmla="*/ 315 w 510"/>
                <a:gd name="T23" fmla="*/ 0 h 660"/>
                <a:gd name="T24" fmla="*/ 15 w 510"/>
                <a:gd name="T25" fmla="*/ 0 h 660"/>
                <a:gd name="T26" fmla="*/ 11 w 510"/>
                <a:gd name="T27" fmla="*/ 0 h 660"/>
                <a:gd name="T28" fmla="*/ 8 w 510"/>
                <a:gd name="T29" fmla="*/ 1 h 660"/>
                <a:gd name="T30" fmla="*/ 6 w 510"/>
                <a:gd name="T31" fmla="*/ 3 h 660"/>
                <a:gd name="T32" fmla="*/ 4 w 510"/>
                <a:gd name="T33" fmla="*/ 4 h 660"/>
                <a:gd name="T34" fmla="*/ 2 w 510"/>
                <a:gd name="T35" fmla="*/ 7 h 660"/>
                <a:gd name="T36" fmla="*/ 1 w 510"/>
                <a:gd name="T37" fmla="*/ 10 h 660"/>
                <a:gd name="T38" fmla="*/ 0 w 510"/>
                <a:gd name="T39" fmla="*/ 12 h 660"/>
                <a:gd name="T40" fmla="*/ 0 w 510"/>
                <a:gd name="T41" fmla="*/ 15 h 660"/>
                <a:gd name="T42" fmla="*/ 0 w 510"/>
                <a:gd name="T43" fmla="*/ 545 h 660"/>
                <a:gd name="T44" fmla="*/ 30 w 510"/>
                <a:gd name="T45" fmla="*/ 545 h 660"/>
                <a:gd name="T46" fmla="*/ 30 w 510"/>
                <a:gd name="T47" fmla="*/ 30 h 660"/>
                <a:gd name="T48" fmla="*/ 300 w 510"/>
                <a:gd name="T49" fmla="*/ 30 h 660"/>
                <a:gd name="T50" fmla="*/ 300 w 510"/>
                <a:gd name="T51" fmla="*/ 195 h 660"/>
                <a:gd name="T52" fmla="*/ 300 w 510"/>
                <a:gd name="T53" fmla="*/ 198 h 660"/>
                <a:gd name="T54" fmla="*/ 301 w 510"/>
                <a:gd name="T55" fmla="*/ 201 h 660"/>
                <a:gd name="T56" fmla="*/ 302 w 510"/>
                <a:gd name="T57" fmla="*/ 205 h 660"/>
                <a:gd name="T58" fmla="*/ 305 w 510"/>
                <a:gd name="T59" fmla="*/ 207 h 660"/>
                <a:gd name="T60" fmla="*/ 307 w 510"/>
                <a:gd name="T61" fmla="*/ 208 h 660"/>
                <a:gd name="T62" fmla="*/ 309 w 510"/>
                <a:gd name="T63" fmla="*/ 209 h 660"/>
                <a:gd name="T64" fmla="*/ 312 w 510"/>
                <a:gd name="T65" fmla="*/ 210 h 660"/>
                <a:gd name="T66" fmla="*/ 315 w 510"/>
                <a:gd name="T67" fmla="*/ 210 h 660"/>
                <a:gd name="T68" fmla="*/ 480 w 510"/>
                <a:gd name="T69" fmla="*/ 210 h 660"/>
                <a:gd name="T70" fmla="*/ 480 w 510"/>
                <a:gd name="T71" fmla="*/ 630 h 660"/>
                <a:gd name="T72" fmla="*/ 135 w 510"/>
                <a:gd name="T73" fmla="*/ 630 h 660"/>
                <a:gd name="T74" fmla="*/ 135 w 510"/>
                <a:gd name="T75" fmla="*/ 660 h 660"/>
                <a:gd name="T76" fmla="*/ 495 w 510"/>
                <a:gd name="T77" fmla="*/ 660 h 660"/>
                <a:gd name="T78" fmla="*/ 498 w 510"/>
                <a:gd name="T79" fmla="*/ 660 h 660"/>
                <a:gd name="T80" fmla="*/ 501 w 510"/>
                <a:gd name="T81" fmla="*/ 659 h 660"/>
                <a:gd name="T82" fmla="*/ 504 w 510"/>
                <a:gd name="T83" fmla="*/ 658 h 660"/>
                <a:gd name="T84" fmla="*/ 506 w 510"/>
                <a:gd name="T85" fmla="*/ 657 h 660"/>
                <a:gd name="T86" fmla="*/ 508 w 510"/>
                <a:gd name="T87" fmla="*/ 655 h 660"/>
                <a:gd name="T88" fmla="*/ 509 w 510"/>
                <a:gd name="T89" fmla="*/ 652 h 660"/>
                <a:gd name="T90" fmla="*/ 510 w 510"/>
                <a:gd name="T91" fmla="*/ 649 h 660"/>
                <a:gd name="T92" fmla="*/ 510 w 510"/>
                <a:gd name="T93" fmla="*/ 645 h 660"/>
                <a:gd name="T94" fmla="*/ 510 w 510"/>
                <a:gd name="T95" fmla="*/ 195 h 660"/>
                <a:gd name="T96" fmla="*/ 510 w 510"/>
                <a:gd name="T97" fmla="*/ 193 h 660"/>
                <a:gd name="T98" fmla="*/ 509 w 510"/>
                <a:gd name="T99" fmla="*/ 191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10" h="660">
                  <a:moveTo>
                    <a:pt x="330" y="53"/>
                  </a:moveTo>
                  <a:lnTo>
                    <a:pt x="459" y="180"/>
                  </a:lnTo>
                  <a:lnTo>
                    <a:pt x="330" y="180"/>
                  </a:lnTo>
                  <a:lnTo>
                    <a:pt x="330" y="53"/>
                  </a:lnTo>
                  <a:close/>
                  <a:moveTo>
                    <a:pt x="509" y="191"/>
                  </a:moveTo>
                  <a:lnTo>
                    <a:pt x="508" y="187"/>
                  </a:lnTo>
                  <a:lnTo>
                    <a:pt x="506" y="185"/>
                  </a:lnTo>
                  <a:lnTo>
                    <a:pt x="326" y="4"/>
                  </a:lnTo>
                  <a:lnTo>
                    <a:pt x="323" y="3"/>
                  </a:lnTo>
                  <a:lnTo>
                    <a:pt x="321" y="1"/>
                  </a:lnTo>
                  <a:lnTo>
                    <a:pt x="317" y="1"/>
                  </a:lnTo>
                  <a:lnTo>
                    <a:pt x="315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45"/>
                  </a:lnTo>
                  <a:lnTo>
                    <a:pt x="30" y="545"/>
                  </a:lnTo>
                  <a:lnTo>
                    <a:pt x="30" y="30"/>
                  </a:lnTo>
                  <a:lnTo>
                    <a:pt x="300" y="30"/>
                  </a:lnTo>
                  <a:lnTo>
                    <a:pt x="300" y="195"/>
                  </a:lnTo>
                  <a:lnTo>
                    <a:pt x="300" y="198"/>
                  </a:lnTo>
                  <a:lnTo>
                    <a:pt x="301" y="201"/>
                  </a:lnTo>
                  <a:lnTo>
                    <a:pt x="302" y="205"/>
                  </a:lnTo>
                  <a:lnTo>
                    <a:pt x="305" y="207"/>
                  </a:lnTo>
                  <a:lnTo>
                    <a:pt x="307" y="208"/>
                  </a:lnTo>
                  <a:lnTo>
                    <a:pt x="309" y="209"/>
                  </a:lnTo>
                  <a:lnTo>
                    <a:pt x="312" y="210"/>
                  </a:lnTo>
                  <a:lnTo>
                    <a:pt x="315" y="210"/>
                  </a:lnTo>
                  <a:lnTo>
                    <a:pt x="480" y="210"/>
                  </a:lnTo>
                  <a:lnTo>
                    <a:pt x="480" y="630"/>
                  </a:lnTo>
                  <a:lnTo>
                    <a:pt x="135" y="630"/>
                  </a:lnTo>
                  <a:lnTo>
                    <a:pt x="135" y="660"/>
                  </a:lnTo>
                  <a:lnTo>
                    <a:pt x="495" y="660"/>
                  </a:lnTo>
                  <a:lnTo>
                    <a:pt x="498" y="660"/>
                  </a:lnTo>
                  <a:lnTo>
                    <a:pt x="501" y="659"/>
                  </a:lnTo>
                  <a:lnTo>
                    <a:pt x="504" y="658"/>
                  </a:lnTo>
                  <a:lnTo>
                    <a:pt x="506" y="657"/>
                  </a:lnTo>
                  <a:lnTo>
                    <a:pt x="508" y="655"/>
                  </a:lnTo>
                  <a:lnTo>
                    <a:pt x="509" y="652"/>
                  </a:lnTo>
                  <a:lnTo>
                    <a:pt x="510" y="649"/>
                  </a:lnTo>
                  <a:lnTo>
                    <a:pt x="510" y="645"/>
                  </a:lnTo>
                  <a:lnTo>
                    <a:pt x="510" y="195"/>
                  </a:lnTo>
                  <a:lnTo>
                    <a:pt x="510" y="193"/>
                  </a:lnTo>
                  <a:lnTo>
                    <a:pt x="509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297">
              <a:extLst>
                <a:ext uri="{FF2B5EF4-FFF2-40B4-BE49-F238E27FC236}">
                  <a16:creationId xmlns:a16="http://schemas.microsoft.com/office/drawing/2014/main" id="{D4E8CE2D-306B-42B7-AB75-294FC654C8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51600" y="2695576"/>
              <a:ext cx="261938" cy="95250"/>
            </a:xfrm>
            <a:custGeom>
              <a:avLst/>
              <a:gdLst>
                <a:gd name="T0" fmla="*/ 297 w 825"/>
                <a:gd name="T1" fmla="*/ 59 h 300"/>
                <a:gd name="T2" fmla="*/ 355 w 825"/>
                <a:gd name="T3" fmla="*/ 77 h 300"/>
                <a:gd name="T4" fmla="*/ 396 w 825"/>
                <a:gd name="T5" fmla="*/ 102 h 300"/>
                <a:gd name="T6" fmla="*/ 261 w 825"/>
                <a:gd name="T7" fmla="*/ 120 h 300"/>
                <a:gd name="T8" fmla="*/ 253 w 825"/>
                <a:gd name="T9" fmla="*/ 123 h 300"/>
                <a:gd name="T10" fmla="*/ 247 w 825"/>
                <a:gd name="T11" fmla="*/ 129 h 300"/>
                <a:gd name="T12" fmla="*/ 246 w 825"/>
                <a:gd name="T13" fmla="*/ 139 h 300"/>
                <a:gd name="T14" fmla="*/ 250 w 825"/>
                <a:gd name="T15" fmla="*/ 146 h 300"/>
                <a:gd name="T16" fmla="*/ 258 w 825"/>
                <a:gd name="T17" fmla="*/ 149 h 300"/>
                <a:gd name="T18" fmla="*/ 546 w 825"/>
                <a:gd name="T19" fmla="*/ 150 h 300"/>
                <a:gd name="T20" fmla="*/ 603 w 825"/>
                <a:gd name="T21" fmla="*/ 155 h 300"/>
                <a:gd name="T22" fmla="*/ 658 w 825"/>
                <a:gd name="T23" fmla="*/ 164 h 300"/>
                <a:gd name="T24" fmla="*/ 707 w 825"/>
                <a:gd name="T25" fmla="*/ 179 h 300"/>
                <a:gd name="T26" fmla="*/ 747 w 825"/>
                <a:gd name="T27" fmla="*/ 199 h 300"/>
                <a:gd name="T28" fmla="*/ 778 w 825"/>
                <a:gd name="T29" fmla="*/ 221 h 300"/>
                <a:gd name="T30" fmla="*/ 182 w 825"/>
                <a:gd name="T31" fmla="*/ 240 h 300"/>
                <a:gd name="T32" fmla="*/ 30 w 825"/>
                <a:gd name="T33" fmla="*/ 29 h 300"/>
                <a:gd name="T34" fmla="*/ 526 w 825"/>
                <a:gd name="T35" fmla="*/ 120 h 300"/>
                <a:gd name="T36" fmla="*/ 454 w 825"/>
                <a:gd name="T37" fmla="*/ 117 h 300"/>
                <a:gd name="T38" fmla="*/ 418 w 825"/>
                <a:gd name="T39" fmla="*/ 82 h 300"/>
                <a:gd name="T40" fmla="*/ 381 w 825"/>
                <a:gd name="T41" fmla="*/ 57 h 300"/>
                <a:gd name="T42" fmla="*/ 345 w 825"/>
                <a:gd name="T43" fmla="*/ 41 h 300"/>
                <a:gd name="T44" fmla="*/ 302 w 825"/>
                <a:gd name="T45" fmla="*/ 29 h 300"/>
                <a:gd name="T46" fmla="*/ 182 w 825"/>
                <a:gd name="T47" fmla="*/ 29 h 300"/>
                <a:gd name="T48" fmla="*/ 181 w 825"/>
                <a:gd name="T49" fmla="*/ 9 h 300"/>
                <a:gd name="T50" fmla="*/ 174 w 825"/>
                <a:gd name="T51" fmla="*/ 3 h 300"/>
                <a:gd name="T52" fmla="*/ 167 w 825"/>
                <a:gd name="T53" fmla="*/ 0 h 300"/>
                <a:gd name="T54" fmla="*/ 10 w 825"/>
                <a:gd name="T55" fmla="*/ 2 h 300"/>
                <a:gd name="T56" fmla="*/ 2 w 825"/>
                <a:gd name="T57" fmla="*/ 7 h 300"/>
                <a:gd name="T58" fmla="*/ 0 w 825"/>
                <a:gd name="T59" fmla="*/ 14 h 300"/>
                <a:gd name="T60" fmla="*/ 1 w 825"/>
                <a:gd name="T61" fmla="*/ 292 h 300"/>
                <a:gd name="T62" fmla="*/ 6 w 825"/>
                <a:gd name="T63" fmla="*/ 298 h 300"/>
                <a:gd name="T64" fmla="*/ 15 w 825"/>
                <a:gd name="T65" fmla="*/ 300 h 300"/>
                <a:gd name="T66" fmla="*/ 172 w 825"/>
                <a:gd name="T67" fmla="*/ 299 h 300"/>
                <a:gd name="T68" fmla="*/ 179 w 825"/>
                <a:gd name="T69" fmla="*/ 294 h 300"/>
                <a:gd name="T70" fmla="*/ 182 w 825"/>
                <a:gd name="T71" fmla="*/ 285 h 300"/>
                <a:gd name="T72" fmla="*/ 813 w 825"/>
                <a:gd name="T73" fmla="*/ 270 h 300"/>
                <a:gd name="T74" fmla="*/ 821 w 825"/>
                <a:gd name="T75" fmla="*/ 266 h 300"/>
                <a:gd name="T76" fmla="*/ 825 w 825"/>
                <a:gd name="T77" fmla="*/ 259 h 300"/>
                <a:gd name="T78" fmla="*/ 824 w 825"/>
                <a:gd name="T79" fmla="*/ 240 h 300"/>
                <a:gd name="T80" fmla="*/ 815 w 825"/>
                <a:gd name="T81" fmla="*/ 220 h 300"/>
                <a:gd name="T82" fmla="*/ 798 w 825"/>
                <a:gd name="T83" fmla="*/ 200 h 300"/>
                <a:gd name="T84" fmla="*/ 765 w 825"/>
                <a:gd name="T85" fmla="*/ 174 h 300"/>
                <a:gd name="T86" fmla="*/ 721 w 825"/>
                <a:gd name="T87" fmla="*/ 154 h 300"/>
                <a:gd name="T88" fmla="*/ 669 w 825"/>
                <a:gd name="T89" fmla="*/ 137 h 300"/>
                <a:gd name="T90" fmla="*/ 610 w 825"/>
                <a:gd name="T91" fmla="*/ 126 h 300"/>
                <a:gd name="T92" fmla="*/ 548 w 825"/>
                <a:gd name="T93" fmla="*/ 12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25" h="300">
                  <a:moveTo>
                    <a:pt x="182" y="240"/>
                  </a:moveTo>
                  <a:lnTo>
                    <a:pt x="182" y="59"/>
                  </a:lnTo>
                  <a:lnTo>
                    <a:pt x="297" y="59"/>
                  </a:lnTo>
                  <a:lnTo>
                    <a:pt x="319" y="64"/>
                  </a:lnTo>
                  <a:lnTo>
                    <a:pt x="338" y="70"/>
                  </a:lnTo>
                  <a:lnTo>
                    <a:pt x="355" y="77"/>
                  </a:lnTo>
                  <a:lnTo>
                    <a:pt x="370" y="85"/>
                  </a:lnTo>
                  <a:lnTo>
                    <a:pt x="384" y="94"/>
                  </a:lnTo>
                  <a:lnTo>
                    <a:pt x="396" y="102"/>
                  </a:lnTo>
                  <a:lnTo>
                    <a:pt x="407" y="111"/>
                  </a:lnTo>
                  <a:lnTo>
                    <a:pt x="416" y="120"/>
                  </a:lnTo>
                  <a:lnTo>
                    <a:pt x="261" y="120"/>
                  </a:lnTo>
                  <a:lnTo>
                    <a:pt x="258" y="120"/>
                  </a:lnTo>
                  <a:lnTo>
                    <a:pt x="256" y="122"/>
                  </a:lnTo>
                  <a:lnTo>
                    <a:pt x="253" y="123"/>
                  </a:lnTo>
                  <a:lnTo>
                    <a:pt x="250" y="125"/>
                  </a:lnTo>
                  <a:lnTo>
                    <a:pt x="248" y="127"/>
                  </a:lnTo>
                  <a:lnTo>
                    <a:pt x="247" y="129"/>
                  </a:lnTo>
                  <a:lnTo>
                    <a:pt x="246" y="132"/>
                  </a:lnTo>
                  <a:lnTo>
                    <a:pt x="246" y="135"/>
                  </a:lnTo>
                  <a:lnTo>
                    <a:pt x="246" y="139"/>
                  </a:lnTo>
                  <a:lnTo>
                    <a:pt x="247" y="141"/>
                  </a:lnTo>
                  <a:lnTo>
                    <a:pt x="248" y="144"/>
                  </a:lnTo>
                  <a:lnTo>
                    <a:pt x="250" y="146"/>
                  </a:lnTo>
                  <a:lnTo>
                    <a:pt x="253" y="147"/>
                  </a:lnTo>
                  <a:lnTo>
                    <a:pt x="256" y="149"/>
                  </a:lnTo>
                  <a:lnTo>
                    <a:pt x="258" y="149"/>
                  </a:lnTo>
                  <a:lnTo>
                    <a:pt x="261" y="150"/>
                  </a:lnTo>
                  <a:lnTo>
                    <a:pt x="526" y="150"/>
                  </a:lnTo>
                  <a:lnTo>
                    <a:pt x="546" y="150"/>
                  </a:lnTo>
                  <a:lnTo>
                    <a:pt x="566" y="150"/>
                  </a:lnTo>
                  <a:lnTo>
                    <a:pt x="585" y="153"/>
                  </a:lnTo>
                  <a:lnTo>
                    <a:pt x="603" y="155"/>
                  </a:lnTo>
                  <a:lnTo>
                    <a:pt x="623" y="157"/>
                  </a:lnTo>
                  <a:lnTo>
                    <a:pt x="641" y="161"/>
                  </a:lnTo>
                  <a:lnTo>
                    <a:pt x="658" y="164"/>
                  </a:lnTo>
                  <a:lnTo>
                    <a:pt x="675" y="169"/>
                  </a:lnTo>
                  <a:lnTo>
                    <a:pt x="691" y="174"/>
                  </a:lnTo>
                  <a:lnTo>
                    <a:pt x="707" y="179"/>
                  </a:lnTo>
                  <a:lnTo>
                    <a:pt x="721" y="186"/>
                  </a:lnTo>
                  <a:lnTo>
                    <a:pt x="735" y="192"/>
                  </a:lnTo>
                  <a:lnTo>
                    <a:pt x="747" y="199"/>
                  </a:lnTo>
                  <a:lnTo>
                    <a:pt x="759" y="205"/>
                  </a:lnTo>
                  <a:lnTo>
                    <a:pt x="768" y="212"/>
                  </a:lnTo>
                  <a:lnTo>
                    <a:pt x="778" y="221"/>
                  </a:lnTo>
                  <a:lnTo>
                    <a:pt x="786" y="231"/>
                  </a:lnTo>
                  <a:lnTo>
                    <a:pt x="792" y="240"/>
                  </a:lnTo>
                  <a:lnTo>
                    <a:pt x="182" y="240"/>
                  </a:lnTo>
                  <a:close/>
                  <a:moveTo>
                    <a:pt x="152" y="270"/>
                  </a:moveTo>
                  <a:lnTo>
                    <a:pt x="30" y="270"/>
                  </a:lnTo>
                  <a:lnTo>
                    <a:pt x="30" y="29"/>
                  </a:lnTo>
                  <a:lnTo>
                    <a:pt x="152" y="29"/>
                  </a:lnTo>
                  <a:lnTo>
                    <a:pt x="152" y="270"/>
                  </a:lnTo>
                  <a:close/>
                  <a:moveTo>
                    <a:pt x="526" y="120"/>
                  </a:moveTo>
                  <a:lnTo>
                    <a:pt x="458" y="120"/>
                  </a:lnTo>
                  <a:lnTo>
                    <a:pt x="456" y="118"/>
                  </a:lnTo>
                  <a:lnTo>
                    <a:pt x="454" y="117"/>
                  </a:lnTo>
                  <a:lnTo>
                    <a:pt x="445" y="107"/>
                  </a:lnTo>
                  <a:lnTo>
                    <a:pt x="432" y="95"/>
                  </a:lnTo>
                  <a:lnTo>
                    <a:pt x="418" y="82"/>
                  </a:lnTo>
                  <a:lnTo>
                    <a:pt x="401" y="69"/>
                  </a:lnTo>
                  <a:lnTo>
                    <a:pt x="392" y="63"/>
                  </a:lnTo>
                  <a:lnTo>
                    <a:pt x="381" y="57"/>
                  </a:lnTo>
                  <a:lnTo>
                    <a:pt x="369" y="51"/>
                  </a:lnTo>
                  <a:lnTo>
                    <a:pt x="357" y="46"/>
                  </a:lnTo>
                  <a:lnTo>
                    <a:pt x="345" y="41"/>
                  </a:lnTo>
                  <a:lnTo>
                    <a:pt x="331" y="37"/>
                  </a:lnTo>
                  <a:lnTo>
                    <a:pt x="317" y="33"/>
                  </a:lnTo>
                  <a:lnTo>
                    <a:pt x="302" y="29"/>
                  </a:lnTo>
                  <a:lnTo>
                    <a:pt x="300" y="29"/>
                  </a:lnTo>
                  <a:lnTo>
                    <a:pt x="299" y="29"/>
                  </a:lnTo>
                  <a:lnTo>
                    <a:pt x="182" y="29"/>
                  </a:lnTo>
                  <a:lnTo>
                    <a:pt x="182" y="14"/>
                  </a:lnTo>
                  <a:lnTo>
                    <a:pt x="181" y="12"/>
                  </a:lnTo>
                  <a:lnTo>
                    <a:pt x="181" y="9"/>
                  </a:lnTo>
                  <a:lnTo>
                    <a:pt x="179" y="7"/>
                  </a:lnTo>
                  <a:lnTo>
                    <a:pt x="178" y="5"/>
                  </a:lnTo>
                  <a:lnTo>
                    <a:pt x="174" y="3"/>
                  </a:lnTo>
                  <a:lnTo>
                    <a:pt x="172" y="2"/>
                  </a:lnTo>
                  <a:lnTo>
                    <a:pt x="169" y="1"/>
                  </a:lnTo>
                  <a:lnTo>
                    <a:pt x="167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285"/>
                  </a:lnTo>
                  <a:lnTo>
                    <a:pt x="0" y="288"/>
                  </a:lnTo>
                  <a:lnTo>
                    <a:pt x="1" y="292"/>
                  </a:lnTo>
                  <a:lnTo>
                    <a:pt x="2" y="294"/>
                  </a:lnTo>
                  <a:lnTo>
                    <a:pt x="4" y="296"/>
                  </a:lnTo>
                  <a:lnTo>
                    <a:pt x="6" y="298"/>
                  </a:lnTo>
                  <a:lnTo>
                    <a:pt x="10" y="299"/>
                  </a:lnTo>
                  <a:lnTo>
                    <a:pt x="12" y="300"/>
                  </a:lnTo>
                  <a:lnTo>
                    <a:pt x="15" y="300"/>
                  </a:lnTo>
                  <a:lnTo>
                    <a:pt x="167" y="300"/>
                  </a:lnTo>
                  <a:lnTo>
                    <a:pt x="169" y="300"/>
                  </a:lnTo>
                  <a:lnTo>
                    <a:pt x="172" y="299"/>
                  </a:lnTo>
                  <a:lnTo>
                    <a:pt x="174" y="298"/>
                  </a:lnTo>
                  <a:lnTo>
                    <a:pt x="178" y="296"/>
                  </a:lnTo>
                  <a:lnTo>
                    <a:pt x="179" y="294"/>
                  </a:lnTo>
                  <a:lnTo>
                    <a:pt x="181" y="292"/>
                  </a:lnTo>
                  <a:lnTo>
                    <a:pt x="181" y="288"/>
                  </a:lnTo>
                  <a:lnTo>
                    <a:pt x="182" y="285"/>
                  </a:lnTo>
                  <a:lnTo>
                    <a:pt x="182" y="270"/>
                  </a:lnTo>
                  <a:lnTo>
                    <a:pt x="810" y="270"/>
                  </a:lnTo>
                  <a:lnTo>
                    <a:pt x="813" y="270"/>
                  </a:lnTo>
                  <a:lnTo>
                    <a:pt x="816" y="269"/>
                  </a:lnTo>
                  <a:lnTo>
                    <a:pt x="819" y="268"/>
                  </a:lnTo>
                  <a:lnTo>
                    <a:pt x="821" y="266"/>
                  </a:lnTo>
                  <a:lnTo>
                    <a:pt x="823" y="264"/>
                  </a:lnTo>
                  <a:lnTo>
                    <a:pt x="824" y="262"/>
                  </a:lnTo>
                  <a:lnTo>
                    <a:pt x="825" y="259"/>
                  </a:lnTo>
                  <a:lnTo>
                    <a:pt x="825" y="255"/>
                  </a:lnTo>
                  <a:lnTo>
                    <a:pt x="825" y="248"/>
                  </a:lnTo>
                  <a:lnTo>
                    <a:pt x="824" y="240"/>
                  </a:lnTo>
                  <a:lnTo>
                    <a:pt x="822" y="234"/>
                  </a:lnTo>
                  <a:lnTo>
                    <a:pt x="819" y="226"/>
                  </a:lnTo>
                  <a:lnTo>
                    <a:pt x="815" y="220"/>
                  </a:lnTo>
                  <a:lnTo>
                    <a:pt x="810" y="214"/>
                  </a:lnTo>
                  <a:lnTo>
                    <a:pt x="805" y="206"/>
                  </a:lnTo>
                  <a:lnTo>
                    <a:pt x="798" y="200"/>
                  </a:lnTo>
                  <a:lnTo>
                    <a:pt x="789" y="191"/>
                  </a:lnTo>
                  <a:lnTo>
                    <a:pt x="778" y="183"/>
                  </a:lnTo>
                  <a:lnTo>
                    <a:pt x="765" y="174"/>
                  </a:lnTo>
                  <a:lnTo>
                    <a:pt x="751" y="166"/>
                  </a:lnTo>
                  <a:lnTo>
                    <a:pt x="737" y="160"/>
                  </a:lnTo>
                  <a:lnTo>
                    <a:pt x="721" y="154"/>
                  </a:lnTo>
                  <a:lnTo>
                    <a:pt x="705" y="147"/>
                  </a:lnTo>
                  <a:lnTo>
                    <a:pt x="687" y="142"/>
                  </a:lnTo>
                  <a:lnTo>
                    <a:pt x="669" y="137"/>
                  </a:lnTo>
                  <a:lnTo>
                    <a:pt x="649" y="132"/>
                  </a:lnTo>
                  <a:lnTo>
                    <a:pt x="630" y="129"/>
                  </a:lnTo>
                  <a:lnTo>
                    <a:pt x="610" y="126"/>
                  </a:lnTo>
                  <a:lnTo>
                    <a:pt x="590" y="124"/>
                  </a:lnTo>
                  <a:lnTo>
                    <a:pt x="569" y="122"/>
                  </a:lnTo>
                  <a:lnTo>
                    <a:pt x="548" y="120"/>
                  </a:lnTo>
                  <a:lnTo>
                    <a:pt x="5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1626C518-B8A1-491F-BFCA-2A9DCAE1B573}"/>
              </a:ext>
            </a:extLst>
          </p:cNvPr>
          <p:cNvGrpSpPr/>
          <p:nvPr/>
        </p:nvGrpSpPr>
        <p:grpSpPr>
          <a:xfrm>
            <a:off x="7921093" y="3473550"/>
            <a:ext cx="238126" cy="285750"/>
            <a:chOff x="6489700" y="1933576"/>
            <a:chExt cx="238126" cy="285750"/>
          </a:xfrm>
          <a:solidFill>
            <a:schemeClr val="bg1"/>
          </a:solidFill>
        </p:grpSpPr>
        <p:sp>
          <p:nvSpPr>
            <p:cNvPr id="111" name="Freeform 304">
              <a:extLst>
                <a:ext uri="{FF2B5EF4-FFF2-40B4-BE49-F238E27FC236}">
                  <a16:creationId xmlns:a16="http://schemas.microsoft.com/office/drawing/2014/main" id="{1E935909-4DE3-412C-8FFB-FEE0F8D5B5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89700" y="1933576"/>
              <a:ext cx="200025" cy="257175"/>
            </a:xfrm>
            <a:custGeom>
              <a:avLst/>
              <a:gdLst>
                <a:gd name="T0" fmla="*/ 580 w 631"/>
                <a:gd name="T1" fmla="*/ 180 h 811"/>
                <a:gd name="T2" fmla="*/ 450 w 631"/>
                <a:gd name="T3" fmla="*/ 52 h 811"/>
                <a:gd name="T4" fmla="*/ 30 w 631"/>
                <a:gd name="T5" fmla="*/ 781 h 811"/>
                <a:gd name="T6" fmla="*/ 420 w 631"/>
                <a:gd name="T7" fmla="*/ 30 h 811"/>
                <a:gd name="T8" fmla="*/ 421 w 631"/>
                <a:gd name="T9" fmla="*/ 198 h 811"/>
                <a:gd name="T10" fmla="*/ 424 w 631"/>
                <a:gd name="T11" fmla="*/ 203 h 811"/>
                <a:gd name="T12" fmla="*/ 427 w 631"/>
                <a:gd name="T13" fmla="*/ 208 h 811"/>
                <a:gd name="T14" fmla="*/ 432 w 631"/>
                <a:gd name="T15" fmla="*/ 210 h 811"/>
                <a:gd name="T16" fmla="*/ 601 w 631"/>
                <a:gd name="T17" fmla="*/ 210 h 811"/>
                <a:gd name="T18" fmla="*/ 601 w 631"/>
                <a:gd name="T19" fmla="*/ 273 h 811"/>
                <a:gd name="T20" fmla="*/ 603 w 631"/>
                <a:gd name="T21" fmla="*/ 279 h 811"/>
                <a:gd name="T22" fmla="*/ 608 w 631"/>
                <a:gd name="T23" fmla="*/ 282 h 811"/>
                <a:gd name="T24" fmla="*/ 613 w 631"/>
                <a:gd name="T25" fmla="*/ 285 h 811"/>
                <a:gd name="T26" fmla="*/ 619 w 631"/>
                <a:gd name="T27" fmla="*/ 285 h 811"/>
                <a:gd name="T28" fmla="*/ 625 w 631"/>
                <a:gd name="T29" fmla="*/ 282 h 811"/>
                <a:gd name="T30" fmla="*/ 628 w 631"/>
                <a:gd name="T31" fmla="*/ 279 h 811"/>
                <a:gd name="T32" fmla="*/ 630 w 631"/>
                <a:gd name="T33" fmla="*/ 273 h 811"/>
                <a:gd name="T34" fmla="*/ 631 w 631"/>
                <a:gd name="T35" fmla="*/ 195 h 811"/>
                <a:gd name="T36" fmla="*/ 627 w 631"/>
                <a:gd name="T37" fmla="*/ 184 h 811"/>
                <a:gd name="T38" fmla="*/ 444 w 631"/>
                <a:gd name="T39" fmla="*/ 2 h 811"/>
                <a:gd name="T40" fmla="*/ 439 w 631"/>
                <a:gd name="T41" fmla="*/ 0 h 811"/>
                <a:gd name="T42" fmla="*/ 15 w 631"/>
                <a:gd name="T43" fmla="*/ 0 h 811"/>
                <a:gd name="T44" fmla="*/ 9 w 631"/>
                <a:gd name="T45" fmla="*/ 1 h 811"/>
                <a:gd name="T46" fmla="*/ 4 w 631"/>
                <a:gd name="T47" fmla="*/ 4 h 811"/>
                <a:gd name="T48" fmla="*/ 1 w 631"/>
                <a:gd name="T49" fmla="*/ 10 h 811"/>
                <a:gd name="T50" fmla="*/ 0 w 631"/>
                <a:gd name="T51" fmla="*/ 15 h 811"/>
                <a:gd name="T52" fmla="*/ 1 w 631"/>
                <a:gd name="T53" fmla="*/ 799 h 811"/>
                <a:gd name="T54" fmla="*/ 3 w 631"/>
                <a:gd name="T55" fmla="*/ 805 h 811"/>
                <a:gd name="T56" fmla="*/ 6 w 631"/>
                <a:gd name="T57" fmla="*/ 808 h 811"/>
                <a:gd name="T58" fmla="*/ 12 w 631"/>
                <a:gd name="T59" fmla="*/ 810 h 811"/>
                <a:gd name="T60" fmla="*/ 351 w 631"/>
                <a:gd name="T61" fmla="*/ 811 h 811"/>
                <a:gd name="T62" fmla="*/ 357 w 631"/>
                <a:gd name="T63" fmla="*/ 810 h 811"/>
                <a:gd name="T64" fmla="*/ 362 w 631"/>
                <a:gd name="T65" fmla="*/ 807 h 811"/>
                <a:gd name="T66" fmla="*/ 365 w 631"/>
                <a:gd name="T67" fmla="*/ 801 h 811"/>
                <a:gd name="T68" fmla="*/ 366 w 631"/>
                <a:gd name="T69" fmla="*/ 796 h 811"/>
                <a:gd name="T70" fmla="*/ 365 w 631"/>
                <a:gd name="T71" fmla="*/ 790 h 811"/>
                <a:gd name="T72" fmla="*/ 362 w 631"/>
                <a:gd name="T73" fmla="*/ 785 h 811"/>
                <a:gd name="T74" fmla="*/ 357 w 631"/>
                <a:gd name="T75" fmla="*/ 782 h 811"/>
                <a:gd name="T76" fmla="*/ 351 w 631"/>
                <a:gd name="T77" fmla="*/ 781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1" h="811">
                  <a:moveTo>
                    <a:pt x="450" y="52"/>
                  </a:moveTo>
                  <a:lnTo>
                    <a:pt x="580" y="180"/>
                  </a:lnTo>
                  <a:lnTo>
                    <a:pt x="450" y="180"/>
                  </a:lnTo>
                  <a:lnTo>
                    <a:pt x="450" y="52"/>
                  </a:lnTo>
                  <a:close/>
                  <a:moveTo>
                    <a:pt x="351" y="781"/>
                  </a:moveTo>
                  <a:lnTo>
                    <a:pt x="30" y="781"/>
                  </a:lnTo>
                  <a:lnTo>
                    <a:pt x="30" y="30"/>
                  </a:lnTo>
                  <a:lnTo>
                    <a:pt x="420" y="30"/>
                  </a:lnTo>
                  <a:lnTo>
                    <a:pt x="420" y="195"/>
                  </a:lnTo>
                  <a:lnTo>
                    <a:pt x="421" y="198"/>
                  </a:lnTo>
                  <a:lnTo>
                    <a:pt x="421" y="201"/>
                  </a:lnTo>
                  <a:lnTo>
                    <a:pt x="424" y="203"/>
                  </a:lnTo>
                  <a:lnTo>
                    <a:pt x="425" y="205"/>
                  </a:lnTo>
                  <a:lnTo>
                    <a:pt x="427" y="208"/>
                  </a:lnTo>
                  <a:lnTo>
                    <a:pt x="430" y="209"/>
                  </a:lnTo>
                  <a:lnTo>
                    <a:pt x="432" y="210"/>
                  </a:lnTo>
                  <a:lnTo>
                    <a:pt x="435" y="210"/>
                  </a:lnTo>
                  <a:lnTo>
                    <a:pt x="601" y="210"/>
                  </a:lnTo>
                  <a:lnTo>
                    <a:pt x="601" y="270"/>
                  </a:lnTo>
                  <a:lnTo>
                    <a:pt x="601" y="273"/>
                  </a:lnTo>
                  <a:lnTo>
                    <a:pt x="602" y="276"/>
                  </a:lnTo>
                  <a:lnTo>
                    <a:pt x="603" y="279"/>
                  </a:lnTo>
                  <a:lnTo>
                    <a:pt x="605" y="281"/>
                  </a:lnTo>
                  <a:lnTo>
                    <a:pt x="608" y="282"/>
                  </a:lnTo>
                  <a:lnTo>
                    <a:pt x="610" y="284"/>
                  </a:lnTo>
                  <a:lnTo>
                    <a:pt x="613" y="285"/>
                  </a:lnTo>
                  <a:lnTo>
                    <a:pt x="616" y="285"/>
                  </a:lnTo>
                  <a:lnTo>
                    <a:pt x="619" y="285"/>
                  </a:lnTo>
                  <a:lnTo>
                    <a:pt x="622" y="284"/>
                  </a:lnTo>
                  <a:lnTo>
                    <a:pt x="625" y="282"/>
                  </a:lnTo>
                  <a:lnTo>
                    <a:pt x="627" y="281"/>
                  </a:lnTo>
                  <a:lnTo>
                    <a:pt x="628" y="279"/>
                  </a:lnTo>
                  <a:lnTo>
                    <a:pt x="630" y="276"/>
                  </a:lnTo>
                  <a:lnTo>
                    <a:pt x="630" y="273"/>
                  </a:lnTo>
                  <a:lnTo>
                    <a:pt x="631" y="270"/>
                  </a:lnTo>
                  <a:lnTo>
                    <a:pt x="631" y="195"/>
                  </a:lnTo>
                  <a:lnTo>
                    <a:pt x="630" y="189"/>
                  </a:lnTo>
                  <a:lnTo>
                    <a:pt x="627" y="184"/>
                  </a:lnTo>
                  <a:lnTo>
                    <a:pt x="446" y="4"/>
                  </a:lnTo>
                  <a:lnTo>
                    <a:pt x="444" y="2"/>
                  </a:lnTo>
                  <a:lnTo>
                    <a:pt x="442" y="1"/>
                  </a:lnTo>
                  <a:lnTo>
                    <a:pt x="439" y="0"/>
                  </a:lnTo>
                  <a:lnTo>
                    <a:pt x="43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796"/>
                  </a:lnTo>
                  <a:lnTo>
                    <a:pt x="1" y="799"/>
                  </a:lnTo>
                  <a:lnTo>
                    <a:pt x="1" y="801"/>
                  </a:lnTo>
                  <a:lnTo>
                    <a:pt x="3" y="805"/>
                  </a:lnTo>
                  <a:lnTo>
                    <a:pt x="4" y="807"/>
                  </a:lnTo>
                  <a:lnTo>
                    <a:pt x="6" y="808"/>
                  </a:lnTo>
                  <a:lnTo>
                    <a:pt x="9" y="810"/>
                  </a:lnTo>
                  <a:lnTo>
                    <a:pt x="12" y="810"/>
                  </a:lnTo>
                  <a:lnTo>
                    <a:pt x="15" y="811"/>
                  </a:lnTo>
                  <a:lnTo>
                    <a:pt x="351" y="811"/>
                  </a:lnTo>
                  <a:lnTo>
                    <a:pt x="354" y="810"/>
                  </a:lnTo>
                  <a:lnTo>
                    <a:pt x="357" y="810"/>
                  </a:lnTo>
                  <a:lnTo>
                    <a:pt x="359" y="808"/>
                  </a:lnTo>
                  <a:lnTo>
                    <a:pt x="362" y="807"/>
                  </a:lnTo>
                  <a:lnTo>
                    <a:pt x="364" y="805"/>
                  </a:lnTo>
                  <a:lnTo>
                    <a:pt x="365" y="801"/>
                  </a:lnTo>
                  <a:lnTo>
                    <a:pt x="366" y="799"/>
                  </a:lnTo>
                  <a:lnTo>
                    <a:pt x="366" y="796"/>
                  </a:lnTo>
                  <a:lnTo>
                    <a:pt x="366" y="793"/>
                  </a:lnTo>
                  <a:lnTo>
                    <a:pt x="365" y="790"/>
                  </a:lnTo>
                  <a:lnTo>
                    <a:pt x="364" y="788"/>
                  </a:lnTo>
                  <a:lnTo>
                    <a:pt x="362" y="785"/>
                  </a:lnTo>
                  <a:lnTo>
                    <a:pt x="359" y="783"/>
                  </a:lnTo>
                  <a:lnTo>
                    <a:pt x="357" y="782"/>
                  </a:lnTo>
                  <a:lnTo>
                    <a:pt x="354" y="781"/>
                  </a:lnTo>
                  <a:lnTo>
                    <a:pt x="351" y="7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305">
              <a:extLst>
                <a:ext uri="{FF2B5EF4-FFF2-40B4-BE49-F238E27FC236}">
                  <a16:creationId xmlns:a16="http://schemas.microsoft.com/office/drawing/2014/main" id="{279F7867-ADEB-4526-B636-33F5863619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51625" y="2076451"/>
              <a:ext cx="47625" cy="47625"/>
            </a:xfrm>
            <a:custGeom>
              <a:avLst/>
              <a:gdLst>
                <a:gd name="T0" fmla="*/ 85 w 151"/>
                <a:gd name="T1" fmla="*/ 31 h 150"/>
                <a:gd name="T2" fmla="*/ 101 w 151"/>
                <a:gd name="T3" fmla="*/ 38 h 150"/>
                <a:gd name="T4" fmla="*/ 114 w 151"/>
                <a:gd name="T5" fmla="*/ 51 h 150"/>
                <a:gd name="T6" fmla="*/ 120 w 151"/>
                <a:gd name="T7" fmla="*/ 67 h 150"/>
                <a:gd name="T8" fmla="*/ 120 w 151"/>
                <a:gd name="T9" fmla="*/ 85 h 150"/>
                <a:gd name="T10" fmla="*/ 114 w 151"/>
                <a:gd name="T11" fmla="*/ 101 h 150"/>
                <a:gd name="T12" fmla="*/ 101 w 151"/>
                <a:gd name="T13" fmla="*/ 113 h 150"/>
                <a:gd name="T14" fmla="*/ 85 w 151"/>
                <a:gd name="T15" fmla="*/ 119 h 150"/>
                <a:gd name="T16" fmla="*/ 67 w 151"/>
                <a:gd name="T17" fmla="*/ 119 h 150"/>
                <a:gd name="T18" fmla="*/ 51 w 151"/>
                <a:gd name="T19" fmla="*/ 113 h 150"/>
                <a:gd name="T20" fmla="*/ 39 w 151"/>
                <a:gd name="T21" fmla="*/ 101 h 150"/>
                <a:gd name="T22" fmla="*/ 31 w 151"/>
                <a:gd name="T23" fmla="*/ 85 h 150"/>
                <a:gd name="T24" fmla="*/ 31 w 151"/>
                <a:gd name="T25" fmla="*/ 67 h 150"/>
                <a:gd name="T26" fmla="*/ 39 w 151"/>
                <a:gd name="T27" fmla="*/ 51 h 150"/>
                <a:gd name="T28" fmla="*/ 51 w 151"/>
                <a:gd name="T29" fmla="*/ 38 h 150"/>
                <a:gd name="T30" fmla="*/ 67 w 151"/>
                <a:gd name="T31" fmla="*/ 31 h 150"/>
                <a:gd name="T32" fmla="*/ 76 w 151"/>
                <a:gd name="T33" fmla="*/ 150 h 150"/>
                <a:gd name="T34" fmla="*/ 91 w 151"/>
                <a:gd name="T35" fmla="*/ 149 h 150"/>
                <a:gd name="T36" fmla="*/ 105 w 151"/>
                <a:gd name="T37" fmla="*/ 145 h 150"/>
                <a:gd name="T38" fmla="*/ 118 w 151"/>
                <a:gd name="T39" fmla="*/ 137 h 150"/>
                <a:gd name="T40" fmla="*/ 129 w 151"/>
                <a:gd name="T41" fmla="*/ 129 h 150"/>
                <a:gd name="T42" fmla="*/ 138 w 151"/>
                <a:gd name="T43" fmla="*/ 117 h 150"/>
                <a:gd name="T44" fmla="*/ 145 w 151"/>
                <a:gd name="T45" fmla="*/ 105 h 150"/>
                <a:gd name="T46" fmla="*/ 149 w 151"/>
                <a:gd name="T47" fmla="*/ 90 h 150"/>
                <a:gd name="T48" fmla="*/ 151 w 151"/>
                <a:gd name="T49" fmla="*/ 75 h 150"/>
                <a:gd name="T50" fmla="*/ 149 w 151"/>
                <a:gd name="T51" fmla="*/ 60 h 150"/>
                <a:gd name="T52" fmla="*/ 145 w 151"/>
                <a:gd name="T53" fmla="*/ 46 h 150"/>
                <a:gd name="T54" fmla="*/ 138 w 151"/>
                <a:gd name="T55" fmla="*/ 34 h 150"/>
                <a:gd name="T56" fmla="*/ 129 w 151"/>
                <a:gd name="T57" fmla="*/ 23 h 150"/>
                <a:gd name="T58" fmla="*/ 118 w 151"/>
                <a:gd name="T59" fmla="*/ 13 h 150"/>
                <a:gd name="T60" fmla="*/ 105 w 151"/>
                <a:gd name="T61" fmla="*/ 6 h 150"/>
                <a:gd name="T62" fmla="*/ 91 w 151"/>
                <a:gd name="T63" fmla="*/ 2 h 150"/>
                <a:gd name="T64" fmla="*/ 76 w 151"/>
                <a:gd name="T65" fmla="*/ 0 h 150"/>
                <a:gd name="T66" fmla="*/ 61 w 151"/>
                <a:gd name="T67" fmla="*/ 2 h 150"/>
                <a:gd name="T68" fmla="*/ 46 w 151"/>
                <a:gd name="T69" fmla="*/ 6 h 150"/>
                <a:gd name="T70" fmla="*/ 33 w 151"/>
                <a:gd name="T71" fmla="*/ 13 h 150"/>
                <a:gd name="T72" fmla="*/ 23 w 151"/>
                <a:gd name="T73" fmla="*/ 23 h 150"/>
                <a:gd name="T74" fmla="*/ 13 w 151"/>
                <a:gd name="T75" fmla="*/ 34 h 150"/>
                <a:gd name="T76" fmla="*/ 7 w 151"/>
                <a:gd name="T77" fmla="*/ 46 h 150"/>
                <a:gd name="T78" fmla="*/ 2 w 151"/>
                <a:gd name="T79" fmla="*/ 60 h 150"/>
                <a:gd name="T80" fmla="*/ 0 w 151"/>
                <a:gd name="T81" fmla="*/ 75 h 150"/>
                <a:gd name="T82" fmla="*/ 2 w 151"/>
                <a:gd name="T83" fmla="*/ 90 h 150"/>
                <a:gd name="T84" fmla="*/ 7 w 151"/>
                <a:gd name="T85" fmla="*/ 105 h 150"/>
                <a:gd name="T86" fmla="*/ 13 w 151"/>
                <a:gd name="T87" fmla="*/ 117 h 150"/>
                <a:gd name="T88" fmla="*/ 23 w 151"/>
                <a:gd name="T89" fmla="*/ 129 h 150"/>
                <a:gd name="T90" fmla="*/ 33 w 151"/>
                <a:gd name="T91" fmla="*/ 137 h 150"/>
                <a:gd name="T92" fmla="*/ 46 w 151"/>
                <a:gd name="T93" fmla="*/ 145 h 150"/>
                <a:gd name="T94" fmla="*/ 61 w 151"/>
                <a:gd name="T95" fmla="*/ 149 h 150"/>
                <a:gd name="T96" fmla="*/ 76 w 151"/>
                <a:gd name="T97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1" h="150">
                  <a:moveTo>
                    <a:pt x="76" y="30"/>
                  </a:moveTo>
                  <a:lnTo>
                    <a:pt x="85" y="31"/>
                  </a:lnTo>
                  <a:lnTo>
                    <a:pt x="93" y="34"/>
                  </a:lnTo>
                  <a:lnTo>
                    <a:pt x="101" y="38"/>
                  </a:lnTo>
                  <a:lnTo>
                    <a:pt x="107" y="44"/>
                  </a:lnTo>
                  <a:lnTo>
                    <a:pt x="114" y="51"/>
                  </a:lnTo>
                  <a:lnTo>
                    <a:pt x="117" y="58"/>
                  </a:lnTo>
                  <a:lnTo>
                    <a:pt x="120" y="67"/>
                  </a:lnTo>
                  <a:lnTo>
                    <a:pt x="121" y="75"/>
                  </a:lnTo>
                  <a:lnTo>
                    <a:pt x="120" y="85"/>
                  </a:lnTo>
                  <a:lnTo>
                    <a:pt x="117" y="94"/>
                  </a:lnTo>
                  <a:lnTo>
                    <a:pt x="114" y="101"/>
                  </a:lnTo>
                  <a:lnTo>
                    <a:pt x="107" y="107"/>
                  </a:lnTo>
                  <a:lnTo>
                    <a:pt x="101" y="113"/>
                  </a:lnTo>
                  <a:lnTo>
                    <a:pt x="93" y="117"/>
                  </a:lnTo>
                  <a:lnTo>
                    <a:pt x="85" y="119"/>
                  </a:lnTo>
                  <a:lnTo>
                    <a:pt x="76" y="120"/>
                  </a:lnTo>
                  <a:lnTo>
                    <a:pt x="67" y="119"/>
                  </a:lnTo>
                  <a:lnTo>
                    <a:pt x="58" y="117"/>
                  </a:lnTo>
                  <a:lnTo>
                    <a:pt x="51" y="113"/>
                  </a:lnTo>
                  <a:lnTo>
                    <a:pt x="44" y="107"/>
                  </a:lnTo>
                  <a:lnTo>
                    <a:pt x="39" y="101"/>
                  </a:lnTo>
                  <a:lnTo>
                    <a:pt x="34" y="94"/>
                  </a:lnTo>
                  <a:lnTo>
                    <a:pt x="31" y="85"/>
                  </a:lnTo>
                  <a:lnTo>
                    <a:pt x="31" y="75"/>
                  </a:lnTo>
                  <a:lnTo>
                    <a:pt x="31" y="67"/>
                  </a:lnTo>
                  <a:lnTo>
                    <a:pt x="34" y="58"/>
                  </a:lnTo>
                  <a:lnTo>
                    <a:pt x="39" y="51"/>
                  </a:lnTo>
                  <a:lnTo>
                    <a:pt x="44" y="44"/>
                  </a:lnTo>
                  <a:lnTo>
                    <a:pt x="51" y="38"/>
                  </a:lnTo>
                  <a:lnTo>
                    <a:pt x="58" y="34"/>
                  </a:lnTo>
                  <a:lnTo>
                    <a:pt x="67" y="31"/>
                  </a:lnTo>
                  <a:lnTo>
                    <a:pt x="76" y="30"/>
                  </a:lnTo>
                  <a:close/>
                  <a:moveTo>
                    <a:pt x="76" y="150"/>
                  </a:moveTo>
                  <a:lnTo>
                    <a:pt x="84" y="150"/>
                  </a:lnTo>
                  <a:lnTo>
                    <a:pt x="91" y="149"/>
                  </a:lnTo>
                  <a:lnTo>
                    <a:pt x="98" y="147"/>
                  </a:lnTo>
                  <a:lnTo>
                    <a:pt x="105" y="145"/>
                  </a:lnTo>
                  <a:lnTo>
                    <a:pt x="112" y="142"/>
                  </a:lnTo>
                  <a:lnTo>
                    <a:pt x="118" y="137"/>
                  </a:lnTo>
                  <a:lnTo>
                    <a:pt x="123" y="133"/>
                  </a:lnTo>
                  <a:lnTo>
                    <a:pt x="129" y="129"/>
                  </a:lnTo>
                  <a:lnTo>
                    <a:pt x="134" y="124"/>
                  </a:lnTo>
                  <a:lnTo>
                    <a:pt x="138" y="117"/>
                  </a:lnTo>
                  <a:lnTo>
                    <a:pt x="141" y="112"/>
                  </a:lnTo>
                  <a:lnTo>
                    <a:pt x="145" y="105"/>
                  </a:lnTo>
                  <a:lnTo>
                    <a:pt x="148" y="98"/>
                  </a:lnTo>
                  <a:lnTo>
                    <a:pt x="149" y="90"/>
                  </a:lnTo>
                  <a:lnTo>
                    <a:pt x="150" y="83"/>
                  </a:lnTo>
                  <a:lnTo>
                    <a:pt x="151" y="75"/>
                  </a:lnTo>
                  <a:lnTo>
                    <a:pt x="150" y="68"/>
                  </a:lnTo>
                  <a:lnTo>
                    <a:pt x="149" y="60"/>
                  </a:lnTo>
                  <a:lnTo>
                    <a:pt x="148" y="53"/>
                  </a:lnTo>
                  <a:lnTo>
                    <a:pt x="145" y="46"/>
                  </a:lnTo>
                  <a:lnTo>
                    <a:pt x="141" y="40"/>
                  </a:lnTo>
                  <a:lnTo>
                    <a:pt x="138" y="34"/>
                  </a:lnTo>
                  <a:lnTo>
                    <a:pt x="134" y="28"/>
                  </a:lnTo>
                  <a:lnTo>
                    <a:pt x="129" y="23"/>
                  </a:lnTo>
                  <a:lnTo>
                    <a:pt x="123" y="18"/>
                  </a:lnTo>
                  <a:lnTo>
                    <a:pt x="118" y="13"/>
                  </a:lnTo>
                  <a:lnTo>
                    <a:pt x="112" y="9"/>
                  </a:lnTo>
                  <a:lnTo>
                    <a:pt x="105" y="6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4" y="0"/>
                  </a:lnTo>
                  <a:lnTo>
                    <a:pt x="76" y="0"/>
                  </a:lnTo>
                  <a:lnTo>
                    <a:pt x="68" y="0"/>
                  </a:lnTo>
                  <a:lnTo>
                    <a:pt x="61" y="2"/>
                  </a:lnTo>
                  <a:lnTo>
                    <a:pt x="54" y="4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3" y="13"/>
                  </a:lnTo>
                  <a:lnTo>
                    <a:pt x="28" y="18"/>
                  </a:lnTo>
                  <a:lnTo>
                    <a:pt x="23" y="23"/>
                  </a:lnTo>
                  <a:lnTo>
                    <a:pt x="18" y="28"/>
                  </a:lnTo>
                  <a:lnTo>
                    <a:pt x="13" y="34"/>
                  </a:lnTo>
                  <a:lnTo>
                    <a:pt x="10" y="40"/>
                  </a:lnTo>
                  <a:lnTo>
                    <a:pt x="7" y="46"/>
                  </a:lnTo>
                  <a:lnTo>
                    <a:pt x="5" y="53"/>
                  </a:lnTo>
                  <a:lnTo>
                    <a:pt x="2" y="60"/>
                  </a:lnTo>
                  <a:lnTo>
                    <a:pt x="1" y="68"/>
                  </a:lnTo>
                  <a:lnTo>
                    <a:pt x="0" y="75"/>
                  </a:lnTo>
                  <a:lnTo>
                    <a:pt x="1" y="83"/>
                  </a:lnTo>
                  <a:lnTo>
                    <a:pt x="2" y="90"/>
                  </a:lnTo>
                  <a:lnTo>
                    <a:pt x="5" y="98"/>
                  </a:lnTo>
                  <a:lnTo>
                    <a:pt x="7" y="105"/>
                  </a:lnTo>
                  <a:lnTo>
                    <a:pt x="10" y="112"/>
                  </a:lnTo>
                  <a:lnTo>
                    <a:pt x="13" y="117"/>
                  </a:lnTo>
                  <a:lnTo>
                    <a:pt x="18" y="124"/>
                  </a:lnTo>
                  <a:lnTo>
                    <a:pt x="23" y="129"/>
                  </a:lnTo>
                  <a:lnTo>
                    <a:pt x="28" y="133"/>
                  </a:lnTo>
                  <a:lnTo>
                    <a:pt x="33" y="137"/>
                  </a:lnTo>
                  <a:lnTo>
                    <a:pt x="40" y="142"/>
                  </a:lnTo>
                  <a:lnTo>
                    <a:pt x="46" y="145"/>
                  </a:lnTo>
                  <a:lnTo>
                    <a:pt x="54" y="147"/>
                  </a:lnTo>
                  <a:lnTo>
                    <a:pt x="61" y="149"/>
                  </a:lnTo>
                  <a:lnTo>
                    <a:pt x="68" y="150"/>
                  </a:lnTo>
                  <a:lnTo>
                    <a:pt x="76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306">
              <a:extLst>
                <a:ext uri="{FF2B5EF4-FFF2-40B4-BE49-F238E27FC236}">
                  <a16:creationId xmlns:a16="http://schemas.microsoft.com/office/drawing/2014/main" id="{15FD132C-188E-4EBF-AEA4-91600E34A9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8288" y="2041526"/>
              <a:ext cx="109538" cy="177800"/>
            </a:xfrm>
            <a:custGeom>
              <a:avLst/>
              <a:gdLst>
                <a:gd name="T0" fmla="*/ 181 w 346"/>
                <a:gd name="T1" fmla="*/ 441 h 561"/>
                <a:gd name="T2" fmla="*/ 75 w 346"/>
                <a:gd name="T3" fmla="*/ 323 h 561"/>
                <a:gd name="T4" fmla="*/ 108 w 346"/>
                <a:gd name="T5" fmla="*/ 345 h 561"/>
                <a:gd name="T6" fmla="*/ 149 w 346"/>
                <a:gd name="T7" fmla="*/ 368 h 561"/>
                <a:gd name="T8" fmla="*/ 197 w 346"/>
                <a:gd name="T9" fmla="*/ 368 h 561"/>
                <a:gd name="T10" fmla="*/ 239 w 346"/>
                <a:gd name="T11" fmla="*/ 345 h 561"/>
                <a:gd name="T12" fmla="*/ 255 w 346"/>
                <a:gd name="T13" fmla="*/ 326 h 561"/>
                <a:gd name="T14" fmla="*/ 279 w 346"/>
                <a:gd name="T15" fmla="*/ 321 h 561"/>
                <a:gd name="T16" fmla="*/ 46 w 346"/>
                <a:gd name="T17" fmla="*/ 191 h 561"/>
                <a:gd name="T18" fmla="*/ 39 w 346"/>
                <a:gd name="T19" fmla="*/ 169 h 561"/>
                <a:gd name="T20" fmla="*/ 30 w 346"/>
                <a:gd name="T21" fmla="*/ 135 h 561"/>
                <a:gd name="T22" fmla="*/ 44 w 346"/>
                <a:gd name="T23" fmla="*/ 101 h 561"/>
                <a:gd name="T24" fmla="*/ 73 w 346"/>
                <a:gd name="T25" fmla="*/ 82 h 561"/>
                <a:gd name="T26" fmla="*/ 105 w 346"/>
                <a:gd name="T27" fmla="*/ 79 h 561"/>
                <a:gd name="T28" fmla="*/ 121 w 346"/>
                <a:gd name="T29" fmla="*/ 61 h 561"/>
                <a:gd name="T30" fmla="*/ 147 w 346"/>
                <a:gd name="T31" fmla="*/ 37 h 561"/>
                <a:gd name="T32" fmla="*/ 182 w 346"/>
                <a:gd name="T33" fmla="*/ 31 h 561"/>
                <a:gd name="T34" fmla="*/ 214 w 346"/>
                <a:gd name="T35" fmla="*/ 47 h 561"/>
                <a:gd name="T36" fmla="*/ 233 w 346"/>
                <a:gd name="T37" fmla="*/ 74 h 561"/>
                <a:gd name="T38" fmla="*/ 255 w 346"/>
                <a:gd name="T39" fmla="*/ 78 h 561"/>
                <a:gd name="T40" fmla="*/ 289 w 346"/>
                <a:gd name="T41" fmla="*/ 89 h 561"/>
                <a:gd name="T42" fmla="*/ 312 w 346"/>
                <a:gd name="T43" fmla="*/ 117 h 561"/>
                <a:gd name="T44" fmla="*/ 315 w 346"/>
                <a:gd name="T45" fmla="*/ 152 h 561"/>
                <a:gd name="T46" fmla="*/ 300 w 346"/>
                <a:gd name="T47" fmla="*/ 182 h 561"/>
                <a:gd name="T48" fmla="*/ 307 w 346"/>
                <a:gd name="T49" fmla="*/ 204 h 561"/>
                <a:gd name="T50" fmla="*/ 316 w 346"/>
                <a:gd name="T51" fmla="*/ 238 h 561"/>
                <a:gd name="T52" fmla="*/ 303 w 346"/>
                <a:gd name="T53" fmla="*/ 272 h 561"/>
                <a:gd name="T54" fmla="*/ 273 w 346"/>
                <a:gd name="T55" fmla="*/ 292 h 561"/>
                <a:gd name="T56" fmla="*/ 241 w 346"/>
                <a:gd name="T57" fmla="*/ 295 h 561"/>
                <a:gd name="T58" fmla="*/ 226 w 346"/>
                <a:gd name="T59" fmla="*/ 311 h 561"/>
                <a:gd name="T60" fmla="*/ 199 w 346"/>
                <a:gd name="T61" fmla="*/ 335 h 561"/>
                <a:gd name="T62" fmla="*/ 164 w 346"/>
                <a:gd name="T63" fmla="*/ 341 h 561"/>
                <a:gd name="T64" fmla="*/ 132 w 346"/>
                <a:gd name="T65" fmla="*/ 326 h 561"/>
                <a:gd name="T66" fmla="*/ 115 w 346"/>
                <a:gd name="T67" fmla="*/ 299 h 561"/>
                <a:gd name="T68" fmla="*/ 102 w 346"/>
                <a:gd name="T69" fmla="*/ 293 h 561"/>
                <a:gd name="T70" fmla="*/ 73 w 346"/>
                <a:gd name="T71" fmla="*/ 292 h 561"/>
                <a:gd name="T72" fmla="*/ 44 w 346"/>
                <a:gd name="T73" fmla="*/ 272 h 561"/>
                <a:gd name="T74" fmla="*/ 30 w 346"/>
                <a:gd name="T75" fmla="*/ 238 h 561"/>
                <a:gd name="T76" fmla="*/ 39 w 346"/>
                <a:gd name="T77" fmla="*/ 204 h 561"/>
                <a:gd name="T78" fmla="*/ 343 w 346"/>
                <a:gd name="T79" fmla="*/ 164 h 561"/>
                <a:gd name="T80" fmla="*/ 343 w 346"/>
                <a:gd name="T81" fmla="*/ 117 h 561"/>
                <a:gd name="T82" fmla="*/ 319 w 346"/>
                <a:gd name="T83" fmla="*/ 74 h 561"/>
                <a:gd name="T84" fmla="*/ 278 w 346"/>
                <a:gd name="T85" fmla="*/ 52 h 561"/>
                <a:gd name="T86" fmla="*/ 239 w 346"/>
                <a:gd name="T87" fmla="*/ 29 h 561"/>
                <a:gd name="T88" fmla="*/ 198 w 346"/>
                <a:gd name="T89" fmla="*/ 5 h 561"/>
                <a:gd name="T90" fmla="*/ 149 w 346"/>
                <a:gd name="T91" fmla="*/ 5 h 561"/>
                <a:gd name="T92" fmla="*/ 108 w 346"/>
                <a:gd name="T93" fmla="*/ 29 h 561"/>
                <a:gd name="T94" fmla="*/ 69 w 346"/>
                <a:gd name="T95" fmla="*/ 52 h 561"/>
                <a:gd name="T96" fmla="*/ 27 w 346"/>
                <a:gd name="T97" fmla="*/ 75 h 561"/>
                <a:gd name="T98" fmla="*/ 4 w 346"/>
                <a:gd name="T99" fmla="*/ 117 h 561"/>
                <a:gd name="T100" fmla="*/ 5 w 346"/>
                <a:gd name="T101" fmla="*/ 164 h 561"/>
                <a:gd name="T102" fmla="*/ 5 w 346"/>
                <a:gd name="T103" fmla="*/ 209 h 561"/>
                <a:gd name="T104" fmla="*/ 4 w 346"/>
                <a:gd name="T105" fmla="*/ 257 h 561"/>
                <a:gd name="T106" fmla="*/ 27 w 346"/>
                <a:gd name="T107" fmla="*/ 298 h 561"/>
                <a:gd name="T108" fmla="*/ 46 w 346"/>
                <a:gd name="T109" fmla="*/ 550 h 561"/>
                <a:gd name="T110" fmla="*/ 58 w 346"/>
                <a:gd name="T111" fmla="*/ 561 h 561"/>
                <a:gd name="T112" fmla="*/ 181 w 346"/>
                <a:gd name="T113" fmla="*/ 475 h 561"/>
                <a:gd name="T114" fmla="*/ 299 w 346"/>
                <a:gd name="T115" fmla="*/ 561 h 561"/>
                <a:gd name="T116" fmla="*/ 311 w 346"/>
                <a:gd name="T117" fmla="*/ 558 h 561"/>
                <a:gd name="T118" fmla="*/ 316 w 346"/>
                <a:gd name="T119" fmla="*/ 301 h 561"/>
                <a:gd name="T120" fmla="*/ 343 w 346"/>
                <a:gd name="T121" fmla="*/ 257 h 561"/>
                <a:gd name="T122" fmla="*/ 343 w 346"/>
                <a:gd name="T123" fmla="*/ 209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6" h="561">
                  <a:moveTo>
                    <a:pt x="286" y="516"/>
                  </a:moveTo>
                  <a:lnTo>
                    <a:pt x="190" y="443"/>
                  </a:lnTo>
                  <a:lnTo>
                    <a:pt x="185" y="442"/>
                  </a:lnTo>
                  <a:lnTo>
                    <a:pt x="181" y="441"/>
                  </a:lnTo>
                  <a:lnTo>
                    <a:pt x="176" y="442"/>
                  </a:lnTo>
                  <a:lnTo>
                    <a:pt x="172" y="443"/>
                  </a:lnTo>
                  <a:lnTo>
                    <a:pt x="75" y="516"/>
                  </a:lnTo>
                  <a:lnTo>
                    <a:pt x="75" y="323"/>
                  </a:lnTo>
                  <a:lnTo>
                    <a:pt x="85" y="325"/>
                  </a:lnTo>
                  <a:lnTo>
                    <a:pt x="93" y="326"/>
                  </a:lnTo>
                  <a:lnTo>
                    <a:pt x="100" y="335"/>
                  </a:lnTo>
                  <a:lnTo>
                    <a:pt x="108" y="345"/>
                  </a:lnTo>
                  <a:lnTo>
                    <a:pt x="117" y="352"/>
                  </a:lnTo>
                  <a:lnTo>
                    <a:pt x="127" y="359"/>
                  </a:lnTo>
                  <a:lnTo>
                    <a:pt x="137" y="364"/>
                  </a:lnTo>
                  <a:lnTo>
                    <a:pt x="149" y="368"/>
                  </a:lnTo>
                  <a:lnTo>
                    <a:pt x="161" y="371"/>
                  </a:lnTo>
                  <a:lnTo>
                    <a:pt x="174" y="372"/>
                  </a:lnTo>
                  <a:lnTo>
                    <a:pt x="185" y="371"/>
                  </a:lnTo>
                  <a:lnTo>
                    <a:pt x="197" y="368"/>
                  </a:lnTo>
                  <a:lnTo>
                    <a:pt x="209" y="364"/>
                  </a:lnTo>
                  <a:lnTo>
                    <a:pt x="220" y="359"/>
                  </a:lnTo>
                  <a:lnTo>
                    <a:pt x="229" y="352"/>
                  </a:lnTo>
                  <a:lnTo>
                    <a:pt x="239" y="345"/>
                  </a:lnTo>
                  <a:lnTo>
                    <a:pt x="246" y="335"/>
                  </a:lnTo>
                  <a:lnTo>
                    <a:pt x="253" y="326"/>
                  </a:lnTo>
                  <a:lnTo>
                    <a:pt x="254" y="326"/>
                  </a:lnTo>
                  <a:lnTo>
                    <a:pt x="255" y="326"/>
                  </a:lnTo>
                  <a:lnTo>
                    <a:pt x="255" y="326"/>
                  </a:lnTo>
                  <a:lnTo>
                    <a:pt x="264" y="325"/>
                  </a:lnTo>
                  <a:lnTo>
                    <a:pt x="271" y="323"/>
                  </a:lnTo>
                  <a:lnTo>
                    <a:pt x="279" y="321"/>
                  </a:lnTo>
                  <a:lnTo>
                    <a:pt x="286" y="319"/>
                  </a:lnTo>
                  <a:lnTo>
                    <a:pt x="286" y="516"/>
                  </a:lnTo>
                  <a:close/>
                  <a:moveTo>
                    <a:pt x="44" y="196"/>
                  </a:moveTo>
                  <a:lnTo>
                    <a:pt x="46" y="191"/>
                  </a:lnTo>
                  <a:lnTo>
                    <a:pt x="47" y="186"/>
                  </a:lnTo>
                  <a:lnTo>
                    <a:pt x="46" y="182"/>
                  </a:lnTo>
                  <a:lnTo>
                    <a:pt x="44" y="178"/>
                  </a:lnTo>
                  <a:lnTo>
                    <a:pt x="39" y="169"/>
                  </a:lnTo>
                  <a:lnTo>
                    <a:pt x="35" y="162"/>
                  </a:lnTo>
                  <a:lnTo>
                    <a:pt x="32" y="152"/>
                  </a:lnTo>
                  <a:lnTo>
                    <a:pt x="30" y="144"/>
                  </a:lnTo>
                  <a:lnTo>
                    <a:pt x="30" y="135"/>
                  </a:lnTo>
                  <a:lnTo>
                    <a:pt x="32" y="127"/>
                  </a:lnTo>
                  <a:lnTo>
                    <a:pt x="35" y="117"/>
                  </a:lnTo>
                  <a:lnTo>
                    <a:pt x="39" y="108"/>
                  </a:lnTo>
                  <a:lnTo>
                    <a:pt x="44" y="101"/>
                  </a:lnTo>
                  <a:lnTo>
                    <a:pt x="50" y="94"/>
                  </a:lnTo>
                  <a:lnTo>
                    <a:pt x="57" y="89"/>
                  </a:lnTo>
                  <a:lnTo>
                    <a:pt x="65" y="85"/>
                  </a:lnTo>
                  <a:lnTo>
                    <a:pt x="73" y="82"/>
                  </a:lnTo>
                  <a:lnTo>
                    <a:pt x="82" y="79"/>
                  </a:lnTo>
                  <a:lnTo>
                    <a:pt x="91" y="78"/>
                  </a:lnTo>
                  <a:lnTo>
                    <a:pt x="101" y="78"/>
                  </a:lnTo>
                  <a:lnTo>
                    <a:pt x="105" y="79"/>
                  </a:lnTo>
                  <a:lnTo>
                    <a:pt x="111" y="77"/>
                  </a:lnTo>
                  <a:lnTo>
                    <a:pt x="114" y="74"/>
                  </a:lnTo>
                  <a:lnTo>
                    <a:pt x="117" y="70"/>
                  </a:lnTo>
                  <a:lnTo>
                    <a:pt x="121" y="61"/>
                  </a:lnTo>
                  <a:lnTo>
                    <a:pt x="126" y="54"/>
                  </a:lnTo>
                  <a:lnTo>
                    <a:pt x="132" y="47"/>
                  </a:lnTo>
                  <a:lnTo>
                    <a:pt x="139" y="41"/>
                  </a:lnTo>
                  <a:lnTo>
                    <a:pt x="147" y="37"/>
                  </a:lnTo>
                  <a:lnTo>
                    <a:pt x="156" y="33"/>
                  </a:lnTo>
                  <a:lnTo>
                    <a:pt x="164" y="31"/>
                  </a:lnTo>
                  <a:lnTo>
                    <a:pt x="174" y="30"/>
                  </a:lnTo>
                  <a:lnTo>
                    <a:pt x="182" y="31"/>
                  </a:lnTo>
                  <a:lnTo>
                    <a:pt x="192" y="33"/>
                  </a:lnTo>
                  <a:lnTo>
                    <a:pt x="199" y="37"/>
                  </a:lnTo>
                  <a:lnTo>
                    <a:pt x="208" y="41"/>
                  </a:lnTo>
                  <a:lnTo>
                    <a:pt x="214" y="47"/>
                  </a:lnTo>
                  <a:lnTo>
                    <a:pt x="221" y="54"/>
                  </a:lnTo>
                  <a:lnTo>
                    <a:pt x="226" y="61"/>
                  </a:lnTo>
                  <a:lnTo>
                    <a:pt x="229" y="70"/>
                  </a:lnTo>
                  <a:lnTo>
                    <a:pt x="233" y="74"/>
                  </a:lnTo>
                  <a:lnTo>
                    <a:pt x="236" y="77"/>
                  </a:lnTo>
                  <a:lnTo>
                    <a:pt x="241" y="79"/>
                  </a:lnTo>
                  <a:lnTo>
                    <a:pt x="246" y="78"/>
                  </a:lnTo>
                  <a:lnTo>
                    <a:pt x="255" y="78"/>
                  </a:lnTo>
                  <a:lnTo>
                    <a:pt x="265" y="79"/>
                  </a:lnTo>
                  <a:lnTo>
                    <a:pt x="273" y="82"/>
                  </a:lnTo>
                  <a:lnTo>
                    <a:pt x="282" y="85"/>
                  </a:lnTo>
                  <a:lnTo>
                    <a:pt x="289" y="89"/>
                  </a:lnTo>
                  <a:lnTo>
                    <a:pt x="297" y="94"/>
                  </a:lnTo>
                  <a:lnTo>
                    <a:pt x="303" y="101"/>
                  </a:lnTo>
                  <a:lnTo>
                    <a:pt x="307" y="108"/>
                  </a:lnTo>
                  <a:lnTo>
                    <a:pt x="312" y="117"/>
                  </a:lnTo>
                  <a:lnTo>
                    <a:pt x="315" y="127"/>
                  </a:lnTo>
                  <a:lnTo>
                    <a:pt x="316" y="135"/>
                  </a:lnTo>
                  <a:lnTo>
                    <a:pt x="316" y="144"/>
                  </a:lnTo>
                  <a:lnTo>
                    <a:pt x="315" y="152"/>
                  </a:lnTo>
                  <a:lnTo>
                    <a:pt x="312" y="162"/>
                  </a:lnTo>
                  <a:lnTo>
                    <a:pt x="307" y="169"/>
                  </a:lnTo>
                  <a:lnTo>
                    <a:pt x="302" y="178"/>
                  </a:lnTo>
                  <a:lnTo>
                    <a:pt x="300" y="182"/>
                  </a:lnTo>
                  <a:lnTo>
                    <a:pt x="299" y="186"/>
                  </a:lnTo>
                  <a:lnTo>
                    <a:pt x="300" y="191"/>
                  </a:lnTo>
                  <a:lnTo>
                    <a:pt x="302" y="196"/>
                  </a:lnTo>
                  <a:lnTo>
                    <a:pt x="307" y="204"/>
                  </a:lnTo>
                  <a:lnTo>
                    <a:pt x="312" y="212"/>
                  </a:lnTo>
                  <a:lnTo>
                    <a:pt x="315" y="221"/>
                  </a:lnTo>
                  <a:lnTo>
                    <a:pt x="316" y="229"/>
                  </a:lnTo>
                  <a:lnTo>
                    <a:pt x="316" y="238"/>
                  </a:lnTo>
                  <a:lnTo>
                    <a:pt x="315" y="247"/>
                  </a:lnTo>
                  <a:lnTo>
                    <a:pt x="312" y="256"/>
                  </a:lnTo>
                  <a:lnTo>
                    <a:pt x="307" y="265"/>
                  </a:lnTo>
                  <a:lnTo>
                    <a:pt x="303" y="272"/>
                  </a:lnTo>
                  <a:lnTo>
                    <a:pt x="297" y="278"/>
                  </a:lnTo>
                  <a:lnTo>
                    <a:pt x="289" y="285"/>
                  </a:lnTo>
                  <a:lnTo>
                    <a:pt x="282" y="289"/>
                  </a:lnTo>
                  <a:lnTo>
                    <a:pt x="273" y="292"/>
                  </a:lnTo>
                  <a:lnTo>
                    <a:pt x="265" y="293"/>
                  </a:lnTo>
                  <a:lnTo>
                    <a:pt x="255" y="295"/>
                  </a:lnTo>
                  <a:lnTo>
                    <a:pt x="246" y="293"/>
                  </a:lnTo>
                  <a:lnTo>
                    <a:pt x="241" y="295"/>
                  </a:lnTo>
                  <a:lnTo>
                    <a:pt x="236" y="296"/>
                  </a:lnTo>
                  <a:lnTo>
                    <a:pt x="233" y="299"/>
                  </a:lnTo>
                  <a:lnTo>
                    <a:pt x="229" y="302"/>
                  </a:lnTo>
                  <a:lnTo>
                    <a:pt x="226" y="311"/>
                  </a:lnTo>
                  <a:lnTo>
                    <a:pt x="221" y="319"/>
                  </a:lnTo>
                  <a:lnTo>
                    <a:pt x="214" y="326"/>
                  </a:lnTo>
                  <a:lnTo>
                    <a:pt x="208" y="331"/>
                  </a:lnTo>
                  <a:lnTo>
                    <a:pt x="199" y="335"/>
                  </a:lnTo>
                  <a:lnTo>
                    <a:pt x="192" y="338"/>
                  </a:lnTo>
                  <a:lnTo>
                    <a:pt x="182" y="341"/>
                  </a:lnTo>
                  <a:lnTo>
                    <a:pt x="174" y="342"/>
                  </a:lnTo>
                  <a:lnTo>
                    <a:pt x="164" y="341"/>
                  </a:lnTo>
                  <a:lnTo>
                    <a:pt x="156" y="338"/>
                  </a:lnTo>
                  <a:lnTo>
                    <a:pt x="147" y="335"/>
                  </a:lnTo>
                  <a:lnTo>
                    <a:pt x="139" y="331"/>
                  </a:lnTo>
                  <a:lnTo>
                    <a:pt x="132" y="326"/>
                  </a:lnTo>
                  <a:lnTo>
                    <a:pt x="126" y="319"/>
                  </a:lnTo>
                  <a:lnTo>
                    <a:pt x="121" y="311"/>
                  </a:lnTo>
                  <a:lnTo>
                    <a:pt x="117" y="302"/>
                  </a:lnTo>
                  <a:lnTo>
                    <a:pt x="115" y="299"/>
                  </a:lnTo>
                  <a:lnTo>
                    <a:pt x="112" y="297"/>
                  </a:lnTo>
                  <a:lnTo>
                    <a:pt x="107" y="295"/>
                  </a:lnTo>
                  <a:lnTo>
                    <a:pt x="103" y="293"/>
                  </a:lnTo>
                  <a:lnTo>
                    <a:pt x="102" y="293"/>
                  </a:lnTo>
                  <a:lnTo>
                    <a:pt x="101" y="293"/>
                  </a:lnTo>
                  <a:lnTo>
                    <a:pt x="91" y="295"/>
                  </a:lnTo>
                  <a:lnTo>
                    <a:pt x="82" y="293"/>
                  </a:lnTo>
                  <a:lnTo>
                    <a:pt x="73" y="292"/>
                  </a:lnTo>
                  <a:lnTo>
                    <a:pt x="65" y="289"/>
                  </a:lnTo>
                  <a:lnTo>
                    <a:pt x="57" y="285"/>
                  </a:lnTo>
                  <a:lnTo>
                    <a:pt x="50" y="278"/>
                  </a:lnTo>
                  <a:lnTo>
                    <a:pt x="44" y="272"/>
                  </a:lnTo>
                  <a:lnTo>
                    <a:pt x="39" y="265"/>
                  </a:lnTo>
                  <a:lnTo>
                    <a:pt x="35" y="256"/>
                  </a:lnTo>
                  <a:lnTo>
                    <a:pt x="32" y="247"/>
                  </a:lnTo>
                  <a:lnTo>
                    <a:pt x="30" y="238"/>
                  </a:lnTo>
                  <a:lnTo>
                    <a:pt x="30" y="229"/>
                  </a:lnTo>
                  <a:lnTo>
                    <a:pt x="32" y="221"/>
                  </a:lnTo>
                  <a:lnTo>
                    <a:pt x="35" y="212"/>
                  </a:lnTo>
                  <a:lnTo>
                    <a:pt x="39" y="204"/>
                  </a:lnTo>
                  <a:lnTo>
                    <a:pt x="44" y="196"/>
                  </a:lnTo>
                  <a:close/>
                  <a:moveTo>
                    <a:pt x="332" y="186"/>
                  </a:moveTo>
                  <a:lnTo>
                    <a:pt x="338" y="176"/>
                  </a:lnTo>
                  <a:lnTo>
                    <a:pt x="343" y="164"/>
                  </a:lnTo>
                  <a:lnTo>
                    <a:pt x="345" y="153"/>
                  </a:lnTo>
                  <a:lnTo>
                    <a:pt x="346" y="140"/>
                  </a:lnTo>
                  <a:lnTo>
                    <a:pt x="346" y="129"/>
                  </a:lnTo>
                  <a:lnTo>
                    <a:pt x="343" y="117"/>
                  </a:lnTo>
                  <a:lnTo>
                    <a:pt x="340" y="105"/>
                  </a:lnTo>
                  <a:lnTo>
                    <a:pt x="334" y="93"/>
                  </a:lnTo>
                  <a:lnTo>
                    <a:pt x="327" y="84"/>
                  </a:lnTo>
                  <a:lnTo>
                    <a:pt x="319" y="74"/>
                  </a:lnTo>
                  <a:lnTo>
                    <a:pt x="310" y="67"/>
                  </a:lnTo>
                  <a:lnTo>
                    <a:pt x="300" y="60"/>
                  </a:lnTo>
                  <a:lnTo>
                    <a:pt x="288" y="55"/>
                  </a:lnTo>
                  <a:lnTo>
                    <a:pt x="278" y="52"/>
                  </a:lnTo>
                  <a:lnTo>
                    <a:pt x="266" y="49"/>
                  </a:lnTo>
                  <a:lnTo>
                    <a:pt x="253" y="48"/>
                  </a:lnTo>
                  <a:lnTo>
                    <a:pt x="246" y="39"/>
                  </a:lnTo>
                  <a:lnTo>
                    <a:pt x="239" y="29"/>
                  </a:lnTo>
                  <a:lnTo>
                    <a:pt x="229" y="21"/>
                  </a:lnTo>
                  <a:lnTo>
                    <a:pt x="220" y="14"/>
                  </a:lnTo>
                  <a:lnTo>
                    <a:pt x="209" y="9"/>
                  </a:lnTo>
                  <a:lnTo>
                    <a:pt x="198" y="5"/>
                  </a:lnTo>
                  <a:lnTo>
                    <a:pt x="185" y="1"/>
                  </a:lnTo>
                  <a:lnTo>
                    <a:pt x="174" y="0"/>
                  </a:lnTo>
                  <a:lnTo>
                    <a:pt x="161" y="1"/>
                  </a:lnTo>
                  <a:lnTo>
                    <a:pt x="149" y="5"/>
                  </a:lnTo>
                  <a:lnTo>
                    <a:pt x="137" y="9"/>
                  </a:lnTo>
                  <a:lnTo>
                    <a:pt x="127" y="14"/>
                  </a:lnTo>
                  <a:lnTo>
                    <a:pt x="117" y="21"/>
                  </a:lnTo>
                  <a:lnTo>
                    <a:pt x="108" y="29"/>
                  </a:lnTo>
                  <a:lnTo>
                    <a:pt x="100" y="39"/>
                  </a:lnTo>
                  <a:lnTo>
                    <a:pt x="93" y="48"/>
                  </a:lnTo>
                  <a:lnTo>
                    <a:pt x="82" y="49"/>
                  </a:lnTo>
                  <a:lnTo>
                    <a:pt x="69" y="52"/>
                  </a:lnTo>
                  <a:lnTo>
                    <a:pt x="58" y="56"/>
                  </a:lnTo>
                  <a:lnTo>
                    <a:pt x="46" y="60"/>
                  </a:lnTo>
                  <a:lnTo>
                    <a:pt x="37" y="67"/>
                  </a:lnTo>
                  <a:lnTo>
                    <a:pt x="27" y="75"/>
                  </a:lnTo>
                  <a:lnTo>
                    <a:pt x="20" y="84"/>
                  </a:lnTo>
                  <a:lnTo>
                    <a:pt x="13" y="93"/>
                  </a:lnTo>
                  <a:lnTo>
                    <a:pt x="7" y="105"/>
                  </a:lnTo>
                  <a:lnTo>
                    <a:pt x="4" y="117"/>
                  </a:lnTo>
                  <a:lnTo>
                    <a:pt x="1" y="129"/>
                  </a:lnTo>
                  <a:lnTo>
                    <a:pt x="0" y="140"/>
                  </a:lnTo>
                  <a:lnTo>
                    <a:pt x="1" y="153"/>
                  </a:lnTo>
                  <a:lnTo>
                    <a:pt x="5" y="164"/>
                  </a:lnTo>
                  <a:lnTo>
                    <a:pt x="8" y="176"/>
                  </a:lnTo>
                  <a:lnTo>
                    <a:pt x="14" y="186"/>
                  </a:lnTo>
                  <a:lnTo>
                    <a:pt x="8" y="198"/>
                  </a:lnTo>
                  <a:lnTo>
                    <a:pt x="5" y="209"/>
                  </a:lnTo>
                  <a:lnTo>
                    <a:pt x="1" y="221"/>
                  </a:lnTo>
                  <a:lnTo>
                    <a:pt x="0" y="232"/>
                  </a:lnTo>
                  <a:lnTo>
                    <a:pt x="1" y="245"/>
                  </a:lnTo>
                  <a:lnTo>
                    <a:pt x="4" y="257"/>
                  </a:lnTo>
                  <a:lnTo>
                    <a:pt x="7" y="269"/>
                  </a:lnTo>
                  <a:lnTo>
                    <a:pt x="13" y="280"/>
                  </a:lnTo>
                  <a:lnTo>
                    <a:pt x="20" y="289"/>
                  </a:lnTo>
                  <a:lnTo>
                    <a:pt x="27" y="298"/>
                  </a:lnTo>
                  <a:lnTo>
                    <a:pt x="36" y="305"/>
                  </a:lnTo>
                  <a:lnTo>
                    <a:pt x="45" y="312"/>
                  </a:lnTo>
                  <a:lnTo>
                    <a:pt x="45" y="546"/>
                  </a:lnTo>
                  <a:lnTo>
                    <a:pt x="46" y="550"/>
                  </a:lnTo>
                  <a:lnTo>
                    <a:pt x="47" y="555"/>
                  </a:lnTo>
                  <a:lnTo>
                    <a:pt x="51" y="558"/>
                  </a:lnTo>
                  <a:lnTo>
                    <a:pt x="54" y="559"/>
                  </a:lnTo>
                  <a:lnTo>
                    <a:pt x="58" y="561"/>
                  </a:lnTo>
                  <a:lnTo>
                    <a:pt x="62" y="561"/>
                  </a:lnTo>
                  <a:lnTo>
                    <a:pt x="66" y="560"/>
                  </a:lnTo>
                  <a:lnTo>
                    <a:pt x="70" y="558"/>
                  </a:lnTo>
                  <a:lnTo>
                    <a:pt x="181" y="475"/>
                  </a:lnTo>
                  <a:lnTo>
                    <a:pt x="292" y="558"/>
                  </a:lnTo>
                  <a:lnTo>
                    <a:pt x="294" y="560"/>
                  </a:lnTo>
                  <a:lnTo>
                    <a:pt x="297" y="560"/>
                  </a:lnTo>
                  <a:lnTo>
                    <a:pt x="299" y="561"/>
                  </a:lnTo>
                  <a:lnTo>
                    <a:pt x="301" y="561"/>
                  </a:lnTo>
                  <a:lnTo>
                    <a:pt x="304" y="561"/>
                  </a:lnTo>
                  <a:lnTo>
                    <a:pt x="307" y="559"/>
                  </a:lnTo>
                  <a:lnTo>
                    <a:pt x="311" y="558"/>
                  </a:lnTo>
                  <a:lnTo>
                    <a:pt x="314" y="555"/>
                  </a:lnTo>
                  <a:lnTo>
                    <a:pt x="315" y="550"/>
                  </a:lnTo>
                  <a:lnTo>
                    <a:pt x="316" y="546"/>
                  </a:lnTo>
                  <a:lnTo>
                    <a:pt x="316" y="301"/>
                  </a:lnTo>
                  <a:lnTo>
                    <a:pt x="326" y="291"/>
                  </a:lnTo>
                  <a:lnTo>
                    <a:pt x="334" y="280"/>
                  </a:lnTo>
                  <a:lnTo>
                    <a:pt x="340" y="269"/>
                  </a:lnTo>
                  <a:lnTo>
                    <a:pt x="343" y="257"/>
                  </a:lnTo>
                  <a:lnTo>
                    <a:pt x="346" y="245"/>
                  </a:lnTo>
                  <a:lnTo>
                    <a:pt x="346" y="232"/>
                  </a:lnTo>
                  <a:lnTo>
                    <a:pt x="345" y="221"/>
                  </a:lnTo>
                  <a:lnTo>
                    <a:pt x="343" y="209"/>
                  </a:lnTo>
                  <a:lnTo>
                    <a:pt x="338" y="198"/>
                  </a:lnTo>
                  <a:lnTo>
                    <a:pt x="332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42146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BD3BB9-7494-4054-ABD5-BF4DEDF50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7AEFA-B56B-463F-809E-4A0CAC2C214B}" type="datetime1">
              <a:rPr lang="en-US" sz="1000" smtClean="0">
                <a:solidFill>
                  <a:schemeClr val="tx1"/>
                </a:solidFill>
              </a:rPr>
              <a:t>8/17/2020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4D9497-D6ED-4F5D-9AF8-723FC8208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t>2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" name="Rectangle 70">
            <a:extLst>
              <a:ext uri="{FF2B5EF4-FFF2-40B4-BE49-F238E27FC236}">
                <a16:creationId xmlns:a16="http://schemas.microsoft.com/office/drawing/2014/main" id="{2C7F6899-AA89-4ACF-BBC6-9182A564A0B3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70">
            <a:extLst>
              <a:ext uri="{FF2B5EF4-FFF2-40B4-BE49-F238E27FC236}">
                <a16:creationId xmlns:a16="http://schemas.microsoft.com/office/drawing/2014/main" id="{46EBEB8D-01EC-4B1A-B44A-BDF60EEB1BDB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70">
            <a:extLst>
              <a:ext uri="{FF2B5EF4-FFF2-40B4-BE49-F238E27FC236}">
                <a16:creationId xmlns:a16="http://schemas.microsoft.com/office/drawing/2014/main" id="{0EFEE770-1BB8-4BC8-92D5-8B8941EDBE25}"/>
              </a:ext>
            </a:extLst>
          </p:cNvPr>
          <p:cNvSpPr/>
          <p:nvPr/>
        </p:nvSpPr>
        <p:spPr>
          <a:xfrm flipV="1">
            <a:off x="2054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FE3DD1-8761-4FA2-A00F-4C407ED92CBC}"/>
              </a:ext>
            </a:extLst>
          </p:cNvPr>
          <p:cNvSpPr txBox="1"/>
          <p:nvPr/>
        </p:nvSpPr>
        <p:spPr>
          <a:xfrm>
            <a:off x="708963" y="250833"/>
            <a:ext cx="10774074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/>
              <a:t>WORLD MAP</a:t>
            </a:r>
          </a:p>
        </p:txBody>
      </p:sp>
      <p:grpSp>
        <p:nvGrpSpPr>
          <p:cNvPr id="9" name="Group 225">
            <a:extLst>
              <a:ext uri="{FF2B5EF4-FFF2-40B4-BE49-F238E27FC236}">
                <a16:creationId xmlns:a16="http://schemas.microsoft.com/office/drawing/2014/main" id="{31A2DCA2-2F78-415D-8C67-E18563B384B9}"/>
              </a:ext>
            </a:extLst>
          </p:cNvPr>
          <p:cNvGrpSpPr>
            <a:grpSpLocks/>
          </p:cNvGrpSpPr>
          <p:nvPr/>
        </p:nvGrpSpPr>
        <p:grpSpPr bwMode="auto">
          <a:xfrm>
            <a:off x="5394698" y="2647981"/>
            <a:ext cx="6096000" cy="3524944"/>
            <a:chOff x="61885" y="752495"/>
            <a:chExt cx="8724928" cy="5045055"/>
          </a:xfrm>
          <a:solidFill>
            <a:schemeClr val="bg1">
              <a:lumMod val="85000"/>
            </a:schemeClr>
          </a:solidFill>
        </p:grpSpPr>
        <p:sp>
          <p:nvSpPr>
            <p:cNvPr id="10" name="Freeform 5962">
              <a:extLst>
                <a:ext uri="{FF2B5EF4-FFF2-40B4-BE49-F238E27FC236}">
                  <a16:creationId xmlns:a16="http://schemas.microsoft.com/office/drawing/2014/main" id="{09277479-5981-4C58-81D7-618373A7A6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9629" y="3535372"/>
              <a:ext cx="1189042" cy="2262178"/>
            </a:xfrm>
            <a:custGeom>
              <a:avLst/>
              <a:gdLst>
                <a:gd name="T0" fmla="*/ 168775 w 1874"/>
                <a:gd name="T1" fmla="*/ 2086902 h 3562"/>
                <a:gd name="T2" fmla="*/ 147202 w 1874"/>
                <a:gd name="T3" fmla="*/ 1968776 h 3562"/>
                <a:gd name="T4" fmla="*/ 184003 w 1874"/>
                <a:gd name="T5" fmla="*/ 1976397 h 3562"/>
                <a:gd name="T6" fmla="*/ 161161 w 1874"/>
                <a:gd name="T7" fmla="*/ 1982748 h 3562"/>
                <a:gd name="T8" fmla="*/ 154816 w 1874"/>
                <a:gd name="T9" fmla="*/ 2042446 h 3562"/>
                <a:gd name="T10" fmla="*/ 156085 w 1874"/>
                <a:gd name="T11" fmla="*/ 1997990 h 3562"/>
                <a:gd name="T12" fmla="*/ 147202 w 1874"/>
                <a:gd name="T13" fmla="*/ 2006881 h 3562"/>
                <a:gd name="T14" fmla="*/ 184003 w 1874"/>
                <a:gd name="T15" fmla="*/ 2086902 h 3562"/>
                <a:gd name="T16" fmla="*/ 153547 w 1874"/>
                <a:gd name="T17" fmla="*/ 1999260 h 3562"/>
                <a:gd name="T18" fmla="*/ 185272 w 1874"/>
                <a:gd name="T19" fmla="*/ 1850649 h 3562"/>
                <a:gd name="T20" fmla="*/ 192886 w 1874"/>
                <a:gd name="T21" fmla="*/ 1841758 h 3562"/>
                <a:gd name="T22" fmla="*/ 166237 w 1874"/>
                <a:gd name="T23" fmla="*/ 1884944 h 3562"/>
                <a:gd name="T24" fmla="*/ 348971 w 1874"/>
                <a:gd name="T25" fmla="*/ 2235513 h 3562"/>
                <a:gd name="T26" fmla="*/ 304556 w 1874"/>
                <a:gd name="T27" fmla="*/ 2245675 h 3562"/>
                <a:gd name="T28" fmla="*/ 284252 w 1874"/>
                <a:gd name="T29" fmla="*/ 2227892 h 3562"/>
                <a:gd name="T30" fmla="*/ 323591 w 1874"/>
                <a:gd name="T31" fmla="*/ 2224082 h 3562"/>
                <a:gd name="T32" fmla="*/ 277907 w 1874"/>
                <a:gd name="T33" fmla="*/ 2230433 h 3562"/>
                <a:gd name="T34" fmla="*/ 170044 w 1874"/>
                <a:gd name="T35" fmla="*/ 2140250 h 3562"/>
                <a:gd name="T36" fmla="*/ 180196 w 1874"/>
                <a:gd name="T37" fmla="*/ 2163113 h 3562"/>
                <a:gd name="T38" fmla="*/ 157354 w 1874"/>
                <a:gd name="T39" fmla="*/ 2090713 h 3562"/>
                <a:gd name="T40" fmla="*/ 247452 w 1874"/>
                <a:gd name="T41" fmla="*/ 2198678 h 3562"/>
                <a:gd name="T42" fmla="*/ 214458 w 1874"/>
                <a:gd name="T43" fmla="*/ 2170734 h 3562"/>
                <a:gd name="T44" fmla="*/ 224610 w 1874"/>
                <a:gd name="T45" fmla="*/ 2189787 h 3562"/>
                <a:gd name="T46" fmla="*/ 300749 w 1874"/>
                <a:gd name="T47" fmla="*/ 2198678 h 3562"/>
                <a:gd name="T48" fmla="*/ 237300 w 1874"/>
                <a:gd name="T49" fmla="*/ 2207569 h 3562"/>
                <a:gd name="T50" fmla="*/ 319784 w 1874"/>
                <a:gd name="T51" fmla="*/ 2224082 h 3562"/>
                <a:gd name="T52" fmla="*/ 184003 w 1874"/>
                <a:gd name="T53" fmla="*/ 1738874 h 3562"/>
                <a:gd name="T54" fmla="*/ 166237 w 1874"/>
                <a:gd name="T55" fmla="*/ 1802383 h 3562"/>
                <a:gd name="T56" fmla="*/ 187810 w 1874"/>
                <a:gd name="T57" fmla="*/ 1807463 h 3562"/>
                <a:gd name="T58" fmla="*/ 176389 w 1874"/>
                <a:gd name="T59" fmla="*/ 1878593 h 3562"/>
                <a:gd name="T60" fmla="*/ 939048 w 1874"/>
                <a:gd name="T61" fmla="*/ 443292 h 3562"/>
                <a:gd name="T62" fmla="*/ 767735 w 1874"/>
                <a:gd name="T63" fmla="*/ 403917 h 3562"/>
                <a:gd name="T64" fmla="*/ 761390 w 1874"/>
                <a:gd name="T65" fmla="*/ 248955 h 3562"/>
                <a:gd name="T66" fmla="*/ 611650 w 1874"/>
                <a:gd name="T67" fmla="*/ 190527 h 3562"/>
                <a:gd name="T68" fmla="*/ 474600 w 1874"/>
                <a:gd name="T69" fmla="*/ 59698 h 3562"/>
                <a:gd name="T70" fmla="*/ 281714 w 1874"/>
                <a:gd name="T71" fmla="*/ 21593 h 3562"/>
                <a:gd name="T72" fmla="*/ 157354 w 1874"/>
                <a:gd name="T73" fmla="*/ 45726 h 3562"/>
                <a:gd name="T74" fmla="*/ 91367 w 1874"/>
                <a:gd name="T75" fmla="*/ 299762 h 3562"/>
                <a:gd name="T76" fmla="*/ 35532 w 1874"/>
                <a:gd name="T77" fmla="*/ 461075 h 3562"/>
                <a:gd name="T78" fmla="*/ 109133 w 1874"/>
                <a:gd name="T79" fmla="*/ 768458 h 3562"/>
                <a:gd name="T80" fmla="*/ 275370 w 1874"/>
                <a:gd name="T81" fmla="*/ 1108865 h 3562"/>
                <a:gd name="T82" fmla="*/ 252528 w 1874"/>
                <a:gd name="T83" fmla="*/ 1420059 h 3562"/>
                <a:gd name="T84" fmla="*/ 196693 w 1874"/>
                <a:gd name="T85" fmla="*/ 1667744 h 3562"/>
                <a:gd name="T86" fmla="*/ 209382 w 1874"/>
                <a:gd name="T87" fmla="*/ 1797302 h 3562"/>
                <a:gd name="T88" fmla="*/ 171313 w 1874"/>
                <a:gd name="T89" fmla="*/ 1882404 h 3562"/>
                <a:gd name="T90" fmla="*/ 170044 w 1874"/>
                <a:gd name="T91" fmla="*/ 1947183 h 3562"/>
                <a:gd name="T92" fmla="*/ 176389 w 1874"/>
                <a:gd name="T93" fmla="*/ 2011962 h 3562"/>
                <a:gd name="T94" fmla="*/ 185272 w 1874"/>
                <a:gd name="T95" fmla="*/ 2053878 h 3562"/>
                <a:gd name="T96" fmla="*/ 196693 w 1874"/>
                <a:gd name="T97" fmla="*/ 2100874 h 3562"/>
                <a:gd name="T98" fmla="*/ 194155 w 1874"/>
                <a:gd name="T99" fmla="*/ 2113576 h 3562"/>
                <a:gd name="T100" fmla="*/ 233493 w 1874"/>
                <a:gd name="T101" fmla="*/ 2131359 h 3562"/>
                <a:gd name="T102" fmla="*/ 255066 w 1874"/>
                <a:gd name="T103" fmla="*/ 2141520 h 3562"/>
                <a:gd name="T104" fmla="*/ 314708 w 1874"/>
                <a:gd name="T105" fmla="*/ 2122467 h 3562"/>
                <a:gd name="T106" fmla="*/ 348971 w 1874"/>
                <a:gd name="T107" fmla="*/ 1890025 h 3562"/>
                <a:gd name="T108" fmla="*/ 453027 w 1874"/>
                <a:gd name="T109" fmla="*/ 1764277 h 3562"/>
                <a:gd name="T110" fmla="*/ 491097 w 1874"/>
                <a:gd name="T111" fmla="*/ 1635989 h 3562"/>
                <a:gd name="T112" fmla="*/ 629416 w 1874"/>
                <a:gd name="T113" fmla="*/ 1491189 h 3562"/>
                <a:gd name="T114" fmla="*/ 865447 w 1874"/>
                <a:gd name="T115" fmla="*/ 1158402 h 3562"/>
                <a:gd name="T116" fmla="*/ 1079905 w 1874"/>
                <a:gd name="T117" fmla="*/ 900556 h 3562"/>
                <a:gd name="T118" fmla="*/ 426379 w 1874"/>
                <a:gd name="T119" fmla="*/ 2222811 h 3562"/>
                <a:gd name="T120" fmla="*/ 184003 w 1874"/>
                <a:gd name="T121" fmla="*/ 1928130 h 3562"/>
                <a:gd name="T122" fmla="*/ 159892 w 1874"/>
                <a:gd name="T123" fmla="*/ 1994179 h 3562"/>
                <a:gd name="T124" fmla="*/ 175120 w 1874"/>
                <a:gd name="T125" fmla="*/ 2027204 h 356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74"/>
                <a:gd name="T190" fmla="*/ 0 h 3562"/>
                <a:gd name="T191" fmla="*/ 1874 w 1874"/>
                <a:gd name="T192" fmla="*/ 3562 h 356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74" h="3562">
                  <a:moveTo>
                    <a:pt x="282" y="3320"/>
                  </a:moveTo>
                  <a:lnTo>
                    <a:pt x="282" y="3320"/>
                  </a:lnTo>
                  <a:lnTo>
                    <a:pt x="286" y="3322"/>
                  </a:lnTo>
                  <a:lnTo>
                    <a:pt x="286" y="3320"/>
                  </a:lnTo>
                  <a:lnTo>
                    <a:pt x="284" y="3316"/>
                  </a:lnTo>
                  <a:lnTo>
                    <a:pt x="282" y="3312"/>
                  </a:lnTo>
                  <a:lnTo>
                    <a:pt x="278" y="3308"/>
                  </a:lnTo>
                  <a:lnTo>
                    <a:pt x="274" y="3308"/>
                  </a:lnTo>
                  <a:lnTo>
                    <a:pt x="274" y="3310"/>
                  </a:lnTo>
                  <a:lnTo>
                    <a:pt x="276" y="3314"/>
                  </a:lnTo>
                  <a:lnTo>
                    <a:pt x="276" y="3316"/>
                  </a:lnTo>
                  <a:lnTo>
                    <a:pt x="282" y="3320"/>
                  </a:lnTo>
                  <a:close/>
                  <a:moveTo>
                    <a:pt x="286" y="3348"/>
                  </a:moveTo>
                  <a:lnTo>
                    <a:pt x="286" y="3348"/>
                  </a:lnTo>
                  <a:lnTo>
                    <a:pt x="288" y="3348"/>
                  </a:lnTo>
                  <a:lnTo>
                    <a:pt x="290" y="3348"/>
                  </a:lnTo>
                  <a:lnTo>
                    <a:pt x="296" y="3344"/>
                  </a:lnTo>
                  <a:lnTo>
                    <a:pt x="294" y="3340"/>
                  </a:lnTo>
                  <a:lnTo>
                    <a:pt x="286" y="3334"/>
                  </a:lnTo>
                  <a:lnTo>
                    <a:pt x="282" y="3330"/>
                  </a:lnTo>
                  <a:lnTo>
                    <a:pt x="278" y="3330"/>
                  </a:lnTo>
                  <a:lnTo>
                    <a:pt x="276" y="3332"/>
                  </a:lnTo>
                  <a:lnTo>
                    <a:pt x="278" y="3334"/>
                  </a:lnTo>
                  <a:lnTo>
                    <a:pt x="278" y="3336"/>
                  </a:lnTo>
                  <a:lnTo>
                    <a:pt x="280" y="3336"/>
                  </a:lnTo>
                  <a:lnTo>
                    <a:pt x="282" y="3336"/>
                  </a:lnTo>
                  <a:lnTo>
                    <a:pt x="284" y="3336"/>
                  </a:lnTo>
                  <a:lnTo>
                    <a:pt x="284" y="3338"/>
                  </a:lnTo>
                  <a:lnTo>
                    <a:pt x="284" y="3340"/>
                  </a:lnTo>
                  <a:lnTo>
                    <a:pt x="284" y="3342"/>
                  </a:lnTo>
                  <a:lnTo>
                    <a:pt x="286" y="3348"/>
                  </a:lnTo>
                  <a:close/>
                  <a:moveTo>
                    <a:pt x="270" y="3286"/>
                  </a:moveTo>
                  <a:lnTo>
                    <a:pt x="270" y="3286"/>
                  </a:lnTo>
                  <a:lnTo>
                    <a:pt x="270" y="3280"/>
                  </a:lnTo>
                  <a:lnTo>
                    <a:pt x="268" y="3278"/>
                  </a:lnTo>
                  <a:lnTo>
                    <a:pt x="266" y="3278"/>
                  </a:lnTo>
                  <a:lnTo>
                    <a:pt x="262" y="3278"/>
                  </a:lnTo>
                  <a:lnTo>
                    <a:pt x="260" y="3280"/>
                  </a:lnTo>
                  <a:lnTo>
                    <a:pt x="256" y="3286"/>
                  </a:lnTo>
                  <a:lnTo>
                    <a:pt x="252" y="3292"/>
                  </a:lnTo>
                  <a:lnTo>
                    <a:pt x="254" y="3292"/>
                  </a:lnTo>
                  <a:lnTo>
                    <a:pt x="258" y="3292"/>
                  </a:lnTo>
                  <a:lnTo>
                    <a:pt x="262" y="3290"/>
                  </a:lnTo>
                  <a:lnTo>
                    <a:pt x="262" y="3288"/>
                  </a:lnTo>
                  <a:lnTo>
                    <a:pt x="264" y="3286"/>
                  </a:lnTo>
                  <a:lnTo>
                    <a:pt x="266" y="3286"/>
                  </a:lnTo>
                  <a:lnTo>
                    <a:pt x="266" y="3288"/>
                  </a:lnTo>
                  <a:lnTo>
                    <a:pt x="268" y="3290"/>
                  </a:lnTo>
                  <a:lnTo>
                    <a:pt x="270" y="3288"/>
                  </a:lnTo>
                  <a:lnTo>
                    <a:pt x="270" y="3286"/>
                  </a:lnTo>
                  <a:close/>
                  <a:moveTo>
                    <a:pt x="262" y="3260"/>
                  </a:moveTo>
                  <a:lnTo>
                    <a:pt x="262" y="3260"/>
                  </a:lnTo>
                  <a:lnTo>
                    <a:pt x="256" y="3260"/>
                  </a:lnTo>
                  <a:lnTo>
                    <a:pt x="254" y="3260"/>
                  </a:lnTo>
                  <a:lnTo>
                    <a:pt x="254" y="3262"/>
                  </a:lnTo>
                  <a:lnTo>
                    <a:pt x="256" y="3264"/>
                  </a:lnTo>
                  <a:lnTo>
                    <a:pt x="258" y="3266"/>
                  </a:lnTo>
                  <a:lnTo>
                    <a:pt x="260" y="3270"/>
                  </a:lnTo>
                  <a:lnTo>
                    <a:pt x="264" y="3272"/>
                  </a:lnTo>
                  <a:lnTo>
                    <a:pt x="266" y="3270"/>
                  </a:lnTo>
                  <a:lnTo>
                    <a:pt x="268" y="3268"/>
                  </a:lnTo>
                  <a:lnTo>
                    <a:pt x="270" y="3266"/>
                  </a:lnTo>
                  <a:lnTo>
                    <a:pt x="274" y="3266"/>
                  </a:lnTo>
                  <a:lnTo>
                    <a:pt x="276" y="3266"/>
                  </a:lnTo>
                  <a:lnTo>
                    <a:pt x="276" y="3258"/>
                  </a:lnTo>
                  <a:lnTo>
                    <a:pt x="274" y="3254"/>
                  </a:lnTo>
                  <a:lnTo>
                    <a:pt x="270" y="3250"/>
                  </a:lnTo>
                  <a:lnTo>
                    <a:pt x="268" y="3250"/>
                  </a:lnTo>
                  <a:lnTo>
                    <a:pt x="266" y="3252"/>
                  </a:lnTo>
                  <a:lnTo>
                    <a:pt x="268" y="3258"/>
                  </a:lnTo>
                  <a:lnTo>
                    <a:pt x="266" y="3260"/>
                  </a:lnTo>
                  <a:lnTo>
                    <a:pt x="262" y="3260"/>
                  </a:lnTo>
                  <a:close/>
                  <a:moveTo>
                    <a:pt x="236" y="3110"/>
                  </a:moveTo>
                  <a:lnTo>
                    <a:pt x="236" y="3110"/>
                  </a:lnTo>
                  <a:lnTo>
                    <a:pt x="238" y="3110"/>
                  </a:lnTo>
                  <a:lnTo>
                    <a:pt x="240" y="3112"/>
                  </a:lnTo>
                  <a:lnTo>
                    <a:pt x="240" y="3118"/>
                  </a:lnTo>
                  <a:lnTo>
                    <a:pt x="240" y="3126"/>
                  </a:lnTo>
                  <a:lnTo>
                    <a:pt x="242" y="3128"/>
                  </a:lnTo>
                  <a:lnTo>
                    <a:pt x="244" y="3128"/>
                  </a:lnTo>
                  <a:lnTo>
                    <a:pt x="248" y="3124"/>
                  </a:lnTo>
                  <a:lnTo>
                    <a:pt x="250" y="3120"/>
                  </a:lnTo>
                  <a:lnTo>
                    <a:pt x="244" y="3108"/>
                  </a:lnTo>
                  <a:lnTo>
                    <a:pt x="240" y="3102"/>
                  </a:lnTo>
                  <a:lnTo>
                    <a:pt x="240" y="3096"/>
                  </a:lnTo>
                  <a:lnTo>
                    <a:pt x="238" y="3090"/>
                  </a:lnTo>
                  <a:lnTo>
                    <a:pt x="236" y="3088"/>
                  </a:lnTo>
                  <a:lnTo>
                    <a:pt x="232" y="3090"/>
                  </a:lnTo>
                  <a:lnTo>
                    <a:pt x="230" y="3094"/>
                  </a:lnTo>
                  <a:lnTo>
                    <a:pt x="230" y="3098"/>
                  </a:lnTo>
                  <a:lnTo>
                    <a:pt x="232" y="3100"/>
                  </a:lnTo>
                  <a:lnTo>
                    <a:pt x="232" y="3104"/>
                  </a:lnTo>
                  <a:lnTo>
                    <a:pt x="230" y="3108"/>
                  </a:lnTo>
                  <a:lnTo>
                    <a:pt x="230" y="3110"/>
                  </a:lnTo>
                  <a:lnTo>
                    <a:pt x="232" y="3110"/>
                  </a:lnTo>
                  <a:lnTo>
                    <a:pt x="236" y="3110"/>
                  </a:lnTo>
                  <a:close/>
                  <a:moveTo>
                    <a:pt x="284" y="3278"/>
                  </a:moveTo>
                  <a:lnTo>
                    <a:pt x="284" y="3278"/>
                  </a:lnTo>
                  <a:lnTo>
                    <a:pt x="284" y="3276"/>
                  </a:lnTo>
                  <a:lnTo>
                    <a:pt x="284" y="3270"/>
                  </a:lnTo>
                  <a:lnTo>
                    <a:pt x="282" y="3264"/>
                  </a:lnTo>
                  <a:lnTo>
                    <a:pt x="280" y="3260"/>
                  </a:lnTo>
                  <a:lnTo>
                    <a:pt x="278" y="3264"/>
                  </a:lnTo>
                  <a:lnTo>
                    <a:pt x="278" y="3270"/>
                  </a:lnTo>
                  <a:lnTo>
                    <a:pt x="280" y="3276"/>
                  </a:lnTo>
                  <a:lnTo>
                    <a:pt x="282" y="3278"/>
                  </a:lnTo>
                  <a:lnTo>
                    <a:pt x="284" y="3278"/>
                  </a:lnTo>
                  <a:close/>
                  <a:moveTo>
                    <a:pt x="304" y="3362"/>
                  </a:moveTo>
                  <a:lnTo>
                    <a:pt x="304" y="3362"/>
                  </a:lnTo>
                  <a:lnTo>
                    <a:pt x="304" y="3358"/>
                  </a:lnTo>
                  <a:lnTo>
                    <a:pt x="304" y="3356"/>
                  </a:lnTo>
                  <a:lnTo>
                    <a:pt x="306" y="3354"/>
                  </a:lnTo>
                  <a:lnTo>
                    <a:pt x="304" y="3352"/>
                  </a:lnTo>
                  <a:lnTo>
                    <a:pt x="302" y="3350"/>
                  </a:lnTo>
                  <a:lnTo>
                    <a:pt x="300" y="3350"/>
                  </a:lnTo>
                  <a:lnTo>
                    <a:pt x="294" y="3356"/>
                  </a:lnTo>
                  <a:lnTo>
                    <a:pt x="292" y="3360"/>
                  </a:lnTo>
                  <a:lnTo>
                    <a:pt x="292" y="3362"/>
                  </a:lnTo>
                  <a:lnTo>
                    <a:pt x="296" y="3368"/>
                  </a:lnTo>
                  <a:lnTo>
                    <a:pt x="298" y="3368"/>
                  </a:lnTo>
                  <a:lnTo>
                    <a:pt x="300" y="3368"/>
                  </a:lnTo>
                  <a:lnTo>
                    <a:pt x="302" y="3366"/>
                  </a:lnTo>
                  <a:lnTo>
                    <a:pt x="304" y="3362"/>
                  </a:lnTo>
                  <a:close/>
                  <a:moveTo>
                    <a:pt x="262" y="3320"/>
                  </a:moveTo>
                  <a:lnTo>
                    <a:pt x="262" y="3320"/>
                  </a:lnTo>
                  <a:lnTo>
                    <a:pt x="260" y="3330"/>
                  </a:lnTo>
                  <a:lnTo>
                    <a:pt x="258" y="3332"/>
                  </a:lnTo>
                  <a:lnTo>
                    <a:pt x="260" y="3330"/>
                  </a:lnTo>
                  <a:lnTo>
                    <a:pt x="264" y="3328"/>
                  </a:lnTo>
                  <a:lnTo>
                    <a:pt x="268" y="3320"/>
                  </a:lnTo>
                  <a:lnTo>
                    <a:pt x="268" y="3316"/>
                  </a:lnTo>
                  <a:lnTo>
                    <a:pt x="266" y="3314"/>
                  </a:lnTo>
                  <a:lnTo>
                    <a:pt x="264" y="3314"/>
                  </a:lnTo>
                  <a:lnTo>
                    <a:pt x="262" y="3320"/>
                  </a:lnTo>
                  <a:close/>
                  <a:moveTo>
                    <a:pt x="276" y="3112"/>
                  </a:moveTo>
                  <a:lnTo>
                    <a:pt x="276" y="3112"/>
                  </a:lnTo>
                  <a:lnTo>
                    <a:pt x="286" y="3114"/>
                  </a:lnTo>
                  <a:lnTo>
                    <a:pt x="288" y="3114"/>
                  </a:lnTo>
                  <a:lnTo>
                    <a:pt x="290" y="3112"/>
                  </a:lnTo>
                  <a:lnTo>
                    <a:pt x="284" y="3110"/>
                  </a:lnTo>
                  <a:lnTo>
                    <a:pt x="276" y="3102"/>
                  </a:lnTo>
                  <a:lnTo>
                    <a:pt x="270" y="3096"/>
                  </a:lnTo>
                  <a:lnTo>
                    <a:pt x="270" y="3098"/>
                  </a:lnTo>
                  <a:lnTo>
                    <a:pt x="270" y="3102"/>
                  </a:lnTo>
                  <a:lnTo>
                    <a:pt x="272" y="3108"/>
                  </a:lnTo>
                  <a:lnTo>
                    <a:pt x="276" y="3112"/>
                  </a:lnTo>
                  <a:close/>
                  <a:moveTo>
                    <a:pt x="274" y="3270"/>
                  </a:moveTo>
                  <a:lnTo>
                    <a:pt x="274" y="3270"/>
                  </a:lnTo>
                  <a:lnTo>
                    <a:pt x="272" y="3270"/>
                  </a:lnTo>
                  <a:lnTo>
                    <a:pt x="270" y="3272"/>
                  </a:lnTo>
                  <a:lnTo>
                    <a:pt x="270" y="3274"/>
                  </a:lnTo>
                  <a:lnTo>
                    <a:pt x="272" y="3276"/>
                  </a:lnTo>
                  <a:lnTo>
                    <a:pt x="274" y="3278"/>
                  </a:lnTo>
                  <a:lnTo>
                    <a:pt x="276" y="3276"/>
                  </a:lnTo>
                  <a:lnTo>
                    <a:pt x="276" y="3272"/>
                  </a:lnTo>
                  <a:lnTo>
                    <a:pt x="274" y="3270"/>
                  </a:lnTo>
                  <a:close/>
                  <a:moveTo>
                    <a:pt x="246" y="3090"/>
                  </a:moveTo>
                  <a:lnTo>
                    <a:pt x="246" y="3090"/>
                  </a:lnTo>
                  <a:lnTo>
                    <a:pt x="250" y="3090"/>
                  </a:lnTo>
                  <a:lnTo>
                    <a:pt x="252" y="3090"/>
                  </a:lnTo>
                  <a:lnTo>
                    <a:pt x="254" y="3092"/>
                  </a:lnTo>
                  <a:lnTo>
                    <a:pt x="258" y="3092"/>
                  </a:lnTo>
                  <a:lnTo>
                    <a:pt x="260" y="3090"/>
                  </a:lnTo>
                  <a:lnTo>
                    <a:pt x="260" y="3084"/>
                  </a:lnTo>
                  <a:lnTo>
                    <a:pt x="260" y="3080"/>
                  </a:lnTo>
                  <a:lnTo>
                    <a:pt x="260" y="3076"/>
                  </a:lnTo>
                  <a:lnTo>
                    <a:pt x="258" y="3078"/>
                  </a:lnTo>
                  <a:lnTo>
                    <a:pt x="256" y="3080"/>
                  </a:lnTo>
                  <a:lnTo>
                    <a:pt x="252" y="3084"/>
                  </a:lnTo>
                  <a:lnTo>
                    <a:pt x="248" y="3086"/>
                  </a:lnTo>
                  <a:lnTo>
                    <a:pt x="244" y="3086"/>
                  </a:lnTo>
                  <a:lnTo>
                    <a:pt x="242" y="3088"/>
                  </a:lnTo>
                  <a:lnTo>
                    <a:pt x="242" y="3090"/>
                  </a:lnTo>
                  <a:lnTo>
                    <a:pt x="246" y="3090"/>
                  </a:lnTo>
                  <a:close/>
                  <a:moveTo>
                    <a:pt x="248" y="3074"/>
                  </a:moveTo>
                  <a:lnTo>
                    <a:pt x="248" y="3074"/>
                  </a:lnTo>
                  <a:lnTo>
                    <a:pt x="246" y="3072"/>
                  </a:lnTo>
                  <a:lnTo>
                    <a:pt x="244" y="3072"/>
                  </a:lnTo>
                  <a:lnTo>
                    <a:pt x="242" y="3074"/>
                  </a:lnTo>
                  <a:lnTo>
                    <a:pt x="244" y="3078"/>
                  </a:lnTo>
                  <a:lnTo>
                    <a:pt x="246" y="3080"/>
                  </a:lnTo>
                  <a:lnTo>
                    <a:pt x="248" y="3078"/>
                  </a:lnTo>
                  <a:lnTo>
                    <a:pt x="250" y="3076"/>
                  </a:lnTo>
                  <a:lnTo>
                    <a:pt x="248" y="3074"/>
                  </a:lnTo>
                  <a:close/>
                  <a:moveTo>
                    <a:pt x="252" y="3118"/>
                  </a:moveTo>
                  <a:lnTo>
                    <a:pt x="252" y="3118"/>
                  </a:lnTo>
                  <a:lnTo>
                    <a:pt x="252" y="3120"/>
                  </a:lnTo>
                  <a:lnTo>
                    <a:pt x="254" y="3122"/>
                  </a:lnTo>
                  <a:lnTo>
                    <a:pt x="266" y="3128"/>
                  </a:lnTo>
                  <a:lnTo>
                    <a:pt x="272" y="3128"/>
                  </a:lnTo>
                  <a:lnTo>
                    <a:pt x="274" y="3124"/>
                  </a:lnTo>
                  <a:lnTo>
                    <a:pt x="272" y="3124"/>
                  </a:lnTo>
                  <a:lnTo>
                    <a:pt x="270" y="3122"/>
                  </a:lnTo>
                  <a:lnTo>
                    <a:pt x="268" y="3118"/>
                  </a:lnTo>
                  <a:lnTo>
                    <a:pt x="270" y="3116"/>
                  </a:lnTo>
                  <a:lnTo>
                    <a:pt x="270" y="3114"/>
                  </a:lnTo>
                  <a:lnTo>
                    <a:pt x="270" y="3108"/>
                  </a:lnTo>
                  <a:lnTo>
                    <a:pt x="266" y="3100"/>
                  </a:lnTo>
                  <a:lnTo>
                    <a:pt x="264" y="3098"/>
                  </a:lnTo>
                  <a:lnTo>
                    <a:pt x="262" y="3102"/>
                  </a:lnTo>
                  <a:lnTo>
                    <a:pt x="262" y="3106"/>
                  </a:lnTo>
                  <a:lnTo>
                    <a:pt x="262" y="3108"/>
                  </a:lnTo>
                  <a:lnTo>
                    <a:pt x="262" y="3114"/>
                  </a:lnTo>
                  <a:lnTo>
                    <a:pt x="262" y="3116"/>
                  </a:lnTo>
                  <a:lnTo>
                    <a:pt x="260" y="3114"/>
                  </a:lnTo>
                  <a:lnTo>
                    <a:pt x="258" y="3114"/>
                  </a:lnTo>
                  <a:lnTo>
                    <a:pt x="252" y="3118"/>
                  </a:lnTo>
                  <a:close/>
                  <a:moveTo>
                    <a:pt x="246" y="3228"/>
                  </a:moveTo>
                  <a:lnTo>
                    <a:pt x="246" y="3228"/>
                  </a:lnTo>
                  <a:lnTo>
                    <a:pt x="248" y="3228"/>
                  </a:lnTo>
                  <a:lnTo>
                    <a:pt x="250" y="3228"/>
                  </a:lnTo>
                  <a:lnTo>
                    <a:pt x="252" y="3228"/>
                  </a:lnTo>
                  <a:lnTo>
                    <a:pt x="254" y="3228"/>
                  </a:lnTo>
                  <a:lnTo>
                    <a:pt x="256" y="3224"/>
                  </a:lnTo>
                  <a:lnTo>
                    <a:pt x="256" y="3222"/>
                  </a:lnTo>
                  <a:lnTo>
                    <a:pt x="258" y="3218"/>
                  </a:lnTo>
                  <a:lnTo>
                    <a:pt x="262" y="3216"/>
                  </a:lnTo>
                  <a:lnTo>
                    <a:pt x="262" y="3214"/>
                  </a:lnTo>
                  <a:lnTo>
                    <a:pt x="260" y="3214"/>
                  </a:lnTo>
                  <a:lnTo>
                    <a:pt x="256" y="3216"/>
                  </a:lnTo>
                  <a:lnTo>
                    <a:pt x="254" y="3216"/>
                  </a:lnTo>
                  <a:lnTo>
                    <a:pt x="254" y="3214"/>
                  </a:lnTo>
                  <a:lnTo>
                    <a:pt x="254" y="3212"/>
                  </a:lnTo>
                  <a:lnTo>
                    <a:pt x="252" y="3212"/>
                  </a:lnTo>
                  <a:lnTo>
                    <a:pt x="248" y="3210"/>
                  </a:lnTo>
                  <a:lnTo>
                    <a:pt x="246" y="3210"/>
                  </a:lnTo>
                  <a:lnTo>
                    <a:pt x="242" y="3208"/>
                  </a:lnTo>
                  <a:lnTo>
                    <a:pt x="238" y="3208"/>
                  </a:lnTo>
                  <a:lnTo>
                    <a:pt x="236" y="3208"/>
                  </a:lnTo>
                  <a:lnTo>
                    <a:pt x="236" y="3210"/>
                  </a:lnTo>
                  <a:lnTo>
                    <a:pt x="240" y="3212"/>
                  </a:lnTo>
                  <a:lnTo>
                    <a:pt x="244" y="3216"/>
                  </a:lnTo>
                  <a:lnTo>
                    <a:pt x="244" y="3218"/>
                  </a:lnTo>
                  <a:lnTo>
                    <a:pt x="242" y="3218"/>
                  </a:lnTo>
                  <a:lnTo>
                    <a:pt x="240" y="3218"/>
                  </a:lnTo>
                  <a:lnTo>
                    <a:pt x="236" y="3218"/>
                  </a:lnTo>
                  <a:lnTo>
                    <a:pt x="232" y="3222"/>
                  </a:lnTo>
                  <a:lnTo>
                    <a:pt x="232" y="3224"/>
                  </a:lnTo>
                  <a:lnTo>
                    <a:pt x="234" y="3226"/>
                  </a:lnTo>
                  <a:lnTo>
                    <a:pt x="238" y="3226"/>
                  </a:lnTo>
                  <a:lnTo>
                    <a:pt x="242" y="3226"/>
                  </a:lnTo>
                  <a:lnTo>
                    <a:pt x="240" y="3230"/>
                  </a:lnTo>
                  <a:lnTo>
                    <a:pt x="240" y="3232"/>
                  </a:lnTo>
                  <a:lnTo>
                    <a:pt x="242" y="3232"/>
                  </a:lnTo>
                  <a:lnTo>
                    <a:pt x="246" y="3228"/>
                  </a:lnTo>
                  <a:close/>
                  <a:moveTo>
                    <a:pt x="256" y="3248"/>
                  </a:moveTo>
                  <a:lnTo>
                    <a:pt x="256" y="3248"/>
                  </a:lnTo>
                  <a:lnTo>
                    <a:pt x="254" y="3250"/>
                  </a:lnTo>
                  <a:lnTo>
                    <a:pt x="254" y="3252"/>
                  </a:lnTo>
                  <a:lnTo>
                    <a:pt x="258" y="3256"/>
                  </a:lnTo>
                  <a:lnTo>
                    <a:pt x="262" y="3258"/>
                  </a:lnTo>
                  <a:lnTo>
                    <a:pt x="264" y="3258"/>
                  </a:lnTo>
                  <a:lnTo>
                    <a:pt x="264" y="3256"/>
                  </a:lnTo>
                  <a:lnTo>
                    <a:pt x="262" y="3252"/>
                  </a:lnTo>
                  <a:lnTo>
                    <a:pt x="260" y="3248"/>
                  </a:lnTo>
                  <a:lnTo>
                    <a:pt x="258" y="3248"/>
                  </a:lnTo>
                  <a:lnTo>
                    <a:pt x="256" y="3248"/>
                  </a:lnTo>
                  <a:close/>
                  <a:moveTo>
                    <a:pt x="254" y="3160"/>
                  </a:moveTo>
                  <a:lnTo>
                    <a:pt x="254" y="3160"/>
                  </a:lnTo>
                  <a:lnTo>
                    <a:pt x="256" y="3160"/>
                  </a:lnTo>
                  <a:lnTo>
                    <a:pt x="256" y="3154"/>
                  </a:lnTo>
                  <a:lnTo>
                    <a:pt x="254" y="3150"/>
                  </a:lnTo>
                  <a:lnTo>
                    <a:pt x="250" y="3150"/>
                  </a:lnTo>
                  <a:lnTo>
                    <a:pt x="246" y="3152"/>
                  </a:lnTo>
                  <a:lnTo>
                    <a:pt x="242" y="3154"/>
                  </a:lnTo>
                  <a:lnTo>
                    <a:pt x="242" y="3156"/>
                  </a:lnTo>
                  <a:lnTo>
                    <a:pt x="246" y="3156"/>
                  </a:lnTo>
                  <a:lnTo>
                    <a:pt x="248" y="3158"/>
                  </a:lnTo>
                  <a:lnTo>
                    <a:pt x="254" y="3160"/>
                  </a:lnTo>
                  <a:close/>
                  <a:moveTo>
                    <a:pt x="248" y="3146"/>
                  </a:moveTo>
                  <a:lnTo>
                    <a:pt x="248" y="3146"/>
                  </a:lnTo>
                  <a:lnTo>
                    <a:pt x="250" y="3144"/>
                  </a:lnTo>
                  <a:lnTo>
                    <a:pt x="250" y="3142"/>
                  </a:lnTo>
                  <a:lnTo>
                    <a:pt x="244" y="3136"/>
                  </a:lnTo>
                  <a:lnTo>
                    <a:pt x="242" y="3136"/>
                  </a:lnTo>
                  <a:lnTo>
                    <a:pt x="244" y="3142"/>
                  </a:lnTo>
                  <a:lnTo>
                    <a:pt x="246" y="3146"/>
                  </a:lnTo>
                  <a:lnTo>
                    <a:pt x="248" y="3146"/>
                  </a:lnTo>
                  <a:close/>
                  <a:moveTo>
                    <a:pt x="282" y="3246"/>
                  </a:moveTo>
                  <a:lnTo>
                    <a:pt x="282" y="3246"/>
                  </a:lnTo>
                  <a:lnTo>
                    <a:pt x="280" y="3242"/>
                  </a:lnTo>
                  <a:lnTo>
                    <a:pt x="278" y="3238"/>
                  </a:lnTo>
                  <a:lnTo>
                    <a:pt x="278" y="3236"/>
                  </a:lnTo>
                  <a:lnTo>
                    <a:pt x="276" y="3234"/>
                  </a:lnTo>
                  <a:lnTo>
                    <a:pt x="272" y="3232"/>
                  </a:lnTo>
                  <a:lnTo>
                    <a:pt x="270" y="3232"/>
                  </a:lnTo>
                  <a:lnTo>
                    <a:pt x="270" y="3234"/>
                  </a:lnTo>
                  <a:lnTo>
                    <a:pt x="272" y="3238"/>
                  </a:lnTo>
                  <a:lnTo>
                    <a:pt x="274" y="3240"/>
                  </a:lnTo>
                  <a:lnTo>
                    <a:pt x="272" y="3242"/>
                  </a:lnTo>
                  <a:lnTo>
                    <a:pt x="272" y="3244"/>
                  </a:lnTo>
                  <a:lnTo>
                    <a:pt x="276" y="3252"/>
                  </a:lnTo>
                  <a:lnTo>
                    <a:pt x="280" y="3256"/>
                  </a:lnTo>
                  <a:lnTo>
                    <a:pt x="284" y="3256"/>
                  </a:lnTo>
                  <a:lnTo>
                    <a:pt x="286" y="3254"/>
                  </a:lnTo>
                  <a:lnTo>
                    <a:pt x="286" y="3252"/>
                  </a:lnTo>
                  <a:lnTo>
                    <a:pt x="282" y="3246"/>
                  </a:lnTo>
                  <a:close/>
                  <a:moveTo>
                    <a:pt x="234" y="3130"/>
                  </a:moveTo>
                  <a:lnTo>
                    <a:pt x="234" y="3130"/>
                  </a:lnTo>
                  <a:lnTo>
                    <a:pt x="228" y="3130"/>
                  </a:lnTo>
                  <a:lnTo>
                    <a:pt x="226" y="3132"/>
                  </a:lnTo>
                  <a:lnTo>
                    <a:pt x="226" y="3134"/>
                  </a:lnTo>
                  <a:lnTo>
                    <a:pt x="228" y="3134"/>
                  </a:lnTo>
                  <a:lnTo>
                    <a:pt x="236" y="3132"/>
                  </a:lnTo>
                  <a:lnTo>
                    <a:pt x="240" y="3132"/>
                  </a:lnTo>
                  <a:lnTo>
                    <a:pt x="240" y="3130"/>
                  </a:lnTo>
                  <a:lnTo>
                    <a:pt x="238" y="3128"/>
                  </a:lnTo>
                  <a:lnTo>
                    <a:pt x="234" y="3130"/>
                  </a:lnTo>
                  <a:close/>
                  <a:moveTo>
                    <a:pt x="224" y="3120"/>
                  </a:moveTo>
                  <a:lnTo>
                    <a:pt x="224" y="3120"/>
                  </a:lnTo>
                  <a:lnTo>
                    <a:pt x="226" y="3124"/>
                  </a:lnTo>
                  <a:lnTo>
                    <a:pt x="228" y="3126"/>
                  </a:lnTo>
                  <a:lnTo>
                    <a:pt x="230" y="3128"/>
                  </a:lnTo>
                  <a:lnTo>
                    <a:pt x="236" y="3126"/>
                  </a:lnTo>
                  <a:lnTo>
                    <a:pt x="238" y="3124"/>
                  </a:lnTo>
                  <a:lnTo>
                    <a:pt x="236" y="3120"/>
                  </a:lnTo>
                  <a:lnTo>
                    <a:pt x="236" y="3116"/>
                  </a:lnTo>
                  <a:lnTo>
                    <a:pt x="234" y="3114"/>
                  </a:lnTo>
                  <a:lnTo>
                    <a:pt x="230" y="3116"/>
                  </a:lnTo>
                  <a:lnTo>
                    <a:pt x="228" y="3116"/>
                  </a:lnTo>
                  <a:lnTo>
                    <a:pt x="226" y="3116"/>
                  </a:lnTo>
                  <a:lnTo>
                    <a:pt x="224" y="3120"/>
                  </a:lnTo>
                  <a:close/>
                  <a:moveTo>
                    <a:pt x="232" y="3160"/>
                  </a:moveTo>
                  <a:lnTo>
                    <a:pt x="232" y="3160"/>
                  </a:lnTo>
                  <a:lnTo>
                    <a:pt x="234" y="3158"/>
                  </a:lnTo>
                  <a:lnTo>
                    <a:pt x="236" y="3156"/>
                  </a:lnTo>
                  <a:lnTo>
                    <a:pt x="238" y="3154"/>
                  </a:lnTo>
                  <a:lnTo>
                    <a:pt x="238" y="3152"/>
                  </a:lnTo>
                  <a:lnTo>
                    <a:pt x="236" y="3148"/>
                  </a:lnTo>
                  <a:lnTo>
                    <a:pt x="236" y="3150"/>
                  </a:lnTo>
                  <a:lnTo>
                    <a:pt x="234" y="3152"/>
                  </a:lnTo>
                  <a:lnTo>
                    <a:pt x="230" y="3154"/>
                  </a:lnTo>
                  <a:lnTo>
                    <a:pt x="228" y="3156"/>
                  </a:lnTo>
                  <a:lnTo>
                    <a:pt x="226" y="3158"/>
                  </a:lnTo>
                  <a:lnTo>
                    <a:pt x="226" y="3160"/>
                  </a:lnTo>
                  <a:lnTo>
                    <a:pt x="228" y="3162"/>
                  </a:lnTo>
                  <a:lnTo>
                    <a:pt x="232" y="3164"/>
                  </a:lnTo>
                  <a:lnTo>
                    <a:pt x="232" y="3160"/>
                  </a:lnTo>
                  <a:close/>
                  <a:moveTo>
                    <a:pt x="290" y="3322"/>
                  </a:moveTo>
                  <a:lnTo>
                    <a:pt x="290" y="3322"/>
                  </a:lnTo>
                  <a:lnTo>
                    <a:pt x="290" y="3324"/>
                  </a:lnTo>
                  <a:lnTo>
                    <a:pt x="292" y="3326"/>
                  </a:lnTo>
                  <a:lnTo>
                    <a:pt x="300" y="3334"/>
                  </a:lnTo>
                  <a:lnTo>
                    <a:pt x="304" y="3338"/>
                  </a:lnTo>
                  <a:lnTo>
                    <a:pt x="302" y="3332"/>
                  </a:lnTo>
                  <a:lnTo>
                    <a:pt x="296" y="3324"/>
                  </a:lnTo>
                  <a:lnTo>
                    <a:pt x="292" y="3322"/>
                  </a:lnTo>
                  <a:lnTo>
                    <a:pt x="290" y="3322"/>
                  </a:lnTo>
                  <a:close/>
                  <a:moveTo>
                    <a:pt x="246" y="3094"/>
                  </a:moveTo>
                  <a:lnTo>
                    <a:pt x="246" y="3094"/>
                  </a:lnTo>
                  <a:lnTo>
                    <a:pt x="244" y="3094"/>
                  </a:lnTo>
                  <a:lnTo>
                    <a:pt x="242" y="3094"/>
                  </a:lnTo>
                  <a:lnTo>
                    <a:pt x="242" y="3098"/>
                  </a:lnTo>
                  <a:lnTo>
                    <a:pt x="250" y="3112"/>
                  </a:lnTo>
                  <a:lnTo>
                    <a:pt x="252" y="3114"/>
                  </a:lnTo>
                  <a:lnTo>
                    <a:pt x="254" y="3112"/>
                  </a:lnTo>
                  <a:lnTo>
                    <a:pt x="256" y="3110"/>
                  </a:lnTo>
                  <a:lnTo>
                    <a:pt x="258" y="3110"/>
                  </a:lnTo>
                  <a:lnTo>
                    <a:pt x="258" y="3108"/>
                  </a:lnTo>
                  <a:lnTo>
                    <a:pt x="258" y="3102"/>
                  </a:lnTo>
                  <a:lnTo>
                    <a:pt x="258" y="3098"/>
                  </a:lnTo>
                  <a:lnTo>
                    <a:pt x="256" y="3096"/>
                  </a:lnTo>
                  <a:lnTo>
                    <a:pt x="246" y="3094"/>
                  </a:lnTo>
                  <a:close/>
                  <a:moveTo>
                    <a:pt x="294" y="3282"/>
                  </a:moveTo>
                  <a:lnTo>
                    <a:pt x="294" y="3282"/>
                  </a:lnTo>
                  <a:lnTo>
                    <a:pt x="294" y="3280"/>
                  </a:lnTo>
                  <a:lnTo>
                    <a:pt x="290" y="3278"/>
                  </a:lnTo>
                  <a:lnTo>
                    <a:pt x="288" y="3280"/>
                  </a:lnTo>
                  <a:lnTo>
                    <a:pt x="288" y="3284"/>
                  </a:lnTo>
                  <a:lnTo>
                    <a:pt x="290" y="3286"/>
                  </a:lnTo>
                  <a:lnTo>
                    <a:pt x="292" y="3286"/>
                  </a:lnTo>
                  <a:lnTo>
                    <a:pt x="294" y="3284"/>
                  </a:lnTo>
                  <a:lnTo>
                    <a:pt x="294" y="3282"/>
                  </a:lnTo>
                  <a:close/>
                  <a:moveTo>
                    <a:pt x="284" y="3284"/>
                  </a:moveTo>
                  <a:lnTo>
                    <a:pt x="284" y="3284"/>
                  </a:lnTo>
                  <a:lnTo>
                    <a:pt x="282" y="3284"/>
                  </a:lnTo>
                  <a:lnTo>
                    <a:pt x="282" y="3286"/>
                  </a:lnTo>
                  <a:lnTo>
                    <a:pt x="282" y="3288"/>
                  </a:lnTo>
                  <a:lnTo>
                    <a:pt x="286" y="3292"/>
                  </a:lnTo>
                  <a:lnTo>
                    <a:pt x="286" y="3288"/>
                  </a:lnTo>
                  <a:lnTo>
                    <a:pt x="286" y="3286"/>
                  </a:lnTo>
                  <a:lnTo>
                    <a:pt x="284" y="3284"/>
                  </a:lnTo>
                  <a:close/>
                  <a:moveTo>
                    <a:pt x="294" y="3312"/>
                  </a:moveTo>
                  <a:lnTo>
                    <a:pt x="294" y="3312"/>
                  </a:lnTo>
                  <a:lnTo>
                    <a:pt x="294" y="3310"/>
                  </a:lnTo>
                  <a:lnTo>
                    <a:pt x="294" y="3306"/>
                  </a:lnTo>
                  <a:lnTo>
                    <a:pt x="290" y="3298"/>
                  </a:lnTo>
                  <a:lnTo>
                    <a:pt x="288" y="3296"/>
                  </a:lnTo>
                  <a:lnTo>
                    <a:pt x="288" y="3298"/>
                  </a:lnTo>
                  <a:lnTo>
                    <a:pt x="288" y="3302"/>
                  </a:lnTo>
                  <a:lnTo>
                    <a:pt x="286" y="3306"/>
                  </a:lnTo>
                  <a:lnTo>
                    <a:pt x="284" y="3308"/>
                  </a:lnTo>
                  <a:lnTo>
                    <a:pt x="286" y="3312"/>
                  </a:lnTo>
                  <a:lnTo>
                    <a:pt x="290" y="3314"/>
                  </a:lnTo>
                  <a:lnTo>
                    <a:pt x="294" y="3312"/>
                  </a:lnTo>
                  <a:close/>
                  <a:moveTo>
                    <a:pt x="240" y="3200"/>
                  </a:moveTo>
                  <a:lnTo>
                    <a:pt x="240" y="3200"/>
                  </a:lnTo>
                  <a:lnTo>
                    <a:pt x="242" y="3200"/>
                  </a:lnTo>
                  <a:lnTo>
                    <a:pt x="242" y="3192"/>
                  </a:lnTo>
                  <a:lnTo>
                    <a:pt x="238" y="3184"/>
                  </a:lnTo>
                  <a:lnTo>
                    <a:pt x="236" y="3184"/>
                  </a:lnTo>
                  <a:lnTo>
                    <a:pt x="234" y="3184"/>
                  </a:lnTo>
                  <a:lnTo>
                    <a:pt x="230" y="3184"/>
                  </a:lnTo>
                  <a:lnTo>
                    <a:pt x="230" y="3186"/>
                  </a:lnTo>
                  <a:lnTo>
                    <a:pt x="230" y="3196"/>
                  </a:lnTo>
                  <a:lnTo>
                    <a:pt x="236" y="3194"/>
                  </a:lnTo>
                  <a:lnTo>
                    <a:pt x="238" y="3192"/>
                  </a:lnTo>
                  <a:lnTo>
                    <a:pt x="238" y="3194"/>
                  </a:lnTo>
                  <a:lnTo>
                    <a:pt x="238" y="3198"/>
                  </a:lnTo>
                  <a:lnTo>
                    <a:pt x="240" y="3200"/>
                  </a:lnTo>
                  <a:close/>
                  <a:moveTo>
                    <a:pt x="236" y="3146"/>
                  </a:moveTo>
                  <a:lnTo>
                    <a:pt x="236" y="3146"/>
                  </a:lnTo>
                  <a:lnTo>
                    <a:pt x="238" y="3146"/>
                  </a:lnTo>
                  <a:lnTo>
                    <a:pt x="240" y="3148"/>
                  </a:lnTo>
                  <a:lnTo>
                    <a:pt x="242" y="3148"/>
                  </a:lnTo>
                  <a:lnTo>
                    <a:pt x="242" y="3146"/>
                  </a:lnTo>
                  <a:lnTo>
                    <a:pt x="240" y="3142"/>
                  </a:lnTo>
                  <a:lnTo>
                    <a:pt x="236" y="3138"/>
                  </a:lnTo>
                  <a:lnTo>
                    <a:pt x="232" y="3138"/>
                  </a:lnTo>
                  <a:lnTo>
                    <a:pt x="228" y="3138"/>
                  </a:lnTo>
                  <a:lnTo>
                    <a:pt x="224" y="3140"/>
                  </a:lnTo>
                  <a:lnTo>
                    <a:pt x="224" y="3144"/>
                  </a:lnTo>
                  <a:lnTo>
                    <a:pt x="226" y="3146"/>
                  </a:lnTo>
                  <a:lnTo>
                    <a:pt x="230" y="3146"/>
                  </a:lnTo>
                  <a:lnTo>
                    <a:pt x="236" y="3146"/>
                  </a:lnTo>
                  <a:close/>
                  <a:moveTo>
                    <a:pt x="292" y="2928"/>
                  </a:moveTo>
                  <a:lnTo>
                    <a:pt x="292" y="2928"/>
                  </a:lnTo>
                  <a:lnTo>
                    <a:pt x="294" y="2930"/>
                  </a:lnTo>
                  <a:lnTo>
                    <a:pt x="296" y="2930"/>
                  </a:lnTo>
                  <a:lnTo>
                    <a:pt x="298" y="2930"/>
                  </a:lnTo>
                  <a:lnTo>
                    <a:pt x="302" y="2930"/>
                  </a:lnTo>
                  <a:lnTo>
                    <a:pt x="304" y="2930"/>
                  </a:lnTo>
                  <a:lnTo>
                    <a:pt x="306" y="2928"/>
                  </a:lnTo>
                  <a:lnTo>
                    <a:pt x="302" y="2918"/>
                  </a:lnTo>
                  <a:lnTo>
                    <a:pt x="300" y="2916"/>
                  </a:lnTo>
                  <a:lnTo>
                    <a:pt x="298" y="2916"/>
                  </a:lnTo>
                  <a:lnTo>
                    <a:pt x="294" y="2918"/>
                  </a:lnTo>
                  <a:lnTo>
                    <a:pt x="290" y="2918"/>
                  </a:lnTo>
                  <a:lnTo>
                    <a:pt x="286" y="2918"/>
                  </a:lnTo>
                  <a:lnTo>
                    <a:pt x="284" y="2920"/>
                  </a:lnTo>
                  <a:lnTo>
                    <a:pt x="284" y="2922"/>
                  </a:lnTo>
                  <a:lnTo>
                    <a:pt x="288" y="2924"/>
                  </a:lnTo>
                  <a:lnTo>
                    <a:pt x="290" y="2924"/>
                  </a:lnTo>
                  <a:lnTo>
                    <a:pt x="292" y="2928"/>
                  </a:lnTo>
                  <a:close/>
                  <a:moveTo>
                    <a:pt x="294" y="2944"/>
                  </a:moveTo>
                  <a:lnTo>
                    <a:pt x="294" y="2944"/>
                  </a:lnTo>
                  <a:lnTo>
                    <a:pt x="296" y="2944"/>
                  </a:lnTo>
                  <a:lnTo>
                    <a:pt x="298" y="2942"/>
                  </a:lnTo>
                  <a:lnTo>
                    <a:pt x="300" y="2940"/>
                  </a:lnTo>
                  <a:lnTo>
                    <a:pt x="298" y="2940"/>
                  </a:lnTo>
                  <a:lnTo>
                    <a:pt x="292" y="2940"/>
                  </a:lnTo>
                  <a:lnTo>
                    <a:pt x="290" y="2940"/>
                  </a:lnTo>
                  <a:lnTo>
                    <a:pt x="290" y="2942"/>
                  </a:lnTo>
                  <a:lnTo>
                    <a:pt x="288" y="2944"/>
                  </a:lnTo>
                  <a:lnTo>
                    <a:pt x="290" y="2944"/>
                  </a:lnTo>
                  <a:lnTo>
                    <a:pt x="294" y="2944"/>
                  </a:lnTo>
                  <a:close/>
                  <a:moveTo>
                    <a:pt x="278" y="2914"/>
                  </a:moveTo>
                  <a:lnTo>
                    <a:pt x="278" y="2914"/>
                  </a:lnTo>
                  <a:lnTo>
                    <a:pt x="278" y="2916"/>
                  </a:lnTo>
                  <a:lnTo>
                    <a:pt x="282" y="2916"/>
                  </a:lnTo>
                  <a:lnTo>
                    <a:pt x="286" y="2914"/>
                  </a:lnTo>
                  <a:lnTo>
                    <a:pt x="292" y="2914"/>
                  </a:lnTo>
                  <a:lnTo>
                    <a:pt x="294" y="2914"/>
                  </a:lnTo>
                  <a:lnTo>
                    <a:pt x="294" y="2912"/>
                  </a:lnTo>
                  <a:lnTo>
                    <a:pt x="288" y="2908"/>
                  </a:lnTo>
                  <a:lnTo>
                    <a:pt x="286" y="2908"/>
                  </a:lnTo>
                  <a:lnTo>
                    <a:pt x="282" y="2908"/>
                  </a:lnTo>
                  <a:lnTo>
                    <a:pt x="278" y="2914"/>
                  </a:lnTo>
                  <a:close/>
                  <a:moveTo>
                    <a:pt x="276" y="2888"/>
                  </a:moveTo>
                  <a:lnTo>
                    <a:pt x="276" y="2888"/>
                  </a:lnTo>
                  <a:lnTo>
                    <a:pt x="280" y="2886"/>
                  </a:lnTo>
                  <a:lnTo>
                    <a:pt x="282" y="2884"/>
                  </a:lnTo>
                  <a:lnTo>
                    <a:pt x="282" y="2882"/>
                  </a:lnTo>
                  <a:lnTo>
                    <a:pt x="282" y="2880"/>
                  </a:lnTo>
                  <a:lnTo>
                    <a:pt x="278" y="2880"/>
                  </a:lnTo>
                  <a:lnTo>
                    <a:pt x="272" y="2884"/>
                  </a:lnTo>
                  <a:lnTo>
                    <a:pt x="270" y="2884"/>
                  </a:lnTo>
                  <a:lnTo>
                    <a:pt x="270" y="2886"/>
                  </a:lnTo>
                  <a:lnTo>
                    <a:pt x="272" y="2888"/>
                  </a:lnTo>
                  <a:lnTo>
                    <a:pt x="276" y="2888"/>
                  </a:lnTo>
                  <a:close/>
                  <a:moveTo>
                    <a:pt x="282" y="2902"/>
                  </a:moveTo>
                  <a:lnTo>
                    <a:pt x="282" y="2902"/>
                  </a:lnTo>
                  <a:lnTo>
                    <a:pt x="284" y="2902"/>
                  </a:lnTo>
                  <a:lnTo>
                    <a:pt x="290" y="2900"/>
                  </a:lnTo>
                  <a:lnTo>
                    <a:pt x="296" y="2898"/>
                  </a:lnTo>
                  <a:lnTo>
                    <a:pt x="296" y="2896"/>
                  </a:lnTo>
                  <a:lnTo>
                    <a:pt x="294" y="2894"/>
                  </a:lnTo>
                  <a:lnTo>
                    <a:pt x="292" y="2894"/>
                  </a:lnTo>
                  <a:lnTo>
                    <a:pt x="282" y="2894"/>
                  </a:lnTo>
                  <a:lnTo>
                    <a:pt x="276" y="2894"/>
                  </a:lnTo>
                  <a:lnTo>
                    <a:pt x="276" y="2896"/>
                  </a:lnTo>
                  <a:lnTo>
                    <a:pt x="278" y="2900"/>
                  </a:lnTo>
                  <a:lnTo>
                    <a:pt x="282" y="2902"/>
                  </a:lnTo>
                  <a:close/>
                  <a:moveTo>
                    <a:pt x="296" y="2950"/>
                  </a:moveTo>
                  <a:lnTo>
                    <a:pt x="296" y="2950"/>
                  </a:lnTo>
                  <a:lnTo>
                    <a:pt x="294" y="2948"/>
                  </a:lnTo>
                  <a:lnTo>
                    <a:pt x="290" y="2950"/>
                  </a:lnTo>
                  <a:lnTo>
                    <a:pt x="290" y="2952"/>
                  </a:lnTo>
                  <a:lnTo>
                    <a:pt x="290" y="2954"/>
                  </a:lnTo>
                  <a:lnTo>
                    <a:pt x="292" y="2956"/>
                  </a:lnTo>
                  <a:lnTo>
                    <a:pt x="294" y="2954"/>
                  </a:lnTo>
                  <a:lnTo>
                    <a:pt x="296" y="2952"/>
                  </a:lnTo>
                  <a:lnTo>
                    <a:pt x="296" y="2950"/>
                  </a:lnTo>
                  <a:close/>
                  <a:moveTo>
                    <a:pt x="302" y="2888"/>
                  </a:moveTo>
                  <a:lnTo>
                    <a:pt x="302" y="2888"/>
                  </a:lnTo>
                  <a:lnTo>
                    <a:pt x="300" y="2890"/>
                  </a:lnTo>
                  <a:lnTo>
                    <a:pt x="300" y="2892"/>
                  </a:lnTo>
                  <a:lnTo>
                    <a:pt x="302" y="2898"/>
                  </a:lnTo>
                  <a:lnTo>
                    <a:pt x="304" y="2900"/>
                  </a:lnTo>
                  <a:lnTo>
                    <a:pt x="308" y="2898"/>
                  </a:lnTo>
                  <a:lnTo>
                    <a:pt x="310" y="2896"/>
                  </a:lnTo>
                  <a:lnTo>
                    <a:pt x="308" y="2894"/>
                  </a:lnTo>
                  <a:lnTo>
                    <a:pt x="306" y="2890"/>
                  </a:lnTo>
                  <a:lnTo>
                    <a:pt x="302" y="2888"/>
                  </a:lnTo>
                  <a:close/>
                  <a:moveTo>
                    <a:pt x="304" y="2856"/>
                  </a:moveTo>
                  <a:lnTo>
                    <a:pt x="304" y="2856"/>
                  </a:lnTo>
                  <a:lnTo>
                    <a:pt x="304" y="2858"/>
                  </a:lnTo>
                  <a:lnTo>
                    <a:pt x="304" y="2862"/>
                  </a:lnTo>
                  <a:lnTo>
                    <a:pt x="306" y="2864"/>
                  </a:lnTo>
                  <a:lnTo>
                    <a:pt x="308" y="2864"/>
                  </a:lnTo>
                  <a:lnTo>
                    <a:pt x="310" y="2862"/>
                  </a:lnTo>
                  <a:lnTo>
                    <a:pt x="308" y="2860"/>
                  </a:lnTo>
                  <a:lnTo>
                    <a:pt x="306" y="2856"/>
                  </a:lnTo>
                  <a:lnTo>
                    <a:pt x="304" y="2856"/>
                  </a:lnTo>
                  <a:close/>
                  <a:moveTo>
                    <a:pt x="300" y="2968"/>
                  </a:moveTo>
                  <a:lnTo>
                    <a:pt x="300" y="2968"/>
                  </a:lnTo>
                  <a:lnTo>
                    <a:pt x="304" y="2964"/>
                  </a:lnTo>
                  <a:lnTo>
                    <a:pt x="304" y="2962"/>
                  </a:lnTo>
                  <a:lnTo>
                    <a:pt x="304" y="2960"/>
                  </a:lnTo>
                  <a:lnTo>
                    <a:pt x="300" y="2962"/>
                  </a:lnTo>
                  <a:lnTo>
                    <a:pt x="298" y="2964"/>
                  </a:lnTo>
                  <a:lnTo>
                    <a:pt x="296" y="2968"/>
                  </a:lnTo>
                  <a:lnTo>
                    <a:pt x="296" y="2970"/>
                  </a:lnTo>
                  <a:lnTo>
                    <a:pt x="300" y="2968"/>
                  </a:lnTo>
                  <a:close/>
                  <a:moveTo>
                    <a:pt x="290" y="2888"/>
                  </a:moveTo>
                  <a:lnTo>
                    <a:pt x="290" y="2888"/>
                  </a:lnTo>
                  <a:lnTo>
                    <a:pt x="294" y="2888"/>
                  </a:lnTo>
                  <a:lnTo>
                    <a:pt x="294" y="2886"/>
                  </a:lnTo>
                  <a:lnTo>
                    <a:pt x="292" y="2884"/>
                  </a:lnTo>
                  <a:lnTo>
                    <a:pt x="290" y="2884"/>
                  </a:lnTo>
                  <a:lnTo>
                    <a:pt x="282" y="2888"/>
                  </a:lnTo>
                  <a:lnTo>
                    <a:pt x="280" y="2888"/>
                  </a:lnTo>
                  <a:lnTo>
                    <a:pt x="282" y="2890"/>
                  </a:lnTo>
                  <a:lnTo>
                    <a:pt x="290" y="2888"/>
                  </a:lnTo>
                  <a:close/>
                  <a:moveTo>
                    <a:pt x="250" y="2970"/>
                  </a:moveTo>
                  <a:lnTo>
                    <a:pt x="250" y="2970"/>
                  </a:lnTo>
                  <a:lnTo>
                    <a:pt x="250" y="2972"/>
                  </a:lnTo>
                  <a:lnTo>
                    <a:pt x="248" y="2974"/>
                  </a:lnTo>
                  <a:lnTo>
                    <a:pt x="248" y="2978"/>
                  </a:lnTo>
                  <a:lnTo>
                    <a:pt x="252" y="2980"/>
                  </a:lnTo>
                  <a:lnTo>
                    <a:pt x="254" y="2980"/>
                  </a:lnTo>
                  <a:lnTo>
                    <a:pt x="260" y="2974"/>
                  </a:lnTo>
                  <a:lnTo>
                    <a:pt x="262" y="2972"/>
                  </a:lnTo>
                  <a:lnTo>
                    <a:pt x="262" y="2968"/>
                  </a:lnTo>
                  <a:lnTo>
                    <a:pt x="262" y="2964"/>
                  </a:lnTo>
                  <a:lnTo>
                    <a:pt x="260" y="2962"/>
                  </a:lnTo>
                  <a:lnTo>
                    <a:pt x="256" y="2962"/>
                  </a:lnTo>
                  <a:lnTo>
                    <a:pt x="250" y="2966"/>
                  </a:lnTo>
                  <a:lnTo>
                    <a:pt x="248" y="2966"/>
                  </a:lnTo>
                  <a:lnTo>
                    <a:pt x="250" y="2970"/>
                  </a:lnTo>
                  <a:close/>
                  <a:moveTo>
                    <a:pt x="540" y="3562"/>
                  </a:moveTo>
                  <a:lnTo>
                    <a:pt x="540" y="3562"/>
                  </a:lnTo>
                  <a:lnTo>
                    <a:pt x="544" y="3562"/>
                  </a:lnTo>
                  <a:lnTo>
                    <a:pt x="548" y="3562"/>
                  </a:lnTo>
                  <a:lnTo>
                    <a:pt x="554" y="3560"/>
                  </a:lnTo>
                  <a:lnTo>
                    <a:pt x="554" y="3558"/>
                  </a:lnTo>
                  <a:lnTo>
                    <a:pt x="552" y="3558"/>
                  </a:lnTo>
                  <a:lnTo>
                    <a:pt x="546" y="3558"/>
                  </a:lnTo>
                  <a:lnTo>
                    <a:pt x="542" y="3560"/>
                  </a:lnTo>
                  <a:lnTo>
                    <a:pt x="540" y="3562"/>
                  </a:lnTo>
                  <a:close/>
                  <a:moveTo>
                    <a:pt x="560" y="3548"/>
                  </a:moveTo>
                  <a:lnTo>
                    <a:pt x="560" y="3548"/>
                  </a:lnTo>
                  <a:lnTo>
                    <a:pt x="558" y="3550"/>
                  </a:lnTo>
                  <a:lnTo>
                    <a:pt x="556" y="3548"/>
                  </a:lnTo>
                  <a:lnTo>
                    <a:pt x="554" y="3550"/>
                  </a:lnTo>
                  <a:lnTo>
                    <a:pt x="552" y="3552"/>
                  </a:lnTo>
                  <a:lnTo>
                    <a:pt x="554" y="3554"/>
                  </a:lnTo>
                  <a:lnTo>
                    <a:pt x="560" y="3556"/>
                  </a:lnTo>
                  <a:lnTo>
                    <a:pt x="562" y="3556"/>
                  </a:lnTo>
                  <a:lnTo>
                    <a:pt x="564" y="3556"/>
                  </a:lnTo>
                  <a:lnTo>
                    <a:pt x="562" y="3548"/>
                  </a:lnTo>
                  <a:lnTo>
                    <a:pt x="560" y="3544"/>
                  </a:lnTo>
                  <a:lnTo>
                    <a:pt x="560" y="3546"/>
                  </a:lnTo>
                  <a:lnTo>
                    <a:pt x="560" y="3548"/>
                  </a:lnTo>
                  <a:close/>
                  <a:moveTo>
                    <a:pt x="556" y="3506"/>
                  </a:moveTo>
                  <a:lnTo>
                    <a:pt x="556" y="3506"/>
                  </a:lnTo>
                  <a:lnTo>
                    <a:pt x="530" y="3504"/>
                  </a:lnTo>
                  <a:lnTo>
                    <a:pt x="522" y="3504"/>
                  </a:lnTo>
                  <a:lnTo>
                    <a:pt x="522" y="3506"/>
                  </a:lnTo>
                  <a:lnTo>
                    <a:pt x="526" y="3508"/>
                  </a:lnTo>
                  <a:lnTo>
                    <a:pt x="528" y="3510"/>
                  </a:lnTo>
                  <a:lnTo>
                    <a:pt x="528" y="3512"/>
                  </a:lnTo>
                  <a:lnTo>
                    <a:pt x="528" y="3516"/>
                  </a:lnTo>
                  <a:lnTo>
                    <a:pt x="530" y="3522"/>
                  </a:lnTo>
                  <a:lnTo>
                    <a:pt x="532" y="3524"/>
                  </a:lnTo>
                  <a:lnTo>
                    <a:pt x="536" y="3524"/>
                  </a:lnTo>
                  <a:lnTo>
                    <a:pt x="546" y="3524"/>
                  </a:lnTo>
                  <a:lnTo>
                    <a:pt x="550" y="3524"/>
                  </a:lnTo>
                  <a:lnTo>
                    <a:pt x="550" y="3522"/>
                  </a:lnTo>
                  <a:lnTo>
                    <a:pt x="550" y="3520"/>
                  </a:lnTo>
                  <a:lnTo>
                    <a:pt x="554" y="3518"/>
                  </a:lnTo>
                  <a:lnTo>
                    <a:pt x="556" y="3520"/>
                  </a:lnTo>
                  <a:lnTo>
                    <a:pt x="558" y="3524"/>
                  </a:lnTo>
                  <a:lnTo>
                    <a:pt x="558" y="3526"/>
                  </a:lnTo>
                  <a:lnTo>
                    <a:pt x="562" y="3528"/>
                  </a:lnTo>
                  <a:lnTo>
                    <a:pt x="566" y="3526"/>
                  </a:lnTo>
                  <a:lnTo>
                    <a:pt x="568" y="3524"/>
                  </a:lnTo>
                  <a:lnTo>
                    <a:pt x="572" y="3514"/>
                  </a:lnTo>
                  <a:lnTo>
                    <a:pt x="572" y="3512"/>
                  </a:lnTo>
                  <a:lnTo>
                    <a:pt x="572" y="3508"/>
                  </a:lnTo>
                  <a:lnTo>
                    <a:pt x="568" y="3506"/>
                  </a:lnTo>
                  <a:lnTo>
                    <a:pt x="562" y="3506"/>
                  </a:lnTo>
                  <a:lnTo>
                    <a:pt x="556" y="3506"/>
                  </a:lnTo>
                  <a:close/>
                  <a:moveTo>
                    <a:pt x="522" y="3532"/>
                  </a:moveTo>
                  <a:lnTo>
                    <a:pt x="522" y="3532"/>
                  </a:lnTo>
                  <a:lnTo>
                    <a:pt x="516" y="3528"/>
                  </a:lnTo>
                  <a:lnTo>
                    <a:pt x="520" y="3528"/>
                  </a:lnTo>
                  <a:lnTo>
                    <a:pt x="524" y="3526"/>
                  </a:lnTo>
                  <a:lnTo>
                    <a:pt x="524" y="3524"/>
                  </a:lnTo>
                  <a:lnTo>
                    <a:pt x="518" y="3520"/>
                  </a:lnTo>
                  <a:lnTo>
                    <a:pt x="510" y="3520"/>
                  </a:lnTo>
                  <a:lnTo>
                    <a:pt x="506" y="3520"/>
                  </a:lnTo>
                  <a:lnTo>
                    <a:pt x="506" y="3518"/>
                  </a:lnTo>
                  <a:lnTo>
                    <a:pt x="514" y="3516"/>
                  </a:lnTo>
                  <a:lnTo>
                    <a:pt x="520" y="3514"/>
                  </a:lnTo>
                  <a:lnTo>
                    <a:pt x="520" y="3512"/>
                  </a:lnTo>
                  <a:lnTo>
                    <a:pt x="520" y="3510"/>
                  </a:lnTo>
                  <a:lnTo>
                    <a:pt x="518" y="3508"/>
                  </a:lnTo>
                  <a:lnTo>
                    <a:pt x="512" y="3506"/>
                  </a:lnTo>
                  <a:lnTo>
                    <a:pt x="504" y="3506"/>
                  </a:lnTo>
                  <a:lnTo>
                    <a:pt x="498" y="3508"/>
                  </a:lnTo>
                  <a:lnTo>
                    <a:pt x="490" y="3508"/>
                  </a:lnTo>
                  <a:lnTo>
                    <a:pt x="486" y="3508"/>
                  </a:lnTo>
                  <a:lnTo>
                    <a:pt x="478" y="3510"/>
                  </a:lnTo>
                  <a:lnTo>
                    <a:pt x="462" y="3514"/>
                  </a:lnTo>
                  <a:lnTo>
                    <a:pt x="454" y="3516"/>
                  </a:lnTo>
                  <a:lnTo>
                    <a:pt x="454" y="3518"/>
                  </a:lnTo>
                  <a:lnTo>
                    <a:pt x="464" y="3524"/>
                  </a:lnTo>
                  <a:lnTo>
                    <a:pt x="466" y="3526"/>
                  </a:lnTo>
                  <a:lnTo>
                    <a:pt x="462" y="3528"/>
                  </a:lnTo>
                  <a:lnTo>
                    <a:pt x="470" y="3532"/>
                  </a:lnTo>
                  <a:lnTo>
                    <a:pt x="476" y="3534"/>
                  </a:lnTo>
                  <a:lnTo>
                    <a:pt x="480" y="3536"/>
                  </a:lnTo>
                  <a:lnTo>
                    <a:pt x="486" y="3540"/>
                  </a:lnTo>
                  <a:lnTo>
                    <a:pt x="490" y="3540"/>
                  </a:lnTo>
                  <a:lnTo>
                    <a:pt x="490" y="3538"/>
                  </a:lnTo>
                  <a:lnTo>
                    <a:pt x="482" y="3530"/>
                  </a:lnTo>
                  <a:lnTo>
                    <a:pt x="480" y="3526"/>
                  </a:lnTo>
                  <a:lnTo>
                    <a:pt x="482" y="3524"/>
                  </a:lnTo>
                  <a:lnTo>
                    <a:pt x="486" y="3524"/>
                  </a:lnTo>
                  <a:lnTo>
                    <a:pt x="490" y="3524"/>
                  </a:lnTo>
                  <a:lnTo>
                    <a:pt x="494" y="3524"/>
                  </a:lnTo>
                  <a:lnTo>
                    <a:pt x="498" y="3524"/>
                  </a:lnTo>
                  <a:lnTo>
                    <a:pt x="500" y="3524"/>
                  </a:lnTo>
                  <a:lnTo>
                    <a:pt x="496" y="3532"/>
                  </a:lnTo>
                  <a:lnTo>
                    <a:pt x="496" y="3536"/>
                  </a:lnTo>
                  <a:lnTo>
                    <a:pt x="500" y="3540"/>
                  </a:lnTo>
                  <a:lnTo>
                    <a:pt x="502" y="3540"/>
                  </a:lnTo>
                  <a:lnTo>
                    <a:pt x="506" y="3538"/>
                  </a:lnTo>
                  <a:lnTo>
                    <a:pt x="510" y="3536"/>
                  </a:lnTo>
                  <a:lnTo>
                    <a:pt x="512" y="3538"/>
                  </a:lnTo>
                  <a:lnTo>
                    <a:pt x="514" y="3540"/>
                  </a:lnTo>
                  <a:lnTo>
                    <a:pt x="518" y="3540"/>
                  </a:lnTo>
                  <a:lnTo>
                    <a:pt x="522" y="3542"/>
                  </a:lnTo>
                  <a:lnTo>
                    <a:pt x="522" y="3544"/>
                  </a:lnTo>
                  <a:lnTo>
                    <a:pt x="524" y="3548"/>
                  </a:lnTo>
                  <a:lnTo>
                    <a:pt x="526" y="3548"/>
                  </a:lnTo>
                  <a:lnTo>
                    <a:pt x="528" y="3550"/>
                  </a:lnTo>
                  <a:lnTo>
                    <a:pt x="532" y="3554"/>
                  </a:lnTo>
                  <a:lnTo>
                    <a:pt x="534" y="3552"/>
                  </a:lnTo>
                  <a:lnTo>
                    <a:pt x="534" y="3548"/>
                  </a:lnTo>
                  <a:lnTo>
                    <a:pt x="534" y="3544"/>
                  </a:lnTo>
                  <a:lnTo>
                    <a:pt x="532" y="3542"/>
                  </a:lnTo>
                  <a:lnTo>
                    <a:pt x="532" y="3538"/>
                  </a:lnTo>
                  <a:lnTo>
                    <a:pt x="530" y="3536"/>
                  </a:lnTo>
                  <a:lnTo>
                    <a:pt x="522" y="3532"/>
                  </a:lnTo>
                  <a:close/>
                  <a:moveTo>
                    <a:pt x="476" y="3508"/>
                  </a:moveTo>
                  <a:lnTo>
                    <a:pt x="476" y="3508"/>
                  </a:lnTo>
                  <a:lnTo>
                    <a:pt x="484" y="3506"/>
                  </a:lnTo>
                  <a:lnTo>
                    <a:pt x="484" y="3504"/>
                  </a:lnTo>
                  <a:lnTo>
                    <a:pt x="472" y="3502"/>
                  </a:lnTo>
                  <a:lnTo>
                    <a:pt x="464" y="3502"/>
                  </a:lnTo>
                  <a:lnTo>
                    <a:pt x="458" y="3502"/>
                  </a:lnTo>
                  <a:lnTo>
                    <a:pt x="450" y="3506"/>
                  </a:lnTo>
                  <a:lnTo>
                    <a:pt x="448" y="3508"/>
                  </a:lnTo>
                  <a:lnTo>
                    <a:pt x="456" y="3510"/>
                  </a:lnTo>
                  <a:lnTo>
                    <a:pt x="462" y="3510"/>
                  </a:lnTo>
                  <a:lnTo>
                    <a:pt x="476" y="3508"/>
                  </a:lnTo>
                  <a:close/>
                  <a:moveTo>
                    <a:pt x="572" y="3528"/>
                  </a:moveTo>
                  <a:lnTo>
                    <a:pt x="572" y="3528"/>
                  </a:lnTo>
                  <a:lnTo>
                    <a:pt x="574" y="3530"/>
                  </a:lnTo>
                  <a:lnTo>
                    <a:pt x="578" y="3530"/>
                  </a:lnTo>
                  <a:lnTo>
                    <a:pt x="580" y="3528"/>
                  </a:lnTo>
                  <a:lnTo>
                    <a:pt x="582" y="3524"/>
                  </a:lnTo>
                  <a:lnTo>
                    <a:pt x="580" y="3522"/>
                  </a:lnTo>
                  <a:lnTo>
                    <a:pt x="578" y="3522"/>
                  </a:lnTo>
                  <a:lnTo>
                    <a:pt x="574" y="3524"/>
                  </a:lnTo>
                  <a:lnTo>
                    <a:pt x="572" y="3528"/>
                  </a:lnTo>
                  <a:close/>
                  <a:moveTo>
                    <a:pt x="636" y="3486"/>
                  </a:moveTo>
                  <a:lnTo>
                    <a:pt x="636" y="3486"/>
                  </a:lnTo>
                  <a:lnTo>
                    <a:pt x="628" y="3488"/>
                  </a:lnTo>
                  <a:lnTo>
                    <a:pt x="622" y="3486"/>
                  </a:lnTo>
                  <a:lnTo>
                    <a:pt x="616" y="3484"/>
                  </a:lnTo>
                  <a:lnTo>
                    <a:pt x="610" y="3482"/>
                  </a:lnTo>
                  <a:lnTo>
                    <a:pt x="602" y="3478"/>
                  </a:lnTo>
                  <a:lnTo>
                    <a:pt x="594" y="3470"/>
                  </a:lnTo>
                  <a:lnTo>
                    <a:pt x="584" y="3462"/>
                  </a:lnTo>
                  <a:lnTo>
                    <a:pt x="574" y="3456"/>
                  </a:lnTo>
                  <a:lnTo>
                    <a:pt x="562" y="3448"/>
                  </a:lnTo>
                  <a:lnTo>
                    <a:pt x="548" y="3436"/>
                  </a:lnTo>
                  <a:lnTo>
                    <a:pt x="538" y="3424"/>
                  </a:lnTo>
                  <a:lnTo>
                    <a:pt x="532" y="3414"/>
                  </a:lnTo>
                  <a:lnTo>
                    <a:pt x="530" y="3404"/>
                  </a:lnTo>
                  <a:lnTo>
                    <a:pt x="528" y="3404"/>
                  </a:lnTo>
                  <a:lnTo>
                    <a:pt x="522" y="3402"/>
                  </a:lnTo>
                  <a:lnTo>
                    <a:pt x="516" y="3402"/>
                  </a:lnTo>
                  <a:lnTo>
                    <a:pt x="514" y="3400"/>
                  </a:lnTo>
                  <a:lnTo>
                    <a:pt x="512" y="3396"/>
                  </a:lnTo>
                  <a:lnTo>
                    <a:pt x="516" y="3390"/>
                  </a:lnTo>
                  <a:lnTo>
                    <a:pt x="520" y="3386"/>
                  </a:lnTo>
                  <a:lnTo>
                    <a:pt x="522" y="3386"/>
                  </a:lnTo>
                  <a:lnTo>
                    <a:pt x="524" y="3390"/>
                  </a:lnTo>
                  <a:lnTo>
                    <a:pt x="524" y="3392"/>
                  </a:lnTo>
                  <a:lnTo>
                    <a:pt x="526" y="3394"/>
                  </a:lnTo>
                  <a:lnTo>
                    <a:pt x="528" y="3392"/>
                  </a:lnTo>
                  <a:lnTo>
                    <a:pt x="528" y="3388"/>
                  </a:lnTo>
                  <a:lnTo>
                    <a:pt x="524" y="3380"/>
                  </a:lnTo>
                  <a:lnTo>
                    <a:pt x="510" y="3364"/>
                  </a:lnTo>
                  <a:lnTo>
                    <a:pt x="510" y="3502"/>
                  </a:lnTo>
                  <a:lnTo>
                    <a:pt x="518" y="3498"/>
                  </a:lnTo>
                  <a:lnTo>
                    <a:pt x="520" y="3496"/>
                  </a:lnTo>
                  <a:lnTo>
                    <a:pt x="522" y="3496"/>
                  </a:lnTo>
                  <a:lnTo>
                    <a:pt x="530" y="3498"/>
                  </a:lnTo>
                  <a:lnTo>
                    <a:pt x="544" y="3500"/>
                  </a:lnTo>
                  <a:lnTo>
                    <a:pt x="560" y="3502"/>
                  </a:lnTo>
                  <a:lnTo>
                    <a:pt x="576" y="3504"/>
                  </a:lnTo>
                  <a:lnTo>
                    <a:pt x="584" y="3506"/>
                  </a:lnTo>
                  <a:lnTo>
                    <a:pt x="588" y="3508"/>
                  </a:lnTo>
                  <a:lnTo>
                    <a:pt x="596" y="3512"/>
                  </a:lnTo>
                  <a:lnTo>
                    <a:pt x="598" y="3510"/>
                  </a:lnTo>
                  <a:lnTo>
                    <a:pt x="602" y="3508"/>
                  </a:lnTo>
                  <a:lnTo>
                    <a:pt x="606" y="3506"/>
                  </a:lnTo>
                  <a:lnTo>
                    <a:pt x="614" y="3506"/>
                  </a:lnTo>
                  <a:lnTo>
                    <a:pt x="620" y="3502"/>
                  </a:lnTo>
                  <a:lnTo>
                    <a:pt x="624" y="3500"/>
                  </a:lnTo>
                  <a:lnTo>
                    <a:pt x="626" y="3502"/>
                  </a:lnTo>
                  <a:lnTo>
                    <a:pt x="630" y="3506"/>
                  </a:lnTo>
                  <a:lnTo>
                    <a:pt x="632" y="3504"/>
                  </a:lnTo>
                  <a:lnTo>
                    <a:pt x="634" y="3502"/>
                  </a:lnTo>
                  <a:lnTo>
                    <a:pt x="638" y="3502"/>
                  </a:lnTo>
                  <a:lnTo>
                    <a:pt x="640" y="3502"/>
                  </a:lnTo>
                  <a:lnTo>
                    <a:pt x="642" y="3502"/>
                  </a:lnTo>
                  <a:lnTo>
                    <a:pt x="646" y="3494"/>
                  </a:lnTo>
                  <a:lnTo>
                    <a:pt x="648" y="3488"/>
                  </a:lnTo>
                  <a:lnTo>
                    <a:pt x="648" y="3486"/>
                  </a:lnTo>
                  <a:lnTo>
                    <a:pt x="642" y="3486"/>
                  </a:lnTo>
                  <a:lnTo>
                    <a:pt x="636" y="3486"/>
                  </a:lnTo>
                  <a:close/>
                  <a:moveTo>
                    <a:pt x="436" y="3502"/>
                  </a:moveTo>
                  <a:lnTo>
                    <a:pt x="436" y="3502"/>
                  </a:lnTo>
                  <a:lnTo>
                    <a:pt x="428" y="3504"/>
                  </a:lnTo>
                  <a:lnTo>
                    <a:pt x="426" y="3506"/>
                  </a:lnTo>
                  <a:lnTo>
                    <a:pt x="420" y="3506"/>
                  </a:lnTo>
                  <a:lnTo>
                    <a:pt x="414" y="3506"/>
                  </a:lnTo>
                  <a:lnTo>
                    <a:pt x="414" y="3508"/>
                  </a:lnTo>
                  <a:lnTo>
                    <a:pt x="414" y="3510"/>
                  </a:lnTo>
                  <a:lnTo>
                    <a:pt x="416" y="3514"/>
                  </a:lnTo>
                  <a:lnTo>
                    <a:pt x="418" y="3514"/>
                  </a:lnTo>
                  <a:lnTo>
                    <a:pt x="428" y="3516"/>
                  </a:lnTo>
                  <a:lnTo>
                    <a:pt x="430" y="3516"/>
                  </a:lnTo>
                  <a:lnTo>
                    <a:pt x="432" y="3518"/>
                  </a:lnTo>
                  <a:lnTo>
                    <a:pt x="432" y="3520"/>
                  </a:lnTo>
                  <a:lnTo>
                    <a:pt x="432" y="3522"/>
                  </a:lnTo>
                  <a:lnTo>
                    <a:pt x="436" y="3522"/>
                  </a:lnTo>
                  <a:lnTo>
                    <a:pt x="442" y="3518"/>
                  </a:lnTo>
                  <a:lnTo>
                    <a:pt x="442" y="3516"/>
                  </a:lnTo>
                  <a:lnTo>
                    <a:pt x="442" y="3512"/>
                  </a:lnTo>
                  <a:lnTo>
                    <a:pt x="438" y="3512"/>
                  </a:lnTo>
                  <a:lnTo>
                    <a:pt x="432" y="3510"/>
                  </a:lnTo>
                  <a:lnTo>
                    <a:pt x="434" y="3508"/>
                  </a:lnTo>
                  <a:lnTo>
                    <a:pt x="438" y="3508"/>
                  </a:lnTo>
                  <a:lnTo>
                    <a:pt x="442" y="3506"/>
                  </a:lnTo>
                  <a:lnTo>
                    <a:pt x="444" y="3504"/>
                  </a:lnTo>
                  <a:lnTo>
                    <a:pt x="440" y="3504"/>
                  </a:lnTo>
                  <a:lnTo>
                    <a:pt x="436" y="3502"/>
                  </a:lnTo>
                  <a:close/>
                  <a:moveTo>
                    <a:pt x="290" y="2874"/>
                  </a:moveTo>
                  <a:lnTo>
                    <a:pt x="290" y="2874"/>
                  </a:lnTo>
                  <a:lnTo>
                    <a:pt x="292" y="2876"/>
                  </a:lnTo>
                  <a:lnTo>
                    <a:pt x="294" y="2874"/>
                  </a:lnTo>
                  <a:lnTo>
                    <a:pt x="294" y="2872"/>
                  </a:lnTo>
                  <a:lnTo>
                    <a:pt x="294" y="2870"/>
                  </a:lnTo>
                  <a:lnTo>
                    <a:pt x="290" y="2868"/>
                  </a:lnTo>
                  <a:lnTo>
                    <a:pt x="290" y="2874"/>
                  </a:lnTo>
                  <a:close/>
                  <a:moveTo>
                    <a:pt x="592" y="3524"/>
                  </a:moveTo>
                  <a:lnTo>
                    <a:pt x="592" y="3524"/>
                  </a:lnTo>
                  <a:lnTo>
                    <a:pt x="596" y="3524"/>
                  </a:lnTo>
                  <a:lnTo>
                    <a:pt x="598" y="3524"/>
                  </a:lnTo>
                  <a:lnTo>
                    <a:pt x="598" y="3522"/>
                  </a:lnTo>
                  <a:lnTo>
                    <a:pt x="596" y="3518"/>
                  </a:lnTo>
                  <a:lnTo>
                    <a:pt x="594" y="3518"/>
                  </a:lnTo>
                  <a:lnTo>
                    <a:pt x="590" y="3520"/>
                  </a:lnTo>
                  <a:lnTo>
                    <a:pt x="590" y="3522"/>
                  </a:lnTo>
                  <a:lnTo>
                    <a:pt x="592" y="3524"/>
                  </a:lnTo>
                  <a:close/>
                  <a:moveTo>
                    <a:pt x="310" y="3406"/>
                  </a:moveTo>
                  <a:lnTo>
                    <a:pt x="310" y="3406"/>
                  </a:lnTo>
                  <a:lnTo>
                    <a:pt x="314" y="3406"/>
                  </a:lnTo>
                  <a:lnTo>
                    <a:pt x="318" y="3406"/>
                  </a:lnTo>
                  <a:lnTo>
                    <a:pt x="322" y="3406"/>
                  </a:lnTo>
                  <a:lnTo>
                    <a:pt x="326" y="3408"/>
                  </a:lnTo>
                  <a:lnTo>
                    <a:pt x="328" y="3408"/>
                  </a:lnTo>
                  <a:lnTo>
                    <a:pt x="324" y="3402"/>
                  </a:lnTo>
                  <a:lnTo>
                    <a:pt x="318" y="3396"/>
                  </a:lnTo>
                  <a:lnTo>
                    <a:pt x="316" y="3394"/>
                  </a:lnTo>
                  <a:lnTo>
                    <a:pt x="314" y="3394"/>
                  </a:lnTo>
                  <a:lnTo>
                    <a:pt x="312" y="3394"/>
                  </a:lnTo>
                  <a:lnTo>
                    <a:pt x="310" y="3392"/>
                  </a:lnTo>
                  <a:lnTo>
                    <a:pt x="308" y="3390"/>
                  </a:lnTo>
                  <a:lnTo>
                    <a:pt x="306" y="3392"/>
                  </a:lnTo>
                  <a:lnTo>
                    <a:pt x="304" y="3390"/>
                  </a:lnTo>
                  <a:lnTo>
                    <a:pt x="294" y="3384"/>
                  </a:lnTo>
                  <a:lnTo>
                    <a:pt x="284" y="3382"/>
                  </a:lnTo>
                  <a:lnTo>
                    <a:pt x="280" y="3378"/>
                  </a:lnTo>
                  <a:lnTo>
                    <a:pt x="274" y="3374"/>
                  </a:lnTo>
                  <a:lnTo>
                    <a:pt x="268" y="3370"/>
                  </a:lnTo>
                  <a:lnTo>
                    <a:pt x="264" y="3368"/>
                  </a:lnTo>
                  <a:lnTo>
                    <a:pt x="262" y="3370"/>
                  </a:lnTo>
                  <a:lnTo>
                    <a:pt x="266" y="3374"/>
                  </a:lnTo>
                  <a:lnTo>
                    <a:pt x="270" y="3376"/>
                  </a:lnTo>
                  <a:lnTo>
                    <a:pt x="270" y="3380"/>
                  </a:lnTo>
                  <a:lnTo>
                    <a:pt x="268" y="3380"/>
                  </a:lnTo>
                  <a:lnTo>
                    <a:pt x="272" y="3382"/>
                  </a:lnTo>
                  <a:lnTo>
                    <a:pt x="276" y="3384"/>
                  </a:lnTo>
                  <a:lnTo>
                    <a:pt x="278" y="3388"/>
                  </a:lnTo>
                  <a:lnTo>
                    <a:pt x="282" y="3390"/>
                  </a:lnTo>
                  <a:lnTo>
                    <a:pt x="288" y="3392"/>
                  </a:lnTo>
                  <a:lnTo>
                    <a:pt x="294" y="3392"/>
                  </a:lnTo>
                  <a:lnTo>
                    <a:pt x="296" y="3394"/>
                  </a:lnTo>
                  <a:lnTo>
                    <a:pt x="300" y="3396"/>
                  </a:lnTo>
                  <a:lnTo>
                    <a:pt x="302" y="3398"/>
                  </a:lnTo>
                  <a:lnTo>
                    <a:pt x="304" y="3398"/>
                  </a:lnTo>
                  <a:lnTo>
                    <a:pt x="308" y="3398"/>
                  </a:lnTo>
                  <a:lnTo>
                    <a:pt x="310" y="3400"/>
                  </a:lnTo>
                  <a:lnTo>
                    <a:pt x="310" y="3402"/>
                  </a:lnTo>
                  <a:lnTo>
                    <a:pt x="310" y="3404"/>
                  </a:lnTo>
                  <a:lnTo>
                    <a:pt x="310" y="3406"/>
                  </a:lnTo>
                  <a:close/>
                  <a:moveTo>
                    <a:pt x="262" y="3306"/>
                  </a:moveTo>
                  <a:lnTo>
                    <a:pt x="262" y="3306"/>
                  </a:lnTo>
                  <a:lnTo>
                    <a:pt x="260" y="3302"/>
                  </a:lnTo>
                  <a:lnTo>
                    <a:pt x="258" y="3302"/>
                  </a:lnTo>
                  <a:lnTo>
                    <a:pt x="258" y="3304"/>
                  </a:lnTo>
                  <a:lnTo>
                    <a:pt x="258" y="3310"/>
                  </a:lnTo>
                  <a:lnTo>
                    <a:pt x="258" y="3314"/>
                  </a:lnTo>
                  <a:lnTo>
                    <a:pt x="254" y="3308"/>
                  </a:lnTo>
                  <a:lnTo>
                    <a:pt x="252" y="3308"/>
                  </a:lnTo>
                  <a:lnTo>
                    <a:pt x="250" y="3310"/>
                  </a:lnTo>
                  <a:lnTo>
                    <a:pt x="248" y="3314"/>
                  </a:lnTo>
                  <a:lnTo>
                    <a:pt x="250" y="3318"/>
                  </a:lnTo>
                  <a:lnTo>
                    <a:pt x="252" y="3320"/>
                  </a:lnTo>
                  <a:lnTo>
                    <a:pt x="252" y="3322"/>
                  </a:lnTo>
                  <a:lnTo>
                    <a:pt x="250" y="3324"/>
                  </a:lnTo>
                  <a:lnTo>
                    <a:pt x="252" y="3328"/>
                  </a:lnTo>
                  <a:lnTo>
                    <a:pt x="252" y="3332"/>
                  </a:lnTo>
                  <a:lnTo>
                    <a:pt x="254" y="3332"/>
                  </a:lnTo>
                  <a:lnTo>
                    <a:pt x="258" y="3324"/>
                  </a:lnTo>
                  <a:lnTo>
                    <a:pt x="260" y="3314"/>
                  </a:lnTo>
                  <a:lnTo>
                    <a:pt x="262" y="3310"/>
                  </a:lnTo>
                  <a:lnTo>
                    <a:pt x="262" y="3306"/>
                  </a:lnTo>
                  <a:close/>
                  <a:moveTo>
                    <a:pt x="284" y="3406"/>
                  </a:moveTo>
                  <a:lnTo>
                    <a:pt x="284" y="3406"/>
                  </a:lnTo>
                  <a:lnTo>
                    <a:pt x="286" y="3406"/>
                  </a:lnTo>
                  <a:lnTo>
                    <a:pt x="288" y="3404"/>
                  </a:lnTo>
                  <a:lnTo>
                    <a:pt x="290" y="3402"/>
                  </a:lnTo>
                  <a:lnTo>
                    <a:pt x="290" y="3400"/>
                  </a:lnTo>
                  <a:lnTo>
                    <a:pt x="286" y="3398"/>
                  </a:lnTo>
                  <a:lnTo>
                    <a:pt x="284" y="3400"/>
                  </a:lnTo>
                  <a:lnTo>
                    <a:pt x="284" y="3404"/>
                  </a:lnTo>
                  <a:lnTo>
                    <a:pt x="284" y="3406"/>
                  </a:lnTo>
                  <a:close/>
                  <a:moveTo>
                    <a:pt x="268" y="3336"/>
                  </a:moveTo>
                  <a:lnTo>
                    <a:pt x="268" y="3336"/>
                  </a:lnTo>
                  <a:lnTo>
                    <a:pt x="260" y="3336"/>
                  </a:lnTo>
                  <a:lnTo>
                    <a:pt x="258" y="3336"/>
                  </a:lnTo>
                  <a:lnTo>
                    <a:pt x="256" y="3338"/>
                  </a:lnTo>
                  <a:lnTo>
                    <a:pt x="258" y="3340"/>
                  </a:lnTo>
                  <a:lnTo>
                    <a:pt x="262" y="3342"/>
                  </a:lnTo>
                  <a:lnTo>
                    <a:pt x="264" y="3342"/>
                  </a:lnTo>
                  <a:lnTo>
                    <a:pt x="268" y="3340"/>
                  </a:lnTo>
                  <a:lnTo>
                    <a:pt x="268" y="3338"/>
                  </a:lnTo>
                  <a:lnTo>
                    <a:pt x="268" y="3336"/>
                  </a:lnTo>
                  <a:close/>
                  <a:moveTo>
                    <a:pt x="412" y="3500"/>
                  </a:moveTo>
                  <a:lnTo>
                    <a:pt x="412" y="3500"/>
                  </a:lnTo>
                  <a:lnTo>
                    <a:pt x="406" y="3498"/>
                  </a:lnTo>
                  <a:lnTo>
                    <a:pt x="402" y="3496"/>
                  </a:lnTo>
                  <a:lnTo>
                    <a:pt x="398" y="3498"/>
                  </a:lnTo>
                  <a:lnTo>
                    <a:pt x="396" y="3500"/>
                  </a:lnTo>
                  <a:lnTo>
                    <a:pt x="396" y="3502"/>
                  </a:lnTo>
                  <a:lnTo>
                    <a:pt x="398" y="3504"/>
                  </a:lnTo>
                  <a:lnTo>
                    <a:pt x="402" y="3502"/>
                  </a:lnTo>
                  <a:lnTo>
                    <a:pt x="406" y="3500"/>
                  </a:lnTo>
                  <a:lnTo>
                    <a:pt x="408" y="3502"/>
                  </a:lnTo>
                  <a:lnTo>
                    <a:pt x="410" y="3502"/>
                  </a:lnTo>
                  <a:lnTo>
                    <a:pt x="414" y="3504"/>
                  </a:lnTo>
                  <a:lnTo>
                    <a:pt x="414" y="3502"/>
                  </a:lnTo>
                  <a:lnTo>
                    <a:pt x="416" y="3500"/>
                  </a:lnTo>
                  <a:lnTo>
                    <a:pt x="414" y="3500"/>
                  </a:lnTo>
                  <a:lnTo>
                    <a:pt x="412" y="3500"/>
                  </a:lnTo>
                  <a:close/>
                  <a:moveTo>
                    <a:pt x="248" y="3284"/>
                  </a:moveTo>
                  <a:lnTo>
                    <a:pt x="248" y="3284"/>
                  </a:lnTo>
                  <a:lnTo>
                    <a:pt x="244" y="3282"/>
                  </a:lnTo>
                  <a:lnTo>
                    <a:pt x="244" y="3284"/>
                  </a:lnTo>
                  <a:lnTo>
                    <a:pt x="244" y="3292"/>
                  </a:lnTo>
                  <a:lnTo>
                    <a:pt x="240" y="3300"/>
                  </a:lnTo>
                  <a:lnTo>
                    <a:pt x="240" y="3302"/>
                  </a:lnTo>
                  <a:lnTo>
                    <a:pt x="244" y="3302"/>
                  </a:lnTo>
                  <a:lnTo>
                    <a:pt x="246" y="3300"/>
                  </a:lnTo>
                  <a:lnTo>
                    <a:pt x="246" y="3298"/>
                  </a:lnTo>
                  <a:lnTo>
                    <a:pt x="248" y="3294"/>
                  </a:lnTo>
                  <a:lnTo>
                    <a:pt x="248" y="3292"/>
                  </a:lnTo>
                  <a:lnTo>
                    <a:pt x="252" y="3288"/>
                  </a:lnTo>
                  <a:lnTo>
                    <a:pt x="248" y="3284"/>
                  </a:lnTo>
                  <a:close/>
                  <a:moveTo>
                    <a:pt x="376" y="3462"/>
                  </a:moveTo>
                  <a:lnTo>
                    <a:pt x="376" y="3462"/>
                  </a:lnTo>
                  <a:lnTo>
                    <a:pt x="376" y="3466"/>
                  </a:lnTo>
                  <a:lnTo>
                    <a:pt x="378" y="3468"/>
                  </a:lnTo>
                  <a:lnTo>
                    <a:pt x="380" y="3468"/>
                  </a:lnTo>
                  <a:lnTo>
                    <a:pt x="380" y="3464"/>
                  </a:lnTo>
                  <a:lnTo>
                    <a:pt x="380" y="3462"/>
                  </a:lnTo>
                  <a:lnTo>
                    <a:pt x="382" y="3462"/>
                  </a:lnTo>
                  <a:lnTo>
                    <a:pt x="384" y="3460"/>
                  </a:lnTo>
                  <a:lnTo>
                    <a:pt x="384" y="3456"/>
                  </a:lnTo>
                  <a:lnTo>
                    <a:pt x="386" y="3454"/>
                  </a:lnTo>
                  <a:lnTo>
                    <a:pt x="386" y="3452"/>
                  </a:lnTo>
                  <a:lnTo>
                    <a:pt x="386" y="3448"/>
                  </a:lnTo>
                  <a:lnTo>
                    <a:pt x="386" y="3444"/>
                  </a:lnTo>
                  <a:lnTo>
                    <a:pt x="386" y="3442"/>
                  </a:lnTo>
                  <a:lnTo>
                    <a:pt x="384" y="3440"/>
                  </a:lnTo>
                  <a:lnTo>
                    <a:pt x="378" y="3438"/>
                  </a:lnTo>
                  <a:lnTo>
                    <a:pt x="376" y="3438"/>
                  </a:lnTo>
                  <a:lnTo>
                    <a:pt x="374" y="3442"/>
                  </a:lnTo>
                  <a:lnTo>
                    <a:pt x="372" y="3444"/>
                  </a:lnTo>
                  <a:lnTo>
                    <a:pt x="370" y="3442"/>
                  </a:lnTo>
                  <a:lnTo>
                    <a:pt x="368" y="3442"/>
                  </a:lnTo>
                  <a:lnTo>
                    <a:pt x="364" y="3442"/>
                  </a:lnTo>
                  <a:lnTo>
                    <a:pt x="362" y="3444"/>
                  </a:lnTo>
                  <a:lnTo>
                    <a:pt x="362" y="3446"/>
                  </a:lnTo>
                  <a:lnTo>
                    <a:pt x="368" y="3452"/>
                  </a:lnTo>
                  <a:lnTo>
                    <a:pt x="374" y="3458"/>
                  </a:lnTo>
                  <a:lnTo>
                    <a:pt x="376" y="3460"/>
                  </a:lnTo>
                  <a:lnTo>
                    <a:pt x="376" y="3462"/>
                  </a:lnTo>
                  <a:close/>
                  <a:moveTo>
                    <a:pt x="360" y="3454"/>
                  </a:moveTo>
                  <a:lnTo>
                    <a:pt x="360" y="3454"/>
                  </a:lnTo>
                  <a:lnTo>
                    <a:pt x="358" y="3458"/>
                  </a:lnTo>
                  <a:lnTo>
                    <a:pt x="354" y="3458"/>
                  </a:lnTo>
                  <a:lnTo>
                    <a:pt x="352" y="3460"/>
                  </a:lnTo>
                  <a:lnTo>
                    <a:pt x="354" y="3462"/>
                  </a:lnTo>
                  <a:lnTo>
                    <a:pt x="356" y="3464"/>
                  </a:lnTo>
                  <a:lnTo>
                    <a:pt x="358" y="3464"/>
                  </a:lnTo>
                  <a:lnTo>
                    <a:pt x="364" y="3458"/>
                  </a:lnTo>
                  <a:lnTo>
                    <a:pt x="364" y="3456"/>
                  </a:lnTo>
                  <a:lnTo>
                    <a:pt x="364" y="3454"/>
                  </a:lnTo>
                  <a:lnTo>
                    <a:pt x="362" y="3452"/>
                  </a:lnTo>
                  <a:lnTo>
                    <a:pt x="360" y="3454"/>
                  </a:lnTo>
                  <a:close/>
                  <a:moveTo>
                    <a:pt x="390" y="3462"/>
                  </a:moveTo>
                  <a:lnTo>
                    <a:pt x="390" y="3462"/>
                  </a:lnTo>
                  <a:lnTo>
                    <a:pt x="394" y="3462"/>
                  </a:lnTo>
                  <a:lnTo>
                    <a:pt x="394" y="3460"/>
                  </a:lnTo>
                  <a:lnTo>
                    <a:pt x="396" y="3458"/>
                  </a:lnTo>
                  <a:lnTo>
                    <a:pt x="398" y="3460"/>
                  </a:lnTo>
                  <a:lnTo>
                    <a:pt x="402" y="3462"/>
                  </a:lnTo>
                  <a:lnTo>
                    <a:pt x="402" y="3464"/>
                  </a:lnTo>
                  <a:lnTo>
                    <a:pt x="402" y="3466"/>
                  </a:lnTo>
                  <a:lnTo>
                    <a:pt x="406" y="3468"/>
                  </a:lnTo>
                  <a:lnTo>
                    <a:pt x="410" y="3468"/>
                  </a:lnTo>
                  <a:lnTo>
                    <a:pt x="412" y="3466"/>
                  </a:lnTo>
                  <a:lnTo>
                    <a:pt x="412" y="3454"/>
                  </a:lnTo>
                  <a:lnTo>
                    <a:pt x="410" y="3450"/>
                  </a:lnTo>
                  <a:lnTo>
                    <a:pt x="408" y="3450"/>
                  </a:lnTo>
                  <a:lnTo>
                    <a:pt x="406" y="3450"/>
                  </a:lnTo>
                  <a:lnTo>
                    <a:pt x="402" y="3448"/>
                  </a:lnTo>
                  <a:lnTo>
                    <a:pt x="400" y="3444"/>
                  </a:lnTo>
                  <a:lnTo>
                    <a:pt x="394" y="3442"/>
                  </a:lnTo>
                  <a:lnTo>
                    <a:pt x="390" y="3444"/>
                  </a:lnTo>
                  <a:lnTo>
                    <a:pt x="388" y="3446"/>
                  </a:lnTo>
                  <a:lnTo>
                    <a:pt x="388" y="3448"/>
                  </a:lnTo>
                  <a:lnTo>
                    <a:pt x="390" y="3454"/>
                  </a:lnTo>
                  <a:lnTo>
                    <a:pt x="388" y="3456"/>
                  </a:lnTo>
                  <a:lnTo>
                    <a:pt x="388" y="3460"/>
                  </a:lnTo>
                  <a:lnTo>
                    <a:pt x="390" y="3462"/>
                  </a:lnTo>
                  <a:close/>
                  <a:moveTo>
                    <a:pt x="356" y="3450"/>
                  </a:moveTo>
                  <a:lnTo>
                    <a:pt x="356" y="3450"/>
                  </a:lnTo>
                  <a:lnTo>
                    <a:pt x="358" y="3450"/>
                  </a:lnTo>
                  <a:lnTo>
                    <a:pt x="360" y="3450"/>
                  </a:lnTo>
                  <a:lnTo>
                    <a:pt x="358" y="3444"/>
                  </a:lnTo>
                  <a:lnTo>
                    <a:pt x="358" y="3442"/>
                  </a:lnTo>
                  <a:lnTo>
                    <a:pt x="358" y="3440"/>
                  </a:lnTo>
                  <a:lnTo>
                    <a:pt x="362" y="3438"/>
                  </a:lnTo>
                  <a:lnTo>
                    <a:pt x="366" y="3436"/>
                  </a:lnTo>
                  <a:lnTo>
                    <a:pt x="366" y="3434"/>
                  </a:lnTo>
                  <a:lnTo>
                    <a:pt x="366" y="3432"/>
                  </a:lnTo>
                  <a:lnTo>
                    <a:pt x="362" y="3430"/>
                  </a:lnTo>
                  <a:lnTo>
                    <a:pt x="360" y="3430"/>
                  </a:lnTo>
                  <a:lnTo>
                    <a:pt x="358" y="3428"/>
                  </a:lnTo>
                  <a:lnTo>
                    <a:pt x="356" y="3426"/>
                  </a:lnTo>
                  <a:lnTo>
                    <a:pt x="354" y="3422"/>
                  </a:lnTo>
                  <a:lnTo>
                    <a:pt x="352" y="3420"/>
                  </a:lnTo>
                  <a:lnTo>
                    <a:pt x="348" y="3418"/>
                  </a:lnTo>
                  <a:lnTo>
                    <a:pt x="346" y="3420"/>
                  </a:lnTo>
                  <a:lnTo>
                    <a:pt x="344" y="3420"/>
                  </a:lnTo>
                  <a:lnTo>
                    <a:pt x="344" y="3418"/>
                  </a:lnTo>
                  <a:lnTo>
                    <a:pt x="342" y="3418"/>
                  </a:lnTo>
                  <a:lnTo>
                    <a:pt x="340" y="3420"/>
                  </a:lnTo>
                  <a:lnTo>
                    <a:pt x="338" y="3422"/>
                  </a:lnTo>
                  <a:lnTo>
                    <a:pt x="338" y="3418"/>
                  </a:lnTo>
                  <a:lnTo>
                    <a:pt x="336" y="3414"/>
                  </a:lnTo>
                  <a:lnTo>
                    <a:pt x="332" y="3410"/>
                  </a:lnTo>
                  <a:lnTo>
                    <a:pt x="328" y="3410"/>
                  </a:lnTo>
                  <a:lnTo>
                    <a:pt x="328" y="3412"/>
                  </a:lnTo>
                  <a:lnTo>
                    <a:pt x="328" y="3414"/>
                  </a:lnTo>
                  <a:lnTo>
                    <a:pt x="322" y="3414"/>
                  </a:lnTo>
                  <a:lnTo>
                    <a:pt x="320" y="3414"/>
                  </a:lnTo>
                  <a:lnTo>
                    <a:pt x="318" y="3414"/>
                  </a:lnTo>
                  <a:lnTo>
                    <a:pt x="320" y="3418"/>
                  </a:lnTo>
                  <a:lnTo>
                    <a:pt x="322" y="3422"/>
                  </a:lnTo>
                  <a:lnTo>
                    <a:pt x="320" y="3422"/>
                  </a:lnTo>
                  <a:lnTo>
                    <a:pt x="314" y="3420"/>
                  </a:lnTo>
                  <a:lnTo>
                    <a:pt x="310" y="3422"/>
                  </a:lnTo>
                  <a:lnTo>
                    <a:pt x="308" y="3424"/>
                  </a:lnTo>
                  <a:lnTo>
                    <a:pt x="308" y="3426"/>
                  </a:lnTo>
                  <a:lnTo>
                    <a:pt x="310" y="3428"/>
                  </a:lnTo>
                  <a:lnTo>
                    <a:pt x="312" y="3430"/>
                  </a:lnTo>
                  <a:lnTo>
                    <a:pt x="312" y="3432"/>
                  </a:lnTo>
                  <a:lnTo>
                    <a:pt x="316" y="3432"/>
                  </a:lnTo>
                  <a:lnTo>
                    <a:pt x="320" y="3430"/>
                  </a:lnTo>
                  <a:lnTo>
                    <a:pt x="322" y="3432"/>
                  </a:lnTo>
                  <a:lnTo>
                    <a:pt x="322" y="3434"/>
                  </a:lnTo>
                  <a:lnTo>
                    <a:pt x="322" y="3442"/>
                  </a:lnTo>
                  <a:lnTo>
                    <a:pt x="324" y="3444"/>
                  </a:lnTo>
                  <a:lnTo>
                    <a:pt x="328" y="3448"/>
                  </a:lnTo>
                  <a:lnTo>
                    <a:pt x="330" y="3448"/>
                  </a:lnTo>
                  <a:lnTo>
                    <a:pt x="332" y="3448"/>
                  </a:lnTo>
                  <a:lnTo>
                    <a:pt x="332" y="3442"/>
                  </a:lnTo>
                  <a:lnTo>
                    <a:pt x="332" y="3438"/>
                  </a:lnTo>
                  <a:lnTo>
                    <a:pt x="334" y="3438"/>
                  </a:lnTo>
                  <a:lnTo>
                    <a:pt x="336" y="3440"/>
                  </a:lnTo>
                  <a:lnTo>
                    <a:pt x="340" y="3438"/>
                  </a:lnTo>
                  <a:lnTo>
                    <a:pt x="342" y="3438"/>
                  </a:lnTo>
                  <a:lnTo>
                    <a:pt x="342" y="3442"/>
                  </a:lnTo>
                  <a:lnTo>
                    <a:pt x="340" y="3448"/>
                  </a:lnTo>
                  <a:lnTo>
                    <a:pt x="336" y="3450"/>
                  </a:lnTo>
                  <a:lnTo>
                    <a:pt x="334" y="3452"/>
                  </a:lnTo>
                  <a:lnTo>
                    <a:pt x="338" y="3454"/>
                  </a:lnTo>
                  <a:lnTo>
                    <a:pt x="342" y="3454"/>
                  </a:lnTo>
                  <a:lnTo>
                    <a:pt x="346" y="3454"/>
                  </a:lnTo>
                  <a:lnTo>
                    <a:pt x="348" y="3452"/>
                  </a:lnTo>
                  <a:lnTo>
                    <a:pt x="350" y="3452"/>
                  </a:lnTo>
                  <a:lnTo>
                    <a:pt x="352" y="3452"/>
                  </a:lnTo>
                  <a:lnTo>
                    <a:pt x="352" y="3450"/>
                  </a:lnTo>
                  <a:lnTo>
                    <a:pt x="354" y="3448"/>
                  </a:lnTo>
                  <a:lnTo>
                    <a:pt x="356" y="3450"/>
                  </a:lnTo>
                  <a:close/>
                  <a:moveTo>
                    <a:pt x="490" y="3366"/>
                  </a:moveTo>
                  <a:lnTo>
                    <a:pt x="490" y="3366"/>
                  </a:lnTo>
                  <a:lnTo>
                    <a:pt x="488" y="3366"/>
                  </a:lnTo>
                  <a:lnTo>
                    <a:pt x="486" y="3364"/>
                  </a:lnTo>
                  <a:lnTo>
                    <a:pt x="482" y="3360"/>
                  </a:lnTo>
                  <a:lnTo>
                    <a:pt x="480" y="3354"/>
                  </a:lnTo>
                  <a:lnTo>
                    <a:pt x="478" y="3352"/>
                  </a:lnTo>
                  <a:lnTo>
                    <a:pt x="476" y="3352"/>
                  </a:lnTo>
                  <a:lnTo>
                    <a:pt x="472" y="3356"/>
                  </a:lnTo>
                  <a:lnTo>
                    <a:pt x="468" y="3364"/>
                  </a:lnTo>
                  <a:lnTo>
                    <a:pt x="464" y="3370"/>
                  </a:lnTo>
                  <a:lnTo>
                    <a:pt x="460" y="3374"/>
                  </a:lnTo>
                  <a:lnTo>
                    <a:pt x="454" y="3374"/>
                  </a:lnTo>
                  <a:lnTo>
                    <a:pt x="450" y="3372"/>
                  </a:lnTo>
                  <a:lnTo>
                    <a:pt x="446" y="3368"/>
                  </a:lnTo>
                  <a:lnTo>
                    <a:pt x="440" y="3370"/>
                  </a:lnTo>
                  <a:lnTo>
                    <a:pt x="438" y="3370"/>
                  </a:lnTo>
                  <a:lnTo>
                    <a:pt x="440" y="3372"/>
                  </a:lnTo>
                  <a:lnTo>
                    <a:pt x="442" y="3374"/>
                  </a:lnTo>
                  <a:lnTo>
                    <a:pt x="444" y="3376"/>
                  </a:lnTo>
                  <a:lnTo>
                    <a:pt x="444" y="3378"/>
                  </a:lnTo>
                  <a:lnTo>
                    <a:pt x="448" y="3380"/>
                  </a:lnTo>
                  <a:lnTo>
                    <a:pt x="450" y="3382"/>
                  </a:lnTo>
                  <a:lnTo>
                    <a:pt x="448" y="3384"/>
                  </a:lnTo>
                  <a:lnTo>
                    <a:pt x="446" y="3388"/>
                  </a:lnTo>
                  <a:lnTo>
                    <a:pt x="444" y="3388"/>
                  </a:lnTo>
                  <a:lnTo>
                    <a:pt x="440" y="3384"/>
                  </a:lnTo>
                  <a:lnTo>
                    <a:pt x="438" y="3382"/>
                  </a:lnTo>
                  <a:lnTo>
                    <a:pt x="438" y="3384"/>
                  </a:lnTo>
                  <a:lnTo>
                    <a:pt x="436" y="3388"/>
                  </a:lnTo>
                  <a:lnTo>
                    <a:pt x="436" y="3398"/>
                  </a:lnTo>
                  <a:lnTo>
                    <a:pt x="440" y="3410"/>
                  </a:lnTo>
                  <a:lnTo>
                    <a:pt x="442" y="3412"/>
                  </a:lnTo>
                  <a:lnTo>
                    <a:pt x="448" y="3414"/>
                  </a:lnTo>
                  <a:lnTo>
                    <a:pt x="460" y="3410"/>
                  </a:lnTo>
                  <a:lnTo>
                    <a:pt x="474" y="3406"/>
                  </a:lnTo>
                  <a:lnTo>
                    <a:pt x="478" y="3406"/>
                  </a:lnTo>
                  <a:lnTo>
                    <a:pt x="480" y="3408"/>
                  </a:lnTo>
                  <a:lnTo>
                    <a:pt x="482" y="3414"/>
                  </a:lnTo>
                  <a:lnTo>
                    <a:pt x="478" y="3418"/>
                  </a:lnTo>
                  <a:lnTo>
                    <a:pt x="472" y="3422"/>
                  </a:lnTo>
                  <a:lnTo>
                    <a:pt x="466" y="3424"/>
                  </a:lnTo>
                  <a:lnTo>
                    <a:pt x="452" y="3430"/>
                  </a:lnTo>
                  <a:lnTo>
                    <a:pt x="448" y="3434"/>
                  </a:lnTo>
                  <a:lnTo>
                    <a:pt x="448" y="3438"/>
                  </a:lnTo>
                  <a:lnTo>
                    <a:pt x="452" y="3446"/>
                  </a:lnTo>
                  <a:lnTo>
                    <a:pt x="458" y="3452"/>
                  </a:lnTo>
                  <a:lnTo>
                    <a:pt x="464" y="3458"/>
                  </a:lnTo>
                  <a:lnTo>
                    <a:pt x="474" y="3462"/>
                  </a:lnTo>
                  <a:lnTo>
                    <a:pt x="488" y="3470"/>
                  </a:lnTo>
                  <a:lnTo>
                    <a:pt x="494" y="3472"/>
                  </a:lnTo>
                  <a:lnTo>
                    <a:pt x="496" y="3474"/>
                  </a:lnTo>
                  <a:lnTo>
                    <a:pt x="482" y="3472"/>
                  </a:lnTo>
                  <a:lnTo>
                    <a:pt x="476" y="3468"/>
                  </a:lnTo>
                  <a:lnTo>
                    <a:pt x="474" y="3468"/>
                  </a:lnTo>
                  <a:lnTo>
                    <a:pt x="472" y="3468"/>
                  </a:lnTo>
                  <a:lnTo>
                    <a:pt x="470" y="3470"/>
                  </a:lnTo>
                  <a:lnTo>
                    <a:pt x="468" y="3470"/>
                  </a:lnTo>
                  <a:lnTo>
                    <a:pt x="462" y="3466"/>
                  </a:lnTo>
                  <a:lnTo>
                    <a:pt x="456" y="3464"/>
                  </a:lnTo>
                  <a:lnTo>
                    <a:pt x="452" y="3464"/>
                  </a:lnTo>
                  <a:lnTo>
                    <a:pt x="450" y="3464"/>
                  </a:lnTo>
                  <a:lnTo>
                    <a:pt x="448" y="3466"/>
                  </a:lnTo>
                  <a:lnTo>
                    <a:pt x="448" y="3468"/>
                  </a:lnTo>
                  <a:lnTo>
                    <a:pt x="448" y="3472"/>
                  </a:lnTo>
                  <a:lnTo>
                    <a:pt x="450" y="3472"/>
                  </a:lnTo>
                  <a:lnTo>
                    <a:pt x="448" y="3472"/>
                  </a:lnTo>
                  <a:lnTo>
                    <a:pt x="442" y="3468"/>
                  </a:lnTo>
                  <a:lnTo>
                    <a:pt x="422" y="3454"/>
                  </a:lnTo>
                  <a:lnTo>
                    <a:pt x="416" y="3452"/>
                  </a:lnTo>
                  <a:lnTo>
                    <a:pt x="416" y="3454"/>
                  </a:lnTo>
                  <a:lnTo>
                    <a:pt x="418" y="3456"/>
                  </a:lnTo>
                  <a:lnTo>
                    <a:pt x="422" y="3462"/>
                  </a:lnTo>
                  <a:lnTo>
                    <a:pt x="428" y="3464"/>
                  </a:lnTo>
                  <a:lnTo>
                    <a:pt x="430" y="3466"/>
                  </a:lnTo>
                  <a:lnTo>
                    <a:pt x="426" y="3466"/>
                  </a:lnTo>
                  <a:lnTo>
                    <a:pt x="420" y="3466"/>
                  </a:lnTo>
                  <a:lnTo>
                    <a:pt x="418" y="3468"/>
                  </a:lnTo>
                  <a:lnTo>
                    <a:pt x="416" y="3472"/>
                  </a:lnTo>
                  <a:lnTo>
                    <a:pt x="414" y="3476"/>
                  </a:lnTo>
                  <a:lnTo>
                    <a:pt x="408" y="3474"/>
                  </a:lnTo>
                  <a:lnTo>
                    <a:pt x="398" y="3470"/>
                  </a:lnTo>
                  <a:lnTo>
                    <a:pt x="398" y="3472"/>
                  </a:lnTo>
                  <a:lnTo>
                    <a:pt x="396" y="3474"/>
                  </a:lnTo>
                  <a:lnTo>
                    <a:pt x="392" y="3472"/>
                  </a:lnTo>
                  <a:lnTo>
                    <a:pt x="380" y="3470"/>
                  </a:lnTo>
                  <a:lnTo>
                    <a:pt x="380" y="3472"/>
                  </a:lnTo>
                  <a:lnTo>
                    <a:pt x="382" y="3476"/>
                  </a:lnTo>
                  <a:lnTo>
                    <a:pt x="386" y="3478"/>
                  </a:lnTo>
                  <a:lnTo>
                    <a:pt x="386" y="3480"/>
                  </a:lnTo>
                  <a:lnTo>
                    <a:pt x="382" y="3480"/>
                  </a:lnTo>
                  <a:lnTo>
                    <a:pt x="376" y="3476"/>
                  </a:lnTo>
                  <a:lnTo>
                    <a:pt x="374" y="3474"/>
                  </a:lnTo>
                  <a:lnTo>
                    <a:pt x="372" y="3474"/>
                  </a:lnTo>
                  <a:lnTo>
                    <a:pt x="374" y="3476"/>
                  </a:lnTo>
                  <a:lnTo>
                    <a:pt x="374" y="3482"/>
                  </a:lnTo>
                  <a:lnTo>
                    <a:pt x="374" y="3484"/>
                  </a:lnTo>
                  <a:lnTo>
                    <a:pt x="374" y="3486"/>
                  </a:lnTo>
                  <a:lnTo>
                    <a:pt x="376" y="3486"/>
                  </a:lnTo>
                  <a:lnTo>
                    <a:pt x="380" y="3488"/>
                  </a:lnTo>
                  <a:lnTo>
                    <a:pt x="384" y="3486"/>
                  </a:lnTo>
                  <a:lnTo>
                    <a:pt x="390" y="3486"/>
                  </a:lnTo>
                  <a:lnTo>
                    <a:pt x="394" y="3488"/>
                  </a:lnTo>
                  <a:lnTo>
                    <a:pt x="396" y="3488"/>
                  </a:lnTo>
                  <a:lnTo>
                    <a:pt x="398" y="3484"/>
                  </a:lnTo>
                  <a:lnTo>
                    <a:pt x="400" y="3480"/>
                  </a:lnTo>
                  <a:lnTo>
                    <a:pt x="402" y="3480"/>
                  </a:lnTo>
                  <a:lnTo>
                    <a:pt x="404" y="3480"/>
                  </a:lnTo>
                  <a:lnTo>
                    <a:pt x="402" y="3484"/>
                  </a:lnTo>
                  <a:lnTo>
                    <a:pt x="402" y="3486"/>
                  </a:lnTo>
                  <a:lnTo>
                    <a:pt x="404" y="3488"/>
                  </a:lnTo>
                  <a:lnTo>
                    <a:pt x="408" y="3488"/>
                  </a:lnTo>
                  <a:lnTo>
                    <a:pt x="412" y="3486"/>
                  </a:lnTo>
                  <a:lnTo>
                    <a:pt x="416" y="3486"/>
                  </a:lnTo>
                  <a:lnTo>
                    <a:pt x="414" y="3488"/>
                  </a:lnTo>
                  <a:lnTo>
                    <a:pt x="412" y="3492"/>
                  </a:lnTo>
                  <a:lnTo>
                    <a:pt x="414" y="3494"/>
                  </a:lnTo>
                  <a:lnTo>
                    <a:pt x="416" y="3492"/>
                  </a:lnTo>
                  <a:lnTo>
                    <a:pt x="418" y="3494"/>
                  </a:lnTo>
                  <a:lnTo>
                    <a:pt x="422" y="3498"/>
                  </a:lnTo>
                  <a:lnTo>
                    <a:pt x="424" y="3498"/>
                  </a:lnTo>
                  <a:lnTo>
                    <a:pt x="428" y="3496"/>
                  </a:lnTo>
                  <a:lnTo>
                    <a:pt x="432" y="3496"/>
                  </a:lnTo>
                  <a:lnTo>
                    <a:pt x="438" y="3498"/>
                  </a:lnTo>
                  <a:lnTo>
                    <a:pt x="442" y="3498"/>
                  </a:lnTo>
                  <a:lnTo>
                    <a:pt x="446" y="3496"/>
                  </a:lnTo>
                  <a:lnTo>
                    <a:pt x="450" y="3496"/>
                  </a:lnTo>
                  <a:lnTo>
                    <a:pt x="452" y="3498"/>
                  </a:lnTo>
                  <a:lnTo>
                    <a:pt x="452" y="3500"/>
                  </a:lnTo>
                  <a:lnTo>
                    <a:pt x="456" y="3498"/>
                  </a:lnTo>
                  <a:lnTo>
                    <a:pt x="458" y="3496"/>
                  </a:lnTo>
                  <a:lnTo>
                    <a:pt x="462" y="3496"/>
                  </a:lnTo>
                  <a:lnTo>
                    <a:pt x="464" y="3496"/>
                  </a:lnTo>
                  <a:lnTo>
                    <a:pt x="466" y="3492"/>
                  </a:lnTo>
                  <a:lnTo>
                    <a:pt x="468" y="3494"/>
                  </a:lnTo>
                  <a:lnTo>
                    <a:pt x="470" y="3498"/>
                  </a:lnTo>
                  <a:lnTo>
                    <a:pt x="478" y="3500"/>
                  </a:lnTo>
                  <a:lnTo>
                    <a:pt x="496" y="3504"/>
                  </a:lnTo>
                  <a:lnTo>
                    <a:pt x="502" y="3504"/>
                  </a:lnTo>
                  <a:lnTo>
                    <a:pt x="504" y="3504"/>
                  </a:lnTo>
                  <a:lnTo>
                    <a:pt x="504" y="3502"/>
                  </a:lnTo>
                  <a:lnTo>
                    <a:pt x="504" y="3500"/>
                  </a:lnTo>
                  <a:lnTo>
                    <a:pt x="506" y="3500"/>
                  </a:lnTo>
                  <a:lnTo>
                    <a:pt x="510" y="3502"/>
                  </a:lnTo>
                  <a:lnTo>
                    <a:pt x="510" y="3364"/>
                  </a:lnTo>
                  <a:lnTo>
                    <a:pt x="508" y="3362"/>
                  </a:lnTo>
                  <a:lnTo>
                    <a:pt x="504" y="3360"/>
                  </a:lnTo>
                  <a:lnTo>
                    <a:pt x="500" y="3360"/>
                  </a:lnTo>
                  <a:lnTo>
                    <a:pt x="496" y="3364"/>
                  </a:lnTo>
                  <a:lnTo>
                    <a:pt x="490" y="3366"/>
                  </a:lnTo>
                  <a:close/>
                  <a:moveTo>
                    <a:pt x="298" y="2826"/>
                  </a:moveTo>
                  <a:lnTo>
                    <a:pt x="298" y="2826"/>
                  </a:lnTo>
                  <a:lnTo>
                    <a:pt x="304" y="2826"/>
                  </a:lnTo>
                  <a:lnTo>
                    <a:pt x="306" y="2824"/>
                  </a:lnTo>
                  <a:lnTo>
                    <a:pt x="306" y="2822"/>
                  </a:lnTo>
                  <a:lnTo>
                    <a:pt x="304" y="2820"/>
                  </a:lnTo>
                  <a:lnTo>
                    <a:pt x="302" y="2814"/>
                  </a:lnTo>
                  <a:lnTo>
                    <a:pt x="304" y="2812"/>
                  </a:lnTo>
                  <a:lnTo>
                    <a:pt x="308" y="2812"/>
                  </a:lnTo>
                  <a:lnTo>
                    <a:pt x="310" y="2812"/>
                  </a:lnTo>
                  <a:lnTo>
                    <a:pt x="312" y="2810"/>
                  </a:lnTo>
                  <a:lnTo>
                    <a:pt x="310" y="2806"/>
                  </a:lnTo>
                  <a:lnTo>
                    <a:pt x="308" y="2800"/>
                  </a:lnTo>
                  <a:lnTo>
                    <a:pt x="308" y="2798"/>
                  </a:lnTo>
                  <a:lnTo>
                    <a:pt x="310" y="2798"/>
                  </a:lnTo>
                  <a:lnTo>
                    <a:pt x="314" y="2798"/>
                  </a:lnTo>
                  <a:lnTo>
                    <a:pt x="314" y="2794"/>
                  </a:lnTo>
                  <a:lnTo>
                    <a:pt x="304" y="2784"/>
                  </a:lnTo>
                  <a:lnTo>
                    <a:pt x="302" y="2780"/>
                  </a:lnTo>
                  <a:lnTo>
                    <a:pt x="302" y="2778"/>
                  </a:lnTo>
                  <a:lnTo>
                    <a:pt x="306" y="2776"/>
                  </a:lnTo>
                  <a:lnTo>
                    <a:pt x="306" y="2774"/>
                  </a:lnTo>
                  <a:lnTo>
                    <a:pt x="306" y="2770"/>
                  </a:lnTo>
                  <a:lnTo>
                    <a:pt x="306" y="2768"/>
                  </a:lnTo>
                  <a:lnTo>
                    <a:pt x="316" y="2764"/>
                  </a:lnTo>
                  <a:lnTo>
                    <a:pt x="318" y="2764"/>
                  </a:lnTo>
                  <a:lnTo>
                    <a:pt x="320" y="2762"/>
                  </a:lnTo>
                  <a:lnTo>
                    <a:pt x="318" y="2758"/>
                  </a:lnTo>
                  <a:lnTo>
                    <a:pt x="312" y="2748"/>
                  </a:lnTo>
                  <a:lnTo>
                    <a:pt x="310" y="2740"/>
                  </a:lnTo>
                  <a:lnTo>
                    <a:pt x="308" y="2738"/>
                  </a:lnTo>
                  <a:lnTo>
                    <a:pt x="302" y="2738"/>
                  </a:lnTo>
                  <a:lnTo>
                    <a:pt x="298" y="2740"/>
                  </a:lnTo>
                  <a:lnTo>
                    <a:pt x="298" y="2738"/>
                  </a:lnTo>
                  <a:lnTo>
                    <a:pt x="298" y="2736"/>
                  </a:lnTo>
                  <a:lnTo>
                    <a:pt x="296" y="2736"/>
                  </a:lnTo>
                  <a:lnTo>
                    <a:pt x="292" y="2736"/>
                  </a:lnTo>
                  <a:lnTo>
                    <a:pt x="290" y="2736"/>
                  </a:lnTo>
                  <a:lnTo>
                    <a:pt x="290" y="2738"/>
                  </a:lnTo>
                  <a:lnTo>
                    <a:pt x="290" y="2744"/>
                  </a:lnTo>
                  <a:lnTo>
                    <a:pt x="290" y="2752"/>
                  </a:lnTo>
                  <a:lnTo>
                    <a:pt x="288" y="2756"/>
                  </a:lnTo>
                  <a:lnTo>
                    <a:pt x="286" y="2762"/>
                  </a:lnTo>
                  <a:lnTo>
                    <a:pt x="284" y="2770"/>
                  </a:lnTo>
                  <a:lnTo>
                    <a:pt x="284" y="2778"/>
                  </a:lnTo>
                  <a:lnTo>
                    <a:pt x="286" y="2782"/>
                  </a:lnTo>
                  <a:lnTo>
                    <a:pt x="286" y="2790"/>
                  </a:lnTo>
                  <a:lnTo>
                    <a:pt x="282" y="2802"/>
                  </a:lnTo>
                  <a:lnTo>
                    <a:pt x="278" y="2814"/>
                  </a:lnTo>
                  <a:lnTo>
                    <a:pt x="278" y="2818"/>
                  </a:lnTo>
                  <a:lnTo>
                    <a:pt x="280" y="2822"/>
                  </a:lnTo>
                  <a:lnTo>
                    <a:pt x="286" y="2824"/>
                  </a:lnTo>
                  <a:lnTo>
                    <a:pt x="298" y="2826"/>
                  </a:lnTo>
                  <a:close/>
                  <a:moveTo>
                    <a:pt x="316" y="2894"/>
                  </a:moveTo>
                  <a:lnTo>
                    <a:pt x="316" y="2894"/>
                  </a:lnTo>
                  <a:lnTo>
                    <a:pt x="316" y="2898"/>
                  </a:lnTo>
                  <a:lnTo>
                    <a:pt x="318" y="2902"/>
                  </a:lnTo>
                  <a:lnTo>
                    <a:pt x="318" y="2904"/>
                  </a:lnTo>
                  <a:lnTo>
                    <a:pt x="318" y="2906"/>
                  </a:lnTo>
                  <a:lnTo>
                    <a:pt x="320" y="2908"/>
                  </a:lnTo>
                  <a:lnTo>
                    <a:pt x="324" y="2910"/>
                  </a:lnTo>
                  <a:lnTo>
                    <a:pt x="330" y="2910"/>
                  </a:lnTo>
                  <a:lnTo>
                    <a:pt x="336" y="2902"/>
                  </a:lnTo>
                  <a:lnTo>
                    <a:pt x="338" y="2900"/>
                  </a:lnTo>
                  <a:lnTo>
                    <a:pt x="338" y="2898"/>
                  </a:lnTo>
                  <a:lnTo>
                    <a:pt x="338" y="2896"/>
                  </a:lnTo>
                  <a:lnTo>
                    <a:pt x="342" y="2894"/>
                  </a:lnTo>
                  <a:lnTo>
                    <a:pt x="344" y="2890"/>
                  </a:lnTo>
                  <a:lnTo>
                    <a:pt x="342" y="2886"/>
                  </a:lnTo>
                  <a:lnTo>
                    <a:pt x="338" y="2882"/>
                  </a:lnTo>
                  <a:lnTo>
                    <a:pt x="332" y="2880"/>
                  </a:lnTo>
                  <a:lnTo>
                    <a:pt x="330" y="2880"/>
                  </a:lnTo>
                  <a:lnTo>
                    <a:pt x="330" y="2882"/>
                  </a:lnTo>
                  <a:lnTo>
                    <a:pt x="328" y="2882"/>
                  </a:lnTo>
                  <a:lnTo>
                    <a:pt x="326" y="2882"/>
                  </a:lnTo>
                  <a:lnTo>
                    <a:pt x="324" y="2882"/>
                  </a:lnTo>
                  <a:lnTo>
                    <a:pt x="324" y="2884"/>
                  </a:lnTo>
                  <a:lnTo>
                    <a:pt x="322" y="2888"/>
                  </a:lnTo>
                  <a:lnTo>
                    <a:pt x="322" y="2892"/>
                  </a:lnTo>
                  <a:lnTo>
                    <a:pt x="320" y="2894"/>
                  </a:lnTo>
                  <a:lnTo>
                    <a:pt x="318" y="2894"/>
                  </a:lnTo>
                  <a:lnTo>
                    <a:pt x="316" y="2894"/>
                  </a:lnTo>
                  <a:close/>
                  <a:moveTo>
                    <a:pt x="258" y="2836"/>
                  </a:moveTo>
                  <a:lnTo>
                    <a:pt x="258" y="2836"/>
                  </a:lnTo>
                  <a:lnTo>
                    <a:pt x="262" y="2838"/>
                  </a:lnTo>
                  <a:lnTo>
                    <a:pt x="264" y="2838"/>
                  </a:lnTo>
                  <a:lnTo>
                    <a:pt x="266" y="2836"/>
                  </a:lnTo>
                  <a:lnTo>
                    <a:pt x="266" y="2834"/>
                  </a:lnTo>
                  <a:lnTo>
                    <a:pt x="262" y="2832"/>
                  </a:lnTo>
                  <a:lnTo>
                    <a:pt x="260" y="2832"/>
                  </a:lnTo>
                  <a:lnTo>
                    <a:pt x="258" y="2834"/>
                  </a:lnTo>
                  <a:lnTo>
                    <a:pt x="258" y="2836"/>
                  </a:lnTo>
                  <a:close/>
                  <a:moveTo>
                    <a:pt x="324" y="2852"/>
                  </a:moveTo>
                  <a:lnTo>
                    <a:pt x="324" y="2852"/>
                  </a:lnTo>
                  <a:lnTo>
                    <a:pt x="320" y="2856"/>
                  </a:lnTo>
                  <a:lnTo>
                    <a:pt x="322" y="2858"/>
                  </a:lnTo>
                  <a:lnTo>
                    <a:pt x="324" y="2860"/>
                  </a:lnTo>
                  <a:lnTo>
                    <a:pt x="326" y="2858"/>
                  </a:lnTo>
                  <a:lnTo>
                    <a:pt x="326" y="2854"/>
                  </a:lnTo>
                  <a:lnTo>
                    <a:pt x="326" y="2852"/>
                  </a:lnTo>
                  <a:lnTo>
                    <a:pt x="324" y="2850"/>
                  </a:lnTo>
                  <a:lnTo>
                    <a:pt x="324" y="2852"/>
                  </a:lnTo>
                  <a:close/>
                  <a:moveTo>
                    <a:pt x="266" y="2958"/>
                  </a:moveTo>
                  <a:lnTo>
                    <a:pt x="266" y="2958"/>
                  </a:lnTo>
                  <a:lnTo>
                    <a:pt x="270" y="2958"/>
                  </a:lnTo>
                  <a:lnTo>
                    <a:pt x="270" y="2954"/>
                  </a:lnTo>
                  <a:lnTo>
                    <a:pt x="270" y="2950"/>
                  </a:lnTo>
                  <a:lnTo>
                    <a:pt x="268" y="2950"/>
                  </a:lnTo>
                  <a:lnTo>
                    <a:pt x="266" y="2952"/>
                  </a:lnTo>
                  <a:lnTo>
                    <a:pt x="264" y="2954"/>
                  </a:lnTo>
                  <a:lnTo>
                    <a:pt x="264" y="2956"/>
                  </a:lnTo>
                  <a:lnTo>
                    <a:pt x="266" y="2958"/>
                  </a:lnTo>
                  <a:close/>
                  <a:moveTo>
                    <a:pt x="244" y="3242"/>
                  </a:moveTo>
                  <a:lnTo>
                    <a:pt x="244" y="3242"/>
                  </a:lnTo>
                  <a:lnTo>
                    <a:pt x="248" y="3238"/>
                  </a:lnTo>
                  <a:lnTo>
                    <a:pt x="248" y="3236"/>
                  </a:lnTo>
                  <a:lnTo>
                    <a:pt x="246" y="3236"/>
                  </a:lnTo>
                  <a:lnTo>
                    <a:pt x="240" y="3234"/>
                  </a:lnTo>
                  <a:lnTo>
                    <a:pt x="234" y="3234"/>
                  </a:lnTo>
                  <a:lnTo>
                    <a:pt x="234" y="3236"/>
                  </a:lnTo>
                  <a:lnTo>
                    <a:pt x="236" y="3240"/>
                  </a:lnTo>
                  <a:lnTo>
                    <a:pt x="236" y="3242"/>
                  </a:lnTo>
                  <a:lnTo>
                    <a:pt x="232" y="3248"/>
                  </a:lnTo>
                  <a:lnTo>
                    <a:pt x="234" y="3250"/>
                  </a:lnTo>
                  <a:lnTo>
                    <a:pt x="238" y="3252"/>
                  </a:lnTo>
                  <a:lnTo>
                    <a:pt x="242" y="3254"/>
                  </a:lnTo>
                  <a:lnTo>
                    <a:pt x="242" y="3250"/>
                  </a:lnTo>
                  <a:lnTo>
                    <a:pt x="242" y="3246"/>
                  </a:lnTo>
                  <a:lnTo>
                    <a:pt x="244" y="3242"/>
                  </a:lnTo>
                  <a:close/>
                  <a:moveTo>
                    <a:pt x="302" y="2848"/>
                  </a:moveTo>
                  <a:lnTo>
                    <a:pt x="302" y="2848"/>
                  </a:lnTo>
                  <a:lnTo>
                    <a:pt x="300" y="2846"/>
                  </a:lnTo>
                  <a:lnTo>
                    <a:pt x="298" y="2846"/>
                  </a:lnTo>
                  <a:lnTo>
                    <a:pt x="296" y="2846"/>
                  </a:lnTo>
                  <a:lnTo>
                    <a:pt x="292" y="2846"/>
                  </a:lnTo>
                  <a:lnTo>
                    <a:pt x="288" y="2846"/>
                  </a:lnTo>
                  <a:lnTo>
                    <a:pt x="286" y="2848"/>
                  </a:lnTo>
                  <a:lnTo>
                    <a:pt x="288" y="2850"/>
                  </a:lnTo>
                  <a:lnTo>
                    <a:pt x="292" y="2854"/>
                  </a:lnTo>
                  <a:lnTo>
                    <a:pt x="294" y="2854"/>
                  </a:lnTo>
                  <a:lnTo>
                    <a:pt x="296" y="2854"/>
                  </a:lnTo>
                  <a:lnTo>
                    <a:pt x="300" y="2852"/>
                  </a:lnTo>
                  <a:lnTo>
                    <a:pt x="302" y="2850"/>
                  </a:lnTo>
                  <a:lnTo>
                    <a:pt x="302" y="2848"/>
                  </a:lnTo>
                  <a:close/>
                  <a:moveTo>
                    <a:pt x="302" y="2912"/>
                  </a:moveTo>
                  <a:lnTo>
                    <a:pt x="302" y="2912"/>
                  </a:lnTo>
                  <a:lnTo>
                    <a:pt x="304" y="2910"/>
                  </a:lnTo>
                  <a:lnTo>
                    <a:pt x="302" y="2906"/>
                  </a:lnTo>
                  <a:lnTo>
                    <a:pt x="300" y="2904"/>
                  </a:lnTo>
                  <a:lnTo>
                    <a:pt x="298" y="2904"/>
                  </a:lnTo>
                  <a:lnTo>
                    <a:pt x="296" y="2906"/>
                  </a:lnTo>
                  <a:lnTo>
                    <a:pt x="298" y="2910"/>
                  </a:lnTo>
                  <a:lnTo>
                    <a:pt x="300" y="2912"/>
                  </a:lnTo>
                  <a:lnTo>
                    <a:pt x="302" y="2912"/>
                  </a:lnTo>
                  <a:close/>
                  <a:moveTo>
                    <a:pt x="306" y="2942"/>
                  </a:moveTo>
                  <a:lnTo>
                    <a:pt x="306" y="2942"/>
                  </a:lnTo>
                  <a:lnTo>
                    <a:pt x="304" y="2942"/>
                  </a:lnTo>
                  <a:lnTo>
                    <a:pt x="302" y="2948"/>
                  </a:lnTo>
                  <a:lnTo>
                    <a:pt x="302" y="2952"/>
                  </a:lnTo>
                  <a:lnTo>
                    <a:pt x="304" y="2958"/>
                  </a:lnTo>
                  <a:lnTo>
                    <a:pt x="306" y="2958"/>
                  </a:lnTo>
                  <a:lnTo>
                    <a:pt x="308" y="2958"/>
                  </a:lnTo>
                  <a:lnTo>
                    <a:pt x="308" y="2952"/>
                  </a:lnTo>
                  <a:lnTo>
                    <a:pt x="310" y="2944"/>
                  </a:lnTo>
                  <a:lnTo>
                    <a:pt x="308" y="2942"/>
                  </a:lnTo>
                  <a:lnTo>
                    <a:pt x="306" y="2942"/>
                  </a:lnTo>
                  <a:close/>
                  <a:moveTo>
                    <a:pt x="278" y="2958"/>
                  </a:moveTo>
                  <a:lnTo>
                    <a:pt x="278" y="2958"/>
                  </a:lnTo>
                  <a:lnTo>
                    <a:pt x="280" y="2956"/>
                  </a:lnTo>
                  <a:lnTo>
                    <a:pt x="284" y="2952"/>
                  </a:lnTo>
                  <a:lnTo>
                    <a:pt x="286" y="2950"/>
                  </a:lnTo>
                  <a:lnTo>
                    <a:pt x="284" y="2946"/>
                  </a:lnTo>
                  <a:lnTo>
                    <a:pt x="280" y="2942"/>
                  </a:lnTo>
                  <a:lnTo>
                    <a:pt x="276" y="2942"/>
                  </a:lnTo>
                  <a:lnTo>
                    <a:pt x="274" y="2944"/>
                  </a:lnTo>
                  <a:lnTo>
                    <a:pt x="272" y="2946"/>
                  </a:lnTo>
                  <a:lnTo>
                    <a:pt x="274" y="2950"/>
                  </a:lnTo>
                  <a:lnTo>
                    <a:pt x="274" y="2952"/>
                  </a:lnTo>
                  <a:lnTo>
                    <a:pt x="274" y="2956"/>
                  </a:lnTo>
                  <a:lnTo>
                    <a:pt x="274" y="2958"/>
                  </a:lnTo>
                  <a:lnTo>
                    <a:pt x="278" y="2958"/>
                  </a:lnTo>
                  <a:close/>
                  <a:moveTo>
                    <a:pt x="1872" y="956"/>
                  </a:moveTo>
                  <a:lnTo>
                    <a:pt x="1872" y="956"/>
                  </a:lnTo>
                  <a:lnTo>
                    <a:pt x="1868" y="926"/>
                  </a:lnTo>
                  <a:lnTo>
                    <a:pt x="1864" y="900"/>
                  </a:lnTo>
                  <a:lnTo>
                    <a:pt x="1862" y="888"/>
                  </a:lnTo>
                  <a:lnTo>
                    <a:pt x="1858" y="876"/>
                  </a:lnTo>
                  <a:lnTo>
                    <a:pt x="1852" y="868"/>
                  </a:lnTo>
                  <a:lnTo>
                    <a:pt x="1844" y="858"/>
                  </a:lnTo>
                  <a:lnTo>
                    <a:pt x="1836" y="852"/>
                  </a:lnTo>
                  <a:lnTo>
                    <a:pt x="1830" y="850"/>
                  </a:lnTo>
                  <a:lnTo>
                    <a:pt x="1824" y="850"/>
                  </a:lnTo>
                  <a:lnTo>
                    <a:pt x="1816" y="850"/>
                  </a:lnTo>
                  <a:lnTo>
                    <a:pt x="1810" y="852"/>
                  </a:lnTo>
                  <a:lnTo>
                    <a:pt x="1800" y="850"/>
                  </a:lnTo>
                  <a:lnTo>
                    <a:pt x="1788" y="846"/>
                  </a:lnTo>
                  <a:lnTo>
                    <a:pt x="1774" y="838"/>
                  </a:lnTo>
                  <a:lnTo>
                    <a:pt x="1760" y="828"/>
                  </a:lnTo>
                  <a:lnTo>
                    <a:pt x="1750" y="820"/>
                  </a:lnTo>
                  <a:lnTo>
                    <a:pt x="1744" y="814"/>
                  </a:lnTo>
                  <a:lnTo>
                    <a:pt x="1740" y="808"/>
                  </a:lnTo>
                  <a:lnTo>
                    <a:pt x="1734" y="796"/>
                  </a:lnTo>
                  <a:lnTo>
                    <a:pt x="1728" y="788"/>
                  </a:lnTo>
                  <a:lnTo>
                    <a:pt x="1718" y="780"/>
                  </a:lnTo>
                  <a:lnTo>
                    <a:pt x="1698" y="762"/>
                  </a:lnTo>
                  <a:lnTo>
                    <a:pt x="1688" y="754"/>
                  </a:lnTo>
                  <a:lnTo>
                    <a:pt x="1680" y="748"/>
                  </a:lnTo>
                  <a:lnTo>
                    <a:pt x="1670" y="742"/>
                  </a:lnTo>
                  <a:lnTo>
                    <a:pt x="1660" y="740"/>
                  </a:lnTo>
                  <a:lnTo>
                    <a:pt x="1646" y="740"/>
                  </a:lnTo>
                  <a:lnTo>
                    <a:pt x="1632" y="740"/>
                  </a:lnTo>
                  <a:lnTo>
                    <a:pt x="1618" y="742"/>
                  </a:lnTo>
                  <a:lnTo>
                    <a:pt x="1602" y="742"/>
                  </a:lnTo>
                  <a:lnTo>
                    <a:pt x="1590" y="742"/>
                  </a:lnTo>
                  <a:lnTo>
                    <a:pt x="1578" y="738"/>
                  </a:lnTo>
                  <a:lnTo>
                    <a:pt x="1556" y="732"/>
                  </a:lnTo>
                  <a:lnTo>
                    <a:pt x="1536" y="722"/>
                  </a:lnTo>
                  <a:lnTo>
                    <a:pt x="1530" y="722"/>
                  </a:lnTo>
                  <a:lnTo>
                    <a:pt x="1526" y="722"/>
                  </a:lnTo>
                  <a:lnTo>
                    <a:pt x="1516" y="724"/>
                  </a:lnTo>
                  <a:lnTo>
                    <a:pt x="1508" y="730"/>
                  </a:lnTo>
                  <a:lnTo>
                    <a:pt x="1500" y="738"/>
                  </a:lnTo>
                  <a:lnTo>
                    <a:pt x="1488" y="750"/>
                  </a:lnTo>
                  <a:lnTo>
                    <a:pt x="1482" y="754"/>
                  </a:lnTo>
                  <a:lnTo>
                    <a:pt x="1480" y="752"/>
                  </a:lnTo>
                  <a:lnTo>
                    <a:pt x="1478" y="748"/>
                  </a:lnTo>
                  <a:lnTo>
                    <a:pt x="1478" y="742"/>
                  </a:lnTo>
                  <a:lnTo>
                    <a:pt x="1482" y="728"/>
                  </a:lnTo>
                  <a:lnTo>
                    <a:pt x="1486" y="716"/>
                  </a:lnTo>
                  <a:lnTo>
                    <a:pt x="1488" y="712"/>
                  </a:lnTo>
                  <a:lnTo>
                    <a:pt x="1486" y="708"/>
                  </a:lnTo>
                  <a:lnTo>
                    <a:pt x="1482" y="702"/>
                  </a:lnTo>
                  <a:lnTo>
                    <a:pt x="1480" y="698"/>
                  </a:lnTo>
                  <a:lnTo>
                    <a:pt x="1478" y="688"/>
                  </a:lnTo>
                  <a:lnTo>
                    <a:pt x="1476" y="684"/>
                  </a:lnTo>
                  <a:lnTo>
                    <a:pt x="1470" y="680"/>
                  </a:lnTo>
                  <a:lnTo>
                    <a:pt x="1464" y="678"/>
                  </a:lnTo>
                  <a:lnTo>
                    <a:pt x="1454" y="674"/>
                  </a:lnTo>
                  <a:lnTo>
                    <a:pt x="1444" y="670"/>
                  </a:lnTo>
                  <a:lnTo>
                    <a:pt x="1438" y="668"/>
                  </a:lnTo>
                  <a:lnTo>
                    <a:pt x="1428" y="658"/>
                  </a:lnTo>
                  <a:lnTo>
                    <a:pt x="1420" y="652"/>
                  </a:lnTo>
                  <a:lnTo>
                    <a:pt x="1416" y="650"/>
                  </a:lnTo>
                  <a:lnTo>
                    <a:pt x="1410" y="650"/>
                  </a:lnTo>
                  <a:lnTo>
                    <a:pt x="1400" y="648"/>
                  </a:lnTo>
                  <a:lnTo>
                    <a:pt x="1392" y="644"/>
                  </a:lnTo>
                  <a:lnTo>
                    <a:pt x="1382" y="640"/>
                  </a:lnTo>
                  <a:lnTo>
                    <a:pt x="1362" y="638"/>
                  </a:lnTo>
                  <a:lnTo>
                    <a:pt x="1354" y="638"/>
                  </a:lnTo>
                  <a:lnTo>
                    <a:pt x="1348" y="640"/>
                  </a:lnTo>
                  <a:lnTo>
                    <a:pt x="1340" y="644"/>
                  </a:lnTo>
                  <a:lnTo>
                    <a:pt x="1332" y="654"/>
                  </a:lnTo>
                  <a:lnTo>
                    <a:pt x="1326" y="662"/>
                  </a:lnTo>
                  <a:lnTo>
                    <a:pt x="1318" y="676"/>
                  </a:lnTo>
                  <a:lnTo>
                    <a:pt x="1314" y="678"/>
                  </a:lnTo>
                  <a:lnTo>
                    <a:pt x="1312" y="674"/>
                  </a:lnTo>
                  <a:lnTo>
                    <a:pt x="1310" y="666"/>
                  </a:lnTo>
                  <a:lnTo>
                    <a:pt x="1314" y="658"/>
                  </a:lnTo>
                  <a:lnTo>
                    <a:pt x="1322" y="642"/>
                  </a:lnTo>
                  <a:lnTo>
                    <a:pt x="1326" y="634"/>
                  </a:lnTo>
                  <a:lnTo>
                    <a:pt x="1326" y="628"/>
                  </a:lnTo>
                  <a:lnTo>
                    <a:pt x="1326" y="626"/>
                  </a:lnTo>
                  <a:lnTo>
                    <a:pt x="1322" y="622"/>
                  </a:lnTo>
                  <a:lnTo>
                    <a:pt x="1314" y="618"/>
                  </a:lnTo>
                  <a:lnTo>
                    <a:pt x="1296" y="614"/>
                  </a:lnTo>
                  <a:lnTo>
                    <a:pt x="1288" y="614"/>
                  </a:lnTo>
                  <a:lnTo>
                    <a:pt x="1278" y="616"/>
                  </a:lnTo>
                  <a:lnTo>
                    <a:pt x="1256" y="612"/>
                  </a:lnTo>
                  <a:lnTo>
                    <a:pt x="1246" y="612"/>
                  </a:lnTo>
                  <a:lnTo>
                    <a:pt x="1240" y="614"/>
                  </a:lnTo>
                  <a:lnTo>
                    <a:pt x="1234" y="620"/>
                  </a:lnTo>
                  <a:lnTo>
                    <a:pt x="1230" y="626"/>
                  </a:lnTo>
                  <a:lnTo>
                    <a:pt x="1230" y="634"/>
                  </a:lnTo>
                  <a:lnTo>
                    <a:pt x="1228" y="642"/>
                  </a:lnTo>
                  <a:lnTo>
                    <a:pt x="1228" y="656"/>
                  </a:lnTo>
                  <a:lnTo>
                    <a:pt x="1226" y="652"/>
                  </a:lnTo>
                  <a:lnTo>
                    <a:pt x="1222" y="652"/>
                  </a:lnTo>
                  <a:lnTo>
                    <a:pt x="1216" y="658"/>
                  </a:lnTo>
                  <a:lnTo>
                    <a:pt x="1214" y="660"/>
                  </a:lnTo>
                  <a:lnTo>
                    <a:pt x="1212" y="660"/>
                  </a:lnTo>
                  <a:lnTo>
                    <a:pt x="1212" y="658"/>
                  </a:lnTo>
                  <a:lnTo>
                    <a:pt x="1214" y="650"/>
                  </a:lnTo>
                  <a:lnTo>
                    <a:pt x="1216" y="642"/>
                  </a:lnTo>
                  <a:lnTo>
                    <a:pt x="1214" y="638"/>
                  </a:lnTo>
                  <a:lnTo>
                    <a:pt x="1210" y="636"/>
                  </a:lnTo>
                  <a:lnTo>
                    <a:pt x="1206" y="638"/>
                  </a:lnTo>
                  <a:lnTo>
                    <a:pt x="1198" y="640"/>
                  </a:lnTo>
                  <a:lnTo>
                    <a:pt x="1198" y="636"/>
                  </a:lnTo>
                  <a:lnTo>
                    <a:pt x="1202" y="632"/>
                  </a:lnTo>
                  <a:lnTo>
                    <a:pt x="1202" y="628"/>
                  </a:lnTo>
                  <a:lnTo>
                    <a:pt x="1204" y="620"/>
                  </a:lnTo>
                  <a:lnTo>
                    <a:pt x="1204" y="616"/>
                  </a:lnTo>
                  <a:lnTo>
                    <a:pt x="1206" y="614"/>
                  </a:lnTo>
                  <a:lnTo>
                    <a:pt x="1210" y="610"/>
                  </a:lnTo>
                  <a:lnTo>
                    <a:pt x="1216" y="608"/>
                  </a:lnTo>
                  <a:lnTo>
                    <a:pt x="1224" y="604"/>
                  </a:lnTo>
                  <a:lnTo>
                    <a:pt x="1230" y="596"/>
                  </a:lnTo>
                  <a:lnTo>
                    <a:pt x="1240" y="582"/>
                  </a:lnTo>
                  <a:lnTo>
                    <a:pt x="1248" y="566"/>
                  </a:lnTo>
                  <a:lnTo>
                    <a:pt x="1254" y="560"/>
                  </a:lnTo>
                  <a:lnTo>
                    <a:pt x="1260" y="556"/>
                  </a:lnTo>
                  <a:lnTo>
                    <a:pt x="1264" y="554"/>
                  </a:lnTo>
                  <a:lnTo>
                    <a:pt x="1266" y="548"/>
                  </a:lnTo>
                  <a:lnTo>
                    <a:pt x="1266" y="542"/>
                  </a:lnTo>
                  <a:lnTo>
                    <a:pt x="1266" y="536"/>
                  </a:lnTo>
                  <a:lnTo>
                    <a:pt x="1264" y="528"/>
                  </a:lnTo>
                  <a:lnTo>
                    <a:pt x="1260" y="524"/>
                  </a:lnTo>
                  <a:lnTo>
                    <a:pt x="1256" y="520"/>
                  </a:lnTo>
                  <a:lnTo>
                    <a:pt x="1252" y="518"/>
                  </a:lnTo>
                  <a:lnTo>
                    <a:pt x="1244" y="518"/>
                  </a:lnTo>
                  <a:lnTo>
                    <a:pt x="1240" y="516"/>
                  </a:lnTo>
                  <a:lnTo>
                    <a:pt x="1238" y="514"/>
                  </a:lnTo>
                  <a:lnTo>
                    <a:pt x="1238" y="508"/>
                  </a:lnTo>
                  <a:lnTo>
                    <a:pt x="1236" y="504"/>
                  </a:lnTo>
                  <a:lnTo>
                    <a:pt x="1234" y="502"/>
                  </a:lnTo>
                  <a:lnTo>
                    <a:pt x="1234" y="500"/>
                  </a:lnTo>
                  <a:lnTo>
                    <a:pt x="1232" y="494"/>
                  </a:lnTo>
                  <a:lnTo>
                    <a:pt x="1232" y="490"/>
                  </a:lnTo>
                  <a:lnTo>
                    <a:pt x="1230" y="488"/>
                  </a:lnTo>
                  <a:lnTo>
                    <a:pt x="1228" y="484"/>
                  </a:lnTo>
                  <a:lnTo>
                    <a:pt x="1226" y="480"/>
                  </a:lnTo>
                  <a:lnTo>
                    <a:pt x="1226" y="476"/>
                  </a:lnTo>
                  <a:lnTo>
                    <a:pt x="1226" y="472"/>
                  </a:lnTo>
                  <a:lnTo>
                    <a:pt x="1222" y="466"/>
                  </a:lnTo>
                  <a:lnTo>
                    <a:pt x="1220" y="444"/>
                  </a:lnTo>
                  <a:lnTo>
                    <a:pt x="1218" y="422"/>
                  </a:lnTo>
                  <a:lnTo>
                    <a:pt x="1218" y="418"/>
                  </a:lnTo>
                  <a:lnTo>
                    <a:pt x="1216" y="416"/>
                  </a:lnTo>
                  <a:lnTo>
                    <a:pt x="1214" y="414"/>
                  </a:lnTo>
                  <a:lnTo>
                    <a:pt x="1212" y="410"/>
                  </a:lnTo>
                  <a:lnTo>
                    <a:pt x="1206" y="398"/>
                  </a:lnTo>
                  <a:lnTo>
                    <a:pt x="1202" y="392"/>
                  </a:lnTo>
                  <a:lnTo>
                    <a:pt x="1200" y="392"/>
                  </a:lnTo>
                  <a:lnTo>
                    <a:pt x="1198" y="394"/>
                  </a:lnTo>
                  <a:lnTo>
                    <a:pt x="1198" y="396"/>
                  </a:lnTo>
                  <a:lnTo>
                    <a:pt x="1196" y="402"/>
                  </a:lnTo>
                  <a:lnTo>
                    <a:pt x="1192" y="410"/>
                  </a:lnTo>
                  <a:lnTo>
                    <a:pt x="1192" y="406"/>
                  </a:lnTo>
                  <a:lnTo>
                    <a:pt x="1192" y="404"/>
                  </a:lnTo>
                  <a:lnTo>
                    <a:pt x="1192" y="400"/>
                  </a:lnTo>
                  <a:lnTo>
                    <a:pt x="1192" y="394"/>
                  </a:lnTo>
                  <a:lnTo>
                    <a:pt x="1188" y="380"/>
                  </a:lnTo>
                  <a:lnTo>
                    <a:pt x="1186" y="380"/>
                  </a:lnTo>
                  <a:lnTo>
                    <a:pt x="1184" y="382"/>
                  </a:lnTo>
                  <a:lnTo>
                    <a:pt x="1182" y="382"/>
                  </a:lnTo>
                  <a:lnTo>
                    <a:pt x="1180" y="380"/>
                  </a:lnTo>
                  <a:lnTo>
                    <a:pt x="1178" y="374"/>
                  </a:lnTo>
                  <a:lnTo>
                    <a:pt x="1174" y="372"/>
                  </a:lnTo>
                  <a:lnTo>
                    <a:pt x="1172" y="368"/>
                  </a:lnTo>
                  <a:lnTo>
                    <a:pt x="1166" y="364"/>
                  </a:lnTo>
                  <a:lnTo>
                    <a:pt x="1158" y="360"/>
                  </a:lnTo>
                  <a:lnTo>
                    <a:pt x="1154" y="356"/>
                  </a:lnTo>
                  <a:lnTo>
                    <a:pt x="1150" y="350"/>
                  </a:lnTo>
                  <a:lnTo>
                    <a:pt x="1148" y="346"/>
                  </a:lnTo>
                  <a:lnTo>
                    <a:pt x="1144" y="342"/>
                  </a:lnTo>
                  <a:lnTo>
                    <a:pt x="1136" y="338"/>
                  </a:lnTo>
                  <a:lnTo>
                    <a:pt x="1126" y="334"/>
                  </a:lnTo>
                  <a:lnTo>
                    <a:pt x="1114" y="330"/>
                  </a:lnTo>
                  <a:lnTo>
                    <a:pt x="1102" y="324"/>
                  </a:lnTo>
                  <a:lnTo>
                    <a:pt x="1072" y="316"/>
                  </a:lnTo>
                  <a:lnTo>
                    <a:pt x="1060" y="314"/>
                  </a:lnTo>
                  <a:lnTo>
                    <a:pt x="1056" y="314"/>
                  </a:lnTo>
                  <a:lnTo>
                    <a:pt x="1054" y="316"/>
                  </a:lnTo>
                  <a:lnTo>
                    <a:pt x="1048" y="316"/>
                  </a:lnTo>
                  <a:lnTo>
                    <a:pt x="1038" y="314"/>
                  </a:lnTo>
                  <a:lnTo>
                    <a:pt x="1026" y="314"/>
                  </a:lnTo>
                  <a:lnTo>
                    <a:pt x="1024" y="316"/>
                  </a:lnTo>
                  <a:lnTo>
                    <a:pt x="1022" y="318"/>
                  </a:lnTo>
                  <a:lnTo>
                    <a:pt x="1022" y="322"/>
                  </a:lnTo>
                  <a:lnTo>
                    <a:pt x="1018" y="322"/>
                  </a:lnTo>
                  <a:lnTo>
                    <a:pt x="1006" y="318"/>
                  </a:lnTo>
                  <a:lnTo>
                    <a:pt x="998" y="316"/>
                  </a:lnTo>
                  <a:lnTo>
                    <a:pt x="990" y="314"/>
                  </a:lnTo>
                  <a:lnTo>
                    <a:pt x="982" y="316"/>
                  </a:lnTo>
                  <a:lnTo>
                    <a:pt x="974" y="318"/>
                  </a:lnTo>
                  <a:lnTo>
                    <a:pt x="972" y="316"/>
                  </a:lnTo>
                  <a:lnTo>
                    <a:pt x="972" y="314"/>
                  </a:lnTo>
                  <a:lnTo>
                    <a:pt x="968" y="308"/>
                  </a:lnTo>
                  <a:lnTo>
                    <a:pt x="966" y="302"/>
                  </a:lnTo>
                  <a:lnTo>
                    <a:pt x="964" y="300"/>
                  </a:lnTo>
                  <a:lnTo>
                    <a:pt x="962" y="298"/>
                  </a:lnTo>
                  <a:lnTo>
                    <a:pt x="958" y="296"/>
                  </a:lnTo>
                  <a:lnTo>
                    <a:pt x="956" y="294"/>
                  </a:lnTo>
                  <a:lnTo>
                    <a:pt x="954" y="288"/>
                  </a:lnTo>
                  <a:lnTo>
                    <a:pt x="952" y="284"/>
                  </a:lnTo>
                  <a:lnTo>
                    <a:pt x="948" y="280"/>
                  </a:lnTo>
                  <a:lnTo>
                    <a:pt x="942" y="276"/>
                  </a:lnTo>
                  <a:lnTo>
                    <a:pt x="934" y="274"/>
                  </a:lnTo>
                  <a:lnTo>
                    <a:pt x="920" y="270"/>
                  </a:lnTo>
                  <a:lnTo>
                    <a:pt x="916" y="268"/>
                  </a:lnTo>
                  <a:lnTo>
                    <a:pt x="916" y="264"/>
                  </a:lnTo>
                  <a:lnTo>
                    <a:pt x="918" y="254"/>
                  </a:lnTo>
                  <a:lnTo>
                    <a:pt x="918" y="248"/>
                  </a:lnTo>
                  <a:lnTo>
                    <a:pt x="918" y="242"/>
                  </a:lnTo>
                  <a:lnTo>
                    <a:pt x="914" y="234"/>
                  </a:lnTo>
                  <a:lnTo>
                    <a:pt x="908" y="228"/>
                  </a:lnTo>
                  <a:lnTo>
                    <a:pt x="892" y="214"/>
                  </a:lnTo>
                  <a:lnTo>
                    <a:pt x="868" y="198"/>
                  </a:lnTo>
                  <a:lnTo>
                    <a:pt x="862" y="192"/>
                  </a:lnTo>
                  <a:lnTo>
                    <a:pt x="852" y="188"/>
                  </a:lnTo>
                  <a:lnTo>
                    <a:pt x="840" y="188"/>
                  </a:lnTo>
                  <a:lnTo>
                    <a:pt x="830" y="188"/>
                  </a:lnTo>
                  <a:lnTo>
                    <a:pt x="818" y="190"/>
                  </a:lnTo>
                  <a:lnTo>
                    <a:pt x="804" y="194"/>
                  </a:lnTo>
                  <a:lnTo>
                    <a:pt x="802" y="192"/>
                  </a:lnTo>
                  <a:lnTo>
                    <a:pt x="804" y="190"/>
                  </a:lnTo>
                  <a:lnTo>
                    <a:pt x="808" y="184"/>
                  </a:lnTo>
                  <a:lnTo>
                    <a:pt x="810" y="180"/>
                  </a:lnTo>
                  <a:lnTo>
                    <a:pt x="812" y="172"/>
                  </a:lnTo>
                  <a:lnTo>
                    <a:pt x="814" y="164"/>
                  </a:lnTo>
                  <a:lnTo>
                    <a:pt x="816" y="160"/>
                  </a:lnTo>
                  <a:lnTo>
                    <a:pt x="822" y="156"/>
                  </a:lnTo>
                  <a:lnTo>
                    <a:pt x="826" y="152"/>
                  </a:lnTo>
                  <a:lnTo>
                    <a:pt x="826" y="150"/>
                  </a:lnTo>
                  <a:lnTo>
                    <a:pt x="826" y="148"/>
                  </a:lnTo>
                  <a:lnTo>
                    <a:pt x="822" y="146"/>
                  </a:lnTo>
                  <a:lnTo>
                    <a:pt x="814" y="142"/>
                  </a:lnTo>
                  <a:lnTo>
                    <a:pt x="810" y="138"/>
                  </a:lnTo>
                  <a:lnTo>
                    <a:pt x="808" y="134"/>
                  </a:lnTo>
                  <a:lnTo>
                    <a:pt x="804" y="130"/>
                  </a:lnTo>
                  <a:lnTo>
                    <a:pt x="800" y="128"/>
                  </a:lnTo>
                  <a:lnTo>
                    <a:pt x="792" y="128"/>
                  </a:lnTo>
                  <a:lnTo>
                    <a:pt x="784" y="126"/>
                  </a:lnTo>
                  <a:lnTo>
                    <a:pt x="780" y="124"/>
                  </a:lnTo>
                  <a:lnTo>
                    <a:pt x="778" y="122"/>
                  </a:lnTo>
                  <a:lnTo>
                    <a:pt x="772" y="116"/>
                  </a:lnTo>
                  <a:lnTo>
                    <a:pt x="766" y="112"/>
                  </a:lnTo>
                  <a:lnTo>
                    <a:pt x="752" y="104"/>
                  </a:lnTo>
                  <a:lnTo>
                    <a:pt x="746" y="100"/>
                  </a:lnTo>
                  <a:lnTo>
                    <a:pt x="744" y="98"/>
                  </a:lnTo>
                  <a:lnTo>
                    <a:pt x="748" y="94"/>
                  </a:lnTo>
                  <a:lnTo>
                    <a:pt x="756" y="92"/>
                  </a:lnTo>
                  <a:lnTo>
                    <a:pt x="772" y="88"/>
                  </a:lnTo>
                  <a:lnTo>
                    <a:pt x="782" y="84"/>
                  </a:lnTo>
                  <a:lnTo>
                    <a:pt x="782" y="82"/>
                  </a:lnTo>
                  <a:lnTo>
                    <a:pt x="778" y="80"/>
                  </a:lnTo>
                  <a:lnTo>
                    <a:pt x="762" y="78"/>
                  </a:lnTo>
                  <a:lnTo>
                    <a:pt x="744" y="78"/>
                  </a:lnTo>
                  <a:lnTo>
                    <a:pt x="736" y="80"/>
                  </a:lnTo>
                  <a:lnTo>
                    <a:pt x="726" y="82"/>
                  </a:lnTo>
                  <a:lnTo>
                    <a:pt x="706" y="84"/>
                  </a:lnTo>
                  <a:lnTo>
                    <a:pt x="696" y="84"/>
                  </a:lnTo>
                  <a:lnTo>
                    <a:pt x="688" y="86"/>
                  </a:lnTo>
                  <a:lnTo>
                    <a:pt x="684" y="88"/>
                  </a:lnTo>
                  <a:lnTo>
                    <a:pt x="682" y="92"/>
                  </a:lnTo>
                  <a:lnTo>
                    <a:pt x="680" y="98"/>
                  </a:lnTo>
                  <a:lnTo>
                    <a:pt x="678" y="100"/>
                  </a:lnTo>
                  <a:lnTo>
                    <a:pt x="674" y="104"/>
                  </a:lnTo>
                  <a:lnTo>
                    <a:pt x="662" y="110"/>
                  </a:lnTo>
                  <a:lnTo>
                    <a:pt x="654" y="112"/>
                  </a:lnTo>
                  <a:lnTo>
                    <a:pt x="646" y="112"/>
                  </a:lnTo>
                  <a:lnTo>
                    <a:pt x="638" y="112"/>
                  </a:lnTo>
                  <a:lnTo>
                    <a:pt x="630" y="108"/>
                  </a:lnTo>
                  <a:lnTo>
                    <a:pt x="622" y="102"/>
                  </a:lnTo>
                  <a:lnTo>
                    <a:pt x="616" y="94"/>
                  </a:lnTo>
                  <a:lnTo>
                    <a:pt x="612" y="88"/>
                  </a:lnTo>
                  <a:lnTo>
                    <a:pt x="608" y="86"/>
                  </a:lnTo>
                  <a:lnTo>
                    <a:pt x="602" y="84"/>
                  </a:lnTo>
                  <a:lnTo>
                    <a:pt x="594" y="84"/>
                  </a:lnTo>
                  <a:lnTo>
                    <a:pt x="580" y="86"/>
                  </a:lnTo>
                  <a:lnTo>
                    <a:pt x="564" y="90"/>
                  </a:lnTo>
                  <a:lnTo>
                    <a:pt x="548" y="94"/>
                  </a:lnTo>
                  <a:lnTo>
                    <a:pt x="536" y="94"/>
                  </a:lnTo>
                  <a:lnTo>
                    <a:pt x="530" y="92"/>
                  </a:lnTo>
                  <a:lnTo>
                    <a:pt x="526" y="90"/>
                  </a:lnTo>
                  <a:lnTo>
                    <a:pt x="524" y="84"/>
                  </a:lnTo>
                  <a:lnTo>
                    <a:pt x="522" y="78"/>
                  </a:lnTo>
                  <a:lnTo>
                    <a:pt x="520" y="64"/>
                  </a:lnTo>
                  <a:lnTo>
                    <a:pt x="516" y="56"/>
                  </a:lnTo>
                  <a:lnTo>
                    <a:pt x="508" y="50"/>
                  </a:lnTo>
                  <a:lnTo>
                    <a:pt x="500" y="46"/>
                  </a:lnTo>
                  <a:lnTo>
                    <a:pt x="490" y="44"/>
                  </a:lnTo>
                  <a:lnTo>
                    <a:pt x="482" y="40"/>
                  </a:lnTo>
                  <a:lnTo>
                    <a:pt x="474" y="32"/>
                  </a:lnTo>
                  <a:lnTo>
                    <a:pt x="468" y="22"/>
                  </a:lnTo>
                  <a:lnTo>
                    <a:pt x="464" y="12"/>
                  </a:lnTo>
                  <a:lnTo>
                    <a:pt x="458" y="8"/>
                  </a:lnTo>
                  <a:lnTo>
                    <a:pt x="454" y="8"/>
                  </a:lnTo>
                  <a:lnTo>
                    <a:pt x="450" y="10"/>
                  </a:lnTo>
                  <a:lnTo>
                    <a:pt x="446" y="16"/>
                  </a:lnTo>
                  <a:lnTo>
                    <a:pt x="444" y="22"/>
                  </a:lnTo>
                  <a:lnTo>
                    <a:pt x="444" y="28"/>
                  </a:lnTo>
                  <a:lnTo>
                    <a:pt x="444" y="34"/>
                  </a:lnTo>
                  <a:lnTo>
                    <a:pt x="448" y="40"/>
                  </a:lnTo>
                  <a:lnTo>
                    <a:pt x="452" y="48"/>
                  </a:lnTo>
                  <a:lnTo>
                    <a:pt x="452" y="50"/>
                  </a:lnTo>
                  <a:lnTo>
                    <a:pt x="448" y="52"/>
                  </a:lnTo>
                  <a:lnTo>
                    <a:pt x="430" y="56"/>
                  </a:lnTo>
                  <a:lnTo>
                    <a:pt x="420" y="60"/>
                  </a:lnTo>
                  <a:lnTo>
                    <a:pt x="410" y="64"/>
                  </a:lnTo>
                  <a:lnTo>
                    <a:pt x="402" y="70"/>
                  </a:lnTo>
                  <a:lnTo>
                    <a:pt x="398" y="74"/>
                  </a:lnTo>
                  <a:lnTo>
                    <a:pt x="392" y="80"/>
                  </a:lnTo>
                  <a:lnTo>
                    <a:pt x="390" y="78"/>
                  </a:lnTo>
                  <a:lnTo>
                    <a:pt x="388" y="72"/>
                  </a:lnTo>
                  <a:lnTo>
                    <a:pt x="386" y="64"/>
                  </a:lnTo>
                  <a:lnTo>
                    <a:pt x="380" y="56"/>
                  </a:lnTo>
                  <a:lnTo>
                    <a:pt x="376" y="52"/>
                  </a:lnTo>
                  <a:lnTo>
                    <a:pt x="376" y="48"/>
                  </a:lnTo>
                  <a:lnTo>
                    <a:pt x="378" y="44"/>
                  </a:lnTo>
                  <a:lnTo>
                    <a:pt x="382" y="40"/>
                  </a:lnTo>
                  <a:lnTo>
                    <a:pt x="392" y="32"/>
                  </a:lnTo>
                  <a:lnTo>
                    <a:pt x="402" y="26"/>
                  </a:lnTo>
                  <a:lnTo>
                    <a:pt x="406" y="24"/>
                  </a:lnTo>
                  <a:lnTo>
                    <a:pt x="410" y="20"/>
                  </a:lnTo>
                  <a:lnTo>
                    <a:pt x="410" y="14"/>
                  </a:lnTo>
                  <a:lnTo>
                    <a:pt x="410" y="10"/>
                  </a:lnTo>
                  <a:lnTo>
                    <a:pt x="408" y="6"/>
                  </a:lnTo>
                  <a:lnTo>
                    <a:pt x="404" y="2"/>
                  </a:lnTo>
                  <a:lnTo>
                    <a:pt x="398" y="0"/>
                  </a:lnTo>
                  <a:lnTo>
                    <a:pt x="390" y="0"/>
                  </a:lnTo>
                  <a:lnTo>
                    <a:pt x="378" y="4"/>
                  </a:lnTo>
                  <a:lnTo>
                    <a:pt x="374" y="6"/>
                  </a:lnTo>
                  <a:lnTo>
                    <a:pt x="370" y="10"/>
                  </a:lnTo>
                  <a:lnTo>
                    <a:pt x="362" y="20"/>
                  </a:lnTo>
                  <a:lnTo>
                    <a:pt x="354" y="26"/>
                  </a:lnTo>
                  <a:lnTo>
                    <a:pt x="344" y="36"/>
                  </a:lnTo>
                  <a:lnTo>
                    <a:pt x="328" y="46"/>
                  </a:lnTo>
                  <a:lnTo>
                    <a:pt x="316" y="50"/>
                  </a:lnTo>
                  <a:lnTo>
                    <a:pt x="306" y="52"/>
                  </a:lnTo>
                  <a:lnTo>
                    <a:pt x="298" y="52"/>
                  </a:lnTo>
                  <a:lnTo>
                    <a:pt x="294" y="50"/>
                  </a:lnTo>
                  <a:lnTo>
                    <a:pt x="290" y="50"/>
                  </a:lnTo>
                  <a:lnTo>
                    <a:pt x="286" y="52"/>
                  </a:lnTo>
                  <a:lnTo>
                    <a:pt x="284" y="58"/>
                  </a:lnTo>
                  <a:lnTo>
                    <a:pt x="280" y="66"/>
                  </a:lnTo>
                  <a:lnTo>
                    <a:pt x="276" y="68"/>
                  </a:lnTo>
                  <a:lnTo>
                    <a:pt x="270" y="68"/>
                  </a:lnTo>
                  <a:lnTo>
                    <a:pt x="266" y="66"/>
                  </a:lnTo>
                  <a:lnTo>
                    <a:pt x="256" y="62"/>
                  </a:lnTo>
                  <a:lnTo>
                    <a:pt x="252" y="64"/>
                  </a:lnTo>
                  <a:lnTo>
                    <a:pt x="250" y="68"/>
                  </a:lnTo>
                  <a:lnTo>
                    <a:pt x="248" y="72"/>
                  </a:lnTo>
                  <a:lnTo>
                    <a:pt x="244" y="78"/>
                  </a:lnTo>
                  <a:lnTo>
                    <a:pt x="238" y="86"/>
                  </a:lnTo>
                  <a:lnTo>
                    <a:pt x="234" y="92"/>
                  </a:lnTo>
                  <a:lnTo>
                    <a:pt x="232" y="100"/>
                  </a:lnTo>
                  <a:lnTo>
                    <a:pt x="230" y="110"/>
                  </a:lnTo>
                  <a:lnTo>
                    <a:pt x="230" y="122"/>
                  </a:lnTo>
                  <a:lnTo>
                    <a:pt x="230" y="134"/>
                  </a:lnTo>
                  <a:lnTo>
                    <a:pt x="226" y="142"/>
                  </a:lnTo>
                  <a:lnTo>
                    <a:pt x="224" y="144"/>
                  </a:lnTo>
                  <a:lnTo>
                    <a:pt x="220" y="146"/>
                  </a:lnTo>
                  <a:lnTo>
                    <a:pt x="214" y="146"/>
                  </a:lnTo>
                  <a:lnTo>
                    <a:pt x="210" y="148"/>
                  </a:lnTo>
                  <a:lnTo>
                    <a:pt x="208" y="150"/>
                  </a:lnTo>
                  <a:lnTo>
                    <a:pt x="206" y="158"/>
                  </a:lnTo>
                  <a:lnTo>
                    <a:pt x="202" y="166"/>
                  </a:lnTo>
                  <a:lnTo>
                    <a:pt x="198" y="170"/>
                  </a:lnTo>
                  <a:lnTo>
                    <a:pt x="180" y="202"/>
                  </a:lnTo>
                  <a:lnTo>
                    <a:pt x="182" y="212"/>
                  </a:lnTo>
                  <a:lnTo>
                    <a:pt x="182" y="214"/>
                  </a:lnTo>
                  <a:lnTo>
                    <a:pt x="180" y="214"/>
                  </a:lnTo>
                  <a:lnTo>
                    <a:pt x="176" y="210"/>
                  </a:lnTo>
                  <a:lnTo>
                    <a:pt x="144" y="264"/>
                  </a:lnTo>
                  <a:lnTo>
                    <a:pt x="146" y="274"/>
                  </a:lnTo>
                  <a:lnTo>
                    <a:pt x="148" y="278"/>
                  </a:lnTo>
                  <a:lnTo>
                    <a:pt x="152" y="280"/>
                  </a:lnTo>
                  <a:lnTo>
                    <a:pt x="156" y="284"/>
                  </a:lnTo>
                  <a:lnTo>
                    <a:pt x="158" y="286"/>
                  </a:lnTo>
                  <a:lnTo>
                    <a:pt x="158" y="290"/>
                  </a:lnTo>
                  <a:lnTo>
                    <a:pt x="156" y="296"/>
                  </a:lnTo>
                  <a:lnTo>
                    <a:pt x="154" y="304"/>
                  </a:lnTo>
                  <a:lnTo>
                    <a:pt x="154" y="310"/>
                  </a:lnTo>
                  <a:lnTo>
                    <a:pt x="156" y="314"/>
                  </a:lnTo>
                  <a:lnTo>
                    <a:pt x="162" y="320"/>
                  </a:lnTo>
                  <a:lnTo>
                    <a:pt x="162" y="324"/>
                  </a:lnTo>
                  <a:lnTo>
                    <a:pt x="160" y="328"/>
                  </a:lnTo>
                  <a:lnTo>
                    <a:pt x="158" y="330"/>
                  </a:lnTo>
                  <a:lnTo>
                    <a:pt x="154" y="334"/>
                  </a:lnTo>
                  <a:lnTo>
                    <a:pt x="152" y="338"/>
                  </a:lnTo>
                  <a:lnTo>
                    <a:pt x="150" y="348"/>
                  </a:lnTo>
                  <a:lnTo>
                    <a:pt x="152" y="360"/>
                  </a:lnTo>
                  <a:lnTo>
                    <a:pt x="154" y="374"/>
                  </a:lnTo>
                  <a:lnTo>
                    <a:pt x="154" y="386"/>
                  </a:lnTo>
                  <a:lnTo>
                    <a:pt x="152" y="406"/>
                  </a:lnTo>
                  <a:lnTo>
                    <a:pt x="152" y="418"/>
                  </a:lnTo>
                  <a:lnTo>
                    <a:pt x="152" y="422"/>
                  </a:lnTo>
                  <a:lnTo>
                    <a:pt x="156" y="424"/>
                  </a:lnTo>
                  <a:lnTo>
                    <a:pt x="158" y="428"/>
                  </a:lnTo>
                  <a:lnTo>
                    <a:pt x="158" y="434"/>
                  </a:lnTo>
                  <a:lnTo>
                    <a:pt x="158" y="444"/>
                  </a:lnTo>
                  <a:lnTo>
                    <a:pt x="154" y="454"/>
                  </a:lnTo>
                  <a:lnTo>
                    <a:pt x="150" y="464"/>
                  </a:lnTo>
                  <a:lnTo>
                    <a:pt x="144" y="472"/>
                  </a:lnTo>
                  <a:lnTo>
                    <a:pt x="138" y="478"/>
                  </a:lnTo>
                  <a:lnTo>
                    <a:pt x="132" y="480"/>
                  </a:lnTo>
                  <a:lnTo>
                    <a:pt x="118" y="482"/>
                  </a:lnTo>
                  <a:lnTo>
                    <a:pt x="110" y="486"/>
                  </a:lnTo>
                  <a:lnTo>
                    <a:pt x="106" y="490"/>
                  </a:lnTo>
                  <a:lnTo>
                    <a:pt x="104" y="494"/>
                  </a:lnTo>
                  <a:lnTo>
                    <a:pt x="104" y="498"/>
                  </a:lnTo>
                  <a:lnTo>
                    <a:pt x="104" y="504"/>
                  </a:lnTo>
                  <a:lnTo>
                    <a:pt x="104" y="510"/>
                  </a:lnTo>
                  <a:lnTo>
                    <a:pt x="102" y="512"/>
                  </a:lnTo>
                  <a:lnTo>
                    <a:pt x="96" y="516"/>
                  </a:lnTo>
                  <a:lnTo>
                    <a:pt x="92" y="518"/>
                  </a:lnTo>
                  <a:lnTo>
                    <a:pt x="92" y="520"/>
                  </a:lnTo>
                  <a:lnTo>
                    <a:pt x="94" y="526"/>
                  </a:lnTo>
                  <a:lnTo>
                    <a:pt x="98" y="536"/>
                  </a:lnTo>
                  <a:lnTo>
                    <a:pt x="98" y="540"/>
                  </a:lnTo>
                  <a:lnTo>
                    <a:pt x="98" y="542"/>
                  </a:lnTo>
                  <a:lnTo>
                    <a:pt x="92" y="548"/>
                  </a:lnTo>
                  <a:lnTo>
                    <a:pt x="84" y="552"/>
                  </a:lnTo>
                  <a:lnTo>
                    <a:pt x="74" y="554"/>
                  </a:lnTo>
                  <a:lnTo>
                    <a:pt x="64" y="558"/>
                  </a:lnTo>
                  <a:lnTo>
                    <a:pt x="56" y="562"/>
                  </a:lnTo>
                  <a:lnTo>
                    <a:pt x="50" y="570"/>
                  </a:lnTo>
                  <a:lnTo>
                    <a:pt x="50" y="574"/>
                  </a:lnTo>
                  <a:lnTo>
                    <a:pt x="50" y="578"/>
                  </a:lnTo>
                  <a:lnTo>
                    <a:pt x="50" y="592"/>
                  </a:lnTo>
                  <a:lnTo>
                    <a:pt x="48" y="600"/>
                  </a:lnTo>
                  <a:lnTo>
                    <a:pt x="46" y="606"/>
                  </a:lnTo>
                  <a:lnTo>
                    <a:pt x="42" y="610"/>
                  </a:lnTo>
                  <a:lnTo>
                    <a:pt x="36" y="618"/>
                  </a:lnTo>
                  <a:lnTo>
                    <a:pt x="34" y="624"/>
                  </a:lnTo>
                  <a:lnTo>
                    <a:pt x="34" y="632"/>
                  </a:lnTo>
                  <a:lnTo>
                    <a:pt x="34" y="642"/>
                  </a:lnTo>
                  <a:lnTo>
                    <a:pt x="30" y="646"/>
                  </a:lnTo>
                  <a:lnTo>
                    <a:pt x="28" y="648"/>
                  </a:lnTo>
                  <a:lnTo>
                    <a:pt x="22" y="650"/>
                  </a:lnTo>
                  <a:lnTo>
                    <a:pt x="18" y="652"/>
                  </a:lnTo>
                  <a:lnTo>
                    <a:pt x="16" y="654"/>
                  </a:lnTo>
                  <a:lnTo>
                    <a:pt x="14" y="660"/>
                  </a:lnTo>
                  <a:lnTo>
                    <a:pt x="16" y="670"/>
                  </a:lnTo>
                  <a:lnTo>
                    <a:pt x="18" y="688"/>
                  </a:lnTo>
                  <a:lnTo>
                    <a:pt x="20" y="698"/>
                  </a:lnTo>
                  <a:lnTo>
                    <a:pt x="18" y="706"/>
                  </a:lnTo>
                  <a:lnTo>
                    <a:pt x="18" y="710"/>
                  </a:lnTo>
                  <a:lnTo>
                    <a:pt x="16" y="714"/>
                  </a:lnTo>
                  <a:lnTo>
                    <a:pt x="18" y="716"/>
                  </a:lnTo>
                  <a:lnTo>
                    <a:pt x="28" y="728"/>
                  </a:lnTo>
                  <a:lnTo>
                    <a:pt x="34" y="734"/>
                  </a:lnTo>
                  <a:lnTo>
                    <a:pt x="42" y="736"/>
                  </a:lnTo>
                  <a:lnTo>
                    <a:pt x="46" y="736"/>
                  </a:lnTo>
                  <a:lnTo>
                    <a:pt x="50" y="732"/>
                  </a:lnTo>
                  <a:lnTo>
                    <a:pt x="54" y="726"/>
                  </a:lnTo>
                  <a:lnTo>
                    <a:pt x="56" y="726"/>
                  </a:lnTo>
                  <a:lnTo>
                    <a:pt x="56" y="730"/>
                  </a:lnTo>
                  <a:lnTo>
                    <a:pt x="56" y="744"/>
                  </a:lnTo>
                  <a:lnTo>
                    <a:pt x="54" y="756"/>
                  </a:lnTo>
                  <a:lnTo>
                    <a:pt x="52" y="760"/>
                  </a:lnTo>
                  <a:lnTo>
                    <a:pt x="48" y="766"/>
                  </a:lnTo>
                  <a:lnTo>
                    <a:pt x="44" y="768"/>
                  </a:lnTo>
                  <a:lnTo>
                    <a:pt x="38" y="770"/>
                  </a:lnTo>
                  <a:lnTo>
                    <a:pt x="22" y="786"/>
                  </a:lnTo>
                  <a:lnTo>
                    <a:pt x="12" y="800"/>
                  </a:lnTo>
                  <a:lnTo>
                    <a:pt x="6" y="812"/>
                  </a:lnTo>
                  <a:lnTo>
                    <a:pt x="2" y="824"/>
                  </a:lnTo>
                  <a:lnTo>
                    <a:pt x="0" y="836"/>
                  </a:lnTo>
                  <a:lnTo>
                    <a:pt x="0" y="844"/>
                  </a:lnTo>
                  <a:lnTo>
                    <a:pt x="2" y="860"/>
                  </a:lnTo>
                  <a:lnTo>
                    <a:pt x="4" y="866"/>
                  </a:lnTo>
                  <a:lnTo>
                    <a:pt x="8" y="870"/>
                  </a:lnTo>
                  <a:lnTo>
                    <a:pt x="16" y="876"/>
                  </a:lnTo>
                  <a:lnTo>
                    <a:pt x="18" y="878"/>
                  </a:lnTo>
                  <a:lnTo>
                    <a:pt x="18" y="882"/>
                  </a:lnTo>
                  <a:lnTo>
                    <a:pt x="18" y="884"/>
                  </a:lnTo>
                  <a:lnTo>
                    <a:pt x="12" y="888"/>
                  </a:lnTo>
                  <a:lnTo>
                    <a:pt x="8" y="892"/>
                  </a:lnTo>
                  <a:lnTo>
                    <a:pt x="6" y="896"/>
                  </a:lnTo>
                  <a:lnTo>
                    <a:pt x="6" y="900"/>
                  </a:lnTo>
                  <a:lnTo>
                    <a:pt x="6" y="902"/>
                  </a:lnTo>
                  <a:lnTo>
                    <a:pt x="12" y="908"/>
                  </a:lnTo>
                  <a:lnTo>
                    <a:pt x="22" y="914"/>
                  </a:lnTo>
                  <a:lnTo>
                    <a:pt x="44" y="926"/>
                  </a:lnTo>
                  <a:lnTo>
                    <a:pt x="54" y="934"/>
                  </a:lnTo>
                  <a:lnTo>
                    <a:pt x="56" y="938"/>
                  </a:lnTo>
                  <a:lnTo>
                    <a:pt x="58" y="944"/>
                  </a:lnTo>
                  <a:lnTo>
                    <a:pt x="62" y="960"/>
                  </a:lnTo>
                  <a:lnTo>
                    <a:pt x="68" y="972"/>
                  </a:lnTo>
                  <a:lnTo>
                    <a:pt x="74" y="980"/>
                  </a:lnTo>
                  <a:lnTo>
                    <a:pt x="80" y="988"/>
                  </a:lnTo>
                  <a:lnTo>
                    <a:pt x="92" y="1004"/>
                  </a:lnTo>
                  <a:lnTo>
                    <a:pt x="96" y="1014"/>
                  </a:lnTo>
                  <a:lnTo>
                    <a:pt x="100" y="1026"/>
                  </a:lnTo>
                  <a:lnTo>
                    <a:pt x="104" y="1040"/>
                  </a:lnTo>
                  <a:lnTo>
                    <a:pt x="108" y="1056"/>
                  </a:lnTo>
                  <a:lnTo>
                    <a:pt x="122" y="1086"/>
                  </a:lnTo>
                  <a:lnTo>
                    <a:pt x="136" y="1114"/>
                  </a:lnTo>
                  <a:lnTo>
                    <a:pt x="142" y="1128"/>
                  </a:lnTo>
                  <a:lnTo>
                    <a:pt x="146" y="1142"/>
                  </a:lnTo>
                  <a:lnTo>
                    <a:pt x="148" y="1152"/>
                  </a:lnTo>
                  <a:lnTo>
                    <a:pt x="152" y="1160"/>
                  </a:lnTo>
                  <a:lnTo>
                    <a:pt x="158" y="1172"/>
                  </a:lnTo>
                  <a:lnTo>
                    <a:pt x="162" y="1180"/>
                  </a:lnTo>
                  <a:lnTo>
                    <a:pt x="164" y="1186"/>
                  </a:lnTo>
                  <a:lnTo>
                    <a:pt x="164" y="1194"/>
                  </a:lnTo>
                  <a:lnTo>
                    <a:pt x="166" y="1202"/>
                  </a:lnTo>
                  <a:lnTo>
                    <a:pt x="172" y="1210"/>
                  </a:lnTo>
                  <a:lnTo>
                    <a:pt x="184" y="1228"/>
                  </a:lnTo>
                  <a:lnTo>
                    <a:pt x="192" y="1238"/>
                  </a:lnTo>
                  <a:lnTo>
                    <a:pt x="198" y="1248"/>
                  </a:lnTo>
                  <a:lnTo>
                    <a:pt x="200" y="1260"/>
                  </a:lnTo>
                  <a:lnTo>
                    <a:pt x="200" y="1274"/>
                  </a:lnTo>
                  <a:lnTo>
                    <a:pt x="200" y="1286"/>
                  </a:lnTo>
                  <a:lnTo>
                    <a:pt x="204" y="1298"/>
                  </a:lnTo>
                  <a:lnTo>
                    <a:pt x="208" y="1308"/>
                  </a:lnTo>
                  <a:lnTo>
                    <a:pt x="214" y="1316"/>
                  </a:lnTo>
                  <a:lnTo>
                    <a:pt x="228" y="1330"/>
                  </a:lnTo>
                  <a:lnTo>
                    <a:pt x="234" y="1338"/>
                  </a:lnTo>
                  <a:lnTo>
                    <a:pt x="238" y="1344"/>
                  </a:lnTo>
                  <a:lnTo>
                    <a:pt x="246" y="1356"/>
                  </a:lnTo>
                  <a:lnTo>
                    <a:pt x="256" y="1368"/>
                  </a:lnTo>
                  <a:lnTo>
                    <a:pt x="278" y="1384"/>
                  </a:lnTo>
                  <a:lnTo>
                    <a:pt x="318" y="1406"/>
                  </a:lnTo>
                  <a:lnTo>
                    <a:pt x="358" y="1428"/>
                  </a:lnTo>
                  <a:lnTo>
                    <a:pt x="380" y="1442"/>
                  </a:lnTo>
                  <a:lnTo>
                    <a:pt x="388" y="1448"/>
                  </a:lnTo>
                  <a:lnTo>
                    <a:pt x="392" y="1454"/>
                  </a:lnTo>
                  <a:lnTo>
                    <a:pt x="396" y="1460"/>
                  </a:lnTo>
                  <a:lnTo>
                    <a:pt x="398" y="1468"/>
                  </a:lnTo>
                  <a:lnTo>
                    <a:pt x="400" y="1474"/>
                  </a:lnTo>
                  <a:lnTo>
                    <a:pt x="404" y="1480"/>
                  </a:lnTo>
                  <a:lnTo>
                    <a:pt x="408" y="1486"/>
                  </a:lnTo>
                  <a:lnTo>
                    <a:pt x="414" y="1490"/>
                  </a:lnTo>
                  <a:lnTo>
                    <a:pt x="426" y="1496"/>
                  </a:lnTo>
                  <a:lnTo>
                    <a:pt x="434" y="1500"/>
                  </a:lnTo>
                  <a:lnTo>
                    <a:pt x="440" y="1506"/>
                  </a:lnTo>
                  <a:lnTo>
                    <a:pt x="438" y="1532"/>
                  </a:lnTo>
                  <a:lnTo>
                    <a:pt x="440" y="1542"/>
                  </a:lnTo>
                  <a:lnTo>
                    <a:pt x="442" y="1546"/>
                  </a:lnTo>
                  <a:lnTo>
                    <a:pt x="442" y="1552"/>
                  </a:lnTo>
                  <a:lnTo>
                    <a:pt x="444" y="1564"/>
                  </a:lnTo>
                  <a:lnTo>
                    <a:pt x="446" y="1574"/>
                  </a:lnTo>
                  <a:lnTo>
                    <a:pt x="448" y="1586"/>
                  </a:lnTo>
                  <a:lnTo>
                    <a:pt x="448" y="1594"/>
                  </a:lnTo>
                  <a:lnTo>
                    <a:pt x="448" y="1604"/>
                  </a:lnTo>
                  <a:lnTo>
                    <a:pt x="446" y="1614"/>
                  </a:lnTo>
                  <a:lnTo>
                    <a:pt x="446" y="1624"/>
                  </a:lnTo>
                  <a:lnTo>
                    <a:pt x="450" y="1640"/>
                  </a:lnTo>
                  <a:lnTo>
                    <a:pt x="452" y="1658"/>
                  </a:lnTo>
                  <a:lnTo>
                    <a:pt x="452" y="1670"/>
                  </a:lnTo>
                  <a:lnTo>
                    <a:pt x="448" y="1686"/>
                  </a:lnTo>
                  <a:lnTo>
                    <a:pt x="444" y="1716"/>
                  </a:lnTo>
                  <a:lnTo>
                    <a:pt x="442" y="1732"/>
                  </a:lnTo>
                  <a:lnTo>
                    <a:pt x="440" y="1742"/>
                  </a:lnTo>
                  <a:lnTo>
                    <a:pt x="440" y="1744"/>
                  </a:lnTo>
                  <a:lnTo>
                    <a:pt x="438" y="1744"/>
                  </a:lnTo>
                  <a:lnTo>
                    <a:pt x="436" y="1744"/>
                  </a:lnTo>
                  <a:lnTo>
                    <a:pt x="434" y="1746"/>
                  </a:lnTo>
                  <a:lnTo>
                    <a:pt x="430" y="1752"/>
                  </a:lnTo>
                  <a:lnTo>
                    <a:pt x="430" y="1760"/>
                  </a:lnTo>
                  <a:lnTo>
                    <a:pt x="430" y="1762"/>
                  </a:lnTo>
                  <a:lnTo>
                    <a:pt x="434" y="1764"/>
                  </a:lnTo>
                  <a:lnTo>
                    <a:pt x="436" y="1768"/>
                  </a:lnTo>
                  <a:lnTo>
                    <a:pt x="436" y="1772"/>
                  </a:lnTo>
                  <a:lnTo>
                    <a:pt x="434" y="1788"/>
                  </a:lnTo>
                  <a:lnTo>
                    <a:pt x="430" y="1808"/>
                  </a:lnTo>
                  <a:lnTo>
                    <a:pt x="432" y="1820"/>
                  </a:lnTo>
                  <a:lnTo>
                    <a:pt x="434" y="1834"/>
                  </a:lnTo>
                  <a:lnTo>
                    <a:pt x="436" y="1846"/>
                  </a:lnTo>
                  <a:lnTo>
                    <a:pt x="436" y="1856"/>
                  </a:lnTo>
                  <a:lnTo>
                    <a:pt x="434" y="1864"/>
                  </a:lnTo>
                  <a:lnTo>
                    <a:pt x="432" y="1870"/>
                  </a:lnTo>
                  <a:lnTo>
                    <a:pt x="428" y="1882"/>
                  </a:lnTo>
                  <a:lnTo>
                    <a:pt x="428" y="1888"/>
                  </a:lnTo>
                  <a:lnTo>
                    <a:pt x="430" y="1894"/>
                  </a:lnTo>
                  <a:lnTo>
                    <a:pt x="432" y="1900"/>
                  </a:lnTo>
                  <a:lnTo>
                    <a:pt x="430" y="1908"/>
                  </a:lnTo>
                  <a:lnTo>
                    <a:pt x="424" y="1928"/>
                  </a:lnTo>
                  <a:lnTo>
                    <a:pt x="418" y="1946"/>
                  </a:lnTo>
                  <a:lnTo>
                    <a:pt x="416" y="1956"/>
                  </a:lnTo>
                  <a:lnTo>
                    <a:pt x="416" y="1964"/>
                  </a:lnTo>
                  <a:lnTo>
                    <a:pt x="416" y="1974"/>
                  </a:lnTo>
                  <a:lnTo>
                    <a:pt x="414" y="1978"/>
                  </a:lnTo>
                  <a:lnTo>
                    <a:pt x="410" y="1986"/>
                  </a:lnTo>
                  <a:lnTo>
                    <a:pt x="408" y="2004"/>
                  </a:lnTo>
                  <a:lnTo>
                    <a:pt x="408" y="2016"/>
                  </a:lnTo>
                  <a:lnTo>
                    <a:pt x="404" y="2024"/>
                  </a:lnTo>
                  <a:lnTo>
                    <a:pt x="400" y="2030"/>
                  </a:lnTo>
                  <a:lnTo>
                    <a:pt x="398" y="2036"/>
                  </a:lnTo>
                  <a:lnTo>
                    <a:pt x="394" y="2040"/>
                  </a:lnTo>
                  <a:lnTo>
                    <a:pt x="392" y="2044"/>
                  </a:lnTo>
                  <a:lnTo>
                    <a:pt x="392" y="2048"/>
                  </a:lnTo>
                  <a:lnTo>
                    <a:pt x="394" y="2056"/>
                  </a:lnTo>
                  <a:lnTo>
                    <a:pt x="400" y="2072"/>
                  </a:lnTo>
                  <a:lnTo>
                    <a:pt x="402" y="2086"/>
                  </a:lnTo>
                  <a:lnTo>
                    <a:pt x="402" y="2098"/>
                  </a:lnTo>
                  <a:lnTo>
                    <a:pt x="400" y="2104"/>
                  </a:lnTo>
                  <a:lnTo>
                    <a:pt x="398" y="2108"/>
                  </a:lnTo>
                  <a:lnTo>
                    <a:pt x="390" y="2116"/>
                  </a:lnTo>
                  <a:lnTo>
                    <a:pt x="386" y="2124"/>
                  </a:lnTo>
                  <a:lnTo>
                    <a:pt x="384" y="2130"/>
                  </a:lnTo>
                  <a:lnTo>
                    <a:pt x="384" y="2138"/>
                  </a:lnTo>
                  <a:lnTo>
                    <a:pt x="388" y="2162"/>
                  </a:lnTo>
                  <a:lnTo>
                    <a:pt x="392" y="2186"/>
                  </a:lnTo>
                  <a:lnTo>
                    <a:pt x="392" y="2200"/>
                  </a:lnTo>
                  <a:lnTo>
                    <a:pt x="392" y="2212"/>
                  </a:lnTo>
                  <a:lnTo>
                    <a:pt x="396" y="2224"/>
                  </a:lnTo>
                  <a:lnTo>
                    <a:pt x="398" y="2230"/>
                  </a:lnTo>
                  <a:lnTo>
                    <a:pt x="398" y="2236"/>
                  </a:lnTo>
                  <a:lnTo>
                    <a:pt x="392" y="2248"/>
                  </a:lnTo>
                  <a:lnTo>
                    <a:pt x="386" y="2262"/>
                  </a:lnTo>
                  <a:lnTo>
                    <a:pt x="386" y="2270"/>
                  </a:lnTo>
                  <a:lnTo>
                    <a:pt x="386" y="2280"/>
                  </a:lnTo>
                  <a:lnTo>
                    <a:pt x="388" y="2288"/>
                  </a:lnTo>
                  <a:lnTo>
                    <a:pt x="388" y="2292"/>
                  </a:lnTo>
                  <a:lnTo>
                    <a:pt x="386" y="2294"/>
                  </a:lnTo>
                  <a:lnTo>
                    <a:pt x="384" y="2298"/>
                  </a:lnTo>
                  <a:lnTo>
                    <a:pt x="380" y="2300"/>
                  </a:lnTo>
                  <a:lnTo>
                    <a:pt x="378" y="2306"/>
                  </a:lnTo>
                  <a:lnTo>
                    <a:pt x="376" y="2314"/>
                  </a:lnTo>
                  <a:lnTo>
                    <a:pt x="374" y="2328"/>
                  </a:lnTo>
                  <a:lnTo>
                    <a:pt x="372" y="2342"/>
                  </a:lnTo>
                  <a:lnTo>
                    <a:pt x="370" y="2354"/>
                  </a:lnTo>
                  <a:lnTo>
                    <a:pt x="362" y="2376"/>
                  </a:lnTo>
                  <a:lnTo>
                    <a:pt x="354" y="2390"/>
                  </a:lnTo>
                  <a:lnTo>
                    <a:pt x="350" y="2402"/>
                  </a:lnTo>
                  <a:lnTo>
                    <a:pt x="348" y="2412"/>
                  </a:lnTo>
                  <a:lnTo>
                    <a:pt x="344" y="2414"/>
                  </a:lnTo>
                  <a:lnTo>
                    <a:pt x="342" y="2420"/>
                  </a:lnTo>
                  <a:lnTo>
                    <a:pt x="338" y="2434"/>
                  </a:lnTo>
                  <a:lnTo>
                    <a:pt x="336" y="2446"/>
                  </a:lnTo>
                  <a:lnTo>
                    <a:pt x="334" y="2452"/>
                  </a:lnTo>
                  <a:lnTo>
                    <a:pt x="334" y="2454"/>
                  </a:lnTo>
                  <a:lnTo>
                    <a:pt x="332" y="2454"/>
                  </a:lnTo>
                  <a:lnTo>
                    <a:pt x="330" y="2452"/>
                  </a:lnTo>
                  <a:lnTo>
                    <a:pt x="328" y="2462"/>
                  </a:lnTo>
                  <a:lnTo>
                    <a:pt x="326" y="2474"/>
                  </a:lnTo>
                  <a:lnTo>
                    <a:pt x="324" y="2480"/>
                  </a:lnTo>
                  <a:lnTo>
                    <a:pt x="320" y="2482"/>
                  </a:lnTo>
                  <a:lnTo>
                    <a:pt x="318" y="2482"/>
                  </a:lnTo>
                  <a:lnTo>
                    <a:pt x="310" y="2480"/>
                  </a:lnTo>
                  <a:lnTo>
                    <a:pt x="308" y="2482"/>
                  </a:lnTo>
                  <a:lnTo>
                    <a:pt x="306" y="2486"/>
                  </a:lnTo>
                  <a:lnTo>
                    <a:pt x="306" y="2498"/>
                  </a:lnTo>
                  <a:lnTo>
                    <a:pt x="306" y="2506"/>
                  </a:lnTo>
                  <a:lnTo>
                    <a:pt x="310" y="2514"/>
                  </a:lnTo>
                  <a:lnTo>
                    <a:pt x="314" y="2522"/>
                  </a:lnTo>
                  <a:lnTo>
                    <a:pt x="314" y="2530"/>
                  </a:lnTo>
                  <a:lnTo>
                    <a:pt x="314" y="2540"/>
                  </a:lnTo>
                  <a:lnTo>
                    <a:pt x="312" y="2552"/>
                  </a:lnTo>
                  <a:lnTo>
                    <a:pt x="314" y="2560"/>
                  </a:lnTo>
                  <a:lnTo>
                    <a:pt x="318" y="2572"/>
                  </a:lnTo>
                  <a:lnTo>
                    <a:pt x="320" y="2576"/>
                  </a:lnTo>
                  <a:lnTo>
                    <a:pt x="322" y="2584"/>
                  </a:lnTo>
                  <a:lnTo>
                    <a:pt x="324" y="2594"/>
                  </a:lnTo>
                  <a:lnTo>
                    <a:pt x="322" y="2606"/>
                  </a:lnTo>
                  <a:lnTo>
                    <a:pt x="320" y="2618"/>
                  </a:lnTo>
                  <a:lnTo>
                    <a:pt x="316" y="2624"/>
                  </a:lnTo>
                  <a:lnTo>
                    <a:pt x="314" y="2626"/>
                  </a:lnTo>
                  <a:lnTo>
                    <a:pt x="310" y="2626"/>
                  </a:lnTo>
                  <a:lnTo>
                    <a:pt x="308" y="2626"/>
                  </a:lnTo>
                  <a:lnTo>
                    <a:pt x="306" y="2628"/>
                  </a:lnTo>
                  <a:lnTo>
                    <a:pt x="304" y="2632"/>
                  </a:lnTo>
                  <a:lnTo>
                    <a:pt x="304" y="2642"/>
                  </a:lnTo>
                  <a:lnTo>
                    <a:pt x="302" y="2658"/>
                  </a:lnTo>
                  <a:lnTo>
                    <a:pt x="298" y="2670"/>
                  </a:lnTo>
                  <a:lnTo>
                    <a:pt x="294" y="2686"/>
                  </a:lnTo>
                  <a:lnTo>
                    <a:pt x="292" y="2692"/>
                  </a:lnTo>
                  <a:lnTo>
                    <a:pt x="292" y="2696"/>
                  </a:lnTo>
                  <a:lnTo>
                    <a:pt x="294" y="2704"/>
                  </a:lnTo>
                  <a:lnTo>
                    <a:pt x="298" y="2712"/>
                  </a:lnTo>
                  <a:lnTo>
                    <a:pt x="302" y="2722"/>
                  </a:lnTo>
                  <a:lnTo>
                    <a:pt x="308" y="2728"/>
                  </a:lnTo>
                  <a:lnTo>
                    <a:pt x="312" y="2732"/>
                  </a:lnTo>
                  <a:lnTo>
                    <a:pt x="316" y="2734"/>
                  </a:lnTo>
                  <a:lnTo>
                    <a:pt x="320" y="2734"/>
                  </a:lnTo>
                  <a:lnTo>
                    <a:pt x="324" y="2732"/>
                  </a:lnTo>
                  <a:lnTo>
                    <a:pt x="328" y="2728"/>
                  </a:lnTo>
                  <a:lnTo>
                    <a:pt x="330" y="2724"/>
                  </a:lnTo>
                  <a:lnTo>
                    <a:pt x="334" y="2716"/>
                  </a:lnTo>
                  <a:lnTo>
                    <a:pt x="336" y="2716"/>
                  </a:lnTo>
                  <a:lnTo>
                    <a:pt x="338" y="2718"/>
                  </a:lnTo>
                  <a:lnTo>
                    <a:pt x="342" y="2722"/>
                  </a:lnTo>
                  <a:lnTo>
                    <a:pt x="346" y="2726"/>
                  </a:lnTo>
                  <a:lnTo>
                    <a:pt x="348" y="2728"/>
                  </a:lnTo>
                  <a:lnTo>
                    <a:pt x="350" y="2730"/>
                  </a:lnTo>
                  <a:lnTo>
                    <a:pt x="350" y="2732"/>
                  </a:lnTo>
                  <a:lnTo>
                    <a:pt x="344" y="2738"/>
                  </a:lnTo>
                  <a:lnTo>
                    <a:pt x="340" y="2744"/>
                  </a:lnTo>
                  <a:lnTo>
                    <a:pt x="340" y="2746"/>
                  </a:lnTo>
                  <a:lnTo>
                    <a:pt x="344" y="2746"/>
                  </a:lnTo>
                  <a:lnTo>
                    <a:pt x="350" y="2748"/>
                  </a:lnTo>
                  <a:lnTo>
                    <a:pt x="354" y="2752"/>
                  </a:lnTo>
                  <a:lnTo>
                    <a:pt x="356" y="2754"/>
                  </a:lnTo>
                  <a:lnTo>
                    <a:pt x="356" y="2760"/>
                  </a:lnTo>
                  <a:lnTo>
                    <a:pt x="356" y="2766"/>
                  </a:lnTo>
                  <a:lnTo>
                    <a:pt x="354" y="2766"/>
                  </a:lnTo>
                  <a:lnTo>
                    <a:pt x="352" y="2764"/>
                  </a:lnTo>
                  <a:lnTo>
                    <a:pt x="348" y="2758"/>
                  </a:lnTo>
                  <a:lnTo>
                    <a:pt x="344" y="2758"/>
                  </a:lnTo>
                  <a:lnTo>
                    <a:pt x="342" y="2760"/>
                  </a:lnTo>
                  <a:lnTo>
                    <a:pt x="342" y="2766"/>
                  </a:lnTo>
                  <a:lnTo>
                    <a:pt x="342" y="2774"/>
                  </a:lnTo>
                  <a:lnTo>
                    <a:pt x="342" y="2778"/>
                  </a:lnTo>
                  <a:lnTo>
                    <a:pt x="340" y="2782"/>
                  </a:lnTo>
                  <a:lnTo>
                    <a:pt x="342" y="2792"/>
                  </a:lnTo>
                  <a:lnTo>
                    <a:pt x="342" y="2798"/>
                  </a:lnTo>
                  <a:lnTo>
                    <a:pt x="342" y="2804"/>
                  </a:lnTo>
                  <a:lnTo>
                    <a:pt x="336" y="2812"/>
                  </a:lnTo>
                  <a:lnTo>
                    <a:pt x="330" y="2820"/>
                  </a:lnTo>
                  <a:lnTo>
                    <a:pt x="330" y="2824"/>
                  </a:lnTo>
                  <a:lnTo>
                    <a:pt x="330" y="2830"/>
                  </a:lnTo>
                  <a:lnTo>
                    <a:pt x="334" y="2840"/>
                  </a:lnTo>
                  <a:lnTo>
                    <a:pt x="332" y="2852"/>
                  </a:lnTo>
                  <a:lnTo>
                    <a:pt x="330" y="2860"/>
                  </a:lnTo>
                  <a:lnTo>
                    <a:pt x="326" y="2864"/>
                  </a:lnTo>
                  <a:lnTo>
                    <a:pt x="324" y="2866"/>
                  </a:lnTo>
                  <a:lnTo>
                    <a:pt x="324" y="2870"/>
                  </a:lnTo>
                  <a:lnTo>
                    <a:pt x="330" y="2872"/>
                  </a:lnTo>
                  <a:lnTo>
                    <a:pt x="336" y="2874"/>
                  </a:lnTo>
                  <a:lnTo>
                    <a:pt x="344" y="2878"/>
                  </a:lnTo>
                  <a:lnTo>
                    <a:pt x="346" y="2882"/>
                  </a:lnTo>
                  <a:lnTo>
                    <a:pt x="348" y="2890"/>
                  </a:lnTo>
                  <a:lnTo>
                    <a:pt x="346" y="2896"/>
                  </a:lnTo>
                  <a:lnTo>
                    <a:pt x="342" y="2904"/>
                  </a:lnTo>
                  <a:lnTo>
                    <a:pt x="338" y="2908"/>
                  </a:lnTo>
                  <a:lnTo>
                    <a:pt x="332" y="2912"/>
                  </a:lnTo>
                  <a:lnTo>
                    <a:pt x="326" y="2916"/>
                  </a:lnTo>
                  <a:lnTo>
                    <a:pt x="320" y="2918"/>
                  </a:lnTo>
                  <a:lnTo>
                    <a:pt x="318" y="2922"/>
                  </a:lnTo>
                  <a:lnTo>
                    <a:pt x="320" y="2926"/>
                  </a:lnTo>
                  <a:lnTo>
                    <a:pt x="322" y="2930"/>
                  </a:lnTo>
                  <a:lnTo>
                    <a:pt x="322" y="2932"/>
                  </a:lnTo>
                  <a:lnTo>
                    <a:pt x="320" y="2936"/>
                  </a:lnTo>
                  <a:lnTo>
                    <a:pt x="316" y="2940"/>
                  </a:lnTo>
                  <a:lnTo>
                    <a:pt x="312" y="2946"/>
                  </a:lnTo>
                  <a:lnTo>
                    <a:pt x="312" y="2954"/>
                  </a:lnTo>
                  <a:lnTo>
                    <a:pt x="312" y="2956"/>
                  </a:lnTo>
                  <a:lnTo>
                    <a:pt x="312" y="2962"/>
                  </a:lnTo>
                  <a:lnTo>
                    <a:pt x="310" y="2974"/>
                  </a:lnTo>
                  <a:lnTo>
                    <a:pt x="308" y="2986"/>
                  </a:lnTo>
                  <a:lnTo>
                    <a:pt x="308" y="2994"/>
                  </a:lnTo>
                  <a:lnTo>
                    <a:pt x="306" y="3000"/>
                  </a:lnTo>
                  <a:lnTo>
                    <a:pt x="300" y="3006"/>
                  </a:lnTo>
                  <a:lnTo>
                    <a:pt x="298" y="3006"/>
                  </a:lnTo>
                  <a:lnTo>
                    <a:pt x="296" y="3006"/>
                  </a:lnTo>
                  <a:lnTo>
                    <a:pt x="298" y="2998"/>
                  </a:lnTo>
                  <a:lnTo>
                    <a:pt x="300" y="2988"/>
                  </a:lnTo>
                  <a:lnTo>
                    <a:pt x="300" y="2984"/>
                  </a:lnTo>
                  <a:lnTo>
                    <a:pt x="296" y="2980"/>
                  </a:lnTo>
                  <a:lnTo>
                    <a:pt x="292" y="2978"/>
                  </a:lnTo>
                  <a:lnTo>
                    <a:pt x="290" y="2974"/>
                  </a:lnTo>
                  <a:lnTo>
                    <a:pt x="290" y="2968"/>
                  </a:lnTo>
                  <a:lnTo>
                    <a:pt x="290" y="2964"/>
                  </a:lnTo>
                  <a:lnTo>
                    <a:pt x="288" y="2962"/>
                  </a:lnTo>
                  <a:lnTo>
                    <a:pt x="282" y="2962"/>
                  </a:lnTo>
                  <a:lnTo>
                    <a:pt x="276" y="2962"/>
                  </a:lnTo>
                  <a:lnTo>
                    <a:pt x="274" y="2964"/>
                  </a:lnTo>
                  <a:lnTo>
                    <a:pt x="274" y="2966"/>
                  </a:lnTo>
                  <a:lnTo>
                    <a:pt x="270" y="2964"/>
                  </a:lnTo>
                  <a:lnTo>
                    <a:pt x="268" y="2964"/>
                  </a:lnTo>
                  <a:lnTo>
                    <a:pt x="266" y="2964"/>
                  </a:lnTo>
                  <a:lnTo>
                    <a:pt x="266" y="2968"/>
                  </a:lnTo>
                  <a:lnTo>
                    <a:pt x="266" y="2972"/>
                  </a:lnTo>
                  <a:lnTo>
                    <a:pt x="264" y="2976"/>
                  </a:lnTo>
                  <a:lnTo>
                    <a:pt x="260" y="2980"/>
                  </a:lnTo>
                  <a:lnTo>
                    <a:pt x="254" y="2986"/>
                  </a:lnTo>
                  <a:lnTo>
                    <a:pt x="238" y="2994"/>
                  </a:lnTo>
                  <a:lnTo>
                    <a:pt x="228" y="3004"/>
                  </a:lnTo>
                  <a:lnTo>
                    <a:pt x="226" y="3008"/>
                  </a:lnTo>
                  <a:lnTo>
                    <a:pt x="224" y="3012"/>
                  </a:lnTo>
                  <a:lnTo>
                    <a:pt x="224" y="3016"/>
                  </a:lnTo>
                  <a:lnTo>
                    <a:pt x="226" y="3020"/>
                  </a:lnTo>
                  <a:lnTo>
                    <a:pt x="232" y="3026"/>
                  </a:lnTo>
                  <a:lnTo>
                    <a:pt x="236" y="3026"/>
                  </a:lnTo>
                  <a:lnTo>
                    <a:pt x="236" y="3024"/>
                  </a:lnTo>
                  <a:lnTo>
                    <a:pt x="238" y="3016"/>
                  </a:lnTo>
                  <a:lnTo>
                    <a:pt x="238" y="3010"/>
                  </a:lnTo>
                  <a:lnTo>
                    <a:pt x="242" y="3006"/>
                  </a:lnTo>
                  <a:lnTo>
                    <a:pt x="244" y="3006"/>
                  </a:lnTo>
                  <a:lnTo>
                    <a:pt x="248" y="3006"/>
                  </a:lnTo>
                  <a:lnTo>
                    <a:pt x="252" y="3012"/>
                  </a:lnTo>
                  <a:lnTo>
                    <a:pt x="256" y="3018"/>
                  </a:lnTo>
                  <a:lnTo>
                    <a:pt x="264" y="3022"/>
                  </a:lnTo>
                  <a:lnTo>
                    <a:pt x="272" y="3024"/>
                  </a:lnTo>
                  <a:lnTo>
                    <a:pt x="274" y="3022"/>
                  </a:lnTo>
                  <a:lnTo>
                    <a:pt x="274" y="3020"/>
                  </a:lnTo>
                  <a:lnTo>
                    <a:pt x="276" y="3016"/>
                  </a:lnTo>
                  <a:lnTo>
                    <a:pt x="278" y="3016"/>
                  </a:lnTo>
                  <a:lnTo>
                    <a:pt x="282" y="3018"/>
                  </a:lnTo>
                  <a:lnTo>
                    <a:pt x="286" y="3024"/>
                  </a:lnTo>
                  <a:lnTo>
                    <a:pt x="290" y="3026"/>
                  </a:lnTo>
                  <a:lnTo>
                    <a:pt x="292" y="3028"/>
                  </a:lnTo>
                  <a:lnTo>
                    <a:pt x="296" y="3030"/>
                  </a:lnTo>
                  <a:lnTo>
                    <a:pt x="296" y="3036"/>
                  </a:lnTo>
                  <a:lnTo>
                    <a:pt x="294" y="3040"/>
                  </a:lnTo>
                  <a:lnTo>
                    <a:pt x="292" y="3040"/>
                  </a:lnTo>
                  <a:lnTo>
                    <a:pt x="286" y="3042"/>
                  </a:lnTo>
                  <a:lnTo>
                    <a:pt x="280" y="3042"/>
                  </a:lnTo>
                  <a:lnTo>
                    <a:pt x="278" y="3044"/>
                  </a:lnTo>
                  <a:lnTo>
                    <a:pt x="276" y="3048"/>
                  </a:lnTo>
                  <a:lnTo>
                    <a:pt x="274" y="3054"/>
                  </a:lnTo>
                  <a:lnTo>
                    <a:pt x="274" y="3056"/>
                  </a:lnTo>
                  <a:lnTo>
                    <a:pt x="280" y="3062"/>
                  </a:lnTo>
                  <a:lnTo>
                    <a:pt x="284" y="3064"/>
                  </a:lnTo>
                  <a:lnTo>
                    <a:pt x="282" y="3064"/>
                  </a:lnTo>
                  <a:lnTo>
                    <a:pt x="272" y="3062"/>
                  </a:lnTo>
                  <a:lnTo>
                    <a:pt x="270" y="3062"/>
                  </a:lnTo>
                  <a:lnTo>
                    <a:pt x="268" y="3066"/>
                  </a:lnTo>
                  <a:lnTo>
                    <a:pt x="266" y="3072"/>
                  </a:lnTo>
                  <a:lnTo>
                    <a:pt x="268" y="3074"/>
                  </a:lnTo>
                  <a:lnTo>
                    <a:pt x="272" y="3074"/>
                  </a:lnTo>
                  <a:lnTo>
                    <a:pt x="282" y="3074"/>
                  </a:lnTo>
                  <a:lnTo>
                    <a:pt x="290" y="3074"/>
                  </a:lnTo>
                  <a:lnTo>
                    <a:pt x="296" y="3076"/>
                  </a:lnTo>
                  <a:lnTo>
                    <a:pt x="300" y="3078"/>
                  </a:lnTo>
                  <a:lnTo>
                    <a:pt x="302" y="3078"/>
                  </a:lnTo>
                  <a:lnTo>
                    <a:pt x="302" y="3074"/>
                  </a:lnTo>
                  <a:lnTo>
                    <a:pt x="304" y="3072"/>
                  </a:lnTo>
                  <a:lnTo>
                    <a:pt x="306" y="3072"/>
                  </a:lnTo>
                  <a:lnTo>
                    <a:pt x="310" y="3076"/>
                  </a:lnTo>
                  <a:lnTo>
                    <a:pt x="312" y="3080"/>
                  </a:lnTo>
                  <a:lnTo>
                    <a:pt x="312" y="3082"/>
                  </a:lnTo>
                  <a:lnTo>
                    <a:pt x="310" y="3084"/>
                  </a:lnTo>
                  <a:lnTo>
                    <a:pt x="308" y="3086"/>
                  </a:lnTo>
                  <a:lnTo>
                    <a:pt x="310" y="3088"/>
                  </a:lnTo>
                  <a:lnTo>
                    <a:pt x="314" y="3096"/>
                  </a:lnTo>
                  <a:lnTo>
                    <a:pt x="318" y="3100"/>
                  </a:lnTo>
                  <a:lnTo>
                    <a:pt x="318" y="3102"/>
                  </a:lnTo>
                  <a:lnTo>
                    <a:pt x="314" y="3100"/>
                  </a:lnTo>
                  <a:lnTo>
                    <a:pt x="300" y="3090"/>
                  </a:lnTo>
                  <a:lnTo>
                    <a:pt x="294" y="3088"/>
                  </a:lnTo>
                  <a:lnTo>
                    <a:pt x="286" y="3088"/>
                  </a:lnTo>
                  <a:lnTo>
                    <a:pt x="272" y="3086"/>
                  </a:lnTo>
                  <a:lnTo>
                    <a:pt x="268" y="3088"/>
                  </a:lnTo>
                  <a:lnTo>
                    <a:pt x="266" y="3088"/>
                  </a:lnTo>
                  <a:lnTo>
                    <a:pt x="268" y="3090"/>
                  </a:lnTo>
                  <a:lnTo>
                    <a:pt x="270" y="3092"/>
                  </a:lnTo>
                  <a:lnTo>
                    <a:pt x="272" y="3092"/>
                  </a:lnTo>
                  <a:lnTo>
                    <a:pt x="274" y="3092"/>
                  </a:lnTo>
                  <a:lnTo>
                    <a:pt x="276" y="3096"/>
                  </a:lnTo>
                  <a:lnTo>
                    <a:pt x="278" y="3100"/>
                  </a:lnTo>
                  <a:lnTo>
                    <a:pt x="282" y="3104"/>
                  </a:lnTo>
                  <a:lnTo>
                    <a:pt x="292" y="3110"/>
                  </a:lnTo>
                  <a:lnTo>
                    <a:pt x="294" y="3112"/>
                  </a:lnTo>
                  <a:lnTo>
                    <a:pt x="294" y="3114"/>
                  </a:lnTo>
                  <a:lnTo>
                    <a:pt x="294" y="3116"/>
                  </a:lnTo>
                  <a:lnTo>
                    <a:pt x="294" y="3120"/>
                  </a:lnTo>
                  <a:lnTo>
                    <a:pt x="292" y="3120"/>
                  </a:lnTo>
                  <a:lnTo>
                    <a:pt x="288" y="3118"/>
                  </a:lnTo>
                  <a:lnTo>
                    <a:pt x="284" y="3116"/>
                  </a:lnTo>
                  <a:lnTo>
                    <a:pt x="280" y="3116"/>
                  </a:lnTo>
                  <a:lnTo>
                    <a:pt x="280" y="3120"/>
                  </a:lnTo>
                  <a:lnTo>
                    <a:pt x="276" y="3132"/>
                  </a:lnTo>
                  <a:lnTo>
                    <a:pt x="276" y="3138"/>
                  </a:lnTo>
                  <a:lnTo>
                    <a:pt x="276" y="3148"/>
                  </a:lnTo>
                  <a:lnTo>
                    <a:pt x="278" y="3168"/>
                  </a:lnTo>
                  <a:lnTo>
                    <a:pt x="280" y="3174"/>
                  </a:lnTo>
                  <a:lnTo>
                    <a:pt x="282" y="3178"/>
                  </a:lnTo>
                  <a:lnTo>
                    <a:pt x="284" y="3178"/>
                  </a:lnTo>
                  <a:lnTo>
                    <a:pt x="284" y="3176"/>
                  </a:lnTo>
                  <a:lnTo>
                    <a:pt x="286" y="3168"/>
                  </a:lnTo>
                  <a:lnTo>
                    <a:pt x="288" y="3160"/>
                  </a:lnTo>
                  <a:lnTo>
                    <a:pt x="290" y="3156"/>
                  </a:lnTo>
                  <a:lnTo>
                    <a:pt x="292" y="3154"/>
                  </a:lnTo>
                  <a:lnTo>
                    <a:pt x="292" y="3158"/>
                  </a:lnTo>
                  <a:lnTo>
                    <a:pt x="292" y="3164"/>
                  </a:lnTo>
                  <a:lnTo>
                    <a:pt x="292" y="3170"/>
                  </a:lnTo>
                  <a:lnTo>
                    <a:pt x="294" y="3176"/>
                  </a:lnTo>
                  <a:lnTo>
                    <a:pt x="298" y="3182"/>
                  </a:lnTo>
                  <a:lnTo>
                    <a:pt x="300" y="3184"/>
                  </a:lnTo>
                  <a:lnTo>
                    <a:pt x="296" y="3182"/>
                  </a:lnTo>
                  <a:lnTo>
                    <a:pt x="290" y="3180"/>
                  </a:lnTo>
                  <a:lnTo>
                    <a:pt x="284" y="3182"/>
                  </a:lnTo>
                  <a:lnTo>
                    <a:pt x="280" y="3184"/>
                  </a:lnTo>
                  <a:lnTo>
                    <a:pt x="280" y="3186"/>
                  </a:lnTo>
                  <a:lnTo>
                    <a:pt x="282" y="3188"/>
                  </a:lnTo>
                  <a:lnTo>
                    <a:pt x="282" y="3190"/>
                  </a:lnTo>
                  <a:lnTo>
                    <a:pt x="280" y="3192"/>
                  </a:lnTo>
                  <a:lnTo>
                    <a:pt x="280" y="3194"/>
                  </a:lnTo>
                  <a:lnTo>
                    <a:pt x="284" y="3198"/>
                  </a:lnTo>
                  <a:lnTo>
                    <a:pt x="296" y="3206"/>
                  </a:lnTo>
                  <a:lnTo>
                    <a:pt x="294" y="3206"/>
                  </a:lnTo>
                  <a:lnTo>
                    <a:pt x="288" y="3206"/>
                  </a:lnTo>
                  <a:lnTo>
                    <a:pt x="280" y="3204"/>
                  </a:lnTo>
                  <a:lnTo>
                    <a:pt x="278" y="3204"/>
                  </a:lnTo>
                  <a:lnTo>
                    <a:pt x="280" y="3206"/>
                  </a:lnTo>
                  <a:lnTo>
                    <a:pt x="288" y="3216"/>
                  </a:lnTo>
                  <a:lnTo>
                    <a:pt x="290" y="3220"/>
                  </a:lnTo>
                  <a:lnTo>
                    <a:pt x="280" y="3214"/>
                  </a:lnTo>
                  <a:lnTo>
                    <a:pt x="274" y="3212"/>
                  </a:lnTo>
                  <a:lnTo>
                    <a:pt x="268" y="3212"/>
                  </a:lnTo>
                  <a:lnTo>
                    <a:pt x="264" y="3214"/>
                  </a:lnTo>
                  <a:lnTo>
                    <a:pt x="264" y="3216"/>
                  </a:lnTo>
                  <a:lnTo>
                    <a:pt x="268" y="3218"/>
                  </a:lnTo>
                  <a:lnTo>
                    <a:pt x="272" y="3220"/>
                  </a:lnTo>
                  <a:lnTo>
                    <a:pt x="274" y="3224"/>
                  </a:lnTo>
                  <a:lnTo>
                    <a:pt x="274" y="3226"/>
                  </a:lnTo>
                  <a:lnTo>
                    <a:pt x="278" y="3228"/>
                  </a:lnTo>
                  <a:lnTo>
                    <a:pt x="282" y="3230"/>
                  </a:lnTo>
                  <a:lnTo>
                    <a:pt x="284" y="3230"/>
                  </a:lnTo>
                  <a:lnTo>
                    <a:pt x="288" y="3230"/>
                  </a:lnTo>
                  <a:lnTo>
                    <a:pt x="292" y="3234"/>
                  </a:lnTo>
                  <a:lnTo>
                    <a:pt x="296" y="3236"/>
                  </a:lnTo>
                  <a:lnTo>
                    <a:pt x="296" y="3238"/>
                  </a:lnTo>
                  <a:lnTo>
                    <a:pt x="288" y="3236"/>
                  </a:lnTo>
                  <a:lnTo>
                    <a:pt x="284" y="3236"/>
                  </a:lnTo>
                  <a:lnTo>
                    <a:pt x="284" y="3238"/>
                  </a:lnTo>
                  <a:lnTo>
                    <a:pt x="288" y="3248"/>
                  </a:lnTo>
                  <a:lnTo>
                    <a:pt x="290" y="3252"/>
                  </a:lnTo>
                  <a:lnTo>
                    <a:pt x="294" y="3252"/>
                  </a:lnTo>
                  <a:lnTo>
                    <a:pt x="298" y="3250"/>
                  </a:lnTo>
                  <a:lnTo>
                    <a:pt x="302" y="3240"/>
                  </a:lnTo>
                  <a:lnTo>
                    <a:pt x="306" y="3234"/>
                  </a:lnTo>
                  <a:lnTo>
                    <a:pt x="308" y="3232"/>
                  </a:lnTo>
                  <a:lnTo>
                    <a:pt x="308" y="3234"/>
                  </a:lnTo>
                  <a:lnTo>
                    <a:pt x="306" y="3242"/>
                  </a:lnTo>
                  <a:lnTo>
                    <a:pt x="300" y="3256"/>
                  </a:lnTo>
                  <a:lnTo>
                    <a:pt x="296" y="3258"/>
                  </a:lnTo>
                  <a:lnTo>
                    <a:pt x="292" y="3258"/>
                  </a:lnTo>
                  <a:lnTo>
                    <a:pt x="288" y="3258"/>
                  </a:lnTo>
                  <a:lnTo>
                    <a:pt x="286" y="3258"/>
                  </a:lnTo>
                  <a:lnTo>
                    <a:pt x="284" y="3260"/>
                  </a:lnTo>
                  <a:lnTo>
                    <a:pt x="284" y="3264"/>
                  </a:lnTo>
                  <a:lnTo>
                    <a:pt x="286" y="3266"/>
                  </a:lnTo>
                  <a:lnTo>
                    <a:pt x="288" y="3268"/>
                  </a:lnTo>
                  <a:lnTo>
                    <a:pt x="288" y="3272"/>
                  </a:lnTo>
                  <a:lnTo>
                    <a:pt x="288" y="3276"/>
                  </a:lnTo>
                  <a:lnTo>
                    <a:pt x="290" y="3276"/>
                  </a:lnTo>
                  <a:lnTo>
                    <a:pt x="292" y="3276"/>
                  </a:lnTo>
                  <a:lnTo>
                    <a:pt x="296" y="3276"/>
                  </a:lnTo>
                  <a:lnTo>
                    <a:pt x="302" y="3278"/>
                  </a:lnTo>
                  <a:lnTo>
                    <a:pt x="306" y="3286"/>
                  </a:lnTo>
                  <a:lnTo>
                    <a:pt x="308" y="3294"/>
                  </a:lnTo>
                  <a:lnTo>
                    <a:pt x="308" y="3298"/>
                  </a:lnTo>
                  <a:lnTo>
                    <a:pt x="306" y="3298"/>
                  </a:lnTo>
                  <a:lnTo>
                    <a:pt x="302" y="3294"/>
                  </a:lnTo>
                  <a:lnTo>
                    <a:pt x="298" y="3288"/>
                  </a:lnTo>
                  <a:lnTo>
                    <a:pt x="296" y="3288"/>
                  </a:lnTo>
                  <a:lnTo>
                    <a:pt x="296" y="3290"/>
                  </a:lnTo>
                  <a:lnTo>
                    <a:pt x="296" y="3294"/>
                  </a:lnTo>
                  <a:lnTo>
                    <a:pt x="298" y="3298"/>
                  </a:lnTo>
                  <a:lnTo>
                    <a:pt x="298" y="3302"/>
                  </a:lnTo>
                  <a:lnTo>
                    <a:pt x="298" y="3304"/>
                  </a:lnTo>
                  <a:lnTo>
                    <a:pt x="300" y="3308"/>
                  </a:lnTo>
                  <a:lnTo>
                    <a:pt x="302" y="3310"/>
                  </a:lnTo>
                  <a:lnTo>
                    <a:pt x="306" y="3308"/>
                  </a:lnTo>
                  <a:lnTo>
                    <a:pt x="308" y="3306"/>
                  </a:lnTo>
                  <a:lnTo>
                    <a:pt x="310" y="3308"/>
                  </a:lnTo>
                  <a:lnTo>
                    <a:pt x="312" y="3310"/>
                  </a:lnTo>
                  <a:lnTo>
                    <a:pt x="314" y="3318"/>
                  </a:lnTo>
                  <a:lnTo>
                    <a:pt x="310" y="3316"/>
                  </a:lnTo>
                  <a:lnTo>
                    <a:pt x="308" y="3316"/>
                  </a:lnTo>
                  <a:lnTo>
                    <a:pt x="308" y="3318"/>
                  </a:lnTo>
                  <a:lnTo>
                    <a:pt x="312" y="3326"/>
                  </a:lnTo>
                  <a:lnTo>
                    <a:pt x="318" y="3332"/>
                  </a:lnTo>
                  <a:lnTo>
                    <a:pt x="322" y="3332"/>
                  </a:lnTo>
                  <a:lnTo>
                    <a:pt x="324" y="3332"/>
                  </a:lnTo>
                  <a:lnTo>
                    <a:pt x="326" y="3322"/>
                  </a:lnTo>
                  <a:lnTo>
                    <a:pt x="330" y="3318"/>
                  </a:lnTo>
                  <a:lnTo>
                    <a:pt x="332" y="3316"/>
                  </a:lnTo>
                  <a:lnTo>
                    <a:pt x="334" y="3314"/>
                  </a:lnTo>
                  <a:lnTo>
                    <a:pt x="334" y="3312"/>
                  </a:lnTo>
                  <a:lnTo>
                    <a:pt x="334" y="3310"/>
                  </a:lnTo>
                  <a:lnTo>
                    <a:pt x="342" y="3312"/>
                  </a:lnTo>
                  <a:lnTo>
                    <a:pt x="348" y="3312"/>
                  </a:lnTo>
                  <a:lnTo>
                    <a:pt x="350" y="3312"/>
                  </a:lnTo>
                  <a:lnTo>
                    <a:pt x="350" y="3310"/>
                  </a:lnTo>
                  <a:lnTo>
                    <a:pt x="344" y="3304"/>
                  </a:lnTo>
                  <a:lnTo>
                    <a:pt x="334" y="3300"/>
                  </a:lnTo>
                  <a:lnTo>
                    <a:pt x="326" y="3294"/>
                  </a:lnTo>
                  <a:lnTo>
                    <a:pt x="324" y="3292"/>
                  </a:lnTo>
                  <a:lnTo>
                    <a:pt x="328" y="3290"/>
                  </a:lnTo>
                  <a:lnTo>
                    <a:pt x="336" y="3294"/>
                  </a:lnTo>
                  <a:lnTo>
                    <a:pt x="350" y="3302"/>
                  </a:lnTo>
                  <a:lnTo>
                    <a:pt x="354" y="3308"/>
                  </a:lnTo>
                  <a:lnTo>
                    <a:pt x="354" y="3314"/>
                  </a:lnTo>
                  <a:lnTo>
                    <a:pt x="352" y="3320"/>
                  </a:lnTo>
                  <a:lnTo>
                    <a:pt x="350" y="3322"/>
                  </a:lnTo>
                  <a:lnTo>
                    <a:pt x="348" y="3324"/>
                  </a:lnTo>
                  <a:lnTo>
                    <a:pt x="350" y="3330"/>
                  </a:lnTo>
                  <a:lnTo>
                    <a:pt x="352" y="3332"/>
                  </a:lnTo>
                  <a:lnTo>
                    <a:pt x="348" y="3328"/>
                  </a:lnTo>
                  <a:lnTo>
                    <a:pt x="342" y="3322"/>
                  </a:lnTo>
                  <a:lnTo>
                    <a:pt x="340" y="3322"/>
                  </a:lnTo>
                  <a:lnTo>
                    <a:pt x="338" y="3326"/>
                  </a:lnTo>
                  <a:lnTo>
                    <a:pt x="334" y="3336"/>
                  </a:lnTo>
                  <a:lnTo>
                    <a:pt x="332" y="3334"/>
                  </a:lnTo>
                  <a:lnTo>
                    <a:pt x="332" y="3330"/>
                  </a:lnTo>
                  <a:lnTo>
                    <a:pt x="330" y="3332"/>
                  </a:lnTo>
                  <a:lnTo>
                    <a:pt x="324" y="3338"/>
                  </a:lnTo>
                  <a:lnTo>
                    <a:pt x="322" y="3340"/>
                  </a:lnTo>
                  <a:lnTo>
                    <a:pt x="320" y="3340"/>
                  </a:lnTo>
                  <a:lnTo>
                    <a:pt x="316" y="3336"/>
                  </a:lnTo>
                  <a:lnTo>
                    <a:pt x="310" y="3330"/>
                  </a:lnTo>
                  <a:lnTo>
                    <a:pt x="306" y="3328"/>
                  </a:lnTo>
                  <a:lnTo>
                    <a:pt x="304" y="3328"/>
                  </a:lnTo>
                  <a:lnTo>
                    <a:pt x="306" y="3332"/>
                  </a:lnTo>
                  <a:lnTo>
                    <a:pt x="310" y="3336"/>
                  </a:lnTo>
                  <a:lnTo>
                    <a:pt x="310" y="3340"/>
                  </a:lnTo>
                  <a:lnTo>
                    <a:pt x="308" y="3344"/>
                  </a:lnTo>
                  <a:lnTo>
                    <a:pt x="306" y="3350"/>
                  </a:lnTo>
                  <a:lnTo>
                    <a:pt x="308" y="3350"/>
                  </a:lnTo>
                  <a:lnTo>
                    <a:pt x="312" y="3352"/>
                  </a:lnTo>
                  <a:lnTo>
                    <a:pt x="310" y="3356"/>
                  </a:lnTo>
                  <a:lnTo>
                    <a:pt x="306" y="3364"/>
                  </a:lnTo>
                  <a:lnTo>
                    <a:pt x="306" y="3368"/>
                  </a:lnTo>
                  <a:lnTo>
                    <a:pt x="306" y="3370"/>
                  </a:lnTo>
                  <a:lnTo>
                    <a:pt x="308" y="3370"/>
                  </a:lnTo>
                  <a:lnTo>
                    <a:pt x="314" y="3366"/>
                  </a:lnTo>
                  <a:lnTo>
                    <a:pt x="316" y="3364"/>
                  </a:lnTo>
                  <a:lnTo>
                    <a:pt x="320" y="3364"/>
                  </a:lnTo>
                  <a:lnTo>
                    <a:pt x="322" y="3366"/>
                  </a:lnTo>
                  <a:lnTo>
                    <a:pt x="324" y="3372"/>
                  </a:lnTo>
                  <a:lnTo>
                    <a:pt x="322" y="3374"/>
                  </a:lnTo>
                  <a:lnTo>
                    <a:pt x="320" y="3374"/>
                  </a:lnTo>
                  <a:lnTo>
                    <a:pt x="316" y="3374"/>
                  </a:lnTo>
                  <a:lnTo>
                    <a:pt x="322" y="3380"/>
                  </a:lnTo>
                  <a:lnTo>
                    <a:pt x="322" y="3382"/>
                  </a:lnTo>
                  <a:lnTo>
                    <a:pt x="318" y="3384"/>
                  </a:lnTo>
                  <a:lnTo>
                    <a:pt x="316" y="3386"/>
                  </a:lnTo>
                  <a:lnTo>
                    <a:pt x="320" y="3388"/>
                  </a:lnTo>
                  <a:lnTo>
                    <a:pt x="328" y="3390"/>
                  </a:lnTo>
                  <a:lnTo>
                    <a:pt x="332" y="3388"/>
                  </a:lnTo>
                  <a:lnTo>
                    <a:pt x="334" y="3384"/>
                  </a:lnTo>
                  <a:lnTo>
                    <a:pt x="334" y="3378"/>
                  </a:lnTo>
                  <a:lnTo>
                    <a:pt x="334" y="3376"/>
                  </a:lnTo>
                  <a:lnTo>
                    <a:pt x="336" y="3374"/>
                  </a:lnTo>
                  <a:lnTo>
                    <a:pt x="340" y="3370"/>
                  </a:lnTo>
                  <a:lnTo>
                    <a:pt x="344" y="3368"/>
                  </a:lnTo>
                  <a:lnTo>
                    <a:pt x="346" y="3366"/>
                  </a:lnTo>
                  <a:lnTo>
                    <a:pt x="346" y="3364"/>
                  </a:lnTo>
                  <a:lnTo>
                    <a:pt x="344" y="3362"/>
                  </a:lnTo>
                  <a:lnTo>
                    <a:pt x="340" y="3360"/>
                  </a:lnTo>
                  <a:lnTo>
                    <a:pt x="340" y="3358"/>
                  </a:lnTo>
                  <a:lnTo>
                    <a:pt x="344" y="3358"/>
                  </a:lnTo>
                  <a:lnTo>
                    <a:pt x="352" y="3358"/>
                  </a:lnTo>
                  <a:lnTo>
                    <a:pt x="354" y="3362"/>
                  </a:lnTo>
                  <a:lnTo>
                    <a:pt x="356" y="3362"/>
                  </a:lnTo>
                  <a:lnTo>
                    <a:pt x="360" y="3360"/>
                  </a:lnTo>
                  <a:lnTo>
                    <a:pt x="364" y="3358"/>
                  </a:lnTo>
                  <a:lnTo>
                    <a:pt x="368" y="3356"/>
                  </a:lnTo>
                  <a:lnTo>
                    <a:pt x="382" y="3356"/>
                  </a:lnTo>
                  <a:lnTo>
                    <a:pt x="392" y="3358"/>
                  </a:lnTo>
                  <a:lnTo>
                    <a:pt x="394" y="3360"/>
                  </a:lnTo>
                  <a:lnTo>
                    <a:pt x="396" y="3362"/>
                  </a:lnTo>
                  <a:lnTo>
                    <a:pt x="392" y="3366"/>
                  </a:lnTo>
                  <a:lnTo>
                    <a:pt x="386" y="3368"/>
                  </a:lnTo>
                  <a:lnTo>
                    <a:pt x="380" y="3366"/>
                  </a:lnTo>
                  <a:lnTo>
                    <a:pt x="372" y="3364"/>
                  </a:lnTo>
                  <a:lnTo>
                    <a:pt x="368" y="3364"/>
                  </a:lnTo>
                  <a:lnTo>
                    <a:pt x="366" y="3366"/>
                  </a:lnTo>
                  <a:lnTo>
                    <a:pt x="362" y="3370"/>
                  </a:lnTo>
                  <a:lnTo>
                    <a:pt x="358" y="3376"/>
                  </a:lnTo>
                  <a:lnTo>
                    <a:pt x="356" y="3376"/>
                  </a:lnTo>
                  <a:lnTo>
                    <a:pt x="354" y="3376"/>
                  </a:lnTo>
                  <a:lnTo>
                    <a:pt x="348" y="3372"/>
                  </a:lnTo>
                  <a:lnTo>
                    <a:pt x="342" y="3374"/>
                  </a:lnTo>
                  <a:lnTo>
                    <a:pt x="338" y="3378"/>
                  </a:lnTo>
                  <a:lnTo>
                    <a:pt x="338" y="3384"/>
                  </a:lnTo>
                  <a:lnTo>
                    <a:pt x="340" y="3388"/>
                  </a:lnTo>
                  <a:lnTo>
                    <a:pt x="338" y="3390"/>
                  </a:lnTo>
                  <a:lnTo>
                    <a:pt x="338" y="3392"/>
                  </a:lnTo>
                  <a:lnTo>
                    <a:pt x="340" y="3396"/>
                  </a:lnTo>
                  <a:lnTo>
                    <a:pt x="342" y="3398"/>
                  </a:lnTo>
                  <a:lnTo>
                    <a:pt x="340" y="3398"/>
                  </a:lnTo>
                  <a:lnTo>
                    <a:pt x="334" y="3396"/>
                  </a:lnTo>
                  <a:lnTo>
                    <a:pt x="326" y="3396"/>
                  </a:lnTo>
                  <a:lnTo>
                    <a:pt x="324" y="3396"/>
                  </a:lnTo>
                  <a:lnTo>
                    <a:pt x="324" y="3398"/>
                  </a:lnTo>
                  <a:lnTo>
                    <a:pt x="326" y="3402"/>
                  </a:lnTo>
                  <a:lnTo>
                    <a:pt x="342" y="3412"/>
                  </a:lnTo>
                  <a:lnTo>
                    <a:pt x="354" y="3418"/>
                  </a:lnTo>
                  <a:lnTo>
                    <a:pt x="356" y="3418"/>
                  </a:lnTo>
                  <a:lnTo>
                    <a:pt x="354" y="3412"/>
                  </a:lnTo>
                  <a:lnTo>
                    <a:pt x="352" y="3406"/>
                  </a:lnTo>
                  <a:lnTo>
                    <a:pt x="352" y="3402"/>
                  </a:lnTo>
                  <a:lnTo>
                    <a:pt x="358" y="3400"/>
                  </a:lnTo>
                  <a:lnTo>
                    <a:pt x="362" y="3398"/>
                  </a:lnTo>
                  <a:lnTo>
                    <a:pt x="364" y="3396"/>
                  </a:lnTo>
                  <a:lnTo>
                    <a:pt x="364" y="3394"/>
                  </a:lnTo>
                  <a:lnTo>
                    <a:pt x="360" y="3390"/>
                  </a:lnTo>
                  <a:lnTo>
                    <a:pt x="356" y="3388"/>
                  </a:lnTo>
                  <a:lnTo>
                    <a:pt x="362" y="3390"/>
                  </a:lnTo>
                  <a:lnTo>
                    <a:pt x="370" y="3392"/>
                  </a:lnTo>
                  <a:lnTo>
                    <a:pt x="374" y="3390"/>
                  </a:lnTo>
                  <a:lnTo>
                    <a:pt x="378" y="3386"/>
                  </a:lnTo>
                  <a:lnTo>
                    <a:pt x="384" y="3382"/>
                  </a:lnTo>
                  <a:lnTo>
                    <a:pt x="392" y="3378"/>
                  </a:lnTo>
                  <a:lnTo>
                    <a:pt x="396" y="3374"/>
                  </a:lnTo>
                  <a:lnTo>
                    <a:pt x="402" y="3372"/>
                  </a:lnTo>
                  <a:lnTo>
                    <a:pt x="406" y="3374"/>
                  </a:lnTo>
                  <a:lnTo>
                    <a:pt x="408" y="3376"/>
                  </a:lnTo>
                  <a:lnTo>
                    <a:pt x="408" y="3378"/>
                  </a:lnTo>
                  <a:lnTo>
                    <a:pt x="406" y="3384"/>
                  </a:lnTo>
                  <a:lnTo>
                    <a:pt x="398" y="3392"/>
                  </a:lnTo>
                  <a:lnTo>
                    <a:pt x="390" y="3396"/>
                  </a:lnTo>
                  <a:lnTo>
                    <a:pt x="384" y="3400"/>
                  </a:lnTo>
                  <a:lnTo>
                    <a:pt x="384" y="3402"/>
                  </a:lnTo>
                  <a:lnTo>
                    <a:pt x="382" y="3404"/>
                  </a:lnTo>
                  <a:lnTo>
                    <a:pt x="380" y="3402"/>
                  </a:lnTo>
                  <a:lnTo>
                    <a:pt x="376" y="3400"/>
                  </a:lnTo>
                  <a:lnTo>
                    <a:pt x="374" y="3402"/>
                  </a:lnTo>
                  <a:lnTo>
                    <a:pt x="374" y="3404"/>
                  </a:lnTo>
                  <a:lnTo>
                    <a:pt x="370" y="3402"/>
                  </a:lnTo>
                  <a:lnTo>
                    <a:pt x="362" y="3404"/>
                  </a:lnTo>
                  <a:lnTo>
                    <a:pt x="358" y="3406"/>
                  </a:lnTo>
                  <a:lnTo>
                    <a:pt x="356" y="3408"/>
                  </a:lnTo>
                  <a:lnTo>
                    <a:pt x="360" y="3414"/>
                  </a:lnTo>
                  <a:lnTo>
                    <a:pt x="366" y="3420"/>
                  </a:lnTo>
                  <a:lnTo>
                    <a:pt x="372" y="3426"/>
                  </a:lnTo>
                  <a:lnTo>
                    <a:pt x="378" y="3430"/>
                  </a:lnTo>
                  <a:lnTo>
                    <a:pt x="382" y="3432"/>
                  </a:lnTo>
                  <a:lnTo>
                    <a:pt x="386" y="3434"/>
                  </a:lnTo>
                  <a:lnTo>
                    <a:pt x="392" y="3438"/>
                  </a:lnTo>
                  <a:lnTo>
                    <a:pt x="402" y="3438"/>
                  </a:lnTo>
                  <a:lnTo>
                    <a:pt x="410" y="3436"/>
                  </a:lnTo>
                  <a:lnTo>
                    <a:pt x="414" y="3434"/>
                  </a:lnTo>
                  <a:lnTo>
                    <a:pt x="416" y="3426"/>
                  </a:lnTo>
                  <a:lnTo>
                    <a:pt x="416" y="3412"/>
                  </a:lnTo>
                  <a:lnTo>
                    <a:pt x="418" y="3400"/>
                  </a:lnTo>
                  <a:lnTo>
                    <a:pt x="420" y="3394"/>
                  </a:lnTo>
                  <a:lnTo>
                    <a:pt x="422" y="3388"/>
                  </a:lnTo>
                  <a:lnTo>
                    <a:pt x="424" y="3378"/>
                  </a:lnTo>
                  <a:lnTo>
                    <a:pt x="424" y="3372"/>
                  </a:lnTo>
                  <a:lnTo>
                    <a:pt x="426" y="3368"/>
                  </a:lnTo>
                  <a:lnTo>
                    <a:pt x="428" y="3366"/>
                  </a:lnTo>
                  <a:lnTo>
                    <a:pt x="432" y="3366"/>
                  </a:lnTo>
                  <a:lnTo>
                    <a:pt x="440" y="3364"/>
                  </a:lnTo>
                  <a:lnTo>
                    <a:pt x="444" y="3362"/>
                  </a:lnTo>
                  <a:lnTo>
                    <a:pt x="450" y="3358"/>
                  </a:lnTo>
                  <a:lnTo>
                    <a:pt x="454" y="3354"/>
                  </a:lnTo>
                  <a:lnTo>
                    <a:pt x="458" y="3354"/>
                  </a:lnTo>
                  <a:lnTo>
                    <a:pt x="462" y="3354"/>
                  </a:lnTo>
                  <a:lnTo>
                    <a:pt x="466" y="3356"/>
                  </a:lnTo>
                  <a:lnTo>
                    <a:pt x="470" y="3350"/>
                  </a:lnTo>
                  <a:lnTo>
                    <a:pt x="476" y="3342"/>
                  </a:lnTo>
                  <a:lnTo>
                    <a:pt x="480" y="3340"/>
                  </a:lnTo>
                  <a:lnTo>
                    <a:pt x="486" y="3340"/>
                  </a:lnTo>
                  <a:lnTo>
                    <a:pt x="496" y="3342"/>
                  </a:lnTo>
                  <a:lnTo>
                    <a:pt x="510" y="3344"/>
                  </a:lnTo>
                  <a:lnTo>
                    <a:pt x="518" y="3348"/>
                  </a:lnTo>
                  <a:lnTo>
                    <a:pt x="520" y="3346"/>
                  </a:lnTo>
                  <a:lnTo>
                    <a:pt x="518" y="3342"/>
                  </a:lnTo>
                  <a:lnTo>
                    <a:pt x="510" y="3328"/>
                  </a:lnTo>
                  <a:lnTo>
                    <a:pt x="500" y="3308"/>
                  </a:lnTo>
                  <a:lnTo>
                    <a:pt x="496" y="3296"/>
                  </a:lnTo>
                  <a:lnTo>
                    <a:pt x="492" y="3282"/>
                  </a:lnTo>
                  <a:lnTo>
                    <a:pt x="490" y="3266"/>
                  </a:lnTo>
                  <a:lnTo>
                    <a:pt x="490" y="3256"/>
                  </a:lnTo>
                  <a:lnTo>
                    <a:pt x="490" y="3246"/>
                  </a:lnTo>
                  <a:lnTo>
                    <a:pt x="494" y="3238"/>
                  </a:lnTo>
                  <a:lnTo>
                    <a:pt x="498" y="3228"/>
                  </a:lnTo>
                  <a:lnTo>
                    <a:pt x="506" y="3222"/>
                  </a:lnTo>
                  <a:lnTo>
                    <a:pt x="518" y="3216"/>
                  </a:lnTo>
                  <a:lnTo>
                    <a:pt x="528" y="3212"/>
                  </a:lnTo>
                  <a:lnTo>
                    <a:pt x="536" y="3208"/>
                  </a:lnTo>
                  <a:lnTo>
                    <a:pt x="542" y="3202"/>
                  </a:lnTo>
                  <a:lnTo>
                    <a:pt x="546" y="3196"/>
                  </a:lnTo>
                  <a:lnTo>
                    <a:pt x="550" y="3180"/>
                  </a:lnTo>
                  <a:lnTo>
                    <a:pt x="552" y="3156"/>
                  </a:lnTo>
                  <a:lnTo>
                    <a:pt x="556" y="3144"/>
                  </a:lnTo>
                  <a:lnTo>
                    <a:pt x="564" y="3134"/>
                  </a:lnTo>
                  <a:lnTo>
                    <a:pt x="572" y="3126"/>
                  </a:lnTo>
                  <a:lnTo>
                    <a:pt x="580" y="3122"/>
                  </a:lnTo>
                  <a:lnTo>
                    <a:pt x="596" y="3112"/>
                  </a:lnTo>
                  <a:lnTo>
                    <a:pt x="602" y="3108"/>
                  </a:lnTo>
                  <a:lnTo>
                    <a:pt x="604" y="3104"/>
                  </a:lnTo>
                  <a:lnTo>
                    <a:pt x="606" y="3100"/>
                  </a:lnTo>
                  <a:lnTo>
                    <a:pt x="610" y="3096"/>
                  </a:lnTo>
                  <a:lnTo>
                    <a:pt x="616" y="3092"/>
                  </a:lnTo>
                  <a:lnTo>
                    <a:pt x="622" y="3086"/>
                  </a:lnTo>
                  <a:lnTo>
                    <a:pt x="624" y="3082"/>
                  </a:lnTo>
                  <a:lnTo>
                    <a:pt x="622" y="3078"/>
                  </a:lnTo>
                  <a:lnTo>
                    <a:pt x="620" y="3074"/>
                  </a:lnTo>
                  <a:lnTo>
                    <a:pt x="620" y="3072"/>
                  </a:lnTo>
                  <a:lnTo>
                    <a:pt x="624" y="3066"/>
                  </a:lnTo>
                  <a:lnTo>
                    <a:pt x="626" y="3060"/>
                  </a:lnTo>
                  <a:lnTo>
                    <a:pt x="626" y="3054"/>
                  </a:lnTo>
                  <a:lnTo>
                    <a:pt x="626" y="3044"/>
                  </a:lnTo>
                  <a:lnTo>
                    <a:pt x="624" y="3038"/>
                  </a:lnTo>
                  <a:lnTo>
                    <a:pt x="620" y="3036"/>
                  </a:lnTo>
                  <a:lnTo>
                    <a:pt x="608" y="3036"/>
                  </a:lnTo>
                  <a:lnTo>
                    <a:pt x="600" y="3034"/>
                  </a:lnTo>
                  <a:lnTo>
                    <a:pt x="590" y="3032"/>
                  </a:lnTo>
                  <a:lnTo>
                    <a:pt x="580" y="3026"/>
                  </a:lnTo>
                  <a:lnTo>
                    <a:pt x="570" y="3016"/>
                  </a:lnTo>
                  <a:lnTo>
                    <a:pt x="554" y="2996"/>
                  </a:lnTo>
                  <a:lnTo>
                    <a:pt x="550" y="2988"/>
                  </a:lnTo>
                  <a:lnTo>
                    <a:pt x="550" y="2982"/>
                  </a:lnTo>
                  <a:lnTo>
                    <a:pt x="550" y="2976"/>
                  </a:lnTo>
                  <a:lnTo>
                    <a:pt x="554" y="2968"/>
                  </a:lnTo>
                  <a:lnTo>
                    <a:pt x="564" y="2948"/>
                  </a:lnTo>
                  <a:lnTo>
                    <a:pt x="570" y="2938"/>
                  </a:lnTo>
                  <a:lnTo>
                    <a:pt x="576" y="2930"/>
                  </a:lnTo>
                  <a:lnTo>
                    <a:pt x="580" y="2928"/>
                  </a:lnTo>
                  <a:lnTo>
                    <a:pt x="584" y="2926"/>
                  </a:lnTo>
                  <a:lnTo>
                    <a:pt x="592" y="2926"/>
                  </a:lnTo>
                  <a:lnTo>
                    <a:pt x="594" y="2924"/>
                  </a:lnTo>
                  <a:lnTo>
                    <a:pt x="598" y="2922"/>
                  </a:lnTo>
                  <a:lnTo>
                    <a:pt x="602" y="2918"/>
                  </a:lnTo>
                  <a:lnTo>
                    <a:pt x="608" y="2916"/>
                  </a:lnTo>
                  <a:lnTo>
                    <a:pt x="622" y="2916"/>
                  </a:lnTo>
                  <a:lnTo>
                    <a:pt x="628" y="2916"/>
                  </a:lnTo>
                  <a:lnTo>
                    <a:pt x="632" y="2914"/>
                  </a:lnTo>
                  <a:lnTo>
                    <a:pt x="634" y="2912"/>
                  </a:lnTo>
                  <a:lnTo>
                    <a:pt x="630" y="2908"/>
                  </a:lnTo>
                  <a:lnTo>
                    <a:pt x="628" y="2902"/>
                  </a:lnTo>
                  <a:lnTo>
                    <a:pt x="630" y="2898"/>
                  </a:lnTo>
                  <a:lnTo>
                    <a:pt x="638" y="2890"/>
                  </a:lnTo>
                  <a:lnTo>
                    <a:pt x="642" y="2886"/>
                  </a:lnTo>
                  <a:lnTo>
                    <a:pt x="646" y="2878"/>
                  </a:lnTo>
                  <a:lnTo>
                    <a:pt x="648" y="2868"/>
                  </a:lnTo>
                  <a:lnTo>
                    <a:pt x="644" y="2856"/>
                  </a:lnTo>
                  <a:lnTo>
                    <a:pt x="644" y="2850"/>
                  </a:lnTo>
                  <a:lnTo>
                    <a:pt x="644" y="2844"/>
                  </a:lnTo>
                  <a:lnTo>
                    <a:pt x="646" y="2836"/>
                  </a:lnTo>
                  <a:lnTo>
                    <a:pt x="648" y="2830"/>
                  </a:lnTo>
                  <a:lnTo>
                    <a:pt x="652" y="2822"/>
                  </a:lnTo>
                  <a:lnTo>
                    <a:pt x="660" y="2816"/>
                  </a:lnTo>
                  <a:lnTo>
                    <a:pt x="668" y="2810"/>
                  </a:lnTo>
                  <a:lnTo>
                    <a:pt x="678" y="2806"/>
                  </a:lnTo>
                  <a:lnTo>
                    <a:pt x="684" y="2802"/>
                  </a:lnTo>
                  <a:lnTo>
                    <a:pt x="682" y="2800"/>
                  </a:lnTo>
                  <a:lnTo>
                    <a:pt x="674" y="2798"/>
                  </a:lnTo>
                  <a:lnTo>
                    <a:pt x="662" y="2794"/>
                  </a:lnTo>
                  <a:lnTo>
                    <a:pt x="658" y="2790"/>
                  </a:lnTo>
                  <a:lnTo>
                    <a:pt x="658" y="2786"/>
                  </a:lnTo>
                  <a:lnTo>
                    <a:pt x="660" y="2782"/>
                  </a:lnTo>
                  <a:lnTo>
                    <a:pt x="664" y="2780"/>
                  </a:lnTo>
                  <a:lnTo>
                    <a:pt x="670" y="2780"/>
                  </a:lnTo>
                  <a:lnTo>
                    <a:pt x="676" y="2780"/>
                  </a:lnTo>
                  <a:lnTo>
                    <a:pt x="682" y="2782"/>
                  </a:lnTo>
                  <a:lnTo>
                    <a:pt x="686" y="2788"/>
                  </a:lnTo>
                  <a:lnTo>
                    <a:pt x="690" y="2792"/>
                  </a:lnTo>
                  <a:lnTo>
                    <a:pt x="692" y="2796"/>
                  </a:lnTo>
                  <a:lnTo>
                    <a:pt x="696" y="2798"/>
                  </a:lnTo>
                  <a:lnTo>
                    <a:pt x="700" y="2798"/>
                  </a:lnTo>
                  <a:lnTo>
                    <a:pt x="704" y="2796"/>
                  </a:lnTo>
                  <a:lnTo>
                    <a:pt x="708" y="2792"/>
                  </a:lnTo>
                  <a:lnTo>
                    <a:pt x="712" y="2786"/>
                  </a:lnTo>
                  <a:lnTo>
                    <a:pt x="714" y="2778"/>
                  </a:lnTo>
                  <a:lnTo>
                    <a:pt x="716" y="2770"/>
                  </a:lnTo>
                  <a:lnTo>
                    <a:pt x="714" y="2762"/>
                  </a:lnTo>
                  <a:lnTo>
                    <a:pt x="708" y="2754"/>
                  </a:lnTo>
                  <a:lnTo>
                    <a:pt x="706" y="2752"/>
                  </a:lnTo>
                  <a:lnTo>
                    <a:pt x="702" y="2752"/>
                  </a:lnTo>
                  <a:lnTo>
                    <a:pt x="678" y="2758"/>
                  </a:lnTo>
                  <a:lnTo>
                    <a:pt x="670" y="2760"/>
                  </a:lnTo>
                  <a:lnTo>
                    <a:pt x="662" y="2758"/>
                  </a:lnTo>
                  <a:lnTo>
                    <a:pt x="658" y="2756"/>
                  </a:lnTo>
                  <a:lnTo>
                    <a:pt x="656" y="2750"/>
                  </a:lnTo>
                  <a:lnTo>
                    <a:pt x="654" y="2744"/>
                  </a:lnTo>
                  <a:lnTo>
                    <a:pt x="656" y="2734"/>
                  </a:lnTo>
                  <a:lnTo>
                    <a:pt x="656" y="2726"/>
                  </a:lnTo>
                  <a:lnTo>
                    <a:pt x="654" y="2716"/>
                  </a:lnTo>
                  <a:lnTo>
                    <a:pt x="650" y="2700"/>
                  </a:lnTo>
                  <a:lnTo>
                    <a:pt x="648" y="2694"/>
                  </a:lnTo>
                  <a:lnTo>
                    <a:pt x="646" y="2690"/>
                  </a:lnTo>
                  <a:lnTo>
                    <a:pt x="648" y="2684"/>
                  </a:lnTo>
                  <a:lnTo>
                    <a:pt x="654" y="2682"/>
                  </a:lnTo>
                  <a:lnTo>
                    <a:pt x="662" y="2680"/>
                  </a:lnTo>
                  <a:lnTo>
                    <a:pt x="668" y="2682"/>
                  </a:lnTo>
                  <a:lnTo>
                    <a:pt x="684" y="2688"/>
                  </a:lnTo>
                  <a:lnTo>
                    <a:pt x="700" y="2696"/>
                  </a:lnTo>
                  <a:lnTo>
                    <a:pt x="708" y="2698"/>
                  </a:lnTo>
                  <a:lnTo>
                    <a:pt x="714" y="2700"/>
                  </a:lnTo>
                  <a:lnTo>
                    <a:pt x="724" y="2700"/>
                  </a:lnTo>
                  <a:lnTo>
                    <a:pt x="728" y="2700"/>
                  </a:lnTo>
                  <a:lnTo>
                    <a:pt x="734" y="2700"/>
                  </a:lnTo>
                  <a:lnTo>
                    <a:pt x="748" y="2694"/>
                  </a:lnTo>
                  <a:lnTo>
                    <a:pt x="762" y="2684"/>
                  </a:lnTo>
                  <a:lnTo>
                    <a:pt x="768" y="2680"/>
                  </a:lnTo>
                  <a:lnTo>
                    <a:pt x="770" y="2676"/>
                  </a:lnTo>
                  <a:lnTo>
                    <a:pt x="770" y="2672"/>
                  </a:lnTo>
                  <a:lnTo>
                    <a:pt x="770" y="2670"/>
                  </a:lnTo>
                  <a:lnTo>
                    <a:pt x="764" y="2664"/>
                  </a:lnTo>
                  <a:lnTo>
                    <a:pt x="762" y="2660"/>
                  </a:lnTo>
                  <a:lnTo>
                    <a:pt x="760" y="2658"/>
                  </a:lnTo>
                  <a:lnTo>
                    <a:pt x="758" y="2650"/>
                  </a:lnTo>
                  <a:lnTo>
                    <a:pt x="762" y="2642"/>
                  </a:lnTo>
                  <a:lnTo>
                    <a:pt x="770" y="2632"/>
                  </a:lnTo>
                  <a:lnTo>
                    <a:pt x="776" y="2622"/>
                  </a:lnTo>
                  <a:lnTo>
                    <a:pt x="778" y="2612"/>
                  </a:lnTo>
                  <a:lnTo>
                    <a:pt x="776" y="2602"/>
                  </a:lnTo>
                  <a:lnTo>
                    <a:pt x="772" y="2598"/>
                  </a:lnTo>
                  <a:lnTo>
                    <a:pt x="770" y="2596"/>
                  </a:lnTo>
                  <a:lnTo>
                    <a:pt x="766" y="2592"/>
                  </a:lnTo>
                  <a:lnTo>
                    <a:pt x="762" y="2588"/>
                  </a:lnTo>
                  <a:lnTo>
                    <a:pt x="760" y="2578"/>
                  </a:lnTo>
                  <a:lnTo>
                    <a:pt x="760" y="2574"/>
                  </a:lnTo>
                  <a:lnTo>
                    <a:pt x="762" y="2572"/>
                  </a:lnTo>
                  <a:lnTo>
                    <a:pt x="768" y="2572"/>
                  </a:lnTo>
                  <a:lnTo>
                    <a:pt x="774" y="2576"/>
                  </a:lnTo>
                  <a:lnTo>
                    <a:pt x="784" y="2582"/>
                  </a:lnTo>
                  <a:lnTo>
                    <a:pt x="792" y="2582"/>
                  </a:lnTo>
                  <a:lnTo>
                    <a:pt x="824" y="2578"/>
                  </a:lnTo>
                  <a:lnTo>
                    <a:pt x="856" y="2574"/>
                  </a:lnTo>
                  <a:lnTo>
                    <a:pt x="890" y="2566"/>
                  </a:lnTo>
                  <a:lnTo>
                    <a:pt x="920" y="2556"/>
                  </a:lnTo>
                  <a:lnTo>
                    <a:pt x="934" y="2550"/>
                  </a:lnTo>
                  <a:lnTo>
                    <a:pt x="944" y="2544"/>
                  </a:lnTo>
                  <a:lnTo>
                    <a:pt x="952" y="2538"/>
                  </a:lnTo>
                  <a:lnTo>
                    <a:pt x="956" y="2534"/>
                  </a:lnTo>
                  <a:lnTo>
                    <a:pt x="958" y="2528"/>
                  </a:lnTo>
                  <a:lnTo>
                    <a:pt x="960" y="2524"/>
                  </a:lnTo>
                  <a:lnTo>
                    <a:pt x="962" y="2516"/>
                  </a:lnTo>
                  <a:lnTo>
                    <a:pt x="966" y="2510"/>
                  </a:lnTo>
                  <a:lnTo>
                    <a:pt x="970" y="2504"/>
                  </a:lnTo>
                  <a:lnTo>
                    <a:pt x="980" y="2492"/>
                  </a:lnTo>
                  <a:lnTo>
                    <a:pt x="986" y="2478"/>
                  </a:lnTo>
                  <a:lnTo>
                    <a:pt x="990" y="2464"/>
                  </a:lnTo>
                  <a:lnTo>
                    <a:pt x="990" y="2444"/>
                  </a:lnTo>
                  <a:lnTo>
                    <a:pt x="990" y="2436"/>
                  </a:lnTo>
                  <a:lnTo>
                    <a:pt x="990" y="2432"/>
                  </a:lnTo>
                  <a:lnTo>
                    <a:pt x="986" y="2432"/>
                  </a:lnTo>
                  <a:lnTo>
                    <a:pt x="984" y="2432"/>
                  </a:lnTo>
                  <a:lnTo>
                    <a:pt x="980" y="2432"/>
                  </a:lnTo>
                  <a:lnTo>
                    <a:pt x="976" y="2432"/>
                  </a:lnTo>
                  <a:lnTo>
                    <a:pt x="970" y="2428"/>
                  </a:lnTo>
                  <a:lnTo>
                    <a:pt x="964" y="2420"/>
                  </a:lnTo>
                  <a:lnTo>
                    <a:pt x="962" y="2410"/>
                  </a:lnTo>
                  <a:lnTo>
                    <a:pt x="962" y="2404"/>
                  </a:lnTo>
                  <a:lnTo>
                    <a:pt x="964" y="2400"/>
                  </a:lnTo>
                  <a:lnTo>
                    <a:pt x="968" y="2396"/>
                  </a:lnTo>
                  <a:lnTo>
                    <a:pt x="970" y="2392"/>
                  </a:lnTo>
                  <a:lnTo>
                    <a:pt x="970" y="2388"/>
                  </a:lnTo>
                  <a:lnTo>
                    <a:pt x="968" y="2380"/>
                  </a:lnTo>
                  <a:lnTo>
                    <a:pt x="962" y="2368"/>
                  </a:lnTo>
                  <a:lnTo>
                    <a:pt x="954" y="2360"/>
                  </a:lnTo>
                  <a:lnTo>
                    <a:pt x="946" y="2354"/>
                  </a:lnTo>
                  <a:lnTo>
                    <a:pt x="928" y="2344"/>
                  </a:lnTo>
                  <a:lnTo>
                    <a:pt x="922" y="2338"/>
                  </a:lnTo>
                  <a:lnTo>
                    <a:pt x="918" y="2332"/>
                  </a:lnTo>
                  <a:lnTo>
                    <a:pt x="918" y="2330"/>
                  </a:lnTo>
                  <a:lnTo>
                    <a:pt x="920" y="2326"/>
                  </a:lnTo>
                  <a:lnTo>
                    <a:pt x="926" y="2316"/>
                  </a:lnTo>
                  <a:lnTo>
                    <a:pt x="928" y="2320"/>
                  </a:lnTo>
                  <a:lnTo>
                    <a:pt x="934" y="2326"/>
                  </a:lnTo>
                  <a:lnTo>
                    <a:pt x="946" y="2332"/>
                  </a:lnTo>
                  <a:lnTo>
                    <a:pt x="952" y="2334"/>
                  </a:lnTo>
                  <a:lnTo>
                    <a:pt x="958" y="2334"/>
                  </a:lnTo>
                  <a:lnTo>
                    <a:pt x="966" y="2336"/>
                  </a:lnTo>
                  <a:lnTo>
                    <a:pt x="976" y="2338"/>
                  </a:lnTo>
                  <a:lnTo>
                    <a:pt x="992" y="2348"/>
                  </a:lnTo>
                  <a:lnTo>
                    <a:pt x="1002" y="2352"/>
                  </a:lnTo>
                  <a:lnTo>
                    <a:pt x="1010" y="2356"/>
                  </a:lnTo>
                  <a:lnTo>
                    <a:pt x="1018" y="2358"/>
                  </a:lnTo>
                  <a:lnTo>
                    <a:pt x="1026" y="2356"/>
                  </a:lnTo>
                  <a:lnTo>
                    <a:pt x="1032" y="2354"/>
                  </a:lnTo>
                  <a:lnTo>
                    <a:pt x="1038" y="2352"/>
                  </a:lnTo>
                  <a:lnTo>
                    <a:pt x="1050" y="2356"/>
                  </a:lnTo>
                  <a:lnTo>
                    <a:pt x="1056" y="2358"/>
                  </a:lnTo>
                  <a:lnTo>
                    <a:pt x="1062" y="2358"/>
                  </a:lnTo>
                  <a:lnTo>
                    <a:pt x="1068" y="2358"/>
                  </a:lnTo>
                  <a:lnTo>
                    <a:pt x="1076" y="2354"/>
                  </a:lnTo>
                  <a:lnTo>
                    <a:pt x="1090" y="2344"/>
                  </a:lnTo>
                  <a:lnTo>
                    <a:pt x="1100" y="2334"/>
                  </a:lnTo>
                  <a:lnTo>
                    <a:pt x="1110" y="2320"/>
                  </a:lnTo>
                  <a:lnTo>
                    <a:pt x="1122" y="2300"/>
                  </a:lnTo>
                  <a:lnTo>
                    <a:pt x="1120" y="2294"/>
                  </a:lnTo>
                  <a:lnTo>
                    <a:pt x="1124" y="2288"/>
                  </a:lnTo>
                  <a:lnTo>
                    <a:pt x="1130" y="2282"/>
                  </a:lnTo>
                  <a:lnTo>
                    <a:pt x="1140" y="2276"/>
                  </a:lnTo>
                  <a:lnTo>
                    <a:pt x="1150" y="2270"/>
                  </a:lnTo>
                  <a:lnTo>
                    <a:pt x="1154" y="2264"/>
                  </a:lnTo>
                  <a:lnTo>
                    <a:pt x="1158" y="2256"/>
                  </a:lnTo>
                  <a:lnTo>
                    <a:pt x="1166" y="2232"/>
                  </a:lnTo>
                  <a:lnTo>
                    <a:pt x="1170" y="2224"/>
                  </a:lnTo>
                  <a:lnTo>
                    <a:pt x="1174" y="2218"/>
                  </a:lnTo>
                  <a:lnTo>
                    <a:pt x="1188" y="2204"/>
                  </a:lnTo>
                  <a:lnTo>
                    <a:pt x="1210" y="2184"/>
                  </a:lnTo>
                  <a:lnTo>
                    <a:pt x="1220" y="2174"/>
                  </a:lnTo>
                  <a:lnTo>
                    <a:pt x="1228" y="2164"/>
                  </a:lnTo>
                  <a:lnTo>
                    <a:pt x="1240" y="2140"/>
                  </a:lnTo>
                  <a:lnTo>
                    <a:pt x="1254" y="2110"/>
                  </a:lnTo>
                  <a:lnTo>
                    <a:pt x="1270" y="2074"/>
                  </a:lnTo>
                  <a:lnTo>
                    <a:pt x="1278" y="2058"/>
                  </a:lnTo>
                  <a:lnTo>
                    <a:pt x="1284" y="2048"/>
                  </a:lnTo>
                  <a:lnTo>
                    <a:pt x="1290" y="2042"/>
                  </a:lnTo>
                  <a:lnTo>
                    <a:pt x="1294" y="2038"/>
                  </a:lnTo>
                  <a:lnTo>
                    <a:pt x="1304" y="2030"/>
                  </a:lnTo>
                  <a:lnTo>
                    <a:pt x="1308" y="2022"/>
                  </a:lnTo>
                  <a:lnTo>
                    <a:pt x="1314" y="2012"/>
                  </a:lnTo>
                  <a:lnTo>
                    <a:pt x="1320" y="1998"/>
                  </a:lnTo>
                  <a:lnTo>
                    <a:pt x="1322" y="1984"/>
                  </a:lnTo>
                  <a:lnTo>
                    <a:pt x="1322" y="1970"/>
                  </a:lnTo>
                  <a:lnTo>
                    <a:pt x="1322" y="1956"/>
                  </a:lnTo>
                  <a:lnTo>
                    <a:pt x="1322" y="1926"/>
                  </a:lnTo>
                  <a:lnTo>
                    <a:pt x="1320" y="1910"/>
                  </a:lnTo>
                  <a:lnTo>
                    <a:pt x="1322" y="1894"/>
                  </a:lnTo>
                  <a:lnTo>
                    <a:pt x="1324" y="1878"/>
                  </a:lnTo>
                  <a:lnTo>
                    <a:pt x="1332" y="1862"/>
                  </a:lnTo>
                  <a:lnTo>
                    <a:pt x="1340" y="1848"/>
                  </a:lnTo>
                  <a:lnTo>
                    <a:pt x="1352" y="1836"/>
                  </a:lnTo>
                  <a:lnTo>
                    <a:pt x="1364" y="1824"/>
                  </a:lnTo>
                  <a:lnTo>
                    <a:pt x="1376" y="1816"/>
                  </a:lnTo>
                  <a:lnTo>
                    <a:pt x="1388" y="1808"/>
                  </a:lnTo>
                  <a:lnTo>
                    <a:pt x="1398" y="1802"/>
                  </a:lnTo>
                  <a:lnTo>
                    <a:pt x="1422" y="1792"/>
                  </a:lnTo>
                  <a:lnTo>
                    <a:pt x="1438" y="1782"/>
                  </a:lnTo>
                  <a:lnTo>
                    <a:pt x="1452" y="1772"/>
                  </a:lnTo>
                  <a:lnTo>
                    <a:pt x="1462" y="1764"/>
                  </a:lnTo>
                  <a:lnTo>
                    <a:pt x="1476" y="1750"/>
                  </a:lnTo>
                  <a:lnTo>
                    <a:pt x="1482" y="1744"/>
                  </a:lnTo>
                  <a:lnTo>
                    <a:pt x="1490" y="1740"/>
                  </a:lnTo>
                  <a:lnTo>
                    <a:pt x="1498" y="1738"/>
                  </a:lnTo>
                  <a:lnTo>
                    <a:pt x="1502" y="1738"/>
                  </a:lnTo>
                  <a:lnTo>
                    <a:pt x="1506" y="1740"/>
                  </a:lnTo>
                  <a:lnTo>
                    <a:pt x="1508" y="1742"/>
                  </a:lnTo>
                  <a:lnTo>
                    <a:pt x="1514" y="1742"/>
                  </a:lnTo>
                  <a:lnTo>
                    <a:pt x="1520" y="1742"/>
                  </a:lnTo>
                  <a:lnTo>
                    <a:pt x="1530" y="1740"/>
                  </a:lnTo>
                  <a:lnTo>
                    <a:pt x="1544" y="1738"/>
                  </a:lnTo>
                  <a:lnTo>
                    <a:pt x="1556" y="1738"/>
                  </a:lnTo>
                  <a:lnTo>
                    <a:pt x="1576" y="1738"/>
                  </a:lnTo>
                  <a:lnTo>
                    <a:pt x="1584" y="1738"/>
                  </a:lnTo>
                  <a:lnTo>
                    <a:pt x="1588" y="1736"/>
                  </a:lnTo>
                  <a:lnTo>
                    <a:pt x="1592" y="1734"/>
                  </a:lnTo>
                  <a:lnTo>
                    <a:pt x="1590" y="1728"/>
                  </a:lnTo>
                  <a:lnTo>
                    <a:pt x="1590" y="1724"/>
                  </a:lnTo>
                  <a:lnTo>
                    <a:pt x="1590" y="1722"/>
                  </a:lnTo>
                  <a:lnTo>
                    <a:pt x="1594" y="1716"/>
                  </a:lnTo>
                  <a:lnTo>
                    <a:pt x="1608" y="1702"/>
                  </a:lnTo>
                  <a:lnTo>
                    <a:pt x="1616" y="1696"/>
                  </a:lnTo>
                  <a:lnTo>
                    <a:pt x="1622" y="1690"/>
                  </a:lnTo>
                  <a:lnTo>
                    <a:pt x="1626" y="1682"/>
                  </a:lnTo>
                  <a:lnTo>
                    <a:pt x="1626" y="1676"/>
                  </a:lnTo>
                  <a:lnTo>
                    <a:pt x="1624" y="1672"/>
                  </a:lnTo>
                  <a:lnTo>
                    <a:pt x="1622" y="1662"/>
                  </a:lnTo>
                  <a:lnTo>
                    <a:pt x="1624" y="1654"/>
                  </a:lnTo>
                  <a:lnTo>
                    <a:pt x="1628" y="1644"/>
                  </a:lnTo>
                  <a:lnTo>
                    <a:pt x="1634" y="1634"/>
                  </a:lnTo>
                  <a:lnTo>
                    <a:pt x="1650" y="1610"/>
                  </a:lnTo>
                  <a:lnTo>
                    <a:pt x="1668" y="1580"/>
                  </a:lnTo>
                  <a:lnTo>
                    <a:pt x="1674" y="1564"/>
                  </a:lnTo>
                  <a:lnTo>
                    <a:pt x="1678" y="1550"/>
                  </a:lnTo>
                  <a:lnTo>
                    <a:pt x="1678" y="1536"/>
                  </a:lnTo>
                  <a:lnTo>
                    <a:pt x="1678" y="1524"/>
                  </a:lnTo>
                  <a:lnTo>
                    <a:pt x="1678" y="1514"/>
                  </a:lnTo>
                  <a:lnTo>
                    <a:pt x="1680" y="1506"/>
                  </a:lnTo>
                  <a:lnTo>
                    <a:pt x="1682" y="1498"/>
                  </a:lnTo>
                  <a:lnTo>
                    <a:pt x="1688" y="1494"/>
                  </a:lnTo>
                  <a:lnTo>
                    <a:pt x="1694" y="1488"/>
                  </a:lnTo>
                  <a:lnTo>
                    <a:pt x="1698" y="1480"/>
                  </a:lnTo>
                  <a:lnTo>
                    <a:pt x="1698" y="1470"/>
                  </a:lnTo>
                  <a:lnTo>
                    <a:pt x="1700" y="1460"/>
                  </a:lnTo>
                  <a:lnTo>
                    <a:pt x="1700" y="1434"/>
                  </a:lnTo>
                  <a:lnTo>
                    <a:pt x="1702" y="1418"/>
                  </a:lnTo>
                  <a:lnTo>
                    <a:pt x="1704" y="1404"/>
                  </a:lnTo>
                  <a:lnTo>
                    <a:pt x="1708" y="1390"/>
                  </a:lnTo>
                  <a:lnTo>
                    <a:pt x="1708" y="1378"/>
                  </a:lnTo>
                  <a:lnTo>
                    <a:pt x="1708" y="1368"/>
                  </a:lnTo>
                  <a:lnTo>
                    <a:pt x="1706" y="1360"/>
                  </a:lnTo>
                  <a:lnTo>
                    <a:pt x="1702" y="1342"/>
                  </a:lnTo>
                  <a:lnTo>
                    <a:pt x="1702" y="1334"/>
                  </a:lnTo>
                  <a:lnTo>
                    <a:pt x="1702" y="1324"/>
                  </a:lnTo>
                  <a:lnTo>
                    <a:pt x="1706" y="1252"/>
                  </a:lnTo>
                  <a:lnTo>
                    <a:pt x="1708" y="1234"/>
                  </a:lnTo>
                  <a:lnTo>
                    <a:pt x="1710" y="1224"/>
                  </a:lnTo>
                  <a:lnTo>
                    <a:pt x="1712" y="1220"/>
                  </a:lnTo>
                  <a:lnTo>
                    <a:pt x="1714" y="1220"/>
                  </a:lnTo>
                  <a:lnTo>
                    <a:pt x="1718" y="1222"/>
                  </a:lnTo>
                  <a:lnTo>
                    <a:pt x="1720" y="1226"/>
                  </a:lnTo>
                  <a:lnTo>
                    <a:pt x="1726" y="1234"/>
                  </a:lnTo>
                  <a:lnTo>
                    <a:pt x="1730" y="1238"/>
                  </a:lnTo>
                  <a:lnTo>
                    <a:pt x="1736" y="1238"/>
                  </a:lnTo>
                  <a:lnTo>
                    <a:pt x="1740" y="1234"/>
                  </a:lnTo>
                  <a:lnTo>
                    <a:pt x="1746" y="1224"/>
                  </a:lnTo>
                  <a:lnTo>
                    <a:pt x="1752" y="1212"/>
                  </a:lnTo>
                  <a:lnTo>
                    <a:pt x="1766" y="1176"/>
                  </a:lnTo>
                  <a:lnTo>
                    <a:pt x="1774" y="1158"/>
                  </a:lnTo>
                  <a:lnTo>
                    <a:pt x="1780" y="1146"/>
                  </a:lnTo>
                  <a:lnTo>
                    <a:pt x="1788" y="1136"/>
                  </a:lnTo>
                  <a:lnTo>
                    <a:pt x="1794" y="1128"/>
                  </a:lnTo>
                  <a:lnTo>
                    <a:pt x="1810" y="1112"/>
                  </a:lnTo>
                  <a:lnTo>
                    <a:pt x="1820" y="1100"/>
                  </a:lnTo>
                  <a:lnTo>
                    <a:pt x="1830" y="1082"/>
                  </a:lnTo>
                  <a:lnTo>
                    <a:pt x="1852" y="1044"/>
                  </a:lnTo>
                  <a:lnTo>
                    <a:pt x="1860" y="1030"/>
                  </a:lnTo>
                  <a:lnTo>
                    <a:pt x="1866" y="1016"/>
                  </a:lnTo>
                  <a:lnTo>
                    <a:pt x="1872" y="1002"/>
                  </a:lnTo>
                  <a:lnTo>
                    <a:pt x="1874" y="988"/>
                  </a:lnTo>
                  <a:lnTo>
                    <a:pt x="1874" y="972"/>
                  </a:lnTo>
                  <a:lnTo>
                    <a:pt x="1872" y="956"/>
                  </a:lnTo>
                  <a:close/>
                  <a:moveTo>
                    <a:pt x="1128" y="2234"/>
                  </a:moveTo>
                  <a:lnTo>
                    <a:pt x="1128" y="2234"/>
                  </a:lnTo>
                  <a:lnTo>
                    <a:pt x="1132" y="2242"/>
                  </a:lnTo>
                  <a:lnTo>
                    <a:pt x="1128" y="2234"/>
                  </a:lnTo>
                  <a:close/>
                  <a:moveTo>
                    <a:pt x="698" y="3490"/>
                  </a:moveTo>
                  <a:lnTo>
                    <a:pt x="698" y="3490"/>
                  </a:lnTo>
                  <a:lnTo>
                    <a:pt x="692" y="3492"/>
                  </a:lnTo>
                  <a:lnTo>
                    <a:pt x="688" y="3490"/>
                  </a:lnTo>
                  <a:lnTo>
                    <a:pt x="684" y="3490"/>
                  </a:lnTo>
                  <a:lnTo>
                    <a:pt x="678" y="3492"/>
                  </a:lnTo>
                  <a:lnTo>
                    <a:pt x="670" y="3496"/>
                  </a:lnTo>
                  <a:lnTo>
                    <a:pt x="666" y="3498"/>
                  </a:lnTo>
                  <a:lnTo>
                    <a:pt x="670" y="3500"/>
                  </a:lnTo>
                  <a:lnTo>
                    <a:pt x="672" y="3500"/>
                  </a:lnTo>
                  <a:lnTo>
                    <a:pt x="678" y="3498"/>
                  </a:lnTo>
                  <a:lnTo>
                    <a:pt x="682" y="3494"/>
                  </a:lnTo>
                  <a:lnTo>
                    <a:pt x="684" y="3496"/>
                  </a:lnTo>
                  <a:lnTo>
                    <a:pt x="686" y="3498"/>
                  </a:lnTo>
                  <a:lnTo>
                    <a:pt x="690" y="3496"/>
                  </a:lnTo>
                  <a:lnTo>
                    <a:pt x="694" y="3496"/>
                  </a:lnTo>
                  <a:lnTo>
                    <a:pt x="696" y="3496"/>
                  </a:lnTo>
                  <a:lnTo>
                    <a:pt x="700" y="3496"/>
                  </a:lnTo>
                  <a:lnTo>
                    <a:pt x="702" y="3494"/>
                  </a:lnTo>
                  <a:lnTo>
                    <a:pt x="704" y="3492"/>
                  </a:lnTo>
                  <a:lnTo>
                    <a:pt x="702" y="3490"/>
                  </a:lnTo>
                  <a:lnTo>
                    <a:pt x="698" y="3490"/>
                  </a:lnTo>
                  <a:close/>
                  <a:moveTo>
                    <a:pt x="294" y="3084"/>
                  </a:moveTo>
                  <a:lnTo>
                    <a:pt x="294" y="3084"/>
                  </a:lnTo>
                  <a:lnTo>
                    <a:pt x="298" y="3086"/>
                  </a:lnTo>
                  <a:lnTo>
                    <a:pt x="300" y="3084"/>
                  </a:lnTo>
                  <a:lnTo>
                    <a:pt x="300" y="3082"/>
                  </a:lnTo>
                  <a:lnTo>
                    <a:pt x="298" y="3080"/>
                  </a:lnTo>
                  <a:lnTo>
                    <a:pt x="292" y="3078"/>
                  </a:lnTo>
                  <a:lnTo>
                    <a:pt x="286" y="3078"/>
                  </a:lnTo>
                  <a:lnTo>
                    <a:pt x="282" y="3078"/>
                  </a:lnTo>
                  <a:lnTo>
                    <a:pt x="276" y="3080"/>
                  </a:lnTo>
                  <a:lnTo>
                    <a:pt x="274" y="3082"/>
                  </a:lnTo>
                  <a:lnTo>
                    <a:pt x="274" y="3084"/>
                  </a:lnTo>
                  <a:lnTo>
                    <a:pt x="280" y="3084"/>
                  </a:lnTo>
                  <a:lnTo>
                    <a:pt x="288" y="3084"/>
                  </a:lnTo>
                  <a:lnTo>
                    <a:pt x="294" y="3084"/>
                  </a:lnTo>
                  <a:close/>
                  <a:moveTo>
                    <a:pt x="338" y="3318"/>
                  </a:moveTo>
                  <a:lnTo>
                    <a:pt x="338" y="3318"/>
                  </a:lnTo>
                  <a:lnTo>
                    <a:pt x="330" y="3322"/>
                  </a:lnTo>
                  <a:lnTo>
                    <a:pt x="328" y="3324"/>
                  </a:lnTo>
                  <a:lnTo>
                    <a:pt x="330" y="3326"/>
                  </a:lnTo>
                  <a:lnTo>
                    <a:pt x="334" y="3326"/>
                  </a:lnTo>
                  <a:lnTo>
                    <a:pt x="338" y="3322"/>
                  </a:lnTo>
                  <a:lnTo>
                    <a:pt x="338" y="3318"/>
                  </a:lnTo>
                  <a:close/>
                  <a:moveTo>
                    <a:pt x="292" y="3034"/>
                  </a:moveTo>
                  <a:lnTo>
                    <a:pt x="292" y="3034"/>
                  </a:lnTo>
                  <a:lnTo>
                    <a:pt x="290" y="3032"/>
                  </a:lnTo>
                  <a:lnTo>
                    <a:pt x="288" y="3030"/>
                  </a:lnTo>
                  <a:lnTo>
                    <a:pt x="284" y="3030"/>
                  </a:lnTo>
                  <a:lnTo>
                    <a:pt x="282" y="3034"/>
                  </a:lnTo>
                  <a:lnTo>
                    <a:pt x="284" y="3036"/>
                  </a:lnTo>
                  <a:lnTo>
                    <a:pt x="286" y="3038"/>
                  </a:lnTo>
                  <a:lnTo>
                    <a:pt x="290" y="3036"/>
                  </a:lnTo>
                  <a:lnTo>
                    <a:pt x="292" y="3034"/>
                  </a:lnTo>
                  <a:close/>
                  <a:moveTo>
                    <a:pt x="420" y="3442"/>
                  </a:moveTo>
                  <a:lnTo>
                    <a:pt x="420" y="3442"/>
                  </a:lnTo>
                  <a:lnTo>
                    <a:pt x="420" y="3446"/>
                  </a:lnTo>
                  <a:lnTo>
                    <a:pt x="424" y="3452"/>
                  </a:lnTo>
                  <a:lnTo>
                    <a:pt x="440" y="3462"/>
                  </a:lnTo>
                  <a:lnTo>
                    <a:pt x="444" y="3464"/>
                  </a:lnTo>
                  <a:lnTo>
                    <a:pt x="444" y="3462"/>
                  </a:lnTo>
                  <a:lnTo>
                    <a:pt x="442" y="3458"/>
                  </a:lnTo>
                  <a:lnTo>
                    <a:pt x="438" y="3454"/>
                  </a:lnTo>
                  <a:lnTo>
                    <a:pt x="430" y="3446"/>
                  </a:lnTo>
                  <a:lnTo>
                    <a:pt x="434" y="3448"/>
                  </a:lnTo>
                  <a:lnTo>
                    <a:pt x="438" y="3450"/>
                  </a:lnTo>
                  <a:lnTo>
                    <a:pt x="442" y="3450"/>
                  </a:lnTo>
                  <a:lnTo>
                    <a:pt x="442" y="3448"/>
                  </a:lnTo>
                  <a:lnTo>
                    <a:pt x="440" y="3444"/>
                  </a:lnTo>
                  <a:lnTo>
                    <a:pt x="436" y="3438"/>
                  </a:lnTo>
                  <a:lnTo>
                    <a:pt x="434" y="3432"/>
                  </a:lnTo>
                  <a:lnTo>
                    <a:pt x="434" y="3420"/>
                  </a:lnTo>
                  <a:lnTo>
                    <a:pt x="434" y="3418"/>
                  </a:lnTo>
                  <a:lnTo>
                    <a:pt x="434" y="3420"/>
                  </a:lnTo>
                  <a:lnTo>
                    <a:pt x="430" y="3422"/>
                  </a:lnTo>
                  <a:lnTo>
                    <a:pt x="426" y="3428"/>
                  </a:lnTo>
                  <a:lnTo>
                    <a:pt x="426" y="3432"/>
                  </a:lnTo>
                  <a:lnTo>
                    <a:pt x="426" y="3436"/>
                  </a:lnTo>
                  <a:lnTo>
                    <a:pt x="424" y="3436"/>
                  </a:lnTo>
                  <a:lnTo>
                    <a:pt x="422" y="3436"/>
                  </a:lnTo>
                  <a:lnTo>
                    <a:pt x="420" y="3442"/>
                  </a:lnTo>
                  <a:close/>
                  <a:moveTo>
                    <a:pt x="272" y="3186"/>
                  </a:moveTo>
                  <a:lnTo>
                    <a:pt x="272" y="3186"/>
                  </a:lnTo>
                  <a:lnTo>
                    <a:pt x="270" y="3186"/>
                  </a:lnTo>
                  <a:lnTo>
                    <a:pt x="272" y="3180"/>
                  </a:lnTo>
                  <a:lnTo>
                    <a:pt x="274" y="3174"/>
                  </a:lnTo>
                  <a:lnTo>
                    <a:pt x="274" y="3168"/>
                  </a:lnTo>
                  <a:lnTo>
                    <a:pt x="274" y="3150"/>
                  </a:lnTo>
                  <a:lnTo>
                    <a:pt x="272" y="3136"/>
                  </a:lnTo>
                  <a:lnTo>
                    <a:pt x="272" y="3132"/>
                  </a:lnTo>
                  <a:lnTo>
                    <a:pt x="270" y="3132"/>
                  </a:lnTo>
                  <a:lnTo>
                    <a:pt x="266" y="3132"/>
                  </a:lnTo>
                  <a:lnTo>
                    <a:pt x="264" y="3130"/>
                  </a:lnTo>
                  <a:lnTo>
                    <a:pt x="262" y="3130"/>
                  </a:lnTo>
                  <a:lnTo>
                    <a:pt x="258" y="3132"/>
                  </a:lnTo>
                  <a:lnTo>
                    <a:pt x="252" y="3136"/>
                  </a:lnTo>
                  <a:lnTo>
                    <a:pt x="250" y="3138"/>
                  </a:lnTo>
                  <a:lnTo>
                    <a:pt x="252" y="3140"/>
                  </a:lnTo>
                  <a:lnTo>
                    <a:pt x="254" y="3142"/>
                  </a:lnTo>
                  <a:lnTo>
                    <a:pt x="254" y="3144"/>
                  </a:lnTo>
                  <a:lnTo>
                    <a:pt x="254" y="3146"/>
                  </a:lnTo>
                  <a:lnTo>
                    <a:pt x="256" y="3148"/>
                  </a:lnTo>
                  <a:lnTo>
                    <a:pt x="258" y="3150"/>
                  </a:lnTo>
                  <a:lnTo>
                    <a:pt x="260" y="3154"/>
                  </a:lnTo>
                  <a:lnTo>
                    <a:pt x="258" y="3164"/>
                  </a:lnTo>
                  <a:lnTo>
                    <a:pt x="256" y="3166"/>
                  </a:lnTo>
                  <a:lnTo>
                    <a:pt x="252" y="3164"/>
                  </a:lnTo>
                  <a:lnTo>
                    <a:pt x="250" y="3162"/>
                  </a:lnTo>
                  <a:lnTo>
                    <a:pt x="246" y="3162"/>
                  </a:lnTo>
                  <a:lnTo>
                    <a:pt x="244" y="3164"/>
                  </a:lnTo>
                  <a:lnTo>
                    <a:pt x="242" y="3162"/>
                  </a:lnTo>
                  <a:lnTo>
                    <a:pt x="238" y="3162"/>
                  </a:lnTo>
                  <a:lnTo>
                    <a:pt x="236" y="3164"/>
                  </a:lnTo>
                  <a:lnTo>
                    <a:pt x="234" y="3168"/>
                  </a:lnTo>
                  <a:lnTo>
                    <a:pt x="236" y="3172"/>
                  </a:lnTo>
                  <a:lnTo>
                    <a:pt x="238" y="3178"/>
                  </a:lnTo>
                  <a:lnTo>
                    <a:pt x="242" y="3184"/>
                  </a:lnTo>
                  <a:lnTo>
                    <a:pt x="244" y="3190"/>
                  </a:lnTo>
                  <a:lnTo>
                    <a:pt x="246" y="3194"/>
                  </a:lnTo>
                  <a:lnTo>
                    <a:pt x="248" y="3200"/>
                  </a:lnTo>
                  <a:lnTo>
                    <a:pt x="250" y="3200"/>
                  </a:lnTo>
                  <a:lnTo>
                    <a:pt x="252" y="3200"/>
                  </a:lnTo>
                  <a:lnTo>
                    <a:pt x="254" y="3196"/>
                  </a:lnTo>
                  <a:lnTo>
                    <a:pt x="254" y="3190"/>
                  </a:lnTo>
                  <a:lnTo>
                    <a:pt x="252" y="3184"/>
                  </a:lnTo>
                  <a:lnTo>
                    <a:pt x="250" y="3180"/>
                  </a:lnTo>
                  <a:lnTo>
                    <a:pt x="252" y="3178"/>
                  </a:lnTo>
                  <a:lnTo>
                    <a:pt x="254" y="3178"/>
                  </a:lnTo>
                  <a:lnTo>
                    <a:pt x="258" y="3182"/>
                  </a:lnTo>
                  <a:lnTo>
                    <a:pt x="262" y="3184"/>
                  </a:lnTo>
                  <a:lnTo>
                    <a:pt x="262" y="3186"/>
                  </a:lnTo>
                  <a:lnTo>
                    <a:pt x="260" y="3186"/>
                  </a:lnTo>
                  <a:lnTo>
                    <a:pt x="258" y="3190"/>
                  </a:lnTo>
                  <a:lnTo>
                    <a:pt x="258" y="3192"/>
                  </a:lnTo>
                  <a:lnTo>
                    <a:pt x="258" y="3194"/>
                  </a:lnTo>
                  <a:lnTo>
                    <a:pt x="258" y="3198"/>
                  </a:lnTo>
                  <a:lnTo>
                    <a:pt x="258" y="3202"/>
                  </a:lnTo>
                  <a:lnTo>
                    <a:pt x="258" y="3206"/>
                  </a:lnTo>
                  <a:lnTo>
                    <a:pt x="260" y="3208"/>
                  </a:lnTo>
                  <a:lnTo>
                    <a:pt x="266" y="3208"/>
                  </a:lnTo>
                  <a:lnTo>
                    <a:pt x="270" y="3208"/>
                  </a:lnTo>
                  <a:lnTo>
                    <a:pt x="272" y="3206"/>
                  </a:lnTo>
                  <a:lnTo>
                    <a:pt x="274" y="3200"/>
                  </a:lnTo>
                  <a:lnTo>
                    <a:pt x="274" y="3194"/>
                  </a:lnTo>
                  <a:lnTo>
                    <a:pt x="276" y="3192"/>
                  </a:lnTo>
                  <a:lnTo>
                    <a:pt x="276" y="3190"/>
                  </a:lnTo>
                  <a:lnTo>
                    <a:pt x="276" y="3188"/>
                  </a:lnTo>
                  <a:lnTo>
                    <a:pt x="276" y="3186"/>
                  </a:lnTo>
                  <a:lnTo>
                    <a:pt x="272" y="318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1" name="Freeform 6151">
              <a:extLst>
                <a:ext uri="{FF2B5EF4-FFF2-40B4-BE49-F238E27FC236}">
                  <a16:creationId xmlns:a16="http://schemas.microsoft.com/office/drawing/2014/main" id="{5E9486C5-A40A-467B-B1EB-B1FB24CF38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34182" y="3952882"/>
              <a:ext cx="1708155" cy="1525582"/>
            </a:xfrm>
            <a:custGeom>
              <a:avLst/>
              <a:gdLst>
                <a:gd name="T0" fmla="*/ 441960 w 2690"/>
                <a:gd name="T1" fmla="*/ 349032 h 2404"/>
                <a:gd name="T2" fmla="*/ 1037590 w 2690"/>
                <a:gd name="T3" fmla="*/ 357917 h 2404"/>
                <a:gd name="T4" fmla="*/ 979170 w 2690"/>
                <a:gd name="T5" fmla="*/ 750102 h 2404"/>
                <a:gd name="T6" fmla="*/ 911860 w 2690"/>
                <a:gd name="T7" fmla="*/ 630796 h 2404"/>
                <a:gd name="T8" fmla="*/ 789940 w 2690"/>
                <a:gd name="T9" fmla="*/ 445492 h 2404"/>
                <a:gd name="T10" fmla="*/ 726440 w 2690"/>
                <a:gd name="T11" fmla="*/ 403608 h 2404"/>
                <a:gd name="T12" fmla="*/ 579120 w 2690"/>
                <a:gd name="T13" fmla="*/ 472145 h 2404"/>
                <a:gd name="T14" fmla="*/ 584200 w 2690"/>
                <a:gd name="T15" fmla="*/ 383301 h 2404"/>
                <a:gd name="T16" fmla="*/ 478790 w 2690"/>
                <a:gd name="T17" fmla="*/ 352840 h 2404"/>
                <a:gd name="T18" fmla="*/ 388620 w 2690"/>
                <a:gd name="T19" fmla="*/ 458184 h 2404"/>
                <a:gd name="T20" fmla="*/ 262890 w 2690"/>
                <a:gd name="T21" fmla="*/ 533067 h 2404"/>
                <a:gd name="T22" fmla="*/ 69850 w 2690"/>
                <a:gd name="T23" fmla="*/ 656181 h 2404"/>
                <a:gd name="T24" fmla="*/ 5080 w 2690"/>
                <a:gd name="T25" fmla="*/ 802139 h 2404"/>
                <a:gd name="T26" fmla="*/ 60960 w 2690"/>
                <a:gd name="T27" fmla="*/ 1055981 h 2404"/>
                <a:gd name="T28" fmla="*/ 218440 w 2690"/>
                <a:gd name="T29" fmla="*/ 1077558 h 2404"/>
                <a:gd name="T30" fmla="*/ 490220 w 2690"/>
                <a:gd name="T31" fmla="*/ 1012828 h 2404"/>
                <a:gd name="T32" fmla="*/ 628650 w 2690"/>
                <a:gd name="T33" fmla="*/ 1040751 h 2404"/>
                <a:gd name="T34" fmla="*/ 647700 w 2690"/>
                <a:gd name="T35" fmla="*/ 1137210 h 2404"/>
                <a:gd name="T36" fmla="*/ 810260 w 2690"/>
                <a:gd name="T37" fmla="*/ 1215901 h 2404"/>
                <a:gd name="T38" fmla="*/ 938530 w 2690"/>
                <a:gd name="T39" fmla="*/ 1189248 h 2404"/>
                <a:gd name="T40" fmla="*/ 1033780 w 2690"/>
                <a:gd name="T41" fmla="*/ 896061 h 2404"/>
                <a:gd name="T42" fmla="*/ 1059180 w 2690"/>
                <a:gd name="T43" fmla="*/ 154843 h 2404"/>
                <a:gd name="T44" fmla="*/ 788670 w 2690"/>
                <a:gd name="T45" fmla="*/ 1289515 h 2404"/>
                <a:gd name="T46" fmla="*/ 810260 w 2690"/>
                <a:gd name="T47" fmla="*/ 1344091 h 2404"/>
                <a:gd name="T48" fmla="*/ 881380 w 2690"/>
                <a:gd name="T49" fmla="*/ 1394860 h 2404"/>
                <a:gd name="T50" fmla="*/ 623570 w 2690"/>
                <a:gd name="T51" fmla="*/ 1148633 h 2404"/>
                <a:gd name="T52" fmla="*/ 1405890 w 2690"/>
                <a:gd name="T53" fmla="*/ 516568 h 2404"/>
                <a:gd name="T54" fmla="*/ 1370330 w 2690"/>
                <a:gd name="T55" fmla="*/ 696795 h 2404"/>
                <a:gd name="T56" fmla="*/ 1367790 w 2690"/>
                <a:gd name="T57" fmla="*/ 455646 h 2404"/>
                <a:gd name="T58" fmla="*/ 1125220 w 2690"/>
                <a:gd name="T59" fmla="*/ 244957 h 2404"/>
                <a:gd name="T60" fmla="*/ 1106170 w 2690"/>
                <a:gd name="T61" fmla="*/ 201804 h 2404"/>
                <a:gd name="T62" fmla="*/ 1162050 w 2690"/>
                <a:gd name="T63" fmla="*/ 242419 h 2404"/>
                <a:gd name="T64" fmla="*/ 1210310 w 2690"/>
                <a:gd name="T65" fmla="*/ 365532 h 2404"/>
                <a:gd name="T66" fmla="*/ 1394460 w 2690"/>
                <a:gd name="T67" fmla="*/ 512760 h 2404"/>
                <a:gd name="T68" fmla="*/ 1545590 w 2690"/>
                <a:gd name="T69" fmla="*/ 1325053 h 2404"/>
                <a:gd name="T70" fmla="*/ 1426210 w 2690"/>
                <a:gd name="T71" fmla="*/ 1426590 h 2404"/>
                <a:gd name="T72" fmla="*/ 1432560 w 2690"/>
                <a:gd name="T73" fmla="*/ 1525588 h 2404"/>
                <a:gd name="T74" fmla="*/ 1534160 w 2690"/>
                <a:gd name="T75" fmla="*/ 1393590 h 2404"/>
                <a:gd name="T76" fmla="*/ 1692910 w 2690"/>
                <a:gd name="T77" fmla="*/ 521644 h 2404"/>
                <a:gd name="T78" fmla="*/ 1576070 w 2690"/>
                <a:gd name="T79" fmla="*/ 1165133 h 2404"/>
                <a:gd name="T80" fmla="*/ 1564640 w 2690"/>
                <a:gd name="T81" fmla="*/ 1161325 h 2404"/>
                <a:gd name="T82" fmla="*/ 1588770 w 2690"/>
                <a:gd name="T83" fmla="*/ 1345360 h 2404"/>
                <a:gd name="T84" fmla="*/ 1651000 w 2690"/>
                <a:gd name="T85" fmla="*/ 1208286 h 2404"/>
                <a:gd name="T86" fmla="*/ 1428750 w 2690"/>
                <a:gd name="T87" fmla="*/ 587643 h 2404"/>
                <a:gd name="T88" fmla="*/ 966470 w 2690"/>
                <a:gd name="T89" fmla="*/ 312225 h 2404"/>
                <a:gd name="T90" fmla="*/ 867410 w 2690"/>
                <a:gd name="T91" fmla="*/ 159920 h 2404"/>
                <a:gd name="T92" fmla="*/ 584200 w 2690"/>
                <a:gd name="T93" fmla="*/ 49499 h 2404"/>
                <a:gd name="T94" fmla="*/ 539750 w 2690"/>
                <a:gd name="T95" fmla="*/ 182766 h 2404"/>
                <a:gd name="T96" fmla="*/ 631190 w 2690"/>
                <a:gd name="T97" fmla="*/ 243688 h 2404"/>
                <a:gd name="T98" fmla="*/ 673100 w 2690"/>
                <a:gd name="T99" fmla="*/ 510222 h 2404"/>
                <a:gd name="T100" fmla="*/ 769620 w 2690"/>
                <a:gd name="T101" fmla="*/ 279226 h 2404"/>
                <a:gd name="T102" fmla="*/ 889000 w 2690"/>
                <a:gd name="T103" fmla="*/ 312225 h 2404"/>
                <a:gd name="T104" fmla="*/ 885190 w 2690"/>
                <a:gd name="T105" fmla="*/ 244957 h 2404"/>
                <a:gd name="T106" fmla="*/ 774700 w 2690"/>
                <a:gd name="T107" fmla="*/ 107883 h 2404"/>
                <a:gd name="T108" fmla="*/ 922020 w 2690"/>
                <a:gd name="T109" fmla="*/ 187843 h 2404"/>
                <a:gd name="T110" fmla="*/ 971550 w 2690"/>
                <a:gd name="T111" fmla="*/ 153574 h 2404"/>
                <a:gd name="T112" fmla="*/ 1008380 w 2690"/>
                <a:gd name="T113" fmla="*/ 128190 h 2404"/>
                <a:gd name="T114" fmla="*/ 952500 w 2690"/>
                <a:gd name="T115" fmla="*/ 81229 h 2404"/>
                <a:gd name="T116" fmla="*/ 487680 w 2690"/>
                <a:gd name="T117" fmla="*/ 92652 h 2404"/>
                <a:gd name="T118" fmla="*/ 637540 w 2690"/>
                <a:gd name="T119" fmla="*/ 180228 h 2404"/>
                <a:gd name="T120" fmla="*/ 613410 w 2690"/>
                <a:gd name="T121" fmla="*/ 60922 h 2404"/>
                <a:gd name="T122" fmla="*/ 499110 w 2690"/>
                <a:gd name="T123" fmla="*/ 11423 h 2404"/>
                <a:gd name="T124" fmla="*/ 1026160 w 2690"/>
                <a:gd name="T125" fmla="*/ 776755 h 24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90"/>
                <a:gd name="T190" fmla="*/ 0 h 2404"/>
                <a:gd name="T191" fmla="*/ 2690 w 2690"/>
                <a:gd name="T192" fmla="*/ 2404 h 240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90" h="2404">
                  <a:moveTo>
                    <a:pt x="692" y="12"/>
                  </a:moveTo>
                  <a:lnTo>
                    <a:pt x="692" y="12"/>
                  </a:lnTo>
                  <a:lnTo>
                    <a:pt x="698" y="14"/>
                  </a:lnTo>
                  <a:lnTo>
                    <a:pt x="702" y="18"/>
                  </a:lnTo>
                  <a:lnTo>
                    <a:pt x="708" y="20"/>
                  </a:lnTo>
                  <a:lnTo>
                    <a:pt x="714" y="20"/>
                  </a:lnTo>
                  <a:lnTo>
                    <a:pt x="716" y="20"/>
                  </a:lnTo>
                  <a:lnTo>
                    <a:pt x="714" y="18"/>
                  </a:lnTo>
                  <a:lnTo>
                    <a:pt x="712" y="16"/>
                  </a:lnTo>
                  <a:lnTo>
                    <a:pt x="710" y="12"/>
                  </a:lnTo>
                  <a:lnTo>
                    <a:pt x="708" y="12"/>
                  </a:lnTo>
                  <a:lnTo>
                    <a:pt x="710" y="12"/>
                  </a:lnTo>
                  <a:lnTo>
                    <a:pt x="714" y="12"/>
                  </a:lnTo>
                  <a:lnTo>
                    <a:pt x="718" y="16"/>
                  </a:lnTo>
                  <a:lnTo>
                    <a:pt x="722" y="18"/>
                  </a:lnTo>
                  <a:lnTo>
                    <a:pt x="728" y="18"/>
                  </a:lnTo>
                  <a:lnTo>
                    <a:pt x="730" y="16"/>
                  </a:lnTo>
                  <a:lnTo>
                    <a:pt x="730" y="12"/>
                  </a:lnTo>
                  <a:lnTo>
                    <a:pt x="724" y="6"/>
                  </a:lnTo>
                  <a:lnTo>
                    <a:pt x="714" y="2"/>
                  </a:lnTo>
                  <a:lnTo>
                    <a:pt x="708" y="0"/>
                  </a:lnTo>
                  <a:lnTo>
                    <a:pt x="702" y="2"/>
                  </a:lnTo>
                  <a:lnTo>
                    <a:pt x="694" y="4"/>
                  </a:lnTo>
                  <a:lnTo>
                    <a:pt x="688" y="8"/>
                  </a:lnTo>
                  <a:lnTo>
                    <a:pt x="688" y="10"/>
                  </a:lnTo>
                  <a:lnTo>
                    <a:pt x="692" y="12"/>
                  </a:lnTo>
                  <a:close/>
                  <a:moveTo>
                    <a:pt x="742" y="352"/>
                  </a:moveTo>
                  <a:lnTo>
                    <a:pt x="742" y="352"/>
                  </a:lnTo>
                  <a:lnTo>
                    <a:pt x="740" y="350"/>
                  </a:lnTo>
                  <a:lnTo>
                    <a:pt x="736" y="352"/>
                  </a:lnTo>
                  <a:lnTo>
                    <a:pt x="732" y="358"/>
                  </a:lnTo>
                  <a:lnTo>
                    <a:pt x="728" y="366"/>
                  </a:lnTo>
                  <a:lnTo>
                    <a:pt x="724" y="382"/>
                  </a:lnTo>
                  <a:lnTo>
                    <a:pt x="724" y="386"/>
                  </a:lnTo>
                  <a:lnTo>
                    <a:pt x="724" y="388"/>
                  </a:lnTo>
                  <a:lnTo>
                    <a:pt x="726" y="388"/>
                  </a:lnTo>
                  <a:lnTo>
                    <a:pt x="736" y="382"/>
                  </a:lnTo>
                  <a:lnTo>
                    <a:pt x="742" y="374"/>
                  </a:lnTo>
                  <a:lnTo>
                    <a:pt x="744" y="364"/>
                  </a:lnTo>
                  <a:lnTo>
                    <a:pt x="742" y="352"/>
                  </a:lnTo>
                  <a:close/>
                  <a:moveTo>
                    <a:pt x="696" y="550"/>
                  </a:moveTo>
                  <a:lnTo>
                    <a:pt x="696" y="550"/>
                  </a:lnTo>
                  <a:lnTo>
                    <a:pt x="692" y="548"/>
                  </a:lnTo>
                  <a:lnTo>
                    <a:pt x="690" y="548"/>
                  </a:lnTo>
                  <a:lnTo>
                    <a:pt x="690" y="552"/>
                  </a:lnTo>
                  <a:lnTo>
                    <a:pt x="692" y="556"/>
                  </a:lnTo>
                  <a:lnTo>
                    <a:pt x="700" y="566"/>
                  </a:lnTo>
                  <a:lnTo>
                    <a:pt x="710" y="578"/>
                  </a:lnTo>
                  <a:lnTo>
                    <a:pt x="714" y="580"/>
                  </a:lnTo>
                  <a:lnTo>
                    <a:pt x="718" y="578"/>
                  </a:lnTo>
                  <a:lnTo>
                    <a:pt x="724" y="576"/>
                  </a:lnTo>
                  <a:lnTo>
                    <a:pt x="728" y="574"/>
                  </a:lnTo>
                  <a:lnTo>
                    <a:pt x="734" y="568"/>
                  </a:lnTo>
                  <a:lnTo>
                    <a:pt x="736" y="564"/>
                  </a:lnTo>
                  <a:lnTo>
                    <a:pt x="738" y="558"/>
                  </a:lnTo>
                  <a:lnTo>
                    <a:pt x="736" y="552"/>
                  </a:lnTo>
                  <a:lnTo>
                    <a:pt x="730" y="546"/>
                  </a:lnTo>
                  <a:lnTo>
                    <a:pt x="728" y="544"/>
                  </a:lnTo>
                  <a:lnTo>
                    <a:pt x="724" y="546"/>
                  </a:lnTo>
                  <a:lnTo>
                    <a:pt x="722" y="548"/>
                  </a:lnTo>
                  <a:lnTo>
                    <a:pt x="718" y="552"/>
                  </a:lnTo>
                  <a:lnTo>
                    <a:pt x="712" y="554"/>
                  </a:lnTo>
                  <a:lnTo>
                    <a:pt x="706" y="554"/>
                  </a:lnTo>
                  <a:lnTo>
                    <a:pt x="696" y="550"/>
                  </a:lnTo>
                  <a:close/>
                  <a:moveTo>
                    <a:pt x="936" y="688"/>
                  </a:moveTo>
                  <a:lnTo>
                    <a:pt x="936" y="688"/>
                  </a:lnTo>
                  <a:lnTo>
                    <a:pt x="938" y="696"/>
                  </a:lnTo>
                  <a:lnTo>
                    <a:pt x="940" y="696"/>
                  </a:lnTo>
                  <a:lnTo>
                    <a:pt x="942" y="696"/>
                  </a:lnTo>
                  <a:lnTo>
                    <a:pt x="946" y="692"/>
                  </a:lnTo>
                  <a:lnTo>
                    <a:pt x="950" y="684"/>
                  </a:lnTo>
                  <a:lnTo>
                    <a:pt x="950" y="680"/>
                  </a:lnTo>
                  <a:lnTo>
                    <a:pt x="950" y="678"/>
                  </a:lnTo>
                  <a:lnTo>
                    <a:pt x="946" y="676"/>
                  </a:lnTo>
                  <a:lnTo>
                    <a:pt x="942" y="676"/>
                  </a:lnTo>
                  <a:lnTo>
                    <a:pt x="940" y="676"/>
                  </a:lnTo>
                  <a:lnTo>
                    <a:pt x="936" y="680"/>
                  </a:lnTo>
                  <a:lnTo>
                    <a:pt x="934" y="684"/>
                  </a:lnTo>
                  <a:lnTo>
                    <a:pt x="936" y="688"/>
                  </a:lnTo>
                  <a:close/>
                  <a:moveTo>
                    <a:pt x="1610" y="556"/>
                  </a:moveTo>
                  <a:lnTo>
                    <a:pt x="1610" y="556"/>
                  </a:lnTo>
                  <a:lnTo>
                    <a:pt x="1616" y="560"/>
                  </a:lnTo>
                  <a:lnTo>
                    <a:pt x="1624" y="562"/>
                  </a:lnTo>
                  <a:lnTo>
                    <a:pt x="1632" y="564"/>
                  </a:lnTo>
                  <a:lnTo>
                    <a:pt x="1634" y="564"/>
                  </a:lnTo>
                  <a:lnTo>
                    <a:pt x="1634" y="562"/>
                  </a:lnTo>
                  <a:lnTo>
                    <a:pt x="1628" y="558"/>
                  </a:lnTo>
                  <a:lnTo>
                    <a:pt x="1618" y="552"/>
                  </a:lnTo>
                  <a:lnTo>
                    <a:pt x="1610" y="550"/>
                  </a:lnTo>
                  <a:lnTo>
                    <a:pt x="1610" y="552"/>
                  </a:lnTo>
                  <a:lnTo>
                    <a:pt x="1610" y="556"/>
                  </a:lnTo>
                  <a:close/>
                  <a:moveTo>
                    <a:pt x="1402" y="2052"/>
                  </a:moveTo>
                  <a:lnTo>
                    <a:pt x="1402" y="2052"/>
                  </a:lnTo>
                  <a:lnTo>
                    <a:pt x="1404" y="2054"/>
                  </a:lnTo>
                  <a:lnTo>
                    <a:pt x="1410" y="2056"/>
                  </a:lnTo>
                  <a:lnTo>
                    <a:pt x="1416" y="2056"/>
                  </a:lnTo>
                  <a:lnTo>
                    <a:pt x="1420" y="2054"/>
                  </a:lnTo>
                  <a:lnTo>
                    <a:pt x="1420" y="2052"/>
                  </a:lnTo>
                  <a:lnTo>
                    <a:pt x="1418" y="2048"/>
                  </a:lnTo>
                  <a:lnTo>
                    <a:pt x="1412" y="2048"/>
                  </a:lnTo>
                  <a:lnTo>
                    <a:pt x="1404" y="2048"/>
                  </a:lnTo>
                  <a:lnTo>
                    <a:pt x="1402" y="2050"/>
                  </a:lnTo>
                  <a:lnTo>
                    <a:pt x="1402" y="2052"/>
                  </a:lnTo>
                  <a:close/>
                  <a:moveTo>
                    <a:pt x="1610" y="1344"/>
                  </a:moveTo>
                  <a:lnTo>
                    <a:pt x="1610" y="1344"/>
                  </a:lnTo>
                  <a:lnTo>
                    <a:pt x="1612" y="1338"/>
                  </a:lnTo>
                  <a:lnTo>
                    <a:pt x="1614" y="1334"/>
                  </a:lnTo>
                  <a:lnTo>
                    <a:pt x="1612" y="1324"/>
                  </a:lnTo>
                  <a:lnTo>
                    <a:pt x="1610" y="1312"/>
                  </a:lnTo>
                  <a:lnTo>
                    <a:pt x="1608" y="1304"/>
                  </a:lnTo>
                  <a:lnTo>
                    <a:pt x="1610" y="1294"/>
                  </a:lnTo>
                  <a:lnTo>
                    <a:pt x="1610" y="1280"/>
                  </a:lnTo>
                  <a:lnTo>
                    <a:pt x="1608" y="1276"/>
                  </a:lnTo>
                  <a:lnTo>
                    <a:pt x="1606" y="1276"/>
                  </a:lnTo>
                  <a:lnTo>
                    <a:pt x="1604" y="1274"/>
                  </a:lnTo>
                  <a:lnTo>
                    <a:pt x="1600" y="1270"/>
                  </a:lnTo>
                  <a:lnTo>
                    <a:pt x="1598" y="1266"/>
                  </a:lnTo>
                  <a:lnTo>
                    <a:pt x="1596" y="1256"/>
                  </a:lnTo>
                  <a:lnTo>
                    <a:pt x="1594" y="1246"/>
                  </a:lnTo>
                  <a:lnTo>
                    <a:pt x="1590" y="1238"/>
                  </a:lnTo>
                  <a:lnTo>
                    <a:pt x="1582" y="1226"/>
                  </a:lnTo>
                  <a:lnTo>
                    <a:pt x="1570" y="1214"/>
                  </a:lnTo>
                  <a:lnTo>
                    <a:pt x="1560" y="1198"/>
                  </a:lnTo>
                  <a:lnTo>
                    <a:pt x="1550" y="1184"/>
                  </a:lnTo>
                  <a:lnTo>
                    <a:pt x="1548" y="1182"/>
                  </a:lnTo>
                  <a:lnTo>
                    <a:pt x="1546" y="1182"/>
                  </a:lnTo>
                  <a:lnTo>
                    <a:pt x="1542" y="1182"/>
                  </a:lnTo>
                  <a:lnTo>
                    <a:pt x="1538" y="1180"/>
                  </a:lnTo>
                  <a:lnTo>
                    <a:pt x="1534" y="1176"/>
                  </a:lnTo>
                  <a:lnTo>
                    <a:pt x="1526" y="1166"/>
                  </a:lnTo>
                  <a:lnTo>
                    <a:pt x="1518" y="1156"/>
                  </a:lnTo>
                  <a:lnTo>
                    <a:pt x="1514" y="1146"/>
                  </a:lnTo>
                  <a:lnTo>
                    <a:pt x="1514" y="1136"/>
                  </a:lnTo>
                  <a:lnTo>
                    <a:pt x="1514" y="1126"/>
                  </a:lnTo>
                  <a:lnTo>
                    <a:pt x="1514" y="1110"/>
                  </a:lnTo>
                  <a:lnTo>
                    <a:pt x="1514" y="1104"/>
                  </a:lnTo>
                  <a:lnTo>
                    <a:pt x="1510" y="1098"/>
                  </a:lnTo>
                  <a:lnTo>
                    <a:pt x="1508" y="1096"/>
                  </a:lnTo>
                  <a:lnTo>
                    <a:pt x="1506" y="1096"/>
                  </a:lnTo>
                  <a:lnTo>
                    <a:pt x="1502" y="1102"/>
                  </a:lnTo>
                  <a:lnTo>
                    <a:pt x="1502" y="1104"/>
                  </a:lnTo>
                  <a:lnTo>
                    <a:pt x="1498" y="1104"/>
                  </a:lnTo>
                  <a:lnTo>
                    <a:pt x="1494" y="1102"/>
                  </a:lnTo>
                  <a:lnTo>
                    <a:pt x="1490" y="1096"/>
                  </a:lnTo>
                  <a:lnTo>
                    <a:pt x="1484" y="1090"/>
                  </a:lnTo>
                  <a:lnTo>
                    <a:pt x="1480" y="1090"/>
                  </a:lnTo>
                  <a:lnTo>
                    <a:pt x="1480" y="1092"/>
                  </a:lnTo>
                  <a:lnTo>
                    <a:pt x="1480" y="1098"/>
                  </a:lnTo>
                  <a:lnTo>
                    <a:pt x="1478" y="1102"/>
                  </a:lnTo>
                  <a:lnTo>
                    <a:pt x="1478" y="1106"/>
                  </a:lnTo>
                  <a:lnTo>
                    <a:pt x="1474" y="1104"/>
                  </a:lnTo>
                  <a:lnTo>
                    <a:pt x="1470" y="1100"/>
                  </a:lnTo>
                  <a:lnTo>
                    <a:pt x="1464" y="1092"/>
                  </a:lnTo>
                  <a:lnTo>
                    <a:pt x="1462" y="1086"/>
                  </a:lnTo>
                  <a:lnTo>
                    <a:pt x="1462" y="1080"/>
                  </a:lnTo>
                  <a:lnTo>
                    <a:pt x="1462" y="1076"/>
                  </a:lnTo>
                  <a:lnTo>
                    <a:pt x="1464" y="1066"/>
                  </a:lnTo>
                  <a:lnTo>
                    <a:pt x="1462" y="1060"/>
                  </a:lnTo>
                  <a:lnTo>
                    <a:pt x="1462" y="1054"/>
                  </a:lnTo>
                  <a:lnTo>
                    <a:pt x="1458" y="1046"/>
                  </a:lnTo>
                  <a:lnTo>
                    <a:pt x="1452" y="1038"/>
                  </a:lnTo>
                  <a:lnTo>
                    <a:pt x="1440" y="1022"/>
                  </a:lnTo>
                  <a:lnTo>
                    <a:pt x="1430" y="1012"/>
                  </a:lnTo>
                  <a:lnTo>
                    <a:pt x="1428" y="1008"/>
                  </a:lnTo>
                  <a:lnTo>
                    <a:pt x="1432" y="1008"/>
                  </a:lnTo>
                  <a:lnTo>
                    <a:pt x="1436" y="1008"/>
                  </a:lnTo>
                  <a:lnTo>
                    <a:pt x="1438" y="1006"/>
                  </a:lnTo>
                  <a:lnTo>
                    <a:pt x="1440" y="1002"/>
                  </a:lnTo>
                  <a:lnTo>
                    <a:pt x="1438" y="998"/>
                  </a:lnTo>
                  <a:lnTo>
                    <a:pt x="1436" y="994"/>
                  </a:lnTo>
                  <a:lnTo>
                    <a:pt x="1430" y="988"/>
                  </a:lnTo>
                  <a:lnTo>
                    <a:pt x="1422" y="984"/>
                  </a:lnTo>
                  <a:lnTo>
                    <a:pt x="1410" y="978"/>
                  </a:lnTo>
                  <a:lnTo>
                    <a:pt x="1398" y="974"/>
                  </a:lnTo>
                  <a:lnTo>
                    <a:pt x="1392" y="968"/>
                  </a:lnTo>
                  <a:lnTo>
                    <a:pt x="1388" y="964"/>
                  </a:lnTo>
                  <a:lnTo>
                    <a:pt x="1386" y="960"/>
                  </a:lnTo>
                  <a:lnTo>
                    <a:pt x="1384" y="956"/>
                  </a:lnTo>
                  <a:lnTo>
                    <a:pt x="1380" y="952"/>
                  </a:lnTo>
                  <a:lnTo>
                    <a:pt x="1374" y="950"/>
                  </a:lnTo>
                  <a:lnTo>
                    <a:pt x="1364" y="946"/>
                  </a:lnTo>
                  <a:lnTo>
                    <a:pt x="1354" y="942"/>
                  </a:lnTo>
                  <a:lnTo>
                    <a:pt x="1346" y="938"/>
                  </a:lnTo>
                  <a:lnTo>
                    <a:pt x="1340" y="934"/>
                  </a:lnTo>
                  <a:lnTo>
                    <a:pt x="1338" y="928"/>
                  </a:lnTo>
                  <a:lnTo>
                    <a:pt x="1334" y="916"/>
                  </a:lnTo>
                  <a:lnTo>
                    <a:pt x="1332" y="908"/>
                  </a:lnTo>
                  <a:lnTo>
                    <a:pt x="1328" y="902"/>
                  </a:lnTo>
                  <a:lnTo>
                    <a:pt x="1324" y="896"/>
                  </a:lnTo>
                  <a:lnTo>
                    <a:pt x="1324" y="886"/>
                  </a:lnTo>
                  <a:lnTo>
                    <a:pt x="1322" y="864"/>
                  </a:lnTo>
                  <a:lnTo>
                    <a:pt x="1322" y="852"/>
                  </a:lnTo>
                  <a:lnTo>
                    <a:pt x="1320" y="840"/>
                  </a:lnTo>
                  <a:lnTo>
                    <a:pt x="1316" y="828"/>
                  </a:lnTo>
                  <a:lnTo>
                    <a:pt x="1308" y="818"/>
                  </a:lnTo>
                  <a:lnTo>
                    <a:pt x="1304" y="812"/>
                  </a:lnTo>
                  <a:lnTo>
                    <a:pt x="1302" y="806"/>
                  </a:lnTo>
                  <a:lnTo>
                    <a:pt x="1298" y="794"/>
                  </a:lnTo>
                  <a:lnTo>
                    <a:pt x="1296" y="780"/>
                  </a:lnTo>
                  <a:lnTo>
                    <a:pt x="1296" y="764"/>
                  </a:lnTo>
                  <a:lnTo>
                    <a:pt x="1296" y="750"/>
                  </a:lnTo>
                  <a:lnTo>
                    <a:pt x="1294" y="736"/>
                  </a:lnTo>
                  <a:lnTo>
                    <a:pt x="1290" y="726"/>
                  </a:lnTo>
                  <a:lnTo>
                    <a:pt x="1286" y="722"/>
                  </a:lnTo>
                  <a:lnTo>
                    <a:pt x="1282" y="718"/>
                  </a:lnTo>
                  <a:lnTo>
                    <a:pt x="1274" y="712"/>
                  </a:lnTo>
                  <a:lnTo>
                    <a:pt x="1268" y="704"/>
                  </a:lnTo>
                  <a:lnTo>
                    <a:pt x="1262" y="692"/>
                  </a:lnTo>
                  <a:lnTo>
                    <a:pt x="1258" y="690"/>
                  </a:lnTo>
                  <a:lnTo>
                    <a:pt x="1256" y="688"/>
                  </a:lnTo>
                  <a:lnTo>
                    <a:pt x="1254" y="690"/>
                  </a:lnTo>
                  <a:lnTo>
                    <a:pt x="1250" y="698"/>
                  </a:lnTo>
                  <a:lnTo>
                    <a:pt x="1244" y="702"/>
                  </a:lnTo>
                  <a:lnTo>
                    <a:pt x="1240" y="704"/>
                  </a:lnTo>
                  <a:lnTo>
                    <a:pt x="1236" y="702"/>
                  </a:lnTo>
                  <a:lnTo>
                    <a:pt x="1232" y="696"/>
                  </a:lnTo>
                  <a:lnTo>
                    <a:pt x="1228" y="690"/>
                  </a:lnTo>
                  <a:lnTo>
                    <a:pt x="1226" y="682"/>
                  </a:lnTo>
                  <a:lnTo>
                    <a:pt x="1224" y="664"/>
                  </a:lnTo>
                  <a:lnTo>
                    <a:pt x="1224" y="650"/>
                  </a:lnTo>
                  <a:lnTo>
                    <a:pt x="1224" y="634"/>
                  </a:lnTo>
                  <a:lnTo>
                    <a:pt x="1220" y="620"/>
                  </a:lnTo>
                  <a:lnTo>
                    <a:pt x="1216" y="614"/>
                  </a:lnTo>
                  <a:lnTo>
                    <a:pt x="1212" y="606"/>
                  </a:lnTo>
                  <a:lnTo>
                    <a:pt x="1208" y="600"/>
                  </a:lnTo>
                  <a:lnTo>
                    <a:pt x="1206" y="596"/>
                  </a:lnTo>
                  <a:lnTo>
                    <a:pt x="1206" y="588"/>
                  </a:lnTo>
                  <a:lnTo>
                    <a:pt x="1208" y="584"/>
                  </a:lnTo>
                  <a:lnTo>
                    <a:pt x="1206" y="582"/>
                  </a:lnTo>
                  <a:lnTo>
                    <a:pt x="1204" y="578"/>
                  </a:lnTo>
                  <a:lnTo>
                    <a:pt x="1200" y="576"/>
                  </a:lnTo>
                  <a:lnTo>
                    <a:pt x="1196" y="572"/>
                  </a:lnTo>
                  <a:lnTo>
                    <a:pt x="1194" y="562"/>
                  </a:lnTo>
                  <a:lnTo>
                    <a:pt x="1192" y="548"/>
                  </a:lnTo>
                  <a:lnTo>
                    <a:pt x="1190" y="534"/>
                  </a:lnTo>
                  <a:lnTo>
                    <a:pt x="1188" y="526"/>
                  </a:lnTo>
                  <a:lnTo>
                    <a:pt x="1184" y="522"/>
                  </a:lnTo>
                  <a:lnTo>
                    <a:pt x="1180" y="520"/>
                  </a:lnTo>
                  <a:lnTo>
                    <a:pt x="1176" y="520"/>
                  </a:lnTo>
                  <a:lnTo>
                    <a:pt x="1172" y="522"/>
                  </a:lnTo>
                  <a:lnTo>
                    <a:pt x="1170" y="526"/>
                  </a:lnTo>
                  <a:lnTo>
                    <a:pt x="1166" y="532"/>
                  </a:lnTo>
                  <a:lnTo>
                    <a:pt x="1166" y="538"/>
                  </a:lnTo>
                  <a:lnTo>
                    <a:pt x="1164" y="552"/>
                  </a:lnTo>
                  <a:lnTo>
                    <a:pt x="1162" y="564"/>
                  </a:lnTo>
                  <a:lnTo>
                    <a:pt x="1150" y="594"/>
                  </a:lnTo>
                  <a:lnTo>
                    <a:pt x="1146" y="602"/>
                  </a:lnTo>
                  <a:lnTo>
                    <a:pt x="1146" y="608"/>
                  </a:lnTo>
                  <a:lnTo>
                    <a:pt x="1146" y="612"/>
                  </a:lnTo>
                  <a:lnTo>
                    <a:pt x="1150" y="614"/>
                  </a:lnTo>
                  <a:lnTo>
                    <a:pt x="1152" y="616"/>
                  </a:lnTo>
                  <a:lnTo>
                    <a:pt x="1152" y="618"/>
                  </a:lnTo>
                  <a:lnTo>
                    <a:pt x="1150" y="622"/>
                  </a:lnTo>
                  <a:lnTo>
                    <a:pt x="1144" y="630"/>
                  </a:lnTo>
                  <a:lnTo>
                    <a:pt x="1144" y="636"/>
                  </a:lnTo>
                  <a:lnTo>
                    <a:pt x="1144" y="646"/>
                  </a:lnTo>
                  <a:lnTo>
                    <a:pt x="1138" y="658"/>
                  </a:lnTo>
                  <a:lnTo>
                    <a:pt x="1136" y="668"/>
                  </a:lnTo>
                  <a:lnTo>
                    <a:pt x="1136" y="676"/>
                  </a:lnTo>
                  <a:lnTo>
                    <a:pt x="1140" y="700"/>
                  </a:lnTo>
                  <a:lnTo>
                    <a:pt x="1144" y="724"/>
                  </a:lnTo>
                  <a:lnTo>
                    <a:pt x="1144" y="736"/>
                  </a:lnTo>
                  <a:lnTo>
                    <a:pt x="1142" y="748"/>
                  </a:lnTo>
                  <a:lnTo>
                    <a:pt x="1136" y="768"/>
                  </a:lnTo>
                  <a:lnTo>
                    <a:pt x="1136" y="780"/>
                  </a:lnTo>
                  <a:lnTo>
                    <a:pt x="1136" y="792"/>
                  </a:lnTo>
                  <a:lnTo>
                    <a:pt x="1130" y="806"/>
                  </a:lnTo>
                  <a:lnTo>
                    <a:pt x="1124" y="816"/>
                  </a:lnTo>
                  <a:lnTo>
                    <a:pt x="1120" y="826"/>
                  </a:lnTo>
                  <a:lnTo>
                    <a:pt x="1116" y="840"/>
                  </a:lnTo>
                  <a:lnTo>
                    <a:pt x="1114" y="850"/>
                  </a:lnTo>
                  <a:lnTo>
                    <a:pt x="1110" y="856"/>
                  </a:lnTo>
                  <a:lnTo>
                    <a:pt x="1102" y="862"/>
                  </a:lnTo>
                  <a:lnTo>
                    <a:pt x="1096" y="866"/>
                  </a:lnTo>
                  <a:lnTo>
                    <a:pt x="1088" y="866"/>
                  </a:lnTo>
                  <a:lnTo>
                    <a:pt x="1078" y="864"/>
                  </a:lnTo>
                  <a:lnTo>
                    <a:pt x="1068" y="860"/>
                  </a:lnTo>
                  <a:lnTo>
                    <a:pt x="1060" y="854"/>
                  </a:lnTo>
                  <a:lnTo>
                    <a:pt x="1052" y="848"/>
                  </a:lnTo>
                  <a:lnTo>
                    <a:pt x="1046" y="842"/>
                  </a:lnTo>
                  <a:lnTo>
                    <a:pt x="1044" y="836"/>
                  </a:lnTo>
                  <a:lnTo>
                    <a:pt x="1040" y="830"/>
                  </a:lnTo>
                  <a:lnTo>
                    <a:pt x="1036" y="826"/>
                  </a:lnTo>
                  <a:lnTo>
                    <a:pt x="1028" y="824"/>
                  </a:lnTo>
                  <a:lnTo>
                    <a:pt x="1022" y="822"/>
                  </a:lnTo>
                  <a:lnTo>
                    <a:pt x="1014" y="818"/>
                  </a:lnTo>
                  <a:lnTo>
                    <a:pt x="1004" y="812"/>
                  </a:lnTo>
                  <a:lnTo>
                    <a:pt x="990" y="800"/>
                  </a:lnTo>
                  <a:lnTo>
                    <a:pt x="978" y="788"/>
                  </a:lnTo>
                  <a:lnTo>
                    <a:pt x="968" y="782"/>
                  </a:lnTo>
                  <a:lnTo>
                    <a:pt x="962" y="780"/>
                  </a:lnTo>
                  <a:lnTo>
                    <a:pt x="956" y="778"/>
                  </a:lnTo>
                  <a:lnTo>
                    <a:pt x="948" y="776"/>
                  </a:lnTo>
                  <a:lnTo>
                    <a:pt x="942" y="772"/>
                  </a:lnTo>
                  <a:lnTo>
                    <a:pt x="934" y="764"/>
                  </a:lnTo>
                  <a:lnTo>
                    <a:pt x="922" y="752"/>
                  </a:lnTo>
                  <a:lnTo>
                    <a:pt x="912" y="744"/>
                  </a:lnTo>
                  <a:lnTo>
                    <a:pt x="898" y="732"/>
                  </a:lnTo>
                  <a:lnTo>
                    <a:pt x="896" y="728"/>
                  </a:lnTo>
                  <a:lnTo>
                    <a:pt x="896" y="722"/>
                  </a:lnTo>
                  <a:lnTo>
                    <a:pt x="900" y="712"/>
                  </a:lnTo>
                  <a:lnTo>
                    <a:pt x="908" y="700"/>
                  </a:lnTo>
                  <a:lnTo>
                    <a:pt x="916" y="684"/>
                  </a:lnTo>
                  <a:lnTo>
                    <a:pt x="920" y="674"/>
                  </a:lnTo>
                  <a:lnTo>
                    <a:pt x="920" y="670"/>
                  </a:lnTo>
                  <a:lnTo>
                    <a:pt x="918" y="670"/>
                  </a:lnTo>
                  <a:lnTo>
                    <a:pt x="916" y="668"/>
                  </a:lnTo>
                  <a:lnTo>
                    <a:pt x="914" y="666"/>
                  </a:lnTo>
                  <a:lnTo>
                    <a:pt x="914" y="662"/>
                  </a:lnTo>
                  <a:lnTo>
                    <a:pt x="918" y="652"/>
                  </a:lnTo>
                  <a:lnTo>
                    <a:pt x="924" y="644"/>
                  </a:lnTo>
                  <a:lnTo>
                    <a:pt x="928" y="640"/>
                  </a:lnTo>
                  <a:lnTo>
                    <a:pt x="930" y="642"/>
                  </a:lnTo>
                  <a:lnTo>
                    <a:pt x="934" y="646"/>
                  </a:lnTo>
                  <a:lnTo>
                    <a:pt x="936" y="648"/>
                  </a:lnTo>
                  <a:lnTo>
                    <a:pt x="936" y="650"/>
                  </a:lnTo>
                  <a:lnTo>
                    <a:pt x="938" y="646"/>
                  </a:lnTo>
                  <a:lnTo>
                    <a:pt x="940" y="638"/>
                  </a:lnTo>
                  <a:lnTo>
                    <a:pt x="942" y="626"/>
                  </a:lnTo>
                  <a:lnTo>
                    <a:pt x="946" y="618"/>
                  </a:lnTo>
                  <a:lnTo>
                    <a:pt x="950" y="612"/>
                  </a:lnTo>
                  <a:lnTo>
                    <a:pt x="956" y="606"/>
                  </a:lnTo>
                  <a:lnTo>
                    <a:pt x="958" y="604"/>
                  </a:lnTo>
                  <a:lnTo>
                    <a:pt x="960" y="602"/>
                  </a:lnTo>
                  <a:lnTo>
                    <a:pt x="960" y="598"/>
                  </a:lnTo>
                  <a:lnTo>
                    <a:pt x="956" y="596"/>
                  </a:lnTo>
                  <a:lnTo>
                    <a:pt x="950" y="590"/>
                  </a:lnTo>
                  <a:lnTo>
                    <a:pt x="946" y="586"/>
                  </a:lnTo>
                  <a:lnTo>
                    <a:pt x="942" y="580"/>
                  </a:lnTo>
                  <a:lnTo>
                    <a:pt x="942" y="578"/>
                  </a:lnTo>
                  <a:lnTo>
                    <a:pt x="940" y="578"/>
                  </a:lnTo>
                  <a:lnTo>
                    <a:pt x="934" y="582"/>
                  </a:lnTo>
                  <a:lnTo>
                    <a:pt x="930" y="584"/>
                  </a:lnTo>
                  <a:lnTo>
                    <a:pt x="928" y="588"/>
                  </a:lnTo>
                  <a:lnTo>
                    <a:pt x="928" y="594"/>
                  </a:lnTo>
                  <a:lnTo>
                    <a:pt x="930" y="598"/>
                  </a:lnTo>
                  <a:lnTo>
                    <a:pt x="928" y="600"/>
                  </a:lnTo>
                  <a:lnTo>
                    <a:pt x="926" y="602"/>
                  </a:lnTo>
                  <a:lnTo>
                    <a:pt x="922" y="604"/>
                  </a:lnTo>
                  <a:lnTo>
                    <a:pt x="920" y="604"/>
                  </a:lnTo>
                  <a:lnTo>
                    <a:pt x="918" y="598"/>
                  </a:lnTo>
                  <a:lnTo>
                    <a:pt x="918" y="592"/>
                  </a:lnTo>
                  <a:lnTo>
                    <a:pt x="918" y="590"/>
                  </a:lnTo>
                  <a:lnTo>
                    <a:pt x="916" y="590"/>
                  </a:lnTo>
                  <a:lnTo>
                    <a:pt x="914" y="588"/>
                  </a:lnTo>
                  <a:lnTo>
                    <a:pt x="914" y="586"/>
                  </a:lnTo>
                  <a:lnTo>
                    <a:pt x="914" y="578"/>
                  </a:lnTo>
                  <a:lnTo>
                    <a:pt x="914" y="574"/>
                  </a:lnTo>
                  <a:lnTo>
                    <a:pt x="912" y="574"/>
                  </a:lnTo>
                  <a:lnTo>
                    <a:pt x="906" y="576"/>
                  </a:lnTo>
                  <a:lnTo>
                    <a:pt x="898" y="584"/>
                  </a:lnTo>
                  <a:lnTo>
                    <a:pt x="888" y="590"/>
                  </a:lnTo>
                  <a:lnTo>
                    <a:pt x="882" y="594"/>
                  </a:lnTo>
                  <a:lnTo>
                    <a:pt x="878" y="594"/>
                  </a:lnTo>
                  <a:lnTo>
                    <a:pt x="874" y="592"/>
                  </a:lnTo>
                  <a:lnTo>
                    <a:pt x="870" y="586"/>
                  </a:lnTo>
                  <a:lnTo>
                    <a:pt x="866" y="584"/>
                  </a:lnTo>
                  <a:lnTo>
                    <a:pt x="860" y="584"/>
                  </a:lnTo>
                  <a:lnTo>
                    <a:pt x="854" y="586"/>
                  </a:lnTo>
                  <a:lnTo>
                    <a:pt x="848" y="586"/>
                  </a:lnTo>
                  <a:lnTo>
                    <a:pt x="844" y="584"/>
                  </a:lnTo>
                  <a:lnTo>
                    <a:pt x="842" y="580"/>
                  </a:lnTo>
                  <a:lnTo>
                    <a:pt x="834" y="572"/>
                  </a:lnTo>
                  <a:lnTo>
                    <a:pt x="830" y="570"/>
                  </a:lnTo>
                  <a:lnTo>
                    <a:pt x="822" y="570"/>
                  </a:lnTo>
                  <a:lnTo>
                    <a:pt x="814" y="570"/>
                  </a:lnTo>
                  <a:lnTo>
                    <a:pt x="808" y="568"/>
                  </a:lnTo>
                  <a:lnTo>
                    <a:pt x="804" y="564"/>
                  </a:lnTo>
                  <a:lnTo>
                    <a:pt x="802" y="560"/>
                  </a:lnTo>
                  <a:lnTo>
                    <a:pt x="798" y="554"/>
                  </a:lnTo>
                  <a:lnTo>
                    <a:pt x="796" y="554"/>
                  </a:lnTo>
                  <a:lnTo>
                    <a:pt x="792" y="554"/>
                  </a:lnTo>
                  <a:lnTo>
                    <a:pt x="788" y="554"/>
                  </a:lnTo>
                  <a:lnTo>
                    <a:pt x="784" y="554"/>
                  </a:lnTo>
                  <a:lnTo>
                    <a:pt x="782" y="550"/>
                  </a:lnTo>
                  <a:lnTo>
                    <a:pt x="776" y="546"/>
                  </a:lnTo>
                  <a:lnTo>
                    <a:pt x="774" y="544"/>
                  </a:lnTo>
                  <a:lnTo>
                    <a:pt x="768" y="542"/>
                  </a:lnTo>
                  <a:lnTo>
                    <a:pt x="758" y="542"/>
                  </a:lnTo>
                  <a:lnTo>
                    <a:pt x="752" y="544"/>
                  </a:lnTo>
                  <a:lnTo>
                    <a:pt x="750" y="546"/>
                  </a:lnTo>
                  <a:lnTo>
                    <a:pt x="750" y="548"/>
                  </a:lnTo>
                  <a:lnTo>
                    <a:pt x="754" y="556"/>
                  </a:lnTo>
                  <a:lnTo>
                    <a:pt x="756" y="558"/>
                  </a:lnTo>
                  <a:lnTo>
                    <a:pt x="762" y="560"/>
                  </a:lnTo>
                  <a:lnTo>
                    <a:pt x="774" y="560"/>
                  </a:lnTo>
                  <a:lnTo>
                    <a:pt x="778" y="560"/>
                  </a:lnTo>
                  <a:lnTo>
                    <a:pt x="782" y="564"/>
                  </a:lnTo>
                  <a:lnTo>
                    <a:pt x="784" y="570"/>
                  </a:lnTo>
                  <a:lnTo>
                    <a:pt x="782" y="580"/>
                  </a:lnTo>
                  <a:lnTo>
                    <a:pt x="778" y="594"/>
                  </a:lnTo>
                  <a:lnTo>
                    <a:pt x="778" y="596"/>
                  </a:lnTo>
                  <a:lnTo>
                    <a:pt x="776" y="596"/>
                  </a:lnTo>
                  <a:lnTo>
                    <a:pt x="768" y="594"/>
                  </a:lnTo>
                  <a:lnTo>
                    <a:pt x="760" y="594"/>
                  </a:lnTo>
                  <a:lnTo>
                    <a:pt x="750" y="596"/>
                  </a:lnTo>
                  <a:lnTo>
                    <a:pt x="742" y="596"/>
                  </a:lnTo>
                  <a:lnTo>
                    <a:pt x="736" y="596"/>
                  </a:lnTo>
                  <a:lnTo>
                    <a:pt x="728" y="592"/>
                  </a:lnTo>
                  <a:lnTo>
                    <a:pt x="726" y="592"/>
                  </a:lnTo>
                  <a:lnTo>
                    <a:pt x="720" y="594"/>
                  </a:lnTo>
                  <a:lnTo>
                    <a:pt x="700" y="608"/>
                  </a:lnTo>
                  <a:lnTo>
                    <a:pt x="688" y="620"/>
                  </a:lnTo>
                  <a:lnTo>
                    <a:pt x="680" y="628"/>
                  </a:lnTo>
                  <a:lnTo>
                    <a:pt x="678" y="634"/>
                  </a:lnTo>
                  <a:lnTo>
                    <a:pt x="676" y="638"/>
                  </a:lnTo>
                  <a:lnTo>
                    <a:pt x="676" y="644"/>
                  </a:lnTo>
                  <a:lnTo>
                    <a:pt x="674" y="652"/>
                  </a:lnTo>
                  <a:lnTo>
                    <a:pt x="670" y="662"/>
                  </a:lnTo>
                  <a:lnTo>
                    <a:pt x="662" y="674"/>
                  </a:lnTo>
                  <a:lnTo>
                    <a:pt x="654" y="688"/>
                  </a:lnTo>
                  <a:lnTo>
                    <a:pt x="650" y="698"/>
                  </a:lnTo>
                  <a:lnTo>
                    <a:pt x="652" y="706"/>
                  </a:lnTo>
                  <a:lnTo>
                    <a:pt x="654" y="710"/>
                  </a:lnTo>
                  <a:lnTo>
                    <a:pt x="662" y="716"/>
                  </a:lnTo>
                  <a:lnTo>
                    <a:pt x="662" y="720"/>
                  </a:lnTo>
                  <a:lnTo>
                    <a:pt x="658" y="724"/>
                  </a:lnTo>
                  <a:lnTo>
                    <a:pt x="652" y="728"/>
                  </a:lnTo>
                  <a:lnTo>
                    <a:pt x="648" y="730"/>
                  </a:lnTo>
                  <a:lnTo>
                    <a:pt x="644" y="730"/>
                  </a:lnTo>
                  <a:lnTo>
                    <a:pt x="640" y="728"/>
                  </a:lnTo>
                  <a:lnTo>
                    <a:pt x="630" y="722"/>
                  </a:lnTo>
                  <a:lnTo>
                    <a:pt x="626" y="722"/>
                  </a:lnTo>
                  <a:lnTo>
                    <a:pt x="618" y="722"/>
                  </a:lnTo>
                  <a:lnTo>
                    <a:pt x="612" y="722"/>
                  </a:lnTo>
                  <a:lnTo>
                    <a:pt x="608" y="718"/>
                  </a:lnTo>
                  <a:lnTo>
                    <a:pt x="596" y="712"/>
                  </a:lnTo>
                  <a:lnTo>
                    <a:pt x="574" y="688"/>
                  </a:lnTo>
                  <a:lnTo>
                    <a:pt x="562" y="676"/>
                  </a:lnTo>
                  <a:lnTo>
                    <a:pt x="554" y="670"/>
                  </a:lnTo>
                  <a:lnTo>
                    <a:pt x="550" y="668"/>
                  </a:lnTo>
                  <a:lnTo>
                    <a:pt x="548" y="668"/>
                  </a:lnTo>
                  <a:lnTo>
                    <a:pt x="546" y="670"/>
                  </a:lnTo>
                  <a:lnTo>
                    <a:pt x="544" y="674"/>
                  </a:lnTo>
                  <a:lnTo>
                    <a:pt x="542" y="682"/>
                  </a:lnTo>
                  <a:lnTo>
                    <a:pt x="540" y="684"/>
                  </a:lnTo>
                  <a:lnTo>
                    <a:pt x="536" y="684"/>
                  </a:lnTo>
                  <a:lnTo>
                    <a:pt x="532" y="682"/>
                  </a:lnTo>
                  <a:lnTo>
                    <a:pt x="526" y="678"/>
                  </a:lnTo>
                  <a:lnTo>
                    <a:pt x="522" y="678"/>
                  </a:lnTo>
                  <a:lnTo>
                    <a:pt x="518" y="682"/>
                  </a:lnTo>
                  <a:lnTo>
                    <a:pt x="516" y="690"/>
                  </a:lnTo>
                  <a:lnTo>
                    <a:pt x="516" y="698"/>
                  </a:lnTo>
                  <a:lnTo>
                    <a:pt x="514" y="700"/>
                  </a:lnTo>
                  <a:lnTo>
                    <a:pt x="510" y="700"/>
                  </a:lnTo>
                  <a:lnTo>
                    <a:pt x="508" y="698"/>
                  </a:lnTo>
                  <a:lnTo>
                    <a:pt x="502" y="696"/>
                  </a:lnTo>
                  <a:lnTo>
                    <a:pt x="498" y="698"/>
                  </a:lnTo>
                  <a:lnTo>
                    <a:pt x="490" y="704"/>
                  </a:lnTo>
                  <a:lnTo>
                    <a:pt x="482" y="718"/>
                  </a:lnTo>
                  <a:lnTo>
                    <a:pt x="474" y="732"/>
                  </a:lnTo>
                  <a:lnTo>
                    <a:pt x="468" y="742"/>
                  </a:lnTo>
                  <a:lnTo>
                    <a:pt x="458" y="752"/>
                  </a:lnTo>
                  <a:lnTo>
                    <a:pt x="454" y="756"/>
                  </a:lnTo>
                  <a:lnTo>
                    <a:pt x="452" y="762"/>
                  </a:lnTo>
                  <a:lnTo>
                    <a:pt x="450" y="768"/>
                  </a:lnTo>
                  <a:lnTo>
                    <a:pt x="448" y="780"/>
                  </a:lnTo>
                  <a:lnTo>
                    <a:pt x="448" y="794"/>
                  </a:lnTo>
                  <a:lnTo>
                    <a:pt x="446" y="798"/>
                  </a:lnTo>
                  <a:lnTo>
                    <a:pt x="444" y="800"/>
                  </a:lnTo>
                  <a:lnTo>
                    <a:pt x="440" y="798"/>
                  </a:lnTo>
                  <a:lnTo>
                    <a:pt x="434" y="794"/>
                  </a:lnTo>
                  <a:lnTo>
                    <a:pt x="428" y="792"/>
                  </a:lnTo>
                  <a:lnTo>
                    <a:pt x="426" y="792"/>
                  </a:lnTo>
                  <a:lnTo>
                    <a:pt x="422" y="794"/>
                  </a:lnTo>
                  <a:lnTo>
                    <a:pt x="420" y="798"/>
                  </a:lnTo>
                  <a:lnTo>
                    <a:pt x="418" y="804"/>
                  </a:lnTo>
                  <a:lnTo>
                    <a:pt x="416" y="824"/>
                  </a:lnTo>
                  <a:lnTo>
                    <a:pt x="414" y="840"/>
                  </a:lnTo>
                  <a:lnTo>
                    <a:pt x="414" y="842"/>
                  </a:lnTo>
                  <a:lnTo>
                    <a:pt x="412" y="842"/>
                  </a:lnTo>
                  <a:lnTo>
                    <a:pt x="408" y="828"/>
                  </a:lnTo>
                  <a:lnTo>
                    <a:pt x="402" y="818"/>
                  </a:lnTo>
                  <a:lnTo>
                    <a:pt x="400" y="812"/>
                  </a:lnTo>
                  <a:lnTo>
                    <a:pt x="396" y="810"/>
                  </a:lnTo>
                  <a:lnTo>
                    <a:pt x="392" y="810"/>
                  </a:lnTo>
                  <a:lnTo>
                    <a:pt x="386" y="812"/>
                  </a:lnTo>
                  <a:lnTo>
                    <a:pt x="382" y="816"/>
                  </a:lnTo>
                  <a:lnTo>
                    <a:pt x="376" y="822"/>
                  </a:lnTo>
                  <a:lnTo>
                    <a:pt x="366" y="840"/>
                  </a:lnTo>
                  <a:lnTo>
                    <a:pt x="360" y="852"/>
                  </a:lnTo>
                  <a:lnTo>
                    <a:pt x="360" y="864"/>
                  </a:lnTo>
                  <a:lnTo>
                    <a:pt x="362" y="872"/>
                  </a:lnTo>
                  <a:lnTo>
                    <a:pt x="362" y="880"/>
                  </a:lnTo>
                  <a:lnTo>
                    <a:pt x="362" y="886"/>
                  </a:lnTo>
                  <a:lnTo>
                    <a:pt x="358" y="894"/>
                  </a:lnTo>
                  <a:lnTo>
                    <a:pt x="350" y="902"/>
                  </a:lnTo>
                  <a:lnTo>
                    <a:pt x="344" y="908"/>
                  </a:lnTo>
                  <a:lnTo>
                    <a:pt x="338" y="916"/>
                  </a:lnTo>
                  <a:lnTo>
                    <a:pt x="334" y="930"/>
                  </a:lnTo>
                  <a:lnTo>
                    <a:pt x="330" y="940"/>
                  </a:lnTo>
                  <a:lnTo>
                    <a:pt x="324" y="948"/>
                  </a:lnTo>
                  <a:lnTo>
                    <a:pt x="316" y="958"/>
                  </a:lnTo>
                  <a:lnTo>
                    <a:pt x="304" y="968"/>
                  </a:lnTo>
                  <a:lnTo>
                    <a:pt x="290" y="976"/>
                  </a:lnTo>
                  <a:lnTo>
                    <a:pt x="276" y="980"/>
                  </a:lnTo>
                  <a:lnTo>
                    <a:pt x="266" y="982"/>
                  </a:lnTo>
                  <a:lnTo>
                    <a:pt x="256" y="980"/>
                  </a:lnTo>
                  <a:lnTo>
                    <a:pt x="240" y="980"/>
                  </a:lnTo>
                  <a:lnTo>
                    <a:pt x="234" y="982"/>
                  </a:lnTo>
                  <a:lnTo>
                    <a:pt x="232" y="986"/>
                  </a:lnTo>
                  <a:lnTo>
                    <a:pt x="228" y="990"/>
                  </a:lnTo>
                  <a:lnTo>
                    <a:pt x="224" y="994"/>
                  </a:lnTo>
                  <a:lnTo>
                    <a:pt x="212" y="998"/>
                  </a:lnTo>
                  <a:lnTo>
                    <a:pt x="198" y="1002"/>
                  </a:lnTo>
                  <a:lnTo>
                    <a:pt x="180" y="1012"/>
                  </a:lnTo>
                  <a:lnTo>
                    <a:pt x="170" y="1016"/>
                  </a:lnTo>
                  <a:lnTo>
                    <a:pt x="162" y="1016"/>
                  </a:lnTo>
                  <a:lnTo>
                    <a:pt x="150" y="1012"/>
                  </a:lnTo>
                  <a:lnTo>
                    <a:pt x="142" y="1012"/>
                  </a:lnTo>
                  <a:lnTo>
                    <a:pt x="134" y="1014"/>
                  </a:lnTo>
                  <a:lnTo>
                    <a:pt x="124" y="1020"/>
                  </a:lnTo>
                  <a:lnTo>
                    <a:pt x="110" y="1034"/>
                  </a:lnTo>
                  <a:lnTo>
                    <a:pt x="98" y="1048"/>
                  </a:lnTo>
                  <a:lnTo>
                    <a:pt x="86" y="1058"/>
                  </a:lnTo>
                  <a:lnTo>
                    <a:pt x="78" y="1062"/>
                  </a:lnTo>
                  <a:lnTo>
                    <a:pt x="72" y="1066"/>
                  </a:lnTo>
                  <a:lnTo>
                    <a:pt x="66" y="1068"/>
                  </a:lnTo>
                  <a:lnTo>
                    <a:pt x="60" y="1074"/>
                  </a:lnTo>
                  <a:lnTo>
                    <a:pt x="54" y="1082"/>
                  </a:lnTo>
                  <a:lnTo>
                    <a:pt x="50" y="1094"/>
                  </a:lnTo>
                  <a:lnTo>
                    <a:pt x="44" y="1104"/>
                  </a:lnTo>
                  <a:lnTo>
                    <a:pt x="42" y="1106"/>
                  </a:lnTo>
                  <a:lnTo>
                    <a:pt x="42" y="1104"/>
                  </a:lnTo>
                  <a:lnTo>
                    <a:pt x="40" y="1100"/>
                  </a:lnTo>
                  <a:lnTo>
                    <a:pt x="38" y="1092"/>
                  </a:lnTo>
                  <a:lnTo>
                    <a:pt x="38" y="1084"/>
                  </a:lnTo>
                  <a:lnTo>
                    <a:pt x="36" y="1078"/>
                  </a:lnTo>
                  <a:lnTo>
                    <a:pt x="34" y="1078"/>
                  </a:lnTo>
                  <a:lnTo>
                    <a:pt x="30" y="1078"/>
                  </a:lnTo>
                  <a:lnTo>
                    <a:pt x="24" y="1088"/>
                  </a:lnTo>
                  <a:lnTo>
                    <a:pt x="18" y="1100"/>
                  </a:lnTo>
                  <a:lnTo>
                    <a:pt x="16" y="1110"/>
                  </a:lnTo>
                  <a:lnTo>
                    <a:pt x="18" y="1118"/>
                  </a:lnTo>
                  <a:lnTo>
                    <a:pt x="20" y="1126"/>
                  </a:lnTo>
                  <a:lnTo>
                    <a:pt x="22" y="1134"/>
                  </a:lnTo>
                  <a:lnTo>
                    <a:pt x="22" y="1144"/>
                  </a:lnTo>
                  <a:lnTo>
                    <a:pt x="20" y="1154"/>
                  </a:lnTo>
                  <a:lnTo>
                    <a:pt x="12" y="1170"/>
                  </a:lnTo>
                  <a:lnTo>
                    <a:pt x="8" y="1180"/>
                  </a:lnTo>
                  <a:lnTo>
                    <a:pt x="4" y="1188"/>
                  </a:lnTo>
                  <a:lnTo>
                    <a:pt x="4" y="1196"/>
                  </a:lnTo>
                  <a:lnTo>
                    <a:pt x="4" y="1204"/>
                  </a:lnTo>
                  <a:lnTo>
                    <a:pt x="8" y="1220"/>
                  </a:lnTo>
                  <a:lnTo>
                    <a:pt x="16" y="1236"/>
                  </a:lnTo>
                  <a:lnTo>
                    <a:pt x="34" y="1266"/>
                  </a:lnTo>
                  <a:lnTo>
                    <a:pt x="40" y="1280"/>
                  </a:lnTo>
                  <a:lnTo>
                    <a:pt x="40" y="1288"/>
                  </a:lnTo>
                  <a:lnTo>
                    <a:pt x="42" y="1294"/>
                  </a:lnTo>
                  <a:lnTo>
                    <a:pt x="40" y="1304"/>
                  </a:lnTo>
                  <a:lnTo>
                    <a:pt x="38" y="1304"/>
                  </a:lnTo>
                  <a:lnTo>
                    <a:pt x="36" y="1304"/>
                  </a:lnTo>
                  <a:lnTo>
                    <a:pt x="32" y="1298"/>
                  </a:lnTo>
                  <a:lnTo>
                    <a:pt x="26" y="1288"/>
                  </a:lnTo>
                  <a:lnTo>
                    <a:pt x="14" y="1268"/>
                  </a:lnTo>
                  <a:lnTo>
                    <a:pt x="10" y="1264"/>
                  </a:lnTo>
                  <a:lnTo>
                    <a:pt x="8" y="1264"/>
                  </a:lnTo>
                  <a:lnTo>
                    <a:pt x="6" y="1270"/>
                  </a:lnTo>
                  <a:lnTo>
                    <a:pt x="8" y="1276"/>
                  </a:lnTo>
                  <a:lnTo>
                    <a:pt x="14" y="1290"/>
                  </a:lnTo>
                  <a:lnTo>
                    <a:pt x="20" y="1304"/>
                  </a:lnTo>
                  <a:lnTo>
                    <a:pt x="22" y="1310"/>
                  </a:lnTo>
                  <a:lnTo>
                    <a:pt x="22" y="1316"/>
                  </a:lnTo>
                  <a:lnTo>
                    <a:pt x="20" y="1316"/>
                  </a:lnTo>
                  <a:lnTo>
                    <a:pt x="16" y="1312"/>
                  </a:lnTo>
                  <a:lnTo>
                    <a:pt x="10" y="1298"/>
                  </a:lnTo>
                  <a:lnTo>
                    <a:pt x="6" y="1292"/>
                  </a:lnTo>
                  <a:lnTo>
                    <a:pt x="2" y="1288"/>
                  </a:lnTo>
                  <a:lnTo>
                    <a:pt x="0" y="1290"/>
                  </a:lnTo>
                  <a:lnTo>
                    <a:pt x="0" y="1298"/>
                  </a:lnTo>
                  <a:lnTo>
                    <a:pt x="0" y="1306"/>
                  </a:lnTo>
                  <a:lnTo>
                    <a:pt x="4" y="1316"/>
                  </a:lnTo>
                  <a:lnTo>
                    <a:pt x="18" y="1334"/>
                  </a:lnTo>
                  <a:lnTo>
                    <a:pt x="30" y="1354"/>
                  </a:lnTo>
                  <a:lnTo>
                    <a:pt x="34" y="1364"/>
                  </a:lnTo>
                  <a:lnTo>
                    <a:pt x="36" y="1374"/>
                  </a:lnTo>
                  <a:lnTo>
                    <a:pt x="36" y="1390"/>
                  </a:lnTo>
                  <a:lnTo>
                    <a:pt x="40" y="1402"/>
                  </a:lnTo>
                  <a:lnTo>
                    <a:pt x="48" y="1414"/>
                  </a:lnTo>
                  <a:lnTo>
                    <a:pt x="60" y="1438"/>
                  </a:lnTo>
                  <a:lnTo>
                    <a:pt x="66" y="1452"/>
                  </a:lnTo>
                  <a:lnTo>
                    <a:pt x="68" y="1462"/>
                  </a:lnTo>
                  <a:lnTo>
                    <a:pt x="68" y="1482"/>
                  </a:lnTo>
                  <a:lnTo>
                    <a:pt x="70" y="1494"/>
                  </a:lnTo>
                  <a:lnTo>
                    <a:pt x="72" y="1510"/>
                  </a:lnTo>
                  <a:lnTo>
                    <a:pt x="76" y="1530"/>
                  </a:lnTo>
                  <a:lnTo>
                    <a:pt x="86" y="1556"/>
                  </a:lnTo>
                  <a:lnTo>
                    <a:pt x="96" y="1580"/>
                  </a:lnTo>
                  <a:lnTo>
                    <a:pt x="100" y="1598"/>
                  </a:lnTo>
                  <a:lnTo>
                    <a:pt x="102" y="1610"/>
                  </a:lnTo>
                  <a:lnTo>
                    <a:pt x="100" y="1620"/>
                  </a:lnTo>
                  <a:lnTo>
                    <a:pt x="96" y="1632"/>
                  </a:lnTo>
                  <a:lnTo>
                    <a:pt x="94" y="1638"/>
                  </a:lnTo>
                  <a:lnTo>
                    <a:pt x="94" y="1646"/>
                  </a:lnTo>
                  <a:lnTo>
                    <a:pt x="96" y="1656"/>
                  </a:lnTo>
                  <a:lnTo>
                    <a:pt x="96" y="1664"/>
                  </a:lnTo>
                  <a:lnTo>
                    <a:pt x="94" y="1672"/>
                  </a:lnTo>
                  <a:lnTo>
                    <a:pt x="92" y="1678"/>
                  </a:lnTo>
                  <a:lnTo>
                    <a:pt x="88" y="1682"/>
                  </a:lnTo>
                  <a:lnTo>
                    <a:pt x="84" y="1684"/>
                  </a:lnTo>
                  <a:lnTo>
                    <a:pt x="80" y="1684"/>
                  </a:lnTo>
                  <a:lnTo>
                    <a:pt x="74" y="1684"/>
                  </a:lnTo>
                  <a:lnTo>
                    <a:pt x="70" y="1684"/>
                  </a:lnTo>
                  <a:lnTo>
                    <a:pt x="68" y="1688"/>
                  </a:lnTo>
                  <a:lnTo>
                    <a:pt x="66" y="1694"/>
                  </a:lnTo>
                  <a:lnTo>
                    <a:pt x="66" y="1702"/>
                  </a:lnTo>
                  <a:lnTo>
                    <a:pt x="68" y="1710"/>
                  </a:lnTo>
                  <a:lnTo>
                    <a:pt x="70" y="1716"/>
                  </a:lnTo>
                  <a:lnTo>
                    <a:pt x="76" y="1722"/>
                  </a:lnTo>
                  <a:lnTo>
                    <a:pt x="82" y="1722"/>
                  </a:lnTo>
                  <a:lnTo>
                    <a:pt x="88" y="1722"/>
                  </a:lnTo>
                  <a:lnTo>
                    <a:pt x="92" y="1726"/>
                  </a:lnTo>
                  <a:lnTo>
                    <a:pt x="104" y="1738"/>
                  </a:lnTo>
                  <a:lnTo>
                    <a:pt x="114" y="1746"/>
                  </a:lnTo>
                  <a:lnTo>
                    <a:pt x="124" y="1754"/>
                  </a:lnTo>
                  <a:lnTo>
                    <a:pt x="138" y="1760"/>
                  </a:lnTo>
                  <a:lnTo>
                    <a:pt x="156" y="1762"/>
                  </a:lnTo>
                  <a:lnTo>
                    <a:pt x="174" y="1764"/>
                  </a:lnTo>
                  <a:lnTo>
                    <a:pt x="188" y="1760"/>
                  </a:lnTo>
                  <a:lnTo>
                    <a:pt x="200" y="1756"/>
                  </a:lnTo>
                  <a:lnTo>
                    <a:pt x="208" y="1750"/>
                  </a:lnTo>
                  <a:lnTo>
                    <a:pt x="222" y="1736"/>
                  </a:lnTo>
                  <a:lnTo>
                    <a:pt x="230" y="1732"/>
                  </a:lnTo>
                  <a:lnTo>
                    <a:pt x="238" y="1730"/>
                  </a:lnTo>
                  <a:lnTo>
                    <a:pt x="246" y="1728"/>
                  </a:lnTo>
                  <a:lnTo>
                    <a:pt x="252" y="1724"/>
                  </a:lnTo>
                  <a:lnTo>
                    <a:pt x="254" y="1720"/>
                  </a:lnTo>
                  <a:lnTo>
                    <a:pt x="258" y="1714"/>
                  </a:lnTo>
                  <a:lnTo>
                    <a:pt x="260" y="1708"/>
                  </a:lnTo>
                  <a:lnTo>
                    <a:pt x="264" y="1704"/>
                  </a:lnTo>
                  <a:lnTo>
                    <a:pt x="270" y="1702"/>
                  </a:lnTo>
                  <a:lnTo>
                    <a:pt x="278" y="1700"/>
                  </a:lnTo>
                  <a:lnTo>
                    <a:pt x="290" y="1700"/>
                  </a:lnTo>
                  <a:lnTo>
                    <a:pt x="300" y="1700"/>
                  </a:lnTo>
                  <a:lnTo>
                    <a:pt x="316" y="1696"/>
                  </a:lnTo>
                  <a:lnTo>
                    <a:pt x="322" y="1694"/>
                  </a:lnTo>
                  <a:lnTo>
                    <a:pt x="328" y="1694"/>
                  </a:lnTo>
                  <a:lnTo>
                    <a:pt x="336" y="1694"/>
                  </a:lnTo>
                  <a:lnTo>
                    <a:pt x="344" y="1698"/>
                  </a:lnTo>
                  <a:lnTo>
                    <a:pt x="354" y="1702"/>
                  </a:lnTo>
                  <a:lnTo>
                    <a:pt x="360" y="1704"/>
                  </a:lnTo>
                  <a:lnTo>
                    <a:pt x="364" y="1704"/>
                  </a:lnTo>
                  <a:lnTo>
                    <a:pt x="368" y="1702"/>
                  </a:lnTo>
                  <a:lnTo>
                    <a:pt x="372" y="1698"/>
                  </a:lnTo>
                  <a:lnTo>
                    <a:pt x="378" y="1698"/>
                  </a:lnTo>
                  <a:lnTo>
                    <a:pt x="386" y="1698"/>
                  </a:lnTo>
                  <a:lnTo>
                    <a:pt x="398" y="1702"/>
                  </a:lnTo>
                  <a:lnTo>
                    <a:pt x="406" y="1702"/>
                  </a:lnTo>
                  <a:lnTo>
                    <a:pt x="410" y="1702"/>
                  </a:lnTo>
                  <a:lnTo>
                    <a:pt x="416" y="1702"/>
                  </a:lnTo>
                  <a:lnTo>
                    <a:pt x="420" y="1698"/>
                  </a:lnTo>
                  <a:lnTo>
                    <a:pt x="426" y="1690"/>
                  </a:lnTo>
                  <a:lnTo>
                    <a:pt x="430" y="1678"/>
                  </a:lnTo>
                  <a:lnTo>
                    <a:pt x="434" y="1668"/>
                  </a:lnTo>
                  <a:lnTo>
                    <a:pt x="438" y="1656"/>
                  </a:lnTo>
                  <a:lnTo>
                    <a:pt x="446" y="1650"/>
                  </a:lnTo>
                  <a:lnTo>
                    <a:pt x="450" y="1646"/>
                  </a:lnTo>
                  <a:lnTo>
                    <a:pt x="454" y="1646"/>
                  </a:lnTo>
                  <a:lnTo>
                    <a:pt x="464" y="1644"/>
                  </a:lnTo>
                  <a:lnTo>
                    <a:pt x="472" y="1640"/>
                  </a:lnTo>
                  <a:lnTo>
                    <a:pt x="484" y="1628"/>
                  </a:lnTo>
                  <a:lnTo>
                    <a:pt x="492" y="1622"/>
                  </a:lnTo>
                  <a:lnTo>
                    <a:pt x="502" y="1616"/>
                  </a:lnTo>
                  <a:lnTo>
                    <a:pt x="514" y="1614"/>
                  </a:lnTo>
                  <a:lnTo>
                    <a:pt x="530" y="1614"/>
                  </a:lnTo>
                  <a:lnTo>
                    <a:pt x="544" y="1614"/>
                  </a:lnTo>
                  <a:lnTo>
                    <a:pt x="556" y="1614"/>
                  </a:lnTo>
                  <a:lnTo>
                    <a:pt x="578" y="1610"/>
                  </a:lnTo>
                  <a:lnTo>
                    <a:pt x="596" y="1602"/>
                  </a:lnTo>
                  <a:lnTo>
                    <a:pt x="614" y="1594"/>
                  </a:lnTo>
                  <a:lnTo>
                    <a:pt x="630" y="1586"/>
                  </a:lnTo>
                  <a:lnTo>
                    <a:pt x="644" y="1580"/>
                  </a:lnTo>
                  <a:lnTo>
                    <a:pt x="660" y="1574"/>
                  </a:lnTo>
                  <a:lnTo>
                    <a:pt x="668" y="1574"/>
                  </a:lnTo>
                  <a:lnTo>
                    <a:pt x="676" y="1574"/>
                  </a:lnTo>
                  <a:lnTo>
                    <a:pt x="696" y="1578"/>
                  </a:lnTo>
                  <a:lnTo>
                    <a:pt x="706" y="1576"/>
                  </a:lnTo>
                  <a:lnTo>
                    <a:pt x="712" y="1574"/>
                  </a:lnTo>
                  <a:lnTo>
                    <a:pt x="716" y="1572"/>
                  </a:lnTo>
                  <a:lnTo>
                    <a:pt x="718" y="1570"/>
                  </a:lnTo>
                  <a:lnTo>
                    <a:pt x="724" y="1572"/>
                  </a:lnTo>
                  <a:lnTo>
                    <a:pt x="752" y="1586"/>
                  </a:lnTo>
                  <a:lnTo>
                    <a:pt x="772" y="1596"/>
                  </a:lnTo>
                  <a:lnTo>
                    <a:pt x="786" y="1602"/>
                  </a:lnTo>
                  <a:lnTo>
                    <a:pt x="798" y="1606"/>
                  </a:lnTo>
                  <a:lnTo>
                    <a:pt x="806" y="1606"/>
                  </a:lnTo>
                  <a:lnTo>
                    <a:pt x="822" y="1608"/>
                  </a:lnTo>
                  <a:lnTo>
                    <a:pt x="828" y="1612"/>
                  </a:lnTo>
                  <a:lnTo>
                    <a:pt x="838" y="1618"/>
                  </a:lnTo>
                  <a:lnTo>
                    <a:pt x="846" y="1626"/>
                  </a:lnTo>
                  <a:lnTo>
                    <a:pt x="848" y="1632"/>
                  </a:lnTo>
                  <a:lnTo>
                    <a:pt x="848" y="1636"/>
                  </a:lnTo>
                  <a:lnTo>
                    <a:pt x="846" y="1642"/>
                  </a:lnTo>
                  <a:lnTo>
                    <a:pt x="844" y="1646"/>
                  </a:lnTo>
                  <a:lnTo>
                    <a:pt x="844" y="1650"/>
                  </a:lnTo>
                  <a:lnTo>
                    <a:pt x="848" y="1656"/>
                  </a:lnTo>
                  <a:lnTo>
                    <a:pt x="860" y="1662"/>
                  </a:lnTo>
                  <a:lnTo>
                    <a:pt x="866" y="1666"/>
                  </a:lnTo>
                  <a:lnTo>
                    <a:pt x="870" y="1672"/>
                  </a:lnTo>
                  <a:lnTo>
                    <a:pt x="876" y="1682"/>
                  </a:lnTo>
                  <a:lnTo>
                    <a:pt x="880" y="1694"/>
                  </a:lnTo>
                  <a:lnTo>
                    <a:pt x="882" y="1708"/>
                  </a:lnTo>
                  <a:lnTo>
                    <a:pt x="884" y="1722"/>
                  </a:lnTo>
                  <a:lnTo>
                    <a:pt x="886" y="1732"/>
                  </a:lnTo>
                  <a:lnTo>
                    <a:pt x="892" y="1742"/>
                  </a:lnTo>
                  <a:lnTo>
                    <a:pt x="894" y="1746"/>
                  </a:lnTo>
                  <a:lnTo>
                    <a:pt x="900" y="1748"/>
                  </a:lnTo>
                  <a:lnTo>
                    <a:pt x="914" y="1756"/>
                  </a:lnTo>
                  <a:lnTo>
                    <a:pt x="914" y="1758"/>
                  </a:lnTo>
                  <a:lnTo>
                    <a:pt x="914" y="1756"/>
                  </a:lnTo>
                  <a:lnTo>
                    <a:pt x="914" y="1750"/>
                  </a:lnTo>
                  <a:lnTo>
                    <a:pt x="916" y="1742"/>
                  </a:lnTo>
                  <a:lnTo>
                    <a:pt x="920" y="1730"/>
                  </a:lnTo>
                  <a:lnTo>
                    <a:pt x="932" y="1716"/>
                  </a:lnTo>
                  <a:lnTo>
                    <a:pt x="944" y="1702"/>
                  </a:lnTo>
                  <a:lnTo>
                    <a:pt x="952" y="1694"/>
                  </a:lnTo>
                  <a:lnTo>
                    <a:pt x="958" y="1690"/>
                  </a:lnTo>
                  <a:lnTo>
                    <a:pt x="962" y="1690"/>
                  </a:lnTo>
                  <a:lnTo>
                    <a:pt x="964" y="1690"/>
                  </a:lnTo>
                  <a:lnTo>
                    <a:pt x="966" y="1680"/>
                  </a:lnTo>
                  <a:lnTo>
                    <a:pt x="968" y="1672"/>
                  </a:lnTo>
                  <a:lnTo>
                    <a:pt x="972" y="1666"/>
                  </a:lnTo>
                  <a:lnTo>
                    <a:pt x="980" y="1658"/>
                  </a:lnTo>
                  <a:lnTo>
                    <a:pt x="986" y="1650"/>
                  </a:lnTo>
                  <a:lnTo>
                    <a:pt x="988" y="1646"/>
                  </a:lnTo>
                  <a:lnTo>
                    <a:pt x="990" y="1640"/>
                  </a:lnTo>
                  <a:lnTo>
                    <a:pt x="990" y="1632"/>
                  </a:lnTo>
                  <a:lnTo>
                    <a:pt x="990" y="1630"/>
                  </a:lnTo>
                  <a:lnTo>
                    <a:pt x="990" y="1632"/>
                  </a:lnTo>
                  <a:lnTo>
                    <a:pt x="998" y="1646"/>
                  </a:lnTo>
                  <a:lnTo>
                    <a:pt x="998" y="1654"/>
                  </a:lnTo>
                  <a:lnTo>
                    <a:pt x="996" y="1664"/>
                  </a:lnTo>
                  <a:lnTo>
                    <a:pt x="988" y="1686"/>
                  </a:lnTo>
                  <a:lnTo>
                    <a:pt x="980" y="1710"/>
                  </a:lnTo>
                  <a:lnTo>
                    <a:pt x="978" y="1718"/>
                  </a:lnTo>
                  <a:lnTo>
                    <a:pt x="978" y="1726"/>
                  </a:lnTo>
                  <a:lnTo>
                    <a:pt x="980" y="1736"/>
                  </a:lnTo>
                  <a:lnTo>
                    <a:pt x="980" y="1746"/>
                  </a:lnTo>
                  <a:lnTo>
                    <a:pt x="976" y="1750"/>
                  </a:lnTo>
                  <a:lnTo>
                    <a:pt x="972" y="1752"/>
                  </a:lnTo>
                  <a:lnTo>
                    <a:pt x="968" y="1752"/>
                  </a:lnTo>
                  <a:lnTo>
                    <a:pt x="964" y="1754"/>
                  </a:lnTo>
                  <a:lnTo>
                    <a:pt x="960" y="1756"/>
                  </a:lnTo>
                  <a:lnTo>
                    <a:pt x="956" y="1758"/>
                  </a:lnTo>
                  <a:lnTo>
                    <a:pt x="954" y="1762"/>
                  </a:lnTo>
                  <a:lnTo>
                    <a:pt x="954" y="1766"/>
                  </a:lnTo>
                  <a:lnTo>
                    <a:pt x="958" y="1770"/>
                  </a:lnTo>
                  <a:lnTo>
                    <a:pt x="962" y="1770"/>
                  </a:lnTo>
                  <a:lnTo>
                    <a:pt x="972" y="1770"/>
                  </a:lnTo>
                  <a:lnTo>
                    <a:pt x="978" y="1770"/>
                  </a:lnTo>
                  <a:lnTo>
                    <a:pt x="982" y="1766"/>
                  </a:lnTo>
                  <a:lnTo>
                    <a:pt x="990" y="1758"/>
                  </a:lnTo>
                  <a:lnTo>
                    <a:pt x="994" y="1750"/>
                  </a:lnTo>
                  <a:lnTo>
                    <a:pt x="996" y="1740"/>
                  </a:lnTo>
                  <a:lnTo>
                    <a:pt x="1000" y="1730"/>
                  </a:lnTo>
                  <a:lnTo>
                    <a:pt x="1002" y="1726"/>
                  </a:lnTo>
                  <a:lnTo>
                    <a:pt x="1004" y="1726"/>
                  </a:lnTo>
                  <a:lnTo>
                    <a:pt x="1006" y="1726"/>
                  </a:lnTo>
                  <a:lnTo>
                    <a:pt x="1012" y="1734"/>
                  </a:lnTo>
                  <a:lnTo>
                    <a:pt x="1016" y="1744"/>
                  </a:lnTo>
                  <a:lnTo>
                    <a:pt x="1018" y="1754"/>
                  </a:lnTo>
                  <a:lnTo>
                    <a:pt x="1016" y="1762"/>
                  </a:lnTo>
                  <a:lnTo>
                    <a:pt x="1014" y="1770"/>
                  </a:lnTo>
                  <a:lnTo>
                    <a:pt x="1006" y="1784"/>
                  </a:lnTo>
                  <a:lnTo>
                    <a:pt x="1004" y="1788"/>
                  </a:lnTo>
                  <a:lnTo>
                    <a:pt x="1006" y="1792"/>
                  </a:lnTo>
                  <a:lnTo>
                    <a:pt x="1008" y="1794"/>
                  </a:lnTo>
                  <a:lnTo>
                    <a:pt x="1012" y="1794"/>
                  </a:lnTo>
                  <a:lnTo>
                    <a:pt x="1020" y="1792"/>
                  </a:lnTo>
                  <a:lnTo>
                    <a:pt x="1030" y="1792"/>
                  </a:lnTo>
                  <a:lnTo>
                    <a:pt x="1036" y="1792"/>
                  </a:lnTo>
                  <a:lnTo>
                    <a:pt x="1042" y="1794"/>
                  </a:lnTo>
                  <a:lnTo>
                    <a:pt x="1048" y="1800"/>
                  </a:lnTo>
                  <a:lnTo>
                    <a:pt x="1054" y="1806"/>
                  </a:lnTo>
                  <a:lnTo>
                    <a:pt x="1060" y="1814"/>
                  </a:lnTo>
                  <a:lnTo>
                    <a:pt x="1066" y="1824"/>
                  </a:lnTo>
                  <a:lnTo>
                    <a:pt x="1070" y="1832"/>
                  </a:lnTo>
                  <a:lnTo>
                    <a:pt x="1072" y="1842"/>
                  </a:lnTo>
                  <a:lnTo>
                    <a:pt x="1072" y="1850"/>
                  </a:lnTo>
                  <a:lnTo>
                    <a:pt x="1070" y="1858"/>
                  </a:lnTo>
                  <a:lnTo>
                    <a:pt x="1068" y="1866"/>
                  </a:lnTo>
                  <a:lnTo>
                    <a:pt x="1068" y="1874"/>
                  </a:lnTo>
                  <a:lnTo>
                    <a:pt x="1074" y="1886"/>
                  </a:lnTo>
                  <a:lnTo>
                    <a:pt x="1080" y="1896"/>
                  </a:lnTo>
                  <a:lnTo>
                    <a:pt x="1088" y="1904"/>
                  </a:lnTo>
                  <a:lnTo>
                    <a:pt x="1098" y="1914"/>
                  </a:lnTo>
                  <a:lnTo>
                    <a:pt x="1106" y="1920"/>
                  </a:lnTo>
                  <a:lnTo>
                    <a:pt x="1114" y="1924"/>
                  </a:lnTo>
                  <a:lnTo>
                    <a:pt x="1120" y="1926"/>
                  </a:lnTo>
                  <a:lnTo>
                    <a:pt x="1126" y="1930"/>
                  </a:lnTo>
                  <a:lnTo>
                    <a:pt x="1134" y="1938"/>
                  </a:lnTo>
                  <a:lnTo>
                    <a:pt x="1138" y="1944"/>
                  </a:lnTo>
                  <a:lnTo>
                    <a:pt x="1142" y="1944"/>
                  </a:lnTo>
                  <a:lnTo>
                    <a:pt x="1146" y="1942"/>
                  </a:lnTo>
                  <a:lnTo>
                    <a:pt x="1152" y="1936"/>
                  </a:lnTo>
                  <a:lnTo>
                    <a:pt x="1156" y="1936"/>
                  </a:lnTo>
                  <a:lnTo>
                    <a:pt x="1160" y="1936"/>
                  </a:lnTo>
                  <a:lnTo>
                    <a:pt x="1176" y="1942"/>
                  </a:lnTo>
                  <a:lnTo>
                    <a:pt x="1198" y="1956"/>
                  </a:lnTo>
                  <a:lnTo>
                    <a:pt x="1210" y="1962"/>
                  </a:lnTo>
                  <a:lnTo>
                    <a:pt x="1218" y="1964"/>
                  </a:lnTo>
                  <a:lnTo>
                    <a:pt x="1224" y="1964"/>
                  </a:lnTo>
                  <a:lnTo>
                    <a:pt x="1230" y="1960"/>
                  </a:lnTo>
                  <a:lnTo>
                    <a:pt x="1238" y="1952"/>
                  </a:lnTo>
                  <a:lnTo>
                    <a:pt x="1244" y="1946"/>
                  </a:lnTo>
                  <a:lnTo>
                    <a:pt x="1252" y="1940"/>
                  </a:lnTo>
                  <a:lnTo>
                    <a:pt x="1260" y="1936"/>
                  </a:lnTo>
                  <a:lnTo>
                    <a:pt x="1264" y="1930"/>
                  </a:lnTo>
                  <a:lnTo>
                    <a:pt x="1270" y="1920"/>
                  </a:lnTo>
                  <a:lnTo>
                    <a:pt x="1270" y="1918"/>
                  </a:lnTo>
                  <a:lnTo>
                    <a:pt x="1272" y="1916"/>
                  </a:lnTo>
                  <a:lnTo>
                    <a:pt x="1276" y="1916"/>
                  </a:lnTo>
                  <a:lnTo>
                    <a:pt x="1282" y="1918"/>
                  </a:lnTo>
                  <a:lnTo>
                    <a:pt x="1286" y="1924"/>
                  </a:lnTo>
                  <a:lnTo>
                    <a:pt x="1288" y="1928"/>
                  </a:lnTo>
                  <a:lnTo>
                    <a:pt x="1284" y="1930"/>
                  </a:lnTo>
                  <a:lnTo>
                    <a:pt x="1280" y="1934"/>
                  </a:lnTo>
                  <a:lnTo>
                    <a:pt x="1274" y="1940"/>
                  </a:lnTo>
                  <a:lnTo>
                    <a:pt x="1274" y="1944"/>
                  </a:lnTo>
                  <a:lnTo>
                    <a:pt x="1278" y="1946"/>
                  </a:lnTo>
                  <a:lnTo>
                    <a:pt x="1282" y="1948"/>
                  </a:lnTo>
                  <a:lnTo>
                    <a:pt x="1288" y="1948"/>
                  </a:lnTo>
                  <a:lnTo>
                    <a:pt x="1290" y="1944"/>
                  </a:lnTo>
                  <a:lnTo>
                    <a:pt x="1292" y="1942"/>
                  </a:lnTo>
                  <a:lnTo>
                    <a:pt x="1296" y="1936"/>
                  </a:lnTo>
                  <a:lnTo>
                    <a:pt x="1296" y="1942"/>
                  </a:lnTo>
                  <a:lnTo>
                    <a:pt x="1298" y="1948"/>
                  </a:lnTo>
                  <a:lnTo>
                    <a:pt x="1300" y="1952"/>
                  </a:lnTo>
                  <a:lnTo>
                    <a:pt x="1306" y="1956"/>
                  </a:lnTo>
                  <a:lnTo>
                    <a:pt x="1316" y="1964"/>
                  </a:lnTo>
                  <a:lnTo>
                    <a:pt x="1324" y="1970"/>
                  </a:lnTo>
                  <a:lnTo>
                    <a:pt x="1334" y="1982"/>
                  </a:lnTo>
                  <a:lnTo>
                    <a:pt x="1338" y="1988"/>
                  </a:lnTo>
                  <a:lnTo>
                    <a:pt x="1340" y="1988"/>
                  </a:lnTo>
                  <a:lnTo>
                    <a:pt x="1340" y="1980"/>
                  </a:lnTo>
                  <a:lnTo>
                    <a:pt x="1340" y="1974"/>
                  </a:lnTo>
                  <a:lnTo>
                    <a:pt x="1340" y="1968"/>
                  </a:lnTo>
                  <a:lnTo>
                    <a:pt x="1342" y="1962"/>
                  </a:lnTo>
                  <a:lnTo>
                    <a:pt x="1346" y="1960"/>
                  </a:lnTo>
                  <a:lnTo>
                    <a:pt x="1354" y="1956"/>
                  </a:lnTo>
                  <a:lnTo>
                    <a:pt x="1362" y="1950"/>
                  </a:lnTo>
                  <a:lnTo>
                    <a:pt x="1386" y="1930"/>
                  </a:lnTo>
                  <a:lnTo>
                    <a:pt x="1398" y="1920"/>
                  </a:lnTo>
                  <a:lnTo>
                    <a:pt x="1412" y="1912"/>
                  </a:lnTo>
                  <a:lnTo>
                    <a:pt x="1428" y="1908"/>
                  </a:lnTo>
                  <a:lnTo>
                    <a:pt x="1434" y="1908"/>
                  </a:lnTo>
                  <a:lnTo>
                    <a:pt x="1442" y="1908"/>
                  </a:lnTo>
                  <a:lnTo>
                    <a:pt x="1456" y="1910"/>
                  </a:lnTo>
                  <a:lnTo>
                    <a:pt x="1466" y="1906"/>
                  </a:lnTo>
                  <a:lnTo>
                    <a:pt x="1474" y="1902"/>
                  </a:lnTo>
                  <a:lnTo>
                    <a:pt x="1478" y="1896"/>
                  </a:lnTo>
                  <a:lnTo>
                    <a:pt x="1482" y="1890"/>
                  </a:lnTo>
                  <a:lnTo>
                    <a:pt x="1482" y="1884"/>
                  </a:lnTo>
                  <a:lnTo>
                    <a:pt x="1482" y="1878"/>
                  </a:lnTo>
                  <a:lnTo>
                    <a:pt x="1478" y="1874"/>
                  </a:lnTo>
                  <a:lnTo>
                    <a:pt x="1476" y="1870"/>
                  </a:lnTo>
                  <a:lnTo>
                    <a:pt x="1476" y="1866"/>
                  </a:lnTo>
                  <a:lnTo>
                    <a:pt x="1480" y="1856"/>
                  </a:lnTo>
                  <a:lnTo>
                    <a:pt x="1486" y="1842"/>
                  </a:lnTo>
                  <a:lnTo>
                    <a:pt x="1488" y="1836"/>
                  </a:lnTo>
                  <a:lnTo>
                    <a:pt x="1488" y="1828"/>
                  </a:lnTo>
                  <a:lnTo>
                    <a:pt x="1490" y="1812"/>
                  </a:lnTo>
                  <a:lnTo>
                    <a:pt x="1494" y="1794"/>
                  </a:lnTo>
                  <a:lnTo>
                    <a:pt x="1502" y="1776"/>
                  </a:lnTo>
                  <a:lnTo>
                    <a:pt x="1506" y="1770"/>
                  </a:lnTo>
                  <a:lnTo>
                    <a:pt x="1510" y="1766"/>
                  </a:lnTo>
                  <a:lnTo>
                    <a:pt x="1514" y="1760"/>
                  </a:lnTo>
                  <a:lnTo>
                    <a:pt x="1518" y="1750"/>
                  </a:lnTo>
                  <a:lnTo>
                    <a:pt x="1526" y="1718"/>
                  </a:lnTo>
                  <a:lnTo>
                    <a:pt x="1530" y="1700"/>
                  </a:lnTo>
                  <a:lnTo>
                    <a:pt x="1538" y="1680"/>
                  </a:lnTo>
                  <a:lnTo>
                    <a:pt x="1548" y="1662"/>
                  </a:lnTo>
                  <a:lnTo>
                    <a:pt x="1554" y="1654"/>
                  </a:lnTo>
                  <a:lnTo>
                    <a:pt x="1562" y="1646"/>
                  </a:lnTo>
                  <a:lnTo>
                    <a:pt x="1574" y="1634"/>
                  </a:lnTo>
                  <a:lnTo>
                    <a:pt x="1582" y="1626"/>
                  </a:lnTo>
                  <a:lnTo>
                    <a:pt x="1586" y="1618"/>
                  </a:lnTo>
                  <a:lnTo>
                    <a:pt x="1588" y="1612"/>
                  </a:lnTo>
                  <a:lnTo>
                    <a:pt x="1588" y="1604"/>
                  </a:lnTo>
                  <a:lnTo>
                    <a:pt x="1590" y="1598"/>
                  </a:lnTo>
                  <a:lnTo>
                    <a:pt x="1594" y="1590"/>
                  </a:lnTo>
                  <a:lnTo>
                    <a:pt x="1598" y="1576"/>
                  </a:lnTo>
                  <a:lnTo>
                    <a:pt x="1602" y="1566"/>
                  </a:lnTo>
                  <a:lnTo>
                    <a:pt x="1602" y="1556"/>
                  </a:lnTo>
                  <a:lnTo>
                    <a:pt x="1602" y="1546"/>
                  </a:lnTo>
                  <a:lnTo>
                    <a:pt x="1602" y="1532"/>
                  </a:lnTo>
                  <a:lnTo>
                    <a:pt x="1604" y="1524"/>
                  </a:lnTo>
                  <a:lnTo>
                    <a:pt x="1606" y="1516"/>
                  </a:lnTo>
                  <a:lnTo>
                    <a:pt x="1612" y="1504"/>
                  </a:lnTo>
                  <a:lnTo>
                    <a:pt x="1614" y="1494"/>
                  </a:lnTo>
                  <a:lnTo>
                    <a:pt x="1616" y="1476"/>
                  </a:lnTo>
                  <a:lnTo>
                    <a:pt x="1618" y="1458"/>
                  </a:lnTo>
                  <a:lnTo>
                    <a:pt x="1620" y="1448"/>
                  </a:lnTo>
                  <a:lnTo>
                    <a:pt x="1626" y="1438"/>
                  </a:lnTo>
                  <a:lnTo>
                    <a:pt x="1628" y="1432"/>
                  </a:lnTo>
                  <a:lnTo>
                    <a:pt x="1630" y="1426"/>
                  </a:lnTo>
                  <a:lnTo>
                    <a:pt x="1628" y="1412"/>
                  </a:lnTo>
                  <a:lnTo>
                    <a:pt x="1626" y="1398"/>
                  </a:lnTo>
                  <a:lnTo>
                    <a:pt x="1622" y="1384"/>
                  </a:lnTo>
                  <a:lnTo>
                    <a:pt x="1612" y="1358"/>
                  </a:lnTo>
                  <a:lnTo>
                    <a:pt x="1610" y="1350"/>
                  </a:lnTo>
                  <a:lnTo>
                    <a:pt x="1610" y="1344"/>
                  </a:lnTo>
                  <a:close/>
                  <a:moveTo>
                    <a:pt x="1412" y="2026"/>
                  </a:moveTo>
                  <a:lnTo>
                    <a:pt x="1412" y="2026"/>
                  </a:lnTo>
                  <a:lnTo>
                    <a:pt x="1408" y="2024"/>
                  </a:lnTo>
                  <a:lnTo>
                    <a:pt x="1406" y="2020"/>
                  </a:lnTo>
                  <a:lnTo>
                    <a:pt x="1404" y="2016"/>
                  </a:lnTo>
                  <a:lnTo>
                    <a:pt x="1402" y="2014"/>
                  </a:lnTo>
                  <a:lnTo>
                    <a:pt x="1400" y="2014"/>
                  </a:lnTo>
                  <a:lnTo>
                    <a:pt x="1396" y="2018"/>
                  </a:lnTo>
                  <a:lnTo>
                    <a:pt x="1392" y="2022"/>
                  </a:lnTo>
                  <a:lnTo>
                    <a:pt x="1392" y="2024"/>
                  </a:lnTo>
                  <a:lnTo>
                    <a:pt x="1394" y="2024"/>
                  </a:lnTo>
                  <a:lnTo>
                    <a:pt x="1396" y="2026"/>
                  </a:lnTo>
                  <a:lnTo>
                    <a:pt x="1398" y="2028"/>
                  </a:lnTo>
                  <a:lnTo>
                    <a:pt x="1400" y="2038"/>
                  </a:lnTo>
                  <a:lnTo>
                    <a:pt x="1402" y="2040"/>
                  </a:lnTo>
                  <a:lnTo>
                    <a:pt x="1404" y="2042"/>
                  </a:lnTo>
                  <a:lnTo>
                    <a:pt x="1410" y="2044"/>
                  </a:lnTo>
                  <a:lnTo>
                    <a:pt x="1414" y="2042"/>
                  </a:lnTo>
                  <a:lnTo>
                    <a:pt x="1414" y="2040"/>
                  </a:lnTo>
                  <a:lnTo>
                    <a:pt x="1414" y="2036"/>
                  </a:lnTo>
                  <a:lnTo>
                    <a:pt x="1412" y="2034"/>
                  </a:lnTo>
                  <a:lnTo>
                    <a:pt x="1412" y="2032"/>
                  </a:lnTo>
                  <a:lnTo>
                    <a:pt x="1414" y="2030"/>
                  </a:lnTo>
                  <a:lnTo>
                    <a:pt x="1416" y="2028"/>
                  </a:lnTo>
                  <a:lnTo>
                    <a:pt x="1412" y="2026"/>
                  </a:lnTo>
                  <a:close/>
                  <a:moveTo>
                    <a:pt x="1708" y="300"/>
                  </a:moveTo>
                  <a:lnTo>
                    <a:pt x="1708" y="300"/>
                  </a:lnTo>
                  <a:lnTo>
                    <a:pt x="1704" y="298"/>
                  </a:lnTo>
                  <a:lnTo>
                    <a:pt x="1700" y="294"/>
                  </a:lnTo>
                  <a:lnTo>
                    <a:pt x="1694" y="284"/>
                  </a:lnTo>
                  <a:lnTo>
                    <a:pt x="1688" y="274"/>
                  </a:lnTo>
                  <a:lnTo>
                    <a:pt x="1686" y="272"/>
                  </a:lnTo>
                  <a:lnTo>
                    <a:pt x="1682" y="268"/>
                  </a:lnTo>
                  <a:lnTo>
                    <a:pt x="1678" y="266"/>
                  </a:lnTo>
                  <a:lnTo>
                    <a:pt x="1676" y="262"/>
                  </a:lnTo>
                  <a:lnTo>
                    <a:pt x="1672" y="252"/>
                  </a:lnTo>
                  <a:lnTo>
                    <a:pt x="1668" y="244"/>
                  </a:lnTo>
                  <a:lnTo>
                    <a:pt x="1668" y="242"/>
                  </a:lnTo>
                  <a:lnTo>
                    <a:pt x="1664" y="244"/>
                  </a:lnTo>
                  <a:lnTo>
                    <a:pt x="1662" y="248"/>
                  </a:lnTo>
                  <a:lnTo>
                    <a:pt x="1662" y="250"/>
                  </a:lnTo>
                  <a:lnTo>
                    <a:pt x="1666" y="256"/>
                  </a:lnTo>
                  <a:lnTo>
                    <a:pt x="1670" y="264"/>
                  </a:lnTo>
                  <a:lnTo>
                    <a:pt x="1672" y="268"/>
                  </a:lnTo>
                  <a:lnTo>
                    <a:pt x="1672" y="276"/>
                  </a:lnTo>
                  <a:lnTo>
                    <a:pt x="1672" y="282"/>
                  </a:lnTo>
                  <a:lnTo>
                    <a:pt x="1672" y="288"/>
                  </a:lnTo>
                  <a:lnTo>
                    <a:pt x="1680" y="298"/>
                  </a:lnTo>
                  <a:lnTo>
                    <a:pt x="1688" y="306"/>
                  </a:lnTo>
                  <a:lnTo>
                    <a:pt x="1690" y="310"/>
                  </a:lnTo>
                  <a:lnTo>
                    <a:pt x="1692" y="316"/>
                  </a:lnTo>
                  <a:lnTo>
                    <a:pt x="1694" y="324"/>
                  </a:lnTo>
                  <a:lnTo>
                    <a:pt x="1700" y="330"/>
                  </a:lnTo>
                  <a:lnTo>
                    <a:pt x="1708" y="332"/>
                  </a:lnTo>
                  <a:lnTo>
                    <a:pt x="1716" y="330"/>
                  </a:lnTo>
                  <a:lnTo>
                    <a:pt x="1720" y="328"/>
                  </a:lnTo>
                  <a:lnTo>
                    <a:pt x="1722" y="326"/>
                  </a:lnTo>
                  <a:lnTo>
                    <a:pt x="1722" y="322"/>
                  </a:lnTo>
                  <a:lnTo>
                    <a:pt x="1720" y="316"/>
                  </a:lnTo>
                  <a:lnTo>
                    <a:pt x="1716" y="306"/>
                  </a:lnTo>
                  <a:lnTo>
                    <a:pt x="1712" y="304"/>
                  </a:lnTo>
                  <a:lnTo>
                    <a:pt x="1708" y="300"/>
                  </a:lnTo>
                  <a:close/>
                  <a:moveTo>
                    <a:pt x="1712" y="342"/>
                  </a:moveTo>
                  <a:lnTo>
                    <a:pt x="1712" y="342"/>
                  </a:lnTo>
                  <a:lnTo>
                    <a:pt x="1712" y="346"/>
                  </a:lnTo>
                  <a:lnTo>
                    <a:pt x="1716" y="346"/>
                  </a:lnTo>
                  <a:lnTo>
                    <a:pt x="1718" y="346"/>
                  </a:lnTo>
                  <a:lnTo>
                    <a:pt x="1720" y="344"/>
                  </a:lnTo>
                  <a:lnTo>
                    <a:pt x="1718" y="340"/>
                  </a:lnTo>
                  <a:lnTo>
                    <a:pt x="1716" y="338"/>
                  </a:lnTo>
                  <a:lnTo>
                    <a:pt x="1712" y="340"/>
                  </a:lnTo>
                  <a:lnTo>
                    <a:pt x="1712" y="342"/>
                  </a:lnTo>
                  <a:close/>
                  <a:moveTo>
                    <a:pt x="1238" y="2006"/>
                  </a:moveTo>
                  <a:lnTo>
                    <a:pt x="1238" y="2006"/>
                  </a:lnTo>
                  <a:lnTo>
                    <a:pt x="1236" y="2012"/>
                  </a:lnTo>
                  <a:lnTo>
                    <a:pt x="1234" y="2024"/>
                  </a:lnTo>
                  <a:lnTo>
                    <a:pt x="1236" y="2032"/>
                  </a:lnTo>
                  <a:lnTo>
                    <a:pt x="1240" y="2034"/>
                  </a:lnTo>
                  <a:lnTo>
                    <a:pt x="1242" y="2032"/>
                  </a:lnTo>
                  <a:lnTo>
                    <a:pt x="1244" y="2028"/>
                  </a:lnTo>
                  <a:lnTo>
                    <a:pt x="1246" y="2024"/>
                  </a:lnTo>
                  <a:lnTo>
                    <a:pt x="1246" y="2014"/>
                  </a:lnTo>
                  <a:lnTo>
                    <a:pt x="1242" y="2006"/>
                  </a:lnTo>
                  <a:lnTo>
                    <a:pt x="1240" y="2004"/>
                  </a:lnTo>
                  <a:lnTo>
                    <a:pt x="1238" y="2006"/>
                  </a:lnTo>
                  <a:close/>
                  <a:moveTo>
                    <a:pt x="1414" y="2116"/>
                  </a:moveTo>
                  <a:lnTo>
                    <a:pt x="1414" y="2116"/>
                  </a:lnTo>
                  <a:lnTo>
                    <a:pt x="1414" y="2106"/>
                  </a:lnTo>
                  <a:lnTo>
                    <a:pt x="1414" y="2096"/>
                  </a:lnTo>
                  <a:lnTo>
                    <a:pt x="1414" y="2088"/>
                  </a:lnTo>
                  <a:lnTo>
                    <a:pt x="1412" y="2082"/>
                  </a:lnTo>
                  <a:lnTo>
                    <a:pt x="1408" y="2076"/>
                  </a:lnTo>
                  <a:lnTo>
                    <a:pt x="1406" y="2072"/>
                  </a:lnTo>
                  <a:lnTo>
                    <a:pt x="1402" y="2072"/>
                  </a:lnTo>
                  <a:lnTo>
                    <a:pt x="1400" y="2074"/>
                  </a:lnTo>
                  <a:lnTo>
                    <a:pt x="1398" y="2078"/>
                  </a:lnTo>
                  <a:lnTo>
                    <a:pt x="1396" y="2078"/>
                  </a:lnTo>
                  <a:lnTo>
                    <a:pt x="1392" y="2076"/>
                  </a:lnTo>
                  <a:lnTo>
                    <a:pt x="1388" y="2076"/>
                  </a:lnTo>
                  <a:lnTo>
                    <a:pt x="1386" y="2078"/>
                  </a:lnTo>
                  <a:lnTo>
                    <a:pt x="1382" y="2080"/>
                  </a:lnTo>
                  <a:lnTo>
                    <a:pt x="1380" y="2082"/>
                  </a:lnTo>
                  <a:lnTo>
                    <a:pt x="1378" y="2082"/>
                  </a:lnTo>
                  <a:lnTo>
                    <a:pt x="1370" y="2082"/>
                  </a:lnTo>
                  <a:lnTo>
                    <a:pt x="1352" y="2088"/>
                  </a:lnTo>
                  <a:lnTo>
                    <a:pt x="1340" y="2092"/>
                  </a:lnTo>
                  <a:lnTo>
                    <a:pt x="1332" y="2094"/>
                  </a:lnTo>
                  <a:lnTo>
                    <a:pt x="1324" y="2092"/>
                  </a:lnTo>
                  <a:lnTo>
                    <a:pt x="1320" y="2088"/>
                  </a:lnTo>
                  <a:lnTo>
                    <a:pt x="1310" y="2080"/>
                  </a:lnTo>
                  <a:lnTo>
                    <a:pt x="1304" y="2076"/>
                  </a:lnTo>
                  <a:lnTo>
                    <a:pt x="1296" y="2076"/>
                  </a:lnTo>
                  <a:lnTo>
                    <a:pt x="1288" y="2074"/>
                  </a:lnTo>
                  <a:lnTo>
                    <a:pt x="1282" y="2072"/>
                  </a:lnTo>
                  <a:lnTo>
                    <a:pt x="1274" y="2066"/>
                  </a:lnTo>
                  <a:lnTo>
                    <a:pt x="1272" y="2064"/>
                  </a:lnTo>
                  <a:lnTo>
                    <a:pt x="1270" y="2064"/>
                  </a:lnTo>
                  <a:lnTo>
                    <a:pt x="1266" y="2078"/>
                  </a:lnTo>
                  <a:lnTo>
                    <a:pt x="1264" y="2086"/>
                  </a:lnTo>
                  <a:lnTo>
                    <a:pt x="1266" y="2094"/>
                  </a:lnTo>
                  <a:lnTo>
                    <a:pt x="1276" y="2118"/>
                  </a:lnTo>
                  <a:lnTo>
                    <a:pt x="1280" y="2130"/>
                  </a:lnTo>
                  <a:lnTo>
                    <a:pt x="1284" y="2134"/>
                  </a:lnTo>
                  <a:lnTo>
                    <a:pt x="1288" y="2136"/>
                  </a:lnTo>
                  <a:lnTo>
                    <a:pt x="1288" y="2144"/>
                  </a:lnTo>
                  <a:lnTo>
                    <a:pt x="1288" y="2158"/>
                  </a:lnTo>
                  <a:lnTo>
                    <a:pt x="1292" y="2174"/>
                  </a:lnTo>
                  <a:lnTo>
                    <a:pt x="1296" y="2186"/>
                  </a:lnTo>
                  <a:lnTo>
                    <a:pt x="1300" y="2192"/>
                  </a:lnTo>
                  <a:lnTo>
                    <a:pt x="1304" y="2198"/>
                  </a:lnTo>
                  <a:lnTo>
                    <a:pt x="1310" y="2202"/>
                  </a:lnTo>
                  <a:lnTo>
                    <a:pt x="1312" y="2206"/>
                  </a:lnTo>
                  <a:lnTo>
                    <a:pt x="1318" y="2216"/>
                  </a:lnTo>
                  <a:lnTo>
                    <a:pt x="1322" y="2224"/>
                  </a:lnTo>
                  <a:lnTo>
                    <a:pt x="1324" y="2226"/>
                  </a:lnTo>
                  <a:lnTo>
                    <a:pt x="1328" y="2226"/>
                  </a:lnTo>
                  <a:lnTo>
                    <a:pt x="1332" y="2226"/>
                  </a:lnTo>
                  <a:lnTo>
                    <a:pt x="1338" y="2226"/>
                  </a:lnTo>
                  <a:lnTo>
                    <a:pt x="1352" y="2230"/>
                  </a:lnTo>
                  <a:lnTo>
                    <a:pt x="1356" y="2232"/>
                  </a:lnTo>
                  <a:lnTo>
                    <a:pt x="1358" y="2230"/>
                  </a:lnTo>
                  <a:lnTo>
                    <a:pt x="1360" y="2226"/>
                  </a:lnTo>
                  <a:lnTo>
                    <a:pt x="1362" y="2220"/>
                  </a:lnTo>
                  <a:lnTo>
                    <a:pt x="1366" y="2214"/>
                  </a:lnTo>
                  <a:lnTo>
                    <a:pt x="1370" y="2212"/>
                  </a:lnTo>
                  <a:lnTo>
                    <a:pt x="1372" y="2208"/>
                  </a:lnTo>
                  <a:lnTo>
                    <a:pt x="1374" y="2200"/>
                  </a:lnTo>
                  <a:lnTo>
                    <a:pt x="1376" y="2194"/>
                  </a:lnTo>
                  <a:lnTo>
                    <a:pt x="1378" y="2194"/>
                  </a:lnTo>
                  <a:lnTo>
                    <a:pt x="1378" y="2196"/>
                  </a:lnTo>
                  <a:lnTo>
                    <a:pt x="1380" y="2198"/>
                  </a:lnTo>
                  <a:lnTo>
                    <a:pt x="1382" y="2198"/>
                  </a:lnTo>
                  <a:lnTo>
                    <a:pt x="1382" y="2194"/>
                  </a:lnTo>
                  <a:lnTo>
                    <a:pt x="1384" y="2190"/>
                  </a:lnTo>
                  <a:lnTo>
                    <a:pt x="1386" y="2188"/>
                  </a:lnTo>
                  <a:lnTo>
                    <a:pt x="1388" y="2188"/>
                  </a:lnTo>
                  <a:lnTo>
                    <a:pt x="1392" y="2192"/>
                  </a:lnTo>
                  <a:lnTo>
                    <a:pt x="1394" y="2194"/>
                  </a:lnTo>
                  <a:lnTo>
                    <a:pt x="1394" y="2196"/>
                  </a:lnTo>
                  <a:lnTo>
                    <a:pt x="1392" y="2196"/>
                  </a:lnTo>
                  <a:lnTo>
                    <a:pt x="1388" y="2198"/>
                  </a:lnTo>
                  <a:lnTo>
                    <a:pt x="1388" y="2202"/>
                  </a:lnTo>
                  <a:lnTo>
                    <a:pt x="1390" y="2206"/>
                  </a:lnTo>
                  <a:lnTo>
                    <a:pt x="1398" y="2210"/>
                  </a:lnTo>
                  <a:lnTo>
                    <a:pt x="1402" y="2208"/>
                  </a:lnTo>
                  <a:lnTo>
                    <a:pt x="1404" y="2206"/>
                  </a:lnTo>
                  <a:lnTo>
                    <a:pt x="1402" y="2194"/>
                  </a:lnTo>
                  <a:lnTo>
                    <a:pt x="1400" y="2180"/>
                  </a:lnTo>
                  <a:lnTo>
                    <a:pt x="1400" y="2174"/>
                  </a:lnTo>
                  <a:lnTo>
                    <a:pt x="1402" y="2170"/>
                  </a:lnTo>
                  <a:lnTo>
                    <a:pt x="1404" y="2168"/>
                  </a:lnTo>
                  <a:lnTo>
                    <a:pt x="1404" y="2166"/>
                  </a:lnTo>
                  <a:lnTo>
                    <a:pt x="1402" y="2160"/>
                  </a:lnTo>
                  <a:lnTo>
                    <a:pt x="1402" y="2152"/>
                  </a:lnTo>
                  <a:lnTo>
                    <a:pt x="1402" y="2150"/>
                  </a:lnTo>
                  <a:lnTo>
                    <a:pt x="1404" y="2146"/>
                  </a:lnTo>
                  <a:lnTo>
                    <a:pt x="1408" y="2144"/>
                  </a:lnTo>
                  <a:lnTo>
                    <a:pt x="1410" y="2144"/>
                  </a:lnTo>
                  <a:lnTo>
                    <a:pt x="1410" y="2150"/>
                  </a:lnTo>
                  <a:lnTo>
                    <a:pt x="1412" y="2154"/>
                  </a:lnTo>
                  <a:lnTo>
                    <a:pt x="1414" y="2152"/>
                  </a:lnTo>
                  <a:lnTo>
                    <a:pt x="1416" y="2148"/>
                  </a:lnTo>
                  <a:lnTo>
                    <a:pt x="1416" y="2146"/>
                  </a:lnTo>
                  <a:lnTo>
                    <a:pt x="1414" y="2140"/>
                  </a:lnTo>
                  <a:lnTo>
                    <a:pt x="1412" y="2132"/>
                  </a:lnTo>
                  <a:lnTo>
                    <a:pt x="1412" y="2124"/>
                  </a:lnTo>
                  <a:lnTo>
                    <a:pt x="1414" y="2116"/>
                  </a:lnTo>
                  <a:close/>
                  <a:moveTo>
                    <a:pt x="984" y="1792"/>
                  </a:moveTo>
                  <a:lnTo>
                    <a:pt x="984" y="1792"/>
                  </a:lnTo>
                  <a:lnTo>
                    <a:pt x="980" y="1788"/>
                  </a:lnTo>
                  <a:lnTo>
                    <a:pt x="974" y="1788"/>
                  </a:lnTo>
                  <a:lnTo>
                    <a:pt x="966" y="1788"/>
                  </a:lnTo>
                  <a:lnTo>
                    <a:pt x="958" y="1792"/>
                  </a:lnTo>
                  <a:lnTo>
                    <a:pt x="950" y="1794"/>
                  </a:lnTo>
                  <a:lnTo>
                    <a:pt x="944" y="1798"/>
                  </a:lnTo>
                  <a:lnTo>
                    <a:pt x="942" y="1804"/>
                  </a:lnTo>
                  <a:lnTo>
                    <a:pt x="940" y="1808"/>
                  </a:lnTo>
                  <a:lnTo>
                    <a:pt x="942" y="1810"/>
                  </a:lnTo>
                  <a:lnTo>
                    <a:pt x="948" y="1812"/>
                  </a:lnTo>
                  <a:lnTo>
                    <a:pt x="960" y="1814"/>
                  </a:lnTo>
                  <a:lnTo>
                    <a:pt x="974" y="1812"/>
                  </a:lnTo>
                  <a:lnTo>
                    <a:pt x="982" y="1810"/>
                  </a:lnTo>
                  <a:lnTo>
                    <a:pt x="990" y="1808"/>
                  </a:lnTo>
                  <a:lnTo>
                    <a:pt x="998" y="1808"/>
                  </a:lnTo>
                  <a:lnTo>
                    <a:pt x="1004" y="1806"/>
                  </a:lnTo>
                  <a:lnTo>
                    <a:pt x="1004" y="1804"/>
                  </a:lnTo>
                  <a:lnTo>
                    <a:pt x="1002" y="1800"/>
                  </a:lnTo>
                  <a:lnTo>
                    <a:pt x="1000" y="1798"/>
                  </a:lnTo>
                  <a:lnTo>
                    <a:pt x="994" y="1798"/>
                  </a:lnTo>
                  <a:lnTo>
                    <a:pt x="990" y="1796"/>
                  </a:lnTo>
                  <a:lnTo>
                    <a:pt x="984" y="1792"/>
                  </a:lnTo>
                  <a:close/>
                  <a:moveTo>
                    <a:pt x="2204" y="1064"/>
                  </a:moveTo>
                  <a:lnTo>
                    <a:pt x="2204" y="1064"/>
                  </a:lnTo>
                  <a:lnTo>
                    <a:pt x="2206" y="1066"/>
                  </a:lnTo>
                  <a:lnTo>
                    <a:pt x="2208" y="1066"/>
                  </a:lnTo>
                  <a:lnTo>
                    <a:pt x="2212" y="1066"/>
                  </a:lnTo>
                  <a:lnTo>
                    <a:pt x="2214" y="1060"/>
                  </a:lnTo>
                  <a:lnTo>
                    <a:pt x="2214" y="1058"/>
                  </a:lnTo>
                  <a:lnTo>
                    <a:pt x="2212" y="1054"/>
                  </a:lnTo>
                  <a:lnTo>
                    <a:pt x="2210" y="1050"/>
                  </a:lnTo>
                  <a:lnTo>
                    <a:pt x="2208" y="1048"/>
                  </a:lnTo>
                  <a:lnTo>
                    <a:pt x="2206" y="1048"/>
                  </a:lnTo>
                  <a:lnTo>
                    <a:pt x="2204" y="1050"/>
                  </a:lnTo>
                  <a:lnTo>
                    <a:pt x="2202" y="1054"/>
                  </a:lnTo>
                  <a:lnTo>
                    <a:pt x="2204" y="1064"/>
                  </a:lnTo>
                  <a:close/>
                  <a:moveTo>
                    <a:pt x="2218" y="862"/>
                  </a:moveTo>
                  <a:lnTo>
                    <a:pt x="2218" y="862"/>
                  </a:lnTo>
                  <a:lnTo>
                    <a:pt x="2216" y="866"/>
                  </a:lnTo>
                  <a:lnTo>
                    <a:pt x="2218" y="870"/>
                  </a:lnTo>
                  <a:lnTo>
                    <a:pt x="2222" y="872"/>
                  </a:lnTo>
                  <a:lnTo>
                    <a:pt x="2228" y="874"/>
                  </a:lnTo>
                  <a:lnTo>
                    <a:pt x="2230" y="872"/>
                  </a:lnTo>
                  <a:lnTo>
                    <a:pt x="2230" y="870"/>
                  </a:lnTo>
                  <a:lnTo>
                    <a:pt x="2228" y="864"/>
                  </a:lnTo>
                  <a:lnTo>
                    <a:pt x="2222" y="860"/>
                  </a:lnTo>
                  <a:lnTo>
                    <a:pt x="2220" y="860"/>
                  </a:lnTo>
                  <a:lnTo>
                    <a:pt x="2218" y="862"/>
                  </a:lnTo>
                  <a:close/>
                  <a:moveTo>
                    <a:pt x="2220" y="824"/>
                  </a:moveTo>
                  <a:lnTo>
                    <a:pt x="2220" y="824"/>
                  </a:lnTo>
                  <a:lnTo>
                    <a:pt x="2222" y="824"/>
                  </a:lnTo>
                  <a:lnTo>
                    <a:pt x="2222" y="822"/>
                  </a:lnTo>
                  <a:lnTo>
                    <a:pt x="2216" y="814"/>
                  </a:lnTo>
                  <a:lnTo>
                    <a:pt x="2216" y="812"/>
                  </a:lnTo>
                  <a:lnTo>
                    <a:pt x="2214" y="814"/>
                  </a:lnTo>
                  <a:lnTo>
                    <a:pt x="2212" y="816"/>
                  </a:lnTo>
                  <a:lnTo>
                    <a:pt x="2214" y="822"/>
                  </a:lnTo>
                  <a:lnTo>
                    <a:pt x="2216" y="822"/>
                  </a:lnTo>
                  <a:lnTo>
                    <a:pt x="2220" y="824"/>
                  </a:lnTo>
                  <a:close/>
                  <a:moveTo>
                    <a:pt x="2124" y="1064"/>
                  </a:moveTo>
                  <a:lnTo>
                    <a:pt x="2124" y="1064"/>
                  </a:lnTo>
                  <a:lnTo>
                    <a:pt x="2118" y="1060"/>
                  </a:lnTo>
                  <a:lnTo>
                    <a:pt x="2116" y="1060"/>
                  </a:lnTo>
                  <a:lnTo>
                    <a:pt x="2114" y="1062"/>
                  </a:lnTo>
                  <a:lnTo>
                    <a:pt x="2096" y="1042"/>
                  </a:lnTo>
                  <a:lnTo>
                    <a:pt x="2094" y="1038"/>
                  </a:lnTo>
                  <a:lnTo>
                    <a:pt x="2090" y="1032"/>
                  </a:lnTo>
                  <a:lnTo>
                    <a:pt x="2076" y="1018"/>
                  </a:lnTo>
                  <a:lnTo>
                    <a:pt x="2060" y="1008"/>
                  </a:lnTo>
                  <a:lnTo>
                    <a:pt x="2050" y="1000"/>
                  </a:lnTo>
                  <a:lnTo>
                    <a:pt x="2050" y="1004"/>
                  </a:lnTo>
                  <a:lnTo>
                    <a:pt x="2044" y="998"/>
                  </a:lnTo>
                  <a:lnTo>
                    <a:pt x="2040" y="994"/>
                  </a:lnTo>
                  <a:lnTo>
                    <a:pt x="2036" y="992"/>
                  </a:lnTo>
                  <a:lnTo>
                    <a:pt x="2040" y="1000"/>
                  </a:lnTo>
                  <a:lnTo>
                    <a:pt x="2050" y="1020"/>
                  </a:lnTo>
                  <a:lnTo>
                    <a:pt x="2052" y="1024"/>
                  </a:lnTo>
                  <a:lnTo>
                    <a:pt x="2052" y="1026"/>
                  </a:lnTo>
                  <a:lnTo>
                    <a:pt x="2064" y="1036"/>
                  </a:lnTo>
                  <a:lnTo>
                    <a:pt x="2070" y="1042"/>
                  </a:lnTo>
                  <a:lnTo>
                    <a:pt x="2076" y="1056"/>
                  </a:lnTo>
                  <a:lnTo>
                    <a:pt x="2076" y="1054"/>
                  </a:lnTo>
                  <a:lnTo>
                    <a:pt x="2078" y="1058"/>
                  </a:lnTo>
                  <a:lnTo>
                    <a:pt x="2082" y="1058"/>
                  </a:lnTo>
                  <a:lnTo>
                    <a:pt x="2088" y="1064"/>
                  </a:lnTo>
                  <a:lnTo>
                    <a:pt x="2094" y="1070"/>
                  </a:lnTo>
                  <a:lnTo>
                    <a:pt x="2102" y="1074"/>
                  </a:lnTo>
                  <a:lnTo>
                    <a:pt x="2110" y="1080"/>
                  </a:lnTo>
                  <a:lnTo>
                    <a:pt x="2116" y="1086"/>
                  </a:lnTo>
                  <a:lnTo>
                    <a:pt x="2136" y="1098"/>
                  </a:lnTo>
                  <a:lnTo>
                    <a:pt x="2136" y="1102"/>
                  </a:lnTo>
                  <a:lnTo>
                    <a:pt x="2136" y="1104"/>
                  </a:lnTo>
                  <a:lnTo>
                    <a:pt x="2154" y="1100"/>
                  </a:lnTo>
                  <a:lnTo>
                    <a:pt x="2158" y="1098"/>
                  </a:lnTo>
                  <a:lnTo>
                    <a:pt x="2158" y="1096"/>
                  </a:lnTo>
                  <a:lnTo>
                    <a:pt x="2148" y="1086"/>
                  </a:lnTo>
                  <a:lnTo>
                    <a:pt x="2124" y="1064"/>
                  </a:lnTo>
                  <a:close/>
                  <a:moveTo>
                    <a:pt x="2172" y="1036"/>
                  </a:moveTo>
                  <a:lnTo>
                    <a:pt x="2172" y="1036"/>
                  </a:lnTo>
                  <a:lnTo>
                    <a:pt x="2178" y="1038"/>
                  </a:lnTo>
                  <a:lnTo>
                    <a:pt x="2182" y="1040"/>
                  </a:lnTo>
                  <a:lnTo>
                    <a:pt x="2184" y="1038"/>
                  </a:lnTo>
                  <a:lnTo>
                    <a:pt x="2186" y="1036"/>
                  </a:lnTo>
                  <a:lnTo>
                    <a:pt x="2186" y="1030"/>
                  </a:lnTo>
                  <a:lnTo>
                    <a:pt x="2182" y="1024"/>
                  </a:lnTo>
                  <a:lnTo>
                    <a:pt x="2176" y="1018"/>
                  </a:lnTo>
                  <a:lnTo>
                    <a:pt x="2172" y="1016"/>
                  </a:lnTo>
                  <a:lnTo>
                    <a:pt x="2168" y="1018"/>
                  </a:lnTo>
                  <a:lnTo>
                    <a:pt x="2168" y="1020"/>
                  </a:lnTo>
                  <a:lnTo>
                    <a:pt x="2170" y="1020"/>
                  </a:lnTo>
                  <a:lnTo>
                    <a:pt x="2172" y="1022"/>
                  </a:lnTo>
                  <a:lnTo>
                    <a:pt x="2172" y="1024"/>
                  </a:lnTo>
                  <a:lnTo>
                    <a:pt x="2170" y="1028"/>
                  </a:lnTo>
                  <a:lnTo>
                    <a:pt x="2168" y="1032"/>
                  </a:lnTo>
                  <a:lnTo>
                    <a:pt x="2170" y="1034"/>
                  </a:lnTo>
                  <a:lnTo>
                    <a:pt x="2172" y="1036"/>
                  </a:lnTo>
                  <a:close/>
                  <a:moveTo>
                    <a:pt x="2152" y="752"/>
                  </a:moveTo>
                  <a:lnTo>
                    <a:pt x="2152" y="752"/>
                  </a:lnTo>
                  <a:lnTo>
                    <a:pt x="2154" y="760"/>
                  </a:lnTo>
                  <a:lnTo>
                    <a:pt x="2156" y="764"/>
                  </a:lnTo>
                  <a:lnTo>
                    <a:pt x="2160" y="766"/>
                  </a:lnTo>
                  <a:lnTo>
                    <a:pt x="2168" y="764"/>
                  </a:lnTo>
                  <a:lnTo>
                    <a:pt x="2172" y="762"/>
                  </a:lnTo>
                  <a:lnTo>
                    <a:pt x="2174" y="760"/>
                  </a:lnTo>
                  <a:lnTo>
                    <a:pt x="2176" y="758"/>
                  </a:lnTo>
                  <a:lnTo>
                    <a:pt x="2176" y="754"/>
                  </a:lnTo>
                  <a:lnTo>
                    <a:pt x="2174" y="746"/>
                  </a:lnTo>
                  <a:lnTo>
                    <a:pt x="2170" y="736"/>
                  </a:lnTo>
                  <a:lnTo>
                    <a:pt x="2168" y="732"/>
                  </a:lnTo>
                  <a:lnTo>
                    <a:pt x="2166" y="732"/>
                  </a:lnTo>
                  <a:lnTo>
                    <a:pt x="2164" y="734"/>
                  </a:lnTo>
                  <a:lnTo>
                    <a:pt x="2162" y="736"/>
                  </a:lnTo>
                  <a:lnTo>
                    <a:pt x="2158" y="730"/>
                  </a:lnTo>
                  <a:lnTo>
                    <a:pt x="2156" y="724"/>
                  </a:lnTo>
                  <a:lnTo>
                    <a:pt x="2154" y="718"/>
                  </a:lnTo>
                  <a:lnTo>
                    <a:pt x="2152" y="716"/>
                  </a:lnTo>
                  <a:lnTo>
                    <a:pt x="2148" y="716"/>
                  </a:lnTo>
                  <a:lnTo>
                    <a:pt x="2146" y="718"/>
                  </a:lnTo>
                  <a:lnTo>
                    <a:pt x="2146" y="722"/>
                  </a:lnTo>
                  <a:lnTo>
                    <a:pt x="2148" y="726"/>
                  </a:lnTo>
                  <a:lnTo>
                    <a:pt x="2152" y="736"/>
                  </a:lnTo>
                  <a:lnTo>
                    <a:pt x="2152" y="742"/>
                  </a:lnTo>
                  <a:lnTo>
                    <a:pt x="2152" y="746"/>
                  </a:lnTo>
                  <a:lnTo>
                    <a:pt x="2152" y="752"/>
                  </a:lnTo>
                  <a:close/>
                  <a:moveTo>
                    <a:pt x="2196" y="758"/>
                  </a:moveTo>
                  <a:lnTo>
                    <a:pt x="2196" y="758"/>
                  </a:lnTo>
                  <a:lnTo>
                    <a:pt x="2202" y="754"/>
                  </a:lnTo>
                  <a:lnTo>
                    <a:pt x="2206" y="750"/>
                  </a:lnTo>
                  <a:lnTo>
                    <a:pt x="2208" y="748"/>
                  </a:lnTo>
                  <a:lnTo>
                    <a:pt x="2206" y="746"/>
                  </a:lnTo>
                  <a:lnTo>
                    <a:pt x="2202" y="746"/>
                  </a:lnTo>
                  <a:lnTo>
                    <a:pt x="2198" y="748"/>
                  </a:lnTo>
                  <a:lnTo>
                    <a:pt x="2194" y="752"/>
                  </a:lnTo>
                  <a:lnTo>
                    <a:pt x="2194" y="754"/>
                  </a:lnTo>
                  <a:lnTo>
                    <a:pt x="2196" y="758"/>
                  </a:lnTo>
                  <a:close/>
                  <a:moveTo>
                    <a:pt x="2206" y="798"/>
                  </a:moveTo>
                  <a:lnTo>
                    <a:pt x="2206" y="798"/>
                  </a:lnTo>
                  <a:lnTo>
                    <a:pt x="2210" y="800"/>
                  </a:lnTo>
                  <a:lnTo>
                    <a:pt x="2214" y="800"/>
                  </a:lnTo>
                  <a:lnTo>
                    <a:pt x="2216" y="798"/>
                  </a:lnTo>
                  <a:lnTo>
                    <a:pt x="2216" y="792"/>
                  </a:lnTo>
                  <a:lnTo>
                    <a:pt x="2216" y="790"/>
                  </a:lnTo>
                  <a:lnTo>
                    <a:pt x="2214" y="788"/>
                  </a:lnTo>
                  <a:lnTo>
                    <a:pt x="2208" y="790"/>
                  </a:lnTo>
                  <a:lnTo>
                    <a:pt x="2204" y="794"/>
                  </a:lnTo>
                  <a:lnTo>
                    <a:pt x="2204" y="796"/>
                  </a:lnTo>
                  <a:lnTo>
                    <a:pt x="2206" y="798"/>
                  </a:lnTo>
                  <a:close/>
                  <a:moveTo>
                    <a:pt x="1762" y="382"/>
                  </a:moveTo>
                  <a:lnTo>
                    <a:pt x="1762" y="382"/>
                  </a:lnTo>
                  <a:lnTo>
                    <a:pt x="1762" y="386"/>
                  </a:lnTo>
                  <a:lnTo>
                    <a:pt x="1764" y="392"/>
                  </a:lnTo>
                  <a:lnTo>
                    <a:pt x="1768" y="394"/>
                  </a:lnTo>
                  <a:lnTo>
                    <a:pt x="1770" y="394"/>
                  </a:lnTo>
                  <a:lnTo>
                    <a:pt x="1772" y="392"/>
                  </a:lnTo>
                  <a:lnTo>
                    <a:pt x="1774" y="390"/>
                  </a:lnTo>
                  <a:lnTo>
                    <a:pt x="1772" y="386"/>
                  </a:lnTo>
                  <a:lnTo>
                    <a:pt x="1770" y="382"/>
                  </a:lnTo>
                  <a:lnTo>
                    <a:pt x="1766" y="378"/>
                  </a:lnTo>
                  <a:lnTo>
                    <a:pt x="1764" y="380"/>
                  </a:lnTo>
                  <a:lnTo>
                    <a:pt x="1762" y="382"/>
                  </a:lnTo>
                  <a:close/>
                  <a:moveTo>
                    <a:pt x="1786" y="386"/>
                  </a:moveTo>
                  <a:lnTo>
                    <a:pt x="1786" y="386"/>
                  </a:lnTo>
                  <a:lnTo>
                    <a:pt x="1784" y="386"/>
                  </a:lnTo>
                  <a:lnTo>
                    <a:pt x="1780" y="388"/>
                  </a:lnTo>
                  <a:lnTo>
                    <a:pt x="1776" y="396"/>
                  </a:lnTo>
                  <a:lnTo>
                    <a:pt x="1776" y="402"/>
                  </a:lnTo>
                  <a:lnTo>
                    <a:pt x="1778" y="404"/>
                  </a:lnTo>
                  <a:lnTo>
                    <a:pt x="1780" y="404"/>
                  </a:lnTo>
                  <a:lnTo>
                    <a:pt x="1784" y="402"/>
                  </a:lnTo>
                  <a:lnTo>
                    <a:pt x="1788" y="404"/>
                  </a:lnTo>
                  <a:lnTo>
                    <a:pt x="1790" y="410"/>
                  </a:lnTo>
                  <a:lnTo>
                    <a:pt x="1794" y="414"/>
                  </a:lnTo>
                  <a:lnTo>
                    <a:pt x="1796" y="416"/>
                  </a:lnTo>
                  <a:lnTo>
                    <a:pt x="1800" y="412"/>
                  </a:lnTo>
                  <a:lnTo>
                    <a:pt x="1798" y="408"/>
                  </a:lnTo>
                  <a:lnTo>
                    <a:pt x="1794" y="402"/>
                  </a:lnTo>
                  <a:lnTo>
                    <a:pt x="1790" y="396"/>
                  </a:lnTo>
                  <a:lnTo>
                    <a:pt x="1790" y="392"/>
                  </a:lnTo>
                  <a:lnTo>
                    <a:pt x="1790" y="390"/>
                  </a:lnTo>
                  <a:lnTo>
                    <a:pt x="1786" y="386"/>
                  </a:lnTo>
                  <a:close/>
                  <a:moveTo>
                    <a:pt x="1754" y="340"/>
                  </a:moveTo>
                  <a:lnTo>
                    <a:pt x="1754" y="340"/>
                  </a:lnTo>
                  <a:lnTo>
                    <a:pt x="1758" y="346"/>
                  </a:lnTo>
                  <a:lnTo>
                    <a:pt x="1766" y="354"/>
                  </a:lnTo>
                  <a:lnTo>
                    <a:pt x="1776" y="360"/>
                  </a:lnTo>
                  <a:lnTo>
                    <a:pt x="1780" y="360"/>
                  </a:lnTo>
                  <a:lnTo>
                    <a:pt x="1784" y="360"/>
                  </a:lnTo>
                  <a:lnTo>
                    <a:pt x="1788" y="358"/>
                  </a:lnTo>
                  <a:lnTo>
                    <a:pt x="1784" y="356"/>
                  </a:lnTo>
                  <a:lnTo>
                    <a:pt x="1776" y="352"/>
                  </a:lnTo>
                  <a:lnTo>
                    <a:pt x="1774" y="348"/>
                  </a:lnTo>
                  <a:lnTo>
                    <a:pt x="1772" y="344"/>
                  </a:lnTo>
                  <a:lnTo>
                    <a:pt x="1768" y="336"/>
                  </a:lnTo>
                  <a:lnTo>
                    <a:pt x="1764" y="332"/>
                  </a:lnTo>
                  <a:lnTo>
                    <a:pt x="1746" y="320"/>
                  </a:lnTo>
                  <a:lnTo>
                    <a:pt x="1742" y="318"/>
                  </a:lnTo>
                  <a:lnTo>
                    <a:pt x="1740" y="320"/>
                  </a:lnTo>
                  <a:lnTo>
                    <a:pt x="1742" y="328"/>
                  </a:lnTo>
                  <a:lnTo>
                    <a:pt x="1744" y="332"/>
                  </a:lnTo>
                  <a:lnTo>
                    <a:pt x="1748" y="334"/>
                  </a:lnTo>
                  <a:lnTo>
                    <a:pt x="1752" y="336"/>
                  </a:lnTo>
                  <a:lnTo>
                    <a:pt x="1754" y="340"/>
                  </a:lnTo>
                  <a:close/>
                  <a:moveTo>
                    <a:pt x="1744" y="368"/>
                  </a:moveTo>
                  <a:lnTo>
                    <a:pt x="1744" y="368"/>
                  </a:lnTo>
                  <a:lnTo>
                    <a:pt x="1744" y="374"/>
                  </a:lnTo>
                  <a:lnTo>
                    <a:pt x="1748" y="378"/>
                  </a:lnTo>
                  <a:lnTo>
                    <a:pt x="1752" y="382"/>
                  </a:lnTo>
                  <a:lnTo>
                    <a:pt x="1754" y="380"/>
                  </a:lnTo>
                  <a:lnTo>
                    <a:pt x="1756" y="380"/>
                  </a:lnTo>
                  <a:lnTo>
                    <a:pt x="1758" y="376"/>
                  </a:lnTo>
                  <a:lnTo>
                    <a:pt x="1758" y="374"/>
                  </a:lnTo>
                  <a:lnTo>
                    <a:pt x="1752" y="368"/>
                  </a:lnTo>
                  <a:lnTo>
                    <a:pt x="1746" y="366"/>
                  </a:lnTo>
                  <a:lnTo>
                    <a:pt x="1744" y="366"/>
                  </a:lnTo>
                  <a:lnTo>
                    <a:pt x="1744" y="368"/>
                  </a:lnTo>
                  <a:close/>
                  <a:moveTo>
                    <a:pt x="1802" y="416"/>
                  </a:moveTo>
                  <a:lnTo>
                    <a:pt x="1802" y="416"/>
                  </a:lnTo>
                  <a:lnTo>
                    <a:pt x="1800" y="420"/>
                  </a:lnTo>
                  <a:lnTo>
                    <a:pt x="1800" y="424"/>
                  </a:lnTo>
                  <a:lnTo>
                    <a:pt x="1804" y="426"/>
                  </a:lnTo>
                  <a:lnTo>
                    <a:pt x="1810" y="424"/>
                  </a:lnTo>
                  <a:lnTo>
                    <a:pt x="1810" y="422"/>
                  </a:lnTo>
                  <a:lnTo>
                    <a:pt x="1812" y="420"/>
                  </a:lnTo>
                  <a:lnTo>
                    <a:pt x="1810" y="416"/>
                  </a:lnTo>
                  <a:lnTo>
                    <a:pt x="1806" y="414"/>
                  </a:lnTo>
                  <a:lnTo>
                    <a:pt x="1804" y="414"/>
                  </a:lnTo>
                  <a:lnTo>
                    <a:pt x="1802" y="416"/>
                  </a:lnTo>
                  <a:close/>
                  <a:moveTo>
                    <a:pt x="1858" y="386"/>
                  </a:moveTo>
                  <a:lnTo>
                    <a:pt x="1858" y="386"/>
                  </a:lnTo>
                  <a:lnTo>
                    <a:pt x="1848" y="382"/>
                  </a:lnTo>
                  <a:lnTo>
                    <a:pt x="1844" y="378"/>
                  </a:lnTo>
                  <a:lnTo>
                    <a:pt x="1840" y="374"/>
                  </a:lnTo>
                  <a:lnTo>
                    <a:pt x="1832" y="368"/>
                  </a:lnTo>
                  <a:lnTo>
                    <a:pt x="1828" y="366"/>
                  </a:lnTo>
                  <a:lnTo>
                    <a:pt x="1826" y="368"/>
                  </a:lnTo>
                  <a:lnTo>
                    <a:pt x="1828" y="378"/>
                  </a:lnTo>
                  <a:lnTo>
                    <a:pt x="1830" y="382"/>
                  </a:lnTo>
                  <a:lnTo>
                    <a:pt x="1834" y="386"/>
                  </a:lnTo>
                  <a:lnTo>
                    <a:pt x="1848" y="394"/>
                  </a:lnTo>
                  <a:lnTo>
                    <a:pt x="1864" y="404"/>
                  </a:lnTo>
                  <a:lnTo>
                    <a:pt x="1878" y="414"/>
                  </a:lnTo>
                  <a:lnTo>
                    <a:pt x="1880" y="416"/>
                  </a:lnTo>
                  <a:lnTo>
                    <a:pt x="1882" y="416"/>
                  </a:lnTo>
                  <a:lnTo>
                    <a:pt x="1878" y="408"/>
                  </a:lnTo>
                  <a:lnTo>
                    <a:pt x="1870" y="396"/>
                  </a:lnTo>
                  <a:lnTo>
                    <a:pt x="1864" y="390"/>
                  </a:lnTo>
                  <a:lnTo>
                    <a:pt x="1858" y="386"/>
                  </a:lnTo>
                  <a:close/>
                  <a:moveTo>
                    <a:pt x="1882" y="456"/>
                  </a:moveTo>
                  <a:lnTo>
                    <a:pt x="1882" y="456"/>
                  </a:lnTo>
                  <a:lnTo>
                    <a:pt x="1876" y="450"/>
                  </a:lnTo>
                  <a:lnTo>
                    <a:pt x="1872" y="450"/>
                  </a:lnTo>
                  <a:lnTo>
                    <a:pt x="1870" y="454"/>
                  </a:lnTo>
                  <a:lnTo>
                    <a:pt x="1870" y="462"/>
                  </a:lnTo>
                  <a:lnTo>
                    <a:pt x="1870" y="468"/>
                  </a:lnTo>
                  <a:lnTo>
                    <a:pt x="1876" y="474"/>
                  </a:lnTo>
                  <a:lnTo>
                    <a:pt x="1882" y="478"/>
                  </a:lnTo>
                  <a:lnTo>
                    <a:pt x="1892" y="478"/>
                  </a:lnTo>
                  <a:lnTo>
                    <a:pt x="1900" y="476"/>
                  </a:lnTo>
                  <a:lnTo>
                    <a:pt x="1900" y="478"/>
                  </a:lnTo>
                  <a:lnTo>
                    <a:pt x="1902" y="480"/>
                  </a:lnTo>
                  <a:lnTo>
                    <a:pt x="1912" y="482"/>
                  </a:lnTo>
                  <a:lnTo>
                    <a:pt x="1916" y="482"/>
                  </a:lnTo>
                  <a:lnTo>
                    <a:pt x="1920" y="482"/>
                  </a:lnTo>
                  <a:lnTo>
                    <a:pt x="1920" y="480"/>
                  </a:lnTo>
                  <a:lnTo>
                    <a:pt x="1918" y="476"/>
                  </a:lnTo>
                  <a:lnTo>
                    <a:pt x="1914" y="468"/>
                  </a:lnTo>
                  <a:lnTo>
                    <a:pt x="1906" y="460"/>
                  </a:lnTo>
                  <a:lnTo>
                    <a:pt x="1902" y="458"/>
                  </a:lnTo>
                  <a:lnTo>
                    <a:pt x="1900" y="456"/>
                  </a:lnTo>
                  <a:lnTo>
                    <a:pt x="1892" y="456"/>
                  </a:lnTo>
                  <a:lnTo>
                    <a:pt x="1886" y="458"/>
                  </a:lnTo>
                  <a:lnTo>
                    <a:pt x="1884" y="456"/>
                  </a:lnTo>
                  <a:lnTo>
                    <a:pt x="1882" y="456"/>
                  </a:lnTo>
                  <a:close/>
                  <a:moveTo>
                    <a:pt x="1884" y="560"/>
                  </a:moveTo>
                  <a:lnTo>
                    <a:pt x="1884" y="560"/>
                  </a:lnTo>
                  <a:lnTo>
                    <a:pt x="1886" y="564"/>
                  </a:lnTo>
                  <a:lnTo>
                    <a:pt x="1894" y="570"/>
                  </a:lnTo>
                  <a:lnTo>
                    <a:pt x="1902" y="576"/>
                  </a:lnTo>
                  <a:lnTo>
                    <a:pt x="1906" y="576"/>
                  </a:lnTo>
                  <a:lnTo>
                    <a:pt x="1910" y="576"/>
                  </a:lnTo>
                  <a:lnTo>
                    <a:pt x="1910" y="574"/>
                  </a:lnTo>
                  <a:lnTo>
                    <a:pt x="1908" y="570"/>
                  </a:lnTo>
                  <a:lnTo>
                    <a:pt x="1900" y="562"/>
                  </a:lnTo>
                  <a:lnTo>
                    <a:pt x="1890" y="558"/>
                  </a:lnTo>
                  <a:lnTo>
                    <a:pt x="1886" y="558"/>
                  </a:lnTo>
                  <a:lnTo>
                    <a:pt x="1884" y="560"/>
                  </a:lnTo>
                  <a:close/>
                  <a:moveTo>
                    <a:pt x="1966" y="508"/>
                  </a:moveTo>
                  <a:lnTo>
                    <a:pt x="1966" y="508"/>
                  </a:lnTo>
                  <a:lnTo>
                    <a:pt x="1958" y="506"/>
                  </a:lnTo>
                  <a:lnTo>
                    <a:pt x="1950" y="502"/>
                  </a:lnTo>
                  <a:lnTo>
                    <a:pt x="1942" y="498"/>
                  </a:lnTo>
                  <a:lnTo>
                    <a:pt x="1938" y="498"/>
                  </a:lnTo>
                  <a:lnTo>
                    <a:pt x="1936" y="500"/>
                  </a:lnTo>
                  <a:lnTo>
                    <a:pt x="1934" y="500"/>
                  </a:lnTo>
                  <a:lnTo>
                    <a:pt x="1934" y="502"/>
                  </a:lnTo>
                  <a:lnTo>
                    <a:pt x="1938" y="504"/>
                  </a:lnTo>
                  <a:lnTo>
                    <a:pt x="1942" y="506"/>
                  </a:lnTo>
                  <a:lnTo>
                    <a:pt x="1944" y="510"/>
                  </a:lnTo>
                  <a:lnTo>
                    <a:pt x="1944" y="512"/>
                  </a:lnTo>
                  <a:lnTo>
                    <a:pt x="1946" y="516"/>
                  </a:lnTo>
                  <a:lnTo>
                    <a:pt x="1948" y="518"/>
                  </a:lnTo>
                  <a:lnTo>
                    <a:pt x="1956" y="524"/>
                  </a:lnTo>
                  <a:lnTo>
                    <a:pt x="1966" y="528"/>
                  </a:lnTo>
                  <a:lnTo>
                    <a:pt x="1974" y="528"/>
                  </a:lnTo>
                  <a:lnTo>
                    <a:pt x="1976" y="528"/>
                  </a:lnTo>
                  <a:lnTo>
                    <a:pt x="1978" y="526"/>
                  </a:lnTo>
                  <a:lnTo>
                    <a:pt x="1976" y="518"/>
                  </a:lnTo>
                  <a:lnTo>
                    <a:pt x="1972" y="512"/>
                  </a:lnTo>
                  <a:lnTo>
                    <a:pt x="1968" y="510"/>
                  </a:lnTo>
                  <a:lnTo>
                    <a:pt x="1966" y="508"/>
                  </a:lnTo>
                  <a:close/>
                  <a:moveTo>
                    <a:pt x="2174" y="784"/>
                  </a:moveTo>
                  <a:lnTo>
                    <a:pt x="2174" y="784"/>
                  </a:lnTo>
                  <a:lnTo>
                    <a:pt x="2174" y="788"/>
                  </a:lnTo>
                  <a:lnTo>
                    <a:pt x="2180" y="792"/>
                  </a:lnTo>
                  <a:lnTo>
                    <a:pt x="2182" y="794"/>
                  </a:lnTo>
                  <a:lnTo>
                    <a:pt x="2184" y="798"/>
                  </a:lnTo>
                  <a:lnTo>
                    <a:pt x="2186" y="804"/>
                  </a:lnTo>
                  <a:lnTo>
                    <a:pt x="2188" y="808"/>
                  </a:lnTo>
                  <a:lnTo>
                    <a:pt x="2192" y="808"/>
                  </a:lnTo>
                  <a:lnTo>
                    <a:pt x="2196" y="808"/>
                  </a:lnTo>
                  <a:lnTo>
                    <a:pt x="2198" y="806"/>
                  </a:lnTo>
                  <a:lnTo>
                    <a:pt x="2198" y="800"/>
                  </a:lnTo>
                  <a:lnTo>
                    <a:pt x="2196" y="794"/>
                  </a:lnTo>
                  <a:lnTo>
                    <a:pt x="2190" y="788"/>
                  </a:lnTo>
                  <a:lnTo>
                    <a:pt x="2186" y="784"/>
                  </a:lnTo>
                  <a:lnTo>
                    <a:pt x="2180" y="780"/>
                  </a:lnTo>
                  <a:lnTo>
                    <a:pt x="2176" y="780"/>
                  </a:lnTo>
                  <a:lnTo>
                    <a:pt x="2174" y="784"/>
                  </a:lnTo>
                  <a:close/>
                  <a:moveTo>
                    <a:pt x="1938" y="458"/>
                  </a:moveTo>
                  <a:lnTo>
                    <a:pt x="1938" y="458"/>
                  </a:lnTo>
                  <a:lnTo>
                    <a:pt x="1938" y="454"/>
                  </a:lnTo>
                  <a:lnTo>
                    <a:pt x="1938" y="448"/>
                  </a:lnTo>
                  <a:lnTo>
                    <a:pt x="1936" y="444"/>
                  </a:lnTo>
                  <a:lnTo>
                    <a:pt x="1930" y="438"/>
                  </a:lnTo>
                  <a:lnTo>
                    <a:pt x="1928" y="434"/>
                  </a:lnTo>
                  <a:lnTo>
                    <a:pt x="1926" y="428"/>
                  </a:lnTo>
                  <a:lnTo>
                    <a:pt x="1922" y="420"/>
                  </a:lnTo>
                  <a:lnTo>
                    <a:pt x="1920" y="410"/>
                  </a:lnTo>
                  <a:lnTo>
                    <a:pt x="1916" y="408"/>
                  </a:lnTo>
                  <a:lnTo>
                    <a:pt x="1910" y="406"/>
                  </a:lnTo>
                  <a:lnTo>
                    <a:pt x="1908" y="404"/>
                  </a:lnTo>
                  <a:lnTo>
                    <a:pt x="1906" y="406"/>
                  </a:lnTo>
                  <a:lnTo>
                    <a:pt x="1906" y="412"/>
                  </a:lnTo>
                  <a:lnTo>
                    <a:pt x="1912" y="422"/>
                  </a:lnTo>
                  <a:lnTo>
                    <a:pt x="1916" y="440"/>
                  </a:lnTo>
                  <a:lnTo>
                    <a:pt x="1918" y="446"/>
                  </a:lnTo>
                  <a:lnTo>
                    <a:pt x="1920" y="448"/>
                  </a:lnTo>
                  <a:lnTo>
                    <a:pt x="1926" y="452"/>
                  </a:lnTo>
                  <a:lnTo>
                    <a:pt x="1930" y="460"/>
                  </a:lnTo>
                  <a:lnTo>
                    <a:pt x="1936" y="466"/>
                  </a:lnTo>
                  <a:lnTo>
                    <a:pt x="1940" y="470"/>
                  </a:lnTo>
                  <a:lnTo>
                    <a:pt x="1942" y="468"/>
                  </a:lnTo>
                  <a:lnTo>
                    <a:pt x="1938" y="458"/>
                  </a:lnTo>
                  <a:close/>
                  <a:moveTo>
                    <a:pt x="2456" y="2102"/>
                  </a:moveTo>
                  <a:lnTo>
                    <a:pt x="2456" y="2102"/>
                  </a:lnTo>
                  <a:lnTo>
                    <a:pt x="2460" y="2096"/>
                  </a:lnTo>
                  <a:lnTo>
                    <a:pt x="2460" y="2090"/>
                  </a:lnTo>
                  <a:lnTo>
                    <a:pt x="2458" y="2084"/>
                  </a:lnTo>
                  <a:lnTo>
                    <a:pt x="2456" y="2082"/>
                  </a:lnTo>
                  <a:lnTo>
                    <a:pt x="2450" y="2082"/>
                  </a:lnTo>
                  <a:lnTo>
                    <a:pt x="2442" y="2084"/>
                  </a:lnTo>
                  <a:lnTo>
                    <a:pt x="2434" y="2088"/>
                  </a:lnTo>
                  <a:lnTo>
                    <a:pt x="2426" y="2094"/>
                  </a:lnTo>
                  <a:lnTo>
                    <a:pt x="2418" y="2100"/>
                  </a:lnTo>
                  <a:lnTo>
                    <a:pt x="2412" y="2100"/>
                  </a:lnTo>
                  <a:lnTo>
                    <a:pt x="2410" y="2098"/>
                  </a:lnTo>
                  <a:lnTo>
                    <a:pt x="2410" y="2094"/>
                  </a:lnTo>
                  <a:lnTo>
                    <a:pt x="2410" y="2080"/>
                  </a:lnTo>
                  <a:lnTo>
                    <a:pt x="2410" y="2076"/>
                  </a:lnTo>
                  <a:lnTo>
                    <a:pt x="2408" y="2074"/>
                  </a:lnTo>
                  <a:lnTo>
                    <a:pt x="2400" y="2072"/>
                  </a:lnTo>
                  <a:lnTo>
                    <a:pt x="2398" y="2070"/>
                  </a:lnTo>
                  <a:lnTo>
                    <a:pt x="2398" y="2068"/>
                  </a:lnTo>
                  <a:lnTo>
                    <a:pt x="2404" y="2064"/>
                  </a:lnTo>
                  <a:lnTo>
                    <a:pt x="2408" y="2062"/>
                  </a:lnTo>
                  <a:lnTo>
                    <a:pt x="2408" y="2058"/>
                  </a:lnTo>
                  <a:lnTo>
                    <a:pt x="2408" y="2056"/>
                  </a:lnTo>
                  <a:lnTo>
                    <a:pt x="2404" y="2054"/>
                  </a:lnTo>
                  <a:lnTo>
                    <a:pt x="2400" y="2054"/>
                  </a:lnTo>
                  <a:lnTo>
                    <a:pt x="2396" y="2056"/>
                  </a:lnTo>
                  <a:lnTo>
                    <a:pt x="2388" y="2060"/>
                  </a:lnTo>
                  <a:lnTo>
                    <a:pt x="2380" y="2068"/>
                  </a:lnTo>
                  <a:lnTo>
                    <a:pt x="2376" y="2074"/>
                  </a:lnTo>
                  <a:lnTo>
                    <a:pt x="2374" y="2080"/>
                  </a:lnTo>
                  <a:lnTo>
                    <a:pt x="2374" y="2096"/>
                  </a:lnTo>
                  <a:lnTo>
                    <a:pt x="2372" y="2104"/>
                  </a:lnTo>
                  <a:lnTo>
                    <a:pt x="2370" y="2110"/>
                  </a:lnTo>
                  <a:lnTo>
                    <a:pt x="2366" y="2116"/>
                  </a:lnTo>
                  <a:lnTo>
                    <a:pt x="2358" y="2120"/>
                  </a:lnTo>
                  <a:lnTo>
                    <a:pt x="2352" y="2126"/>
                  </a:lnTo>
                  <a:lnTo>
                    <a:pt x="2346" y="2134"/>
                  </a:lnTo>
                  <a:lnTo>
                    <a:pt x="2336" y="2156"/>
                  </a:lnTo>
                  <a:lnTo>
                    <a:pt x="2324" y="2180"/>
                  </a:lnTo>
                  <a:lnTo>
                    <a:pt x="2318" y="2190"/>
                  </a:lnTo>
                  <a:lnTo>
                    <a:pt x="2310" y="2196"/>
                  </a:lnTo>
                  <a:lnTo>
                    <a:pt x="2298" y="2206"/>
                  </a:lnTo>
                  <a:lnTo>
                    <a:pt x="2286" y="2218"/>
                  </a:lnTo>
                  <a:lnTo>
                    <a:pt x="2274" y="2228"/>
                  </a:lnTo>
                  <a:lnTo>
                    <a:pt x="2270" y="2230"/>
                  </a:lnTo>
                  <a:lnTo>
                    <a:pt x="2264" y="2232"/>
                  </a:lnTo>
                  <a:lnTo>
                    <a:pt x="2260" y="2234"/>
                  </a:lnTo>
                  <a:lnTo>
                    <a:pt x="2256" y="2236"/>
                  </a:lnTo>
                  <a:lnTo>
                    <a:pt x="2250" y="2242"/>
                  </a:lnTo>
                  <a:lnTo>
                    <a:pt x="2246" y="2248"/>
                  </a:lnTo>
                  <a:lnTo>
                    <a:pt x="2242" y="2250"/>
                  </a:lnTo>
                  <a:lnTo>
                    <a:pt x="2236" y="2250"/>
                  </a:lnTo>
                  <a:lnTo>
                    <a:pt x="2228" y="2250"/>
                  </a:lnTo>
                  <a:lnTo>
                    <a:pt x="2222" y="2254"/>
                  </a:lnTo>
                  <a:lnTo>
                    <a:pt x="2216" y="2260"/>
                  </a:lnTo>
                  <a:lnTo>
                    <a:pt x="2210" y="2266"/>
                  </a:lnTo>
                  <a:lnTo>
                    <a:pt x="2200" y="2282"/>
                  </a:lnTo>
                  <a:lnTo>
                    <a:pt x="2186" y="2298"/>
                  </a:lnTo>
                  <a:lnTo>
                    <a:pt x="2174" y="2310"/>
                  </a:lnTo>
                  <a:lnTo>
                    <a:pt x="2162" y="2322"/>
                  </a:lnTo>
                  <a:lnTo>
                    <a:pt x="2160" y="2328"/>
                  </a:lnTo>
                  <a:lnTo>
                    <a:pt x="2156" y="2334"/>
                  </a:lnTo>
                  <a:lnTo>
                    <a:pt x="2156" y="2338"/>
                  </a:lnTo>
                  <a:lnTo>
                    <a:pt x="2158" y="2344"/>
                  </a:lnTo>
                  <a:lnTo>
                    <a:pt x="2160" y="2348"/>
                  </a:lnTo>
                  <a:lnTo>
                    <a:pt x="2158" y="2352"/>
                  </a:lnTo>
                  <a:lnTo>
                    <a:pt x="2152" y="2356"/>
                  </a:lnTo>
                  <a:lnTo>
                    <a:pt x="2146" y="2360"/>
                  </a:lnTo>
                  <a:lnTo>
                    <a:pt x="2146" y="2362"/>
                  </a:lnTo>
                  <a:lnTo>
                    <a:pt x="2146" y="2368"/>
                  </a:lnTo>
                  <a:lnTo>
                    <a:pt x="2152" y="2376"/>
                  </a:lnTo>
                  <a:lnTo>
                    <a:pt x="2162" y="2382"/>
                  </a:lnTo>
                  <a:lnTo>
                    <a:pt x="2168" y="2384"/>
                  </a:lnTo>
                  <a:lnTo>
                    <a:pt x="2172" y="2384"/>
                  </a:lnTo>
                  <a:lnTo>
                    <a:pt x="2178" y="2382"/>
                  </a:lnTo>
                  <a:lnTo>
                    <a:pt x="2184" y="2378"/>
                  </a:lnTo>
                  <a:lnTo>
                    <a:pt x="2190" y="2376"/>
                  </a:lnTo>
                  <a:lnTo>
                    <a:pt x="2192" y="2374"/>
                  </a:lnTo>
                  <a:lnTo>
                    <a:pt x="2194" y="2376"/>
                  </a:lnTo>
                  <a:lnTo>
                    <a:pt x="2196" y="2378"/>
                  </a:lnTo>
                  <a:lnTo>
                    <a:pt x="2200" y="2384"/>
                  </a:lnTo>
                  <a:lnTo>
                    <a:pt x="2202" y="2386"/>
                  </a:lnTo>
                  <a:lnTo>
                    <a:pt x="2208" y="2386"/>
                  </a:lnTo>
                  <a:lnTo>
                    <a:pt x="2212" y="2386"/>
                  </a:lnTo>
                  <a:lnTo>
                    <a:pt x="2216" y="2388"/>
                  </a:lnTo>
                  <a:lnTo>
                    <a:pt x="2218" y="2392"/>
                  </a:lnTo>
                  <a:lnTo>
                    <a:pt x="2218" y="2396"/>
                  </a:lnTo>
                  <a:lnTo>
                    <a:pt x="2220" y="2398"/>
                  </a:lnTo>
                  <a:lnTo>
                    <a:pt x="2224" y="2402"/>
                  </a:lnTo>
                  <a:lnTo>
                    <a:pt x="2232" y="2402"/>
                  </a:lnTo>
                  <a:lnTo>
                    <a:pt x="2248" y="2404"/>
                  </a:lnTo>
                  <a:lnTo>
                    <a:pt x="2256" y="2404"/>
                  </a:lnTo>
                  <a:lnTo>
                    <a:pt x="2262" y="2404"/>
                  </a:lnTo>
                  <a:lnTo>
                    <a:pt x="2268" y="2402"/>
                  </a:lnTo>
                  <a:lnTo>
                    <a:pt x="2276" y="2398"/>
                  </a:lnTo>
                  <a:lnTo>
                    <a:pt x="2282" y="2390"/>
                  </a:lnTo>
                  <a:lnTo>
                    <a:pt x="2288" y="2380"/>
                  </a:lnTo>
                  <a:lnTo>
                    <a:pt x="2296" y="2372"/>
                  </a:lnTo>
                  <a:lnTo>
                    <a:pt x="2302" y="2366"/>
                  </a:lnTo>
                  <a:lnTo>
                    <a:pt x="2308" y="2362"/>
                  </a:lnTo>
                  <a:lnTo>
                    <a:pt x="2314" y="2360"/>
                  </a:lnTo>
                  <a:lnTo>
                    <a:pt x="2320" y="2358"/>
                  </a:lnTo>
                  <a:lnTo>
                    <a:pt x="2320" y="2356"/>
                  </a:lnTo>
                  <a:lnTo>
                    <a:pt x="2318" y="2352"/>
                  </a:lnTo>
                  <a:lnTo>
                    <a:pt x="2318" y="2346"/>
                  </a:lnTo>
                  <a:lnTo>
                    <a:pt x="2318" y="2340"/>
                  </a:lnTo>
                  <a:lnTo>
                    <a:pt x="2324" y="2328"/>
                  </a:lnTo>
                  <a:lnTo>
                    <a:pt x="2332" y="2312"/>
                  </a:lnTo>
                  <a:lnTo>
                    <a:pt x="2336" y="2300"/>
                  </a:lnTo>
                  <a:lnTo>
                    <a:pt x="2336" y="2288"/>
                  </a:lnTo>
                  <a:lnTo>
                    <a:pt x="2340" y="2276"/>
                  </a:lnTo>
                  <a:lnTo>
                    <a:pt x="2346" y="2266"/>
                  </a:lnTo>
                  <a:lnTo>
                    <a:pt x="2354" y="2258"/>
                  </a:lnTo>
                  <a:lnTo>
                    <a:pt x="2364" y="2252"/>
                  </a:lnTo>
                  <a:lnTo>
                    <a:pt x="2376" y="2248"/>
                  </a:lnTo>
                  <a:lnTo>
                    <a:pt x="2386" y="2246"/>
                  </a:lnTo>
                  <a:lnTo>
                    <a:pt x="2394" y="2244"/>
                  </a:lnTo>
                  <a:lnTo>
                    <a:pt x="2400" y="2246"/>
                  </a:lnTo>
                  <a:lnTo>
                    <a:pt x="2406" y="2246"/>
                  </a:lnTo>
                  <a:lnTo>
                    <a:pt x="2410" y="2246"/>
                  </a:lnTo>
                  <a:lnTo>
                    <a:pt x="2414" y="2244"/>
                  </a:lnTo>
                  <a:lnTo>
                    <a:pt x="2416" y="2242"/>
                  </a:lnTo>
                  <a:lnTo>
                    <a:pt x="2418" y="2238"/>
                  </a:lnTo>
                  <a:lnTo>
                    <a:pt x="2418" y="2236"/>
                  </a:lnTo>
                  <a:lnTo>
                    <a:pt x="2416" y="2232"/>
                  </a:lnTo>
                  <a:lnTo>
                    <a:pt x="2410" y="2230"/>
                  </a:lnTo>
                  <a:lnTo>
                    <a:pt x="2404" y="2228"/>
                  </a:lnTo>
                  <a:lnTo>
                    <a:pt x="2402" y="2224"/>
                  </a:lnTo>
                  <a:lnTo>
                    <a:pt x="2400" y="2218"/>
                  </a:lnTo>
                  <a:lnTo>
                    <a:pt x="2400" y="2214"/>
                  </a:lnTo>
                  <a:lnTo>
                    <a:pt x="2400" y="2208"/>
                  </a:lnTo>
                  <a:lnTo>
                    <a:pt x="2402" y="2204"/>
                  </a:lnTo>
                  <a:lnTo>
                    <a:pt x="2406" y="2200"/>
                  </a:lnTo>
                  <a:lnTo>
                    <a:pt x="2410" y="2198"/>
                  </a:lnTo>
                  <a:lnTo>
                    <a:pt x="2416" y="2196"/>
                  </a:lnTo>
                  <a:lnTo>
                    <a:pt x="2420" y="2192"/>
                  </a:lnTo>
                  <a:lnTo>
                    <a:pt x="2430" y="2178"/>
                  </a:lnTo>
                  <a:lnTo>
                    <a:pt x="2440" y="2160"/>
                  </a:lnTo>
                  <a:lnTo>
                    <a:pt x="2454" y="2138"/>
                  </a:lnTo>
                  <a:lnTo>
                    <a:pt x="2460" y="2130"/>
                  </a:lnTo>
                  <a:lnTo>
                    <a:pt x="2462" y="2124"/>
                  </a:lnTo>
                  <a:lnTo>
                    <a:pt x="2462" y="2120"/>
                  </a:lnTo>
                  <a:lnTo>
                    <a:pt x="2460" y="2118"/>
                  </a:lnTo>
                  <a:lnTo>
                    <a:pt x="2456" y="2116"/>
                  </a:lnTo>
                  <a:lnTo>
                    <a:pt x="2454" y="2114"/>
                  </a:lnTo>
                  <a:lnTo>
                    <a:pt x="2454" y="2110"/>
                  </a:lnTo>
                  <a:lnTo>
                    <a:pt x="2456" y="2102"/>
                  </a:lnTo>
                  <a:close/>
                  <a:moveTo>
                    <a:pt x="2684" y="808"/>
                  </a:moveTo>
                  <a:lnTo>
                    <a:pt x="2684" y="808"/>
                  </a:lnTo>
                  <a:lnTo>
                    <a:pt x="2680" y="812"/>
                  </a:lnTo>
                  <a:lnTo>
                    <a:pt x="2678" y="810"/>
                  </a:lnTo>
                  <a:lnTo>
                    <a:pt x="2682" y="802"/>
                  </a:lnTo>
                  <a:lnTo>
                    <a:pt x="2688" y="794"/>
                  </a:lnTo>
                  <a:lnTo>
                    <a:pt x="2690" y="792"/>
                  </a:lnTo>
                  <a:lnTo>
                    <a:pt x="2690" y="790"/>
                  </a:lnTo>
                  <a:lnTo>
                    <a:pt x="2688" y="788"/>
                  </a:lnTo>
                  <a:lnTo>
                    <a:pt x="2684" y="790"/>
                  </a:lnTo>
                  <a:lnTo>
                    <a:pt x="2676" y="794"/>
                  </a:lnTo>
                  <a:lnTo>
                    <a:pt x="2664" y="800"/>
                  </a:lnTo>
                  <a:lnTo>
                    <a:pt x="2658" y="804"/>
                  </a:lnTo>
                  <a:lnTo>
                    <a:pt x="2652" y="806"/>
                  </a:lnTo>
                  <a:lnTo>
                    <a:pt x="2648" y="806"/>
                  </a:lnTo>
                  <a:lnTo>
                    <a:pt x="2646" y="812"/>
                  </a:lnTo>
                  <a:lnTo>
                    <a:pt x="2644" y="814"/>
                  </a:lnTo>
                  <a:lnTo>
                    <a:pt x="2642" y="816"/>
                  </a:lnTo>
                  <a:lnTo>
                    <a:pt x="2636" y="814"/>
                  </a:lnTo>
                  <a:lnTo>
                    <a:pt x="2634" y="814"/>
                  </a:lnTo>
                  <a:lnTo>
                    <a:pt x="2634" y="816"/>
                  </a:lnTo>
                  <a:lnTo>
                    <a:pt x="2636" y="826"/>
                  </a:lnTo>
                  <a:lnTo>
                    <a:pt x="2640" y="832"/>
                  </a:lnTo>
                  <a:lnTo>
                    <a:pt x="2642" y="832"/>
                  </a:lnTo>
                  <a:lnTo>
                    <a:pt x="2656" y="822"/>
                  </a:lnTo>
                  <a:lnTo>
                    <a:pt x="2660" y="820"/>
                  </a:lnTo>
                  <a:lnTo>
                    <a:pt x="2662" y="820"/>
                  </a:lnTo>
                  <a:lnTo>
                    <a:pt x="2664" y="820"/>
                  </a:lnTo>
                  <a:lnTo>
                    <a:pt x="2666" y="822"/>
                  </a:lnTo>
                  <a:lnTo>
                    <a:pt x="2666" y="824"/>
                  </a:lnTo>
                  <a:lnTo>
                    <a:pt x="2668" y="824"/>
                  </a:lnTo>
                  <a:lnTo>
                    <a:pt x="2670" y="824"/>
                  </a:lnTo>
                  <a:lnTo>
                    <a:pt x="2678" y="820"/>
                  </a:lnTo>
                  <a:lnTo>
                    <a:pt x="2684" y="820"/>
                  </a:lnTo>
                  <a:lnTo>
                    <a:pt x="2690" y="820"/>
                  </a:lnTo>
                  <a:lnTo>
                    <a:pt x="2688" y="816"/>
                  </a:lnTo>
                  <a:lnTo>
                    <a:pt x="2688" y="810"/>
                  </a:lnTo>
                  <a:lnTo>
                    <a:pt x="2688" y="806"/>
                  </a:lnTo>
                  <a:lnTo>
                    <a:pt x="2684" y="808"/>
                  </a:lnTo>
                  <a:close/>
                  <a:moveTo>
                    <a:pt x="2600" y="1904"/>
                  </a:moveTo>
                  <a:lnTo>
                    <a:pt x="2600" y="1904"/>
                  </a:lnTo>
                  <a:lnTo>
                    <a:pt x="2596" y="1910"/>
                  </a:lnTo>
                  <a:lnTo>
                    <a:pt x="2592" y="1916"/>
                  </a:lnTo>
                  <a:lnTo>
                    <a:pt x="2586" y="1918"/>
                  </a:lnTo>
                  <a:lnTo>
                    <a:pt x="2580" y="1918"/>
                  </a:lnTo>
                  <a:lnTo>
                    <a:pt x="2574" y="1918"/>
                  </a:lnTo>
                  <a:lnTo>
                    <a:pt x="2566" y="1914"/>
                  </a:lnTo>
                  <a:lnTo>
                    <a:pt x="2548" y="1906"/>
                  </a:lnTo>
                  <a:lnTo>
                    <a:pt x="2540" y="1900"/>
                  </a:lnTo>
                  <a:lnTo>
                    <a:pt x="2534" y="1892"/>
                  </a:lnTo>
                  <a:lnTo>
                    <a:pt x="2530" y="1884"/>
                  </a:lnTo>
                  <a:lnTo>
                    <a:pt x="2528" y="1876"/>
                  </a:lnTo>
                  <a:lnTo>
                    <a:pt x="2522" y="1856"/>
                  </a:lnTo>
                  <a:lnTo>
                    <a:pt x="2518" y="1848"/>
                  </a:lnTo>
                  <a:lnTo>
                    <a:pt x="2514" y="1840"/>
                  </a:lnTo>
                  <a:lnTo>
                    <a:pt x="2508" y="1834"/>
                  </a:lnTo>
                  <a:lnTo>
                    <a:pt x="2504" y="1832"/>
                  </a:lnTo>
                  <a:lnTo>
                    <a:pt x="2504" y="1834"/>
                  </a:lnTo>
                  <a:lnTo>
                    <a:pt x="2504" y="1838"/>
                  </a:lnTo>
                  <a:lnTo>
                    <a:pt x="2506" y="1850"/>
                  </a:lnTo>
                  <a:lnTo>
                    <a:pt x="2512" y="1868"/>
                  </a:lnTo>
                  <a:lnTo>
                    <a:pt x="2514" y="1874"/>
                  </a:lnTo>
                  <a:lnTo>
                    <a:pt x="2512" y="1876"/>
                  </a:lnTo>
                  <a:lnTo>
                    <a:pt x="2506" y="1874"/>
                  </a:lnTo>
                  <a:lnTo>
                    <a:pt x="2498" y="1868"/>
                  </a:lnTo>
                  <a:lnTo>
                    <a:pt x="2490" y="1862"/>
                  </a:lnTo>
                  <a:lnTo>
                    <a:pt x="2484" y="1854"/>
                  </a:lnTo>
                  <a:lnTo>
                    <a:pt x="2482" y="1844"/>
                  </a:lnTo>
                  <a:lnTo>
                    <a:pt x="2482" y="1836"/>
                  </a:lnTo>
                  <a:lnTo>
                    <a:pt x="2482" y="1830"/>
                  </a:lnTo>
                  <a:lnTo>
                    <a:pt x="2482" y="1826"/>
                  </a:lnTo>
                  <a:lnTo>
                    <a:pt x="2478" y="1818"/>
                  </a:lnTo>
                  <a:lnTo>
                    <a:pt x="2474" y="1810"/>
                  </a:lnTo>
                  <a:lnTo>
                    <a:pt x="2472" y="1806"/>
                  </a:lnTo>
                  <a:lnTo>
                    <a:pt x="2472" y="1802"/>
                  </a:lnTo>
                  <a:lnTo>
                    <a:pt x="2472" y="1792"/>
                  </a:lnTo>
                  <a:lnTo>
                    <a:pt x="2470" y="1786"/>
                  </a:lnTo>
                  <a:lnTo>
                    <a:pt x="2466" y="1780"/>
                  </a:lnTo>
                  <a:lnTo>
                    <a:pt x="2462" y="1770"/>
                  </a:lnTo>
                  <a:lnTo>
                    <a:pt x="2454" y="1762"/>
                  </a:lnTo>
                  <a:lnTo>
                    <a:pt x="2448" y="1758"/>
                  </a:lnTo>
                  <a:lnTo>
                    <a:pt x="2440" y="1754"/>
                  </a:lnTo>
                  <a:lnTo>
                    <a:pt x="2428" y="1752"/>
                  </a:lnTo>
                  <a:lnTo>
                    <a:pt x="2424" y="1750"/>
                  </a:lnTo>
                  <a:lnTo>
                    <a:pt x="2422" y="1748"/>
                  </a:lnTo>
                  <a:lnTo>
                    <a:pt x="2418" y="1738"/>
                  </a:lnTo>
                  <a:lnTo>
                    <a:pt x="2412" y="1730"/>
                  </a:lnTo>
                  <a:lnTo>
                    <a:pt x="2408" y="1726"/>
                  </a:lnTo>
                  <a:lnTo>
                    <a:pt x="2402" y="1726"/>
                  </a:lnTo>
                  <a:lnTo>
                    <a:pt x="2394" y="1726"/>
                  </a:lnTo>
                  <a:lnTo>
                    <a:pt x="2394" y="1728"/>
                  </a:lnTo>
                  <a:lnTo>
                    <a:pt x="2394" y="1730"/>
                  </a:lnTo>
                  <a:lnTo>
                    <a:pt x="2400" y="1736"/>
                  </a:lnTo>
                  <a:lnTo>
                    <a:pt x="2410" y="1748"/>
                  </a:lnTo>
                  <a:lnTo>
                    <a:pt x="2414" y="1754"/>
                  </a:lnTo>
                  <a:lnTo>
                    <a:pt x="2416" y="1758"/>
                  </a:lnTo>
                  <a:lnTo>
                    <a:pt x="2416" y="1762"/>
                  </a:lnTo>
                  <a:lnTo>
                    <a:pt x="2416" y="1764"/>
                  </a:lnTo>
                  <a:lnTo>
                    <a:pt x="2414" y="1768"/>
                  </a:lnTo>
                  <a:lnTo>
                    <a:pt x="2420" y="1776"/>
                  </a:lnTo>
                  <a:lnTo>
                    <a:pt x="2426" y="1784"/>
                  </a:lnTo>
                  <a:lnTo>
                    <a:pt x="2430" y="1794"/>
                  </a:lnTo>
                  <a:lnTo>
                    <a:pt x="2440" y="1814"/>
                  </a:lnTo>
                  <a:lnTo>
                    <a:pt x="2444" y="1822"/>
                  </a:lnTo>
                  <a:lnTo>
                    <a:pt x="2448" y="1828"/>
                  </a:lnTo>
                  <a:lnTo>
                    <a:pt x="2452" y="1830"/>
                  </a:lnTo>
                  <a:lnTo>
                    <a:pt x="2454" y="1826"/>
                  </a:lnTo>
                  <a:lnTo>
                    <a:pt x="2456" y="1822"/>
                  </a:lnTo>
                  <a:lnTo>
                    <a:pt x="2460" y="1822"/>
                  </a:lnTo>
                  <a:lnTo>
                    <a:pt x="2464" y="1830"/>
                  </a:lnTo>
                  <a:lnTo>
                    <a:pt x="2466" y="1840"/>
                  </a:lnTo>
                  <a:lnTo>
                    <a:pt x="2466" y="1842"/>
                  </a:lnTo>
                  <a:lnTo>
                    <a:pt x="2464" y="1842"/>
                  </a:lnTo>
                  <a:lnTo>
                    <a:pt x="2458" y="1838"/>
                  </a:lnTo>
                  <a:lnTo>
                    <a:pt x="2458" y="1842"/>
                  </a:lnTo>
                  <a:lnTo>
                    <a:pt x="2474" y="1878"/>
                  </a:lnTo>
                  <a:lnTo>
                    <a:pt x="2480" y="1892"/>
                  </a:lnTo>
                  <a:lnTo>
                    <a:pt x="2482" y="1902"/>
                  </a:lnTo>
                  <a:lnTo>
                    <a:pt x="2482" y="1910"/>
                  </a:lnTo>
                  <a:lnTo>
                    <a:pt x="2482" y="1916"/>
                  </a:lnTo>
                  <a:lnTo>
                    <a:pt x="2478" y="1928"/>
                  </a:lnTo>
                  <a:lnTo>
                    <a:pt x="2476" y="1936"/>
                  </a:lnTo>
                  <a:lnTo>
                    <a:pt x="2476" y="1946"/>
                  </a:lnTo>
                  <a:lnTo>
                    <a:pt x="2476" y="1954"/>
                  </a:lnTo>
                  <a:lnTo>
                    <a:pt x="2472" y="1962"/>
                  </a:lnTo>
                  <a:lnTo>
                    <a:pt x="2466" y="1968"/>
                  </a:lnTo>
                  <a:lnTo>
                    <a:pt x="2460" y="1972"/>
                  </a:lnTo>
                  <a:lnTo>
                    <a:pt x="2446" y="1980"/>
                  </a:lnTo>
                  <a:lnTo>
                    <a:pt x="2442" y="1984"/>
                  </a:lnTo>
                  <a:lnTo>
                    <a:pt x="2440" y="1988"/>
                  </a:lnTo>
                  <a:lnTo>
                    <a:pt x="2440" y="1994"/>
                  </a:lnTo>
                  <a:lnTo>
                    <a:pt x="2444" y="2000"/>
                  </a:lnTo>
                  <a:lnTo>
                    <a:pt x="2456" y="2010"/>
                  </a:lnTo>
                  <a:lnTo>
                    <a:pt x="2474" y="2020"/>
                  </a:lnTo>
                  <a:lnTo>
                    <a:pt x="2488" y="2028"/>
                  </a:lnTo>
                  <a:lnTo>
                    <a:pt x="2494" y="2032"/>
                  </a:lnTo>
                  <a:lnTo>
                    <a:pt x="2496" y="2040"/>
                  </a:lnTo>
                  <a:lnTo>
                    <a:pt x="2498" y="2048"/>
                  </a:lnTo>
                  <a:lnTo>
                    <a:pt x="2496" y="2058"/>
                  </a:lnTo>
                  <a:lnTo>
                    <a:pt x="2492" y="2076"/>
                  </a:lnTo>
                  <a:lnTo>
                    <a:pt x="2488" y="2082"/>
                  </a:lnTo>
                  <a:lnTo>
                    <a:pt x="2484" y="2088"/>
                  </a:lnTo>
                  <a:lnTo>
                    <a:pt x="2478" y="2092"/>
                  </a:lnTo>
                  <a:lnTo>
                    <a:pt x="2474" y="2098"/>
                  </a:lnTo>
                  <a:lnTo>
                    <a:pt x="2474" y="2100"/>
                  </a:lnTo>
                  <a:lnTo>
                    <a:pt x="2476" y="2100"/>
                  </a:lnTo>
                  <a:lnTo>
                    <a:pt x="2488" y="2106"/>
                  </a:lnTo>
                  <a:lnTo>
                    <a:pt x="2492" y="2108"/>
                  </a:lnTo>
                  <a:lnTo>
                    <a:pt x="2494" y="2110"/>
                  </a:lnTo>
                  <a:lnTo>
                    <a:pt x="2498" y="2116"/>
                  </a:lnTo>
                  <a:lnTo>
                    <a:pt x="2498" y="2120"/>
                  </a:lnTo>
                  <a:lnTo>
                    <a:pt x="2502" y="2120"/>
                  </a:lnTo>
                  <a:lnTo>
                    <a:pt x="2506" y="2118"/>
                  </a:lnTo>
                  <a:lnTo>
                    <a:pt x="2512" y="2114"/>
                  </a:lnTo>
                  <a:lnTo>
                    <a:pt x="2520" y="2108"/>
                  </a:lnTo>
                  <a:lnTo>
                    <a:pt x="2530" y="2094"/>
                  </a:lnTo>
                  <a:lnTo>
                    <a:pt x="2552" y="2062"/>
                  </a:lnTo>
                  <a:lnTo>
                    <a:pt x="2560" y="2044"/>
                  </a:lnTo>
                  <a:lnTo>
                    <a:pt x="2568" y="2028"/>
                  </a:lnTo>
                  <a:lnTo>
                    <a:pt x="2570" y="2016"/>
                  </a:lnTo>
                  <a:lnTo>
                    <a:pt x="2570" y="2010"/>
                  </a:lnTo>
                  <a:lnTo>
                    <a:pt x="2568" y="2006"/>
                  </a:lnTo>
                  <a:lnTo>
                    <a:pt x="2566" y="2002"/>
                  </a:lnTo>
                  <a:lnTo>
                    <a:pt x="2568" y="1998"/>
                  </a:lnTo>
                  <a:lnTo>
                    <a:pt x="2570" y="1992"/>
                  </a:lnTo>
                  <a:lnTo>
                    <a:pt x="2574" y="1986"/>
                  </a:lnTo>
                  <a:lnTo>
                    <a:pt x="2580" y="1982"/>
                  </a:lnTo>
                  <a:lnTo>
                    <a:pt x="2586" y="1980"/>
                  </a:lnTo>
                  <a:lnTo>
                    <a:pt x="2594" y="1982"/>
                  </a:lnTo>
                  <a:lnTo>
                    <a:pt x="2602" y="1986"/>
                  </a:lnTo>
                  <a:lnTo>
                    <a:pt x="2608" y="1990"/>
                  </a:lnTo>
                  <a:lnTo>
                    <a:pt x="2610" y="1990"/>
                  </a:lnTo>
                  <a:lnTo>
                    <a:pt x="2612" y="1988"/>
                  </a:lnTo>
                  <a:lnTo>
                    <a:pt x="2612" y="1984"/>
                  </a:lnTo>
                  <a:lnTo>
                    <a:pt x="2610" y="1978"/>
                  </a:lnTo>
                  <a:lnTo>
                    <a:pt x="2608" y="1970"/>
                  </a:lnTo>
                  <a:lnTo>
                    <a:pt x="2608" y="1964"/>
                  </a:lnTo>
                  <a:lnTo>
                    <a:pt x="2610" y="1958"/>
                  </a:lnTo>
                  <a:lnTo>
                    <a:pt x="2612" y="1956"/>
                  </a:lnTo>
                  <a:lnTo>
                    <a:pt x="2614" y="1954"/>
                  </a:lnTo>
                  <a:lnTo>
                    <a:pt x="2620" y="1952"/>
                  </a:lnTo>
                  <a:lnTo>
                    <a:pt x="2624" y="1948"/>
                  </a:lnTo>
                  <a:lnTo>
                    <a:pt x="2626" y="1942"/>
                  </a:lnTo>
                  <a:lnTo>
                    <a:pt x="2626" y="1934"/>
                  </a:lnTo>
                  <a:lnTo>
                    <a:pt x="2628" y="1920"/>
                  </a:lnTo>
                  <a:lnTo>
                    <a:pt x="2628" y="1912"/>
                  </a:lnTo>
                  <a:lnTo>
                    <a:pt x="2630" y="1908"/>
                  </a:lnTo>
                  <a:lnTo>
                    <a:pt x="2632" y="1904"/>
                  </a:lnTo>
                  <a:lnTo>
                    <a:pt x="2630" y="1900"/>
                  </a:lnTo>
                  <a:lnTo>
                    <a:pt x="2626" y="1896"/>
                  </a:lnTo>
                  <a:lnTo>
                    <a:pt x="2620" y="1894"/>
                  </a:lnTo>
                  <a:lnTo>
                    <a:pt x="2614" y="1894"/>
                  </a:lnTo>
                  <a:lnTo>
                    <a:pt x="2608" y="1896"/>
                  </a:lnTo>
                  <a:lnTo>
                    <a:pt x="2604" y="1900"/>
                  </a:lnTo>
                  <a:lnTo>
                    <a:pt x="2600" y="1904"/>
                  </a:lnTo>
                  <a:close/>
                  <a:moveTo>
                    <a:pt x="2636" y="868"/>
                  </a:moveTo>
                  <a:lnTo>
                    <a:pt x="2636" y="868"/>
                  </a:lnTo>
                  <a:lnTo>
                    <a:pt x="2636" y="864"/>
                  </a:lnTo>
                  <a:lnTo>
                    <a:pt x="2634" y="860"/>
                  </a:lnTo>
                  <a:lnTo>
                    <a:pt x="2630" y="856"/>
                  </a:lnTo>
                  <a:lnTo>
                    <a:pt x="2626" y="854"/>
                  </a:lnTo>
                  <a:lnTo>
                    <a:pt x="2616" y="850"/>
                  </a:lnTo>
                  <a:lnTo>
                    <a:pt x="2606" y="852"/>
                  </a:lnTo>
                  <a:lnTo>
                    <a:pt x="2596" y="858"/>
                  </a:lnTo>
                  <a:lnTo>
                    <a:pt x="2588" y="864"/>
                  </a:lnTo>
                  <a:lnTo>
                    <a:pt x="2582" y="870"/>
                  </a:lnTo>
                  <a:lnTo>
                    <a:pt x="2580" y="876"/>
                  </a:lnTo>
                  <a:lnTo>
                    <a:pt x="2580" y="880"/>
                  </a:lnTo>
                  <a:lnTo>
                    <a:pt x="2580" y="882"/>
                  </a:lnTo>
                  <a:lnTo>
                    <a:pt x="2582" y="886"/>
                  </a:lnTo>
                  <a:lnTo>
                    <a:pt x="2586" y="888"/>
                  </a:lnTo>
                  <a:lnTo>
                    <a:pt x="2600" y="892"/>
                  </a:lnTo>
                  <a:lnTo>
                    <a:pt x="2610" y="896"/>
                  </a:lnTo>
                  <a:lnTo>
                    <a:pt x="2616" y="894"/>
                  </a:lnTo>
                  <a:lnTo>
                    <a:pt x="2620" y="890"/>
                  </a:lnTo>
                  <a:lnTo>
                    <a:pt x="2624" y="888"/>
                  </a:lnTo>
                  <a:lnTo>
                    <a:pt x="2626" y="886"/>
                  </a:lnTo>
                  <a:lnTo>
                    <a:pt x="2630" y="888"/>
                  </a:lnTo>
                  <a:lnTo>
                    <a:pt x="2636" y="890"/>
                  </a:lnTo>
                  <a:lnTo>
                    <a:pt x="2638" y="890"/>
                  </a:lnTo>
                  <a:lnTo>
                    <a:pt x="2640" y="888"/>
                  </a:lnTo>
                  <a:lnTo>
                    <a:pt x="2642" y="886"/>
                  </a:lnTo>
                  <a:lnTo>
                    <a:pt x="2640" y="882"/>
                  </a:lnTo>
                  <a:lnTo>
                    <a:pt x="2636" y="876"/>
                  </a:lnTo>
                  <a:lnTo>
                    <a:pt x="2636" y="872"/>
                  </a:lnTo>
                  <a:lnTo>
                    <a:pt x="2636" y="868"/>
                  </a:lnTo>
                  <a:close/>
                  <a:moveTo>
                    <a:pt x="2260" y="930"/>
                  </a:moveTo>
                  <a:lnTo>
                    <a:pt x="2260" y="930"/>
                  </a:lnTo>
                  <a:lnTo>
                    <a:pt x="2260" y="928"/>
                  </a:lnTo>
                  <a:lnTo>
                    <a:pt x="2262" y="924"/>
                  </a:lnTo>
                  <a:lnTo>
                    <a:pt x="2258" y="918"/>
                  </a:lnTo>
                  <a:lnTo>
                    <a:pt x="2254" y="912"/>
                  </a:lnTo>
                  <a:lnTo>
                    <a:pt x="2252" y="912"/>
                  </a:lnTo>
                  <a:lnTo>
                    <a:pt x="2248" y="914"/>
                  </a:lnTo>
                  <a:lnTo>
                    <a:pt x="2248" y="918"/>
                  </a:lnTo>
                  <a:lnTo>
                    <a:pt x="2248" y="920"/>
                  </a:lnTo>
                  <a:lnTo>
                    <a:pt x="2250" y="926"/>
                  </a:lnTo>
                  <a:lnTo>
                    <a:pt x="2256" y="930"/>
                  </a:lnTo>
                  <a:lnTo>
                    <a:pt x="2258" y="930"/>
                  </a:lnTo>
                  <a:lnTo>
                    <a:pt x="2260" y="930"/>
                  </a:lnTo>
                  <a:close/>
                  <a:moveTo>
                    <a:pt x="2258" y="948"/>
                  </a:moveTo>
                  <a:lnTo>
                    <a:pt x="2258" y="948"/>
                  </a:lnTo>
                  <a:lnTo>
                    <a:pt x="2256" y="950"/>
                  </a:lnTo>
                  <a:lnTo>
                    <a:pt x="2256" y="954"/>
                  </a:lnTo>
                  <a:lnTo>
                    <a:pt x="2258" y="960"/>
                  </a:lnTo>
                  <a:lnTo>
                    <a:pt x="2262" y="964"/>
                  </a:lnTo>
                  <a:lnTo>
                    <a:pt x="2266" y="966"/>
                  </a:lnTo>
                  <a:lnTo>
                    <a:pt x="2268" y="964"/>
                  </a:lnTo>
                  <a:lnTo>
                    <a:pt x="2268" y="962"/>
                  </a:lnTo>
                  <a:lnTo>
                    <a:pt x="2266" y="954"/>
                  </a:lnTo>
                  <a:lnTo>
                    <a:pt x="2262" y="948"/>
                  </a:lnTo>
                  <a:lnTo>
                    <a:pt x="2260" y="948"/>
                  </a:lnTo>
                  <a:lnTo>
                    <a:pt x="2258" y="948"/>
                  </a:lnTo>
                  <a:close/>
                  <a:moveTo>
                    <a:pt x="1490" y="460"/>
                  </a:moveTo>
                  <a:lnTo>
                    <a:pt x="1490" y="460"/>
                  </a:lnTo>
                  <a:lnTo>
                    <a:pt x="1492" y="462"/>
                  </a:lnTo>
                  <a:lnTo>
                    <a:pt x="1494" y="464"/>
                  </a:lnTo>
                  <a:lnTo>
                    <a:pt x="1496" y="462"/>
                  </a:lnTo>
                  <a:lnTo>
                    <a:pt x="1496" y="460"/>
                  </a:lnTo>
                  <a:lnTo>
                    <a:pt x="1496" y="454"/>
                  </a:lnTo>
                  <a:lnTo>
                    <a:pt x="1494" y="448"/>
                  </a:lnTo>
                  <a:lnTo>
                    <a:pt x="1490" y="446"/>
                  </a:lnTo>
                  <a:lnTo>
                    <a:pt x="1486" y="448"/>
                  </a:lnTo>
                  <a:lnTo>
                    <a:pt x="1486" y="452"/>
                  </a:lnTo>
                  <a:lnTo>
                    <a:pt x="1490" y="460"/>
                  </a:lnTo>
                  <a:close/>
                  <a:moveTo>
                    <a:pt x="1532" y="492"/>
                  </a:moveTo>
                  <a:lnTo>
                    <a:pt x="1532" y="492"/>
                  </a:lnTo>
                  <a:lnTo>
                    <a:pt x="1534" y="486"/>
                  </a:lnTo>
                  <a:lnTo>
                    <a:pt x="1534" y="482"/>
                  </a:lnTo>
                  <a:lnTo>
                    <a:pt x="1532" y="482"/>
                  </a:lnTo>
                  <a:lnTo>
                    <a:pt x="1530" y="482"/>
                  </a:lnTo>
                  <a:lnTo>
                    <a:pt x="1528" y="484"/>
                  </a:lnTo>
                  <a:lnTo>
                    <a:pt x="1526" y="484"/>
                  </a:lnTo>
                  <a:lnTo>
                    <a:pt x="1522" y="480"/>
                  </a:lnTo>
                  <a:lnTo>
                    <a:pt x="1518" y="478"/>
                  </a:lnTo>
                  <a:lnTo>
                    <a:pt x="1516" y="478"/>
                  </a:lnTo>
                  <a:lnTo>
                    <a:pt x="1518" y="486"/>
                  </a:lnTo>
                  <a:lnTo>
                    <a:pt x="1522" y="492"/>
                  </a:lnTo>
                  <a:lnTo>
                    <a:pt x="1528" y="496"/>
                  </a:lnTo>
                  <a:lnTo>
                    <a:pt x="1532" y="496"/>
                  </a:lnTo>
                  <a:lnTo>
                    <a:pt x="1532" y="492"/>
                  </a:lnTo>
                  <a:close/>
                  <a:moveTo>
                    <a:pt x="1520" y="466"/>
                  </a:moveTo>
                  <a:lnTo>
                    <a:pt x="1520" y="466"/>
                  </a:lnTo>
                  <a:lnTo>
                    <a:pt x="1516" y="458"/>
                  </a:lnTo>
                  <a:lnTo>
                    <a:pt x="1512" y="454"/>
                  </a:lnTo>
                  <a:lnTo>
                    <a:pt x="1508" y="454"/>
                  </a:lnTo>
                  <a:lnTo>
                    <a:pt x="1506" y="454"/>
                  </a:lnTo>
                  <a:lnTo>
                    <a:pt x="1504" y="456"/>
                  </a:lnTo>
                  <a:lnTo>
                    <a:pt x="1502" y="460"/>
                  </a:lnTo>
                  <a:lnTo>
                    <a:pt x="1500" y="468"/>
                  </a:lnTo>
                  <a:lnTo>
                    <a:pt x="1500" y="470"/>
                  </a:lnTo>
                  <a:lnTo>
                    <a:pt x="1504" y="470"/>
                  </a:lnTo>
                  <a:lnTo>
                    <a:pt x="1514" y="472"/>
                  </a:lnTo>
                  <a:lnTo>
                    <a:pt x="1518" y="470"/>
                  </a:lnTo>
                  <a:lnTo>
                    <a:pt x="1520" y="466"/>
                  </a:lnTo>
                  <a:close/>
                  <a:moveTo>
                    <a:pt x="1400" y="268"/>
                  </a:moveTo>
                  <a:lnTo>
                    <a:pt x="1400" y="268"/>
                  </a:lnTo>
                  <a:lnTo>
                    <a:pt x="1394" y="264"/>
                  </a:lnTo>
                  <a:lnTo>
                    <a:pt x="1392" y="264"/>
                  </a:lnTo>
                  <a:lnTo>
                    <a:pt x="1390" y="266"/>
                  </a:lnTo>
                  <a:lnTo>
                    <a:pt x="1392" y="272"/>
                  </a:lnTo>
                  <a:lnTo>
                    <a:pt x="1396" y="280"/>
                  </a:lnTo>
                  <a:lnTo>
                    <a:pt x="1398" y="282"/>
                  </a:lnTo>
                  <a:lnTo>
                    <a:pt x="1400" y="284"/>
                  </a:lnTo>
                  <a:lnTo>
                    <a:pt x="1402" y="282"/>
                  </a:lnTo>
                  <a:lnTo>
                    <a:pt x="1404" y="280"/>
                  </a:lnTo>
                  <a:lnTo>
                    <a:pt x="1404" y="274"/>
                  </a:lnTo>
                  <a:lnTo>
                    <a:pt x="1402" y="272"/>
                  </a:lnTo>
                  <a:lnTo>
                    <a:pt x="1400" y="268"/>
                  </a:lnTo>
                  <a:close/>
                  <a:moveTo>
                    <a:pt x="1360" y="254"/>
                  </a:moveTo>
                  <a:lnTo>
                    <a:pt x="1360" y="254"/>
                  </a:lnTo>
                  <a:lnTo>
                    <a:pt x="1360" y="256"/>
                  </a:lnTo>
                  <a:lnTo>
                    <a:pt x="1360" y="260"/>
                  </a:lnTo>
                  <a:lnTo>
                    <a:pt x="1362" y="264"/>
                  </a:lnTo>
                  <a:lnTo>
                    <a:pt x="1368" y="266"/>
                  </a:lnTo>
                  <a:lnTo>
                    <a:pt x="1372" y="264"/>
                  </a:lnTo>
                  <a:lnTo>
                    <a:pt x="1372" y="262"/>
                  </a:lnTo>
                  <a:lnTo>
                    <a:pt x="1372" y="260"/>
                  </a:lnTo>
                  <a:lnTo>
                    <a:pt x="1370" y="254"/>
                  </a:lnTo>
                  <a:lnTo>
                    <a:pt x="1366" y="252"/>
                  </a:lnTo>
                  <a:lnTo>
                    <a:pt x="1364" y="252"/>
                  </a:lnTo>
                  <a:lnTo>
                    <a:pt x="1360" y="254"/>
                  </a:lnTo>
                  <a:close/>
                  <a:moveTo>
                    <a:pt x="1320" y="218"/>
                  </a:moveTo>
                  <a:lnTo>
                    <a:pt x="1320" y="218"/>
                  </a:lnTo>
                  <a:lnTo>
                    <a:pt x="1318" y="216"/>
                  </a:lnTo>
                  <a:lnTo>
                    <a:pt x="1316" y="218"/>
                  </a:lnTo>
                  <a:lnTo>
                    <a:pt x="1314" y="220"/>
                  </a:lnTo>
                  <a:lnTo>
                    <a:pt x="1314" y="226"/>
                  </a:lnTo>
                  <a:lnTo>
                    <a:pt x="1316" y="232"/>
                  </a:lnTo>
                  <a:lnTo>
                    <a:pt x="1318" y="232"/>
                  </a:lnTo>
                  <a:lnTo>
                    <a:pt x="1320" y="232"/>
                  </a:lnTo>
                  <a:lnTo>
                    <a:pt x="1324" y="228"/>
                  </a:lnTo>
                  <a:lnTo>
                    <a:pt x="1324" y="224"/>
                  </a:lnTo>
                  <a:lnTo>
                    <a:pt x="1324" y="220"/>
                  </a:lnTo>
                  <a:lnTo>
                    <a:pt x="1320" y="218"/>
                  </a:lnTo>
                  <a:close/>
                  <a:moveTo>
                    <a:pt x="1360" y="106"/>
                  </a:moveTo>
                  <a:lnTo>
                    <a:pt x="1360" y="106"/>
                  </a:lnTo>
                  <a:lnTo>
                    <a:pt x="1370" y="106"/>
                  </a:lnTo>
                  <a:lnTo>
                    <a:pt x="1376" y="102"/>
                  </a:lnTo>
                  <a:lnTo>
                    <a:pt x="1376" y="100"/>
                  </a:lnTo>
                  <a:lnTo>
                    <a:pt x="1376" y="98"/>
                  </a:lnTo>
                  <a:lnTo>
                    <a:pt x="1374" y="98"/>
                  </a:lnTo>
                  <a:lnTo>
                    <a:pt x="1370" y="96"/>
                  </a:lnTo>
                  <a:lnTo>
                    <a:pt x="1362" y="94"/>
                  </a:lnTo>
                  <a:lnTo>
                    <a:pt x="1352" y="94"/>
                  </a:lnTo>
                  <a:lnTo>
                    <a:pt x="1344" y="96"/>
                  </a:lnTo>
                  <a:lnTo>
                    <a:pt x="1342" y="100"/>
                  </a:lnTo>
                  <a:lnTo>
                    <a:pt x="1340" y="102"/>
                  </a:lnTo>
                  <a:lnTo>
                    <a:pt x="1340" y="108"/>
                  </a:lnTo>
                  <a:lnTo>
                    <a:pt x="1344" y="108"/>
                  </a:lnTo>
                  <a:lnTo>
                    <a:pt x="1352" y="108"/>
                  </a:lnTo>
                  <a:lnTo>
                    <a:pt x="1360" y="106"/>
                  </a:lnTo>
                  <a:close/>
                  <a:moveTo>
                    <a:pt x="918" y="88"/>
                  </a:moveTo>
                  <a:lnTo>
                    <a:pt x="918" y="88"/>
                  </a:lnTo>
                  <a:lnTo>
                    <a:pt x="922" y="90"/>
                  </a:lnTo>
                  <a:lnTo>
                    <a:pt x="926" y="92"/>
                  </a:lnTo>
                  <a:lnTo>
                    <a:pt x="948" y="88"/>
                  </a:lnTo>
                  <a:lnTo>
                    <a:pt x="958" y="84"/>
                  </a:lnTo>
                  <a:lnTo>
                    <a:pt x="954" y="82"/>
                  </a:lnTo>
                  <a:lnTo>
                    <a:pt x="920" y="78"/>
                  </a:lnTo>
                  <a:lnTo>
                    <a:pt x="906" y="76"/>
                  </a:lnTo>
                  <a:lnTo>
                    <a:pt x="902" y="78"/>
                  </a:lnTo>
                  <a:lnTo>
                    <a:pt x="908" y="80"/>
                  </a:lnTo>
                  <a:lnTo>
                    <a:pt x="918" y="88"/>
                  </a:lnTo>
                  <a:close/>
                  <a:moveTo>
                    <a:pt x="910" y="44"/>
                  </a:moveTo>
                  <a:lnTo>
                    <a:pt x="910" y="44"/>
                  </a:lnTo>
                  <a:lnTo>
                    <a:pt x="912" y="46"/>
                  </a:lnTo>
                  <a:lnTo>
                    <a:pt x="914" y="48"/>
                  </a:lnTo>
                  <a:lnTo>
                    <a:pt x="914" y="54"/>
                  </a:lnTo>
                  <a:lnTo>
                    <a:pt x="916" y="56"/>
                  </a:lnTo>
                  <a:lnTo>
                    <a:pt x="918" y="56"/>
                  </a:lnTo>
                  <a:lnTo>
                    <a:pt x="922" y="58"/>
                  </a:lnTo>
                  <a:lnTo>
                    <a:pt x="930" y="56"/>
                  </a:lnTo>
                  <a:lnTo>
                    <a:pt x="936" y="54"/>
                  </a:lnTo>
                  <a:lnTo>
                    <a:pt x="938" y="52"/>
                  </a:lnTo>
                  <a:lnTo>
                    <a:pt x="936" y="50"/>
                  </a:lnTo>
                  <a:lnTo>
                    <a:pt x="928" y="46"/>
                  </a:lnTo>
                  <a:lnTo>
                    <a:pt x="924" y="44"/>
                  </a:lnTo>
                  <a:lnTo>
                    <a:pt x="920" y="38"/>
                  </a:lnTo>
                  <a:lnTo>
                    <a:pt x="916" y="34"/>
                  </a:lnTo>
                  <a:lnTo>
                    <a:pt x="906" y="30"/>
                  </a:lnTo>
                  <a:lnTo>
                    <a:pt x="896" y="30"/>
                  </a:lnTo>
                  <a:lnTo>
                    <a:pt x="894" y="30"/>
                  </a:lnTo>
                  <a:lnTo>
                    <a:pt x="896" y="32"/>
                  </a:lnTo>
                  <a:lnTo>
                    <a:pt x="902" y="38"/>
                  </a:lnTo>
                  <a:lnTo>
                    <a:pt x="910" y="44"/>
                  </a:lnTo>
                  <a:close/>
                  <a:moveTo>
                    <a:pt x="868" y="284"/>
                  </a:moveTo>
                  <a:lnTo>
                    <a:pt x="868" y="284"/>
                  </a:lnTo>
                  <a:lnTo>
                    <a:pt x="866" y="272"/>
                  </a:lnTo>
                  <a:lnTo>
                    <a:pt x="862" y="266"/>
                  </a:lnTo>
                  <a:lnTo>
                    <a:pt x="860" y="264"/>
                  </a:lnTo>
                  <a:lnTo>
                    <a:pt x="858" y="264"/>
                  </a:lnTo>
                  <a:lnTo>
                    <a:pt x="856" y="270"/>
                  </a:lnTo>
                  <a:lnTo>
                    <a:pt x="852" y="276"/>
                  </a:lnTo>
                  <a:lnTo>
                    <a:pt x="850" y="276"/>
                  </a:lnTo>
                  <a:lnTo>
                    <a:pt x="848" y="276"/>
                  </a:lnTo>
                  <a:lnTo>
                    <a:pt x="846" y="278"/>
                  </a:lnTo>
                  <a:lnTo>
                    <a:pt x="848" y="280"/>
                  </a:lnTo>
                  <a:lnTo>
                    <a:pt x="848" y="282"/>
                  </a:lnTo>
                  <a:lnTo>
                    <a:pt x="850" y="284"/>
                  </a:lnTo>
                  <a:lnTo>
                    <a:pt x="850" y="288"/>
                  </a:lnTo>
                  <a:lnTo>
                    <a:pt x="850" y="296"/>
                  </a:lnTo>
                  <a:lnTo>
                    <a:pt x="852" y="300"/>
                  </a:lnTo>
                  <a:lnTo>
                    <a:pt x="860" y="308"/>
                  </a:lnTo>
                  <a:lnTo>
                    <a:pt x="864" y="310"/>
                  </a:lnTo>
                  <a:lnTo>
                    <a:pt x="866" y="306"/>
                  </a:lnTo>
                  <a:lnTo>
                    <a:pt x="868" y="298"/>
                  </a:lnTo>
                  <a:lnTo>
                    <a:pt x="868" y="284"/>
                  </a:lnTo>
                  <a:close/>
                  <a:moveTo>
                    <a:pt x="852" y="306"/>
                  </a:moveTo>
                  <a:lnTo>
                    <a:pt x="852" y="306"/>
                  </a:lnTo>
                  <a:lnTo>
                    <a:pt x="848" y="302"/>
                  </a:lnTo>
                  <a:lnTo>
                    <a:pt x="846" y="298"/>
                  </a:lnTo>
                  <a:lnTo>
                    <a:pt x="844" y="296"/>
                  </a:lnTo>
                  <a:lnTo>
                    <a:pt x="844" y="302"/>
                  </a:lnTo>
                  <a:lnTo>
                    <a:pt x="846" y="304"/>
                  </a:lnTo>
                  <a:lnTo>
                    <a:pt x="852" y="310"/>
                  </a:lnTo>
                  <a:lnTo>
                    <a:pt x="858" y="318"/>
                  </a:lnTo>
                  <a:lnTo>
                    <a:pt x="858" y="314"/>
                  </a:lnTo>
                  <a:lnTo>
                    <a:pt x="856" y="310"/>
                  </a:lnTo>
                  <a:lnTo>
                    <a:pt x="852" y="306"/>
                  </a:lnTo>
                  <a:close/>
                  <a:moveTo>
                    <a:pt x="1028" y="396"/>
                  </a:moveTo>
                  <a:lnTo>
                    <a:pt x="1028" y="396"/>
                  </a:lnTo>
                  <a:lnTo>
                    <a:pt x="1032" y="394"/>
                  </a:lnTo>
                  <a:lnTo>
                    <a:pt x="1032" y="392"/>
                  </a:lnTo>
                  <a:lnTo>
                    <a:pt x="1036" y="380"/>
                  </a:lnTo>
                  <a:lnTo>
                    <a:pt x="1040" y="372"/>
                  </a:lnTo>
                  <a:lnTo>
                    <a:pt x="1040" y="370"/>
                  </a:lnTo>
                  <a:lnTo>
                    <a:pt x="1036" y="368"/>
                  </a:lnTo>
                  <a:lnTo>
                    <a:pt x="1034" y="366"/>
                  </a:lnTo>
                  <a:lnTo>
                    <a:pt x="1032" y="364"/>
                  </a:lnTo>
                  <a:lnTo>
                    <a:pt x="1032" y="362"/>
                  </a:lnTo>
                  <a:lnTo>
                    <a:pt x="1028" y="360"/>
                  </a:lnTo>
                  <a:lnTo>
                    <a:pt x="1024" y="358"/>
                  </a:lnTo>
                  <a:lnTo>
                    <a:pt x="1018" y="360"/>
                  </a:lnTo>
                  <a:lnTo>
                    <a:pt x="1008" y="366"/>
                  </a:lnTo>
                  <a:lnTo>
                    <a:pt x="998" y="374"/>
                  </a:lnTo>
                  <a:lnTo>
                    <a:pt x="994" y="378"/>
                  </a:lnTo>
                  <a:lnTo>
                    <a:pt x="994" y="384"/>
                  </a:lnTo>
                  <a:lnTo>
                    <a:pt x="992" y="388"/>
                  </a:lnTo>
                  <a:lnTo>
                    <a:pt x="988" y="396"/>
                  </a:lnTo>
                  <a:lnTo>
                    <a:pt x="984" y="402"/>
                  </a:lnTo>
                  <a:lnTo>
                    <a:pt x="984" y="408"/>
                  </a:lnTo>
                  <a:lnTo>
                    <a:pt x="984" y="410"/>
                  </a:lnTo>
                  <a:lnTo>
                    <a:pt x="984" y="412"/>
                  </a:lnTo>
                  <a:lnTo>
                    <a:pt x="988" y="410"/>
                  </a:lnTo>
                  <a:lnTo>
                    <a:pt x="996" y="408"/>
                  </a:lnTo>
                  <a:lnTo>
                    <a:pt x="1000" y="408"/>
                  </a:lnTo>
                  <a:lnTo>
                    <a:pt x="1006" y="410"/>
                  </a:lnTo>
                  <a:lnTo>
                    <a:pt x="1012" y="410"/>
                  </a:lnTo>
                  <a:lnTo>
                    <a:pt x="1016" y="410"/>
                  </a:lnTo>
                  <a:lnTo>
                    <a:pt x="1020" y="406"/>
                  </a:lnTo>
                  <a:lnTo>
                    <a:pt x="1024" y="400"/>
                  </a:lnTo>
                  <a:lnTo>
                    <a:pt x="1028" y="396"/>
                  </a:lnTo>
                  <a:close/>
                  <a:moveTo>
                    <a:pt x="1032" y="410"/>
                  </a:moveTo>
                  <a:lnTo>
                    <a:pt x="1032" y="410"/>
                  </a:lnTo>
                  <a:lnTo>
                    <a:pt x="1036" y="410"/>
                  </a:lnTo>
                  <a:lnTo>
                    <a:pt x="1036" y="406"/>
                  </a:lnTo>
                  <a:lnTo>
                    <a:pt x="1034" y="402"/>
                  </a:lnTo>
                  <a:lnTo>
                    <a:pt x="1032" y="400"/>
                  </a:lnTo>
                  <a:lnTo>
                    <a:pt x="1032" y="398"/>
                  </a:lnTo>
                  <a:lnTo>
                    <a:pt x="1030" y="398"/>
                  </a:lnTo>
                  <a:lnTo>
                    <a:pt x="1026" y="400"/>
                  </a:lnTo>
                  <a:lnTo>
                    <a:pt x="1024" y="404"/>
                  </a:lnTo>
                  <a:lnTo>
                    <a:pt x="1024" y="408"/>
                  </a:lnTo>
                  <a:lnTo>
                    <a:pt x="1024" y="410"/>
                  </a:lnTo>
                  <a:lnTo>
                    <a:pt x="1032" y="410"/>
                  </a:lnTo>
                  <a:close/>
                  <a:moveTo>
                    <a:pt x="1044" y="820"/>
                  </a:moveTo>
                  <a:lnTo>
                    <a:pt x="1044" y="820"/>
                  </a:lnTo>
                  <a:lnTo>
                    <a:pt x="1046" y="820"/>
                  </a:lnTo>
                  <a:lnTo>
                    <a:pt x="1050" y="820"/>
                  </a:lnTo>
                  <a:lnTo>
                    <a:pt x="1054" y="816"/>
                  </a:lnTo>
                  <a:lnTo>
                    <a:pt x="1056" y="812"/>
                  </a:lnTo>
                  <a:lnTo>
                    <a:pt x="1060" y="812"/>
                  </a:lnTo>
                  <a:lnTo>
                    <a:pt x="1064" y="810"/>
                  </a:lnTo>
                  <a:lnTo>
                    <a:pt x="1068" y="808"/>
                  </a:lnTo>
                  <a:lnTo>
                    <a:pt x="1068" y="806"/>
                  </a:lnTo>
                  <a:lnTo>
                    <a:pt x="1066" y="804"/>
                  </a:lnTo>
                  <a:lnTo>
                    <a:pt x="1064" y="802"/>
                  </a:lnTo>
                  <a:lnTo>
                    <a:pt x="1060" y="804"/>
                  </a:lnTo>
                  <a:lnTo>
                    <a:pt x="1052" y="808"/>
                  </a:lnTo>
                  <a:lnTo>
                    <a:pt x="1046" y="814"/>
                  </a:lnTo>
                  <a:lnTo>
                    <a:pt x="1044" y="818"/>
                  </a:lnTo>
                  <a:lnTo>
                    <a:pt x="1044" y="820"/>
                  </a:lnTo>
                  <a:close/>
                  <a:moveTo>
                    <a:pt x="844" y="336"/>
                  </a:moveTo>
                  <a:lnTo>
                    <a:pt x="844" y="336"/>
                  </a:lnTo>
                  <a:lnTo>
                    <a:pt x="852" y="332"/>
                  </a:lnTo>
                  <a:lnTo>
                    <a:pt x="856" y="326"/>
                  </a:lnTo>
                  <a:lnTo>
                    <a:pt x="854" y="320"/>
                  </a:lnTo>
                  <a:lnTo>
                    <a:pt x="850" y="312"/>
                  </a:lnTo>
                  <a:lnTo>
                    <a:pt x="846" y="306"/>
                  </a:lnTo>
                  <a:lnTo>
                    <a:pt x="842" y="306"/>
                  </a:lnTo>
                  <a:lnTo>
                    <a:pt x="840" y="310"/>
                  </a:lnTo>
                  <a:lnTo>
                    <a:pt x="840" y="316"/>
                  </a:lnTo>
                  <a:lnTo>
                    <a:pt x="840" y="330"/>
                  </a:lnTo>
                  <a:lnTo>
                    <a:pt x="842" y="336"/>
                  </a:lnTo>
                  <a:lnTo>
                    <a:pt x="844" y="336"/>
                  </a:lnTo>
                  <a:close/>
                  <a:moveTo>
                    <a:pt x="794" y="292"/>
                  </a:moveTo>
                  <a:lnTo>
                    <a:pt x="794" y="292"/>
                  </a:lnTo>
                  <a:lnTo>
                    <a:pt x="800" y="276"/>
                  </a:lnTo>
                  <a:lnTo>
                    <a:pt x="804" y="264"/>
                  </a:lnTo>
                  <a:lnTo>
                    <a:pt x="806" y="256"/>
                  </a:lnTo>
                  <a:lnTo>
                    <a:pt x="804" y="256"/>
                  </a:lnTo>
                  <a:lnTo>
                    <a:pt x="798" y="264"/>
                  </a:lnTo>
                  <a:lnTo>
                    <a:pt x="794" y="278"/>
                  </a:lnTo>
                  <a:lnTo>
                    <a:pt x="794" y="292"/>
                  </a:lnTo>
                  <a:close/>
                  <a:moveTo>
                    <a:pt x="1118" y="446"/>
                  </a:moveTo>
                  <a:lnTo>
                    <a:pt x="1118" y="446"/>
                  </a:lnTo>
                  <a:lnTo>
                    <a:pt x="1122" y="448"/>
                  </a:lnTo>
                  <a:lnTo>
                    <a:pt x="1128" y="450"/>
                  </a:lnTo>
                  <a:lnTo>
                    <a:pt x="1142" y="448"/>
                  </a:lnTo>
                  <a:lnTo>
                    <a:pt x="1158" y="448"/>
                  </a:lnTo>
                  <a:lnTo>
                    <a:pt x="1166" y="450"/>
                  </a:lnTo>
                  <a:lnTo>
                    <a:pt x="1172" y="452"/>
                  </a:lnTo>
                  <a:lnTo>
                    <a:pt x="1180" y="454"/>
                  </a:lnTo>
                  <a:lnTo>
                    <a:pt x="1186" y="454"/>
                  </a:lnTo>
                  <a:lnTo>
                    <a:pt x="1190" y="452"/>
                  </a:lnTo>
                  <a:lnTo>
                    <a:pt x="1194" y="450"/>
                  </a:lnTo>
                  <a:lnTo>
                    <a:pt x="1204" y="442"/>
                  </a:lnTo>
                  <a:lnTo>
                    <a:pt x="1208" y="440"/>
                  </a:lnTo>
                  <a:lnTo>
                    <a:pt x="1212" y="440"/>
                  </a:lnTo>
                  <a:lnTo>
                    <a:pt x="1216" y="440"/>
                  </a:lnTo>
                  <a:lnTo>
                    <a:pt x="1218" y="438"/>
                  </a:lnTo>
                  <a:lnTo>
                    <a:pt x="1218" y="434"/>
                  </a:lnTo>
                  <a:lnTo>
                    <a:pt x="1218" y="430"/>
                  </a:lnTo>
                  <a:lnTo>
                    <a:pt x="1214" y="420"/>
                  </a:lnTo>
                  <a:lnTo>
                    <a:pt x="1206" y="414"/>
                  </a:lnTo>
                  <a:lnTo>
                    <a:pt x="1200" y="410"/>
                  </a:lnTo>
                  <a:lnTo>
                    <a:pt x="1198" y="406"/>
                  </a:lnTo>
                  <a:lnTo>
                    <a:pt x="1200" y="406"/>
                  </a:lnTo>
                  <a:lnTo>
                    <a:pt x="1206" y="404"/>
                  </a:lnTo>
                  <a:lnTo>
                    <a:pt x="1218" y="402"/>
                  </a:lnTo>
                  <a:lnTo>
                    <a:pt x="1222" y="398"/>
                  </a:lnTo>
                  <a:lnTo>
                    <a:pt x="1222" y="394"/>
                  </a:lnTo>
                  <a:lnTo>
                    <a:pt x="1222" y="392"/>
                  </a:lnTo>
                  <a:lnTo>
                    <a:pt x="1224" y="390"/>
                  </a:lnTo>
                  <a:lnTo>
                    <a:pt x="1230" y="388"/>
                  </a:lnTo>
                  <a:lnTo>
                    <a:pt x="1232" y="388"/>
                  </a:lnTo>
                  <a:lnTo>
                    <a:pt x="1232" y="384"/>
                  </a:lnTo>
                  <a:lnTo>
                    <a:pt x="1232" y="376"/>
                  </a:lnTo>
                  <a:lnTo>
                    <a:pt x="1228" y="364"/>
                  </a:lnTo>
                  <a:lnTo>
                    <a:pt x="1234" y="372"/>
                  </a:lnTo>
                  <a:lnTo>
                    <a:pt x="1240" y="376"/>
                  </a:lnTo>
                  <a:lnTo>
                    <a:pt x="1246" y="378"/>
                  </a:lnTo>
                  <a:lnTo>
                    <a:pt x="1256" y="376"/>
                  </a:lnTo>
                  <a:lnTo>
                    <a:pt x="1268" y="372"/>
                  </a:lnTo>
                  <a:lnTo>
                    <a:pt x="1272" y="374"/>
                  </a:lnTo>
                  <a:lnTo>
                    <a:pt x="1272" y="376"/>
                  </a:lnTo>
                  <a:lnTo>
                    <a:pt x="1274" y="378"/>
                  </a:lnTo>
                  <a:lnTo>
                    <a:pt x="1278" y="382"/>
                  </a:lnTo>
                  <a:lnTo>
                    <a:pt x="1284" y="384"/>
                  </a:lnTo>
                  <a:lnTo>
                    <a:pt x="1296" y="386"/>
                  </a:lnTo>
                  <a:lnTo>
                    <a:pt x="1308" y="388"/>
                  </a:lnTo>
                  <a:lnTo>
                    <a:pt x="1316" y="392"/>
                  </a:lnTo>
                  <a:lnTo>
                    <a:pt x="1324" y="398"/>
                  </a:lnTo>
                  <a:lnTo>
                    <a:pt x="1330" y="406"/>
                  </a:lnTo>
                  <a:lnTo>
                    <a:pt x="1340" y="426"/>
                  </a:lnTo>
                  <a:lnTo>
                    <a:pt x="1348" y="438"/>
                  </a:lnTo>
                  <a:lnTo>
                    <a:pt x="1358" y="450"/>
                  </a:lnTo>
                  <a:lnTo>
                    <a:pt x="1374" y="472"/>
                  </a:lnTo>
                  <a:lnTo>
                    <a:pt x="1380" y="480"/>
                  </a:lnTo>
                  <a:lnTo>
                    <a:pt x="1384" y="486"/>
                  </a:lnTo>
                  <a:lnTo>
                    <a:pt x="1392" y="488"/>
                  </a:lnTo>
                  <a:lnTo>
                    <a:pt x="1400" y="492"/>
                  </a:lnTo>
                  <a:lnTo>
                    <a:pt x="1432" y="498"/>
                  </a:lnTo>
                  <a:lnTo>
                    <a:pt x="1450" y="502"/>
                  </a:lnTo>
                  <a:lnTo>
                    <a:pt x="1462" y="506"/>
                  </a:lnTo>
                  <a:lnTo>
                    <a:pt x="1470" y="510"/>
                  </a:lnTo>
                  <a:lnTo>
                    <a:pt x="1476" y="512"/>
                  </a:lnTo>
                  <a:lnTo>
                    <a:pt x="1482" y="518"/>
                  </a:lnTo>
                  <a:lnTo>
                    <a:pt x="1488" y="520"/>
                  </a:lnTo>
                  <a:lnTo>
                    <a:pt x="1492" y="520"/>
                  </a:lnTo>
                  <a:lnTo>
                    <a:pt x="1500" y="520"/>
                  </a:lnTo>
                  <a:lnTo>
                    <a:pt x="1506" y="518"/>
                  </a:lnTo>
                  <a:lnTo>
                    <a:pt x="1512" y="514"/>
                  </a:lnTo>
                  <a:lnTo>
                    <a:pt x="1514" y="510"/>
                  </a:lnTo>
                  <a:lnTo>
                    <a:pt x="1514" y="506"/>
                  </a:lnTo>
                  <a:lnTo>
                    <a:pt x="1512" y="502"/>
                  </a:lnTo>
                  <a:lnTo>
                    <a:pt x="1508" y="498"/>
                  </a:lnTo>
                  <a:lnTo>
                    <a:pt x="1498" y="494"/>
                  </a:lnTo>
                  <a:lnTo>
                    <a:pt x="1482" y="490"/>
                  </a:lnTo>
                  <a:lnTo>
                    <a:pt x="1474" y="484"/>
                  </a:lnTo>
                  <a:lnTo>
                    <a:pt x="1472" y="482"/>
                  </a:lnTo>
                  <a:lnTo>
                    <a:pt x="1472" y="480"/>
                  </a:lnTo>
                  <a:lnTo>
                    <a:pt x="1474" y="476"/>
                  </a:lnTo>
                  <a:lnTo>
                    <a:pt x="1478" y="472"/>
                  </a:lnTo>
                  <a:lnTo>
                    <a:pt x="1478" y="470"/>
                  </a:lnTo>
                  <a:lnTo>
                    <a:pt x="1476" y="468"/>
                  </a:lnTo>
                  <a:lnTo>
                    <a:pt x="1464" y="466"/>
                  </a:lnTo>
                  <a:lnTo>
                    <a:pt x="1454" y="464"/>
                  </a:lnTo>
                  <a:lnTo>
                    <a:pt x="1450" y="462"/>
                  </a:lnTo>
                  <a:lnTo>
                    <a:pt x="1448" y="458"/>
                  </a:lnTo>
                  <a:lnTo>
                    <a:pt x="1448" y="454"/>
                  </a:lnTo>
                  <a:lnTo>
                    <a:pt x="1450" y="448"/>
                  </a:lnTo>
                  <a:lnTo>
                    <a:pt x="1454" y="442"/>
                  </a:lnTo>
                  <a:lnTo>
                    <a:pt x="1454" y="438"/>
                  </a:lnTo>
                  <a:lnTo>
                    <a:pt x="1448" y="438"/>
                  </a:lnTo>
                  <a:lnTo>
                    <a:pt x="1436" y="440"/>
                  </a:lnTo>
                  <a:lnTo>
                    <a:pt x="1432" y="440"/>
                  </a:lnTo>
                  <a:lnTo>
                    <a:pt x="1428" y="440"/>
                  </a:lnTo>
                  <a:lnTo>
                    <a:pt x="1422" y="436"/>
                  </a:lnTo>
                  <a:lnTo>
                    <a:pt x="1416" y="428"/>
                  </a:lnTo>
                  <a:lnTo>
                    <a:pt x="1412" y="420"/>
                  </a:lnTo>
                  <a:lnTo>
                    <a:pt x="1408" y="400"/>
                  </a:lnTo>
                  <a:lnTo>
                    <a:pt x="1404" y="394"/>
                  </a:lnTo>
                  <a:lnTo>
                    <a:pt x="1400" y="390"/>
                  </a:lnTo>
                  <a:lnTo>
                    <a:pt x="1394" y="386"/>
                  </a:lnTo>
                  <a:lnTo>
                    <a:pt x="1386" y="378"/>
                  </a:lnTo>
                  <a:lnTo>
                    <a:pt x="1370" y="360"/>
                  </a:lnTo>
                  <a:lnTo>
                    <a:pt x="1364" y="350"/>
                  </a:lnTo>
                  <a:lnTo>
                    <a:pt x="1358" y="340"/>
                  </a:lnTo>
                  <a:lnTo>
                    <a:pt x="1356" y="334"/>
                  </a:lnTo>
                  <a:lnTo>
                    <a:pt x="1356" y="332"/>
                  </a:lnTo>
                  <a:lnTo>
                    <a:pt x="1358" y="330"/>
                  </a:lnTo>
                  <a:lnTo>
                    <a:pt x="1362" y="328"/>
                  </a:lnTo>
                  <a:lnTo>
                    <a:pt x="1366" y="326"/>
                  </a:lnTo>
                  <a:lnTo>
                    <a:pt x="1376" y="328"/>
                  </a:lnTo>
                  <a:lnTo>
                    <a:pt x="1388" y="328"/>
                  </a:lnTo>
                  <a:lnTo>
                    <a:pt x="1392" y="326"/>
                  </a:lnTo>
                  <a:lnTo>
                    <a:pt x="1394" y="324"/>
                  </a:lnTo>
                  <a:lnTo>
                    <a:pt x="1396" y="320"/>
                  </a:lnTo>
                  <a:lnTo>
                    <a:pt x="1396" y="314"/>
                  </a:lnTo>
                  <a:lnTo>
                    <a:pt x="1390" y="302"/>
                  </a:lnTo>
                  <a:lnTo>
                    <a:pt x="1386" y="296"/>
                  </a:lnTo>
                  <a:lnTo>
                    <a:pt x="1380" y="292"/>
                  </a:lnTo>
                  <a:lnTo>
                    <a:pt x="1374" y="290"/>
                  </a:lnTo>
                  <a:lnTo>
                    <a:pt x="1370" y="290"/>
                  </a:lnTo>
                  <a:lnTo>
                    <a:pt x="1364" y="290"/>
                  </a:lnTo>
                  <a:lnTo>
                    <a:pt x="1360" y="290"/>
                  </a:lnTo>
                  <a:lnTo>
                    <a:pt x="1354" y="284"/>
                  </a:lnTo>
                  <a:lnTo>
                    <a:pt x="1344" y="276"/>
                  </a:lnTo>
                  <a:lnTo>
                    <a:pt x="1338" y="272"/>
                  </a:lnTo>
                  <a:lnTo>
                    <a:pt x="1328" y="270"/>
                  </a:lnTo>
                  <a:lnTo>
                    <a:pt x="1312" y="264"/>
                  </a:lnTo>
                  <a:lnTo>
                    <a:pt x="1310" y="262"/>
                  </a:lnTo>
                  <a:lnTo>
                    <a:pt x="1308" y="260"/>
                  </a:lnTo>
                  <a:lnTo>
                    <a:pt x="1310" y="256"/>
                  </a:lnTo>
                  <a:lnTo>
                    <a:pt x="1312" y="246"/>
                  </a:lnTo>
                  <a:lnTo>
                    <a:pt x="1312" y="238"/>
                  </a:lnTo>
                  <a:lnTo>
                    <a:pt x="1306" y="230"/>
                  </a:lnTo>
                  <a:lnTo>
                    <a:pt x="1298" y="220"/>
                  </a:lnTo>
                  <a:lnTo>
                    <a:pt x="1288" y="210"/>
                  </a:lnTo>
                  <a:lnTo>
                    <a:pt x="1278" y="200"/>
                  </a:lnTo>
                  <a:lnTo>
                    <a:pt x="1266" y="192"/>
                  </a:lnTo>
                  <a:lnTo>
                    <a:pt x="1256" y="188"/>
                  </a:lnTo>
                  <a:lnTo>
                    <a:pt x="1248" y="186"/>
                  </a:lnTo>
                  <a:lnTo>
                    <a:pt x="1242" y="186"/>
                  </a:lnTo>
                  <a:lnTo>
                    <a:pt x="1238" y="184"/>
                  </a:lnTo>
                  <a:lnTo>
                    <a:pt x="1230" y="178"/>
                  </a:lnTo>
                  <a:lnTo>
                    <a:pt x="1220" y="170"/>
                  </a:lnTo>
                  <a:lnTo>
                    <a:pt x="1214" y="166"/>
                  </a:lnTo>
                  <a:lnTo>
                    <a:pt x="1202" y="162"/>
                  </a:lnTo>
                  <a:lnTo>
                    <a:pt x="1190" y="158"/>
                  </a:lnTo>
                  <a:lnTo>
                    <a:pt x="1174" y="152"/>
                  </a:lnTo>
                  <a:lnTo>
                    <a:pt x="1140" y="134"/>
                  </a:lnTo>
                  <a:lnTo>
                    <a:pt x="1106" y="120"/>
                  </a:lnTo>
                  <a:lnTo>
                    <a:pt x="1092" y="116"/>
                  </a:lnTo>
                  <a:lnTo>
                    <a:pt x="1078" y="116"/>
                  </a:lnTo>
                  <a:lnTo>
                    <a:pt x="1080" y="404"/>
                  </a:lnTo>
                  <a:lnTo>
                    <a:pt x="1094" y="414"/>
                  </a:lnTo>
                  <a:lnTo>
                    <a:pt x="1104" y="426"/>
                  </a:lnTo>
                  <a:lnTo>
                    <a:pt x="1118" y="446"/>
                  </a:lnTo>
                  <a:close/>
                  <a:moveTo>
                    <a:pt x="784" y="288"/>
                  </a:moveTo>
                  <a:lnTo>
                    <a:pt x="784" y="288"/>
                  </a:lnTo>
                  <a:lnTo>
                    <a:pt x="786" y="290"/>
                  </a:lnTo>
                  <a:lnTo>
                    <a:pt x="788" y="288"/>
                  </a:lnTo>
                  <a:lnTo>
                    <a:pt x="790" y="286"/>
                  </a:lnTo>
                  <a:lnTo>
                    <a:pt x="790" y="282"/>
                  </a:lnTo>
                  <a:lnTo>
                    <a:pt x="788" y="278"/>
                  </a:lnTo>
                  <a:lnTo>
                    <a:pt x="784" y="274"/>
                  </a:lnTo>
                  <a:lnTo>
                    <a:pt x="782" y="276"/>
                  </a:lnTo>
                  <a:lnTo>
                    <a:pt x="784" y="288"/>
                  </a:lnTo>
                  <a:close/>
                  <a:moveTo>
                    <a:pt x="1474" y="80"/>
                  </a:moveTo>
                  <a:lnTo>
                    <a:pt x="1474" y="80"/>
                  </a:lnTo>
                  <a:lnTo>
                    <a:pt x="1476" y="80"/>
                  </a:lnTo>
                  <a:lnTo>
                    <a:pt x="1476" y="78"/>
                  </a:lnTo>
                  <a:lnTo>
                    <a:pt x="1474" y="72"/>
                  </a:lnTo>
                  <a:lnTo>
                    <a:pt x="1468" y="68"/>
                  </a:lnTo>
                  <a:lnTo>
                    <a:pt x="1466" y="68"/>
                  </a:lnTo>
                  <a:lnTo>
                    <a:pt x="1464" y="68"/>
                  </a:lnTo>
                  <a:lnTo>
                    <a:pt x="1464" y="72"/>
                  </a:lnTo>
                  <a:lnTo>
                    <a:pt x="1464" y="76"/>
                  </a:lnTo>
                  <a:lnTo>
                    <a:pt x="1468" y="78"/>
                  </a:lnTo>
                  <a:lnTo>
                    <a:pt x="1474" y="80"/>
                  </a:lnTo>
                  <a:close/>
                  <a:moveTo>
                    <a:pt x="1436" y="292"/>
                  </a:moveTo>
                  <a:lnTo>
                    <a:pt x="1436" y="292"/>
                  </a:lnTo>
                  <a:lnTo>
                    <a:pt x="1442" y="296"/>
                  </a:lnTo>
                  <a:lnTo>
                    <a:pt x="1446" y="298"/>
                  </a:lnTo>
                  <a:lnTo>
                    <a:pt x="1448" y="298"/>
                  </a:lnTo>
                  <a:lnTo>
                    <a:pt x="1450" y="298"/>
                  </a:lnTo>
                  <a:lnTo>
                    <a:pt x="1452" y="296"/>
                  </a:lnTo>
                  <a:lnTo>
                    <a:pt x="1454" y="296"/>
                  </a:lnTo>
                  <a:lnTo>
                    <a:pt x="1458" y="298"/>
                  </a:lnTo>
                  <a:lnTo>
                    <a:pt x="1462" y="302"/>
                  </a:lnTo>
                  <a:lnTo>
                    <a:pt x="1468" y="306"/>
                  </a:lnTo>
                  <a:lnTo>
                    <a:pt x="1478" y="308"/>
                  </a:lnTo>
                  <a:lnTo>
                    <a:pt x="1490" y="306"/>
                  </a:lnTo>
                  <a:lnTo>
                    <a:pt x="1502" y="302"/>
                  </a:lnTo>
                  <a:lnTo>
                    <a:pt x="1514" y="298"/>
                  </a:lnTo>
                  <a:lnTo>
                    <a:pt x="1524" y="292"/>
                  </a:lnTo>
                  <a:lnTo>
                    <a:pt x="1534" y="284"/>
                  </a:lnTo>
                  <a:lnTo>
                    <a:pt x="1538" y="278"/>
                  </a:lnTo>
                  <a:lnTo>
                    <a:pt x="1542" y="272"/>
                  </a:lnTo>
                  <a:lnTo>
                    <a:pt x="1544" y="270"/>
                  </a:lnTo>
                  <a:lnTo>
                    <a:pt x="1548" y="270"/>
                  </a:lnTo>
                  <a:lnTo>
                    <a:pt x="1550" y="270"/>
                  </a:lnTo>
                  <a:lnTo>
                    <a:pt x="1556" y="272"/>
                  </a:lnTo>
                  <a:lnTo>
                    <a:pt x="1560" y="270"/>
                  </a:lnTo>
                  <a:lnTo>
                    <a:pt x="1566" y="268"/>
                  </a:lnTo>
                  <a:lnTo>
                    <a:pt x="1568" y="264"/>
                  </a:lnTo>
                  <a:lnTo>
                    <a:pt x="1570" y="260"/>
                  </a:lnTo>
                  <a:lnTo>
                    <a:pt x="1566" y="252"/>
                  </a:lnTo>
                  <a:lnTo>
                    <a:pt x="1564" y="246"/>
                  </a:lnTo>
                  <a:lnTo>
                    <a:pt x="1564" y="244"/>
                  </a:lnTo>
                  <a:lnTo>
                    <a:pt x="1566" y="242"/>
                  </a:lnTo>
                  <a:lnTo>
                    <a:pt x="1572" y="240"/>
                  </a:lnTo>
                  <a:lnTo>
                    <a:pt x="1574" y="238"/>
                  </a:lnTo>
                  <a:lnTo>
                    <a:pt x="1580" y="228"/>
                  </a:lnTo>
                  <a:lnTo>
                    <a:pt x="1580" y="216"/>
                  </a:lnTo>
                  <a:lnTo>
                    <a:pt x="1578" y="212"/>
                  </a:lnTo>
                  <a:lnTo>
                    <a:pt x="1576" y="208"/>
                  </a:lnTo>
                  <a:lnTo>
                    <a:pt x="1572" y="202"/>
                  </a:lnTo>
                  <a:lnTo>
                    <a:pt x="1566" y="202"/>
                  </a:lnTo>
                  <a:lnTo>
                    <a:pt x="1548" y="202"/>
                  </a:lnTo>
                  <a:lnTo>
                    <a:pt x="1546" y="204"/>
                  </a:lnTo>
                  <a:lnTo>
                    <a:pt x="1544" y="206"/>
                  </a:lnTo>
                  <a:lnTo>
                    <a:pt x="1542" y="210"/>
                  </a:lnTo>
                  <a:lnTo>
                    <a:pt x="1546" y="224"/>
                  </a:lnTo>
                  <a:lnTo>
                    <a:pt x="1550" y="236"/>
                  </a:lnTo>
                  <a:lnTo>
                    <a:pt x="1548" y="240"/>
                  </a:lnTo>
                  <a:lnTo>
                    <a:pt x="1542" y="240"/>
                  </a:lnTo>
                  <a:lnTo>
                    <a:pt x="1536" y="238"/>
                  </a:lnTo>
                  <a:lnTo>
                    <a:pt x="1530" y="242"/>
                  </a:lnTo>
                  <a:lnTo>
                    <a:pt x="1526" y="248"/>
                  </a:lnTo>
                  <a:lnTo>
                    <a:pt x="1522" y="254"/>
                  </a:lnTo>
                  <a:lnTo>
                    <a:pt x="1518" y="262"/>
                  </a:lnTo>
                  <a:lnTo>
                    <a:pt x="1514" y="266"/>
                  </a:lnTo>
                  <a:lnTo>
                    <a:pt x="1510" y="268"/>
                  </a:lnTo>
                  <a:lnTo>
                    <a:pt x="1504" y="266"/>
                  </a:lnTo>
                  <a:lnTo>
                    <a:pt x="1500" y="264"/>
                  </a:lnTo>
                  <a:lnTo>
                    <a:pt x="1498" y="264"/>
                  </a:lnTo>
                  <a:lnTo>
                    <a:pt x="1494" y="268"/>
                  </a:lnTo>
                  <a:lnTo>
                    <a:pt x="1490" y="270"/>
                  </a:lnTo>
                  <a:lnTo>
                    <a:pt x="1488" y="264"/>
                  </a:lnTo>
                  <a:lnTo>
                    <a:pt x="1486" y="256"/>
                  </a:lnTo>
                  <a:lnTo>
                    <a:pt x="1488" y="250"/>
                  </a:lnTo>
                  <a:lnTo>
                    <a:pt x="1490" y="248"/>
                  </a:lnTo>
                  <a:lnTo>
                    <a:pt x="1490" y="244"/>
                  </a:lnTo>
                  <a:lnTo>
                    <a:pt x="1488" y="242"/>
                  </a:lnTo>
                  <a:lnTo>
                    <a:pt x="1484" y="244"/>
                  </a:lnTo>
                  <a:lnTo>
                    <a:pt x="1480" y="250"/>
                  </a:lnTo>
                  <a:lnTo>
                    <a:pt x="1480" y="262"/>
                  </a:lnTo>
                  <a:lnTo>
                    <a:pt x="1478" y="266"/>
                  </a:lnTo>
                  <a:lnTo>
                    <a:pt x="1476" y="268"/>
                  </a:lnTo>
                  <a:lnTo>
                    <a:pt x="1470" y="270"/>
                  </a:lnTo>
                  <a:lnTo>
                    <a:pt x="1460" y="268"/>
                  </a:lnTo>
                  <a:lnTo>
                    <a:pt x="1448" y="266"/>
                  </a:lnTo>
                  <a:lnTo>
                    <a:pt x="1434" y="266"/>
                  </a:lnTo>
                  <a:lnTo>
                    <a:pt x="1424" y="264"/>
                  </a:lnTo>
                  <a:lnTo>
                    <a:pt x="1416" y="266"/>
                  </a:lnTo>
                  <a:lnTo>
                    <a:pt x="1414" y="268"/>
                  </a:lnTo>
                  <a:lnTo>
                    <a:pt x="1414" y="270"/>
                  </a:lnTo>
                  <a:lnTo>
                    <a:pt x="1416" y="278"/>
                  </a:lnTo>
                  <a:lnTo>
                    <a:pt x="1420" y="280"/>
                  </a:lnTo>
                  <a:lnTo>
                    <a:pt x="1428" y="284"/>
                  </a:lnTo>
                  <a:lnTo>
                    <a:pt x="1436" y="292"/>
                  </a:lnTo>
                  <a:close/>
                  <a:moveTo>
                    <a:pt x="1546" y="156"/>
                  </a:moveTo>
                  <a:lnTo>
                    <a:pt x="1546" y="156"/>
                  </a:lnTo>
                  <a:lnTo>
                    <a:pt x="1552" y="162"/>
                  </a:lnTo>
                  <a:lnTo>
                    <a:pt x="1562" y="170"/>
                  </a:lnTo>
                  <a:lnTo>
                    <a:pt x="1572" y="178"/>
                  </a:lnTo>
                  <a:lnTo>
                    <a:pt x="1582" y="190"/>
                  </a:lnTo>
                  <a:lnTo>
                    <a:pt x="1586" y="196"/>
                  </a:lnTo>
                  <a:lnTo>
                    <a:pt x="1588" y="202"/>
                  </a:lnTo>
                  <a:lnTo>
                    <a:pt x="1590" y="210"/>
                  </a:lnTo>
                  <a:lnTo>
                    <a:pt x="1590" y="220"/>
                  </a:lnTo>
                  <a:lnTo>
                    <a:pt x="1592" y="224"/>
                  </a:lnTo>
                  <a:lnTo>
                    <a:pt x="1594" y="232"/>
                  </a:lnTo>
                  <a:lnTo>
                    <a:pt x="1598" y="236"/>
                  </a:lnTo>
                  <a:lnTo>
                    <a:pt x="1602" y="234"/>
                  </a:lnTo>
                  <a:lnTo>
                    <a:pt x="1604" y="230"/>
                  </a:lnTo>
                  <a:lnTo>
                    <a:pt x="1608" y="222"/>
                  </a:lnTo>
                  <a:lnTo>
                    <a:pt x="1608" y="214"/>
                  </a:lnTo>
                  <a:lnTo>
                    <a:pt x="1608" y="206"/>
                  </a:lnTo>
                  <a:lnTo>
                    <a:pt x="1604" y="196"/>
                  </a:lnTo>
                  <a:lnTo>
                    <a:pt x="1596" y="190"/>
                  </a:lnTo>
                  <a:lnTo>
                    <a:pt x="1582" y="178"/>
                  </a:lnTo>
                  <a:lnTo>
                    <a:pt x="1574" y="168"/>
                  </a:lnTo>
                  <a:lnTo>
                    <a:pt x="1566" y="160"/>
                  </a:lnTo>
                  <a:lnTo>
                    <a:pt x="1556" y="154"/>
                  </a:lnTo>
                  <a:lnTo>
                    <a:pt x="1538" y="142"/>
                  </a:lnTo>
                  <a:lnTo>
                    <a:pt x="1526" y="132"/>
                  </a:lnTo>
                  <a:lnTo>
                    <a:pt x="1518" y="126"/>
                  </a:lnTo>
                  <a:lnTo>
                    <a:pt x="1516" y="126"/>
                  </a:lnTo>
                  <a:lnTo>
                    <a:pt x="1514" y="128"/>
                  </a:lnTo>
                  <a:lnTo>
                    <a:pt x="1510" y="132"/>
                  </a:lnTo>
                  <a:lnTo>
                    <a:pt x="1508" y="134"/>
                  </a:lnTo>
                  <a:lnTo>
                    <a:pt x="1510" y="136"/>
                  </a:lnTo>
                  <a:lnTo>
                    <a:pt x="1516" y="138"/>
                  </a:lnTo>
                  <a:lnTo>
                    <a:pt x="1530" y="144"/>
                  </a:lnTo>
                  <a:lnTo>
                    <a:pt x="1538" y="150"/>
                  </a:lnTo>
                  <a:lnTo>
                    <a:pt x="1546" y="156"/>
                  </a:lnTo>
                  <a:close/>
                  <a:moveTo>
                    <a:pt x="1500" y="128"/>
                  </a:moveTo>
                  <a:lnTo>
                    <a:pt x="1500" y="128"/>
                  </a:lnTo>
                  <a:lnTo>
                    <a:pt x="1502" y="126"/>
                  </a:lnTo>
                  <a:lnTo>
                    <a:pt x="1502" y="122"/>
                  </a:lnTo>
                  <a:lnTo>
                    <a:pt x="1496" y="116"/>
                  </a:lnTo>
                  <a:lnTo>
                    <a:pt x="1492" y="114"/>
                  </a:lnTo>
                  <a:lnTo>
                    <a:pt x="1490" y="114"/>
                  </a:lnTo>
                  <a:lnTo>
                    <a:pt x="1486" y="114"/>
                  </a:lnTo>
                  <a:lnTo>
                    <a:pt x="1484" y="118"/>
                  </a:lnTo>
                  <a:lnTo>
                    <a:pt x="1484" y="120"/>
                  </a:lnTo>
                  <a:lnTo>
                    <a:pt x="1484" y="124"/>
                  </a:lnTo>
                  <a:lnTo>
                    <a:pt x="1488" y="128"/>
                  </a:lnTo>
                  <a:lnTo>
                    <a:pt x="1494" y="130"/>
                  </a:lnTo>
                  <a:lnTo>
                    <a:pt x="1498" y="130"/>
                  </a:lnTo>
                  <a:lnTo>
                    <a:pt x="1500" y="128"/>
                  </a:lnTo>
                  <a:close/>
                  <a:moveTo>
                    <a:pt x="726" y="46"/>
                  </a:moveTo>
                  <a:lnTo>
                    <a:pt x="726" y="46"/>
                  </a:lnTo>
                  <a:lnTo>
                    <a:pt x="726" y="50"/>
                  </a:lnTo>
                  <a:lnTo>
                    <a:pt x="724" y="54"/>
                  </a:lnTo>
                  <a:lnTo>
                    <a:pt x="716" y="62"/>
                  </a:lnTo>
                  <a:lnTo>
                    <a:pt x="714" y="66"/>
                  </a:lnTo>
                  <a:lnTo>
                    <a:pt x="716" y="70"/>
                  </a:lnTo>
                  <a:lnTo>
                    <a:pt x="718" y="72"/>
                  </a:lnTo>
                  <a:lnTo>
                    <a:pt x="726" y="72"/>
                  </a:lnTo>
                  <a:lnTo>
                    <a:pt x="738" y="72"/>
                  </a:lnTo>
                  <a:lnTo>
                    <a:pt x="742" y="74"/>
                  </a:lnTo>
                  <a:lnTo>
                    <a:pt x="746" y="78"/>
                  </a:lnTo>
                  <a:lnTo>
                    <a:pt x="752" y="88"/>
                  </a:lnTo>
                  <a:lnTo>
                    <a:pt x="758" y="104"/>
                  </a:lnTo>
                  <a:lnTo>
                    <a:pt x="762" y="106"/>
                  </a:lnTo>
                  <a:lnTo>
                    <a:pt x="764" y="108"/>
                  </a:lnTo>
                  <a:lnTo>
                    <a:pt x="774" y="110"/>
                  </a:lnTo>
                  <a:lnTo>
                    <a:pt x="786" y="110"/>
                  </a:lnTo>
                  <a:lnTo>
                    <a:pt x="798" y="110"/>
                  </a:lnTo>
                  <a:lnTo>
                    <a:pt x="810" y="108"/>
                  </a:lnTo>
                  <a:lnTo>
                    <a:pt x="820" y="108"/>
                  </a:lnTo>
                  <a:lnTo>
                    <a:pt x="828" y="110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20"/>
                  </a:lnTo>
                  <a:lnTo>
                    <a:pt x="826" y="122"/>
                  </a:lnTo>
                  <a:lnTo>
                    <a:pt x="822" y="122"/>
                  </a:lnTo>
                  <a:lnTo>
                    <a:pt x="816" y="120"/>
                  </a:lnTo>
                  <a:lnTo>
                    <a:pt x="808" y="120"/>
                  </a:lnTo>
                  <a:lnTo>
                    <a:pt x="802" y="118"/>
                  </a:lnTo>
                  <a:lnTo>
                    <a:pt x="798" y="120"/>
                  </a:lnTo>
                  <a:lnTo>
                    <a:pt x="794" y="124"/>
                  </a:lnTo>
                  <a:lnTo>
                    <a:pt x="790" y="130"/>
                  </a:lnTo>
                  <a:lnTo>
                    <a:pt x="784" y="134"/>
                  </a:lnTo>
                  <a:lnTo>
                    <a:pt x="778" y="134"/>
                  </a:lnTo>
                  <a:lnTo>
                    <a:pt x="772" y="132"/>
                  </a:lnTo>
                  <a:lnTo>
                    <a:pt x="766" y="130"/>
                  </a:lnTo>
                  <a:lnTo>
                    <a:pt x="760" y="130"/>
                  </a:lnTo>
                  <a:lnTo>
                    <a:pt x="756" y="132"/>
                  </a:lnTo>
                  <a:lnTo>
                    <a:pt x="756" y="138"/>
                  </a:lnTo>
                  <a:lnTo>
                    <a:pt x="756" y="142"/>
                  </a:lnTo>
                  <a:lnTo>
                    <a:pt x="760" y="144"/>
                  </a:lnTo>
                  <a:lnTo>
                    <a:pt x="768" y="146"/>
                  </a:lnTo>
                  <a:lnTo>
                    <a:pt x="780" y="156"/>
                  </a:lnTo>
                  <a:lnTo>
                    <a:pt x="786" y="164"/>
                  </a:lnTo>
                  <a:lnTo>
                    <a:pt x="790" y="170"/>
                  </a:lnTo>
                  <a:lnTo>
                    <a:pt x="790" y="174"/>
                  </a:lnTo>
                  <a:lnTo>
                    <a:pt x="788" y="176"/>
                  </a:lnTo>
                  <a:lnTo>
                    <a:pt x="784" y="180"/>
                  </a:lnTo>
                  <a:lnTo>
                    <a:pt x="784" y="184"/>
                  </a:lnTo>
                  <a:lnTo>
                    <a:pt x="784" y="188"/>
                  </a:lnTo>
                  <a:lnTo>
                    <a:pt x="788" y="194"/>
                  </a:lnTo>
                  <a:lnTo>
                    <a:pt x="792" y="196"/>
                  </a:lnTo>
                  <a:lnTo>
                    <a:pt x="796" y="198"/>
                  </a:lnTo>
                  <a:lnTo>
                    <a:pt x="802" y="198"/>
                  </a:lnTo>
                  <a:lnTo>
                    <a:pt x="806" y="196"/>
                  </a:lnTo>
                  <a:lnTo>
                    <a:pt x="810" y="192"/>
                  </a:lnTo>
                  <a:lnTo>
                    <a:pt x="814" y="186"/>
                  </a:lnTo>
                  <a:lnTo>
                    <a:pt x="816" y="178"/>
                  </a:lnTo>
                  <a:lnTo>
                    <a:pt x="822" y="158"/>
                  </a:lnTo>
                  <a:lnTo>
                    <a:pt x="826" y="150"/>
                  </a:lnTo>
                  <a:lnTo>
                    <a:pt x="828" y="150"/>
                  </a:lnTo>
                  <a:lnTo>
                    <a:pt x="828" y="154"/>
                  </a:lnTo>
                  <a:lnTo>
                    <a:pt x="824" y="168"/>
                  </a:lnTo>
                  <a:lnTo>
                    <a:pt x="824" y="174"/>
                  </a:lnTo>
                  <a:lnTo>
                    <a:pt x="824" y="178"/>
                  </a:lnTo>
                  <a:lnTo>
                    <a:pt x="828" y="180"/>
                  </a:lnTo>
                  <a:lnTo>
                    <a:pt x="832" y="184"/>
                  </a:lnTo>
                  <a:lnTo>
                    <a:pt x="844" y="188"/>
                  </a:lnTo>
                  <a:lnTo>
                    <a:pt x="852" y="192"/>
                  </a:lnTo>
                  <a:lnTo>
                    <a:pt x="860" y="198"/>
                  </a:lnTo>
                  <a:lnTo>
                    <a:pt x="870" y="206"/>
                  </a:lnTo>
                  <a:lnTo>
                    <a:pt x="878" y="212"/>
                  </a:lnTo>
                  <a:lnTo>
                    <a:pt x="886" y="214"/>
                  </a:lnTo>
                  <a:lnTo>
                    <a:pt x="892" y="216"/>
                  </a:lnTo>
                  <a:lnTo>
                    <a:pt x="906" y="218"/>
                  </a:lnTo>
                  <a:lnTo>
                    <a:pt x="916" y="220"/>
                  </a:lnTo>
                  <a:lnTo>
                    <a:pt x="926" y="226"/>
                  </a:lnTo>
                  <a:lnTo>
                    <a:pt x="940" y="232"/>
                  </a:lnTo>
                  <a:lnTo>
                    <a:pt x="954" y="238"/>
                  </a:lnTo>
                  <a:lnTo>
                    <a:pt x="966" y="242"/>
                  </a:lnTo>
                  <a:lnTo>
                    <a:pt x="980" y="252"/>
                  </a:lnTo>
                  <a:lnTo>
                    <a:pt x="988" y="258"/>
                  </a:lnTo>
                  <a:lnTo>
                    <a:pt x="994" y="266"/>
                  </a:lnTo>
                  <a:lnTo>
                    <a:pt x="1004" y="284"/>
                  </a:lnTo>
                  <a:lnTo>
                    <a:pt x="1014" y="302"/>
                  </a:lnTo>
                  <a:lnTo>
                    <a:pt x="1024" y="318"/>
                  </a:lnTo>
                  <a:lnTo>
                    <a:pt x="1028" y="324"/>
                  </a:lnTo>
                  <a:lnTo>
                    <a:pt x="1030" y="328"/>
                  </a:lnTo>
                  <a:lnTo>
                    <a:pt x="1028" y="330"/>
                  </a:lnTo>
                  <a:lnTo>
                    <a:pt x="1026" y="332"/>
                  </a:lnTo>
                  <a:lnTo>
                    <a:pt x="1022" y="336"/>
                  </a:lnTo>
                  <a:lnTo>
                    <a:pt x="1020" y="338"/>
                  </a:lnTo>
                  <a:lnTo>
                    <a:pt x="1020" y="344"/>
                  </a:lnTo>
                  <a:lnTo>
                    <a:pt x="1024" y="350"/>
                  </a:lnTo>
                  <a:lnTo>
                    <a:pt x="1028" y="354"/>
                  </a:lnTo>
                  <a:lnTo>
                    <a:pt x="1036" y="360"/>
                  </a:lnTo>
                  <a:lnTo>
                    <a:pt x="1040" y="364"/>
                  </a:lnTo>
                  <a:lnTo>
                    <a:pt x="1044" y="368"/>
                  </a:lnTo>
                  <a:lnTo>
                    <a:pt x="1044" y="372"/>
                  </a:lnTo>
                  <a:lnTo>
                    <a:pt x="1040" y="380"/>
                  </a:lnTo>
                  <a:lnTo>
                    <a:pt x="1036" y="394"/>
                  </a:lnTo>
                  <a:lnTo>
                    <a:pt x="1036" y="396"/>
                  </a:lnTo>
                  <a:lnTo>
                    <a:pt x="1038" y="398"/>
                  </a:lnTo>
                  <a:lnTo>
                    <a:pt x="1044" y="396"/>
                  </a:lnTo>
                  <a:lnTo>
                    <a:pt x="1046" y="396"/>
                  </a:lnTo>
                  <a:lnTo>
                    <a:pt x="1050" y="396"/>
                  </a:lnTo>
                  <a:lnTo>
                    <a:pt x="1052" y="398"/>
                  </a:lnTo>
                  <a:lnTo>
                    <a:pt x="1054" y="398"/>
                  </a:lnTo>
                  <a:lnTo>
                    <a:pt x="1060" y="398"/>
                  </a:lnTo>
                  <a:lnTo>
                    <a:pt x="1068" y="398"/>
                  </a:lnTo>
                  <a:lnTo>
                    <a:pt x="1074" y="400"/>
                  </a:lnTo>
                  <a:lnTo>
                    <a:pt x="1080" y="404"/>
                  </a:lnTo>
                  <a:lnTo>
                    <a:pt x="1078" y="116"/>
                  </a:lnTo>
                  <a:lnTo>
                    <a:pt x="1070" y="114"/>
                  </a:lnTo>
                  <a:lnTo>
                    <a:pt x="1060" y="110"/>
                  </a:lnTo>
                  <a:lnTo>
                    <a:pt x="1038" y="100"/>
                  </a:lnTo>
                  <a:lnTo>
                    <a:pt x="1002" y="76"/>
                  </a:lnTo>
                  <a:lnTo>
                    <a:pt x="996" y="72"/>
                  </a:lnTo>
                  <a:lnTo>
                    <a:pt x="988" y="72"/>
                  </a:lnTo>
                  <a:lnTo>
                    <a:pt x="982" y="74"/>
                  </a:lnTo>
                  <a:lnTo>
                    <a:pt x="976" y="76"/>
                  </a:lnTo>
                  <a:lnTo>
                    <a:pt x="970" y="80"/>
                  </a:lnTo>
                  <a:lnTo>
                    <a:pt x="966" y="84"/>
                  </a:lnTo>
                  <a:lnTo>
                    <a:pt x="964" y="88"/>
                  </a:lnTo>
                  <a:lnTo>
                    <a:pt x="964" y="92"/>
                  </a:lnTo>
                  <a:lnTo>
                    <a:pt x="966" y="96"/>
                  </a:lnTo>
                  <a:lnTo>
                    <a:pt x="964" y="100"/>
                  </a:lnTo>
                  <a:lnTo>
                    <a:pt x="956" y="106"/>
                  </a:lnTo>
                  <a:lnTo>
                    <a:pt x="946" y="110"/>
                  </a:lnTo>
                  <a:lnTo>
                    <a:pt x="942" y="110"/>
                  </a:lnTo>
                  <a:lnTo>
                    <a:pt x="938" y="108"/>
                  </a:lnTo>
                  <a:lnTo>
                    <a:pt x="936" y="108"/>
                  </a:lnTo>
                  <a:lnTo>
                    <a:pt x="934" y="110"/>
                  </a:lnTo>
                  <a:lnTo>
                    <a:pt x="928" y="116"/>
                  </a:lnTo>
                  <a:lnTo>
                    <a:pt x="914" y="138"/>
                  </a:lnTo>
                  <a:lnTo>
                    <a:pt x="906" y="148"/>
                  </a:lnTo>
                  <a:lnTo>
                    <a:pt x="898" y="158"/>
                  </a:lnTo>
                  <a:lnTo>
                    <a:pt x="890" y="164"/>
                  </a:lnTo>
                  <a:lnTo>
                    <a:pt x="886" y="164"/>
                  </a:lnTo>
                  <a:lnTo>
                    <a:pt x="882" y="164"/>
                  </a:lnTo>
                  <a:lnTo>
                    <a:pt x="876" y="160"/>
                  </a:lnTo>
                  <a:lnTo>
                    <a:pt x="872" y="156"/>
                  </a:lnTo>
                  <a:lnTo>
                    <a:pt x="870" y="150"/>
                  </a:lnTo>
                  <a:lnTo>
                    <a:pt x="868" y="144"/>
                  </a:lnTo>
                  <a:lnTo>
                    <a:pt x="864" y="132"/>
                  </a:lnTo>
                  <a:lnTo>
                    <a:pt x="862" y="126"/>
                  </a:lnTo>
                  <a:lnTo>
                    <a:pt x="860" y="120"/>
                  </a:lnTo>
                  <a:lnTo>
                    <a:pt x="856" y="118"/>
                  </a:lnTo>
                  <a:lnTo>
                    <a:pt x="854" y="118"/>
                  </a:lnTo>
                  <a:lnTo>
                    <a:pt x="852" y="124"/>
                  </a:lnTo>
                  <a:lnTo>
                    <a:pt x="852" y="126"/>
                  </a:lnTo>
                  <a:lnTo>
                    <a:pt x="846" y="114"/>
                  </a:lnTo>
                  <a:lnTo>
                    <a:pt x="842" y="102"/>
                  </a:lnTo>
                  <a:lnTo>
                    <a:pt x="842" y="94"/>
                  </a:lnTo>
                  <a:lnTo>
                    <a:pt x="842" y="86"/>
                  </a:lnTo>
                  <a:lnTo>
                    <a:pt x="844" y="80"/>
                  </a:lnTo>
                  <a:lnTo>
                    <a:pt x="846" y="66"/>
                  </a:lnTo>
                  <a:lnTo>
                    <a:pt x="846" y="58"/>
                  </a:lnTo>
                  <a:lnTo>
                    <a:pt x="844" y="48"/>
                  </a:lnTo>
                  <a:lnTo>
                    <a:pt x="840" y="40"/>
                  </a:lnTo>
                  <a:lnTo>
                    <a:pt x="838" y="36"/>
                  </a:lnTo>
                  <a:lnTo>
                    <a:pt x="834" y="36"/>
                  </a:lnTo>
                  <a:lnTo>
                    <a:pt x="830" y="36"/>
                  </a:lnTo>
                  <a:lnTo>
                    <a:pt x="826" y="36"/>
                  </a:lnTo>
                  <a:lnTo>
                    <a:pt x="818" y="36"/>
                  </a:lnTo>
                  <a:lnTo>
                    <a:pt x="810" y="32"/>
                  </a:lnTo>
                  <a:lnTo>
                    <a:pt x="798" y="26"/>
                  </a:lnTo>
                  <a:lnTo>
                    <a:pt x="786" y="18"/>
                  </a:lnTo>
                  <a:lnTo>
                    <a:pt x="776" y="16"/>
                  </a:lnTo>
                  <a:lnTo>
                    <a:pt x="770" y="16"/>
                  </a:lnTo>
                  <a:lnTo>
                    <a:pt x="764" y="20"/>
                  </a:lnTo>
                  <a:lnTo>
                    <a:pt x="756" y="28"/>
                  </a:lnTo>
                  <a:lnTo>
                    <a:pt x="752" y="32"/>
                  </a:lnTo>
                  <a:lnTo>
                    <a:pt x="748" y="34"/>
                  </a:lnTo>
                  <a:lnTo>
                    <a:pt x="740" y="36"/>
                  </a:lnTo>
                  <a:lnTo>
                    <a:pt x="732" y="38"/>
                  </a:lnTo>
                  <a:lnTo>
                    <a:pt x="728" y="40"/>
                  </a:lnTo>
                  <a:lnTo>
                    <a:pt x="726" y="42"/>
                  </a:lnTo>
                  <a:lnTo>
                    <a:pt x="726" y="46"/>
                  </a:lnTo>
                  <a:close/>
                  <a:moveTo>
                    <a:pt x="1600" y="438"/>
                  </a:moveTo>
                  <a:lnTo>
                    <a:pt x="1600" y="438"/>
                  </a:lnTo>
                  <a:lnTo>
                    <a:pt x="1594" y="436"/>
                  </a:lnTo>
                  <a:lnTo>
                    <a:pt x="1588" y="434"/>
                  </a:lnTo>
                  <a:lnTo>
                    <a:pt x="1586" y="436"/>
                  </a:lnTo>
                  <a:lnTo>
                    <a:pt x="1588" y="438"/>
                  </a:lnTo>
                  <a:lnTo>
                    <a:pt x="1590" y="442"/>
                  </a:lnTo>
                  <a:lnTo>
                    <a:pt x="1590" y="444"/>
                  </a:lnTo>
                  <a:lnTo>
                    <a:pt x="1592" y="446"/>
                  </a:lnTo>
                  <a:lnTo>
                    <a:pt x="1596" y="448"/>
                  </a:lnTo>
                  <a:lnTo>
                    <a:pt x="1600" y="448"/>
                  </a:lnTo>
                  <a:lnTo>
                    <a:pt x="1604" y="446"/>
                  </a:lnTo>
                  <a:lnTo>
                    <a:pt x="1604" y="444"/>
                  </a:lnTo>
                  <a:lnTo>
                    <a:pt x="1600" y="438"/>
                  </a:lnTo>
                  <a:close/>
                  <a:moveTo>
                    <a:pt x="1606" y="1248"/>
                  </a:moveTo>
                  <a:lnTo>
                    <a:pt x="1606" y="1248"/>
                  </a:lnTo>
                  <a:lnTo>
                    <a:pt x="1606" y="1252"/>
                  </a:lnTo>
                  <a:lnTo>
                    <a:pt x="1604" y="1260"/>
                  </a:lnTo>
                  <a:lnTo>
                    <a:pt x="1604" y="1268"/>
                  </a:lnTo>
                  <a:lnTo>
                    <a:pt x="1604" y="1272"/>
                  </a:lnTo>
                  <a:lnTo>
                    <a:pt x="1606" y="1274"/>
                  </a:lnTo>
                  <a:lnTo>
                    <a:pt x="1608" y="1274"/>
                  </a:lnTo>
                  <a:lnTo>
                    <a:pt x="1610" y="1270"/>
                  </a:lnTo>
                  <a:lnTo>
                    <a:pt x="1610" y="1260"/>
                  </a:lnTo>
                  <a:lnTo>
                    <a:pt x="1614" y="1250"/>
                  </a:lnTo>
                  <a:lnTo>
                    <a:pt x="1620" y="1240"/>
                  </a:lnTo>
                  <a:lnTo>
                    <a:pt x="1620" y="1236"/>
                  </a:lnTo>
                  <a:lnTo>
                    <a:pt x="1618" y="1232"/>
                  </a:lnTo>
                  <a:lnTo>
                    <a:pt x="1618" y="1228"/>
                  </a:lnTo>
                  <a:lnTo>
                    <a:pt x="1616" y="1224"/>
                  </a:lnTo>
                  <a:lnTo>
                    <a:pt x="1616" y="1220"/>
                  </a:lnTo>
                  <a:lnTo>
                    <a:pt x="1614" y="1220"/>
                  </a:lnTo>
                  <a:lnTo>
                    <a:pt x="1612" y="1224"/>
                  </a:lnTo>
                  <a:lnTo>
                    <a:pt x="1612" y="1230"/>
                  </a:lnTo>
                  <a:lnTo>
                    <a:pt x="1612" y="1234"/>
                  </a:lnTo>
                  <a:lnTo>
                    <a:pt x="1612" y="1236"/>
                  </a:lnTo>
                  <a:lnTo>
                    <a:pt x="1608" y="1240"/>
                  </a:lnTo>
                  <a:lnTo>
                    <a:pt x="1606" y="1244"/>
                  </a:lnTo>
                  <a:lnTo>
                    <a:pt x="1604" y="1246"/>
                  </a:lnTo>
                  <a:lnTo>
                    <a:pt x="1606" y="1248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2" name="Freeform 6153">
              <a:extLst>
                <a:ext uri="{FF2B5EF4-FFF2-40B4-BE49-F238E27FC236}">
                  <a16:creationId xmlns:a16="http://schemas.microsoft.com/office/drawing/2014/main" id="{CE44CFEB-214A-4C36-91AC-74C0745BB3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0913" y="2755900"/>
              <a:ext cx="1762125" cy="2303463"/>
            </a:xfrm>
            <a:custGeom>
              <a:avLst/>
              <a:gdLst>
                <a:gd name="T0" fmla="*/ 1666909 w 2776"/>
                <a:gd name="T1" fmla="*/ 1643154 h 3628"/>
                <a:gd name="T2" fmla="*/ 1572963 w 2776"/>
                <a:gd name="T3" fmla="*/ 1734581 h 3628"/>
                <a:gd name="T4" fmla="*/ 1567885 w 2776"/>
                <a:gd name="T5" fmla="*/ 1859024 h 3628"/>
                <a:gd name="T6" fmla="*/ 1595815 w 2776"/>
                <a:gd name="T7" fmla="*/ 1991086 h 3628"/>
                <a:gd name="T8" fmla="*/ 1712613 w 2776"/>
                <a:gd name="T9" fmla="*/ 1728232 h 3628"/>
                <a:gd name="T10" fmla="*/ 1736734 w 2776"/>
                <a:gd name="T11" fmla="*/ 1666011 h 3628"/>
                <a:gd name="T12" fmla="*/ 1698648 w 2776"/>
                <a:gd name="T13" fmla="*/ 844434 h 3628"/>
                <a:gd name="T14" fmla="*/ 1576772 w 2776"/>
                <a:gd name="T15" fmla="*/ 868560 h 3628"/>
                <a:gd name="T16" fmla="*/ 1533607 w 2776"/>
                <a:gd name="T17" fmla="*/ 784752 h 3628"/>
                <a:gd name="T18" fmla="*/ 1484095 w 2776"/>
                <a:gd name="T19" fmla="*/ 730150 h 3628"/>
                <a:gd name="T20" fmla="*/ 1434583 w 2776"/>
                <a:gd name="T21" fmla="*/ 633643 h 3628"/>
                <a:gd name="T22" fmla="*/ 1401575 w 2776"/>
                <a:gd name="T23" fmla="*/ 539676 h 3628"/>
                <a:gd name="T24" fmla="*/ 1353332 w 2776"/>
                <a:gd name="T25" fmla="*/ 454597 h 3628"/>
                <a:gd name="T26" fmla="*/ 1301281 w 2776"/>
                <a:gd name="T27" fmla="*/ 313647 h 3628"/>
                <a:gd name="T28" fmla="*/ 1263195 w 2776"/>
                <a:gd name="T29" fmla="*/ 199363 h 3628"/>
                <a:gd name="T30" fmla="*/ 1197179 w 2776"/>
                <a:gd name="T31" fmla="*/ 219680 h 3628"/>
                <a:gd name="T32" fmla="*/ 1090537 w 2776"/>
                <a:gd name="T33" fmla="*/ 195553 h 3628"/>
                <a:gd name="T34" fmla="*/ 983895 w 2776"/>
                <a:gd name="T35" fmla="*/ 156189 h 3628"/>
                <a:gd name="T36" fmla="*/ 873445 w 2776"/>
                <a:gd name="T37" fmla="*/ 208251 h 3628"/>
                <a:gd name="T38" fmla="*/ 743952 w 2776"/>
                <a:gd name="T39" fmla="*/ 142220 h 3628"/>
                <a:gd name="T40" fmla="*/ 731256 w 2776"/>
                <a:gd name="T41" fmla="*/ 69840 h 3628"/>
                <a:gd name="T42" fmla="*/ 712213 w 2776"/>
                <a:gd name="T43" fmla="*/ 20317 h 3628"/>
                <a:gd name="T44" fmla="*/ 633502 w 2776"/>
                <a:gd name="T45" fmla="*/ 8889 h 3628"/>
                <a:gd name="T46" fmla="*/ 534477 w 2776"/>
                <a:gd name="T47" fmla="*/ 17778 h 3628"/>
                <a:gd name="T48" fmla="*/ 424027 w 2776"/>
                <a:gd name="T49" fmla="*/ 54602 h 3628"/>
                <a:gd name="T50" fmla="*/ 344046 w 2776"/>
                <a:gd name="T51" fmla="*/ 72380 h 3628"/>
                <a:gd name="T52" fmla="*/ 210744 w 2776"/>
                <a:gd name="T53" fmla="*/ 162538 h 3628"/>
                <a:gd name="T54" fmla="*/ 124415 w 2776"/>
                <a:gd name="T55" fmla="*/ 312377 h 3628"/>
                <a:gd name="T56" fmla="*/ 38086 w 2776"/>
                <a:gd name="T57" fmla="*/ 453328 h 3628"/>
                <a:gd name="T58" fmla="*/ 15235 w 2776"/>
                <a:gd name="T59" fmla="*/ 537136 h 3628"/>
                <a:gd name="T60" fmla="*/ 38086 w 2776"/>
                <a:gd name="T61" fmla="*/ 626024 h 3628"/>
                <a:gd name="T62" fmla="*/ 25391 w 2776"/>
                <a:gd name="T63" fmla="*/ 775863 h 3628"/>
                <a:gd name="T64" fmla="*/ 34278 w 2776"/>
                <a:gd name="T65" fmla="*/ 802530 h 3628"/>
                <a:gd name="T66" fmla="*/ 34278 w 2776"/>
                <a:gd name="T67" fmla="*/ 825386 h 3628"/>
                <a:gd name="T68" fmla="*/ 54590 w 2776"/>
                <a:gd name="T69" fmla="*/ 848243 h 3628"/>
                <a:gd name="T70" fmla="*/ 71094 w 2776"/>
                <a:gd name="T71" fmla="*/ 863481 h 3628"/>
                <a:gd name="T72" fmla="*/ 106642 w 2776"/>
                <a:gd name="T73" fmla="*/ 909195 h 3628"/>
                <a:gd name="T74" fmla="*/ 115528 w 2776"/>
                <a:gd name="T75" fmla="*/ 940941 h 3628"/>
                <a:gd name="T76" fmla="*/ 171388 w 2776"/>
                <a:gd name="T77" fmla="*/ 996813 h 3628"/>
                <a:gd name="T78" fmla="*/ 319925 w 2776"/>
                <a:gd name="T79" fmla="*/ 1036177 h 3628"/>
                <a:gd name="T80" fmla="*/ 411332 w 2776"/>
                <a:gd name="T81" fmla="*/ 1038717 h 3628"/>
                <a:gd name="T82" fmla="*/ 535747 w 2776"/>
                <a:gd name="T83" fmla="*/ 993003 h 3628"/>
                <a:gd name="T84" fmla="*/ 632232 w 2776"/>
                <a:gd name="T85" fmla="*/ 1052685 h 3628"/>
                <a:gd name="T86" fmla="*/ 690631 w 2776"/>
                <a:gd name="T87" fmla="*/ 1069193 h 3628"/>
                <a:gd name="T88" fmla="*/ 686822 w 2776"/>
                <a:gd name="T89" fmla="*/ 1158081 h 3628"/>
                <a:gd name="T90" fmla="*/ 700787 w 2776"/>
                <a:gd name="T91" fmla="*/ 1193636 h 3628"/>
                <a:gd name="T92" fmla="*/ 690631 w 2776"/>
                <a:gd name="T93" fmla="*/ 1262206 h 3628"/>
                <a:gd name="T94" fmla="*/ 766804 w 2776"/>
                <a:gd name="T95" fmla="*/ 1376491 h 3628"/>
                <a:gd name="T96" fmla="*/ 797273 w 2776"/>
                <a:gd name="T97" fmla="*/ 1521251 h 3628"/>
                <a:gd name="T98" fmla="*/ 746491 w 2776"/>
                <a:gd name="T99" fmla="*/ 1737121 h 3628"/>
                <a:gd name="T100" fmla="*/ 846785 w 2776"/>
                <a:gd name="T101" fmla="*/ 2073625 h 3628"/>
                <a:gd name="T102" fmla="*/ 903914 w 2776"/>
                <a:gd name="T103" fmla="*/ 2242511 h 3628"/>
                <a:gd name="T104" fmla="*/ 934383 w 2776"/>
                <a:gd name="T105" fmla="*/ 2289495 h 3628"/>
                <a:gd name="T106" fmla="*/ 1009286 w 2776"/>
                <a:gd name="T107" fmla="*/ 2284416 h 3628"/>
                <a:gd name="T108" fmla="*/ 1104502 w 2776"/>
                <a:gd name="T109" fmla="*/ 2269178 h 3628"/>
                <a:gd name="T110" fmla="*/ 1280968 w 2776"/>
                <a:gd name="T111" fmla="*/ 2079974 h 3628"/>
                <a:gd name="T112" fmla="*/ 1354602 w 2776"/>
                <a:gd name="T113" fmla="*/ 1940293 h 3628"/>
                <a:gd name="T114" fmla="*/ 1338098 w 2776"/>
                <a:gd name="T115" fmla="*/ 1812041 h 3628"/>
                <a:gd name="T116" fmla="*/ 1482826 w 2776"/>
                <a:gd name="T117" fmla="*/ 1673630 h 3628"/>
                <a:gd name="T118" fmla="*/ 1475208 w 2776"/>
                <a:gd name="T119" fmla="*/ 1513632 h 3628"/>
                <a:gd name="T120" fmla="*/ 1448548 w 2776"/>
                <a:gd name="T121" fmla="*/ 1400617 h 3628"/>
                <a:gd name="T122" fmla="*/ 1491712 w 2776"/>
                <a:gd name="T123" fmla="*/ 1268555 h 3628"/>
                <a:gd name="T124" fmla="*/ 1679605 w 2776"/>
                <a:gd name="T125" fmla="*/ 1045066 h 362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776"/>
                <a:gd name="T190" fmla="*/ 0 h 3628"/>
                <a:gd name="T191" fmla="*/ 2776 w 2776"/>
                <a:gd name="T192" fmla="*/ 3628 h 362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776" h="3628">
                  <a:moveTo>
                    <a:pt x="2710" y="2504"/>
                  </a:moveTo>
                  <a:lnTo>
                    <a:pt x="2710" y="2504"/>
                  </a:lnTo>
                  <a:lnTo>
                    <a:pt x="2706" y="2498"/>
                  </a:lnTo>
                  <a:lnTo>
                    <a:pt x="2702" y="2492"/>
                  </a:lnTo>
                  <a:lnTo>
                    <a:pt x="2698" y="2476"/>
                  </a:lnTo>
                  <a:lnTo>
                    <a:pt x="2696" y="2470"/>
                  </a:lnTo>
                  <a:lnTo>
                    <a:pt x="2692" y="2466"/>
                  </a:lnTo>
                  <a:lnTo>
                    <a:pt x="2690" y="2468"/>
                  </a:lnTo>
                  <a:lnTo>
                    <a:pt x="2684" y="2472"/>
                  </a:lnTo>
                  <a:lnTo>
                    <a:pt x="2680" y="2480"/>
                  </a:lnTo>
                  <a:lnTo>
                    <a:pt x="2678" y="2486"/>
                  </a:lnTo>
                  <a:lnTo>
                    <a:pt x="2676" y="2508"/>
                  </a:lnTo>
                  <a:lnTo>
                    <a:pt x="2674" y="2518"/>
                  </a:lnTo>
                  <a:lnTo>
                    <a:pt x="2672" y="2526"/>
                  </a:lnTo>
                  <a:lnTo>
                    <a:pt x="2668" y="2532"/>
                  </a:lnTo>
                  <a:lnTo>
                    <a:pt x="2664" y="2536"/>
                  </a:lnTo>
                  <a:lnTo>
                    <a:pt x="2656" y="2542"/>
                  </a:lnTo>
                  <a:lnTo>
                    <a:pt x="2648" y="2544"/>
                  </a:lnTo>
                  <a:lnTo>
                    <a:pt x="2634" y="2546"/>
                  </a:lnTo>
                  <a:lnTo>
                    <a:pt x="2632" y="2548"/>
                  </a:lnTo>
                  <a:lnTo>
                    <a:pt x="2632" y="2554"/>
                  </a:lnTo>
                  <a:lnTo>
                    <a:pt x="2638" y="2566"/>
                  </a:lnTo>
                  <a:lnTo>
                    <a:pt x="2636" y="2572"/>
                  </a:lnTo>
                  <a:lnTo>
                    <a:pt x="2636" y="2576"/>
                  </a:lnTo>
                  <a:lnTo>
                    <a:pt x="2626" y="2588"/>
                  </a:lnTo>
                  <a:lnTo>
                    <a:pt x="2606" y="2608"/>
                  </a:lnTo>
                  <a:lnTo>
                    <a:pt x="2596" y="2618"/>
                  </a:lnTo>
                  <a:lnTo>
                    <a:pt x="2588" y="2628"/>
                  </a:lnTo>
                  <a:lnTo>
                    <a:pt x="2578" y="2640"/>
                  </a:lnTo>
                  <a:lnTo>
                    <a:pt x="2572" y="2646"/>
                  </a:lnTo>
                  <a:lnTo>
                    <a:pt x="2564" y="2650"/>
                  </a:lnTo>
                  <a:lnTo>
                    <a:pt x="2554" y="2652"/>
                  </a:lnTo>
                  <a:lnTo>
                    <a:pt x="2538" y="2656"/>
                  </a:lnTo>
                  <a:lnTo>
                    <a:pt x="2530" y="2658"/>
                  </a:lnTo>
                  <a:lnTo>
                    <a:pt x="2526" y="2660"/>
                  </a:lnTo>
                  <a:lnTo>
                    <a:pt x="2522" y="2664"/>
                  </a:lnTo>
                  <a:lnTo>
                    <a:pt x="2520" y="2668"/>
                  </a:lnTo>
                  <a:lnTo>
                    <a:pt x="2516" y="2670"/>
                  </a:lnTo>
                  <a:lnTo>
                    <a:pt x="2512" y="2670"/>
                  </a:lnTo>
                  <a:lnTo>
                    <a:pt x="2506" y="2670"/>
                  </a:lnTo>
                  <a:lnTo>
                    <a:pt x="2500" y="2670"/>
                  </a:lnTo>
                  <a:lnTo>
                    <a:pt x="2496" y="2670"/>
                  </a:lnTo>
                  <a:lnTo>
                    <a:pt x="2496" y="2672"/>
                  </a:lnTo>
                  <a:lnTo>
                    <a:pt x="2496" y="2676"/>
                  </a:lnTo>
                  <a:lnTo>
                    <a:pt x="2494" y="2690"/>
                  </a:lnTo>
                  <a:lnTo>
                    <a:pt x="2492" y="2700"/>
                  </a:lnTo>
                  <a:lnTo>
                    <a:pt x="2486" y="2712"/>
                  </a:lnTo>
                  <a:lnTo>
                    <a:pt x="2480" y="2724"/>
                  </a:lnTo>
                  <a:lnTo>
                    <a:pt x="2478" y="2732"/>
                  </a:lnTo>
                  <a:lnTo>
                    <a:pt x="2478" y="2738"/>
                  </a:lnTo>
                  <a:lnTo>
                    <a:pt x="2478" y="2742"/>
                  </a:lnTo>
                  <a:lnTo>
                    <a:pt x="2482" y="2750"/>
                  </a:lnTo>
                  <a:lnTo>
                    <a:pt x="2482" y="2754"/>
                  </a:lnTo>
                  <a:lnTo>
                    <a:pt x="2482" y="2762"/>
                  </a:lnTo>
                  <a:lnTo>
                    <a:pt x="2480" y="2772"/>
                  </a:lnTo>
                  <a:lnTo>
                    <a:pt x="2480" y="2778"/>
                  </a:lnTo>
                  <a:lnTo>
                    <a:pt x="2484" y="2790"/>
                  </a:lnTo>
                  <a:lnTo>
                    <a:pt x="2488" y="2798"/>
                  </a:lnTo>
                  <a:lnTo>
                    <a:pt x="2488" y="2802"/>
                  </a:lnTo>
                  <a:lnTo>
                    <a:pt x="2488" y="2806"/>
                  </a:lnTo>
                  <a:lnTo>
                    <a:pt x="2488" y="2814"/>
                  </a:lnTo>
                  <a:lnTo>
                    <a:pt x="2490" y="2820"/>
                  </a:lnTo>
                  <a:lnTo>
                    <a:pt x="2494" y="2832"/>
                  </a:lnTo>
                  <a:lnTo>
                    <a:pt x="2498" y="2848"/>
                  </a:lnTo>
                  <a:lnTo>
                    <a:pt x="2498" y="2860"/>
                  </a:lnTo>
                  <a:lnTo>
                    <a:pt x="2496" y="2868"/>
                  </a:lnTo>
                  <a:lnTo>
                    <a:pt x="2492" y="2876"/>
                  </a:lnTo>
                  <a:lnTo>
                    <a:pt x="2488" y="2884"/>
                  </a:lnTo>
                  <a:lnTo>
                    <a:pt x="2480" y="2900"/>
                  </a:lnTo>
                  <a:lnTo>
                    <a:pt x="2476" y="2908"/>
                  </a:lnTo>
                  <a:lnTo>
                    <a:pt x="2474" y="2916"/>
                  </a:lnTo>
                  <a:lnTo>
                    <a:pt x="2472" y="2924"/>
                  </a:lnTo>
                  <a:lnTo>
                    <a:pt x="2470" y="2928"/>
                  </a:lnTo>
                  <a:lnTo>
                    <a:pt x="2466" y="2928"/>
                  </a:lnTo>
                  <a:lnTo>
                    <a:pt x="2464" y="2928"/>
                  </a:lnTo>
                  <a:lnTo>
                    <a:pt x="2462" y="2930"/>
                  </a:lnTo>
                  <a:lnTo>
                    <a:pt x="2458" y="2934"/>
                  </a:lnTo>
                  <a:lnTo>
                    <a:pt x="2454" y="2942"/>
                  </a:lnTo>
                  <a:lnTo>
                    <a:pt x="2450" y="2954"/>
                  </a:lnTo>
                  <a:lnTo>
                    <a:pt x="2448" y="2968"/>
                  </a:lnTo>
                  <a:lnTo>
                    <a:pt x="2446" y="2980"/>
                  </a:lnTo>
                  <a:lnTo>
                    <a:pt x="2448" y="2990"/>
                  </a:lnTo>
                  <a:lnTo>
                    <a:pt x="2448" y="2998"/>
                  </a:lnTo>
                  <a:lnTo>
                    <a:pt x="2456" y="3012"/>
                  </a:lnTo>
                  <a:lnTo>
                    <a:pt x="2464" y="3026"/>
                  </a:lnTo>
                  <a:lnTo>
                    <a:pt x="2466" y="3034"/>
                  </a:lnTo>
                  <a:lnTo>
                    <a:pt x="2466" y="3040"/>
                  </a:lnTo>
                  <a:lnTo>
                    <a:pt x="2466" y="3054"/>
                  </a:lnTo>
                  <a:lnTo>
                    <a:pt x="2464" y="3062"/>
                  </a:lnTo>
                  <a:lnTo>
                    <a:pt x="2466" y="3072"/>
                  </a:lnTo>
                  <a:lnTo>
                    <a:pt x="2468" y="3084"/>
                  </a:lnTo>
                  <a:lnTo>
                    <a:pt x="2474" y="3100"/>
                  </a:lnTo>
                  <a:lnTo>
                    <a:pt x="2480" y="3114"/>
                  </a:lnTo>
                  <a:lnTo>
                    <a:pt x="2486" y="3122"/>
                  </a:lnTo>
                  <a:lnTo>
                    <a:pt x="2492" y="3126"/>
                  </a:lnTo>
                  <a:lnTo>
                    <a:pt x="2498" y="3130"/>
                  </a:lnTo>
                  <a:lnTo>
                    <a:pt x="2510" y="3134"/>
                  </a:lnTo>
                  <a:lnTo>
                    <a:pt x="2514" y="3136"/>
                  </a:lnTo>
                  <a:lnTo>
                    <a:pt x="2520" y="3142"/>
                  </a:lnTo>
                  <a:lnTo>
                    <a:pt x="2522" y="3144"/>
                  </a:lnTo>
                  <a:lnTo>
                    <a:pt x="2526" y="3146"/>
                  </a:lnTo>
                  <a:lnTo>
                    <a:pt x="2534" y="3146"/>
                  </a:lnTo>
                  <a:lnTo>
                    <a:pt x="2544" y="3144"/>
                  </a:lnTo>
                  <a:lnTo>
                    <a:pt x="2554" y="3140"/>
                  </a:lnTo>
                  <a:lnTo>
                    <a:pt x="2574" y="3128"/>
                  </a:lnTo>
                  <a:lnTo>
                    <a:pt x="2584" y="3124"/>
                  </a:lnTo>
                  <a:lnTo>
                    <a:pt x="2594" y="3122"/>
                  </a:lnTo>
                  <a:lnTo>
                    <a:pt x="2598" y="3120"/>
                  </a:lnTo>
                  <a:lnTo>
                    <a:pt x="2602" y="3116"/>
                  </a:lnTo>
                  <a:lnTo>
                    <a:pt x="2610" y="3096"/>
                  </a:lnTo>
                  <a:lnTo>
                    <a:pt x="2620" y="3068"/>
                  </a:lnTo>
                  <a:lnTo>
                    <a:pt x="2628" y="3034"/>
                  </a:lnTo>
                  <a:lnTo>
                    <a:pt x="2648" y="2952"/>
                  </a:lnTo>
                  <a:lnTo>
                    <a:pt x="2668" y="2870"/>
                  </a:lnTo>
                  <a:lnTo>
                    <a:pt x="2682" y="2822"/>
                  </a:lnTo>
                  <a:lnTo>
                    <a:pt x="2694" y="2792"/>
                  </a:lnTo>
                  <a:lnTo>
                    <a:pt x="2696" y="2780"/>
                  </a:lnTo>
                  <a:lnTo>
                    <a:pt x="2700" y="2768"/>
                  </a:lnTo>
                  <a:lnTo>
                    <a:pt x="2700" y="2756"/>
                  </a:lnTo>
                  <a:lnTo>
                    <a:pt x="2698" y="2742"/>
                  </a:lnTo>
                  <a:lnTo>
                    <a:pt x="2698" y="2730"/>
                  </a:lnTo>
                  <a:lnTo>
                    <a:pt x="2698" y="2722"/>
                  </a:lnTo>
                  <a:lnTo>
                    <a:pt x="2700" y="2718"/>
                  </a:lnTo>
                  <a:lnTo>
                    <a:pt x="2704" y="2714"/>
                  </a:lnTo>
                  <a:lnTo>
                    <a:pt x="2710" y="2710"/>
                  </a:lnTo>
                  <a:lnTo>
                    <a:pt x="2712" y="2706"/>
                  </a:lnTo>
                  <a:lnTo>
                    <a:pt x="2710" y="2700"/>
                  </a:lnTo>
                  <a:lnTo>
                    <a:pt x="2710" y="2690"/>
                  </a:lnTo>
                  <a:lnTo>
                    <a:pt x="2712" y="2684"/>
                  </a:lnTo>
                  <a:lnTo>
                    <a:pt x="2712" y="2674"/>
                  </a:lnTo>
                  <a:lnTo>
                    <a:pt x="2712" y="2670"/>
                  </a:lnTo>
                  <a:lnTo>
                    <a:pt x="2710" y="2662"/>
                  </a:lnTo>
                  <a:lnTo>
                    <a:pt x="2706" y="2654"/>
                  </a:lnTo>
                  <a:lnTo>
                    <a:pt x="2706" y="2648"/>
                  </a:lnTo>
                  <a:lnTo>
                    <a:pt x="2706" y="2642"/>
                  </a:lnTo>
                  <a:lnTo>
                    <a:pt x="2708" y="2638"/>
                  </a:lnTo>
                  <a:lnTo>
                    <a:pt x="2710" y="2636"/>
                  </a:lnTo>
                  <a:lnTo>
                    <a:pt x="2714" y="2640"/>
                  </a:lnTo>
                  <a:lnTo>
                    <a:pt x="2718" y="2646"/>
                  </a:lnTo>
                  <a:lnTo>
                    <a:pt x="2722" y="2658"/>
                  </a:lnTo>
                  <a:lnTo>
                    <a:pt x="2724" y="2662"/>
                  </a:lnTo>
                  <a:lnTo>
                    <a:pt x="2728" y="2662"/>
                  </a:lnTo>
                  <a:lnTo>
                    <a:pt x="2732" y="2658"/>
                  </a:lnTo>
                  <a:lnTo>
                    <a:pt x="2734" y="2652"/>
                  </a:lnTo>
                  <a:lnTo>
                    <a:pt x="2736" y="2644"/>
                  </a:lnTo>
                  <a:lnTo>
                    <a:pt x="2738" y="2634"/>
                  </a:lnTo>
                  <a:lnTo>
                    <a:pt x="2736" y="2624"/>
                  </a:lnTo>
                  <a:lnTo>
                    <a:pt x="2734" y="2614"/>
                  </a:lnTo>
                  <a:lnTo>
                    <a:pt x="2732" y="2604"/>
                  </a:lnTo>
                  <a:lnTo>
                    <a:pt x="2730" y="2590"/>
                  </a:lnTo>
                  <a:lnTo>
                    <a:pt x="2724" y="2556"/>
                  </a:lnTo>
                  <a:lnTo>
                    <a:pt x="2720" y="2522"/>
                  </a:lnTo>
                  <a:lnTo>
                    <a:pt x="2716" y="2510"/>
                  </a:lnTo>
                  <a:lnTo>
                    <a:pt x="2710" y="2504"/>
                  </a:lnTo>
                  <a:close/>
                  <a:moveTo>
                    <a:pt x="2770" y="1364"/>
                  </a:moveTo>
                  <a:lnTo>
                    <a:pt x="2770" y="1364"/>
                  </a:lnTo>
                  <a:lnTo>
                    <a:pt x="2764" y="1352"/>
                  </a:lnTo>
                  <a:lnTo>
                    <a:pt x="2762" y="1342"/>
                  </a:lnTo>
                  <a:lnTo>
                    <a:pt x="2764" y="1332"/>
                  </a:lnTo>
                  <a:lnTo>
                    <a:pt x="2766" y="1322"/>
                  </a:lnTo>
                  <a:lnTo>
                    <a:pt x="2770" y="1316"/>
                  </a:lnTo>
                  <a:lnTo>
                    <a:pt x="2770" y="1308"/>
                  </a:lnTo>
                  <a:lnTo>
                    <a:pt x="2768" y="1304"/>
                  </a:lnTo>
                  <a:lnTo>
                    <a:pt x="2762" y="1300"/>
                  </a:lnTo>
                  <a:lnTo>
                    <a:pt x="2752" y="1300"/>
                  </a:lnTo>
                  <a:lnTo>
                    <a:pt x="2746" y="1302"/>
                  </a:lnTo>
                  <a:lnTo>
                    <a:pt x="2730" y="1314"/>
                  </a:lnTo>
                  <a:lnTo>
                    <a:pt x="2720" y="1320"/>
                  </a:lnTo>
                  <a:lnTo>
                    <a:pt x="2708" y="1326"/>
                  </a:lnTo>
                  <a:lnTo>
                    <a:pt x="2694" y="1330"/>
                  </a:lnTo>
                  <a:lnTo>
                    <a:pt x="2676" y="1330"/>
                  </a:lnTo>
                  <a:lnTo>
                    <a:pt x="2660" y="1332"/>
                  </a:lnTo>
                  <a:lnTo>
                    <a:pt x="2650" y="1332"/>
                  </a:lnTo>
                  <a:lnTo>
                    <a:pt x="2646" y="1334"/>
                  </a:lnTo>
                  <a:lnTo>
                    <a:pt x="2646" y="1336"/>
                  </a:lnTo>
                  <a:lnTo>
                    <a:pt x="2646" y="1338"/>
                  </a:lnTo>
                  <a:lnTo>
                    <a:pt x="2644" y="1340"/>
                  </a:lnTo>
                  <a:lnTo>
                    <a:pt x="2640" y="1340"/>
                  </a:lnTo>
                  <a:lnTo>
                    <a:pt x="2630" y="1340"/>
                  </a:lnTo>
                  <a:lnTo>
                    <a:pt x="2618" y="1340"/>
                  </a:lnTo>
                  <a:lnTo>
                    <a:pt x="2608" y="1342"/>
                  </a:lnTo>
                  <a:lnTo>
                    <a:pt x="2602" y="1346"/>
                  </a:lnTo>
                  <a:lnTo>
                    <a:pt x="2596" y="1352"/>
                  </a:lnTo>
                  <a:lnTo>
                    <a:pt x="2590" y="1356"/>
                  </a:lnTo>
                  <a:lnTo>
                    <a:pt x="2584" y="1360"/>
                  </a:lnTo>
                  <a:lnTo>
                    <a:pt x="2574" y="1360"/>
                  </a:lnTo>
                  <a:lnTo>
                    <a:pt x="2564" y="1358"/>
                  </a:lnTo>
                  <a:lnTo>
                    <a:pt x="2552" y="1356"/>
                  </a:lnTo>
                  <a:lnTo>
                    <a:pt x="2542" y="1356"/>
                  </a:lnTo>
                  <a:lnTo>
                    <a:pt x="2534" y="1360"/>
                  </a:lnTo>
                  <a:lnTo>
                    <a:pt x="2528" y="1366"/>
                  </a:lnTo>
                  <a:lnTo>
                    <a:pt x="2520" y="1370"/>
                  </a:lnTo>
                  <a:lnTo>
                    <a:pt x="2512" y="1374"/>
                  </a:lnTo>
                  <a:lnTo>
                    <a:pt x="2504" y="1376"/>
                  </a:lnTo>
                  <a:lnTo>
                    <a:pt x="2494" y="1374"/>
                  </a:lnTo>
                  <a:lnTo>
                    <a:pt x="2484" y="1368"/>
                  </a:lnTo>
                  <a:lnTo>
                    <a:pt x="2476" y="1362"/>
                  </a:lnTo>
                  <a:lnTo>
                    <a:pt x="2470" y="1356"/>
                  </a:lnTo>
                  <a:lnTo>
                    <a:pt x="2466" y="1350"/>
                  </a:lnTo>
                  <a:lnTo>
                    <a:pt x="2458" y="1334"/>
                  </a:lnTo>
                  <a:lnTo>
                    <a:pt x="2454" y="1328"/>
                  </a:lnTo>
                  <a:lnTo>
                    <a:pt x="2448" y="1320"/>
                  </a:lnTo>
                  <a:lnTo>
                    <a:pt x="2444" y="1318"/>
                  </a:lnTo>
                  <a:lnTo>
                    <a:pt x="2438" y="1316"/>
                  </a:lnTo>
                  <a:lnTo>
                    <a:pt x="2428" y="1316"/>
                  </a:lnTo>
                  <a:lnTo>
                    <a:pt x="2426" y="1316"/>
                  </a:lnTo>
                  <a:lnTo>
                    <a:pt x="2428" y="1314"/>
                  </a:lnTo>
                  <a:lnTo>
                    <a:pt x="2444" y="1302"/>
                  </a:lnTo>
                  <a:lnTo>
                    <a:pt x="2450" y="1298"/>
                  </a:lnTo>
                  <a:lnTo>
                    <a:pt x="2452" y="1294"/>
                  </a:lnTo>
                  <a:lnTo>
                    <a:pt x="2452" y="1288"/>
                  </a:lnTo>
                  <a:lnTo>
                    <a:pt x="2452" y="1284"/>
                  </a:lnTo>
                  <a:lnTo>
                    <a:pt x="2448" y="1272"/>
                  </a:lnTo>
                  <a:lnTo>
                    <a:pt x="2440" y="1260"/>
                  </a:lnTo>
                  <a:lnTo>
                    <a:pt x="2436" y="1256"/>
                  </a:lnTo>
                  <a:lnTo>
                    <a:pt x="2432" y="1254"/>
                  </a:lnTo>
                  <a:lnTo>
                    <a:pt x="2426" y="1252"/>
                  </a:lnTo>
                  <a:lnTo>
                    <a:pt x="2422" y="1244"/>
                  </a:lnTo>
                  <a:lnTo>
                    <a:pt x="2418" y="1238"/>
                  </a:lnTo>
                  <a:lnTo>
                    <a:pt x="2416" y="1236"/>
                  </a:lnTo>
                  <a:lnTo>
                    <a:pt x="2414" y="1232"/>
                  </a:lnTo>
                  <a:lnTo>
                    <a:pt x="2410" y="1224"/>
                  </a:lnTo>
                  <a:lnTo>
                    <a:pt x="2404" y="1214"/>
                  </a:lnTo>
                  <a:lnTo>
                    <a:pt x="2402" y="1214"/>
                  </a:lnTo>
                  <a:lnTo>
                    <a:pt x="2402" y="1216"/>
                  </a:lnTo>
                  <a:lnTo>
                    <a:pt x="2396" y="1208"/>
                  </a:lnTo>
                  <a:lnTo>
                    <a:pt x="2394" y="1204"/>
                  </a:lnTo>
                  <a:lnTo>
                    <a:pt x="2392" y="1202"/>
                  </a:lnTo>
                  <a:lnTo>
                    <a:pt x="2388" y="1202"/>
                  </a:lnTo>
                  <a:lnTo>
                    <a:pt x="2384" y="1202"/>
                  </a:lnTo>
                  <a:lnTo>
                    <a:pt x="2382" y="1198"/>
                  </a:lnTo>
                  <a:lnTo>
                    <a:pt x="2378" y="1192"/>
                  </a:lnTo>
                  <a:lnTo>
                    <a:pt x="2372" y="1182"/>
                  </a:lnTo>
                  <a:lnTo>
                    <a:pt x="2366" y="1172"/>
                  </a:lnTo>
                  <a:lnTo>
                    <a:pt x="2362" y="1166"/>
                  </a:lnTo>
                  <a:lnTo>
                    <a:pt x="2358" y="1164"/>
                  </a:lnTo>
                  <a:lnTo>
                    <a:pt x="2356" y="1164"/>
                  </a:lnTo>
                  <a:lnTo>
                    <a:pt x="2354" y="1166"/>
                  </a:lnTo>
                  <a:lnTo>
                    <a:pt x="2352" y="1166"/>
                  </a:lnTo>
                  <a:lnTo>
                    <a:pt x="2348" y="1162"/>
                  </a:lnTo>
                  <a:lnTo>
                    <a:pt x="2344" y="1156"/>
                  </a:lnTo>
                  <a:lnTo>
                    <a:pt x="2340" y="1150"/>
                  </a:lnTo>
                  <a:lnTo>
                    <a:pt x="2338" y="1150"/>
                  </a:lnTo>
                  <a:lnTo>
                    <a:pt x="2334" y="1150"/>
                  </a:lnTo>
                  <a:lnTo>
                    <a:pt x="2332" y="1152"/>
                  </a:lnTo>
                  <a:lnTo>
                    <a:pt x="2330" y="1152"/>
                  </a:lnTo>
                  <a:lnTo>
                    <a:pt x="2326" y="1150"/>
                  </a:lnTo>
                  <a:lnTo>
                    <a:pt x="2322" y="1144"/>
                  </a:lnTo>
                  <a:lnTo>
                    <a:pt x="2316" y="1132"/>
                  </a:lnTo>
                  <a:lnTo>
                    <a:pt x="2312" y="1124"/>
                  </a:lnTo>
                  <a:lnTo>
                    <a:pt x="2310" y="1122"/>
                  </a:lnTo>
                  <a:lnTo>
                    <a:pt x="2308" y="1124"/>
                  </a:lnTo>
                  <a:lnTo>
                    <a:pt x="2308" y="1128"/>
                  </a:lnTo>
                  <a:lnTo>
                    <a:pt x="2308" y="1140"/>
                  </a:lnTo>
                  <a:lnTo>
                    <a:pt x="2308" y="1144"/>
                  </a:lnTo>
                  <a:lnTo>
                    <a:pt x="2306" y="1146"/>
                  </a:lnTo>
                  <a:lnTo>
                    <a:pt x="2304" y="1142"/>
                  </a:lnTo>
                  <a:lnTo>
                    <a:pt x="2300" y="1136"/>
                  </a:lnTo>
                  <a:lnTo>
                    <a:pt x="2298" y="1126"/>
                  </a:lnTo>
                  <a:lnTo>
                    <a:pt x="2290" y="1110"/>
                  </a:lnTo>
                  <a:lnTo>
                    <a:pt x="2286" y="1100"/>
                  </a:lnTo>
                  <a:lnTo>
                    <a:pt x="2284" y="1086"/>
                  </a:lnTo>
                  <a:lnTo>
                    <a:pt x="2280" y="1058"/>
                  </a:lnTo>
                  <a:lnTo>
                    <a:pt x="2276" y="1042"/>
                  </a:lnTo>
                  <a:lnTo>
                    <a:pt x="2272" y="1026"/>
                  </a:lnTo>
                  <a:lnTo>
                    <a:pt x="2268" y="1012"/>
                  </a:lnTo>
                  <a:lnTo>
                    <a:pt x="2260" y="998"/>
                  </a:lnTo>
                  <a:lnTo>
                    <a:pt x="2252" y="988"/>
                  </a:lnTo>
                  <a:lnTo>
                    <a:pt x="2248" y="984"/>
                  </a:lnTo>
                  <a:lnTo>
                    <a:pt x="2244" y="986"/>
                  </a:lnTo>
                  <a:lnTo>
                    <a:pt x="2242" y="986"/>
                  </a:lnTo>
                  <a:lnTo>
                    <a:pt x="2240" y="984"/>
                  </a:lnTo>
                  <a:lnTo>
                    <a:pt x="2236" y="976"/>
                  </a:lnTo>
                  <a:lnTo>
                    <a:pt x="2230" y="968"/>
                  </a:lnTo>
                  <a:lnTo>
                    <a:pt x="2226" y="966"/>
                  </a:lnTo>
                  <a:lnTo>
                    <a:pt x="2222" y="966"/>
                  </a:lnTo>
                  <a:lnTo>
                    <a:pt x="2220" y="966"/>
                  </a:lnTo>
                  <a:lnTo>
                    <a:pt x="2218" y="964"/>
                  </a:lnTo>
                  <a:lnTo>
                    <a:pt x="2212" y="956"/>
                  </a:lnTo>
                  <a:lnTo>
                    <a:pt x="2208" y="944"/>
                  </a:lnTo>
                  <a:lnTo>
                    <a:pt x="2206" y="928"/>
                  </a:lnTo>
                  <a:lnTo>
                    <a:pt x="2202" y="900"/>
                  </a:lnTo>
                  <a:lnTo>
                    <a:pt x="2200" y="890"/>
                  </a:lnTo>
                  <a:lnTo>
                    <a:pt x="2202" y="884"/>
                  </a:lnTo>
                  <a:lnTo>
                    <a:pt x="2204" y="876"/>
                  </a:lnTo>
                  <a:lnTo>
                    <a:pt x="2204" y="870"/>
                  </a:lnTo>
                  <a:lnTo>
                    <a:pt x="2200" y="858"/>
                  </a:lnTo>
                  <a:lnTo>
                    <a:pt x="2198" y="850"/>
                  </a:lnTo>
                  <a:lnTo>
                    <a:pt x="2200" y="848"/>
                  </a:lnTo>
                  <a:lnTo>
                    <a:pt x="2204" y="850"/>
                  </a:lnTo>
                  <a:lnTo>
                    <a:pt x="2208" y="850"/>
                  </a:lnTo>
                  <a:lnTo>
                    <a:pt x="2210" y="848"/>
                  </a:lnTo>
                  <a:lnTo>
                    <a:pt x="2204" y="842"/>
                  </a:lnTo>
                  <a:lnTo>
                    <a:pt x="2198" y="826"/>
                  </a:lnTo>
                  <a:lnTo>
                    <a:pt x="2194" y="816"/>
                  </a:lnTo>
                  <a:lnTo>
                    <a:pt x="2192" y="802"/>
                  </a:lnTo>
                  <a:lnTo>
                    <a:pt x="2190" y="794"/>
                  </a:lnTo>
                  <a:lnTo>
                    <a:pt x="2188" y="790"/>
                  </a:lnTo>
                  <a:lnTo>
                    <a:pt x="2184" y="786"/>
                  </a:lnTo>
                  <a:lnTo>
                    <a:pt x="2176" y="784"/>
                  </a:lnTo>
                  <a:lnTo>
                    <a:pt x="2174" y="782"/>
                  </a:lnTo>
                  <a:lnTo>
                    <a:pt x="2170" y="780"/>
                  </a:lnTo>
                  <a:lnTo>
                    <a:pt x="2166" y="772"/>
                  </a:lnTo>
                  <a:lnTo>
                    <a:pt x="2162" y="766"/>
                  </a:lnTo>
                  <a:lnTo>
                    <a:pt x="2160" y="764"/>
                  </a:lnTo>
                  <a:lnTo>
                    <a:pt x="2154" y="764"/>
                  </a:lnTo>
                  <a:lnTo>
                    <a:pt x="2150" y="762"/>
                  </a:lnTo>
                  <a:lnTo>
                    <a:pt x="2146" y="758"/>
                  </a:lnTo>
                  <a:lnTo>
                    <a:pt x="2138" y="746"/>
                  </a:lnTo>
                  <a:lnTo>
                    <a:pt x="2134" y="752"/>
                  </a:lnTo>
                  <a:lnTo>
                    <a:pt x="2138" y="746"/>
                  </a:lnTo>
                  <a:lnTo>
                    <a:pt x="2134" y="732"/>
                  </a:lnTo>
                  <a:lnTo>
                    <a:pt x="2132" y="716"/>
                  </a:lnTo>
                  <a:lnTo>
                    <a:pt x="2132" y="710"/>
                  </a:lnTo>
                  <a:lnTo>
                    <a:pt x="2134" y="706"/>
                  </a:lnTo>
                  <a:lnTo>
                    <a:pt x="2136" y="702"/>
                  </a:lnTo>
                  <a:lnTo>
                    <a:pt x="2142" y="702"/>
                  </a:lnTo>
                  <a:lnTo>
                    <a:pt x="2144" y="702"/>
                  </a:lnTo>
                  <a:lnTo>
                    <a:pt x="2138" y="698"/>
                  </a:lnTo>
                  <a:lnTo>
                    <a:pt x="2134" y="692"/>
                  </a:lnTo>
                  <a:lnTo>
                    <a:pt x="2128" y="684"/>
                  </a:lnTo>
                  <a:lnTo>
                    <a:pt x="2120" y="674"/>
                  </a:lnTo>
                  <a:lnTo>
                    <a:pt x="2116" y="662"/>
                  </a:lnTo>
                  <a:lnTo>
                    <a:pt x="2108" y="642"/>
                  </a:lnTo>
                  <a:lnTo>
                    <a:pt x="2098" y="624"/>
                  </a:lnTo>
                  <a:lnTo>
                    <a:pt x="2082" y="594"/>
                  </a:lnTo>
                  <a:lnTo>
                    <a:pt x="2072" y="572"/>
                  </a:lnTo>
                  <a:lnTo>
                    <a:pt x="2070" y="564"/>
                  </a:lnTo>
                  <a:lnTo>
                    <a:pt x="2070" y="556"/>
                  </a:lnTo>
                  <a:lnTo>
                    <a:pt x="2070" y="550"/>
                  </a:lnTo>
                  <a:lnTo>
                    <a:pt x="2070" y="544"/>
                  </a:lnTo>
                  <a:lnTo>
                    <a:pt x="2064" y="534"/>
                  </a:lnTo>
                  <a:lnTo>
                    <a:pt x="2058" y="526"/>
                  </a:lnTo>
                  <a:lnTo>
                    <a:pt x="2056" y="520"/>
                  </a:lnTo>
                  <a:lnTo>
                    <a:pt x="2056" y="512"/>
                  </a:lnTo>
                  <a:lnTo>
                    <a:pt x="2054" y="504"/>
                  </a:lnTo>
                  <a:lnTo>
                    <a:pt x="2050" y="494"/>
                  </a:lnTo>
                  <a:lnTo>
                    <a:pt x="2036" y="474"/>
                  </a:lnTo>
                  <a:lnTo>
                    <a:pt x="2022" y="452"/>
                  </a:lnTo>
                  <a:lnTo>
                    <a:pt x="2018" y="442"/>
                  </a:lnTo>
                  <a:lnTo>
                    <a:pt x="2016" y="434"/>
                  </a:lnTo>
                  <a:lnTo>
                    <a:pt x="2016" y="426"/>
                  </a:lnTo>
                  <a:lnTo>
                    <a:pt x="2014" y="422"/>
                  </a:lnTo>
                  <a:lnTo>
                    <a:pt x="2010" y="416"/>
                  </a:lnTo>
                  <a:lnTo>
                    <a:pt x="2008" y="412"/>
                  </a:lnTo>
                  <a:lnTo>
                    <a:pt x="2008" y="408"/>
                  </a:lnTo>
                  <a:lnTo>
                    <a:pt x="2010" y="402"/>
                  </a:lnTo>
                  <a:lnTo>
                    <a:pt x="2014" y="394"/>
                  </a:lnTo>
                  <a:lnTo>
                    <a:pt x="2000" y="332"/>
                  </a:lnTo>
                  <a:lnTo>
                    <a:pt x="1998" y="332"/>
                  </a:lnTo>
                  <a:lnTo>
                    <a:pt x="1996" y="328"/>
                  </a:lnTo>
                  <a:lnTo>
                    <a:pt x="1992" y="326"/>
                  </a:lnTo>
                  <a:lnTo>
                    <a:pt x="1990" y="326"/>
                  </a:lnTo>
                  <a:lnTo>
                    <a:pt x="1986" y="326"/>
                  </a:lnTo>
                  <a:lnTo>
                    <a:pt x="1984" y="324"/>
                  </a:lnTo>
                  <a:lnTo>
                    <a:pt x="1984" y="322"/>
                  </a:lnTo>
                  <a:lnTo>
                    <a:pt x="1984" y="320"/>
                  </a:lnTo>
                  <a:lnTo>
                    <a:pt x="1986" y="318"/>
                  </a:lnTo>
                  <a:lnTo>
                    <a:pt x="1988" y="316"/>
                  </a:lnTo>
                  <a:lnTo>
                    <a:pt x="1990" y="314"/>
                  </a:lnTo>
                  <a:lnTo>
                    <a:pt x="1992" y="316"/>
                  </a:lnTo>
                  <a:lnTo>
                    <a:pt x="1998" y="320"/>
                  </a:lnTo>
                  <a:lnTo>
                    <a:pt x="1996" y="316"/>
                  </a:lnTo>
                  <a:lnTo>
                    <a:pt x="1990" y="310"/>
                  </a:lnTo>
                  <a:lnTo>
                    <a:pt x="1988" y="308"/>
                  </a:lnTo>
                  <a:lnTo>
                    <a:pt x="1986" y="308"/>
                  </a:lnTo>
                  <a:lnTo>
                    <a:pt x="1980" y="312"/>
                  </a:lnTo>
                  <a:lnTo>
                    <a:pt x="1976" y="314"/>
                  </a:lnTo>
                  <a:lnTo>
                    <a:pt x="1974" y="314"/>
                  </a:lnTo>
                  <a:lnTo>
                    <a:pt x="1966" y="310"/>
                  </a:lnTo>
                  <a:lnTo>
                    <a:pt x="1958" y="306"/>
                  </a:lnTo>
                  <a:lnTo>
                    <a:pt x="1954" y="306"/>
                  </a:lnTo>
                  <a:lnTo>
                    <a:pt x="1948" y="308"/>
                  </a:lnTo>
                  <a:lnTo>
                    <a:pt x="1938" y="312"/>
                  </a:lnTo>
                  <a:lnTo>
                    <a:pt x="1932" y="312"/>
                  </a:lnTo>
                  <a:lnTo>
                    <a:pt x="1928" y="312"/>
                  </a:lnTo>
                  <a:lnTo>
                    <a:pt x="1922" y="318"/>
                  </a:lnTo>
                  <a:lnTo>
                    <a:pt x="1920" y="320"/>
                  </a:lnTo>
                  <a:lnTo>
                    <a:pt x="1916" y="322"/>
                  </a:lnTo>
                  <a:lnTo>
                    <a:pt x="1908" y="326"/>
                  </a:lnTo>
                  <a:lnTo>
                    <a:pt x="1892" y="340"/>
                  </a:lnTo>
                  <a:lnTo>
                    <a:pt x="1886" y="346"/>
                  </a:lnTo>
                  <a:lnTo>
                    <a:pt x="1880" y="346"/>
                  </a:lnTo>
                  <a:lnTo>
                    <a:pt x="1874" y="346"/>
                  </a:lnTo>
                  <a:lnTo>
                    <a:pt x="1866" y="344"/>
                  </a:lnTo>
                  <a:lnTo>
                    <a:pt x="1854" y="336"/>
                  </a:lnTo>
                  <a:lnTo>
                    <a:pt x="1848" y="334"/>
                  </a:lnTo>
                  <a:lnTo>
                    <a:pt x="1844" y="334"/>
                  </a:lnTo>
                  <a:lnTo>
                    <a:pt x="1836" y="332"/>
                  </a:lnTo>
                  <a:lnTo>
                    <a:pt x="1830" y="330"/>
                  </a:lnTo>
                  <a:lnTo>
                    <a:pt x="1826" y="326"/>
                  </a:lnTo>
                  <a:lnTo>
                    <a:pt x="1822" y="326"/>
                  </a:lnTo>
                  <a:lnTo>
                    <a:pt x="1818" y="326"/>
                  </a:lnTo>
                  <a:lnTo>
                    <a:pt x="1812" y="326"/>
                  </a:lnTo>
                  <a:lnTo>
                    <a:pt x="1812" y="324"/>
                  </a:lnTo>
                  <a:lnTo>
                    <a:pt x="1808" y="322"/>
                  </a:lnTo>
                  <a:lnTo>
                    <a:pt x="1804" y="318"/>
                  </a:lnTo>
                  <a:lnTo>
                    <a:pt x="1794" y="314"/>
                  </a:lnTo>
                  <a:lnTo>
                    <a:pt x="1778" y="310"/>
                  </a:lnTo>
                  <a:lnTo>
                    <a:pt x="1762" y="308"/>
                  </a:lnTo>
                  <a:lnTo>
                    <a:pt x="1750" y="306"/>
                  </a:lnTo>
                  <a:lnTo>
                    <a:pt x="1734" y="308"/>
                  </a:lnTo>
                  <a:lnTo>
                    <a:pt x="1724" y="310"/>
                  </a:lnTo>
                  <a:lnTo>
                    <a:pt x="1718" y="310"/>
                  </a:lnTo>
                  <a:lnTo>
                    <a:pt x="1718" y="308"/>
                  </a:lnTo>
                  <a:lnTo>
                    <a:pt x="1716" y="302"/>
                  </a:lnTo>
                  <a:lnTo>
                    <a:pt x="1714" y="292"/>
                  </a:lnTo>
                  <a:lnTo>
                    <a:pt x="1710" y="288"/>
                  </a:lnTo>
                  <a:lnTo>
                    <a:pt x="1706" y="286"/>
                  </a:lnTo>
                  <a:lnTo>
                    <a:pt x="1700" y="284"/>
                  </a:lnTo>
                  <a:lnTo>
                    <a:pt x="1692" y="284"/>
                  </a:lnTo>
                  <a:lnTo>
                    <a:pt x="1678" y="284"/>
                  </a:lnTo>
                  <a:lnTo>
                    <a:pt x="1672" y="282"/>
                  </a:lnTo>
                  <a:lnTo>
                    <a:pt x="1666" y="280"/>
                  </a:lnTo>
                  <a:lnTo>
                    <a:pt x="1654" y="278"/>
                  </a:lnTo>
                  <a:lnTo>
                    <a:pt x="1648" y="276"/>
                  </a:lnTo>
                  <a:lnTo>
                    <a:pt x="1644" y="274"/>
                  </a:lnTo>
                  <a:lnTo>
                    <a:pt x="1640" y="266"/>
                  </a:lnTo>
                  <a:lnTo>
                    <a:pt x="1638" y="262"/>
                  </a:lnTo>
                  <a:lnTo>
                    <a:pt x="1632" y="256"/>
                  </a:lnTo>
                  <a:lnTo>
                    <a:pt x="1624" y="250"/>
                  </a:lnTo>
                  <a:lnTo>
                    <a:pt x="1612" y="242"/>
                  </a:lnTo>
                  <a:lnTo>
                    <a:pt x="1596" y="236"/>
                  </a:lnTo>
                  <a:lnTo>
                    <a:pt x="1584" y="236"/>
                  </a:lnTo>
                  <a:lnTo>
                    <a:pt x="1574" y="238"/>
                  </a:lnTo>
                  <a:lnTo>
                    <a:pt x="1568" y="242"/>
                  </a:lnTo>
                  <a:lnTo>
                    <a:pt x="1564" y="244"/>
                  </a:lnTo>
                  <a:lnTo>
                    <a:pt x="1560" y="246"/>
                  </a:lnTo>
                  <a:lnTo>
                    <a:pt x="1550" y="246"/>
                  </a:lnTo>
                  <a:lnTo>
                    <a:pt x="1544" y="248"/>
                  </a:lnTo>
                  <a:lnTo>
                    <a:pt x="1536" y="252"/>
                  </a:lnTo>
                  <a:lnTo>
                    <a:pt x="1528" y="260"/>
                  </a:lnTo>
                  <a:lnTo>
                    <a:pt x="1516" y="274"/>
                  </a:lnTo>
                  <a:lnTo>
                    <a:pt x="1510" y="284"/>
                  </a:lnTo>
                  <a:lnTo>
                    <a:pt x="1508" y="292"/>
                  </a:lnTo>
                  <a:lnTo>
                    <a:pt x="1508" y="302"/>
                  </a:lnTo>
                  <a:lnTo>
                    <a:pt x="1510" y="314"/>
                  </a:lnTo>
                  <a:lnTo>
                    <a:pt x="1512" y="324"/>
                  </a:lnTo>
                  <a:lnTo>
                    <a:pt x="1514" y="334"/>
                  </a:lnTo>
                  <a:lnTo>
                    <a:pt x="1512" y="344"/>
                  </a:lnTo>
                  <a:lnTo>
                    <a:pt x="1506" y="354"/>
                  </a:lnTo>
                  <a:lnTo>
                    <a:pt x="1498" y="362"/>
                  </a:lnTo>
                  <a:lnTo>
                    <a:pt x="1492" y="368"/>
                  </a:lnTo>
                  <a:lnTo>
                    <a:pt x="1484" y="374"/>
                  </a:lnTo>
                  <a:lnTo>
                    <a:pt x="1478" y="376"/>
                  </a:lnTo>
                  <a:lnTo>
                    <a:pt x="1470" y="376"/>
                  </a:lnTo>
                  <a:lnTo>
                    <a:pt x="1464" y="374"/>
                  </a:lnTo>
                  <a:lnTo>
                    <a:pt x="1458" y="368"/>
                  </a:lnTo>
                  <a:lnTo>
                    <a:pt x="1452" y="362"/>
                  </a:lnTo>
                  <a:lnTo>
                    <a:pt x="1446" y="356"/>
                  </a:lnTo>
                  <a:lnTo>
                    <a:pt x="1438" y="350"/>
                  </a:lnTo>
                  <a:lnTo>
                    <a:pt x="1418" y="338"/>
                  </a:lnTo>
                  <a:lnTo>
                    <a:pt x="1398" y="330"/>
                  </a:lnTo>
                  <a:lnTo>
                    <a:pt x="1376" y="328"/>
                  </a:lnTo>
                  <a:lnTo>
                    <a:pt x="1358" y="326"/>
                  </a:lnTo>
                  <a:lnTo>
                    <a:pt x="1350" y="324"/>
                  </a:lnTo>
                  <a:lnTo>
                    <a:pt x="1344" y="320"/>
                  </a:lnTo>
                  <a:lnTo>
                    <a:pt x="1338" y="316"/>
                  </a:lnTo>
                  <a:lnTo>
                    <a:pt x="1334" y="310"/>
                  </a:lnTo>
                  <a:lnTo>
                    <a:pt x="1330" y="300"/>
                  </a:lnTo>
                  <a:lnTo>
                    <a:pt x="1326" y="288"/>
                  </a:lnTo>
                  <a:lnTo>
                    <a:pt x="1324" y="276"/>
                  </a:lnTo>
                  <a:lnTo>
                    <a:pt x="1320" y="268"/>
                  </a:lnTo>
                  <a:lnTo>
                    <a:pt x="1314" y="262"/>
                  </a:lnTo>
                  <a:lnTo>
                    <a:pt x="1306" y="260"/>
                  </a:lnTo>
                  <a:lnTo>
                    <a:pt x="1294" y="258"/>
                  </a:lnTo>
                  <a:lnTo>
                    <a:pt x="1288" y="256"/>
                  </a:lnTo>
                  <a:lnTo>
                    <a:pt x="1284" y="254"/>
                  </a:lnTo>
                  <a:lnTo>
                    <a:pt x="1272" y="248"/>
                  </a:lnTo>
                  <a:lnTo>
                    <a:pt x="1256" y="242"/>
                  </a:lnTo>
                  <a:lnTo>
                    <a:pt x="1238" y="240"/>
                  </a:lnTo>
                  <a:lnTo>
                    <a:pt x="1230" y="240"/>
                  </a:lnTo>
                  <a:lnTo>
                    <a:pt x="1224" y="240"/>
                  </a:lnTo>
                  <a:lnTo>
                    <a:pt x="1216" y="242"/>
                  </a:lnTo>
                  <a:lnTo>
                    <a:pt x="1210" y="242"/>
                  </a:lnTo>
                  <a:lnTo>
                    <a:pt x="1196" y="236"/>
                  </a:lnTo>
                  <a:lnTo>
                    <a:pt x="1182" y="230"/>
                  </a:lnTo>
                  <a:lnTo>
                    <a:pt x="1172" y="224"/>
                  </a:lnTo>
                  <a:lnTo>
                    <a:pt x="1160" y="218"/>
                  </a:lnTo>
                  <a:lnTo>
                    <a:pt x="1156" y="214"/>
                  </a:lnTo>
                  <a:lnTo>
                    <a:pt x="1154" y="206"/>
                  </a:lnTo>
                  <a:lnTo>
                    <a:pt x="1152" y="198"/>
                  </a:lnTo>
                  <a:lnTo>
                    <a:pt x="1150" y="198"/>
                  </a:lnTo>
                  <a:lnTo>
                    <a:pt x="1148" y="198"/>
                  </a:lnTo>
                  <a:lnTo>
                    <a:pt x="1144" y="200"/>
                  </a:lnTo>
                  <a:lnTo>
                    <a:pt x="1142" y="200"/>
                  </a:lnTo>
                  <a:lnTo>
                    <a:pt x="1140" y="198"/>
                  </a:lnTo>
                  <a:lnTo>
                    <a:pt x="1132" y="196"/>
                  </a:lnTo>
                  <a:lnTo>
                    <a:pt x="1124" y="194"/>
                  </a:lnTo>
                  <a:lnTo>
                    <a:pt x="1118" y="194"/>
                  </a:lnTo>
                  <a:lnTo>
                    <a:pt x="1114" y="190"/>
                  </a:lnTo>
                  <a:lnTo>
                    <a:pt x="1110" y="184"/>
                  </a:lnTo>
                  <a:lnTo>
                    <a:pt x="1108" y="176"/>
                  </a:lnTo>
                  <a:lnTo>
                    <a:pt x="1110" y="170"/>
                  </a:lnTo>
                  <a:lnTo>
                    <a:pt x="1116" y="162"/>
                  </a:lnTo>
                  <a:lnTo>
                    <a:pt x="1134" y="144"/>
                  </a:lnTo>
                  <a:lnTo>
                    <a:pt x="1142" y="134"/>
                  </a:lnTo>
                  <a:lnTo>
                    <a:pt x="1150" y="124"/>
                  </a:lnTo>
                  <a:lnTo>
                    <a:pt x="1154" y="116"/>
                  </a:lnTo>
                  <a:lnTo>
                    <a:pt x="1154" y="114"/>
                  </a:lnTo>
                  <a:lnTo>
                    <a:pt x="1152" y="110"/>
                  </a:lnTo>
                  <a:lnTo>
                    <a:pt x="1150" y="106"/>
                  </a:lnTo>
                  <a:lnTo>
                    <a:pt x="1148" y="102"/>
                  </a:lnTo>
                  <a:lnTo>
                    <a:pt x="1148" y="96"/>
                  </a:lnTo>
                  <a:lnTo>
                    <a:pt x="1148" y="92"/>
                  </a:lnTo>
                  <a:lnTo>
                    <a:pt x="1146" y="90"/>
                  </a:lnTo>
                  <a:lnTo>
                    <a:pt x="1142" y="86"/>
                  </a:lnTo>
                  <a:lnTo>
                    <a:pt x="1136" y="82"/>
                  </a:lnTo>
                  <a:lnTo>
                    <a:pt x="1132" y="78"/>
                  </a:lnTo>
                  <a:lnTo>
                    <a:pt x="1128" y="74"/>
                  </a:lnTo>
                  <a:lnTo>
                    <a:pt x="1124" y="64"/>
                  </a:lnTo>
                  <a:lnTo>
                    <a:pt x="1124" y="60"/>
                  </a:lnTo>
                  <a:lnTo>
                    <a:pt x="1124" y="56"/>
                  </a:lnTo>
                  <a:lnTo>
                    <a:pt x="1126" y="52"/>
                  </a:lnTo>
                  <a:lnTo>
                    <a:pt x="1130" y="50"/>
                  </a:lnTo>
                  <a:lnTo>
                    <a:pt x="1140" y="42"/>
                  </a:lnTo>
                  <a:lnTo>
                    <a:pt x="1148" y="34"/>
                  </a:lnTo>
                  <a:lnTo>
                    <a:pt x="1152" y="26"/>
                  </a:lnTo>
                  <a:lnTo>
                    <a:pt x="1152" y="20"/>
                  </a:lnTo>
                  <a:lnTo>
                    <a:pt x="1152" y="16"/>
                  </a:lnTo>
                  <a:lnTo>
                    <a:pt x="1148" y="14"/>
                  </a:lnTo>
                  <a:lnTo>
                    <a:pt x="1146" y="16"/>
                  </a:lnTo>
                  <a:lnTo>
                    <a:pt x="1136" y="22"/>
                  </a:lnTo>
                  <a:lnTo>
                    <a:pt x="1128" y="30"/>
                  </a:lnTo>
                  <a:lnTo>
                    <a:pt x="1124" y="32"/>
                  </a:lnTo>
                  <a:lnTo>
                    <a:pt x="1122" y="32"/>
                  </a:lnTo>
                  <a:lnTo>
                    <a:pt x="1120" y="30"/>
                  </a:lnTo>
                  <a:lnTo>
                    <a:pt x="1118" y="26"/>
                  </a:lnTo>
                  <a:lnTo>
                    <a:pt x="1118" y="18"/>
                  </a:lnTo>
                  <a:lnTo>
                    <a:pt x="1116" y="10"/>
                  </a:lnTo>
                  <a:lnTo>
                    <a:pt x="1112" y="6"/>
                  </a:lnTo>
                  <a:lnTo>
                    <a:pt x="1108" y="4"/>
                  </a:lnTo>
                  <a:lnTo>
                    <a:pt x="1096" y="0"/>
                  </a:lnTo>
                  <a:lnTo>
                    <a:pt x="1088" y="2"/>
                  </a:lnTo>
                  <a:lnTo>
                    <a:pt x="1080" y="4"/>
                  </a:lnTo>
                  <a:lnTo>
                    <a:pt x="1074" y="6"/>
                  </a:lnTo>
                  <a:lnTo>
                    <a:pt x="1064" y="16"/>
                  </a:lnTo>
                  <a:lnTo>
                    <a:pt x="1058" y="22"/>
                  </a:lnTo>
                  <a:lnTo>
                    <a:pt x="1052" y="22"/>
                  </a:lnTo>
                  <a:lnTo>
                    <a:pt x="1040" y="22"/>
                  </a:lnTo>
                  <a:lnTo>
                    <a:pt x="1034" y="22"/>
                  </a:lnTo>
                  <a:lnTo>
                    <a:pt x="1026" y="24"/>
                  </a:lnTo>
                  <a:lnTo>
                    <a:pt x="1022" y="28"/>
                  </a:lnTo>
                  <a:lnTo>
                    <a:pt x="1018" y="24"/>
                  </a:lnTo>
                  <a:lnTo>
                    <a:pt x="1014" y="20"/>
                  </a:lnTo>
                  <a:lnTo>
                    <a:pt x="1006" y="14"/>
                  </a:lnTo>
                  <a:lnTo>
                    <a:pt x="1002" y="12"/>
                  </a:lnTo>
                  <a:lnTo>
                    <a:pt x="998" y="14"/>
                  </a:lnTo>
                  <a:lnTo>
                    <a:pt x="994" y="18"/>
                  </a:lnTo>
                  <a:lnTo>
                    <a:pt x="992" y="20"/>
                  </a:lnTo>
                  <a:lnTo>
                    <a:pt x="988" y="22"/>
                  </a:lnTo>
                  <a:lnTo>
                    <a:pt x="984" y="22"/>
                  </a:lnTo>
                  <a:lnTo>
                    <a:pt x="978" y="20"/>
                  </a:lnTo>
                  <a:lnTo>
                    <a:pt x="966" y="16"/>
                  </a:lnTo>
                  <a:lnTo>
                    <a:pt x="962" y="16"/>
                  </a:lnTo>
                  <a:lnTo>
                    <a:pt x="960" y="18"/>
                  </a:lnTo>
                  <a:lnTo>
                    <a:pt x="954" y="22"/>
                  </a:lnTo>
                  <a:lnTo>
                    <a:pt x="942" y="26"/>
                  </a:lnTo>
                  <a:lnTo>
                    <a:pt x="936" y="28"/>
                  </a:lnTo>
                  <a:lnTo>
                    <a:pt x="930" y="30"/>
                  </a:lnTo>
                  <a:lnTo>
                    <a:pt x="924" y="36"/>
                  </a:lnTo>
                  <a:lnTo>
                    <a:pt x="920" y="38"/>
                  </a:lnTo>
                  <a:lnTo>
                    <a:pt x="918" y="38"/>
                  </a:lnTo>
                  <a:lnTo>
                    <a:pt x="914" y="36"/>
                  </a:lnTo>
                  <a:lnTo>
                    <a:pt x="910" y="32"/>
                  </a:lnTo>
                  <a:lnTo>
                    <a:pt x="906" y="28"/>
                  </a:lnTo>
                  <a:lnTo>
                    <a:pt x="900" y="26"/>
                  </a:lnTo>
                  <a:lnTo>
                    <a:pt x="886" y="22"/>
                  </a:lnTo>
                  <a:lnTo>
                    <a:pt x="870" y="24"/>
                  </a:lnTo>
                  <a:lnTo>
                    <a:pt x="854" y="26"/>
                  </a:lnTo>
                  <a:lnTo>
                    <a:pt x="848" y="28"/>
                  </a:lnTo>
                  <a:lnTo>
                    <a:pt x="842" y="28"/>
                  </a:lnTo>
                  <a:lnTo>
                    <a:pt x="832" y="28"/>
                  </a:lnTo>
                  <a:lnTo>
                    <a:pt x="822" y="28"/>
                  </a:lnTo>
                  <a:lnTo>
                    <a:pt x="820" y="30"/>
                  </a:lnTo>
                  <a:lnTo>
                    <a:pt x="816" y="32"/>
                  </a:lnTo>
                  <a:lnTo>
                    <a:pt x="812" y="38"/>
                  </a:lnTo>
                  <a:lnTo>
                    <a:pt x="804" y="40"/>
                  </a:lnTo>
                  <a:lnTo>
                    <a:pt x="776" y="42"/>
                  </a:lnTo>
                  <a:lnTo>
                    <a:pt x="754" y="46"/>
                  </a:lnTo>
                  <a:lnTo>
                    <a:pt x="732" y="52"/>
                  </a:lnTo>
                  <a:lnTo>
                    <a:pt x="724" y="58"/>
                  </a:lnTo>
                  <a:lnTo>
                    <a:pt x="716" y="64"/>
                  </a:lnTo>
                  <a:lnTo>
                    <a:pt x="710" y="70"/>
                  </a:lnTo>
                  <a:lnTo>
                    <a:pt x="706" y="76"/>
                  </a:lnTo>
                  <a:lnTo>
                    <a:pt x="704" y="82"/>
                  </a:lnTo>
                  <a:lnTo>
                    <a:pt x="700" y="86"/>
                  </a:lnTo>
                  <a:lnTo>
                    <a:pt x="698" y="86"/>
                  </a:lnTo>
                  <a:lnTo>
                    <a:pt x="696" y="84"/>
                  </a:lnTo>
                  <a:lnTo>
                    <a:pt x="690" y="80"/>
                  </a:lnTo>
                  <a:lnTo>
                    <a:pt x="686" y="82"/>
                  </a:lnTo>
                  <a:lnTo>
                    <a:pt x="682" y="84"/>
                  </a:lnTo>
                  <a:lnTo>
                    <a:pt x="680" y="86"/>
                  </a:lnTo>
                  <a:lnTo>
                    <a:pt x="676" y="88"/>
                  </a:lnTo>
                  <a:lnTo>
                    <a:pt x="670" y="86"/>
                  </a:lnTo>
                  <a:lnTo>
                    <a:pt x="668" y="86"/>
                  </a:lnTo>
                  <a:lnTo>
                    <a:pt x="664" y="88"/>
                  </a:lnTo>
                  <a:lnTo>
                    <a:pt x="662" y="90"/>
                  </a:lnTo>
                  <a:lnTo>
                    <a:pt x="656" y="96"/>
                  </a:lnTo>
                  <a:lnTo>
                    <a:pt x="650" y="104"/>
                  </a:lnTo>
                  <a:lnTo>
                    <a:pt x="640" y="114"/>
                  </a:lnTo>
                  <a:lnTo>
                    <a:pt x="634" y="118"/>
                  </a:lnTo>
                  <a:lnTo>
                    <a:pt x="628" y="120"/>
                  </a:lnTo>
                  <a:lnTo>
                    <a:pt x="622" y="120"/>
                  </a:lnTo>
                  <a:lnTo>
                    <a:pt x="616" y="120"/>
                  </a:lnTo>
                  <a:lnTo>
                    <a:pt x="600" y="120"/>
                  </a:lnTo>
                  <a:lnTo>
                    <a:pt x="596" y="118"/>
                  </a:lnTo>
                  <a:lnTo>
                    <a:pt x="592" y="116"/>
                  </a:lnTo>
                  <a:lnTo>
                    <a:pt x="588" y="112"/>
                  </a:lnTo>
                  <a:lnTo>
                    <a:pt x="586" y="108"/>
                  </a:lnTo>
                  <a:lnTo>
                    <a:pt x="586" y="104"/>
                  </a:lnTo>
                  <a:lnTo>
                    <a:pt x="584" y="104"/>
                  </a:lnTo>
                  <a:lnTo>
                    <a:pt x="580" y="108"/>
                  </a:lnTo>
                  <a:lnTo>
                    <a:pt x="578" y="110"/>
                  </a:lnTo>
                  <a:lnTo>
                    <a:pt x="574" y="112"/>
                  </a:lnTo>
                  <a:lnTo>
                    <a:pt x="570" y="114"/>
                  </a:lnTo>
                  <a:lnTo>
                    <a:pt x="562" y="112"/>
                  </a:lnTo>
                  <a:lnTo>
                    <a:pt x="558" y="110"/>
                  </a:lnTo>
                  <a:lnTo>
                    <a:pt x="552" y="110"/>
                  </a:lnTo>
                  <a:lnTo>
                    <a:pt x="542" y="114"/>
                  </a:lnTo>
                  <a:lnTo>
                    <a:pt x="536" y="116"/>
                  </a:lnTo>
                  <a:lnTo>
                    <a:pt x="530" y="118"/>
                  </a:lnTo>
                  <a:lnTo>
                    <a:pt x="520" y="116"/>
                  </a:lnTo>
                  <a:lnTo>
                    <a:pt x="510" y="112"/>
                  </a:lnTo>
                  <a:lnTo>
                    <a:pt x="502" y="108"/>
                  </a:lnTo>
                  <a:lnTo>
                    <a:pt x="498" y="102"/>
                  </a:lnTo>
                  <a:lnTo>
                    <a:pt x="494" y="98"/>
                  </a:lnTo>
                  <a:lnTo>
                    <a:pt x="492" y="94"/>
                  </a:lnTo>
                  <a:lnTo>
                    <a:pt x="464" y="96"/>
                  </a:lnTo>
                  <a:lnTo>
                    <a:pt x="454" y="122"/>
                  </a:lnTo>
                  <a:lnTo>
                    <a:pt x="444" y="152"/>
                  </a:lnTo>
                  <a:lnTo>
                    <a:pt x="436" y="166"/>
                  </a:lnTo>
                  <a:lnTo>
                    <a:pt x="426" y="180"/>
                  </a:lnTo>
                  <a:lnTo>
                    <a:pt x="414" y="190"/>
                  </a:lnTo>
                  <a:lnTo>
                    <a:pt x="400" y="200"/>
                  </a:lnTo>
                  <a:lnTo>
                    <a:pt x="380" y="206"/>
                  </a:lnTo>
                  <a:lnTo>
                    <a:pt x="368" y="212"/>
                  </a:lnTo>
                  <a:lnTo>
                    <a:pt x="360" y="218"/>
                  </a:lnTo>
                  <a:lnTo>
                    <a:pt x="356" y="222"/>
                  </a:lnTo>
                  <a:lnTo>
                    <a:pt x="352" y="232"/>
                  </a:lnTo>
                  <a:lnTo>
                    <a:pt x="348" y="238"/>
                  </a:lnTo>
                  <a:lnTo>
                    <a:pt x="342" y="244"/>
                  </a:lnTo>
                  <a:lnTo>
                    <a:pt x="334" y="252"/>
                  </a:lnTo>
                  <a:lnTo>
                    <a:pt x="332" y="256"/>
                  </a:lnTo>
                  <a:lnTo>
                    <a:pt x="330" y="260"/>
                  </a:lnTo>
                  <a:lnTo>
                    <a:pt x="330" y="264"/>
                  </a:lnTo>
                  <a:lnTo>
                    <a:pt x="330" y="270"/>
                  </a:lnTo>
                  <a:lnTo>
                    <a:pt x="330" y="274"/>
                  </a:lnTo>
                  <a:lnTo>
                    <a:pt x="326" y="282"/>
                  </a:lnTo>
                  <a:lnTo>
                    <a:pt x="320" y="292"/>
                  </a:lnTo>
                  <a:lnTo>
                    <a:pt x="312" y="306"/>
                  </a:lnTo>
                  <a:lnTo>
                    <a:pt x="308" y="320"/>
                  </a:lnTo>
                  <a:lnTo>
                    <a:pt x="308" y="336"/>
                  </a:lnTo>
                  <a:lnTo>
                    <a:pt x="310" y="350"/>
                  </a:lnTo>
                  <a:lnTo>
                    <a:pt x="314" y="376"/>
                  </a:lnTo>
                  <a:lnTo>
                    <a:pt x="314" y="388"/>
                  </a:lnTo>
                  <a:lnTo>
                    <a:pt x="310" y="398"/>
                  </a:lnTo>
                  <a:lnTo>
                    <a:pt x="298" y="420"/>
                  </a:lnTo>
                  <a:lnTo>
                    <a:pt x="288" y="434"/>
                  </a:lnTo>
                  <a:lnTo>
                    <a:pt x="282" y="442"/>
                  </a:lnTo>
                  <a:lnTo>
                    <a:pt x="276" y="446"/>
                  </a:lnTo>
                  <a:lnTo>
                    <a:pt x="264" y="452"/>
                  </a:lnTo>
                  <a:lnTo>
                    <a:pt x="258" y="456"/>
                  </a:lnTo>
                  <a:lnTo>
                    <a:pt x="250" y="466"/>
                  </a:lnTo>
                  <a:lnTo>
                    <a:pt x="240" y="478"/>
                  </a:lnTo>
                  <a:lnTo>
                    <a:pt x="228" y="484"/>
                  </a:lnTo>
                  <a:lnTo>
                    <a:pt x="218" y="488"/>
                  </a:lnTo>
                  <a:lnTo>
                    <a:pt x="206" y="490"/>
                  </a:lnTo>
                  <a:lnTo>
                    <a:pt x="196" y="492"/>
                  </a:lnTo>
                  <a:lnTo>
                    <a:pt x="188" y="496"/>
                  </a:lnTo>
                  <a:lnTo>
                    <a:pt x="180" y="500"/>
                  </a:lnTo>
                  <a:lnTo>
                    <a:pt x="174" y="510"/>
                  </a:lnTo>
                  <a:lnTo>
                    <a:pt x="164" y="538"/>
                  </a:lnTo>
                  <a:lnTo>
                    <a:pt x="156" y="556"/>
                  </a:lnTo>
                  <a:lnTo>
                    <a:pt x="148" y="566"/>
                  </a:lnTo>
                  <a:lnTo>
                    <a:pt x="140" y="572"/>
                  </a:lnTo>
                  <a:lnTo>
                    <a:pt x="134" y="574"/>
                  </a:lnTo>
                  <a:lnTo>
                    <a:pt x="128" y="578"/>
                  </a:lnTo>
                  <a:lnTo>
                    <a:pt x="124" y="584"/>
                  </a:lnTo>
                  <a:lnTo>
                    <a:pt x="120" y="596"/>
                  </a:lnTo>
                  <a:lnTo>
                    <a:pt x="116" y="610"/>
                  </a:lnTo>
                  <a:lnTo>
                    <a:pt x="114" y="614"/>
                  </a:lnTo>
                  <a:lnTo>
                    <a:pt x="110" y="620"/>
                  </a:lnTo>
                  <a:lnTo>
                    <a:pt x="108" y="640"/>
                  </a:lnTo>
                  <a:lnTo>
                    <a:pt x="104" y="660"/>
                  </a:lnTo>
                  <a:lnTo>
                    <a:pt x="102" y="666"/>
                  </a:lnTo>
                  <a:lnTo>
                    <a:pt x="98" y="670"/>
                  </a:lnTo>
                  <a:lnTo>
                    <a:pt x="90" y="678"/>
                  </a:lnTo>
                  <a:lnTo>
                    <a:pt x="78" y="692"/>
                  </a:lnTo>
                  <a:lnTo>
                    <a:pt x="64" y="706"/>
                  </a:lnTo>
                  <a:lnTo>
                    <a:pt x="58" y="712"/>
                  </a:lnTo>
                  <a:lnTo>
                    <a:pt x="58" y="714"/>
                  </a:lnTo>
                  <a:lnTo>
                    <a:pt x="60" y="714"/>
                  </a:lnTo>
                  <a:lnTo>
                    <a:pt x="64" y="714"/>
                  </a:lnTo>
                  <a:lnTo>
                    <a:pt x="66" y="714"/>
                  </a:lnTo>
                  <a:lnTo>
                    <a:pt x="66" y="716"/>
                  </a:lnTo>
                  <a:lnTo>
                    <a:pt x="60" y="726"/>
                  </a:lnTo>
                  <a:lnTo>
                    <a:pt x="54" y="740"/>
                  </a:lnTo>
                  <a:lnTo>
                    <a:pt x="52" y="750"/>
                  </a:lnTo>
                  <a:lnTo>
                    <a:pt x="50" y="762"/>
                  </a:lnTo>
                  <a:lnTo>
                    <a:pt x="48" y="772"/>
                  </a:lnTo>
                  <a:lnTo>
                    <a:pt x="46" y="778"/>
                  </a:lnTo>
                  <a:lnTo>
                    <a:pt x="42" y="782"/>
                  </a:lnTo>
                  <a:lnTo>
                    <a:pt x="36" y="786"/>
                  </a:lnTo>
                  <a:lnTo>
                    <a:pt x="32" y="788"/>
                  </a:lnTo>
                  <a:lnTo>
                    <a:pt x="28" y="794"/>
                  </a:lnTo>
                  <a:lnTo>
                    <a:pt x="24" y="800"/>
                  </a:lnTo>
                  <a:lnTo>
                    <a:pt x="20" y="812"/>
                  </a:lnTo>
                  <a:lnTo>
                    <a:pt x="16" y="834"/>
                  </a:lnTo>
                  <a:lnTo>
                    <a:pt x="14" y="850"/>
                  </a:lnTo>
                  <a:lnTo>
                    <a:pt x="16" y="858"/>
                  </a:lnTo>
                  <a:lnTo>
                    <a:pt x="16" y="860"/>
                  </a:lnTo>
                  <a:lnTo>
                    <a:pt x="18" y="860"/>
                  </a:lnTo>
                  <a:lnTo>
                    <a:pt x="20" y="860"/>
                  </a:lnTo>
                  <a:lnTo>
                    <a:pt x="22" y="858"/>
                  </a:lnTo>
                  <a:lnTo>
                    <a:pt x="22" y="852"/>
                  </a:lnTo>
                  <a:lnTo>
                    <a:pt x="24" y="846"/>
                  </a:lnTo>
                  <a:lnTo>
                    <a:pt x="24" y="844"/>
                  </a:lnTo>
                  <a:lnTo>
                    <a:pt x="26" y="844"/>
                  </a:lnTo>
                  <a:lnTo>
                    <a:pt x="30" y="846"/>
                  </a:lnTo>
                  <a:lnTo>
                    <a:pt x="30" y="850"/>
                  </a:lnTo>
                  <a:lnTo>
                    <a:pt x="32" y="860"/>
                  </a:lnTo>
                  <a:lnTo>
                    <a:pt x="34" y="868"/>
                  </a:lnTo>
                  <a:lnTo>
                    <a:pt x="36" y="868"/>
                  </a:lnTo>
                  <a:lnTo>
                    <a:pt x="38" y="868"/>
                  </a:lnTo>
                  <a:lnTo>
                    <a:pt x="42" y="868"/>
                  </a:lnTo>
                  <a:lnTo>
                    <a:pt x="44" y="868"/>
                  </a:lnTo>
                  <a:lnTo>
                    <a:pt x="48" y="878"/>
                  </a:lnTo>
                  <a:lnTo>
                    <a:pt x="50" y="890"/>
                  </a:lnTo>
                  <a:lnTo>
                    <a:pt x="50" y="902"/>
                  </a:lnTo>
                  <a:lnTo>
                    <a:pt x="50" y="910"/>
                  </a:lnTo>
                  <a:lnTo>
                    <a:pt x="46" y="918"/>
                  </a:lnTo>
                  <a:lnTo>
                    <a:pt x="42" y="926"/>
                  </a:lnTo>
                  <a:lnTo>
                    <a:pt x="38" y="930"/>
                  </a:lnTo>
                  <a:lnTo>
                    <a:pt x="40" y="932"/>
                  </a:lnTo>
                  <a:lnTo>
                    <a:pt x="42" y="936"/>
                  </a:lnTo>
                  <a:lnTo>
                    <a:pt x="46" y="940"/>
                  </a:lnTo>
                  <a:lnTo>
                    <a:pt x="50" y="948"/>
                  </a:lnTo>
                  <a:lnTo>
                    <a:pt x="54" y="958"/>
                  </a:lnTo>
                  <a:lnTo>
                    <a:pt x="58" y="972"/>
                  </a:lnTo>
                  <a:lnTo>
                    <a:pt x="60" y="986"/>
                  </a:lnTo>
                  <a:lnTo>
                    <a:pt x="60" y="1002"/>
                  </a:lnTo>
                  <a:lnTo>
                    <a:pt x="58" y="1016"/>
                  </a:lnTo>
                  <a:lnTo>
                    <a:pt x="54" y="1030"/>
                  </a:lnTo>
                  <a:lnTo>
                    <a:pt x="42" y="1066"/>
                  </a:lnTo>
                  <a:lnTo>
                    <a:pt x="40" y="1076"/>
                  </a:lnTo>
                  <a:lnTo>
                    <a:pt x="40" y="1086"/>
                  </a:lnTo>
                  <a:lnTo>
                    <a:pt x="40" y="1102"/>
                  </a:lnTo>
                  <a:lnTo>
                    <a:pt x="34" y="1122"/>
                  </a:lnTo>
                  <a:lnTo>
                    <a:pt x="28" y="1132"/>
                  </a:lnTo>
                  <a:lnTo>
                    <a:pt x="22" y="1142"/>
                  </a:lnTo>
                  <a:lnTo>
                    <a:pt x="16" y="1150"/>
                  </a:lnTo>
                  <a:lnTo>
                    <a:pt x="6" y="1156"/>
                  </a:lnTo>
                  <a:lnTo>
                    <a:pt x="2" y="1160"/>
                  </a:lnTo>
                  <a:lnTo>
                    <a:pt x="0" y="1162"/>
                  </a:lnTo>
                  <a:lnTo>
                    <a:pt x="2" y="1164"/>
                  </a:lnTo>
                  <a:lnTo>
                    <a:pt x="10" y="1164"/>
                  </a:lnTo>
                  <a:lnTo>
                    <a:pt x="14" y="1164"/>
                  </a:lnTo>
                  <a:lnTo>
                    <a:pt x="16" y="1168"/>
                  </a:lnTo>
                  <a:lnTo>
                    <a:pt x="22" y="1184"/>
                  </a:lnTo>
                  <a:lnTo>
                    <a:pt x="30" y="1202"/>
                  </a:lnTo>
                  <a:lnTo>
                    <a:pt x="34" y="1210"/>
                  </a:lnTo>
                  <a:lnTo>
                    <a:pt x="38" y="1218"/>
                  </a:lnTo>
                  <a:lnTo>
                    <a:pt x="40" y="1222"/>
                  </a:lnTo>
                  <a:lnTo>
                    <a:pt x="44" y="1224"/>
                  </a:lnTo>
                  <a:lnTo>
                    <a:pt x="46" y="1226"/>
                  </a:lnTo>
                  <a:lnTo>
                    <a:pt x="52" y="1226"/>
                  </a:lnTo>
                  <a:lnTo>
                    <a:pt x="64" y="1224"/>
                  </a:lnTo>
                  <a:lnTo>
                    <a:pt x="80" y="1224"/>
                  </a:lnTo>
                  <a:lnTo>
                    <a:pt x="62" y="1228"/>
                  </a:lnTo>
                  <a:lnTo>
                    <a:pt x="50" y="1232"/>
                  </a:lnTo>
                  <a:lnTo>
                    <a:pt x="40" y="1232"/>
                  </a:lnTo>
                  <a:lnTo>
                    <a:pt x="38" y="1232"/>
                  </a:lnTo>
                  <a:lnTo>
                    <a:pt x="36" y="1228"/>
                  </a:lnTo>
                  <a:lnTo>
                    <a:pt x="34" y="1226"/>
                  </a:lnTo>
                  <a:lnTo>
                    <a:pt x="32" y="1224"/>
                  </a:lnTo>
                  <a:lnTo>
                    <a:pt x="28" y="1228"/>
                  </a:lnTo>
                  <a:lnTo>
                    <a:pt x="26" y="1234"/>
                  </a:lnTo>
                  <a:lnTo>
                    <a:pt x="28" y="1242"/>
                  </a:lnTo>
                  <a:lnTo>
                    <a:pt x="30" y="1252"/>
                  </a:lnTo>
                  <a:lnTo>
                    <a:pt x="30" y="1260"/>
                  </a:lnTo>
                  <a:lnTo>
                    <a:pt x="30" y="1264"/>
                  </a:lnTo>
                  <a:lnTo>
                    <a:pt x="32" y="1264"/>
                  </a:lnTo>
                  <a:lnTo>
                    <a:pt x="34" y="1264"/>
                  </a:lnTo>
                  <a:lnTo>
                    <a:pt x="40" y="1262"/>
                  </a:lnTo>
                  <a:lnTo>
                    <a:pt x="44" y="1264"/>
                  </a:lnTo>
                  <a:lnTo>
                    <a:pt x="48" y="1266"/>
                  </a:lnTo>
                  <a:lnTo>
                    <a:pt x="54" y="1264"/>
                  </a:lnTo>
                  <a:lnTo>
                    <a:pt x="60" y="1264"/>
                  </a:lnTo>
                  <a:lnTo>
                    <a:pt x="64" y="1264"/>
                  </a:lnTo>
                  <a:lnTo>
                    <a:pt x="70" y="1268"/>
                  </a:lnTo>
                  <a:lnTo>
                    <a:pt x="76" y="1268"/>
                  </a:lnTo>
                  <a:lnTo>
                    <a:pt x="64" y="1270"/>
                  </a:lnTo>
                  <a:lnTo>
                    <a:pt x="54" y="1270"/>
                  </a:lnTo>
                  <a:lnTo>
                    <a:pt x="44" y="1268"/>
                  </a:lnTo>
                  <a:lnTo>
                    <a:pt x="38" y="1266"/>
                  </a:lnTo>
                  <a:lnTo>
                    <a:pt x="36" y="1268"/>
                  </a:lnTo>
                  <a:lnTo>
                    <a:pt x="32" y="1270"/>
                  </a:lnTo>
                  <a:lnTo>
                    <a:pt x="30" y="1274"/>
                  </a:lnTo>
                  <a:lnTo>
                    <a:pt x="30" y="1276"/>
                  </a:lnTo>
                  <a:lnTo>
                    <a:pt x="34" y="1278"/>
                  </a:lnTo>
                  <a:lnTo>
                    <a:pt x="38" y="1282"/>
                  </a:lnTo>
                  <a:lnTo>
                    <a:pt x="40" y="1286"/>
                  </a:lnTo>
                  <a:lnTo>
                    <a:pt x="42" y="1286"/>
                  </a:lnTo>
                  <a:lnTo>
                    <a:pt x="48" y="1284"/>
                  </a:lnTo>
                  <a:lnTo>
                    <a:pt x="52" y="1284"/>
                  </a:lnTo>
                  <a:lnTo>
                    <a:pt x="50" y="1290"/>
                  </a:lnTo>
                  <a:lnTo>
                    <a:pt x="46" y="1296"/>
                  </a:lnTo>
                  <a:lnTo>
                    <a:pt x="48" y="1298"/>
                  </a:lnTo>
                  <a:lnTo>
                    <a:pt x="48" y="1300"/>
                  </a:lnTo>
                  <a:lnTo>
                    <a:pt x="54" y="1300"/>
                  </a:lnTo>
                  <a:lnTo>
                    <a:pt x="60" y="1300"/>
                  </a:lnTo>
                  <a:lnTo>
                    <a:pt x="64" y="1298"/>
                  </a:lnTo>
                  <a:lnTo>
                    <a:pt x="64" y="1300"/>
                  </a:lnTo>
                  <a:lnTo>
                    <a:pt x="64" y="1306"/>
                  </a:lnTo>
                  <a:lnTo>
                    <a:pt x="64" y="1312"/>
                  </a:lnTo>
                  <a:lnTo>
                    <a:pt x="66" y="1312"/>
                  </a:lnTo>
                  <a:lnTo>
                    <a:pt x="70" y="1310"/>
                  </a:lnTo>
                  <a:lnTo>
                    <a:pt x="78" y="1304"/>
                  </a:lnTo>
                  <a:lnTo>
                    <a:pt x="86" y="1300"/>
                  </a:lnTo>
                  <a:lnTo>
                    <a:pt x="88" y="1300"/>
                  </a:lnTo>
                  <a:lnTo>
                    <a:pt x="88" y="1302"/>
                  </a:lnTo>
                  <a:lnTo>
                    <a:pt x="82" y="1304"/>
                  </a:lnTo>
                  <a:lnTo>
                    <a:pt x="80" y="1306"/>
                  </a:lnTo>
                  <a:lnTo>
                    <a:pt x="78" y="1308"/>
                  </a:lnTo>
                  <a:lnTo>
                    <a:pt x="80" y="1312"/>
                  </a:lnTo>
                  <a:lnTo>
                    <a:pt x="82" y="1318"/>
                  </a:lnTo>
                  <a:lnTo>
                    <a:pt x="84" y="1320"/>
                  </a:lnTo>
                  <a:lnTo>
                    <a:pt x="82" y="1324"/>
                  </a:lnTo>
                  <a:lnTo>
                    <a:pt x="80" y="1328"/>
                  </a:lnTo>
                  <a:lnTo>
                    <a:pt x="82" y="1328"/>
                  </a:lnTo>
                  <a:lnTo>
                    <a:pt x="84" y="1328"/>
                  </a:lnTo>
                  <a:lnTo>
                    <a:pt x="86" y="1332"/>
                  </a:lnTo>
                  <a:lnTo>
                    <a:pt x="86" y="1336"/>
                  </a:lnTo>
                  <a:lnTo>
                    <a:pt x="88" y="1336"/>
                  </a:lnTo>
                  <a:lnTo>
                    <a:pt x="90" y="1338"/>
                  </a:lnTo>
                  <a:lnTo>
                    <a:pt x="90" y="1342"/>
                  </a:lnTo>
                  <a:lnTo>
                    <a:pt x="92" y="1346"/>
                  </a:lnTo>
                  <a:lnTo>
                    <a:pt x="94" y="1344"/>
                  </a:lnTo>
                  <a:lnTo>
                    <a:pt x="100" y="1336"/>
                  </a:lnTo>
                  <a:lnTo>
                    <a:pt x="98" y="1344"/>
                  </a:lnTo>
                  <a:lnTo>
                    <a:pt x="100" y="1348"/>
                  </a:lnTo>
                  <a:lnTo>
                    <a:pt x="98" y="1352"/>
                  </a:lnTo>
                  <a:lnTo>
                    <a:pt x="100" y="1356"/>
                  </a:lnTo>
                  <a:lnTo>
                    <a:pt x="102" y="1356"/>
                  </a:lnTo>
                  <a:lnTo>
                    <a:pt x="104" y="1352"/>
                  </a:lnTo>
                  <a:lnTo>
                    <a:pt x="108" y="1346"/>
                  </a:lnTo>
                  <a:lnTo>
                    <a:pt x="110" y="1344"/>
                  </a:lnTo>
                  <a:lnTo>
                    <a:pt x="114" y="1344"/>
                  </a:lnTo>
                  <a:lnTo>
                    <a:pt x="116" y="1344"/>
                  </a:lnTo>
                  <a:lnTo>
                    <a:pt x="112" y="1346"/>
                  </a:lnTo>
                  <a:lnTo>
                    <a:pt x="110" y="1350"/>
                  </a:lnTo>
                  <a:lnTo>
                    <a:pt x="110" y="1354"/>
                  </a:lnTo>
                  <a:lnTo>
                    <a:pt x="110" y="1358"/>
                  </a:lnTo>
                  <a:lnTo>
                    <a:pt x="112" y="1360"/>
                  </a:lnTo>
                  <a:lnTo>
                    <a:pt x="114" y="1360"/>
                  </a:lnTo>
                  <a:lnTo>
                    <a:pt x="118" y="1356"/>
                  </a:lnTo>
                  <a:lnTo>
                    <a:pt x="118" y="1354"/>
                  </a:lnTo>
                  <a:lnTo>
                    <a:pt x="118" y="1362"/>
                  </a:lnTo>
                  <a:lnTo>
                    <a:pt x="118" y="1372"/>
                  </a:lnTo>
                  <a:lnTo>
                    <a:pt x="120" y="1378"/>
                  </a:lnTo>
                  <a:lnTo>
                    <a:pt x="124" y="1384"/>
                  </a:lnTo>
                  <a:lnTo>
                    <a:pt x="128" y="1386"/>
                  </a:lnTo>
                  <a:lnTo>
                    <a:pt x="134" y="1388"/>
                  </a:lnTo>
                  <a:lnTo>
                    <a:pt x="140" y="1392"/>
                  </a:lnTo>
                  <a:lnTo>
                    <a:pt x="146" y="1398"/>
                  </a:lnTo>
                  <a:lnTo>
                    <a:pt x="154" y="1402"/>
                  </a:lnTo>
                  <a:lnTo>
                    <a:pt x="158" y="1404"/>
                  </a:lnTo>
                  <a:lnTo>
                    <a:pt x="158" y="1406"/>
                  </a:lnTo>
                  <a:lnTo>
                    <a:pt x="158" y="1408"/>
                  </a:lnTo>
                  <a:lnTo>
                    <a:pt x="156" y="1414"/>
                  </a:lnTo>
                  <a:lnTo>
                    <a:pt x="154" y="1418"/>
                  </a:lnTo>
                  <a:lnTo>
                    <a:pt x="156" y="1420"/>
                  </a:lnTo>
                  <a:lnTo>
                    <a:pt x="162" y="1424"/>
                  </a:lnTo>
                  <a:lnTo>
                    <a:pt x="166" y="1426"/>
                  </a:lnTo>
                  <a:lnTo>
                    <a:pt x="166" y="1430"/>
                  </a:lnTo>
                  <a:lnTo>
                    <a:pt x="168" y="1432"/>
                  </a:lnTo>
                  <a:lnTo>
                    <a:pt x="170" y="1434"/>
                  </a:lnTo>
                  <a:lnTo>
                    <a:pt x="172" y="1436"/>
                  </a:lnTo>
                  <a:lnTo>
                    <a:pt x="170" y="1438"/>
                  </a:lnTo>
                  <a:lnTo>
                    <a:pt x="170" y="1440"/>
                  </a:lnTo>
                  <a:lnTo>
                    <a:pt x="170" y="1442"/>
                  </a:lnTo>
                  <a:lnTo>
                    <a:pt x="176" y="1448"/>
                  </a:lnTo>
                  <a:lnTo>
                    <a:pt x="176" y="1450"/>
                  </a:lnTo>
                  <a:lnTo>
                    <a:pt x="174" y="1450"/>
                  </a:lnTo>
                  <a:lnTo>
                    <a:pt x="172" y="1452"/>
                  </a:lnTo>
                  <a:lnTo>
                    <a:pt x="170" y="1454"/>
                  </a:lnTo>
                  <a:lnTo>
                    <a:pt x="172" y="1458"/>
                  </a:lnTo>
                  <a:lnTo>
                    <a:pt x="174" y="1462"/>
                  </a:lnTo>
                  <a:lnTo>
                    <a:pt x="176" y="1462"/>
                  </a:lnTo>
                  <a:lnTo>
                    <a:pt x="180" y="1462"/>
                  </a:lnTo>
                  <a:lnTo>
                    <a:pt x="186" y="1464"/>
                  </a:lnTo>
                  <a:lnTo>
                    <a:pt x="182" y="1468"/>
                  </a:lnTo>
                  <a:lnTo>
                    <a:pt x="178" y="1470"/>
                  </a:lnTo>
                  <a:lnTo>
                    <a:pt x="172" y="1470"/>
                  </a:lnTo>
                  <a:lnTo>
                    <a:pt x="170" y="1468"/>
                  </a:lnTo>
                  <a:lnTo>
                    <a:pt x="170" y="1472"/>
                  </a:lnTo>
                  <a:lnTo>
                    <a:pt x="174" y="1480"/>
                  </a:lnTo>
                  <a:lnTo>
                    <a:pt x="178" y="1482"/>
                  </a:lnTo>
                  <a:lnTo>
                    <a:pt x="182" y="1482"/>
                  </a:lnTo>
                  <a:lnTo>
                    <a:pt x="184" y="1486"/>
                  </a:lnTo>
                  <a:lnTo>
                    <a:pt x="186" y="1492"/>
                  </a:lnTo>
                  <a:lnTo>
                    <a:pt x="184" y="1494"/>
                  </a:lnTo>
                  <a:lnTo>
                    <a:pt x="182" y="1496"/>
                  </a:lnTo>
                  <a:lnTo>
                    <a:pt x="182" y="1498"/>
                  </a:lnTo>
                  <a:lnTo>
                    <a:pt x="186" y="1502"/>
                  </a:lnTo>
                  <a:lnTo>
                    <a:pt x="192" y="1504"/>
                  </a:lnTo>
                  <a:lnTo>
                    <a:pt x="196" y="1506"/>
                  </a:lnTo>
                  <a:lnTo>
                    <a:pt x="202" y="1510"/>
                  </a:lnTo>
                  <a:lnTo>
                    <a:pt x="204" y="1512"/>
                  </a:lnTo>
                  <a:lnTo>
                    <a:pt x="204" y="1514"/>
                  </a:lnTo>
                  <a:lnTo>
                    <a:pt x="202" y="1518"/>
                  </a:lnTo>
                  <a:lnTo>
                    <a:pt x="200" y="1520"/>
                  </a:lnTo>
                  <a:lnTo>
                    <a:pt x="202" y="1520"/>
                  </a:lnTo>
                  <a:lnTo>
                    <a:pt x="208" y="1524"/>
                  </a:lnTo>
                  <a:lnTo>
                    <a:pt x="228" y="1534"/>
                  </a:lnTo>
                  <a:lnTo>
                    <a:pt x="236" y="1538"/>
                  </a:lnTo>
                  <a:lnTo>
                    <a:pt x="242" y="1546"/>
                  </a:lnTo>
                  <a:lnTo>
                    <a:pt x="246" y="1552"/>
                  </a:lnTo>
                  <a:lnTo>
                    <a:pt x="250" y="1556"/>
                  </a:lnTo>
                  <a:lnTo>
                    <a:pt x="260" y="1562"/>
                  </a:lnTo>
                  <a:lnTo>
                    <a:pt x="268" y="1566"/>
                  </a:lnTo>
                  <a:lnTo>
                    <a:pt x="270" y="1570"/>
                  </a:lnTo>
                  <a:lnTo>
                    <a:pt x="272" y="1574"/>
                  </a:lnTo>
                  <a:lnTo>
                    <a:pt x="272" y="1576"/>
                  </a:lnTo>
                  <a:lnTo>
                    <a:pt x="274" y="1578"/>
                  </a:lnTo>
                  <a:lnTo>
                    <a:pt x="282" y="1582"/>
                  </a:lnTo>
                  <a:lnTo>
                    <a:pt x="294" y="1590"/>
                  </a:lnTo>
                  <a:lnTo>
                    <a:pt x="302" y="1596"/>
                  </a:lnTo>
                  <a:lnTo>
                    <a:pt x="310" y="1606"/>
                  </a:lnTo>
                  <a:lnTo>
                    <a:pt x="328" y="1626"/>
                  </a:lnTo>
                  <a:lnTo>
                    <a:pt x="346" y="1644"/>
                  </a:lnTo>
                  <a:lnTo>
                    <a:pt x="364" y="1654"/>
                  </a:lnTo>
                  <a:lnTo>
                    <a:pt x="380" y="1660"/>
                  </a:lnTo>
                  <a:lnTo>
                    <a:pt x="388" y="1664"/>
                  </a:lnTo>
                  <a:lnTo>
                    <a:pt x="392" y="1668"/>
                  </a:lnTo>
                  <a:lnTo>
                    <a:pt x="396" y="1670"/>
                  </a:lnTo>
                  <a:lnTo>
                    <a:pt x="402" y="1672"/>
                  </a:lnTo>
                  <a:lnTo>
                    <a:pt x="408" y="1670"/>
                  </a:lnTo>
                  <a:lnTo>
                    <a:pt x="412" y="1666"/>
                  </a:lnTo>
                  <a:lnTo>
                    <a:pt x="422" y="1658"/>
                  </a:lnTo>
                  <a:lnTo>
                    <a:pt x="436" y="1648"/>
                  </a:lnTo>
                  <a:lnTo>
                    <a:pt x="448" y="1642"/>
                  </a:lnTo>
                  <a:lnTo>
                    <a:pt x="462" y="1638"/>
                  </a:lnTo>
                  <a:lnTo>
                    <a:pt x="488" y="1634"/>
                  </a:lnTo>
                  <a:lnTo>
                    <a:pt x="504" y="1632"/>
                  </a:lnTo>
                  <a:lnTo>
                    <a:pt x="516" y="1632"/>
                  </a:lnTo>
                  <a:lnTo>
                    <a:pt x="530" y="1630"/>
                  </a:lnTo>
                  <a:lnTo>
                    <a:pt x="540" y="1628"/>
                  </a:lnTo>
                  <a:lnTo>
                    <a:pt x="554" y="1630"/>
                  </a:lnTo>
                  <a:lnTo>
                    <a:pt x="566" y="1630"/>
                  </a:lnTo>
                  <a:lnTo>
                    <a:pt x="572" y="1630"/>
                  </a:lnTo>
                  <a:lnTo>
                    <a:pt x="576" y="1630"/>
                  </a:lnTo>
                  <a:lnTo>
                    <a:pt x="580" y="1630"/>
                  </a:lnTo>
                  <a:lnTo>
                    <a:pt x="590" y="1632"/>
                  </a:lnTo>
                  <a:lnTo>
                    <a:pt x="592" y="1632"/>
                  </a:lnTo>
                  <a:lnTo>
                    <a:pt x="590" y="1632"/>
                  </a:lnTo>
                  <a:lnTo>
                    <a:pt x="582" y="1634"/>
                  </a:lnTo>
                  <a:lnTo>
                    <a:pt x="578" y="1634"/>
                  </a:lnTo>
                  <a:lnTo>
                    <a:pt x="576" y="1636"/>
                  </a:lnTo>
                  <a:lnTo>
                    <a:pt x="578" y="1636"/>
                  </a:lnTo>
                  <a:lnTo>
                    <a:pt x="594" y="1640"/>
                  </a:lnTo>
                  <a:lnTo>
                    <a:pt x="606" y="1644"/>
                  </a:lnTo>
                  <a:lnTo>
                    <a:pt x="618" y="1650"/>
                  </a:lnTo>
                  <a:lnTo>
                    <a:pt x="622" y="1652"/>
                  </a:lnTo>
                  <a:lnTo>
                    <a:pt x="626" y="1652"/>
                  </a:lnTo>
                  <a:lnTo>
                    <a:pt x="636" y="1644"/>
                  </a:lnTo>
                  <a:lnTo>
                    <a:pt x="648" y="1636"/>
                  </a:lnTo>
                  <a:lnTo>
                    <a:pt x="656" y="1632"/>
                  </a:lnTo>
                  <a:lnTo>
                    <a:pt x="664" y="1630"/>
                  </a:lnTo>
                  <a:lnTo>
                    <a:pt x="674" y="1628"/>
                  </a:lnTo>
                  <a:lnTo>
                    <a:pt x="680" y="1624"/>
                  </a:lnTo>
                  <a:lnTo>
                    <a:pt x="690" y="1614"/>
                  </a:lnTo>
                  <a:lnTo>
                    <a:pt x="698" y="1610"/>
                  </a:lnTo>
                  <a:lnTo>
                    <a:pt x="706" y="1606"/>
                  </a:lnTo>
                  <a:lnTo>
                    <a:pt x="716" y="1602"/>
                  </a:lnTo>
                  <a:lnTo>
                    <a:pt x="730" y="1600"/>
                  </a:lnTo>
                  <a:lnTo>
                    <a:pt x="742" y="1598"/>
                  </a:lnTo>
                  <a:lnTo>
                    <a:pt x="746" y="1596"/>
                  </a:lnTo>
                  <a:lnTo>
                    <a:pt x="746" y="1594"/>
                  </a:lnTo>
                  <a:lnTo>
                    <a:pt x="748" y="1590"/>
                  </a:lnTo>
                  <a:lnTo>
                    <a:pt x="754" y="1586"/>
                  </a:lnTo>
                  <a:lnTo>
                    <a:pt x="760" y="1582"/>
                  </a:lnTo>
                  <a:lnTo>
                    <a:pt x="774" y="1578"/>
                  </a:lnTo>
                  <a:lnTo>
                    <a:pt x="796" y="1574"/>
                  </a:lnTo>
                  <a:lnTo>
                    <a:pt x="814" y="1572"/>
                  </a:lnTo>
                  <a:lnTo>
                    <a:pt x="832" y="1572"/>
                  </a:lnTo>
                  <a:lnTo>
                    <a:pt x="838" y="1570"/>
                  </a:lnTo>
                  <a:lnTo>
                    <a:pt x="840" y="1568"/>
                  </a:lnTo>
                  <a:lnTo>
                    <a:pt x="844" y="1564"/>
                  </a:lnTo>
                  <a:lnTo>
                    <a:pt x="846" y="1566"/>
                  </a:lnTo>
                  <a:lnTo>
                    <a:pt x="850" y="1570"/>
                  </a:lnTo>
                  <a:lnTo>
                    <a:pt x="860" y="1570"/>
                  </a:lnTo>
                  <a:lnTo>
                    <a:pt x="874" y="1570"/>
                  </a:lnTo>
                  <a:lnTo>
                    <a:pt x="884" y="1574"/>
                  </a:lnTo>
                  <a:lnTo>
                    <a:pt x="890" y="1578"/>
                  </a:lnTo>
                  <a:lnTo>
                    <a:pt x="896" y="1584"/>
                  </a:lnTo>
                  <a:lnTo>
                    <a:pt x="908" y="1600"/>
                  </a:lnTo>
                  <a:lnTo>
                    <a:pt x="916" y="1616"/>
                  </a:lnTo>
                  <a:lnTo>
                    <a:pt x="924" y="1642"/>
                  </a:lnTo>
                  <a:lnTo>
                    <a:pt x="930" y="1654"/>
                  </a:lnTo>
                  <a:lnTo>
                    <a:pt x="936" y="1664"/>
                  </a:lnTo>
                  <a:lnTo>
                    <a:pt x="944" y="1670"/>
                  </a:lnTo>
                  <a:lnTo>
                    <a:pt x="948" y="1672"/>
                  </a:lnTo>
                  <a:lnTo>
                    <a:pt x="954" y="1672"/>
                  </a:lnTo>
                  <a:lnTo>
                    <a:pt x="970" y="1672"/>
                  </a:lnTo>
                  <a:lnTo>
                    <a:pt x="976" y="1672"/>
                  </a:lnTo>
                  <a:lnTo>
                    <a:pt x="984" y="1670"/>
                  </a:lnTo>
                  <a:lnTo>
                    <a:pt x="990" y="1668"/>
                  </a:lnTo>
                  <a:lnTo>
                    <a:pt x="992" y="1664"/>
                  </a:lnTo>
                  <a:lnTo>
                    <a:pt x="992" y="1662"/>
                  </a:lnTo>
                  <a:lnTo>
                    <a:pt x="992" y="1658"/>
                  </a:lnTo>
                  <a:lnTo>
                    <a:pt x="992" y="1656"/>
                  </a:lnTo>
                  <a:lnTo>
                    <a:pt x="996" y="1658"/>
                  </a:lnTo>
                  <a:lnTo>
                    <a:pt x="1002" y="1660"/>
                  </a:lnTo>
                  <a:lnTo>
                    <a:pt x="1008" y="1662"/>
                  </a:lnTo>
                  <a:lnTo>
                    <a:pt x="1018" y="1662"/>
                  </a:lnTo>
                  <a:lnTo>
                    <a:pt x="1028" y="1662"/>
                  </a:lnTo>
                  <a:lnTo>
                    <a:pt x="1036" y="1660"/>
                  </a:lnTo>
                  <a:lnTo>
                    <a:pt x="1040" y="1656"/>
                  </a:lnTo>
                  <a:lnTo>
                    <a:pt x="1042" y="1654"/>
                  </a:lnTo>
                  <a:lnTo>
                    <a:pt x="1042" y="1650"/>
                  </a:lnTo>
                  <a:lnTo>
                    <a:pt x="1036" y="1640"/>
                  </a:lnTo>
                  <a:lnTo>
                    <a:pt x="1048" y="1650"/>
                  </a:lnTo>
                  <a:lnTo>
                    <a:pt x="1048" y="1658"/>
                  </a:lnTo>
                  <a:lnTo>
                    <a:pt x="1050" y="1662"/>
                  </a:lnTo>
                  <a:lnTo>
                    <a:pt x="1052" y="1662"/>
                  </a:lnTo>
                  <a:lnTo>
                    <a:pt x="1056" y="1662"/>
                  </a:lnTo>
                  <a:lnTo>
                    <a:pt x="1060" y="1660"/>
                  </a:lnTo>
                  <a:lnTo>
                    <a:pt x="1062" y="1662"/>
                  </a:lnTo>
                  <a:lnTo>
                    <a:pt x="1064" y="1666"/>
                  </a:lnTo>
                  <a:lnTo>
                    <a:pt x="1066" y="1682"/>
                  </a:lnTo>
                  <a:lnTo>
                    <a:pt x="1070" y="1684"/>
                  </a:lnTo>
                  <a:lnTo>
                    <a:pt x="1076" y="1688"/>
                  </a:lnTo>
                  <a:lnTo>
                    <a:pt x="1082" y="1690"/>
                  </a:lnTo>
                  <a:lnTo>
                    <a:pt x="1084" y="1690"/>
                  </a:lnTo>
                  <a:lnTo>
                    <a:pt x="1086" y="1686"/>
                  </a:lnTo>
                  <a:lnTo>
                    <a:pt x="1088" y="1684"/>
                  </a:lnTo>
                  <a:lnTo>
                    <a:pt x="1090" y="1684"/>
                  </a:lnTo>
                  <a:lnTo>
                    <a:pt x="1094" y="1684"/>
                  </a:lnTo>
                  <a:lnTo>
                    <a:pt x="1096" y="1688"/>
                  </a:lnTo>
                  <a:lnTo>
                    <a:pt x="1096" y="1690"/>
                  </a:lnTo>
                  <a:lnTo>
                    <a:pt x="1094" y="1694"/>
                  </a:lnTo>
                  <a:lnTo>
                    <a:pt x="1090" y="1698"/>
                  </a:lnTo>
                  <a:lnTo>
                    <a:pt x="1090" y="1700"/>
                  </a:lnTo>
                  <a:lnTo>
                    <a:pt x="1092" y="1704"/>
                  </a:lnTo>
                  <a:lnTo>
                    <a:pt x="1096" y="1708"/>
                  </a:lnTo>
                  <a:lnTo>
                    <a:pt x="1094" y="1708"/>
                  </a:lnTo>
                  <a:lnTo>
                    <a:pt x="1094" y="1712"/>
                  </a:lnTo>
                  <a:lnTo>
                    <a:pt x="1100" y="1718"/>
                  </a:lnTo>
                  <a:lnTo>
                    <a:pt x="1102" y="1724"/>
                  </a:lnTo>
                  <a:lnTo>
                    <a:pt x="1104" y="1730"/>
                  </a:lnTo>
                  <a:lnTo>
                    <a:pt x="1104" y="1742"/>
                  </a:lnTo>
                  <a:lnTo>
                    <a:pt x="1100" y="1756"/>
                  </a:lnTo>
                  <a:lnTo>
                    <a:pt x="1100" y="1770"/>
                  </a:lnTo>
                  <a:lnTo>
                    <a:pt x="1100" y="1782"/>
                  </a:lnTo>
                  <a:lnTo>
                    <a:pt x="1098" y="1790"/>
                  </a:lnTo>
                  <a:lnTo>
                    <a:pt x="1094" y="1798"/>
                  </a:lnTo>
                  <a:lnTo>
                    <a:pt x="1090" y="1804"/>
                  </a:lnTo>
                  <a:lnTo>
                    <a:pt x="1084" y="1814"/>
                  </a:lnTo>
                  <a:lnTo>
                    <a:pt x="1082" y="1820"/>
                  </a:lnTo>
                  <a:lnTo>
                    <a:pt x="1082" y="1824"/>
                  </a:lnTo>
                  <a:lnTo>
                    <a:pt x="1082" y="1828"/>
                  </a:lnTo>
                  <a:lnTo>
                    <a:pt x="1084" y="1828"/>
                  </a:lnTo>
                  <a:lnTo>
                    <a:pt x="1088" y="1828"/>
                  </a:lnTo>
                  <a:lnTo>
                    <a:pt x="1092" y="1828"/>
                  </a:lnTo>
                  <a:lnTo>
                    <a:pt x="1090" y="1834"/>
                  </a:lnTo>
                  <a:lnTo>
                    <a:pt x="1090" y="1838"/>
                  </a:lnTo>
                  <a:lnTo>
                    <a:pt x="1092" y="1844"/>
                  </a:lnTo>
                  <a:lnTo>
                    <a:pt x="1094" y="1848"/>
                  </a:lnTo>
                  <a:lnTo>
                    <a:pt x="1092" y="1852"/>
                  </a:lnTo>
                  <a:lnTo>
                    <a:pt x="1090" y="1852"/>
                  </a:lnTo>
                  <a:lnTo>
                    <a:pt x="1088" y="1850"/>
                  </a:lnTo>
                  <a:lnTo>
                    <a:pt x="1086" y="1848"/>
                  </a:lnTo>
                  <a:lnTo>
                    <a:pt x="1082" y="1852"/>
                  </a:lnTo>
                  <a:lnTo>
                    <a:pt x="1082" y="1854"/>
                  </a:lnTo>
                  <a:lnTo>
                    <a:pt x="1082" y="1858"/>
                  </a:lnTo>
                  <a:lnTo>
                    <a:pt x="1086" y="1864"/>
                  </a:lnTo>
                  <a:lnTo>
                    <a:pt x="1094" y="1868"/>
                  </a:lnTo>
                  <a:lnTo>
                    <a:pt x="1106" y="1872"/>
                  </a:lnTo>
                  <a:lnTo>
                    <a:pt x="1110" y="1872"/>
                  </a:lnTo>
                  <a:lnTo>
                    <a:pt x="1110" y="1874"/>
                  </a:lnTo>
                  <a:lnTo>
                    <a:pt x="1110" y="1876"/>
                  </a:lnTo>
                  <a:lnTo>
                    <a:pt x="1106" y="1878"/>
                  </a:lnTo>
                  <a:lnTo>
                    <a:pt x="1104" y="1880"/>
                  </a:lnTo>
                  <a:lnTo>
                    <a:pt x="1098" y="1880"/>
                  </a:lnTo>
                  <a:lnTo>
                    <a:pt x="1094" y="1878"/>
                  </a:lnTo>
                  <a:lnTo>
                    <a:pt x="1090" y="1874"/>
                  </a:lnTo>
                  <a:lnTo>
                    <a:pt x="1084" y="1868"/>
                  </a:lnTo>
                  <a:lnTo>
                    <a:pt x="1082" y="1866"/>
                  </a:lnTo>
                  <a:lnTo>
                    <a:pt x="1080" y="1866"/>
                  </a:lnTo>
                  <a:lnTo>
                    <a:pt x="1080" y="1872"/>
                  </a:lnTo>
                  <a:lnTo>
                    <a:pt x="1080" y="1882"/>
                  </a:lnTo>
                  <a:lnTo>
                    <a:pt x="1078" y="1898"/>
                  </a:lnTo>
                  <a:lnTo>
                    <a:pt x="1074" y="1910"/>
                  </a:lnTo>
                  <a:lnTo>
                    <a:pt x="1072" y="1914"/>
                  </a:lnTo>
                  <a:lnTo>
                    <a:pt x="1068" y="1918"/>
                  </a:lnTo>
                  <a:lnTo>
                    <a:pt x="1066" y="1918"/>
                  </a:lnTo>
                  <a:lnTo>
                    <a:pt x="1062" y="1914"/>
                  </a:lnTo>
                  <a:lnTo>
                    <a:pt x="1056" y="1910"/>
                  </a:lnTo>
                  <a:lnTo>
                    <a:pt x="1056" y="1912"/>
                  </a:lnTo>
                  <a:lnTo>
                    <a:pt x="1058" y="1922"/>
                  </a:lnTo>
                  <a:lnTo>
                    <a:pt x="1064" y="1936"/>
                  </a:lnTo>
                  <a:lnTo>
                    <a:pt x="1076" y="1964"/>
                  </a:lnTo>
                  <a:lnTo>
                    <a:pt x="1080" y="1974"/>
                  </a:lnTo>
                  <a:lnTo>
                    <a:pt x="1084" y="1982"/>
                  </a:lnTo>
                  <a:lnTo>
                    <a:pt x="1088" y="1988"/>
                  </a:lnTo>
                  <a:lnTo>
                    <a:pt x="1094" y="1996"/>
                  </a:lnTo>
                  <a:lnTo>
                    <a:pt x="1100" y="2006"/>
                  </a:lnTo>
                  <a:lnTo>
                    <a:pt x="1110" y="2018"/>
                  </a:lnTo>
                  <a:lnTo>
                    <a:pt x="1132" y="2042"/>
                  </a:lnTo>
                  <a:lnTo>
                    <a:pt x="1140" y="2052"/>
                  </a:lnTo>
                  <a:lnTo>
                    <a:pt x="1142" y="2058"/>
                  </a:lnTo>
                  <a:lnTo>
                    <a:pt x="1150" y="2070"/>
                  </a:lnTo>
                  <a:lnTo>
                    <a:pt x="1172" y="2092"/>
                  </a:lnTo>
                  <a:lnTo>
                    <a:pt x="1178" y="2100"/>
                  </a:lnTo>
                  <a:lnTo>
                    <a:pt x="1180" y="2110"/>
                  </a:lnTo>
                  <a:lnTo>
                    <a:pt x="1184" y="2118"/>
                  </a:lnTo>
                  <a:lnTo>
                    <a:pt x="1190" y="2128"/>
                  </a:lnTo>
                  <a:lnTo>
                    <a:pt x="1194" y="2136"/>
                  </a:lnTo>
                  <a:lnTo>
                    <a:pt x="1196" y="2142"/>
                  </a:lnTo>
                  <a:lnTo>
                    <a:pt x="1194" y="2148"/>
                  </a:lnTo>
                  <a:lnTo>
                    <a:pt x="1194" y="2156"/>
                  </a:lnTo>
                  <a:lnTo>
                    <a:pt x="1194" y="2158"/>
                  </a:lnTo>
                  <a:lnTo>
                    <a:pt x="1196" y="2160"/>
                  </a:lnTo>
                  <a:lnTo>
                    <a:pt x="1198" y="2164"/>
                  </a:lnTo>
                  <a:lnTo>
                    <a:pt x="1200" y="2168"/>
                  </a:lnTo>
                  <a:lnTo>
                    <a:pt x="1204" y="2170"/>
                  </a:lnTo>
                  <a:lnTo>
                    <a:pt x="1208" y="2168"/>
                  </a:lnTo>
                  <a:lnTo>
                    <a:pt x="1216" y="2164"/>
                  </a:lnTo>
                  <a:lnTo>
                    <a:pt x="1222" y="2162"/>
                  </a:lnTo>
                  <a:lnTo>
                    <a:pt x="1226" y="2162"/>
                  </a:lnTo>
                  <a:lnTo>
                    <a:pt x="1234" y="2162"/>
                  </a:lnTo>
                  <a:lnTo>
                    <a:pt x="1226" y="2168"/>
                  </a:lnTo>
                  <a:lnTo>
                    <a:pt x="1220" y="2172"/>
                  </a:lnTo>
                  <a:lnTo>
                    <a:pt x="1208" y="2174"/>
                  </a:lnTo>
                  <a:lnTo>
                    <a:pt x="1202" y="2176"/>
                  </a:lnTo>
                  <a:lnTo>
                    <a:pt x="1200" y="2178"/>
                  </a:lnTo>
                  <a:lnTo>
                    <a:pt x="1202" y="2182"/>
                  </a:lnTo>
                  <a:lnTo>
                    <a:pt x="1212" y="2202"/>
                  </a:lnTo>
                  <a:lnTo>
                    <a:pt x="1226" y="2240"/>
                  </a:lnTo>
                  <a:lnTo>
                    <a:pt x="1232" y="2260"/>
                  </a:lnTo>
                  <a:lnTo>
                    <a:pt x="1238" y="2278"/>
                  </a:lnTo>
                  <a:lnTo>
                    <a:pt x="1238" y="2294"/>
                  </a:lnTo>
                  <a:lnTo>
                    <a:pt x="1236" y="2300"/>
                  </a:lnTo>
                  <a:lnTo>
                    <a:pt x="1234" y="2306"/>
                  </a:lnTo>
                  <a:lnTo>
                    <a:pt x="1230" y="2314"/>
                  </a:lnTo>
                  <a:lnTo>
                    <a:pt x="1230" y="2324"/>
                  </a:lnTo>
                  <a:lnTo>
                    <a:pt x="1230" y="2336"/>
                  </a:lnTo>
                  <a:lnTo>
                    <a:pt x="1234" y="2346"/>
                  </a:lnTo>
                  <a:lnTo>
                    <a:pt x="1246" y="2372"/>
                  </a:lnTo>
                  <a:lnTo>
                    <a:pt x="1256" y="2396"/>
                  </a:lnTo>
                  <a:lnTo>
                    <a:pt x="1260" y="2408"/>
                  </a:lnTo>
                  <a:lnTo>
                    <a:pt x="1262" y="2422"/>
                  </a:lnTo>
                  <a:lnTo>
                    <a:pt x="1262" y="2436"/>
                  </a:lnTo>
                  <a:lnTo>
                    <a:pt x="1262" y="2450"/>
                  </a:lnTo>
                  <a:lnTo>
                    <a:pt x="1258" y="2464"/>
                  </a:lnTo>
                  <a:lnTo>
                    <a:pt x="1254" y="2476"/>
                  </a:lnTo>
                  <a:lnTo>
                    <a:pt x="1246" y="2486"/>
                  </a:lnTo>
                  <a:lnTo>
                    <a:pt x="1238" y="2494"/>
                  </a:lnTo>
                  <a:lnTo>
                    <a:pt x="1230" y="2502"/>
                  </a:lnTo>
                  <a:lnTo>
                    <a:pt x="1222" y="2510"/>
                  </a:lnTo>
                  <a:lnTo>
                    <a:pt x="1218" y="2518"/>
                  </a:lnTo>
                  <a:lnTo>
                    <a:pt x="1212" y="2528"/>
                  </a:lnTo>
                  <a:lnTo>
                    <a:pt x="1206" y="2548"/>
                  </a:lnTo>
                  <a:lnTo>
                    <a:pt x="1202" y="2570"/>
                  </a:lnTo>
                  <a:lnTo>
                    <a:pt x="1196" y="2610"/>
                  </a:lnTo>
                  <a:lnTo>
                    <a:pt x="1192" y="2626"/>
                  </a:lnTo>
                  <a:lnTo>
                    <a:pt x="1188" y="2640"/>
                  </a:lnTo>
                  <a:lnTo>
                    <a:pt x="1182" y="2652"/>
                  </a:lnTo>
                  <a:lnTo>
                    <a:pt x="1178" y="2662"/>
                  </a:lnTo>
                  <a:lnTo>
                    <a:pt x="1176" y="2670"/>
                  </a:lnTo>
                  <a:lnTo>
                    <a:pt x="1176" y="2680"/>
                  </a:lnTo>
                  <a:lnTo>
                    <a:pt x="1178" y="2700"/>
                  </a:lnTo>
                  <a:lnTo>
                    <a:pt x="1178" y="2712"/>
                  </a:lnTo>
                  <a:lnTo>
                    <a:pt x="1178" y="2726"/>
                  </a:lnTo>
                  <a:lnTo>
                    <a:pt x="1176" y="2736"/>
                  </a:lnTo>
                  <a:lnTo>
                    <a:pt x="1176" y="2746"/>
                  </a:lnTo>
                  <a:lnTo>
                    <a:pt x="1180" y="2764"/>
                  </a:lnTo>
                  <a:lnTo>
                    <a:pt x="1188" y="2784"/>
                  </a:lnTo>
                  <a:lnTo>
                    <a:pt x="1200" y="2804"/>
                  </a:lnTo>
                  <a:lnTo>
                    <a:pt x="1222" y="2850"/>
                  </a:lnTo>
                  <a:lnTo>
                    <a:pt x="1234" y="2876"/>
                  </a:lnTo>
                  <a:lnTo>
                    <a:pt x="1242" y="2904"/>
                  </a:lnTo>
                  <a:lnTo>
                    <a:pt x="1250" y="2930"/>
                  </a:lnTo>
                  <a:lnTo>
                    <a:pt x="1260" y="2946"/>
                  </a:lnTo>
                  <a:lnTo>
                    <a:pt x="1268" y="2958"/>
                  </a:lnTo>
                  <a:lnTo>
                    <a:pt x="1276" y="2966"/>
                  </a:lnTo>
                  <a:lnTo>
                    <a:pt x="1284" y="2976"/>
                  </a:lnTo>
                  <a:lnTo>
                    <a:pt x="1288" y="2990"/>
                  </a:lnTo>
                  <a:lnTo>
                    <a:pt x="1288" y="3008"/>
                  </a:lnTo>
                  <a:lnTo>
                    <a:pt x="1286" y="3038"/>
                  </a:lnTo>
                  <a:lnTo>
                    <a:pt x="1284" y="3052"/>
                  </a:lnTo>
                  <a:lnTo>
                    <a:pt x="1286" y="3070"/>
                  </a:lnTo>
                  <a:lnTo>
                    <a:pt x="1294" y="3112"/>
                  </a:lnTo>
                  <a:lnTo>
                    <a:pt x="1304" y="3156"/>
                  </a:lnTo>
                  <a:lnTo>
                    <a:pt x="1308" y="3178"/>
                  </a:lnTo>
                  <a:lnTo>
                    <a:pt x="1310" y="3200"/>
                  </a:lnTo>
                  <a:lnTo>
                    <a:pt x="1312" y="3220"/>
                  </a:lnTo>
                  <a:lnTo>
                    <a:pt x="1318" y="3238"/>
                  </a:lnTo>
                  <a:lnTo>
                    <a:pt x="1326" y="3254"/>
                  </a:lnTo>
                  <a:lnTo>
                    <a:pt x="1334" y="3266"/>
                  </a:lnTo>
                  <a:lnTo>
                    <a:pt x="1342" y="3278"/>
                  </a:lnTo>
                  <a:lnTo>
                    <a:pt x="1352" y="3286"/>
                  </a:lnTo>
                  <a:lnTo>
                    <a:pt x="1366" y="3302"/>
                  </a:lnTo>
                  <a:lnTo>
                    <a:pt x="1376" y="3316"/>
                  </a:lnTo>
                  <a:lnTo>
                    <a:pt x="1384" y="3330"/>
                  </a:lnTo>
                  <a:lnTo>
                    <a:pt x="1388" y="3344"/>
                  </a:lnTo>
                  <a:lnTo>
                    <a:pt x="1392" y="3358"/>
                  </a:lnTo>
                  <a:lnTo>
                    <a:pt x="1396" y="3374"/>
                  </a:lnTo>
                  <a:lnTo>
                    <a:pt x="1402" y="3392"/>
                  </a:lnTo>
                  <a:lnTo>
                    <a:pt x="1410" y="3414"/>
                  </a:lnTo>
                  <a:lnTo>
                    <a:pt x="1424" y="3436"/>
                  </a:lnTo>
                  <a:lnTo>
                    <a:pt x="1436" y="3458"/>
                  </a:lnTo>
                  <a:lnTo>
                    <a:pt x="1444" y="3474"/>
                  </a:lnTo>
                  <a:lnTo>
                    <a:pt x="1446" y="3490"/>
                  </a:lnTo>
                  <a:lnTo>
                    <a:pt x="1446" y="3502"/>
                  </a:lnTo>
                  <a:lnTo>
                    <a:pt x="1442" y="3510"/>
                  </a:lnTo>
                  <a:lnTo>
                    <a:pt x="1438" y="3516"/>
                  </a:lnTo>
                  <a:lnTo>
                    <a:pt x="1434" y="3518"/>
                  </a:lnTo>
                  <a:lnTo>
                    <a:pt x="1432" y="3518"/>
                  </a:lnTo>
                  <a:lnTo>
                    <a:pt x="1430" y="3516"/>
                  </a:lnTo>
                  <a:lnTo>
                    <a:pt x="1426" y="3518"/>
                  </a:lnTo>
                  <a:lnTo>
                    <a:pt x="1424" y="3518"/>
                  </a:lnTo>
                  <a:lnTo>
                    <a:pt x="1424" y="3522"/>
                  </a:lnTo>
                  <a:lnTo>
                    <a:pt x="1424" y="3526"/>
                  </a:lnTo>
                  <a:lnTo>
                    <a:pt x="1424" y="3532"/>
                  </a:lnTo>
                  <a:lnTo>
                    <a:pt x="1428" y="3538"/>
                  </a:lnTo>
                  <a:lnTo>
                    <a:pt x="1432" y="3546"/>
                  </a:lnTo>
                  <a:lnTo>
                    <a:pt x="1442" y="3558"/>
                  </a:lnTo>
                  <a:lnTo>
                    <a:pt x="1446" y="3568"/>
                  </a:lnTo>
                  <a:lnTo>
                    <a:pt x="1448" y="3574"/>
                  </a:lnTo>
                  <a:lnTo>
                    <a:pt x="1444" y="3580"/>
                  </a:lnTo>
                  <a:lnTo>
                    <a:pt x="1442" y="3582"/>
                  </a:lnTo>
                  <a:lnTo>
                    <a:pt x="1442" y="3588"/>
                  </a:lnTo>
                  <a:lnTo>
                    <a:pt x="1442" y="3596"/>
                  </a:lnTo>
                  <a:lnTo>
                    <a:pt x="1446" y="3602"/>
                  </a:lnTo>
                  <a:lnTo>
                    <a:pt x="1448" y="3602"/>
                  </a:lnTo>
                  <a:lnTo>
                    <a:pt x="1448" y="3598"/>
                  </a:lnTo>
                  <a:lnTo>
                    <a:pt x="1450" y="3594"/>
                  </a:lnTo>
                  <a:lnTo>
                    <a:pt x="1452" y="3590"/>
                  </a:lnTo>
                  <a:lnTo>
                    <a:pt x="1454" y="3588"/>
                  </a:lnTo>
                  <a:lnTo>
                    <a:pt x="1458" y="3588"/>
                  </a:lnTo>
                  <a:lnTo>
                    <a:pt x="1460" y="3588"/>
                  </a:lnTo>
                  <a:lnTo>
                    <a:pt x="1462" y="3590"/>
                  </a:lnTo>
                  <a:lnTo>
                    <a:pt x="1464" y="3592"/>
                  </a:lnTo>
                  <a:lnTo>
                    <a:pt x="1464" y="3596"/>
                  </a:lnTo>
                  <a:lnTo>
                    <a:pt x="1464" y="3602"/>
                  </a:lnTo>
                  <a:lnTo>
                    <a:pt x="1466" y="3604"/>
                  </a:lnTo>
                  <a:lnTo>
                    <a:pt x="1470" y="3606"/>
                  </a:lnTo>
                  <a:lnTo>
                    <a:pt x="1472" y="3606"/>
                  </a:lnTo>
                  <a:lnTo>
                    <a:pt x="1478" y="3606"/>
                  </a:lnTo>
                  <a:lnTo>
                    <a:pt x="1480" y="3608"/>
                  </a:lnTo>
                  <a:lnTo>
                    <a:pt x="1482" y="3612"/>
                  </a:lnTo>
                  <a:lnTo>
                    <a:pt x="1484" y="3618"/>
                  </a:lnTo>
                  <a:lnTo>
                    <a:pt x="1486" y="3620"/>
                  </a:lnTo>
                  <a:lnTo>
                    <a:pt x="1490" y="3620"/>
                  </a:lnTo>
                  <a:lnTo>
                    <a:pt x="1494" y="3624"/>
                  </a:lnTo>
                  <a:lnTo>
                    <a:pt x="1496" y="3628"/>
                  </a:lnTo>
                  <a:lnTo>
                    <a:pt x="1500" y="3626"/>
                  </a:lnTo>
                  <a:lnTo>
                    <a:pt x="1506" y="3626"/>
                  </a:lnTo>
                  <a:lnTo>
                    <a:pt x="1510" y="3626"/>
                  </a:lnTo>
                  <a:lnTo>
                    <a:pt x="1514" y="3628"/>
                  </a:lnTo>
                  <a:lnTo>
                    <a:pt x="1516" y="3626"/>
                  </a:lnTo>
                  <a:lnTo>
                    <a:pt x="1520" y="3620"/>
                  </a:lnTo>
                  <a:lnTo>
                    <a:pt x="1526" y="3612"/>
                  </a:lnTo>
                  <a:lnTo>
                    <a:pt x="1532" y="3610"/>
                  </a:lnTo>
                  <a:lnTo>
                    <a:pt x="1540" y="3608"/>
                  </a:lnTo>
                  <a:lnTo>
                    <a:pt x="1552" y="3606"/>
                  </a:lnTo>
                  <a:lnTo>
                    <a:pt x="1558" y="3608"/>
                  </a:lnTo>
                  <a:lnTo>
                    <a:pt x="1564" y="3608"/>
                  </a:lnTo>
                  <a:lnTo>
                    <a:pt x="1576" y="3604"/>
                  </a:lnTo>
                  <a:lnTo>
                    <a:pt x="1584" y="3602"/>
                  </a:lnTo>
                  <a:lnTo>
                    <a:pt x="1590" y="3598"/>
                  </a:lnTo>
                  <a:lnTo>
                    <a:pt x="1594" y="3592"/>
                  </a:lnTo>
                  <a:lnTo>
                    <a:pt x="1600" y="3586"/>
                  </a:lnTo>
                  <a:lnTo>
                    <a:pt x="1602" y="3586"/>
                  </a:lnTo>
                  <a:lnTo>
                    <a:pt x="1608" y="3584"/>
                  </a:lnTo>
                  <a:lnTo>
                    <a:pt x="1620" y="3584"/>
                  </a:lnTo>
                  <a:lnTo>
                    <a:pt x="1632" y="3588"/>
                  </a:lnTo>
                  <a:lnTo>
                    <a:pt x="1642" y="3590"/>
                  </a:lnTo>
                  <a:lnTo>
                    <a:pt x="1648" y="3590"/>
                  </a:lnTo>
                  <a:lnTo>
                    <a:pt x="1652" y="3586"/>
                  </a:lnTo>
                  <a:lnTo>
                    <a:pt x="1656" y="3586"/>
                  </a:lnTo>
                  <a:lnTo>
                    <a:pt x="1664" y="3586"/>
                  </a:lnTo>
                  <a:lnTo>
                    <a:pt x="1678" y="3592"/>
                  </a:lnTo>
                  <a:lnTo>
                    <a:pt x="1686" y="3594"/>
                  </a:lnTo>
                  <a:lnTo>
                    <a:pt x="1694" y="3594"/>
                  </a:lnTo>
                  <a:lnTo>
                    <a:pt x="1702" y="3594"/>
                  </a:lnTo>
                  <a:lnTo>
                    <a:pt x="1706" y="3590"/>
                  </a:lnTo>
                  <a:lnTo>
                    <a:pt x="1712" y="3584"/>
                  </a:lnTo>
                  <a:lnTo>
                    <a:pt x="1718" y="3582"/>
                  </a:lnTo>
                  <a:lnTo>
                    <a:pt x="1724" y="3584"/>
                  </a:lnTo>
                  <a:lnTo>
                    <a:pt x="1730" y="3584"/>
                  </a:lnTo>
                  <a:lnTo>
                    <a:pt x="1738" y="3586"/>
                  </a:lnTo>
                  <a:lnTo>
                    <a:pt x="1740" y="3584"/>
                  </a:lnTo>
                  <a:lnTo>
                    <a:pt x="1740" y="3580"/>
                  </a:lnTo>
                  <a:lnTo>
                    <a:pt x="1740" y="3574"/>
                  </a:lnTo>
                  <a:lnTo>
                    <a:pt x="1742" y="3572"/>
                  </a:lnTo>
                  <a:lnTo>
                    <a:pt x="1748" y="3572"/>
                  </a:lnTo>
                  <a:lnTo>
                    <a:pt x="1756" y="3572"/>
                  </a:lnTo>
                  <a:lnTo>
                    <a:pt x="1764" y="3572"/>
                  </a:lnTo>
                  <a:lnTo>
                    <a:pt x="1774" y="3570"/>
                  </a:lnTo>
                  <a:lnTo>
                    <a:pt x="1782" y="3568"/>
                  </a:lnTo>
                  <a:lnTo>
                    <a:pt x="1792" y="3562"/>
                  </a:lnTo>
                  <a:lnTo>
                    <a:pt x="1810" y="3550"/>
                  </a:lnTo>
                  <a:lnTo>
                    <a:pt x="1832" y="3532"/>
                  </a:lnTo>
                  <a:lnTo>
                    <a:pt x="1858" y="3506"/>
                  </a:lnTo>
                  <a:lnTo>
                    <a:pt x="1870" y="3490"/>
                  </a:lnTo>
                  <a:lnTo>
                    <a:pt x="1884" y="3472"/>
                  </a:lnTo>
                  <a:lnTo>
                    <a:pt x="1892" y="3462"/>
                  </a:lnTo>
                  <a:lnTo>
                    <a:pt x="1898" y="3456"/>
                  </a:lnTo>
                  <a:lnTo>
                    <a:pt x="1912" y="3442"/>
                  </a:lnTo>
                  <a:lnTo>
                    <a:pt x="1920" y="3432"/>
                  </a:lnTo>
                  <a:lnTo>
                    <a:pt x="1930" y="3418"/>
                  </a:lnTo>
                  <a:lnTo>
                    <a:pt x="1940" y="3398"/>
                  </a:lnTo>
                  <a:lnTo>
                    <a:pt x="1952" y="3372"/>
                  </a:lnTo>
                  <a:lnTo>
                    <a:pt x="1968" y="3344"/>
                  </a:lnTo>
                  <a:lnTo>
                    <a:pt x="1980" y="3324"/>
                  </a:lnTo>
                  <a:lnTo>
                    <a:pt x="1992" y="3314"/>
                  </a:lnTo>
                  <a:lnTo>
                    <a:pt x="2002" y="3304"/>
                  </a:lnTo>
                  <a:lnTo>
                    <a:pt x="2010" y="3294"/>
                  </a:lnTo>
                  <a:lnTo>
                    <a:pt x="2018" y="3276"/>
                  </a:lnTo>
                  <a:lnTo>
                    <a:pt x="2026" y="3250"/>
                  </a:lnTo>
                  <a:lnTo>
                    <a:pt x="2030" y="3210"/>
                  </a:lnTo>
                  <a:lnTo>
                    <a:pt x="2034" y="3182"/>
                  </a:lnTo>
                  <a:lnTo>
                    <a:pt x="2032" y="3176"/>
                  </a:lnTo>
                  <a:lnTo>
                    <a:pt x="2030" y="3176"/>
                  </a:lnTo>
                  <a:lnTo>
                    <a:pt x="2026" y="3176"/>
                  </a:lnTo>
                  <a:lnTo>
                    <a:pt x="2024" y="3176"/>
                  </a:lnTo>
                  <a:lnTo>
                    <a:pt x="2022" y="3170"/>
                  </a:lnTo>
                  <a:lnTo>
                    <a:pt x="2020" y="3164"/>
                  </a:lnTo>
                  <a:lnTo>
                    <a:pt x="2024" y="3156"/>
                  </a:lnTo>
                  <a:lnTo>
                    <a:pt x="2028" y="3148"/>
                  </a:lnTo>
                  <a:lnTo>
                    <a:pt x="2036" y="3140"/>
                  </a:lnTo>
                  <a:lnTo>
                    <a:pt x="2046" y="3132"/>
                  </a:lnTo>
                  <a:lnTo>
                    <a:pt x="2056" y="3126"/>
                  </a:lnTo>
                  <a:lnTo>
                    <a:pt x="2070" y="3118"/>
                  </a:lnTo>
                  <a:lnTo>
                    <a:pt x="2084" y="3114"/>
                  </a:lnTo>
                  <a:lnTo>
                    <a:pt x="2096" y="3108"/>
                  </a:lnTo>
                  <a:lnTo>
                    <a:pt x="2108" y="3100"/>
                  </a:lnTo>
                  <a:lnTo>
                    <a:pt x="2118" y="3094"/>
                  </a:lnTo>
                  <a:lnTo>
                    <a:pt x="2126" y="3086"/>
                  </a:lnTo>
                  <a:lnTo>
                    <a:pt x="2132" y="3078"/>
                  </a:lnTo>
                  <a:lnTo>
                    <a:pt x="2136" y="3070"/>
                  </a:lnTo>
                  <a:lnTo>
                    <a:pt x="2136" y="3062"/>
                  </a:lnTo>
                  <a:lnTo>
                    <a:pt x="2134" y="3056"/>
                  </a:lnTo>
                  <a:lnTo>
                    <a:pt x="2130" y="3050"/>
                  </a:lnTo>
                  <a:lnTo>
                    <a:pt x="2130" y="3044"/>
                  </a:lnTo>
                  <a:lnTo>
                    <a:pt x="2132" y="3034"/>
                  </a:lnTo>
                  <a:lnTo>
                    <a:pt x="2136" y="3016"/>
                  </a:lnTo>
                  <a:lnTo>
                    <a:pt x="2138" y="3006"/>
                  </a:lnTo>
                  <a:lnTo>
                    <a:pt x="2138" y="2990"/>
                  </a:lnTo>
                  <a:lnTo>
                    <a:pt x="2136" y="2972"/>
                  </a:lnTo>
                  <a:lnTo>
                    <a:pt x="2136" y="2970"/>
                  </a:lnTo>
                  <a:lnTo>
                    <a:pt x="2134" y="2972"/>
                  </a:lnTo>
                  <a:lnTo>
                    <a:pt x="2132" y="2974"/>
                  </a:lnTo>
                  <a:lnTo>
                    <a:pt x="2130" y="2974"/>
                  </a:lnTo>
                  <a:lnTo>
                    <a:pt x="2128" y="2972"/>
                  </a:lnTo>
                  <a:lnTo>
                    <a:pt x="2126" y="2962"/>
                  </a:lnTo>
                  <a:lnTo>
                    <a:pt x="2120" y="2934"/>
                  </a:lnTo>
                  <a:lnTo>
                    <a:pt x="2120" y="2920"/>
                  </a:lnTo>
                  <a:lnTo>
                    <a:pt x="2118" y="2910"/>
                  </a:lnTo>
                  <a:lnTo>
                    <a:pt x="2108" y="2896"/>
                  </a:lnTo>
                  <a:lnTo>
                    <a:pt x="2104" y="2890"/>
                  </a:lnTo>
                  <a:lnTo>
                    <a:pt x="2102" y="2886"/>
                  </a:lnTo>
                  <a:lnTo>
                    <a:pt x="2102" y="2878"/>
                  </a:lnTo>
                  <a:lnTo>
                    <a:pt x="2104" y="2870"/>
                  </a:lnTo>
                  <a:lnTo>
                    <a:pt x="2104" y="2860"/>
                  </a:lnTo>
                  <a:lnTo>
                    <a:pt x="2104" y="2854"/>
                  </a:lnTo>
                  <a:lnTo>
                    <a:pt x="2108" y="2854"/>
                  </a:lnTo>
                  <a:lnTo>
                    <a:pt x="2114" y="2852"/>
                  </a:lnTo>
                  <a:lnTo>
                    <a:pt x="2120" y="2848"/>
                  </a:lnTo>
                  <a:lnTo>
                    <a:pt x="2126" y="2842"/>
                  </a:lnTo>
                  <a:lnTo>
                    <a:pt x="2136" y="2832"/>
                  </a:lnTo>
                  <a:lnTo>
                    <a:pt x="2144" y="2822"/>
                  </a:lnTo>
                  <a:lnTo>
                    <a:pt x="2150" y="2816"/>
                  </a:lnTo>
                  <a:lnTo>
                    <a:pt x="2160" y="2812"/>
                  </a:lnTo>
                  <a:lnTo>
                    <a:pt x="2166" y="2808"/>
                  </a:lnTo>
                  <a:lnTo>
                    <a:pt x="2170" y="2804"/>
                  </a:lnTo>
                  <a:lnTo>
                    <a:pt x="2178" y="2794"/>
                  </a:lnTo>
                  <a:lnTo>
                    <a:pt x="2186" y="2780"/>
                  </a:lnTo>
                  <a:lnTo>
                    <a:pt x="2196" y="2764"/>
                  </a:lnTo>
                  <a:lnTo>
                    <a:pt x="2206" y="2750"/>
                  </a:lnTo>
                  <a:lnTo>
                    <a:pt x="2216" y="2740"/>
                  </a:lnTo>
                  <a:lnTo>
                    <a:pt x="2226" y="2734"/>
                  </a:lnTo>
                  <a:lnTo>
                    <a:pt x="2236" y="2728"/>
                  </a:lnTo>
                  <a:lnTo>
                    <a:pt x="2246" y="2724"/>
                  </a:lnTo>
                  <a:lnTo>
                    <a:pt x="2266" y="2718"/>
                  </a:lnTo>
                  <a:lnTo>
                    <a:pt x="2276" y="2714"/>
                  </a:lnTo>
                  <a:lnTo>
                    <a:pt x="2284" y="2708"/>
                  </a:lnTo>
                  <a:lnTo>
                    <a:pt x="2294" y="2700"/>
                  </a:lnTo>
                  <a:lnTo>
                    <a:pt x="2302" y="2690"/>
                  </a:lnTo>
                  <a:lnTo>
                    <a:pt x="2320" y="2666"/>
                  </a:lnTo>
                  <a:lnTo>
                    <a:pt x="2336" y="2636"/>
                  </a:lnTo>
                  <a:lnTo>
                    <a:pt x="2344" y="2622"/>
                  </a:lnTo>
                  <a:lnTo>
                    <a:pt x="2344" y="2620"/>
                  </a:lnTo>
                  <a:lnTo>
                    <a:pt x="2344" y="2616"/>
                  </a:lnTo>
                  <a:lnTo>
                    <a:pt x="2348" y="2606"/>
                  </a:lnTo>
                  <a:lnTo>
                    <a:pt x="2350" y="2598"/>
                  </a:lnTo>
                  <a:lnTo>
                    <a:pt x="2352" y="2594"/>
                  </a:lnTo>
                  <a:lnTo>
                    <a:pt x="2350" y="2590"/>
                  </a:lnTo>
                  <a:lnTo>
                    <a:pt x="2348" y="2586"/>
                  </a:lnTo>
                  <a:lnTo>
                    <a:pt x="2344" y="2582"/>
                  </a:lnTo>
                  <a:lnTo>
                    <a:pt x="2340" y="2576"/>
                  </a:lnTo>
                  <a:lnTo>
                    <a:pt x="2338" y="2566"/>
                  </a:lnTo>
                  <a:lnTo>
                    <a:pt x="2338" y="2552"/>
                  </a:lnTo>
                  <a:lnTo>
                    <a:pt x="2338" y="2500"/>
                  </a:lnTo>
                  <a:lnTo>
                    <a:pt x="2338" y="2478"/>
                  </a:lnTo>
                  <a:lnTo>
                    <a:pt x="2334" y="2454"/>
                  </a:lnTo>
                  <a:lnTo>
                    <a:pt x="2334" y="2440"/>
                  </a:lnTo>
                  <a:lnTo>
                    <a:pt x="2334" y="2432"/>
                  </a:lnTo>
                  <a:lnTo>
                    <a:pt x="2338" y="2426"/>
                  </a:lnTo>
                  <a:lnTo>
                    <a:pt x="2342" y="2424"/>
                  </a:lnTo>
                  <a:lnTo>
                    <a:pt x="2344" y="2420"/>
                  </a:lnTo>
                  <a:lnTo>
                    <a:pt x="2344" y="2414"/>
                  </a:lnTo>
                  <a:lnTo>
                    <a:pt x="2340" y="2406"/>
                  </a:lnTo>
                  <a:lnTo>
                    <a:pt x="2334" y="2394"/>
                  </a:lnTo>
                  <a:lnTo>
                    <a:pt x="2324" y="2384"/>
                  </a:lnTo>
                  <a:lnTo>
                    <a:pt x="2318" y="2380"/>
                  </a:lnTo>
                  <a:lnTo>
                    <a:pt x="2312" y="2376"/>
                  </a:lnTo>
                  <a:lnTo>
                    <a:pt x="2308" y="2368"/>
                  </a:lnTo>
                  <a:lnTo>
                    <a:pt x="2304" y="2358"/>
                  </a:lnTo>
                  <a:lnTo>
                    <a:pt x="2302" y="2348"/>
                  </a:lnTo>
                  <a:lnTo>
                    <a:pt x="2300" y="2334"/>
                  </a:lnTo>
                  <a:lnTo>
                    <a:pt x="2292" y="2310"/>
                  </a:lnTo>
                  <a:lnTo>
                    <a:pt x="2288" y="2298"/>
                  </a:lnTo>
                  <a:lnTo>
                    <a:pt x="2288" y="2290"/>
                  </a:lnTo>
                  <a:lnTo>
                    <a:pt x="2288" y="2286"/>
                  </a:lnTo>
                  <a:lnTo>
                    <a:pt x="2290" y="2280"/>
                  </a:lnTo>
                  <a:lnTo>
                    <a:pt x="2292" y="2278"/>
                  </a:lnTo>
                  <a:lnTo>
                    <a:pt x="2294" y="2274"/>
                  </a:lnTo>
                  <a:lnTo>
                    <a:pt x="2294" y="2268"/>
                  </a:lnTo>
                  <a:lnTo>
                    <a:pt x="2292" y="2258"/>
                  </a:lnTo>
                  <a:lnTo>
                    <a:pt x="2288" y="2248"/>
                  </a:lnTo>
                  <a:lnTo>
                    <a:pt x="2288" y="2240"/>
                  </a:lnTo>
                  <a:lnTo>
                    <a:pt x="2290" y="2236"/>
                  </a:lnTo>
                  <a:lnTo>
                    <a:pt x="2292" y="2232"/>
                  </a:lnTo>
                  <a:lnTo>
                    <a:pt x="2294" y="2230"/>
                  </a:lnTo>
                  <a:lnTo>
                    <a:pt x="2296" y="2228"/>
                  </a:lnTo>
                  <a:lnTo>
                    <a:pt x="2296" y="2226"/>
                  </a:lnTo>
                  <a:lnTo>
                    <a:pt x="2294" y="2220"/>
                  </a:lnTo>
                  <a:lnTo>
                    <a:pt x="2282" y="2206"/>
                  </a:lnTo>
                  <a:lnTo>
                    <a:pt x="2272" y="2192"/>
                  </a:lnTo>
                  <a:lnTo>
                    <a:pt x="2268" y="2184"/>
                  </a:lnTo>
                  <a:lnTo>
                    <a:pt x="2266" y="2174"/>
                  </a:lnTo>
                  <a:lnTo>
                    <a:pt x="2268" y="2164"/>
                  </a:lnTo>
                  <a:lnTo>
                    <a:pt x="2272" y="2150"/>
                  </a:lnTo>
                  <a:lnTo>
                    <a:pt x="2276" y="2138"/>
                  </a:lnTo>
                  <a:lnTo>
                    <a:pt x="2278" y="2130"/>
                  </a:lnTo>
                  <a:lnTo>
                    <a:pt x="2282" y="2122"/>
                  </a:lnTo>
                  <a:lnTo>
                    <a:pt x="2288" y="2108"/>
                  </a:lnTo>
                  <a:lnTo>
                    <a:pt x="2304" y="2084"/>
                  </a:lnTo>
                  <a:lnTo>
                    <a:pt x="2308" y="2074"/>
                  </a:lnTo>
                  <a:lnTo>
                    <a:pt x="2310" y="2058"/>
                  </a:lnTo>
                  <a:lnTo>
                    <a:pt x="2312" y="2052"/>
                  </a:lnTo>
                  <a:lnTo>
                    <a:pt x="2314" y="2048"/>
                  </a:lnTo>
                  <a:lnTo>
                    <a:pt x="2320" y="2046"/>
                  </a:lnTo>
                  <a:lnTo>
                    <a:pt x="2322" y="2044"/>
                  </a:lnTo>
                  <a:lnTo>
                    <a:pt x="2324" y="2042"/>
                  </a:lnTo>
                  <a:lnTo>
                    <a:pt x="2324" y="2036"/>
                  </a:lnTo>
                  <a:lnTo>
                    <a:pt x="2322" y="2026"/>
                  </a:lnTo>
                  <a:lnTo>
                    <a:pt x="2324" y="2016"/>
                  </a:lnTo>
                  <a:lnTo>
                    <a:pt x="2326" y="2008"/>
                  </a:lnTo>
                  <a:lnTo>
                    <a:pt x="2332" y="2004"/>
                  </a:lnTo>
                  <a:lnTo>
                    <a:pt x="2338" y="2002"/>
                  </a:lnTo>
                  <a:lnTo>
                    <a:pt x="2350" y="1998"/>
                  </a:lnTo>
                  <a:lnTo>
                    <a:pt x="2354" y="1994"/>
                  </a:lnTo>
                  <a:lnTo>
                    <a:pt x="2354" y="1988"/>
                  </a:lnTo>
                  <a:lnTo>
                    <a:pt x="2352" y="1980"/>
                  </a:lnTo>
                  <a:lnTo>
                    <a:pt x="2356" y="1980"/>
                  </a:lnTo>
                  <a:lnTo>
                    <a:pt x="2360" y="1980"/>
                  </a:lnTo>
                  <a:lnTo>
                    <a:pt x="2366" y="1978"/>
                  </a:lnTo>
                  <a:lnTo>
                    <a:pt x="2372" y="1972"/>
                  </a:lnTo>
                  <a:lnTo>
                    <a:pt x="2380" y="1962"/>
                  </a:lnTo>
                  <a:lnTo>
                    <a:pt x="2388" y="1950"/>
                  </a:lnTo>
                  <a:lnTo>
                    <a:pt x="2390" y="1944"/>
                  </a:lnTo>
                  <a:lnTo>
                    <a:pt x="2394" y="1932"/>
                  </a:lnTo>
                  <a:lnTo>
                    <a:pt x="2396" y="1926"/>
                  </a:lnTo>
                  <a:lnTo>
                    <a:pt x="2400" y="1918"/>
                  </a:lnTo>
                  <a:lnTo>
                    <a:pt x="2408" y="1908"/>
                  </a:lnTo>
                  <a:lnTo>
                    <a:pt x="2422" y="1892"/>
                  </a:lnTo>
                  <a:lnTo>
                    <a:pt x="2450" y="1860"/>
                  </a:lnTo>
                  <a:lnTo>
                    <a:pt x="2470" y="1836"/>
                  </a:lnTo>
                  <a:lnTo>
                    <a:pt x="2494" y="1812"/>
                  </a:lnTo>
                  <a:lnTo>
                    <a:pt x="2532" y="1780"/>
                  </a:lnTo>
                  <a:lnTo>
                    <a:pt x="2556" y="1760"/>
                  </a:lnTo>
                  <a:lnTo>
                    <a:pt x="2580" y="1736"/>
                  </a:lnTo>
                  <a:lnTo>
                    <a:pt x="2604" y="1710"/>
                  </a:lnTo>
                  <a:lnTo>
                    <a:pt x="2626" y="1680"/>
                  </a:lnTo>
                  <a:lnTo>
                    <a:pt x="2646" y="1646"/>
                  </a:lnTo>
                  <a:lnTo>
                    <a:pt x="2666" y="1610"/>
                  </a:lnTo>
                  <a:lnTo>
                    <a:pt x="2686" y="1570"/>
                  </a:lnTo>
                  <a:lnTo>
                    <a:pt x="2702" y="1526"/>
                  </a:lnTo>
                  <a:lnTo>
                    <a:pt x="2712" y="1502"/>
                  </a:lnTo>
                  <a:lnTo>
                    <a:pt x="2722" y="1482"/>
                  </a:lnTo>
                  <a:lnTo>
                    <a:pt x="2738" y="1452"/>
                  </a:lnTo>
                  <a:lnTo>
                    <a:pt x="2750" y="1426"/>
                  </a:lnTo>
                  <a:lnTo>
                    <a:pt x="2752" y="1416"/>
                  </a:lnTo>
                  <a:lnTo>
                    <a:pt x="2754" y="1404"/>
                  </a:lnTo>
                  <a:lnTo>
                    <a:pt x="2758" y="1388"/>
                  </a:lnTo>
                  <a:lnTo>
                    <a:pt x="2762" y="1378"/>
                  </a:lnTo>
                  <a:lnTo>
                    <a:pt x="2768" y="1376"/>
                  </a:lnTo>
                  <a:lnTo>
                    <a:pt x="2772" y="1376"/>
                  </a:lnTo>
                  <a:lnTo>
                    <a:pt x="2776" y="1376"/>
                  </a:lnTo>
                  <a:lnTo>
                    <a:pt x="2770" y="136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3" name="Freeform 6155">
              <a:extLst>
                <a:ext uri="{FF2B5EF4-FFF2-40B4-BE49-F238E27FC236}">
                  <a16:creationId xmlns:a16="http://schemas.microsoft.com/office/drawing/2014/main" id="{610EDC84-C481-4506-B902-48867214F1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8697" y="954107"/>
              <a:ext cx="1798643" cy="2608252"/>
            </a:xfrm>
            <a:custGeom>
              <a:avLst/>
              <a:gdLst>
                <a:gd name="T0" fmla="*/ 794599 w 2834"/>
                <a:gd name="T1" fmla="*/ 115556 h 4108"/>
                <a:gd name="T2" fmla="*/ 750173 w 2834"/>
                <a:gd name="T3" fmla="*/ 64762 h 4108"/>
                <a:gd name="T4" fmla="*/ 742557 w 2834"/>
                <a:gd name="T5" fmla="*/ 528256 h 4108"/>
                <a:gd name="T6" fmla="*/ 842833 w 2834"/>
                <a:gd name="T7" fmla="*/ 165080 h 4108"/>
                <a:gd name="T8" fmla="*/ 708285 w 2834"/>
                <a:gd name="T9" fmla="*/ 563811 h 4108"/>
                <a:gd name="T10" fmla="*/ 635933 w 2834"/>
                <a:gd name="T11" fmla="*/ 595557 h 4108"/>
                <a:gd name="T12" fmla="*/ 684167 w 2834"/>
                <a:gd name="T13" fmla="*/ 565081 h 4108"/>
                <a:gd name="T14" fmla="*/ 836487 w 2834"/>
                <a:gd name="T15" fmla="*/ 25397 h 4108"/>
                <a:gd name="T16" fmla="*/ 91392 w 2834"/>
                <a:gd name="T17" fmla="*/ 1043813 h 4108"/>
                <a:gd name="T18" fmla="*/ 44426 w 2834"/>
                <a:gd name="T19" fmla="*/ 1184766 h 4108"/>
                <a:gd name="T20" fmla="*/ 107893 w 2834"/>
                <a:gd name="T21" fmla="*/ 1048892 h 4108"/>
                <a:gd name="T22" fmla="*/ 119317 w 2834"/>
                <a:gd name="T23" fmla="*/ 1116194 h 4108"/>
                <a:gd name="T24" fmla="*/ 171359 w 2834"/>
                <a:gd name="T25" fmla="*/ 1036194 h 4108"/>
                <a:gd name="T26" fmla="*/ 129471 w 2834"/>
                <a:gd name="T27" fmla="*/ 1116194 h 4108"/>
                <a:gd name="T28" fmla="*/ 148511 w 2834"/>
                <a:gd name="T29" fmla="*/ 1240639 h 4108"/>
                <a:gd name="T30" fmla="*/ 200554 w 2834"/>
                <a:gd name="T31" fmla="*/ 1323179 h 4108"/>
                <a:gd name="T32" fmla="*/ 397299 w 2834"/>
                <a:gd name="T33" fmla="*/ 877463 h 4108"/>
                <a:gd name="T34" fmla="*/ 224671 w 2834"/>
                <a:gd name="T35" fmla="*/ 943495 h 4108"/>
                <a:gd name="T36" fmla="*/ 331294 w 2834"/>
                <a:gd name="T37" fmla="*/ 721272 h 4108"/>
                <a:gd name="T38" fmla="*/ 114239 w 2834"/>
                <a:gd name="T39" fmla="*/ 665399 h 4108"/>
                <a:gd name="T40" fmla="*/ 151050 w 2834"/>
                <a:gd name="T41" fmla="*/ 1219051 h 4108"/>
                <a:gd name="T42" fmla="*/ 576275 w 2834"/>
                <a:gd name="T43" fmla="*/ 1158099 h 4108"/>
                <a:gd name="T44" fmla="*/ 580083 w 2834"/>
                <a:gd name="T45" fmla="*/ 1159369 h 4108"/>
                <a:gd name="T46" fmla="*/ 694322 w 2834"/>
                <a:gd name="T47" fmla="*/ 1079368 h 4108"/>
                <a:gd name="T48" fmla="*/ 401107 w 2834"/>
                <a:gd name="T49" fmla="*/ 961273 h 4108"/>
                <a:gd name="T50" fmla="*/ 840295 w 2834"/>
                <a:gd name="T51" fmla="*/ 1010797 h 4108"/>
                <a:gd name="T52" fmla="*/ 605469 w 2834"/>
                <a:gd name="T53" fmla="*/ 1771434 h 4108"/>
                <a:gd name="T54" fmla="*/ 799676 w 2834"/>
                <a:gd name="T55" fmla="*/ 1789212 h 4108"/>
                <a:gd name="T56" fmla="*/ 858065 w 2834"/>
                <a:gd name="T57" fmla="*/ 1842545 h 4108"/>
                <a:gd name="T58" fmla="*/ 1586659 w 2834"/>
                <a:gd name="T59" fmla="*/ 2201912 h 4108"/>
                <a:gd name="T60" fmla="*/ 1488921 w 2834"/>
                <a:gd name="T61" fmla="*/ 2069848 h 4108"/>
                <a:gd name="T62" fmla="*/ 1391183 w 2834"/>
                <a:gd name="T63" fmla="*/ 620954 h 4108"/>
                <a:gd name="T64" fmla="*/ 1212208 w 2834"/>
                <a:gd name="T65" fmla="*/ 568891 h 4108"/>
                <a:gd name="T66" fmla="*/ 974843 w 2834"/>
                <a:gd name="T67" fmla="*/ 468573 h 4108"/>
                <a:gd name="T68" fmla="*/ 856796 w 2834"/>
                <a:gd name="T69" fmla="*/ 514287 h 4108"/>
                <a:gd name="T70" fmla="*/ 732402 w 2834"/>
                <a:gd name="T71" fmla="*/ 544764 h 4108"/>
                <a:gd name="T72" fmla="*/ 657512 w 2834"/>
                <a:gd name="T73" fmla="*/ 642542 h 4108"/>
                <a:gd name="T74" fmla="*/ 562312 w 2834"/>
                <a:gd name="T75" fmla="*/ 758098 h 4108"/>
                <a:gd name="T76" fmla="*/ 446803 w 2834"/>
                <a:gd name="T77" fmla="*/ 830479 h 4108"/>
                <a:gd name="T78" fmla="*/ 396030 w 2834"/>
                <a:gd name="T79" fmla="*/ 911749 h 4108"/>
                <a:gd name="T80" fmla="*/ 482344 w 2834"/>
                <a:gd name="T81" fmla="*/ 1027305 h 4108"/>
                <a:gd name="T82" fmla="*/ 679090 w 2834"/>
                <a:gd name="T83" fmla="*/ 1102226 h 4108"/>
                <a:gd name="T84" fmla="*/ 728594 w 2834"/>
                <a:gd name="T85" fmla="*/ 845717 h 4108"/>
                <a:gd name="T86" fmla="*/ 818716 w 2834"/>
                <a:gd name="T87" fmla="*/ 825399 h 4108"/>
                <a:gd name="T88" fmla="*/ 984998 w 2834"/>
                <a:gd name="T89" fmla="*/ 975241 h 4108"/>
                <a:gd name="T90" fmla="*/ 748903 w 2834"/>
                <a:gd name="T91" fmla="*/ 1168258 h 4108"/>
                <a:gd name="T92" fmla="*/ 514078 w 2834"/>
                <a:gd name="T93" fmla="*/ 1158099 h 4108"/>
                <a:gd name="T94" fmla="*/ 486152 w 2834"/>
                <a:gd name="T95" fmla="*/ 1146670 h 4108"/>
                <a:gd name="T96" fmla="*/ 392222 w 2834"/>
                <a:gd name="T97" fmla="*/ 1235559 h 4108"/>
                <a:gd name="T98" fmla="*/ 185322 w 2834"/>
                <a:gd name="T99" fmla="*/ 1389211 h 4108"/>
                <a:gd name="T100" fmla="*/ 171359 w 2834"/>
                <a:gd name="T101" fmla="*/ 1584767 h 4108"/>
                <a:gd name="T102" fmla="*/ 180244 w 2834"/>
                <a:gd name="T103" fmla="*/ 1823498 h 4108"/>
                <a:gd name="T104" fmla="*/ 542003 w 2834"/>
                <a:gd name="T105" fmla="*/ 1610164 h 4108"/>
                <a:gd name="T106" fmla="*/ 628317 w 2834"/>
                <a:gd name="T107" fmla="*/ 1615243 h 4108"/>
                <a:gd name="T108" fmla="*/ 786983 w 2834"/>
                <a:gd name="T109" fmla="*/ 1730799 h 4108"/>
                <a:gd name="T110" fmla="*/ 884721 w 2834"/>
                <a:gd name="T111" fmla="*/ 1789212 h 4108"/>
                <a:gd name="T112" fmla="*/ 972305 w 2834"/>
                <a:gd name="T113" fmla="*/ 1674926 h 4108"/>
                <a:gd name="T114" fmla="*/ 1124624 w 2834"/>
                <a:gd name="T115" fmla="*/ 1530163 h 4108"/>
                <a:gd name="T116" fmla="*/ 1213477 w 2834"/>
                <a:gd name="T117" fmla="*/ 1530163 h 4108"/>
                <a:gd name="T118" fmla="*/ 976113 w 2834"/>
                <a:gd name="T119" fmla="*/ 1692704 h 4108"/>
                <a:gd name="T120" fmla="*/ 1042118 w 2834"/>
                <a:gd name="T121" fmla="*/ 1838736 h 4108"/>
                <a:gd name="T122" fmla="*/ 1153819 w 2834"/>
                <a:gd name="T123" fmla="*/ 2114292 h 4108"/>
                <a:gd name="T124" fmla="*/ 1426724 w 2834"/>
                <a:gd name="T125" fmla="*/ 2595564 h 410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834"/>
                <a:gd name="T190" fmla="*/ 0 h 4108"/>
                <a:gd name="T191" fmla="*/ 2834 w 2834"/>
                <a:gd name="T192" fmla="*/ 4108 h 410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834" h="4108">
                  <a:moveTo>
                    <a:pt x="1216" y="808"/>
                  </a:moveTo>
                  <a:lnTo>
                    <a:pt x="1216" y="808"/>
                  </a:lnTo>
                  <a:lnTo>
                    <a:pt x="1216" y="806"/>
                  </a:lnTo>
                  <a:lnTo>
                    <a:pt x="1212" y="804"/>
                  </a:lnTo>
                  <a:lnTo>
                    <a:pt x="1208" y="804"/>
                  </a:lnTo>
                  <a:lnTo>
                    <a:pt x="1206" y="804"/>
                  </a:lnTo>
                  <a:lnTo>
                    <a:pt x="1206" y="806"/>
                  </a:lnTo>
                  <a:lnTo>
                    <a:pt x="1210" y="808"/>
                  </a:lnTo>
                  <a:lnTo>
                    <a:pt x="1214" y="808"/>
                  </a:lnTo>
                  <a:lnTo>
                    <a:pt x="1216" y="808"/>
                  </a:lnTo>
                  <a:close/>
                  <a:moveTo>
                    <a:pt x="1202" y="798"/>
                  </a:moveTo>
                  <a:lnTo>
                    <a:pt x="1202" y="798"/>
                  </a:lnTo>
                  <a:lnTo>
                    <a:pt x="1198" y="798"/>
                  </a:lnTo>
                  <a:lnTo>
                    <a:pt x="1194" y="802"/>
                  </a:lnTo>
                  <a:lnTo>
                    <a:pt x="1194" y="806"/>
                  </a:lnTo>
                  <a:lnTo>
                    <a:pt x="1196" y="806"/>
                  </a:lnTo>
                  <a:lnTo>
                    <a:pt x="1200" y="806"/>
                  </a:lnTo>
                  <a:lnTo>
                    <a:pt x="1202" y="802"/>
                  </a:lnTo>
                  <a:lnTo>
                    <a:pt x="1202" y="800"/>
                  </a:lnTo>
                  <a:lnTo>
                    <a:pt x="1202" y="798"/>
                  </a:lnTo>
                  <a:close/>
                  <a:moveTo>
                    <a:pt x="1082" y="898"/>
                  </a:moveTo>
                  <a:lnTo>
                    <a:pt x="1082" y="898"/>
                  </a:lnTo>
                  <a:lnTo>
                    <a:pt x="1078" y="896"/>
                  </a:lnTo>
                  <a:lnTo>
                    <a:pt x="1074" y="900"/>
                  </a:lnTo>
                  <a:lnTo>
                    <a:pt x="1072" y="902"/>
                  </a:lnTo>
                  <a:lnTo>
                    <a:pt x="1072" y="906"/>
                  </a:lnTo>
                  <a:lnTo>
                    <a:pt x="1072" y="910"/>
                  </a:lnTo>
                  <a:lnTo>
                    <a:pt x="1066" y="914"/>
                  </a:lnTo>
                  <a:lnTo>
                    <a:pt x="1062" y="916"/>
                  </a:lnTo>
                  <a:lnTo>
                    <a:pt x="1064" y="914"/>
                  </a:lnTo>
                  <a:lnTo>
                    <a:pt x="1066" y="910"/>
                  </a:lnTo>
                  <a:lnTo>
                    <a:pt x="1064" y="908"/>
                  </a:lnTo>
                  <a:lnTo>
                    <a:pt x="1062" y="908"/>
                  </a:lnTo>
                  <a:lnTo>
                    <a:pt x="1060" y="908"/>
                  </a:lnTo>
                  <a:lnTo>
                    <a:pt x="1060" y="906"/>
                  </a:lnTo>
                  <a:lnTo>
                    <a:pt x="1062" y="902"/>
                  </a:lnTo>
                  <a:lnTo>
                    <a:pt x="1066" y="896"/>
                  </a:lnTo>
                  <a:lnTo>
                    <a:pt x="1066" y="894"/>
                  </a:lnTo>
                  <a:lnTo>
                    <a:pt x="1064" y="892"/>
                  </a:lnTo>
                  <a:lnTo>
                    <a:pt x="1058" y="892"/>
                  </a:lnTo>
                  <a:lnTo>
                    <a:pt x="1054" y="896"/>
                  </a:lnTo>
                  <a:lnTo>
                    <a:pt x="1048" y="900"/>
                  </a:lnTo>
                  <a:lnTo>
                    <a:pt x="1046" y="906"/>
                  </a:lnTo>
                  <a:lnTo>
                    <a:pt x="1046" y="912"/>
                  </a:lnTo>
                  <a:lnTo>
                    <a:pt x="1046" y="916"/>
                  </a:lnTo>
                  <a:lnTo>
                    <a:pt x="1046" y="918"/>
                  </a:lnTo>
                  <a:lnTo>
                    <a:pt x="1042" y="920"/>
                  </a:lnTo>
                  <a:lnTo>
                    <a:pt x="1036" y="922"/>
                  </a:lnTo>
                  <a:lnTo>
                    <a:pt x="1036" y="924"/>
                  </a:lnTo>
                  <a:lnTo>
                    <a:pt x="1036" y="928"/>
                  </a:lnTo>
                  <a:lnTo>
                    <a:pt x="1032" y="938"/>
                  </a:lnTo>
                  <a:lnTo>
                    <a:pt x="1030" y="942"/>
                  </a:lnTo>
                  <a:lnTo>
                    <a:pt x="1034" y="940"/>
                  </a:lnTo>
                  <a:lnTo>
                    <a:pt x="1040" y="938"/>
                  </a:lnTo>
                  <a:lnTo>
                    <a:pt x="1044" y="938"/>
                  </a:lnTo>
                  <a:lnTo>
                    <a:pt x="1048" y="940"/>
                  </a:lnTo>
                  <a:lnTo>
                    <a:pt x="1050" y="940"/>
                  </a:lnTo>
                  <a:lnTo>
                    <a:pt x="1052" y="940"/>
                  </a:lnTo>
                  <a:lnTo>
                    <a:pt x="1054" y="936"/>
                  </a:lnTo>
                  <a:lnTo>
                    <a:pt x="1056" y="934"/>
                  </a:lnTo>
                  <a:lnTo>
                    <a:pt x="1058" y="932"/>
                  </a:lnTo>
                  <a:lnTo>
                    <a:pt x="1060" y="934"/>
                  </a:lnTo>
                  <a:lnTo>
                    <a:pt x="1062" y="936"/>
                  </a:lnTo>
                  <a:lnTo>
                    <a:pt x="1064" y="936"/>
                  </a:lnTo>
                  <a:lnTo>
                    <a:pt x="1068" y="930"/>
                  </a:lnTo>
                  <a:lnTo>
                    <a:pt x="1070" y="926"/>
                  </a:lnTo>
                  <a:lnTo>
                    <a:pt x="1072" y="924"/>
                  </a:lnTo>
                  <a:lnTo>
                    <a:pt x="1076" y="920"/>
                  </a:lnTo>
                  <a:lnTo>
                    <a:pt x="1084" y="920"/>
                  </a:lnTo>
                  <a:lnTo>
                    <a:pt x="1088" y="918"/>
                  </a:lnTo>
                  <a:lnTo>
                    <a:pt x="1090" y="916"/>
                  </a:lnTo>
                  <a:lnTo>
                    <a:pt x="1090" y="914"/>
                  </a:lnTo>
                  <a:lnTo>
                    <a:pt x="1090" y="910"/>
                  </a:lnTo>
                  <a:lnTo>
                    <a:pt x="1086" y="904"/>
                  </a:lnTo>
                  <a:lnTo>
                    <a:pt x="1082" y="898"/>
                  </a:lnTo>
                  <a:close/>
                  <a:moveTo>
                    <a:pt x="1190" y="808"/>
                  </a:moveTo>
                  <a:lnTo>
                    <a:pt x="1190" y="808"/>
                  </a:lnTo>
                  <a:lnTo>
                    <a:pt x="1188" y="808"/>
                  </a:lnTo>
                  <a:lnTo>
                    <a:pt x="1186" y="808"/>
                  </a:lnTo>
                  <a:lnTo>
                    <a:pt x="1184" y="808"/>
                  </a:lnTo>
                  <a:lnTo>
                    <a:pt x="1182" y="808"/>
                  </a:lnTo>
                  <a:lnTo>
                    <a:pt x="1180" y="808"/>
                  </a:lnTo>
                  <a:lnTo>
                    <a:pt x="1178" y="810"/>
                  </a:lnTo>
                  <a:lnTo>
                    <a:pt x="1176" y="814"/>
                  </a:lnTo>
                  <a:lnTo>
                    <a:pt x="1178" y="814"/>
                  </a:lnTo>
                  <a:lnTo>
                    <a:pt x="1178" y="816"/>
                  </a:lnTo>
                  <a:lnTo>
                    <a:pt x="1184" y="814"/>
                  </a:lnTo>
                  <a:lnTo>
                    <a:pt x="1188" y="810"/>
                  </a:lnTo>
                  <a:lnTo>
                    <a:pt x="1190" y="808"/>
                  </a:lnTo>
                  <a:close/>
                  <a:moveTo>
                    <a:pt x="1400" y="746"/>
                  </a:moveTo>
                  <a:lnTo>
                    <a:pt x="1400" y="746"/>
                  </a:lnTo>
                  <a:lnTo>
                    <a:pt x="1394" y="744"/>
                  </a:lnTo>
                  <a:lnTo>
                    <a:pt x="1390" y="744"/>
                  </a:lnTo>
                  <a:lnTo>
                    <a:pt x="1388" y="744"/>
                  </a:lnTo>
                  <a:lnTo>
                    <a:pt x="1390" y="748"/>
                  </a:lnTo>
                  <a:lnTo>
                    <a:pt x="1394" y="750"/>
                  </a:lnTo>
                  <a:lnTo>
                    <a:pt x="1398" y="750"/>
                  </a:lnTo>
                  <a:lnTo>
                    <a:pt x="1400" y="748"/>
                  </a:lnTo>
                  <a:lnTo>
                    <a:pt x="1400" y="746"/>
                  </a:lnTo>
                  <a:close/>
                  <a:moveTo>
                    <a:pt x="1252" y="182"/>
                  </a:moveTo>
                  <a:lnTo>
                    <a:pt x="1252" y="182"/>
                  </a:lnTo>
                  <a:lnTo>
                    <a:pt x="1256" y="186"/>
                  </a:lnTo>
                  <a:lnTo>
                    <a:pt x="1256" y="188"/>
                  </a:lnTo>
                  <a:lnTo>
                    <a:pt x="1258" y="190"/>
                  </a:lnTo>
                  <a:lnTo>
                    <a:pt x="1258" y="192"/>
                  </a:lnTo>
                  <a:lnTo>
                    <a:pt x="1262" y="192"/>
                  </a:lnTo>
                  <a:lnTo>
                    <a:pt x="1272" y="190"/>
                  </a:lnTo>
                  <a:lnTo>
                    <a:pt x="1290" y="186"/>
                  </a:lnTo>
                  <a:lnTo>
                    <a:pt x="1306" y="186"/>
                  </a:lnTo>
                  <a:lnTo>
                    <a:pt x="1312" y="184"/>
                  </a:lnTo>
                  <a:lnTo>
                    <a:pt x="1316" y="182"/>
                  </a:lnTo>
                  <a:lnTo>
                    <a:pt x="1318" y="178"/>
                  </a:lnTo>
                  <a:lnTo>
                    <a:pt x="1318" y="172"/>
                  </a:lnTo>
                  <a:lnTo>
                    <a:pt x="1316" y="166"/>
                  </a:lnTo>
                  <a:lnTo>
                    <a:pt x="1312" y="162"/>
                  </a:lnTo>
                  <a:lnTo>
                    <a:pt x="1306" y="160"/>
                  </a:lnTo>
                  <a:lnTo>
                    <a:pt x="1300" y="158"/>
                  </a:lnTo>
                  <a:lnTo>
                    <a:pt x="1284" y="158"/>
                  </a:lnTo>
                  <a:lnTo>
                    <a:pt x="1266" y="162"/>
                  </a:lnTo>
                  <a:lnTo>
                    <a:pt x="1250" y="166"/>
                  </a:lnTo>
                  <a:lnTo>
                    <a:pt x="1238" y="168"/>
                  </a:lnTo>
                  <a:lnTo>
                    <a:pt x="1238" y="170"/>
                  </a:lnTo>
                  <a:lnTo>
                    <a:pt x="1238" y="174"/>
                  </a:lnTo>
                  <a:lnTo>
                    <a:pt x="1252" y="182"/>
                  </a:lnTo>
                  <a:close/>
                  <a:moveTo>
                    <a:pt x="1236" y="808"/>
                  </a:moveTo>
                  <a:lnTo>
                    <a:pt x="1236" y="808"/>
                  </a:lnTo>
                  <a:lnTo>
                    <a:pt x="1238" y="806"/>
                  </a:lnTo>
                  <a:lnTo>
                    <a:pt x="1236" y="804"/>
                  </a:lnTo>
                  <a:lnTo>
                    <a:pt x="1228" y="802"/>
                  </a:lnTo>
                  <a:lnTo>
                    <a:pt x="1224" y="798"/>
                  </a:lnTo>
                  <a:lnTo>
                    <a:pt x="1220" y="796"/>
                  </a:lnTo>
                  <a:lnTo>
                    <a:pt x="1216" y="794"/>
                  </a:lnTo>
                  <a:lnTo>
                    <a:pt x="1216" y="798"/>
                  </a:lnTo>
                  <a:lnTo>
                    <a:pt x="1216" y="802"/>
                  </a:lnTo>
                  <a:lnTo>
                    <a:pt x="1220" y="806"/>
                  </a:lnTo>
                  <a:lnTo>
                    <a:pt x="1228" y="810"/>
                  </a:lnTo>
                  <a:lnTo>
                    <a:pt x="1236" y="808"/>
                  </a:lnTo>
                  <a:close/>
                  <a:moveTo>
                    <a:pt x="902" y="108"/>
                  </a:moveTo>
                  <a:lnTo>
                    <a:pt x="902" y="108"/>
                  </a:lnTo>
                  <a:lnTo>
                    <a:pt x="902" y="114"/>
                  </a:lnTo>
                  <a:lnTo>
                    <a:pt x="904" y="120"/>
                  </a:lnTo>
                  <a:lnTo>
                    <a:pt x="906" y="124"/>
                  </a:lnTo>
                  <a:lnTo>
                    <a:pt x="910" y="126"/>
                  </a:lnTo>
                  <a:lnTo>
                    <a:pt x="912" y="128"/>
                  </a:lnTo>
                  <a:lnTo>
                    <a:pt x="910" y="128"/>
                  </a:lnTo>
                  <a:lnTo>
                    <a:pt x="900" y="130"/>
                  </a:lnTo>
                  <a:lnTo>
                    <a:pt x="886" y="130"/>
                  </a:lnTo>
                  <a:lnTo>
                    <a:pt x="884" y="132"/>
                  </a:lnTo>
                  <a:lnTo>
                    <a:pt x="886" y="136"/>
                  </a:lnTo>
                  <a:lnTo>
                    <a:pt x="898" y="148"/>
                  </a:lnTo>
                  <a:lnTo>
                    <a:pt x="922" y="172"/>
                  </a:lnTo>
                  <a:lnTo>
                    <a:pt x="936" y="184"/>
                  </a:lnTo>
                  <a:lnTo>
                    <a:pt x="948" y="192"/>
                  </a:lnTo>
                  <a:lnTo>
                    <a:pt x="960" y="194"/>
                  </a:lnTo>
                  <a:lnTo>
                    <a:pt x="970" y="192"/>
                  </a:lnTo>
                  <a:lnTo>
                    <a:pt x="980" y="188"/>
                  </a:lnTo>
                  <a:lnTo>
                    <a:pt x="990" y="182"/>
                  </a:lnTo>
                  <a:lnTo>
                    <a:pt x="1018" y="164"/>
                  </a:lnTo>
                  <a:lnTo>
                    <a:pt x="1038" y="152"/>
                  </a:lnTo>
                  <a:lnTo>
                    <a:pt x="1040" y="152"/>
                  </a:lnTo>
                  <a:lnTo>
                    <a:pt x="1042" y="154"/>
                  </a:lnTo>
                  <a:lnTo>
                    <a:pt x="1042" y="158"/>
                  </a:lnTo>
                  <a:lnTo>
                    <a:pt x="1048" y="160"/>
                  </a:lnTo>
                  <a:lnTo>
                    <a:pt x="1056" y="164"/>
                  </a:lnTo>
                  <a:lnTo>
                    <a:pt x="1072" y="166"/>
                  </a:lnTo>
                  <a:lnTo>
                    <a:pt x="1088" y="168"/>
                  </a:lnTo>
                  <a:lnTo>
                    <a:pt x="1096" y="170"/>
                  </a:lnTo>
                  <a:lnTo>
                    <a:pt x="1094" y="172"/>
                  </a:lnTo>
                  <a:lnTo>
                    <a:pt x="1088" y="176"/>
                  </a:lnTo>
                  <a:lnTo>
                    <a:pt x="1058" y="186"/>
                  </a:lnTo>
                  <a:lnTo>
                    <a:pt x="1014" y="198"/>
                  </a:lnTo>
                  <a:lnTo>
                    <a:pt x="994" y="206"/>
                  </a:lnTo>
                  <a:lnTo>
                    <a:pt x="980" y="210"/>
                  </a:lnTo>
                  <a:lnTo>
                    <a:pt x="972" y="216"/>
                  </a:lnTo>
                  <a:lnTo>
                    <a:pt x="970" y="218"/>
                  </a:lnTo>
                  <a:lnTo>
                    <a:pt x="970" y="220"/>
                  </a:lnTo>
                  <a:lnTo>
                    <a:pt x="976" y="222"/>
                  </a:lnTo>
                  <a:lnTo>
                    <a:pt x="988" y="224"/>
                  </a:lnTo>
                  <a:lnTo>
                    <a:pt x="1008" y="224"/>
                  </a:lnTo>
                  <a:lnTo>
                    <a:pt x="1034" y="222"/>
                  </a:lnTo>
                  <a:lnTo>
                    <a:pt x="1058" y="220"/>
                  </a:lnTo>
                  <a:lnTo>
                    <a:pt x="1072" y="220"/>
                  </a:lnTo>
                  <a:lnTo>
                    <a:pt x="1074" y="222"/>
                  </a:lnTo>
                  <a:lnTo>
                    <a:pt x="1076" y="222"/>
                  </a:lnTo>
                  <a:lnTo>
                    <a:pt x="1072" y="226"/>
                  </a:lnTo>
                  <a:lnTo>
                    <a:pt x="1064" y="232"/>
                  </a:lnTo>
                  <a:lnTo>
                    <a:pt x="1050" y="236"/>
                  </a:lnTo>
                  <a:lnTo>
                    <a:pt x="1036" y="242"/>
                  </a:lnTo>
                  <a:lnTo>
                    <a:pt x="1018" y="244"/>
                  </a:lnTo>
                  <a:lnTo>
                    <a:pt x="994" y="250"/>
                  </a:lnTo>
                  <a:lnTo>
                    <a:pt x="988" y="252"/>
                  </a:lnTo>
                  <a:lnTo>
                    <a:pt x="984" y="256"/>
                  </a:lnTo>
                  <a:lnTo>
                    <a:pt x="986" y="260"/>
                  </a:lnTo>
                  <a:lnTo>
                    <a:pt x="990" y="264"/>
                  </a:lnTo>
                  <a:lnTo>
                    <a:pt x="1014" y="274"/>
                  </a:lnTo>
                  <a:lnTo>
                    <a:pt x="1028" y="280"/>
                  </a:lnTo>
                  <a:lnTo>
                    <a:pt x="1036" y="286"/>
                  </a:lnTo>
                  <a:lnTo>
                    <a:pt x="1048" y="296"/>
                  </a:lnTo>
                  <a:lnTo>
                    <a:pt x="1052" y="302"/>
                  </a:lnTo>
                  <a:lnTo>
                    <a:pt x="1060" y="308"/>
                  </a:lnTo>
                  <a:lnTo>
                    <a:pt x="1072" y="312"/>
                  </a:lnTo>
                  <a:lnTo>
                    <a:pt x="1090" y="318"/>
                  </a:lnTo>
                  <a:lnTo>
                    <a:pt x="1098" y="320"/>
                  </a:lnTo>
                  <a:lnTo>
                    <a:pt x="1104" y="320"/>
                  </a:lnTo>
                  <a:lnTo>
                    <a:pt x="1110" y="318"/>
                  </a:lnTo>
                  <a:lnTo>
                    <a:pt x="1114" y="316"/>
                  </a:lnTo>
                  <a:lnTo>
                    <a:pt x="1116" y="312"/>
                  </a:lnTo>
                  <a:lnTo>
                    <a:pt x="1116" y="306"/>
                  </a:lnTo>
                  <a:lnTo>
                    <a:pt x="1118" y="294"/>
                  </a:lnTo>
                  <a:lnTo>
                    <a:pt x="1120" y="282"/>
                  </a:lnTo>
                  <a:lnTo>
                    <a:pt x="1124" y="268"/>
                  </a:lnTo>
                  <a:lnTo>
                    <a:pt x="1128" y="262"/>
                  </a:lnTo>
                  <a:lnTo>
                    <a:pt x="1132" y="256"/>
                  </a:lnTo>
                  <a:lnTo>
                    <a:pt x="1138" y="252"/>
                  </a:lnTo>
                  <a:lnTo>
                    <a:pt x="1146" y="248"/>
                  </a:lnTo>
                  <a:lnTo>
                    <a:pt x="1160" y="242"/>
                  </a:lnTo>
                  <a:lnTo>
                    <a:pt x="1166" y="236"/>
                  </a:lnTo>
                  <a:lnTo>
                    <a:pt x="1166" y="230"/>
                  </a:lnTo>
                  <a:lnTo>
                    <a:pt x="1164" y="224"/>
                  </a:lnTo>
                  <a:lnTo>
                    <a:pt x="1162" y="218"/>
                  </a:lnTo>
                  <a:lnTo>
                    <a:pt x="1162" y="214"/>
                  </a:lnTo>
                  <a:lnTo>
                    <a:pt x="1162" y="212"/>
                  </a:lnTo>
                  <a:lnTo>
                    <a:pt x="1166" y="208"/>
                  </a:lnTo>
                  <a:lnTo>
                    <a:pt x="1176" y="204"/>
                  </a:lnTo>
                  <a:lnTo>
                    <a:pt x="1182" y="202"/>
                  </a:lnTo>
                  <a:lnTo>
                    <a:pt x="1188" y="200"/>
                  </a:lnTo>
                  <a:lnTo>
                    <a:pt x="1190" y="196"/>
                  </a:lnTo>
                  <a:lnTo>
                    <a:pt x="1192" y="192"/>
                  </a:lnTo>
                  <a:lnTo>
                    <a:pt x="1194" y="186"/>
                  </a:lnTo>
                  <a:lnTo>
                    <a:pt x="1194" y="178"/>
                  </a:lnTo>
                  <a:lnTo>
                    <a:pt x="1196" y="170"/>
                  </a:lnTo>
                  <a:lnTo>
                    <a:pt x="1198" y="166"/>
                  </a:lnTo>
                  <a:lnTo>
                    <a:pt x="1202" y="164"/>
                  </a:lnTo>
                  <a:lnTo>
                    <a:pt x="1206" y="160"/>
                  </a:lnTo>
                  <a:lnTo>
                    <a:pt x="1212" y="158"/>
                  </a:lnTo>
                  <a:lnTo>
                    <a:pt x="1234" y="156"/>
                  </a:lnTo>
                  <a:lnTo>
                    <a:pt x="1272" y="152"/>
                  </a:lnTo>
                  <a:lnTo>
                    <a:pt x="1284" y="148"/>
                  </a:lnTo>
                  <a:lnTo>
                    <a:pt x="1290" y="146"/>
                  </a:lnTo>
                  <a:lnTo>
                    <a:pt x="1290" y="144"/>
                  </a:lnTo>
                  <a:lnTo>
                    <a:pt x="1290" y="142"/>
                  </a:lnTo>
                  <a:lnTo>
                    <a:pt x="1284" y="138"/>
                  </a:lnTo>
                  <a:lnTo>
                    <a:pt x="1274" y="136"/>
                  </a:lnTo>
                  <a:lnTo>
                    <a:pt x="1260" y="130"/>
                  </a:lnTo>
                  <a:lnTo>
                    <a:pt x="1244" y="126"/>
                  </a:lnTo>
                  <a:lnTo>
                    <a:pt x="1236" y="124"/>
                  </a:lnTo>
                  <a:lnTo>
                    <a:pt x="1226" y="118"/>
                  </a:lnTo>
                  <a:lnTo>
                    <a:pt x="1224" y="116"/>
                  </a:lnTo>
                  <a:lnTo>
                    <a:pt x="1220" y="114"/>
                  </a:lnTo>
                  <a:lnTo>
                    <a:pt x="1202" y="114"/>
                  </a:lnTo>
                  <a:lnTo>
                    <a:pt x="1190" y="112"/>
                  </a:lnTo>
                  <a:lnTo>
                    <a:pt x="1186" y="110"/>
                  </a:lnTo>
                  <a:lnTo>
                    <a:pt x="1184" y="106"/>
                  </a:lnTo>
                  <a:lnTo>
                    <a:pt x="1182" y="102"/>
                  </a:lnTo>
                  <a:lnTo>
                    <a:pt x="1182" y="96"/>
                  </a:lnTo>
                  <a:lnTo>
                    <a:pt x="1182" y="90"/>
                  </a:lnTo>
                  <a:lnTo>
                    <a:pt x="1178" y="84"/>
                  </a:lnTo>
                  <a:lnTo>
                    <a:pt x="1170" y="78"/>
                  </a:lnTo>
                  <a:lnTo>
                    <a:pt x="1162" y="74"/>
                  </a:lnTo>
                  <a:lnTo>
                    <a:pt x="1156" y="76"/>
                  </a:lnTo>
                  <a:lnTo>
                    <a:pt x="1152" y="82"/>
                  </a:lnTo>
                  <a:lnTo>
                    <a:pt x="1148" y="88"/>
                  </a:lnTo>
                  <a:lnTo>
                    <a:pt x="1144" y="96"/>
                  </a:lnTo>
                  <a:lnTo>
                    <a:pt x="1144" y="98"/>
                  </a:lnTo>
                  <a:lnTo>
                    <a:pt x="1142" y="94"/>
                  </a:lnTo>
                  <a:lnTo>
                    <a:pt x="1140" y="84"/>
                  </a:lnTo>
                  <a:lnTo>
                    <a:pt x="1140" y="78"/>
                  </a:lnTo>
                  <a:lnTo>
                    <a:pt x="1142" y="74"/>
                  </a:lnTo>
                  <a:lnTo>
                    <a:pt x="1144" y="70"/>
                  </a:lnTo>
                  <a:lnTo>
                    <a:pt x="1150" y="66"/>
                  </a:lnTo>
                  <a:lnTo>
                    <a:pt x="1152" y="64"/>
                  </a:lnTo>
                  <a:lnTo>
                    <a:pt x="1132" y="54"/>
                  </a:lnTo>
                  <a:lnTo>
                    <a:pt x="1124" y="50"/>
                  </a:lnTo>
                  <a:lnTo>
                    <a:pt x="1108" y="50"/>
                  </a:lnTo>
                  <a:lnTo>
                    <a:pt x="1100" y="50"/>
                  </a:lnTo>
                  <a:lnTo>
                    <a:pt x="1092" y="48"/>
                  </a:lnTo>
                  <a:lnTo>
                    <a:pt x="1084" y="42"/>
                  </a:lnTo>
                  <a:lnTo>
                    <a:pt x="1080" y="40"/>
                  </a:lnTo>
                  <a:lnTo>
                    <a:pt x="1076" y="40"/>
                  </a:lnTo>
                  <a:lnTo>
                    <a:pt x="1070" y="40"/>
                  </a:lnTo>
                  <a:lnTo>
                    <a:pt x="1062" y="44"/>
                  </a:lnTo>
                  <a:lnTo>
                    <a:pt x="1058" y="48"/>
                  </a:lnTo>
                  <a:lnTo>
                    <a:pt x="1056" y="54"/>
                  </a:lnTo>
                  <a:lnTo>
                    <a:pt x="1054" y="58"/>
                  </a:lnTo>
                  <a:lnTo>
                    <a:pt x="1056" y="66"/>
                  </a:lnTo>
                  <a:lnTo>
                    <a:pt x="1060" y="80"/>
                  </a:lnTo>
                  <a:lnTo>
                    <a:pt x="1068" y="94"/>
                  </a:lnTo>
                  <a:lnTo>
                    <a:pt x="1084" y="120"/>
                  </a:lnTo>
                  <a:lnTo>
                    <a:pt x="1086" y="130"/>
                  </a:lnTo>
                  <a:lnTo>
                    <a:pt x="1086" y="132"/>
                  </a:lnTo>
                  <a:lnTo>
                    <a:pt x="1084" y="132"/>
                  </a:lnTo>
                  <a:lnTo>
                    <a:pt x="1080" y="132"/>
                  </a:lnTo>
                  <a:lnTo>
                    <a:pt x="1076" y="130"/>
                  </a:lnTo>
                  <a:lnTo>
                    <a:pt x="1068" y="122"/>
                  </a:lnTo>
                  <a:lnTo>
                    <a:pt x="1048" y="96"/>
                  </a:lnTo>
                  <a:lnTo>
                    <a:pt x="1036" y="82"/>
                  </a:lnTo>
                  <a:lnTo>
                    <a:pt x="1026" y="72"/>
                  </a:lnTo>
                  <a:lnTo>
                    <a:pt x="1020" y="68"/>
                  </a:lnTo>
                  <a:lnTo>
                    <a:pt x="1014" y="66"/>
                  </a:lnTo>
                  <a:lnTo>
                    <a:pt x="1008" y="64"/>
                  </a:lnTo>
                  <a:lnTo>
                    <a:pt x="1004" y="66"/>
                  </a:lnTo>
                  <a:lnTo>
                    <a:pt x="998" y="68"/>
                  </a:lnTo>
                  <a:lnTo>
                    <a:pt x="994" y="70"/>
                  </a:lnTo>
                  <a:lnTo>
                    <a:pt x="990" y="78"/>
                  </a:lnTo>
                  <a:lnTo>
                    <a:pt x="988" y="88"/>
                  </a:lnTo>
                  <a:lnTo>
                    <a:pt x="986" y="96"/>
                  </a:lnTo>
                  <a:lnTo>
                    <a:pt x="986" y="108"/>
                  </a:lnTo>
                  <a:lnTo>
                    <a:pt x="984" y="106"/>
                  </a:lnTo>
                  <a:lnTo>
                    <a:pt x="980" y="100"/>
                  </a:lnTo>
                  <a:lnTo>
                    <a:pt x="974" y="90"/>
                  </a:lnTo>
                  <a:lnTo>
                    <a:pt x="968" y="84"/>
                  </a:lnTo>
                  <a:lnTo>
                    <a:pt x="960" y="80"/>
                  </a:lnTo>
                  <a:lnTo>
                    <a:pt x="954" y="78"/>
                  </a:lnTo>
                  <a:lnTo>
                    <a:pt x="950" y="76"/>
                  </a:lnTo>
                  <a:lnTo>
                    <a:pt x="948" y="76"/>
                  </a:lnTo>
                  <a:lnTo>
                    <a:pt x="960" y="72"/>
                  </a:lnTo>
                  <a:lnTo>
                    <a:pt x="972" y="70"/>
                  </a:lnTo>
                  <a:lnTo>
                    <a:pt x="978" y="66"/>
                  </a:lnTo>
                  <a:lnTo>
                    <a:pt x="984" y="62"/>
                  </a:lnTo>
                  <a:lnTo>
                    <a:pt x="984" y="60"/>
                  </a:lnTo>
                  <a:lnTo>
                    <a:pt x="982" y="56"/>
                  </a:lnTo>
                  <a:lnTo>
                    <a:pt x="978" y="56"/>
                  </a:lnTo>
                  <a:lnTo>
                    <a:pt x="970" y="56"/>
                  </a:lnTo>
                  <a:lnTo>
                    <a:pt x="958" y="60"/>
                  </a:lnTo>
                  <a:lnTo>
                    <a:pt x="946" y="62"/>
                  </a:lnTo>
                  <a:lnTo>
                    <a:pt x="938" y="62"/>
                  </a:lnTo>
                  <a:lnTo>
                    <a:pt x="934" y="62"/>
                  </a:lnTo>
                  <a:lnTo>
                    <a:pt x="930" y="58"/>
                  </a:lnTo>
                  <a:lnTo>
                    <a:pt x="928" y="56"/>
                  </a:lnTo>
                  <a:lnTo>
                    <a:pt x="926" y="56"/>
                  </a:lnTo>
                  <a:lnTo>
                    <a:pt x="922" y="58"/>
                  </a:lnTo>
                  <a:lnTo>
                    <a:pt x="916" y="60"/>
                  </a:lnTo>
                  <a:lnTo>
                    <a:pt x="908" y="64"/>
                  </a:lnTo>
                  <a:lnTo>
                    <a:pt x="904" y="64"/>
                  </a:lnTo>
                  <a:lnTo>
                    <a:pt x="902" y="64"/>
                  </a:lnTo>
                  <a:lnTo>
                    <a:pt x="900" y="60"/>
                  </a:lnTo>
                  <a:lnTo>
                    <a:pt x="896" y="58"/>
                  </a:lnTo>
                  <a:lnTo>
                    <a:pt x="892" y="58"/>
                  </a:lnTo>
                  <a:lnTo>
                    <a:pt x="884" y="60"/>
                  </a:lnTo>
                  <a:lnTo>
                    <a:pt x="874" y="64"/>
                  </a:lnTo>
                  <a:lnTo>
                    <a:pt x="862" y="72"/>
                  </a:lnTo>
                  <a:lnTo>
                    <a:pt x="856" y="78"/>
                  </a:lnTo>
                  <a:lnTo>
                    <a:pt x="854" y="82"/>
                  </a:lnTo>
                  <a:lnTo>
                    <a:pt x="854" y="88"/>
                  </a:lnTo>
                  <a:lnTo>
                    <a:pt x="858" y="92"/>
                  </a:lnTo>
                  <a:lnTo>
                    <a:pt x="862" y="98"/>
                  </a:lnTo>
                  <a:lnTo>
                    <a:pt x="872" y="112"/>
                  </a:lnTo>
                  <a:lnTo>
                    <a:pt x="878" y="116"/>
                  </a:lnTo>
                  <a:lnTo>
                    <a:pt x="884" y="118"/>
                  </a:lnTo>
                  <a:lnTo>
                    <a:pt x="890" y="114"/>
                  </a:lnTo>
                  <a:lnTo>
                    <a:pt x="894" y="110"/>
                  </a:lnTo>
                  <a:lnTo>
                    <a:pt x="902" y="104"/>
                  </a:lnTo>
                  <a:lnTo>
                    <a:pt x="902" y="108"/>
                  </a:lnTo>
                  <a:close/>
                  <a:moveTo>
                    <a:pt x="1272" y="818"/>
                  </a:moveTo>
                  <a:lnTo>
                    <a:pt x="1272" y="818"/>
                  </a:lnTo>
                  <a:lnTo>
                    <a:pt x="1272" y="816"/>
                  </a:lnTo>
                  <a:lnTo>
                    <a:pt x="1270" y="814"/>
                  </a:lnTo>
                  <a:lnTo>
                    <a:pt x="1266" y="812"/>
                  </a:lnTo>
                  <a:lnTo>
                    <a:pt x="1264" y="814"/>
                  </a:lnTo>
                  <a:lnTo>
                    <a:pt x="1264" y="818"/>
                  </a:lnTo>
                  <a:lnTo>
                    <a:pt x="1264" y="820"/>
                  </a:lnTo>
                  <a:lnTo>
                    <a:pt x="1272" y="818"/>
                  </a:lnTo>
                  <a:close/>
                  <a:moveTo>
                    <a:pt x="1168" y="848"/>
                  </a:moveTo>
                  <a:lnTo>
                    <a:pt x="1168" y="848"/>
                  </a:lnTo>
                  <a:lnTo>
                    <a:pt x="1176" y="848"/>
                  </a:lnTo>
                  <a:lnTo>
                    <a:pt x="1180" y="848"/>
                  </a:lnTo>
                  <a:lnTo>
                    <a:pt x="1182" y="844"/>
                  </a:lnTo>
                  <a:lnTo>
                    <a:pt x="1184" y="840"/>
                  </a:lnTo>
                  <a:lnTo>
                    <a:pt x="1190" y="836"/>
                  </a:lnTo>
                  <a:lnTo>
                    <a:pt x="1192" y="834"/>
                  </a:lnTo>
                  <a:lnTo>
                    <a:pt x="1192" y="832"/>
                  </a:lnTo>
                  <a:lnTo>
                    <a:pt x="1192" y="830"/>
                  </a:lnTo>
                  <a:lnTo>
                    <a:pt x="1188" y="828"/>
                  </a:lnTo>
                  <a:lnTo>
                    <a:pt x="1182" y="826"/>
                  </a:lnTo>
                  <a:lnTo>
                    <a:pt x="1180" y="826"/>
                  </a:lnTo>
                  <a:lnTo>
                    <a:pt x="1180" y="828"/>
                  </a:lnTo>
                  <a:lnTo>
                    <a:pt x="1176" y="830"/>
                  </a:lnTo>
                  <a:lnTo>
                    <a:pt x="1174" y="830"/>
                  </a:lnTo>
                  <a:lnTo>
                    <a:pt x="1172" y="832"/>
                  </a:lnTo>
                  <a:lnTo>
                    <a:pt x="1170" y="832"/>
                  </a:lnTo>
                  <a:lnTo>
                    <a:pt x="1166" y="832"/>
                  </a:lnTo>
                  <a:lnTo>
                    <a:pt x="1164" y="832"/>
                  </a:lnTo>
                  <a:lnTo>
                    <a:pt x="1162" y="834"/>
                  </a:lnTo>
                  <a:lnTo>
                    <a:pt x="1162" y="838"/>
                  </a:lnTo>
                  <a:lnTo>
                    <a:pt x="1160" y="842"/>
                  </a:lnTo>
                  <a:lnTo>
                    <a:pt x="1156" y="842"/>
                  </a:lnTo>
                  <a:lnTo>
                    <a:pt x="1154" y="842"/>
                  </a:lnTo>
                  <a:lnTo>
                    <a:pt x="1152" y="844"/>
                  </a:lnTo>
                  <a:lnTo>
                    <a:pt x="1152" y="846"/>
                  </a:lnTo>
                  <a:lnTo>
                    <a:pt x="1154" y="848"/>
                  </a:lnTo>
                  <a:lnTo>
                    <a:pt x="1168" y="848"/>
                  </a:lnTo>
                  <a:close/>
                  <a:moveTo>
                    <a:pt x="1214" y="822"/>
                  </a:moveTo>
                  <a:lnTo>
                    <a:pt x="1214" y="822"/>
                  </a:lnTo>
                  <a:lnTo>
                    <a:pt x="1218" y="816"/>
                  </a:lnTo>
                  <a:lnTo>
                    <a:pt x="1218" y="814"/>
                  </a:lnTo>
                  <a:lnTo>
                    <a:pt x="1216" y="814"/>
                  </a:lnTo>
                  <a:lnTo>
                    <a:pt x="1212" y="812"/>
                  </a:lnTo>
                  <a:lnTo>
                    <a:pt x="1208" y="814"/>
                  </a:lnTo>
                  <a:lnTo>
                    <a:pt x="1206" y="814"/>
                  </a:lnTo>
                  <a:lnTo>
                    <a:pt x="1202" y="812"/>
                  </a:lnTo>
                  <a:lnTo>
                    <a:pt x="1198" y="810"/>
                  </a:lnTo>
                  <a:lnTo>
                    <a:pt x="1196" y="812"/>
                  </a:lnTo>
                  <a:lnTo>
                    <a:pt x="1192" y="814"/>
                  </a:lnTo>
                  <a:lnTo>
                    <a:pt x="1190" y="814"/>
                  </a:lnTo>
                  <a:lnTo>
                    <a:pt x="1188" y="814"/>
                  </a:lnTo>
                  <a:lnTo>
                    <a:pt x="1188" y="816"/>
                  </a:lnTo>
                  <a:lnTo>
                    <a:pt x="1184" y="820"/>
                  </a:lnTo>
                  <a:lnTo>
                    <a:pt x="1182" y="822"/>
                  </a:lnTo>
                  <a:lnTo>
                    <a:pt x="1184" y="824"/>
                  </a:lnTo>
                  <a:lnTo>
                    <a:pt x="1190" y="824"/>
                  </a:lnTo>
                  <a:lnTo>
                    <a:pt x="1196" y="828"/>
                  </a:lnTo>
                  <a:lnTo>
                    <a:pt x="1200" y="830"/>
                  </a:lnTo>
                  <a:lnTo>
                    <a:pt x="1204" y="830"/>
                  </a:lnTo>
                  <a:lnTo>
                    <a:pt x="1214" y="822"/>
                  </a:lnTo>
                  <a:close/>
                  <a:moveTo>
                    <a:pt x="1352" y="792"/>
                  </a:moveTo>
                  <a:lnTo>
                    <a:pt x="1352" y="792"/>
                  </a:lnTo>
                  <a:lnTo>
                    <a:pt x="1348" y="790"/>
                  </a:lnTo>
                  <a:lnTo>
                    <a:pt x="1344" y="788"/>
                  </a:lnTo>
                  <a:lnTo>
                    <a:pt x="1338" y="788"/>
                  </a:lnTo>
                  <a:lnTo>
                    <a:pt x="1330" y="790"/>
                  </a:lnTo>
                  <a:lnTo>
                    <a:pt x="1328" y="792"/>
                  </a:lnTo>
                  <a:lnTo>
                    <a:pt x="1330" y="794"/>
                  </a:lnTo>
                  <a:lnTo>
                    <a:pt x="1340" y="798"/>
                  </a:lnTo>
                  <a:lnTo>
                    <a:pt x="1350" y="796"/>
                  </a:lnTo>
                  <a:lnTo>
                    <a:pt x="1352" y="796"/>
                  </a:lnTo>
                  <a:lnTo>
                    <a:pt x="1352" y="792"/>
                  </a:lnTo>
                  <a:close/>
                  <a:moveTo>
                    <a:pt x="1326" y="780"/>
                  </a:moveTo>
                  <a:lnTo>
                    <a:pt x="1326" y="780"/>
                  </a:lnTo>
                  <a:lnTo>
                    <a:pt x="1330" y="778"/>
                  </a:lnTo>
                  <a:lnTo>
                    <a:pt x="1334" y="776"/>
                  </a:lnTo>
                  <a:lnTo>
                    <a:pt x="1338" y="776"/>
                  </a:lnTo>
                  <a:lnTo>
                    <a:pt x="1342" y="776"/>
                  </a:lnTo>
                  <a:lnTo>
                    <a:pt x="1346" y="778"/>
                  </a:lnTo>
                  <a:lnTo>
                    <a:pt x="1350" y="776"/>
                  </a:lnTo>
                  <a:lnTo>
                    <a:pt x="1364" y="766"/>
                  </a:lnTo>
                  <a:lnTo>
                    <a:pt x="1372" y="760"/>
                  </a:lnTo>
                  <a:lnTo>
                    <a:pt x="1372" y="758"/>
                  </a:lnTo>
                  <a:lnTo>
                    <a:pt x="1372" y="756"/>
                  </a:lnTo>
                  <a:lnTo>
                    <a:pt x="1368" y="756"/>
                  </a:lnTo>
                  <a:lnTo>
                    <a:pt x="1362" y="756"/>
                  </a:lnTo>
                  <a:lnTo>
                    <a:pt x="1356" y="758"/>
                  </a:lnTo>
                  <a:lnTo>
                    <a:pt x="1358" y="760"/>
                  </a:lnTo>
                  <a:lnTo>
                    <a:pt x="1358" y="762"/>
                  </a:lnTo>
                  <a:lnTo>
                    <a:pt x="1356" y="764"/>
                  </a:lnTo>
                  <a:lnTo>
                    <a:pt x="1350" y="762"/>
                  </a:lnTo>
                  <a:lnTo>
                    <a:pt x="1348" y="762"/>
                  </a:lnTo>
                  <a:lnTo>
                    <a:pt x="1346" y="762"/>
                  </a:lnTo>
                  <a:lnTo>
                    <a:pt x="1342" y="766"/>
                  </a:lnTo>
                  <a:lnTo>
                    <a:pt x="1342" y="770"/>
                  </a:lnTo>
                  <a:lnTo>
                    <a:pt x="1340" y="768"/>
                  </a:lnTo>
                  <a:lnTo>
                    <a:pt x="1338" y="766"/>
                  </a:lnTo>
                  <a:lnTo>
                    <a:pt x="1332" y="766"/>
                  </a:lnTo>
                  <a:lnTo>
                    <a:pt x="1318" y="770"/>
                  </a:lnTo>
                  <a:lnTo>
                    <a:pt x="1314" y="774"/>
                  </a:lnTo>
                  <a:lnTo>
                    <a:pt x="1318" y="776"/>
                  </a:lnTo>
                  <a:lnTo>
                    <a:pt x="1320" y="776"/>
                  </a:lnTo>
                  <a:lnTo>
                    <a:pt x="1322" y="778"/>
                  </a:lnTo>
                  <a:lnTo>
                    <a:pt x="1320" y="780"/>
                  </a:lnTo>
                  <a:lnTo>
                    <a:pt x="1326" y="780"/>
                  </a:lnTo>
                  <a:close/>
                  <a:moveTo>
                    <a:pt x="1414" y="220"/>
                  </a:moveTo>
                  <a:lnTo>
                    <a:pt x="1414" y="220"/>
                  </a:lnTo>
                  <a:lnTo>
                    <a:pt x="1408" y="216"/>
                  </a:lnTo>
                  <a:lnTo>
                    <a:pt x="1402" y="216"/>
                  </a:lnTo>
                  <a:lnTo>
                    <a:pt x="1392" y="218"/>
                  </a:lnTo>
                  <a:lnTo>
                    <a:pt x="1388" y="220"/>
                  </a:lnTo>
                  <a:lnTo>
                    <a:pt x="1382" y="220"/>
                  </a:lnTo>
                  <a:lnTo>
                    <a:pt x="1374" y="218"/>
                  </a:lnTo>
                  <a:lnTo>
                    <a:pt x="1364" y="214"/>
                  </a:lnTo>
                  <a:lnTo>
                    <a:pt x="1356" y="208"/>
                  </a:lnTo>
                  <a:lnTo>
                    <a:pt x="1354" y="204"/>
                  </a:lnTo>
                  <a:lnTo>
                    <a:pt x="1356" y="200"/>
                  </a:lnTo>
                  <a:lnTo>
                    <a:pt x="1360" y="198"/>
                  </a:lnTo>
                  <a:lnTo>
                    <a:pt x="1370" y="194"/>
                  </a:lnTo>
                  <a:lnTo>
                    <a:pt x="1370" y="192"/>
                  </a:lnTo>
                  <a:lnTo>
                    <a:pt x="1366" y="190"/>
                  </a:lnTo>
                  <a:lnTo>
                    <a:pt x="1354" y="188"/>
                  </a:lnTo>
                  <a:lnTo>
                    <a:pt x="1336" y="188"/>
                  </a:lnTo>
                  <a:lnTo>
                    <a:pt x="1316" y="188"/>
                  </a:lnTo>
                  <a:lnTo>
                    <a:pt x="1296" y="190"/>
                  </a:lnTo>
                  <a:lnTo>
                    <a:pt x="1280" y="194"/>
                  </a:lnTo>
                  <a:lnTo>
                    <a:pt x="1274" y="196"/>
                  </a:lnTo>
                  <a:lnTo>
                    <a:pt x="1270" y="198"/>
                  </a:lnTo>
                  <a:lnTo>
                    <a:pt x="1270" y="202"/>
                  </a:lnTo>
                  <a:lnTo>
                    <a:pt x="1272" y="204"/>
                  </a:lnTo>
                  <a:lnTo>
                    <a:pt x="1276" y="208"/>
                  </a:lnTo>
                  <a:lnTo>
                    <a:pt x="1286" y="212"/>
                  </a:lnTo>
                  <a:lnTo>
                    <a:pt x="1292" y="214"/>
                  </a:lnTo>
                  <a:lnTo>
                    <a:pt x="1292" y="216"/>
                  </a:lnTo>
                  <a:lnTo>
                    <a:pt x="1292" y="218"/>
                  </a:lnTo>
                  <a:lnTo>
                    <a:pt x="1286" y="224"/>
                  </a:lnTo>
                  <a:lnTo>
                    <a:pt x="1272" y="236"/>
                  </a:lnTo>
                  <a:lnTo>
                    <a:pt x="1264" y="242"/>
                  </a:lnTo>
                  <a:lnTo>
                    <a:pt x="1262" y="246"/>
                  </a:lnTo>
                  <a:lnTo>
                    <a:pt x="1264" y="248"/>
                  </a:lnTo>
                  <a:lnTo>
                    <a:pt x="1270" y="250"/>
                  </a:lnTo>
                  <a:lnTo>
                    <a:pt x="1288" y="250"/>
                  </a:lnTo>
                  <a:lnTo>
                    <a:pt x="1314" y="246"/>
                  </a:lnTo>
                  <a:lnTo>
                    <a:pt x="1324" y="248"/>
                  </a:lnTo>
                  <a:lnTo>
                    <a:pt x="1328" y="248"/>
                  </a:lnTo>
                  <a:lnTo>
                    <a:pt x="1328" y="250"/>
                  </a:lnTo>
                  <a:lnTo>
                    <a:pt x="1328" y="256"/>
                  </a:lnTo>
                  <a:lnTo>
                    <a:pt x="1328" y="260"/>
                  </a:lnTo>
                  <a:lnTo>
                    <a:pt x="1326" y="264"/>
                  </a:lnTo>
                  <a:lnTo>
                    <a:pt x="1326" y="266"/>
                  </a:lnTo>
                  <a:lnTo>
                    <a:pt x="1328" y="266"/>
                  </a:lnTo>
                  <a:lnTo>
                    <a:pt x="1336" y="266"/>
                  </a:lnTo>
                  <a:lnTo>
                    <a:pt x="1350" y="260"/>
                  </a:lnTo>
                  <a:lnTo>
                    <a:pt x="1376" y="250"/>
                  </a:lnTo>
                  <a:lnTo>
                    <a:pt x="1402" y="238"/>
                  </a:lnTo>
                  <a:lnTo>
                    <a:pt x="1412" y="234"/>
                  </a:lnTo>
                  <a:lnTo>
                    <a:pt x="1418" y="228"/>
                  </a:lnTo>
                  <a:lnTo>
                    <a:pt x="1420" y="226"/>
                  </a:lnTo>
                  <a:lnTo>
                    <a:pt x="1420" y="224"/>
                  </a:lnTo>
                  <a:lnTo>
                    <a:pt x="1418" y="222"/>
                  </a:lnTo>
                  <a:lnTo>
                    <a:pt x="1414" y="220"/>
                  </a:lnTo>
                  <a:close/>
                  <a:moveTo>
                    <a:pt x="1370" y="792"/>
                  </a:moveTo>
                  <a:lnTo>
                    <a:pt x="1370" y="792"/>
                  </a:lnTo>
                  <a:lnTo>
                    <a:pt x="1378" y="782"/>
                  </a:lnTo>
                  <a:lnTo>
                    <a:pt x="1380" y="776"/>
                  </a:lnTo>
                  <a:lnTo>
                    <a:pt x="1378" y="774"/>
                  </a:lnTo>
                  <a:lnTo>
                    <a:pt x="1376" y="772"/>
                  </a:lnTo>
                  <a:lnTo>
                    <a:pt x="1372" y="770"/>
                  </a:lnTo>
                  <a:lnTo>
                    <a:pt x="1370" y="774"/>
                  </a:lnTo>
                  <a:lnTo>
                    <a:pt x="1362" y="776"/>
                  </a:lnTo>
                  <a:lnTo>
                    <a:pt x="1354" y="780"/>
                  </a:lnTo>
                  <a:lnTo>
                    <a:pt x="1350" y="784"/>
                  </a:lnTo>
                  <a:lnTo>
                    <a:pt x="1350" y="786"/>
                  </a:lnTo>
                  <a:lnTo>
                    <a:pt x="1350" y="788"/>
                  </a:lnTo>
                  <a:lnTo>
                    <a:pt x="1356" y="792"/>
                  </a:lnTo>
                  <a:lnTo>
                    <a:pt x="1364" y="794"/>
                  </a:lnTo>
                  <a:lnTo>
                    <a:pt x="1366" y="794"/>
                  </a:lnTo>
                  <a:lnTo>
                    <a:pt x="1370" y="792"/>
                  </a:lnTo>
                  <a:close/>
                  <a:moveTo>
                    <a:pt x="1388" y="762"/>
                  </a:moveTo>
                  <a:lnTo>
                    <a:pt x="1388" y="762"/>
                  </a:lnTo>
                  <a:lnTo>
                    <a:pt x="1384" y="762"/>
                  </a:lnTo>
                  <a:lnTo>
                    <a:pt x="1380" y="764"/>
                  </a:lnTo>
                  <a:lnTo>
                    <a:pt x="1380" y="766"/>
                  </a:lnTo>
                  <a:lnTo>
                    <a:pt x="1380" y="770"/>
                  </a:lnTo>
                  <a:lnTo>
                    <a:pt x="1384" y="776"/>
                  </a:lnTo>
                  <a:lnTo>
                    <a:pt x="1386" y="778"/>
                  </a:lnTo>
                  <a:lnTo>
                    <a:pt x="1388" y="778"/>
                  </a:lnTo>
                  <a:lnTo>
                    <a:pt x="1394" y="776"/>
                  </a:lnTo>
                  <a:lnTo>
                    <a:pt x="1396" y="772"/>
                  </a:lnTo>
                  <a:lnTo>
                    <a:pt x="1396" y="770"/>
                  </a:lnTo>
                  <a:lnTo>
                    <a:pt x="1396" y="766"/>
                  </a:lnTo>
                  <a:lnTo>
                    <a:pt x="1392" y="764"/>
                  </a:lnTo>
                  <a:lnTo>
                    <a:pt x="1388" y="762"/>
                  </a:lnTo>
                  <a:close/>
                  <a:moveTo>
                    <a:pt x="1264" y="804"/>
                  </a:moveTo>
                  <a:lnTo>
                    <a:pt x="1264" y="804"/>
                  </a:lnTo>
                  <a:lnTo>
                    <a:pt x="1264" y="800"/>
                  </a:lnTo>
                  <a:lnTo>
                    <a:pt x="1262" y="798"/>
                  </a:lnTo>
                  <a:lnTo>
                    <a:pt x="1258" y="798"/>
                  </a:lnTo>
                  <a:lnTo>
                    <a:pt x="1252" y="802"/>
                  </a:lnTo>
                  <a:lnTo>
                    <a:pt x="1248" y="804"/>
                  </a:lnTo>
                  <a:lnTo>
                    <a:pt x="1248" y="808"/>
                  </a:lnTo>
                  <a:lnTo>
                    <a:pt x="1250" y="810"/>
                  </a:lnTo>
                  <a:lnTo>
                    <a:pt x="1254" y="812"/>
                  </a:lnTo>
                  <a:lnTo>
                    <a:pt x="1260" y="814"/>
                  </a:lnTo>
                  <a:lnTo>
                    <a:pt x="1262" y="812"/>
                  </a:lnTo>
                  <a:lnTo>
                    <a:pt x="1264" y="804"/>
                  </a:lnTo>
                  <a:close/>
                  <a:moveTo>
                    <a:pt x="1102" y="904"/>
                  </a:moveTo>
                  <a:lnTo>
                    <a:pt x="1102" y="904"/>
                  </a:lnTo>
                  <a:lnTo>
                    <a:pt x="1102" y="908"/>
                  </a:lnTo>
                  <a:lnTo>
                    <a:pt x="1104" y="908"/>
                  </a:lnTo>
                  <a:lnTo>
                    <a:pt x="1112" y="908"/>
                  </a:lnTo>
                  <a:lnTo>
                    <a:pt x="1114" y="906"/>
                  </a:lnTo>
                  <a:lnTo>
                    <a:pt x="1112" y="902"/>
                  </a:lnTo>
                  <a:lnTo>
                    <a:pt x="1106" y="902"/>
                  </a:lnTo>
                  <a:lnTo>
                    <a:pt x="1104" y="902"/>
                  </a:lnTo>
                  <a:lnTo>
                    <a:pt x="1102" y="904"/>
                  </a:lnTo>
                  <a:close/>
                  <a:moveTo>
                    <a:pt x="1116" y="898"/>
                  </a:moveTo>
                  <a:lnTo>
                    <a:pt x="1116" y="898"/>
                  </a:lnTo>
                  <a:lnTo>
                    <a:pt x="1120" y="900"/>
                  </a:lnTo>
                  <a:lnTo>
                    <a:pt x="1122" y="898"/>
                  </a:lnTo>
                  <a:lnTo>
                    <a:pt x="1124" y="896"/>
                  </a:lnTo>
                  <a:lnTo>
                    <a:pt x="1124" y="894"/>
                  </a:lnTo>
                  <a:lnTo>
                    <a:pt x="1120" y="892"/>
                  </a:lnTo>
                  <a:lnTo>
                    <a:pt x="1116" y="894"/>
                  </a:lnTo>
                  <a:lnTo>
                    <a:pt x="1114" y="896"/>
                  </a:lnTo>
                  <a:lnTo>
                    <a:pt x="1116" y="898"/>
                  </a:lnTo>
                  <a:close/>
                  <a:moveTo>
                    <a:pt x="1150" y="850"/>
                  </a:moveTo>
                  <a:lnTo>
                    <a:pt x="1150" y="850"/>
                  </a:lnTo>
                  <a:lnTo>
                    <a:pt x="1148" y="850"/>
                  </a:lnTo>
                  <a:lnTo>
                    <a:pt x="1148" y="848"/>
                  </a:lnTo>
                  <a:lnTo>
                    <a:pt x="1146" y="846"/>
                  </a:lnTo>
                  <a:lnTo>
                    <a:pt x="1144" y="846"/>
                  </a:lnTo>
                  <a:lnTo>
                    <a:pt x="1142" y="848"/>
                  </a:lnTo>
                  <a:lnTo>
                    <a:pt x="1140" y="846"/>
                  </a:lnTo>
                  <a:lnTo>
                    <a:pt x="1138" y="844"/>
                  </a:lnTo>
                  <a:lnTo>
                    <a:pt x="1136" y="846"/>
                  </a:lnTo>
                  <a:lnTo>
                    <a:pt x="1136" y="848"/>
                  </a:lnTo>
                  <a:lnTo>
                    <a:pt x="1132" y="848"/>
                  </a:lnTo>
                  <a:lnTo>
                    <a:pt x="1130" y="846"/>
                  </a:lnTo>
                  <a:lnTo>
                    <a:pt x="1130" y="850"/>
                  </a:lnTo>
                  <a:lnTo>
                    <a:pt x="1130" y="852"/>
                  </a:lnTo>
                  <a:lnTo>
                    <a:pt x="1128" y="850"/>
                  </a:lnTo>
                  <a:lnTo>
                    <a:pt x="1124" y="850"/>
                  </a:lnTo>
                  <a:lnTo>
                    <a:pt x="1120" y="850"/>
                  </a:lnTo>
                  <a:lnTo>
                    <a:pt x="1118" y="854"/>
                  </a:lnTo>
                  <a:lnTo>
                    <a:pt x="1120" y="856"/>
                  </a:lnTo>
                  <a:lnTo>
                    <a:pt x="1124" y="856"/>
                  </a:lnTo>
                  <a:lnTo>
                    <a:pt x="1124" y="858"/>
                  </a:lnTo>
                  <a:lnTo>
                    <a:pt x="1120" y="860"/>
                  </a:lnTo>
                  <a:lnTo>
                    <a:pt x="1114" y="860"/>
                  </a:lnTo>
                  <a:lnTo>
                    <a:pt x="1108" y="860"/>
                  </a:lnTo>
                  <a:lnTo>
                    <a:pt x="1108" y="862"/>
                  </a:lnTo>
                  <a:lnTo>
                    <a:pt x="1110" y="862"/>
                  </a:lnTo>
                  <a:lnTo>
                    <a:pt x="1110" y="864"/>
                  </a:lnTo>
                  <a:lnTo>
                    <a:pt x="1108" y="866"/>
                  </a:lnTo>
                  <a:lnTo>
                    <a:pt x="1106" y="866"/>
                  </a:lnTo>
                  <a:lnTo>
                    <a:pt x="1108" y="868"/>
                  </a:lnTo>
                  <a:lnTo>
                    <a:pt x="1110" y="870"/>
                  </a:lnTo>
                  <a:lnTo>
                    <a:pt x="1108" y="870"/>
                  </a:lnTo>
                  <a:lnTo>
                    <a:pt x="1108" y="872"/>
                  </a:lnTo>
                  <a:lnTo>
                    <a:pt x="1108" y="874"/>
                  </a:lnTo>
                  <a:lnTo>
                    <a:pt x="1108" y="876"/>
                  </a:lnTo>
                  <a:lnTo>
                    <a:pt x="1108" y="878"/>
                  </a:lnTo>
                  <a:lnTo>
                    <a:pt x="1106" y="880"/>
                  </a:lnTo>
                  <a:lnTo>
                    <a:pt x="1104" y="882"/>
                  </a:lnTo>
                  <a:lnTo>
                    <a:pt x="1108" y="884"/>
                  </a:lnTo>
                  <a:lnTo>
                    <a:pt x="1114" y="884"/>
                  </a:lnTo>
                  <a:lnTo>
                    <a:pt x="1114" y="886"/>
                  </a:lnTo>
                  <a:lnTo>
                    <a:pt x="1114" y="888"/>
                  </a:lnTo>
                  <a:lnTo>
                    <a:pt x="1116" y="888"/>
                  </a:lnTo>
                  <a:lnTo>
                    <a:pt x="1120" y="884"/>
                  </a:lnTo>
                  <a:lnTo>
                    <a:pt x="1122" y="880"/>
                  </a:lnTo>
                  <a:lnTo>
                    <a:pt x="1126" y="876"/>
                  </a:lnTo>
                  <a:lnTo>
                    <a:pt x="1130" y="874"/>
                  </a:lnTo>
                  <a:lnTo>
                    <a:pt x="1132" y="876"/>
                  </a:lnTo>
                  <a:lnTo>
                    <a:pt x="1132" y="878"/>
                  </a:lnTo>
                  <a:lnTo>
                    <a:pt x="1134" y="878"/>
                  </a:lnTo>
                  <a:lnTo>
                    <a:pt x="1142" y="878"/>
                  </a:lnTo>
                  <a:lnTo>
                    <a:pt x="1146" y="876"/>
                  </a:lnTo>
                  <a:lnTo>
                    <a:pt x="1148" y="874"/>
                  </a:lnTo>
                  <a:lnTo>
                    <a:pt x="1146" y="870"/>
                  </a:lnTo>
                  <a:lnTo>
                    <a:pt x="1146" y="866"/>
                  </a:lnTo>
                  <a:lnTo>
                    <a:pt x="1148" y="864"/>
                  </a:lnTo>
                  <a:lnTo>
                    <a:pt x="1150" y="862"/>
                  </a:lnTo>
                  <a:lnTo>
                    <a:pt x="1150" y="860"/>
                  </a:lnTo>
                  <a:lnTo>
                    <a:pt x="1152" y="852"/>
                  </a:lnTo>
                  <a:lnTo>
                    <a:pt x="1152" y="850"/>
                  </a:lnTo>
                  <a:lnTo>
                    <a:pt x="1150" y="850"/>
                  </a:lnTo>
                  <a:close/>
                  <a:moveTo>
                    <a:pt x="1254" y="830"/>
                  </a:moveTo>
                  <a:lnTo>
                    <a:pt x="1254" y="830"/>
                  </a:lnTo>
                  <a:lnTo>
                    <a:pt x="1260" y="826"/>
                  </a:lnTo>
                  <a:lnTo>
                    <a:pt x="1262" y="824"/>
                  </a:lnTo>
                  <a:lnTo>
                    <a:pt x="1260" y="820"/>
                  </a:lnTo>
                  <a:lnTo>
                    <a:pt x="1258" y="822"/>
                  </a:lnTo>
                  <a:lnTo>
                    <a:pt x="1256" y="826"/>
                  </a:lnTo>
                  <a:lnTo>
                    <a:pt x="1254" y="830"/>
                  </a:lnTo>
                  <a:close/>
                  <a:moveTo>
                    <a:pt x="1226" y="818"/>
                  </a:moveTo>
                  <a:lnTo>
                    <a:pt x="1226" y="818"/>
                  </a:lnTo>
                  <a:lnTo>
                    <a:pt x="1222" y="818"/>
                  </a:lnTo>
                  <a:lnTo>
                    <a:pt x="1218" y="820"/>
                  </a:lnTo>
                  <a:lnTo>
                    <a:pt x="1214" y="826"/>
                  </a:lnTo>
                  <a:lnTo>
                    <a:pt x="1216" y="826"/>
                  </a:lnTo>
                  <a:lnTo>
                    <a:pt x="1220" y="824"/>
                  </a:lnTo>
                  <a:lnTo>
                    <a:pt x="1224" y="822"/>
                  </a:lnTo>
                  <a:lnTo>
                    <a:pt x="1226" y="818"/>
                  </a:lnTo>
                  <a:close/>
                  <a:moveTo>
                    <a:pt x="1074" y="928"/>
                  </a:moveTo>
                  <a:lnTo>
                    <a:pt x="1074" y="928"/>
                  </a:lnTo>
                  <a:lnTo>
                    <a:pt x="1074" y="930"/>
                  </a:lnTo>
                  <a:lnTo>
                    <a:pt x="1074" y="932"/>
                  </a:lnTo>
                  <a:lnTo>
                    <a:pt x="1078" y="932"/>
                  </a:lnTo>
                  <a:lnTo>
                    <a:pt x="1082" y="930"/>
                  </a:lnTo>
                  <a:lnTo>
                    <a:pt x="1084" y="926"/>
                  </a:lnTo>
                  <a:lnTo>
                    <a:pt x="1084" y="924"/>
                  </a:lnTo>
                  <a:lnTo>
                    <a:pt x="1080" y="924"/>
                  </a:lnTo>
                  <a:lnTo>
                    <a:pt x="1076" y="924"/>
                  </a:lnTo>
                  <a:lnTo>
                    <a:pt x="1074" y="928"/>
                  </a:lnTo>
                  <a:close/>
                  <a:moveTo>
                    <a:pt x="772" y="1274"/>
                  </a:moveTo>
                  <a:lnTo>
                    <a:pt x="772" y="1274"/>
                  </a:lnTo>
                  <a:lnTo>
                    <a:pt x="784" y="1270"/>
                  </a:lnTo>
                  <a:lnTo>
                    <a:pt x="788" y="1270"/>
                  </a:lnTo>
                  <a:lnTo>
                    <a:pt x="790" y="1268"/>
                  </a:lnTo>
                  <a:lnTo>
                    <a:pt x="790" y="1266"/>
                  </a:lnTo>
                  <a:lnTo>
                    <a:pt x="788" y="1264"/>
                  </a:lnTo>
                  <a:lnTo>
                    <a:pt x="786" y="1264"/>
                  </a:lnTo>
                  <a:lnTo>
                    <a:pt x="784" y="1262"/>
                  </a:lnTo>
                  <a:lnTo>
                    <a:pt x="784" y="1260"/>
                  </a:lnTo>
                  <a:lnTo>
                    <a:pt x="778" y="1262"/>
                  </a:lnTo>
                  <a:lnTo>
                    <a:pt x="768" y="1266"/>
                  </a:lnTo>
                  <a:lnTo>
                    <a:pt x="760" y="1268"/>
                  </a:lnTo>
                  <a:lnTo>
                    <a:pt x="758" y="1270"/>
                  </a:lnTo>
                  <a:lnTo>
                    <a:pt x="756" y="1274"/>
                  </a:lnTo>
                  <a:lnTo>
                    <a:pt x="758" y="1276"/>
                  </a:lnTo>
                  <a:lnTo>
                    <a:pt x="760" y="1276"/>
                  </a:lnTo>
                  <a:lnTo>
                    <a:pt x="772" y="1274"/>
                  </a:lnTo>
                  <a:close/>
                  <a:moveTo>
                    <a:pt x="776" y="1258"/>
                  </a:moveTo>
                  <a:lnTo>
                    <a:pt x="776" y="1258"/>
                  </a:lnTo>
                  <a:lnTo>
                    <a:pt x="780" y="1256"/>
                  </a:lnTo>
                  <a:lnTo>
                    <a:pt x="778" y="1252"/>
                  </a:lnTo>
                  <a:lnTo>
                    <a:pt x="776" y="1250"/>
                  </a:lnTo>
                  <a:lnTo>
                    <a:pt x="774" y="1252"/>
                  </a:lnTo>
                  <a:lnTo>
                    <a:pt x="772" y="1254"/>
                  </a:lnTo>
                  <a:lnTo>
                    <a:pt x="764" y="1256"/>
                  </a:lnTo>
                  <a:lnTo>
                    <a:pt x="760" y="1258"/>
                  </a:lnTo>
                  <a:lnTo>
                    <a:pt x="758" y="1258"/>
                  </a:lnTo>
                  <a:lnTo>
                    <a:pt x="758" y="1260"/>
                  </a:lnTo>
                  <a:lnTo>
                    <a:pt x="764" y="1260"/>
                  </a:lnTo>
                  <a:lnTo>
                    <a:pt x="776" y="1258"/>
                  </a:lnTo>
                  <a:close/>
                  <a:moveTo>
                    <a:pt x="892" y="180"/>
                  </a:moveTo>
                  <a:lnTo>
                    <a:pt x="892" y="180"/>
                  </a:lnTo>
                  <a:lnTo>
                    <a:pt x="904" y="186"/>
                  </a:lnTo>
                  <a:lnTo>
                    <a:pt x="912" y="188"/>
                  </a:lnTo>
                  <a:lnTo>
                    <a:pt x="912" y="186"/>
                  </a:lnTo>
                  <a:lnTo>
                    <a:pt x="910" y="182"/>
                  </a:lnTo>
                  <a:lnTo>
                    <a:pt x="906" y="176"/>
                  </a:lnTo>
                  <a:lnTo>
                    <a:pt x="900" y="170"/>
                  </a:lnTo>
                  <a:lnTo>
                    <a:pt x="894" y="164"/>
                  </a:lnTo>
                  <a:lnTo>
                    <a:pt x="888" y="164"/>
                  </a:lnTo>
                  <a:lnTo>
                    <a:pt x="882" y="162"/>
                  </a:lnTo>
                  <a:lnTo>
                    <a:pt x="878" y="158"/>
                  </a:lnTo>
                  <a:lnTo>
                    <a:pt x="870" y="144"/>
                  </a:lnTo>
                  <a:lnTo>
                    <a:pt x="866" y="138"/>
                  </a:lnTo>
                  <a:lnTo>
                    <a:pt x="860" y="134"/>
                  </a:lnTo>
                  <a:lnTo>
                    <a:pt x="856" y="132"/>
                  </a:lnTo>
                  <a:lnTo>
                    <a:pt x="850" y="132"/>
                  </a:lnTo>
                  <a:lnTo>
                    <a:pt x="846" y="136"/>
                  </a:lnTo>
                  <a:lnTo>
                    <a:pt x="846" y="142"/>
                  </a:lnTo>
                  <a:lnTo>
                    <a:pt x="860" y="164"/>
                  </a:lnTo>
                  <a:lnTo>
                    <a:pt x="866" y="174"/>
                  </a:lnTo>
                  <a:lnTo>
                    <a:pt x="868" y="174"/>
                  </a:lnTo>
                  <a:lnTo>
                    <a:pt x="870" y="174"/>
                  </a:lnTo>
                  <a:lnTo>
                    <a:pt x="872" y="172"/>
                  </a:lnTo>
                  <a:lnTo>
                    <a:pt x="876" y="172"/>
                  </a:lnTo>
                  <a:lnTo>
                    <a:pt x="884" y="174"/>
                  </a:lnTo>
                  <a:lnTo>
                    <a:pt x="892" y="180"/>
                  </a:lnTo>
                  <a:close/>
                  <a:moveTo>
                    <a:pt x="1006" y="948"/>
                  </a:moveTo>
                  <a:lnTo>
                    <a:pt x="1006" y="948"/>
                  </a:lnTo>
                  <a:lnTo>
                    <a:pt x="1016" y="944"/>
                  </a:lnTo>
                  <a:lnTo>
                    <a:pt x="1026" y="934"/>
                  </a:lnTo>
                  <a:lnTo>
                    <a:pt x="1030" y="932"/>
                  </a:lnTo>
                  <a:lnTo>
                    <a:pt x="1030" y="930"/>
                  </a:lnTo>
                  <a:lnTo>
                    <a:pt x="1026" y="930"/>
                  </a:lnTo>
                  <a:lnTo>
                    <a:pt x="1018" y="930"/>
                  </a:lnTo>
                  <a:lnTo>
                    <a:pt x="1008" y="932"/>
                  </a:lnTo>
                  <a:lnTo>
                    <a:pt x="1004" y="934"/>
                  </a:lnTo>
                  <a:lnTo>
                    <a:pt x="1006" y="936"/>
                  </a:lnTo>
                  <a:lnTo>
                    <a:pt x="1006" y="938"/>
                  </a:lnTo>
                  <a:lnTo>
                    <a:pt x="1002" y="938"/>
                  </a:lnTo>
                  <a:lnTo>
                    <a:pt x="998" y="938"/>
                  </a:lnTo>
                  <a:lnTo>
                    <a:pt x="998" y="940"/>
                  </a:lnTo>
                  <a:lnTo>
                    <a:pt x="1000" y="942"/>
                  </a:lnTo>
                  <a:lnTo>
                    <a:pt x="998" y="946"/>
                  </a:lnTo>
                  <a:lnTo>
                    <a:pt x="996" y="948"/>
                  </a:lnTo>
                  <a:lnTo>
                    <a:pt x="1000" y="948"/>
                  </a:lnTo>
                  <a:lnTo>
                    <a:pt x="1006" y="948"/>
                  </a:lnTo>
                  <a:close/>
                  <a:moveTo>
                    <a:pt x="1028" y="900"/>
                  </a:moveTo>
                  <a:lnTo>
                    <a:pt x="1028" y="900"/>
                  </a:lnTo>
                  <a:lnTo>
                    <a:pt x="1024" y="900"/>
                  </a:lnTo>
                  <a:lnTo>
                    <a:pt x="1022" y="902"/>
                  </a:lnTo>
                  <a:lnTo>
                    <a:pt x="1022" y="904"/>
                  </a:lnTo>
                  <a:lnTo>
                    <a:pt x="1018" y="906"/>
                  </a:lnTo>
                  <a:lnTo>
                    <a:pt x="1016" y="904"/>
                  </a:lnTo>
                  <a:lnTo>
                    <a:pt x="1014" y="902"/>
                  </a:lnTo>
                  <a:lnTo>
                    <a:pt x="1012" y="902"/>
                  </a:lnTo>
                  <a:lnTo>
                    <a:pt x="1010" y="904"/>
                  </a:lnTo>
                  <a:lnTo>
                    <a:pt x="1008" y="904"/>
                  </a:lnTo>
                  <a:lnTo>
                    <a:pt x="1006" y="904"/>
                  </a:lnTo>
                  <a:lnTo>
                    <a:pt x="1004" y="906"/>
                  </a:lnTo>
                  <a:lnTo>
                    <a:pt x="1004" y="910"/>
                  </a:lnTo>
                  <a:lnTo>
                    <a:pt x="1002" y="912"/>
                  </a:lnTo>
                  <a:lnTo>
                    <a:pt x="1002" y="914"/>
                  </a:lnTo>
                  <a:lnTo>
                    <a:pt x="1004" y="916"/>
                  </a:lnTo>
                  <a:lnTo>
                    <a:pt x="1008" y="918"/>
                  </a:lnTo>
                  <a:lnTo>
                    <a:pt x="1012" y="916"/>
                  </a:lnTo>
                  <a:lnTo>
                    <a:pt x="1016" y="914"/>
                  </a:lnTo>
                  <a:lnTo>
                    <a:pt x="1026" y="910"/>
                  </a:lnTo>
                  <a:lnTo>
                    <a:pt x="1030" y="910"/>
                  </a:lnTo>
                  <a:lnTo>
                    <a:pt x="1026" y="914"/>
                  </a:lnTo>
                  <a:lnTo>
                    <a:pt x="1020" y="918"/>
                  </a:lnTo>
                  <a:lnTo>
                    <a:pt x="1020" y="920"/>
                  </a:lnTo>
                  <a:lnTo>
                    <a:pt x="1030" y="918"/>
                  </a:lnTo>
                  <a:lnTo>
                    <a:pt x="1040" y="916"/>
                  </a:lnTo>
                  <a:lnTo>
                    <a:pt x="1042" y="914"/>
                  </a:lnTo>
                  <a:lnTo>
                    <a:pt x="1042" y="912"/>
                  </a:lnTo>
                  <a:lnTo>
                    <a:pt x="1042" y="910"/>
                  </a:lnTo>
                  <a:lnTo>
                    <a:pt x="1040" y="906"/>
                  </a:lnTo>
                  <a:lnTo>
                    <a:pt x="1040" y="904"/>
                  </a:lnTo>
                  <a:lnTo>
                    <a:pt x="1042" y="902"/>
                  </a:lnTo>
                  <a:lnTo>
                    <a:pt x="1042" y="900"/>
                  </a:lnTo>
                  <a:lnTo>
                    <a:pt x="1038" y="896"/>
                  </a:lnTo>
                  <a:lnTo>
                    <a:pt x="1034" y="890"/>
                  </a:lnTo>
                  <a:lnTo>
                    <a:pt x="1032" y="890"/>
                  </a:lnTo>
                  <a:lnTo>
                    <a:pt x="1030" y="890"/>
                  </a:lnTo>
                  <a:lnTo>
                    <a:pt x="1028" y="890"/>
                  </a:lnTo>
                  <a:lnTo>
                    <a:pt x="1028" y="892"/>
                  </a:lnTo>
                  <a:lnTo>
                    <a:pt x="1030" y="896"/>
                  </a:lnTo>
                  <a:lnTo>
                    <a:pt x="1032" y="900"/>
                  </a:lnTo>
                  <a:lnTo>
                    <a:pt x="1028" y="900"/>
                  </a:lnTo>
                  <a:close/>
                  <a:moveTo>
                    <a:pt x="996" y="942"/>
                  </a:moveTo>
                  <a:lnTo>
                    <a:pt x="996" y="942"/>
                  </a:lnTo>
                  <a:lnTo>
                    <a:pt x="996" y="940"/>
                  </a:lnTo>
                  <a:lnTo>
                    <a:pt x="994" y="938"/>
                  </a:lnTo>
                  <a:lnTo>
                    <a:pt x="990" y="938"/>
                  </a:lnTo>
                  <a:lnTo>
                    <a:pt x="988" y="938"/>
                  </a:lnTo>
                  <a:lnTo>
                    <a:pt x="990" y="940"/>
                  </a:lnTo>
                  <a:lnTo>
                    <a:pt x="992" y="942"/>
                  </a:lnTo>
                  <a:lnTo>
                    <a:pt x="994" y="942"/>
                  </a:lnTo>
                  <a:lnTo>
                    <a:pt x="996" y="942"/>
                  </a:lnTo>
                  <a:close/>
                  <a:moveTo>
                    <a:pt x="942" y="966"/>
                  </a:moveTo>
                  <a:lnTo>
                    <a:pt x="942" y="966"/>
                  </a:lnTo>
                  <a:lnTo>
                    <a:pt x="940" y="974"/>
                  </a:lnTo>
                  <a:lnTo>
                    <a:pt x="946" y="970"/>
                  </a:lnTo>
                  <a:lnTo>
                    <a:pt x="948" y="968"/>
                  </a:lnTo>
                  <a:lnTo>
                    <a:pt x="950" y="964"/>
                  </a:lnTo>
                  <a:lnTo>
                    <a:pt x="950" y="958"/>
                  </a:lnTo>
                  <a:lnTo>
                    <a:pt x="950" y="956"/>
                  </a:lnTo>
                  <a:lnTo>
                    <a:pt x="948" y="956"/>
                  </a:lnTo>
                  <a:lnTo>
                    <a:pt x="942" y="966"/>
                  </a:lnTo>
                  <a:close/>
                  <a:moveTo>
                    <a:pt x="970" y="956"/>
                  </a:moveTo>
                  <a:lnTo>
                    <a:pt x="970" y="956"/>
                  </a:lnTo>
                  <a:lnTo>
                    <a:pt x="972" y="956"/>
                  </a:lnTo>
                  <a:lnTo>
                    <a:pt x="974" y="956"/>
                  </a:lnTo>
                  <a:lnTo>
                    <a:pt x="976" y="956"/>
                  </a:lnTo>
                  <a:lnTo>
                    <a:pt x="978" y="954"/>
                  </a:lnTo>
                  <a:lnTo>
                    <a:pt x="982" y="952"/>
                  </a:lnTo>
                  <a:lnTo>
                    <a:pt x="984" y="950"/>
                  </a:lnTo>
                  <a:lnTo>
                    <a:pt x="988" y="946"/>
                  </a:lnTo>
                  <a:lnTo>
                    <a:pt x="992" y="946"/>
                  </a:lnTo>
                  <a:lnTo>
                    <a:pt x="990" y="944"/>
                  </a:lnTo>
                  <a:lnTo>
                    <a:pt x="980" y="942"/>
                  </a:lnTo>
                  <a:lnTo>
                    <a:pt x="976" y="940"/>
                  </a:lnTo>
                  <a:lnTo>
                    <a:pt x="972" y="942"/>
                  </a:lnTo>
                  <a:lnTo>
                    <a:pt x="970" y="944"/>
                  </a:lnTo>
                  <a:lnTo>
                    <a:pt x="966" y="948"/>
                  </a:lnTo>
                  <a:lnTo>
                    <a:pt x="966" y="952"/>
                  </a:lnTo>
                  <a:lnTo>
                    <a:pt x="966" y="954"/>
                  </a:lnTo>
                  <a:lnTo>
                    <a:pt x="964" y="956"/>
                  </a:lnTo>
                  <a:lnTo>
                    <a:pt x="966" y="958"/>
                  </a:lnTo>
                  <a:lnTo>
                    <a:pt x="968" y="958"/>
                  </a:lnTo>
                  <a:lnTo>
                    <a:pt x="970" y="956"/>
                  </a:lnTo>
                  <a:close/>
                  <a:moveTo>
                    <a:pt x="958" y="954"/>
                  </a:moveTo>
                  <a:lnTo>
                    <a:pt x="958" y="954"/>
                  </a:lnTo>
                  <a:lnTo>
                    <a:pt x="958" y="956"/>
                  </a:lnTo>
                  <a:lnTo>
                    <a:pt x="956" y="956"/>
                  </a:lnTo>
                  <a:lnTo>
                    <a:pt x="954" y="956"/>
                  </a:lnTo>
                  <a:lnTo>
                    <a:pt x="954" y="960"/>
                  </a:lnTo>
                  <a:lnTo>
                    <a:pt x="956" y="962"/>
                  </a:lnTo>
                  <a:lnTo>
                    <a:pt x="962" y="958"/>
                  </a:lnTo>
                  <a:lnTo>
                    <a:pt x="964" y="954"/>
                  </a:lnTo>
                  <a:lnTo>
                    <a:pt x="962" y="950"/>
                  </a:lnTo>
                  <a:lnTo>
                    <a:pt x="960" y="950"/>
                  </a:lnTo>
                  <a:lnTo>
                    <a:pt x="958" y="954"/>
                  </a:lnTo>
                  <a:close/>
                  <a:moveTo>
                    <a:pt x="1028" y="966"/>
                  </a:moveTo>
                  <a:lnTo>
                    <a:pt x="1028" y="966"/>
                  </a:lnTo>
                  <a:lnTo>
                    <a:pt x="1032" y="966"/>
                  </a:lnTo>
                  <a:lnTo>
                    <a:pt x="1034" y="964"/>
                  </a:lnTo>
                  <a:lnTo>
                    <a:pt x="1030" y="962"/>
                  </a:lnTo>
                  <a:lnTo>
                    <a:pt x="1028" y="962"/>
                  </a:lnTo>
                  <a:lnTo>
                    <a:pt x="1026" y="964"/>
                  </a:lnTo>
                  <a:lnTo>
                    <a:pt x="1026" y="966"/>
                  </a:lnTo>
                  <a:lnTo>
                    <a:pt x="1028" y="966"/>
                  </a:lnTo>
                  <a:close/>
                  <a:moveTo>
                    <a:pt x="1078" y="890"/>
                  </a:moveTo>
                  <a:lnTo>
                    <a:pt x="1078" y="890"/>
                  </a:lnTo>
                  <a:lnTo>
                    <a:pt x="1080" y="892"/>
                  </a:lnTo>
                  <a:lnTo>
                    <a:pt x="1082" y="894"/>
                  </a:lnTo>
                  <a:lnTo>
                    <a:pt x="1088" y="896"/>
                  </a:lnTo>
                  <a:lnTo>
                    <a:pt x="1092" y="896"/>
                  </a:lnTo>
                  <a:lnTo>
                    <a:pt x="1092" y="894"/>
                  </a:lnTo>
                  <a:lnTo>
                    <a:pt x="1088" y="892"/>
                  </a:lnTo>
                  <a:lnTo>
                    <a:pt x="1082" y="890"/>
                  </a:lnTo>
                  <a:lnTo>
                    <a:pt x="1078" y="890"/>
                  </a:lnTo>
                  <a:close/>
                  <a:moveTo>
                    <a:pt x="1054" y="890"/>
                  </a:moveTo>
                  <a:lnTo>
                    <a:pt x="1054" y="890"/>
                  </a:lnTo>
                  <a:lnTo>
                    <a:pt x="1060" y="890"/>
                  </a:lnTo>
                  <a:lnTo>
                    <a:pt x="1062" y="888"/>
                  </a:lnTo>
                  <a:lnTo>
                    <a:pt x="1068" y="878"/>
                  </a:lnTo>
                  <a:lnTo>
                    <a:pt x="1072" y="872"/>
                  </a:lnTo>
                  <a:lnTo>
                    <a:pt x="1074" y="868"/>
                  </a:lnTo>
                  <a:lnTo>
                    <a:pt x="1072" y="868"/>
                  </a:lnTo>
                  <a:lnTo>
                    <a:pt x="1066" y="870"/>
                  </a:lnTo>
                  <a:lnTo>
                    <a:pt x="1054" y="878"/>
                  </a:lnTo>
                  <a:lnTo>
                    <a:pt x="1050" y="882"/>
                  </a:lnTo>
                  <a:lnTo>
                    <a:pt x="1046" y="890"/>
                  </a:lnTo>
                  <a:lnTo>
                    <a:pt x="1044" y="894"/>
                  </a:lnTo>
                  <a:lnTo>
                    <a:pt x="1044" y="896"/>
                  </a:lnTo>
                  <a:lnTo>
                    <a:pt x="1046" y="898"/>
                  </a:lnTo>
                  <a:lnTo>
                    <a:pt x="1048" y="898"/>
                  </a:lnTo>
                  <a:lnTo>
                    <a:pt x="1048" y="894"/>
                  </a:lnTo>
                  <a:lnTo>
                    <a:pt x="1050" y="892"/>
                  </a:lnTo>
                  <a:lnTo>
                    <a:pt x="1054" y="890"/>
                  </a:lnTo>
                  <a:close/>
                  <a:moveTo>
                    <a:pt x="752" y="1276"/>
                  </a:moveTo>
                  <a:lnTo>
                    <a:pt x="752" y="1276"/>
                  </a:lnTo>
                  <a:lnTo>
                    <a:pt x="750" y="1274"/>
                  </a:lnTo>
                  <a:lnTo>
                    <a:pt x="742" y="1274"/>
                  </a:lnTo>
                  <a:lnTo>
                    <a:pt x="738" y="1276"/>
                  </a:lnTo>
                  <a:lnTo>
                    <a:pt x="736" y="1278"/>
                  </a:lnTo>
                  <a:lnTo>
                    <a:pt x="742" y="1282"/>
                  </a:lnTo>
                  <a:lnTo>
                    <a:pt x="748" y="1282"/>
                  </a:lnTo>
                  <a:lnTo>
                    <a:pt x="750" y="1278"/>
                  </a:lnTo>
                  <a:lnTo>
                    <a:pt x="752" y="1276"/>
                  </a:lnTo>
                  <a:close/>
                  <a:moveTo>
                    <a:pt x="1156" y="42"/>
                  </a:moveTo>
                  <a:lnTo>
                    <a:pt x="1156" y="42"/>
                  </a:lnTo>
                  <a:lnTo>
                    <a:pt x="1164" y="44"/>
                  </a:lnTo>
                  <a:lnTo>
                    <a:pt x="1166" y="46"/>
                  </a:lnTo>
                  <a:lnTo>
                    <a:pt x="1164" y="48"/>
                  </a:lnTo>
                  <a:lnTo>
                    <a:pt x="1162" y="48"/>
                  </a:lnTo>
                  <a:lnTo>
                    <a:pt x="1160" y="50"/>
                  </a:lnTo>
                  <a:lnTo>
                    <a:pt x="1162" y="52"/>
                  </a:lnTo>
                  <a:lnTo>
                    <a:pt x="1166" y="56"/>
                  </a:lnTo>
                  <a:lnTo>
                    <a:pt x="1176" y="62"/>
                  </a:lnTo>
                  <a:lnTo>
                    <a:pt x="1186" y="66"/>
                  </a:lnTo>
                  <a:lnTo>
                    <a:pt x="1194" y="68"/>
                  </a:lnTo>
                  <a:lnTo>
                    <a:pt x="1204" y="68"/>
                  </a:lnTo>
                  <a:lnTo>
                    <a:pt x="1214" y="66"/>
                  </a:lnTo>
                  <a:lnTo>
                    <a:pt x="1238" y="62"/>
                  </a:lnTo>
                  <a:lnTo>
                    <a:pt x="1252" y="60"/>
                  </a:lnTo>
                  <a:lnTo>
                    <a:pt x="1270" y="58"/>
                  </a:lnTo>
                  <a:lnTo>
                    <a:pt x="1296" y="58"/>
                  </a:lnTo>
                  <a:lnTo>
                    <a:pt x="1298" y="60"/>
                  </a:lnTo>
                  <a:lnTo>
                    <a:pt x="1294" y="62"/>
                  </a:lnTo>
                  <a:lnTo>
                    <a:pt x="1274" y="66"/>
                  </a:lnTo>
                  <a:lnTo>
                    <a:pt x="1236" y="74"/>
                  </a:lnTo>
                  <a:lnTo>
                    <a:pt x="1220" y="78"/>
                  </a:lnTo>
                  <a:lnTo>
                    <a:pt x="1216" y="80"/>
                  </a:lnTo>
                  <a:lnTo>
                    <a:pt x="1216" y="82"/>
                  </a:lnTo>
                  <a:lnTo>
                    <a:pt x="1216" y="84"/>
                  </a:lnTo>
                  <a:lnTo>
                    <a:pt x="1220" y="86"/>
                  </a:lnTo>
                  <a:lnTo>
                    <a:pt x="1232" y="88"/>
                  </a:lnTo>
                  <a:lnTo>
                    <a:pt x="1270" y="92"/>
                  </a:lnTo>
                  <a:lnTo>
                    <a:pt x="1308" y="94"/>
                  </a:lnTo>
                  <a:lnTo>
                    <a:pt x="1324" y="96"/>
                  </a:lnTo>
                  <a:lnTo>
                    <a:pt x="1336" y="100"/>
                  </a:lnTo>
                  <a:lnTo>
                    <a:pt x="1360" y="110"/>
                  </a:lnTo>
                  <a:lnTo>
                    <a:pt x="1370" y="114"/>
                  </a:lnTo>
                  <a:lnTo>
                    <a:pt x="1380" y="114"/>
                  </a:lnTo>
                  <a:lnTo>
                    <a:pt x="1390" y="112"/>
                  </a:lnTo>
                  <a:lnTo>
                    <a:pt x="1402" y="106"/>
                  </a:lnTo>
                  <a:lnTo>
                    <a:pt x="1412" y="98"/>
                  </a:lnTo>
                  <a:lnTo>
                    <a:pt x="1420" y="96"/>
                  </a:lnTo>
                  <a:lnTo>
                    <a:pt x="1424" y="94"/>
                  </a:lnTo>
                  <a:lnTo>
                    <a:pt x="1430" y="96"/>
                  </a:lnTo>
                  <a:lnTo>
                    <a:pt x="1438" y="98"/>
                  </a:lnTo>
                  <a:lnTo>
                    <a:pt x="1446" y="98"/>
                  </a:lnTo>
                  <a:lnTo>
                    <a:pt x="1456" y="96"/>
                  </a:lnTo>
                  <a:lnTo>
                    <a:pt x="1464" y="92"/>
                  </a:lnTo>
                  <a:lnTo>
                    <a:pt x="1468" y="88"/>
                  </a:lnTo>
                  <a:lnTo>
                    <a:pt x="1468" y="84"/>
                  </a:lnTo>
                  <a:lnTo>
                    <a:pt x="1468" y="80"/>
                  </a:lnTo>
                  <a:lnTo>
                    <a:pt x="1470" y="76"/>
                  </a:lnTo>
                  <a:lnTo>
                    <a:pt x="1476" y="72"/>
                  </a:lnTo>
                  <a:lnTo>
                    <a:pt x="1488" y="66"/>
                  </a:lnTo>
                  <a:lnTo>
                    <a:pt x="1506" y="58"/>
                  </a:lnTo>
                  <a:lnTo>
                    <a:pt x="1516" y="54"/>
                  </a:lnTo>
                  <a:lnTo>
                    <a:pt x="1522" y="48"/>
                  </a:lnTo>
                  <a:lnTo>
                    <a:pt x="1520" y="42"/>
                  </a:lnTo>
                  <a:lnTo>
                    <a:pt x="1516" y="38"/>
                  </a:lnTo>
                  <a:lnTo>
                    <a:pt x="1510" y="34"/>
                  </a:lnTo>
                  <a:lnTo>
                    <a:pt x="1502" y="30"/>
                  </a:lnTo>
                  <a:lnTo>
                    <a:pt x="1492" y="28"/>
                  </a:lnTo>
                  <a:lnTo>
                    <a:pt x="1484" y="28"/>
                  </a:lnTo>
                  <a:lnTo>
                    <a:pt x="1468" y="28"/>
                  </a:lnTo>
                  <a:lnTo>
                    <a:pt x="1450" y="24"/>
                  </a:lnTo>
                  <a:lnTo>
                    <a:pt x="1430" y="18"/>
                  </a:lnTo>
                  <a:lnTo>
                    <a:pt x="1406" y="14"/>
                  </a:lnTo>
                  <a:lnTo>
                    <a:pt x="1394" y="12"/>
                  </a:lnTo>
                  <a:lnTo>
                    <a:pt x="1388" y="14"/>
                  </a:lnTo>
                  <a:lnTo>
                    <a:pt x="1384" y="16"/>
                  </a:lnTo>
                  <a:lnTo>
                    <a:pt x="1382" y="20"/>
                  </a:lnTo>
                  <a:lnTo>
                    <a:pt x="1378" y="28"/>
                  </a:lnTo>
                  <a:lnTo>
                    <a:pt x="1374" y="30"/>
                  </a:lnTo>
                  <a:lnTo>
                    <a:pt x="1366" y="30"/>
                  </a:lnTo>
                  <a:lnTo>
                    <a:pt x="1360" y="28"/>
                  </a:lnTo>
                  <a:lnTo>
                    <a:pt x="1358" y="24"/>
                  </a:lnTo>
                  <a:lnTo>
                    <a:pt x="1358" y="20"/>
                  </a:lnTo>
                  <a:lnTo>
                    <a:pt x="1360" y="16"/>
                  </a:lnTo>
                  <a:lnTo>
                    <a:pt x="1362" y="10"/>
                  </a:lnTo>
                  <a:lnTo>
                    <a:pt x="1362" y="6"/>
                  </a:lnTo>
                  <a:lnTo>
                    <a:pt x="1360" y="4"/>
                  </a:lnTo>
                  <a:lnTo>
                    <a:pt x="1350" y="0"/>
                  </a:lnTo>
                  <a:lnTo>
                    <a:pt x="1344" y="0"/>
                  </a:lnTo>
                  <a:lnTo>
                    <a:pt x="1340" y="2"/>
                  </a:lnTo>
                  <a:lnTo>
                    <a:pt x="1334" y="4"/>
                  </a:lnTo>
                  <a:lnTo>
                    <a:pt x="1332" y="8"/>
                  </a:lnTo>
                  <a:lnTo>
                    <a:pt x="1328" y="14"/>
                  </a:lnTo>
                  <a:lnTo>
                    <a:pt x="1326" y="22"/>
                  </a:lnTo>
                  <a:lnTo>
                    <a:pt x="1324" y="36"/>
                  </a:lnTo>
                  <a:lnTo>
                    <a:pt x="1322" y="40"/>
                  </a:lnTo>
                  <a:lnTo>
                    <a:pt x="1320" y="40"/>
                  </a:lnTo>
                  <a:lnTo>
                    <a:pt x="1318" y="40"/>
                  </a:lnTo>
                  <a:lnTo>
                    <a:pt x="1314" y="36"/>
                  </a:lnTo>
                  <a:lnTo>
                    <a:pt x="1306" y="24"/>
                  </a:lnTo>
                  <a:lnTo>
                    <a:pt x="1300" y="20"/>
                  </a:lnTo>
                  <a:lnTo>
                    <a:pt x="1296" y="18"/>
                  </a:lnTo>
                  <a:lnTo>
                    <a:pt x="1292" y="18"/>
                  </a:lnTo>
                  <a:lnTo>
                    <a:pt x="1286" y="18"/>
                  </a:lnTo>
                  <a:lnTo>
                    <a:pt x="1278" y="20"/>
                  </a:lnTo>
                  <a:lnTo>
                    <a:pt x="1268" y="18"/>
                  </a:lnTo>
                  <a:lnTo>
                    <a:pt x="1252" y="16"/>
                  </a:lnTo>
                  <a:lnTo>
                    <a:pt x="1232" y="8"/>
                  </a:lnTo>
                  <a:lnTo>
                    <a:pt x="1216" y="2"/>
                  </a:lnTo>
                  <a:lnTo>
                    <a:pt x="1208" y="2"/>
                  </a:lnTo>
                  <a:lnTo>
                    <a:pt x="1208" y="4"/>
                  </a:lnTo>
                  <a:lnTo>
                    <a:pt x="1212" y="10"/>
                  </a:lnTo>
                  <a:lnTo>
                    <a:pt x="1216" y="16"/>
                  </a:lnTo>
                  <a:lnTo>
                    <a:pt x="1216" y="20"/>
                  </a:lnTo>
                  <a:lnTo>
                    <a:pt x="1216" y="22"/>
                  </a:lnTo>
                  <a:lnTo>
                    <a:pt x="1212" y="22"/>
                  </a:lnTo>
                  <a:lnTo>
                    <a:pt x="1200" y="16"/>
                  </a:lnTo>
                  <a:lnTo>
                    <a:pt x="1188" y="12"/>
                  </a:lnTo>
                  <a:lnTo>
                    <a:pt x="1182" y="12"/>
                  </a:lnTo>
                  <a:lnTo>
                    <a:pt x="1184" y="14"/>
                  </a:lnTo>
                  <a:lnTo>
                    <a:pt x="1188" y="18"/>
                  </a:lnTo>
                  <a:lnTo>
                    <a:pt x="1192" y="24"/>
                  </a:lnTo>
                  <a:lnTo>
                    <a:pt x="1194" y="28"/>
                  </a:lnTo>
                  <a:lnTo>
                    <a:pt x="1194" y="30"/>
                  </a:lnTo>
                  <a:lnTo>
                    <a:pt x="1190" y="30"/>
                  </a:lnTo>
                  <a:lnTo>
                    <a:pt x="1180" y="28"/>
                  </a:lnTo>
                  <a:lnTo>
                    <a:pt x="1166" y="26"/>
                  </a:lnTo>
                  <a:lnTo>
                    <a:pt x="1154" y="24"/>
                  </a:lnTo>
                  <a:lnTo>
                    <a:pt x="1148" y="24"/>
                  </a:lnTo>
                  <a:lnTo>
                    <a:pt x="1142" y="26"/>
                  </a:lnTo>
                  <a:lnTo>
                    <a:pt x="1142" y="30"/>
                  </a:lnTo>
                  <a:lnTo>
                    <a:pt x="1144" y="34"/>
                  </a:lnTo>
                  <a:lnTo>
                    <a:pt x="1148" y="38"/>
                  </a:lnTo>
                  <a:lnTo>
                    <a:pt x="1156" y="42"/>
                  </a:lnTo>
                  <a:close/>
                  <a:moveTo>
                    <a:pt x="388" y="1446"/>
                  </a:moveTo>
                  <a:lnTo>
                    <a:pt x="388" y="1446"/>
                  </a:lnTo>
                  <a:lnTo>
                    <a:pt x="384" y="1448"/>
                  </a:lnTo>
                  <a:lnTo>
                    <a:pt x="384" y="1450"/>
                  </a:lnTo>
                  <a:lnTo>
                    <a:pt x="384" y="1452"/>
                  </a:lnTo>
                  <a:lnTo>
                    <a:pt x="386" y="1456"/>
                  </a:lnTo>
                  <a:lnTo>
                    <a:pt x="388" y="1454"/>
                  </a:lnTo>
                  <a:lnTo>
                    <a:pt x="390" y="1452"/>
                  </a:lnTo>
                  <a:lnTo>
                    <a:pt x="390" y="1448"/>
                  </a:lnTo>
                  <a:lnTo>
                    <a:pt x="388" y="1446"/>
                  </a:lnTo>
                  <a:close/>
                  <a:moveTo>
                    <a:pt x="164" y="1358"/>
                  </a:moveTo>
                  <a:lnTo>
                    <a:pt x="164" y="1358"/>
                  </a:lnTo>
                  <a:lnTo>
                    <a:pt x="166" y="1356"/>
                  </a:lnTo>
                  <a:lnTo>
                    <a:pt x="168" y="1358"/>
                  </a:lnTo>
                  <a:lnTo>
                    <a:pt x="170" y="1356"/>
                  </a:lnTo>
                  <a:lnTo>
                    <a:pt x="172" y="1354"/>
                  </a:lnTo>
                  <a:lnTo>
                    <a:pt x="170" y="1354"/>
                  </a:lnTo>
                  <a:lnTo>
                    <a:pt x="168" y="1350"/>
                  </a:lnTo>
                  <a:lnTo>
                    <a:pt x="164" y="1346"/>
                  </a:lnTo>
                  <a:lnTo>
                    <a:pt x="164" y="1348"/>
                  </a:lnTo>
                  <a:lnTo>
                    <a:pt x="164" y="1350"/>
                  </a:lnTo>
                  <a:lnTo>
                    <a:pt x="164" y="1352"/>
                  </a:lnTo>
                  <a:lnTo>
                    <a:pt x="164" y="1354"/>
                  </a:lnTo>
                  <a:lnTo>
                    <a:pt x="164" y="1358"/>
                  </a:lnTo>
                  <a:close/>
                  <a:moveTo>
                    <a:pt x="148" y="1644"/>
                  </a:moveTo>
                  <a:lnTo>
                    <a:pt x="148" y="1644"/>
                  </a:lnTo>
                  <a:lnTo>
                    <a:pt x="150" y="1642"/>
                  </a:lnTo>
                  <a:lnTo>
                    <a:pt x="150" y="1640"/>
                  </a:lnTo>
                  <a:lnTo>
                    <a:pt x="152" y="1636"/>
                  </a:lnTo>
                  <a:lnTo>
                    <a:pt x="156" y="1634"/>
                  </a:lnTo>
                  <a:lnTo>
                    <a:pt x="160" y="1634"/>
                  </a:lnTo>
                  <a:lnTo>
                    <a:pt x="162" y="1634"/>
                  </a:lnTo>
                  <a:lnTo>
                    <a:pt x="162" y="1632"/>
                  </a:lnTo>
                  <a:lnTo>
                    <a:pt x="162" y="1630"/>
                  </a:lnTo>
                  <a:lnTo>
                    <a:pt x="164" y="1630"/>
                  </a:lnTo>
                  <a:lnTo>
                    <a:pt x="166" y="1628"/>
                  </a:lnTo>
                  <a:lnTo>
                    <a:pt x="166" y="1626"/>
                  </a:lnTo>
                  <a:lnTo>
                    <a:pt x="164" y="1624"/>
                  </a:lnTo>
                  <a:lnTo>
                    <a:pt x="166" y="1622"/>
                  </a:lnTo>
                  <a:lnTo>
                    <a:pt x="164" y="1620"/>
                  </a:lnTo>
                  <a:lnTo>
                    <a:pt x="166" y="1618"/>
                  </a:lnTo>
                  <a:lnTo>
                    <a:pt x="168" y="1618"/>
                  </a:lnTo>
                  <a:lnTo>
                    <a:pt x="170" y="1618"/>
                  </a:lnTo>
                  <a:lnTo>
                    <a:pt x="174" y="1616"/>
                  </a:lnTo>
                  <a:lnTo>
                    <a:pt x="176" y="1614"/>
                  </a:lnTo>
                  <a:lnTo>
                    <a:pt x="172" y="1614"/>
                  </a:lnTo>
                  <a:lnTo>
                    <a:pt x="168" y="1614"/>
                  </a:lnTo>
                  <a:lnTo>
                    <a:pt x="172" y="1610"/>
                  </a:lnTo>
                  <a:lnTo>
                    <a:pt x="174" y="1606"/>
                  </a:lnTo>
                  <a:lnTo>
                    <a:pt x="174" y="1600"/>
                  </a:lnTo>
                  <a:lnTo>
                    <a:pt x="172" y="1598"/>
                  </a:lnTo>
                  <a:lnTo>
                    <a:pt x="170" y="1598"/>
                  </a:lnTo>
                  <a:lnTo>
                    <a:pt x="164" y="1602"/>
                  </a:lnTo>
                  <a:lnTo>
                    <a:pt x="158" y="1606"/>
                  </a:lnTo>
                  <a:lnTo>
                    <a:pt x="150" y="1610"/>
                  </a:lnTo>
                  <a:lnTo>
                    <a:pt x="148" y="1612"/>
                  </a:lnTo>
                  <a:lnTo>
                    <a:pt x="148" y="1614"/>
                  </a:lnTo>
                  <a:lnTo>
                    <a:pt x="148" y="1616"/>
                  </a:lnTo>
                  <a:lnTo>
                    <a:pt x="148" y="1620"/>
                  </a:lnTo>
                  <a:lnTo>
                    <a:pt x="146" y="1620"/>
                  </a:lnTo>
                  <a:lnTo>
                    <a:pt x="144" y="1618"/>
                  </a:lnTo>
                  <a:lnTo>
                    <a:pt x="142" y="1616"/>
                  </a:lnTo>
                  <a:lnTo>
                    <a:pt x="140" y="1616"/>
                  </a:lnTo>
                  <a:lnTo>
                    <a:pt x="136" y="1622"/>
                  </a:lnTo>
                  <a:lnTo>
                    <a:pt x="136" y="1624"/>
                  </a:lnTo>
                  <a:lnTo>
                    <a:pt x="138" y="1628"/>
                  </a:lnTo>
                  <a:lnTo>
                    <a:pt x="140" y="1630"/>
                  </a:lnTo>
                  <a:lnTo>
                    <a:pt x="138" y="1632"/>
                  </a:lnTo>
                  <a:lnTo>
                    <a:pt x="144" y="1636"/>
                  </a:lnTo>
                  <a:lnTo>
                    <a:pt x="146" y="1636"/>
                  </a:lnTo>
                  <a:lnTo>
                    <a:pt x="142" y="1638"/>
                  </a:lnTo>
                  <a:lnTo>
                    <a:pt x="138" y="1642"/>
                  </a:lnTo>
                  <a:lnTo>
                    <a:pt x="136" y="1644"/>
                  </a:lnTo>
                  <a:lnTo>
                    <a:pt x="138" y="1646"/>
                  </a:lnTo>
                  <a:lnTo>
                    <a:pt x="140" y="1648"/>
                  </a:lnTo>
                  <a:lnTo>
                    <a:pt x="142" y="1648"/>
                  </a:lnTo>
                  <a:lnTo>
                    <a:pt x="144" y="1644"/>
                  </a:lnTo>
                  <a:lnTo>
                    <a:pt x="148" y="1644"/>
                  </a:lnTo>
                  <a:close/>
                  <a:moveTo>
                    <a:pt x="84" y="2020"/>
                  </a:moveTo>
                  <a:lnTo>
                    <a:pt x="84" y="2020"/>
                  </a:lnTo>
                  <a:lnTo>
                    <a:pt x="88" y="2008"/>
                  </a:lnTo>
                  <a:lnTo>
                    <a:pt x="90" y="2008"/>
                  </a:lnTo>
                  <a:lnTo>
                    <a:pt x="92" y="2012"/>
                  </a:lnTo>
                  <a:lnTo>
                    <a:pt x="94" y="2014"/>
                  </a:lnTo>
                  <a:lnTo>
                    <a:pt x="96" y="2014"/>
                  </a:lnTo>
                  <a:lnTo>
                    <a:pt x="106" y="2008"/>
                  </a:lnTo>
                  <a:lnTo>
                    <a:pt x="120" y="2000"/>
                  </a:lnTo>
                  <a:lnTo>
                    <a:pt x="126" y="1996"/>
                  </a:lnTo>
                  <a:lnTo>
                    <a:pt x="132" y="1994"/>
                  </a:lnTo>
                  <a:lnTo>
                    <a:pt x="142" y="1992"/>
                  </a:lnTo>
                  <a:lnTo>
                    <a:pt x="148" y="1990"/>
                  </a:lnTo>
                  <a:lnTo>
                    <a:pt x="152" y="1990"/>
                  </a:lnTo>
                  <a:lnTo>
                    <a:pt x="160" y="1990"/>
                  </a:lnTo>
                  <a:lnTo>
                    <a:pt x="166" y="1992"/>
                  </a:lnTo>
                  <a:lnTo>
                    <a:pt x="168" y="1988"/>
                  </a:lnTo>
                  <a:lnTo>
                    <a:pt x="168" y="1980"/>
                  </a:lnTo>
                  <a:lnTo>
                    <a:pt x="168" y="1974"/>
                  </a:lnTo>
                  <a:lnTo>
                    <a:pt x="172" y="1966"/>
                  </a:lnTo>
                  <a:lnTo>
                    <a:pt x="176" y="1958"/>
                  </a:lnTo>
                  <a:lnTo>
                    <a:pt x="178" y="1950"/>
                  </a:lnTo>
                  <a:lnTo>
                    <a:pt x="180" y="1934"/>
                  </a:lnTo>
                  <a:lnTo>
                    <a:pt x="178" y="1920"/>
                  </a:lnTo>
                  <a:lnTo>
                    <a:pt x="174" y="1906"/>
                  </a:lnTo>
                  <a:lnTo>
                    <a:pt x="168" y="1888"/>
                  </a:lnTo>
                  <a:lnTo>
                    <a:pt x="166" y="1884"/>
                  </a:lnTo>
                  <a:lnTo>
                    <a:pt x="170" y="1884"/>
                  </a:lnTo>
                  <a:lnTo>
                    <a:pt x="172" y="1882"/>
                  </a:lnTo>
                  <a:lnTo>
                    <a:pt x="172" y="1880"/>
                  </a:lnTo>
                  <a:lnTo>
                    <a:pt x="168" y="1874"/>
                  </a:lnTo>
                  <a:lnTo>
                    <a:pt x="172" y="1874"/>
                  </a:lnTo>
                  <a:lnTo>
                    <a:pt x="176" y="1876"/>
                  </a:lnTo>
                  <a:lnTo>
                    <a:pt x="178" y="1878"/>
                  </a:lnTo>
                  <a:lnTo>
                    <a:pt x="180" y="1878"/>
                  </a:lnTo>
                  <a:lnTo>
                    <a:pt x="186" y="1870"/>
                  </a:lnTo>
                  <a:lnTo>
                    <a:pt x="190" y="1866"/>
                  </a:lnTo>
                  <a:lnTo>
                    <a:pt x="194" y="1866"/>
                  </a:lnTo>
                  <a:lnTo>
                    <a:pt x="196" y="1864"/>
                  </a:lnTo>
                  <a:lnTo>
                    <a:pt x="198" y="1862"/>
                  </a:lnTo>
                  <a:lnTo>
                    <a:pt x="196" y="1858"/>
                  </a:lnTo>
                  <a:lnTo>
                    <a:pt x="194" y="1858"/>
                  </a:lnTo>
                  <a:lnTo>
                    <a:pt x="192" y="1858"/>
                  </a:lnTo>
                  <a:lnTo>
                    <a:pt x="194" y="1854"/>
                  </a:lnTo>
                  <a:lnTo>
                    <a:pt x="196" y="1850"/>
                  </a:lnTo>
                  <a:lnTo>
                    <a:pt x="196" y="1848"/>
                  </a:lnTo>
                  <a:lnTo>
                    <a:pt x="196" y="1850"/>
                  </a:lnTo>
                  <a:lnTo>
                    <a:pt x="200" y="1858"/>
                  </a:lnTo>
                  <a:lnTo>
                    <a:pt x="202" y="1858"/>
                  </a:lnTo>
                  <a:lnTo>
                    <a:pt x="204" y="1856"/>
                  </a:lnTo>
                  <a:lnTo>
                    <a:pt x="204" y="1850"/>
                  </a:lnTo>
                  <a:lnTo>
                    <a:pt x="202" y="1844"/>
                  </a:lnTo>
                  <a:lnTo>
                    <a:pt x="198" y="1840"/>
                  </a:lnTo>
                  <a:lnTo>
                    <a:pt x="196" y="1838"/>
                  </a:lnTo>
                  <a:lnTo>
                    <a:pt x="194" y="1838"/>
                  </a:lnTo>
                  <a:lnTo>
                    <a:pt x="186" y="1840"/>
                  </a:lnTo>
                  <a:lnTo>
                    <a:pt x="184" y="1840"/>
                  </a:lnTo>
                  <a:lnTo>
                    <a:pt x="186" y="1838"/>
                  </a:lnTo>
                  <a:lnTo>
                    <a:pt x="192" y="1834"/>
                  </a:lnTo>
                  <a:lnTo>
                    <a:pt x="194" y="1832"/>
                  </a:lnTo>
                  <a:lnTo>
                    <a:pt x="192" y="1828"/>
                  </a:lnTo>
                  <a:lnTo>
                    <a:pt x="190" y="1828"/>
                  </a:lnTo>
                  <a:lnTo>
                    <a:pt x="186" y="1826"/>
                  </a:lnTo>
                  <a:lnTo>
                    <a:pt x="182" y="1820"/>
                  </a:lnTo>
                  <a:lnTo>
                    <a:pt x="176" y="1808"/>
                  </a:lnTo>
                  <a:lnTo>
                    <a:pt x="174" y="1806"/>
                  </a:lnTo>
                  <a:lnTo>
                    <a:pt x="172" y="1804"/>
                  </a:lnTo>
                  <a:lnTo>
                    <a:pt x="164" y="1806"/>
                  </a:lnTo>
                  <a:lnTo>
                    <a:pt x="156" y="1808"/>
                  </a:lnTo>
                  <a:lnTo>
                    <a:pt x="148" y="1808"/>
                  </a:lnTo>
                  <a:lnTo>
                    <a:pt x="142" y="1810"/>
                  </a:lnTo>
                  <a:lnTo>
                    <a:pt x="140" y="1812"/>
                  </a:lnTo>
                  <a:lnTo>
                    <a:pt x="138" y="1814"/>
                  </a:lnTo>
                  <a:lnTo>
                    <a:pt x="130" y="1816"/>
                  </a:lnTo>
                  <a:lnTo>
                    <a:pt x="126" y="1818"/>
                  </a:lnTo>
                  <a:lnTo>
                    <a:pt x="124" y="1822"/>
                  </a:lnTo>
                  <a:lnTo>
                    <a:pt x="122" y="1828"/>
                  </a:lnTo>
                  <a:lnTo>
                    <a:pt x="120" y="1834"/>
                  </a:lnTo>
                  <a:lnTo>
                    <a:pt x="116" y="1836"/>
                  </a:lnTo>
                  <a:lnTo>
                    <a:pt x="112" y="1836"/>
                  </a:lnTo>
                  <a:lnTo>
                    <a:pt x="116" y="1836"/>
                  </a:lnTo>
                  <a:lnTo>
                    <a:pt x="120" y="1832"/>
                  </a:lnTo>
                  <a:lnTo>
                    <a:pt x="122" y="1826"/>
                  </a:lnTo>
                  <a:lnTo>
                    <a:pt x="124" y="1818"/>
                  </a:lnTo>
                  <a:lnTo>
                    <a:pt x="128" y="1816"/>
                  </a:lnTo>
                  <a:lnTo>
                    <a:pt x="132" y="1814"/>
                  </a:lnTo>
                  <a:lnTo>
                    <a:pt x="132" y="1810"/>
                  </a:lnTo>
                  <a:lnTo>
                    <a:pt x="134" y="1808"/>
                  </a:lnTo>
                  <a:lnTo>
                    <a:pt x="138" y="1806"/>
                  </a:lnTo>
                  <a:lnTo>
                    <a:pt x="140" y="1804"/>
                  </a:lnTo>
                  <a:lnTo>
                    <a:pt x="134" y="1798"/>
                  </a:lnTo>
                  <a:lnTo>
                    <a:pt x="130" y="1796"/>
                  </a:lnTo>
                  <a:lnTo>
                    <a:pt x="126" y="1796"/>
                  </a:lnTo>
                  <a:lnTo>
                    <a:pt x="124" y="1798"/>
                  </a:lnTo>
                  <a:lnTo>
                    <a:pt x="122" y="1800"/>
                  </a:lnTo>
                  <a:lnTo>
                    <a:pt x="118" y="1804"/>
                  </a:lnTo>
                  <a:lnTo>
                    <a:pt x="116" y="1804"/>
                  </a:lnTo>
                  <a:lnTo>
                    <a:pt x="112" y="1804"/>
                  </a:lnTo>
                  <a:lnTo>
                    <a:pt x="104" y="1806"/>
                  </a:lnTo>
                  <a:lnTo>
                    <a:pt x="94" y="1810"/>
                  </a:lnTo>
                  <a:lnTo>
                    <a:pt x="86" y="1816"/>
                  </a:lnTo>
                  <a:lnTo>
                    <a:pt x="84" y="1820"/>
                  </a:lnTo>
                  <a:lnTo>
                    <a:pt x="84" y="1824"/>
                  </a:lnTo>
                  <a:lnTo>
                    <a:pt x="84" y="1828"/>
                  </a:lnTo>
                  <a:lnTo>
                    <a:pt x="82" y="1830"/>
                  </a:lnTo>
                  <a:lnTo>
                    <a:pt x="76" y="1834"/>
                  </a:lnTo>
                  <a:lnTo>
                    <a:pt x="70" y="1836"/>
                  </a:lnTo>
                  <a:lnTo>
                    <a:pt x="68" y="1838"/>
                  </a:lnTo>
                  <a:lnTo>
                    <a:pt x="68" y="1840"/>
                  </a:lnTo>
                  <a:lnTo>
                    <a:pt x="70" y="1842"/>
                  </a:lnTo>
                  <a:lnTo>
                    <a:pt x="76" y="1842"/>
                  </a:lnTo>
                  <a:lnTo>
                    <a:pt x="86" y="1842"/>
                  </a:lnTo>
                  <a:lnTo>
                    <a:pt x="94" y="1844"/>
                  </a:lnTo>
                  <a:lnTo>
                    <a:pt x="94" y="1846"/>
                  </a:lnTo>
                  <a:lnTo>
                    <a:pt x="90" y="1848"/>
                  </a:lnTo>
                  <a:lnTo>
                    <a:pt x="82" y="1856"/>
                  </a:lnTo>
                  <a:lnTo>
                    <a:pt x="78" y="1862"/>
                  </a:lnTo>
                  <a:lnTo>
                    <a:pt x="74" y="1866"/>
                  </a:lnTo>
                  <a:lnTo>
                    <a:pt x="70" y="1866"/>
                  </a:lnTo>
                  <a:lnTo>
                    <a:pt x="62" y="1864"/>
                  </a:lnTo>
                  <a:lnTo>
                    <a:pt x="58" y="1866"/>
                  </a:lnTo>
                  <a:lnTo>
                    <a:pt x="54" y="1866"/>
                  </a:lnTo>
                  <a:lnTo>
                    <a:pt x="48" y="1864"/>
                  </a:lnTo>
                  <a:lnTo>
                    <a:pt x="40" y="1860"/>
                  </a:lnTo>
                  <a:lnTo>
                    <a:pt x="30" y="1860"/>
                  </a:lnTo>
                  <a:lnTo>
                    <a:pt x="22" y="1862"/>
                  </a:lnTo>
                  <a:lnTo>
                    <a:pt x="14" y="1868"/>
                  </a:lnTo>
                  <a:lnTo>
                    <a:pt x="14" y="1870"/>
                  </a:lnTo>
                  <a:lnTo>
                    <a:pt x="18" y="1870"/>
                  </a:lnTo>
                  <a:lnTo>
                    <a:pt x="20" y="1870"/>
                  </a:lnTo>
                  <a:lnTo>
                    <a:pt x="20" y="1872"/>
                  </a:lnTo>
                  <a:lnTo>
                    <a:pt x="20" y="1874"/>
                  </a:lnTo>
                  <a:lnTo>
                    <a:pt x="18" y="1878"/>
                  </a:lnTo>
                  <a:lnTo>
                    <a:pt x="16" y="1884"/>
                  </a:lnTo>
                  <a:lnTo>
                    <a:pt x="18" y="1886"/>
                  </a:lnTo>
                  <a:lnTo>
                    <a:pt x="22" y="1888"/>
                  </a:lnTo>
                  <a:lnTo>
                    <a:pt x="28" y="1888"/>
                  </a:lnTo>
                  <a:lnTo>
                    <a:pt x="38" y="1888"/>
                  </a:lnTo>
                  <a:lnTo>
                    <a:pt x="38" y="1890"/>
                  </a:lnTo>
                  <a:lnTo>
                    <a:pt x="34" y="1892"/>
                  </a:lnTo>
                  <a:lnTo>
                    <a:pt x="24" y="1898"/>
                  </a:lnTo>
                  <a:lnTo>
                    <a:pt x="22" y="1900"/>
                  </a:lnTo>
                  <a:lnTo>
                    <a:pt x="20" y="1904"/>
                  </a:lnTo>
                  <a:lnTo>
                    <a:pt x="16" y="1908"/>
                  </a:lnTo>
                  <a:lnTo>
                    <a:pt x="14" y="1912"/>
                  </a:lnTo>
                  <a:lnTo>
                    <a:pt x="16" y="1914"/>
                  </a:lnTo>
                  <a:lnTo>
                    <a:pt x="24" y="1922"/>
                  </a:lnTo>
                  <a:lnTo>
                    <a:pt x="36" y="1928"/>
                  </a:lnTo>
                  <a:lnTo>
                    <a:pt x="40" y="1928"/>
                  </a:lnTo>
                  <a:lnTo>
                    <a:pt x="44" y="1928"/>
                  </a:lnTo>
                  <a:lnTo>
                    <a:pt x="52" y="1926"/>
                  </a:lnTo>
                  <a:lnTo>
                    <a:pt x="58" y="1928"/>
                  </a:lnTo>
                  <a:lnTo>
                    <a:pt x="60" y="1928"/>
                  </a:lnTo>
                  <a:lnTo>
                    <a:pt x="60" y="1930"/>
                  </a:lnTo>
                  <a:lnTo>
                    <a:pt x="50" y="1934"/>
                  </a:lnTo>
                  <a:lnTo>
                    <a:pt x="44" y="1936"/>
                  </a:lnTo>
                  <a:lnTo>
                    <a:pt x="42" y="1938"/>
                  </a:lnTo>
                  <a:lnTo>
                    <a:pt x="42" y="1940"/>
                  </a:lnTo>
                  <a:lnTo>
                    <a:pt x="42" y="1944"/>
                  </a:lnTo>
                  <a:lnTo>
                    <a:pt x="42" y="1948"/>
                  </a:lnTo>
                  <a:lnTo>
                    <a:pt x="40" y="1952"/>
                  </a:lnTo>
                  <a:lnTo>
                    <a:pt x="36" y="1956"/>
                  </a:lnTo>
                  <a:lnTo>
                    <a:pt x="28" y="1962"/>
                  </a:lnTo>
                  <a:lnTo>
                    <a:pt x="22" y="1966"/>
                  </a:lnTo>
                  <a:lnTo>
                    <a:pt x="22" y="1968"/>
                  </a:lnTo>
                  <a:lnTo>
                    <a:pt x="26" y="1968"/>
                  </a:lnTo>
                  <a:lnTo>
                    <a:pt x="30" y="1968"/>
                  </a:lnTo>
                  <a:lnTo>
                    <a:pt x="58" y="1960"/>
                  </a:lnTo>
                  <a:lnTo>
                    <a:pt x="64" y="1960"/>
                  </a:lnTo>
                  <a:lnTo>
                    <a:pt x="66" y="1960"/>
                  </a:lnTo>
                  <a:lnTo>
                    <a:pt x="66" y="1962"/>
                  </a:lnTo>
                  <a:lnTo>
                    <a:pt x="66" y="1964"/>
                  </a:lnTo>
                  <a:lnTo>
                    <a:pt x="62" y="1966"/>
                  </a:lnTo>
                  <a:lnTo>
                    <a:pt x="50" y="1968"/>
                  </a:lnTo>
                  <a:lnTo>
                    <a:pt x="36" y="1970"/>
                  </a:lnTo>
                  <a:lnTo>
                    <a:pt x="28" y="1974"/>
                  </a:lnTo>
                  <a:lnTo>
                    <a:pt x="24" y="1978"/>
                  </a:lnTo>
                  <a:lnTo>
                    <a:pt x="26" y="1982"/>
                  </a:lnTo>
                  <a:lnTo>
                    <a:pt x="28" y="1984"/>
                  </a:lnTo>
                  <a:lnTo>
                    <a:pt x="26" y="1986"/>
                  </a:lnTo>
                  <a:lnTo>
                    <a:pt x="22" y="1984"/>
                  </a:lnTo>
                  <a:lnTo>
                    <a:pt x="14" y="1984"/>
                  </a:lnTo>
                  <a:lnTo>
                    <a:pt x="10" y="1986"/>
                  </a:lnTo>
                  <a:lnTo>
                    <a:pt x="4" y="1988"/>
                  </a:lnTo>
                  <a:lnTo>
                    <a:pt x="0" y="1994"/>
                  </a:lnTo>
                  <a:lnTo>
                    <a:pt x="0" y="1996"/>
                  </a:lnTo>
                  <a:lnTo>
                    <a:pt x="2" y="1996"/>
                  </a:lnTo>
                  <a:lnTo>
                    <a:pt x="6" y="1996"/>
                  </a:lnTo>
                  <a:lnTo>
                    <a:pt x="10" y="1996"/>
                  </a:lnTo>
                  <a:lnTo>
                    <a:pt x="14" y="1996"/>
                  </a:lnTo>
                  <a:lnTo>
                    <a:pt x="14" y="2000"/>
                  </a:lnTo>
                  <a:lnTo>
                    <a:pt x="10" y="2004"/>
                  </a:lnTo>
                  <a:lnTo>
                    <a:pt x="6" y="2010"/>
                  </a:lnTo>
                  <a:lnTo>
                    <a:pt x="4" y="2012"/>
                  </a:lnTo>
                  <a:lnTo>
                    <a:pt x="8" y="2014"/>
                  </a:lnTo>
                  <a:lnTo>
                    <a:pt x="12" y="2016"/>
                  </a:lnTo>
                  <a:lnTo>
                    <a:pt x="18" y="2018"/>
                  </a:lnTo>
                  <a:lnTo>
                    <a:pt x="20" y="2020"/>
                  </a:lnTo>
                  <a:lnTo>
                    <a:pt x="16" y="2024"/>
                  </a:lnTo>
                  <a:lnTo>
                    <a:pt x="14" y="2026"/>
                  </a:lnTo>
                  <a:lnTo>
                    <a:pt x="16" y="2026"/>
                  </a:lnTo>
                  <a:lnTo>
                    <a:pt x="28" y="2022"/>
                  </a:lnTo>
                  <a:lnTo>
                    <a:pt x="36" y="2020"/>
                  </a:lnTo>
                  <a:lnTo>
                    <a:pt x="36" y="2022"/>
                  </a:lnTo>
                  <a:lnTo>
                    <a:pt x="30" y="2026"/>
                  </a:lnTo>
                  <a:lnTo>
                    <a:pt x="28" y="2030"/>
                  </a:lnTo>
                  <a:lnTo>
                    <a:pt x="28" y="2032"/>
                  </a:lnTo>
                  <a:lnTo>
                    <a:pt x="30" y="2034"/>
                  </a:lnTo>
                  <a:lnTo>
                    <a:pt x="38" y="2034"/>
                  </a:lnTo>
                  <a:lnTo>
                    <a:pt x="48" y="2032"/>
                  </a:lnTo>
                  <a:lnTo>
                    <a:pt x="70" y="2028"/>
                  </a:lnTo>
                  <a:lnTo>
                    <a:pt x="78" y="2024"/>
                  </a:lnTo>
                  <a:lnTo>
                    <a:pt x="84" y="2020"/>
                  </a:lnTo>
                  <a:close/>
                  <a:moveTo>
                    <a:pt x="154" y="1672"/>
                  </a:moveTo>
                  <a:lnTo>
                    <a:pt x="154" y="1672"/>
                  </a:lnTo>
                  <a:lnTo>
                    <a:pt x="156" y="1672"/>
                  </a:lnTo>
                  <a:lnTo>
                    <a:pt x="158" y="1670"/>
                  </a:lnTo>
                  <a:lnTo>
                    <a:pt x="162" y="1672"/>
                  </a:lnTo>
                  <a:lnTo>
                    <a:pt x="162" y="1674"/>
                  </a:lnTo>
                  <a:lnTo>
                    <a:pt x="162" y="1676"/>
                  </a:lnTo>
                  <a:lnTo>
                    <a:pt x="162" y="1678"/>
                  </a:lnTo>
                  <a:lnTo>
                    <a:pt x="164" y="1682"/>
                  </a:lnTo>
                  <a:lnTo>
                    <a:pt x="168" y="1684"/>
                  </a:lnTo>
                  <a:lnTo>
                    <a:pt x="170" y="1684"/>
                  </a:lnTo>
                  <a:lnTo>
                    <a:pt x="174" y="1682"/>
                  </a:lnTo>
                  <a:lnTo>
                    <a:pt x="180" y="1682"/>
                  </a:lnTo>
                  <a:lnTo>
                    <a:pt x="182" y="1684"/>
                  </a:lnTo>
                  <a:lnTo>
                    <a:pt x="182" y="1688"/>
                  </a:lnTo>
                  <a:lnTo>
                    <a:pt x="180" y="1692"/>
                  </a:lnTo>
                  <a:lnTo>
                    <a:pt x="180" y="1694"/>
                  </a:lnTo>
                  <a:lnTo>
                    <a:pt x="182" y="1692"/>
                  </a:lnTo>
                  <a:lnTo>
                    <a:pt x="186" y="1688"/>
                  </a:lnTo>
                  <a:lnTo>
                    <a:pt x="192" y="1678"/>
                  </a:lnTo>
                  <a:lnTo>
                    <a:pt x="192" y="1676"/>
                  </a:lnTo>
                  <a:lnTo>
                    <a:pt x="190" y="1676"/>
                  </a:lnTo>
                  <a:lnTo>
                    <a:pt x="184" y="1678"/>
                  </a:lnTo>
                  <a:lnTo>
                    <a:pt x="180" y="1676"/>
                  </a:lnTo>
                  <a:lnTo>
                    <a:pt x="178" y="1674"/>
                  </a:lnTo>
                  <a:lnTo>
                    <a:pt x="176" y="1672"/>
                  </a:lnTo>
                  <a:lnTo>
                    <a:pt x="174" y="1662"/>
                  </a:lnTo>
                  <a:lnTo>
                    <a:pt x="172" y="1654"/>
                  </a:lnTo>
                  <a:lnTo>
                    <a:pt x="170" y="1652"/>
                  </a:lnTo>
                  <a:lnTo>
                    <a:pt x="168" y="1650"/>
                  </a:lnTo>
                  <a:lnTo>
                    <a:pt x="166" y="1650"/>
                  </a:lnTo>
                  <a:lnTo>
                    <a:pt x="166" y="1652"/>
                  </a:lnTo>
                  <a:lnTo>
                    <a:pt x="166" y="1656"/>
                  </a:lnTo>
                  <a:lnTo>
                    <a:pt x="166" y="1662"/>
                  </a:lnTo>
                  <a:lnTo>
                    <a:pt x="166" y="1664"/>
                  </a:lnTo>
                  <a:lnTo>
                    <a:pt x="162" y="1664"/>
                  </a:lnTo>
                  <a:lnTo>
                    <a:pt x="160" y="1660"/>
                  </a:lnTo>
                  <a:lnTo>
                    <a:pt x="158" y="1658"/>
                  </a:lnTo>
                  <a:lnTo>
                    <a:pt x="154" y="1656"/>
                  </a:lnTo>
                  <a:lnTo>
                    <a:pt x="154" y="1658"/>
                  </a:lnTo>
                  <a:lnTo>
                    <a:pt x="154" y="1660"/>
                  </a:lnTo>
                  <a:lnTo>
                    <a:pt x="156" y="1664"/>
                  </a:lnTo>
                  <a:lnTo>
                    <a:pt x="154" y="1666"/>
                  </a:lnTo>
                  <a:lnTo>
                    <a:pt x="150" y="1666"/>
                  </a:lnTo>
                  <a:lnTo>
                    <a:pt x="150" y="1668"/>
                  </a:lnTo>
                  <a:lnTo>
                    <a:pt x="154" y="1672"/>
                  </a:lnTo>
                  <a:close/>
                  <a:moveTo>
                    <a:pt x="146" y="1346"/>
                  </a:moveTo>
                  <a:lnTo>
                    <a:pt x="146" y="1346"/>
                  </a:lnTo>
                  <a:lnTo>
                    <a:pt x="142" y="1346"/>
                  </a:lnTo>
                  <a:lnTo>
                    <a:pt x="144" y="1352"/>
                  </a:lnTo>
                  <a:lnTo>
                    <a:pt x="148" y="1358"/>
                  </a:lnTo>
                  <a:lnTo>
                    <a:pt x="154" y="1362"/>
                  </a:lnTo>
                  <a:lnTo>
                    <a:pt x="158" y="1364"/>
                  </a:lnTo>
                  <a:lnTo>
                    <a:pt x="160" y="1364"/>
                  </a:lnTo>
                  <a:lnTo>
                    <a:pt x="162" y="1362"/>
                  </a:lnTo>
                  <a:lnTo>
                    <a:pt x="160" y="1360"/>
                  </a:lnTo>
                  <a:lnTo>
                    <a:pt x="158" y="1358"/>
                  </a:lnTo>
                  <a:lnTo>
                    <a:pt x="160" y="1358"/>
                  </a:lnTo>
                  <a:lnTo>
                    <a:pt x="160" y="1356"/>
                  </a:lnTo>
                  <a:lnTo>
                    <a:pt x="158" y="1356"/>
                  </a:lnTo>
                  <a:lnTo>
                    <a:pt x="154" y="1354"/>
                  </a:lnTo>
                  <a:lnTo>
                    <a:pt x="154" y="1352"/>
                  </a:lnTo>
                  <a:lnTo>
                    <a:pt x="154" y="1350"/>
                  </a:lnTo>
                  <a:lnTo>
                    <a:pt x="152" y="1350"/>
                  </a:lnTo>
                  <a:lnTo>
                    <a:pt x="148" y="1350"/>
                  </a:lnTo>
                  <a:lnTo>
                    <a:pt x="148" y="1348"/>
                  </a:lnTo>
                  <a:lnTo>
                    <a:pt x="148" y="1346"/>
                  </a:lnTo>
                  <a:lnTo>
                    <a:pt x="146" y="1346"/>
                  </a:lnTo>
                  <a:close/>
                  <a:moveTo>
                    <a:pt x="166" y="1740"/>
                  </a:moveTo>
                  <a:lnTo>
                    <a:pt x="166" y="1740"/>
                  </a:lnTo>
                  <a:lnTo>
                    <a:pt x="166" y="1742"/>
                  </a:lnTo>
                  <a:lnTo>
                    <a:pt x="168" y="1742"/>
                  </a:lnTo>
                  <a:lnTo>
                    <a:pt x="174" y="1740"/>
                  </a:lnTo>
                  <a:lnTo>
                    <a:pt x="188" y="1736"/>
                  </a:lnTo>
                  <a:lnTo>
                    <a:pt x="194" y="1734"/>
                  </a:lnTo>
                  <a:lnTo>
                    <a:pt x="192" y="1732"/>
                  </a:lnTo>
                  <a:lnTo>
                    <a:pt x="190" y="1728"/>
                  </a:lnTo>
                  <a:lnTo>
                    <a:pt x="184" y="1724"/>
                  </a:lnTo>
                  <a:lnTo>
                    <a:pt x="178" y="1722"/>
                  </a:lnTo>
                  <a:lnTo>
                    <a:pt x="176" y="1718"/>
                  </a:lnTo>
                  <a:lnTo>
                    <a:pt x="174" y="1718"/>
                  </a:lnTo>
                  <a:lnTo>
                    <a:pt x="170" y="1720"/>
                  </a:lnTo>
                  <a:lnTo>
                    <a:pt x="168" y="1722"/>
                  </a:lnTo>
                  <a:lnTo>
                    <a:pt x="166" y="1724"/>
                  </a:lnTo>
                  <a:lnTo>
                    <a:pt x="174" y="1728"/>
                  </a:lnTo>
                  <a:lnTo>
                    <a:pt x="176" y="1730"/>
                  </a:lnTo>
                  <a:lnTo>
                    <a:pt x="174" y="1730"/>
                  </a:lnTo>
                  <a:lnTo>
                    <a:pt x="172" y="1732"/>
                  </a:lnTo>
                  <a:lnTo>
                    <a:pt x="172" y="1734"/>
                  </a:lnTo>
                  <a:lnTo>
                    <a:pt x="172" y="1736"/>
                  </a:lnTo>
                  <a:lnTo>
                    <a:pt x="170" y="1736"/>
                  </a:lnTo>
                  <a:lnTo>
                    <a:pt x="168" y="1738"/>
                  </a:lnTo>
                  <a:lnTo>
                    <a:pt x="166" y="1740"/>
                  </a:lnTo>
                  <a:close/>
                  <a:moveTo>
                    <a:pt x="362" y="2084"/>
                  </a:moveTo>
                  <a:lnTo>
                    <a:pt x="362" y="2084"/>
                  </a:lnTo>
                  <a:lnTo>
                    <a:pt x="370" y="2088"/>
                  </a:lnTo>
                  <a:lnTo>
                    <a:pt x="376" y="2088"/>
                  </a:lnTo>
                  <a:lnTo>
                    <a:pt x="380" y="2086"/>
                  </a:lnTo>
                  <a:lnTo>
                    <a:pt x="378" y="2082"/>
                  </a:lnTo>
                  <a:lnTo>
                    <a:pt x="376" y="2080"/>
                  </a:lnTo>
                  <a:lnTo>
                    <a:pt x="372" y="2078"/>
                  </a:lnTo>
                  <a:lnTo>
                    <a:pt x="366" y="2080"/>
                  </a:lnTo>
                  <a:lnTo>
                    <a:pt x="362" y="2084"/>
                  </a:lnTo>
                  <a:close/>
                  <a:moveTo>
                    <a:pt x="174" y="1354"/>
                  </a:moveTo>
                  <a:lnTo>
                    <a:pt x="174" y="1354"/>
                  </a:lnTo>
                  <a:lnTo>
                    <a:pt x="176" y="1352"/>
                  </a:lnTo>
                  <a:lnTo>
                    <a:pt x="176" y="1350"/>
                  </a:lnTo>
                  <a:lnTo>
                    <a:pt x="174" y="1348"/>
                  </a:lnTo>
                  <a:lnTo>
                    <a:pt x="174" y="1350"/>
                  </a:lnTo>
                  <a:lnTo>
                    <a:pt x="172" y="1350"/>
                  </a:lnTo>
                  <a:lnTo>
                    <a:pt x="172" y="1352"/>
                  </a:lnTo>
                  <a:lnTo>
                    <a:pt x="174" y="1354"/>
                  </a:lnTo>
                  <a:close/>
                  <a:moveTo>
                    <a:pt x="168" y="1784"/>
                  </a:moveTo>
                  <a:lnTo>
                    <a:pt x="168" y="1784"/>
                  </a:lnTo>
                  <a:lnTo>
                    <a:pt x="170" y="1784"/>
                  </a:lnTo>
                  <a:lnTo>
                    <a:pt x="176" y="1780"/>
                  </a:lnTo>
                  <a:lnTo>
                    <a:pt x="178" y="1776"/>
                  </a:lnTo>
                  <a:lnTo>
                    <a:pt x="178" y="1772"/>
                  </a:lnTo>
                  <a:lnTo>
                    <a:pt x="176" y="1768"/>
                  </a:lnTo>
                  <a:lnTo>
                    <a:pt x="176" y="1764"/>
                  </a:lnTo>
                  <a:lnTo>
                    <a:pt x="176" y="1762"/>
                  </a:lnTo>
                  <a:lnTo>
                    <a:pt x="174" y="1762"/>
                  </a:lnTo>
                  <a:lnTo>
                    <a:pt x="172" y="1764"/>
                  </a:lnTo>
                  <a:lnTo>
                    <a:pt x="170" y="1766"/>
                  </a:lnTo>
                  <a:lnTo>
                    <a:pt x="168" y="1766"/>
                  </a:lnTo>
                  <a:lnTo>
                    <a:pt x="166" y="1764"/>
                  </a:lnTo>
                  <a:lnTo>
                    <a:pt x="166" y="1766"/>
                  </a:lnTo>
                  <a:lnTo>
                    <a:pt x="162" y="1768"/>
                  </a:lnTo>
                  <a:lnTo>
                    <a:pt x="158" y="1772"/>
                  </a:lnTo>
                  <a:lnTo>
                    <a:pt x="158" y="1774"/>
                  </a:lnTo>
                  <a:lnTo>
                    <a:pt x="160" y="1776"/>
                  </a:lnTo>
                  <a:lnTo>
                    <a:pt x="162" y="1776"/>
                  </a:lnTo>
                  <a:lnTo>
                    <a:pt x="166" y="1774"/>
                  </a:lnTo>
                  <a:lnTo>
                    <a:pt x="168" y="1774"/>
                  </a:lnTo>
                  <a:lnTo>
                    <a:pt x="170" y="1776"/>
                  </a:lnTo>
                  <a:lnTo>
                    <a:pt x="170" y="1778"/>
                  </a:lnTo>
                  <a:lnTo>
                    <a:pt x="168" y="1780"/>
                  </a:lnTo>
                  <a:lnTo>
                    <a:pt x="166" y="1782"/>
                  </a:lnTo>
                  <a:lnTo>
                    <a:pt x="168" y="1784"/>
                  </a:lnTo>
                  <a:close/>
                  <a:moveTo>
                    <a:pt x="190" y="1748"/>
                  </a:moveTo>
                  <a:lnTo>
                    <a:pt x="190" y="1748"/>
                  </a:lnTo>
                  <a:lnTo>
                    <a:pt x="186" y="1752"/>
                  </a:lnTo>
                  <a:lnTo>
                    <a:pt x="182" y="1756"/>
                  </a:lnTo>
                  <a:lnTo>
                    <a:pt x="178" y="1762"/>
                  </a:lnTo>
                  <a:lnTo>
                    <a:pt x="178" y="1768"/>
                  </a:lnTo>
                  <a:lnTo>
                    <a:pt x="180" y="1768"/>
                  </a:lnTo>
                  <a:lnTo>
                    <a:pt x="182" y="1766"/>
                  </a:lnTo>
                  <a:lnTo>
                    <a:pt x="188" y="1758"/>
                  </a:lnTo>
                  <a:lnTo>
                    <a:pt x="192" y="1750"/>
                  </a:lnTo>
                  <a:lnTo>
                    <a:pt x="192" y="1748"/>
                  </a:lnTo>
                  <a:lnTo>
                    <a:pt x="190" y="1748"/>
                  </a:lnTo>
                  <a:close/>
                  <a:moveTo>
                    <a:pt x="700" y="1324"/>
                  </a:moveTo>
                  <a:lnTo>
                    <a:pt x="700" y="1324"/>
                  </a:lnTo>
                  <a:lnTo>
                    <a:pt x="698" y="1322"/>
                  </a:lnTo>
                  <a:lnTo>
                    <a:pt x="694" y="1322"/>
                  </a:lnTo>
                  <a:lnTo>
                    <a:pt x="690" y="1324"/>
                  </a:lnTo>
                  <a:lnTo>
                    <a:pt x="690" y="1326"/>
                  </a:lnTo>
                  <a:lnTo>
                    <a:pt x="692" y="1326"/>
                  </a:lnTo>
                  <a:lnTo>
                    <a:pt x="696" y="1326"/>
                  </a:lnTo>
                  <a:lnTo>
                    <a:pt x="700" y="1326"/>
                  </a:lnTo>
                  <a:lnTo>
                    <a:pt x="700" y="1324"/>
                  </a:lnTo>
                  <a:close/>
                  <a:moveTo>
                    <a:pt x="494" y="1970"/>
                  </a:moveTo>
                  <a:lnTo>
                    <a:pt x="494" y="1970"/>
                  </a:lnTo>
                  <a:lnTo>
                    <a:pt x="492" y="1962"/>
                  </a:lnTo>
                  <a:lnTo>
                    <a:pt x="486" y="1954"/>
                  </a:lnTo>
                  <a:lnTo>
                    <a:pt x="478" y="1948"/>
                  </a:lnTo>
                  <a:lnTo>
                    <a:pt x="470" y="1944"/>
                  </a:lnTo>
                  <a:lnTo>
                    <a:pt x="460" y="1942"/>
                  </a:lnTo>
                  <a:lnTo>
                    <a:pt x="452" y="1942"/>
                  </a:lnTo>
                  <a:lnTo>
                    <a:pt x="446" y="1944"/>
                  </a:lnTo>
                  <a:lnTo>
                    <a:pt x="442" y="1948"/>
                  </a:lnTo>
                  <a:lnTo>
                    <a:pt x="438" y="1954"/>
                  </a:lnTo>
                  <a:lnTo>
                    <a:pt x="434" y="1954"/>
                  </a:lnTo>
                  <a:lnTo>
                    <a:pt x="432" y="1952"/>
                  </a:lnTo>
                  <a:lnTo>
                    <a:pt x="428" y="1950"/>
                  </a:lnTo>
                  <a:lnTo>
                    <a:pt x="424" y="1948"/>
                  </a:lnTo>
                  <a:lnTo>
                    <a:pt x="424" y="1946"/>
                  </a:lnTo>
                  <a:lnTo>
                    <a:pt x="428" y="1942"/>
                  </a:lnTo>
                  <a:lnTo>
                    <a:pt x="434" y="1938"/>
                  </a:lnTo>
                  <a:lnTo>
                    <a:pt x="436" y="1936"/>
                  </a:lnTo>
                  <a:lnTo>
                    <a:pt x="438" y="1932"/>
                  </a:lnTo>
                  <a:lnTo>
                    <a:pt x="434" y="1924"/>
                  </a:lnTo>
                  <a:lnTo>
                    <a:pt x="428" y="1914"/>
                  </a:lnTo>
                  <a:lnTo>
                    <a:pt x="418" y="1906"/>
                  </a:lnTo>
                  <a:lnTo>
                    <a:pt x="410" y="1902"/>
                  </a:lnTo>
                  <a:lnTo>
                    <a:pt x="408" y="1898"/>
                  </a:lnTo>
                  <a:lnTo>
                    <a:pt x="410" y="1898"/>
                  </a:lnTo>
                  <a:lnTo>
                    <a:pt x="418" y="1902"/>
                  </a:lnTo>
                  <a:lnTo>
                    <a:pt x="424" y="1906"/>
                  </a:lnTo>
                  <a:lnTo>
                    <a:pt x="428" y="1906"/>
                  </a:lnTo>
                  <a:lnTo>
                    <a:pt x="430" y="1904"/>
                  </a:lnTo>
                  <a:lnTo>
                    <a:pt x="428" y="1902"/>
                  </a:lnTo>
                  <a:lnTo>
                    <a:pt x="422" y="1894"/>
                  </a:lnTo>
                  <a:lnTo>
                    <a:pt x="418" y="1888"/>
                  </a:lnTo>
                  <a:lnTo>
                    <a:pt x="416" y="1884"/>
                  </a:lnTo>
                  <a:lnTo>
                    <a:pt x="416" y="1876"/>
                  </a:lnTo>
                  <a:lnTo>
                    <a:pt x="416" y="1872"/>
                  </a:lnTo>
                  <a:lnTo>
                    <a:pt x="416" y="1870"/>
                  </a:lnTo>
                  <a:lnTo>
                    <a:pt x="412" y="1868"/>
                  </a:lnTo>
                  <a:lnTo>
                    <a:pt x="408" y="1866"/>
                  </a:lnTo>
                  <a:lnTo>
                    <a:pt x="406" y="1864"/>
                  </a:lnTo>
                  <a:lnTo>
                    <a:pt x="404" y="1858"/>
                  </a:lnTo>
                  <a:lnTo>
                    <a:pt x="400" y="1852"/>
                  </a:lnTo>
                  <a:lnTo>
                    <a:pt x="396" y="1850"/>
                  </a:lnTo>
                  <a:lnTo>
                    <a:pt x="390" y="1848"/>
                  </a:lnTo>
                  <a:lnTo>
                    <a:pt x="380" y="1844"/>
                  </a:lnTo>
                  <a:lnTo>
                    <a:pt x="376" y="1842"/>
                  </a:lnTo>
                  <a:lnTo>
                    <a:pt x="372" y="1836"/>
                  </a:lnTo>
                  <a:lnTo>
                    <a:pt x="366" y="1822"/>
                  </a:lnTo>
                  <a:lnTo>
                    <a:pt x="360" y="1806"/>
                  </a:lnTo>
                  <a:lnTo>
                    <a:pt x="358" y="1794"/>
                  </a:lnTo>
                  <a:lnTo>
                    <a:pt x="356" y="1786"/>
                  </a:lnTo>
                  <a:lnTo>
                    <a:pt x="354" y="1782"/>
                  </a:lnTo>
                  <a:lnTo>
                    <a:pt x="352" y="1780"/>
                  </a:lnTo>
                  <a:lnTo>
                    <a:pt x="346" y="1774"/>
                  </a:lnTo>
                  <a:lnTo>
                    <a:pt x="342" y="1768"/>
                  </a:lnTo>
                  <a:lnTo>
                    <a:pt x="336" y="1762"/>
                  </a:lnTo>
                  <a:lnTo>
                    <a:pt x="322" y="1756"/>
                  </a:lnTo>
                  <a:lnTo>
                    <a:pt x="314" y="1754"/>
                  </a:lnTo>
                  <a:lnTo>
                    <a:pt x="310" y="1754"/>
                  </a:lnTo>
                  <a:lnTo>
                    <a:pt x="308" y="1754"/>
                  </a:lnTo>
                  <a:lnTo>
                    <a:pt x="306" y="1756"/>
                  </a:lnTo>
                  <a:lnTo>
                    <a:pt x="302" y="1758"/>
                  </a:lnTo>
                  <a:lnTo>
                    <a:pt x="298" y="1760"/>
                  </a:lnTo>
                  <a:lnTo>
                    <a:pt x="290" y="1758"/>
                  </a:lnTo>
                  <a:lnTo>
                    <a:pt x="286" y="1758"/>
                  </a:lnTo>
                  <a:lnTo>
                    <a:pt x="288" y="1756"/>
                  </a:lnTo>
                  <a:lnTo>
                    <a:pt x="294" y="1754"/>
                  </a:lnTo>
                  <a:lnTo>
                    <a:pt x="300" y="1748"/>
                  </a:lnTo>
                  <a:lnTo>
                    <a:pt x="302" y="1746"/>
                  </a:lnTo>
                  <a:lnTo>
                    <a:pt x="304" y="1746"/>
                  </a:lnTo>
                  <a:lnTo>
                    <a:pt x="308" y="1746"/>
                  </a:lnTo>
                  <a:lnTo>
                    <a:pt x="316" y="1742"/>
                  </a:lnTo>
                  <a:lnTo>
                    <a:pt x="318" y="1742"/>
                  </a:lnTo>
                  <a:lnTo>
                    <a:pt x="318" y="1740"/>
                  </a:lnTo>
                  <a:lnTo>
                    <a:pt x="316" y="1738"/>
                  </a:lnTo>
                  <a:lnTo>
                    <a:pt x="310" y="1736"/>
                  </a:lnTo>
                  <a:lnTo>
                    <a:pt x="308" y="1734"/>
                  </a:lnTo>
                  <a:lnTo>
                    <a:pt x="308" y="1730"/>
                  </a:lnTo>
                  <a:lnTo>
                    <a:pt x="304" y="1728"/>
                  </a:lnTo>
                  <a:lnTo>
                    <a:pt x="304" y="1726"/>
                  </a:lnTo>
                  <a:lnTo>
                    <a:pt x="306" y="1728"/>
                  </a:lnTo>
                  <a:lnTo>
                    <a:pt x="312" y="1728"/>
                  </a:lnTo>
                  <a:lnTo>
                    <a:pt x="314" y="1728"/>
                  </a:lnTo>
                  <a:lnTo>
                    <a:pt x="318" y="1726"/>
                  </a:lnTo>
                  <a:lnTo>
                    <a:pt x="326" y="1716"/>
                  </a:lnTo>
                  <a:lnTo>
                    <a:pt x="334" y="1696"/>
                  </a:lnTo>
                  <a:lnTo>
                    <a:pt x="342" y="1678"/>
                  </a:lnTo>
                  <a:lnTo>
                    <a:pt x="348" y="1668"/>
                  </a:lnTo>
                  <a:lnTo>
                    <a:pt x="350" y="1664"/>
                  </a:lnTo>
                  <a:lnTo>
                    <a:pt x="348" y="1656"/>
                  </a:lnTo>
                  <a:lnTo>
                    <a:pt x="346" y="1652"/>
                  </a:lnTo>
                  <a:lnTo>
                    <a:pt x="342" y="1650"/>
                  </a:lnTo>
                  <a:lnTo>
                    <a:pt x="332" y="1650"/>
                  </a:lnTo>
                  <a:lnTo>
                    <a:pt x="320" y="1650"/>
                  </a:lnTo>
                  <a:lnTo>
                    <a:pt x="302" y="1650"/>
                  </a:lnTo>
                  <a:lnTo>
                    <a:pt x="286" y="1650"/>
                  </a:lnTo>
                  <a:lnTo>
                    <a:pt x="274" y="1652"/>
                  </a:lnTo>
                  <a:lnTo>
                    <a:pt x="268" y="1656"/>
                  </a:lnTo>
                  <a:lnTo>
                    <a:pt x="262" y="1658"/>
                  </a:lnTo>
                  <a:lnTo>
                    <a:pt x="258" y="1658"/>
                  </a:lnTo>
                  <a:lnTo>
                    <a:pt x="258" y="1654"/>
                  </a:lnTo>
                  <a:lnTo>
                    <a:pt x="268" y="1644"/>
                  </a:lnTo>
                  <a:lnTo>
                    <a:pt x="270" y="1642"/>
                  </a:lnTo>
                  <a:lnTo>
                    <a:pt x="268" y="1642"/>
                  </a:lnTo>
                  <a:lnTo>
                    <a:pt x="264" y="1642"/>
                  </a:lnTo>
                  <a:lnTo>
                    <a:pt x="258" y="1642"/>
                  </a:lnTo>
                  <a:lnTo>
                    <a:pt x="260" y="1640"/>
                  </a:lnTo>
                  <a:lnTo>
                    <a:pt x="270" y="1632"/>
                  </a:lnTo>
                  <a:lnTo>
                    <a:pt x="284" y="1620"/>
                  </a:lnTo>
                  <a:lnTo>
                    <a:pt x="296" y="1608"/>
                  </a:lnTo>
                  <a:lnTo>
                    <a:pt x="300" y="1604"/>
                  </a:lnTo>
                  <a:lnTo>
                    <a:pt x="300" y="1600"/>
                  </a:lnTo>
                  <a:lnTo>
                    <a:pt x="298" y="1598"/>
                  </a:lnTo>
                  <a:lnTo>
                    <a:pt x="298" y="1596"/>
                  </a:lnTo>
                  <a:lnTo>
                    <a:pt x="300" y="1592"/>
                  </a:lnTo>
                  <a:lnTo>
                    <a:pt x="300" y="1590"/>
                  </a:lnTo>
                  <a:lnTo>
                    <a:pt x="292" y="1588"/>
                  </a:lnTo>
                  <a:lnTo>
                    <a:pt x="286" y="1588"/>
                  </a:lnTo>
                  <a:lnTo>
                    <a:pt x="284" y="1590"/>
                  </a:lnTo>
                  <a:lnTo>
                    <a:pt x="284" y="1592"/>
                  </a:lnTo>
                  <a:lnTo>
                    <a:pt x="280" y="1592"/>
                  </a:lnTo>
                  <a:lnTo>
                    <a:pt x="272" y="1592"/>
                  </a:lnTo>
                  <a:lnTo>
                    <a:pt x="262" y="1594"/>
                  </a:lnTo>
                  <a:lnTo>
                    <a:pt x="254" y="1596"/>
                  </a:lnTo>
                  <a:lnTo>
                    <a:pt x="246" y="1596"/>
                  </a:lnTo>
                  <a:lnTo>
                    <a:pt x="242" y="1594"/>
                  </a:lnTo>
                  <a:lnTo>
                    <a:pt x="238" y="1596"/>
                  </a:lnTo>
                  <a:lnTo>
                    <a:pt x="236" y="1596"/>
                  </a:lnTo>
                  <a:lnTo>
                    <a:pt x="232" y="1594"/>
                  </a:lnTo>
                  <a:lnTo>
                    <a:pt x="226" y="1592"/>
                  </a:lnTo>
                  <a:lnTo>
                    <a:pt x="222" y="1590"/>
                  </a:lnTo>
                  <a:lnTo>
                    <a:pt x="218" y="1594"/>
                  </a:lnTo>
                  <a:lnTo>
                    <a:pt x="218" y="1600"/>
                  </a:lnTo>
                  <a:lnTo>
                    <a:pt x="218" y="1602"/>
                  </a:lnTo>
                  <a:lnTo>
                    <a:pt x="218" y="1604"/>
                  </a:lnTo>
                  <a:lnTo>
                    <a:pt x="214" y="1606"/>
                  </a:lnTo>
                  <a:lnTo>
                    <a:pt x="212" y="1606"/>
                  </a:lnTo>
                  <a:lnTo>
                    <a:pt x="216" y="1612"/>
                  </a:lnTo>
                  <a:lnTo>
                    <a:pt x="218" y="1616"/>
                  </a:lnTo>
                  <a:lnTo>
                    <a:pt x="212" y="1616"/>
                  </a:lnTo>
                  <a:lnTo>
                    <a:pt x="206" y="1614"/>
                  </a:lnTo>
                  <a:lnTo>
                    <a:pt x="206" y="1618"/>
                  </a:lnTo>
                  <a:lnTo>
                    <a:pt x="210" y="1622"/>
                  </a:lnTo>
                  <a:lnTo>
                    <a:pt x="210" y="1624"/>
                  </a:lnTo>
                  <a:lnTo>
                    <a:pt x="210" y="1626"/>
                  </a:lnTo>
                  <a:lnTo>
                    <a:pt x="208" y="1626"/>
                  </a:lnTo>
                  <a:lnTo>
                    <a:pt x="204" y="1626"/>
                  </a:lnTo>
                  <a:lnTo>
                    <a:pt x="202" y="1626"/>
                  </a:lnTo>
                  <a:lnTo>
                    <a:pt x="204" y="1628"/>
                  </a:lnTo>
                  <a:lnTo>
                    <a:pt x="206" y="1632"/>
                  </a:lnTo>
                  <a:lnTo>
                    <a:pt x="206" y="1636"/>
                  </a:lnTo>
                  <a:lnTo>
                    <a:pt x="206" y="1638"/>
                  </a:lnTo>
                  <a:lnTo>
                    <a:pt x="202" y="1638"/>
                  </a:lnTo>
                  <a:lnTo>
                    <a:pt x="190" y="1638"/>
                  </a:lnTo>
                  <a:lnTo>
                    <a:pt x="188" y="1640"/>
                  </a:lnTo>
                  <a:lnTo>
                    <a:pt x="188" y="1646"/>
                  </a:lnTo>
                  <a:lnTo>
                    <a:pt x="190" y="1650"/>
                  </a:lnTo>
                  <a:lnTo>
                    <a:pt x="190" y="1654"/>
                  </a:lnTo>
                  <a:lnTo>
                    <a:pt x="188" y="1660"/>
                  </a:lnTo>
                  <a:lnTo>
                    <a:pt x="188" y="1668"/>
                  </a:lnTo>
                  <a:lnTo>
                    <a:pt x="188" y="1672"/>
                  </a:lnTo>
                  <a:lnTo>
                    <a:pt x="190" y="1674"/>
                  </a:lnTo>
                  <a:lnTo>
                    <a:pt x="194" y="1674"/>
                  </a:lnTo>
                  <a:lnTo>
                    <a:pt x="196" y="1676"/>
                  </a:lnTo>
                  <a:lnTo>
                    <a:pt x="194" y="1682"/>
                  </a:lnTo>
                  <a:lnTo>
                    <a:pt x="192" y="1686"/>
                  </a:lnTo>
                  <a:lnTo>
                    <a:pt x="190" y="1690"/>
                  </a:lnTo>
                  <a:lnTo>
                    <a:pt x="188" y="1690"/>
                  </a:lnTo>
                  <a:lnTo>
                    <a:pt x="190" y="1692"/>
                  </a:lnTo>
                  <a:lnTo>
                    <a:pt x="190" y="1694"/>
                  </a:lnTo>
                  <a:lnTo>
                    <a:pt x="190" y="1696"/>
                  </a:lnTo>
                  <a:lnTo>
                    <a:pt x="186" y="1698"/>
                  </a:lnTo>
                  <a:lnTo>
                    <a:pt x="184" y="1700"/>
                  </a:lnTo>
                  <a:lnTo>
                    <a:pt x="188" y="1702"/>
                  </a:lnTo>
                  <a:lnTo>
                    <a:pt x="188" y="1704"/>
                  </a:lnTo>
                  <a:lnTo>
                    <a:pt x="186" y="1706"/>
                  </a:lnTo>
                  <a:lnTo>
                    <a:pt x="182" y="1708"/>
                  </a:lnTo>
                  <a:lnTo>
                    <a:pt x="178" y="1708"/>
                  </a:lnTo>
                  <a:lnTo>
                    <a:pt x="174" y="1708"/>
                  </a:lnTo>
                  <a:lnTo>
                    <a:pt x="172" y="1710"/>
                  </a:lnTo>
                  <a:lnTo>
                    <a:pt x="172" y="1712"/>
                  </a:lnTo>
                  <a:lnTo>
                    <a:pt x="174" y="1714"/>
                  </a:lnTo>
                  <a:lnTo>
                    <a:pt x="182" y="1714"/>
                  </a:lnTo>
                  <a:lnTo>
                    <a:pt x="190" y="1712"/>
                  </a:lnTo>
                  <a:lnTo>
                    <a:pt x="192" y="1714"/>
                  </a:lnTo>
                  <a:lnTo>
                    <a:pt x="184" y="1716"/>
                  </a:lnTo>
                  <a:lnTo>
                    <a:pt x="180" y="1718"/>
                  </a:lnTo>
                  <a:lnTo>
                    <a:pt x="180" y="1720"/>
                  </a:lnTo>
                  <a:lnTo>
                    <a:pt x="184" y="1722"/>
                  </a:lnTo>
                  <a:lnTo>
                    <a:pt x="188" y="1722"/>
                  </a:lnTo>
                  <a:lnTo>
                    <a:pt x="190" y="1722"/>
                  </a:lnTo>
                  <a:lnTo>
                    <a:pt x="192" y="1724"/>
                  </a:lnTo>
                  <a:lnTo>
                    <a:pt x="196" y="1724"/>
                  </a:lnTo>
                  <a:lnTo>
                    <a:pt x="200" y="1720"/>
                  </a:lnTo>
                  <a:lnTo>
                    <a:pt x="208" y="1714"/>
                  </a:lnTo>
                  <a:lnTo>
                    <a:pt x="206" y="1720"/>
                  </a:lnTo>
                  <a:lnTo>
                    <a:pt x="202" y="1726"/>
                  </a:lnTo>
                  <a:lnTo>
                    <a:pt x="202" y="1730"/>
                  </a:lnTo>
                  <a:lnTo>
                    <a:pt x="202" y="1734"/>
                  </a:lnTo>
                  <a:lnTo>
                    <a:pt x="198" y="1738"/>
                  </a:lnTo>
                  <a:lnTo>
                    <a:pt x="196" y="1740"/>
                  </a:lnTo>
                  <a:lnTo>
                    <a:pt x="196" y="1744"/>
                  </a:lnTo>
                  <a:lnTo>
                    <a:pt x="198" y="1748"/>
                  </a:lnTo>
                  <a:lnTo>
                    <a:pt x="194" y="1754"/>
                  </a:lnTo>
                  <a:lnTo>
                    <a:pt x="192" y="1758"/>
                  </a:lnTo>
                  <a:lnTo>
                    <a:pt x="192" y="1762"/>
                  </a:lnTo>
                  <a:lnTo>
                    <a:pt x="194" y="1764"/>
                  </a:lnTo>
                  <a:lnTo>
                    <a:pt x="194" y="1768"/>
                  </a:lnTo>
                  <a:lnTo>
                    <a:pt x="194" y="1772"/>
                  </a:lnTo>
                  <a:lnTo>
                    <a:pt x="194" y="1774"/>
                  </a:lnTo>
                  <a:lnTo>
                    <a:pt x="200" y="1770"/>
                  </a:lnTo>
                  <a:lnTo>
                    <a:pt x="198" y="1774"/>
                  </a:lnTo>
                  <a:lnTo>
                    <a:pt x="194" y="1784"/>
                  </a:lnTo>
                  <a:lnTo>
                    <a:pt x="188" y="1794"/>
                  </a:lnTo>
                  <a:lnTo>
                    <a:pt x="188" y="1800"/>
                  </a:lnTo>
                  <a:lnTo>
                    <a:pt x="192" y="1802"/>
                  </a:lnTo>
                  <a:lnTo>
                    <a:pt x="194" y="1802"/>
                  </a:lnTo>
                  <a:lnTo>
                    <a:pt x="196" y="1800"/>
                  </a:lnTo>
                  <a:lnTo>
                    <a:pt x="198" y="1792"/>
                  </a:lnTo>
                  <a:lnTo>
                    <a:pt x="202" y="1780"/>
                  </a:lnTo>
                  <a:lnTo>
                    <a:pt x="204" y="1776"/>
                  </a:lnTo>
                  <a:lnTo>
                    <a:pt x="206" y="1772"/>
                  </a:lnTo>
                  <a:lnTo>
                    <a:pt x="208" y="1770"/>
                  </a:lnTo>
                  <a:lnTo>
                    <a:pt x="208" y="1768"/>
                  </a:lnTo>
                  <a:lnTo>
                    <a:pt x="204" y="1764"/>
                  </a:lnTo>
                  <a:lnTo>
                    <a:pt x="202" y="1760"/>
                  </a:lnTo>
                  <a:lnTo>
                    <a:pt x="204" y="1758"/>
                  </a:lnTo>
                  <a:lnTo>
                    <a:pt x="206" y="1756"/>
                  </a:lnTo>
                  <a:lnTo>
                    <a:pt x="210" y="1754"/>
                  </a:lnTo>
                  <a:lnTo>
                    <a:pt x="208" y="1756"/>
                  </a:lnTo>
                  <a:lnTo>
                    <a:pt x="208" y="1762"/>
                  </a:lnTo>
                  <a:lnTo>
                    <a:pt x="208" y="1764"/>
                  </a:lnTo>
                  <a:lnTo>
                    <a:pt x="210" y="1766"/>
                  </a:lnTo>
                  <a:lnTo>
                    <a:pt x="214" y="1766"/>
                  </a:lnTo>
                  <a:lnTo>
                    <a:pt x="216" y="1764"/>
                  </a:lnTo>
                  <a:lnTo>
                    <a:pt x="216" y="1762"/>
                  </a:lnTo>
                  <a:lnTo>
                    <a:pt x="220" y="1764"/>
                  </a:lnTo>
                  <a:lnTo>
                    <a:pt x="222" y="1764"/>
                  </a:lnTo>
                  <a:lnTo>
                    <a:pt x="224" y="1758"/>
                  </a:lnTo>
                  <a:lnTo>
                    <a:pt x="224" y="1756"/>
                  </a:lnTo>
                  <a:lnTo>
                    <a:pt x="228" y="1756"/>
                  </a:lnTo>
                  <a:lnTo>
                    <a:pt x="232" y="1758"/>
                  </a:lnTo>
                  <a:lnTo>
                    <a:pt x="238" y="1762"/>
                  </a:lnTo>
                  <a:lnTo>
                    <a:pt x="230" y="1764"/>
                  </a:lnTo>
                  <a:lnTo>
                    <a:pt x="224" y="1766"/>
                  </a:lnTo>
                  <a:lnTo>
                    <a:pt x="224" y="1768"/>
                  </a:lnTo>
                  <a:lnTo>
                    <a:pt x="224" y="1772"/>
                  </a:lnTo>
                  <a:lnTo>
                    <a:pt x="230" y="1780"/>
                  </a:lnTo>
                  <a:lnTo>
                    <a:pt x="234" y="1786"/>
                  </a:lnTo>
                  <a:lnTo>
                    <a:pt x="234" y="1790"/>
                  </a:lnTo>
                  <a:lnTo>
                    <a:pt x="234" y="1794"/>
                  </a:lnTo>
                  <a:lnTo>
                    <a:pt x="230" y="1798"/>
                  </a:lnTo>
                  <a:lnTo>
                    <a:pt x="224" y="1806"/>
                  </a:lnTo>
                  <a:lnTo>
                    <a:pt x="222" y="1810"/>
                  </a:lnTo>
                  <a:lnTo>
                    <a:pt x="220" y="1816"/>
                  </a:lnTo>
                  <a:lnTo>
                    <a:pt x="222" y="1822"/>
                  </a:lnTo>
                  <a:lnTo>
                    <a:pt x="220" y="1822"/>
                  </a:lnTo>
                  <a:lnTo>
                    <a:pt x="216" y="1818"/>
                  </a:lnTo>
                  <a:lnTo>
                    <a:pt x="214" y="1820"/>
                  </a:lnTo>
                  <a:lnTo>
                    <a:pt x="214" y="1822"/>
                  </a:lnTo>
                  <a:lnTo>
                    <a:pt x="214" y="1826"/>
                  </a:lnTo>
                  <a:lnTo>
                    <a:pt x="220" y="1834"/>
                  </a:lnTo>
                  <a:lnTo>
                    <a:pt x="224" y="1840"/>
                  </a:lnTo>
                  <a:lnTo>
                    <a:pt x="224" y="1838"/>
                  </a:lnTo>
                  <a:lnTo>
                    <a:pt x="224" y="1836"/>
                  </a:lnTo>
                  <a:lnTo>
                    <a:pt x="222" y="1830"/>
                  </a:lnTo>
                  <a:lnTo>
                    <a:pt x="224" y="1828"/>
                  </a:lnTo>
                  <a:lnTo>
                    <a:pt x="228" y="1828"/>
                  </a:lnTo>
                  <a:lnTo>
                    <a:pt x="234" y="1832"/>
                  </a:lnTo>
                  <a:lnTo>
                    <a:pt x="240" y="1838"/>
                  </a:lnTo>
                  <a:lnTo>
                    <a:pt x="244" y="1840"/>
                  </a:lnTo>
                  <a:lnTo>
                    <a:pt x="246" y="1838"/>
                  </a:lnTo>
                  <a:lnTo>
                    <a:pt x="246" y="1834"/>
                  </a:lnTo>
                  <a:lnTo>
                    <a:pt x="246" y="1828"/>
                  </a:lnTo>
                  <a:lnTo>
                    <a:pt x="246" y="1826"/>
                  </a:lnTo>
                  <a:lnTo>
                    <a:pt x="246" y="1828"/>
                  </a:lnTo>
                  <a:lnTo>
                    <a:pt x="252" y="1830"/>
                  </a:lnTo>
                  <a:lnTo>
                    <a:pt x="260" y="1834"/>
                  </a:lnTo>
                  <a:lnTo>
                    <a:pt x="264" y="1834"/>
                  </a:lnTo>
                  <a:lnTo>
                    <a:pt x="266" y="1830"/>
                  </a:lnTo>
                  <a:lnTo>
                    <a:pt x="270" y="1826"/>
                  </a:lnTo>
                  <a:lnTo>
                    <a:pt x="274" y="1826"/>
                  </a:lnTo>
                  <a:lnTo>
                    <a:pt x="276" y="1828"/>
                  </a:lnTo>
                  <a:lnTo>
                    <a:pt x="278" y="1824"/>
                  </a:lnTo>
                  <a:lnTo>
                    <a:pt x="282" y="1822"/>
                  </a:lnTo>
                  <a:lnTo>
                    <a:pt x="286" y="1820"/>
                  </a:lnTo>
                  <a:lnTo>
                    <a:pt x="292" y="1820"/>
                  </a:lnTo>
                  <a:lnTo>
                    <a:pt x="292" y="1822"/>
                  </a:lnTo>
                  <a:lnTo>
                    <a:pt x="288" y="1826"/>
                  </a:lnTo>
                  <a:lnTo>
                    <a:pt x="280" y="1838"/>
                  </a:lnTo>
                  <a:lnTo>
                    <a:pt x="276" y="1844"/>
                  </a:lnTo>
                  <a:lnTo>
                    <a:pt x="276" y="1850"/>
                  </a:lnTo>
                  <a:lnTo>
                    <a:pt x="276" y="1854"/>
                  </a:lnTo>
                  <a:lnTo>
                    <a:pt x="278" y="1858"/>
                  </a:lnTo>
                  <a:lnTo>
                    <a:pt x="286" y="1866"/>
                  </a:lnTo>
                  <a:lnTo>
                    <a:pt x="292" y="1872"/>
                  </a:lnTo>
                  <a:lnTo>
                    <a:pt x="294" y="1876"/>
                  </a:lnTo>
                  <a:lnTo>
                    <a:pt x="296" y="1874"/>
                  </a:lnTo>
                  <a:lnTo>
                    <a:pt x="300" y="1872"/>
                  </a:lnTo>
                  <a:lnTo>
                    <a:pt x="302" y="1870"/>
                  </a:lnTo>
                  <a:lnTo>
                    <a:pt x="304" y="1870"/>
                  </a:lnTo>
                  <a:lnTo>
                    <a:pt x="308" y="1870"/>
                  </a:lnTo>
                  <a:lnTo>
                    <a:pt x="308" y="1872"/>
                  </a:lnTo>
                  <a:lnTo>
                    <a:pt x="308" y="1874"/>
                  </a:lnTo>
                  <a:lnTo>
                    <a:pt x="306" y="1878"/>
                  </a:lnTo>
                  <a:lnTo>
                    <a:pt x="306" y="1880"/>
                  </a:lnTo>
                  <a:lnTo>
                    <a:pt x="306" y="1882"/>
                  </a:lnTo>
                  <a:lnTo>
                    <a:pt x="308" y="1882"/>
                  </a:lnTo>
                  <a:lnTo>
                    <a:pt x="306" y="1884"/>
                  </a:lnTo>
                  <a:lnTo>
                    <a:pt x="300" y="1888"/>
                  </a:lnTo>
                  <a:lnTo>
                    <a:pt x="298" y="1890"/>
                  </a:lnTo>
                  <a:lnTo>
                    <a:pt x="298" y="1892"/>
                  </a:lnTo>
                  <a:lnTo>
                    <a:pt x="298" y="1894"/>
                  </a:lnTo>
                  <a:lnTo>
                    <a:pt x="302" y="1896"/>
                  </a:lnTo>
                  <a:lnTo>
                    <a:pt x="304" y="1898"/>
                  </a:lnTo>
                  <a:lnTo>
                    <a:pt x="302" y="1900"/>
                  </a:lnTo>
                  <a:lnTo>
                    <a:pt x="300" y="1902"/>
                  </a:lnTo>
                  <a:lnTo>
                    <a:pt x="300" y="1906"/>
                  </a:lnTo>
                  <a:lnTo>
                    <a:pt x="300" y="1910"/>
                  </a:lnTo>
                  <a:lnTo>
                    <a:pt x="302" y="1916"/>
                  </a:lnTo>
                  <a:lnTo>
                    <a:pt x="308" y="1924"/>
                  </a:lnTo>
                  <a:lnTo>
                    <a:pt x="304" y="1922"/>
                  </a:lnTo>
                  <a:lnTo>
                    <a:pt x="300" y="1918"/>
                  </a:lnTo>
                  <a:lnTo>
                    <a:pt x="296" y="1916"/>
                  </a:lnTo>
                  <a:lnTo>
                    <a:pt x="294" y="1918"/>
                  </a:lnTo>
                  <a:lnTo>
                    <a:pt x="296" y="1922"/>
                  </a:lnTo>
                  <a:lnTo>
                    <a:pt x="298" y="1926"/>
                  </a:lnTo>
                  <a:lnTo>
                    <a:pt x="294" y="1924"/>
                  </a:lnTo>
                  <a:lnTo>
                    <a:pt x="290" y="1922"/>
                  </a:lnTo>
                  <a:lnTo>
                    <a:pt x="286" y="1922"/>
                  </a:lnTo>
                  <a:lnTo>
                    <a:pt x="282" y="1922"/>
                  </a:lnTo>
                  <a:lnTo>
                    <a:pt x="276" y="1924"/>
                  </a:lnTo>
                  <a:lnTo>
                    <a:pt x="272" y="1924"/>
                  </a:lnTo>
                  <a:lnTo>
                    <a:pt x="270" y="1922"/>
                  </a:lnTo>
                  <a:lnTo>
                    <a:pt x="266" y="1924"/>
                  </a:lnTo>
                  <a:lnTo>
                    <a:pt x="264" y="1926"/>
                  </a:lnTo>
                  <a:lnTo>
                    <a:pt x="260" y="1926"/>
                  </a:lnTo>
                  <a:lnTo>
                    <a:pt x="256" y="1928"/>
                  </a:lnTo>
                  <a:lnTo>
                    <a:pt x="252" y="1932"/>
                  </a:lnTo>
                  <a:lnTo>
                    <a:pt x="246" y="1940"/>
                  </a:lnTo>
                  <a:lnTo>
                    <a:pt x="240" y="1944"/>
                  </a:lnTo>
                  <a:lnTo>
                    <a:pt x="236" y="1946"/>
                  </a:lnTo>
                  <a:lnTo>
                    <a:pt x="232" y="1950"/>
                  </a:lnTo>
                  <a:lnTo>
                    <a:pt x="230" y="1956"/>
                  </a:lnTo>
                  <a:lnTo>
                    <a:pt x="234" y="1954"/>
                  </a:lnTo>
                  <a:lnTo>
                    <a:pt x="238" y="1954"/>
                  </a:lnTo>
                  <a:lnTo>
                    <a:pt x="240" y="1954"/>
                  </a:lnTo>
                  <a:lnTo>
                    <a:pt x="244" y="1952"/>
                  </a:lnTo>
                  <a:lnTo>
                    <a:pt x="252" y="1948"/>
                  </a:lnTo>
                  <a:lnTo>
                    <a:pt x="256" y="1946"/>
                  </a:lnTo>
                  <a:lnTo>
                    <a:pt x="258" y="1946"/>
                  </a:lnTo>
                  <a:lnTo>
                    <a:pt x="256" y="1948"/>
                  </a:lnTo>
                  <a:lnTo>
                    <a:pt x="256" y="1954"/>
                  </a:lnTo>
                  <a:lnTo>
                    <a:pt x="258" y="1954"/>
                  </a:lnTo>
                  <a:lnTo>
                    <a:pt x="260" y="1956"/>
                  </a:lnTo>
                  <a:lnTo>
                    <a:pt x="258" y="1960"/>
                  </a:lnTo>
                  <a:lnTo>
                    <a:pt x="256" y="1964"/>
                  </a:lnTo>
                  <a:lnTo>
                    <a:pt x="256" y="1968"/>
                  </a:lnTo>
                  <a:lnTo>
                    <a:pt x="258" y="1974"/>
                  </a:lnTo>
                  <a:lnTo>
                    <a:pt x="258" y="1978"/>
                  </a:lnTo>
                  <a:lnTo>
                    <a:pt x="256" y="1982"/>
                  </a:lnTo>
                  <a:lnTo>
                    <a:pt x="252" y="1986"/>
                  </a:lnTo>
                  <a:lnTo>
                    <a:pt x="246" y="1990"/>
                  </a:lnTo>
                  <a:lnTo>
                    <a:pt x="232" y="1998"/>
                  </a:lnTo>
                  <a:lnTo>
                    <a:pt x="222" y="2000"/>
                  </a:lnTo>
                  <a:lnTo>
                    <a:pt x="216" y="2000"/>
                  </a:lnTo>
                  <a:lnTo>
                    <a:pt x="210" y="2006"/>
                  </a:lnTo>
                  <a:lnTo>
                    <a:pt x="208" y="2008"/>
                  </a:lnTo>
                  <a:lnTo>
                    <a:pt x="208" y="2010"/>
                  </a:lnTo>
                  <a:lnTo>
                    <a:pt x="212" y="2012"/>
                  </a:lnTo>
                  <a:lnTo>
                    <a:pt x="216" y="2012"/>
                  </a:lnTo>
                  <a:lnTo>
                    <a:pt x="216" y="2014"/>
                  </a:lnTo>
                  <a:lnTo>
                    <a:pt x="214" y="2016"/>
                  </a:lnTo>
                  <a:lnTo>
                    <a:pt x="214" y="2020"/>
                  </a:lnTo>
                  <a:lnTo>
                    <a:pt x="216" y="2024"/>
                  </a:lnTo>
                  <a:lnTo>
                    <a:pt x="224" y="2024"/>
                  </a:lnTo>
                  <a:lnTo>
                    <a:pt x="232" y="2022"/>
                  </a:lnTo>
                  <a:lnTo>
                    <a:pt x="240" y="2018"/>
                  </a:lnTo>
                  <a:lnTo>
                    <a:pt x="246" y="2018"/>
                  </a:lnTo>
                  <a:lnTo>
                    <a:pt x="250" y="2022"/>
                  </a:lnTo>
                  <a:lnTo>
                    <a:pt x="250" y="2026"/>
                  </a:lnTo>
                  <a:lnTo>
                    <a:pt x="248" y="2028"/>
                  </a:lnTo>
                  <a:lnTo>
                    <a:pt x="250" y="2030"/>
                  </a:lnTo>
                  <a:lnTo>
                    <a:pt x="256" y="2028"/>
                  </a:lnTo>
                  <a:lnTo>
                    <a:pt x="260" y="2028"/>
                  </a:lnTo>
                  <a:lnTo>
                    <a:pt x="264" y="2028"/>
                  </a:lnTo>
                  <a:lnTo>
                    <a:pt x="270" y="2030"/>
                  </a:lnTo>
                  <a:lnTo>
                    <a:pt x="274" y="2034"/>
                  </a:lnTo>
                  <a:lnTo>
                    <a:pt x="280" y="2038"/>
                  </a:lnTo>
                  <a:lnTo>
                    <a:pt x="284" y="2040"/>
                  </a:lnTo>
                  <a:lnTo>
                    <a:pt x="288" y="2040"/>
                  </a:lnTo>
                  <a:lnTo>
                    <a:pt x="292" y="2038"/>
                  </a:lnTo>
                  <a:lnTo>
                    <a:pt x="298" y="2032"/>
                  </a:lnTo>
                  <a:lnTo>
                    <a:pt x="302" y="2030"/>
                  </a:lnTo>
                  <a:lnTo>
                    <a:pt x="304" y="2028"/>
                  </a:lnTo>
                  <a:lnTo>
                    <a:pt x="310" y="2026"/>
                  </a:lnTo>
                  <a:lnTo>
                    <a:pt x="314" y="2024"/>
                  </a:lnTo>
                  <a:lnTo>
                    <a:pt x="320" y="2020"/>
                  </a:lnTo>
                  <a:lnTo>
                    <a:pt x="326" y="2016"/>
                  </a:lnTo>
                  <a:lnTo>
                    <a:pt x="322" y="2022"/>
                  </a:lnTo>
                  <a:lnTo>
                    <a:pt x="318" y="2026"/>
                  </a:lnTo>
                  <a:lnTo>
                    <a:pt x="312" y="2032"/>
                  </a:lnTo>
                  <a:lnTo>
                    <a:pt x="306" y="2036"/>
                  </a:lnTo>
                  <a:lnTo>
                    <a:pt x="304" y="2044"/>
                  </a:lnTo>
                  <a:lnTo>
                    <a:pt x="302" y="2048"/>
                  </a:lnTo>
                  <a:lnTo>
                    <a:pt x="294" y="2050"/>
                  </a:lnTo>
                  <a:lnTo>
                    <a:pt x="284" y="2050"/>
                  </a:lnTo>
                  <a:lnTo>
                    <a:pt x="280" y="2050"/>
                  </a:lnTo>
                  <a:lnTo>
                    <a:pt x="274" y="2048"/>
                  </a:lnTo>
                  <a:lnTo>
                    <a:pt x="262" y="2048"/>
                  </a:lnTo>
                  <a:lnTo>
                    <a:pt x="256" y="2048"/>
                  </a:lnTo>
                  <a:lnTo>
                    <a:pt x="252" y="2050"/>
                  </a:lnTo>
                  <a:lnTo>
                    <a:pt x="252" y="2052"/>
                  </a:lnTo>
                  <a:lnTo>
                    <a:pt x="252" y="2054"/>
                  </a:lnTo>
                  <a:lnTo>
                    <a:pt x="252" y="2058"/>
                  </a:lnTo>
                  <a:lnTo>
                    <a:pt x="250" y="2058"/>
                  </a:lnTo>
                  <a:lnTo>
                    <a:pt x="246" y="2060"/>
                  </a:lnTo>
                  <a:lnTo>
                    <a:pt x="242" y="2060"/>
                  </a:lnTo>
                  <a:lnTo>
                    <a:pt x="238" y="2062"/>
                  </a:lnTo>
                  <a:lnTo>
                    <a:pt x="238" y="2066"/>
                  </a:lnTo>
                  <a:lnTo>
                    <a:pt x="238" y="2070"/>
                  </a:lnTo>
                  <a:lnTo>
                    <a:pt x="238" y="2074"/>
                  </a:lnTo>
                  <a:lnTo>
                    <a:pt x="236" y="2076"/>
                  </a:lnTo>
                  <a:lnTo>
                    <a:pt x="232" y="2078"/>
                  </a:lnTo>
                  <a:lnTo>
                    <a:pt x="230" y="2082"/>
                  </a:lnTo>
                  <a:lnTo>
                    <a:pt x="230" y="2084"/>
                  </a:lnTo>
                  <a:lnTo>
                    <a:pt x="226" y="2086"/>
                  </a:lnTo>
                  <a:lnTo>
                    <a:pt x="220" y="2092"/>
                  </a:lnTo>
                  <a:lnTo>
                    <a:pt x="214" y="2100"/>
                  </a:lnTo>
                  <a:lnTo>
                    <a:pt x="210" y="2106"/>
                  </a:lnTo>
                  <a:lnTo>
                    <a:pt x="206" y="2106"/>
                  </a:lnTo>
                  <a:lnTo>
                    <a:pt x="202" y="2108"/>
                  </a:lnTo>
                  <a:lnTo>
                    <a:pt x="198" y="2108"/>
                  </a:lnTo>
                  <a:lnTo>
                    <a:pt x="194" y="2108"/>
                  </a:lnTo>
                  <a:lnTo>
                    <a:pt x="192" y="2112"/>
                  </a:lnTo>
                  <a:lnTo>
                    <a:pt x="192" y="2114"/>
                  </a:lnTo>
                  <a:lnTo>
                    <a:pt x="192" y="2118"/>
                  </a:lnTo>
                  <a:lnTo>
                    <a:pt x="194" y="2118"/>
                  </a:lnTo>
                  <a:lnTo>
                    <a:pt x="196" y="2118"/>
                  </a:lnTo>
                  <a:lnTo>
                    <a:pt x="200" y="2116"/>
                  </a:lnTo>
                  <a:lnTo>
                    <a:pt x="202" y="2116"/>
                  </a:lnTo>
                  <a:lnTo>
                    <a:pt x="206" y="2118"/>
                  </a:lnTo>
                  <a:lnTo>
                    <a:pt x="210" y="2122"/>
                  </a:lnTo>
                  <a:lnTo>
                    <a:pt x="212" y="2122"/>
                  </a:lnTo>
                  <a:lnTo>
                    <a:pt x="214" y="2122"/>
                  </a:lnTo>
                  <a:lnTo>
                    <a:pt x="216" y="2120"/>
                  </a:lnTo>
                  <a:lnTo>
                    <a:pt x="216" y="2118"/>
                  </a:lnTo>
                  <a:lnTo>
                    <a:pt x="218" y="2116"/>
                  </a:lnTo>
                  <a:lnTo>
                    <a:pt x="222" y="2112"/>
                  </a:lnTo>
                  <a:lnTo>
                    <a:pt x="226" y="2110"/>
                  </a:lnTo>
                  <a:lnTo>
                    <a:pt x="230" y="2106"/>
                  </a:lnTo>
                  <a:lnTo>
                    <a:pt x="234" y="2102"/>
                  </a:lnTo>
                  <a:lnTo>
                    <a:pt x="244" y="2100"/>
                  </a:lnTo>
                  <a:lnTo>
                    <a:pt x="252" y="2100"/>
                  </a:lnTo>
                  <a:lnTo>
                    <a:pt x="258" y="2102"/>
                  </a:lnTo>
                  <a:lnTo>
                    <a:pt x="270" y="2108"/>
                  </a:lnTo>
                  <a:lnTo>
                    <a:pt x="274" y="2110"/>
                  </a:lnTo>
                  <a:lnTo>
                    <a:pt x="276" y="2108"/>
                  </a:lnTo>
                  <a:lnTo>
                    <a:pt x="280" y="2098"/>
                  </a:lnTo>
                  <a:lnTo>
                    <a:pt x="282" y="2088"/>
                  </a:lnTo>
                  <a:lnTo>
                    <a:pt x="284" y="2086"/>
                  </a:lnTo>
                  <a:lnTo>
                    <a:pt x="286" y="2084"/>
                  </a:lnTo>
                  <a:lnTo>
                    <a:pt x="288" y="2086"/>
                  </a:lnTo>
                  <a:lnTo>
                    <a:pt x="290" y="2084"/>
                  </a:lnTo>
                  <a:lnTo>
                    <a:pt x="298" y="2080"/>
                  </a:lnTo>
                  <a:lnTo>
                    <a:pt x="302" y="2078"/>
                  </a:lnTo>
                  <a:lnTo>
                    <a:pt x="306" y="2078"/>
                  </a:lnTo>
                  <a:lnTo>
                    <a:pt x="312" y="2080"/>
                  </a:lnTo>
                  <a:lnTo>
                    <a:pt x="316" y="2084"/>
                  </a:lnTo>
                  <a:lnTo>
                    <a:pt x="322" y="2088"/>
                  </a:lnTo>
                  <a:lnTo>
                    <a:pt x="324" y="2088"/>
                  </a:lnTo>
                  <a:lnTo>
                    <a:pt x="328" y="2086"/>
                  </a:lnTo>
                  <a:lnTo>
                    <a:pt x="330" y="2086"/>
                  </a:lnTo>
                  <a:lnTo>
                    <a:pt x="334" y="2086"/>
                  </a:lnTo>
                  <a:lnTo>
                    <a:pt x="342" y="2086"/>
                  </a:lnTo>
                  <a:lnTo>
                    <a:pt x="344" y="2084"/>
                  </a:lnTo>
                  <a:lnTo>
                    <a:pt x="346" y="2082"/>
                  </a:lnTo>
                  <a:lnTo>
                    <a:pt x="356" y="2078"/>
                  </a:lnTo>
                  <a:lnTo>
                    <a:pt x="366" y="2076"/>
                  </a:lnTo>
                  <a:lnTo>
                    <a:pt x="368" y="2074"/>
                  </a:lnTo>
                  <a:lnTo>
                    <a:pt x="368" y="2072"/>
                  </a:lnTo>
                  <a:lnTo>
                    <a:pt x="374" y="2074"/>
                  </a:lnTo>
                  <a:lnTo>
                    <a:pt x="380" y="2076"/>
                  </a:lnTo>
                  <a:lnTo>
                    <a:pt x="382" y="2076"/>
                  </a:lnTo>
                  <a:lnTo>
                    <a:pt x="384" y="2074"/>
                  </a:lnTo>
                  <a:lnTo>
                    <a:pt x="386" y="2076"/>
                  </a:lnTo>
                  <a:lnTo>
                    <a:pt x="388" y="2078"/>
                  </a:lnTo>
                  <a:lnTo>
                    <a:pt x="392" y="2078"/>
                  </a:lnTo>
                  <a:lnTo>
                    <a:pt x="400" y="2074"/>
                  </a:lnTo>
                  <a:lnTo>
                    <a:pt x="410" y="2072"/>
                  </a:lnTo>
                  <a:lnTo>
                    <a:pt x="416" y="2074"/>
                  </a:lnTo>
                  <a:lnTo>
                    <a:pt x="422" y="2074"/>
                  </a:lnTo>
                  <a:lnTo>
                    <a:pt x="428" y="2076"/>
                  </a:lnTo>
                  <a:lnTo>
                    <a:pt x="432" y="2076"/>
                  </a:lnTo>
                  <a:lnTo>
                    <a:pt x="440" y="2074"/>
                  </a:lnTo>
                  <a:lnTo>
                    <a:pt x="448" y="2070"/>
                  </a:lnTo>
                  <a:lnTo>
                    <a:pt x="456" y="2068"/>
                  </a:lnTo>
                  <a:lnTo>
                    <a:pt x="460" y="2068"/>
                  </a:lnTo>
                  <a:lnTo>
                    <a:pt x="462" y="2064"/>
                  </a:lnTo>
                  <a:lnTo>
                    <a:pt x="464" y="2060"/>
                  </a:lnTo>
                  <a:lnTo>
                    <a:pt x="470" y="2056"/>
                  </a:lnTo>
                  <a:lnTo>
                    <a:pt x="478" y="2052"/>
                  </a:lnTo>
                  <a:lnTo>
                    <a:pt x="480" y="2048"/>
                  </a:lnTo>
                  <a:lnTo>
                    <a:pt x="480" y="2044"/>
                  </a:lnTo>
                  <a:lnTo>
                    <a:pt x="480" y="2040"/>
                  </a:lnTo>
                  <a:lnTo>
                    <a:pt x="480" y="2038"/>
                  </a:lnTo>
                  <a:lnTo>
                    <a:pt x="478" y="2038"/>
                  </a:lnTo>
                  <a:lnTo>
                    <a:pt x="472" y="2038"/>
                  </a:lnTo>
                  <a:lnTo>
                    <a:pt x="462" y="2040"/>
                  </a:lnTo>
                  <a:lnTo>
                    <a:pt x="456" y="2040"/>
                  </a:lnTo>
                  <a:lnTo>
                    <a:pt x="450" y="2038"/>
                  </a:lnTo>
                  <a:lnTo>
                    <a:pt x="448" y="2036"/>
                  </a:lnTo>
                  <a:lnTo>
                    <a:pt x="450" y="2036"/>
                  </a:lnTo>
                  <a:lnTo>
                    <a:pt x="446" y="2034"/>
                  </a:lnTo>
                  <a:lnTo>
                    <a:pt x="444" y="2032"/>
                  </a:lnTo>
                  <a:lnTo>
                    <a:pt x="448" y="2030"/>
                  </a:lnTo>
                  <a:lnTo>
                    <a:pt x="456" y="2030"/>
                  </a:lnTo>
                  <a:lnTo>
                    <a:pt x="458" y="2028"/>
                  </a:lnTo>
                  <a:lnTo>
                    <a:pt x="460" y="2026"/>
                  </a:lnTo>
                  <a:lnTo>
                    <a:pt x="460" y="2020"/>
                  </a:lnTo>
                  <a:lnTo>
                    <a:pt x="458" y="2020"/>
                  </a:lnTo>
                  <a:lnTo>
                    <a:pt x="456" y="2020"/>
                  </a:lnTo>
                  <a:lnTo>
                    <a:pt x="458" y="2016"/>
                  </a:lnTo>
                  <a:lnTo>
                    <a:pt x="462" y="2014"/>
                  </a:lnTo>
                  <a:lnTo>
                    <a:pt x="464" y="2014"/>
                  </a:lnTo>
                  <a:lnTo>
                    <a:pt x="472" y="2014"/>
                  </a:lnTo>
                  <a:lnTo>
                    <a:pt x="476" y="2014"/>
                  </a:lnTo>
                  <a:lnTo>
                    <a:pt x="476" y="2012"/>
                  </a:lnTo>
                  <a:lnTo>
                    <a:pt x="474" y="2010"/>
                  </a:lnTo>
                  <a:lnTo>
                    <a:pt x="474" y="2008"/>
                  </a:lnTo>
                  <a:lnTo>
                    <a:pt x="474" y="2006"/>
                  </a:lnTo>
                  <a:lnTo>
                    <a:pt x="482" y="2000"/>
                  </a:lnTo>
                  <a:lnTo>
                    <a:pt x="486" y="1996"/>
                  </a:lnTo>
                  <a:lnTo>
                    <a:pt x="490" y="1990"/>
                  </a:lnTo>
                  <a:lnTo>
                    <a:pt x="494" y="1982"/>
                  </a:lnTo>
                  <a:lnTo>
                    <a:pt x="494" y="1970"/>
                  </a:lnTo>
                  <a:close/>
                  <a:moveTo>
                    <a:pt x="662" y="1344"/>
                  </a:moveTo>
                  <a:lnTo>
                    <a:pt x="662" y="1344"/>
                  </a:lnTo>
                  <a:lnTo>
                    <a:pt x="660" y="1344"/>
                  </a:lnTo>
                  <a:lnTo>
                    <a:pt x="656" y="1346"/>
                  </a:lnTo>
                  <a:lnTo>
                    <a:pt x="656" y="1350"/>
                  </a:lnTo>
                  <a:lnTo>
                    <a:pt x="656" y="1354"/>
                  </a:lnTo>
                  <a:lnTo>
                    <a:pt x="660" y="1354"/>
                  </a:lnTo>
                  <a:lnTo>
                    <a:pt x="662" y="1352"/>
                  </a:lnTo>
                  <a:lnTo>
                    <a:pt x="664" y="1348"/>
                  </a:lnTo>
                  <a:lnTo>
                    <a:pt x="664" y="1346"/>
                  </a:lnTo>
                  <a:lnTo>
                    <a:pt x="662" y="1344"/>
                  </a:lnTo>
                  <a:close/>
                  <a:moveTo>
                    <a:pt x="652" y="1354"/>
                  </a:moveTo>
                  <a:lnTo>
                    <a:pt x="652" y="1354"/>
                  </a:lnTo>
                  <a:lnTo>
                    <a:pt x="650" y="1352"/>
                  </a:lnTo>
                  <a:lnTo>
                    <a:pt x="648" y="1352"/>
                  </a:lnTo>
                  <a:lnTo>
                    <a:pt x="646" y="1352"/>
                  </a:lnTo>
                  <a:lnTo>
                    <a:pt x="644" y="1356"/>
                  </a:lnTo>
                  <a:lnTo>
                    <a:pt x="646" y="1358"/>
                  </a:lnTo>
                  <a:lnTo>
                    <a:pt x="648" y="1358"/>
                  </a:lnTo>
                  <a:lnTo>
                    <a:pt x="652" y="1356"/>
                  </a:lnTo>
                  <a:lnTo>
                    <a:pt x="652" y="1354"/>
                  </a:lnTo>
                  <a:close/>
                  <a:moveTo>
                    <a:pt x="150" y="1398"/>
                  </a:moveTo>
                  <a:lnTo>
                    <a:pt x="150" y="1398"/>
                  </a:lnTo>
                  <a:lnTo>
                    <a:pt x="148" y="1396"/>
                  </a:lnTo>
                  <a:lnTo>
                    <a:pt x="146" y="1394"/>
                  </a:lnTo>
                  <a:lnTo>
                    <a:pt x="146" y="1396"/>
                  </a:lnTo>
                  <a:lnTo>
                    <a:pt x="144" y="1398"/>
                  </a:lnTo>
                  <a:lnTo>
                    <a:pt x="146" y="1402"/>
                  </a:lnTo>
                  <a:lnTo>
                    <a:pt x="152" y="1410"/>
                  </a:lnTo>
                  <a:lnTo>
                    <a:pt x="154" y="1412"/>
                  </a:lnTo>
                  <a:lnTo>
                    <a:pt x="156" y="1412"/>
                  </a:lnTo>
                  <a:lnTo>
                    <a:pt x="158" y="1412"/>
                  </a:lnTo>
                  <a:lnTo>
                    <a:pt x="156" y="1410"/>
                  </a:lnTo>
                  <a:lnTo>
                    <a:pt x="154" y="1404"/>
                  </a:lnTo>
                  <a:lnTo>
                    <a:pt x="154" y="1400"/>
                  </a:lnTo>
                  <a:lnTo>
                    <a:pt x="150" y="1398"/>
                  </a:lnTo>
                  <a:close/>
                  <a:moveTo>
                    <a:pt x="732" y="1304"/>
                  </a:moveTo>
                  <a:lnTo>
                    <a:pt x="732" y="1304"/>
                  </a:lnTo>
                  <a:lnTo>
                    <a:pt x="734" y="1302"/>
                  </a:lnTo>
                  <a:lnTo>
                    <a:pt x="732" y="1300"/>
                  </a:lnTo>
                  <a:lnTo>
                    <a:pt x="730" y="1298"/>
                  </a:lnTo>
                  <a:lnTo>
                    <a:pt x="728" y="1300"/>
                  </a:lnTo>
                  <a:lnTo>
                    <a:pt x="726" y="1302"/>
                  </a:lnTo>
                  <a:lnTo>
                    <a:pt x="724" y="1302"/>
                  </a:lnTo>
                  <a:lnTo>
                    <a:pt x="722" y="1300"/>
                  </a:lnTo>
                  <a:lnTo>
                    <a:pt x="720" y="1302"/>
                  </a:lnTo>
                  <a:lnTo>
                    <a:pt x="720" y="1304"/>
                  </a:lnTo>
                  <a:lnTo>
                    <a:pt x="724" y="1306"/>
                  </a:lnTo>
                  <a:lnTo>
                    <a:pt x="732" y="1304"/>
                  </a:lnTo>
                  <a:close/>
                  <a:moveTo>
                    <a:pt x="618" y="1384"/>
                  </a:moveTo>
                  <a:lnTo>
                    <a:pt x="618" y="1384"/>
                  </a:lnTo>
                  <a:lnTo>
                    <a:pt x="622" y="1384"/>
                  </a:lnTo>
                  <a:lnTo>
                    <a:pt x="626" y="1382"/>
                  </a:lnTo>
                  <a:lnTo>
                    <a:pt x="628" y="1380"/>
                  </a:lnTo>
                  <a:lnTo>
                    <a:pt x="628" y="1378"/>
                  </a:lnTo>
                  <a:lnTo>
                    <a:pt x="622" y="1378"/>
                  </a:lnTo>
                  <a:lnTo>
                    <a:pt x="618" y="1378"/>
                  </a:lnTo>
                  <a:lnTo>
                    <a:pt x="616" y="1380"/>
                  </a:lnTo>
                  <a:lnTo>
                    <a:pt x="618" y="1384"/>
                  </a:lnTo>
                  <a:close/>
                  <a:moveTo>
                    <a:pt x="620" y="1456"/>
                  </a:moveTo>
                  <a:lnTo>
                    <a:pt x="620" y="1456"/>
                  </a:lnTo>
                  <a:lnTo>
                    <a:pt x="616" y="1454"/>
                  </a:lnTo>
                  <a:lnTo>
                    <a:pt x="618" y="1456"/>
                  </a:lnTo>
                  <a:lnTo>
                    <a:pt x="622" y="1462"/>
                  </a:lnTo>
                  <a:lnTo>
                    <a:pt x="624" y="1462"/>
                  </a:lnTo>
                  <a:lnTo>
                    <a:pt x="626" y="1464"/>
                  </a:lnTo>
                  <a:lnTo>
                    <a:pt x="624" y="1462"/>
                  </a:lnTo>
                  <a:lnTo>
                    <a:pt x="622" y="1458"/>
                  </a:lnTo>
                  <a:lnTo>
                    <a:pt x="620" y="1456"/>
                  </a:lnTo>
                  <a:close/>
                  <a:moveTo>
                    <a:pt x="630" y="1474"/>
                  </a:moveTo>
                  <a:lnTo>
                    <a:pt x="630" y="1474"/>
                  </a:lnTo>
                  <a:lnTo>
                    <a:pt x="626" y="1468"/>
                  </a:lnTo>
                  <a:lnTo>
                    <a:pt x="622" y="1466"/>
                  </a:lnTo>
                  <a:lnTo>
                    <a:pt x="622" y="1468"/>
                  </a:lnTo>
                  <a:lnTo>
                    <a:pt x="626" y="1474"/>
                  </a:lnTo>
                  <a:lnTo>
                    <a:pt x="628" y="1476"/>
                  </a:lnTo>
                  <a:lnTo>
                    <a:pt x="630" y="1474"/>
                  </a:lnTo>
                  <a:close/>
                  <a:moveTo>
                    <a:pt x="624" y="1490"/>
                  </a:moveTo>
                  <a:lnTo>
                    <a:pt x="624" y="1490"/>
                  </a:lnTo>
                  <a:lnTo>
                    <a:pt x="626" y="1490"/>
                  </a:lnTo>
                  <a:lnTo>
                    <a:pt x="626" y="1486"/>
                  </a:lnTo>
                  <a:lnTo>
                    <a:pt x="624" y="1476"/>
                  </a:lnTo>
                  <a:lnTo>
                    <a:pt x="622" y="1474"/>
                  </a:lnTo>
                  <a:lnTo>
                    <a:pt x="622" y="1476"/>
                  </a:lnTo>
                  <a:lnTo>
                    <a:pt x="622" y="1480"/>
                  </a:lnTo>
                  <a:lnTo>
                    <a:pt x="622" y="1486"/>
                  </a:lnTo>
                  <a:lnTo>
                    <a:pt x="622" y="1490"/>
                  </a:lnTo>
                  <a:lnTo>
                    <a:pt x="624" y="1490"/>
                  </a:lnTo>
                  <a:close/>
                  <a:moveTo>
                    <a:pt x="302" y="1578"/>
                  </a:moveTo>
                  <a:lnTo>
                    <a:pt x="302" y="1578"/>
                  </a:lnTo>
                  <a:lnTo>
                    <a:pt x="300" y="1580"/>
                  </a:lnTo>
                  <a:lnTo>
                    <a:pt x="300" y="1582"/>
                  </a:lnTo>
                  <a:lnTo>
                    <a:pt x="302" y="1582"/>
                  </a:lnTo>
                  <a:lnTo>
                    <a:pt x="304" y="1584"/>
                  </a:lnTo>
                  <a:lnTo>
                    <a:pt x="306" y="1582"/>
                  </a:lnTo>
                  <a:lnTo>
                    <a:pt x="306" y="1580"/>
                  </a:lnTo>
                  <a:lnTo>
                    <a:pt x="304" y="1578"/>
                  </a:lnTo>
                  <a:lnTo>
                    <a:pt x="302" y="1578"/>
                  </a:lnTo>
                  <a:close/>
                  <a:moveTo>
                    <a:pt x="160" y="1386"/>
                  </a:moveTo>
                  <a:lnTo>
                    <a:pt x="160" y="1386"/>
                  </a:lnTo>
                  <a:lnTo>
                    <a:pt x="158" y="1382"/>
                  </a:lnTo>
                  <a:lnTo>
                    <a:pt x="154" y="1378"/>
                  </a:lnTo>
                  <a:lnTo>
                    <a:pt x="150" y="1378"/>
                  </a:lnTo>
                  <a:lnTo>
                    <a:pt x="148" y="1378"/>
                  </a:lnTo>
                  <a:lnTo>
                    <a:pt x="148" y="1380"/>
                  </a:lnTo>
                  <a:lnTo>
                    <a:pt x="148" y="1382"/>
                  </a:lnTo>
                  <a:lnTo>
                    <a:pt x="152" y="1384"/>
                  </a:lnTo>
                  <a:lnTo>
                    <a:pt x="156" y="1386"/>
                  </a:lnTo>
                  <a:lnTo>
                    <a:pt x="160" y="1386"/>
                  </a:lnTo>
                  <a:close/>
                  <a:moveTo>
                    <a:pt x="320" y="1546"/>
                  </a:moveTo>
                  <a:lnTo>
                    <a:pt x="320" y="1546"/>
                  </a:lnTo>
                  <a:lnTo>
                    <a:pt x="318" y="1546"/>
                  </a:lnTo>
                  <a:lnTo>
                    <a:pt x="316" y="1546"/>
                  </a:lnTo>
                  <a:lnTo>
                    <a:pt x="314" y="1548"/>
                  </a:lnTo>
                  <a:lnTo>
                    <a:pt x="312" y="1552"/>
                  </a:lnTo>
                  <a:lnTo>
                    <a:pt x="314" y="1552"/>
                  </a:lnTo>
                  <a:lnTo>
                    <a:pt x="318" y="1552"/>
                  </a:lnTo>
                  <a:lnTo>
                    <a:pt x="318" y="1550"/>
                  </a:lnTo>
                  <a:lnTo>
                    <a:pt x="320" y="1548"/>
                  </a:lnTo>
                  <a:lnTo>
                    <a:pt x="322" y="1546"/>
                  </a:lnTo>
                  <a:lnTo>
                    <a:pt x="320" y="1546"/>
                  </a:lnTo>
                  <a:close/>
                  <a:moveTo>
                    <a:pt x="354" y="1486"/>
                  </a:moveTo>
                  <a:lnTo>
                    <a:pt x="354" y="1486"/>
                  </a:lnTo>
                  <a:lnTo>
                    <a:pt x="356" y="1488"/>
                  </a:lnTo>
                  <a:lnTo>
                    <a:pt x="356" y="1490"/>
                  </a:lnTo>
                  <a:lnTo>
                    <a:pt x="358" y="1488"/>
                  </a:lnTo>
                  <a:lnTo>
                    <a:pt x="362" y="1490"/>
                  </a:lnTo>
                  <a:lnTo>
                    <a:pt x="364" y="1492"/>
                  </a:lnTo>
                  <a:lnTo>
                    <a:pt x="364" y="1490"/>
                  </a:lnTo>
                  <a:lnTo>
                    <a:pt x="366" y="1488"/>
                  </a:lnTo>
                  <a:lnTo>
                    <a:pt x="370" y="1490"/>
                  </a:lnTo>
                  <a:lnTo>
                    <a:pt x="372" y="1492"/>
                  </a:lnTo>
                  <a:lnTo>
                    <a:pt x="372" y="1494"/>
                  </a:lnTo>
                  <a:lnTo>
                    <a:pt x="370" y="1500"/>
                  </a:lnTo>
                  <a:lnTo>
                    <a:pt x="368" y="1506"/>
                  </a:lnTo>
                  <a:lnTo>
                    <a:pt x="368" y="1508"/>
                  </a:lnTo>
                  <a:lnTo>
                    <a:pt x="370" y="1512"/>
                  </a:lnTo>
                  <a:lnTo>
                    <a:pt x="372" y="1512"/>
                  </a:lnTo>
                  <a:lnTo>
                    <a:pt x="372" y="1510"/>
                  </a:lnTo>
                  <a:lnTo>
                    <a:pt x="374" y="1502"/>
                  </a:lnTo>
                  <a:lnTo>
                    <a:pt x="376" y="1496"/>
                  </a:lnTo>
                  <a:lnTo>
                    <a:pt x="374" y="1490"/>
                  </a:lnTo>
                  <a:lnTo>
                    <a:pt x="374" y="1488"/>
                  </a:lnTo>
                  <a:lnTo>
                    <a:pt x="376" y="1484"/>
                  </a:lnTo>
                  <a:lnTo>
                    <a:pt x="380" y="1476"/>
                  </a:lnTo>
                  <a:lnTo>
                    <a:pt x="380" y="1472"/>
                  </a:lnTo>
                  <a:lnTo>
                    <a:pt x="378" y="1474"/>
                  </a:lnTo>
                  <a:lnTo>
                    <a:pt x="376" y="1476"/>
                  </a:lnTo>
                  <a:lnTo>
                    <a:pt x="376" y="1474"/>
                  </a:lnTo>
                  <a:lnTo>
                    <a:pt x="376" y="1472"/>
                  </a:lnTo>
                  <a:lnTo>
                    <a:pt x="374" y="1470"/>
                  </a:lnTo>
                  <a:lnTo>
                    <a:pt x="372" y="1470"/>
                  </a:lnTo>
                  <a:lnTo>
                    <a:pt x="372" y="1472"/>
                  </a:lnTo>
                  <a:lnTo>
                    <a:pt x="370" y="1474"/>
                  </a:lnTo>
                  <a:lnTo>
                    <a:pt x="370" y="1472"/>
                  </a:lnTo>
                  <a:lnTo>
                    <a:pt x="370" y="1462"/>
                  </a:lnTo>
                  <a:lnTo>
                    <a:pt x="370" y="1460"/>
                  </a:lnTo>
                  <a:lnTo>
                    <a:pt x="368" y="1460"/>
                  </a:lnTo>
                  <a:lnTo>
                    <a:pt x="364" y="1464"/>
                  </a:lnTo>
                  <a:lnTo>
                    <a:pt x="358" y="1468"/>
                  </a:lnTo>
                  <a:lnTo>
                    <a:pt x="358" y="1470"/>
                  </a:lnTo>
                  <a:lnTo>
                    <a:pt x="364" y="1474"/>
                  </a:lnTo>
                  <a:lnTo>
                    <a:pt x="368" y="1476"/>
                  </a:lnTo>
                  <a:lnTo>
                    <a:pt x="368" y="1480"/>
                  </a:lnTo>
                  <a:lnTo>
                    <a:pt x="366" y="1482"/>
                  </a:lnTo>
                  <a:lnTo>
                    <a:pt x="360" y="1482"/>
                  </a:lnTo>
                  <a:lnTo>
                    <a:pt x="356" y="1482"/>
                  </a:lnTo>
                  <a:lnTo>
                    <a:pt x="356" y="1484"/>
                  </a:lnTo>
                  <a:lnTo>
                    <a:pt x="354" y="1486"/>
                  </a:lnTo>
                  <a:close/>
                  <a:moveTo>
                    <a:pt x="312" y="1560"/>
                  </a:moveTo>
                  <a:lnTo>
                    <a:pt x="312" y="1560"/>
                  </a:lnTo>
                  <a:lnTo>
                    <a:pt x="312" y="1562"/>
                  </a:lnTo>
                  <a:lnTo>
                    <a:pt x="314" y="1562"/>
                  </a:lnTo>
                  <a:lnTo>
                    <a:pt x="318" y="1560"/>
                  </a:lnTo>
                  <a:lnTo>
                    <a:pt x="316" y="1558"/>
                  </a:lnTo>
                  <a:lnTo>
                    <a:pt x="314" y="1556"/>
                  </a:lnTo>
                  <a:lnTo>
                    <a:pt x="312" y="1560"/>
                  </a:lnTo>
                  <a:close/>
                  <a:moveTo>
                    <a:pt x="744" y="1294"/>
                  </a:moveTo>
                  <a:lnTo>
                    <a:pt x="744" y="1294"/>
                  </a:lnTo>
                  <a:lnTo>
                    <a:pt x="746" y="1296"/>
                  </a:lnTo>
                  <a:lnTo>
                    <a:pt x="748" y="1296"/>
                  </a:lnTo>
                  <a:lnTo>
                    <a:pt x="750" y="1294"/>
                  </a:lnTo>
                  <a:lnTo>
                    <a:pt x="752" y="1292"/>
                  </a:lnTo>
                  <a:lnTo>
                    <a:pt x="748" y="1288"/>
                  </a:lnTo>
                  <a:lnTo>
                    <a:pt x="746" y="1288"/>
                  </a:lnTo>
                  <a:lnTo>
                    <a:pt x="744" y="1290"/>
                  </a:lnTo>
                  <a:lnTo>
                    <a:pt x="744" y="1294"/>
                  </a:lnTo>
                  <a:close/>
                  <a:moveTo>
                    <a:pt x="380" y="1462"/>
                  </a:moveTo>
                  <a:lnTo>
                    <a:pt x="380" y="1462"/>
                  </a:lnTo>
                  <a:lnTo>
                    <a:pt x="382" y="1460"/>
                  </a:lnTo>
                  <a:lnTo>
                    <a:pt x="382" y="1456"/>
                  </a:lnTo>
                  <a:lnTo>
                    <a:pt x="382" y="1454"/>
                  </a:lnTo>
                  <a:lnTo>
                    <a:pt x="380" y="1454"/>
                  </a:lnTo>
                  <a:lnTo>
                    <a:pt x="378" y="1454"/>
                  </a:lnTo>
                  <a:lnTo>
                    <a:pt x="378" y="1456"/>
                  </a:lnTo>
                  <a:lnTo>
                    <a:pt x="376" y="1460"/>
                  </a:lnTo>
                  <a:lnTo>
                    <a:pt x="374" y="1462"/>
                  </a:lnTo>
                  <a:lnTo>
                    <a:pt x="376" y="1468"/>
                  </a:lnTo>
                  <a:lnTo>
                    <a:pt x="378" y="1468"/>
                  </a:lnTo>
                  <a:lnTo>
                    <a:pt x="378" y="1466"/>
                  </a:lnTo>
                  <a:lnTo>
                    <a:pt x="380" y="1464"/>
                  </a:lnTo>
                  <a:lnTo>
                    <a:pt x="380" y="1462"/>
                  </a:lnTo>
                  <a:close/>
                  <a:moveTo>
                    <a:pt x="134" y="1090"/>
                  </a:moveTo>
                  <a:lnTo>
                    <a:pt x="134" y="1090"/>
                  </a:lnTo>
                  <a:lnTo>
                    <a:pt x="148" y="1086"/>
                  </a:lnTo>
                  <a:lnTo>
                    <a:pt x="158" y="1086"/>
                  </a:lnTo>
                  <a:lnTo>
                    <a:pt x="190" y="1088"/>
                  </a:lnTo>
                  <a:lnTo>
                    <a:pt x="200" y="1088"/>
                  </a:lnTo>
                  <a:lnTo>
                    <a:pt x="202" y="1090"/>
                  </a:lnTo>
                  <a:lnTo>
                    <a:pt x="202" y="1092"/>
                  </a:lnTo>
                  <a:lnTo>
                    <a:pt x="198" y="1094"/>
                  </a:lnTo>
                  <a:lnTo>
                    <a:pt x="186" y="1100"/>
                  </a:lnTo>
                  <a:lnTo>
                    <a:pt x="182" y="1104"/>
                  </a:lnTo>
                  <a:lnTo>
                    <a:pt x="180" y="1108"/>
                  </a:lnTo>
                  <a:lnTo>
                    <a:pt x="182" y="1110"/>
                  </a:lnTo>
                  <a:lnTo>
                    <a:pt x="186" y="1112"/>
                  </a:lnTo>
                  <a:lnTo>
                    <a:pt x="196" y="1112"/>
                  </a:lnTo>
                  <a:lnTo>
                    <a:pt x="204" y="1114"/>
                  </a:lnTo>
                  <a:lnTo>
                    <a:pt x="198" y="1118"/>
                  </a:lnTo>
                  <a:lnTo>
                    <a:pt x="190" y="1120"/>
                  </a:lnTo>
                  <a:lnTo>
                    <a:pt x="182" y="1120"/>
                  </a:lnTo>
                  <a:lnTo>
                    <a:pt x="174" y="1118"/>
                  </a:lnTo>
                  <a:lnTo>
                    <a:pt x="166" y="1116"/>
                  </a:lnTo>
                  <a:lnTo>
                    <a:pt x="162" y="1116"/>
                  </a:lnTo>
                  <a:lnTo>
                    <a:pt x="156" y="1120"/>
                  </a:lnTo>
                  <a:lnTo>
                    <a:pt x="150" y="1122"/>
                  </a:lnTo>
                  <a:lnTo>
                    <a:pt x="144" y="1124"/>
                  </a:lnTo>
                  <a:lnTo>
                    <a:pt x="132" y="1124"/>
                  </a:lnTo>
                  <a:lnTo>
                    <a:pt x="122" y="1126"/>
                  </a:lnTo>
                  <a:lnTo>
                    <a:pt x="120" y="1130"/>
                  </a:lnTo>
                  <a:lnTo>
                    <a:pt x="120" y="1132"/>
                  </a:lnTo>
                  <a:lnTo>
                    <a:pt x="122" y="1136"/>
                  </a:lnTo>
                  <a:lnTo>
                    <a:pt x="124" y="1138"/>
                  </a:lnTo>
                  <a:lnTo>
                    <a:pt x="134" y="1136"/>
                  </a:lnTo>
                  <a:lnTo>
                    <a:pt x="152" y="1134"/>
                  </a:lnTo>
                  <a:lnTo>
                    <a:pt x="162" y="1134"/>
                  </a:lnTo>
                  <a:lnTo>
                    <a:pt x="174" y="1136"/>
                  </a:lnTo>
                  <a:lnTo>
                    <a:pt x="180" y="1138"/>
                  </a:lnTo>
                  <a:lnTo>
                    <a:pt x="184" y="1140"/>
                  </a:lnTo>
                  <a:lnTo>
                    <a:pt x="186" y="1142"/>
                  </a:lnTo>
                  <a:lnTo>
                    <a:pt x="186" y="1146"/>
                  </a:lnTo>
                  <a:lnTo>
                    <a:pt x="186" y="1152"/>
                  </a:lnTo>
                  <a:lnTo>
                    <a:pt x="188" y="1154"/>
                  </a:lnTo>
                  <a:lnTo>
                    <a:pt x="190" y="1156"/>
                  </a:lnTo>
                  <a:lnTo>
                    <a:pt x="198" y="1160"/>
                  </a:lnTo>
                  <a:lnTo>
                    <a:pt x="202" y="1166"/>
                  </a:lnTo>
                  <a:lnTo>
                    <a:pt x="202" y="1174"/>
                  </a:lnTo>
                  <a:lnTo>
                    <a:pt x="198" y="1184"/>
                  </a:lnTo>
                  <a:lnTo>
                    <a:pt x="196" y="1186"/>
                  </a:lnTo>
                  <a:lnTo>
                    <a:pt x="190" y="1186"/>
                  </a:lnTo>
                  <a:lnTo>
                    <a:pt x="180" y="1184"/>
                  </a:lnTo>
                  <a:lnTo>
                    <a:pt x="172" y="1184"/>
                  </a:lnTo>
                  <a:lnTo>
                    <a:pt x="170" y="1186"/>
                  </a:lnTo>
                  <a:lnTo>
                    <a:pt x="170" y="1190"/>
                  </a:lnTo>
                  <a:lnTo>
                    <a:pt x="172" y="1196"/>
                  </a:lnTo>
                  <a:lnTo>
                    <a:pt x="174" y="1198"/>
                  </a:lnTo>
                  <a:lnTo>
                    <a:pt x="176" y="1200"/>
                  </a:lnTo>
                  <a:lnTo>
                    <a:pt x="182" y="1202"/>
                  </a:lnTo>
                  <a:lnTo>
                    <a:pt x="196" y="1202"/>
                  </a:lnTo>
                  <a:lnTo>
                    <a:pt x="220" y="1200"/>
                  </a:lnTo>
                  <a:lnTo>
                    <a:pt x="232" y="1200"/>
                  </a:lnTo>
                  <a:lnTo>
                    <a:pt x="242" y="1202"/>
                  </a:lnTo>
                  <a:lnTo>
                    <a:pt x="252" y="1206"/>
                  </a:lnTo>
                  <a:lnTo>
                    <a:pt x="260" y="1208"/>
                  </a:lnTo>
                  <a:lnTo>
                    <a:pt x="274" y="1216"/>
                  </a:lnTo>
                  <a:lnTo>
                    <a:pt x="282" y="1218"/>
                  </a:lnTo>
                  <a:lnTo>
                    <a:pt x="292" y="1220"/>
                  </a:lnTo>
                  <a:lnTo>
                    <a:pt x="300" y="1220"/>
                  </a:lnTo>
                  <a:lnTo>
                    <a:pt x="308" y="1224"/>
                  </a:lnTo>
                  <a:lnTo>
                    <a:pt x="318" y="1228"/>
                  </a:lnTo>
                  <a:lnTo>
                    <a:pt x="322" y="1230"/>
                  </a:lnTo>
                  <a:lnTo>
                    <a:pt x="328" y="1232"/>
                  </a:lnTo>
                  <a:lnTo>
                    <a:pt x="336" y="1232"/>
                  </a:lnTo>
                  <a:lnTo>
                    <a:pt x="346" y="1230"/>
                  </a:lnTo>
                  <a:lnTo>
                    <a:pt x="356" y="1226"/>
                  </a:lnTo>
                  <a:lnTo>
                    <a:pt x="362" y="1222"/>
                  </a:lnTo>
                  <a:lnTo>
                    <a:pt x="368" y="1214"/>
                  </a:lnTo>
                  <a:lnTo>
                    <a:pt x="370" y="1210"/>
                  </a:lnTo>
                  <a:lnTo>
                    <a:pt x="374" y="1206"/>
                  </a:lnTo>
                  <a:lnTo>
                    <a:pt x="380" y="1206"/>
                  </a:lnTo>
                  <a:lnTo>
                    <a:pt x="388" y="1206"/>
                  </a:lnTo>
                  <a:lnTo>
                    <a:pt x="396" y="1204"/>
                  </a:lnTo>
                  <a:lnTo>
                    <a:pt x="404" y="1204"/>
                  </a:lnTo>
                  <a:lnTo>
                    <a:pt x="418" y="1198"/>
                  </a:lnTo>
                  <a:lnTo>
                    <a:pt x="452" y="1176"/>
                  </a:lnTo>
                  <a:lnTo>
                    <a:pt x="462" y="1172"/>
                  </a:lnTo>
                  <a:lnTo>
                    <a:pt x="470" y="1170"/>
                  </a:lnTo>
                  <a:lnTo>
                    <a:pt x="484" y="1168"/>
                  </a:lnTo>
                  <a:lnTo>
                    <a:pt x="488" y="1166"/>
                  </a:lnTo>
                  <a:lnTo>
                    <a:pt x="494" y="1164"/>
                  </a:lnTo>
                  <a:lnTo>
                    <a:pt x="500" y="1160"/>
                  </a:lnTo>
                  <a:lnTo>
                    <a:pt x="504" y="1154"/>
                  </a:lnTo>
                  <a:lnTo>
                    <a:pt x="514" y="1142"/>
                  </a:lnTo>
                  <a:lnTo>
                    <a:pt x="522" y="1136"/>
                  </a:lnTo>
                  <a:lnTo>
                    <a:pt x="528" y="1134"/>
                  </a:lnTo>
                  <a:lnTo>
                    <a:pt x="534" y="1126"/>
                  </a:lnTo>
                  <a:lnTo>
                    <a:pt x="540" y="1112"/>
                  </a:lnTo>
                  <a:lnTo>
                    <a:pt x="542" y="1104"/>
                  </a:lnTo>
                  <a:lnTo>
                    <a:pt x="542" y="1098"/>
                  </a:lnTo>
                  <a:lnTo>
                    <a:pt x="542" y="1090"/>
                  </a:lnTo>
                  <a:lnTo>
                    <a:pt x="538" y="1086"/>
                  </a:lnTo>
                  <a:lnTo>
                    <a:pt x="532" y="1082"/>
                  </a:lnTo>
                  <a:lnTo>
                    <a:pt x="526" y="1080"/>
                  </a:lnTo>
                  <a:lnTo>
                    <a:pt x="518" y="1078"/>
                  </a:lnTo>
                  <a:lnTo>
                    <a:pt x="514" y="1076"/>
                  </a:lnTo>
                  <a:lnTo>
                    <a:pt x="510" y="1072"/>
                  </a:lnTo>
                  <a:lnTo>
                    <a:pt x="506" y="1068"/>
                  </a:lnTo>
                  <a:lnTo>
                    <a:pt x="502" y="1066"/>
                  </a:lnTo>
                  <a:lnTo>
                    <a:pt x="496" y="1068"/>
                  </a:lnTo>
                  <a:lnTo>
                    <a:pt x="494" y="1066"/>
                  </a:lnTo>
                  <a:lnTo>
                    <a:pt x="492" y="1064"/>
                  </a:lnTo>
                  <a:lnTo>
                    <a:pt x="496" y="1058"/>
                  </a:lnTo>
                  <a:lnTo>
                    <a:pt x="500" y="1052"/>
                  </a:lnTo>
                  <a:lnTo>
                    <a:pt x="500" y="1048"/>
                  </a:lnTo>
                  <a:lnTo>
                    <a:pt x="496" y="1046"/>
                  </a:lnTo>
                  <a:lnTo>
                    <a:pt x="492" y="1046"/>
                  </a:lnTo>
                  <a:lnTo>
                    <a:pt x="486" y="1044"/>
                  </a:lnTo>
                  <a:lnTo>
                    <a:pt x="484" y="1044"/>
                  </a:lnTo>
                  <a:lnTo>
                    <a:pt x="484" y="1040"/>
                  </a:lnTo>
                  <a:lnTo>
                    <a:pt x="488" y="1036"/>
                  </a:lnTo>
                  <a:lnTo>
                    <a:pt x="500" y="1028"/>
                  </a:lnTo>
                  <a:lnTo>
                    <a:pt x="500" y="1024"/>
                  </a:lnTo>
                  <a:lnTo>
                    <a:pt x="500" y="1022"/>
                  </a:lnTo>
                  <a:lnTo>
                    <a:pt x="494" y="1022"/>
                  </a:lnTo>
                  <a:lnTo>
                    <a:pt x="484" y="1026"/>
                  </a:lnTo>
                  <a:lnTo>
                    <a:pt x="474" y="1032"/>
                  </a:lnTo>
                  <a:lnTo>
                    <a:pt x="466" y="1036"/>
                  </a:lnTo>
                  <a:lnTo>
                    <a:pt x="462" y="1036"/>
                  </a:lnTo>
                  <a:lnTo>
                    <a:pt x="460" y="1034"/>
                  </a:lnTo>
                  <a:lnTo>
                    <a:pt x="456" y="1028"/>
                  </a:lnTo>
                  <a:lnTo>
                    <a:pt x="450" y="1020"/>
                  </a:lnTo>
                  <a:lnTo>
                    <a:pt x="446" y="1016"/>
                  </a:lnTo>
                  <a:lnTo>
                    <a:pt x="442" y="1012"/>
                  </a:lnTo>
                  <a:lnTo>
                    <a:pt x="436" y="1012"/>
                  </a:lnTo>
                  <a:lnTo>
                    <a:pt x="430" y="1012"/>
                  </a:lnTo>
                  <a:lnTo>
                    <a:pt x="424" y="1014"/>
                  </a:lnTo>
                  <a:lnTo>
                    <a:pt x="420" y="1018"/>
                  </a:lnTo>
                  <a:lnTo>
                    <a:pt x="418" y="1022"/>
                  </a:lnTo>
                  <a:lnTo>
                    <a:pt x="420" y="1026"/>
                  </a:lnTo>
                  <a:lnTo>
                    <a:pt x="424" y="1034"/>
                  </a:lnTo>
                  <a:lnTo>
                    <a:pt x="424" y="1038"/>
                  </a:lnTo>
                  <a:lnTo>
                    <a:pt x="424" y="1040"/>
                  </a:lnTo>
                  <a:lnTo>
                    <a:pt x="420" y="1042"/>
                  </a:lnTo>
                  <a:lnTo>
                    <a:pt x="418" y="1042"/>
                  </a:lnTo>
                  <a:lnTo>
                    <a:pt x="406" y="1038"/>
                  </a:lnTo>
                  <a:lnTo>
                    <a:pt x="402" y="1036"/>
                  </a:lnTo>
                  <a:lnTo>
                    <a:pt x="396" y="1038"/>
                  </a:lnTo>
                  <a:lnTo>
                    <a:pt x="390" y="1046"/>
                  </a:lnTo>
                  <a:lnTo>
                    <a:pt x="386" y="1050"/>
                  </a:lnTo>
                  <a:lnTo>
                    <a:pt x="382" y="1052"/>
                  </a:lnTo>
                  <a:lnTo>
                    <a:pt x="378" y="1052"/>
                  </a:lnTo>
                  <a:lnTo>
                    <a:pt x="374" y="1048"/>
                  </a:lnTo>
                  <a:lnTo>
                    <a:pt x="362" y="1038"/>
                  </a:lnTo>
                  <a:lnTo>
                    <a:pt x="358" y="1038"/>
                  </a:lnTo>
                  <a:lnTo>
                    <a:pt x="356" y="1038"/>
                  </a:lnTo>
                  <a:lnTo>
                    <a:pt x="354" y="1038"/>
                  </a:lnTo>
                  <a:lnTo>
                    <a:pt x="352" y="1042"/>
                  </a:lnTo>
                  <a:lnTo>
                    <a:pt x="352" y="1052"/>
                  </a:lnTo>
                  <a:lnTo>
                    <a:pt x="352" y="1056"/>
                  </a:lnTo>
                  <a:lnTo>
                    <a:pt x="350" y="1058"/>
                  </a:lnTo>
                  <a:lnTo>
                    <a:pt x="350" y="1060"/>
                  </a:lnTo>
                  <a:lnTo>
                    <a:pt x="346" y="1058"/>
                  </a:lnTo>
                  <a:lnTo>
                    <a:pt x="342" y="1052"/>
                  </a:lnTo>
                  <a:lnTo>
                    <a:pt x="338" y="1042"/>
                  </a:lnTo>
                  <a:lnTo>
                    <a:pt x="336" y="1038"/>
                  </a:lnTo>
                  <a:lnTo>
                    <a:pt x="330" y="1036"/>
                  </a:lnTo>
                  <a:lnTo>
                    <a:pt x="326" y="1036"/>
                  </a:lnTo>
                  <a:lnTo>
                    <a:pt x="320" y="1038"/>
                  </a:lnTo>
                  <a:lnTo>
                    <a:pt x="314" y="1042"/>
                  </a:lnTo>
                  <a:lnTo>
                    <a:pt x="308" y="1048"/>
                  </a:lnTo>
                  <a:lnTo>
                    <a:pt x="306" y="1054"/>
                  </a:lnTo>
                  <a:lnTo>
                    <a:pt x="306" y="1060"/>
                  </a:lnTo>
                  <a:lnTo>
                    <a:pt x="304" y="1070"/>
                  </a:lnTo>
                  <a:lnTo>
                    <a:pt x="304" y="1072"/>
                  </a:lnTo>
                  <a:lnTo>
                    <a:pt x="302" y="1072"/>
                  </a:lnTo>
                  <a:lnTo>
                    <a:pt x="294" y="1066"/>
                  </a:lnTo>
                  <a:lnTo>
                    <a:pt x="286" y="1052"/>
                  </a:lnTo>
                  <a:lnTo>
                    <a:pt x="280" y="1044"/>
                  </a:lnTo>
                  <a:lnTo>
                    <a:pt x="276" y="1042"/>
                  </a:lnTo>
                  <a:lnTo>
                    <a:pt x="272" y="1040"/>
                  </a:lnTo>
                  <a:lnTo>
                    <a:pt x="268" y="1042"/>
                  </a:lnTo>
                  <a:lnTo>
                    <a:pt x="266" y="1046"/>
                  </a:lnTo>
                  <a:lnTo>
                    <a:pt x="266" y="1052"/>
                  </a:lnTo>
                  <a:lnTo>
                    <a:pt x="266" y="1056"/>
                  </a:lnTo>
                  <a:lnTo>
                    <a:pt x="268" y="1062"/>
                  </a:lnTo>
                  <a:lnTo>
                    <a:pt x="270" y="1074"/>
                  </a:lnTo>
                  <a:lnTo>
                    <a:pt x="270" y="1078"/>
                  </a:lnTo>
                  <a:lnTo>
                    <a:pt x="270" y="1080"/>
                  </a:lnTo>
                  <a:lnTo>
                    <a:pt x="266" y="1082"/>
                  </a:lnTo>
                  <a:lnTo>
                    <a:pt x="264" y="1082"/>
                  </a:lnTo>
                  <a:lnTo>
                    <a:pt x="260" y="1080"/>
                  </a:lnTo>
                  <a:lnTo>
                    <a:pt x="256" y="1074"/>
                  </a:lnTo>
                  <a:lnTo>
                    <a:pt x="252" y="1070"/>
                  </a:lnTo>
                  <a:lnTo>
                    <a:pt x="248" y="1072"/>
                  </a:lnTo>
                  <a:lnTo>
                    <a:pt x="246" y="1076"/>
                  </a:lnTo>
                  <a:lnTo>
                    <a:pt x="242" y="1082"/>
                  </a:lnTo>
                  <a:lnTo>
                    <a:pt x="240" y="1088"/>
                  </a:lnTo>
                  <a:lnTo>
                    <a:pt x="236" y="1090"/>
                  </a:lnTo>
                  <a:lnTo>
                    <a:pt x="234" y="1092"/>
                  </a:lnTo>
                  <a:lnTo>
                    <a:pt x="232" y="1090"/>
                  </a:lnTo>
                  <a:lnTo>
                    <a:pt x="228" y="1084"/>
                  </a:lnTo>
                  <a:lnTo>
                    <a:pt x="226" y="1076"/>
                  </a:lnTo>
                  <a:lnTo>
                    <a:pt x="226" y="1070"/>
                  </a:lnTo>
                  <a:lnTo>
                    <a:pt x="228" y="1060"/>
                  </a:lnTo>
                  <a:lnTo>
                    <a:pt x="228" y="1058"/>
                  </a:lnTo>
                  <a:lnTo>
                    <a:pt x="228" y="1054"/>
                  </a:lnTo>
                  <a:lnTo>
                    <a:pt x="224" y="1050"/>
                  </a:lnTo>
                  <a:lnTo>
                    <a:pt x="216" y="1046"/>
                  </a:lnTo>
                  <a:lnTo>
                    <a:pt x="204" y="1036"/>
                  </a:lnTo>
                  <a:lnTo>
                    <a:pt x="200" y="1030"/>
                  </a:lnTo>
                  <a:lnTo>
                    <a:pt x="194" y="1026"/>
                  </a:lnTo>
                  <a:lnTo>
                    <a:pt x="184" y="1020"/>
                  </a:lnTo>
                  <a:lnTo>
                    <a:pt x="174" y="1018"/>
                  </a:lnTo>
                  <a:lnTo>
                    <a:pt x="168" y="1018"/>
                  </a:lnTo>
                  <a:lnTo>
                    <a:pt x="162" y="1018"/>
                  </a:lnTo>
                  <a:lnTo>
                    <a:pt x="158" y="1020"/>
                  </a:lnTo>
                  <a:lnTo>
                    <a:pt x="154" y="1024"/>
                  </a:lnTo>
                  <a:lnTo>
                    <a:pt x="152" y="1026"/>
                  </a:lnTo>
                  <a:lnTo>
                    <a:pt x="152" y="1030"/>
                  </a:lnTo>
                  <a:lnTo>
                    <a:pt x="154" y="1032"/>
                  </a:lnTo>
                  <a:lnTo>
                    <a:pt x="162" y="1038"/>
                  </a:lnTo>
                  <a:lnTo>
                    <a:pt x="170" y="1042"/>
                  </a:lnTo>
                  <a:lnTo>
                    <a:pt x="180" y="1048"/>
                  </a:lnTo>
                  <a:lnTo>
                    <a:pt x="186" y="1054"/>
                  </a:lnTo>
                  <a:lnTo>
                    <a:pt x="188" y="1058"/>
                  </a:lnTo>
                  <a:lnTo>
                    <a:pt x="186" y="1058"/>
                  </a:lnTo>
                  <a:lnTo>
                    <a:pt x="178" y="1056"/>
                  </a:lnTo>
                  <a:lnTo>
                    <a:pt x="166" y="1048"/>
                  </a:lnTo>
                  <a:lnTo>
                    <a:pt x="154" y="1040"/>
                  </a:lnTo>
                  <a:lnTo>
                    <a:pt x="148" y="1038"/>
                  </a:lnTo>
                  <a:lnTo>
                    <a:pt x="144" y="1036"/>
                  </a:lnTo>
                  <a:lnTo>
                    <a:pt x="140" y="1038"/>
                  </a:lnTo>
                  <a:lnTo>
                    <a:pt x="136" y="1040"/>
                  </a:lnTo>
                  <a:lnTo>
                    <a:pt x="130" y="1048"/>
                  </a:lnTo>
                  <a:lnTo>
                    <a:pt x="128" y="1058"/>
                  </a:lnTo>
                  <a:lnTo>
                    <a:pt x="128" y="1064"/>
                  </a:lnTo>
                  <a:lnTo>
                    <a:pt x="126" y="1066"/>
                  </a:lnTo>
                  <a:lnTo>
                    <a:pt x="122" y="1068"/>
                  </a:lnTo>
                  <a:lnTo>
                    <a:pt x="118" y="1068"/>
                  </a:lnTo>
                  <a:lnTo>
                    <a:pt x="116" y="1070"/>
                  </a:lnTo>
                  <a:lnTo>
                    <a:pt x="116" y="1074"/>
                  </a:lnTo>
                  <a:lnTo>
                    <a:pt x="114" y="1080"/>
                  </a:lnTo>
                  <a:lnTo>
                    <a:pt x="112" y="1080"/>
                  </a:lnTo>
                  <a:lnTo>
                    <a:pt x="106" y="1078"/>
                  </a:lnTo>
                  <a:lnTo>
                    <a:pt x="102" y="1078"/>
                  </a:lnTo>
                  <a:lnTo>
                    <a:pt x="98" y="1080"/>
                  </a:lnTo>
                  <a:lnTo>
                    <a:pt x="96" y="1082"/>
                  </a:lnTo>
                  <a:lnTo>
                    <a:pt x="96" y="1084"/>
                  </a:lnTo>
                  <a:lnTo>
                    <a:pt x="100" y="1086"/>
                  </a:lnTo>
                  <a:lnTo>
                    <a:pt x="104" y="1090"/>
                  </a:lnTo>
                  <a:lnTo>
                    <a:pt x="118" y="1092"/>
                  </a:lnTo>
                  <a:lnTo>
                    <a:pt x="126" y="1092"/>
                  </a:lnTo>
                  <a:lnTo>
                    <a:pt x="134" y="1090"/>
                  </a:lnTo>
                  <a:close/>
                  <a:moveTo>
                    <a:pt x="306" y="1550"/>
                  </a:moveTo>
                  <a:lnTo>
                    <a:pt x="306" y="1550"/>
                  </a:lnTo>
                  <a:lnTo>
                    <a:pt x="304" y="1546"/>
                  </a:lnTo>
                  <a:lnTo>
                    <a:pt x="302" y="1544"/>
                  </a:lnTo>
                  <a:lnTo>
                    <a:pt x="300" y="1544"/>
                  </a:lnTo>
                  <a:lnTo>
                    <a:pt x="300" y="1546"/>
                  </a:lnTo>
                  <a:lnTo>
                    <a:pt x="302" y="1548"/>
                  </a:lnTo>
                  <a:lnTo>
                    <a:pt x="306" y="1550"/>
                  </a:lnTo>
                  <a:close/>
                  <a:moveTo>
                    <a:pt x="294" y="1582"/>
                  </a:moveTo>
                  <a:lnTo>
                    <a:pt x="294" y="1582"/>
                  </a:lnTo>
                  <a:lnTo>
                    <a:pt x="296" y="1580"/>
                  </a:lnTo>
                  <a:lnTo>
                    <a:pt x="294" y="1576"/>
                  </a:lnTo>
                  <a:lnTo>
                    <a:pt x="290" y="1572"/>
                  </a:lnTo>
                  <a:lnTo>
                    <a:pt x="288" y="1572"/>
                  </a:lnTo>
                  <a:lnTo>
                    <a:pt x="286" y="1574"/>
                  </a:lnTo>
                  <a:lnTo>
                    <a:pt x="286" y="1576"/>
                  </a:lnTo>
                  <a:lnTo>
                    <a:pt x="290" y="1580"/>
                  </a:lnTo>
                  <a:lnTo>
                    <a:pt x="294" y="1582"/>
                  </a:lnTo>
                  <a:close/>
                  <a:moveTo>
                    <a:pt x="134" y="1350"/>
                  </a:moveTo>
                  <a:lnTo>
                    <a:pt x="134" y="1350"/>
                  </a:lnTo>
                  <a:lnTo>
                    <a:pt x="134" y="1354"/>
                  </a:lnTo>
                  <a:lnTo>
                    <a:pt x="134" y="1356"/>
                  </a:lnTo>
                  <a:lnTo>
                    <a:pt x="138" y="1360"/>
                  </a:lnTo>
                  <a:lnTo>
                    <a:pt x="140" y="1362"/>
                  </a:lnTo>
                  <a:lnTo>
                    <a:pt x="144" y="1364"/>
                  </a:lnTo>
                  <a:lnTo>
                    <a:pt x="150" y="1372"/>
                  </a:lnTo>
                  <a:lnTo>
                    <a:pt x="154" y="1374"/>
                  </a:lnTo>
                  <a:lnTo>
                    <a:pt x="154" y="1370"/>
                  </a:lnTo>
                  <a:lnTo>
                    <a:pt x="152" y="1364"/>
                  </a:lnTo>
                  <a:lnTo>
                    <a:pt x="148" y="1360"/>
                  </a:lnTo>
                  <a:lnTo>
                    <a:pt x="146" y="1358"/>
                  </a:lnTo>
                  <a:lnTo>
                    <a:pt x="144" y="1358"/>
                  </a:lnTo>
                  <a:lnTo>
                    <a:pt x="142" y="1354"/>
                  </a:lnTo>
                  <a:lnTo>
                    <a:pt x="140" y="1350"/>
                  </a:lnTo>
                  <a:lnTo>
                    <a:pt x="136" y="1348"/>
                  </a:lnTo>
                  <a:lnTo>
                    <a:pt x="134" y="1348"/>
                  </a:lnTo>
                  <a:lnTo>
                    <a:pt x="134" y="1350"/>
                  </a:lnTo>
                  <a:close/>
                  <a:moveTo>
                    <a:pt x="138" y="1658"/>
                  </a:moveTo>
                  <a:lnTo>
                    <a:pt x="138" y="1658"/>
                  </a:lnTo>
                  <a:lnTo>
                    <a:pt x="140" y="1652"/>
                  </a:lnTo>
                  <a:lnTo>
                    <a:pt x="138" y="1650"/>
                  </a:lnTo>
                  <a:lnTo>
                    <a:pt x="136" y="1650"/>
                  </a:lnTo>
                  <a:lnTo>
                    <a:pt x="132" y="1652"/>
                  </a:lnTo>
                  <a:lnTo>
                    <a:pt x="128" y="1652"/>
                  </a:lnTo>
                  <a:lnTo>
                    <a:pt x="124" y="1652"/>
                  </a:lnTo>
                  <a:lnTo>
                    <a:pt x="122" y="1654"/>
                  </a:lnTo>
                  <a:lnTo>
                    <a:pt x="120" y="1656"/>
                  </a:lnTo>
                  <a:lnTo>
                    <a:pt x="122" y="1656"/>
                  </a:lnTo>
                  <a:lnTo>
                    <a:pt x="126" y="1660"/>
                  </a:lnTo>
                  <a:lnTo>
                    <a:pt x="134" y="1660"/>
                  </a:lnTo>
                  <a:lnTo>
                    <a:pt x="136" y="1660"/>
                  </a:lnTo>
                  <a:lnTo>
                    <a:pt x="138" y="1658"/>
                  </a:lnTo>
                  <a:close/>
                  <a:moveTo>
                    <a:pt x="124" y="1360"/>
                  </a:moveTo>
                  <a:lnTo>
                    <a:pt x="124" y="1360"/>
                  </a:lnTo>
                  <a:lnTo>
                    <a:pt x="122" y="1360"/>
                  </a:lnTo>
                  <a:lnTo>
                    <a:pt x="124" y="1362"/>
                  </a:lnTo>
                  <a:lnTo>
                    <a:pt x="132" y="1368"/>
                  </a:lnTo>
                  <a:lnTo>
                    <a:pt x="134" y="1370"/>
                  </a:lnTo>
                  <a:lnTo>
                    <a:pt x="138" y="1368"/>
                  </a:lnTo>
                  <a:lnTo>
                    <a:pt x="138" y="1366"/>
                  </a:lnTo>
                  <a:lnTo>
                    <a:pt x="136" y="1362"/>
                  </a:lnTo>
                  <a:lnTo>
                    <a:pt x="132" y="1358"/>
                  </a:lnTo>
                  <a:lnTo>
                    <a:pt x="130" y="1358"/>
                  </a:lnTo>
                  <a:lnTo>
                    <a:pt x="124" y="1360"/>
                  </a:lnTo>
                  <a:close/>
                  <a:moveTo>
                    <a:pt x="162" y="1352"/>
                  </a:moveTo>
                  <a:lnTo>
                    <a:pt x="162" y="1352"/>
                  </a:lnTo>
                  <a:lnTo>
                    <a:pt x="162" y="1348"/>
                  </a:lnTo>
                  <a:lnTo>
                    <a:pt x="160" y="1344"/>
                  </a:lnTo>
                  <a:lnTo>
                    <a:pt x="160" y="1350"/>
                  </a:lnTo>
                  <a:lnTo>
                    <a:pt x="160" y="1352"/>
                  </a:lnTo>
                  <a:lnTo>
                    <a:pt x="162" y="1352"/>
                  </a:lnTo>
                  <a:close/>
                  <a:moveTo>
                    <a:pt x="128" y="1670"/>
                  </a:moveTo>
                  <a:lnTo>
                    <a:pt x="128" y="1670"/>
                  </a:lnTo>
                  <a:lnTo>
                    <a:pt x="126" y="1670"/>
                  </a:lnTo>
                  <a:lnTo>
                    <a:pt x="124" y="1672"/>
                  </a:lnTo>
                  <a:lnTo>
                    <a:pt x="122" y="1678"/>
                  </a:lnTo>
                  <a:lnTo>
                    <a:pt x="124" y="1686"/>
                  </a:lnTo>
                  <a:lnTo>
                    <a:pt x="126" y="1688"/>
                  </a:lnTo>
                  <a:lnTo>
                    <a:pt x="128" y="1688"/>
                  </a:lnTo>
                  <a:lnTo>
                    <a:pt x="130" y="1688"/>
                  </a:lnTo>
                  <a:lnTo>
                    <a:pt x="130" y="1684"/>
                  </a:lnTo>
                  <a:lnTo>
                    <a:pt x="128" y="1682"/>
                  </a:lnTo>
                  <a:lnTo>
                    <a:pt x="128" y="1680"/>
                  </a:lnTo>
                  <a:lnTo>
                    <a:pt x="130" y="1678"/>
                  </a:lnTo>
                  <a:lnTo>
                    <a:pt x="132" y="1674"/>
                  </a:lnTo>
                  <a:lnTo>
                    <a:pt x="130" y="1672"/>
                  </a:lnTo>
                  <a:lnTo>
                    <a:pt x="128" y="1670"/>
                  </a:lnTo>
                  <a:close/>
                  <a:moveTo>
                    <a:pt x="238" y="1920"/>
                  </a:moveTo>
                  <a:lnTo>
                    <a:pt x="238" y="1920"/>
                  </a:lnTo>
                  <a:lnTo>
                    <a:pt x="236" y="1924"/>
                  </a:lnTo>
                  <a:lnTo>
                    <a:pt x="238" y="1926"/>
                  </a:lnTo>
                  <a:lnTo>
                    <a:pt x="240" y="1930"/>
                  </a:lnTo>
                  <a:lnTo>
                    <a:pt x="246" y="1930"/>
                  </a:lnTo>
                  <a:lnTo>
                    <a:pt x="248" y="1930"/>
                  </a:lnTo>
                  <a:lnTo>
                    <a:pt x="252" y="1926"/>
                  </a:lnTo>
                  <a:lnTo>
                    <a:pt x="252" y="1924"/>
                  </a:lnTo>
                  <a:lnTo>
                    <a:pt x="254" y="1920"/>
                  </a:lnTo>
                  <a:lnTo>
                    <a:pt x="252" y="1918"/>
                  </a:lnTo>
                  <a:lnTo>
                    <a:pt x="250" y="1916"/>
                  </a:lnTo>
                  <a:lnTo>
                    <a:pt x="248" y="1914"/>
                  </a:lnTo>
                  <a:lnTo>
                    <a:pt x="244" y="1916"/>
                  </a:lnTo>
                  <a:lnTo>
                    <a:pt x="240" y="1916"/>
                  </a:lnTo>
                  <a:lnTo>
                    <a:pt x="238" y="1920"/>
                  </a:lnTo>
                  <a:close/>
                  <a:moveTo>
                    <a:pt x="232" y="1878"/>
                  </a:moveTo>
                  <a:lnTo>
                    <a:pt x="232" y="1878"/>
                  </a:lnTo>
                  <a:lnTo>
                    <a:pt x="236" y="1878"/>
                  </a:lnTo>
                  <a:lnTo>
                    <a:pt x="240" y="1876"/>
                  </a:lnTo>
                  <a:lnTo>
                    <a:pt x="246" y="1870"/>
                  </a:lnTo>
                  <a:lnTo>
                    <a:pt x="248" y="1862"/>
                  </a:lnTo>
                  <a:lnTo>
                    <a:pt x="246" y="1858"/>
                  </a:lnTo>
                  <a:lnTo>
                    <a:pt x="244" y="1856"/>
                  </a:lnTo>
                  <a:lnTo>
                    <a:pt x="240" y="1858"/>
                  </a:lnTo>
                  <a:lnTo>
                    <a:pt x="234" y="1866"/>
                  </a:lnTo>
                  <a:lnTo>
                    <a:pt x="230" y="1874"/>
                  </a:lnTo>
                  <a:lnTo>
                    <a:pt x="230" y="1876"/>
                  </a:lnTo>
                  <a:lnTo>
                    <a:pt x="232" y="1878"/>
                  </a:lnTo>
                  <a:close/>
                  <a:moveTo>
                    <a:pt x="290" y="1568"/>
                  </a:moveTo>
                  <a:lnTo>
                    <a:pt x="290" y="1568"/>
                  </a:lnTo>
                  <a:lnTo>
                    <a:pt x="294" y="1572"/>
                  </a:lnTo>
                  <a:lnTo>
                    <a:pt x="298" y="1572"/>
                  </a:lnTo>
                  <a:lnTo>
                    <a:pt x="302" y="1572"/>
                  </a:lnTo>
                  <a:lnTo>
                    <a:pt x="304" y="1572"/>
                  </a:lnTo>
                  <a:lnTo>
                    <a:pt x="306" y="1574"/>
                  </a:lnTo>
                  <a:lnTo>
                    <a:pt x="310" y="1574"/>
                  </a:lnTo>
                  <a:lnTo>
                    <a:pt x="312" y="1572"/>
                  </a:lnTo>
                  <a:lnTo>
                    <a:pt x="312" y="1570"/>
                  </a:lnTo>
                  <a:lnTo>
                    <a:pt x="310" y="1568"/>
                  </a:lnTo>
                  <a:lnTo>
                    <a:pt x="310" y="1570"/>
                  </a:lnTo>
                  <a:lnTo>
                    <a:pt x="308" y="1570"/>
                  </a:lnTo>
                  <a:lnTo>
                    <a:pt x="308" y="1568"/>
                  </a:lnTo>
                  <a:lnTo>
                    <a:pt x="304" y="1566"/>
                  </a:lnTo>
                  <a:lnTo>
                    <a:pt x="302" y="1566"/>
                  </a:lnTo>
                  <a:lnTo>
                    <a:pt x="300" y="1566"/>
                  </a:lnTo>
                  <a:lnTo>
                    <a:pt x="300" y="1564"/>
                  </a:lnTo>
                  <a:lnTo>
                    <a:pt x="302" y="1560"/>
                  </a:lnTo>
                  <a:lnTo>
                    <a:pt x="300" y="1560"/>
                  </a:lnTo>
                  <a:lnTo>
                    <a:pt x="296" y="1556"/>
                  </a:lnTo>
                  <a:lnTo>
                    <a:pt x="292" y="1556"/>
                  </a:lnTo>
                  <a:lnTo>
                    <a:pt x="290" y="1560"/>
                  </a:lnTo>
                  <a:lnTo>
                    <a:pt x="288" y="1564"/>
                  </a:lnTo>
                  <a:lnTo>
                    <a:pt x="290" y="1568"/>
                  </a:lnTo>
                  <a:close/>
                  <a:moveTo>
                    <a:pt x="208" y="1778"/>
                  </a:moveTo>
                  <a:lnTo>
                    <a:pt x="208" y="1778"/>
                  </a:lnTo>
                  <a:lnTo>
                    <a:pt x="206" y="1784"/>
                  </a:lnTo>
                  <a:lnTo>
                    <a:pt x="206" y="1788"/>
                  </a:lnTo>
                  <a:lnTo>
                    <a:pt x="210" y="1792"/>
                  </a:lnTo>
                  <a:lnTo>
                    <a:pt x="214" y="1792"/>
                  </a:lnTo>
                  <a:lnTo>
                    <a:pt x="216" y="1792"/>
                  </a:lnTo>
                  <a:lnTo>
                    <a:pt x="218" y="1788"/>
                  </a:lnTo>
                  <a:lnTo>
                    <a:pt x="216" y="1782"/>
                  </a:lnTo>
                  <a:lnTo>
                    <a:pt x="212" y="1776"/>
                  </a:lnTo>
                  <a:lnTo>
                    <a:pt x="210" y="1776"/>
                  </a:lnTo>
                  <a:lnTo>
                    <a:pt x="208" y="1778"/>
                  </a:lnTo>
                  <a:close/>
                  <a:moveTo>
                    <a:pt x="618" y="1434"/>
                  </a:moveTo>
                  <a:lnTo>
                    <a:pt x="618" y="1434"/>
                  </a:lnTo>
                  <a:lnTo>
                    <a:pt x="620" y="1434"/>
                  </a:lnTo>
                  <a:lnTo>
                    <a:pt x="622" y="1430"/>
                  </a:lnTo>
                  <a:lnTo>
                    <a:pt x="622" y="1428"/>
                  </a:lnTo>
                  <a:lnTo>
                    <a:pt x="620" y="1426"/>
                  </a:lnTo>
                  <a:lnTo>
                    <a:pt x="616" y="1430"/>
                  </a:lnTo>
                  <a:lnTo>
                    <a:pt x="616" y="1432"/>
                  </a:lnTo>
                  <a:lnTo>
                    <a:pt x="618" y="1434"/>
                  </a:lnTo>
                  <a:close/>
                  <a:moveTo>
                    <a:pt x="882" y="1770"/>
                  </a:moveTo>
                  <a:lnTo>
                    <a:pt x="882" y="1770"/>
                  </a:lnTo>
                  <a:lnTo>
                    <a:pt x="876" y="1774"/>
                  </a:lnTo>
                  <a:lnTo>
                    <a:pt x="870" y="1774"/>
                  </a:lnTo>
                  <a:lnTo>
                    <a:pt x="866" y="1772"/>
                  </a:lnTo>
                  <a:lnTo>
                    <a:pt x="860" y="1774"/>
                  </a:lnTo>
                  <a:lnTo>
                    <a:pt x="860" y="1776"/>
                  </a:lnTo>
                  <a:lnTo>
                    <a:pt x="864" y="1778"/>
                  </a:lnTo>
                  <a:lnTo>
                    <a:pt x="870" y="1782"/>
                  </a:lnTo>
                  <a:lnTo>
                    <a:pt x="870" y="1784"/>
                  </a:lnTo>
                  <a:lnTo>
                    <a:pt x="870" y="1786"/>
                  </a:lnTo>
                  <a:lnTo>
                    <a:pt x="870" y="1788"/>
                  </a:lnTo>
                  <a:lnTo>
                    <a:pt x="872" y="1790"/>
                  </a:lnTo>
                  <a:lnTo>
                    <a:pt x="874" y="1792"/>
                  </a:lnTo>
                  <a:lnTo>
                    <a:pt x="872" y="1796"/>
                  </a:lnTo>
                  <a:lnTo>
                    <a:pt x="870" y="1798"/>
                  </a:lnTo>
                  <a:lnTo>
                    <a:pt x="872" y="1800"/>
                  </a:lnTo>
                  <a:lnTo>
                    <a:pt x="874" y="1800"/>
                  </a:lnTo>
                  <a:lnTo>
                    <a:pt x="876" y="1804"/>
                  </a:lnTo>
                  <a:lnTo>
                    <a:pt x="876" y="1806"/>
                  </a:lnTo>
                  <a:lnTo>
                    <a:pt x="878" y="1806"/>
                  </a:lnTo>
                  <a:lnTo>
                    <a:pt x="882" y="1806"/>
                  </a:lnTo>
                  <a:lnTo>
                    <a:pt x="886" y="1806"/>
                  </a:lnTo>
                  <a:lnTo>
                    <a:pt x="888" y="1808"/>
                  </a:lnTo>
                  <a:lnTo>
                    <a:pt x="892" y="1806"/>
                  </a:lnTo>
                  <a:lnTo>
                    <a:pt x="894" y="1808"/>
                  </a:lnTo>
                  <a:lnTo>
                    <a:pt x="896" y="1810"/>
                  </a:lnTo>
                  <a:lnTo>
                    <a:pt x="896" y="1814"/>
                  </a:lnTo>
                  <a:lnTo>
                    <a:pt x="894" y="1814"/>
                  </a:lnTo>
                  <a:lnTo>
                    <a:pt x="892" y="1814"/>
                  </a:lnTo>
                  <a:lnTo>
                    <a:pt x="890" y="1816"/>
                  </a:lnTo>
                  <a:lnTo>
                    <a:pt x="892" y="1816"/>
                  </a:lnTo>
                  <a:lnTo>
                    <a:pt x="894" y="1818"/>
                  </a:lnTo>
                  <a:lnTo>
                    <a:pt x="898" y="1820"/>
                  </a:lnTo>
                  <a:lnTo>
                    <a:pt x="898" y="1822"/>
                  </a:lnTo>
                  <a:lnTo>
                    <a:pt x="896" y="1824"/>
                  </a:lnTo>
                  <a:lnTo>
                    <a:pt x="896" y="1826"/>
                  </a:lnTo>
                  <a:lnTo>
                    <a:pt x="900" y="1832"/>
                  </a:lnTo>
                  <a:lnTo>
                    <a:pt x="902" y="1836"/>
                  </a:lnTo>
                  <a:lnTo>
                    <a:pt x="904" y="1840"/>
                  </a:lnTo>
                  <a:lnTo>
                    <a:pt x="904" y="1844"/>
                  </a:lnTo>
                  <a:lnTo>
                    <a:pt x="906" y="1846"/>
                  </a:lnTo>
                  <a:lnTo>
                    <a:pt x="906" y="1848"/>
                  </a:lnTo>
                  <a:lnTo>
                    <a:pt x="908" y="1848"/>
                  </a:lnTo>
                  <a:lnTo>
                    <a:pt x="908" y="1844"/>
                  </a:lnTo>
                  <a:lnTo>
                    <a:pt x="908" y="1838"/>
                  </a:lnTo>
                  <a:lnTo>
                    <a:pt x="910" y="1834"/>
                  </a:lnTo>
                  <a:lnTo>
                    <a:pt x="912" y="1832"/>
                  </a:lnTo>
                  <a:lnTo>
                    <a:pt x="912" y="1828"/>
                  </a:lnTo>
                  <a:lnTo>
                    <a:pt x="908" y="1824"/>
                  </a:lnTo>
                  <a:lnTo>
                    <a:pt x="902" y="1822"/>
                  </a:lnTo>
                  <a:lnTo>
                    <a:pt x="904" y="1822"/>
                  </a:lnTo>
                  <a:lnTo>
                    <a:pt x="906" y="1820"/>
                  </a:lnTo>
                  <a:lnTo>
                    <a:pt x="910" y="1820"/>
                  </a:lnTo>
                  <a:lnTo>
                    <a:pt x="912" y="1818"/>
                  </a:lnTo>
                  <a:lnTo>
                    <a:pt x="912" y="1816"/>
                  </a:lnTo>
                  <a:lnTo>
                    <a:pt x="912" y="1812"/>
                  </a:lnTo>
                  <a:lnTo>
                    <a:pt x="912" y="1810"/>
                  </a:lnTo>
                  <a:lnTo>
                    <a:pt x="912" y="1808"/>
                  </a:lnTo>
                  <a:lnTo>
                    <a:pt x="918" y="1804"/>
                  </a:lnTo>
                  <a:lnTo>
                    <a:pt x="924" y="1802"/>
                  </a:lnTo>
                  <a:lnTo>
                    <a:pt x="926" y="1800"/>
                  </a:lnTo>
                  <a:lnTo>
                    <a:pt x="924" y="1798"/>
                  </a:lnTo>
                  <a:lnTo>
                    <a:pt x="918" y="1794"/>
                  </a:lnTo>
                  <a:lnTo>
                    <a:pt x="914" y="1790"/>
                  </a:lnTo>
                  <a:lnTo>
                    <a:pt x="914" y="1788"/>
                  </a:lnTo>
                  <a:lnTo>
                    <a:pt x="916" y="1784"/>
                  </a:lnTo>
                  <a:lnTo>
                    <a:pt x="922" y="1782"/>
                  </a:lnTo>
                  <a:lnTo>
                    <a:pt x="926" y="1782"/>
                  </a:lnTo>
                  <a:lnTo>
                    <a:pt x="928" y="1778"/>
                  </a:lnTo>
                  <a:lnTo>
                    <a:pt x="928" y="1772"/>
                  </a:lnTo>
                  <a:lnTo>
                    <a:pt x="928" y="1764"/>
                  </a:lnTo>
                  <a:lnTo>
                    <a:pt x="930" y="1758"/>
                  </a:lnTo>
                  <a:lnTo>
                    <a:pt x="932" y="1754"/>
                  </a:lnTo>
                  <a:lnTo>
                    <a:pt x="930" y="1752"/>
                  </a:lnTo>
                  <a:lnTo>
                    <a:pt x="920" y="1750"/>
                  </a:lnTo>
                  <a:lnTo>
                    <a:pt x="914" y="1750"/>
                  </a:lnTo>
                  <a:lnTo>
                    <a:pt x="908" y="1752"/>
                  </a:lnTo>
                  <a:lnTo>
                    <a:pt x="904" y="1756"/>
                  </a:lnTo>
                  <a:lnTo>
                    <a:pt x="902" y="1760"/>
                  </a:lnTo>
                  <a:lnTo>
                    <a:pt x="904" y="1762"/>
                  </a:lnTo>
                  <a:lnTo>
                    <a:pt x="904" y="1764"/>
                  </a:lnTo>
                  <a:lnTo>
                    <a:pt x="900" y="1772"/>
                  </a:lnTo>
                  <a:lnTo>
                    <a:pt x="898" y="1776"/>
                  </a:lnTo>
                  <a:lnTo>
                    <a:pt x="896" y="1774"/>
                  </a:lnTo>
                  <a:lnTo>
                    <a:pt x="896" y="1770"/>
                  </a:lnTo>
                  <a:lnTo>
                    <a:pt x="898" y="1762"/>
                  </a:lnTo>
                  <a:lnTo>
                    <a:pt x="896" y="1760"/>
                  </a:lnTo>
                  <a:lnTo>
                    <a:pt x="894" y="1760"/>
                  </a:lnTo>
                  <a:lnTo>
                    <a:pt x="890" y="1760"/>
                  </a:lnTo>
                  <a:lnTo>
                    <a:pt x="884" y="1758"/>
                  </a:lnTo>
                  <a:lnTo>
                    <a:pt x="880" y="1758"/>
                  </a:lnTo>
                  <a:lnTo>
                    <a:pt x="876" y="1758"/>
                  </a:lnTo>
                  <a:lnTo>
                    <a:pt x="878" y="1760"/>
                  </a:lnTo>
                  <a:lnTo>
                    <a:pt x="882" y="1762"/>
                  </a:lnTo>
                  <a:lnTo>
                    <a:pt x="886" y="1764"/>
                  </a:lnTo>
                  <a:lnTo>
                    <a:pt x="884" y="1768"/>
                  </a:lnTo>
                  <a:lnTo>
                    <a:pt x="882" y="1770"/>
                  </a:lnTo>
                  <a:close/>
                  <a:moveTo>
                    <a:pt x="850" y="1762"/>
                  </a:moveTo>
                  <a:lnTo>
                    <a:pt x="850" y="1762"/>
                  </a:lnTo>
                  <a:lnTo>
                    <a:pt x="848" y="1760"/>
                  </a:lnTo>
                  <a:lnTo>
                    <a:pt x="846" y="1764"/>
                  </a:lnTo>
                  <a:lnTo>
                    <a:pt x="848" y="1768"/>
                  </a:lnTo>
                  <a:lnTo>
                    <a:pt x="848" y="1772"/>
                  </a:lnTo>
                  <a:lnTo>
                    <a:pt x="850" y="1772"/>
                  </a:lnTo>
                  <a:lnTo>
                    <a:pt x="850" y="1770"/>
                  </a:lnTo>
                  <a:lnTo>
                    <a:pt x="852" y="1766"/>
                  </a:lnTo>
                  <a:lnTo>
                    <a:pt x="850" y="1762"/>
                  </a:lnTo>
                  <a:close/>
                  <a:moveTo>
                    <a:pt x="834" y="1814"/>
                  </a:moveTo>
                  <a:lnTo>
                    <a:pt x="834" y="1814"/>
                  </a:lnTo>
                  <a:lnTo>
                    <a:pt x="846" y="1816"/>
                  </a:lnTo>
                  <a:lnTo>
                    <a:pt x="852" y="1814"/>
                  </a:lnTo>
                  <a:lnTo>
                    <a:pt x="856" y="1812"/>
                  </a:lnTo>
                  <a:lnTo>
                    <a:pt x="858" y="1808"/>
                  </a:lnTo>
                  <a:lnTo>
                    <a:pt x="858" y="1806"/>
                  </a:lnTo>
                  <a:lnTo>
                    <a:pt x="858" y="1800"/>
                  </a:lnTo>
                  <a:lnTo>
                    <a:pt x="856" y="1794"/>
                  </a:lnTo>
                  <a:lnTo>
                    <a:pt x="856" y="1790"/>
                  </a:lnTo>
                  <a:lnTo>
                    <a:pt x="856" y="1788"/>
                  </a:lnTo>
                  <a:lnTo>
                    <a:pt x="852" y="1784"/>
                  </a:lnTo>
                  <a:lnTo>
                    <a:pt x="850" y="1782"/>
                  </a:lnTo>
                  <a:lnTo>
                    <a:pt x="850" y="1784"/>
                  </a:lnTo>
                  <a:lnTo>
                    <a:pt x="848" y="1786"/>
                  </a:lnTo>
                  <a:lnTo>
                    <a:pt x="840" y="1782"/>
                  </a:lnTo>
                  <a:lnTo>
                    <a:pt x="836" y="1782"/>
                  </a:lnTo>
                  <a:lnTo>
                    <a:pt x="830" y="1784"/>
                  </a:lnTo>
                  <a:lnTo>
                    <a:pt x="824" y="1786"/>
                  </a:lnTo>
                  <a:lnTo>
                    <a:pt x="818" y="1786"/>
                  </a:lnTo>
                  <a:lnTo>
                    <a:pt x="816" y="1786"/>
                  </a:lnTo>
                  <a:lnTo>
                    <a:pt x="814" y="1788"/>
                  </a:lnTo>
                  <a:lnTo>
                    <a:pt x="814" y="1790"/>
                  </a:lnTo>
                  <a:lnTo>
                    <a:pt x="816" y="1792"/>
                  </a:lnTo>
                  <a:lnTo>
                    <a:pt x="820" y="1798"/>
                  </a:lnTo>
                  <a:lnTo>
                    <a:pt x="824" y="1806"/>
                  </a:lnTo>
                  <a:lnTo>
                    <a:pt x="824" y="1810"/>
                  </a:lnTo>
                  <a:lnTo>
                    <a:pt x="826" y="1808"/>
                  </a:lnTo>
                  <a:lnTo>
                    <a:pt x="828" y="1808"/>
                  </a:lnTo>
                  <a:lnTo>
                    <a:pt x="830" y="1808"/>
                  </a:lnTo>
                  <a:lnTo>
                    <a:pt x="830" y="1810"/>
                  </a:lnTo>
                  <a:lnTo>
                    <a:pt x="830" y="1812"/>
                  </a:lnTo>
                  <a:lnTo>
                    <a:pt x="830" y="1814"/>
                  </a:lnTo>
                  <a:lnTo>
                    <a:pt x="834" y="1814"/>
                  </a:lnTo>
                  <a:close/>
                  <a:moveTo>
                    <a:pt x="898" y="1832"/>
                  </a:moveTo>
                  <a:lnTo>
                    <a:pt x="898" y="1832"/>
                  </a:lnTo>
                  <a:lnTo>
                    <a:pt x="894" y="1826"/>
                  </a:lnTo>
                  <a:lnTo>
                    <a:pt x="892" y="1826"/>
                  </a:lnTo>
                  <a:lnTo>
                    <a:pt x="890" y="1828"/>
                  </a:lnTo>
                  <a:lnTo>
                    <a:pt x="890" y="1830"/>
                  </a:lnTo>
                  <a:lnTo>
                    <a:pt x="888" y="1830"/>
                  </a:lnTo>
                  <a:lnTo>
                    <a:pt x="878" y="1824"/>
                  </a:lnTo>
                  <a:lnTo>
                    <a:pt x="872" y="1822"/>
                  </a:lnTo>
                  <a:lnTo>
                    <a:pt x="868" y="1822"/>
                  </a:lnTo>
                  <a:lnTo>
                    <a:pt x="866" y="1826"/>
                  </a:lnTo>
                  <a:lnTo>
                    <a:pt x="866" y="1830"/>
                  </a:lnTo>
                  <a:lnTo>
                    <a:pt x="870" y="1834"/>
                  </a:lnTo>
                  <a:lnTo>
                    <a:pt x="876" y="1838"/>
                  </a:lnTo>
                  <a:lnTo>
                    <a:pt x="886" y="1840"/>
                  </a:lnTo>
                  <a:lnTo>
                    <a:pt x="894" y="1842"/>
                  </a:lnTo>
                  <a:lnTo>
                    <a:pt x="898" y="1842"/>
                  </a:lnTo>
                  <a:lnTo>
                    <a:pt x="900" y="1840"/>
                  </a:lnTo>
                  <a:lnTo>
                    <a:pt x="898" y="1832"/>
                  </a:lnTo>
                  <a:close/>
                  <a:moveTo>
                    <a:pt x="914" y="1822"/>
                  </a:moveTo>
                  <a:lnTo>
                    <a:pt x="914" y="1822"/>
                  </a:lnTo>
                  <a:lnTo>
                    <a:pt x="912" y="1824"/>
                  </a:lnTo>
                  <a:lnTo>
                    <a:pt x="914" y="1826"/>
                  </a:lnTo>
                  <a:lnTo>
                    <a:pt x="918" y="1824"/>
                  </a:lnTo>
                  <a:lnTo>
                    <a:pt x="924" y="1820"/>
                  </a:lnTo>
                  <a:lnTo>
                    <a:pt x="926" y="1820"/>
                  </a:lnTo>
                  <a:lnTo>
                    <a:pt x="926" y="1818"/>
                  </a:lnTo>
                  <a:lnTo>
                    <a:pt x="922" y="1816"/>
                  </a:lnTo>
                  <a:lnTo>
                    <a:pt x="918" y="1816"/>
                  </a:lnTo>
                  <a:lnTo>
                    <a:pt x="914" y="1822"/>
                  </a:lnTo>
                  <a:close/>
                  <a:moveTo>
                    <a:pt x="868" y="1848"/>
                  </a:moveTo>
                  <a:lnTo>
                    <a:pt x="868" y="1848"/>
                  </a:lnTo>
                  <a:lnTo>
                    <a:pt x="866" y="1850"/>
                  </a:lnTo>
                  <a:lnTo>
                    <a:pt x="868" y="1852"/>
                  </a:lnTo>
                  <a:lnTo>
                    <a:pt x="872" y="1854"/>
                  </a:lnTo>
                  <a:lnTo>
                    <a:pt x="876" y="1854"/>
                  </a:lnTo>
                  <a:lnTo>
                    <a:pt x="880" y="1854"/>
                  </a:lnTo>
                  <a:lnTo>
                    <a:pt x="878" y="1852"/>
                  </a:lnTo>
                  <a:lnTo>
                    <a:pt x="876" y="1848"/>
                  </a:lnTo>
                  <a:lnTo>
                    <a:pt x="872" y="1848"/>
                  </a:lnTo>
                  <a:lnTo>
                    <a:pt x="868" y="1848"/>
                  </a:lnTo>
                  <a:close/>
                  <a:moveTo>
                    <a:pt x="1030" y="1820"/>
                  </a:moveTo>
                  <a:lnTo>
                    <a:pt x="1030" y="1820"/>
                  </a:lnTo>
                  <a:lnTo>
                    <a:pt x="1032" y="1818"/>
                  </a:lnTo>
                  <a:lnTo>
                    <a:pt x="1034" y="1814"/>
                  </a:lnTo>
                  <a:lnTo>
                    <a:pt x="1032" y="1810"/>
                  </a:lnTo>
                  <a:lnTo>
                    <a:pt x="1030" y="1808"/>
                  </a:lnTo>
                  <a:lnTo>
                    <a:pt x="1022" y="1802"/>
                  </a:lnTo>
                  <a:lnTo>
                    <a:pt x="1018" y="1800"/>
                  </a:lnTo>
                  <a:lnTo>
                    <a:pt x="1016" y="1802"/>
                  </a:lnTo>
                  <a:lnTo>
                    <a:pt x="1014" y="1806"/>
                  </a:lnTo>
                  <a:lnTo>
                    <a:pt x="1016" y="1812"/>
                  </a:lnTo>
                  <a:lnTo>
                    <a:pt x="1022" y="1818"/>
                  </a:lnTo>
                  <a:lnTo>
                    <a:pt x="1026" y="1820"/>
                  </a:lnTo>
                  <a:lnTo>
                    <a:pt x="1030" y="1820"/>
                  </a:lnTo>
                  <a:close/>
                  <a:moveTo>
                    <a:pt x="952" y="1846"/>
                  </a:moveTo>
                  <a:lnTo>
                    <a:pt x="952" y="1846"/>
                  </a:lnTo>
                  <a:lnTo>
                    <a:pt x="952" y="1848"/>
                  </a:lnTo>
                  <a:lnTo>
                    <a:pt x="954" y="1850"/>
                  </a:lnTo>
                  <a:lnTo>
                    <a:pt x="954" y="1854"/>
                  </a:lnTo>
                  <a:lnTo>
                    <a:pt x="954" y="1856"/>
                  </a:lnTo>
                  <a:lnTo>
                    <a:pt x="952" y="1858"/>
                  </a:lnTo>
                  <a:lnTo>
                    <a:pt x="952" y="1860"/>
                  </a:lnTo>
                  <a:lnTo>
                    <a:pt x="960" y="1866"/>
                  </a:lnTo>
                  <a:lnTo>
                    <a:pt x="962" y="1866"/>
                  </a:lnTo>
                  <a:lnTo>
                    <a:pt x="964" y="1866"/>
                  </a:lnTo>
                  <a:lnTo>
                    <a:pt x="964" y="1864"/>
                  </a:lnTo>
                  <a:lnTo>
                    <a:pt x="964" y="1862"/>
                  </a:lnTo>
                  <a:lnTo>
                    <a:pt x="966" y="1860"/>
                  </a:lnTo>
                  <a:lnTo>
                    <a:pt x="968" y="1858"/>
                  </a:lnTo>
                  <a:lnTo>
                    <a:pt x="972" y="1862"/>
                  </a:lnTo>
                  <a:lnTo>
                    <a:pt x="976" y="1864"/>
                  </a:lnTo>
                  <a:lnTo>
                    <a:pt x="976" y="1862"/>
                  </a:lnTo>
                  <a:lnTo>
                    <a:pt x="976" y="1860"/>
                  </a:lnTo>
                  <a:lnTo>
                    <a:pt x="972" y="1858"/>
                  </a:lnTo>
                  <a:lnTo>
                    <a:pt x="972" y="1856"/>
                  </a:lnTo>
                  <a:lnTo>
                    <a:pt x="972" y="1854"/>
                  </a:lnTo>
                  <a:lnTo>
                    <a:pt x="974" y="1850"/>
                  </a:lnTo>
                  <a:lnTo>
                    <a:pt x="974" y="1846"/>
                  </a:lnTo>
                  <a:lnTo>
                    <a:pt x="972" y="1846"/>
                  </a:lnTo>
                  <a:lnTo>
                    <a:pt x="970" y="1844"/>
                  </a:lnTo>
                  <a:lnTo>
                    <a:pt x="966" y="1842"/>
                  </a:lnTo>
                  <a:lnTo>
                    <a:pt x="964" y="1840"/>
                  </a:lnTo>
                  <a:lnTo>
                    <a:pt x="960" y="1838"/>
                  </a:lnTo>
                  <a:lnTo>
                    <a:pt x="956" y="1840"/>
                  </a:lnTo>
                  <a:lnTo>
                    <a:pt x="954" y="1842"/>
                  </a:lnTo>
                  <a:lnTo>
                    <a:pt x="958" y="1844"/>
                  </a:lnTo>
                  <a:lnTo>
                    <a:pt x="964" y="1846"/>
                  </a:lnTo>
                  <a:lnTo>
                    <a:pt x="966" y="1848"/>
                  </a:lnTo>
                  <a:lnTo>
                    <a:pt x="964" y="1850"/>
                  </a:lnTo>
                  <a:lnTo>
                    <a:pt x="960" y="1850"/>
                  </a:lnTo>
                  <a:lnTo>
                    <a:pt x="952" y="1846"/>
                  </a:lnTo>
                  <a:close/>
                  <a:moveTo>
                    <a:pt x="862" y="1678"/>
                  </a:moveTo>
                  <a:lnTo>
                    <a:pt x="862" y="1678"/>
                  </a:lnTo>
                  <a:lnTo>
                    <a:pt x="864" y="1678"/>
                  </a:lnTo>
                  <a:lnTo>
                    <a:pt x="868" y="1678"/>
                  </a:lnTo>
                  <a:lnTo>
                    <a:pt x="872" y="1674"/>
                  </a:lnTo>
                  <a:lnTo>
                    <a:pt x="872" y="1672"/>
                  </a:lnTo>
                  <a:lnTo>
                    <a:pt x="868" y="1672"/>
                  </a:lnTo>
                  <a:lnTo>
                    <a:pt x="864" y="1674"/>
                  </a:lnTo>
                  <a:lnTo>
                    <a:pt x="862" y="1678"/>
                  </a:lnTo>
                  <a:close/>
                  <a:moveTo>
                    <a:pt x="860" y="1816"/>
                  </a:moveTo>
                  <a:lnTo>
                    <a:pt x="860" y="1816"/>
                  </a:lnTo>
                  <a:lnTo>
                    <a:pt x="860" y="1814"/>
                  </a:lnTo>
                  <a:lnTo>
                    <a:pt x="860" y="1812"/>
                  </a:lnTo>
                  <a:lnTo>
                    <a:pt x="858" y="1814"/>
                  </a:lnTo>
                  <a:lnTo>
                    <a:pt x="856" y="1818"/>
                  </a:lnTo>
                  <a:lnTo>
                    <a:pt x="850" y="1826"/>
                  </a:lnTo>
                  <a:lnTo>
                    <a:pt x="848" y="1830"/>
                  </a:lnTo>
                  <a:lnTo>
                    <a:pt x="848" y="1834"/>
                  </a:lnTo>
                  <a:lnTo>
                    <a:pt x="850" y="1836"/>
                  </a:lnTo>
                  <a:lnTo>
                    <a:pt x="852" y="1836"/>
                  </a:lnTo>
                  <a:lnTo>
                    <a:pt x="854" y="1830"/>
                  </a:lnTo>
                  <a:lnTo>
                    <a:pt x="860" y="1816"/>
                  </a:lnTo>
                  <a:close/>
                  <a:moveTo>
                    <a:pt x="1100" y="2508"/>
                  </a:moveTo>
                  <a:lnTo>
                    <a:pt x="1100" y="2508"/>
                  </a:lnTo>
                  <a:lnTo>
                    <a:pt x="1102" y="2508"/>
                  </a:lnTo>
                  <a:lnTo>
                    <a:pt x="1100" y="2506"/>
                  </a:lnTo>
                  <a:lnTo>
                    <a:pt x="1094" y="2504"/>
                  </a:lnTo>
                  <a:lnTo>
                    <a:pt x="1086" y="2504"/>
                  </a:lnTo>
                  <a:lnTo>
                    <a:pt x="1084" y="2504"/>
                  </a:lnTo>
                  <a:lnTo>
                    <a:pt x="1084" y="2506"/>
                  </a:lnTo>
                  <a:lnTo>
                    <a:pt x="1086" y="2508"/>
                  </a:lnTo>
                  <a:lnTo>
                    <a:pt x="1092" y="2510"/>
                  </a:lnTo>
                  <a:lnTo>
                    <a:pt x="1096" y="2510"/>
                  </a:lnTo>
                  <a:lnTo>
                    <a:pt x="1100" y="2508"/>
                  </a:lnTo>
                  <a:close/>
                  <a:moveTo>
                    <a:pt x="1092" y="2518"/>
                  </a:moveTo>
                  <a:lnTo>
                    <a:pt x="1092" y="2518"/>
                  </a:lnTo>
                  <a:lnTo>
                    <a:pt x="1108" y="2520"/>
                  </a:lnTo>
                  <a:lnTo>
                    <a:pt x="1110" y="2518"/>
                  </a:lnTo>
                  <a:lnTo>
                    <a:pt x="1108" y="2516"/>
                  </a:lnTo>
                  <a:lnTo>
                    <a:pt x="1100" y="2514"/>
                  </a:lnTo>
                  <a:lnTo>
                    <a:pt x="1086" y="2514"/>
                  </a:lnTo>
                  <a:lnTo>
                    <a:pt x="1084" y="2514"/>
                  </a:lnTo>
                  <a:lnTo>
                    <a:pt x="1082" y="2516"/>
                  </a:lnTo>
                  <a:lnTo>
                    <a:pt x="1092" y="2518"/>
                  </a:lnTo>
                  <a:close/>
                  <a:moveTo>
                    <a:pt x="1108" y="1672"/>
                  </a:moveTo>
                  <a:lnTo>
                    <a:pt x="1108" y="1672"/>
                  </a:lnTo>
                  <a:lnTo>
                    <a:pt x="1106" y="1672"/>
                  </a:lnTo>
                  <a:lnTo>
                    <a:pt x="1104" y="1674"/>
                  </a:lnTo>
                  <a:lnTo>
                    <a:pt x="1102" y="1682"/>
                  </a:lnTo>
                  <a:lnTo>
                    <a:pt x="1100" y="1692"/>
                  </a:lnTo>
                  <a:lnTo>
                    <a:pt x="1094" y="1700"/>
                  </a:lnTo>
                  <a:lnTo>
                    <a:pt x="1090" y="1710"/>
                  </a:lnTo>
                  <a:lnTo>
                    <a:pt x="1086" y="1722"/>
                  </a:lnTo>
                  <a:lnTo>
                    <a:pt x="1084" y="1734"/>
                  </a:lnTo>
                  <a:lnTo>
                    <a:pt x="1084" y="1740"/>
                  </a:lnTo>
                  <a:lnTo>
                    <a:pt x="1086" y="1744"/>
                  </a:lnTo>
                  <a:lnTo>
                    <a:pt x="1090" y="1734"/>
                  </a:lnTo>
                  <a:lnTo>
                    <a:pt x="1100" y="1708"/>
                  </a:lnTo>
                  <a:lnTo>
                    <a:pt x="1108" y="1684"/>
                  </a:lnTo>
                  <a:lnTo>
                    <a:pt x="1110" y="1676"/>
                  </a:lnTo>
                  <a:lnTo>
                    <a:pt x="1110" y="1674"/>
                  </a:lnTo>
                  <a:lnTo>
                    <a:pt x="1108" y="1672"/>
                  </a:lnTo>
                  <a:close/>
                  <a:moveTo>
                    <a:pt x="1804" y="2938"/>
                  </a:moveTo>
                  <a:lnTo>
                    <a:pt x="1804" y="2938"/>
                  </a:lnTo>
                  <a:lnTo>
                    <a:pt x="1810" y="2932"/>
                  </a:lnTo>
                  <a:lnTo>
                    <a:pt x="1812" y="2928"/>
                  </a:lnTo>
                  <a:lnTo>
                    <a:pt x="1808" y="2930"/>
                  </a:lnTo>
                  <a:lnTo>
                    <a:pt x="1800" y="2934"/>
                  </a:lnTo>
                  <a:lnTo>
                    <a:pt x="1790" y="2940"/>
                  </a:lnTo>
                  <a:lnTo>
                    <a:pt x="1776" y="2946"/>
                  </a:lnTo>
                  <a:lnTo>
                    <a:pt x="1768" y="2946"/>
                  </a:lnTo>
                  <a:lnTo>
                    <a:pt x="1760" y="2944"/>
                  </a:lnTo>
                  <a:lnTo>
                    <a:pt x="1754" y="2944"/>
                  </a:lnTo>
                  <a:lnTo>
                    <a:pt x="1750" y="2944"/>
                  </a:lnTo>
                  <a:lnTo>
                    <a:pt x="1748" y="2946"/>
                  </a:lnTo>
                  <a:lnTo>
                    <a:pt x="1748" y="2948"/>
                  </a:lnTo>
                  <a:lnTo>
                    <a:pt x="1748" y="2954"/>
                  </a:lnTo>
                  <a:lnTo>
                    <a:pt x="1746" y="2954"/>
                  </a:lnTo>
                  <a:lnTo>
                    <a:pt x="1742" y="2954"/>
                  </a:lnTo>
                  <a:lnTo>
                    <a:pt x="1736" y="2954"/>
                  </a:lnTo>
                  <a:lnTo>
                    <a:pt x="1732" y="2958"/>
                  </a:lnTo>
                  <a:lnTo>
                    <a:pt x="1730" y="2960"/>
                  </a:lnTo>
                  <a:lnTo>
                    <a:pt x="1726" y="2960"/>
                  </a:lnTo>
                  <a:lnTo>
                    <a:pt x="1722" y="2960"/>
                  </a:lnTo>
                  <a:lnTo>
                    <a:pt x="1722" y="2962"/>
                  </a:lnTo>
                  <a:lnTo>
                    <a:pt x="1726" y="2974"/>
                  </a:lnTo>
                  <a:lnTo>
                    <a:pt x="1728" y="2978"/>
                  </a:lnTo>
                  <a:lnTo>
                    <a:pt x="1732" y="2980"/>
                  </a:lnTo>
                  <a:lnTo>
                    <a:pt x="1736" y="2982"/>
                  </a:lnTo>
                  <a:lnTo>
                    <a:pt x="1742" y="2982"/>
                  </a:lnTo>
                  <a:lnTo>
                    <a:pt x="1748" y="2982"/>
                  </a:lnTo>
                  <a:lnTo>
                    <a:pt x="1750" y="2984"/>
                  </a:lnTo>
                  <a:lnTo>
                    <a:pt x="1752" y="2986"/>
                  </a:lnTo>
                  <a:lnTo>
                    <a:pt x="1754" y="2984"/>
                  </a:lnTo>
                  <a:lnTo>
                    <a:pt x="1754" y="2982"/>
                  </a:lnTo>
                  <a:lnTo>
                    <a:pt x="1756" y="2980"/>
                  </a:lnTo>
                  <a:lnTo>
                    <a:pt x="1764" y="2978"/>
                  </a:lnTo>
                  <a:lnTo>
                    <a:pt x="1770" y="2976"/>
                  </a:lnTo>
                  <a:lnTo>
                    <a:pt x="1774" y="2974"/>
                  </a:lnTo>
                  <a:lnTo>
                    <a:pt x="1776" y="2970"/>
                  </a:lnTo>
                  <a:lnTo>
                    <a:pt x="1780" y="2966"/>
                  </a:lnTo>
                  <a:lnTo>
                    <a:pt x="1782" y="2964"/>
                  </a:lnTo>
                  <a:lnTo>
                    <a:pt x="1790" y="2964"/>
                  </a:lnTo>
                  <a:lnTo>
                    <a:pt x="1794" y="2964"/>
                  </a:lnTo>
                  <a:lnTo>
                    <a:pt x="1796" y="2962"/>
                  </a:lnTo>
                  <a:lnTo>
                    <a:pt x="1794" y="2960"/>
                  </a:lnTo>
                  <a:lnTo>
                    <a:pt x="1790" y="2954"/>
                  </a:lnTo>
                  <a:lnTo>
                    <a:pt x="1790" y="2950"/>
                  </a:lnTo>
                  <a:lnTo>
                    <a:pt x="1796" y="2944"/>
                  </a:lnTo>
                  <a:lnTo>
                    <a:pt x="1804" y="2938"/>
                  </a:lnTo>
                  <a:close/>
                  <a:moveTo>
                    <a:pt x="1538" y="2902"/>
                  </a:moveTo>
                  <a:lnTo>
                    <a:pt x="1538" y="2902"/>
                  </a:lnTo>
                  <a:lnTo>
                    <a:pt x="1540" y="2906"/>
                  </a:lnTo>
                  <a:lnTo>
                    <a:pt x="1538" y="2910"/>
                  </a:lnTo>
                  <a:lnTo>
                    <a:pt x="1538" y="2914"/>
                  </a:lnTo>
                  <a:lnTo>
                    <a:pt x="1542" y="2918"/>
                  </a:lnTo>
                  <a:lnTo>
                    <a:pt x="1544" y="2918"/>
                  </a:lnTo>
                  <a:lnTo>
                    <a:pt x="1548" y="2914"/>
                  </a:lnTo>
                  <a:lnTo>
                    <a:pt x="1554" y="2904"/>
                  </a:lnTo>
                  <a:lnTo>
                    <a:pt x="1558" y="2894"/>
                  </a:lnTo>
                  <a:lnTo>
                    <a:pt x="1560" y="2888"/>
                  </a:lnTo>
                  <a:lnTo>
                    <a:pt x="1560" y="2886"/>
                  </a:lnTo>
                  <a:lnTo>
                    <a:pt x="1558" y="2886"/>
                  </a:lnTo>
                  <a:lnTo>
                    <a:pt x="1554" y="2886"/>
                  </a:lnTo>
                  <a:lnTo>
                    <a:pt x="1546" y="2892"/>
                  </a:lnTo>
                  <a:lnTo>
                    <a:pt x="1540" y="2898"/>
                  </a:lnTo>
                  <a:lnTo>
                    <a:pt x="1538" y="2900"/>
                  </a:lnTo>
                  <a:lnTo>
                    <a:pt x="1538" y="2902"/>
                  </a:lnTo>
                  <a:close/>
                  <a:moveTo>
                    <a:pt x="644" y="1508"/>
                  </a:moveTo>
                  <a:lnTo>
                    <a:pt x="644" y="1508"/>
                  </a:lnTo>
                  <a:lnTo>
                    <a:pt x="646" y="1510"/>
                  </a:lnTo>
                  <a:lnTo>
                    <a:pt x="648" y="1508"/>
                  </a:lnTo>
                  <a:lnTo>
                    <a:pt x="650" y="1500"/>
                  </a:lnTo>
                  <a:lnTo>
                    <a:pt x="650" y="1498"/>
                  </a:lnTo>
                  <a:lnTo>
                    <a:pt x="646" y="1498"/>
                  </a:lnTo>
                  <a:lnTo>
                    <a:pt x="640" y="1500"/>
                  </a:lnTo>
                  <a:lnTo>
                    <a:pt x="636" y="1504"/>
                  </a:lnTo>
                  <a:lnTo>
                    <a:pt x="634" y="1510"/>
                  </a:lnTo>
                  <a:lnTo>
                    <a:pt x="636" y="1514"/>
                  </a:lnTo>
                  <a:lnTo>
                    <a:pt x="638" y="1516"/>
                  </a:lnTo>
                  <a:lnTo>
                    <a:pt x="642" y="1518"/>
                  </a:lnTo>
                  <a:lnTo>
                    <a:pt x="644" y="1516"/>
                  </a:lnTo>
                  <a:lnTo>
                    <a:pt x="644" y="1514"/>
                  </a:lnTo>
                  <a:lnTo>
                    <a:pt x="642" y="1508"/>
                  </a:lnTo>
                  <a:lnTo>
                    <a:pt x="640" y="1506"/>
                  </a:lnTo>
                  <a:lnTo>
                    <a:pt x="644" y="1508"/>
                  </a:lnTo>
                  <a:close/>
                  <a:moveTo>
                    <a:pt x="632" y="1558"/>
                  </a:moveTo>
                  <a:lnTo>
                    <a:pt x="632" y="1558"/>
                  </a:lnTo>
                  <a:lnTo>
                    <a:pt x="634" y="1556"/>
                  </a:lnTo>
                  <a:lnTo>
                    <a:pt x="634" y="1554"/>
                  </a:lnTo>
                  <a:lnTo>
                    <a:pt x="634" y="1548"/>
                  </a:lnTo>
                  <a:lnTo>
                    <a:pt x="630" y="1544"/>
                  </a:lnTo>
                  <a:lnTo>
                    <a:pt x="630" y="1546"/>
                  </a:lnTo>
                  <a:lnTo>
                    <a:pt x="630" y="1554"/>
                  </a:lnTo>
                  <a:lnTo>
                    <a:pt x="630" y="1558"/>
                  </a:lnTo>
                  <a:lnTo>
                    <a:pt x="632" y="1558"/>
                  </a:lnTo>
                  <a:close/>
                  <a:moveTo>
                    <a:pt x="628" y="1528"/>
                  </a:moveTo>
                  <a:lnTo>
                    <a:pt x="628" y="1528"/>
                  </a:lnTo>
                  <a:lnTo>
                    <a:pt x="630" y="1528"/>
                  </a:lnTo>
                  <a:lnTo>
                    <a:pt x="630" y="1526"/>
                  </a:lnTo>
                  <a:lnTo>
                    <a:pt x="632" y="1522"/>
                  </a:lnTo>
                  <a:lnTo>
                    <a:pt x="632" y="1520"/>
                  </a:lnTo>
                  <a:lnTo>
                    <a:pt x="634" y="1520"/>
                  </a:lnTo>
                  <a:lnTo>
                    <a:pt x="634" y="1522"/>
                  </a:lnTo>
                  <a:lnTo>
                    <a:pt x="636" y="1522"/>
                  </a:lnTo>
                  <a:lnTo>
                    <a:pt x="638" y="1522"/>
                  </a:lnTo>
                  <a:lnTo>
                    <a:pt x="638" y="1520"/>
                  </a:lnTo>
                  <a:lnTo>
                    <a:pt x="636" y="1518"/>
                  </a:lnTo>
                  <a:lnTo>
                    <a:pt x="632" y="1514"/>
                  </a:lnTo>
                  <a:lnTo>
                    <a:pt x="628" y="1512"/>
                  </a:lnTo>
                  <a:lnTo>
                    <a:pt x="628" y="1516"/>
                  </a:lnTo>
                  <a:lnTo>
                    <a:pt x="628" y="1528"/>
                  </a:lnTo>
                  <a:close/>
                  <a:moveTo>
                    <a:pt x="1186" y="1636"/>
                  </a:moveTo>
                  <a:lnTo>
                    <a:pt x="1186" y="1636"/>
                  </a:lnTo>
                  <a:lnTo>
                    <a:pt x="1180" y="1640"/>
                  </a:lnTo>
                  <a:lnTo>
                    <a:pt x="1176" y="1638"/>
                  </a:lnTo>
                  <a:lnTo>
                    <a:pt x="1174" y="1638"/>
                  </a:lnTo>
                  <a:lnTo>
                    <a:pt x="1164" y="1646"/>
                  </a:lnTo>
                  <a:lnTo>
                    <a:pt x="1156" y="1656"/>
                  </a:lnTo>
                  <a:lnTo>
                    <a:pt x="1150" y="1666"/>
                  </a:lnTo>
                  <a:lnTo>
                    <a:pt x="1150" y="1676"/>
                  </a:lnTo>
                  <a:lnTo>
                    <a:pt x="1154" y="1682"/>
                  </a:lnTo>
                  <a:lnTo>
                    <a:pt x="1154" y="1686"/>
                  </a:lnTo>
                  <a:lnTo>
                    <a:pt x="1154" y="1690"/>
                  </a:lnTo>
                  <a:lnTo>
                    <a:pt x="1154" y="1696"/>
                  </a:lnTo>
                  <a:lnTo>
                    <a:pt x="1154" y="1700"/>
                  </a:lnTo>
                  <a:lnTo>
                    <a:pt x="1158" y="1700"/>
                  </a:lnTo>
                  <a:lnTo>
                    <a:pt x="1162" y="1696"/>
                  </a:lnTo>
                  <a:lnTo>
                    <a:pt x="1166" y="1690"/>
                  </a:lnTo>
                  <a:lnTo>
                    <a:pt x="1170" y="1682"/>
                  </a:lnTo>
                  <a:lnTo>
                    <a:pt x="1178" y="1674"/>
                  </a:lnTo>
                  <a:lnTo>
                    <a:pt x="1182" y="1670"/>
                  </a:lnTo>
                  <a:lnTo>
                    <a:pt x="1184" y="1666"/>
                  </a:lnTo>
                  <a:lnTo>
                    <a:pt x="1182" y="1662"/>
                  </a:lnTo>
                  <a:lnTo>
                    <a:pt x="1180" y="1658"/>
                  </a:lnTo>
                  <a:lnTo>
                    <a:pt x="1180" y="1656"/>
                  </a:lnTo>
                  <a:lnTo>
                    <a:pt x="1182" y="1652"/>
                  </a:lnTo>
                  <a:lnTo>
                    <a:pt x="1186" y="1646"/>
                  </a:lnTo>
                  <a:lnTo>
                    <a:pt x="1194" y="1638"/>
                  </a:lnTo>
                  <a:lnTo>
                    <a:pt x="1198" y="1632"/>
                  </a:lnTo>
                  <a:lnTo>
                    <a:pt x="1196" y="1630"/>
                  </a:lnTo>
                  <a:lnTo>
                    <a:pt x="1194" y="1632"/>
                  </a:lnTo>
                  <a:lnTo>
                    <a:pt x="1186" y="1636"/>
                  </a:lnTo>
                  <a:close/>
                  <a:moveTo>
                    <a:pt x="1058" y="962"/>
                  </a:moveTo>
                  <a:lnTo>
                    <a:pt x="1058" y="962"/>
                  </a:lnTo>
                  <a:lnTo>
                    <a:pt x="1050" y="960"/>
                  </a:lnTo>
                  <a:lnTo>
                    <a:pt x="1048" y="962"/>
                  </a:lnTo>
                  <a:lnTo>
                    <a:pt x="1046" y="964"/>
                  </a:lnTo>
                  <a:lnTo>
                    <a:pt x="1048" y="964"/>
                  </a:lnTo>
                  <a:lnTo>
                    <a:pt x="1054" y="964"/>
                  </a:lnTo>
                  <a:lnTo>
                    <a:pt x="1058" y="962"/>
                  </a:lnTo>
                  <a:close/>
                  <a:moveTo>
                    <a:pt x="1366" y="1568"/>
                  </a:moveTo>
                  <a:lnTo>
                    <a:pt x="1366" y="1568"/>
                  </a:lnTo>
                  <a:lnTo>
                    <a:pt x="1364" y="1566"/>
                  </a:lnTo>
                  <a:lnTo>
                    <a:pt x="1360" y="1564"/>
                  </a:lnTo>
                  <a:lnTo>
                    <a:pt x="1356" y="1564"/>
                  </a:lnTo>
                  <a:lnTo>
                    <a:pt x="1354" y="1566"/>
                  </a:lnTo>
                  <a:lnTo>
                    <a:pt x="1356" y="1568"/>
                  </a:lnTo>
                  <a:lnTo>
                    <a:pt x="1360" y="1570"/>
                  </a:lnTo>
                  <a:lnTo>
                    <a:pt x="1364" y="1570"/>
                  </a:lnTo>
                  <a:lnTo>
                    <a:pt x="1366" y="1568"/>
                  </a:lnTo>
                  <a:close/>
                  <a:moveTo>
                    <a:pt x="1332" y="1588"/>
                  </a:moveTo>
                  <a:lnTo>
                    <a:pt x="1332" y="1588"/>
                  </a:lnTo>
                  <a:lnTo>
                    <a:pt x="1336" y="1586"/>
                  </a:lnTo>
                  <a:lnTo>
                    <a:pt x="1338" y="1584"/>
                  </a:lnTo>
                  <a:lnTo>
                    <a:pt x="1338" y="1582"/>
                  </a:lnTo>
                  <a:lnTo>
                    <a:pt x="1342" y="1580"/>
                  </a:lnTo>
                  <a:lnTo>
                    <a:pt x="1344" y="1582"/>
                  </a:lnTo>
                  <a:lnTo>
                    <a:pt x="1346" y="1580"/>
                  </a:lnTo>
                  <a:lnTo>
                    <a:pt x="1346" y="1578"/>
                  </a:lnTo>
                  <a:lnTo>
                    <a:pt x="1348" y="1578"/>
                  </a:lnTo>
                  <a:lnTo>
                    <a:pt x="1350" y="1578"/>
                  </a:lnTo>
                  <a:lnTo>
                    <a:pt x="1352" y="1576"/>
                  </a:lnTo>
                  <a:lnTo>
                    <a:pt x="1350" y="1574"/>
                  </a:lnTo>
                  <a:lnTo>
                    <a:pt x="1346" y="1570"/>
                  </a:lnTo>
                  <a:lnTo>
                    <a:pt x="1336" y="1562"/>
                  </a:lnTo>
                  <a:lnTo>
                    <a:pt x="1334" y="1562"/>
                  </a:lnTo>
                  <a:lnTo>
                    <a:pt x="1330" y="1566"/>
                  </a:lnTo>
                  <a:lnTo>
                    <a:pt x="1326" y="1568"/>
                  </a:lnTo>
                  <a:lnTo>
                    <a:pt x="1320" y="1570"/>
                  </a:lnTo>
                  <a:lnTo>
                    <a:pt x="1316" y="1570"/>
                  </a:lnTo>
                  <a:lnTo>
                    <a:pt x="1312" y="1570"/>
                  </a:lnTo>
                  <a:lnTo>
                    <a:pt x="1310" y="1572"/>
                  </a:lnTo>
                  <a:lnTo>
                    <a:pt x="1312" y="1574"/>
                  </a:lnTo>
                  <a:lnTo>
                    <a:pt x="1322" y="1574"/>
                  </a:lnTo>
                  <a:lnTo>
                    <a:pt x="1324" y="1574"/>
                  </a:lnTo>
                  <a:lnTo>
                    <a:pt x="1326" y="1576"/>
                  </a:lnTo>
                  <a:lnTo>
                    <a:pt x="1326" y="1580"/>
                  </a:lnTo>
                  <a:lnTo>
                    <a:pt x="1328" y="1584"/>
                  </a:lnTo>
                  <a:lnTo>
                    <a:pt x="1330" y="1586"/>
                  </a:lnTo>
                  <a:lnTo>
                    <a:pt x="1332" y="1588"/>
                  </a:lnTo>
                  <a:close/>
                  <a:moveTo>
                    <a:pt x="1306" y="1608"/>
                  </a:moveTo>
                  <a:lnTo>
                    <a:pt x="1306" y="1608"/>
                  </a:lnTo>
                  <a:lnTo>
                    <a:pt x="1304" y="1610"/>
                  </a:lnTo>
                  <a:lnTo>
                    <a:pt x="1302" y="1612"/>
                  </a:lnTo>
                  <a:lnTo>
                    <a:pt x="1304" y="1616"/>
                  </a:lnTo>
                  <a:lnTo>
                    <a:pt x="1310" y="1618"/>
                  </a:lnTo>
                  <a:lnTo>
                    <a:pt x="1316" y="1622"/>
                  </a:lnTo>
                  <a:lnTo>
                    <a:pt x="1316" y="1624"/>
                  </a:lnTo>
                  <a:lnTo>
                    <a:pt x="1312" y="1628"/>
                  </a:lnTo>
                  <a:lnTo>
                    <a:pt x="1308" y="1630"/>
                  </a:lnTo>
                  <a:lnTo>
                    <a:pt x="1308" y="1634"/>
                  </a:lnTo>
                  <a:lnTo>
                    <a:pt x="1308" y="1636"/>
                  </a:lnTo>
                  <a:lnTo>
                    <a:pt x="1314" y="1636"/>
                  </a:lnTo>
                  <a:lnTo>
                    <a:pt x="1316" y="1634"/>
                  </a:lnTo>
                  <a:lnTo>
                    <a:pt x="1318" y="1630"/>
                  </a:lnTo>
                  <a:lnTo>
                    <a:pt x="1322" y="1620"/>
                  </a:lnTo>
                  <a:lnTo>
                    <a:pt x="1326" y="1618"/>
                  </a:lnTo>
                  <a:lnTo>
                    <a:pt x="1328" y="1616"/>
                  </a:lnTo>
                  <a:lnTo>
                    <a:pt x="1330" y="1616"/>
                  </a:lnTo>
                  <a:lnTo>
                    <a:pt x="1334" y="1618"/>
                  </a:lnTo>
                  <a:lnTo>
                    <a:pt x="1340" y="1614"/>
                  </a:lnTo>
                  <a:lnTo>
                    <a:pt x="1348" y="1610"/>
                  </a:lnTo>
                  <a:lnTo>
                    <a:pt x="1352" y="1604"/>
                  </a:lnTo>
                  <a:lnTo>
                    <a:pt x="1356" y="1602"/>
                  </a:lnTo>
                  <a:lnTo>
                    <a:pt x="1358" y="1602"/>
                  </a:lnTo>
                  <a:lnTo>
                    <a:pt x="1358" y="1604"/>
                  </a:lnTo>
                  <a:lnTo>
                    <a:pt x="1362" y="1604"/>
                  </a:lnTo>
                  <a:lnTo>
                    <a:pt x="1364" y="1602"/>
                  </a:lnTo>
                  <a:lnTo>
                    <a:pt x="1362" y="1602"/>
                  </a:lnTo>
                  <a:lnTo>
                    <a:pt x="1354" y="1596"/>
                  </a:lnTo>
                  <a:lnTo>
                    <a:pt x="1348" y="1594"/>
                  </a:lnTo>
                  <a:lnTo>
                    <a:pt x="1342" y="1594"/>
                  </a:lnTo>
                  <a:lnTo>
                    <a:pt x="1338" y="1594"/>
                  </a:lnTo>
                  <a:lnTo>
                    <a:pt x="1334" y="1592"/>
                  </a:lnTo>
                  <a:lnTo>
                    <a:pt x="1330" y="1590"/>
                  </a:lnTo>
                  <a:lnTo>
                    <a:pt x="1324" y="1592"/>
                  </a:lnTo>
                  <a:lnTo>
                    <a:pt x="1318" y="1594"/>
                  </a:lnTo>
                  <a:lnTo>
                    <a:pt x="1314" y="1600"/>
                  </a:lnTo>
                  <a:lnTo>
                    <a:pt x="1312" y="1602"/>
                  </a:lnTo>
                  <a:lnTo>
                    <a:pt x="1310" y="1602"/>
                  </a:lnTo>
                  <a:lnTo>
                    <a:pt x="1308" y="1598"/>
                  </a:lnTo>
                  <a:lnTo>
                    <a:pt x="1304" y="1598"/>
                  </a:lnTo>
                  <a:lnTo>
                    <a:pt x="1304" y="1600"/>
                  </a:lnTo>
                  <a:lnTo>
                    <a:pt x="1306" y="1604"/>
                  </a:lnTo>
                  <a:lnTo>
                    <a:pt x="1308" y="1606"/>
                  </a:lnTo>
                  <a:lnTo>
                    <a:pt x="1308" y="1608"/>
                  </a:lnTo>
                  <a:lnTo>
                    <a:pt x="1306" y="1608"/>
                  </a:lnTo>
                  <a:close/>
                  <a:moveTo>
                    <a:pt x="1364" y="1596"/>
                  </a:moveTo>
                  <a:lnTo>
                    <a:pt x="1364" y="1596"/>
                  </a:lnTo>
                  <a:lnTo>
                    <a:pt x="1364" y="1592"/>
                  </a:lnTo>
                  <a:lnTo>
                    <a:pt x="1360" y="1590"/>
                  </a:lnTo>
                  <a:lnTo>
                    <a:pt x="1356" y="1588"/>
                  </a:lnTo>
                  <a:lnTo>
                    <a:pt x="1354" y="1588"/>
                  </a:lnTo>
                  <a:lnTo>
                    <a:pt x="1354" y="1592"/>
                  </a:lnTo>
                  <a:lnTo>
                    <a:pt x="1356" y="1596"/>
                  </a:lnTo>
                  <a:lnTo>
                    <a:pt x="1360" y="1598"/>
                  </a:lnTo>
                  <a:lnTo>
                    <a:pt x="1364" y="1596"/>
                  </a:lnTo>
                  <a:close/>
                  <a:moveTo>
                    <a:pt x="1102" y="2532"/>
                  </a:moveTo>
                  <a:lnTo>
                    <a:pt x="1102" y="2532"/>
                  </a:lnTo>
                  <a:lnTo>
                    <a:pt x="1110" y="2530"/>
                  </a:lnTo>
                  <a:lnTo>
                    <a:pt x="1112" y="2530"/>
                  </a:lnTo>
                  <a:lnTo>
                    <a:pt x="1110" y="2528"/>
                  </a:lnTo>
                  <a:lnTo>
                    <a:pt x="1098" y="2526"/>
                  </a:lnTo>
                  <a:lnTo>
                    <a:pt x="1092" y="2528"/>
                  </a:lnTo>
                  <a:lnTo>
                    <a:pt x="1094" y="2530"/>
                  </a:lnTo>
                  <a:lnTo>
                    <a:pt x="1096" y="2532"/>
                  </a:lnTo>
                  <a:lnTo>
                    <a:pt x="1102" y="2532"/>
                  </a:lnTo>
                  <a:close/>
                  <a:moveTo>
                    <a:pt x="470" y="2754"/>
                  </a:moveTo>
                  <a:lnTo>
                    <a:pt x="470" y="2754"/>
                  </a:lnTo>
                  <a:lnTo>
                    <a:pt x="472" y="2756"/>
                  </a:lnTo>
                  <a:lnTo>
                    <a:pt x="476" y="2756"/>
                  </a:lnTo>
                  <a:lnTo>
                    <a:pt x="482" y="2752"/>
                  </a:lnTo>
                  <a:lnTo>
                    <a:pt x="486" y="2746"/>
                  </a:lnTo>
                  <a:lnTo>
                    <a:pt x="486" y="2744"/>
                  </a:lnTo>
                  <a:lnTo>
                    <a:pt x="484" y="2740"/>
                  </a:lnTo>
                  <a:lnTo>
                    <a:pt x="482" y="2740"/>
                  </a:lnTo>
                  <a:lnTo>
                    <a:pt x="480" y="2740"/>
                  </a:lnTo>
                  <a:lnTo>
                    <a:pt x="474" y="2744"/>
                  </a:lnTo>
                  <a:lnTo>
                    <a:pt x="470" y="2750"/>
                  </a:lnTo>
                  <a:lnTo>
                    <a:pt x="470" y="2752"/>
                  </a:lnTo>
                  <a:lnTo>
                    <a:pt x="470" y="2754"/>
                  </a:lnTo>
                  <a:close/>
                  <a:moveTo>
                    <a:pt x="808" y="2632"/>
                  </a:moveTo>
                  <a:lnTo>
                    <a:pt x="808" y="2632"/>
                  </a:lnTo>
                  <a:lnTo>
                    <a:pt x="804" y="2628"/>
                  </a:lnTo>
                  <a:lnTo>
                    <a:pt x="802" y="2626"/>
                  </a:lnTo>
                  <a:lnTo>
                    <a:pt x="798" y="2624"/>
                  </a:lnTo>
                  <a:lnTo>
                    <a:pt x="794" y="2626"/>
                  </a:lnTo>
                  <a:lnTo>
                    <a:pt x="790" y="2628"/>
                  </a:lnTo>
                  <a:lnTo>
                    <a:pt x="776" y="2638"/>
                  </a:lnTo>
                  <a:lnTo>
                    <a:pt x="768" y="2644"/>
                  </a:lnTo>
                  <a:lnTo>
                    <a:pt x="762" y="2646"/>
                  </a:lnTo>
                  <a:lnTo>
                    <a:pt x="758" y="2644"/>
                  </a:lnTo>
                  <a:lnTo>
                    <a:pt x="756" y="2642"/>
                  </a:lnTo>
                  <a:lnTo>
                    <a:pt x="752" y="2640"/>
                  </a:lnTo>
                  <a:lnTo>
                    <a:pt x="750" y="2650"/>
                  </a:lnTo>
                  <a:lnTo>
                    <a:pt x="752" y="2654"/>
                  </a:lnTo>
                  <a:lnTo>
                    <a:pt x="752" y="2658"/>
                  </a:lnTo>
                  <a:lnTo>
                    <a:pt x="756" y="2664"/>
                  </a:lnTo>
                  <a:lnTo>
                    <a:pt x="760" y="2672"/>
                  </a:lnTo>
                  <a:lnTo>
                    <a:pt x="762" y="2678"/>
                  </a:lnTo>
                  <a:lnTo>
                    <a:pt x="762" y="2686"/>
                  </a:lnTo>
                  <a:lnTo>
                    <a:pt x="762" y="2694"/>
                  </a:lnTo>
                  <a:lnTo>
                    <a:pt x="764" y="2698"/>
                  </a:lnTo>
                  <a:lnTo>
                    <a:pt x="764" y="2702"/>
                  </a:lnTo>
                  <a:lnTo>
                    <a:pt x="762" y="2714"/>
                  </a:lnTo>
                  <a:lnTo>
                    <a:pt x="760" y="2728"/>
                  </a:lnTo>
                  <a:lnTo>
                    <a:pt x="764" y="2742"/>
                  </a:lnTo>
                  <a:lnTo>
                    <a:pt x="766" y="2746"/>
                  </a:lnTo>
                  <a:lnTo>
                    <a:pt x="770" y="2750"/>
                  </a:lnTo>
                  <a:lnTo>
                    <a:pt x="774" y="2752"/>
                  </a:lnTo>
                  <a:lnTo>
                    <a:pt x="778" y="2752"/>
                  </a:lnTo>
                  <a:lnTo>
                    <a:pt x="782" y="2752"/>
                  </a:lnTo>
                  <a:lnTo>
                    <a:pt x="784" y="2748"/>
                  </a:lnTo>
                  <a:lnTo>
                    <a:pt x="788" y="2742"/>
                  </a:lnTo>
                  <a:lnTo>
                    <a:pt x="790" y="2738"/>
                  </a:lnTo>
                  <a:lnTo>
                    <a:pt x="792" y="2736"/>
                  </a:lnTo>
                  <a:lnTo>
                    <a:pt x="796" y="2738"/>
                  </a:lnTo>
                  <a:lnTo>
                    <a:pt x="802" y="2740"/>
                  </a:lnTo>
                  <a:lnTo>
                    <a:pt x="806" y="2740"/>
                  </a:lnTo>
                  <a:lnTo>
                    <a:pt x="808" y="2736"/>
                  </a:lnTo>
                  <a:lnTo>
                    <a:pt x="810" y="2726"/>
                  </a:lnTo>
                  <a:lnTo>
                    <a:pt x="814" y="2708"/>
                  </a:lnTo>
                  <a:lnTo>
                    <a:pt x="816" y="2698"/>
                  </a:lnTo>
                  <a:lnTo>
                    <a:pt x="814" y="2690"/>
                  </a:lnTo>
                  <a:lnTo>
                    <a:pt x="812" y="2682"/>
                  </a:lnTo>
                  <a:lnTo>
                    <a:pt x="810" y="2678"/>
                  </a:lnTo>
                  <a:lnTo>
                    <a:pt x="814" y="2672"/>
                  </a:lnTo>
                  <a:lnTo>
                    <a:pt x="818" y="2668"/>
                  </a:lnTo>
                  <a:lnTo>
                    <a:pt x="818" y="2662"/>
                  </a:lnTo>
                  <a:lnTo>
                    <a:pt x="818" y="2652"/>
                  </a:lnTo>
                  <a:lnTo>
                    <a:pt x="814" y="2642"/>
                  </a:lnTo>
                  <a:lnTo>
                    <a:pt x="808" y="2632"/>
                  </a:lnTo>
                  <a:close/>
                  <a:moveTo>
                    <a:pt x="576" y="2694"/>
                  </a:moveTo>
                  <a:lnTo>
                    <a:pt x="576" y="2694"/>
                  </a:lnTo>
                  <a:lnTo>
                    <a:pt x="578" y="2696"/>
                  </a:lnTo>
                  <a:lnTo>
                    <a:pt x="580" y="2696"/>
                  </a:lnTo>
                  <a:lnTo>
                    <a:pt x="584" y="2696"/>
                  </a:lnTo>
                  <a:lnTo>
                    <a:pt x="588" y="2698"/>
                  </a:lnTo>
                  <a:lnTo>
                    <a:pt x="592" y="2702"/>
                  </a:lnTo>
                  <a:lnTo>
                    <a:pt x="594" y="2700"/>
                  </a:lnTo>
                  <a:lnTo>
                    <a:pt x="596" y="2698"/>
                  </a:lnTo>
                  <a:lnTo>
                    <a:pt x="594" y="2692"/>
                  </a:lnTo>
                  <a:lnTo>
                    <a:pt x="594" y="2690"/>
                  </a:lnTo>
                  <a:lnTo>
                    <a:pt x="590" y="2688"/>
                  </a:lnTo>
                  <a:lnTo>
                    <a:pt x="584" y="2686"/>
                  </a:lnTo>
                  <a:lnTo>
                    <a:pt x="578" y="2688"/>
                  </a:lnTo>
                  <a:lnTo>
                    <a:pt x="576" y="2690"/>
                  </a:lnTo>
                  <a:lnTo>
                    <a:pt x="576" y="2694"/>
                  </a:lnTo>
                  <a:close/>
                  <a:moveTo>
                    <a:pt x="1022" y="2792"/>
                  </a:moveTo>
                  <a:lnTo>
                    <a:pt x="1022" y="2792"/>
                  </a:lnTo>
                  <a:lnTo>
                    <a:pt x="1016" y="2792"/>
                  </a:lnTo>
                  <a:lnTo>
                    <a:pt x="1010" y="2794"/>
                  </a:lnTo>
                  <a:lnTo>
                    <a:pt x="998" y="2800"/>
                  </a:lnTo>
                  <a:lnTo>
                    <a:pt x="990" y="2802"/>
                  </a:lnTo>
                  <a:lnTo>
                    <a:pt x="982" y="2802"/>
                  </a:lnTo>
                  <a:lnTo>
                    <a:pt x="974" y="2800"/>
                  </a:lnTo>
                  <a:lnTo>
                    <a:pt x="966" y="2796"/>
                  </a:lnTo>
                  <a:lnTo>
                    <a:pt x="960" y="2790"/>
                  </a:lnTo>
                  <a:lnTo>
                    <a:pt x="954" y="2790"/>
                  </a:lnTo>
                  <a:lnTo>
                    <a:pt x="950" y="2792"/>
                  </a:lnTo>
                  <a:lnTo>
                    <a:pt x="948" y="2794"/>
                  </a:lnTo>
                  <a:lnTo>
                    <a:pt x="944" y="2800"/>
                  </a:lnTo>
                  <a:lnTo>
                    <a:pt x="942" y="2800"/>
                  </a:lnTo>
                  <a:lnTo>
                    <a:pt x="938" y="2794"/>
                  </a:lnTo>
                  <a:lnTo>
                    <a:pt x="936" y="2794"/>
                  </a:lnTo>
                  <a:lnTo>
                    <a:pt x="934" y="2792"/>
                  </a:lnTo>
                  <a:lnTo>
                    <a:pt x="930" y="2796"/>
                  </a:lnTo>
                  <a:lnTo>
                    <a:pt x="926" y="2802"/>
                  </a:lnTo>
                  <a:lnTo>
                    <a:pt x="924" y="2814"/>
                  </a:lnTo>
                  <a:lnTo>
                    <a:pt x="926" y="2820"/>
                  </a:lnTo>
                  <a:lnTo>
                    <a:pt x="930" y="2822"/>
                  </a:lnTo>
                  <a:lnTo>
                    <a:pt x="944" y="2828"/>
                  </a:lnTo>
                  <a:lnTo>
                    <a:pt x="954" y="2832"/>
                  </a:lnTo>
                  <a:lnTo>
                    <a:pt x="966" y="2840"/>
                  </a:lnTo>
                  <a:lnTo>
                    <a:pt x="976" y="2848"/>
                  </a:lnTo>
                  <a:lnTo>
                    <a:pt x="982" y="2850"/>
                  </a:lnTo>
                  <a:lnTo>
                    <a:pt x="986" y="2850"/>
                  </a:lnTo>
                  <a:lnTo>
                    <a:pt x="994" y="2852"/>
                  </a:lnTo>
                  <a:lnTo>
                    <a:pt x="1000" y="2858"/>
                  </a:lnTo>
                  <a:lnTo>
                    <a:pt x="1008" y="2864"/>
                  </a:lnTo>
                  <a:lnTo>
                    <a:pt x="1016" y="2870"/>
                  </a:lnTo>
                  <a:lnTo>
                    <a:pt x="1030" y="2874"/>
                  </a:lnTo>
                  <a:lnTo>
                    <a:pt x="1032" y="2874"/>
                  </a:lnTo>
                  <a:lnTo>
                    <a:pt x="1032" y="2870"/>
                  </a:lnTo>
                  <a:lnTo>
                    <a:pt x="1034" y="2862"/>
                  </a:lnTo>
                  <a:lnTo>
                    <a:pt x="1036" y="2852"/>
                  </a:lnTo>
                  <a:lnTo>
                    <a:pt x="1036" y="2844"/>
                  </a:lnTo>
                  <a:lnTo>
                    <a:pt x="1034" y="2840"/>
                  </a:lnTo>
                  <a:lnTo>
                    <a:pt x="1032" y="2838"/>
                  </a:lnTo>
                  <a:lnTo>
                    <a:pt x="1030" y="2834"/>
                  </a:lnTo>
                  <a:lnTo>
                    <a:pt x="1030" y="2828"/>
                  </a:lnTo>
                  <a:lnTo>
                    <a:pt x="1036" y="2814"/>
                  </a:lnTo>
                  <a:lnTo>
                    <a:pt x="1050" y="2788"/>
                  </a:lnTo>
                  <a:lnTo>
                    <a:pt x="1052" y="2786"/>
                  </a:lnTo>
                  <a:lnTo>
                    <a:pt x="1050" y="2784"/>
                  </a:lnTo>
                  <a:lnTo>
                    <a:pt x="1042" y="2788"/>
                  </a:lnTo>
                  <a:lnTo>
                    <a:pt x="1032" y="2792"/>
                  </a:lnTo>
                  <a:lnTo>
                    <a:pt x="1026" y="2792"/>
                  </a:lnTo>
                  <a:lnTo>
                    <a:pt x="1022" y="2792"/>
                  </a:lnTo>
                  <a:close/>
                  <a:moveTo>
                    <a:pt x="802" y="2526"/>
                  </a:moveTo>
                  <a:lnTo>
                    <a:pt x="802" y="2526"/>
                  </a:lnTo>
                  <a:lnTo>
                    <a:pt x="800" y="2524"/>
                  </a:lnTo>
                  <a:lnTo>
                    <a:pt x="800" y="2526"/>
                  </a:lnTo>
                  <a:lnTo>
                    <a:pt x="798" y="2534"/>
                  </a:lnTo>
                  <a:lnTo>
                    <a:pt x="798" y="2540"/>
                  </a:lnTo>
                  <a:lnTo>
                    <a:pt x="798" y="2542"/>
                  </a:lnTo>
                  <a:lnTo>
                    <a:pt x="794" y="2542"/>
                  </a:lnTo>
                  <a:lnTo>
                    <a:pt x="790" y="2542"/>
                  </a:lnTo>
                  <a:lnTo>
                    <a:pt x="788" y="2542"/>
                  </a:lnTo>
                  <a:lnTo>
                    <a:pt x="782" y="2546"/>
                  </a:lnTo>
                  <a:lnTo>
                    <a:pt x="778" y="2548"/>
                  </a:lnTo>
                  <a:lnTo>
                    <a:pt x="774" y="2550"/>
                  </a:lnTo>
                  <a:lnTo>
                    <a:pt x="772" y="2550"/>
                  </a:lnTo>
                  <a:lnTo>
                    <a:pt x="772" y="2554"/>
                  </a:lnTo>
                  <a:lnTo>
                    <a:pt x="770" y="2568"/>
                  </a:lnTo>
                  <a:lnTo>
                    <a:pt x="770" y="2580"/>
                  </a:lnTo>
                  <a:lnTo>
                    <a:pt x="770" y="2584"/>
                  </a:lnTo>
                  <a:lnTo>
                    <a:pt x="772" y="2586"/>
                  </a:lnTo>
                  <a:lnTo>
                    <a:pt x="776" y="2586"/>
                  </a:lnTo>
                  <a:lnTo>
                    <a:pt x="776" y="2588"/>
                  </a:lnTo>
                  <a:lnTo>
                    <a:pt x="774" y="2592"/>
                  </a:lnTo>
                  <a:lnTo>
                    <a:pt x="772" y="2594"/>
                  </a:lnTo>
                  <a:lnTo>
                    <a:pt x="772" y="2596"/>
                  </a:lnTo>
                  <a:lnTo>
                    <a:pt x="778" y="2596"/>
                  </a:lnTo>
                  <a:lnTo>
                    <a:pt x="780" y="2598"/>
                  </a:lnTo>
                  <a:lnTo>
                    <a:pt x="778" y="2602"/>
                  </a:lnTo>
                  <a:lnTo>
                    <a:pt x="776" y="2604"/>
                  </a:lnTo>
                  <a:lnTo>
                    <a:pt x="776" y="2606"/>
                  </a:lnTo>
                  <a:lnTo>
                    <a:pt x="778" y="2608"/>
                  </a:lnTo>
                  <a:lnTo>
                    <a:pt x="786" y="2612"/>
                  </a:lnTo>
                  <a:lnTo>
                    <a:pt x="788" y="2614"/>
                  </a:lnTo>
                  <a:lnTo>
                    <a:pt x="790" y="2616"/>
                  </a:lnTo>
                  <a:lnTo>
                    <a:pt x="792" y="2616"/>
                  </a:lnTo>
                  <a:lnTo>
                    <a:pt x="794" y="2616"/>
                  </a:lnTo>
                  <a:lnTo>
                    <a:pt x="794" y="2612"/>
                  </a:lnTo>
                  <a:lnTo>
                    <a:pt x="794" y="2610"/>
                  </a:lnTo>
                  <a:lnTo>
                    <a:pt x="796" y="2606"/>
                  </a:lnTo>
                  <a:lnTo>
                    <a:pt x="800" y="2604"/>
                  </a:lnTo>
                  <a:lnTo>
                    <a:pt x="800" y="2600"/>
                  </a:lnTo>
                  <a:lnTo>
                    <a:pt x="802" y="2588"/>
                  </a:lnTo>
                  <a:lnTo>
                    <a:pt x="802" y="2582"/>
                  </a:lnTo>
                  <a:lnTo>
                    <a:pt x="804" y="2578"/>
                  </a:lnTo>
                  <a:lnTo>
                    <a:pt x="808" y="2574"/>
                  </a:lnTo>
                  <a:lnTo>
                    <a:pt x="808" y="2562"/>
                  </a:lnTo>
                  <a:lnTo>
                    <a:pt x="806" y="2552"/>
                  </a:lnTo>
                  <a:lnTo>
                    <a:pt x="804" y="2546"/>
                  </a:lnTo>
                  <a:lnTo>
                    <a:pt x="804" y="2544"/>
                  </a:lnTo>
                  <a:lnTo>
                    <a:pt x="804" y="2540"/>
                  </a:lnTo>
                  <a:lnTo>
                    <a:pt x="804" y="2530"/>
                  </a:lnTo>
                  <a:lnTo>
                    <a:pt x="804" y="2528"/>
                  </a:lnTo>
                  <a:lnTo>
                    <a:pt x="802" y="2526"/>
                  </a:lnTo>
                  <a:close/>
                  <a:moveTo>
                    <a:pt x="550" y="2700"/>
                  </a:moveTo>
                  <a:lnTo>
                    <a:pt x="550" y="2700"/>
                  </a:lnTo>
                  <a:lnTo>
                    <a:pt x="548" y="2696"/>
                  </a:lnTo>
                  <a:lnTo>
                    <a:pt x="544" y="2696"/>
                  </a:lnTo>
                  <a:lnTo>
                    <a:pt x="538" y="2698"/>
                  </a:lnTo>
                  <a:lnTo>
                    <a:pt x="532" y="2702"/>
                  </a:lnTo>
                  <a:lnTo>
                    <a:pt x="520" y="2712"/>
                  </a:lnTo>
                  <a:lnTo>
                    <a:pt x="518" y="2716"/>
                  </a:lnTo>
                  <a:lnTo>
                    <a:pt x="520" y="2718"/>
                  </a:lnTo>
                  <a:lnTo>
                    <a:pt x="520" y="2720"/>
                  </a:lnTo>
                  <a:lnTo>
                    <a:pt x="526" y="2718"/>
                  </a:lnTo>
                  <a:lnTo>
                    <a:pt x="530" y="2718"/>
                  </a:lnTo>
                  <a:lnTo>
                    <a:pt x="532" y="2720"/>
                  </a:lnTo>
                  <a:lnTo>
                    <a:pt x="536" y="2726"/>
                  </a:lnTo>
                  <a:lnTo>
                    <a:pt x="542" y="2730"/>
                  </a:lnTo>
                  <a:lnTo>
                    <a:pt x="546" y="2732"/>
                  </a:lnTo>
                  <a:lnTo>
                    <a:pt x="548" y="2732"/>
                  </a:lnTo>
                  <a:lnTo>
                    <a:pt x="554" y="2726"/>
                  </a:lnTo>
                  <a:lnTo>
                    <a:pt x="562" y="2708"/>
                  </a:lnTo>
                  <a:lnTo>
                    <a:pt x="564" y="2706"/>
                  </a:lnTo>
                  <a:lnTo>
                    <a:pt x="564" y="2704"/>
                  </a:lnTo>
                  <a:lnTo>
                    <a:pt x="558" y="2704"/>
                  </a:lnTo>
                  <a:lnTo>
                    <a:pt x="552" y="2706"/>
                  </a:lnTo>
                  <a:lnTo>
                    <a:pt x="550" y="2704"/>
                  </a:lnTo>
                  <a:lnTo>
                    <a:pt x="550" y="2700"/>
                  </a:lnTo>
                  <a:close/>
                  <a:moveTo>
                    <a:pt x="1254" y="2806"/>
                  </a:moveTo>
                  <a:lnTo>
                    <a:pt x="1254" y="2806"/>
                  </a:lnTo>
                  <a:lnTo>
                    <a:pt x="1252" y="2810"/>
                  </a:lnTo>
                  <a:lnTo>
                    <a:pt x="1254" y="2814"/>
                  </a:lnTo>
                  <a:lnTo>
                    <a:pt x="1260" y="2818"/>
                  </a:lnTo>
                  <a:lnTo>
                    <a:pt x="1264" y="2820"/>
                  </a:lnTo>
                  <a:lnTo>
                    <a:pt x="1266" y="2818"/>
                  </a:lnTo>
                  <a:lnTo>
                    <a:pt x="1266" y="2816"/>
                  </a:lnTo>
                  <a:lnTo>
                    <a:pt x="1264" y="2812"/>
                  </a:lnTo>
                  <a:lnTo>
                    <a:pt x="1258" y="2808"/>
                  </a:lnTo>
                  <a:lnTo>
                    <a:pt x="1254" y="2806"/>
                  </a:lnTo>
                  <a:close/>
                  <a:moveTo>
                    <a:pt x="1410" y="2874"/>
                  </a:moveTo>
                  <a:lnTo>
                    <a:pt x="1410" y="2874"/>
                  </a:lnTo>
                  <a:lnTo>
                    <a:pt x="1412" y="2870"/>
                  </a:lnTo>
                  <a:lnTo>
                    <a:pt x="1410" y="2868"/>
                  </a:lnTo>
                  <a:lnTo>
                    <a:pt x="1408" y="2868"/>
                  </a:lnTo>
                  <a:lnTo>
                    <a:pt x="1402" y="2870"/>
                  </a:lnTo>
                  <a:lnTo>
                    <a:pt x="1402" y="2872"/>
                  </a:lnTo>
                  <a:lnTo>
                    <a:pt x="1400" y="2874"/>
                  </a:lnTo>
                  <a:lnTo>
                    <a:pt x="1402" y="2876"/>
                  </a:lnTo>
                  <a:lnTo>
                    <a:pt x="1406" y="2876"/>
                  </a:lnTo>
                  <a:lnTo>
                    <a:pt x="1410" y="2874"/>
                  </a:lnTo>
                  <a:close/>
                  <a:moveTo>
                    <a:pt x="1214" y="2706"/>
                  </a:moveTo>
                  <a:lnTo>
                    <a:pt x="1214" y="2706"/>
                  </a:lnTo>
                  <a:lnTo>
                    <a:pt x="1214" y="2712"/>
                  </a:lnTo>
                  <a:lnTo>
                    <a:pt x="1218" y="2718"/>
                  </a:lnTo>
                  <a:lnTo>
                    <a:pt x="1224" y="2722"/>
                  </a:lnTo>
                  <a:lnTo>
                    <a:pt x="1230" y="2726"/>
                  </a:lnTo>
                  <a:lnTo>
                    <a:pt x="1232" y="2726"/>
                  </a:lnTo>
                  <a:lnTo>
                    <a:pt x="1230" y="2724"/>
                  </a:lnTo>
                  <a:lnTo>
                    <a:pt x="1228" y="2720"/>
                  </a:lnTo>
                  <a:lnTo>
                    <a:pt x="1224" y="2714"/>
                  </a:lnTo>
                  <a:lnTo>
                    <a:pt x="1222" y="2708"/>
                  </a:lnTo>
                  <a:lnTo>
                    <a:pt x="1222" y="2704"/>
                  </a:lnTo>
                  <a:lnTo>
                    <a:pt x="1218" y="2702"/>
                  </a:lnTo>
                  <a:lnTo>
                    <a:pt x="1216" y="2702"/>
                  </a:lnTo>
                  <a:lnTo>
                    <a:pt x="1214" y="2706"/>
                  </a:lnTo>
                  <a:close/>
                  <a:moveTo>
                    <a:pt x="1468" y="2954"/>
                  </a:moveTo>
                  <a:lnTo>
                    <a:pt x="1468" y="2954"/>
                  </a:lnTo>
                  <a:lnTo>
                    <a:pt x="1464" y="2956"/>
                  </a:lnTo>
                  <a:lnTo>
                    <a:pt x="1462" y="2956"/>
                  </a:lnTo>
                  <a:lnTo>
                    <a:pt x="1460" y="2952"/>
                  </a:lnTo>
                  <a:lnTo>
                    <a:pt x="1460" y="2948"/>
                  </a:lnTo>
                  <a:lnTo>
                    <a:pt x="1456" y="2946"/>
                  </a:lnTo>
                  <a:lnTo>
                    <a:pt x="1452" y="2946"/>
                  </a:lnTo>
                  <a:lnTo>
                    <a:pt x="1446" y="2948"/>
                  </a:lnTo>
                  <a:lnTo>
                    <a:pt x="1442" y="2946"/>
                  </a:lnTo>
                  <a:lnTo>
                    <a:pt x="1434" y="2944"/>
                  </a:lnTo>
                  <a:lnTo>
                    <a:pt x="1424" y="2942"/>
                  </a:lnTo>
                  <a:lnTo>
                    <a:pt x="1418" y="2942"/>
                  </a:lnTo>
                  <a:lnTo>
                    <a:pt x="1410" y="2944"/>
                  </a:lnTo>
                  <a:lnTo>
                    <a:pt x="1406" y="2944"/>
                  </a:lnTo>
                  <a:lnTo>
                    <a:pt x="1402" y="2942"/>
                  </a:lnTo>
                  <a:lnTo>
                    <a:pt x="1398" y="2938"/>
                  </a:lnTo>
                  <a:lnTo>
                    <a:pt x="1396" y="2934"/>
                  </a:lnTo>
                  <a:lnTo>
                    <a:pt x="1394" y="2932"/>
                  </a:lnTo>
                  <a:lnTo>
                    <a:pt x="1392" y="2934"/>
                  </a:lnTo>
                  <a:lnTo>
                    <a:pt x="1390" y="2934"/>
                  </a:lnTo>
                  <a:lnTo>
                    <a:pt x="1386" y="2934"/>
                  </a:lnTo>
                  <a:lnTo>
                    <a:pt x="1382" y="2932"/>
                  </a:lnTo>
                  <a:lnTo>
                    <a:pt x="1380" y="2928"/>
                  </a:lnTo>
                  <a:lnTo>
                    <a:pt x="1378" y="2928"/>
                  </a:lnTo>
                  <a:lnTo>
                    <a:pt x="1378" y="2930"/>
                  </a:lnTo>
                  <a:lnTo>
                    <a:pt x="1376" y="2934"/>
                  </a:lnTo>
                  <a:lnTo>
                    <a:pt x="1374" y="2936"/>
                  </a:lnTo>
                  <a:lnTo>
                    <a:pt x="1372" y="2938"/>
                  </a:lnTo>
                  <a:lnTo>
                    <a:pt x="1372" y="2946"/>
                  </a:lnTo>
                  <a:lnTo>
                    <a:pt x="1372" y="2950"/>
                  </a:lnTo>
                  <a:lnTo>
                    <a:pt x="1376" y="2952"/>
                  </a:lnTo>
                  <a:lnTo>
                    <a:pt x="1388" y="2952"/>
                  </a:lnTo>
                  <a:lnTo>
                    <a:pt x="1402" y="2954"/>
                  </a:lnTo>
                  <a:lnTo>
                    <a:pt x="1410" y="2958"/>
                  </a:lnTo>
                  <a:lnTo>
                    <a:pt x="1418" y="2962"/>
                  </a:lnTo>
                  <a:lnTo>
                    <a:pt x="1422" y="2964"/>
                  </a:lnTo>
                  <a:lnTo>
                    <a:pt x="1428" y="2966"/>
                  </a:lnTo>
                  <a:lnTo>
                    <a:pt x="1440" y="2966"/>
                  </a:lnTo>
                  <a:lnTo>
                    <a:pt x="1452" y="2964"/>
                  </a:lnTo>
                  <a:lnTo>
                    <a:pt x="1468" y="2964"/>
                  </a:lnTo>
                  <a:lnTo>
                    <a:pt x="1476" y="2962"/>
                  </a:lnTo>
                  <a:lnTo>
                    <a:pt x="1480" y="2960"/>
                  </a:lnTo>
                  <a:lnTo>
                    <a:pt x="1482" y="2958"/>
                  </a:lnTo>
                  <a:lnTo>
                    <a:pt x="1484" y="2954"/>
                  </a:lnTo>
                  <a:lnTo>
                    <a:pt x="1482" y="2952"/>
                  </a:lnTo>
                  <a:lnTo>
                    <a:pt x="1478" y="2950"/>
                  </a:lnTo>
                  <a:lnTo>
                    <a:pt x="1474" y="2950"/>
                  </a:lnTo>
                  <a:lnTo>
                    <a:pt x="1468" y="2954"/>
                  </a:lnTo>
                  <a:close/>
                  <a:moveTo>
                    <a:pt x="1518" y="2942"/>
                  </a:moveTo>
                  <a:lnTo>
                    <a:pt x="1518" y="2942"/>
                  </a:lnTo>
                  <a:lnTo>
                    <a:pt x="1520" y="2940"/>
                  </a:lnTo>
                  <a:lnTo>
                    <a:pt x="1520" y="2938"/>
                  </a:lnTo>
                  <a:lnTo>
                    <a:pt x="1518" y="2926"/>
                  </a:lnTo>
                  <a:lnTo>
                    <a:pt x="1516" y="2924"/>
                  </a:lnTo>
                  <a:lnTo>
                    <a:pt x="1516" y="2926"/>
                  </a:lnTo>
                  <a:lnTo>
                    <a:pt x="1514" y="2932"/>
                  </a:lnTo>
                  <a:lnTo>
                    <a:pt x="1514" y="2938"/>
                  </a:lnTo>
                  <a:lnTo>
                    <a:pt x="1516" y="2940"/>
                  </a:lnTo>
                  <a:lnTo>
                    <a:pt x="1518" y="2942"/>
                  </a:lnTo>
                  <a:close/>
                  <a:moveTo>
                    <a:pt x="1252" y="2768"/>
                  </a:moveTo>
                  <a:lnTo>
                    <a:pt x="1252" y="2768"/>
                  </a:lnTo>
                  <a:lnTo>
                    <a:pt x="1254" y="2768"/>
                  </a:lnTo>
                  <a:lnTo>
                    <a:pt x="1256" y="2766"/>
                  </a:lnTo>
                  <a:lnTo>
                    <a:pt x="1256" y="2764"/>
                  </a:lnTo>
                  <a:lnTo>
                    <a:pt x="1254" y="2760"/>
                  </a:lnTo>
                  <a:lnTo>
                    <a:pt x="1254" y="2758"/>
                  </a:lnTo>
                  <a:lnTo>
                    <a:pt x="1252" y="2758"/>
                  </a:lnTo>
                  <a:lnTo>
                    <a:pt x="1250" y="2762"/>
                  </a:lnTo>
                  <a:lnTo>
                    <a:pt x="1248" y="2766"/>
                  </a:lnTo>
                  <a:lnTo>
                    <a:pt x="1250" y="2768"/>
                  </a:lnTo>
                  <a:lnTo>
                    <a:pt x="1252" y="2768"/>
                  </a:lnTo>
                  <a:close/>
                  <a:moveTo>
                    <a:pt x="1256" y="2790"/>
                  </a:moveTo>
                  <a:lnTo>
                    <a:pt x="1256" y="2790"/>
                  </a:lnTo>
                  <a:lnTo>
                    <a:pt x="1254" y="2786"/>
                  </a:lnTo>
                  <a:lnTo>
                    <a:pt x="1252" y="2782"/>
                  </a:lnTo>
                  <a:lnTo>
                    <a:pt x="1252" y="2780"/>
                  </a:lnTo>
                  <a:lnTo>
                    <a:pt x="1250" y="2780"/>
                  </a:lnTo>
                  <a:lnTo>
                    <a:pt x="1248" y="2782"/>
                  </a:lnTo>
                  <a:lnTo>
                    <a:pt x="1244" y="2782"/>
                  </a:lnTo>
                  <a:lnTo>
                    <a:pt x="1242" y="2784"/>
                  </a:lnTo>
                  <a:lnTo>
                    <a:pt x="1242" y="2790"/>
                  </a:lnTo>
                  <a:lnTo>
                    <a:pt x="1244" y="2794"/>
                  </a:lnTo>
                  <a:lnTo>
                    <a:pt x="1246" y="2794"/>
                  </a:lnTo>
                  <a:lnTo>
                    <a:pt x="1250" y="2794"/>
                  </a:lnTo>
                  <a:lnTo>
                    <a:pt x="1256" y="2796"/>
                  </a:lnTo>
                  <a:lnTo>
                    <a:pt x="1260" y="2798"/>
                  </a:lnTo>
                  <a:lnTo>
                    <a:pt x="1260" y="2794"/>
                  </a:lnTo>
                  <a:lnTo>
                    <a:pt x="1256" y="2790"/>
                  </a:lnTo>
                  <a:close/>
                  <a:moveTo>
                    <a:pt x="1348" y="2902"/>
                  </a:moveTo>
                  <a:lnTo>
                    <a:pt x="1348" y="2902"/>
                  </a:lnTo>
                  <a:lnTo>
                    <a:pt x="1352" y="2904"/>
                  </a:lnTo>
                  <a:lnTo>
                    <a:pt x="1352" y="2902"/>
                  </a:lnTo>
                  <a:lnTo>
                    <a:pt x="1352" y="2898"/>
                  </a:lnTo>
                  <a:lnTo>
                    <a:pt x="1350" y="2892"/>
                  </a:lnTo>
                  <a:lnTo>
                    <a:pt x="1346" y="2890"/>
                  </a:lnTo>
                  <a:lnTo>
                    <a:pt x="1344" y="2892"/>
                  </a:lnTo>
                  <a:lnTo>
                    <a:pt x="1346" y="2896"/>
                  </a:lnTo>
                  <a:lnTo>
                    <a:pt x="1348" y="2902"/>
                  </a:lnTo>
                  <a:close/>
                  <a:moveTo>
                    <a:pt x="1448" y="2860"/>
                  </a:moveTo>
                  <a:lnTo>
                    <a:pt x="1448" y="2860"/>
                  </a:lnTo>
                  <a:lnTo>
                    <a:pt x="1450" y="2860"/>
                  </a:lnTo>
                  <a:lnTo>
                    <a:pt x="1452" y="2860"/>
                  </a:lnTo>
                  <a:lnTo>
                    <a:pt x="1454" y="2854"/>
                  </a:lnTo>
                  <a:lnTo>
                    <a:pt x="1452" y="2848"/>
                  </a:lnTo>
                  <a:lnTo>
                    <a:pt x="1452" y="2846"/>
                  </a:lnTo>
                  <a:lnTo>
                    <a:pt x="1448" y="2846"/>
                  </a:lnTo>
                  <a:lnTo>
                    <a:pt x="1446" y="2850"/>
                  </a:lnTo>
                  <a:lnTo>
                    <a:pt x="1444" y="2852"/>
                  </a:lnTo>
                  <a:lnTo>
                    <a:pt x="1446" y="2856"/>
                  </a:lnTo>
                  <a:lnTo>
                    <a:pt x="1448" y="2860"/>
                  </a:lnTo>
                  <a:close/>
                  <a:moveTo>
                    <a:pt x="1440" y="2848"/>
                  </a:moveTo>
                  <a:lnTo>
                    <a:pt x="1440" y="2848"/>
                  </a:lnTo>
                  <a:lnTo>
                    <a:pt x="1438" y="2848"/>
                  </a:lnTo>
                  <a:lnTo>
                    <a:pt x="1434" y="2850"/>
                  </a:lnTo>
                  <a:lnTo>
                    <a:pt x="1434" y="2854"/>
                  </a:lnTo>
                  <a:lnTo>
                    <a:pt x="1436" y="2856"/>
                  </a:lnTo>
                  <a:lnTo>
                    <a:pt x="1438" y="2856"/>
                  </a:lnTo>
                  <a:lnTo>
                    <a:pt x="1440" y="2854"/>
                  </a:lnTo>
                  <a:lnTo>
                    <a:pt x="1440" y="2850"/>
                  </a:lnTo>
                  <a:lnTo>
                    <a:pt x="1440" y="2848"/>
                  </a:lnTo>
                  <a:close/>
                  <a:moveTo>
                    <a:pt x="2822" y="3608"/>
                  </a:moveTo>
                  <a:lnTo>
                    <a:pt x="2822" y="3608"/>
                  </a:lnTo>
                  <a:lnTo>
                    <a:pt x="2818" y="3606"/>
                  </a:lnTo>
                  <a:lnTo>
                    <a:pt x="2814" y="3598"/>
                  </a:lnTo>
                  <a:lnTo>
                    <a:pt x="2802" y="3578"/>
                  </a:lnTo>
                  <a:lnTo>
                    <a:pt x="2798" y="3570"/>
                  </a:lnTo>
                  <a:lnTo>
                    <a:pt x="2792" y="3562"/>
                  </a:lnTo>
                  <a:lnTo>
                    <a:pt x="2786" y="3558"/>
                  </a:lnTo>
                  <a:lnTo>
                    <a:pt x="2782" y="3556"/>
                  </a:lnTo>
                  <a:lnTo>
                    <a:pt x="2780" y="3558"/>
                  </a:lnTo>
                  <a:lnTo>
                    <a:pt x="2776" y="3558"/>
                  </a:lnTo>
                  <a:lnTo>
                    <a:pt x="2774" y="3558"/>
                  </a:lnTo>
                  <a:lnTo>
                    <a:pt x="2768" y="3554"/>
                  </a:lnTo>
                  <a:lnTo>
                    <a:pt x="2762" y="3550"/>
                  </a:lnTo>
                  <a:lnTo>
                    <a:pt x="2756" y="3548"/>
                  </a:lnTo>
                  <a:lnTo>
                    <a:pt x="2746" y="3546"/>
                  </a:lnTo>
                  <a:lnTo>
                    <a:pt x="2738" y="3544"/>
                  </a:lnTo>
                  <a:lnTo>
                    <a:pt x="2728" y="3540"/>
                  </a:lnTo>
                  <a:lnTo>
                    <a:pt x="2720" y="3532"/>
                  </a:lnTo>
                  <a:lnTo>
                    <a:pt x="2712" y="3524"/>
                  </a:lnTo>
                  <a:lnTo>
                    <a:pt x="2706" y="3516"/>
                  </a:lnTo>
                  <a:lnTo>
                    <a:pt x="2700" y="3506"/>
                  </a:lnTo>
                  <a:lnTo>
                    <a:pt x="2696" y="3496"/>
                  </a:lnTo>
                  <a:lnTo>
                    <a:pt x="2694" y="3488"/>
                  </a:lnTo>
                  <a:lnTo>
                    <a:pt x="2694" y="3464"/>
                  </a:lnTo>
                  <a:lnTo>
                    <a:pt x="2694" y="3458"/>
                  </a:lnTo>
                  <a:lnTo>
                    <a:pt x="2692" y="3454"/>
                  </a:lnTo>
                  <a:lnTo>
                    <a:pt x="2692" y="3448"/>
                  </a:lnTo>
                  <a:lnTo>
                    <a:pt x="2694" y="3442"/>
                  </a:lnTo>
                  <a:lnTo>
                    <a:pt x="2696" y="3438"/>
                  </a:lnTo>
                  <a:lnTo>
                    <a:pt x="2696" y="3434"/>
                  </a:lnTo>
                  <a:lnTo>
                    <a:pt x="2696" y="3430"/>
                  </a:lnTo>
                  <a:lnTo>
                    <a:pt x="2698" y="3422"/>
                  </a:lnTo>
                  <a:lnTo>
                    <a:pt x="2700" y="3418"/>
                  </a:lnTo>
                  <a:lnTo>
                    <a:pt x="2698" y="3416"/>
                  </a:lnTo>
                  <a:lnTo>
                    <a:pt x="2696" y="3414"/>
                  </a:lnTo>
                  <a:lnTo>
                    <a:pt x="2694" y="3416"/>
                  </a:lnTo>
                  <a:lnTo>
                    <a:pt x="2692" y="3416"/>
                  </a:lnTo>
                  <a:lnTo>
                    <a:pt x="2692" y="3420"/>
                  </a:lnTo>
                  <a:lnTo>
                    <a:pt x="2694" y="3424"/>
                  </a:lnTo>
                  <a:lnTo>
                    <a:pt x="2692" y="3424"/>
                  </a:lnTo>
                  <a:lnTo>
                    <a:pt x="2688" y="3422"/>
                  </a:lnTo>
                  <a:lnTo>
                    <a:pt x="2686" y="3422"/>
                  </a:lnTo>
                  <a:lnTo>
                    <a:pt x="2684" y="3432"/>
                  </a:lnTo>
                  <a:lnTo>
                    <a:pt x="2680" y="3444"/>
                  </a:lnTo>
                  <a:lnTo>
                    <a:pt x="2678" y="3444"/>
                  </a:lnTo>
                  <a:lnTo>
                    <a:pt x="2676" y="3444"/>
                  </a:lnTo>
                  <a:lnTo>
                    <a:pt x="2674" y="3444"/>
                  </a:lnTo>
                  <a:lnTo>
                    <a:pt x="2670" y="3452"/>
                  </a:lnTo>
                  <a:lnTo>
                    <a:pt x="2666" y="3458"/>
                  </a:lnTo>
                  <a:lnTo>
                    <a:pt x="2660" y="3462"/>
                  </a:lnTo>
                  <a:lnTo>
                    <a:pt x="2654" y="3468"/>
                  </a:lnTo>
                  <a:lnTo>
                    <a:pt x="2646" y="3476"/>
                  </a:lnTo>
                  <a:lnTo>
                    <a:pt x="2638" y="3488"/>
                  </a:lnTo>
                  <a:lnTo>
                    <a:pt x="2628" y="3496"/>
                  </a:lnTo>
                  <a:lnTo>
                    <a:pt x="2614" y="3508"/>
                  </a:lnTo>
                  <a:lnTo>
                    <a:pt x="2616" y="3510"/>
                  </a:lnTo>
                  <a:lnTo>
                    <a:pt x="2618" y="3512"/>
                  </a:lnTo>
                  <a:lnTo>
                    <a:pt x="2618" y="3516"/>
                  </a:lnTo>
                  <a:lnTo>
                    <a:pt x="2614" y="3524"/>
                  </a:lnTo>
                  <a:lnTo>
                    <a:pt x="2606" y="3530"/>
                  </a:lnTo>
                  <a:lnTo>
                    <a:pt x="2598" y="3532"/>
                  </a:lnTo>
                  <a:lnTo>
                    <a:pt x="2588" y="3534"/>
                  </a:lnTo>
                  <a:lnTo>
                    <a:pt x="2578" y="3532"/>
                  </a:lnTo>
                  <a:lnTo>
                    <a:pt x="2558" y="3528"/>
                  </a:lnTo>
                  <a:lnTo>
                    <a:pt x="2546" y="3528"/>
                  </a:lnTo>
                  <a:lnTo>
                    <a:pt x="2538" y="3532"/>
                  </a:lnTo>
                  <a:lnTo>
                    <a:pt x="2522" y="3538"/>
                  </a:lnTo>
                  <a:lnTo>
                    <a:pt x="2514" y="3538"/>
                  </a:lnTo>
                  <a:lnTo>
                    <a:pt x="2512" y="3538"/>
                  </a:lnTo>
                  <a:lnTo>
                    <a:pt x="2510" y="3536"/>
                  </a:lnTo>
                  <a:lnTo>
                    <a:pt x="2510" y="3528"/>
                  </a:lnTo>
                  <a:lnTo>
                    <a:pt x="2510" y="3522"/>
                  </a:lnTo>
                  <a:lnTo>
                    <a:pt x="2506" y="3522"/>
                  </a:lnTo>
                  <a:lnTo>
                    <a:pt x="2502" y="3522"/>
                  </a:lnTo>
                  <a:lnTo>
                    <a:pt x="2496" y="3522"/>
                  </a:lnTo>
                  <a:lnTo>
                    <a:pt x="2492" y="3520"/>
                  </a:lnTo>
                  <a:lnTo>
                    <a:pt x="2490" y="3518"/>
                  </a:lnTo>
                  <a:lnTo>
                    <a:pt x="2492" y="3514"/>
                  </a:lnTo>
                  <a:lnTo>
                    <a:pt x="2496" y="3510"/>
                  </a:lnTo>
                  <a:lnTo>
                    <a:pt x="2496" y="3506"/>
                  </a:lnTo>
                  <a:lnTo>
                    <a:pt x="2492" y="3508"/>
                  </a:lnTo>
                  <a:lnTo>
                    <a:pt x="2490" y="3508"/>
                  </a:lnTo>
                  <a:lnTo>
                    <a:pt x="2488" y="3508"/>
                  </a:lnTo>
                  <a:lnTo>
                    <a:pt x="2486" y="3506"/>
                  </a:lnTo>
                  <a:lnTo>
                    <a:pt x="2488" y="3504"/>
                  </a:lnTo>
                  <a:lnTo>
                    <a:pt x="2490" y="3504"/>
                  </a:lnTo>
                  <a:lnTo>
                    <a:pt x="2494" y="3504"/>
                  </a:lnTo>
                  <a:lnTo>
                    <a:pt x="2496" y="3502"/>
                  </a:lnTo>
                  <a:lnTo>
                    <a:pt x="2498" y="3496"/>
                  </a:lnTo>
                  <a:lnTo>
                    <a:pt x="2502" y="3480"/>
                  </a:lnTo>
                  <a:lnTo>
                    <a:pt x="2502" y="3474"/>
                  </a:lnTo>
                  <a:lnTo>
                    <a:pt x="2500" y="3468"/>
                  </a:lnTo>
                  <a:lnTo>
                    <a:pt x="2496" y="3462"/>
                  </a:lnTo>
                  <a:lnTo>
                    <a:pt x="2496" y="3458"/>
                  </a:lnTo>
                  <a:lnTo>
                    <a:pt x="2498" y="3454"/>
                  </a:lnTo>
                  <a:lnTo>
                    <a:pt x="2500" y="3448"/>
                  </a:lnTo>
                  <a:lnTo>
                    <a:pt x="2498" y="3440"/>
                  </a:lnTo>
                  <a:lnTo>
                    <a:pt x="2494" y="3434"/>
                  </a:lnTo>
                  <a:lnTo>
                    <a:pt x="2490" y="3428"/>
                  </a:lnTo>
                  <a:lnTo>
                    <a:pt x="2486" y="3426"/>
                  </a:lnTo>
                  <a:lnTo>
                    <a:pt x="2484" y="3426"/>
                  </a:lnTo>
                  <a:lnTo>
                    <a:pt x="2480" y="3430"/>
                  </a:lnTo>
                  <a:lnTo>
                    <a:pt x="2476" y="3444"/>
                  </a:lnTo>
                  <a:lnTo>
                    <a:pt x="2470" y="3456"/>
                  </a:lnTo>
                  <a:lnTo>
                    <a:pt x="2470" y="3466"/>
                  </a:lnTo>
                  <a:lnTo>
                    <a:pt x="2468" y="3498"/>
                  </a:lnTo>
                  <a:lnTo>
                    <a:pt x="2464" y="3486"/>
                  </a:lnTo>
                  <a:lnTo>
                    <a:pt x="2460" y="3478"/>
                  </a:lnTo>
                  <a:lnTo>
                    <a:pt x="2458" y="3468"/>
                  </a:lnTo>
                  <a:lnTo>
                    <a:pt x="2452" y="3462"/>
                  </a:lnTo>
                  <a:lnTo>
                    <a:pt x="2448" y="3456"/>
                  </a:lnTo>
                  <a:lnTo>
                    <a:pt x="2448" y="3454"/>
                  </a:lnTo>
                  <a:lnTo>
                    <a:pt x="2448" y="3450"/>
                  </a:lnTo>
                  <a:lnTo>
                    <a:pt x="2444" y="3444"/>
                  </a:lnTo>
                  <a:lnTo>
                    <a:pt x="2442" y="3438"/>
                  </a:lnTo>
                  <a:lnTo>
                    <a:pt x="2442" y="3434"/>
                  </a:lnTo>
                  <a:lnTo>
                    <a:pt x="2442" y="3428"/>
                  </a:lnTo>
                  <a:lnTo>
                    <a:pt x="2444" y="3420"/>
                  </a:lnTo>
                  <a:lnTo>
                    <a:pt x="2442" y="3414"/>
                  </a:lnTo>
                  <a:lnTo>
                    <a:pt x="2440" y="3408"/>
                  </a:lnTo>
                  <a:lnTo>
                    <a:pt x="2438" y="3402"/>
                  </a:lnTo>
                  <a:lnTo>
                    <a:pt x="2438" y="3400"/>
                  </a:lnTo>
                  <a:lnTo>
                    <a:pt x="2442" y="3400"/>
                  </a:lnTo>
                  <a:lnTo>
                    <a:pt x="2444" y="3404"/>
                  </a:lnTo>
                  <a:lnTo>
                    <a:pt x="2448" y="3404"/>
                  </a:lnTo>
                  <a:lnTo>
                    <a:pt x="2448" y="3406"/>
                  </a:lnTo>
                  <a:lnTo>
                    <a:pt x="2446" y="3408"/>
                  </a:lnTo>
                  <a:lnTo>
                    <a:pt x="2444" y="3410"/>
                  </a:lnTo>
                  <a:lnTo>
                    <a:pt x="2448" y="3410"/>
                  </a:lnTo>
                  <a:lnTo>
                    <a:pt x="2450" y="3412"/>
                  </a:lnTo>
                  <a:lnTo>
                    <a:pt x="2448" y="3414"/>
                  </a:lnTo>
                  <a:lnTo>
                    <a:pt x="2450" y="3416"/>
                  </a:lnTo>
                  <a:lnTo>
                    <a:pt x="2454" y="3420"/>
                  </a:lnTo>
                  <a:lnTo>
                    <a:pt x="2456" y="3422"/>
                  </a:lnTo>
                  <a:lnTo>
                    <a:pt x="2458" y="3422"/>
                  </a:lnTo>
                  <a:lnTo>
                    <a:pt x="2460" y="3422"/>
                  </a:lnTo>
                  <a:lnTo>
                    <a:pt x="2460" y="3420"/>
                  </a:lnTo>
                  <a:lnTo>
                    <a:pt x="2460" y="3418"/>
                  </a:lnTo>
                  <a:lnTo>
                    <a:pt x="2462" y="3416"/>
                  </a:lnTo>
                  <a:lnTo>
                    <a:pt x="2464" y="3412"/>
                  </a:lnTo>
                  <a:lnTo>
                    <a:pt x="2466" y="3406"/>
                  </a:lnTo>
                  <a:lnTo>
                    <a:pt x="2466" y="3402"/>
                  </a:lnTo>
                  <a:lnTo>
                    <a:pt x="2468" y="3400"/>
                  </a:lnTo>
                  <a:lnTo>
                    <a:pt x="2468" y="3402"/>
                  </a:lnTo>
                  <a:lnTo>
                    <a:pt x="2474" y="3404"/>
                  </a:lnTo>
                  <a:lnTo>
                    <a:pt x="2476" y="3404"/>
                  </a:lnTo>
                  <a:lnTo>
                    <a:pt x="2476" y="3402"/>
                  </a:lnTo>
                  <a:lnTo>
                    <a:pt x="2478" y="3402"/>
                  </a:lnTo>
                  <a:lnTo>
                    <a:pt x="2480" y="3400"/>
                  </a:lnTo>
                  <a:lnTo>
                    <a:pt x="2480" y="3398"/>
                  </a:lnTo>
                  <a:lnTo>
                    <a:pt x="2482" y="3396"/>
                  </a:lnTo>
                  <a:lnTo>
                    <a:pt x="2482" y="3394"/>
                  </a:lnTo>
                  <a:lnTo>
                    <a:pt x="2482" y="3392"/>
                  </a:lnTo>
                  <a:lnTo>
                    <a:pt x="2482" y="3388"/>
                  </a:lnTo>
                  <a:lnTo>
                    <a:pt x="2480" y="3386"/>
                  </a:lnTo>
                  <a:lnTo>
                    <a:pt x="2482" y="3384"/>
                  </a:lnTo>
                  <a:lnTo>
                    <a:pt x="2480" y="3384"/>
                  </a:lnTo>
                  <a:lnTo>
                    <a:pt x="2478" y="3384"/>
                  </a:lnTo>
                  <a:lnTo>
                    <a:pt x="2478" y="3386"/>
                  </a:lnTo>
                  <a:lnTo>
                    <a:pt x="2476" y="3388"/>
                  </a:lnTo>
                  <a:lnTo>
                    <a:pt x="2472" y="3388"/>
                  </a:lnTo>
                  <a:lnTo>
                    <a:pt x="2470" y="3388"/>
                  </a:lnTo>
                  <a:lnTo>
                    <a:pt x="2468" y="3382"/>
                  </a:lnTo>
                  <a:lnTo>
                    <a:pt x="2466" y="3378"/>
                  </a:lnTo>
                  <a:lnTo>
                    <a:pt x="2468" y="3374"/>
                  </a:lnTo>
                  <a:lnTo>
                    <a:pt x="2468" y="3372"/>
                  </a:lnTo>
                  <a:lnTo>
                    <a:pt x="2466" y="3370"/>
                  </a:lnTo>
                  <a:lnTo>
                    <a:pt x="2464" y="3370"/>
                  </a:lnTo>
                  <a:lnTo>
                    <a:pt x="2464" y="3374"/>
                  </a:lnTo>
                  <a:lnTo>
                    <a:pt x="2462" y="3378"/>
                  </a:lnTo>
                  <a:lnTo>
                    <a:pt x="2462" y="3380"/>
                  </a:lnTo>
                  <a:lnTo>
                    <a:pt x="2460" y="3380"/>
                  </a:lnTo>
                  <a:lnTo>
                    <a:pt x="2456" y="3380"/>
                  </a:lnTo>
                  <a:lnTo>
                    <a:pt x="2452" y="3382"/>
                  </a:lnTo>
                  <a:lnTo>
                    <a:pt x="2450" y="3384"/>
                  </a:lnTo>
                  <a:lnTo>
                    <a:pt x="2446" y="3384"/>
                  </a:lnTo>
                  <a:lnTo>
                    <a:pt x="2444" y="3384"/>
                  </a:lnTo>
                  <a:lnTo>
                    <a:pt x="2444" y="3388"/>
                  </a:lnTo>
                  <a:lnTo>
                    <a:pt x="2442" y="3394"/>
                  </a:lnTo>
                  <a:lnTo>
                    <a:pt x="2434" y="3388"/>
                  </a:lnTo>
                  <a:lnTo>
                    <a:pt x="2422" y="3378"/>
                  </a:lnTo>
                  <a:lnTo>
                    <a:pt x="2414" y="3368"/>
                  </a:lnTo>
                  <a:lnTo>
                    <a:pt x="2410" y="3364"/>
                  </a:lnTo>
                  <a:lnTo>
                    <a:pt x="2410" y="3358"/>
                  </a:lnTo>
                  <a:lnTo>
                    <a:pt x="2410" y="3354"/>
                  </a:lnTo>
                  <a:lnTo>
                    <a:pt x="2408" y="3352"/>
                  </a:lnTo>
                  <a:lnTo>
                    <a:pt x="2402" y="3350"/>
                  </a:lnTo>
                  <a:lnTo>
                    <a:pt x="2394" y="3350"/>
                  </a:lnTo>
                  <a:lnTo>
                    <a:pt x="2392" y="3348"/>
                  </a:lnTo>
                  <a:lnTo>
                    <a:pt x="2392" y="3344"/>
                  </a:lnTo>
                  <a:lnTo>
                    <a:pt x="2390" y="3338"/>
                  </a:lnTo>
                  <a:lnTo>
                    <a:pt x="2386" y="3330"/>
                  </a:lnTo>
                  <a:lnTo>
                    <a:pt x="2382" y="3320"/>
                  </a:lnTo>
                  <a:lnTo>
                    <a:pt x="2376" y="3302"/>
                  </a:lnTo>
                  <a:lnTo>
                    <a:pt x="2370" y="3290"/>
                  </a:lnTo>
                  <a:lnTo>
                    <a:pt x="2366" y="3284"/>
                  </a:lnTo>
                  <a:lnTo>
                    <a:pt x="2364" y="3280"/>
                  </a:lnTo>
                  <a:lnTo>
                    <a:pt x="2362" y="3270"/>
                  </a:lnTo>
                  <a:lnTo>
                    <a:pt x="2360" y="3266"/>
                  </a:lnTo>
                  <a:lnTo>
                    <a:pt x="2358" y="3264"/>
                  </a:lnTo>
                  <a:lnTo>
                    <a:pt x="2352" y="3262"/>
                  </a:lnTo>
                  <a:lnTo>
                    <a:pt x="2346" y="3260"/>
                  </a:lnTo>
                  <a:lnTo>
                    <a:pt x="2346" y="3258"/>
                  </a:lnTo>
                  <a:lnTo>
                    <a:pt x="2346" y="3254"/>
                  </a:lnTo>
                  <a:lnTo>
                    <a:pt x="2350" y="3250"/>
                  </a:lnTo>
                  <a:lnTo>
                    <a:pt x="2354" y="3248"/>
                  </a:lnTo>
                  <a:lnTo>
                    <a:pt x="2360" y="3250"/>
                  </a:lnTo>
                  <a:lnTo>
                    <a:pt x="2362" y="3248"/>
                  </a:lnTo>
                  <a:lnTo>
                    <a:pt x="2362" y="3246"/>
                  </a:lnTo>
                  <a:lnTo>
                    <a:pt x="2354" y="3228"/>
                  </a:lnTo>
                  <a:lnTo>
                    <a:pt x="2354" y="3224"/>
                  </a:lnTo>
                  <a:lnTo>
                    <a:pt x="2356" y="3224"/>
                  </a:lnTo>
                  <a:lnTo>
                    <a:pt x="2364" y="3226"/>
                  </a:lnTo>
                  <a:lnTo>
                    <a:pt x="2372" y="3230"/>
                  </a:lnTo>
                  <a:lnTo>
                    <a:pt x="2376" y="3232"/>
                  </a:lnTo>
                  <a:lnTo>
                    <a:pt x="2378" y="3230"/>
                  </a:lnTo>
                  <a:lnTo>
                    <a:pt x="2384" y="3226"/>
                  </a:lnTo>
                  <a:lnTo>
                    <a:pt x="2390" y="3226"/>
                  </a:lnTo>
                  <a:lnTo>
                    <a:pt x="2392" y="3224"/>
                  </a:lnTo>
                  <a:lnTo>
                    <a:pt x="2394" y="3216"/>
                  </a:lnTo>
                  <a:lnTo>
                    <a:pt x="2396" y="3212"/>
                  </a:lnTo>
                  <a:lnTo>
                    <a:pt x="2398" y="3212"/>
                  </a:lnTo>
                  <a:lnTo>
                    <a:pt x="2406" y="3218"/>
                  </a:lnTo>
                  <a:lnTo>
                    <a:pt x="2412" y="3222"/>
                  </a:lnTo>
                  <a:lnTo>
                    <a:pt x="2416" y="3224"/>
                  </a:lnTo>
                  <a:lnTo>
                    <a:pt x="2424" y="3224"/>
                  </a:lnTo>
                  <a:lnTo>
                    <a:pt x="2430" y="3222"/>
                  </a:lnTo>
                  <a:lnTo>
                    <a:pt x="2436" y="3218"/>
                  </a:lnTo>
                  <a:lnTo>
                    <a:pt x="2438" y="3218"/>
                  </a:lnTo>
                  <a:lnTo>
                    <a:pt x="2440" y="3220"/>
                  </a:lnTo>
                  <a:lnTo>
                    <a:pt x="2442" y="3222"/>
                  </a:lnTo>
                  <a:lnTo>
                    <a:pt x="2444" y="3232"/>
                  </a:lnTo>
                  <a:lnTo>
                    <a:pt x="2448" y="3238"/>
                  </a:lnTo>
                  <a:lnTo>
                    <a:pt x="2452" y="3244"/>
                  </a:lnTo>
                  <a:lnTo>
                    <a:pt x="2452" y="3220"/>
                  </a:lnTo>
                  <a:lnTo>
                    <a:pt x="2414" y="3146"/>
                  </a:lnTo>
                  <a:lnTo>
                    <a:pt x="2378" y="3050"/>
                  </a:lnTo>
                  <a:lnTo>
                    <a:pt x="2372" y="3006"/>
                  </a:lnTo>
                  <a:lnTo>
                    <a:pt x="2378" y="2910"/>
                  </a:lnTo>
                  <a:lnTo>
                    <a:pt x="2378" y="2868"/>
                  </a:lnTo>
                  <a:lnTo>
                    <a:pt x="2392" y="2778"/>
                  </a:lnTo>
                  <a:lnTo>
                    <a:pt x="2386" y="2780"/>
                  </a:lnTo>
                  <a:lnTo>
                    <a:pt x="2382" y="2780"/>
                  </a:lnTo>
                  <a:lnTo>
                    <a:pt x="2380" y="2778"/>
                  </a:lnTo>
                  <a:lnTo>
                    <a:pt x="2380" y="2776"/>
                  </a:lnTo>
                  <a:lnTo>
                    <a:pt x="2378" y="2770"/>
                  </a:lnTo>
                  <a:lnTo>
                    <a:pt x="2376" y="2768"/>
                  </a:lnTo>
                  <a:lnTo>
                    <a:pt x="2374" y="2768"/>
                  </a:lnTo>
                  <a:lnTo>
                    <a:pt x="2376" y="2768"/>
                  </a:lnTo>
                  <a:lnTo>
                    <a:pt x="2378" y="2770"/>
                  </a:lnTo>
                  <a:lnTo>
                    <a:pt x="2380" y="2776"/>
                  </a:lnTo>
                  <a:lnTo>
                    <a:pt x="2380" y="2778"/>
                  </a:lnTo>
                  <a:lnTo>
                    <a:pt x="2382" y="2780"/>
                  </a:lnTo>
                  <a:lnTo>
                    <a:pt x="2386" y="2780"/>
                  </a:lnTo>
                  <a:lnTo>
                    <a:pt x="2392" y="2778"/>
                  </a:lnTo>
                  <a:lnTo>
                    <a:pt x="2390" y="2764"/>
                  </a:lnTo>
                  <a:lnTo>
                    <a:pt x="2394" y="2746"/>
                  </a:lnTo>
                  <a:lnTo>
                    <a:pt x="2390" y="2726"/>
                  </a:lnTo>
                  <a:lnTo>
                    <a:pt x="2386" y="2674"/>
                  </a:lnTo>
                  <a:lnTo>
                    <a:pt x="2384" y="2658"/>
                  </a:lnTo>
                  <a:lnTo>
                    <a:pt x="2386" y="2626"/>
                  </a:lnTo>
                  <a:lnTo>
                    <a:pt x="2360" y="2586"/>
                  </a:lnTo>
                  <a:lnTo>
                    <a:pt x="2336" y="2534"/>
                  </a:lnTo>
                  <a:lnTo>
                    <a:pt x="2284" y="2470"/>
                  </a:lnTo>
                  <a:lnTo>
                    <a:pt x="2274" y="2434"/>
                  </a:lnTo>
                  <a:lnTo>
                    <a:pt x="2302" y="2390"/>
                  </a:lnTo>
                  <a:lnTo>
                    <a:pt x="2334" y="2368"/>
                  </a:lnTo>
                  <a:lnTo>
                    <a:pt x="2352" y="2336"/>
                  </a:lnTo>
                  <a:lnTo>
                    <a:pt x="2346" y="2304"/>
                  </a:lnTo>
                  <a:lnTo>
                    <a:pt x="2318" y="2270"/>
                  </a:lnTo>
                  <a:lnTo>
                    <a:pt x="2280" y="2246"/>
                  </a:lnTo>
                  <a:lnTo>
                    <a:pt x="2264" y="2186"/>
                  </a:lnTo>
                  <a:lnTo>
                    <a:pt x="2274" y="2140"/>
                  </a:lnTo>
                  <a:lnTo>
                    <a:pt x="2288" y="2090"/>
                  </a:lnTo>
                  <a:lnTo>
                    <a:pt x="2290" y="2086"/>
                  </a:lnTo>
                  <a:lnTo>
                    <a:pt x="2296" y="2086"/>
                  </a:lnTo>
                  <a:lnTo>
                    <a:pt x="2308" y="2088"/>
                  </a:lnTo>
                  <a:lnTo>
                    <a:pt x="2328" y="2096"/>
                  </a:lnTo>
                  <a:lnTo>
                    <a:pt x="2370" y="2082"/>
                  </a:lnTo>
                  <a:lnTo>
                    <a:pt x="2376" y="2058"/>
                  </a:lnTo>
                  <a:lnTo>
                    <a:pt x="2440" y="2024"/>
                  </a:lnTo>
                  <a:lnTo>
                    <a:pt x="2384" y="1780"/>
                  </a:lnTo>
                  <a:lnTo>
                    <a:pt x="2264" y="1588"/>
                  </a:lnTo>
                  <a:lnTo>
                    <a:pt x="2204" y="1444"/>
                  </a:lnTo>
                  <a:lnTo>
                    <a:pt x="2204" y="1264"/>
                  </a:lnTo>
                  <a:lnTo>
                    <a:pt x="2212" y="1228"/>
                  </a:lnTo>
                  <a:lnTo>
                    <a:pt x="2224" y="1194"/>
                  </a:lnTo>
                  <a:lnTo>
                    <a:pt x="2232" y="1174"/>
                  </a:lnTo>
                  <a:lnTo>
                    <a:pt x="2240" y="1156"/>
                  </a:lnTo>
                  <a:lnTo>
                    <a:pt x="2248" y="1138"/>
                  </a:lnTo>
                  <a:lnTo>
                    <a:pt x="2258" y="1112"/>
                  </a:lnTo>
                  <a:lnTo>
                    <a:pt x="2282" y="1046"/>
                  </a:lnTo>
                  <a:lnTo>
                    <a:pt x="2276" y="1048"/>
                  </a:lnTo>
                  <a:lnTo>
                    <a:pt x="2274" y="1046"/>
                  </a:lnTo>
                  <a:lnTo>
                    <a:pt x="2270" y="1038"/>
                  </a:lnTo>
                  <a:lnTo>
                    <a:pt x="2266" y="1032"/>
                  </a:lnTo>
                  <a:lnTo>
                    <a:pt x="2262" y="1026"/>
                  </a:lnTo>
                  <a:lnTo>
                    <a:pt x="2256" y="1018"/>
                  </a:lnTo>
                  <a:lnTo>
                    <a:pt x="2246" y="1014"/>
                  </a:lnTo>
                  <a:lnTo>
                    <a:pt x="2236" y="1006"/>
                  </a:lnTo>
                  <a:lnTo>
                    <a:pt x="2234" y="1004"/>
                  </a:lnTo>
                  <a:lnTo>
                    <a:pt x="2232" y="1000"/>
                  </a:lnTo>
                  <a:lnTo>
                    <a:pt x="2234" y="998"/>
                  </a:lnTo>
                  <a:lnTo>
                    <a:pt x="2234" y="994"/>
                  </a:lnTo>
                  <a:lnTo>
                    <a:pt x="2242" y="988"/>
                  </a:lnTo>
                  <a:lnTo>
                    <a:pt x="2250" y="982"/>
                  </a:lnTo>
                  <a:lnTo>
                    <a:pt x="2262" y="978"/>
                  </a:lnTo>
                  <a:lnTo>
                    <a:pt x="2274" y="974"/>
                  </a:lnTo>
                  <a:lnTo>
                    <a:pt x="2286" y="974"/>
                  </a:lnTo>
                  <a:lnTo>
                    <a:pt x="2292" y="974"/>
                  </a:lnTo>
                  <a:lnTo>
                    <a:pt x="2296" y="972"/>
                  </a:lnTo>
                  <a:lnTo>
                    <a:pt x="2298" y="968"/>
                  </a:lnTo>
                  <a:lnTo>
                    <a:pt x="2300" y="966"/>
                  </a:lnTo>
                  <a:lnTo>
                    <a:pt x="2298" y="956"/>
                  </a:lnTo>
                  <a:lnTo>
                    <a:pt x="2294" y="946"/>
                  </a:lnTo>
                  <a:lnTo>
                    <a:pt x="2284" y="936"/>
                  </a:lnTo>
                  <a:lnTo>
                    <a:pt x="2272" y="928"/>
                  </a:lnTo>
                  <a:lnTo>
                    <a:pt x="2258" y="922"/>
                  </a:lnTo>
                  <a:lnTo>
                    <a:pt x="2250" y="922"/>
                  </a:lnTo>
                  <a:lnTo>
                    <a:pt x="2242" y="920"/>
                  </a:lnTo>
                  <a:lnTo>
                    <a:pt x="2224" y="920"/>
                  </a:lnTo>
                  <a:lnTo>
                    <a:pt x="2208" y="918"/>
                  </a:lnTo>
                  <a:lnTo>
                    <a:pt x="2182" y="912"/>
                  </a:lnTo>
                  <a:lnTo>
                    <a:pt x="2174" y="912"/>
                  </a:lnTo>
                  <a:lnTo>
                    <a:pt x="2172" y="912"/>
                  </a:lnTo>
                  <a:lnTo>
                    <a:pt x="2172" y="914"/>
                  </a:lnTo>
                  <a:lnTo>
                    <a:pt x="2174" y="918"/>
                  </a:lnTo>
                  <a:lnTo>
                    <a:pt x="2186" y="928"/>
                  </a:lnTo>
                  <a:lnTo>
                    <a:pt x="2192" y="934"/>
                  </a:lnTo>
                  <a:lnTo>
                    <a:pt x="2196" y="942"/>
                  </a:lnTo>
                  <a:lnTo>
                    <a:pt x="2198" y="948"/>
                  </a:lnTo>
                  <a:lnTo>
                    <a:pt x="2200" y="954"/>
                  </a:lnTo>
                  <a:lnTo>
                    <a:pt x="2196" y="966"/>
                  </a:lnTo>
                  <a:lnTo>
                    <a:pt x="2192" y="978"/>
                  </a:lnTo>
                  <a:lnTo>
                    <a:pt x="2188" y="990"/>
                  </a:lnTo>
                  <a:lnTo>
                    <a:pt x="2186" y="1000"/>
                  </a:lnTo>
                  <a:lnTo>
                    <a:pt x="2186" y="1006"/>
                  </a:lnTo>
                  <a:lnTo>
                    <a:pt x="2188" y="1012"/>
                  </a:lnTo>
                  <a:lnTo>
                    <a:pt x="2194" y="1016"/>
                  </a:lnTo>
                  <a:lnTo>
                    <a:pt x="2200" y="1022"/>
                  </a:lnTo>
                  <a:lnTo>
                    <a:pt x="2212" y="1032"/>
                  </a:lnTo>
                  <a:lnTo>
                    <a:pt x="2216" y="1036"/>
                  </a:lnTo>
                  <a:lnTo>
                    <a:pt x="2218" y="1040"/>
                  </a:lnTo>
                  <a:lnTo>
                    <a:pt x="2216" y="1046"/>
                  </a:lnTo>
                  <a:lnTo>
                    <a:pt x="2214" y="1054"/>
                  </a:lnTo>
                  <a:lnTo>
                    <a:pt x="2208" y="1062"/>
                  </a:lnTo>
                  <a:lnTo>
                    <a:pt x="2204" y="1072"/>
                  </a:lnTo>
                  <a:lnTo>
                    <a:pt x="2200" y="1084"/>
                  </a:lnTo>
                  <a:lnTo>
                    <a:pt x="2202" y="1098"/>
                  </a:lnTo>
                  <a:lnTo>
                    <a:pt x="2202" y="1106"/>
                  </a:lnTo>
                  <a:lnTo>
                    <a:pt x="2200" y="1104"/>
                  </a:lnTo>
                  <a:lnTo>
                    <a:pt x="2192" y="1096"/>
                  </a:lnTo>
                  <a:lnTo>
                    <a:pt x="2180" y="1084"/>
                  </a:lnTo>
                  <a:lnTo>
                    <a:pt x="2166" y="1072"/>
                  </a:lnTo>
                  <a:lnTo>
                    <a:pt x="2156" y="1068"/>
                  </a:lnTo>
                  <a:lnTo>
                    <a:pt x="2148" y="1066"/>
                  </a:lnTo>
                  <a:lnTo>
                    <a:pt x="2136" y="1064"/>
                  </a:lnTo>
                  <a:lnTo>
                    <a:pt x="2126" y="1066"/>
                  </a:lnTo>
                  <a:lnTo>
                    <a:pt x="2114" y="1070"/>
                  </a:lnTo>
                  <a:lnTo>
                    <a:pt x="2102" y="1076"/>
                  </a:lnTo>
                  <a:lnTo>
                    <a:pt x="2078" y="1092"/>
                  </a:lnTo>
                  <a:lnTo>
                    <a:pt x="2056" y="1104"/>
                  </a:lnTo>
                  <a:lnTo>
                    <a:pt x="2040" y="1114"/>
                  </a:lnTo>
                  <a:lnTo>
                    <a:pt x="2028" y="1122"/>
                  </a:lnTo>
                  <a:lnTo>
                    <a:pt x="2022" y="1130"/>
                  </a:lnTo>
                  <a:lnTo>
                    <a:pt x="2020" y="1134"/>
                  </a:lnTo>
                  <a:lnTo>
                    <a:pt x="2022" y="1140"/>
                  </a:lnTo>
                  <a:lnTo>
                    <a:pt x="2026" y="1150"/>
                  </a:lnTo>
                  <a:lnTo>
                    <a:pt x="2040" y="1166"/>
                  </a:lnTo>
                  <a:lnTo>
                    <a:pt x="2052" y="1180"/>
                  </a:lnTo>
                  <a:lnTo>
                    <a:pt x="2054" y="1186"/>
                  </a:lnTo>
                  <a:lnTo>
                    <a:pt x="2054" y="1192"/>
                  </a:lnTo>
                  <a:lnTo>
                    <a:pt x="2054" y="1196"/>
                  </a:lnTo>
                  <a:lnTo>
                    <a:pt x="2050" y="1198"/>
                  </a:lnTo>
                  <a:lnTo>
                    <a:pt x="2046" y="1200"/>
                  </a:lnTo>
                  <a:lnTo>
                    <a:pt x="2040" y="1202"/>
                  </a:lnTo>
                  <a:lnTo>
                    <a:pt x="2026" y="1202"/>
                  </a:lnTo>
                  <a:lnTo>
                    <a:pt x="2006" y="1198"/>
                  </a:lnTo>
                  <a:lnTo>
                    <a:pt x="1984" y="1190"/>
                  </a:lnTo>
                  <a:lnTo>
                    <a:pt x="1958" y="1180"/>
                  </a:lnTo>
                  <a:lnTo>
                    <a:pt x="1934" y="1170"/>
                  </a:lnTo>
                  <a:lnTo>
                    <a:pt x="1916" y="1164"/>
                  </a:lnTo>
                  <a:lnTo>
                    <a:pt x="1900" y="1162"/>
                  </a:lnTo>
                  <a:lnTo>
                    <a:pt x="1892" y="1164"/>
                  </a:lnTo>
                  <a:lnTo>
                    <a:pt x="1888" y="1166"/>
                  </a:lnTo>
                  <a:lnTo>
                    <a:pt x="1886" y="1170"/>
                  </a:lnTo>
                  <a:lnTo>
                    <a:pt x="1886" y="1176"/>
                  </a:lnTo>
                  <a:lnTo>
                    <a:pt x="1892" y="1186"/>
                  </a:lnTo>
                  <a:lnTo>
                    <a:pt x="1900" y="1196"/>
                  </a:lnTo>
                  <a:lnTo>
                    <a:pt x="1912" y="1206"/>
                  </a:lnTo>
                  <a:lnTo>
                    <a:pt x="1924" y="1214"/>
                  </a:lnTo>
                  <a:lnTo>
                    <a:pt x="1946" y="1222"/>
                  </a:lnTo>
                  <a:lnTo>
                    <a:pt x="1954" y="1226"/>
                  </a:lnTo>
                  <a:lnTo>
                    <a:pt x="1956" y="1228"/>
                  </a:lnTo>
                  <a:lnTo>
                    <a:pt x="1956" y="1232"/>
                  </a:lnTo>
                  <a:lnTo>
                    <a:pt x="1952" y="1238"/>
                  </a:lnTo>
                  <a:lnTo>
                    <a:pt x="1940" y="1246"/>
                  </a:lnTo>
                  <a:lnTo>
                    <a:pt x="1926" y="1252"/>
                  </a:lnTo>
                  <a:lnTo>
                    <a:pt x="1920" y="1252"/>
                  </a:lnTo>
                  <a:lnTo>
                    <a:pt x="1916" y="1252"/>
                  </a:lnTo>
                  <a:lnTo>
                    <a:pt x="1908" y="1248"/>
                  </a:lnTo>
                  <a:lnTo>
                    <a:pt x="1902" y="1240"/>
                  </a:lnTo>
                  <a:lnTo>
                    <a:pt x="1894" y="1232"/>
                  </a:lnTo>
                  <a:lnTo>
                    <a:pt x="1886" y="1224"/>
                  </a:lnTo>
                  <a:lnTo>
                    <a:pt x="1874" y="1216"/>
                  </a:lnTo>
                  <a:lnTo>
                    <a:pt x="1868" y="1212"/>
                  </a:lnTo>
                  <a:lnTo>
                    <a:pt x="1858" y="1210"/>
                  </a:lnTo>
                  <a:lnTo>
                    <a:pt x="1844" y="1206"/>
                  </a:lnTo>
                  <a:lnTo>
                    <a:pt x="1836" y="1202"/>
                  </a:lnTo>
                  <a:lnTo>
                    <a:pt x="1832" y="1196"/>
                  </a:lnTo>
                  <a:lnTo>
                    <a:pt x="1832" y="1188"/>
                  </a:lnTo>
                  <a:lnTo>
                    <a:pt x="1832" y="1182"/>
                  </a:lnTo>
                  <a:lnTo>
                    <a:pt x="1830" y="1174"/>
                  </a:lnTo>
                  <a:lnTo>
                    <a:pt x="1826" y="1164"/>
                  </a:lnTo>
                  <a:lnTo>
                    <a:pt x="1818" y="1156"/>
                  </a:lnTo>
                  <a:lnTo>
                    <a:pt x="1814" y="1152"/>
                  </a:lnTo>
                  <a:lnTo>
                    <a:pt x="1812" y="1148"/>
                  </a:lnTo>
                  <a:lnTo>
                    <a:pt x="1812" y="1144"/>
                  </a:lnTo>
                  <a:lnTo>
                    <a:pt x="1812" y="1140"/>
                  </a:lnTo>
                  <a:lnTo>
                    <a:pt x="1816" y="1134"/>
                  </a:lnTo>
                  <a:lnTo>
                    <a:pt x="1822" y="1128"/>
                  </a:lnTo>
                  <a:lnTo>
                    <a:pt x="1826" y="1122"/>
                  </a:lnTo>
                  <a:lnTo>
                    <a:pt x="1830" y="1114"/>
                  </a:lnTo>
                  <a:lnTo>
                    <a:pt x="1828" y="1110"/>
                  </a:lnTo>
                  <a:lnTo>
                    <a:pt x="1826" y="1106"/>
                  </a:lnTo>
                  <a:lnTo>
                    <a:pt x="1822" y="1100"/>
                  </a:lnTo>
                  <a:lnTo>
                    <a:pt x="1816" y="1096"/>
                  </a:lnTo>
                  <a:lnTo>
                    <a:pt x="1800" y="1084"/>
                  </a:lnTo>
                  <a:lnTo>
                    <a:pt x="1784" y="1076"/>
                  </a:lnTo>
                  <a:lnTo>
                    <a:pt x="1758" y="1060"/>
                  </a:lnTo>
                  <a:lnTo>
                    <a:pt x="1746" y="1054"/>
                  </a:lnTo>
                  <a:lnTo>
                    <a:pt x="1738" y="1046"/>
                  </a:lnTo>
                  <a:lnTo>
                    <a:pt x="1730" y="1036"/>
                  </a:lnTo>
                  <a:lnTo>
                    <a:pt x="1726" y="1026"/>
                  </a:lnTo>
                  <a:lnTo>
                    <a:pt x="1724" y="1018"/>
                  </a:lnTo>
                  <a:lnTo>
                    <a:pt x="1726" y="1016"/>
                  </a:lnTo>
                  <a:lnTo>
                    <a:pt x="1736" y="1026"/>
                  </a:lnTo>
                  <a:lnTo>
                    <a:pt x="1746" y="1036"/>
                  </a:lnTo>
                  <a:lnTo>
                    <a:pt x="1762" y="1044"/>
                  </a:lnTo>
                  <a:lnTo>
                    <a:pt x="1782" y="1054"/>
                  </a:lnTo>
                  <a:lnTo>
                    <a:pt x="1808" y="1060"/>
                  </a:lnTo>
                  <a:lnTo>
                    <a:pt x="1836" y="1066"/>
                  </a:lnTo>
                  <a:lnTo>
                    <a:pt x="1864" y="1074"/>
                  </a:lnTo>
                  <a:lnTo>
                    <a:pt x="1920" y="1092"/>
                  </a:lnTo>
                  <a:lnTo>
                    <a:pt x="1948" y="1098"/>
                  </a:lnTo>
                  <a:lnTo>
                    <a:pt x="1962" y="1100"/>
                  </a:lnTo>
                  <a:lnTo>
                    <a:pt x="1976" y="1100"/>
                  </a:lnTo>
                  <a:lnTo>
                    <a:pt x="1990" y="1098"/>
                  </a:lnTo>
                  <a:lnTo>
                    <a:pt x="2002" y="1096"/>
                  </a:lnTo>
                  <a:lnTo>
                    <a:pt x="2016" y="1092"/>
                  </a:lnTo>
                  <a:lnTo>
                    <a:pt x="2030" y="1084"/>
                  </a:lnTo>
                  <a:lnTo>
                    <a:pt x="2052" y="1070"/>
                  </a:lnTo>
                  <a:lnTo>
                    <a:pt x="2072" y="1056"/>
                  </a:lnTo>
                  <a:lnTo>
                    <a:pt x="2084" y="1042"/>
                  </a:lnTo>
                  <a:lnTo>
                    <a:pt x="2090" y="1036"/>
                  </a:lnTo>
                  <a:lnTo>
                    <a:pt x="2092" y="1030"/>
                  </a:lnTo>
                  <a:lnTo>
                    <a:pt x="2094" y="1022"/>
                  </a:lnTo>
                  <a:lnTo>
                    <a:pt x="2092" y="1016"/>
                  </a:lnTo>
                  <a:lnTo>
                    <a:pt x="2090" y="1010"/>
                  </a:lnTo>
                  <a:lnTo>
                    <a:pt x="2086" y="1002"/>
                  </a:lnTo>
                  <a:lnTo>
                    <a:pt x="2080" y="994"/>
                  </a:lnTo>
                  <a:lnTo>
                    <a:pt x="2072" y="988"/>
                  </a:lnTo>
                  <a:lnTo>
                    <a:pt x="2050" y="970"/>
                  </a:lnTo>
                  <a:lnTo>
                    <a:pt x="2010" y="946"/>
                  </a:lnTo>
                  <a:lnTo>
                    <a:pt x="1982" y="934"/>
                  </a:lnTo>
                  <a:lnTo>
                    <a:pt x="1954" y="920"/>
                  </a:lnTo>
                  <a:lnTo>
                    <a:pt x="1910" y="896"/>
                  </a:lnTo>
                  <a:lnTo>
                    <a:pt x="1884" y="882"/>
                  </a:lnTo>
                  <a:lnTo>
                    <a:pt x="1868" y="874"/>
                  </a:lnTo>
                  <a:lnTo>
                    <a:pt x="1854" y="870"/>
                  </a:lnTo>
                  <a:lnTo>
                    <a:pt x="1844" y="870"/>
                  </a:lnTo>
                  <a:lnTo>
                    <a:pt x="1834" y="872"/>
                  </a:lnTo>
                  <a:lnTo>
                    <a:pt x="1822" y="872"/>
                  </a:lnTo>
                  <a:lnTo>
                    <a:pt x="1808" y="870"/>
                  </a:lnTo>
                  <a:lnTo>
                    <a:pt x="1786" y="866"/>
                  </a:lnTo>
                  <a:lnTo>
                    <a:pt x="1768" y="858"/>
                  </a:lnTo>
                  <a:lnTo>
                    <a:pt x="1758" y="852"/>
                  </a:lnTo>
                  <a:lnTo>
                    <a:pt x="1756" y="850"/>
                  </a:lnTo>
                  <a:lnTo>
                    <a:pt x="1756" y="846"/>
                  </a:lnTo>
                  <a:lnTo>
                    <a:pt x="1758" y="844"/>
                  </a:lnTo>
                  <a:lnTo>
                    <a:pt x="1758" y="840"/>
                  </a:lnTo>
                  <a:lnTo>
                    <a:pt x="1752" y="834"/>
                  </a:lnTo>
                  <a:lnTo>
                    <a:pt x="1740" y="828"/>
                  </a:lnTo>
                  <a:lnTo>
                    <a:pt x="1726" y="824"/>
                  </a:lnTo>
                  <a:lnTo>
                    <a:pt x="1718" y="824"/>
                  </a:lnTo>
                  <a:lnTo>
                    <a:pt x="1712" y="826"/>
                  </a:lnTo>
                  <a:lnTo>
                    <a:pt x="1710" y="830"/>
                  </a:lnTo>
                  <a:lnTo>
                    <a:pt x="1706" y="834"/>
                  </a:lnTo>
                  <a:lnTo>
                    <a:pt x="1698" y="838"/>
                  </a:lnTo>
                  <a:lnTo>
                    <a:pt x="1686" y="838"/>
                  </a:lnTo>
                  <a:lnTo>
                    <a:pt x="1666" y="834"/>
                  </a:lnTo>
                  <a:lnTo>
                    <a:pt x="1658" y="832"/>
                  </a:lnTo>
                  <a:lnTo>
                    <a:pt x="1652" y="832"/>
                  </a:lnTo>
                  <a:lnTo>
                    <a:pt x="1648" y="832"/>
                  </a:lnTo>
                  <a:lnTo>
                    <a:pt x="1644" y="828"/>
                  </a:lnTo>
                  <a:lnTo>
                    <a:pt x="1640" y="828"/>
                  </a:lnTo>
                  <a:lnTo>
                    <a:pt x="1638" y="830"/>
                  </a:lnTo>
                  <a:lnTo>
                    <a:pt x="1636" y="834"/>
                  </a:lnTo>
                  <a:lnTo>
                    <a:pt x="1630" y="836"/>
                  </a:lnTo>
                  <a:lnTo>
                    <a:pt x="1620" y="838"/>
                  </a:lnTo>
                  <a:lnTo>
                    <a:pt x="1618" y="838"/>
                  </a:lnTo>
                  <a:lnTo>
                    <a:pt x="1618" y="834"/>
                  </a:lnTo>
                  <a:lnTo>
                    <a:pt x="1622" y="830"/>
                  </a:lnTo>
                  <a:lnTo>
                    <a:pt x="1622" y="826"/>
                  </a:lnTo>
                  <a:lnTo>
                    <a:pt x="1620" y="822"/>
                  </a:lnTo>
                  <a:lnTo>
                    <a:pt x="1618" y="820"/>
                  </a:lnTo>
                  <a:lnTo>
                    <a:pt x="1614" y="818"/>
                  </a:lnTo>
                  <a:lnTo>
                    <a:pt x="1608" y="818"/>
                  </a:lnTo>
                  <a:lnTo>
                    <a:pt x="1598" y="816"/>
                  </a:lnTo>
                  <a:lnTo>
                    <a:pt x="1590" y="814"/>
                  </a:lnTo>
                  <a:lnTo>
                    <a:pt x="1586" y="812"/>
                  </a:lnTo>
                  <a:lnTo>
                    <a:pt x="1580" y="810"/>
                  </a:lnTo>
                  <a:lnTo>
                    <a:pt x="1576" y="810"/>
                  </a:lnTo>
                  <a:lnTo>
                    <a:pt x="1580" y="808"/>
                  </a:lnTo>
                  <a:lnTo>
                    <a:pt x="1592" y="808"/>
                  </a:lnTo>
                  <a:lnTo>
                    <a:pt x="1612" y="812"/>
                  </a:lnTo>
                  <a:lnTo>
                    <a:pt x="1624" y="812"/>
                  </a:lnTo>
                  <a:lnTo>
                    <a:pt x="1634" y="812"/>
                  </a:lnTo>
                  <a:lnTo>
                    <a:pt x="1640" y="810"/>
                  </a:lnTo>
                  <a:lnTo>
                    <a:pt x="1646" y="808"/>
                  </a:lnTo>
                  <a:lnTo>
                    <a:pt x="1654" y="800"/>
                  </a:lnTo>
                  <a:lnTo>
                    <a:pt x="1658" y="800"/>
                  </a:lnTo>
                  <a:lnTo>
                    <a:pt x="1662" y="800"/>
                  </a:lnTo>
                  <a:lnTo>
                    <a:pt x="1668" y="800"/>
                  </a:lnTo>
                  <a:lnTo>
                    <a:pt x="1672" y="798"/>
                  </a:lnTo>
                  <a:lnTo>
                    <a:pt x="1674" y="796"/>
                  </a:lnTo>
                  <a:lnTo>
                    <a:pt x="1676" y="794"/>
                  </a:lnTo>
                  <a:lnTo>
                    <a:pt x="1676" y="790"/>
                  </a:lnTo>
                  <a:lnTo>
                    <a:pt x="1674" y="788"/>
                  </a:lnTo>
                  <a:lnTo>
                    <a:pt x="1672" y="786"/>
                  </a:lnTo>
                  <a:lnTo>
                    <a:pt x="1668" y="786"/>
                  </a:lnTo>
                  <a:lnTo>
                    <a:pt x="1660" y="786"/>
                  </a:lnTo>
                  <a:lnTo>
                    <a:pt x="1658" y="782"/>
                  </a:lnTo>
                  <a:lnTo>
                    <a:pt x="1656" y="780"/>
                  </a:lnTo>
                  <a:lnTo>
                    <a:pt x="1650" y="778"/>
                  </a:lnTo>
                  <a:lnTo>
                    <a:pt x="1648" y="776"/>
                  </a:lnTo>
                  <a:lnTo>
                    <a:pt x="1644" y="774"/>
                  </a:lnTo>
                  <a:lnTo>
                    <a:pt x="1640" y="770"/>
                  </a:lnTo>
                  <a:lnTo>
                    <a:pt x="1636" y="766"/>
                  </a:lnTo>
                  <a:lnTo>
                    <a:pt x="1634" y="766"/>
                  </a:lnTo>
                  <a:lnTo>
                    <a:pt x="1630" y="768"/>
                  </a:lnTo>
                  <a:lnTo>
                    <a:pt x="1624" y="768"/>
                  </a:lnTo>
                  <a:lnTo>
                    <a:pt x="1624" y="766"/>
                  </a:lnTo>
                  <a:lnTo>
                    <a:pt x="1620" y="764"/>
                  </a:lnTo>
                  <a:lnTo>
                    <a:pt x="1614" y="766"/>
                  </a:lnTo>
                  <a:lnTo>
                    <a:pt x="1606" y="768"/>
                  </a:lnTo>
                  <a:lnTo>
                    <a:pt x="1606" y="764"/>
                  </a:lnTo>
                  <a:lnTo>
                    <a:pt x="1606" y="762"/>
                  </a:lnTo>
                  <a:lnTo>
                    <a:pt x="1606" y="760"/>
                  </a:lnTo>
                  <a:lnTo>
                    <a:pt x="1602" y="758"/>
                  </a:lnTo>
                  <a:lnTo>
                    <a:pt x="1596" y="756"/>
                  </a:lnTo>
                  <a:lnTo>
                    <a:pt x="1588" y="754"/>
                  </a:lnTo>
                  <a:lnTo>
                    <a:pt x="1582" y="754"/>
                  </a:lnTo>
                  <a:lnTo>
                    <a:pt x="1578" y="758"/>
                  </a:lnTo>
                  <a:lnTo>
                    <a:pt x="1574" y="760"/>
                  </a:lnTo>
                  <a:lnTo>
                    <a:pt x="1572" y="766"/>
                  </a:lnTo>
                  <a:lnTo>
                    <a:pt x="1570" y="770"/>
                  </a:lnTo>
                  <a:lnTo>
                    <a:pt x="1570" y="780"/>
                  </a:lnTo>
                  <a:lnTo>
                    <a:pt x="1572" y="786"/>
                  </a:lnTo>
                  <a:lnTo>
                    <a:pt x="1568" y="786"/>
                  </a:lnTo>
                  <a:lnTo>
                    <a:pt x="1564" y="782"/>
                  </a:lnTo>
                  <a:lnTo>
                    <a:pt x="1560" y="782"/>
                  </a:lnTo>
                  <a:lnTo>
                    <a:pt x="1558" y="782"/>
                  </a:lnTo>
                  <a:lnTo>
                    <a:pt x="1550" y="784"/>
                  </a:lnTo>
                  <a:lnTo>
                    <a:pt x="1548" y="784"/>
                  </a:lnTo>
                  <a:lnTo>
                    <a:pt x="1548" y="782"/>
                  </a:lnTo>
                  <a:lnTo>
                    <a:pt x="1554" y="778"/>
                  </a:lnTo>
                  <a:lnTo>
                    <a:pt x="1560" y="772"/>
                  </a:lnTo>
                  <a:lnTo>
                    <a:pt x="1564" y="768"/>
                  </a:lnTo>
                  <a:lnTo>
                    <a:pt x="1564" y="766"/>
                  </a:lnTo>
                  <a:lnTo>
                    <a:pt x="1562" y="766"/>
                  </a:lnTo>
                  <a:lnTo>
                    <a:pt x="1556" y="766"/>
                  </a:lnTo>
                  <a:lnTo>
                    <a:pt x="1554" y="766"/>
                  </a:lnTo>
                  <a:lnTo>
                    <a:pt x="1554" y="762"/>
                  </a:lnTo>
                  <a:lnTo>
                    <a:pt x="1558" y="758"/>
                  </a:lnTo>
                  <a:lnTo>
                    <a:pt x="1564" y="756"/>
                  </a:lnTo>
                  <a:lnTo>
                    <a:pt x="1572" y="752"/>
                  </a:lnTo>
                  <a:lnTo>
                    <a:pt x="1574" y="750"/>
                  </a:lnTo>
                  <a:lnTo>
                    <a:pt x="1574" y="748"/>
                  </a:lnTo>
                  <a:lnTo>
                    <a:pt x="1572" y="746"/>
                  </a:lnTo>
                  <a:lnTo>
                    <a:pt x="1570" y="746"/>
                  </a:lnTo>
                  <a:lnTo>
                    <a:pt x="1566" y="746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2"/>
                  </a:lnTo>
                  <a:lnTo>
                    <a:pt x="1560" y="740"/>
                  </a:lnTo>
                  <a:lnTo>
                    <a:pt x="1558" y="740"/>
                  </a:lnTo>
                  <a:lnTo>
                    <a:pt x="1554" y="740"/>
                  </a:lnTo>
                  <a:lnTo>
                    <a:pt x="1548" y="742"/>
                  </a:lnTo>
                  <a:lnTo>
                    <a:pt x="1544" y="742"/>
                  </a:lnTo>
                  <a:lnTo>
                    <a:pt x="1540" y="740"/>
                  </a:lnTo>
                  <a:lnTo>
                    <a:pt x="1538" y="738"/>
                  </a:lnTo>
                  <a:lnTo>
                    <a:pt x="1536" y="738"/>
                  </a:lnTo>
                  <a:lnTo>
                    <a:pt x="1534" y="740"/>
                  </a:lnTo>
                  <a:lnTo>
                    <a:pt x="1532" y="744"/>
                  </a:lnTo>
                  <a:lnTo>
                    <a:pt x="1530" y="744"/>
                  </a:lnTo>
                  <a:lnTo>
                    <a:pt x="1528" y="744"/>
                  </a:lnTo>
                  <a:lnTo>
                    <a:pt x="1524" y="742"/>
                  </a:lnTo>
                  <a:lnTo>
                    <a:pt x="1522" y="744"/>
                  </a:lnTo>
                  <a:lnTo>
                    <a:pt x="1518" y="746"/>
                  </a:lnTo>
                  <a:lnTo>
                    <a:pt x="1518" y="750"/>
                  </a:lnTo>
                  <a:lnTo>
                    <a:pt x="1518" y="752"/>
                  </a:lnTo>
                  <a:lnTo>
                    <a:pt x="1520" y="752"/>
                  </a:lnTo>
                  <a:lnTo>
                    <a:pt x="1524" y="754"/>
                  </a:lnTo>
                  <a:lnTo>
                    <a:pt x="1530" y="754"/>
                  </a:lnTo>
                  <a:lnTo>
                    <a:pt x="1528" y="756"/>
                  </a:lnTo>
                  <a:lnTo>
                    <a:pt x="1522" y="760"/>
                  </a:lnTo>
                  <a:lnTo>
                    <a:pt x="1522" y="762"/>
                  </a:lnTo>
                  <a:lnTo>
                    <a:pt x="1520" y="764"/>
                  </a:lnTo>
                  <a:lnTo>
                    <a:pt x="1516" y="766"/>
                  </a:lnTo>
                  <a:lnTo>
                    <a:pt x="1516" y="768"/>
                  </a:lnTo>
                  <a:lnTo>
                    <a:pt x="1514" y="772"/>
                  </a:lnTo>
                  <a:lnTo>
                    <a:pt x="1512" y="772"/>
                  </a:lnTo>
                  <a:lnTo>
                    <a:pt x="1510" y="774"/>
                  </a:lnTo>
                  <a:lnTo>
                    <a:pt x="1510" y="780"/>
                  </a:lnTo>
                  <a:lnTo>
                    <a:pt x="1510" y="782"/>
                  </a:lnTo>
                  <a:lnTo>
                    <a:pt x="1510" y="784"/>
                  </a:lnTo>
                  <a:lnTo>
                    <a:pt x="1504" y="786"/>
                  </a:lnTo>
                  <a:lnTo>
                    <a:pt x="1496" y="790"/>
                  </a:lnTo>
                  <a:lnTo>
                    <a:pt x="1492" y="792"/>
                  </a:lnTo>
                  <a:lnTo>
                    <a:pt x="1490" y="790"/>
                  </a:lnTo>
                  <a:lnTo>
                    <a:pt x="1492" y="784"/>
                  </a:lnTo>
                  <a:lnTo>
                    <a:pt x="1494" y="776"/>
                  </a:lnTo>
                  <a:lnTo>
                    <a:pt x="1496" y="770"/>
                  </a:lnTo>
                  <a:lnTo>
                    <a:pt x="1496" y="766"/>
                  </a:lnTo>
                  <a:lnTo>
                    <a:pt x="1498" y="760"/>
                  </a:lnTo>
                  <a:lnTo>
                    <a:pt x="1500" y="754"/>
                  </a:lnTo>
                  <a:lnTo>
                    <a:pt x="1498" y="750"/>
                  </a:lnTo>
                  <a:lnTo>
                    <a:pt x="1494" y="750"/>
                  </a:lnTo>
                  <a:lnTo>
                    <a:pt x="1490" y="752"/>
                  </a:lnTo>
                  <a:lnTo>
                    <a:pt x="1480" y="762"/>
                  </a:lnTo>
                  <a:lnTo>
                    <a:pt x="1456" y="784"/>
                  </a:lnTo>
                  <a:lnTo>
                    <a:pt x="1450" y="790"/>
                  </a:lnTo>
                  <a:lnTo>
                    <a:pt x="1450" y="794"/>
                  </a:lnTo>
                  <a:lnTo>
                    <a:pt x="1450" y="798"/>
                  </a:lnTo>
                  <a:lnTo>
                    <a:pt x="1446" y="804"/>
                  </a:lnTo>
                  <a:lnTo>
                    <a:pt x="1440" y="810"/>
                  </a:lnTo>
                  <a:lnTo>
                    <a:pt x="1436" y="810"/>
                  </a:lnTo>
                  <a:lnTo>
                    <a:pt x="1434" y="810"/>
                  </a:lnTo>
                  <a:lnTo>
                    <a:pt x="1432" y="810"/>
                  </a:lnTo>
                  <a:lnTo>
                    <a:pt x="1428" y="812"/>
                  </a:lnTo>
                  <a:lnTo>
                    <a:pt x="1426" y="812"/>
                  </a:lnTo>
                  <a:lnTo>
                    <a:pt x="1428" y="808"/>
                  </a:lnTo>
                  <a:lnTo>
                    <a:pt x="1432" y="802"/>
                  </a:lnTo>
                  <a:lnTo>
                    <a:pt x="1436" y="798"/>
                  </a:lnTo>
                  <a:lnTo>
                    <a:pt x="1436" y="794"/>
                  </a:lnTo>
                  <a:lnTo>
                    <a:pt x="1436" y="792"/>
                  </a:lnTo>
                  <a:lnTo>
                    <a:pt x="1438" y="790"/>
                  </a:lnTo>
                  <a:lnTo>
                    <a:pt x="1442" y="784"/>
                  </a:lnTo>
                  <a:lnTo>
                    <a:pt x="1440" y="782"/>
                  </a:lnTo>
                  <a:lnTo>
                    <a:pt x="1440" y="778"/>
                  </a:lnTo>
                  <a:lnTo>
                    <a:pt x="1448" y="770"/>
                  </a:lnTo>
                  <a:lnTo>
                    <a:pt x="1466" y="756"/>
                  </a:lnTo>
                  <a:lnTo>
                    <a:pt x="1466" y="754"/>
                  </a:lnTo>
                  <a:lnTo>
                    <a:pt x="1458" y="754"/>
                  </a:lnTo>
                  <a:lnTo>
                    <a:pt x="1454" y="752"/>
                  </a:lnTo>
                  <a:lnTo>
                    <a:pt x="1450" y="752"/>
                  </a:lnTo>
                  <a:lnTo>
                    <a:pt x="1446" y="748"/>
                  </a:lnTo>
                  <a:lnTo>
                    <a:pt x="1446" y="746"/>
                  </a:lnTo>
                  <a:lnTo>
                    <a:pt x="1444" y="752"/>
                  </a:lnTo>
                  <a:lnTo>
                    <a:pt x="1442" y="758"/>
                  </a:lnTo>
                  <a:lnTo>
                    <a:pt x="1442" y="760"/>
                  </a:lnTo>
                  <a:lnTo>
                    <a:pt x="1440" y="758"/>
                  </a:lnTo>
                  <a:lnTo>
                    <a:pt x="1438" y="754"/>
                  </a:lnTo>
                  <a:lnTo>
                    <a:pt x="1434" y="750"/>
                  </a:lnTo>
                  <a:lnTo>
                    <a:pt x="1430" y="748"/>
                  </a:lnTo>
                  <a:lnTo>
                    <a:pt x="1426" y="750"/>
                  </a:lnTo>
                  <a:lnTo>
                    <a:pt x="1424" y="750"/>
                  </a:lnTo>
                  <a:lnTo>
                    <a:pt x="1420" y="748"/>
                  </a:lnTo>
                  <a:lnTo>
                    <a:pt x="1418" y="746"/>
                  </a:lnTo>
                  <a:lnTo>
                    <a:pt x="1414" y="746"/>
                  </a:lnTo>
                  <a:lnTo>
                    <a:pt x="1412" y="748"/>
                  </a:lnTo>
                  <a:lnTo>
                    <a:pt x="1414" y="752"/>
                  </a:lnTo>
                  <a:lnTo>
                    <a:pt x="1416" y="754"/>
                  </a:lnTo>
                  <a:lnTo>
                    <a:pt x="1416" y="758"/>
                  </a:lnTo>
                  <a:lnTo>
                    <a:pt x="1414" y="760"/>
                  </a:lnTo>
                  <a:lnTo>
                    <a:pt x="1408" y="758"/>
                  </a:lnTo>
                  <a:lnTo>
                    <a:pt x="1402" y="754"/>
                  </a:lnTo>
                  <a:lnTo>
                    <a:pt x="1400" y="756"/>
                  </a:lnTo>
                  <a:lnTo>
                    <a:pt x="1402" y="760"/>
                  </a:lnTo>
                  <a:lnTo>
                    <a:pt x="1410" y="764"/>
                  </a:lnTo>
                  <a:lnTo>
                    <a:pt x="1418" y="768"/>
                  </a:lnTo>
                  <a:lnTo>
                    <a:pt x="1422" y="770"/>
                  </a:lnTo>
                  <a:lnTo>
                    <a:pt x="1418" y="772"/>
                  </a:lnTo>
                  <a:lnTo>
                    <a:pt x="1410" y="770"/>
                  </a:lnTo>
                  <a:lnTo>
                    <a:pt x="1404" y="768"/>
                  </a:lnTo>
                  <a:lnTo>
                    <a:pt x="1402" y="768"/>
                  </a:lnTo>
                  <a:lnTo>
                    <a:pt x="1402" y="770"/>
                  </a:lnTo>
                  <a:lnTo>
                    <a:pt x="1400" y="774"/>
                  </a:lnTo>
                  <a:lnTo>
                    <a:pt x="1396" y="778"/>
                  </a:lnTo>
                  <a:lnTo>
                    <a:pt x="1388" y="782"/>
                  </a:lnTo>
                  <a:lnTo>
                    <a:pt x="1376" y="790"/>
                  </a:lnTo>
                  <a:lnTo>
                    <a:pt x="1372" y="792"/>
                  </a:lnTo>
                  <a:lnTo>
                    <a:pt x="1372" y="794"/>
                  </a:lnTo>
                  <a:lnTo>
                    <a:pt x="1366" y="798"/>
                  </a:lnTo>
                  <a:lnTo>
                    <a:pt x="1362" y="800"/>
                  </a:lnTo>
                  <a:lnTo>
                    <a:pt x="1360" y="802"/>
                  </a:lnTo>
                  <a:lnTo>
                    <a:pt x="1360" y="804"/>
                  </a:lnTo>
                  <a:lnTo>
                    <a:pt x="1362" y="808"/>
                  </a:lnTo>
                  <a:lnTo>
                    <a:pt x="1360" y="810"/>
                  </a:lnTo>
                  <a:lnTo>
                    <a:pt x="1358" y="810"/>
                  </a:lnTo>
                  <a:lnTo>
                    <a:pt x="1358" y="812"/>
                  </a:lnTo>
                  <a:lnTo>
                    <a:pt x="1362" y="816"/>
                  </a:lnTo>
                  <a:lnTo>
                    <a:pt x="1368" y="818"/>
                  </a:lnTo>
                  <a:lnTo>
                    <a:pt x="1370" y="818"/>
                  </a:lnTo>
                  <a:lnTo>
                    <a:pt x="1368" y="818"/>
                  </a:lnTo>
                  <a:lnTo>
                    <a:pt x="1362" y="818"/>
                  </a:lnTo>
                  <a:lnTo>
                    <a:pt x="1356" y="818"/>
                  </a:lnTo>
                  <a:lnTo>
                    <a:pt x="1350" y="816"/>
                  </a:lnTo>
                  <a:lnTo>
                    <a:pt x="1350" y="814"/>
                  </a:lnTo>
                  <a:lnTo>
                    <a:pt x="1350" y="810"/>
                  </a:lnTo>
                  <a:lnTo>
                    <a:pt x="1350" y="806"/>
                  </a:lnTo>
                  <a:lnTo>
                    <a:pt x="1350" y="804"/>
                  </a:lnTo>
                  <a:lnTo>
                    <a:pt x="1342" y="802"/>
                  </a:lnTo>
                  <a:lnTo>
                    <a:pt x="1334" y="800"/>
                  </a:lnTo>
                  <a:lnTo>
                    <a:pt x="1326" y="800"/>
                  </a:lnTo>
                  <a:lnTo>
                    <a:pt x="1324" y="798"/>
                  </a:lnTo>
                  <a:lnTo>
                    <a:pt x="1322" y="798"/>
                  </a:lnTo>
                  <a:lnTo>
                    <a:pt x="1320" y="796"/>
                  </a:lnTo>
                  <a:lnTo>
                    <a:pt x="1318" y="798"/>
                  </a:lnTo>
                  <a:lnTo>
                    <a:pt x="1312" y="796"/>
                  </a:lnTo>
                  <a:lnTo>
                    <a:pt x="1308" y="794"/>
                  </a:lnTo>
                  <a:lnTo>
                    <a:pt x="1306" y="794"/>
                  </a:lnTo>
                  <a:lnTo>
                    <a:pt x="1306" y="796"/>
                  </a:lnTo>
                  <a:lnTo>
                    <a:pt x="1304" y="802"/>
                  </a:lnTo>
                  <a:lnTo>
                    <a:pt x="1302" y="808"/>
                  </a:lnTo>
                  <a:lnTo>
                    <a:pt x="1300" y="802"/>
                  </a:lnTo>
                  <a:lnTo>
                    <a:pt x="1298" y="800"/>
                  </a:lnTo>
                  <a:lnTo>
                    <a:pt x="1294" y="796"/>
                  </a:lnTo>
                  <a:lnTo>
                    <a:pt x="1290" y="796"/>
                  </a:lnTo>
                  <a:lnTo>
                    <a:pt x="1284" y="798"/>
                  </a:lnTo>
                  <a:lnTo>
                    <a:pt x="1278" y="802"/>
                  </a:lnTo>
                  <a:lnTo>
                    <a:pt x="1280" y="804"/>
                  </a:lnTo>
                  <a:lnTo>
                    <a:pt x="1286" y="806"/>
                  </a:lnTo>
                  <a:lnTo>
                    <a:pt x="1288" y="808"/>
                  </a:lnTo>
                  <a:lnTo>
                    <a:pt x="1290" y="810"/>
                  </a:lnTo>
                  <a:lnTo>
                    <a:pt x="1294" y="812"/>
                  </a:lnTo>
                  <a:lnTo>
                    <a:pt x="1298" y="812"/>
                  </a:lnTo>
                  <a:lnTo>
                    <a:pt x="1302" y="814"/>
                  </a:lnTo>
                  <a:lnTo>
                    <a:pt x="1304" y="816"/>
                  </a:lnTo>
                  <a:lnTo>
                    <a:pt x="1308" y="816"/>
                  </a:lnTo>
                  <a:lnTo>
                    <a:pt x="1310" y="818"/>
                  </a:lnTo>
                  <a:lnTo>
                    <a:pt x="1308" y="820"/>
                  </a:lnTo>
                  <a:lnTo>
                    <a:pt x="1306" y="822"/>
                  </a:lnTo>
                  <a:lnTo>
                    <a:pt x="1306" y="824"/>
                  </a:lnTo>
                  <a:lnTo>
                    <a:pt x="1312" y="832"/>
                  </a:lnTo>
                  <a:lnTo>
                    <a:pt x="1314" y="836"/>
                  </a:lnTo>
                  <a:lnTo>
                    <a:pt x="1312" y="836"/>
                  </a:lnTo>
                  <a:lnTo>
                    <a:pt x="1296" y="824"/>
                  </a:lnTo>
                  <a:lnTo>
                    <a:pt x="1286" y="818"/>
                  </a:lnTo>
                  <a:lnTo>
                    <a:pt x="1280" y="816"/>
                  </a:lnTo>
                  <a:lnTo>
                    <a:pt x="1278" y="818"/>
                  </a:lnTo>
                  <a:lnTo>
                    <a:pt x="1278" y="822"/>
                  </a:lnTo>
                  <a:lnTo>
                    <a:pt x="1280" y="822"/>
                  </a:lnTo>
                  <a:lnTo>
                    <a:pt x="1280" y="824"/>
                  </a:lnTo>
                  <a:lnTo>
                    <a:pt x="1276" y="826"/>
                  </a:lnTo>
                  <a:lnTo>
                    <a:pt x="1274" y="826"/>
                  </a:lnTo>
                  <a:lnTo>
                    <a:pt x="1272" y="826"/>
                  </a:lnTo>
                  <a:lnTo>
                    <a:pt x="1272" y="824"/>
                  </a:lnTo>
                  <a:lnTo>
                    <a:pt x="1274" y="822"/>
                  </a:lnTo>
                  <a:lnTo>
                    <a:pt x="1272" y="822"/>
                  </a:lnTo>
                  <a:lnTo>
                    <a:pt x="1266" y="824"/>
                  </a:lnTo>
                  <a:lnTo>
                    <a:pt x="1252" y="834"/>
                  </a:lnTo>
                  <a:lnTo>
                    <a:pt x="1252" y="836"/>
                  </a:lnTo>
                  <a:lnTo>
                    <a:pt x="1250" y="838"/>
                  </a:lnTo>
                  <a:lnTo>
                    <a:pt x="1248" y="846"/>
                  </a:lnTo>
                  <a:lnTo>
                    <a:pt x="1246" y="850"/>
                  </a:lnTo>
                  <a:lnTo>
                    <a:pt x="1244" y="856"/>
                  </a:lnTo>
                  <a:lnTo>
                    <a:pt x="1238" y="862"/>
                  </a:lnTo>
                  <a:lnTo>
                    <a:pt x="1228" y="868"/>
                  </a:lnTo>
                  <a:lnTo>
                    <a:pt x="1238" y="856"/>
                  </a:lnTo>
                  <a:lnTo>
                    <a:pt x="1242" y="844"/>
                  </a:lnTo>
                  <a:lnTo>
                    <a:pt x="1244" y="832"/>
                  </a:lnTo>
                  <a:lnTo>
                    <a:pt x="1244" y="824"/>
                  </a:lnTo>
                  <a:lnTo>
                    <a:pt x="1242" y="820"/>
                  </a:lnTo>
                  <a:lnTo>
                    <a:pt x="1240" y="822"/>
                  </a:lnTo>
                  <a:lnTo>
                    <a:pt x="1238" y="824"/>
                  </a:lnTo>
                  <a:lnTo>
                    <a:pt x="1236" y="826"/>
                  </a:lnTo>
                  <a:lnTo>
                    <a:pt x="1236" y="824"/>
                  </a:lnTo>
                  <a:lnTo>
                    <a:pt x="1232" y="822"/>
                  </a:lnTo>
                  <a:lnTo>
                    <a:pt x="1230" y="822"/>
                  </a:lnTo>
                  <a:lnTo>
                    <a:pt x="1224" y="834"/>
                  </a:lnTo>
                  <a:lnTo>
                    <a:pt x="1222" y="840"/>
                  </a:lnTo>
                  <a:lnTo>
                    <a:pt x="1222" y="842"/>
                  </a:lnTo>
                  <a:lnTo>
                    <a:pt x="1222" y="844"/>
                  </a:lnTo>
                  <a:lnTo>
                    <a:pt x="1220" y="846"/>
                  </a:lnTo>
                  <a:lnTo>
                    <a:pt x="1216" y="848"/>
                  </a:lnTo>
                  <a:lnTo>
                    <a:pt x="1214" y="848"/>
                  </a:lnTo>
                  <a:lnTo>
                    <a:pt x="1214" y="846"/>
                  </a:lnTo>
                  <a:lnTo>
                    <a:pt x="1216" y="840"/>
                  </a:lnTo>
                  <a:lnTo>
                    <a:pt x="1218" y="836"/>
                  </a:lnTo>
                  <a:lnTo>
                    <a:pt x="1216" y="832"/>
                  </a:lnTo>
                  <a:lnTo>
                    <a:pt x="1214" y="830"/>
                  </a:lnTo>
                  <a:lnTo>
                    <a:pt x="1212" y="830"/>
                  </a:lnTo>
                  <a:lnTo>
                    <a:pt x="1204" y="832"/>
                  </a:lnTo>
                  <a:lnTo>
                    <a:pt x="1198" y="836"/>
                  </a:lnTo>
                  <a:lnTo>
                    <a:pt x="1186" y="844"/>
                  </a:lnTo>
                  <a:lnTo>
                    <a:pt x="1184" y="846"/>
                  </a:lnTo>
                  <a:lnTo>
                    <a:pt x="1188" y="848"/>
                  </a:lnTo>
                  <a:lnTo>
                    <a:pt x="1188" y="850"/>
                  </a:lnTo>
                  <a:lnTo>
                    <a:pt x="1188" y="854"/>
                  </a:lnTo>
                  <a:lnTo>
                    <a:pt x="1188" y="856"/>
                  </a:lnTo>
                  <a:lnTo>
                    <a:pt x="1190" y="858"/>
                  </a:lnTo>
                  <a:lnTo>
                    <a:pt x="1196" y="860"/>
                  </a:lnTo>
                  <a:lnTo>
                    <a:pt x="1200" y="862"/>
                  </a:lnTo>
                  <a:lnTo>
                    <a:pt x="1204" y="864"/>
                  </a:lnTo>
                  <a:lnTo>
                    <a:pt x="1208" y="868"/>
                  </a:lnTo>
                  <a:lnTo>
                    <a:pt x="1210" y="876"/>
                  </a:lnTo>
                  <a:lnTo>
                    <a:pt x="1200" y="872"/>
                  </a:lnTo>
                  <a:lnTo>
                    <a:pt x="1198" y="870"/>
                  </a:lnTo>
                  <a:lnTo>
                    <a:pt x="1200" y="868"/>
                  </a:lnTo>
                  <a:lnTo>
                    <a:pt x="1202" y="868"/>
                  </a:lnTo>
                  <a:lnTo>
                    <a:pt x="1196" y="864"/>
                  </a:lnTo>
                  <a:lnTo>
                    <a:pt x="1190" y="862"/>
                  </a:lnTo>
                  <a:lnTo>
                    <a:pt x="1186" y="860"/>
                  </a:lnTo>
                  <a:lnTo>
                    <a:pt x="1182" y="854"/>
                  </a:lnTo>
                  <a:lnTo>
                    <a:pt x="1180" y="852"/>
                  </a:lnTo>
                  <a:lnTo>
                    <a:pt x="1174" y="852"/>
                  </a:lnTo>
                  <a:lnTo>
                    <a:pt x="1166" y="854"/>
                  </a:lnTo>
                  <a:lnTo>
                    <a:pt x="1166" y="856"/>
                  </a:lnTo>
                  <a:lnTo>
                    <a:pt x="1174" y="862"/>
                  </a:lnTo>
                  <a:lnTo>
                    <a:pt x="1178" y="866"/>
                  </a:lnTo>
                  <a:lnTo>
                    <a:pt x="1176" y="868"/>
                  </a:lnTo>
                  <a:lnTo>
                    <a:pt x="1172" y="868"/>
                  </a:lnTo>
                  <a:lnTo>
                    <a:pt x="1168" y="862"/>
                  </a:lnTo>
                  <a:lnTo>
                    <a:pt x="1158" y="854"/>
                  </a:lnTo>
                  <a:lnTo>
                    <a:pt x="1154" y="854"/>
                  </a:lnTo>
                  <a:lnTo>
                    <a:pt x="1154" y="858"/>
                  </a:lnTo>
                  <a:lnTo>
                    <a:pt x="1154" y="860"/>
                  </a:lnTo>
                  <a:lnTo>
                    <a:pt x="1154" y="862"/>
                  </a:lnTo>
                  <a:lnTo>
                    <a:pt x="1152" y="864"/>
                  </a:lnTo>
                  <a:lnTo>
                    <a:pt x="1150" y="868"/>
                  </a:lnTo>
                  <a:lnTo>
                    <a:pt x="1150" y="872"/>
                  </a:lnTo>
                  <a:lnTo>
                    <a:pt x="1152" y="876"/>
                  </a:lnTo>
                  <a:lnTo>
                    <a:pt x="1152" y="878"/>
                  </a:lnTo>
                  <a:lnTo>
                    <a:pt x="1146" y="880"/>
                  </a:lnTo>
                  <a:lnTo>
                    <a:pt x="1138" y="884"/>
                  </a:lnTo>
                  <a:lnTo>
                    <a:pt x="1134" y="886"/>
                  </a:lnTo>
                  <a:lnTo>
                    <a:pt x="1130" y="888"/>
                  </a:lnTo>
                  <a:lnTo>
                    <a:pt x="1128" y="892"/>
                  </a:lnTo>
                  <a:lnTo>
                    <a:pt x="1128" y="894"/>
                  </a:lnTo>
                  <a:lnTo>
                    <a:pt x="1134" y="896"/>
                  </a:lnTo>
                  <a:lnTo>
                    <a:pt x="1138" y="898"/>
                  </a:lnTo>
                  <a:lnTo>
                    <a:pt x="1132" y="900"/>
                  </a:lnTo>
                  <a:lnTo>
                    <a:pt x="1122" y="902"/>
                  </a:lnTo>
                  <a:lnTo>
                    <a:pt x="1120" y="906"/>
                  </a:lnTo>
                  <a:lnTo>
                    <a:pt x="1118" y="908"/>
                  </a:lnTo>
                  <a:lnTo>
                    <a:pt x="1114" y="912"/>
                  </a:lnTo>
                  <a:lnTo>
                    <a:pt x="1108" y="912"/>
                  </a:lnTo>
                  <a:lnTo>
                    <a:pt x="1102" y="912"/>
                  </a:lnTo>
                  <a:lnTo>
                    <a:pt x="1096" y="916"/>
                  </a:lnTo>
                  <a:lnTo>
                    <a:pt x="1090" y="924"/>
                  </a:lnTo>
                  <a:lnTo>
                    <a:pt x="1088" y="928"/>
                  </a:lnTo>
                  <a:lnTo>
                    <a:pt x="1088" y="930"/>
                  </a:lnTo>
                  <a:lnTo>
                    <a:pt x="1092" y="930"/>
                  </a:lnTo>
                  <a:lnTo>
                    <a:pt x="1096" y="928"/>
                  </a:lnTo>
                  <a:lnTo>
                    <a:pt x="1106" y="926"/>
                  </a:lnTo>
                  <a:lnTo>
                    <a:pt x="1108" y="926"/>
                  </a:lnTo>
                  <a:lnTo>
                    <a:pt x="1108" y="930"/>
                  </a:lnTo>
                  <a:lnTo>
                    <a:pt x="1112" y="930"/>
                  </a:lnTo>
                  <a:lnTo>
                    <a:pt x="1124" y="924"/>
                  </a:lnTo>
                  <a:lnTo>
                    <a:pt x="1128" y="924"/>
                  </a:lnTo>
                  <a:lnTo>
                    <a:pt x="1130" y="924"/>
                  </a:lnTo>
                  <a:lnTo>
                    <a:pt x="1128" y="928"/>
                  </a:lnTo>
                  <a:lnTo>
                    <a:pt x="1120" y="932"/>
                  </a:lnTo>
                  <a:lnTo>
                    <a:pt x="1110" y="936"/>
                  </a:lnTo>
                  <a:lnTo>
                    <a:pt x="1102" y="936"/>
                  </a:lnTo>
                  <a:lnTo>
                    <a:pt x="1100" y="936"/>
                  </a:lnTo>
                  <a:lnTo>
                    <a:pt x="1096" y="934"/>
                  </a:lnTo>
                  <a:lnTo>
                    <a:pt x="1088" y="934"/>
                  </a:lnTo>
                  <a:lnTo>
                    <a:pt x="1078" y="936"/>
                  </a:lnTo>
                  <a:lnTo>
                    <a:pt x="1072" y="938"/>
                  </a:lnTo>
                  <a:lnTo>
                    <a:pt x="1070" y="940"/>
                  </a:lnTo>
                  <a:lnTo>
                    <a:pt x="1074" y="942"/>
                  </a:lnTo>
                  <a:lnTo>
                    <a:pt x="1076" y="944"/>
                  </a:lnTo>
                  <a:lnTo>
                    <a:pt x="1076" y="946"/>
                  </a:lnTo>
                  <a:lnTo>
                    <a:pt x="1080" y="948"/>
                  </a:lnTo>
                  <a:lnTo>
                    <a:pt x="1086" y="948"/>
                  </a:lnTo>
                  <a:lnTo>
                    <a:pt x="1084" y="952"/>
                  </a:lnTo>
                  <a:lnTo>
                    <a:pt x="1080" y="958"/>
                  </a:lnTo>
                  <a:lnTo>
                    <a:pt x="1078" y="960"/>
                  </a:lnTo>
                  <a:lnTo>
                    <a:pt x="1076" y="964"/>
                  </a:lnTo>
                  <a:lnTo>
                    <a:pt x="1076" y="968"/>
                  </a:lnTo>
                  <a:lnTo>
                    <a:pt x="1074" y="966"/>
                  </a:lnTo>
                  <a:lnTo>
                    <a:pt x="1070" y="960"/>
                  </a:lnTo>
                  <a:lnTo>
                    <a:pt x="1070" y="954"/>
                  </a:lnTo>
                  <a:lnTo>
                    <a:pt x="1070" y="948"/>
                  </a:lnTo>
                  <a:lnTo>
                    <a:pt x="1068" y="944"/>
                  </a:lnTo>
                  <a:lnTo>
                    <a:pt x="1066" y="944"/>
                  </a:lnTo>
                  <a:lnTo>
                    <a:pt x="1064" y="948"/>
                  </a:lnTo>
                  <a:lnTo>
                    <a:pt x="1060" y="954"/>
                  </a:lnTo>
                  <a:lnTo>
                    <a:pt x="1058" y="954"/>
                  </a:lnTo>
                  <a:lnTo>
                    <a:pt x="1056" y="954"/>
                  </a:lnTo>
                  <a:lnTo>
                    <a:pt x="1056" y="952"/>
                  </a:lnTo>
                  <a:lnTo>
                    <a:pt x="1052" y="950"/>
                  </a:lnTo>
                  <a:lnTo>
                    <a:pt x="1046" y="952"/>
                  </a:lnTo>
                  <a:lnTo>
                    <a:pt x="1042" y="956"/>
                  </a:lnTo>
                  <a:lnTo>
                    <a:pt x="1040" y="956"/>
                  </a:lnTo>
                  <a:lnTo>
                    <a:pt x="1040" y="958"/>
                  </a:lnTo>
                  <a:lnTo>
                    <a:pt x="1042" y="960"/>
                  </a:lnTo>
                  <a:lnTo>
                    <a:pt x="1044" y="960"/>
                  </a:lnTo>
                  <a:lnTo>
                    <a:pt x="1048" y="958"/>
                  </a:lnTo>
                  <a:lnTo>
                    <a:pt x="1054" y="958"/>
                  </a:lnTo>
                  <a:lnTo>
                    <a:pt x="1062" y="960"/>
                  </a:lnTo>
                  <a:lnTo>
                    <a:pt x="1064" y="962"/>
                  </a:lnTo>
                  <a:lnTo>
                    <a:pt x="1064" y="964"/>
                  </a:lnTo>
                  <a:lnTo>
                    <a:pt x="1060" y="966"/>
                  </a:lnTo>
                  <a:lnTo>
                    <a:pt x="1050" y="966"/>
                  </a:lnTo>
                  <a:lnTo>
                    <a:pt x="1032" y="970"/>
                  </a:lnTo>
                  <a:lnTo>
                    <a:pt x="1020" y="974"/>
                  </a:lnTo>
                  <a:lnTo>
                    <a:pt x="1018" y="976"/>
                  </a:lnTo>
                  <a:lnTo>
                    <a:pt x="1020" y="978"/>
                  </a:lnTo>
                  <a:lnTo>
                    <a:pt x="1022" y="980"/>
                  </a:lnTo>
                  <a:lnTo>
                    <a:pt x="1018" y="984"/>
                  </a:lnTo>
                  <a:lnTo>
                    <a:pt x="1016" y="986"/>
                  </a:lnTo>
                  <a:lnTo>
                    <a:pt x="1020" y="988"/>
                  </a:lnTo>
                  <a:lnTo>
                    <a:pt x="1026" y="988"/>
                  </a:lnTo>
                  <a:lnTo>
                    <a:pt x="1030" y="986"/>
                  </a:lnTo>
                  <a:lnTo>
                    <a:pt x="1036" y="980"/>
                  </a:lnTo>
                  <a:lnTo>
                    <a:pt x="1042" y="976"/>
                  </a:lnTo>
                  <a:lnTo>
                    <a:pt x="1046" y="976"/>
                  </a:lnTo>
                  <a:lnTo>
                    <a:pt x="1052" y="976"/>
                  </a:lnTo>
                  <a:lnTo>
                    <a:pt x="1060" y="980"/>
                  </a:lnTo>
                  <a:lnTo>
                    <a:pt x="1058" y="980"/>
                  </a:lnTo>
                  <a:lnTo>
                    <a:pt x="1050" y="980"/>
                  </a:lnTo>
                  <a:lnTo>
                    <a:pt x="1040" y="982"/>
                  </a:lnTo>
                  <a:lnTo>
                    <a:pt x="1034" y="986"/>
                  </a:lnTo>
                  <a:lnTo>
                    <a:pt x="1034" y="988"/>
                  </a:lnTo>
                  <a:lnTo>
                    <a:pt x="1036" y="990"/>
                  </a:lnTo>
                  <a:lnTo>
                    <a:pt x="1034" y="990"/>
                  </a:lnTo>
                  <a:lnTo>
                    <a:pt x="1026" y="992"/>
                  </a:lnTo>
                  <a:lnTo>
                    <a:pt x="1016" y="996"/>
                  </a:lnTo>
                  <a:lnTo>
                    <a:pt x="1016" y="998"/>
                  </a:lnTo>
                  <a:lnTo>
                    <a:pt x="1020" y="1002"/>
                  </a:lnTo>
                  <a:lnTo>
                    <a:pt x="1022" y="1002"/>
                  </a:lnTo>
                  <a:lnTo>
                    <a:pt x="1022" y="1004"/>
                  </a:lnTo>
                  <a:lnTo>
                    <a:pt x="1020" y="1006"/>
                  </a:lnTo>
                  <a:lnTo>
                    <a:pt x="1016" y="1004"/>
                  </a:lnTo>
                  <a:lnTo>
                    <a:pt x="1014" y="1002"/>
                  </a:lnTo>
                  <a:lnTo>
                    <a:pt x="1010" y="1004"/>
                  </a:lnTo>
                  <a:lnTo>
                    <a:pt x="1004" y="1012"/>
                  </a:lnTo>
                  <a:lnTo>
                    <a:pt x="1008" y="1014"/>
                  </a:lnTo>
                  <a:lnTo>
                    <a:pt x="1012" y="1014"/>
                  </a:lnTo>
                  <a:lnTo>
                    <a:pt x="1016" y="1012"/>
                  </a:lnTo>
                  <a:lnTo>
                    <a:pt x="1024" y="1012"/>
                  </a:lnTo>
                  <a:lnTo>
                    <a:pt x="1036" y="1012"/>
                  </a:lnTo>
                  <a:lnTo>
                    <a:pt x="1050" y="1016"/>
                  </a:lnTo>
                  <a:lnTo>
                    <a:pt x="1048" y="1016"/>
                  </a:lnTo>
                  <a:lnTo>
                    <a:pt x="1046" y="1018"/>
                  </a:lnTo>
                  <a:lnTo>
                    <a:pt x="1046" y="1022"/>
                  </a:lnTo>
                  <a:lnTo>
                    <a:pt x="1046" y="1024"/>
                  </a:lnTo>
                  <a:lnTo>
                    <a:pt x="1044" y="1022"/>
                  </a:lnTo>
                  <a:lnTo>
                    <a:pt x="1038" y="1018"/>
                  </a:lnTo>
                  <a:lnTo>
                    <a:pt x="1034" y="1016"/>
                  </a:lnTo>
                  <a:lnTo>
                    <a:pt x="1028" y="1016"/>
                  </a:lnTo>
                  <a:lnTo>
                    <a:pt x="1020" y="1016"/>
                  </a:lnTo>
                  <a:lnTo>
                    <a:pt x="1014" y="1018"/>
                  </a:lnTo>
                  <a:lnTo>
                    <a:pt x="1008" y="1020"/>
                  </a:lnTo>
                  <a:lnTo>
                    <a:pt x="1002" y="1020"/>
                  </a:lnTo>
                  <a:lnTo>
                    <a:pt x="998" y="1020"/>
                  </a:lnTo>
                  <a:lnTo>
                    <a:pt x="996" y="1020"/>
                  </a:lnTo>
                  <a:lnTo>
                    <a:pt x="994" y="1022"/>
                  </a:lnTo>
                  <a:lnTo>
                    <a:pt x="990" y="1022"/>
                  </a:lnTo>
                  <a:lnTo>
                    <a:pt x="988" y="1024"/>
                  </a:lnTo>
                  <a:lnTo>
                    <a:pt x="988" y="1026"/>
                  </a:lnTo>
                  <a:lnTo>
                    <a:pt x="988" y="1028"/>
                  </a:lnTo>
                  <a:lnTo>
                    <a:pt x="988" y="1030"/>
                  </a:lnTo>
                  <a:lnTo>
                    <a:pt x="986" y="1032"/>
                  </a:lnTo>
                  <a:lnTo>
                    <a:pt x="982" y="1034"/>
                  </a:lnTo>
                  <a:lnTo>
                    <a:pt x="976" y="1034"/>
                  </a:lnTo>
                  <a:lnTo>
                    <a:pt x="968" y="1036"/>
                  </a:lnTo>
                  <a:lnTo>
                    <a:pt x="970" y="1038"/>
                  </a:lnTo>
                  <a:lnTo>
                    <a:pt x="974" y="1042"/>
                  </a:lnTo>
                  <a:lnTo>
                    <a:pt x="974" y="1044"/>
                  </a:lnTo>
                  <a:lnTo>
                    <a:pt x="972" y="1046"/>
                  </a:lnTo>
                  <a:lnTo>
                    <a:pt x="966" y="1050"/>
                  </a:lnTo>
                  <a:lnTo>
                    <a:pt x="964" y="1050"/>
                  </a:lnTo>
                  <a:lnTo>
                    <a:pt x="962" y="1050"/>
                  </a:lnTo>
                  <a:lnTo>
                    <a:pt x="956" y="1052"/>
                  </a:lnTo>
                  <a:lnTo>
                    <a:pt x="954" y="1056"/>
                  </a:lnTo>
                  <a:lnTo>
                    <a:pt x="956" y="1058"/>
                  </a:lnTo>
                  <a:lnTo>
                    <a:pt x="958" y="1058"/>
                  </a:lnTo>
                  <a:lnTo>
                    <a:pt x="958" y="1060"/>
                  </a:lnTo>
                  <a:lnTo>
                    <a:pt x="954" y="1062"/>
                  </a:lnTo>
                  <a:lnTo>
                    <a:pt x="954" y="1064"/>
                  </a:lnTo>
                  <a:lnTo>
                    <a:pt x="956" y="1066"/>
                  </a:lnTo>
                  <a:lnTo>
                    <a:pt x="954" y="1064"/>
                  </a:lnTo>
                  <a:lnTo>
                    <a:pt x="950" y="1064"/>
                  </a:lnTo>
                  <a:lnTo>
                    <a:pt x="946" y="1064"/>
                  </a:lnTo>
                  <a:lnTo>
                    <a:pt x="946" y="1066"/>
                  </a:lnTo>
                  <a:lnTo>
                    <a:pt x="948" y="1068"/>
                  </a:lnTo>
                  <a:lnTo>
                    <a:pt x="950" y="1070"/>
                  </a:lnTo>
                  <a:lnTo>
                    <a:pt x="950" y="1072"/>
                  </a:lnTo>
                  <a:lnTo>
                    <a:pt x="948" y="1076"/>
                  </a:lnTo>
                  <a:lnTo>
                    <a:pt x="948" y="1080"/>
                  </a:lnTo>
                  <a:lnTo>
                    <a:pt x="954" y="1080"/>
                  </a:lnTo>
                  <a:lnTo>
                    <a:pt x="958" y="1080"/>
                  </a:lnTo>
                  <a:lnTo>
                    <a:pt x="954" y="1082"/>
                  </a:lnTo>
                  <a:lnTo>
                    <a:pt x="948" y="1084"/>
                  </a:lnTo>
                  <a:lnTo>
                    <a:pt x="946" y="1086"/>
                  </a:lnTo>
                  <a:lnTo>
                    <a:pt x="954" y="1086"/>
                  </a:lnTo>
                  <a:lnTo>
                    <a:pt x="964" y="1084"/>
                  </a:lnTo>
                  <a:lnTo>
                    <a:pt x="988" y="1078"/>
                  </a:lnTo>
                  <a:lnTo>
                    <a:pt x="994" y="1078"/>
                  </a:lnTo>
                  <a:lnTo>
                    <a:pt x="990" y="1080"/>
                  </a:lnTo>
                  <a:lnTo>
                    <a:pt x="982" y="1084"/>
                  </a:lnTo>
                  <a:lnTo>
                    <a:pt x="972" y="1086"/>
                  </a:lnTo>
                  <a:lnTo>
                    <a:pt x="954" y="1090"/>
                  </a:lnTo>
                  <a:lnTo>
                    <a:pt x="946" y="1092"/>
                  </a:lnTo>
                  <a:lnTo>
                    <a:pt x="936" y="1094"/>
                  </a:lnTo>
                  <a:lnTo>
                    <a:pt x="932" y="1096"/>
                  </a:lnTo>
                  <a:lnTo>
                    <a:pt x="936" y="1096"/>
                  </a:lnTo>
                  <a:lnTo>
                    <a:pt x="942" y="1098"/>
                  </a:lnTo>
                  <a:lnTo>
                    <a:pt x="944" y="1098"/>
                  </a:lnTo>
                  <a:lnTo>
                    <a:pt x="946" y="1100"/>
                  </a:lnTo>
                  <a:lnTo>
                    <a:pt x="944" y="1104"/>
                  </a:lnTo>
                  <a:lnTo>
                    <a:pt x="940" y="1106"/>
                  </a:lnTo>
                  <a:lnTo>
                    <a:pt x="934" y="1108"/>
                  </a:lnTo>
                  <a:lnTo>
                    <a:pt x="932" y="1114"/>
                  </a:lnTo>
                  <a:lnTo>
                    <a:pt x="930" y="1118"/>
                  </a:lnTo>
                  <a:lnTo>
                    <a:pt x="928" y="1120"/>
                  </a:lnTo>
                  <a:lnTo>
                    <a:pt x="924" y="1122"/>
                  </a:lnTo>
                  <a:lnTo>
                    <a:pt x="920" y="1122"/>
                  </a:lnTo>
                  <a:lnTo>
                    <a:pt x="920" y="1128"/>
                  </a:lnTo>
                  <a:lnTo>
                    <a:pt x="922" y="1132"/>
                  </a:lnTo>
                  <a:lnTo>
                    <a:pt x="924" y="1134"/>
                  </a:lnTo>
                  <a:lnTo>
                    <a:pt x="926" y="1134"/>
                  </a:lnTo>
                  <a:lnTo>
                    <a:pt x="928" y="1138"/>
                  </a:lnTo>
                  <a:lnTo>
                    <a:pt x="928" y="1140"/>
                  </a:lnTo>
                  <a:lnTo>
                    <a:pt x="928" y="1142"/>
                  </a:lnTo>
                  <a:lnTo>
                    <a:pt x="922" y="1146"/>
                  </a:lnTo>
                  <a:lnTo>
                    <a:pt x="918" y="1150"/>
                  </a:lnTo>
                  <a:lnTo>
                    <a:pt x="918" y="1152"/>
                  </a:lnTo>
                  <a:lnTo>
                    <a:pt x="920" y="1152"/>
                  </a:lnTo>
                  <a:lnTo>
                    <a:pt x="922" y="1156"/>
                  </a:lnTo>
                  <a:lnTo>
                    <a:pt x="922" y="1160"/>
                  </a:lnTo>
                  <a:lnTo>
                    <a:pt x="918" y="1164"/>
                  </a:lnTo>
                  <a:lnTo>
                    <a:pt x="910" y="1166"/>
                  </a:lnTo>
                  <a:lnTo>
                    <a:pt x="904" y="1168"/>
                  </a:lnTo>
                  <a:lnTo>
                    <a:pt x="900" y="1168"/>
                  </a:lnTo>
                  <a:lnTo>
                    <a:pt x="898" y="1170"/>
                  </a:lnTo>
                  <a:lnTo>
                    <a:pt x="892" y="1172"/>
                  </a:lnTo>
                  <a:lnTo>
                    <a:pt x="888" y="1174"/>
                  </a:lnTo>
                  <a:lnTo>
                    <a:pt x="884" y="1174"/>
                  </a:lnTo>
                  <a:lnTo>
                    <a:pt x="880" y="1176"/>
                  </a:lnTo>
                  <a:lnTo>
                    <a:pt x="876" y="1176"/>
                  </a:lnTo>
                  <a:lnTo>
                    <a:pt x="866" y="1176"/>
                  </a:lnTo>
                  <a:lnTo>
                    <a:pt x="862" y="1176"/>
                  </a:lnTo>
                  <a:lnTo>
                    <a:pt x="860" y="1178"/>
                  </a:lnTo>
                  <a:lnTo>
                    <a:pt x="860" y="1180"/>
                  </a:lnTo>
                  <a:lnTo>
                    <a:pt x="864" y="1180"/>
                  </a:lnTo>
                  <a:lnTo>
                    <a:pt x="868" y="1180"/>
                  </a:lnTo>
                  <a:lnTo>
                    <a:pt x="876" y="1180"/>
                  </a:lnTo>
                  <a:lnTo>
                    <a:pt x="878" y="1182"/>
                  </a:lnTo>
                  <a:lnTo>
                    <a:pt x="880" y="1184"/>
                  </a:lnTo>
                  <a:lnTo>
                    <a:pt x="878" y="1186"/>
                  </a:lnTo>
                  <a:lnTo>
                    <a:pt x="878" y="1188"/>
                  </a:lnTo>
                  <a:lnTo>
                    <a:pt x="886" y="1184"/>
                  </a:lnTo>
                  <a:lnTo>
                    <a:pt x="892" y="1182"/>
                  </a:lnTo>
                  <a:lnTo>
                    <a:pt x="892" y="1184"/>
                  </a:lnTo>
                  <a:lnTo>
                    <a:pt x="890" y="1186"/>
                  </a:lnTo>
                  <a:lnTo>
                    <a:pt x="886" y="1190"/>
                  </a:lnTo>
                  <a:lnTo>
                    <a:pt x="884" y="1190"/>
                  </a:lnTo>
                  <a:lnTo>
                    <a:pt x="882" y="1192"/>
                  </a:lnTo>
                  <a:lnTo>
                    <a:pt x="886" y="1194"/>
                  </a:lnTo>
                  <a:lnTo>
                    <a:pt x="890" y="1196"/>
                  </a:lnTo>
                  <a:lnTo>
                    <a:pt x="890" y="1198"/>
                  </a:lnTo>
                  <a:lnTo>
                    <a:pt x="890" y="1200"/>
                  </a:lnTo>
                  <a:lnTo>
                    <a:pt x="886" y="1204"/>
                  </a:lnTo>
                  <a:lnTo>
                    <a:pt x="886" y="1206"/>
                  </a:lnTo>
                  <a:lnTo>
                    <a:pt x="884" y="1208"/>
                  </a:lnTo>
                  <a:lnTo>
                    <a:pt x="878" y="1208"/>
                  </a:lnTo>
                  <a:lnTo>
                    <a:pt x="874" y="1208"/>
                  </a:lnTo>
                  <a:lnTo>
                    <a:pt x="872" y="1208"/>
                  </a:lnTo>
                  <a:lnTo>
                    <a:pt x="870" y="1204"/>
                  </a:lnTo>
                  <a:lnTo>
                    <a:pt x="868" y="1198"/>
                  </a:lnTo>
                  <a:lnTo>
                    <a:pt x="866" y="1198"/>
                  </a:lnTo>
                  <a:lnTo>
                    <a:pt x="864" y="1198"/>
                  </a:lnTo>
                  <a:lnTo>
                    <a:pt x="862" y="1198"/>
                  </a:lnTo>
                  <a:lnTo>
                    <a:pt x="862" y="1200"/>
                  </a:lnTo>
                  <a:lnTo>
                    <a:pt x="862" y="1202"/>
                  </a:lnTo>
                  <a:lnTo>
                    <a:pt x="860" y="1204"/>
                  </a:lnTo>
                  <a:lnTo>
                    <a:pt x="852" y="1204"/>
                  </a:lnTo>
                  <a:lnTo>
                    <a:pt x="848" y="1208"/>
                  </a:lnTo>
                  <a:lnTo>
                    <a:pt x="846" y="1210"/>
                  </a:lnTo>
                  <a:lnTo>
                    <a:pt x="846" y="1214"/>
                  </a:lnTo>
                  <a:lnTo>
                    <a:pt x="846" y="1216"/>
                  </a:lnTo>
                  <a:lnTo>
                    <a:pt x="844" y="1218"/>
                  </a:lnTo>
                  <a:lnTo>
                    <a:pt x="840" y="1220"/>
                  </a:lnTo>
                  <a:lnTo>
                    <a:pt x="834" y="1222"/>
                  </a:lnTo>
                  <a:lnTo>
                    <a:pt x="832" y="1224"/>
                  </a:lnTo>
                  <a:lnTo>
                    <a:pt x="830" y="1228"/>
                  </a:lnTo>
                  <a:lnTo>
                    <a:pt x="828" y="1234"/>
                  </a:lnTo>
                  <a:lnTo>
                    <a:pt x="824" y="1240"/>
                  </a:lnTo>
                  <a:lnTo>
                    <a:pt x="818" y="1246"/>
                  </a:lnTo>
                  <a:lnTo>
                    <a:pt x="812" y="1250"/>
                  </a:lnTo>
                  <a:lnTo>
                    <a:pt x="808" y="1252"/>
                  </a:lnTo>
                  <a:lnTo>
                    <a:pt x="806" y="1256"/>
                  </a:lnTo>
                  <a:lnTo>
                    <a:pt x="806" y="1258"/>
                  </a:lnTo>
                  <a:lnTo>
                    <a:pt x="806" y="1260"/>
                  </a:lnTo>
                  <a:lnTo>
                    <a:pt x="810" y="1260"/>
                  </a:lnTo>
                  <a:lnTo>
                    <a:pt x="816" y="1258"/>
                  </a:lnTo>
                  <a:lnTo>
                    <a:pt x="818" y="1258"/>
                  </a:lnTo>
                  <a:lnTo>
                    <a:pt x="818" y="1262"/>
                  </a:lnTo>
                  <a:lnTo>
                    <a:pt x="820" y="1262"/>
                  </a:lnTo>
                  <a:lnTo>
                    <a:pt x="822" y="1264"/>
                  </a:lnTo>
                  <a:lnTo>
                    <a:pt x="822" y="1268"/>
                  </a:lnTo>
                  <a:lnTo>
                    <a:pt x="824" y="1270"/>
                  </a:lnTo>
                  <a:lnTo>
                    <a:pt x="826" y="1270"/>
                  </a:lnTo>
                  <a:lnTo>
                    <a:pt x="834" y="1270"/>
                  </a:lnTo>
                  <a:lnTo>
                    <a:pt x="848" y="1264"/>
                  </a:lnTo>
                  <a:lnTo>
                    <a:pt x="862" y="1254"/>
                  </a:lnTo>
                  <a:lnTo>
                    <a:pt x="868" y="1250"/>
                  </a:lnTo>
                  <a:lnTo>
                    <a:pt x="868" y="1246"/>
                  </a:lnTo>
                  <a:lnTo>
                    <a:pt x="864" y="1244"/>
                  </a:lnTo>
                  <a:lnTo>
                    <a:pt x="858" y="1244"/>
                  </a:lnTo>
                  <a:lnTo>
                    <a:pt x="862" y="1242"/>
                  </a:lnTo>
                  <a:lnTo>
                    <a:pt x="870" y="1238"/>
                  </a:lnTo>
                  <a:lnTo>
                    <a:pt x="874" y="1236"/>
                  </a:lnTo>
                  <a:lnTo>
                    <a:pt x="876" y="1234"/>
                  </a:lnTo>
                  <a:lnTo>
                    <a:pt x="880" y="1236"/>
                  </a:lnTo>
                  <a:lnTo>
                    <a:pt x="884" y="1236"/>
                  </a:lnTo>
                  <a:lnTo>
                    <a:pt x="884" y="1238"/>
                  </a:lnTo>
                  <a:lnTo>
                    <a:pt x="878" y="1240"/>
                  </a:lnTo>
                  <a:lnTo>
                    <a:pt x="874" y="1242"/>
                  </a:lnTo>
                  <a:lnTo>
                    <a:pt x="872" y="1244"/>
                  </a:lnTo>
                  <a:lnTo>
                    <a:pt x="874" y="1246"/>
                  </a:lnTo>
                  <a:lnTo>
                    <a:pt x="880" y="1248"/>
                  </a:lnTo>
                  <a:lnTo>
                    <a:pt x="884" y="1250"/>
                  </a:lnTo>
                  <a:lnTo>
                    <a:pt x="880" y="1254"/>
                  </a:lnTo>
                  <a:lnTo>
                    <a:pt x="860" y="1262"/>
                  </a:lnTo>
                  <a:lnTo>
                    <a:pt x="854" y="1266"/>
                  </a:lnTo>
                  <a:lnTo>
                    <a:pt x="858" y="1268"/>
                  </a:lnTo>
                  <a:lnTo>
                    <a:pt x="856" y="1268"/>
                  </a:lnTo>
                  <a:lnTo>
                    <a:pt x="856" y="1270"/>
                  </a:lnTo>
                  <a:lnTo>
                    <a:pt x="856" y="1272"/>
                  </a:lnTo>
                  <a:lnTo>
                    <a:pt x="858" y="1272"/>
                  </a:lnTo>
                  <a:lnTo>
                    <a:pt x="862" y="1274"/>
                  </a:lnTo>
                  <a:lnTo>
                    <a:pt x="860" y="1276"/>
                  </a:lnTo>
                  <a:lnTo>
                    <a:pt x="856" y="1276"/>
                  </a:lnTo>
                  <a:lnTo>
                    <a:pt x="852" y="1276"/>
                  </a:lnTo>
                  <a:lnTo>
                    <a:pt x="844" y="1276"/>
                  </a:lnTo>
                  <a:lnTo>
                    <a:pt x="836" y="1276"/>
                  </a:lnTo>
                  <a:lnTo>
                    <a:pt x="830" y="1276"/>
                  </a:lnTo>
                  <a:lnTo>
                    <a:pt x="826" y="1280"/>
                  </a:lnTo>
                  <a:lnTo>
                    <a:pt x="822" y="1282"/>
                  </a:lnTo>
                  <a:lnTo>
                    <a:pt x="822" y="1276"/>
                  </a:lnTo>
                  <a:lnTo>
                    <a:pt x="818" y="1268"/>
                  </a:lnTo>
                  <a:lnTo>
                    <a:pt x="814" y="1262"/>
                  </a:lnTo>
                  <a:lnTo>
                    <a:pt x="810" y="1262"/>
                  </a:lnTo>
                  <a:lnTo>
                    <a:pt x="806" y="1266"/>
                  </a:lnTo>
                  <a:lnTo>
                    <a:pt x="798" y="1268"/>
                  </a:lnTo>
                  <a:lnTo>
                    <a:pt x="796" y="1268"/>
                  </a:lnTo>
                  <a:lnTo>
                    <a:pt x="794" y="1270"/>
                  </a:lnTo>
                  <a:lnTo>
                    <a:pt x="792" y="1274"/>
                  </a:lnTo>
                  <a:lnTo>
                    <a:pt x="792" y="1276"/>
                  </a:lnTo>
                  <a:lnTo>
                    <a:pt x="790" y="1274"/>
                  </a:lnTo>
                  <a:lnTo>
                    <a:pt x="784" y="1274"/>
                  </a:lnTo>
                  <a:lnTo>
                    <a:pt x="778" y="1274"/>
                  </a:lnTo>
                  <a:lnTo>
                    <a:pt x="762" y="1280"/>
                  </a:lnTo>
                  <a:lnTo>
                    <a:pt x="760" y="1282"/>
                  </a:lnTo>
                  <a:lnTo>
                    <a:pt x="760" y="1284"/>
                  </a:lnTo>
                  <a:lnTo>
                    <a:pt x="766" y="1288"/>
                  </a:lnTo>
                  <a:lnTo>
                    <a:pt x="768" y="1290"/>
                  </a:lnTo>
                  <a:lnTo>
                    <a:pt x="768" y="1292"/>
                  </a:lnTo>
                  <a:lnTo>
                    <a:pt x="766" y="1294"/>
                  </a:lnTo>
                  <a:lnTo>
                    <a:pt x="760" y="1294"/>
                  </a:lnTo>
                  <a:lnTo>
                    <a:pt x="754" y="1296"/>
                  </a:lnTo>
                  <a:lnTo>
                    <a:pt x="752" y="1298"/>
                  </a:lnTo>
                  <a:lnTo>
                    <a:pt x="752" y="1300"/>
                  </a:lnTo>
                  <a:lnTo>
                    <a:pt x="756" y="1302"/>
                  </a:lnTo>
                  <a:lnTo>
                    <a:pt x="746" y="1300"/>
                  </a:lnTo>
                  <a:lnTo>
                    <a:pt x="738" y="1298"/>
                  </a:lnTo>
                  <a:lnTo>
                    <a:pt x="742" y="1300"/>
                  </a:lnTo>
                  <a:lnTo>
                    <a:pt x="744" y="1304"/>
                  </a:lnTo>
                  <a:lnTo>
                    <a:pt x="744" y="1306"/>
                  </a:lnTo>
                  <a:lnTo>
                    <a:pt x="740" y="1308"/>
                  </a:lnTo>
                  <a:lnTo>
                    <a:pt x="728" y="1308"/>
                  </a:lnTo>
                  <a:lnTo>
                    <a:pt x="716" y="1308"/>
                  </a:lnTo>
                  <a:lnTo>
                    <a:pt x="708" y="1306"/>
                  </a:lnTo>
                  <a:lnTo>
                    <a:pt x="704" y="1308"/>
                  </a:lnTo>
                  <a:lnTo>
                    <a:pt x="702" y="1310"/>
                  </a:lnTo>
                  <a:lnTo>
                    <a:pt x="702" y="1316"/>
                  </a:lnTo>
                  <a:lnTo>
                    <a:pt x="704" y="1318"/>
                  </a:lnTo>
                  <a:lnTo>
                    <a:pt x="708" y="1320"/>
                  </a:lnTo>
                  <a:lnTo>
                    <a:pt x="712" y="1320"/>
                  </a:lnTo>
                  <a:lnTo>
                    <a:pt x="718" y="1320"/>
                  </a:lnTo>
                  <a:lnTo>
                    <a:pt x="726" y="1318"/>
                  </a:lnTo>
                  <a:lnTo>
                    <a:pt x="724" y="1320"/>
                  </a:lnTo>
                  <a:lnTo>
                    <a:pt x="720" y="1324"/>
                  </a:lnTo>
                  <a:lnTo>
                    <a:pt x="720" y="1328"/>
                  </a:lnTo>
                  <a:lnTo>
                    <a:pt x="722" y="1332"/>
                  </a:lnTo>
                  <a:lnTo>
                    <a:pt x="724" y="1334"/>
                  </a:lnTo>
                  <a:lnTo>
                    <a:pt x="718" y="1332"/>
                  </a:lnTo>
                  <a:lnTo>
                    <a:pt x="704" y="1328"/>
                  </a:lnTo>
                  <a:lnTo>
                    <a:pt x="696" y="1328"/>
                  </a:lnTo>
                  <a:lnTo>
                    <a:pt x="686" y="1330"/>
                  </a:lnTo>
                  <a:lnTo>
                    <a:pt x="678" y="1334"/>
                  </a:lnTo>
                  <a:lnTo>
                    <a:pt x="676" y="1336"/>
                  </a:lnTo>
                  <a:lnTo>
                    <a:pt x="678" y="1336"/>
                  </a:lnTo>
                  <a:lnTo>
                    <a:pt x="682" y="1338"/>
                  </a:lnTo>
                  <a:lnTo>
                    <a:pt x="694" y="1340"/>
                  </a:lnTo>
                  <a:lnTo>
                    <a:pt x="698" y="1342"/>
                  </a:lnTo>
                  <a:lnTo>
                    <a:pt x="702" y="1344"/>
                  </a:lnTo>
                  <a:lnTo>
                    <a:pt x="704" y="1348"/>
                  </a:lnTo>
                  <a:lnTo>
                    <a:pt x="700" y="1346"/>
                  </a:lnTo>
                  <a:lnTo>
                    <a:pt x="696" y="1344"/>
                  </a:lnTo>
                  <a:lnTo>
                    <a:pt x="692" y="1344"/>
                  </a:lnTo>
                  <a:lnTo>
                    <a:pt x="684" y="1344"/>
                  </a:lnTo>
                  <a:lnTo>
                    <a:pt x="676" y="1346"/>
                  </a:lnTo>
                  <a:lnTo>
                    <a:pt x="668" y="1350"/>
                  </a:lnTo>
                  <a:lnTo>
                    <a:pt x="664" y="1354"/>
                  </a:lnTo>
                  <a:lnTo>
                    <a:pt x="662" y="1356"/>
                  </a:lnTo>
                  <a:lnTo>
                    <a:pt x="662" y="1358"/>
                  </a:lnTo>
                  <a:lnTo>
                    <a:pt x="664" y="1358"/>
                  </a:lnTo>
                  <a:lnTo>
                    <a:pt x="658" y="1358"/>
                  </a:lnTo>
                  <a:lnTo>
                    <a:pt x="654" y="1358"/>
                  </a:lnTo>
                  <a:lnTo>
                    <a:pt x="652" y="1358"/>
                  </a:lnTo>
                  <a:lnTo>
                    <a:pt x="652" y="1360"/>
                  </a:lnTo>
                  <a:lnTo>
                    <a:pt x="654" y="1362"/>
                  </a:lnTo>
                  <a:lnTo>
                    <a:pt x="652" y="1364"/>
                  </a:lnTo>
                  <a:lnTo>
                    <a:pt x="646" y="1362"/>
                  </a:lnTo>
                  <a:lnTo>
                    <a:pt x="628" y="1360"/>
                  </a:lnTo>
                  <a:lnTo>
                    <a:pt x="628" y="1362"/>
                  </a:lnTo>
                  <a:lnTo>
                    <a:pt x="632" y="1366"/>
                  </a:lnTo>
                  <a:lnTo>
                    <a:pt x="632" y="1368"/>
                  </a:lnTo>
                  <a:lnTo>
                    <a:pt x="626" y="1370"/>
                  </a:lnTo>
                  <a:lnTo>
                    <a:pt x="622" y="1370"/>
                  </a:lnTo>
                  <a:lnTo>
                    <a:pt x="624" y="1372"/>
                  </a:lnTo>
                  <a:lnTo>
                    <a:pt x="628" y="1374"/>
                  </a:lnTo>
                  <a:lnTo>
                    <a:pt x="632" y="1376"/>
                  </a:lnTo>
                  <a:lnTo>
                    <a:pt x="644" y="1376"/>
                  </a:lnTo>
                  <a:lnTo>
                    <a:pt x="660" y="1378"/>
                  </a:lnTo>
                  <a:lnTo>
                    <a:pt x="666" y="1378"/>
                  </a:lnTo>
                  <a:lnTo>
                    <a:pt x="674" y="1382"/>
                  </a:lnTo>
                  <a:lnTo>
                    <a:pt x="682" y="1386"/>
                  </a:lnTo>
                  <a:lnTo>
                    <a:pt x="680" y="1386"/>
                  </a:lnTo>
                  <a:lnTo>
                    <a:pt x="672" y="1384"/>
                  </a:lnTo>
                  <a:lnTo>
                    <a:pt x="668" y="1384"/>
                  </a:lnTo>
                  <a:lnTo>
                    <a:pt x="664" y="1386"/>
                  </a:lnTo>
                  <a:lnTo>
                    <a:pt x="662" y="1386"/>
                  </a:lnTo>
                  <a:lnTo>
                    <a:pt x="660" y="1386"/>
                  </a:lnTo>
                  <a:lnTo>
                    <a:pt x="654" y="1382"/>
                  </a:lnTo>
                  <a:lnTo>
                    <a:pt x="648" y="1380"/>
                  </a:lnTo>
                  <a:lnTo>
                    <a:pt x="644" y="1378"/>
                  </a:lnTo>
                  <a:lnTo>
                    <a:pt x="638" y="1380"/>
                  </a:lnTo>
                  <a:lnTo>
                    <a:pt x="630" y="1384"/>
                  </a:lnTo>
                  <a:lnTo>
                    <a:pt x="624" y="1390"/>
                  </a:lnTo>
                  <a:lnTo>
                    <a:pt x="622" y="1394"/>
                  </a:lnTo>
                  <a:lnTo>
                    <a:pt x="624" y="1396"/>
                  </a:lnTo>
                  <a:lnTo>
                    <a:pt x="626" y="1398"/>
                  </a:lnTo>
                  <a:lnTo>
                    <a:pt x="632" y="1404"/>
                  </a:lnTo>
                  <a:lnTo>
                    <a:pt x="628" y="1406"/>
                  </a:lnTo>
                  <a:lnTo>
                    <a:pt x="622" y="1410"/>
                  </a:lnTo>
                  <a:lnTo>
                    <a:pt x="622" y="1412"/>
                  </a:lnTo>
                  <a:lnTo>
                    <a:pt x="624" y="1412"/>
                  </a:lnTo>
                  <a:lnTo>
                    <a:pt x="628" y="1416"/>
                  </a:lnTo>
                  <a:lnTo>
                    <a:pt x="626" y="1418"/>
                  </a:lnTo>
                  <a:lnTo>
                    <a:pt x="626" y="1420"/>
                  </a:lnTo>
                  <a:lnTo>
                    <a:pt x="624" y="1424"/>
                  </a:lnTo>
                  <a:lnTo>
                    <a:pt x="626" y="1426"/>
                  </a:lnTo>
                  <a:lnTo>
                    <a:pt x="628" y="1428"/>
                  </a:lnTo>
                  <a:lnTo>
                    <a:pt x="632" y="1430"/>
                  </a:lnTo>
                  <a:lnTo>
                    <a:pt x="636" y="1430"/>
                  </a:lnTo>
                  <a:lnTo>
                    <a:pt x="642" y="1430"/>
                  </a:lnTo>
                  <a:lnTo>
                    <a:pt x="648" y="1428"/>
                  </a:lnTo>
                  <a:lnTo>
                    <a:pt x="654" y="1424"/>
                  </a:lnTo>
                  <a:lnTo>
                    <a:pt x="660" y="1424"/>
                  </a:lnTo>
                  <a:lnTo>
                    <a:pt x="670" y="1426"/>
                  </a:lnTo>
                  <a:lnTo>
                    <a:pt x="678" y="1428"/>
                  </a:lnTo>
                  <a:lnTo>
                    <a:pt x="680" y="1426"/>
                  </a:lnTo>
                  <a:lnTo>
                    <a:pt x="684" y="1422"/>
                  </a:lnTo>
                  <a:lnTo>
                    <a:pt x="686" y="1420"/>
                  </a:lnTo>
                  <a:lnTo>
                    <a:pt x="688" y="1418"/>
                  </a:lnTo>
                  <a:lnTo>
                    <a:pt x="692" y="1420"/>
                  </a:lnTo>
                  <a:lnTo>
                    <a:pt x="700" y="1424"/>
                  </a:lnTo>
                  <a:lnTo>
                    <a:pt x="704" y="1426"/>
                  </a:lnTo>
                  <a:lnTo>
                    <a:pt x="710" y="1426"/>
                  </a:lnTo>
                  <a:lnTo>
                    <a:pt x="720" y="1424"/>
                  </a:lnTo>
                  <a:lnTo>
                    <a:pt x="726" y="1424"/>
                  </a:lnTo>
                  <a:lnTo>
                    <a:pt x="726" y="1426"/>
                  </a:lnTo>
                  <a:lnTo>
                    <a:pt x="724" y="1426"/>
                  </a:lnTo>
                  <a:lnTo>
                    <a:pt x="716" y="1430"/>
                  </a:lnTo>
                  <a:lnTo>
                    <a:pt x="710" y="1432"/>
                  </a:lnTo>
                  <a:lnTo>
                    <a:pt x="708" y="1434"/>
                  </a:lnTo>
                  <a:lnTo>
                    <a:pt x="708" y="1436"/>
                  </a:lnTo>
                  <a:lnTo>
                    <a:pt x="708" y="1438"/>
                  </a:lnTo>
                  <a:lnTo>
                    <a:pt x="708" y="1440"/>
                  </a:lnTo>
                  <a:lnTo>
                    <a:pt x="700" y="1434"/>
                  </a:lnTo>
                  <a:lnTo>
                    <a:pt x="694" y="1428"/>
                  </a:lnTo>
                  <a:lnTo>
                    <a:pt x="690" y="1428"/>
                  </a:lnTo>
                  <a:lnTo>
                    <a:pt x="688" y="1428"/>
                  </a:lnTo>
                  <a:lnTo>
                    <a:pt x="686" y="1430"/>
                  </a:lnTo>
                  <a:lnTo>
                    <a:pt x="682" y="1434"/>
                  </a:lnTo>
                  <a:lnTo>
                    <a:pt x="680" y="1434"/>
                  </a:lnTo>
                  <a:lnTo>
                    <a:pt x="676" y="1432"/>
                  </a:lnTo>
                  <a:lnTo>
                    <a:pt x="672" y="1430"/>
                  </a:lnTo>
                  <a:lnTo>
                    <a:pt x="666" y="1430"/>
                  </a:lnTo>
                  <a:lnTo>
                    <a:pt x="656" y="1432"/>
                  </a:lnTo>
                  <a:lnTo>
                    <a:pt x="646" y="1436"/>
                  </a:lnTo>
                  <a:lnTo>
                    <a:pt x="640" y="1436"/>
                  </a:lnTo>
                  <a:lnTo>
                    <a:pt x="636" y="1436"/>
                  </a:lnTo>
                  <a:lnTo>
                    <a:pt x="626" y="1434"/>
                  </a:lnTo>
                  <a:lnTo>
                    <a:pt x="624" y="1436"/>
                  </a:lnTo>
                  <a:lnTo>
                    <a:pt x="626" y="1442"/>
                  </a:lnTo>
                  <a:lnTo>
                    <a:pt x="626" y="1446"/>
                  </a:lnTo>
                  <a:lnTo>
                    <a:pt x="626" y="1448"/>
                  </a:lnTo>
                  <a:lnTo>
                    <a:pt x="632" y="1448"/>
                  </a:lnTo>
                  <a:lnTo>
                    <a:pt x="636" y="1448"/>
                  </a:lnTo>
                  <a:lnTo>
                    <a:pt x="636" y="1450"/>
                  </a:lnTo>
                  <a:lnTo>
                    <a:pt x="638" y="1454"/>
                  </a:lnTo>
                  <a:lnTo>
                    <a:pt x="636" y="1456"/>
                  </a:lnTo>
                  <a:lnTo>
                    <a:pt x="630" y="1454"/>
                  </a:lnTo>
                  <a:lnTo>
                    <a:pt x="626" y="1454"/>
                  </a:lnTo>
                  <a:lnTo>
                    <a:pt x="624" y="1454"/>
                  </a:lnTo>
                  <a:lnTo>
                    <a:pt x="626" y="1458"/>
                  </a:lnTo>
                  <a:lnTo>
                    <a:pt x="628" y="1460"/>
                  </a:lnTo>
                  <a:lnTo>
                    <a:pt x="630" y="1462"/>
                  </a:lnTo>
                  <a:lnTo>
                    <a:pt x="634" y="1462"/>
                  </a:lnTo>
                  <a:lnTo>
                    <a:pt x="638" y="1462"/>
                  </a:lnTo>
                  <a:lnTo>
                    <a:pt x="640" y="1464"/>
                  </a:lnTo>
                  <a:lnTo>
                    <a:pt x="638" y="1468"/>
                  </a:lnTo>
                  <a:lnTo>
                    <a:pt x="638" y="1472"/>
                  </a:lnTo>
                  <a:lnTo>
                    <a:pt x="636" y="1476"/>
                  </a:lnTo>
                  <a:lnTo>
                    <a:pt x="630" y="1478"/>
                  </a:lnTo>
                  <a:lnTo>
                    <a:pt x="626" y="1480"/>
                  </a:lnTo>
                  <a:lnTo>
                    <a:pt x="626" y="1482"/>
                  </a:lnTo>
                  <a:lnTo>
                    <a:pt x="636" y="1490"/>
                  </a:lnTo>
                  <a:lnTo>
                    <a:pt x="638" y="1492"/>
                  </a:lnTo>
                  <a:lnTo>
                    <a:pt x="642" y="1490"/>
                  </a:lnTo>
                  <a:lnTo>
                    <a:pt x="646" y="1488"/>
                  </a:lnTo>
                  <a:lnTo>
                    <a:pt x="648" y="1490"/>
                  </a:lnTo>
                  <a:lnTo>
                    <a:pt x="650" y="1494"/>
                  </a:lnTo>
                  <a:lnTo>
                    <a:pt x="652" y="1492"/>
                  </a:lnTo>
                  <a:lnTo>
                    <a:pt x="654" y="1492"/>
                  </a:lnTo>
                  <a:lnTo>
                    <a:pt x="654" y="1496"/>
                  </a:lnTo>
                  <a:lnTo>
                    <a:pt x="654" y="1500"/>
                  </a:lnTo>
                  <a:lnTo>
                    <a:pt x="654" y="1502"/>
                  </a:lnTo>
                  <a:lnTo>
                    <a:pt x="656" y="1502"/>
                  </a:lnTo>
                  <a:lnTo>
                    <a:pt x="658" y="1502"/>
                  </a:lnTo>
                  <a:lnTo>
                    <a:pt x="658" y="1500"/>
                  </a:lnTo>
                  <a:lnTo>
                    <a:pt x="660" y="1494"/>
                  </a:lnTo>
                  <a:lnTo>
                    <a:pt x="662" y="1488"/>
                  </a:lnTo>
                  <a:lnTo>
                    <a:pt x="662" y="1486"/>
                  </a:lnTo>
                  <a:lnTo>
                    <a:pt x="666" y="1486"/>
                  </a:lnTo>
                  <a:lnTo>
                    <a:pt x="668" y="1486"/>
                  </a:lnTo>
                  <a:lnTo>
                    <a:pt x="670" y="1488"/>
                  </a:lnTo>
                  <a:lnTo>
                    <a:pt x="666" y="1496"/>
                  </a:lnTo>
                  <a:lnTo>
                    <a:pt x="660" y="1504"/>
                  </a:lnTo>
                  <a:lnTo>
                    <a:pt x="654" y="1508"/>
                  </a:lnTo>
                  <a:lnTo>
                    <a:pt x="652" y="1510"/>
                  </a:lnTo>
                  <a:lnTo>
                    <a:pt x="650" y="1512"/>
                  </a:lnTo>
                  <a:lnTo>
                    <a:pt x="654" y="1514"/>
                  </a:lnTo>
                  <a:lnTo>
                    <a:pt x="658" y="1518"/>
                  </a:lnTo>
                  <a:lnTo>
                    <a:pt x="658" y="1520"/>
                  </a:lnTo>
                  <a:lnTo>
                    <a:pt x="656" y="1522"/>
                  </a:lnTo>
                  <a:lnTo>
                    <a:pt x="650" y="1524"/>
                  </a:lnTo>
                  <a:lnTo>
                    <a:pt x="648" y="1522"/>
                  </a:lnTo>
                  <a:lnTo>
                    <a:pt x="644" y="1522"/>
                  </a:lnTo>
                  <a:lnTo>
                    <a:pt x="636" y="1526"/>
                  </a:lnTo>
                  <a:lnTo>
                    <a:pt x="632" y="1530"/>
                  </a:lnTo>
                  <a:lnTo>
                    <a:pt x="632" y="1536"/>
                  </a:lnTo>
                  <a:lnTo>
                    <a:pt x="632" y="1540"/>
                  </a:lnTo>
                  <a:lnTo>
                    <a:pt x="634" y="1544"/>
                  </a:lnTo>
                  <a:lnTo>
                    <a:pt x="640" y="1548"/>
                  </a:lnTo>
                  <a:lnTo>
                    <a:pt x="644" y="1548"/>
                  </a:lnTo>
                  <a:lnTo>
                    <a:pt x="646" y="1548"/>
                  </a:lnTo>
                  <a:lnTo>
                    <a:pt x="646" y="1546"/>
                  </a:lnTo>
                  <a:lnTo>
                    <a:pt x="648" y="1546"/>
                  </a:lnTo>
                  <a:lnTo>
                    <a:pt x="650" y="1546"/>
                  </a:lnTo>
                  <a:lnTo>
                    <a:pt x="654" y="1548"/>
                  </a:lnTo>
                  <a:lnTo>
                    <a:pt x="656" y="1544"/>
                  </a:lnTo>
                  <a:lnTo>
                    <a:pt x="658" y="1542"/>
                  </a:lnTo>
                  <a:lnTo>
                    <a:pt x="660" y="1540"/>
                  </a:lnTo>
                  <a:lnTo>
                    <a:pt x="664" y="1542"/>
                  </a:lnTo>
                  <a:lnTo>
                    <a:pt x="666" y="1544"/>
                  </a:lnTo>
                  <a:lnTo>
                    <a:pt x="664" y="1548"/>
                  </a:lnTo>
                  <a:lnTo>
                    <a:pt x="662" y="1548"/>
                  </a:lnTo>
                  <a:lnTo>
                    <a:pt x="660" y="1550"/>
                  </a:lnTo>
                  <a:lnTo>
                    <a:pt x="660" y="1552"/>
                  </a:lnTo>
                  <a:lnTo>
                    <a:pt x="662" y="1554"/>
                  </a:lnTo>
                  <a:lnTo>
                    <a:pt x="664" y="1556"/>
                  </a:lnTo>
                  <a:lnTo>
                    <a:pt x="662" y="1558"/>
                  </a:lnTo>
                  <a:lnTo>
                    <a:pt x="660" y="1560"/>
                  </a:lnTo>
                  <a:lnTo>
                    <a:pt x="660" y="1562"/>
                  </a:lnTo>
                  <a:lnTo>
                    <a:pt x="662" y="1564"/>
                  </a:lnTo>
                  <a:lnTo>
                    <a:pt x="662" y="1568"/>
                  </a:lnTo>
                  <a:lnTo>
                    <a:pt x="658" y="1570"/>
                  </a:lnTo>
                  <a:lnTo>
                    <a:pt x="654" y="1572"/>
                  </a:lnTo>
                  <a:lnTo>
                    <a:pt x="652" y="1570"/>
                  </a:lnTo>
                  <a:lnTo>
                    <a:pt x="648" y="1568"/>
                  </a:lnTo>
                  <a:lnTo>
                    <a:pt x="646" y="1566"/>
                  </a:lnTo>
                  <a:lnTo>
                    <a:pt x="644" y="1576"/>
                  </a:lnTo>
                  <a:lnTo>
                    <a:pt x="642" y="1586"/>
                  </a:lnTo>
                  <a:lnTo>
                    <a:pt x="646" y="1592"/>
                  </a:lnTo>
                  <a:lnTo>
                    <a:pt x="652" y="1598"/>
                  </a:lnTo>
                  <a:lnTo>
                    <a:pt x="658" y="1600"/>
                  </a:lnTo>
                  <a:lnTo>
                    <a:pt x="662" y="1600"/>
                  </a:lnTo>
                  <a:lnTo>
                    <a:pt x="664" y="1604"/>
                  </a:lnTo>
                  <a:lnTo>
                    <a:pt x="668" y="1608"/>
                  </a:lnTo>
                  <a:lnTo>
                    <a:pt x="674" y="1612"/>
                  </a:lnTo>
                  <a:lnTo>
                    <a:pt x="688" y="1616"/>
                  </a:lnTo>
                  <a:lnTo>
                    <a:pt x="690" y="1618"/>
                  </a:lnTo>
                  <a:lnTo>
                    <a:pt x="688" y="1620"/>
                  </a:lnTo>
                  <a:lnTo>
                    <a:pt x="688" y="1624"/>
                  </a:lnTo>
                  <a:lnTo>
                    <a:pt x="690" y="1626"/>
                  </a:lnTo>
                  <a:lnTo>
                    <a:pt x="692" y="1628"/>
                  </a:lnTo>
                  <a:lnTo>
                    <a:pt x="694" y="1628"/>
                  </a:lnTo>
                  <a:lnTo>
                    <a:pt x="696" y="1626"/>
                  </a:lnTo>
                  <a:lnTo>
                    <a:pt x="700" y="1626"/>
                  </a:lnTo>
                  <a:lnTo>
                    <a:pt x="704" y="1630"/>
                  </a:lnTo>
                  <a:lnTo>
                    <a:pt x="706" y="1632"/>
                  </a:lnTo>
                  <a:lnTo>
                    <a:pt x="710" y="1630"/>
                  </a:lnTo>
                  <a:lnTo>
                    <a:pt x="720" y="1628"/>
                  </a:lnTo>
                  <a:lnTo>
                    <a:pt x="734" y="1628"/>
                  </a:lnTo>
                  <a:lnTo>
                    <a:pt x="746" y="1626"/>
                  </a:lnTo>
                  <a:lnTo>
                    <a:pt x="752" y="1624"/>
                  </a:lnTo>
                  <a:lnTo>
                    <a:pt x="756" y="1620"/>
                  </a:lnTo>
                  <a:lnTo>
                    <a:pt x="760" y="1618"/>
                  </a:lnTo>
                  <a:lnTo>
                    <a:pt x="766" y="1614"/>
                  </a:lnTo>
                  <a:lnTo>
                    <a:pt x="774" y="1608"/>
                  </a:lnTo>
                  <a:lnTo>
                    <a:pt x="780" y="1600"/>
                  </a:lnTo>
                  <a:lnTo>
                    <a:pt x="782" y="1596"/>
                  </a:lnTo>
                  <a:lnTo>
                    <a:pt x="784" y="1594"/>
                  </a:lnTo>
                  <a:lnTo>
                    <a:pt x="790" y="1592"/>
                  </a:lnTo>
                  <a:lnTo>
                    <a:pt x="792" y="1592"/>
                  </a:lnTo>
                  <a:lnTo>
                    <a:pt x="794" y="1588"/>
                  </a:lnTo>
                  <a:lnTo>
                    <a:pt x="794" y="1586"/>
                  </a:lnTo>
                  <a:lnTo>
                    <a:pt x="796" y="1586"/>
                  </a:lnTo>
                  <a:lnTo>
                    <a:pt x="800" y="1584"/>
                  </a:lnTo>
                  <a:lnTo>
                    <a:pt x="804" y="1582"/>
                  </a:lnTo>
                  <a:lnTo>
                    <a:pt x="800" y="1578"/>
                  </a:lnTo>
                  <a:lnTo>
                    <a:pt x="798" y="1576"/>
                  </a:lnTo>
                  <a:lnTo>
                    <a:pt x="802" y="1574"/>
                  </a:lnTo>
                  <a:lnTo>
                    <a:pt x="810" y="1572"/>
                  </a:lnTo>
                  <a:lnTo>
                    <a:pt x="812" y="1570"/>
                  </a:lnTo>
                  <a:lnTo>
                    <a:pt x="812" y="1566"/>
                  </a:lnTo>
                  <a:lnTo>
                    <a:pt x="812" y="1562"/>
                  </a:lnTo>
                  <a:lnTo>
                    <a:pt x="816" y="1564"/>
                  </a:lnTo>
                  <a:lnTo>
                    <a:pt x="820" y="1568"/>
                  </a:lnTo>
                  <a:lnTo>
                    <a:pt x="822" y="1570"/>
                  </a:lnTo>
                  <a:lnTo>
                    <a:pt x="824" y="1568"/>
                  </a:lnTo>
                  <a:lnTo>
                    <a:pt x="828" y="1566"/>
                  </a:lnTo>
                  <a:lnTo>
                    <a:pt x="834" y="1566"/>
                  </a:lnTo>
                  <a:lnTo>
                    <a:pt x="838" y="1564"/>
                  </a:lnTo>
                  <a:lnTo>
                    <a:pt x="838" y="1558"/>
                  </a:lnTo>
                  <a:lnTo>
                    <a:pt x="838" y="1554"/>
                  </a:lnTo>
                  <a:lnTo>
                    <a:pt x="840" y="1552"/>
                  </a:lnTo>
                  <a:lnTo>
                    <a:pt x="844" y="1550"/>
                  </a:lnTo>
                  <a:lnTo>
                    <a:pt x="846" y="1548"/>
                  </a:lnTo>
                  <a:lnTo>
                    <a:pt x="842" y="1540"/>
                  </a:lnTo>
                  <a:lnTo>
                    <a:pt x="840" y="1536"/>
                  </a:lnTo>
                  <a:lnTo>
                    <a:pt x="838" y="1532"/>
                  </a:lnTo>
                  <a:lnTo>
                    <a:pt x="840" y="1528"/>
                  </a:lnTo>
                  <a:lnTo>
                    <a:pt x="844" y="1532"/>
                  </a:lnTo>
                  <a:lnTo>
                    <a:pt x="846" y="1534"/>
                  </a:lnTo>
                  <a:lnTo>
                    <a:pt x="848" y="1534"/>
                  </a:lnTo>
                  <a:lnTo>
                    <a:pt x="850" y="1530"/>
                  </a:lnTo>
                  <a:lnTo>
                    <a:pt x="850" y="1528"/>
                  </a:lnTo>
                  <a:lnTo>
                    <a:pt x="852" y="1530"/>
                  </a:lnTo>
                  <a:lnTo>
                    <a:pt x="852" y="1536"/>
                  </a:lnTo>
                  <a:lnTo>
                    <a:pt x="850" y="1538"/>
                  </a:lnTo>
                  <a:lnTo>
                    <a:pt x="850" y="1540"/>
                  </a:lnTo>
                  <a:lnTo>
                    <a:pt x="852" y="1542"/>
                  </a:lnTo>
                  <a:lnTo>
                    <a:pt x="854" y="1548"/>
                  </a:lnTo>
                  <a:lnTo>
                    <a:pt x="854" y="1552"/>
                  </a:lnTo>
                  <a:lnTo>
                    <a:pt x="856" y="1554"/>
                  </a:lnTo>
                  <a:lnTo>
                    <a:pt x="862" y="1556"/>
                  </a:lnTo>
                  <a:lnTo>
                    <a:pt x="866" y="1556"/>
                  </a:lnTo>
                  <a:lnTo>
                    <a:pt x="866" y="1558"/>
                  </a:lnTo>
                  <a:lnTo>
                    <a:pt x="868" y="1558"/>
                  </a:lnTo>
                  <a:lnTo>
                    <a:pt x="876" y="1560"/>
                  </a:lnTo>
                  <a:lnTo>
                    <a:pt x="874" y="1564"/>
                  </a:lnTo>
                  <a:lnTo>
                    <a:pt x="872" y="1566"/>
                  </a:lnTo>
                  <a:lnTo>
                    <a:pt x="872" y="1570"/>
                  </a:lnTo>
                  <a:lnTo>
                    <a:pt x="874" y="1576"/>
                  </a:lnTo>
                  <a:lnTo>
                    <a:pt x="876" y="1584"/>
                  </a:lnTo>
                  <a:lnTo>
                    <a:pt x="876" y="1594"/>
                  </a:lnTo>
                  <a:lnTo>
                    <a:pt x="876" y="1602"/>
                  </a:lnTo>
                  <a:lnTo>
                    <a:pt x="876" y="1608"/>
                  </a:lnTo>
                  <a:lnTo>
                    <a:pt x="878" y="1612"/>
                  </a:lnTo>
                  <a:lnTo>
                    <a:pt x="882" y="1616"/>
                  </a:lnTo>
                  <a:lnTo>
                    <a:pt x="886" y="1616"/>
                  </a:lnTo>
                  <a:lnTo>
                    <a:pt x="890" y="1614"/>
                  </a:lnTo>
                  <a:lnTo>
                    <a:pt x="896" y="1610"/>
                  </a:lnTo>
                  <a:lnTo>
                    <a:pt x="898" y="1612"/>
                  </a:lnTo>
                  <a:lnTo>
                    <a:pt x="900" y="1614"/>
                  </a:lnTo>
                  <a:lnTo>
                    <a:pt x="902" y="1618"/>
                  </a:lnTo>
                  <a:lnTo>
                    <a:pt x="902" y="1622"/>
                  </a:lnTo>
                  <a:lnTo>
                    <a:pt x="900" y="1628"/>
                  </a:lnTo>
                  <a:lnTo>
                    <a:pt x="896" y="1638"/>
                  </a:lnTo>
                  <a:lnTo>
                    <a:pt x="898" y="1644"/>
                  </a:lnTo>
                  <a:lnTo>
                    <a:pt x="900" y="1652"/>
                  </a:lnTo>
                  <a:lnTo>
                    <a:pt x="906" y="1672"/>
                  </a:lnTo>
                  <a:lnTo>
                    <a:pt x="916" y="1694"/>
                  </a:lnTo>
                  <a:lnTo>
                    <a:pt x="928" y="1710"/>
                  </a:lnTo>
                  <a:lnTo>
                    <a:pt x="932" y="1716"/>
                  </a:lnTo>
                  <a:lnTo>
                    <a:pt x="936" y="1716"/>
                  </a:lnTo>
                  <a:lnTo>
                    <a:pt x="942" y="1716"/>
                  </a:lnTo>
                  <a:lnTo>
                    <a:pt x="944" y="1718"/>
                  </a:lnTo>
                  <a:lnTo>
                    <a:pt x="944" y="1720"/>
                  </a:lnTo>
                  <a:lnTo>
                    <a:pt x="942" y="1726"/>
                  </a:lnTo>
                  <a:lnTo>
                    <a:pt x="934" y="1728"/>
                  </a:lnTo>
                  <a:lnTo>
                    <a:pt x="932" y="1730"/>
                  </a:lnTo>
                  <a:lnTo>
                    <a:pt x="934" y="1732"/>
                  </a:lnTo>
                  <a:lnTo>
                    <a:pt x="936" y="1738"/>
                  </a:lnTo>
                  <a:lnTo>
                    <a:pt x="938" y="1742"/>
                  </a:lnTo>
                  <a:lnTo>
                    <a:pt x="932" y="1740"/>
                  </a:lnTo>
                  <a:lnTo>
                    <a:pt x="926" y="1740"/>
                  </a:lnTo>
                  <a:lnTo>
                    <a:pt x="934" y="1752"/>
                  </a:lnTo>
                  <a:lnTo>
                    <a:pt x="940" y="1760"/>
                  </a:lnTo>
                  <a:lnTo>
                    <a:pt x="944" y="1768"/>
                  </a:lnTo>
                  <a:lnTo>
                    <a:pt x="946" y="1778"/>
                  </a:lnTo>
                  <a:lnTo>
                    <a:pt x="946" y="1782"/>
                  </a:lnTo>
                  <a:lnTo>
                    <a:pt x="944" y="1786"/>
                  </a:lnTo>
                  <a:lnTo>
                    <a:pt x="940" y="1792"/>
                  </a:lnTo>
                  <a:lnTo>
                    <a:pt x="942" y="1796"/>
                  </a:lnTo>
                  <a:lnTo>
                    <a:pt x="946" y="1798"/>
                  </a:lnTo>
                  <a:lnTo>
                    <a:pt x="954" y="1798"/>
                  </a:lnTo>
                  <a:lnTo>
                    <a:pt x="972" y="1796"/>
                  </a:lnTo>
                  <a:lnTo>
                    <a:pt x="982" y="1794"/>
                  </a:lnTo>
                  <a:lnTo>
                    <a:pt x="990" y="1794"/>
                  </a:lnTo>
                  <a:lnTo>
                    <a:pt x="996" y="1794"/>
                  </a:lnTo>
                  <a:lnTo>
                    <a:pt x="998" y="1788"/>
                  </a:lnTo>
                  <a:lnTo>
                    <a:pt x="1000" y="1774"/>
                  </a:lnTo>
                  <a:lnTo>
                    <a:pt x="1000" y="1768"/>
                  </a:lnTo>
                  <a:lnTo>
                    <a:pt x="1002" y="1760"/>
                  </a:lnTo>
                  <a:lnTo>
                    <a:pt x="1004" y="1756"/>
                  </a:lnTo>
                  <a:lnTo>
                    <a:pt x="1010" y="1756"/>
                  </a:lnTo>
                  <a:lnTo>
                    <a:pt x="1018" y="1756"/>
                  </a:lnTo>
                  <a:lnTo>
                    <a:pt x="1018" y="1754"/>
                  </a:lnTo>
                  <a:lnTo>
                    <a:pt x="1018" y="1752"/>
                  </a:lnTo>
                  <a:lnTo>
                    <a:pt x="1020" y="1750"/>
                  </a:lnTo>
                  <a:lnTo>
                    <a:pt x="1024" y="1748"/>
                  </a:lnTo>
                  <a:lnTo>
                    <a:pt x="1034" y="1746"/>
                  </a:lnTo>
                  <a:lnTo>
                    <a:pt x="1042" y="1746"/>
                  </a:lnTo>
                  <a:lnTo>
                    <a:pt x="1050" y="1746"/>
                  </a:lnTo>
                  <a:lnTo>
                    <a:pt x="1058" y="1750"/>
                  </a:lnTo>
                  <a:lnTo>
                    <a:pt x="1062" y="1750"/>
                  </a:lnTo>
                  <a:lnTo>
                    <a:pt x="1064" y="1750"/>
                  </a:lnTo>
                  <a:lnTo>
                    <a:pt x="1070" y="1736"/>
                  </a:lnTo>
                  <a:lnTo>
                    <a:pt x="1076" y="1720"/>
                  </a:lnTo>
                  <a:lnTo>
                    <a:pt x="1082" y="1708"/>
                  </a:lnTo>
                  <a:lnTo>
                    <a:pt x="1086" y="1700"/>
                  </a:lnTo>
                  <a:lnTo>
                    <a:pt x="1088" y="1692"/>
                  </a:lnTo>
                  <a:lnTo>
                    <a:pt x="1088" y="1684"/>
                  </a:lnTo>
                  <a:lnTo>
                    <a:pt x="1090" y="1676"/>
                  </a:lnTo>
                  <a:lnTo>
                    <a:pt x="1092" y="1666"/>
                  </a:lnTo>
                  <a:lnTo>
                    <a:pt x="1092" y="1658"/>
                  </a:lnTo>
                  <a:lnTo>
                    <a:pt x="1090" y="1654"/>
                  </a:lnTo>
                  <a:lnTo>
                    <a:pt x="1092" y="1650"/>
                  </a:lnTo>
                  <a:lnTo>
                    <a:pt x="1094" y="1644"/>
                  </a:lnTo>
                  <a:lnTo>
                    <a:pt x="1098" y="1638"/>
                  </a:lnTo>
                  <a:lnTo>
                    <a:pt x="1098" y="1634"/>
                  </a:lnTo>
                  <a:lnTo>
                    <a:pt x="1098" y="1632"/>
                  </a:lnTo>
                  <a:lnTo>
                    <a:pt x="1096" y="1626"/>
                  </a:lnTo>
                  <a:lnTo>
                    <a:pt x="1098" y="1622"/>
                  </a:lnTo>
                  <a:lnTo>
                    <a:pt x="1100" y="1618"/>
                  </a:lnTo>
                  <a:lnTo>
                    <a:pt x="1098" y="1610"/>
                  </a:lnTo>
                  <a:lnTo>
                    <a:pt x="1096" y="1606"/>
                  </a:lnTo>
                  <a:lnTo>
                    <a:pt x="1096" y="1604"/>
                  </a:lnTo>
                  <a:lnTo>
                    <a:pt x="1098" y="1604"/>
                  </a:lnTo>
                  <a:lnTo>
                    <a:pt x="1100" y="1602"/>
                  </a:lnTo>
                  <a:lnTo>
                    <a:pt x="1102" y="1600"/>
                  </a:lnTo>
                  <a:lnTo>
                    <a:pt x="1100" y="1598"/>
                  </a:lnTo>
                  <a:lnTo>
                    <a:pt x="1100" y="1596"/>
                  </a:lnTo>
                  <a:lnTo>
                    <a:pt x="1102" y="1592"/>
                  </a:lnTo>
                  <a:lnTo>
                    <a:pt x="1112" y="1588"/>
                  </a:lnTo>
                  <a:lnTo>
                    <a:pt x="1124" y="1582"/>
                  </a:lnTo>
                  <a:lnTo>
                    <a:pt x="1130" y="1578"/>
                  </a:lnTo>
                  <a:lnTo>
                    <a:pt x="1132" y="1574"/>
                  </a:lnTo>
                  <a:lnTo>
                    <a:pt x="1134" y="1570"/>
                  </a:lnTo>
                  <a:lnTo>
                    <a:pt x="1134" y="1568"/>
                  </a:lnTo>
                  <a:lnTo>
                    <a:pt x="1138" y="1572"/>
                  </a:lnTo>
                  <a:lnTo>
                    <a:pt x="1142" y="1576"/>
                  </a:lnTo>
                  <a:lnTo>
                    <a:pt x="1144" y="1574"/>
                  </a:lnTo>
                  <a:lnTo>
                    <a:pt x="1146" y="1572"/>
                  </a:lnTo>
                  <a:lnTo>
                    <a:pt x="1152" y="1566"/>
                  </a:lnTo>
                  <a:lnTo>
                    <a:pt x="1158" y="1562"/>
                  </a:lnTo>
                  <a:lnTo>
                    <a:pt x="1164" y="1560"/>
                  </a:lnTo>
                  <a:lnTo>
                    <a:pt x="1164" y="1558"/>
                  </a:lnTo>
                  <a:lnTo>
                    <a:pt x="1164" y="1556"/>
                  </a:lnTo>
                  <a:lnTo>
                    <a:pt x="1166" y="1554"/>
                  </a:lnTo>
                  <a:lnTo>
                    <a:pt x="1170" y="1552"/>
                  </a:lnTo>
                  <a:lnTo>
                    <a:pt x="1172" y="1550"/>
                  </a:lnTo>
                  <a:lnTo>
                    <a:pt x="1172" y="1548"/>
                  </a:lnTo>
                  <a:lnTo>
                    <a:pt x="1172" y="1546"/>
                  </a:lnTo>
                  <a:lnTo>
                    <a:pt x="1170" y="1542"/>
                  </a:lnTo>
                  <a:lnTo>
                    <a:pt x="1168" y="1540"/>
                  </a:lnTo>
                  <a:lnTo>
                    <a:pt x="1164" y="1540"/>
                  </a:lnTo>
                  <a:lnTo>
                    <a:pt x="1152" y="1546"/>
                  </a:lnTo>
                  <a:lnTo>
                    <a:pt x="1144" y="1550"/>
                  </a:lnTo>
                  <a:lnTo>
                    <a:pt x="1136" y="1550"/>
                  </a:lnTo>
                  <a:lnTo>
                    <a:pt x="1128" y="1550"/>
                  </a:lnTo>
                  <a:lnTo>
                    <a:pt x="1122" y="1546"/>
                  </a:lnTo>
                  <a:lnTo>
                    <a:pt x="1112" y="1540"/>
                  </a:lnTo>
                  <a:lnTo>
                    <a:pt x="1104" y="1538"/>
                  </a:lnTo>
                  <a:lnTo>
                    <a:pt x="1094" y="1538"/>
                  </a:lnTo>
                  <a:lnTo>
                    <a:pt x="1086" y="1538"/>
                  </a:lnTo>
                  <a:lnTo>
                    <a:pt x="1076" y="1538"/>
                  </a:lnTo>
                  <a:lnTo>
                    <a:pt x="1084" y="1534"/>
                  </a:lnTo>
                  <a:lnTo>
                    <a:pt x="1092" y="1530"/>
                  </a:lnTo>
                  <a:lnTo>
                    <a:pt x="1098" y="1530"/>
                  </a:lnTo>
                  <a:lnTo>
                    <a:pt x="1110" y="1530"/>
                  </a:lnTo>
                  <a:lnTo>
                    <a:pt x="1118" y="1534"/>
                  </a:lnTo>
                  <a:lnTo>
                    <a:pt x="1122" y="1534"/>
                  </a:lnTo>
                  <a:lnTo>
                    <a:pt x="1124" y="1532"/>
                  </a:lnTo>
                  <a:lnTo>
                    <a:pt x="1126" y="1532"/>
                  </a:lnTo>
                  <a:lnTo>
                    <a:pt x="1128" y="1532"/>
                  </a:lnTo>
                  <a:lnTo>
                    <a:pt x="1134" y="1538"/>
                  </a:lnTo>
                  <a:lnTo>
                    <a:pt x="1142" y="1544"/>
                  </a:lnTo>
                  <a:lnTo>
                    <a:pt x="1146" y="1544"/>
                  </a:lnTo>
                  <a:lnTo>
                    <a:pt x="1150" y="1542"/>
                  </a:lnTo>
                  <a:lnTo>
                    <a:pt x="1178" y="1528"/>
                  </a:lnTo>
                  <a:lnTo>
                    <a:pt x="1190" y="1518"/>
                  </a:lnTo>
                  <a:lnTo>
                    <a:pt x="1192" y="1516"/>
                  </a:lnTo>
                  <a:lnTo>
                    <a:pt x="1192" y="1512"/>
                  </a:lnTo>
                  <a:lnTo>
                    <a:pt x="1184" y="1500"/>
                  </a:lnTo>
                  <a:lnTo>
                    <a:pt x="1178" y="1496"/>
                  </a:lnTo>
                  <a:lnTo>
                    <a:pt x="1172" y="1496"/>
                  </a:lnTo>
                  <a:lnTo>
                    <a:pt x="1168" y="1496"/>
                  </a:lnTo>
                  <a:lnTo>
                    <a:pt x="1168" y="1494"/>
                  </a:lnTo>
                  <a:lnTo>
                    <a:pt x="1168" y="1490"/>
                  </a:lnTo>
                  <a:lnTo>
                    <a:pt x="1170" y="1484"/>
                  </a:lnTo>
                  <a:lnTo>
                    <a:pt x="1168" y="1482"/>
                  </a:lnTo>
                  <a:lnTo>
                    <a:pt x="1164" y="1480"/>
                  </a:lnTo>
                  <a:lnTo>
                    <a:pt x="1158" y="1476"/>
                  </a:lnTo>
                  <a:lnTo>
                    <a:pt x="1154" y="1472"/>
                  </a:lnTo>
                  <a:lnTo>
                    <a:pt x="1148" y="1468"/>
                  </a:lnTo>
                  <a:lnTo>
                    <a:pt x="1144" y="1466"/>
                  </a:lnTo>
                  <a:lnTo>
                    <a:pt x="1138" y="1468"/>
                  </a:lnTo>
                  <a:lnTo>
                    <a:pt x="1132" y="1468"/>
                  </a:lnTo>
                  <a:lnTo>
                    <a:pt x="1132" y="1466"/>
                  </a:lnTo>
                  <a:lnTo>
                    <a:pt x="1132" y="1462"/>
                  </a:lnTo>
                  <a:lnTo>
                    <a:pt x="1130" y="1462"/>
                  </a:lnTo>
                  <a:lnTo>
                    <a:pt x="1126" y="1460"/>
                  </a:lnTo>
                  <a:lnTo>
                    <a:pt x="1124" y="1460"/>
                  </a:lnTo>
                  <a:lnTo>
                    <a:pt x="1122" y="1458"/>
                  </a:lnTo>
                  <a:lnTo>
                    <a:pt x="1118" y="1450"/>
                  </a:lnTo>
                  <a:lnTo>
                    <a:pt x="1116" y="1440"/>
                  </a:lnTo>
                  <a:lnTo>
                    <a:pt x="1116" y="1428"/>
                  </a:lnTo>
                  <a:lnTo>
                    <a:pt x="1116" y="1416"/>
                  </a:lnTo>
                  <a:lnTo>
                    <a:pt x="1116" y="1406"/>
                  </a:lnTo>
                  <a:lnTo>
                    <a:pt x="1120" y="1398"/>
                  </a:lnTo>
                  <a:lnTo>
                    <a:pt x="1120" y="1396"/>
                  </a:lnTo>
                  <a:lnTo>
                    <a:pt x="1124" y="1396"/>
                  </a:lnTo>
                  <a:lnTo>
                    <a:pt x="1126" y="1394"/>
                  </a:lnTo>
                  <a:lnTo>
                    <a:pt x="1128" y="1392"/>
                  </a:lnTo>
                  <a:lnTo>
                    <a:pt x="1126" y="1386"/>
                  </a:lnTo>
                  <a:lnTo>
                    <a:pt x="1126" y="1374"/>
                  </a:lnTo>
                  <a:lnTo>
                    <a:pt x="1126" y="1368"/>
                  </a:lnTo>
                  <a:lnTo>
                    <a:pt x="1128" y="1360"/>
                  </a:lnTo>
                  <a:lnTo>
                    <a:pt x="1132" y="1356"/>
                  </a:lnTo>
                  <a:lnTo>
                    <a:pt x="1132" y="1352"/>
                  </a:lnTo>
                  <a:lnTo>
                    <a:pt x="1130" y="1352"/>
                  </a:lnTo>
                  <a:lnTo>
                    <a:pt x="1128" y="1350"/>
                  </a:lnTo>
                  <a:lnTo>
                    <a:pt x="1124" y="1350"/>
                  </a:lnTo>
                  <a:lnTo>
                    <a:pt x="1122" y="1348"/>
                  </a:lnTo>
                  <a:lnTo>
                    <a:pt x="1122" y="1342"/>
                  </a:lnTo>
                  <a:lnTo>
                    <a:pt x="1122" y="1336"/>
                  </a:lnTo>
                  <a:lnTo>
                    <a:pt x="1124" y="1338"/>
                  </a:lnTo>
                  <a:lnTo>
                    <a:pt x="1130" y="1340"/>
                  </a:lnTo>
                  <a:lnTo>
                    <a:pt x="1136" y="1340"/>
                  </a:lnTo>
                  <a:lnTo>
                    <a:pt x="1142" y="1338"/>
                  </a:lnTo>
                  <a:lnTo>
                    <a:pt x="1148" y="1334"/>
                  </a:lnTo>
                  <a:lnTo>
                    <a:pt x="1148" y="1332"/>
                  </a:lnTo>
                  <a:lnTo>
                    <a:pt x="1148" y="1330"/>
                  </a:lnTo>
                  <a:lnTo>
                    <a:pt x="1146" y="1326"/>
                  </a:lnTo>
                  <a:lnTo>
                    <a:pt x="1144" y="1324"/>
                  </a:lnTo>
                  <a:lnTo>
                    <a:pt x="1142" y="1322"/>
                  </a:lnTo>
                  <a:lnTo>
                    <a:pt x="1144" y="1322"/>
                  </a:lnTo>
                  <a:lnTo>
                    <a:pt x="1152" y="1320"/>
                  </a:lnTo>
                  <a:lnTo>
                    <a:pt x="1160" y="1318"/>
                  </a:lnTo>
                  <a:lnTo>
                    <a:pt x="1166" y="1312"/>
                  </a:lnTo>
                  <a:lnTo>
                    <a:pt x="1170" y="1308"/>
                  </a:lnTo>
                  <a:lnTo>
                    <a:pt x="1172" y="1302"/>
                  </a:lnTo>
                  <a:lnTo>
                    <a:pt x="1178" y="1294"/>
                  </a:lnTo>
                  <a:lnTo>
                    <a:pt x="1180" y="1292"/>
                  </a:lnTo>
                  <a:lnTo>
                    <a:pt x="1186" y="1292"/>
                  </a:lnTo>
                  <a:lnTo>
                    <a:pt x="1190" y="1294"/>
                  </a:lnTo>
                  <a:lnTo>
                    <a:pt x="1194" y="1292"/>
                  </a:lnTo>
                  <a:lnTo>
                    <a:pt x="1196" y="1286"/>
                  </a:lnTo>
                  <a:lnTo>
                    <a:pt x="1200" y="1278"/>
                  </a:lnTo>
                  <a:lnTo>
                    <a:pt x="1204" y="1274"/>
                  </a:lnTo>
                  <a:lnTo>
                    <a:pt x="1208" y="1274"/>
                  </a:lnTo>
                  <a:lnTo>
                    <a:pt x="1214" y="1274"/>
                  </a:lnTo>
                  <a:lnTo>
                    <a:pt x="1218" y="1274"/>
                  </a:lnTo>
                  <a:lnTo>
                    <a:pt x="1222" y="1268"/>
                  </a:lnTo>
                  <a:lnTo>
                    <a:pt x="1226" y="1264"/>
                  </a:lnTo>
                  <a:lnTo>
                    <a:pt x="1228" y="1264"/>
                  </a:lnTo>
                  <a:lnTo>
                    <a:pt x="1232" y="1264"/>
                  </a:lnTo>
                  <a:lnTo>
                    <a:pt x="1236" y="1264"/>
                  </a:lnTo>
                  <a:lnTo>
                    <a:pt x="1238" y="1264"/>
                  </a:lnTo>
                  <a:lnTo>
                    <a:pt x="1240" y="1260"/>
                  </a:lnTo>
                  <a:lnTo>
                    <a:pt x="1244" y="1254"/>
                  </a:lnTo>
                  <a:lnTo>
                    <a:pt x="1246" y="1254"/>
                  </a:lnTo>
                  <a:lnTo>
                    <a:pt x="1250" y="1254"/>
                  </a:lnTo>
                  <a:lnTo>
                    <a:pt x="1254" y="1252"/>
                  </a:lnTo>
                  <a:lnTo>
                    <a:pt x="1258" y="1250"/>
                  </a:lnTo>
                  <a:lnTo>
                    <a:pt x="1262" y="1240"/>
                  </a:lnTo>
                  <a:lnTo>
                    <a:pt x="1268" y="1226"/>
                  </a:lnTo>
                  <a:lnTo>
                    <a:pt x="1274" y="1220"/>
                  </a:lnTo>
                  <a:lnTo>
                    <a:pt x="1284" y="1214"/>
                  </a:lnTo>
                  <a:lnTo>
                    <a:pt x="1290" y="1208"/>
                  </a:lnTo>
                  <a:lnTo>
                    <a:pt x="1292" y="1206"/>
                  </a:lnTo>
                  <a:lnTo>
                    <a:pt x="1292" y="1204"/>
                  </a:lnTo>
                  <a:lnTo>
                    <a:pt x="1290" y="1202"/>
                  </a:lnTo>
                  <a:lnTo>
                    <a:pt x="1284" y="1198"/>
                  </a:lnTo>
                  <a:lnTo>
                    <a:pt x="1280" y="1194"/>
                  </a:lnTo>
                  <a:lnTo>
                    <a:pt x="1276" y="1190"/>
                  </a:lnTo>
                  <a:lnTo>
                    <a:pt x="1276" y="1184"/>
                  </a:lnTo>
                  <a:lnTo>
                    <a:pt x="1276" y="1180"/>
                  </a:lnTo>
                  <a:lnTo>
                    <a:pt x="1282" y="1174"/>
                  </a:lnTo>
                  <a:lnTo>
                    <a:pt x="1288" y="1168"/>
                  </a:lnTo>
                  <a:lnTo>
                    <a:pt x="1290" y="1164"/>
                  </a:lnTo>
                  <a:lnTo>
                    <a:pt x="1292" y="1156"/>
                  </a:lnTo>
                  <a:lnTo>
                    <a:pt x="1292" y="1150"/>
                  </a:lnTo>
                  <a:lnTo>
                    <a:pt x="1294" y="1146"/>
                  </a:lnTo>
                  <a:lnTo>
                    <a:pt x="1298" y="1144"/>
                  </a:lnTo>
                  <a:lnTo>
                    <a:pt x="1300" y="1144"/>
                  </a:lnTo>
                  <a:lnTo>
                    <a:pt x="1306" y="1142"/>
                  </a:lnTo>
                  <a:lnTo>
                    <a:pt x="1310" y="1140"/>
                  </a:lnTo>
                  <a:lnTo>
                    <a:pt x="1310" y="1138"/>
                  </a:lnTo>
                  <a:lnTo>
                    <a:pt x="1314" y="1132"/>
                  </a:lnTo>
                  <a:lnTo>
                    <a:pt x="1320" y="1126"/>
                  </a:lnTo>
                  <a:lnTo>
                    <a:pt x="1338" y="1114"/>
                  </a:lnTo>
                  <a:lnTo>
                    <a:pt x="1340" y="1112"/>
                  </a:lnTo>
                  <a:lnTo>
                    <a:pt x="1344" y="1112"/>
                  </a:lnTo>
                  <a:lnTo>
                    <a:pt x="1346" y="1116"/>
                  </a:lnTo>
                  <a:lnTo>
                    <a:pt x="1348" y="1118"/>
                  </a:lnTo>
                  <a:lnTo>
                    <a:pt x="1350" y="1120"/>
                  </a:lnTo>
                  <a:lnTo>
                    <a:pt x="1354" y="1120"/>
                  </a:lnTo>
                  <a:lnTo>
                    <a:pt x="1358" y="1118"/>
                  </a:lnTo>
                  <a:lnTo>
                    <a:pt x="1364" y="1116"/>
                  </a:lnTo>
                  <a:lnTo>
                    <a:pt x="1368" y="1116"/>
                  </a:lnTo>
                  <a:lnTo>
                    <a:pt x="1378" y="1116"/>
                  </a:lnTo>
                  <a:lnTo>
                    <a:pt x="1386" y="1116"/>
                  </a:lnTo>
                  <a:lnTo>
                    <a:pt x="1392" y="1116"/>
                  </a:lnTo>
                  <a:lnTo>
                    <a:pt x="1396" y="1114"/>
                  </a:lnTo>
                  <a:lnTo>
                    <a:pt x="1408" y="1116"/>
                  </a:lnTo>
                  <a:lnTo>
                    <a:pt x="1414" y="1120"/>
                  </a:lnTo>
                  <a:lnTo>
                    <a:pt x="1418" y="1124"/>
                  </a:lnTo>
                  <a:lnTo>
                    <a:pt x="1428" y="1126"/>
                  </a:lnTo>
                  <a:lnTo>
                    <a:pt x="1438" y="1130"/>
                  </a:lnTo>
                  <a:lnTo>
                    <a:pt x="1440" y="1134"/>
                  </a:lnTo>
                  <a:lnTo>
                    <a:pt x="1442" y="1136"/>
                  </a:lnTo>
                  <a:lnTo>
                    <a:pt x="1442" y="1144"/>
                  </a:lnTo>
                  <a:lnTo>
                    <a:pt x="1440" y="1154"/>
                  </a:lnTo>
                  <a:lnTo>
                    <a:pt x="1440" y="1162"/>
                  </a:lnTo>
                  <a:lnTo>
                    <a:pt x="1442" y="1166"/>
                  </a:lnTo>
                  <a:lnTo>
                    <a:pt x="1446" y="1168"/>
                  </a:lnTo>
                  <a:lnTo>
                    <a:pt x="1444" y="1174"/>
                  </a:lnTo>
                  <a:lnTo>
                    <a:pt x="1442" y="1176"/>
                  </a:lnTo>
                  <a:lnTo>
                    <a:pt x="1440" y="1176"/>
                  </a:lnTo>
                  <a:lnTo>
                    <a:pt x="1434" y="1176"/>
                  </a:lnTo>
                  <a:lnTo>
                    <a:pt x="1422" y="1178"/>
                  </a:lnTo>
                  <a:lnTo>
                    <a:pt x="1416" y="1180"/>
                  </a:lnTo>
                  <a:lnTo>
                    <a:pt x="1412" y="1184"/>
                  </a:lnTo>
                  <a:lnTo>
                    <a:pt x="1406" y="1196"/>
                  </a:lnTo>
                  <a:lnTo>
                    <a:pt x="1398" y="1208"/>
                  </a:lnTo>
                  <a:lnTo>
                    <a:pt x="1390" y="1216"/>
                  </a:lnTo>
                  <a:lnTo>
                    <a:pt x="1382" y="1222"/>
                  </a:lnTo>
                  <a:lnTo>
                    <a:pt x="1372" y="1228"/>
                  </a:lnTo>
                  <a:lnTo>
                    <a:pt x="1368" y="1232"/>
                  </a:lnTo>
                  <a:lnTo>
                    <a:pt x="1366" y="1236"/>
                  </a:lnTo>
                  <a:lnTo>
                    <a:pt x="1366" y="1238"/>
                  </a:lnTo>
                  <a:lnTo>
                    <a:pt x="1366" y="1242"/>
                  </a:lnTo>
                  <a:lnTo>
                    <a:pt x="1358" y="1244"/>
                  </a:lnTo>
                  <a:lnTo>
                    <a:pt x="1354" y="1246"/>
                  </a:lnTo>
                  <a:lnTo>
                    <a:pt x="1350" y="1248"/>
                  </a:lnTo>
                  <a:lnTo>
                    <a:pt x="1346" y="1254"/>
                  </a:lnTo>
                  <a:lnTo>
                    <a:pt x="1344" y="1258"/>
                  </a:lnTo>
                  <a:lnTo>
                    <a:pt x="1342" y="1260"/>
                  </a:lnTo>
                  <a:lnTo>
                    <a:pt x="1338" y="1260"/>
                  </a:lnTo>
                  <a:lnTo>
                    <a:pt x="1334" y="1260"/>
                  </a:lnTo>
                  <a:lnTo>
                    <a:pt x="1332" y="1260"/>
                  </a:lnTo>
                  <a:lnTo>
                    <a:pt x="1328" y="1264"/>
                  </a:lnTo>
                  <a:lnTo>
                    <a:pt x="1326" y="1268"/>
                  </a:lnTo>
                  <a:lnTo>
                    <a:pt x="1324" y="1270"/>
                  </a:lnTo>
                  <a:lnTo>
                    <a:pt x="1322" y="1270"/>
                  </a:lnTo>
                  <a:lnTo>
                    <a:pt x="1320" y="1272"/>
                  </a:lnTo>
                  <a:lnTo>
                    <a:pt x="1318" y="1272"/>
                  </a:lnTo>
                  <a:lnTo>
                    <a:pt x="1318" y="1278"/>
                  </a:lnTo>
                  <a:lnTo>
                    <a:pt x="1318" y="1286"/>
                  </a:lnTo>
                  <a:lnTo>
                    <a:pt x="1318" y="1288"/>
                  </a:lnTo>
                  <a:lnTo>
                    <a:pt x="1314" y="1292"/>
                  </a:lnTo>
                  <a:lnTo>
                    <a:pt x="1310" y="1294"/>
                  </a:lnTo>
                  <a:lnTo>
                    <a:pt x="1308" y="1294"/>
                  </a:lnTo>
                  <a:lnTo>
                    <a:pt x="1300" y="1292"/>
                  </a:lnTo>
                  <a:lnTo>
                    <a:pt x="1294" y="1290"/>
                  </a:lnTo>
                  <a:lnTo>
                    <a:pt x="1292" y="1292"/>
                  </a:lnTo>
                  <a:lnTo>
                    <a:pt x="1290" y="1296"/>
                  </a:lnTo>
                  <a:lnTo>
                    <a:pt x="1290" y="1300"/>
                  </a:lnTo>
                  <a:lnTo>
                    <a:pt x="1286" y="1304"/>
                  </a:lnTo>
                  <a:lnTo>
                    <a:pt x="1278" y="1314"/>
                  </a:lnTo>
                  <a:lnTo>
                    <a:pt x="1276" y="1322"/>
                  </a:lnTo>
                  <a:lnTo>
                    <a:pt x="1274" y="1328"/>
                  </a:lnTo>
                  <a:lnTo>
                    <a:pt x="1274" y="1338"/>
                  </a:lnTo>
                  <a:lnTo>
                    <a:pt x="1278" y="1346"/>
                  </a:lnTo>
                  <a:lnTo>
                    <a:pt x="1282" y="1354"/>
                  </a:lnTo>
                  <a:lnTo>
                    <a:pt x="1282" y="1360"/>
                  </a:lnTo>
                  <a:lnTo>
                    <a:pt x="1282" y="1364"/>
                  </a:lnTo>
                  <a:lnTo>
                    <a:pt x="1280" y="1366"/>
                  </a:lnTo>
                  <a:lnTo>
                    <a:pt x="1278" y="1368"/>
                  </a:lnTo>
                  <a:lnTo>
                    <a:pt x="1278" y="1372"/>
                  </a:lnTo>
                  <a:lnTo>
                    <a:pt x="1280" y="1378"/>
                  </a:lnTo>
                  <a:lnTo>
                    <a:pt x="1288" y="1388"/>
                  </a:lnTo>
                  <a:lnTo>
                    <a:pt x="1292" y="1394"/>
                  </a:lnTo>
                  <a:lnTo>
                    <a:pt x="1294" y="1396"/>
                  </a:lnTo>
                  <a:lnTo>
                    <a:pt x="1294" y="1398"/>
                  </a:lnTo>
                  <a:lnTo>
                    <a:pt x="1292" y="1400"/>
                  </a:lnTo>
                  <a:lnTo>
                    <a:pt x="1288" y="1402"/>
                  </a:lnTo>
                  <a:lnTo>
                    <a:pt x="1286" y="1404"/>
                  </a:lnTo>
                  <a:lnTo>
                    <a:pt x="1286" y="1406"/>
                  </a:lnTo>
                  <a:lnTo>
                    <a:pt x="1288" y="1416"/>
                  </a:lnTo>
                  <a:lnTo>
                    <a:pt x="1288" y="1424"/>
                  </a:lnTo>
                  <a:lnTo>
                    <a:pt x="1282" y="1444"/>
                  </a:lnTo>
                  <a:lnTo>
                    <a:pt x="1280" y="1456"/>
                  </a:lnTo>
                  <a:lnTo>
                    <a:pt x="1280" y="1462"/>
                  </a:lnTo>
                  <a:lnTo>
                    <a:pt x="1282" y="1464"/>
                  </a:lnTo>
                  <a:lnTo>
                    <a:pt x="1286" y="1466"/>
                  </a:lnTo>
                  <a:lnTo>
                    <a:pt x="1298" y="1470"/>
                  </a:lnTo>
                  <a:lnTo>
                    <a:pt x="1322" y="1476"/>
                  </a:lnTo>
                  <a:lnTo>
                    <a:pt x="1328" y="1478"/>
                  </a:lnTo>
                  <a:lnTo>
                    <a:pt x="1330" y="1480"/>
                  </a:lnTo>
                  <a:lnTo>
                    <a:pt x="1328" y="1484"/>
                  </a:lnTo>
                  <a:lnTo>
                    <a:pt x="1328" y="1492"/>
                  </a:lnTo>
                  <a:lnTo>
                    <a:pt x="1328" y="1500"/>
                  </a:lnTo>
                  <a:lnTo>
                    <a:pt x="1330" y="1504"/>
                  </a:lnTo>
                  <a:lnTo>
                    <a:pt x="1334" y="1504"/>
                  </a:lnTo>
                  <a:lnTo>
                    <a:pt x="1336" y="1504"/>
                  </a:lnTo>
                  <a:lnTo>
                    <a:pt x="1340" y="1500"/>
                  </a:lnTo>
                  <a:lnTo>
                    <a:pt x="1346" y="1494"/>
                  </a:lnTo>
                  <a:lnTo>
                    <a:pt x="1352" y="1494"/>
                  </a:lnTo>
                  <a:lnTo>
                    <a:pt x="1354" y="1496"/>
                  </a:lnTo>
                  <a:lnTo>
                    <a:pt x="1354" y="1498"/>
                  </a:lnTo>
                  <a:lnTo>
                    <a:pt x="1354" y="1500"/>
                  </a:lnTo>
                  <a:lnTo>
                    <a:pt x="1352" y="1506"/>
                  </a:lnTo>
                  <a:lnTo>
                    <a:pt x="1346" y="1512"/>
                  </a:lnTo>
                  <a:lnTo>
                    <a:pt x="1346" y="1516"/>
                  </a:lnTo>
                  <a:lnTo>
                    <a:pt x="1352" y="1514"/>
                  </a:lnTo>
                  <a:lnTo>
                    <a:pt x="1366" y="1508"/>
                  </a:lnTo>
                  <a:lnTo>
                    <a:pt x="1376" y="1504"/>
                  </a:lnTo>
                  <a:lnTo>
                    <a:pt x="1390" y="1504"/>
                  </a:lnTo>
                  <a:lnTo>
                    <a:pt x="1408" y="1500"/>
                  </a:lnTo>
                  <a:lnTo>
                    <a:pt x="1436" y="1488"/>
                  </a:lnTo>
                  <a:lnTo>
                    <a:pt x="1448" y="1484"/>
                  </a:lnTo>
                  <a:lnTo>
                    <a:pt x="1454" y="1484"/>
                  </a:lnTo>
                  <a:lnTo>
                    <a:pt x="1458" y="1484"/>
                  </a:lnTo>
                  <a:lnTo>
                    <a:pt x="1462" y="1484"/>
                  </a:lnTo>
                  <a:lnTo>
                    <a:pt x="1466" y="1486"/>
                  </a:lnTo>
                  <a:lnTo>
                    <a:pt x="1470" y="1482"/>
                  </a:lnTo>
                  <a:lnTo>
                    <a:pt x="1476" y="1476"/>
                  </a:lnTo>
                  <a:lnTo>
                    <a:pt x="1478" y="1476"/>
                  </a:lnTo>
                  <a:lnTo>
                    <a:pt x="1484" y="1478"/>
                  </a:lnTo>
                  <a:lnTo>
                    <a:pt x="1490" y="1476"/>
                  </a:lnTo>
                  <a:lnTo>
                    <a:pt x="1498" y="1474"/>
                  </a:lnTo>
                  <a:lnTo>
                    <a:pt x="1506" y="1472"/>
                  </a:lnTo>
                  <a:lnTo>
                    <a:pt x="1512" y="1470"/>
                  </a:lnTo>
                  <a:lnTo>
                    <a:pt x="1522" y="1470"/>
                  </a:lnTo>
                  <a:lnTo>
                    <a:pt x="1532" y="1470"/>
                  </a:lnTo>
                  <a:lnTo>
                    <a:pt x="1538" y="1470"/>
                  </a:lnTo>
                  <a:lnTo>
                    <a:pt x="1546" y="1466"/>
                  </a:lnTo>
                  <a:lnTo>
                    <a:pt x="1550" y="1468"/>
                  </a:lnTo>
                  <a:lnTo>
                    <a:pt x="1556" y="1468"/>
                  </a:lnTo>
                  <a:lnTo>
                    <a:pt x="1566" y="1462"/>
                  </a:lnTo>
                  <a:lnTo>
                    <a:pt x="1574" y="1456"/>
                  </a:lnTo>
                  <a:lnTo>
                    <a:pt x="1578" y="1454"/>
                  </a:lnTo>
                  <a:lnTo>
                    <a:pt x="1580" y="1456"/>
                  </a:lnTo>
                  <a:lnTo>
                    <a:pt x="1582" y="1458"/>
                  </a:lnTo>
                  <a:lnTo>
                    <a:pt x="1578" y="1458"/>
                  </a:lnTo>
                  <a:lnTo>
                    <a:pt x="1576" y="1462"/>
                  </a:lnTo>
                  <a:lnTo>
                    <a:pt x="1578" y="1466"/>
                  </a:lnTo>
                  <a:lnTo>
                    <a:pt x="1580" y="1470"/>
                  </a:lnTo>
                  <a:lnTo>
                    <a:pt x="1578" y="1472"/>
                  </a:lnTo>
                  <a:lnTo>
                    <a:pt x="1572" y="1470"/>
                  </a:lnTo>
                  <a:lnTo>
                    <a:pt x="1568" y="1468"/>
                  </a:lnTo>
                  <a:lnTo>
                    <a:pt x="1572" y="1474"/>
                  </a:lnTo>
                  <a:lnTo>
                    <a:pt x="1578" y="1480"/>
                  </a:lnTo>
                  <a:lnTo>
                    <a:pt x="1582" y="1480"/>
                  </a:lnTo>
                  <a:lnTo>
                    <a:pt x="1584" y="1482"/>
                  </a:lnTo>
                  <a:lnTo>
                    <a:pt x="1588" y="1486"/>
                  </a:lnTo>
                  <a:lnTo>
                    <a:pt x="1592" y="1490"/>
                  </a:lnTo>
                  <a:lnTo>
                    <a:pt x="1596" y="1490"/>
                  </a:lnTo>
                  <a:lnTo>
                    <a:pt x="1608" y="1490"/>
                  </a:lnTo>
                  <a:lnTo>
                    <a:pt x="1618" y="1490"/>
                  </a:lnTo>
                  <a:lnTo>
                    <a:pt x="1622" y="1492"/>
                  </a:lnTo>
                  <a:lnTo>
                    <a:pt x="1626" y="1494"/>
                  </a:lnTo>
                  <a:lnTo>
                    <a:pt x="1628" y="1498"/>
                  </a:lnTo>
                  <a:lnTo>
                    <a:pt x="1632" y="1500"/>
                  </a:lnTo>
                  <a:lnTo>
                    <a:pt x="1638" y="1502"/>
                  </a:lnTo>
                  <a:lnTo>
                    <a:pt x="1642" y="1504"/>
                  </a:lnTo>
                  <a:lnTo>
                    <a:pt x="1642" y="1508"/>
                  </a:lnTo>
                  <a:lnTo>
                    <a:pt x="1638" y="1510"/>
                  </a:lnTo>
                  <a:lnTo>
                    <a:pt x="1634" y="1510"/>
                  </a:lnTo>
                  <a:lnTo>
                    <a:pt x="1610" y="1504"/>
                  </a:lnTo>
                  <a:lnTo>
                    <a:pt x="1602" y="1502"/>
                  </a:lnTo>
                  <a:lnTo>
                    <a:pt x="1596" y="1504"/>
                  </a:lnTo>
                  <a:lnTo>
                    <a:pt x="1594" y="1506"/>
                  </a:lnTo>
                  <a:lnTo>
                    <a:pt x="1592" y="1510"/>
                  </a:lnTo>
                  <a:lnTo>
                    <a:pt x="1590" y="1512"/>
                  </a:lnTo>
                  <a:lnTo>
                    <a:pt x="1588" y="1516"/>
                  </a:lnTo>
                  <a:lnTo>
                    <a:pt x="1584" y="1516"/>
                  </a:lnTo>
                  <a:lnTo>
                    <a:pt x="1578" y="1514"/>
                  </a:lnTo>
                  <a:lnTo>
                    <a:pt x="1574" y="1512"/>
                  </a:lnTo>
                  <a:lnTo>
                    <a:pt x="1570" y="1514"/>
                  </a:lnTo>
                  <a:lnTo>
                    <a:pt x="1568" y="1516"/>
                  </a:lnTo>
                  <a:lnTo>
                    <a:pt x="1568" y="1518"/>
                  </a:lnTo>
                  <a:lnTo>
                    <a:pt x="1568" y="1522"/>
                  </a:lnTo>
                  <a:lnTo>
                    <a:pt x="1568" y="1524"/>
                  </a:lnTo>
                  <a:lnTo>
                    <a:pt x="1564" y="1524"/>
                  </a:lnTo>
                  <a:lnTo>
                    <a:pt x="1560" y="1520"/>
                  </a:lnTo>
                  <a:lnTo>
                    <a:pt x="1556" y="1518"/>
                  </a:lnTo>
                  <a:lnTo>
                    <a:pt x="1552" y="1516"/>
                  </a:lnTo>
                  <a:lnTo>
                    <a:pt x="1552" y="1518"/>
                  </a:lnTo>
                  <a:lnTo>
                    <a:pt x="1552" y="1520"/>
                  </a:lnTo>
                  <a:lnTo>
                    <a:pt x="1554" y="1530"/>
                  </a:lnTo>
                  <a:lnTo>
                    <a:pt x="1554" y="1534"/>
                  </a:lnTo>
                  <a:lnTo>
                    <a:pt x="1552" y="1536"/>
                  </a:lnTo>
                  <a:lnTo>
                    <a:pt x="1540" y="1540"/>
                  </a:lnTo>
                  <a:lnTo>
                    <a:pt x="1530" y="1542"/>
                  </a:lnTo>
                  <a:lnTo>
                    <a:pt x="1518" y="1540"/>
                  </a:lnTo>
                  <a:lnTo>
                    <a:pt x="1508" y="1536"/>
                  </a:lnTo>
                  <a:lnTo>
                    <a:pt x="1498" y="1532"/>
                  </a:lnTo>
                  <a:lnTo>
                    <a:pt x="1488" y="1530"/>
                  </a:lnTo>
                  <a:lnTo>
                    <a:pt x="1476" y="1528"/>
                  </a:lnTo>
                  <a:lnTo>
                    <a:pt x="1460" y="1526"/>
                  </a:lnTo>
                  <a:lnTo>
                    <a:pt x="1454" y="1524"/>
                  </a:lnTo>
                  <a:lnTo>
                    <a:pt x="1450" y="1524"/>
                  </a:lnTo>
                  <a:lnTo>
                    <a:pt x="1448" y="1526"/>
                  </a:lnTo>
                  <a:lnTo>
                    <a:pt x="1448" y="1528"/>
                  </a:lnTo>
                  <a:lnTo>
                    <a:pt x="1446" y="1532"/>
                  </a:lnTo>
                  <a:lnTo>
                    <a:pt x="1442" y="1534"/>
                  </a:lnTo>
                  <a:lnTo>
                    <a:pt x="1436" y="1534"/>
                  </a:lnTo>
                  <a:lnTo>
                    <a:pt x="1422" y="1534"/>
                  </a:lnTo>
                  <a:lnTo>
                    <a:pt x="1408" y="1534"/>
                  </a:lnTo>
                  <a:lnTo>
                    <a:pt x="1398" y="1538"/>
                  </a:lnTo>
                  <a:lnTo>
                    <a:pt x="1394" y="1542"/>
                  </a:lnTo>
                  <a:lnTo>
                    <a:pt x="1392" y="1544"/>
                  </a:lnTo>
                  <a:lnTo>
                    <a:pt x="1390" y="1548"/>
                  </a:lnTo>
                  <a:lnTo>
                    <a:pt x="1388" y="1550"/>
                  </a:lnTo>
                  <a:lnTo>
                    <a:pt x="1380" y="1552"/>
                  </a:lnTo>
                  <a:lnTo>
                    <a:pt x="1374" y="1554"/>
                  </a:lnTo>
                  <a:lnTo>
                    <a:pt x="1372" y="1558"/>
                  </a:lnTo>
                  <a:lnTo>
                    <a:pt x="1370" y="1562"/>
                  </a:lnTo>
                  <a:lnTo>
                    <a:pt x="1368" y="1572"/>
                  </a:lnTo>
                  <a:lnTo>
                    <a:pt x="1368" y="1580"/>
                  </a:lnTo>
                  <a:lnTo>
                    <a:pt x="1370" y="1588"/>
                  </a:lnTo>
                  <a:lnTo>
                    <a:pt x="1372" y="1594"/>
                  </a:lnTo>
                  <a:lnTo>
                    <a:pt x="1378" y="1604"/>
                  </a:lnTo>
                  <a:lnTo>
                    <a:pt x="1382" y="1610"/>
                  </a:lnTo>
                  <a:lnTo>
                    <a:pt x="1386" y="1614"/>
                  </a:lnTo>
                  <a:lnTo>
                    <a:pt x="1390" y="1614"/>
                  </a:lnTo>
                  <a:lnTo>
                    <a:pt x="1396" y="1614"/>
                  </a:lnTo>
                  <a:lnTo>
                    <a:pt x="1402" y="1610"/>
                  </a:lnTo>
                  <a:lnTo>
                    <a:pt x="1410" y="1606"/>
                  </a:lnTo>
                  <a:lnTo>
                    <a:pt x="1410" y="1608"/>
                  </a:lnTo>
                  <a:lnTo>
                    <a:pt x="1410" y="1610"/>
                  </a:lnTo>
                  <a:lnTo>
                    <a:pt x="1402" y="1640"/>
                  </a:lnTo>
                  <a:lnTo>
                    <a:pt x="1402" y="1646"/>
                  </a:lnTo>
                  <a:lnTo>
                    <a:pt x="1404" y="1654"/>
                  </a:lnTo>
                  <a:lnTo>
                    <a:pt x="1406" y="1668"/>
                  </a:lnTo>
                  <a:lnTo>
                    <a:pt x="1408" y="1676"/>
                  </a:lnTo>
                  <a:lnTo>
                    <a:pt x="1406" y="1682"/>
                  </a:lnTo>
                  <a:lnTo>
                    <a:pt x="1402" y="1686"/>
                  </a:lnTo>
                  <a:lnTo>
                    <a:pt x="1392" y="1692"/>
                  </a:lnTo>
                  <a:lnTo>
                    <a:pt x="1380" y="1694"/>
                  </a:lnTo>
                  <a:lnTo>
                    <a:pt x="1370" y="1694"/>
                  </a:lnTo>
                  <a:lnTo>
                    <a:pt x="1364" y="1690"/>
                  </a:lnTo>
                  <a:lnTo>
                    <a:pt x="1360" y="1684"/>
                  </a:lnTo>
                  <a:lnTo>
                    <a:pt x="1354" y="1672"/>
                  </a:lnTo>
                  <a:lnTo>
                    <a:pt x="1348" y="1666"/>
                  </a:lnTo>
                  <a:lnTo>
                    <a:pt x="1342" y="1662"/>
                  </a:lnTo>
                  <a:lnTo>
                    <a:pt x="1336" y="1660"/>
                  </a:lnTo>
                  <a:lnTo>
                    <a:pt x="1334" y="1656"/>
                  </a:lnTo>
                  <a:lnTo>
                    <a:pt x="1332" y="1652"/>
                  </a:lnTo>
                  <a:lnTo>
                    <a:pt x="1332" y="1650"/>
                  </a:lnTo>
                  <a:lnTo>
                    <a:pt x="1332" y="1648"/>
                  </a:lnTo>
                  <a:lnTo>
                    <a:pt x="1324" y="1648"/>
                  </a:lnTo>
                  <a:lnTo>
                    <a:pt x="1302" y="1656"/>
                  </a:lnTo>
                  <a:lnTo>
                    <a:pt x="1294" y="1660"/>
                  </a:lnTo>
                  <a:lnTo>
                    <a:pt x="1292" y="1664"/>
                  </a:lnTo>
                  <a:lnTo>
                    <a:pt x="1286" y="1674"/>
                  </a:lnTo>
                  <a:lnTo>
                    <a:pt x="1284" y="1678"/>
                  </a:lnTo>
                  <a:lnTo>
                    <a:pt x="1286" y="1684"/>
                  </a:lnTo>
                  <a:lnTo>
                    <a:pt x="1286" y="1688"/>
                  </a:lnTo>
                  <a:lnTo>
                    <a:pt x="1286" y="1690"/>
                  </a:lnTo>
                  <a:lnTo>
                    <a:pt x="1280" y="1694"/>
                  </a:lnTo>
                  <a:lnTo>
                    <a:pt x="1274" y="1700"/>
                  </a:lnTo>
                  <a:lnTo>
                    <a:pt x="1272" y="1704"/>
                  </a:lnTo>
                  <a:lnTo>
                    <a:pt x="1270" y="1710"/>
                  </a:lnTo>
                  <a:lnTo>
                    <a:pt x="1266" y="1720"/>
                  </a:lnTo>
                  <a:lnTo>
                    <a:pt x="1266" y="1732"/>
                  </a:lnTo>
                  <a:lnTo>
                    <a:pt x="1268" y="1752"/>
                  </a:lnTo>
                  <a:lnTo>
                    <a:pt x="1268" y="1766"/>
                  </a:lnTo>
                  <a:lnTo>
                    <a:pt x="1270" y="1772"/>
                  </a:lnTo>
                  <a:lnTo>
                    <a:pt x="1274" y="1776"/>
                  </a:lnTo>
                  <a:lnTo>
                    <a:pt x="1278" y="1782"/>
                  </a:lnTo>
                  <a:lnTo>
                    <a:pt x="1280" y="1790"/>
                  </a:lnTo>
                  <a:lnTo>
                    <a:pt x="1280" y="1804"/>
                  </a:lnTo>
                  <a:lnTo>
                    <a:pt x="1278" y="1806"/>
                  </a:lnTo>
                  <a:lnTo>
                    <a:pt x="1276" y="1808"/>
                  </a:lnTo>
                  <a:lnTo>
                    <a:pt x="1276" y="1816"/>
                  </a:lnTo>
                  <a:lnTo>
                    <a:pt x="1278" y="1818"/>
                  </a:lnTo>
                  <a:lnTo>
                    <a:pt x="1276" y="1822"/>
                  </a:lnTo>
                  <a:lnTo>
                    <a:pt x="1270" y="1824"/>
                  </a:lnTo>
                  <a:lnTo>
                    <a:pt x="1264" y="1826"/>
                  </a:lnTo>
                  <a:lnTo>
                    <a:pt x="1258" y="1824"/>
                  </a:lnTo>
                  <a:lnTo>
                    <a:pt x="1256" y="1824"/>
                  </a:lnTo>
                  <a:lnTo>
                    <a:pt x="1256" y="1822"/>
                  </a:lnTo>
                  <a:lnTo>
                    <a:pt x="1258" y="1816"/>
                  </a:lnTo>
                  <a:lnTo>
                    <a:pt x="1268" y="1804"/>
                  </a:lnTo>
                  <a:lnTo>
                    <a:pt x="1270" y="1800"/>
                  </a:lnTo>
                  <a:lnTo>
                    <a:pt x="1268" y="1800"/>
                  </a:lnTo>
                  <a:lnTo>
                    <a:pt x="1256" y="1814"/>
                  </a:lnTo>
                  <a:lnTo>
                    <a:pt x="1248" y="1820"/>
                  </a:lnTo>
                  <a:lnTo>
                    <a:pt x="1246" y="1822"/>
                  </a:lnTo>
                  <a:lnTo>
                    <a:pt x="1240" y="1820"/>
                  </a:lnTo>
                  <a:lnTo>
                    <a:pt x="1232" y="1820"/>
                  </a:lnTo>
                  <a:lnTo>
                    <a:pt x="1226" y="1822"/>
                  </a:lnTo>
                  <a:lnTo>
                    <a:pt x="1224" y="1824"/>
                  </a:lnTo>
                  <a:lnTo>
                    <a:pt x="1224" y="1830"/>
                  </a:lnTo>
                  <a:lnTo>
                    <a:pt x="1224" y="1836"/>
                  </a:lnTo>
                  <a:lnTo>
                    <a:pt x="1224" y="1840"/>
                  </a:lnTo>
                  <a:lnTo>
                    <a:pt x="1220" y="1846"/>
                  </a:lnTo>
                  <a:lnTo>
                    <a:pt x="1214" y="1852"/>
                  </a:lnTo>
                  <a:lnTo>
                    <a:pt x="1202" y="1858"/>
                  </a:lnTo>
                  <a:lnTo>
                    <a:pt x="1188" y="1860"/>
                  </a:lnTo>
                  <a:lnTo>
                    <a:pt x="1182" y="1858"/>
                  </a:lnTo>
                  <a:lnTo>
                    <a:pt x="1176" y="1856"/>
                  </a:lnTo>
                  <a:lnTo>
                    <a:pt x="1172" y="1854"/>
                  </a:lnTo>
                  <a:lnTo>
                    <a:pt x="1170" y="1848"/>
                  </a:lnTo>
                  <a:lnTo>
                    <a:pt x="1166" y="1836"/>
                  </a:lnTo>
                  <a:lnTo>
                    <a:pt x="1172" y="1840"/>
                  </a:lnTo>
                  <a:lnTo>
                    <a:pt x="1180" y="1844"/>
                  </a:lnTo>
                  <a:lnTo>
                    <a:pt x="1184" y="1844"/>
                  </a:lnTo>
                  <a:lnTo>
                    <a:pt x="1184" y="1842"/>
                  </a:lnTo>
                  <a:lnTo>
                    <a:pt x="1180" y="1840"/>
                  </a:lnTo>
                  <a:lnTo>
                    <a:pt x="1168" y="1832"/>
                  </a:lnTo>
                  <a:lnTo>
                    <a:pt x="1160" y="1828"/>
                  </a:lnTo>
                  <a:lnTo>
                    <a:pt x="1152" y="1828"/>
                  </a:lnTo>
                  <a:lnTo>
                    <a:pt x="1136" y="1832"/>
                  </a:lnTo>
                  <a:lnTo>
                    <a:pt x="1118" y="1836"/>
                  </a:lnTo>
                  <a:lnTo>
                    <a:pt x="1112" y="1838"/>
                  </a:lnTo>
                  <a:lnTo>
                    <a:pt x="1110" y="1840"/>
                  </a:lnTo>
                  <a:lnTo>
                    <a:pt x="1098" y="1844"/>
                  </a:lnTo>
                  <a:lnTo>
                    <a:pt x="1090" y="1848"/>
                  </a:lnTo>
                  <a:lnTo>
                    <a:pt x="1086" y="1850"/>
                  </a:lnTo>
                  <a:lnTo>
                    <a:pt x="1082" y="1856"/>
                  </a:lnTo>
                  <a:lnTo>
                    <a:pt x="1080" y="1858"/>
                  </a:lnTo>
                  <a:lnTo>
                    <a:pt x="1074" y="1862"/>
                  </a:lnTo>
                  <a:lnTo>
                    <a:pt x="1066" y="1864"/>
                  </a:lnTo>
                  <a:lnTo>
                    <a:pt x="1054" y="1868"/>
                  </a:lnTo>
                  <a:lnTo>
                    <a:pt x="1034" y="1874"/>
                  </a:lnTo>
                  <a:lnTo>
                    <a:pt x="1020" y="1880"/>
                  </a:lnTo>
                  <a:lnTo>
                    <a:pt x="1008" y="1884"/>
                  </a:lnTo>
                  <a:lnTo>
                    <a:pt x="1002" y="1884"/>
                  </a:lnTo>
                  <a:lnTo>
                    <a:pt x="996" y="1884"/>
                  </a:lnTo>
                  <a:lnTo>
                    <a:pt x="992" y="1882"/>
                  </a:lnTo>
                  <a:lnTo>
                    <a:pt x="986" y="1878"/>
                  </a:lnTo>
                  <a:lnTo>
                    <a:pt x="980" y="1870"/>
                  </a:lnTo>
                  <a:lnTo>
                    <a:pt x="978" y="1870"/>
                  </a:lnTo>
                  <a:lnTo>
                    <a:pt x="980" y="1874"/>
                  </a:lnTo>
                  <a:lnTo>
                    <a:pt x="984" y="1884"/>
                  </a:lnTo>
                  <a:lnTo>
                    <a:pt x="984" y="1886"/>
                  </a:lnTo>
                  <a:lnTo>
                    <a:pt x="984" y="1888"/>
                  </a:lnTo>
                  <a:lnTo>
                    <a:pt x="982" y="1888"/>
                  </a:lnTo>
                  <a:lnTo>
                    <a:pt x="982" y="1890"/>
                  </a:lnTo>
                  <a:lnTo>
                    <a:pt x="984" y="1890"/>
                  </a:lnTo>
                  <a:lnTo>
                    <a:pt x="988" y="1890"/>
                  </a:lnTo>
                  <a:lnTo>
                    <a:pt x="992" y="1888"/>
                  </a:lnTo>
                  <a:lnTo>
                    <a:pt x="996" y="1890"/>
                  </a:lnTo>
                  <a:lnTo>
                    <a:pt x="998" y="1892"/>
                  </a:lnTo>
                  <a:lnTo>
                    <a:pt x="1002" y="1892"/>
                  </a:lnTo>
                  <a:lnTo>
                    <a:pt x="1004" y="1890"/>
                  </a:lnTo>
                  <a:lnTo>
                    <a:pt x="1008" y="1890"/>
                  </a:lnTo>
                  <a:lnTo>
                    <a:pt x="1010" y="1894"/>
                  </a:lnTo>
                  <a:lnTo>
                    <a:pt x="1010" y="1900"/>
                  </a:lnTo>
                  <a:lnTo>
                    <a:pt x="1010" y="1902"/>
                  </a:lnTo>
                  <a:lnTo>
                    <a:pt x="1008" y="1902"/>
                  </a:lnTo>
                  <a:lnTo>
                    <a:pt x="1004" y="1900"/>
                  </a:lnTo>
                  <a:lnTo>
                    <a:pt x="998" y="1898"/>
                  </a:lnTo>
                  <a:lnTo>
                    <a:pt x="996" y="1898"/>
                  </a:lnTo>
                  <a:lnTo>
                    <a:pt x="986" y="1896"/>
                  </a:lnTo>
                  <a:lnTo>
                    <a:pt x="980" y="1892"/>
                  </a:lnTo>
                  <a:lnTo>
                    <a:pt x="980" y="1890"/>
                  </a:lnTo>
                  <a:lnTo>
                    <a:pt x="980" y="1886"/>
                  </a:lnTo>
                  <a:lnTo>
                    <a:pt x="980" y="1884"/>
                  </a:lnTo>
                  <a:lnTo>
                    <a:pt x="978" y="1882"/>
                  </a:lnTo>
                  <a:lnTo>
                    <a:pt x="976" y="1878"/>
                  </a:lnTo>
                  <a:lnTo>
                    <a:pt x="976" y="1872"/>
                  </a:lnTo>
                  <a:lnTo>
                    <a:pt x="976" y="1870"/>
                  </a:lnTo>
                  <a:lnTo>
                    <a:pt x="974" y="1870"/>
                  </a:lnTo>
                  <a:lnTo>
                    <a:pt x="970" y="1872"/>
                  </a:lnTo>
                  <a:lnTo>
                    <a:pt x="962" y="1872"/>
                  </a:lnTo>
                  <a:lnTo>
                    <a:pt x="958" y="1870"/>
                  </a:lnTo>
                  <a:lnTo>
                    <a:pt x="954" y="1868"/>
                  </a:lnTo>
                  <a:lnTo>
                    <a:pt x="950" y="1860"/>
                  </a:lnTo>
                  <a:lnTo>
                    <a:pt x="948" y="1856"/>
                  </a:lnTo>
                  <a:lnTo>
                    <a:pt x="946" y="1854"/>
                  </a:lnTo>
                  <a:lnTo>
                    <a:pt x="944" y="1854"/>
                  </a:lnTo>
                  <a:lnTo>
                    <a:pt x="938" y="1854"/>
                  </a:lnTo>
                  <a:lnTo>
                    <a:pt x="932" y="1852"/>
                  </a:lnTo>
                  <a:lnTo>
                    <a:pt x="930" y="1850"/>
                  </a:lnTo>
                  <a:lnTo>
                    <a:pt x="926" y="1850"/>
                  </a:lnTo>
                  <a:lnTo>
                    <a:pt x="924" y="1854"/>
                  </a:lnTo>
                  <a:lnTo>
                    <a:pt x="920" y="1862"/>
                  </a:lnTo>
                  <a:lnTo>
                    <a:pt x="912" y="1868"/>
                  </a:lnTo>
                  <a:lnTo>
                    <a:pt x="908" y="1870"/>
                  </a:lnTo>
                  <a:lnTo>
                    <a:pt x="900" y="1870"/>
                  </a:lnTo>
                  <a:lnTo>
                    <a:pt x="894" y="1872"/>
                  </a:lnTo>
                  <a:lnTo>
                    <a:pt x="890" y="1874"/>
                  </a:lnTo>
                  <a:lnTo>
                    <a:pt x="886" y="1880"/>
                  </a:lnTo>
                  <a:lnTo>
                    <a:pt x="884" y="1884"/>
                  </a:lnTo>
                  <a:lnTo>
                    <a:pt x="882" y="1884"/>
                  </a:lnTo>
                  <a:lnTo>
                    <a:pt x="878" y="1882"/>
                  </a:lnTo>
                  <a:lnTo>
                    <a:pt x="874" y="1880"/>
                  </a:lnTo>
                  <a:lnTo>
                    <a:pt x="870" y="1880"/>
                  </a:lnTo>
                  <a:lnTo>
                    <a:pt x="864" y="1882"/>
                  </a:lnTo>
                  <a:lnTo>
                    <a:pt x="860" y="1882"/>
                  </a:lnTo>
                  <a:lnTo>
                    <a:pt x="858" y="1882"/>
                  </a:lnTo>
                  <a:lnTo>
                    <a:pt x="856" y="1880"/>
                  </a:lnTo>
                  <a:lnTo>
                    <a:pt x="856" y="1878"/>
                  </a:lnTo>
                  <a:lnTo>
                    <a:pt x="858" y="1876"/>
                  </a:lnTo>
                  <a:lnTo>
                    <a:pt x="864" y="1872"/>
                  </a:lnTo>
                  <a:lnTo>
                    <a:pt x="870" y="1870"/>
                  </a:lnTo>
                  <a:lnTo>
                    <a:pt x="870" y="1868"/>
                  </a:lnTo>
                  <a:lnTo>
                    <a:pt x="870" y="1864"/>
                  </a:lnTo>
                  <a:lnTo>
                    <a:pt x="870" y="1862"/>
                  </a:lnTo>
                  <a:lnTo>
                    <a:pt x="870" y="1858"/>
                  </a:lnTo>
                  <a:lnTo>
                    <a:pt x="870" y="1856"/>
                  </a:lnTo>
                  <a:lnTo>
                    <a:pt x="862" y="1858"/>
                  </a:lnTo>
                  <a:lnTo>
                    <a:pt x="856" y="1860"/>
                  </a:lnTo>
                  <a:lnTo>
                    <a:pt x="852" y="1860"/>
                  </a:lnTo>
                  <a:lnTo>
                    <a:pt x="848" y="1860"/>
                  </a:lnTo>
                  <a:lnTo>
                    <a:pt x="846" y="1858"/>
                  </a:lnTo>
                  <a:lnTo>
                    <a:pt x="842" y="1854"/>
                  </a:lnTo>
                  <a:lnTo>
                    <a:pt x="840" y="1854"/>
                  </a:lnTo>
                  <a:lnTo>
                    <a:pt x="838" y="1854"/>
                  </a:lnTo>
                  <a:lnTo>
                    <a:pt x="834" y="1856"/>
                  </a:lnTo>
                  <a:lnTo>
                    <a:pt x="832" y="1854"/>
                  </a:lnTo>
                  <a:lnTo>
                    <a:pt x="830" y="1852"/>
                  </a:lnTo>
                  <a:lnTo>
                    <a:pt x="826" y="1850"/>
                  </a:lnTo>
                  <a:lnTo>
                    <a:pt x="822" y="1850"/>
                  </a:lnTo>
                  <a:lnTo>
                    <a:pt x="824" y="1848"/>
                  </a:lnTo>
                  <a:lnTo>
                    <a:pt x="826" y="1844"/>
                  </a:lnTo>
                  <a:lnTo>
                    <a:pt x="828" y="1842"/>
                  </a:lnTo>
                  <a:lnTo>
                    <a:pt x="826" y="1838"/>
                  </a:lnTo>
                  <a:lnTo>
                    <a:pt x="824" y="1834"/>
                  </a:lnTo>
                  <a:lnTo>
                    <a:pt x="822" y="1832"/>
                  </a:lnTo>
                  <a:lnTo>
                    <a:pt x="820" y="1834"/>
                  </a:lnTo>
                  <a:lnTo>
                    <a:pt x="816" y="1832"/>
                  </a:lnTo>
                  <a:lnTo>
                    <a:pt x="812" y="1830"/>
                  </a:lnTo>
                  <a:lnTo>
                    <a:pt x="808" y="1830"/>
                  </a:lnTo>
                  <a:lnTo>
                    <a:pt x="806" y="1832"/>
                  </a:lnTo>
                  <a:lnTo>
                    <a:pt x="802" y="1830"/>
                  </a:lnTo>
                  <a:lnTo>
                    <a:pt x="808" y="1826"/>
                  </a:lnTo>
                  <a:lnTo>
                    <a:pt x="810" y="1824"/>
                  </a:lnTo>
                  <a:lnTo>
                    <a:pt x="810" y="1826"/>
                  </a:lnTo>
                  <a:lnTo>
                    <a:pt x="812" y="1828"/>
                  </a:lnTo>
                  <a:lnTo>
                    <a:pt x="816" y="1828"/>
                  </a:lnTo>
                  <a:lnTo>
                    <a:pt x="818" y="1826"/>
                  </a:lnTo>
                  <a:lnTo>
                    <a:pt x="820" y="1826"/>
                  </a:lnTo>
                  <a:lnTo>
                    <a:pt x="824" y="1828"/>
                  </a:lnTo>
                  <a:lnTo>
                    <a:pt x="826" y="1826"/>
                  </a:lnTo>
                  <a:lnTo>
                    <a:pt x="828" y="1824"/>
                  </a:lnTo>
                  <a:lnTo>
                    <a:pt x="828" y="1822"/>
                  </a:lnTo>
                  <a:lnTo>
                    <a:pt x="822" y="1818"/>
                  </a:lnTo>
                  <a:lnTo>
                    <a:pt x="816" y="1814"/>
                  </a:lnTo>
                  <a:lnTo>
                    <a:pt x="812" y="1816"/>
                  </a:lnTo>
                  <a:lnTo>
                    <a:pt x="810" y="1818"/>
                  </a:lnTo>
                  <a:lnTo>
                    <a:pt x="806" y="1814"/>
                  </a:lnTo>
                  <a:lnTo>
                    <a:pt x="806" y="1812"/>
                  </a:lnTo>
                  <a:lnTo>
                    <a:pt x="806" y="1810"/>
                  </a:lnTo>
                  <a:lnTo>
                    <a:pt x="810" y="1808"/>
                  </a:lnTo>
                  <a:lnTo>
                    <a:pt x="812" y="1804"/>
                  </a:lnTo>
                  <a:lnTo>
                    <a:pt x="814" y="1804"/>
                  </a:lnTo>
                  <a:lnTo>
                    <a:pt x="812" y="1802"/>
                  </a:lnTo>
                  <a:lnTo>
                    <a:pt x="810" y="1798"/>
                  </a:lnTo>
                  <a:lnTo>
                    <a:pt x="810" y="1794"/>
                  </a:lnTo>
                  <a:lnTo>
                    <a:pt x="810" y="1792"/>
                  </a:lnTo>
                  <a:lnTo>
                    <a:pt x="808" y="1790"/>
                  </a:lnTo>
                  <a:lnTo>
                    <a:pt x="808" y="1788"/>
                  </a:lnTo>
                  <a:lnTo>
                    <a:pt x="808" y="1786"/>
                  </a:lnTo>
                  <a:lnTo>
                    <a:pt x="814" y="1784"/>
                  </a:lnTo>
                  <a:lnTo>
                    <a:pt x="818" y="1782"/>
                  </a:lnTo>
                  <a:lnTo>
                    <a:pt x="818" y="1780"/>
                  </a:lnTo>
                  <a:lnTo>
                    <a:pt x="818" y="1778"/>
                  </a:lnTo>
                  <a:lnTo>
                    <a:pt x="818" y="1776"/>
                  </a:lnTo>
                  <a:lnTo>
                    <a:pt x="822" y="1776"/>
                  </a:lnTo>
                  <a:lnTo>
                    <a:pt x="826" y="1774"/>
                  </a:lnTo>
                  <a:lnTo>
                    <a:pt x="826" y="1772"/>
                  </a:lnTo>
                  <a:lnTo>
                    <a:pt x="824" y="1768"/>
                  </a:lnTo>
                  <a:lnTo>
                    <a:pt x="820" y="1764"/>
                  </a:lnTo>
                  <a:lnTo>
                    <a:pt x="824" y="1766"/>
                  </a:lnTo>
                  <a:lnTo>
                    <a:pt x="828" y="1768"/>
                  </a:lnTo>
                  <a:lnTo>
                    <a:pt x="832" y="1768"/>
                  </a:lnTo>
                  <a:lnTo>
                    <a:pt x="834" y="1766"/>
                  </a:lnTo>
                  <a:lnTo>
                    <a:pt x="834" y="1764"/>
                  </a:lnTo>
                  <a:lnTo>
                    <a:pt x="834" y="1760"/>
                  </a:lnTo>
                  <a:lnTo>
                    <a:pt x="834" y="1750"/>
                  </a:lnTo>
                  <a:lnTo>
                    <a:pt x="836" y="1742"/>
                  </a:lnTo>
                  <a:lnTo>
                    <a:pt x="836" y="1740"/>
                  </a:lnTo>
                  <a:lnTo>
                    <a:pt x="840" y="1738"/>
                  </a:lnTo>
                  <a:lnTo>
                    <a:pt x="844" y="1738"/>
                  </a:lnTo>
                  <a:lnTo>
                    <a:pt x="844" y="1742"/>
                  </a:lnTo>
                  <a:lnTo>
                    <a:pt x="842" y="1744"/>
                  </a:lnTo>
                  <a:lnTo>
                    <a:pt x="842" y="1746"/>
                  </a:lnTo>
                  <a:lnTo>
                    <a:pt x="844" y="1748"/>
                  </a:lnTo>
                  <a:lnTo>
                    <a:pt x="848" y="1750"/>
                  </a:lnTo>
                  <a:lnTo>
                    <a:pt x="848" y="1748"/>
                  </a:lnTo>
                  <a:lnTo>
                    <a:pt x="850" y="1746"/>
                  </a:lnTo>
                  <a:lnTo>
                    <a:pt x="852" y="1746"/>
                  </a:lnTo>
                  <a:lnTo>
                    <a:pt x="854" y="1748"/>
                  </a:lnTo>
                  <a:lnTo>
                    <a:pt x="856" y="1746"/>
                  </a:lnTo>
                  <a:lnTo>
                    <a:pt x="858" y="1744"/>
                  </a:lnTo>
                  <a:lnTo>
                    <a:pt x="864" y="1732"/>
                  </a:lnTo>
                  <a:lnTo>
                    <a:pt x="864" y="1730"/>
                  </a:lnTo>
                  <a:lnTo>
                    <a:pt x="864" y="1728"/>
                  </a:lnTo>
                  <a:lnTo>
                    <a:pt x="858" y="1726"/>
                  </a:lnTo>
                  <a:lnTo>
                    <a:pt x="844" y="1724"/>
                  </a:lnTo>
                  <a:lnTo>
                    <a:pt x="840" y="1722"/>
                  </a:lnTo>
                  <a:lnTo>
                    <a:pt x="838" y="1722"/>
                  </a:lnTo>
                  <a:lnTo>
                    <a:pt x="840" y="1718"/>
                  </a:lnTo>
                  <a:lnTo>
                    <a:pt x="842" y="1714"/>
                  </a:lnTo>
                  <a:lnTo>
                    <a:pt x="840" y="1710"/>
                  </a:lnTo>
                  <a:lnTo>
                    <a:pt x="838" y="1706"/>
                  </a:lnTo>
                  <a:lnTo>
                    <a:pt x="838" y="1700"/>
                  </a:lnTo>
                  <a:lnTo>
                    <a:pt x="840" y="1690"/>
                  </a:lnTo>
                  <a:lnTo>
                    <a:pt x="842" y="1686"/>
                  </a:lnTo>
                  <a:lnTo>
                    <a:pt x="844" y="1684"/>
                  </a:lnTo>
                  <a:lnTo>
                    <a:pt x="846" y="1680"/>
                  </a:lnTo>
                  <a:lnTo>
                    <a:pt x="848" y="1676"/>
                  </a:lnTo>
                  <a:lnTo>
                    <a:pt x="848" y="1670"/>
                  </a:lnTo>
                  <a:lnTo>
                    <a:pt x="846" y="1662"/>
                  </a:lnTo>
                  <a:lnTo>
                    <a:pt x="844" y="1658"/>
                  </a:lnTo>
                  <a:lnTo>
                    <a:pt x="844" y="1656"/>
                  </a:lnTo>
                  <a:lnTo>
                    <a:pt x="846" y="1652"/>
                  </a:lnTo>
                  <a:lnTo>
                    <a:pt x="850" y="1648"/>
                  </a:lnTo>
                  <a:lnTo>
                    <a:pt x="850" y="1646"/>
                  </a:lnTo>
                  <a:lnTo>
                    <a:pt x="846" y="1646"/>
                  </a:lnTo>
                  <a:lnTo>
                    <a:pt x="844" y="1650"/>
                  </a:lnTo>
                  <a:lnTo>
                    <a:pt x="838" y="1654"/>
                  </a:lnTo>
                  <a:lnTo>
                    <a:pt x="830" y="1656"/>
                  </a:lnTo>
                  <a:lnTo>
                    <a:pt x="824" y="1658"/>
                  </a:lnTo>
                  <a:lnTo>
                    <a:pt x="822" y="1660"/>
                  </a:lnTo>
                  <a:lnTo>
                    <a:pt x="814" y="1672"/>
                  </a:lnTo>
                  <a:lnTo>
                    <a:pt x="810" y="1676"/>
                  </a:lnTo>
                  <a:lnTo>
                    <a:pt x="804" y="1680"/>
                  </a:lnTo>
                  <a:lnTo>
                    <a:pt x="796" y="1684"/>
                  </a:lnTo>
                  <a:lnTo>
                    <a:pt x="786" y="1686"/>
                  </a:lnTo>
                  <a:lnTo>
                    <a:pt x="776" y="1686"/>
                  </a:lnTo>
                  <a:lnTo>
                    <a:pt x="768" y="1690"/>
                  </a:lnTo>
                  <a:lnTo>
                    <a:pt x="762" y="1694"/>
                  </a:lnTo>
                  <a:lnTo>
                    <a:pt x="758" y="1700"/>
                  </a:lnTo>
                  <a:lnTo>
                    <a:pt x="754" y="1708"/>
                  </a:lnTo>
                  <a:lnTo>
                    <a:pt x="752" y="1718"/>
                  </a:lnTo>
                  <a:lnTo>
                    <a:pt x="748" y="1736"/>
                  </a:lnTo>
                  <a:lnTo>
                    <a:pt x="748" y="1752"/>
                  </a:lnTo>
                  <a:lnTo>
                    <a:pt x="750" y="1762"/>
                  </a:lnTo>
                  <a:lnTo>
                    <a:pt x="752" y="1770"/>
                  </a:lnTo>
                  <a:lnTo>
                    <a:pt x="750" y="1778"/>
                  </a:lnTo>
                  <a:lnTo>
                    <a:pt x="746" y="1784"/>
                  </a:lnTo>
                  <a:lnTo>
                    <a:pt x="748" y="1786"/>
                  </a:lnTo>
                  <a:lnTo>
                    <a:pt x="750" y="1786"/>
                  </a:lnTo>
                  <a:lnTo>
                    <a:pt x="754" y="1790"/>
                  </a:lnTo>
                  <a:lnTo>
                    <a:pt x="758" y="1792"/>
                  </a:lnTo>
                  <a:lnTo>
                    <a:pt x="758" y="1790"/>
                  </a:lnTo>
                  <a:lnTo>
                    <a:pt x="758" y="1788"/>
                  </a:lnTo>
                  <a:lnTo>
                    <a:pt x="762" y="1790"/>
                  </a:lnTo>
                  <a:lnTo>
                    <a:pt x="764" y="1792"/>
                  </a:lnTo>
                  <a:lnTo>
                    <a:pt x="768" y="1792"/>
                  </a:lnTo>
                  <a:lnTo>
                    <a:pt x="772" y="1796"/>
                  </a:lnTo>
                  <a:lnTo>
                    <a:pt x="772" y="1804"/>
                  </a:lnTo>
                  <a:lnTo>
                    <a:pt x="770" y="1810"/>
                  </a:lnTo>
                  <a:lnTo>
                    <a:pt x="768" y="1808"/>
                  </a:lnTo>
                  <a:lnTo>
                    <a:pt x="766" y="1806"/>
                  </a:lnTo>
                  <a:lnTo>
                    <a:pt x="764" y="1806"/>
                  </a:lnTo>
                  <a:lnTo>
                    <a:pt x="764" y="1810"/>
                  </a:lnTo>
                  <a:lnTo>
                    <a:pt x="764" y="1814"/>
                  </a:lnTo>
                  <a:lnTo>
                    <a:pt x="768" y="1812"/>
                  </a:lnTo>
                  <a:lnTo>
                    <a:pt x="770" y="1812"/>
                  </a:lnTo>
                  <a:lnTo>
                    <a:pt x="770" y="1814"/>
                  </a:lnTo>
                  <a:lnTo>
                    <a:pt x="770" y="1826"/>
                  </a:lnTo>
                  <a:lnTo>
                    <a:pt x="770" y="1830"/>
                  </a:lnTo>
                  <a:lnTo>
                    <a:pt x="774" y="1836"/>
                  </a:lnTo>
                  <a:lnTo>
                    <a:pt x="784" y="1848"/>
                  </a:lnTo>
                  <a:lnTo>
                    <a:pt x="786" y="1850"/>
                  </a:lnTo>
                  <a:lnTo>
                    <a:pt x="786" y="1852"/>
                  </a:lnTo>
                  <a:lnTo>
                    <a:pt x="782" y="1854"/>
                  </a:lnTo>
                  <a:lnTo>
                    <a:pt x="774" y="1856"/>
                  </a:lnTo>
                  <a:lnTo>
                    <a:pt x="772" y="1858"/>
                  </a:lnTo>
                  <a:lnTo>
                    <a:pt x="770" y="1860"/>
                  </a:lnTo>
                  <a:lnTo>
                    <a:pt x="770" y="1864"/>
                  </a:lnTo>
                  <a:lnTo>
                    <a:pt x="776" y="1864"/>
                  </a:lnTo>
                  <a:lnTo>
                    <a:pt x="780" y="1862"/>
                  </a:lnTo>
                  <a:lnTo>
                    <a:pt x="780" y="1864"/>
                  </a:lnTo>
                  <a:lnTo>
                    <a:pt x="778" y="1866"/>
                  </a:lnTo>
                  <a:lnTo>
                    <a:pt x="778" y="1870"/>
                  </a:lnTo>
                  <a:lnTo>
                    <a:pt x="778" y="1872"/>
                  </a:lnTo>
                  <a:lnTo>
                    <a:pt x="782" y="1874"/>
                  </a:lnTo>
                  <a:lnTo>
                    <a:pt x="786" y="1876"/>
                  </a:lnTo>
                  <a:lnTo>
                    <a:pt x="784" y="1878"/>
                  </a:lnTo>
                  <a:lnTo>
                    <a:pt x="780" y="1880"/>
                  </a:lnTo>
                  <a:lnTo>
                    <a:pt x="780" y="1882"/>
                  </a:lnTo>
                  <a:lnTo>
                    <a:pt x="782" y="1886"/>
                  </a:lnTo>
                  <a:lnTo>
                    <a:pt x="790" y="1886"/>
                  </a:lnTo>
                  <a:lnTo>
                    <a:pt x="798" y="1890"/>
                  </a:lnTo>
                  <a:lnTo>
                    <a:pt x="804" y="1894"/>
                  </a:lnTo>
                  <a:lnTo>
                    <a:pt x="804" y="1898"/>
                  </a:lnTo>
                  <a:lnTo>
                    <a:pt x="800" y="1896"/>
                  </a:lnTo>
                  <a:lnTo>
                    <a:pt x="794" y="1892"/>
                  </a:lnTo>
                  <a:lnTo>
                    <a:pt x="786" y="1890"/>
                  </a:lnTo>
                  <a:lnTo>
                    <a:pt x="780" y="1890"/>
                  </a:lnTo>
                  <a:lnTo>
                    <a:pt x="772" y="1888"/>
                  </a:lnTo>
                  <a:lnTo>
                    <a:pt x="770" y="1888"/>
                  </a:lnTo>
                  <a:lnTo>
                    <a:pt x="768" y="1890"/>
                  </a:lnTo>
                  <a:lnTo>
                    <a:pt x="768" y="1900"/>
                  </a:lnTo>
                  <a:lnTo>
                    <a:pt x="770" y="1910"/>
                  </a:lnTo>
                  <a:lnTo>
                    <a:pt x="768" y="1916"/>
                  </a:lnTo>
                  <a:lnTo>
                    <a:pt x="766" y="1918"/>
                  </a:lnTo>
                  <a:lnTo>
                    <a:pt x="764" y="1920"/>
                  </a:lnTo>
                  <a:lnTo>
                    <a:pt x="764" y="1918"/>
                  </a:lnTo>
                  <a:lnTo>
                    <a:pt x="764" y="1914"/>
                  </a:lnTo>
                  <a:lnTo>
                    <a:pt x="764" y="1908"/>
                  </a:lnTo>
                  <a:lnTo>
                    <a:pt x="764" y="1906"/>
                  </a:lnTo>
                  <a:lnTo>
                    <a:pt x="762" y="1904"/>
                  </a:lnTo>
                  <a:lnTo>
                    <a:pt x="758" y="1904"/>
                  </a:lnTo>
                  <a:lnTo>
                    <a:pt x="756" y="1906"/>
                  </a:lnTo>
                  <a:lnTo>
                    <a:pt x="756" y="1912"/>
                  </a:lnTo>
                  <a:lnTo>
                    <a:pt x="754" y="1916"/>
                  </a:lnTo>
                  <a:lnTo>
                    <a:pt x="750" y="1914"/>
                  </a:lnTo>
                  <a:lnTo>
                    <a:pt x="748" y="1912"/>
                  </a:lnTo>
                  <a:lnTo>
                    <a:pt x="748" y="1910"/>
                  </a:lnTo>
                  <a:lnTo>
                    <a:pt x="750" y="1904"/>
                  </a:lnTo>
                  <a:lnTo>
                    <a:pt x="748" y="1902"/>
                  </a:lnTo>
                  <a:lnTo>
                    <a:pt x="746" y="1900"/>
                  </a:lnTo>
                  <a:lnTo>
                    <a:pt x="742" y="1898"/>
                  </a:lnTo>
                  <a:lnTo>
                    <a:pt x="734" y="1898"/>
                  </a:lnTo>
                  <a:lnTo>
                    <a:pt x="720" y="1898"/>
                  </a:lnTo>
                  <a:lnTo>
                    <a:pt x="714" y="1900"/>
                  </a:lnTo>
                  <a:lnTo>
                    <a:pt x="710" y="1906"/>
                  </a:lnTo>
                  <a:lnTo>
                    <a:pt x="708" y="1914"/>
                  </a:lnTo>
                  <a:lnTo>
                    <a:pt x="706" y="1916"/>
                  </a:lnTo>
                  <a:lnTo>
                    <a:pt x="706" y="1920"/>
                  </a:lnTo>
                  <a:lnTo>
                    <a:pt x="710" y="1922"/>
                  </a:lnTo>
                  <a:lnTo>
                    <a:pt x="714" y="1922"/>
                  </a:lnTo>
                  <a:lnTo>
                    <a:pt x="714" y="1924"/>
                  </a:lnTo>
                  <a:lnTo>
                    <a:pt x="712" y="1926"/>
                  </a:lnTo>
                  <a:lnTo>
                    <a:pt x="708" y="1926"/>
                  </a:lnTo>
                  <a:lnTo>
                    <a:pt x="706" y="1926"/>
                  </a:lnTo>
                  <a:lnTo>
                    <a:pt x="700" y="1918"/>
                  </a:lnTo>
                  <a:lnTo>
                    <a:pt x="696" y="1914"/>
                  </a:lnTo>
                  <a:lnTo>
                    <a:pt x="688" y="1914"/>
                  </a:lnTo>
                  <a:lnTo>
                    <a:pt x="664" y="1918"/>
                  </a:lnTo>
                  <a:lnTo>
                    <a:pt x="654" y="1920"/>
                  </a:lnTo>
                  <a:lnTo>
                    <a:pt x="646" y="1924"/>
                  </a:lnTo>
                  <a:lnTo>
                    <a:pt x="640" y="1926"/>
                  </a:lnTo>
                  <a:lnTo>
                    <a:pt x="636" y="1930"/>
                  </a:lnTo>
                  <a:lnTo>
                    <a:pt x="634" y="1934"/>
                  </a:lnTo>
                  <a:lnTo>
                    <a:pt x="634" y="1938"/>
                  </a:lnTo>
                  <a:lnTo>
                    <a:pt x="634" y="1940"/>
                  </a:lnTo>
                  <a:lnTo>
                    <a:pt x="636" y="1940"/>
                  </a:lnTo>
                  <a:lnTo>
                    <a:pt x="638" y="1940"/>
                  </a:lnTo>
                  <a:lnTo>
                    <a:pt x="640" y="1942"/>
                  </a:lnTo>
                  <a:lnTo>
                    <a:pt x="640" y="1946"/>
                  </a:lnTo>
                  <a:lnTo>
                    <a:pt x="640" y="1950"/>
                  </a:lnTo>
                  <a:lnTo>
                    <a:pt x="642" y="1950"/>
                  </a:lnTo>
                  <a:lnTo>
                    <a:pt x="644" y="1952"/>
                  </a:lnTo>
                  <a:lnTo>
                    <a:pt x="646" y="1952"/>
                  </a:lnTo>
                  <a:lnTo>
                    <a:pt x="646" y="1954"/>
                  </a:lnTo>
                  <a:lnTo>
                    <a:pt x="646" y="1958"/>
                  </a:lnTo>
                  <a:lnTo>
                    <a:pt x="646" y="1962"/>
                  </a:lnTo>
                  <a:lnTo>
                    <a:pt x="648" y="1964"/>
                  </a:lnTo>
                  <a:lnTo>
                    <a:pt x="650" y="1966"/>
                  </a:lnTo>
                  <a:lnTo>
                    <a:pt x="654" y="1968"/>
                  </a:lnTo>
                  <a:lnTo>
                    <a:pt x="656" y="1972"/>
                  </a:lnTo>
                  <a:lnTo>
                    <a:pt x="654" y="1976"/>
                  </a:lnTo>
                  <a:lnTo>
                    <a:pt x="652" y="1980"/>
                  </a:lnTo>
                  <a:lnTo>
                    <a:pt x="648" y="1984"/>
                  </a:lnTo>
                  <a:lnTo>
                    <a:pt x="644" y="1986"/>
                  </a:lnTo>
                  <a:lnTo>
                    <a:pt x="638" y="1988"/>
                  </a:lnTo>
                  <a:lnTo>
                    <a:pt x="634" y="1986"/>
                  </a:lnTo>
                  <a:lnTo>
                    <a:pt x="628" y="1980"/>
                  </a:lnTo>
                  <a:lnTo>
                    <a:pt x="624" y="1974"/>
                  </a:lnTo>
                  <a:lnTo>
                    <a:pt x="624" y="1970"/>
                  </a:lnTo>
                  <a:lnTo>
                    <a:pt x="624" y="1968"/>
                  </a:lnTo>
                  <a:lnTo>
                    <a:pt x="626" y="1966"/>
                  </a:lnTo>
                  <a:lnTo>
                    <a:pt x="630" y="1964"/>
                  </a:lnTo>
                  <a:lnTo>
                    <a:pt x="634" y="1960"/>
                  </a:lnTo>
                  <a:lnTo>
                    <a:pt x="632" y="1958"/>
                  </a:lnTo>
                  <a:lnTo>
                    <a:pt x="628" y="1956"/>
                  </a:lnTo>
                  <a:lnTo>
                    <a:pt x="626" y="1952"/>
                  </a:lnTo>
                  <a:lnTo>
                    <a:pt x="626" y="1946"/>
                  </a:lnTo>
                  <a:lnTo>
                    <a:pt x="630" y="1942"/>
                  </a:lnTo>
                  <a:lnTo>
                    <a:pt x="630" y="1940"/>
                  </a:lnTo>
                  <a:lnTo>
                    <a:pt x="628" y="1940"/>
                  </a:lnTo>
                  <a:lnTo>
                    <a:pt x="618" y="1946"/>
                  </a:lnTo>
                  <a:lnTo>
                    <a:pt x="614" y="1944"/>
                  </a:lnTo>
                  <a:lnTo>
                    <a:pt x="612" y="1946"/>
                  </a:lnTo>
                  <a:lnTo>
                    <a:pt x="610" y="1954"/>
                  </a:lnTo>
                  <a:lnTo>
                    <a:pt x="606" y="1968"/>
                  </a:lnTo>
                  <a:lnTo>
                    <a:pt x="604" y="1978"/>
                  </a:lnTo>
                  <a:lnTo>
                    <a:pt x="600" y="1986"/>
                  </a:lnTo>
                  <a:lnTo>
                    <a:pt x="592" y="2000"/>
                  </a:lnTo>
                  <a:lnTo>
                    <a:pt x="588" y="2004"/>
                  </a:lnTo>
                  <a:lnTo>
                    <a:pt x="586" y="2004"/>
                  </a:lnTo>
                  <a:lnTo>
                    <a:pt x="586" y="2008"/>
                  </a:lnTo>
                  <a:lnTo>
                    <a:pt x="586" y="2010"/>
                  </a:lnTo>
                  <a:lnTo>
                    <a:pt x="584" y="2012"/>
                  </a:lnTo>
                  <a:lnTo>
                    <a:pt x="578" y="2014"/>
                  </a:lnTo>
                  <a:lnTo>
                    <a:pt x="572" y="2016"/>
                  </a:lnTo>
                  <a:lnTo>
                    <a:pt x="570" y="2018"/>
                  </a:lnTo>
                  <a:lnTo>
                    <a:pt x="572" y="2020"/>
                  </a:lnTo>
                  <a:lnTo>
                    <a:pt x="578" y="2024"/>
                  </a:lnTo>
                  <a:lnTo>
                    <a:pt x="586" y="2024"/>
                  </a:lnTo>
                  <a:lnTo>
                    <a:pt x="590" y="2026"/>
                  </a:lnTo>
                  <a:lnTo>
                    <a:pt x="584" y="2030"/>
                  </a:lnTo>
                  <a:lnTo>
                    <a:pt x="570" y="2026"/>
                  </a:lnTo>
                  <a:lnTo>
                    <a:pt x="564" y="2026"/>
                  </a:lnTo>
                  <a:lnTo>
                    <a:pt x="562" y="2028"/>
                  </a:lnTo>
                  <a:lnTo>
                    <a:pt x="562" y="2030"/>
                  </a:lnTo>
                  <a:lnTo>
                    <a:pt x="562" y="2032"/>
                  </a:lnTo>
                  <a:lnTo>
                    <a:pt x="568" y="2034"/>
                  </a:lnTo>
                  <a:lnTo>
                    <a:pt x="574" y="2036"/>
                  </a:lnTo>
                  <a:lnTo>
                    <a:pt x="580" y="2036"/>
                  </a:lnTo>
                  <a:lnTo>
                    <a:pt x="586" y="2036"/>
                  </a:lnTo>
                  <a:lnTo>
                    <a:pt x="588" y="2036"/>
                  </a:lnTo>
                  <a:lnTo>
                    <a:pt x="588" y="2038"/>
                  </a:lnTo>
                  <a:lnTo>
                    <a:pt x="588" y="2040"/>
                  </a:lnTo>
                  <a:lnTo>
                    <a:pt x="580" y="2042"/>
                  </a:lnTo>
                  <a:lnTo>
                    <a:pt x="576" y="2042"/>
                  </a:lnTo>
                  <a:lnTo>
                    <a:pt x="572" y="2042"/>
                  </a:lnTo>
                  <a:lnTo>
                    <a:pt x="566" y="2038"/>
                  </a:lnTo>
                  <a:lnTo>
                    <a:pt x="564" y="2038"/>
                  </a:lnTo>
                  <a:lnTo>
                    <a:pt x="558" y="2040"/>
                  </a:lnTo>
                  <a:lnTo>
                    <a:pt x="550" y="2044"/>
                  </a:lnTo>
                  <a:lnTo>
                    <a:pt x="540" y="2048"/>
                  </a:lnTo>
                  <a:lnTo>
                    <a:pt x="532" y="2054"/>
                  </a:lnTo>
                  <a:lnTo>
                    <a:pt x="524" y="2058"/>
                  </a:lnTo>
                  <a:lnTo>
                    <a:pt x="504" y="2060"/>
                  </a:lnTo>
                  <a:lnTo>
                    <a:pt x="492" y="2064"/>
                  </a:lnTo>
                  <a:lnTo>
                    <a:pt x="488" y="2068"/>
                  </a:lnTo>
                  <a:lnTo>
                    <a:pt x="486" y="2070"/>
                  </a:lnTo>
                  <a:lnTo>
                    <a:pt x="484" y="2074"/>
                  </a:lnTo>
                  <a:lnTo>
                    <a:pt x="484" y="2078"/>
                  </a:lnTo>
                  <a:lnTo>
                    <a:pt x="486" y="2086"/>
                  </a:lnTo>
                  <a:lnTo>
                    <a:pt x="484" y="2090"/>
                  </a:lnTo>
                  <a:lnTo>
                    <a:pt x="484" y="2094"/>
                  </a:lnTo>
                  <a:lnTo>
                    <a:pt x="486" y="2098"/>
                  </a:lnTo>
                  <a:lnTo>
                    <a:pt x="486" y="2100"/>
                  </a:lnTo>
                  <a:lnTo>
                    <a:pt x="484" y="2100"/>
                  </a:lnTo>
                  <a:lnTo>
                    <a:pt x="484" y="2102"/>
                  </a:lnTo>
                  <a:lnTo>
                    <a:pt x="486" y="2106"/>
                  </a:lnTo>
                  <a:lnTo>
                    <a:pt x="488" y="2108"/>
                  </a:lnTo>
                  <a:lnTo>
                    <a:pt x="486" y="2110"/>
                  </a:lnTo>
                  <a:lnTo>
                    <a:pt x="482" y="2112"/>
                  </a:lnTo>
                  <a:lnTo>
                    <a:pt x="480" y="2114"/>
                  </a:lnTo>
                  <a:lnTo>
                    <a:pt x="478" y="2118"/>
                  </a:lnTo>
                  <a:lnTo>
                    <a:pt x="472" y="2120"/>
                  </a:lnTo>
                  <a:lnTo>
                    <a:pt x="444" y="2132"/>
                  </a:lnTo>
                  <a:lnTo>
                    <a:pt x="434" y="2136"/>
                  </a:lnTo>
                  <a:lnTo>
                    <a:pt x="428" y="2140"/>
                  </a:lnTo>
                  <a:lnTo>
                    <a:pt x="426" y="2144"/>
                  </a:lnTo>
                  <a:lnTo>
                    <a:pt x="426" y="2146"/>
                  </a:lnTo>
                  <a:lnTo>
                    <a:pt x="426" y="2150"/>
                  </a:lnTo>
                  <a:lnTo>
                    <a:pt x="428" y="2152"/>
                  </a:lnTo>
                  <a:lnTo>
                    <a:pt x="432" y="2154"/>
                  </a:lnTo>
                  <a:lnTo>
                    <a:pt x="434" y="2154"/>
                  </a:lnTo>
                  <a:lnTo>
                    <a:pt x="432" y="2156"/>
                  </a:lnTo>
                  <a:lnTo>
                    <a:pt x="420" y="2162"/>
                  </a:lnTo>
                  <a:lnTo>
                    <a:pt x="416" y="2164"/>
                  </a:lnTo>
                  <a:lnTo>
                    <a:pt x="412" y="2164"/>
                  </a:lnTo>
                  <a:lnTo>
                    <a:pt x="402" y="2162"/>
                  </a:lnTo>
                  <a:lnTo>
                    <a:pt x="392" y="2158"/>
                  </a:lnTo>
                  <a:lnTo>
                    <a:pt x="384" y="2158"/>
                  </a:lnTo>
                  <a:lnTo>
                    <a:pt x="376" y="2160"/>
                  </a:lnTo>
                  <a:lnTo>
                    <a:pt x="374" y="2160"/>
                  </a:lnTo>
                  <a:lnTo>
                    <a:pt x="372" y="2156"/>
                  </a:lnTo>
                  <a:lnTo>
                    <a:pt x="372" y="2148"/>
                  </a:lnTo>
                  <a:lnTo>
                    <a:pt x="370" y="2142"/>
                  </a:lnTo>
                  <a:lnTo>
                    <a:pt x="368" y="2140"/>
                  </a:lnTo>
                  <a:lnTo>
                    <a:pt x="364" y="2140"/>
                  </a:lnTo>
                  <a:lnTo>
                    <a:pt x="356" y="2140"/>
                  </a:lnTo>
                  <a:lnTo>
                    <a:pt x="348" y="2140"/>
                  </a:lnTo>
                  <a:lnTo>
                    <a:pt x="346" y="2138"/>
                  </a:lnTo>
                  <a:lnTo>
                    <a:pt x="346" y="2142"/>
                  </a:lnTo>
                  <a:lnTo>
                    <a:pt x="348" y="2148"/>
                  </a:lnTo>
                  <a:lnTo>
                    <a:pt x="348" y="2152"/>
                  </a:lnTo>
                  <a:lnTo>
                    <a:pt x="348" y="2156"/>
                  </a:lnTo>
                  <a:lnTo>
                    <a:pt x="352" y="2160"/>
                  </a:lnTo>
                  <a:lnTo>
                    <a:pt x="356" y="2164"/>
                  </a:lnTo>
                  <a:lnTo>
                    <a:pt x="358" y="2172"/>
                  </a:lnTo>
                  <a:lnTo>
                    <a:pt x="360" y="2180"/>
                  </a:lnTo>
                  <a:lnTo>
                    <a:pt x="360" y="2188"/>
                  </a:lnTo>
                  <a:lnTo>
                    <a:pt x="360" y="2192"/>
                  </a:lnTo>
                  <a:lnTo>
                    <a:pt x="360" y="2194"/>
                  </a:lnTo>
                  <a:lnTo>
                    <a:pt x="362" y="2200"/>
                  </a:lnTo>
                  <a:lnTo>
                    <a:pt x="364" y="2202"/>
                  </a:lnTo>
                  <a:lnTo>
                    <a:pt x="358" y="2204"/>
                  </a:lnTo>
                  <a:lnTo>
                    <a:pt x="352" y="2204"/>
                  </a:lnTo>
                  <a:lnTo>
                    <a:pt x="350" y="2202"/>
                  </a:lnTo>
                  <a:lnTo>
                    <a:pt x="348" y="2198"/>
                  </a:lnTo>
                  <a:lnTo>
                    <a:pt x="346" y="2198"/>
                  </a:lnTo>
                  <a:lnTo>
                    <a:pt x="344" y="2198"/>
                  </a:lnTo>
                  <a:lnTo>
                    <a:pt x="344" y="2200"/>
                  </a:lnTo>
                  <a:lnTo>
                    <a:pt x="342" y="2202"/>
                  </a:lnTo>
                  <a:lnTo>
                    <a:pt x="338" y="2202"/>
                  </a:lnTo>
                  <a:lnTo>
                    <a:pt x="334" y="2202"/>
                  </a:lnTo>
                  <a:lnTo>
                    <a:pt x="332" y="2200"/>
                  </a:lnTo>
                  <a:lnTo>
                    <a:pt x="330" y="2198"/>
                  </a:lnTo>
                  <a:lnTo>
                    <a:pt x="326" y="2200"/>
                  </a:lnTo>
                  <a:lnTo>
                    <a:pt x="318" y="2206"/>
                  </a:lnTo>
                  <a:lnTo>
                    <a:pt x="314" y="2208"/>
                  </a:lnTo>
                  <a:lnTo>
                    <a:pt x="310" y="2206"/>
                  </a:lnTo>
                  <a:lnTo>
                    <a:pt x="302" y="2192"/>
                  </a:lnTo>
                  <a:lnTo>
                    <a:pt x="298" y="2186"/>
                  </a:lnTo>
                  <a:lnTo>
                    <a:pt x="296" y="2186"/>
                  </a:lnTo>
                  <a:lnTo>
                    <a:pt x="292" y="2188"/>
                  </a:lnTo>
                  <a:lnTo>
                    <a:pt x="286" y="2190"/>
                  </a:lnTo>
                  <a:lnTo>
                    <a:pt x="282" y="2190"/>
                  </a:lnTo>
                  <a:lnTo>
                    <a:pt x="280" y="2190"/>
                  </a:lnTo>
                  <a:lnTo>
                    <a:pt x="278" y="2194"/>
                  </a:lnTo>
                  <a:lnTo>
                    <a:pt x="278" y="2198"/>
                  </a:lnTo>
                  <a:lnTo>
                    <a:pt x="276" y="2200"/>
                  </a:lnTo>
                  <a:lnTo>
                    <a:pt x="270" y="2200"/>
                  </a:lnTo>
                  <a:lnTo>
                    <a:pt x="264" y="2198"/>
                  </a:lnTo>
                  <a:lnTo>
                    <a:pt x="260" y="2196"/>
                  </a:lnTo>
                  <a:lnTo>
                    <a:pt x="258" y="2198"/>
                  </a:lnTo>
                  <a:lnTo>
                    <a:pt x="250" y="2200"/>
                  </a:lnTo>
                  <a:lnTo>
                    <a:pt x="240" y="2202"/>
                  </a:lnTo>
                  <a:lnTo>
                    <a:pt x="234" y="2206"/>
                  </a:lnTo>
                  <a:lnTo>
                    <a:pt x="230" y="2212"/>
                  </a:lnTo>
                  <a:lnTo>
                    <a:pt x="230" y="2216"/>
                  </a:lnTo>
                  <a:lnTo>
                    <a:pt x="232" y="2218"/>
                  </a:lnTo>
                  <a:lnTo>
                    <a:pt x="236" y="2218"/>
                  </a:lnTo>
                  <a:lnTo>
                    <a:pt x="240" y="2218"/>
                  </a:lnTo>
                  <a:lnTo>
                    <a:pt x="244" y="2218"/>
                  </a:lnTo>
                  <a:lnTo>
                    <a:pt x="246" y="2220"/>
                  </a:lnTo>
                  <a:lnTo>
                    <a:pt x="242" y="2220"/>
                  </a:lnTo>
                  <a:lnTo>
                    <a:pt x="238" y="2222"/>
                  </a:lnTo>
                  <a:lnTo>
                    <a:pt x="238" y="2224"/>
                  </a:lnTo>
                  <a:lnTo>
                    <a:pt x="236" y="2226"/>
                  </a:lnTo>
                  <a:lnTo>
                    <a:pt x="238" y="2228"/>
                  </a:lnTo>
                  <a:lnTo>
                    <a:pt x="242" y="2228"/>
                  </a:lnTo>
                  <a:lnTo>
                    <a:pt x="246" y="2228"/>
                  </a:lnTo>
                  <a:lnTo>
                    <a:pt x="250" y="2230"/>
                  </a:lnTo>
                  <a:lnTo>
                    <a:pt x="246" y="2232"/>
                  </a:lnTo>
                  <a:lnTo>
                    <a:pt x="240" y="2234"/>
                  </a:lnTo>
                  <a:lnTo>
                    <a:pt x="234" y="2234"/>
                  </a:lnTo>
                  <a:lnTo>
                    <a:pt x="234" y="2236"/>
                  </a:lnTo>
                  <a:lnTo>
                    <a:pt x="236" y="2238"/>
                  </a:lnTo>
                  <a:lnTo>
                    <a:pt x="242" y="2244"/>
                  </a:lnTo>
                  <a:lnTo>
                    <a:pt x="244" y="2248"/>
                  </a:lnTo>
                  <a:lnTo>
                    <a:pt x="248" y="2250"/>
                  </a:lnTo>
                  <a:lnTo>
                    <a:pt x="252" y="2250"/>
                  </a:lnTo>
                  <a:lnTo>
                    <a:pt x="258" y="2248"/>
                  </a:lnTo>
                  <a:lnTo>
                    <a:pt x="264" y="2248"/>
                  </a:lnTo>
                  <a:lnTo>
                    <a:pt x="280" y="2254"/>
                  </a:lnTo>
                  <a:lnTo>
                    <a:pt x="286" y="2258"/>
                  </a:lnTo>
                  <a:lnTo>
                    <a:pt x="292" y="2260"/>
                  </a:lnTo>
                  <a:lnTo>
                    <a:pt x="296" y="2262"/>
                  </a:lnTo>
                  <a:lnTo>
                    <a:pt x="302" y="2262"/>
                  </a:lnTo>
                  <a:lnTo>
                    <a:pt x="306" y="2262"/>
                  </a:lnTo>
                  <a:lnTo>
                    <a:pt x="306" y="2266"/>
                  </a:lnTo>
                  <a:lnTo>
                    <a:pt x="306" y="2268"/>
                  </a:lnTo>
                  <a:lnTo>
                    <a:pt x="314" y="2268"/>
                  </a:lnTo>
                  <a:lnTo>
                    <a:pt x="318" y="2268"/>
                  </a:lnTo>
                  <a:lnTo>
                    <a:pt x="322" y="2268"/>
                  </a:lnTo>
                  <a:lnTo>
                    <a:pt x="324" y="2270"/>
                  </a:lnTo>
                  <a:lnTo>
                    <a:pt x="322" y="2272"/>
                  </a:lnTo>
                  <a:lnTo>
                    <a:pt x="320" y="2276"/>
                  </a:lnTo>
                  <a:lnTo>
                    <a:pt x="320" y="2280"/>
                  </a:lnTo>
                  <a:lnTo>
                    <a:pt x="322" y="2282"/>
                  </a:lnTo>
                  <a:lnTo>
                    <a:pt x="330" y="2282"/>
                  </a:lnTo>
                  <a:lnTo>
                    <a:pt x="334" y="2282"/>
                  </a:lnTo>
                  <a:lnTo>
                    <a:pt x="334" y="2286"/>
                  </a:lnTo>
                  <a:lnTo>
                    <a:pt x="332" y="2290"/>
                  </a:lnTo>
                  <a:lnTo>
                    <a:pt x="334" y="2290"/>
                  </a:lnTo>
                  <a:lnTo>
                    <a:pt x="336" y="2292"/>
                  </a:lnTo>
                  <a:lnTo>
                    <a:pt x="340" y="2292"/>
                  </a:lnTo>
                  <a:lnTo>
                    <a:pt x="342" y="2294"/>
                  </a:lnTo>
                  <a:lnTo>
                    <a:pt x="342" y="2298"/>
                  </a:lnTo>
                  <a:lnTo>
                    <a:pt x="338" y="2300"/>
                  </a:lnTo>
                  <a:lnTo>
                    <a:pt x="336" y="2302"/>
                  </a:lnTo>
                  <a:lnTo>
                    <a:pt x="336" y="2306"/>
                  </a:lnTo>
                  <a:lnTo>
                    <a:pt x="340" y="2314"/>
                  </a:lnTo>
                  <a:lnTo>
                    <a:pt x="348" y="2324"/>
                  </a:lnTo>
                  <a:lnTo>
                    <a:pt x="358" y="2332"/>
                  </a:lnTo>
                  <a:lnTo>
                    <a:pt x="368" y="2336"/>
                  </a:lnTo>
                  <a:lnTo>
                    <a:pt x="374" y="2338"/>
                  </a:lnTo>
                  <a:lnTo>
                    <a:pt x="376" y="2338"/>
                  </a:lnTo>
                  <a:lnTo>
                    <a:pt x="374" y="2342"/>
                  </a:lnTo>
                  <a:lnTo>
                    <a:pt x="374" y="2346"/>
                  </a:lnTo>
                  <a:lnTo>
                    <a:pt x="376" y="2348"/>
                  </a:lnTo>
                  <a:lnTo>
                    <a:pt x="378" y="2352"/>
                  </a:lnTo>
                  <a:lnTo>
                    <a:pt x="378" y="2360"/>
                  </a:lnTo>
                  <a:lnTo>
                    <a:pt x="376" y="2364"/>
                  </a:lnTo>
                  <a:lnTo>
                    <a:pt x="374" y="2366"/>
                  </a:lnTo>
                  <a:lnTo>
                    <a:pt x="370" y="2368"/>
                  </a:lnTo>
                  <a:lnTo>
                    <a:pt x="370" y="2370"/>
                  </a:lnTo>
                  <a:lnTo>
                    <a:pt x="378" y="2376"/>
                  </a:lnTo>
                  <a:lnTo>
                    <a:pt x="388" y="2382"/>
                  </a:lnTo>
                  <a:lnTo>
                    <a:pt x="392" y="2388"/>
                  </a:lnTo>
                  <a:lnTo>
                    <a:pt x="394" y="2396"/>
                  </a:lnTo>
                  <a:lnTo>
                    <a:pt x="394" y="2402"/>
                  </a:lnTo>
                  <a:lnTo>
                    <a:pt x="394" y="2404"/>
                  </a:lnTo>
                  <a:lnTo>
                    <a:pt x="392" y="2398"/>
                  </a:lnTo>
                  <a:lnTo>
                    <a:pt x="388" y="2388"/>
                  </a:lnTo>
                  <a:lnTo>
                    <a:pt x="384" y="2384"/>
                  </a:lnTo>
                  <a:lnTo>
                    <a:pt x="380" y="2382"/>
                  </a:lnTo>
                  <a:lnTo>
                    <a:pt x="378" y="2390"/>
                  </a:lnTo>
                  <a:lnTo>
                    <a:pt x="372" y="2410"/>
                  </a:lnTo>
                  <a:lnTo>
                    <a:pt x="370" y="2426"/>
                  </a:lnTo>
                  <a:lnTo>
                    <a:pt x="372" y="2428"/>
                  </a:lnTo>
                  <a:lnTo>
                    <a:pt x="374" y="2426"/>
                  </a:lnTo>
                  <a:lnTo>
                    <a:pt x="376" y="2426"/>
                  </a:lnTo>
                  <a:lnTo>
                    <a:pt x="378" y="2426"/>
                  </a:lnTo>
                  <a:lnTo>
                    <a:pt x="378" y="2430"/>
                  </a:lnTo>
                  <a:lnTo>
                    <a:pt x="376" y="2432"/>
                  </a:lnTo>
                  <a:lnTo>
                    <a:pt x="374" y="2432"/>
                  </a:lnTo>
                  <a:lnTo>
                    <a:pt x="372" y="2436"/>
                  </a:lnTo>
                  <a:lnTo>
                    <a:pt x="370" y="2460"/>
                  </a:lnTo>
                  <a:lnTo>
                    <a:pt x="366" y="2480"/>
                  </a:lnTo>
                  <a:lnTo>
                    <a:pt x="362" y="2492"/>
                  </a:lnTo>
                  <a:lnTo>
                    <a:pt x="358" y="2500"/>
                  </a:lnTo>
                  <a:lnTo>
                    <a:pt x="352" y="2502"/>
                  </a:lnTo>
                  <a:lnTo>
                    <a:pt x="342" y="2506"/>
                  </a:lnTo>
                  <a:lnTo>
                    <a:pt x="334" y="2506"/>
                  </a:lnTo>
                  <a:lnTo>
                    <a:pt x="326" y="2504"/>
                  </a:lnTo>
                  <a:lnTo>
                    <a:pt x="314" y="2500"/>
                  </a:lnTo>
                  <a:lnTo>
                    <a:pt x="308" y="2500"/>
                  </a:lnTo>
                  <a:lnTo>
                    <a:pt x="300" y="2502"/>
                  </a:lnTo>
                  <a:lnTo>
                    <a:pt x="286" y="2498"/>
                  </a:lnTo>
                  <a:lnTo>
                    <a:pt x="278" y="2496"/>
                  </a:lnTo>
                  <a:lnTo>
                    <a:pt x="270" y="2496"/>
                  </a:lnTo>
                  <a:lnTo>
                    <a:pt x="252" y="2498"/>
                  </a:lnTo>
                  <a:lnTo>
                    <a:pt x="232" y="2498"/>
                  </a:lnTo>
                  <a:lnTo>
                    <a:pt x="220" y="2498"/>
                  </a:lnTo>
                  <a:lnTo>
                    <a:pt x="206" y="2494"/>
                  </a:lnTo>
                  <a:lnTo>
                    <a:pt x="192" y="2490"/>
                  </a:lnTo>
                  <a:lnTo>
                    <a:pt x="182" y="2490"/>
                  </a:lnTo>
                  <a:lnTo>
                    <a:pt x="172" y="2492"/>
                  </a:lnTo>
                  <a:lnTo>
                    <a:pt x="154" y="2492"/>
                  </a:lnTo>
                  <a:lnTo>
                    <a:pt x="142" y="2492"/>
                  </a:lnTo>
                  <a:lnTo>
                    <a:pt x="134" y="2490"/>
                  </a:lnTo>
                  <a:lnTo>
                    <a:pt x="120" y="2486"/>
                  </a:lnTo>
                  <a:lnTo>
                    <a:pt x="110" y="2482"/>
                  </a:lnTo>
                  <a:lnTo>
                    <a:pt x="104" y="2484"/>
                  </a:lnTo>
                  <a:lnTo>
                    <a:pt x="98" y="2486"/>
                  </a:lnTo>
                  <a:lnTo>
                    <a:pt x="92" y="2490"/>
                  </a:lnTo>
                  <a:lnTo>
                    <a:pt x="88" y="2492"/>
                  </a:lnTo>
                  <a:lnTo>
                    <a:pt x="86" y="2500"/>
                  </a:lnTo>
                  <a:lnTo>
                    <a:pt x="86" y="2504"/>
                  </a:lnTo>
                  <a:lnTo>
                    <a:pt x="82" y="2506"/>
                  </a:lnTo>
                  <a:lnTo>
                    <a:pt x="78" y="2506"/>
                  </a:lnTo>
                  <a:lnTo>
                    <a:pt x="72" y="2506"/>
                  </a:lnTo>
                  <a:lnTo>
                    <a:pt x="66" y="2508"/>
                  </a:lnTo>
                  <a:lnTo>
                    <a:pt x="54" y="2516"/>
                  </a:lnTo>
                  <a:lnTo>
                    <a:pt x="50" y="2520"/>
                  </a:lnTo>
                  <a:lnTo>
                    <a:pt x="48" y="2524"/>
                  </a:lnTo>
                  <a:lnTo>
                    <a:pt x="48" y="2528"/>
                  </a:lnTo>
                  <a:lnTo>
                    <a:pt x="50" y="2530"/>
                  </a:lnTo>
                  <a:lnTo>
                    <a:pt x="54" y="2534"/>
                  </a:lnTo>
                  <a:lnTo>
                    <a:pt x="56" y="2540"/>
                  </a:lnTo>
                  <a:lnTo>
                    <a:pt x="58" y="2546"/>
                  </a:lnTo>
                  <a:lnTo>
                    <a:pt x="60" y="2552"/>
                  </a:lnTo>
                  <a:lnTo>
                    <a:pt x="64" y="2560"/>
                  </a:lnTo>
                  <a:lnTo>
                    <a:pt x="64" y="2570"/>
                  </a:lnTo>
                  <a:lnTo>
                    <a:pt x="64" y="2578"/>
                  </a:lnTo>
                  <a:lnTo>
                    <a:pt x="66" y="2588"/>
                  </a:lnTo>
                  <a:lnTo>
                    <a:pt x="64" y="2594"/>
                  </a:lnTo>
                  <a:lnTo>
                    <a:pt x="66" y="2596"/>
                  </a:lnTo>
                  <a:lnTo>
                    <a:pt x="68" y="2600"/>
                  </a:lnTo>
                  <a:lnTo>
                    <a:pt x="66" y="2602"/>
                  </a:lnTo>
                  <a:lnTo>
                    <a:pt x="66" y="2606"/>
                  </a:lnTo>
                  <a:lnTo>
                    <a:pt x="66" y="2612"/>
                  </a:lnTo>
                  <a:lnTo>
                    <a:pt x="74" y="2628"/>
                  </a:lnTo>
                  <a:lnTo>
                    <a:pt x="74" y="2632"/>
                  </a:lnTo>
                  <a:lnTo>
                    <a:pt x="74" y="2640"/>
                  </a:lnTo>
                  <a:lnTo>
                    <a:pt x="70" y="2654"/>
                  </a:lnTo>
                  <a:lnTo>
                    <a:pt x="66" y="2670"/>
                  </a:lnTo>
                  <a:lnTo>
                    <a:pt x="64" y="2680"/>
                  </a:lnTo>
                  <a:lnTo>
                    <a:pt x="66" y="2684"/>
                  </a:lnTo>
                  <a:lnTo>
                    <a:pt x="64" y="2688"/>
                  </a:lnTo>
                  <a:lnTo>
                    <a:pt x="60" y="2694"/>
                  </a:lnTo>
                  <a:lnTo>
                    <a:pt x="56" y="2708"/>
                  </a:lnTo>
                  <a:lnTo>
                    <a:pt x="54" y="2716"/>
                  </a:lnTo>
                  <a:lnTo>
                    <a:pt x="50" y="2720"/>
                  </a:lnTo>
                  <a:lnTo>
                    <a:pt x="46" y="2724"/>
                  </a:lnTo>
                  <a:lnTo>
                    <a:pt x="44" y="2726"/>
                  </a:lnTo>
                  <a:lnTo>
                    <a:pt x="44" y="2730"/>
                  </a:lnTo>
                  <a:lnTo>
                    <a:pt x="44" y="2734"/>
                  </a:lnTo>
                  <a:lnTo>
                    <a:pt x="44" y="2740"/>
                  </a:lnTo>
                  <a:lnTo>
                    <a:pt x="40" y="2750"/>
                  </a:lnTo>
                  <a:lnTo>
                    <a:pt x="38" y="2756"/>
                  </a:lnTo>
                  <a:lnTo>
                    <a:pt x="38" y="2760"/>
                  </a:lnTo>
                  <a:lnTo>
                    <a:pt x="40" y="2762"/>
                  </a:lnTo>
                  <a:lnTo>
                    <a:pt x="44" y="2764"/>
                  </a:lnTo>
                  <a:lnTo>
                    <a:pt x="52" y="2764"/>
                  </a:lnTo>
                  <a:lnTo>
                    <a:pt x="50" y="2766"/>
                  </a:lnTo>
                  <a:lnTo>
                    <a:pt x="50" y="2770"/>
                  </a:lnTo>
                  <a:lnTo>
                    <a:pt x="50" y="2772"/>
                  </a:lnTo>
                  <a:lnTo>
                    <a:pt x="50" y="2776"/>
                  </a:lnTo>
                  <a:lnTo>
                    <a:pt x="50" y="2778"/>
                  </a:lnTo>
                  <a:lnTo>
                    <a:pt x="52" y="2778"/>
                  </a:lnTo>
                  <a:lnTo>
                    <a:pt x="58" y="2776"/>
                  </a:lnTo>
                  <a:lnTo>
                    <a:pt x="64" y="2778"/>
                  </a:lnTo>
                  <a:lnTo>
                    <a:pt x="66" y="2780"/>
                  </a:lnTo>
                  <a:lnTo>
                    <a:pt x="66" y="2782"/>
                  </a:lnTo>
                  <a:lnTo>
                    <a:pt x="68" y="2788"/>
                  </a:lnTo>
                  <a:lnTo>
                    <a:pt x="66" y="2794"/>
                  </a:lnTo>
                  <a:lnTo>
                    <a:pt x="64" y="2804"/>
                  </a:lnTo>
                  <a:lnTo>
                    <a:pt x="66" y="2810"/>
                  </a:lnTo>
                  <a:lnTo>
                    <a:pt x="66" y="2820"/>
                  </a:lnTo>
                  <a:lnTo>
                    <a:pt x="62" y="2842"/>
                  </a:lnTo>
                  <a:lnTo>
                    <a:pt x="60" y="2856"/>
                  </a:lnTo>
                  <a:lnTo>
                    <a:pt x="62" y="2856"/>
                  </a:lnTo>
                  <a:lnTo>
                    <a:pt x="64" y="2856"/>
                  </a:lnTo>
                  <a:lnTo>
                    <a:pt x="68" y="2852"/>
                  </a:lnTo>
                  <a:lnTo>
                    <a:pt x="72" y="2850"/>
                  </a:lnTo>
                  <a:lnTo>
                    <a:pt x="80" y="2850"/>
                  </a:lnTo>
                  <a:lnTo>
                    <a:pt x="92" y="2854"/>
                  </a:lnTo>
                  <a:lnTo>
                    <a:pt x="104" y="2858"/>
                  </a:lnTo>
                  <a:lnTo>
                    <a:pt x="110" y="2856"/>
                  </a:lnTo>
                  <a:lnTo>
                    <a:pt x="114" y="2852"/>
                  </a:lnTo>
                  <a:lnTo>
                    <a:pt x="124" y="2846"/>
                  </a:lnTo>
                  <a:lnTo>
                    <a:pt x="130" y="2844"/>
                  </a:lnTo>
                  <a:lnTo>
                    <a:pt x="136" y="2844"/>
                  </a:lnTo>
                  <a:lnTo>
                    <a:pt x="142" y="2846"/>
                  </a:lnTo>
                  <a:lnTo>
                    <a:pt x="148" y="2850"/>
                  </a:lnTo>
                  <a:lnTo>
                    <a:pt x="158" y="2858"/>
                  </a:lnTo>
                  <a:lnTo>
                    <a:pt x="160" y="2862"/>
                  </a:lnTo>
                  <a:lnTo>
                    <a:pt x="162" y="2866"/>
                  </a:lnTo>
                  <a:lnTo>
                    <a:pt x="162" y="2874"/>
                  </a:lnTo>
                  <a:lnTo>
                    <a:pt x="166" y="2882"/>
                  </a:lnTo>
                  <a:lnTo>
                    <a:pt x="174" y="2892"/>
                  </a:lnTo>
                  <a:lnTo>
                    <a:pt x="182" y="2902"/>
                  </a:lnTo>
                  <a:lnTo>
                    <a:pt x="190" y="2908"/>
                  </a:lnTo>
                  <a:lnTo>
                    <a:pt x="196" y="2910"/>
                  </a:lnTo>
                  <a:lnTo>
                    <a:pt x="198" y="2910"/>
                  </a:lnTo>
                  <a:lnTo>
                    <a:pt x="202" y="2906"/>
                  </a:lnTo>
                  <a:lnTo>
                    <a:pt x="206" y="2902"/>
                  </a:lnTo>
                  <a:lnTo>
                    <a:pt x="208" y="2898"/>
                  </a:lnTo>
                  <a:lnTo>
                    <a:pt x="212" y="2892"/>
                  </a:lnTo>
                  <a:lnTo>
                    <a:pt x="214" y="2888"/>
                  </a:lnTo>
                  <a:lnTo>
                    <a:pt x="218" y="2886"/>
                  </a:lnTo>
                  <a:lnTo>
                    <a:pt x="228" y="2884"/>
                  </a:lnTo>
                  <a:lnTo>
                    <a:pt x="236" y="2884"/>
                  </a:lnTo>
                  <a:lnTo>
                    <a:pt x="238" y="2882"/>
                  </a:lnTo>
                  <a:lnTo>
                    <a:pt x="240" y="2880"/>
                  </a:lnTo>
                  <a:lnTo>
                    <a:pt x="246" y="2874"/>
                  </a:lnTo>
                  <a:lnTo>
                    <a:pt x="254" y="2868"/>
                  </a:lnTo>
                  <a:lnTo>
                    <a:pt x="264" y="2868"/>
                  </a:lnTo>
                  <a:lnTo>
                    <a:pt x="270" y="2868"/>
                  </a:lnTo>
                  <a:lnTo>
                    <a:pt x="276" y="2870"/>
                  </a:lnTo>
                  <a:lnTo>
                    <a:pt x="284" y="2872"/>
                  </a:lnTo>
                  <a:lnTo>
                    <a:pt x="292" y="2874"/>
                  </a:lnTo>
                  <a:lnTo>
                    <a:pt x="310" y="2870"/>
                  </a:lnTo>
                  <a:lnTo>
                    <a:pt x="322" y="2868"/>
                  </a:lnTo>
                  <a:lnTo>
                    <a:pt x="328" y="2866"/>
                  </a:lnTo>
                  <a:lnTo>
                    <a:pt x="332" y="2868"/>
                  </a:lnTo>
                  <a:lnTo>
                    <a:pt x="336" y="2870"/>
                  </a:lnTo>
                  <a:lnTo>
                    <a:pt x="340" y="2866"/>
                  </a:lnTo>
                  <a:lnTo>
                    <a:pt x="346" y="2852"/>
                  </a:lnTo>
                  <a:lnTo>
                    <a:pt x="350" y="2844"/>
                  </a:lnTo>
                  <a:lnTo>
                    <a:pt x="356" y="2836"/>
                  </a:lnTo>
                  <a:lnTo>
                    <a:pt x="364" y="2830"/>
                  </a:lnTo>
                  <a:lnTo>
                    <a:pt x="374" y="2828"/>
                  </a:lnTo>
                  <a:lnTo>
                    <a:pt x="390" y="2826"/>
                  </a:lnTo>
                  <a:lnTo>
                    <a:pt x="392" y="2824"/>
                  </a:lnTo>
                  <a:lnTo>
                    <a:pt x="390" y="2818"/>
                  </a:lnTo>
                  <a:lnTo>
                    <a:pt x="392" y="2808"/>
                  </a:lnTo>
                  <a:lnTo>
                    <a:pt x="396" y="2798"/>
                  </a:lnTo>
                  <a:lnTo>
                    <a:pt x="402" y="2788"/>
                  </a:lnTo>
                  <a:lnTo>
                    <a:pt x="410" y="2780"/>
                  </a:lnTo>
                  <a:lnTo>
                    <a:pt x="424" y="2768"/>
                  </a:lnTo>
                  <a:lnTo>
                    <a:pt x="428" y="2764"/>
                  </a:lnTo>
                  <a:lnTo>
                    <a:pt x="430" y="2760"/>
                  </a:lnTo>
                  <a:lnTo>
                    <a:pt x="428" y="2756"/>
                  </a:lnTo>
                  <a:lnTo>
                    <a:pt x="422" y="2752"/>
                  </a:lnTo>
                  <a:lnTo>
                    <a:pt x="416" y="2746"/>
                  </a:lnTo>
                  <a:lnTo>
                    <a:pt x="412" y="2740"/>
                  </a:lnTo>
                  <a:lnTo>
                    <a:pt x="410" y="2734"/>
                  </a:lnTo>
                  <a:lnTo>
                    <a:pt x="410" y="2724"/>
                  </a:lnTo>
                  <a:lnTo>
                    <a:pt x="412" y="2714"/>
                  </a:lnTo>
                  <a:lnTo>
                    <a:pt x="418" y="2702"/>
                  </a:lnTo>
                  <a:lnTo>
                    <a:pt x="424" y="2690"/>
                  </a:lnTo>
                  <a:lnTo>
                    <a:pt x="438" y="2670"/>
                  </a:lnTo>
                  <a:lnTo>
                    <a:pt x="446" y="2664"/>
                  </a:lnTo>
                  <a:lnTo>
                    <a:pt x="450" y="2660"/>
                  </a:lnTo>
                  <a:lnTo>
                    <a:pt x="460" y="2656"/>
                  </a:lnTo>
                  <a:lnTo>
                    <a:pt x="460" y="2654"/>
                  </a:lnTo>
                  <a:lnTo>
                    <a:pt x="460" y="2652"/>
                  </a:lnTo>
                  <a:lnTo>
                    <a:pt x="454" y="2648"/>
                  </a:lnTo>
                  <a:lnTo>
                    <a:pt x="454" y="2646"/>
                  </a:lnTo>
                  <a:lnTo>
                    <a:pt x="454" y="2642"/>
                  </a:lnTo>
                  <a:lnTo>
                    <a:pt x="458" y="2638"/>
                  </a:lnTo>
                  <a:lnTo>
                    <a:pt x="466" y="2634"/>
                  </a:lnTo>
                  <a:lnTo>
                    <a:pt x="484" y="2628"/>
                  </a:lnTo>
                  <a:lnTo>
                    <a:pt x="502" y="2624"/>
                  </a:lnTo>
                  <a:lnTo>
                    <a:pt x="508" y="2620"/>
                  </a:lnTo>
                  <a:lnTo>
                    <a:pt x="510" y="2616"/>
                  </a:lnTo>
                  <a:lnTo>
                    <a:pt x="514" y="2612"/>
                  </a:lnTo>
                  <a:lnTo>
                    <a:pt x="520" y="2608"/>
                  </a:lnTo>
                  <a:lnTo>
                    <a:pt x="536" y="2600"/>
                  </a:lnTo>
                  <a:lnTo>
                    <a:pt x="544" y="2596"/>
                  </a:lnTo>
                  <a:lnTo>
                    <a:pt x="550" y="2590"/>
                  </a:lnTo>
                  <a:lnTo>
                    <a:pt x="552" y="2584"/>
                  </a:lnTo>
                  <a:lnTo>
                    <a:pt x="552" y="2580"/>
                  </a:lnTo>
                  <a:lnTo>
                    <a:pt x="550" y="2576"/>
                  </a:lnTo>
                  <a:lnTo>
                    <a:pt x="550" y="2572"/>
                  </a:lnTo>
                  <a:lnTo>
                    <a:pt x="550" y="2570"/>
                  </a:lnTo>
                  <a:lnTo>
                    <a:pt x="554" y="2566"/>
                  </a:lnTo>
                  <a:lnTo>
                    <a:pt x="556" y="2566"/>
                  </a:lnTo>
                  <a:lnTo>
                    <a:pt x="556" y="2562"/>
                  </a:lnTo>
                  <a:lnTo>
                    <a:pt x="554" y="2560"/>
                  </a:lnTo>
                  <a:lnTo>
                    <a:pt x="548" y="2554"/>
                  </a:lnTo>
                  <a:lnTo>
                    <a:pt x="548" y="2542"/>
                  </a:lnTo>
                  <a:lnTo>
                    <a:pt x="548" y="2536"/>
                  </a:lnTo>
                  <a:lnTo>
                    <a:pt x="548" y="2532"/>
                  </a:lnTo>
                  <a:lnTo>
                    <a:pt x="548" y="2524"/>
                  </a:lnTo>
                  <a:lnTo>
                    <a:pt x="548" y="2518"/>
                  </a:lnTo>
                  <a:lnTo>
                    <a:pt x="550" y="2514"/>
                  </a:lnTo>
                  <a:lnTo>
                    <a:pt x="556" y="2510"/>
                  </a:lnTo>
                  <a:lnTo>
                    <a:pt x="564" y="2508"/>
                  </a:lnTo>
                  <a:lnTo>
                    <a:pt x="572" y="2502"/>
                  </a:lnTo>
                  <a:lnTo>
                    <a:pt x="584" y="2494"/>
                  </a:lnTo>
                  <a:lnTo>
                    <a:pt x="586" y="2494"/>
                  </a:lnTo>
                  <a:lnTo>
                    <a:pt x="588" y="2494"/>
                  </a:lnTo>
                  <a:lnTo>
                    <a:pt x="590" y="2498"/>
                  </a:lnTo>
                  <a:lnTo>
                    <a:pt x="592" y="2500"/>
                  </a:lnTo>
                  <a:lnTo>
                    <a:pt x="598" y="2502"/>
                  </a:lnTo>
                  <a:lnTo>
                    <a:pt x="604" y="2502"/>
                  </a:lnTo>
                  <a:lnTo>
                    <a:pt x="608" y="2504"/>
                  </a:lnTo>
                  <a:lnTo>
                    <a:pt x="610" y="2506"/>
                  </a:lnTo>
                  <a:lnTo>
                    <a:pt x="616" y="2506"/>
                  </a:lnTo>
                  <a:lnTo>
                    <a:pt x="626" y="2504"/>
                  </a:lnTo>
                  <a:lnTo>
                    <a:pt x="630" y="2504"/>
                  </a:lnTo>
                  <a:lnTo>
                    <a:pt x="634" y="2506"/>
                  </a:lnTo>
                  <a:lnTo>
                    <a:pt x="640" y="2512"/>
                  </a:lnTo>
                  <a:lnTo>
                    <a:pt x="644" y="2516"/>
                  </a:lnTo>
                  <a:lnTo>
                    <a:pt x="646" y="2516"/>
                  </a:lnTo>
                  <a:lnTo>
                    <a:pt x="650" y="2514"/>
                  </a:lnTo>
                  <a:lnTo>
                    <a:pt x="654" y="2516"/>
                  </a:lnTo>
                  <a:lnTo>
                    <a:pt x="656" y="2518"/>
                  </a:lnTo>
                  <a:lnTo>
                    <a:pt x="660" y="2520"/>
                  </a:lnTo>
                  <a:lnTo>
                    <a:pt x="664" y="2520"/>
                  </a:lnTo>
                  <a:lnTo>
                    <a:pt x="678" y="2518"/>
                  </a:lnTo>
                  <a:lnTo>
                    <a:pt x="690" y="2512"/>
                  </a:lnTo>
                  <a:lnTo>
                    <a:pt x="692" y="2508"/>
                  </a:lnTo>
                  <a:lnTo>
                    <a:pt x="694" y="2506"/>
                  </a:lnTo>
                  <a:lnTo>
                    <a:pt x="694" y="2502"/>
                  </a:lnTo>
                  <a:lnTo>
                    <a:pt x="696" y="2500"/>
                  </a:lnTo>
                  <a:lnTo>
                    <a:pt x="704" y="2494"/>
                  </a:lnTo>
                  <a:lnTo>
                    <a:pt x="726" y="2482"/>
                  </a:lnTo>
                  <a:lnTo>
                    <a:pt x="738" y="2476"/>
                  </a:lnTo>
                  <a:lnTo>
                    <a:pt x="748" y="2472"/>
                  </a:lnTo>
                  <a:lnTo>
                    <a:pt x="754" y="2466"/>
                  </a:lnTo>
                  <a:lnTo>
                    <a:pt x="758" y="2462"/>
                  </a:lnTo>
                  <a:lnTo>
                    <a:pt x="762" y="2452"/>
                  </a:lnTo>
                  <a:lnTo>
                    <a:pt x="766" y="2448"/>
                  </a:lnTo>
                  <a:lnTo>
                    <a:pt x="774" y="2444"/>
                  </a:lnTo>
                  <a:lnTo>
                    <a:pt x="780" y="2444"/>
                  </a:lnTo>
                  <a:lnTo>
                    <a:pt x="786" y="2444"/>
                  </a:lnTo>
                  <a:lnTo>
                    <a:pt x="792" y="2448"/>
                  </a:lnTo>
                  <a:lnTo>
                    <a:pt x="798" y="2454"/>
                  </a:lnTo>
                  <a:lnTo>
                    <a:pt x="808" y="2462"/>
                  </a:lnTo>
                  <a:lnTo>
                    <a:pt x="814" y="2466"/>
                  </a:lnTo>
                  <a:lnTo>
                    <a:pt x="820" y="2466"/>
                  </a:lnTo>
                  <a:lnTo>
                    <a:pt x="826" y="2466"/>
                  </a:lnTo>
                  <a:lnTo>
                    <a:pt x="830" y="2468"/>
                  </a:lnTo>
                  <a:lnTo>
                    <a:pt x="832" y="2474"/>
                  </a:lnTo>
                  <a:lnTo>
                    <a:pt x="834" y="2480"/>
                  </a:lnTo>
                  <a:lnTo>
                    <a:pt x="836" y="2494"/>
                  </a:lnTo>
                  <a:lnTo>
                    <a:pt x="838" y="2500"/>
                  </a:lnTo>
                  <a:lnTo>
                    <a:pt x="842" y="2504"/>
                  </a:lnTo>
                  <a:lnTo>
                    <a:pt x="844" y="2508"/>
                  </a:lnTo>
                  <a:lnTo>
                    <a:pt x="846" y="2512"/>
                  </a:lnTo>
                  <a:lnTo>
                    <a:pt x="846" y="2518"/>
                  </a:lnTo>
                  <a:lnTo>
                    <a:pt x="846" y="2522"/>
                  </a:lnTo>
                  <a:lnTo>
                    <a:pt x="846" y="2526"/>
                  </a:lnTo>
                  <a:lnTo>
                    <a:pt x="848" y="2530"/>
                  </a:lnTo>
                  <a:lnTo>
                    <a:pt x="854" y="2536"/>
                  </a:lnTo>
                  <a:lnTo>
                    <a:pt x="870" y="2546"/>
                  </a:lnTo>
                  <a:lnTo>
                    <a:pt x="872" y="2550"/>
                  </a:lnTo>
                  <a:lnTo>
                    <a:pt x="872" y="2556"/>
                  </a:lnTo>
                  <a:lnTo>
                    <a:pt x="872" y="2560"/>
                  </a:lnTo>
                  <a:lnTo>
                    <a:pt x="874" y="2562"/>
                  </a:lnTo>
                  <a:lnTo>
                    <a:pt x="882" y="2564"/>
                  </a:lnTo>
                  <a:lnTo>
                    <a:pt x="890" y="2566"/>
                  </a:lnTo>
                  <a:lnTo>
                    <a:pt x="894" y="2570"/>
                  </a:lnTo>
                  <a:lnTo>
                    <a:pt x="898" y="2576"/>
                  </a:lnTo>
                  <a:lnTo>
                    <a:pt x="902" y="2584"/>
                  </a:lnTo>
                  <a:lnTo>
                    <a:pt x="906" y="2586"/>
                  </a:lnTo>
                  <a:lnTo>
                    <a:pt x="910" y="2588"/>
                  </a:lnTo>
                  <a:lnTo>
                    <a:pt x="920" y="2598"/>
                  </a:lnTo>
                  <a:lnTo>
                    <a:pt x="932" y="2612"/>
                  </a:lnTo>
                  <a:lnTo>
                    <a:pt x="944" y="2620"/>
                  </a:lnTo>
                  <a:lnTo>
                    <a:pt x="956" y="2624"/>
                  </a:lnTo>
                  <a:lnTo>
                    <a:pt x="970" y="2624"/>
                  </a:lnTo>
                  <a:lnTo>
                    <a:pt x="974" y="2626"/>
                  </a:lnTo>
                  <a:lnTo>
                    <a:pt x="978" y="2628"/>
                  </a:lnTo>
                  <a:lnTo>
                    <a:pt x="982" y="2638"/>
                  </a:lnTo>
                  <a:lnTo>
                    <a:pt x="988" y="2646"/>
                  </a:lnTo>
                  <a:lnTo>
                    <a:pt x="990" y="2650"/>
                  </a:lnTo>
                  <a:lnTo>
                    <a:pt x="996" y="2650"/>
                  </a:lnTo>
                  <a:lnTo>
                    <a:pt x="1002" y="2650"/>
                  </a:lnTo>
                  <a:lnTo>
                    <a:pt x="1004" y="2650"/>
                  </a:lnTo>
                  <a:lnTo>
                    <a:pt x="1004" y="2656"/>
                  </a:lnTo>
                  <a:lnTo>
                    <a:pt x="1002" y="2658"/>
                  </a:lnTo>
                  <a:lnTo>
                    <a:pt x="1004" y="2658"/>
                  </a:lnTo>
                  <a:lnTo>
                    <a:pt x="1006" y="2660"/>
                  </a:lnTo>
                  <a:lnTo>
                    <a:pt x="1012" y="2658"/>
                  </a:lnTo>
                  <a:lnTo>
                    <a:pt x="1018" y="2658"/>
                  </a:lnTo>
                  <a:lnTo>
                    <a:pt x="1020" y="2660"/>
                  </a:lnTo>
                  <a:lnTo>
                    <a:pt x="1022" y="2662"/>
                  </a:lnTo>
                  <a:lnTo>
                    <a:pt x="1022" y="2666"/>
                  </a:lnTo>
                  <a:lnTo>
                    <a:pt x="1022" y="2674"/>
                  </a:lnTo>
                  <a:lnTo>
                    <a:pt x="1024" y="2680"/>
                  </a:lnTo>
                  <a:lnTo>
                    <a:pt x="1030" y="2684"/>
                  </a:lnTo>
                  <a:lnTo>
                    <a:pt x="1040" y="2690"/>
                  </a:lnTo>
                  <a:lnTo>
                    <a:pt x="1050" y="2694"/>
                  </a:lnTo>
                  <a:lnTo>
                    <a:pt x="1054" y="2698"/>
                  </a:lnTo>
                  <a:lnTo>
                    <a:pt x="1058" y="2702"/>
                  </a:lnTo>
                  <a:lnTo>
                    <a:pt x="1062" y="2710"/>
                  </a:lnTo>
                  <a:lnTo>
                    <a:pt x="1066" y="2720"/>
                  </a:lnTo>
                  <a:lnTo>
                    <a:pt x="1070" y="2740"/>
                  </a:lnTo>
                  <a:lnTo>
                    <a:pt x="1072" y="2752"/>
                  </a:lnTo>
                  <a:lnTo>
                    <a:pt x="1072" y="2758"/>
                  </a:lnTo>
                  <a:lnTo>
                    <a:pt x="1066" y="2762"/>
                  </a:lnTo>
                  <a:lnTo>
                    <a:pt x="1064" y="2768"/>
                  </a:lnTo>
                  <a:lnTo>
                    <a:pt x="1064" y="2772"/>
                  </a:lnTo>
                  <a:lnTo>
                    <a:pt x="1062" y="2776"/>
                  </a:lnTo>
                  <a:lnTo>
                    <a:pt x="1060" y="2784"/>
                  </a:lnTo>
                  <a:lnTo>
                    <a:pt x="1054" y="2790"/>
                  </a:lnTo>
                  <a:lnTo>
                    <a:pt x="1052" y="2796"/>
                  </a:lnTo>
                  <a:lnTo>
                    <a:pt x="1054" y="2802"/>
                  </a:lnTo>
                  <a:lnTo>
                    <a:pt x="1058" y="2806"/>
                  </a:lnTo>
                  <a:lnTo>
                    <a:pt x="1064" y="2808"/>
                  </a:lnTo>
                  <a:lnTo>
                    <a:pt x="1068" y="2808"/>
                  </a:lnTo>
                  <a:lnTo>
                    <a:pt x="1070" y="2806"/>
                  </a:lnTo>
                  <a:lnTo>
                    <a:pt x="1072" y="2804"/>
                  </a:lnTo>
                  <a:lnTo>
                    <a:pt x="1076" y="2794"/>
                  </a:lnTo>
                  <a:lnTo>
                    <a:pt x="1084" y="2784"/>
                  </a:lnTo>
                  <a:lnTo>
                    <a:pt x="1088" y="2780"/>
                  </a:lnTo>
                  <a:lnTo>
                    <a:pt x="1090" y="2776"/>
                  </a:lnTo>
                  <a:lnTo>
                    <a:pt x="1092" y="2768"/>
                  </a:lnTo>
                  <a:lnTo>
                    <a:pt x="1096" y="2760"/>
                  </a:lnTo>
                  <a:lnTo>
                    <a:pt x="1098" y="2756"/>
                  </a:lnTo>
                  <a:lnTo>
                    <a:pt x="1104" y="2752"/>
                  </a:lnTo>
                  <a:lnTo>
                    <a:pt x="1110" y="2748"/>
                  </a:lnTo>
                  <a:lnTo>
                    <a:pt x="1114" y="2742"/>
                  </a:lnTo>
                  <a:lnTo>
                    <a:pt x="1116" y="2738"/>
                  </a:lnTo>
                  <a:lnTo>
                    <a:pt x="1114" y="2732"/>
                  </a:lnTo>
                  <a:lnTo>
                    <a:pt x="1112" y="2726"/>
                  </a:lnTo>
                  <a:lnTo>
                    <a:pt x="1108" y="2722"/>
                  </a:lnTo>
                  <a:lnTo>
                    <a:pt x="1104" y="2718"/>
                  </a:lnTo>
                  <a:lnTo>
                    <a:pt x="1098" y="2716"/>
                  </a:lnTo>
                  <a:lnTo>
                    <a:pt x="1090" y="2712"/>
                  </a:lnTo>
                  <a:lnTo>
                    <a:pt x="1086" y="2708"/>
                  </a:lnTo>
                  <a:lnTo>
                    <a:pt x="1086" y="2704"/>
                  </a:lnTo>
                  <a:lnTo>
                    <a:pt x="1090" y="2698"/>
                  </a:lnTo>
                  <a:lnTo>
                    <a:pt x="1092" y="2692"/>
                  </a:lnTo>
                  <a:lnTo>
                    <a:pt x="1094" y="2684"/>
                  </a:lnTo>
                  <a:lnTo>
                    <a:pt x="1096" y="2676"/>
                  </a:lnTo>
                  <a:lnTo>
                    <a:pt x="1100" y="2672"/>
                  </a:lnTo>
                  <a:lnTo>
                    <a:pt x="1104" y="2670"/>
                  </a:lnTo>
                  <a:lnTo>
                    <a:pt x="1112" y="2666"/>
                  </a:lnTo>
                  <a:lnTo>
                    <a:pt x="1116" y="2668"/>
                  </a:lnTo>
                  <a:lnTo>
                    <a:pt x="1124" y="2670"/>
                  </a:lnTo>
                  <a:lnTo>
                    <a:pt x="1134" y="2672"/>
                  </a:lnTo>
                  <a:lnTo>
                    <a:pt x="1140" y="2674"/>
                  </a:lnTo>
                  <a:lnTo>
                    <a:pt x="1144" y="2678"/>
                  </a:lnTo>
                  <a:lnTo>
                    <a:pt x="1148" y="2688"/>
                  </a:lnTo>
                  <a:lnTo>
                    <a:pt x="1150" y="2696"/>
                  </a:lnTo>
                  <a:lnTo>
                    <a:pt x="1154" y="2700"/>
                  </a:lnTo>
                  <a:lnTo>
                    <a:pt x="1158" y="2702"/>
                  </a:lnTo>
                  <a:lnTo>
                    <a:pt x="1166" y="2702"/>
                  </a:lnTo>
                  <a:lnTo>
                    <a:pt x="1166" y="2700"/>
                  </a:lnTo>
                  <a:lnTo>
                    <a:pt x="1166" y="2696"/>
                  </a:lnTo>
                  <a:lnTo>
                    <a:pt x="1168" y="2688"/>
                  </a:lnTo>
                  <a:lnTo>
                    <a:pt x="1168" y="2684"/>
                  </a:lnTo>
                  <a:lnTo>
                    <a:pt x="1168" y="2678"/>
                  </a:lnTo>
                  <a:lnTo>
                    <a:pt x="1166" y="2674"/>
                  </a:lnTo>
                  <a:lnTo>
                    <a:pt x="1162" y="2670"/>
                  </a:lnTo>
                  <a:lnTo>
                    <a:pt x="1152" y="2662"/>
                  </a:lnTo>
                  <a:lnTo>
                    <a:pt x="1142" y="2654"/>
                  </a:lnTo>
                  <a:lnTo>
                    <a:pt x="1126" y="2646"/>
                  </a:lnTo>
                  <a:lnTo>
                    <a:pt x="1120" y="2642"/>
                  </a:lnTo>
                  <a:lnTo>
                    <a:pt x="1114" y="2636"/>
                  </a:lnTo>
                  <a:lnTo>
                    <a:pt x="1110" y="2632"/>
                  </a:lnTo>
                  <a:lnTo>
                    <a:pt x="1102" y="2628"/>
                  </a:lnTo>
                  <a:lnTo>
                    <a:pt x="1082" y="2620"/>
                  </a:lnTo>
                  <a:lnTo>
                    <a:pt x="1074" y="2616"/>
                  </a:lnTo>
                  <a:lnTo>
                    <a:pt x="1068" y="2610"/>
                  </a:lnTo>
                  <a:lnTo>
                    <a:pt x="1066" y="2606"/>
                  </a:lnTo>
                  <a:lnTo>
                    <a:pt x="1066" y="2602"/>
                  </a:lnTo>
                  <a:lnTo>
                    <a:pt x="1070" y="2600"/>
                  </a:lnTo>
                  <a:lnTo>
                    <a:pt x="1074" y="2594"/>
                  </a:lnTo>
                  <a:lnTo>
                    <a:pt x="1076" y="2592"/>
                  </a:lnTo>
                  <a:lnTo>
                    <a:pt x="1074" y="2590"/>
                  </a:lnTo>
                  <a:lnTo>
                    <a:pt x="1068" y="2588"/>
                  </a:lnTo>
                  <a:lnTo>
                    <a:pt x="1060" y="2586"/>
                  </a:lnTo>
                  <a:lnTo>
                    <a:pt x="1036" y="2584"/>
                  </a:lnTo>
                  <a:lnTo>
                    <a:pt x="1026" y="2580"/>
                  </a:lnTo>
                  <a:lnTo>
                    <a:pt x="1016" y="2576"/>
                  </a:lnTo>
                  <a:lnTo>
                    <a:pt x="1002" y="2560"/>
                  </a:lnTo>
                  <a:lnTo>
                    <a:pt x="990" y="2544"/>
                  </a:lnTo>
                  <a:lnTo>
                    <a:pt x="984" y="2530"/>
                  </a:lnTo>
                  <a:lnTo>
                    <a:pt x="978" y="2518"/>
                  </a:lnTo>
                  <a:lnTo>
                    <a:pt x="974" y="2498"/>
                  </a:lnTo>
                  <a:lnTo>
                    <a:pt x="970" y="2492"/>
                  </a:lnTo>
                  <a:lnTo>
                    <a:pt x="966" y="2490"/>
                  </a:lnTo>
                  <a:lnTo>
                    <a:pt x="958" y="2488"/>
                  </a:lnTo>
                  <a:lnTo>
                    <a:pt x="950" y="2484"/>
                  </a:lnTo>
                  <a:lnTo>
                    <a:pt x="944" y="2476"/>
                  </a:lnTo>
                  <a:lnTo>
                    <a:pt x="934" y="2468"/>
                  </a:lnTo>
                  <a:lnTo>
                    <a:pt x="928" y="2462"/>
                  </a:lnTo>
                  <a:lnTo>
                    <a:pt x="922" y="2456"/>
                  </a:lnTo>
                  <a:lnTo>
                    <a:pt x="920" y="2448"/>
                  </a:lnTo>
                  <a:lnTo>
                    <a:pt x="918" y="2442"/>
                  </a:lnTo>
                  <a:lnTo>
                    <a:pt x="916" y="2434"/>
                  </a:lnTo>
                  <a:lnTo>
                    <a:pt x="918" y="2428"/>
                  </a:lnTo>
                  <a:lnTo>
                    <a:pt x="920" y="2424"/>
                  </a:lnTo>
                  <a:lnTo>
                    <a:pt x="922" y="2422"/>
                  </a:lnTo>
                  <a:lnTo>
                    <a:pt x="926" y="2420"/>
                  </a:lnTo>
                  <a:lnTo>
                    <a:pt x="928" y="2418"/>
                  </a:lnTo>
                  <a:lnTo>
                    <a:pt x="926" y="2414"/>
                  </a:lnTo>
                  <a:lnTo>
                    <a:pt x="918" y="2400"/>
                  </a:lnTo>
                  <a:lnTo>
                    <a:pt x="914" y="2394"/>
                  </a:lnTo>
                  <a:lnTo>
                    <a:pt x="916" y="2388"/>
                  </a:lnTo>
                  <a:lnTo>
                    <a:pt x="920" y="2384"/>
                  </a:lnTo>
                  <a:lnTo>
                    <a:pt x="924" y="2386"/>
                  </a:lnTo>
                  <a:lnTo>
                    <a:pt x="926" y="2388"/>
                  </a:lnTo>
                  <a:lnTo>
                    <a:pt x="930" y="2388"/>
                  </a:lnTo>
                  <a:lnTo>
                    <a:pt x="934" y="2384"/>
                  </a:lnTo>
                  <a:lnTo>
                    <a:pt x="940" y="2378"/>
                  </a:lnTo>
                  <a:lnTo>
                    <a:pt x="950" y="2372"/>
                  </a:lnTo>
                  <a:lnTo>
                    <a:pt x="956" y="2370"/>
                  </a:lnTo>
                  <a:lnTo>
                    <a:pt x="958" y="2372"/>
                  </a:lnTo>
                  <a:lnTo>
                    <a:pt x="960" y="2374"/>
                  </a:lnTo>
                  <a:lnTo>
                    <a:pt x="966" y="2374"/>
                  </a:lnTo>
                  <a:lnTo>
                    <a:pt x="972" y="2372"/>
                  </a:lnTo>
                  <a:lnTo>
                    <a:pt x="974" y="2374"/>
                  </a:lnTo>
                  <a:lnTo>
                    <a:pt x="974" y="2378"/>
                  </a:lnTo>
                  <a:lnTo>
                    <a:pt x="974" y="2380"/>
                  </a:lnTo>
                  <a:lnTo>
                    <a:pt x="972" y="2382"/>
                  </a:lnTo>
                  <a:lnTo>
                    <a:pt x="970" y="2382"/>
                  </a:lnTo>
                  <a:lnTo>
                    <a:pt x="968" y="2384"/>
                  </a:lnTo>
                  <a:lnTo>
                    <a:pt x="968" y="2386"/>
                  </a:lnTo>
                  <a:lnTo>
                    <a:pt x="970" y="2398"/>
                  </a:lnTo>
                  <a:lnTo>
                    <a:pt x="976" y="2414"/>
                  </a:lnTo>
                  <a:lnTo>
                    <a:pt x="982" y="2426"/>
                  </a:lnTo>
                  <a:lnTo>
                    <a:pt x="986" y="2428"/>
                  </a:lnTo>
                  <a:lnTo>
                    <a:pt x="988" y="2424"/>
                  </a:lnTo>
                  <a:lnTo>
                    <a:pt x="994" y="2402"/>
                  </a:lnTo>
                  <a:lnTo>
                    <a:pt x="996" y="2398"/>
                  </a:lnTo>
                  <a:lnTo>
                    <a:pt x="1000" y="2394"/>
                  </a:lnTo>
                  <a:lnTo>
                    <a:pt x="1004" y="2394"/>
                  </a:lnTo>
                  <a:lnTo>
                    <a:pt x="1008" y="2398"/>
                  </a:lnTo>
                  <a:lnTo>
                    <a:pt x="1016" y="2404"/>
                  </a:lnTo>
                  <a:lnTo>
                    <a:pt x="1020" y="2410"/>
                  </a:lnTo>
                  <a:lnTo>
                    <a:pt x="1022" y="2414"/>
                  </a:lnTo>
                  <a:lnTo>
                    <a:pt x="1022" y="2420"/>
                  </a:lnTo>
                  <a:lnTo>
                    <a:pt x="1024" y="2428"/>
                  </a:lnTo>
                  <a:lnTo>
                    <a:pt x="1026" y="2434"/>
                  </a:lnTo>
                  <a:lnTo>
                    <a:pt x="1030" y="2440"/>
                  </a:lnTo>
                  <a:lnTo>
                    <a:pt x="1034" y="2446"/>
                  </a:lnTo>
                  <a:lnTo>
                    <a:pt x="1036" y="2450"/>
                  </a:lnTo>
                  <a:lnTo>
                    <a:pt x="1036" y="2452"/>
                  </a:lnTo>
                  <a:lnTo>
                    <a:pt x="1034" y="2454"/>
                  </a:lnTo>
                  <a:lnTo>
                    <a:pt x="1034" y="2456"/>
                  </a:lnTo>
                  <a:lnTo>
                    <a:pt x="1034" y="2460"/>
                  </a:lnTo>
                  <a:lnTo>
                    <a:pt x="1038" y="2464"/>
                  </a:lnTo>
                  <a:lnTo>
                    <a:pt x="1046" y="2472"/>
                  </a:lnTo>
                  <a:lnTo>
                    <a:pt x="1056" y="2480"/>
                  </a:lnTo>
                  <a:lnTo>
                    <a:pt x="1062" y="2486"/>
                  </a:lnTo>
                  <a:lnTo>
                    <a:pt x="1066" y="2494"/>
                  </a:lnTo>
                  <a:lnTo>
                    <a:pt x="1066" y="2496"/>
                  </a:lnTo>
                  <a:lnTo>
                    <a:pt x="1068" y="2496"/>
                  </a:lnTo>
                  <a:lnTo>
                    <a:pt x="1076" y="2496"/>
                  </a:lnTo>
                  <a:lnTo>
                    <a:pt x="1084" y="2496"/>
                  </a:lnTo>
                  <a:lnTo>
                    <a:pt x="1090" y="2498"/>
                  </a:lnTo>
                  <a:lnTo>
                    <a:pt x="1102" y="2504"/>
                  </a:lnTo>
                  <a:lnTo>
                    <a:pt x="1114" y="2516"/>
                  </a:lnTo>
                  <a:lnTo>
                    <a:pt x="1128" y="2528"/>
                  </a:lnTo>
                  <a:lnTo>
                    <a:pt x="1114" y="2524"/>
                  </a:lnTo>
                  <a:lnTo>
                    <a:pt x="1110" y="2524"/>
                  </a:lnTo>
                  <a:lnTo>
                    <a:pt x="1110" y="2526"/>
                  </a:lnTo>
                  <a:lnTo>
                    <a:pt x="1116" y="2530"/>
                  </a:lnTo>
                  <a:lnTo>
                    <a:pt x="1134" y="2536"/>
                  </a:lnTo>
                  <a:lnTo>
                    <a:pt x="1144" y="2540"/>
                  </a:lnTo>
                  <a:lnTo>
                    <a:pt x="1152" y="2544"/>
                  </a:lnTo>
                  <a:lnTo>
                    <a:pt x="1160" y="2552"/>
                  </a:lnTo>
                  <a:lnTo>
                    <a:pt x="1162" y="2558"/>
                  </a:lnTo>
                  <a:lnTo>
                    <a:pt x="1164" y="2560"/>
                  </a:lnTo>
                  <a:lnTo>
                    <a:pt x="1166" y="2560"/>
                  </a:lnTo>
                  <a:lnTo>
                    <a:pt x="1174" y="2560"/>
                  </a:lnTo>
                  <a:lnTo>
                    <a:pt x="1176" y="2562"/>
                  </a:lnTo>
                  <a:lnTo>
                    <a:pt x="1184" y="2566"/>
                  </a:lnTo>
                  <a:lnTo>
                    <a:pt x="1188" y="2568"/>
                  </a:lnTo>
                  <a:lnTo>
                    <a:pt x="1190" y="2574"/>
                  </a:lnTo>
                  <a:lnTo>
                    <a:pt x="1190" y="2582"/>
                  </a:lnTo>
                  <a:lnTo>
                    <a:pt x="1192" y="2584"/>
                  </a:lnTo>
                  <a:lnTo>
                    <a:pt x="1196" y="2586"/>
                  </a:lnTo>
                  <a:lnTo>
                    <a:pt x="1204" y="2588"/>
                  </a:lnTo>
                  <a:lnTo>
                    <a:pt x="1208" y="2590"/>
                  </a:lnTo>
                  <a:lnTo>
                    <a:pt x="1208" y="2596"/>
                  </a:lnTo>
                  <a:lnTo>
                    <a:pt x="1208" y="2610"/>
                  </a:lnTo>
                  <a:lnTo>
                    <a:pt x="1206" y="2626"/>
                  </a:lnTo>
                  <a:lnTo>
                    <a:pt x="1206" y="2632"/>
                  </a:lnTo>
                  <a:lnTo>
                    <a:pt x="1206" y="2636"/>
                  </a:lnTo>
                  <a:lnTo>
                    <a:pt x="1206" y="2638"/>
                  </a:lnTo>
                  <a:lnTo>
                    <a:pt x="1206" y="2640"/>
                  </a:lnTo>
                  <a:lnTo>
                    <a:pt x="1204" y="2646"/>
                  </a:lnTo>
                  <a:lnTo>
                    <a:pt x="1200" y="2652"/>
                  </a:lnTo>
                  <a:lnTo>
                    <a:pt x="1200" y="2656"/>
                  </a:lnTo>
                  <a:lnTo>
                    <a:pt x="1202" y="2662"/>
                  </a:lnTo>
                  <a:lnTo>
                    <a:pt x="1202" y="2666"/>
                  </a:lnTo>
                  <a:lnTo>
                    <a:pt x="1202" y="2670"/>
                  </a:lnTo>
                  <a:lnTo>
                    <a:pt x="1202" y="2672"/>
                  </a:lnTo>
                  <a:lnTo>
                    <a:pt x="1200" y="2674"/>
                  </a:lnTo>
                  <a:lnTo>
                    <a:pt x="1202" y="2674"/>
                  </a:lnTo>
                  <a:lnTo>
                    <a:pt x="1208" y="2680"/>
                  </a:lnTo>
                  <a:lnTo>
                    <a:pt x="1216" y="2686"/>
                  </a:lnTo>
                  <a:lnTo>
                    <a:pt x="1222" y="2690"/>
                  </a:lnTo>
                  <a:lnTo>
                    <a:pt x="1224" y="2696"/>
                  </a:lnTo>
                  <a:lnTo>
                    <a:pt x="1224" y="2700"/>
                  </a:lnTo>
                  <a:lnTo>
                    <a:pt x="1226" y="2706"/>
                  </a:lnTo>
                  <a:lnTo>
                    <a:pt x="1228" y="2708"/>
                  </a:lnTo>
                  <a:lnTo>
                    <a:pt x="1230" y="2710"/>
                  </a:lnTo>
                  <a:lnTo>
                    <a:pt x="1240" y="2726"/>
                  </a:lnTo>
                  <a:lnTo>
                    <a:pt x="1246" y="2736"/>
                  </a:lnTo>
                  <a:lnTo>
                    <a:pt x="1250" y="2740"/>
                  </a:lnTo>
                  <a:lnTo>
                    <a:pt x="1254" y="2744"/>
                  </a:lnTo>
                  <a:lnTo>
                    <a:pt x="1258" y="2748"/>
                  </a:lnTo>
                  <a:lnTo>
                    <a:pt x="1260" y="2748"/>
                  </a:lnTo>
                  <a:lnTo>
                    <a:pt x="1260" y="2746"/>
                  </a:lnTo>
                  <a:lnTo>
                    <a:pt x="1262" y="2746"/>
                  </a:lnTo>
                  <a:lnTo>
                    <a:pt x="1266" y="2746"/>
                  </a:lnTo>
                  <a:lnTo>
                    <a:pt x="1272" y="2750"/>
                  </a:lnTo>
                  <a:lnTo>
                    <a:pt x="1274" y="2752"/>
                  </a:lnTo>
                  <a:lnTo>
                    <a:pt x="1266" y="2754"/>
                  </a:lnTo>
                  <a:lnTo>
                    <a:pt x="1258" y="2754"/>
                  </a:lnTo>
                  <a:lnTo>
                    <a:pt x="1258" y="2758"/>
                  </a:lnTo>
                  <a:lnTo>
                    <a:pt x="1260" y="2762"/>
                  </a:lnTo>
                  <a:lnTo>
                    <a:pt x="1268" y="2772"/>
                  </a:lnTo>
                  <a:lnTo>
                    <a:pt x="1272" y="2780"/>
                  </a:lnTo>
                  <a:lnTo>
                    <a:pt x="1274" y="2786"/>
                  </a:lnTo>
                  <a:lnTo>
                    <a:pt x="1276" y="2786"/>
                  </a:lnTo>
                  <a:lnTo>
                    <a:pt x="1280" y="2784"/>
                  </a:lnTo>
                  <a:lnTo>
                    <a:pt x="1284" y="2780"/>
                  </a:lnTo>
                  <a:lnTo>
                    <a:pt x="1286" y="2782"/>
                  </a:lnTo>
                  <a:lnTo>
                    <a:pt x="1290" y="2782"/>
                  </a:lnTo>
                  <a:lnTo>
                    <a:pt x="1300" y="2782"/>
                  </a:lnTo>
                  <a:lnTo>
                    <a:pt x="1312" y="2780"/>
                  </a:lnTo>
                  <a:lnTo>
                    <a:pt x="1316" y="2782"/>
                  </a:lnTo>
                  <a:lnTo>
                    <a:pt x="1318" y="2784"/>
                  </a:lnTo>
                  <a:lnTo>
                    <a:pt x="1324" y="2784"/>
                  </a:lnTo>
                  <a:lnTo>
                    <a:pt x="1330" y="2782"/>
                  </a:lnTo>
                  <a:lnTo>
                    <a:pt x="1336" y="2786"/>
                  </a:lnTo>
                  <a:lnTo>
                    <a:pt x="1342" y="2790"/>
                  </a:lnTo>
                  <a:lnTo>
                    <a:pt x="1348" y="2790"/>
                  </a:lnTo>
                  <a:lnTo>
                    <a:pt x="1354" y="2790"/>
                  </a:lnTo>
                  <a:lnTo>
                    <a:pt x="1358" y="2792"/>
                  </a:lnTo>
                  <a:lnTo>
                    <a:pt x="1358" y="2794"/>
                  </a:lnTo>
                  <a:lnTo>
                    <a:pt x="1358" y="2796"/>
                  </a:lnTo>
                  <a:lnTo>
                    <a:pt x="1350" y="2800"/>
                  </a:lnTo>
                  <a:lnTo>
                    <a:pt x="1342" y="2802"/>
                  </a:lnTo>
                  <a:lnTo>
                    <a:pt x="1336" y="2800"/>
                  </a:lnTo>
                  <a:lnTo>
                    <a:pt x="1322" y="2792"/>
                  </a:lnTo>
                  <a:lnTo>
                    <a:pt x="1312" y="2788"/>
                  </a:lnTo>
                  <a:lnTo>
                    <a:pt x="1306" y="2786"/>
                  </a:lnTo>
                  <a:lnTo>
                    <a:pt x="1302" y="2786"/>
                  </a:lnTo>
                  <a:lnTo>
                    <a:pt x="1298" y="2792"/>
                  </a:lnTo>
                  <a:lnTo>
                    <a:pt x="1296" y="2794"/>
                  </a:lnTo>
                  <a:lnTo>
                    <a:pt x="1292" y="2794"/>
                  </a:lnTo>
                  <a:lnTo>
                    <a:pt x="1288" y="2792"/>
                  </a:lnTo>
                  <a:lnTo>
                    <a:pt x="1282" y="2792"/>
                  </a:lnTo>
                  <a:lnTo>
                    <a:pt x="1282" y="2794"/>
                  </a:lnTo>
                  <a:lnTo>
                    <a:pt x="1280" y="2798"/>
                  </a:lnTo>
                  <a:lnTo>
                    <a:pt x="1280" y="2802"/>
                  </a:lnTo>
                  <a:lnTo>
                    <a:pt x="1278" y="2804"/>
                  </a:lnTo>
                  <a:lnTo>
                    <a:pt x="1274" y="2808"/>
                  </a:lnTo>
                  <a:lnTo>
                    <a:pt x="1272" y="2808"/>
                  </a:lnTo>
                  <a:lnTo>
                    <a:pt x="1276" y="2812"/>
                  </a:lnTo>
                  <a:lnTo>
                    <a:pt x="1280" y="2816"/>
                  </a:lnTo>
                  <a:lnTo>
                    <a:pt x="1280" y="2820"/>
                  </a:lnTo>
                  <a:lnTo>
                    <a:pt x="1280" y="2824"/>
                  </a:lnTo>
                  <a:lnTo>
                    <a:pt x="1286" y="2824"/>
                  </a:lnTo>
                  <a:lnTo>
                    <a:pt x="1288" y="2824"/>
                  </a:lnTo>
                  <a:lnTo>
                    <a:pt x="1292" y="2826"/>
                  </a:lnTo>
                  <a:lnTo>
                    <a:pt x="1294" y="2832"/>
                  </a:lnTo>
                  <a:lnTo>
                    <a:pt x="1294" y="2838"/>
                  </a:lnTo>
                  <a:lnTo>
                    <a:pt x="1292" y="2844"/>
                  </a:lnTo>
                  <a:lnTo>
                    <a:pt x="1292" y="2848"/>
                  </a:lnTo>
                  <a:lnTo>
                    <a:pt x="1292" y="2854"/>
                  </a:lnTo>
                  <a:lnTo>
                    <a:pt x="1298" y="2864"/>
                  </a:lnTo>
                  <a:lnTo>
                    <a:pt x="1300" y="2866"/>
                  </a:lnTo>
                  <a:lnTo>
                    <a:pt x="1304" y="2868"/>
                  </a:lnTo>
                  <a:lnTo>
                    <a:pt x="1306" y="2866"/>
                  </a:lnTo>
                  <a:lnTo>
                    <a:pt x="1308" y="2862"/>
                  </a:lnTo>
                  <a:lnTo>
                    <a:pt x="1308" y="2856"/>
                  </a:lnTo>
                  <a:lnTo>
                    <a:pt x="1310" y="2854"/>
                  </a:lnTo>
                  <a:lnTo>
                    <a:pt x="1314" y="2854"/>
                  </a:lnTo>
                  <a:lnTo>
                    <a:pt x="1316" y="2856"/>
                  </a:lnTo>
                  <a:lnTo>
                    <a:pt x="1320" y="2866"/>
                  </a:lnTo>
                  <a:lnTo>
                    <a:pt x="1322" y="2880"/>
                  </a:lnTo>
                  <a:lnTo>
                    <a:pt x="1324" y="2888"/>
                  </a:lnTo>
                  <a:lnTo>
                    <a:pt x="1326" y="2888"/>
                  </a:lnTo>
                  <a:lnTo>
                    <a:pt x="1328" y="2888"/>
                  </a:lnTo>
                  <a:lnTo>
                    <a:pt x="1330" y="2882"/>
                  </a:lnTo>
                  <a:lnTo>
                    <a:pt x="1332" y="2874"/>
                  </a:lnTo>
                  <a:lnTo>
                    <a:pt x="1334" y="2866"/>
                  </a:lnTo>
                  <a:lnTo>
                    <a:pt x="1336" y="2866"/>
                  </a:lnTo>
                  <a:lnTo>
                    <a:pt x="1338" y="2868"/>
                  </a:lnTo>
                  <a:lnTo>
                    <a:pt x="1342" y="2872"/>
                  </a:lnTo>
                  <a:lnTo>
                    <a:pt x="1348" y="2882"/>
                  </a:lnTo>
                  <a:lnTo>
                    <a:pt x="1350" y="2886"/>
                  </a:lnTo>
                  <a:lnTo>
                    <a:pt x="1354" y="2888"/>
                  </a:lnTo>
                  <a:lnTo>
                    <a:pt x="1356" y="2886"/>
                  </a:lnTo>
                  <a:lnTo>
                    <a:pt x="1356" y="2884"/>
                  </a:lnTo>
                  <a:lnTo>
                    <a:pt x="1356" y="2876"/>
                  </a:lnTo>
                  <a:lnTo>
                    <a:pt x="1348" y="2854"/>
                  </a:lnTo>
                  <a:lnTo>
                    <a:pt x="1340" y="2834"/>
                  </a:lnTo>
                  <a:lnTo>
                    <a:pt x="1338" y="2828"/>
                  </a:lnTo>
                  <a:lnTo>
                    <a:pt x="1338" y="2826"/>
                  </a:lnTo>
                  <a:lnTo>
                    <a:pt x="1340" y="2824"/>
                  </a:lnTo>
                  <a:lnTo>
                    <a:pt x="1346" y="2826"/>
                  </a:lnTo>
                  <a:lnTo>
                    <a:pt x="1350" y="2828"/>
                  </a:lnTo>
                  <a:lnTo>
                    <a:pt x="1352" y="2832"/>
                  </a:lnTo>
                  <a:lnTo>
                    <a:pt x="1354" y="2838"/>
                  </a:lnTo>
                  <a:lnTo>
                    <a:pt x="1356" y="2840"/>
                  </a:lnTo>
                  <a:lnTo>
                    <a:pt x="1358" y="2840"/>
                  </a:lnTo>
                  <a:lnTo>
                    <a:pt x="1368" y="2836"/>
                  </a:lnTo>
                  <a:lnTo>
                    <a:pt x="1370" y="2834"/>
                  </a:lnTo>
                  <a:lnTo>
                    <a:pt x="1372" y="2832"/>
                  </a:lnTo>
                  <a:lnTo>
                    <a:pt x="1370" y="2828"/>
                  </a:lnTo>
                  <a:lnTo>
                    <a:pt x="1366" y="2824"/>
                  </a:lnTo>
                  <a:lnTo>
                    <a:pt x="1360" y="2822"/>
                  </a:lnTo>
                  <a:lnTo>
                    <a:pt x="1356" y="2822"/>
                  </a:lnTo>
                  <a:lnTo>
                    <a:pt x="1356" y="2820"/>
                  </a:lnTo>
                  <a:lnTo>
                    <a:pt x="1356" y="2816"/>
                  </a:lnTo>
                  <a:lnTo>
                    <a:pt x="1354" y="2812"/>
                  </a:lnTo>
                  <a:lnTo>
                    <a:pt x="1352" y="2810"/>
                  </a:lnTo>
                  <a:lnTo>
                    <a:pt x="1354" y="2808"/>
                  </a:lnTo>
                  <a:lnTo>
                    <a:pt x="1360" y="2802"/>
                  </a:lnTo>
                  <a:lnTo>
                    <a:pt x="1368" y="2800"/>
                  </a:lnTo>
                  <a:lnTo>
                    <a:pt x="1370" y="2800"/>
                  </a:lnTo>
                  <a:lnTo>
                    <a:pt x="1374" y="2802"/>
                  </a:lnTo>
                  <a:lnTo>
                    <a:pt x="1382" y="2816"/>
                  </a:lnTo>
                  <a:lnTo>
                    <a:pt x="1388" y="2820"/>
                  </a:lnTo>
                  <a:lnTo>
                    <a:pt x="1390" y="2820"/>
                  </a:lnTo>
                  <a:lnTo>
                    <a:pt x="1392" y="2820"/>
                  </a:lnTo>
                  <a:lnTo>
                    <a:pt x="1394" y="2818"/>
                  </a:lnTo>
                  <a:lnTo>
                    <a:pt x="1394" y="2816"/>
                  </a:lnTo>
                  <a:lnTo>
                    <a:pt x="1394" y="2810"/>
                  </a:lnTo>
                  <a:lnTo>
                    <a:pt x="1392" y="2804"/>
                  </a:lnTo>
                  <a:lnTo>
                    <a:pt x="1392" y="2796"/>
                  </a:lnTo>
                  <a:lnTo>
                    <a:pt x="1392" y="2794"/>
                  </a:lnTo>
                  <a:lnTo>
                    <a:pt x="1390" y="2790"/>
                  </a:lnTo>
                  <a:lnTo>
                    <a:pt x="1386" y="2788"/>
                  </a:lnTo>
                  <a:lnTo>
                    <a:pt x="1378" y="2784"/>
                  </a:lnTo>
                  <a:lnTo>
                    <a:pt x="1376" y="2782"/>
                  </a:lnTo>
                  <a:lnTo>
                    <a:pt x="1374" y="2780"/>
                  </a:lnTo>
                  <a:lnTo>
                    <a:pt x="1370" y="2774"/>
                  </a:lnTo>
                  <a:lnTo>
                    <a:pt x="1366" y="2774"/>
                  </a:lnTo>
                  <a:lnTo>
                    <a:pt x="1364" y="2772"/>
                  </a:lnTo>
                  <a:lnTo>
                    <a:pt x="1360" y="2768"/>
                  </a:lnTo>
                  <a:lnTo>
                    <a:pt x="1358" y="2764"/>
                  </a:lnTo>
                  <a:lnTo>
                    <a:pt x="1352" y="2762"/>
                  </a:lnTo>
                  <a:lnTo>
                    <a:pt x="1340" y="2758"/>
                  </a:lnTo>
                  <a:lnTo>
                    <a:pt x="1332" y="2754"/>
                  </a:lnTo>
                  <a:lnTo>
                    <a:pt x="1332" y="2752"/>
                  </a:lnTo>
                  <a:lnTo>
                    <a:pt x="1338" y="2752"/>
                  </a:lnTo>
                  <a:lnTo>
                    <a:pt x="1346" y="2750"/>
                  </a:lnTo>
                  <a:lnTo>
                    <a:pt x="1348" y="2746"/>
                  </a:lnTo>
                  <a:lnTo>
                    <a:pt x="1348" y="2744"/>
                  </a:lnTo>
                  <a:lnTo>
                    <a:pt x="1346" y="2740"/>
                  </a:lnTo>
                  <a:lnTo>
                    <a:pt x="1344" y="2732"/>
                  </a:lnTo>
                  <a:lnTo>
                    <a:pt x="1344" y="2730"/>
                  </a:lnTo>
                  <a:lnTo>
                    <a:pt x="1348" y="2730"/>
                  </a:lnTo>
                  <a:lnTo>
                    <a:pt x="1352" y="2730"/>
                  </a:lnTo>
                  <a:lnTo>
                    <a:pt x="1354" y="2732"/>
                  </a:lnTo>
                  <a:lnTo>
                    <a:pt x="1354" y="2738"/>
                  </a:lnTo>
                  <a:lnTo>
                    <a:pt x="1354" y="2742"/>
                  </a:lnTo>
                  <a:lnTo>
                    <a:pt x="1356" y="2742"/>
                  </a:lnTo>
                  <a:lnTo>
                    <a:pt x="1358" y="2742"/>
                  </a:lnTo>
                  <a:lnTo>
                    <a:pt x="1360" y="2738"/>
                  </a:lnTo>
                  <a:lnTo>
                    <a:pt x="1360" y="2736"/>
                  </a:lnTo>
                  <a:lnTo>
                    <a:pt x="1360" y="2728"/>
                  </a:lnTo>
                  <a:lnTo>
                    <a:pt x="1354" y="2720"/>
                  </a:lnTo>
                  <a:lnTo>
                    <a:pt x="1348" y="2710"/>
                  </a:lnTo>
                  <a:lnTo>
                    <a:pt x="1340" y="2702"/>
                  </a:lnTo>
                  <a:lnTo>
                    <a:pt x="1334" y="2692"/>
                  </a:lnTo>
                  <a:lnTo>
                    <a:pt x="1330" y="2682"/>
                  </a:lnTo>
                  <a:lnTo>
                    <a:pt x="1330" y="2678"/>
                  </a:lnTo>
                  <a:lnTo>
                    <a:pt x="1332" y="2674"/>
                  </a:lnTo>
                  <a:lnTo>
                    <a:pt x="1336" y="2666"/>
                  </a:lnTo>
                  <a:lnTo>
                    <a:pt x="1340" y="2660"/>
                  </a:lnTo>
                  <a:lnTo>
                    <a:pt x="1344" y="2660"/>
                  </a:lnTo>
                  <a:lnTo>
                    <a:pt x="1346" y="2660"/>
                  </a:lnTo>
                  <a:lnTo>
                    <a:pt x="1346" y="2662"/>
                  </a:lnTo>
                  <a:lnTo>
                    <a:pt x="1346" y="2668"/>
                  </a:lnTo>
                  <a:lnTo>
                    <a:pt x="1346" y="2670"/>
                  </a:lnTo>
                  <a:lnTo>
                    <a:pt x="1346" y="2672"/>
                  </a:lnTo>
                  <a:lnTo>
                    <a:pt x="1352" y="2674"/>
                  </a:lnTo>
                  <a:lnTo>
                    <a:pt x="1358" y="2676"/>
                  </a:lnTo>
                  <a:lnTo>
                    <a:pt x="1360" y="2680"/>
                  </a:lnTo>
                  <a:lnTo>
                    <a:pt x="1362" y="2686"/>
                  </a:lnTo>
                  <a:lnTo>
                    <a:pt x="1362" y="2690"/>
                  </a:lnTo>
                  <a:lnTo>
                    <a:pt x="1366" y="2694"/>
                  </a:lnTo>
                  <a:lnTo>
                    <a:pt x="1372" y="2696"/>
                  </a:lnTo>
                  <a:lnTo>
                    <a:pt x="1374" y="2696"/>
                  </a:lnTo>
                  <a:lnTo>
                    <a:pt x="1376" y="2696"/>
                  </a:lnTo>
                  <a:lnTo>
                    <a:pt x="1376" y="2694"/>
                  </a:lnTo>
                  <a:lnTo>
                    <a:pt x="1374" y="2690"/>
                  </a:lnTo>
                  <a:lnTo>
                    <a:pt x="1368" y="2684"/>
                  </a:lnTo>
                  <a:lnTo>
                    <a:pt x="1368" y="2678"/>
                  </a:lnTo>
                  <a:lnTo>
                    <a:pt x="1370" y="2678"/>
                  </a:lnTo>
                  <a:lnTo>
                    <a:pt x="1378" y="2684"/>
                  </a:lnTo>
                  <a:lnTo>
                    <a:pt x="1386" y="2692"/>
                  </a:lnTo>
                  <a:lnTo>
                    <a:pt x="1390" y="2694"/>
                  </a:lnTo>
                  <a:lnTo>
                    <a:pt x="1392" y="2694"/>
                  </a:lnTo>
                  <a:lnTo>
                    <a:pt x="1390" y="2692"/>
                  </a:lnTo>
                  <a:lnTo>
                    <a:pt x="1386" y="2684"/>
                  </a:lnTo>
                  <a:lnTo>
                    <a:pt x="1380" y="2676"/>
                  </a:lnTo>
                  <a:lnTo>
                    <a:pt x="1380" y="2674"/>
                  </a:lnTo>
                  <a:lnTo>
                    <a:pt x="1382" y="2674"/>
                  </a:lnTo>
                  <a:lnTo>
                    <a:pt x="1394" y="2680"/>
                  </a:lnTo>
                  <a:lnTo>
                    <a:pt x="1402" y="2684"/>
                  </a:lnTo>
                  <a:lnTo>
                    <a:pt x="1406" y="2684"/>
                  </a:lnTo>
                  <a:lnTo>
                    <a:pt x="1404" y="2682"/>
                  </a:lnTo>
                  <a:lnTo>
                    <a:pt x="1400" y="2676"/>
                  </a:lnTo>
                  <a:lnTo>
                    <a:pt x="1392" y="2670"/>
                  </a:lnTo>
                  <a:lnTo>
                    <a:pt x="1386" y="2668"/>
                  </a:lnTo>
                  <a:lnTo>
                    <a:pt x="1384" y="2668"/>
                  </a:lnTo>
                  <a:lnTo>
                    <a:pt x="1384" y="2664"/>
                  </a:lnTo>
                  <a:lnTo>
                    <a:pt x="1384" y="2662"/>
                  </a:lnTo>
                  <a:lnTo>
                    <a:pt x="1384" y="2660"/>
                  </a:lnTo>
                  <a:lnTo>
                    <a:pt x="1380" y="2656"/>
                  </a:lnTo>
                  <a:lnTo>
                    <a:pt x="1380" y="2654"/>
                  </a:lnTo>
                  <a:lnTo>
                    <a:pt x="1388" y="2652"/>
                  </a:lnTo>
                  <a:lnTo>
                    <a:pt x="1392" y="2652"/>
                  </a:lnTo>
                  <a:lnTo>
                    <a:pt x="1398" y="2650"/>
                  </a:lnTo>
                  <a:lnTo>
                    <a:pt x="1404" y="2644"/>
                  </a:lnTo>
                  <a:lnTo>
                    <a:pt x="1408" y="2642"/>
                  </a:lnTo>
                  <a:lnTo>
                    <a:pt x="1412" y="2640"/>
                  </a:lnTo>
                  <a:lnTo>
                    <a:pt x="1418" y="2642"/>
                  </a:lnTo>
                  <a:lnTo>
                    <a:pt x="1422" y="2644"/>
                  </a:lnTo>
                  <a:lnTo>
                    <a:pt x="1426" y="2644"/>
                  </a:lnTo>
                  <a:lnTo>
                    <a:pt x="1430" y="2640"/>
                  </a:lnTo>
                  <a:lnTo>
                    <a:pt x="1436" y="2638"/>
                  </a:lnTo>
                  <a:lnTo>
                    <a:pt x="1438" y="2638"/>
                  </a:lnTo>
                  <a:lnTo>
                    <a:pt x="1444" y="2640"/>
                  </a:lnTo>
                  <a:lnTo>
                    <a:pt x="1450" y="2644"/>
                  </a:lnTo>
                  <a:lnTo>
                    <a:pt x="1454" y="2644"/>
                  </a:lnTo>
                  <a:lnTo>
                    <a:pt x="1464" y="2644"/>
                  </a:lnTo>
                  <a:lnTo>
                    <a:pt x="1470" y="2644"/>
                  </a:lnTo>
                  <a:lnTo>
                    <a:pt x="1472" y="2646"/>
                  </a:lnTo>
                  <a:lnTo>
                    <a:pt x="1472" y="2650"/>
                  </a:lnTo>
                  <a:lnTo>
                    <a:pt x="1474" y="2656"/>
                  </a:lnTo>
                  <a:lnTo>
                    <a:pt x="1480" y="2660"/>
                  </a:lnTo>
                  <a:lnTo>
                    <a:pt x="1486" y="2660"/>
                  </a:lnTo>
                  <a:lnTo>
                    <a:pt x="1492" y="2658"/>
                  </a:lnTo>
                  <a:lnTo>
                    <a:pt x="1504" y="2656"/>
                  </a:lnTo>
                  <a:lnTo>
                    <a:pt x="1504" y="2658"/>
                  </a:lnTo>
                  <a:lnTo>
                    <a:pt x="1502" y="2660"/>
                  </a:lnTo>
                  <a:lnTo>
                    <a:pt x="1484" y="2668"/>
                  </a:lnTo>
                  <a:lnTo>
                    <a:pt x="1480" y="2672"/>
                  </a:lnTo>
                  <a:lnTo>
                    <a:pt x="1478" y="2680"/>
                  </a:lnTo>
                  <a:lnTo>
                    <a:pt x="1480" y="2684"/>
                  </a:lnTo>
                  <a:lnTo>
                    <a:pt x="1482" y="2682"/>
                  </a:lnTo>
                  <a:lnTo>
                    <a:pt x="1494" y="2670"/>
                  </a:lnTo>
                  <a:lnTo>
                    <a:pt x="1506" y="2662"/>
                  </a:lnTo>
                  <a:lnTo>
                    <a:pt x="1514" y="2658"/>
                  </a:lnTo>
                  <a:lnTo>
                    <a:pt x="1522" y="2654"/>
                  </a:lnTo>
                  <a:lnTo>
                    <a:pt x="1528" y="2646"/>
                  </a:lnTo>
                  <a:lnTo>
                    <a:pt x="1532" y="2638"/>
                  </a:lnTo>
                  <a:lnTo>
                    <a:pt x="1536" y="2636"/>
                  </a:lnTo>
                  <a:lnTo>
                    <a:pt x="1538" y="2634"/>
                  </a:lnTo>
                  <a:lnTo>
                    <a:pt x="1540" y="2636"/>
                  </a:lnTo>
                  <a:lnTo>
                    <a:pt x="1544" y="2640"/>
                  </a:lnTo>
                  <a:lnTo>
                    <a:pt x="1548" y="2640"/>
                  </a:lnTo>
                  <a:lnTo>
                    <a:pt x="1552" y="2638"/>
                  </a:lnTo>
                  <a:lnTo>
                    <a:pt x="1556" y="2634"/>
                  </a:lnTo>
                  <a:lnTo>
                    <a:pt x="1562" y="2634"/>
                  </a:lnTo>
                  <a:lnTo>
                    <a:pt x="1572" y="2638"/>
                  </a:lnTo>
                  <a:lnTo>
                    <a:pt x="1580" y="2638"/>
                  </a:lnTo>
                  <a:lnTo>
                    <a:pt x="1586" y="2638"/>
                  </a:lnTo>
                  <a:lnTo>
                    <a:pt x="1590" y="2634"/>
                  </a:lnTo>
                  <a:lnTo>
                    <a:pt x="1594" y="2626"/>
                  </a:lnTo>
                  <a:lnTo>
                    <a:pt x="1594" y="2624"/>
                  </a:lnTo>
                  <a:lnTo>
                    <a:pt x="1592" y="2624"/>
                  </a:lnTo>
                  <a:lnTo>
                    <a:pt x="1584" y="2622"/>
                  </a:lnTo>
                  <a:lnTo>
                    <a:pt x="1572" y="2616"/>
                  </a:lnTo>
                  <a:lnTo>
                    <a:pt x="1560" y="2608"/>
                  </a:lnTo>
                  <a:lnTo>
                    <a:pt x="1554" y="2600"/>
                  </a:lnTo>
                  <a:lnTo>
                    <a:pt x="1552" y="2592"/>
                  </a:lnTo>
                  <a:lnTo>
                    <a:pt x="1552" y="2582"/>
                  </a:lnTo>
                  <a:lnTo>
                    <a:pt x="1552" y="2578"/>
                  </a:lnTo>
                  <a:lnTo>
                    <a:pt x="1550" y="2576"/>
                  </a:lnTo>
                  <a:lnTo>
                    <a:pt x="1546" y="2572"/>
                  </a:lnTo>
                  <a:lnTo>
                    <a:pt x="1542" y="2570"/>
                  </a:lnTo>
                  <a:lnTo>
                    <a:pt x="1540" y="2568"/>
                  </a:lnTo>
                  <a:lnTo>
                    <a:pt x="1540" y="2564"/>
                  </a:lnTo>
                  <a:lnTo>
                    <a:pt x="1540" y="2560"/>
                  </a:lnTo>
                  <a:lnTo>
                    <a:pt x="1538" y="2558"/>
                  </a:lnTo>
                  <a:lnTo>
                    <a:pt x="1530" y="2556"/>
                  </a:lnTo>
                  <a:lnTo>
                    <a:pt x="1528" y="2556"/>
                  </a:lnTo>
                  <a:lnTo>
                    <a:pt x="1528" y="2554"/>
                  </a:lnTo>
                  <a:lnTo>
                    <a:pt x="1536" y="2546"/>
                  </a:lnTo>
                  <a:lnTo>
                    <a:pt x="1542" y="2542"/>
                  </a:lnTo>
                  <a:lnTo>
                    <a:pt x="1546" y="2538"/>
                  </a:lnTo>
                  <a:lnTo>
                    <a:pt x="1546" y="2534"/>
                  </a:lnTo>
                  <a:lnTo>
                    <a:pt x="1546" y="2530"/>
                  </a:lnTo>
                  <a:lnTo>
                    <a:pt x="1546" y="2522"/>
                  </a:lnTo>
                  <a:lnTo>
                    <a:pt x="1546" y="2516"/>
                  </a:lnTo>
                  <a:lnTo>
                    <a:pt x="1550" y="2510"/>
                  </a:lnTo>
                  <a:lnTo>
                    <a:pt x="1554" y="2504"/>
                  </a:lnTo>
                  <a:lnTo>
                    <a:pt x="1560" y="2502"/>
                  </a:lnTo>
                  <a:lnTo>
                    <a:pt x="1566" y="2504"/>
                  </a:lnTo>
                  <a:lnTo>
                    <a:pt x="1570" y="2504"/>
                  </a:lnTo>
                  <a:lnTo>
                    <a:pt x="1572" y="2502"/>
                  </a:lnTo>
                  <a:lnTo>
                    <a:pt x="1574" y="2496"/>
                  </a:lnTo>
                  <a:lnTo>
                    <a:pt x="1574" y="2484"/>
                  </a:lnTo>
                  <a:lnTo>
                    <a:pt x="1578" y="2458"/>
                  </a:lnTo>
                  <a:lnTo>
                    <a:pt x="1580" y="2448"/>
                  </a:lnTo>
                  <a:lnTo>
                    <a:pt x="1584" y="2440"/>
                  </a:lnTo>
                  <a:lnTo>
                    <a:pt x="1588" y="2434"/>
                  </a:lnTo>
                  <a:lnTo>
                    <a:pt x="1594" y="2428"/>
                  </a:lnTo>
                  <a:lnTo>
                    <a:pt x="1600" y="2426"/>
                  </a:lnTo>
                  <a:lnTo>
                    <a:pt x="1608" y="2422"/>
                  </a:lnTo>
                  <a:lnTo>
                    <a:pt x="1614" y="2418"/>
                  </a:lnTo>
                  <a:lnTo>
                    <a:pt x="1618" y="2414"/>
                  </a:lnTo>
                  <a:lnTo>
                    <a:pt x="1620" y="2406"/>
                  </a:lnTo>
                  <a:lnTo>
                    <a:pt x="1620" y="2398"/>
                  </a:lnTo>
                  <a:lnTo>
                    <a:pt x="1620" y="2390"/>
                  </a:lnTo>
                  <a:lnTo>
                    <a:pt x="1620" y="2386"/>
                  </a:lnTo>
                  <a:lnTo>
                    <a:pt x="1618" y="2384"/>
                  </a:lnTo>
                  <a:lnTo>
                    <a:pt x="1616" y="2378"/>
                  </a:lnTo>
                  <a:lnTo>
                    <a:pt x="1616" y="2372"/>
                  </a:lnTo>
                  <a:lnTo>
                    <a:pt x="1620" y="2372"/>
                  </a:lnTo>
                  <a:lnTo>
                    <a:pt x="1626" y="2372"/>
                  </a:lnTo>
                  <a:lnTo>
                    <a:pt x="1630" y="2370"/>
                  </a:lnTo>
                  <a:lnTo>
                    <a:pt x="1636" y="2366"/>
                  </a:lnTo>
                  <a:lnTo>
                    <a:pt x="1646" y="2358"/>
                  </a:lnTo>
                  <a:lnTo>
                    <a:pt x="1654" y="2348"/>
                  </a:lnTo>
                  <a:lnTo>
                    <a:pt x="1660" y="2340"/>
                  </a:lnTo>
                  <a:lnTo>
                    <a:pt x="1662" y="2330"/>
                  </a:lnTo>
                  <a:lnTo>
                    <a:pt x="1662" y="2326"/>
                  </a:lnTo>
                  <a:lnTo>
                    <a:pt x="1664" y="2324"/>
                  </a:lnTo>
                  <a:lnTo>
                    <a:pt x="1668" y="2322"/>
                  </a:lnTo>
                  <a:lnTo>
                    <a:pt x="1672" y="2320"/>
                  </a:lnTo>
                  <a:lnTo>
                    <a:pt x="1682" y="2320"/>
                  </a:lnTo>
                  <a:lnTo>
                    <a:pt x="1690" y="2318"/>
                  </a:lnTo>
                  <a:lnTo>
                    <a:pt x="1698" y="2318"/>
                  </a:lnTo>
                  <a:lnTo>
                    <a:pt x="1702" y="2318"/>
                  </a:lnTo>
                  <a:lnTo>
                    <a:pt x="1704" y="2318"/>
                  </a:lnTo>
                  <a:lnTo>
                    <a:pt x="1706" y="2312"/>
                  </a:lnTo>
                  <a:lnTo>
                    <a:pt x="1708" y="2296"/>
                  </a:lnTo>
                  <a:lnTo>
                    <a:pt x="1708" y="2294"/>
                  </a:lnTo>
                  <a:lnTo>
                    <a:pt x="1710" y="2298"/>
                  </a:lnTo>
                  <a:lnTo>
                    <a:pt x="1712" y="2308"/>
                  </a:lnTo>
                  <a:lnTo>
                    <a:pt x="1712" y="2316"/>
                  </a:lnTo>
                  <a:lnTo>
                    <a:pt x="1714" y="2320"/>
                  </a:lnTo>
                  <a:lnTo>
                    <a:pt x="1718" y="2322"/>
                  </a:lnTo>
                  <a:lnTo>
                    <a:pt x="1724" y="2322"/>
                  </a:lnTo>
                  <a:lnTo>
                    <a:pt x="1732" y="2322"/>
                  </a:lnTo>
                  <a:lnTo>
                    <a:pt x="1726" y="2324"/>
                  </a:lnTo>
                  <a:lnTo>
                    <a:pt x="1720" y="2326"/>
                  </a:lnTo>
                  <a:lnTo>
                    <a:pt x="1708" y="2324"/>
                  </a:lnTo>
                  <a:lnTo>
                    <a:pt x="1700" y="2322"/>
                  </a:lnTo>
                  <a:lnTo>
                    <a:pt x="1696" y="2322"/>
                  </a:lnTo>
                  <a:lnTo>
                    <a:pt x="1696" y="2324"/>
                  </a:lnTo>
                  <a:lnTo>
                    <a:pt x="1696" y="2326"/>
                  </a:lnTo>
                  <a:lnTo>
                    <a:pt x="1700" y="2330"/>
                  </a:lnTo>
                  <a:lnTo>
                    <a:pt x="1708" y="2336"/>
                  </a:lnTo>
                  <a:lnTo>
                    <a:pt x="1718" y="2342"/>
                  </a:lnTo>
                  <a:lnTo>
                    <a:pt x="1722" y="2346"/>
                  </a:lnTo>
                  <a:lnTo>
                    <a:pt x="1722" y="2348"/>
                  </a:lnTo>
                  <a:lnTo>
                    <a:pt x="1724" y="2350"/>
                  </a:lnTo>
                  <a:lnTo>
                    <a:pt x="1728" y="2350"/>
                  </a:lnTo>
                  <a:lnTo>
                    <a:pt x="1740" y="2350"/>
                  </a:lnTo>
                  <a:lnTo>
                    <a:pt x="1754" y="2348"/>
                  </a:lnTo>
                  <a:lnTo>
                    <a:pt x="1760" y="2348"/>
                  </a:lnTo>
                  <a:lnTo>
                    <a:pt x="1764" y="2350"/>
                  </a:lnTo>
                  <a:lnTo>
                    <a:pt x="1766" y="2352"/>
                  </a:lnTo>
                  <a:lnTo>
                    <a:pt x="1768" y="2352"/>
                  </a:lnTo>
                  <a:lnTo>
                    <a:pt x="1772" y="2350"/>
                  </a:lnTo>
                  <a:lnTo>
                    <a:pt x="1776" y="2350"/>
                  </a:lnTo>
                  <a:lnTo>
                    <a:pt x="1780" y="2356"/>
                  </a:lnTo>
                  <a:lnTo>
                    <a:pt x="1780" y="2358"/>
                  </a:lnTo>
                  <a:lnTo>
                    <a:pt x="1778" y="2360"/>
                  </a:lnTo>
                  <a:lnTo>
                    <a:pt x="1774" y="2364"/>
                  </a:lnTo>
                  <a:lnTo>
                    <a:pt x="1756" y="2374"/>
                  </a:lnTo>
                  <a:lnTo>
                    <a:pt x="1738" y="2382"/>
                  </a:lnTo>
                  <a:lnTo>
                    <a:pt x="1732" y="2386"/>
                  </a:lnTo>
                  <a:lnTo>
                    <a:pt x="1732" y="2388"/>
                  </a:lnTo>
                  <a:lnTo>
                    <a:pt x="1732" y="2390"/>
                  </a:lnTo>
                  <a:lnTo>
                    <a:pt x="1736" y="2392"/>
                  </a:lnTo>
                  <a:lnTo>
                    <a:pt x="1742" y="2394"/>
                  </a:lnTo>
                  <a:lnTo>
                    <a:pt x="1756" y="2398"/>
                  </a:lnTo>
                  <a:lnTo>
                    <a:pt x="1762" y="2400"/>
                  </a:lnTo>
                  <a:lnTo>
                    <a:pt x="1768" y="2404"/>
                  </a:lnTo>
                  <a:lnTo>
                    <a:pt x="1772" y="2410"/>
                  </a:lnTo>
                  <a:lnTo>
                    <a:pt x="1774" y="2416"/>
                  </a:lnTo>
                  <a:lnTo>
                    <a:pt x="1774" y="2424"/>
                  </a:lnTo>
                  <a:lnTo>
                    <a:pt x="1772" y="2428"/>
                  </a:lnTo>
                  <a:lnTo>
                    <a:pt x="1768" y="2432"/>
                  </a:lnTo>
                  <a:lnTo>
                    <a:pt x="1766" y="2434"/>
                  </a:lnTo>
                  <a:lnTo>
                    <a:pt x="1768" y="2434"/>
                  </a:lnTo>
                  <a:lnTo>
                    <a:pt x="1774" y="2442"/>
                  </a:lnTo>
                  <a:lnTo>
                    <a:pt x="1780" y="2446"/>
                  </a:lnTo>
                  <a:lnTo>
                    <a:pt x="1788" y="2448"/>
                  </a:lnTo>
                  <a:lnTo>
                    <a:pt x="1794" y="2446"/>
                  </a:lnTo>
                  <a:lnTo>
                    <a:pt x="1800" y="2442"/>
                  </a:lnTo>
                  <a:lnTo>
                    <a:pt x="1810" y="2432"/>
                  </a:lnTo>
                  <a:lnTo>
                    <a:pt x="1822" y="2422"/>
                  </a:lnTo>
                  <a:lnTo>
                    <a:pt x="1826" y="2420"/>
                  </a:lnTo>
                  <a:lnTo>
                    <a:pt x="1830" y="2420"/>
                  </a:lnTo>
                  <a:lnTo>
                    <a:pt x="1832" y="2422"/>
                  </a:lnTo>
                  <a:lnTo>
                    <a:pt x="1836" y="2422"/>
                  </a:lnTo>
                  <a:lnTo>
                    <a:pt x="1844" y="2416"/>
                  </a:lnTo>
                  <a:lnTo>
                    <a:pt x="1850" y="2410"/>
                  </a:lnTo>
                  <a:lnTo>
                    <a:pt x="1856" y="2408"/>
                  </a:lnTo>
                  <a:lnTo>
                    <a:pt x="1860" y="2408"/>
                  </a:lnTo>
                  <a:lnTo>
                    <a:pt x="1862" y="2408"/>
                  </a:lnTo>
                  <a:lnTo>
                    <a:pt x="1870" y="2412"/>
                  </a:lnTo>
                  <a:lnTo>
                    <a:pt x="1876" y="2414"/>
                  </a:lnTo>
                  <a:lnTo>
                    <a:pt x="1882" y="2412"/>
                  </a:lnTo>
                  <a:lnTo>
                    <a:pt x="1892" y="2408"/>
                  </a:lnTo>
                  <a:lnTo>
                    <a:pt x="1894" y="2406"/>
                  </a:lnTo>
                  <a:lnTo>
                    <a:pt x="1892" y="2404"/>
                  </a:lnTo>
                  <a:lnTo>
                    <a:pt x="1892" y="2400"/>
                  </a:lnTo>
                  <a:lnTo>
                    <a:pt x="1892" y="2398"/>
                  </a:lnTo>
                  <a:lnTo>
                    <a:pt x="1894" y="2394"/>
                  </a:lnTo>
                  <a:lnTo>
                    <a:pt x="1896" y="2390"/>
                  </a:lnTo>
                  <a:lnTo>
                    <a:pt x="1894" y="2386"/>
                  </a:lnTo>
                  <a:lnTo>
                    <a:pt x="1886" y="2384"/>
                  </a:lnTo>
                  <a:lnTo>
                    <a:pt x="1874" y="2386"/>
                  </a:lnTo>
                  <a:lnTo>
                    <a:pt x="1868" y="2388"/>
                  </a:lnTo>
                  <a:lnTo>
                    <a:pt x="1862" y="2392"/>
                  </a:lnTo>
                  <a:lnTo>
                    <a:pt x="1854" y="2396"/>
                  </a:lnTo>
                  <a:lnTo>
                    <a:pt x="1852" y="2396"/>
                  </a:lnTo>
                  <a:lnTo>
                    <a:pt x="1848" y="2392"/>
                  </a:lnTo>
                  <a:lnTo>
                    <a:pt x="1842" y="2386"/>
                  </a:lnTo>
                  <a:lnTo>
                    <a:pt x="1836" y="2376"/>
                  </a:lnTo>
                  <a:lnTo>
                    <a:pt x="1826" y="2358"/>
                  </a:lnTo>
                  <a:lnTo>
                    <a:pt x="1824" y="2348"/>
                  </a:lnTo>
                  <a:lnTo>
                    <a:pt x="1824" y="2346"/>
                  </a:lnTo>
                  <a:lnTo>
                    <a:pt x="1824" y="2344"/>
                  </a:lnTo>
                  <a:lnTo>
                    <a:pt x="1830" y="2342"/>
                  </a:lnTo>
                  <a:lnTo>
                    <a:pt x="1836" y="2340"/>
                  </a:lnTo>
                  <a:lnTo>
                    <a:pt x="1838" y="2340"/>
                  </a:lnTo>
                  <a:lnTo>
                    <a:pt x="1838" y="2342"/>
                  </a:lnTo>
                  <a:lnTo>
                    <a:pt x="1838" y="2344"/>
                  </a:lnTo>
                  <a:lnTo>
                    <a:pt x="1838" y="2348"/>
                  </a:lnTo>
                  <a:lnTo>
                    <a:pt x="1842" y="2346"/>
                  </a:lnTo>
                  <a:lnTo>
                    <a:pt x="1852" y="2336"/>
                  </a:lnTo>
                  <a:lnTo>
                    <a:pt x="1862" y="2326"/>
                  </a:lnTo>
                  <a:lnTo>
                    <a:pt x="1872" y="2318"/>
                  </a:lnTo>
                  <a:lnTo>
                    <a:pt x="1876" y="2316"/>
                  </a:lnTo>
                  <a:lnTo>
                    <a:pt x="1880" y="2316"/>
                  </a:lnTo>
                  <a:lnTo>
                    <a:pt x="1886" y="2318"/>
                  </a:lnTo>
                  <a:lnTo>
                    <a:pt x="1896" y="2316"/>
                  </a:lnTo>
                  <a:lnTo>
                    <a:pt x="1906" y="2312"/>
                  </a:lnTo>
                  <a:lnTo>
                    <a:pt x="1916" y="2308"/>
                  </a:lnTo>
                  <a:lnTo>
                    <a:pt x="1934" y="2296"/>
                  </a:lnTo>
                  <a:lnTo>
                    <a:pt x="1944" y="2292"/>
                  </a:lnTo>
                  <a:lnTo>
                    <a:pt x="1952" y="2292"/>
                  </a:lnTo>
                  <a:lnTo>
                    <a:pt x="1956" y="2294"/>
                  </a:lnTo>
                  <a:lnTo>
                    <a:pt x="1960" y="2296"/>
                  </a:lnTo>
                  <a:lnTo>
                    <a:pt x="1964" y="2294"/>
                  </a:lnTo>
                  <a:lnTo>
                    <a:pt x="1972" y="2288"/>
                  </a:lnTo>
                  <a:lnTo>
                    <a:pt x="1976" y="2288"/>
                  </a:lnTo>
                  <a:lnTo>
                    <a:pt x="1980" y="2290"/>
                  </a:lnTo>
                  <a:lnTo>
                    <a:pt x="1986" y="2288"/>
                  </a:lnTo>
                  <a:lnTo>
                    <a:pt x="1992" y="2286"/>
                  </a:lnTo>
                  <a:lnTo>
                    <a:pt x="1998" y="2284"/>
                  </a:lnTo>
                  <a:lnTo>
                    <a:pt x="2002" y="2284"/>
                  </a:lnTo>
                  <a:lnTo>
                    <a:pt x="2004" y="2286"/>
                  </a:lnTo>
                  <a:lnTo>
                    <a:pt x="2004" y="2288"/>
                  </a:lnTo>
                  <a:lnTo>
                    <a:pt x="2004" y="2290"/>
                  </a:lnTo>
                  <a:lnTo>
                    <a:pt x="2000" y="2294"/>
                  </a:lnTo>
                  <a:lnTo>
                    <a:pt x="1996" y="2298"/>
                  </a:lnTo>
                  <a:lnTo>
                    <a:pt x="1988" y="2300"/>
                  </a:lnTo>
                  <a:lnTo>
                    <a:pt x="1980" y="2302"/>
                  </a:lnTo>
                  <a:lnTo>
                    <a:pt x="1974" y="2306"/>
                  </a:lnTo>
                  <a:lnTo>
                    <a:pt x="1968" y="2312"/>
                  </a:lnTo>
                  <a:lnTo>
                    <a:pt x="1962" y="2316"/>
                  </a:lnTo>
                  <a:lnTo>
                    <a:pt x="1948" y="2318"/>
                  </a:lnTo>
                  <a:lnTo>
                    <a:pt x="1944" y="2318"/>
                  </a:lnTo>
                  <a:lnTo>
                    <a:pt x="1944" y="2320"/>
                  </a:lnTo>
                  <a:lnTo>
                    <a:pt x="1944" y="2324"/>
                  </a:lnTo>
                  <a:lnTo>
                    <a:pt x="1946" y="2326"/>
                  </a:lnTo>
                  <a:lnTo>
                    <a:pt x="1952" y="2332"/>
                  </a:lnTo>
                  <a:lnTo>
                    <a:pt x="1956" y="2334"/>
                  </a:lnTo>
                  <a:lnTo>
                    <a:pt x="1958" y="2334"/>
                  </a:lnTo>
                  <a:lnTo>
                    <a:pt x="1962" y="2334"/>
                  </a:lnTo>
                  <a:lnTo>
                    <a:pt x="1968" y="2338"/>
                  </a:lnTo>
                  <a:lnTo>
                    <a:pt x="1974" y="2344"/>
                  </a:lnTo>
                  <a:lnTo>
                    <a:pt x="1978" y="2352"/>
                  </a:lnTo>
                  <a:lnTo>
                    <a:pt x="1976" y="2354"/>
                  </a:lnTo>
                  <a:lnTo>
                    <a:pt x="1972" y="2352"/>
                  </a:lnTo>
                  <a:lnTo>
                    <a:pt x="1964" y="2350"/>
                  </a:lnTo>
                  <a:lnTo>
                    <a:pt x="1958" y="2350"/>
                  </a:lnTo>
                  <a:lnTo>
                    <a:pt x="1952" y="2354"/>
                  </a:lnTo>
                  <a:lnTo>
                    <a:pt x="1948" y="2362"/>
                  </a:lnTo>
                  <a:lnTo>
                    <a:pt x="1942" y="2376"/>
                  </a:lnTo>
                  <a:lnTo>
                    <a:pt x="1940" y="2382"/>
                  </a:lnTo>
                  <a:lnTo>
                    <a:pt x="1942" y="2388"/>
                  </a:lnTo>
                  <a:lnTo>
                    <a:pt x="1944" y="2396"/>
                  </a:lnTo>
                  <a:lnTo>
                    <a:pt x="1942" y="2396"/>
                  </a:lnTo>
                  <a:lnTo>
                    <a:pt x="1940" y="2396"/>
                  </a:lnTo>
                  <a:lnTo>
                    <a:pt x="1934" y="2394"/>
                  </a:lnTo>
                  <a:lnTo>
                    <a:pt x="1930" y="2392"/>
                  </a:lnTo>
                  <a:lnTo>
                    <a:pt x="1926" y="2394"/>
                  </a:lnTo>
                  <a:lnTo>
                    <a:pt x="1922" y="2394"/>
                  </a:lnTo>
                  <a:lnTo>
                    <a:pt x="1918" y="2392"/>
                  </a:lnTo>
                  <a:lnTo>
                    <a:pt x="1910" y="2390"/>
                  </a:lnTo>
                  <a:lnTo>
                    <a:pt x="1904" y="2388"/>
                  </a:lnTo>
                  <a:lnTo>
                    <a:pt x="1904" y="2390"/>
                  </a:lnTo>
                  <a:lnTo>
                    <a:pt x="1904" y="2392"/>
                  </a:lnTo>
                  <a:lnTo>
                    <a:pt x="1904" y="2396"/>
                  </a:lnTo>
                  <a:lnTo>
                    <a:pt x="1904" y="2398"/>
                  </a:lnTo>
                  <a:lnTo>
                    <a:pt x="1900" y="2402"/>
                  </a:lnTo>
                  <a:lnTo>
                    <a:pt x="1900" y="2404"/>
                  </a:lnTo>
                  <a:lnTo>
                    <a:pt x="1912" y="2410"/>
                  </a:lnTo>
                  <a:lnTo>
                    <a:pt x="1918" y="2414"/>
                  </a:lnTo>
                  <a:lnTo>
                    <a:pt x="1924" y="2418"/>
                  </a:lnTo>
                  <a:lnTo>
                    <a:pt x="1928" y="2424"/>
                  </a:lnTo>
                  <a:lnTo>
                    <a:pt x="1934" y="2430"/>
                  </a:lnTo>
                  <a:lnTo>
                    <a:pt x="1938" y="2432"/>
                  </a:lnTo>
                  <a:lnTo>
                    <a:pt x="1944" y="2434"/>
                  </a:lnTo>
                  <a:lnTo>
                    <a:pt x="1950" y="2434"/>
                  </a:lnTo>
                  <a:lnTo>
                    <a:pt x="1954" y="2436"/>
                  </a:lnTo>
                  <a:lnTo>
                    <a:pt x="1956" y="2440"/>
                  </a:lnTo>
                  <a:lnTo>
                    <a:pt x="1958" y="2442"/>
                  </a:lnTo>
                  <a:lnTo>
                    <a:pt x="1960" y="2446"/>
                  </a:lnTo>
                  <a:lnTo>
                    <a:pt x="1966" y="2448"/>
                  </a:lnTo>
                  <a:lnTo>
                    <a:pt x="1976" y="2452"/>
                  </a:lnTo>
                  <a:lnTo>
                    <a:pt x="1990" y="2456"/>
                  </a:lnTo>
                  <a:lnTo>
                    <a:pt x="1994" y="2458"/>
                  </a:lnTo>
                  <a:lnTo>
                    <a:pt x="1996" y="2462"/>
                  </a:lnTo>
                  <a:lnTo>
                    <a:pt x="2006" y="2474"/>
                  </a:lnTo>
                  <a:lnTo>
                    <a:pt x="2034" y="2504"/>
                  </a:lnTo>
                  <a:lnTo>
                    <a:pt x="2042" y="2510"/>
                  </a:lnTo>
                  <a:lnTo>
                    <a:pt x="2050" y="2516"/>
                  </a:lnTo>
                  <a:lnTo>
                    <a:pt x="2062" y="2520"/>
                  </a:lnTo>
                  <a:lnTo>
                    <a:pt x="2070" y="2522"/>
                  </a:lnTo>
                  <a:lnTo>
                    <a:pt x="2074" y="2526"/>
                  </a:lnTo>
                  <a:lnTo>
                    <a:pt x="2076" y="2530"/>
                  </a:lnTo>
                  <a:lnTo>
                    <a:pt x="2080" y="2534"/>
                  </a:lnTo>
                  <a:lnTo>
                    <a:pt x="2082" y="2538"/>
                  </a:lnTo>
                  <a:lnTo>
                    <a:pt x="2088" y="2538"/>
                  </a:lnTo>
                  <a:lnTo>
                    <a:pt x="2092" y="2540"/>
                  </a:lnTo>
                  <a:lnTo>
                    <a:pt x="2094" y="2544"/>
                  </a:lnTo>
                  <a:lnTo>
                    <a:pt x="2098" y="2552"/>
                  </a:lnTo>
                  <a:lnTo>
                    <a:pt x="2100" y="2562"/>
                  </a:lnTo>
                  <a:lnTo>
                    <a:pt x="2104" y="2584"/>
                  </a:lnTo>
                  <a:lnTo>
                    <a:pt x="2104" y="2598"/>
                  </a:lnTo>
                  <a:lnTo>
                    <a:pt x="2100" y="2606"/>
                  </a:lnTo>
                  <a:lnTo>
                    <a:pt x="2096" y="2610"/>
                  </a:lnTo>
                  <a:lnTo>
                    <a:pt x="2086" y="2618"/>
                  </a:lnTo>
                  <a:lnTo>
                    <a:pt x="2066" y="2630"/>
                  </a:lnTo>
                  <a:lnTo>
                    <a:pt x="2054" y="2636"/>
                  </a:lnTo>
                  <a:lnTo>
                    <a:pt x="2044" y="2640"/>
                  </a:lnTo>
                  <a:lnTo>
                    <a:pt x="2032" y="2638"/>
                  </a:lnTo>
                  <a:lnTo>
                    <a:pt x="2028" y="2638"/>
                  </a:lnTo>
                  <a:lnTo>
                    <a:pt x="2024" y="2634"/>
                  </a:lnTo>
                  <a:lnTo>
                    <a:pt x="2014" y="2630"/>
                  </a:lnTo>
                  <a:lnTo>
                    <a:pt x="2006" y="2630"/>
                  </a:lnTo>
                  <a:lnTo>
                    <a:pt x="1996" y="2632"/>
                  </a:lnTo>
                  <a:lnTo>
                    <a:pt x="1986" y="2636"/>
                  </a:lnTo>
                  <a:lnTo>
                    <a:pt x="1976" y="2640"/>
                  </a:lnTo>
                  <a:lnTo>
                    <a:pt x="1968" y="2642"/>
                  </a:lnTo>
                  <a:lnTo>
                    <a:pt x="1960" y="2642"/>
                  </a:lnTo>
                  <a:lnTo>
                    <a:pt x="1956" y="2640"/>
                  </a:lnTo>
                  <a:lnTo>
                    <a:pt x="1952" y="2636"/>
                  </a:lnTo>
                  <a:lnTo>
                    <a:pt x="1942" y="2630"/>
                  </a:lnTo>
                  <a:lnTo>
                    <a:pt x="1940" y="2630"/>
                  </a:lnTo>
                  <a:lnTo>
                    <a:pt x="1938" y="2632"/>
                  </a:lnTo>
                  <a:lnTo>
                    <a:pt x="1936" y="2634"/>
                  </a:lnTo>
                  <a:lnTo>
                    <a:pt x="1932" y="2634"/>
                  </a:lnTo>
                  <a:lnTo>
                    <a:pt x="1924" y="2630"/>
                  </a:lnTo>
                  <a:lnTo>
                    <a:pt x="1918" y="2626"/>
                  </a:lnTo>
                  <a:lnTo>
                    <a:pt x="1914" y="2622"/>
                  </a:lnTo>
                  <a:lnTo>
                    <a:pt x="1910" y="2618"/>
                  </a:lnTo>
                  <a:lnTo>
                    <a:pt x="1908" y="2616"/>
                  </a:lnTo>
                  <a:lnTo>
                    <a:pt x="1906" y="2616"/>
                  </a:lnTo>
                  <a:lnTo>
                    <a:pt x="1896" y="2620"/>
                  </a:lnTo>
                  <a:lnTo>
                    <a:pt x="1890" y="2620"/>
                  </a:lnTo>
                  <a:lnTo>
                    <a:pt x="1886" y="2618"/>
                  </a:lnTo>
                  <a:lnTo>
                    <a:pt x="1884" y="2614"/>
                  </a:lnTo>
                  <a:lnTo>
                    <a:pt x="1882" y="2608"/>
                  </a:lnTo>
                  <a:lnTo>
                    <a:pt x="1880" y="2602"/>
                  </a:lnTo>
                  <a:lnTo>
                    <a:pt x="1876" y="2598"/>
                  </a:lnTo>
                  <a:lnTo>
                    <a:pt x="1870" y="2596"/>
                  </a:lnTo>
                  <a:lnTo>
                    <a:pt x="1860" y="2598"/>
                  </a:lnTo>
                  <a:lnTo>
                    <a:pt x="1850" y="2600"/>
                  </a:lnTo>
                  <a:lnTo>
                    <a:pt x="1844" y="2596"/>
                  </a:lnTo>
                  <a:lnTo>
                    <a:pt x="1842" y="2592"/>
                  </a:lnTo>
                  <a:lnTo>
                    <a:pt x="1840" y="2586"/>
                  </a:lnTo>
                  <a:lnTo>
                    <a:pt x="1840" y="2582"/>
                  </a:lnTo>
                  <a:lnTo>
                    <a:pt x="1838" y="2578"/>
                  </a:lnTo>
                  <a:lnTo>
                    <a:pt x="1836" y="2576"/>
                  </a:lnTo>
                  <a:lnTo>
                    <a:pt x="1830" y="2580"/>
                  </a:lnTo>
                  <a:lnTo>
                    <a:pt x="1822" y="2582"/>
                  </a:lnTo>
                  <a:lnTo>
                    <a:pt x="1814" y="2584"/>
                  </a:lnTo>
                  <a:lnTo>
                    <a:pt x="1798" y="2582"/>
                  </a:lnTo>
                  <a:lnTo>
                    <a:pt x="1788" y="2580"/>
                  </a:lnTo>
                  <a:lnTo>
                    <a:pt x="1778" y="2580"/>
                  </a:lnTo>
                  <a:lnTo>
                    <a:pt x="1766" y="2582"/>
                  </a:lnTo>
                  <a:lnTo>
                    <a:pt x="1752" y="2586"/>
                  </a:lnTo>
                  <a:lnTo>
                    <a:pt x="1724" y="2596"/>
                  </a:lnTo>
                  <a:lnTo>
                    <a:pt x="1706" y="2608"/>
                  </a:lnTo>
                  <a:lnTo>
                    <a:pt x="1694" y="2618"/>
                  </a:lnTo>
                  <a:lnTo>
                    <a:pt x="1688" y="2624"/>
                  </a:lnTo>
                  <a:lnTo>
                    <a:pt x="1684" y="2630"/>
                  </a:lnTo>
                  <a:lnTo>
                    <a:pt x="1678" y="2632"/>
                  </a:lnTo>
                  <a:lnTo>
                    <a:pt x="1668" y="2632"/>
                  </a:lnTo>
                  <a:lnTo>
                    <a:pt x="1656" y="2628"/>
                  </a:lnTo>
                  <a:lnTo>
                    <a:pt x="1646" y="2626"/>
                  </a:lnTo>
                  <a:lnTo>
                    <a:pt x="1638" y="2626"/>
                  </a:lnTo>
                  <a:lnTo>
                    <a:pt x="1630" y="2628"/>
                  </a:lnTo>
                  <a:lnTo>
                    <a:pt x="1618" y="2628"/>
                  </a:lnTo>
                  <a:lnTo>
                    <a:pt x="1608" y="2624"/>
                  </a:lnTo>
                  <a:lnTo>
                    <a:pt x="1602" y="2626"/>
                  </a:lnTo>
                  <a:lnTo>
                    <a:pt x="1598" y="2628"/>
                  </a:lnTo>
                  <a:lnTo>
                    <a:pt x="1596" y="2634"/>
                  </a:lnTo>
                  <a:lnTo>
                    <a:pt x="1594" y="2638"/>
                  </a:lnTo>
                  <a:lnTo>
                    <a:pt x="1596" y="2640"/>
                  </a:lnTo>
                  <a:lnTo>
                    <a:pt x="1600" y="2642"/>
                  </a:lnTo>
                  <a:lnTo>
                    <a:pt x="1604" y="2646"/>
                  </a:lnTo>
                  <a:lnTo>
                    <a:pt x="1608" y="2650"/>
                  </a:lnTo>
                  <a:lnTo>
                    <a:pt x="1612" y="2650"/>
                  </a:lnTo>
                  <a:lnTo>
                    <a:pt x="1620" y="2652"/>
                  </a:lnTo>
                  <a:lnTo>
                    <a:pt x="1622" y="2652"/>
                  </a:lnTo>
                  <a:lnTo>
                    <a:pt x="1620" y="2652"/>
                  </a:lnTo>
                  <a:lnTo>
                    <a:pt x="1606" y="2656"/>
                  </a:lnTo>
                  <a:lnTo>
                    <a:pt x="1584" y="2660"/>
                  </a:lnTo>
                  <a:lnTo>
                    <a:pt x="1584" y="2662"/>
                  </a:lnTo>
                  <a:lnTo>
                    <a:pt x="1584" y="2664"/>
                  </a:lnTo>
                  <a:lnTo>
                    <a:pt x="1592" y="2666"/>
                  </a:lnTo>
                  <a:lnTo>
                    <a:pt x="1594" y="2668"/>
                  </a:lnTo>
                  <a:lnTo>
                    <a:pt x="1594" y="2672"/>
                  </a:lnTo>
                  <a:lnTo>
                    <a:pt x="1586" y="2674"/>
                  </a:lnTo>
                  <a:lnTo>
                    <a:pt x="1570" y="2674"/>
                  </a:lnTo>
                  <a:lnTo>
                    <a:pt x="1558" y="2672"/>
                  </a:lnTo>
                  <a:lnTo>
                    <a:pt x="1554" y="2670"/>
                  </a:lnTo>
                  <a:lnTo>
                    <a:pt x="1552" y="2666"/>
                  </a:lnTo>
                  <a:lnTo>
                    <a:pt x="1552" y="2664"/>
                  </a:lnTo>
                  <a:lnTo>
                    <a:pt x="1550" y="2662"/>
                  </a:lnTo>
                  <a:lnTo>
                    <a:pt x="1544" y="2662"/>
                  </a:lnTo>
                  <a:lnTo>
                    <a:pt x="1538" y="2666"/>
                  </a:lnTo>
                  <a:lnTo>
                    <a:pt x="1536" y="2668"/>
                  </a:lnTo>
                  <a:lnTo>
                    <a:pt x="1538" y="2670"/>
                  </a:lnTo>
                  <a:lnTo>
                    <a:pt x="1540" y="2672"/>
                  </a:lnTo>
                  <a:lnTo>
                    <a:pt x="1540" y="2674"/>
                  </a:lnTo>
                  <a:lnTo>
                    <a:pt x="1536" y="2676"/>
                  </a:lnTo>
                  <a:lnTo>
                    <a:pt x="1530" y="2676"/>
                  </a:lnTo>
                  <a:lnTo>
                    <a:pt x="1528" y="2674"/>
                  </a:lnTo>
                  <a:lnTo>
                    <a:pt x="1526" y="2672"/>
                  </a:lnTo>
                  <a:lnTo>
                    <a:pt x="1524" y="2670"/>
                  </a:lnTo>
                  <a:lnTo>
                    <a:pt x="1520" y="2668"/>
                  </a:lnTo>
                  <a:lnTo>
                    <a:pt x="1516" y="2666"/>
                  </a:lnTo>
                  <a:lnTo>
                    <a:pt x="1510" y="2668"/>
                  </a:lnTo>
                  <a:lnTo>
                    <a:pt x="1506" y="2670"/>
                  </a:lnTo>
                  <a:lnTo>
                    <a:pt x="1500" y="2672"/>
                  </a:lnTo>
                  <a:lnTo>
                    <a:pt x="1494" y="2678"/>
                  </a:lnTo>
                  <a:lnTo>
                    <a:pt x="1488" y="2686"/>
                  </a:lnTo>
                  <a:lnTo>
                    <a:pt x="1482" y="2692"/>
                  </a:lnTo>
                  <a:lnTo>
                    <a:pt x="1480" y="2694"/>
                  </a:lnTo>
                  <a:lnTo>
                    <a:pt x="1478" y="2696"/>
                  </a:lnTo>
                  <a:lnTo>
                    <a:pt x="1476" y="2706"/>
                  </a:lnTo>
                  <a:lnTo>
                    <a:pt x="1474" y="2716"/>
                  </a:lnTo>
                  <a:lnTo>
                    <a:pt x="1474" y="2718"/>
                  </a:lnTo>
                  <a:lnTo>
                    <a:pt x="1476" y="2720"/>
                  </a:lnTo>
                  <a:lnTo>
                    <a:pt x="1482" y="2720"/>
                  </a:lnTo>
                  <a:lnTo>
                    <a:pt x="1496" y="2716"/>
                  </a:lnTo>
                  <a:lnTo>
                    <a:pt x="1504" y="2716"/>
                  </a:lnTo>
                  <a:lnTo>
                    <a:pt x="1506" y="2716"/>
                  </a:lnTo>
                  <a:lnTo>
                    <a:pt x="1506" y="2718"/>
                  </a:lnTo>
                  <a:lnTo>
                    <a:pt x="1504" y="2720"/>
                  </a:lnTo>
                  <a:lnTo>
                    <a:pt x="1500" y="2728"/>
                  </a:lnTo>
                  <a:lnTo>
                    <a:pt x="1498" y="2732"/>
                  </a:lnTo>
                  <a:lnTo>
                    <a:pt x="1502" y="2734"/>
                  </a:lnTo>
                  <a:lnTo>
                    <a:pt x="1504" y="2738"/>
                  </a:lnTo>
                  <a:lnTo>
                    <a:pt x="1504" y="2740"/>
                  </a:lnTo>
                  <a:lnTo>
                    <a:pt x="1502" y="2746"/>
                  </a:lnTo>
                  <a:lnTo>
                    <a:pt x="1502" y="2750"/>
                  </a:lnTo>
                  <a:lnTo>
                    <a:pt x="1504" y="2752"/>
                  </a:lnTo>
                  <a:lnTo>
                    <a:pt x="1506" y="2752"/>
                  </a:lnTo>
                  <a:lnTo>
                    <a:pt x="1510" y="2754"/>
                  </a:lnTo>
                  <a:lnTo>
                    <a:pt x="1510" y="2756"/>
                  </a:lnTo>
                  <a:lnTo>
                    <a:pt x="1504" y="2760"/>
                  </a:lnTo>
                  <a:lnTo>
                    <a:pt x="1498" y="2766"/>
                  </a:lnTo>
                  <a:lnTo>
                    <a:pt x="1498" y="2768"/>
                  </a:lnTo>
                  <a:lnTo>
                    <a:pt x="1502" y="2770"/>
                  </a:lnTo>
                  <a:lnTo>
                    <a:pt x="1508" y="2774"/>
                  </a:lnTo>
                  <a:lnTo>
                    <a:pt x="1510" y="2778"/>
                  </a:lnTo>
                  <a:lnTo>
                    <a:pt x="1510" y="2780"/>
                  </a:lnTo>
                  <a:lnTo>
                    <a:pt x="1508" y="2782"/>
                  </a:lnTo>
                  <a:lnTo>
                    <a:pt x="1504" y="2782"/>
                  </a:lnTo>
                  <a:lnTo>
                    <a:pt x="1500" y="2782"/>
                  </a:lnTo>
                  <a:lnTo>
                    <a:pt x="1496" y="2780"/>
                  </a:lnTo>
                  <a:lnTo>
                    <a:pt x="1494" y="2774"/>
                  </a:lnTo>
                  <a:lnTo>
                    <a:pt x="1492" y="2768"/>
                  </a:lnTo>
                  <a:lnTo>
                    <a:pt x="1488" y="2768"/>
                  </a:lnTo>
                  <a:lnTo>
                    <a:pt x="1486" y="2768"/>
                  </a:lnTo>
                  <a:lnTo>
                    <a:pt x="1486" y="2772"/>
                  </a:lnTo>
                  <a:lnTo>
                    <a:pt x="1484" y="2782"/>
                  </a:lnTo>
                  <a:lnTo>
                    <a:pt x="1486" y="2788"/>
                  </a:lnTo>
                  <a:lnTo>
                    <a:pt x="1490" y="2792"/>
                  </a:lnTo>
                  <a:lnTo>
                    <a:pt x="1494" y="2794"/>
                  </a:lnTo>
                  <a:lnTo>
                    <a:pt x="1498" y="2794"/>
                  </a:lnTo>
                  <a:lnTo>
                    <a:pt x="1500" y="2794"/>
                  </a:lnTo>
                  <a:lnTo>
                    <a:pt x="1504" y="2796"/>
                  </a:lnTo>
                  <a:lnTo>
                    <a:pt x="1508" y="2800"/>
                  </a:lnTo>
                  <a:lnTo>
                    <a:pt x="1510" y="2800"/>
                  </a:lnTo>
                  <a:lnTo>
                    <a:pt x="1518" y="2802"/>
                  </a:lnTo>
                  <a:lnTo>
                    <a:pt x="1520" y="2802"/>
                  </a:lnTo>
                  <a:lnTo>
                    <a:pt x="1522" y="2804"/>
                  </a:lnTo>
                  <a:lnTo>
                    <a:pt x="1522" y="2806"/>
                  </a:lnTo>
                  <a:lnTo>
                    <a:pt x="1520" y="2810"/>
                  </a:lnTo>
                  <a:lnTo>
                    <a:pt x="1516" y="2818"/>
                  </a:lnTo>
                  <a:lnTo>
                    <a:pt x="1516" y="2822"/>
                  </a:lnTo>
                  <a:lnTo>
                    <a:pt x="1520" y="2826"/>
                  </a:lnTo>
                  <a:lnTo>
                    <a:pt x="1520" y="2832"/>
                  </a:lnTo>
                  <a:lnTo>
                    <a:pt x="1520" y="2836"/>
                  </a:lnTo>
                  <a:lnTo>
                    <a:pt x="1522" y="2838"/>
                  </a:lnTo>
                  <a:lnTo>
                    <a:pt x="1526" y="2838"/>
                  </a:lnTo>
                  <a:lnTo>
                    <a:pt x="1528" y="2840"/>
                  </a:lnTo>
                  <a:lnTo>
                    <a:pt x="1530" y="2844"/>
                  </a:lnTo>
                  <a:lnTo>
                    <a:pt x="1530" y="2848"/>
                  </a:lnTo>
                  <a:lnTo>
                    <a:pt x="1530" y="2850"/>
                  </a:lnTo>
                  <a:lnTo>
                    <a:pt x="1524" y="2850"/>
                  </a:lnTo>
                  <a:lnTo>
                    <a:pt x="1518" y="2850"/>
                  </a:lnTo>
                  <a:lnTo>
                    <a:pt x="1520" y="2854"/>
                  </a:lnTo>
                  <a:lnTo>
                    <a:pt x="1522" y="2856"/>
                  </a:lnTo>
                  <a:lnTo>
                    <a:pt x="1528" y="2858"/>
                  </a:lnTo>
                  <a:lnTo>
                    <a:pt x="1542" y="2856"/>
                  </a:lnTo>
                  <a:lnTo>
                    <a:pt x="1552" y="2856"/>
                  </a:lnTo>
                  <a:lnTo>
                    <a:pt x="1556" y="2858"/>
                  </a:lnTo>
                  <a:lnTo>
                    <a:pt x="1554" y="2860"/>
                  </a:lnTo>
                  <a:lnTo>
                    <a:pt x="1550" y="2864"/>
                  </a:lnTo>
                  <a:lnTo>
                    <a:pt x="1546" y="2866"/>
                  </a:lnTo>
                  <a:lnTo>
                    <a:pt x="1534" y="2868"/>
                  </a:lnTo>
                  <a:lnTo>
                    <a:pt x="1526" y="2870"/>
                  </a:lnTo>
                  <a:lnTo>
                    <a:pt x="1524" y="2870"/>
                  </a:lnTo>
                  <a:lnTo>
                    <a:pt x="1526" y="2872"/>
                  </a:lnTo>
                  <a:lnTo>
                    <a:pt x="1528" y="2876"/>
                  </a:lnTo>
                  <a:lnTo>
                    <a:pt x="1532" y="2876"/>
                  </a:lnTo>
                  <a:lnTo>
                    <a:pt x="1540" y="2874"/>
                  </a:lnTo>
                  <a:lnTo>
                    <a:pt x="1548" y="2872"/>
                  </a:lnTo>
                  <a:lnTo>
                    <a:pt x="1550" y="2872"/>
                  </a:lnTo>
                  <a:lnTo>
                    <a:pt x="1552" y="2876"/>
                  </a:lnTo>
                  <a:lnTo>
                    <a:pt x="1552" y="2878"/>
                  </a:lnTo>
                  <a:lnTo>
                    <a:pt x="1554" y="2878"/>
                  </a:lnTo>
                  <a:lnTo>
                    <a:pt x="1560" y="2872"/>
                  </a:lnTo>
                  <a:lnTo>
                    <a:pt x="1564" y="2870"/>
                  </a:lnTo>
                  <a:lnTo>
                    <a:pt x="1568" y="2868"/>
                  </a:lnTo>
                  <a:lnTo>
                    <a:pt x="1572" y="2868"/>
                  </a:lnTo>
                  <a:lnTo>
                    <a:pt x="1576" y="2870"/>
                  </a:lnTo>
                  <a:lnTo>
                    <a:pt x="1580" y="2874"/>
                  </a:lnTo>
                  <a:lnTo>
                    <a:pt x="1582" y="2874"/>
                  </a:lnTo>
                  <a:lnTo>
                    <a:pt x="1588" y="2874"/>
                  </a:lnTo>
                  <a:lnTo>
                    <a:pt x="1590" y="2872"/>
                  </a:lnTo>
                  <a:lnTo>
                    <a:pt x="1592" y="2874"/>
                  </a:lnTo>
                  <a:lnTo>
                    <a:pt x="1594" y="2880"/>
                  </a:lnTo>
                  <a:lnTo>
                    <a:pt x="1598" y="2886"/>
                  </a:lnTo>
                  <a:lnTo>
                    <a:pt x="1602" y="2892"/>
                  </a:lnTo>
                  <a:lnTo>
                    <a:pt x="1610" y="2900"/>
                  </a:lnTo>
                  <a:lnTo>
                    <a:pt x="1616" y="2902"/>
                  </a:lnTo>
                  <a:lnTo>
                    <a:pt x="1620" y="2904"/>
                  </a:lnTo>
                  <a:lnTo>
                    <a:pt x="1624" y="2904"/>
                  </a:lnTo>
                  <a:lnTo>
                    <a:pt x="1628" y="2902"/>
                  </a:lnTo>
                  <a:lnTo>
                    <a:pt x="1634" y="2896"/>
                  </a:lnTo>
                  <a:lnTo>
                    <a:pt x="1638" y="2894"/>
                  </a:lnTo>
                  <a:lnTo>
                    <a:pt x="1640" y="2894"/>
                  </a:lnTo>
                  <a:lnTo>
                    <a:pt x="1642" y="2896"/>
                  </a:lnTo>
                  <a:lnTo>
                    <a:pt x="1646" y="2898"/>
                  </a:lnTo>
                  <a:lnTo>
                    <a:pt x="1648" y="2896"/>
                  </a:lnTo>
                  <a:lnTo>
                    <a:pt x="1652" y="2894"/>
                  </a:lnTo>
                  <a:lnTo>
                    <a:pt x="1654" y="2890"/>
                  </a:lnTo>
                  <a:lnTo>
                    <a:pt x="1654" y="2884"/>
                  </a:lnTo>
                  <a:lnTo>
                    <a:pt x="1654" y="2872"/>
                  </a:lnTo>
                  <a:lnTo>
                    <a:pt x="1656" y="2866"/>
                  </a:lnTo>
                  <a:lnTo>
                    <a:pt x="1662" y="2864"/>
                  </a:lnTo>
                  <a:lnTo>
                    <a:pt x="1670" y="2864"/>
                  </a:lnTo>
                  <a:lnTo>
                    <a:pt x="1686" y="2868"/>
                  </a:lnTo>
                  <a:lnTo>
                    <a:pt x="1700" y="2874"/>
                  </a:lnTo>
                  <a:lnTo>
                    <a:pt x="1712" y="2882"/>
                  </a:lnTo>
                  <a:lnTo>
                    <a:pt x="1720" y="2890"/>
                  </a:lnTo>
                  <a:lnTo>
                    <a:pt x="1728" y="2898"/>
                  </a:lnTo>
                  <a:lnTo>
                    <a:pt x="1732" y="2904"/>
                  </a:lnTo>
                  <a:lnTo>
                    <a:pt x="1738" y="2908"/>
                  </a:lnTo>
                  <a:lnTo>
                    <a:pt x="1744" y="2910"/>
                  </a:lnTo>
                  <a:lnTo>
                    <a:pt x="1752" y="2908"/>
                  </a:lnTo>
                  <a:lnTo>
                    <a:pt x="1766" y="2904"/>
                  </a:lnTo>
                  <a:lnTo>
                    <a:pt x="1778" y="2902"/>
                  </a:lnTo>
                  <a:lnTo>
                    <a:pt x="1782" y="2900"/>
                  </a:lnTo>
                  <a:lnTo>
                    <a:pt x="1788" y="2898"/>
                  </a:lnTo>
                  <a:lnTo>
                    <a:pt x="1794" y="2892"/>
                  </a:lnTo>
                  <a:lnTo>
                    <a:pt x="1802" y="2884"/>
                  </a:lnTo>
                  <a:lnTo>
                    <a:pt x="1814" y="2872"/>
                  </a:lnTo>
                  <a:lnTo>
                    <a:pt x="1822" y="2868"/>
                  </a:lnTo>
                  <a:lnTo>
                    <a:pt x="1828" y="2868"/>
                  </a:lnTo>
                  <a:lnTo>
                    <a:pt x="1834" y="2872"/>
                  </a:lnTo>
                  <a:lnTo>
                    <a:pt x="1838" y="2876"/>
                  </a:lnTo>
                  <a:lnTo>
                    <a:pt x="1844" y="2880"/>
                  </a:lnTo>
                  <a:lnTo>
                    <a:pt x="1848" y="2880"/>
                  </a:lnTo>
                  <a:lnTo>
                    <a:pt x="1856" y="2876"/>
                  </a:lnTo>
                  <a:lnTo>
                    <a:pt x="1868" y="2864"/>
                  </a:lnTo>
                  <a:lnTo>
                    <a:pt x="1876" y="2860"/>
                  </a:lnTo>
                  <a:lnTo>
                    <a:pt x="1878" y="2860"/>
                  </a:lnTo>
                  <a:lnTo>
                    <a:pt x="1880" y="2862"/>
                  </a:lnTo>
                  <a:lnTo>
                    <a:pt x="1882" y="2870"/>
                  </a:lnTo>
                  <a:lnTo>
                    <a:pt x="1882" y="2874"/>
                  </a:lnTo>
                  <a:lnTo>
                    <a:pt x="1880" y="2878"/>
                  </a:lnTo>
                  <a:lnTo>
                    <a:pt x="1872" y="2886"/>
                  </a:lnTo>
                  <a:lnTo>
                    <a:pt x="1866" y="2892"/>
                  </a:lnTo>
                  <a:lnTo>
                    <a:pt x="1864" y="2894"/>
                  </a:lnTo>
                  <a:lnTo>
                    <a:pt x="1866" y="2896"/>
                  </a:lnTo>
                  <a:lnTo>
                    <a:pt x="1872" y="2906"/>
                  </a:lnTo>
                  <a:lnTo>
                    <a:pt x="1872" y="2910"/>
                  </a:lnTo>
                  <a:lnTo>
                    <a:pt x="1872" y="2914"/>
                  </a:lnTo>
                  <a:lnTo>
                    <a:pt x="1868" y="2918"/>
                  </a:lnTo>
                  <a:lnTo>
                    <a:pt x="1864" y="2924"/>
                  </a:lnTo>
                  <a:lnTo>
                    <a:pt x="1862" y="2930"/>
                  </a:lnTo>
                  <a:lnTo>
                    <a:pt x="1866" y="2940"/>
                  </a:lnTo>
                  <a:lnTo>
                    <a:pt x="1870" y="2948"/>
                  </a:lnTo>
                  <a:lnTo>
                    <a:pt x="1870" y="2956"/>
                  </a:lnTo>
                  <a:lnTo>
                    <a:pt x="1870" y="2966"/>
                  </a:lnTo>
                  <a:lnTo>
                    <a:pt x="1872" y="2980"/>
                  </a:lnTo>
                  <a:lnTo>
                    <a:pt x="1872" y="2986"/>
                  </a:lnTo>
                  <a:lnTo>
                    <a:pt x="1870" y="2990"/>
                  </a:lnTo>
                  <a:lnTo>
                    <a:pt x="1866" y="2996"/>
                  </a:lnTo>
                  <a:lnTo>
                    <a:pt x="1860" y="3000"/>
                  </a:lnTo>
                  <a:lnTo>
                    <a:pt x="1858" y="3006"/>
                  </a:lnTo>
                  <a:lnTo>
                    <a:pt x="1858" y="3012"/>
                  </a:lnTo>
                  <a:lnTo>
                    <a:pt x="1858" y="3020"/>
                  </a:lnTo>
                  <a:lnTo>
                    <a:pt x="1856" y="3020"/>
                  </a:lnTo>
                  <a:lnTo>
                    <a:pt x="1854" y="3024"/>
                  </a:lnTo>
                  <a:lnTo>
                    <a:pt x="1850" y="3034"/>
                  </a:lnTo>
                  <a:lnTo>
                    <a:pt x="1848" y="3044"/>
                  </a:lnTo>
                  <a:lnTo>
                    <a:pt x="1846" y="3050"/>
                  </a:lnTo>
                  <a:lnTo>
                    <a:pt x="1842" y="3054"/>
                  </a:lnTo>
                  <a:lnTo>
                    <a:pt x="1838" y="3064"/>
                  </a:lnTo>
                  <a:lnTo>
                    <a:pt x="1824" y="3108"/>
                  </a:lnTo>
                  <a:lnTo>
                    <a:pt x="1818" y="3130"/>
                  </a:lnTo>
                  <a:lnTo>
                    <a:pt x="1814" y="3144"/>
                  </a:lnTo>
                  <a:lnTo>
                    <a:pt x="1806" y="3154"/>
                  </a:lnTo>
                  <a:lnTo>
                    <a:pt x="1800" y="3160"/>
                  </a:lnTo>
                  <a:lnTo>
                    <a:pt x="1768" y="3170"/>
                  </a:lnTo>
                  <a:lnTo>
                    <a:pt x="1764" y="3170"/>
                  </a:lnTo>
                  <a:lnTo>
                    <a:pt x="1760" y="3166"/>
                  </a:lnTo>
                  <a:lnTo>
                    <a:pt x="1756" y="3164"/>
                  </a:lnTo>
                  <a:lnTo>
                    <a:pt x="1754" y="3166"/>
                  </a:lnTo>
                  <a:lnTo>
                    <a:pt x="1748" y="3168"/>
                  </a:lnTo>
                  <a:lnTo>
                    <a:pt x="1744" y="3170"/>
                  </a:lnTo>
                  <a:lnTo>
                    <a:pt x="1740" y="3170"/>
                  </a:lnTo>
                  <a:lnTo>
                    <a:pt x="1734" y="3168"/>
                  </a:lnTo>
                  <a:lnTo>
                    <a:pt x="1728" y="3164"/>
                  </a:lnTo>
                  <a:lnTo>
                    <a:pt x="1726" y="3162"/>
                  </a:lnTo>
                  <a:lnTo>
                    <a:pt x="1724" y="3162"/>
                  </a:lnTo>
                  <a:lnTo>
                    <a:pt x="1724" y="3164"/>
                  </a:lnTo>
                  <a:lnTo>
                    <a:pt x="1724" y="3168"/>
                  </a:lnTo>
                  <a:lnTo>
                    <a:pt x="1720" y="3170"/>
                  </a:lnTo>
                  <a:lnTo>
                    <a:pt x="1734" y="3232"/>
                  </a:lnTo>
                  <a:lnTo>
                    <a:pt x="1734" y="3230"/>
                  </a:lnTo>
                  <a:lnTo>
                    <a:pt x="1738" y="3232"/>
                  </a:lnTo>
                  <a:lnTo>
                    <a:pt x="1738" y="3236"/>
                  </a:lnTo>
                  <a:lnTo>
                    <a:pt x="1738" y="3242"/>
                  </a:lnTo>
                  <a:lnTo>
                    <a:pt x="1740" y="3252"/>
                  </a:lnTo>
                  <a:lnTo>
                    <a:pt x="1744" y="3260"/>
                  </a:lnTo>
                  <a:lnTo>
                    <a:pt x="1750" y="3266"/>
                  </a:lnTo>
                  <a:lnTo>
                    <a:pt x="1754" y="3272"/>
                  </a:lnTo>
                  <a:lnTo>
                    <a:pt x="1758" y="3278"/>
                  </a:lnTo>
                  <a:lnTo>
                    <a:pt x="1760" y="3288"/>
                  </a:lnTo>
                  <a:lnTo>
                    <a:pt x="1762" y="3300"/>
                  </a:lnTo>
                  <a:lnTo>
                    <a:pt x="1766" y="3306"/>
                  </a:lnTo>
                  <a:lnTo>
                    <a:pt x="1770" y="3312"/>
                  </a:lnTo>
                  <a:lnTo>
                    <a:pt x="1784" y="3328"/>
                  </a:lnTo>
                  <a:lnTo>
                    <a:pt x="1792" y="3340"/>
                  </a:lnTo>
                  <a:lnTo>
                    <a:pt x="1796" y="3344"/>
                  </a:lnTo>
                  <a:lnTo>
                    <a:pt x="1800" y="3346"/>
                  </a:lnTo>
                  <a:lnTo>
                    <a:pt x="1802" y="3344"/>
                  </a:lnTo>
                  <a:lnTo>
                    <a:pt x="1804" y="3340"/>
                  </a:lnTo>
                  <a:lnTo>
                    <a:pt x="1810" y="3328"/>
                  </a:lnTo>
                  <a:lnTo>
                    <a:pt x="1812" y="3314"/>
                  </a:lnTo>
                  <a:lnTo>
                    <a:pt x="1816" y="3292"/>
                  </a:lnTo>
                  <a:lnTo>
                    <a:pt x="1830" y="3254"/>
                  </a:lnTo>
                  <a:lnTo>
                    <a:pt x="1832" y="3250"/>
                  </a:lnTo>
                  <a:lnTo>
                    <a:pt x="1832" y="3256"/>
                  </a:lnTo>
                  <a:lnTo>
                    <a:pt x="1832" y="3260"/>
                  </a:lnTo>
                  <a:lnTo>
                    <a:pt x="1826" y="3286"/>
                  </a:lnTo>
                  <a:lnTo>
                    <a:pt x="1826" y="3296"/>
                  </a:lnTo>
                  <a:lnTo>
                    <a:pt x="1826" y="3302"/>
                  </a:lnTo>
                  <a:lnTo>
                    <a:pt x="1822" y="3312"/>
                  </a:lnTo>
                  <a:lnTo>
                    <a:pt x="1818" y="3328"/>
                  </a:lnTo>
                  <a:lnTo>
                    <a:pt x="1818" y="3330"/>
                  </a:lnTo>
                  <a:lnTo>
                    <a:pt x="1824" y="3328"/>
                  </a:lnTo>
                  <a:lnTo>
                    <a:pt x="1828" y="3326"/>
                  </a:lnTo>
                  <a:lnTo>
                    <a:pt x="1834" y="3326"/>
                  </a:lnTo>
                  <a:lnTo>
                    <a:pt x="1838" y="3328"/>
                  </a:lnTo>
                  <a:lnTo>
                    <a:pt x="1840" y="3330"/>
                  </a:lnTo>
                  <a:lnTo>
                    <a:pt x="1848" y="3340"/>
                  </a:lnTo>
                  <a:lnTo>
                    <a:pt x="1864" y="3372"/>
                  </a:lnTo>
                  <a:lnTo>
                    <a:pt x="1880" y="3406"/>
                  </a:lnTo>
                  <a:lnTo>
                    <a:pt x="1888" y="3418"/>
                  </a:lnTo>
                  <a:lnTo>
                    <a:pt x="1896" y="3428"/>
                  </a:lnTo>
                  <a:lnTo>
                    <a:pt x="1900" y="3434"/>
                  </a:lnTo>
                  <a:lnTo>
                    <a:pt x="1900" y="3440"/>
                  </a:lnTo>
                  <a:lnTo>
                    <a:pt x="1902" y="3444"/>
                  </a:lnTo>
                  <a:lnTo>
                    <a:pt x="1908" y="3450"/>
                  </a:lnTo>
                  <a:lnTo>
                    <a:pt x="1916" y="3458"/>
                  </a:lnTo>
                  <a:lnTo>
                    <a:pt x="1922" y="3470"/>
                  </a:lnTo>
                  <a:lnTo>
                    <a:pt x="1926" y="3482"/>
                  </a:lnTo>
                  <a:lnTo>
                    <a:pt x="1926" y="3486"/>
                  </a:lnTo>
                  <a:lnTo>
                    <a:pt x="1924" y="3492"/>
                  </a:lnTo>
                  <a:lnTo>
                    <a:pt x="1922" y="3496"/>
                  </a:lnTo>
                  <a:lnTo>
                    <a:pt x="1924" y="3502"/>
                  </a:lnTo>
                  <a:lnTo>
                    <a:pt x="1926" y="3506"/>
                  </a:lnTo>
                  <a:lnTo>
                    <a:pt x="1928" y="3512"/>
                  </a:lnTo>
                  <a:lnTo>
                    <a:pt x="1938" y="3522"/>
                  </a:lnTo>
                  <a:lnTo>
                    <a:pt x="1944" y="3526"/>
                  </a:lnTo>
                  <a:lnTo>
                    <a:pt x="1952" y="3528"/>
                  </a:lnTo>
                  <a:lnTo>
                    <a:pt x="1958" y="3532"/>
                  </a:lnTo>
                  <a:lnTo>
                    <a:pt x="1964" y="3538"/>
                  </a:lnTo>
                  <a:lnTo>
                    <a:pt x="1970" y="3548"/>
                  </a:lnTo>
                  <a:lnTo>
                    <a:pt x="1976" y="3560"/>
                  </a:lnTo>
                  <a:lnTo>
                    <a:pt x="1988" y="3586"/>
                  </a:lnTo>
                  <a:lnTo>
                    <a:pt x="1996" y="3610"/>
                  </a:lnTo>
                  <a:lnTo>
                    <a:pt x="1998" y="3620"/>
                  </a:lnTo>
                  <a:lnTo>
                    <a:pt x="1998" y="3626"/>
                  </a:lnTo>
                  <a:lnTo>
                    <a:pt x="1998" y="3632"/>
                  </a:lnTo>
                  <a:lnTo>
                    <a:pt x="1996" y="3636"/>
                  </a:lnTo>
                  <a:lnTo>
                    <a:pt x="1994" y="3638"/>
                  </a:lnTo>
                  <a:lnTo>
                    <a:pt x="1992" y="3642"/>
                  </a:lnTo>
                  <a:lnTo>
                    <a:pt x="1994" y="3648"/>
                  </a:lnTo>
                  <a:lnTo>
                    <a:pt x="1996" y="3656"/>
                  </a:lnTo>
                  <a:lnTo>
                    <a:pt x="2000" y="3664"/>
                  </a:lnTo>
                  <a:lnTo>
                    <a:pt x="2000" y="3668"/>
                  </a:lnTo>
                  <a:lnTo>
                    <a:pt x="1998" y="3670"/>
                  </a:lnTo>
                  <a:lnTo>
                    <a:pt x="1998" y="3672"/>
                  </a:lnTo>
                  <a:lnTo>
                    <a:pt x="1996" y="3674"/>
                  </a:lnTo>
                  <a:lnTo>
                    <a:pt x="1996" y="3676"/>
                  </a:lnTo>
                  <a:lnTo>
                    <a:pt x="2004" y="3690"/>
                  </a:lnTo>
                  <a:lnTo>
                    <a:pt x="2014" y="3706"/>
                  </a:lnTo>
                  <a:lnTo>
                    <a:pt x="2020" y="3716"/>
                  </a:lnTo>
                  <a:lnTo>
                    <a:pt x="2026" y="3722"/>
                  </a:lnTo>
                  <a:lnTo>
                    <a:pt x="2036" y="3726"/>
                  </a:lnTo>
                  <a:lnTo>
                    <a:pt x="2042" y="3730"/>
                  </a:lnTo>
                  <a:lnTo>
                    <a:pt x="2048" y="3734"/>
                  </a:lnTo>
                  <a:lnTo>
                    <a:pt x="2058" y="3744"/>
                  </a:lnTo>
                  <a:lnTo>
                    <a:pt x="2064" y="3758"/>
                  </a:lnTo>
                  <a:lnTo>
                    <a:pt x="2072" y="3770"/>
                  </a:lnTo>
                  <a:lnTo>
                    <a:pt x="2078" y="3778"/>
                  </a:lnTo>
                  <a:lnTo>
                    <a:pt x="2082" y="3782"/>
                  </a:lnTo>
                  <a:lnTo>
                    <a:pt x="2084" y="3786"/>
                  </a:lnTo>
                  <a:lnTo>
                    <a:pt x="2084" y="3796"/>
                  </a:lnTo>
                  <a:lnTo>
                    <a:pt x="2086" y="3804"/>
                  </a:lnTo>
                  <a:lnTo>
                    <a:pt x="2088" y="3810"/>
                  </a:lnTo>
                  <a:lnTo>
                    <a:pt x="2092" y="3816"/>
                  </a:lnTo>
                  <a:lnTo>
                    <a:pt x="2094" y="3824"/>
                  </a:lnTo>
                  <a:lnTo>
                    <a:pt x="2096" y="3830"/>
                  </a:lnTo>
                  <a:lnTo>
                    <a:pt x="2098" y="3836"/>
                  </a:lnTo>
                  <a:lnTo>
                    <a:pt x="2108" y="3848"/>
                  </a:lnTo>
                  <a:lnTo>
                    <a:pt x="2120" y="3862"/>
                  </a:lnTo>
                  <a:lnTo>
                    <a:pt x="2124" y="3870"/>
                  </a:lnTo>
                  <a:lnTo>
                    <a:pt x="2126" y="3878"/>
                  </a:lnTo>
                  <a:lnTo>
                    <a:pt x="2128" y="3884"/>
                  </a:lnTo>
                  <a:lnTo>
                    <a:pt x="2130" y="3886"/>
                  </a:lnTo>
                  <a:lnTo>
                    <a:pt x="2134" y="3886"/>
                  </a:lnTo>
                  <a:lnTo>
                    <a:pt x="2138" y="3888"/>
                  </a:lnTo>
                  <a:lnTo>
                    <a:pt x="2140" y="3892"/>
                  </a:lnTo>
                  <a:lnTo>
                    <a:pt x="2144" y="3902"/>
                  </a:lnTo>
                  <a:lnTo>
                    <a:pt x="2146" y="3918"/>
                  </a:lnTo>
                  <a:lnTo>
                    <a:pt x="2148" y="3936"/>
                  </a:lnTo>
                  <a:lnTo>
                    <a:pt x="2146" y="3944"/>
                  </a:lnTo>
                  <a:lnTo>
                    <a:pt x="2142" y="3952"/>
                  </a:lnTo>
                  <a:lnTo>
                    <a:pt x="2142" y="3954"/>
                  </a:lnTo>
                  <a:lnTo>
                    <a:pt x="2142" y="3958"/>
                  </a:lnTo>
                  <a:lnTo>
                    <a:pt x="2144" y="3964"/>
                  </a:lnTo>
                  <a:lnTo>
                    <a:pt x="2146" y="3968"/>
                  </a:lnTo>
                  <a:lnTo>
                    <a:pt x="2146" y="3972"/>
                  </a:lnTo>
                  <a:lnTo>
                    <a:pt x="2144" y="3974"/>
                  </a:lnTo>
                  <a:lnTo>
                    <a:pt x="2140" y="3976"/>
                  </a:lnTo>
                  <a:lnTo>
                    <a:pt x="2142" y="3980"/>
                  </a:lnTo>
                  <a:lnTo>
                    <a:pt x="2146" y="3982"/>
                  </a:lnTo>
                  <a:lnTo>
                    <a:pt x="2148" y="3986"/>
                  </a:lnTo>
                  <a:lnTo>
                    <a:pt x="2150" y="3988"/>
                  </a:lnTo>
                  <a:lnTo>
                    <a:pt x="2150" y="3996"/>
                  </a:lnTo>
                  <a:lnTo>
                    <a:pt x="2152" y="4000"/>
                  </a:lnTo>
                  <a:lnTo>
                    <a:pt x="2154" y="4008"/>
                  </a:lnTo>
                  <a:lnTo>
                    <a:pt x="2156" y="4020"/>
                  </a:lnTo>
                  <a:lnTo>
                    <a:pt x="2158" y="4034"/>
                  </a:lnTo>
                  <a:lnTo>
                    <a:pt x="2162" y="4044"/>
                  </a:lnTo>
                  <a:lnTo>
                    <a:pt x="2166" y="4054"/>
                  </a:lnTo>
                  <a:lnTo>
                    <a:pt x="2166" y="4058"/>
                  </a:lnTo>
                  <a:lnTo>
                    <a:pt x="2166" y="4064"/>
                  </a:lnTo>
                  <a:lnTo>
                    <a:pt x="2164" y="4072"/>
                  </a:lnTo>
                  <a:lnTo>
                    <a:pt x="2166" y="4076"/>
                  </a:lnTo>
                  <a:lnTo>
                    <a:pt x="2168" y="4082"/>
                  </a:lnTo>
                  <a:lnTo>
                    <a:pt x="2172" y="4092"/>
                  </a:lnTo>
                  <a:lnTo>
                    <a:pt x="2176" y="4100"/>
                  </a:lnTo>
                  <a:lnTo>
                    <a:pt x="2178" y="4102"/>
                  </a:lnTo>
                  <a:lnTo>
                    <a:pt x="2180" y="4102"/>
                  </a:lnTo>
                  <a:lnTo>
                    <a:pt x="2184" y="4100"/>
                  </a:lnTo>
                  <a:lnTo>
                    <a:pt x="2186" y="4102"/>
                  </a:lnTo>
                  <a:lnTo>
                    <a:pt x="2190" y="4104"/>
                  </a:lnTo>
                  <a:lnTo>
                    <a:pt x="2196" y="4108"/>
                  </a:lnTo>
                  <a:lnTo>
                    <a:pt x="2200" y="4106"/>
                  </a:lnTo>
                  <a:lnTo>
                    <a:pt x="2204" y="4104"/>
                  </a:lnTo>
                  <a:lnTo>
                    <a:pt x="2208" y="4104"/>
                  </a:lnTo>
                  <a:lnTo>
                    <a:pt x="2212" y="4104"/>
                  </a:lnTo>
                  <a:lnTo>
                    <a:pt x="2214" y="4102"/>
                  </a:lnTo>
                  <a:lnTo>
                    <a:pt x="2218" y="4098"/>
                  </a:lnTo>
                  <a:lnTo>
                    <a:pt x="2226" y="4098"/>
                  </a:lnTo>
                  <a:lnTo>
                    <a:pt x="2232" y="4100"/>
                  </a:lnTo>
                  <a:lnTo>
                    <a:pt x="2236" y="4098"/>
                  </a:lnTo>
                  <a:lnTo>
                    <a:pt x="2238" y="4096"/>
                  </a:lnTo>
                  <a:lnTo>
                    <a:pt x="2240" y="4094"/>
                  </a:lnTo>
                  <a:lnTo>
                    <a:pt x="2242" y="4090"/>
                  </a:lnTo>
                  <a:lnTo>
                    <a:pt x="2244" y="4088"/>
                  </a:lnTo>
                  <a:lnTo>
                    <a:pt x="2248" y="4088"/>
                  </a:lnTo>
                  <a:lnTo>
                    <a:pt x="2252" y="4086"/>
                  </a:lnTo>
                  <a:lnTo>
                    <a:pt x="2254" y="4084"/>
                  </a:lnTo>
                  <a:lnTo>
                    <a:pt x="2258" y="4074"/>
                  </a:lnTo>
                  <a:lnTo>
                    <a:pt x="2262" y="4070"/>
                  </a:lnTo>
                  <a:lnTo>
                    <a:pt x="2266" y="4068"/>
                  </a:lnTo>
                  <a:lnTo>
                    <a:pt x="2274" y="4066"/>
                  </a:lnTo>
                  <a:lnTo>
                    <a:pt x="2284" y="4066"/>
                  </a:lnTo>
                  <a:lnTo>
                    <a:pt x="2300" y="4066"/>
                  </a:lnTo>
                  <a:lnTo>
                    <a:pt x="2312" y="4062"/>
                  </a:lnTo>
                  <a:lnTo>
                    <a:pt x="2324" y="4058"/>
                  </a:lnTo>
                  <a:lnTo>
                    <a:pt x="2334" y="4050"/>
                  </a:lnTo>
                  <a:lnTo>
                    <a:pt x="2348" y="4038"/>
                  </a:lnTo>
                  <a:lnTo>
                    <a:pt x="2356" y="4036"/>
                  </a:lnTo>
                  <a:lnTo>
                    <a:pt x="2364" y="4036"/>
                  </a:lnTo>
                  <a:lnTo>
                    <a:pt x="2370" y="4038"/>
                  </a:lnTo>
                  <a:lnTo>
                    <a:pt x="2374" y="4038"/>
                  </a:lnTo>
                  <a:lnTo>
                    <a:pt x="2382" y="4034"/>
                  </a:lnTo>
                  <a:lnTo>
                    <a:pt x="2390" y="4028"/>
                  </a:lnTo>
                  <a:lnTo>
                    <a:pt x="2398" y="4020"/>
                  </a:lnTo>
                  <a:lnTo>
                    <a:pt x="2406" y="4010"/>
                  </a:lnTo>
                  <a:lnTo>
                    <a:pt x="2416" y="4002"/>
                  </a:lnTo>
                  <a:lnTo>
                    <a:pt x="2426" y="3998"/>
                  </a:lnTo>
                  <a:lnTo>
                    <a:pt x="2432" y="3996"/>
                  </a:lnTo>
                  <a:lnTo>
                    <a:pt x="2438" y="3998"/>
                  </a:lnTo>
                  <a:lnTo>
                    <a:pt x="2442" y="3998"/>
                  </a:lnTo>
                  <a:lnTo>
                    <a:pt x="2446" y="3996"/>
                  </a:lnTo>
                  <a:lnTo>
                    <a:pt x="2452" y="3992"/>
                  </a:lnTo>
                  <a:lnTo>
                    <a:pt x="2462" y="3986"/>
                  </a:lnTo>
                  <a:lnTo>
                    <a:pt x="2468" y="3982"/>
                  </a:lnTo>
                  <a:lnTo>
                    <a:pt x="2480" y="3978"/>
                  </a:lnTo>
                  <a:lnTo>
                    <a:pt x="2500" y="3972"/>
                  </a:lnTo>
                  <a:lnTo>
                    <a:pt x="2506" y="3968"/>
                  </a:lnTo>
                  <a:lnTo>
                    <a:pt x="2510" y="3966"/>
                  </a:lnTo>
                  <a:lnTo>
                    <a:pt x="2520" y="3962"/>
                  </a:lnTo>
                  <a:lnTo>
                    <a:pt x="2526" y="3960"/>
                  </a:lnTo>
                  <a:lnTo>
                    <a:pt x="2528" y="3954"/>
                  </a:lnTo>
                  <a:lnTo>
                    <a:pt x="2528" y="3942"/>
                  </a:lnTo>
                  <a:lnTo>
                    <a:pt x="2528" y="3934"/>
                  </a:lnTo>
                  <a:lnTo>
                    <a:pt x="2532" y="3926"/>
                  </a:lnTo>
                  <a:lnTo>
                    <a:pt x="2542" y="3916"/>
                  </a:lnTo>
                  <a:lnTo>
                    <a:pt x="2562" y="3906"/>
                  </a:lnTo>
                  <a:lnTo>
                    <a:pt x="2566" y="3902"/>
                  </a:lnTo>
                  <a:lnTo>
                    <a:pt x="2572" y="3902"/>
                  </a:lnTo>
                  <a:lnTo>
                    <a:pt x="2578" y="3902"/>
                  </a:lnTo>
                  <a:lnTo>
                    <a:pt x="2584" y="3902"/>
                  </a:lnTo>
                  <a:lnTo>
                    <a:pt x="2586" y="3900"/>
                  </a:lnTo>
                  <a:lnTo>
                    <a:pt x="2594" y="3894"/>
                  </a:lnTo>
                  <a:lnTo>
                    <a:pt x="2600" y="3892"/>
                  </a:lnTo>
                  <a:lnTo>
                    <a:pt x="2606" y="3890"/>
                  </a:lnTo>
                  <a:lnTo>
                    <a:pt x="2614" y="3888"/>
                  </a:lnTo>
                  <a:lnTo>
                    <a:pt x="2624" y="3890"/>
                  </a:lnTo>
                  <a:lnTo>
                    <a:pt x="2630" y="3890"/>
                  </a:lnTo>
                  <a:lnTo>
                    <a:pt x="2634" y="3890"/>
                  </a:lnTo>
                  <a:lnTo>
                    <a:pt x="2638" y="3888"/>
                  </a:lnTo>
                  <a:lnTo>
                    <a:pt x="2642" y="3886"/>
                  </a:lnTo>
                  <a:lnTo>
                    <a:pt x="2646" y="3878"/>
                  </a:lnTo>
                  <a:lnTo>
                    <a:pt x="2650" y="3868"/>
                  </a:lnTo>
                  <a:lnTo>
                    <a:pt x="2654" y="3858"/>
                  </a:lnTo>
                  <a:lnTo>
                    <a:pt x="2658" y="3850"/>
                  </a:lnTo>
                  <a:lnTo>
                    <a:pt x="2664" y="3844"/>
                  </a:lnTo>
                  <a:lnTo>
                    <a:pt x="2670" y="3842"/>
                  </a:lnTo>
                  <a:lnTo>
                    <a:pt x="2676" y="3842"/>
                  </a:lnTo>
                  <a:lnTo>
                    <a:pt x="2690" y="3840"/>
                  </a:lnTo>
                  <a:lnTo>
                    <a:pt x="2698" y="3836"/>
                  </a:lnTo>
                  <a:lnTo>
                    <a:pt x="2702" y="3830"/>
                  </a:lnTo>
                  <a:lnTo>
                    <a:pt x="2704" y="3822"/>
                  </a:lnTo>
                  <a:lnTo>
                    <a:pt x="2708" y="3814"/>
                  </a:lnTo>
                  <a:lnTo>
                    <a:pt x="2712" y="3806"/>
                  </a:lnTo>
                  <a:lnTo>
                    <a:pt x="2720" y="3798"/>
                  </a:lnTo>
                  <a:lnTo>
                    <a:pt x="2734" y="3794"/>
                  </a:lnTo>
                  <a:lnTo>
                    <a:pt x="2746" y="3790"/>
                  </a:lnTo>
                  <a:lnTo>
                    <a:pt x="2752" y="3786"/>
                  </a:lnTo>
                  <a:lnTo>
                    <a:pt x="2754" y="3782"/>
                  </a:lnTo>
                  <a:lnTo>
                    <a:pt x="2752" y="3776"/>
                  </a:lnTo>
                  <a:lnTo>
                    <a:pt x="2750" y="3768"/>
                  </a:lnTo>
                  <a:lnTo>
                    <a:pt x="2750" y="3758"/>
                  </a:lnTo>
                  <a:lnTo>
                    <a:pt x="2750" y="3746"/>
                  </a:lnTo>
                  <a:lnTo>
                    <a:pt x="2754" y="3730"/>
                  </a:lnTo>
                  <a:lnTo>
                    <a:pt x="2760" y="3716"/>
                  </a:lnTo>
                  <a:lnTo>
                    <a:pt x="2764" y="3710"/>
                  </a:lnTo>
                  <a:lnTo>
                    <a:pt x="2768" y="3712"/>
                  </a:lnTo>
                  <a:lnTo>
                    <a:pt x="2770" y="3714"/>
                  </a:lnTo>
                  <a:lnTo>
                    <a:pt x="2772" y="3718"/>
                  </a:lnTo>
                  <a:lnTo>
                    <a:pt x="2776" y="3720"/>
                  </a:lnTo>
                  <a:lnTo>
                    <a:pt x="2780" y="3716"/>
                  </a:lnTo>
                  <a:lnTo>
                    <a:pt x="2786" y="3704"/>
                  </a:lnTo>
                  <a:lnTo>
                    <a:pt x="2792" y="3692"/>
                  </a:lnTo>
                  <a:lnTo>
                    <a:pt x="2796" y="3684"/>
                  </a:lnTo>
                  <a:lnTo>
                    <a:pt x="2806" y="3674"/>
                  </a:lnTo>
                  <a:lnTo>
                    <a:pt x="2816" y="3664"/>
                  </a:lnTo>
                  <a:lnTo>
                    <a:pt x="2820" y="3656"/>
                  </a:lnTo>
                  <a:lnTo>
                    <a:pt x="2824" y="3644"/>
                  </a:lnTo>
                  <a:lnTo>
                    <a:pt x="2830" y="3628"/>
                  </a:lnTo>
                  <a:lnTo>
                    <a:pt x="2834" y="3618"/>
                  </a:lnTo>
                  <a:lnTo>
                    <a:pt x="2834" y="3616"/>
                  </a:lnTo>
                  <a:lnTo>
                    <a:pt x="2832" y="3614"/>
                  </a:lnTo>
                  <a:lnTo>
                    <a:pt x="2822" y="3608"/>
                  </a:lnTo>
                  <a:close/>
                  <a:moveTo>
                    <a:pt x="2468" y="3400"/>
                  </a:moveTo>
                  <a:lnTo>
                    <a:pt x="2468" y="3400"/>
                  </a:lnTo>
                  <a:lnTo>
                    <a:pt x="2470" y="3400"/>
                  </a:lnTo>
                  <a:lnTo>
                    <a:pt x="2468" y="3400"/>
                  </a:lnTo>
                  <a:close/>
                  <a:moveTo>
                    <a:pt x="1836" y="3098"/>
                  </a:moveTo>
                  <a:lnTo>
                    <a:pt x="1836" y="3098"/>
                  </a:lnTo>
                  <a:lnTo>
                    <a:pt x="1838" y="3094"/>
                  </a:lnTo>
                  <a:lnTo>
                    <a:pt x="1842" y="3094"/>
                  </a:lnTo>
                  <a:lnTo>
                    <a:pt x="1838" y="3094"/>
                  </a:lnTo>
                  <a:lnTo>
                    <a:pt x="1836" y="3098"/>
                  </a:lnTo>
                  <a:close/>
                  <a:moveTo>
                    <a:pt x="1856" y="3100"/>
                  </a:moveTo>
                  <a:lnTo>
                    <a:pt x="1856" y="3100"/>
                  </a:lnTo>
                  <a:lnTo>
                    <a:pt x="1856" y="3102"/>
                  </a:lnTo>
                  <a:lnTo>
                    <a:pt x="1856" y="3100"/>
                  </a:lnTo>
                  <a:lnTo>
                    <a:pt x="1856" y="3090"/>
                  </a:lnTo>
                  <a:lnTo>
                    <a:pt x="1858" y="3084"/>
                  </a:lnTo>
                  <a:lnTo>
                    <a:pt x="1860" y="3082"/>
                  </a:lnTo>
                  <a:lnTo>
                    <a:pt x="1858" y="3084"/>
                  </a:lnTo>
                  <a:lnTo>
                    <a:pt x="1856" y="3090"/>
                  </a:lnTo>
                  <a:lnTo>
                    <a:pt x="1856" y="310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4" name="Freeform 6156">
              <a:extLst>
                <a:ext uri="{FF2B5EF4-FFF2-40B4-BE49-F238E27FC236}">
                  <a16:creationId xmlns:a16="http://schemas.microsoft.com/office/drawing/2014/main" id="{BD9AA44D-145D-44AC-A33D-77DC4BFA3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67288" y="879494"/>
              <a:ext cx="3719525" cy="3473436"/>
            </a:xfrm>
            <a:custGeom>
              <a:avLst/>
              <a:gdLst>
                <a:gd name="T0" fmla="*/ 334096 w 5856"/>
                <a:gd name="T1" fmla="*/ 341505 h 5472"/>
                <a:gd name="T2" fmla="*/ 374746 w 5856"/>
                <a:gd name="T3" fmla="*/ 60938 h 5472"/>
                <a:gd name="T4" fmla="*/ 2452998 w 5856"/>
                <a:gd name="T5" fmla="*/ 316114 h 5472"/>
                <a:gd name="T6" fmla="*/ 3177084 w 5856"/>
                <a:gd name="T7" fmla="*/ 608108 h 5472"/>
                <a:gd name="T8" fmla="*/ 2139228 w 5856"/>
                <a:gd name="T9" fmla="*/ 481154 h 5472"/>
                <a:gd name="T10" fmla="*/ 256606 w 5856"/>
                <a:gd name="T11" fmla="*/ 559865 h 5472"/>
                <a:gd name="T12" fmla="*/ 48272 w 5856"/>
                <a:gd name="T13" fmla="*/ 76172 h 5472"/>
                <a:gd name="T14" fmla="*/ 461128 w 5856"/>
                <a:gd name="T15" fmla="*/ 11426 h 5472"/>
                <a:gd name="T16" fmla="*/ 438262 w 5856"/>
                <a:gd name="T17" fmla="*/ 78711 h 5472"/>
                <a:gd name="T18" fmla="*/ 1814025 w 5856"/>
                <a:gd name="T19" fmla="*/ 3336340 h 5472"/>
                <a:gd name="T20" fmla="*/ 2066820 w 5856"/>
                <a:gd name="T21" fmla="*/ 2794248 h 5472"/>
                <a:gd name="T22" fmla="*/ 2090956 w 5856"/>
                <a:gd name="T23" fmla="*/ 2845030 h 5472"/>
                <a:gd name="T24" fmla="*/ 2021088 w 5856"/>
                <a:gd name="T25" fmla="*/ 2668564 h 5472"/>
                <a:gd name="T26" fmla="*/ 2068090 w 5856"/>
                <a:gd name="T27" fmla="*/ 2759971 h 5472"/>
                <a:gd name="T28" fmla="*/ 2012196 w 5856"/>
                <a:gd name="T29" fmla="*/ 2762510 h 5472"/>
                <a:gd name="T30" fmla="*/ 2125255 w 5856"/>
                <a:gd name="T31" fmla="*/ 3088781 h 5472"/>
                <a:gd name="T32" fmla="*/ 2097307 w 5856"/>
                <a:gd name="T33" fmla="*/ 1976667 h 5472"/>
                <a:gd name="T34" fmla="*/ 2010925 w 5856"/>
                <a:gd name="T35" fmla="*/ 3324914 h 5472"/>
                <a:gd name="T36" fmla="*/ 2102389 w 5856"/>
                <a:gd name="T37" fmla="*/ 1863679 h 5472"/>
                <a:gd name="T38" fmla="*/ 1256352 w 5856"/>
                <a:gd name="T39" fmla="*/ 2824717 h 5472"/>
                <a:gd name="T40" fmla="*/ 1637450 w 5856"/>
                <a:gd name="T41" fmla="*/ 2959288 h 5472"/>
                <a:gd name="T42" fmla="*/ 1636179 w 5856"/>
                <a:gd name="T43" fmla="*/ 3313488 h 5472"/>
                <a:gd name="T44" fmla="*/ 1580285 w 5856"/>
                <a:gd name="T45" fmla="*/ 3222082 h 5472"/>
                <a:gd name="T46" fmla="*/ 1342734 w 5856"/>
                <a:gd name="T47" fmla="*/ 2956749 h 5472"/>
                <a:gd name="T48" fmla="*/ 5081 w 5856"/>
                <a:gd name="T49" fmla="*/ 3446790 h 5472"/>
                <a:gd name="T50" fmla="*/ 2179879 w 5856"/>
                <a:gd name="T51" fmla="*/ 2182332 h 5472"/>
                <a:gd name="T52" fmla="*/ 2291667 w 5856"/>
                <a:gd name="T53" fmla="*/ 2007136 h 5472"/>
                <a:gd name="T54" fmla="*/ 1948679 w 5856"/>
                <a:gd name="T55" fmla="*/ 3044347 h 5472"/>
                <a:gd name="T56" fmla="*/ 1984248 w 5856"/>
                <a:gd name="T57" fmla="*/ 3100206 h 5472"/>
                <a:gd name="T58" fmla="*/ 1942328 w 5856"/>
                <a:gd name="T59" fmla="*/ 2744736 h 5472"/>
                <a:gd name="T60" fmla="*/ 2132876 w 5856"/>
                <a:gd name="T61" fmla="*/ 3114171 h 5472"/>
                <a:gd name="T62" fmla="*/ 2483486 w 5856"/>
                <a:gd name="T63" fmla="*/ 1744342 h 5472"/>
                <a:gd name="T64" fmla="*/ 2336129 w 5856"/>
                <a:gd name="T65" fmla="*/ 1971589 h 5472"/>
                <a:gd name="T66" fmla="*/ 2107470 w 5856"/>
                <a:gd name="T67" fmla="*/ 1984284 h 5472"/>
                <a:gd name="T68" fmla="*/ 2536840 w 5856"/>
                <a:gd name="T69" fmla="*/ 1350786 h 5472"/>
                <a:gd name="T70" fmla="*/ 2451728 w 5856"/>
                <a:gd name="T71" fmla="*/ 1727838 h 5472"/>
                <a:gd name="T72" fmla="*/ 2022358 w 5856"/>
                <a:gd name="T73" fmla="*/ 2660947 h 5472"/>
                <a:gd name="T74" fmla="*/ 1906759 w 5856"/>
                <a:gd name="T75" fmla="*/ 2780283 h 5472"/>
                <a:gd name="T76" fmla="*/ 2087145 w 5856"/>
                <a:gd name="T77" fmla="*/ 2730772 h 5472"/>
                <a:gd name="T78" fmla="*/ 1878811 w 5856"/>
                <a:gd name="T79" fmla="*/ 2870420 h 5472"/>
                <a:gd name="T80" fmla="*/ 1669208 w 5856"/>
                <a:gd name="T81" fmla="*/ 3111632 h 5472"/>
                <a:gd name="T82" fmla="*/ 2046494 w 5856"/>
                <a:gd name="T83" fmla="*/ 2306747 h 5472"/>
                <a:gd name="T84" fmla="*/ 3226627 w 5856"/>
                <a:gd name="T85" fmla="*/ 603030 h 5472"/>
                <a:gd name="T86" fmla="*/ 2160824 w 5856"/>
                <a:gd name="T87" fmla="*/ 505275 h 5472"/>
                <a:gd name="T88" fmla="*/ 1448171 w 5856"/>
                <a:gd name="T89" fmla="*/ 275489 h 5472"/>
                <a:gd name="T90" fmla="*/ 899390 w 5856"/>
                <a:gd name="T91" fmla="*/ 483693 h 5472"/>
                <a:gd name="T92" fmla="*/ 736789 w 5856"/>
                <a:gd name="T93" fmla="*/ 700784 h 5472"/>
                <a:gd name="T94" fmla="*/ 137195 w 5856"/>
                <a:gd name="T95" fmla="*/ 684280 h 5472"/>
                <a:gd name="T96" fmla="*/ 415396 w 5856"/>
                <a:gd name="T97" fmla="*/ 2273739 h 5472"/>
                <a:gd name="T98" fmla="*/ 814279 w 5856"/>
                <a:gd name="T99" fmla="*/ 2748545 h 5472"/>
                <a:gd name="T100" fmla="*/ 1185214 w 5856"/>
                <a:gd name="T101" fmla="*/ 2338485 h 5472"/>
                <a:gd name="T102" fmla="*/ 1393547 w 5856"/>
                <a:gd name="T103" fmla="*/ 2695225 h 5472"/>
                <a:gd name="T104" fmla="*/ 1451982 w 5856"/>
                <a:gd name="T105" fmla="*/ 2856456 h 5472"/>
                <a:gd name="T106" fmla="*/ 1629828 w 5856"/>
                <a:gd name="T107" fmla="*/ 2740928 h 5472"/>
                <a:gd name="T108" fmla="*/ 1744157 w 5856"/>
                <a:gd name="T109" fmla="*/ 2391805 h 5472"/>
                <a:gd name="T110" fmla="*/ 1933435 w 5856"/>
                <a:gd name="T111" fmla="*/ 2254696 h 5472"/>
                <a:gd name="T112" fmla="*/ 1986789 w 5856"/>
                <a:gd name="T113" fmla="*/ 2059187 h 5472"/>
                <a:gd name="T114" fmla="*/ 1905488 w 5856"/>
                <a:gd name="T115" fmla="*/ 1812897 h 5472"/>
                <a:gd name="T116" fmla="*/ 2103659 w 5856"/>
                <a:gd name="T117" fmla="*/ 1858600 h 5472"/>
                <a:gd name="T118" fmla="*/ 2129066 w 5856"/>
                <a:gd name="T119" fmla="*/ 1809089 h 5472"/>
                <a:gd name="T120" fmla="*/ 2413618 w 5856"/>
                <a:gd name="T121" fmla="*/ 1277153 h 5472"/>
                <a:gd name="T122" fmla="*/ 3003049 w 5856"/>
                <a:gd name="T123" fmla="*/ 983890 h 5472"/>
                <a:gd name="T124" fmla="*/ 3079269 w 5856"/>
                <a:gd name="T125" fmla="*/ 1027054 h 547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856"/>
                <a:gd name="T190" fmla="*/ 0 h 5472"/>
                <a:gd name="T191" fmla="*/ 5856 w 5856"/>
                <a:gd name="T192" fmla="*/ 5472 h 547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856" h="5472">
                  <a:moveTo>
                    <a:pt x="1912" y="64"/>
                  </a:moveTo>
                  <a:lnTo>
                    <a:pt x="1912" y="64"/>
                  </a:lnTo>
                  <a:lnTo>
                    <a:pt x="1910" y="60"/>
                  </a:lnTo>
                  <a:lnTo>
                    <a:pt x="1902" y="58"/>
                  </a:lnTo>
                  <a:lnTo>
                    <a:pt x="1882" y="54"/>
                  </a:lnTo>
                  <a:lnTo>
                    <a:pt x="1862" y="54"/>
                  </a:lnTo>
                  <a:lnTo>
                    <a:pt x="1854" y="56"/>
                  </a:lnTo>
                  <a:lnTo>
                    <a:pt x="1850" y="60"/>
                  </a:lnTo>
                  <a:lnTo>
                    <a:pt x="1850" y="62"/>
                  </a:lnTo>
                  <a:lnTo>
                    <a:pt x="1852" y="64"/>
                  </a:lnTo>
                  <a:lnTo>
                    <a:pt x="1858" y="68"/>
                  </a:lnTo>
                  <a:lnTo>
                    <a:pt x="1868" y="70"/>
                  </a:lnTo>
                  <a:lnTo>
                    <a:pt x="1880" y="70"/>
                  </a:lnTo>
                  <a:lnTo>
                    <a:pt x="1902" y="68"/>
                  </a:lnTo>
                  <a:lnTo>
                    <a:pt x="1908" y="66"/>
                  </a:lnTo>
                  <a:lnTo>
                    <a:pt x="1912" y="64"/>
                  </a:lnTo>
                  <a:close/>
                  <a:moveTo>
                    <a:pt x="1078" y="706"/>
                  </a:moveTo>
                  <a:lnTo>
                    <a:pt x="1078" y="706"/>
                  </a:lnTo>
                  <a:lnTo>
                    <a:pt x="1094" y="702"/>
                  </a:lnTo>
                  <a:lnTo>
                    <a:pt x="1100" y="700"/>
                  </a:lnTo>
                  <a:lnTo>
                    <a:pt x="1104" y="698"/>
                  </a:lnTo>
                  <a:lnTo>
                    <a:pt x="1104" y="694"/>
                  </a:lnTo>
                  <a:lnTo>
                    <a:pt x="1104" y="690"/>
                  </a:lnTo>
                  <a:lnTo>
                    <a:pt x="1102" y="684"/>
                  </a:lnTo>
                  <a:lnTo>
                    <a:pt x="1094" y="678"/>
                  </a:lnTo>
                  <a:lnTo>
                    <a:pt x="1082" y="674"/>
                  </a:lnTo>
                  <a:lnTo>
                    <a:pt x="1070" y="674"/>
                  </a:lnTo>
                  <a:lnTo>
                    <a:pt x="1058" y="676"/>
                  </a:lnTo>
                  <a:lnTo>
                    <a:pt x="1048" y="682"/>
                  </a:lnTo>
                  <a:lnTo>
                    <a:pt x="1040" y="688"/>
                  </a:lnTo>
                  <a:lnTo>
                    <a:pt x="1036" y="694"/>
                  </a:lnTo>
                  <a:lnTo>
                    <a:pt x="1036" y="700"/>
                  </a:lnTo>
                  <a:lnTo>
                    <a:pt x="1040" y="704"/>
                  </a:lnTo>
                  <a:lnTo>
                    <a:pt x="1048" y="708"/>
                  </a:lnTo>
                  <a:lnTo>
                    <a:pt x="1060" y="708"/>
                  </a:lnTo>
                  <a:lnTo>
                    <a:pt x="1078" y="706"/>
                  </a:lnTo>
                  <a:close/>
                  <a:moveTo>
                    <a:pt x="1928" y="154"/>
                  </a:moveTo>
                  <a:lnTo>
                    <a:pt x="1928" y="154"/>
                  </a:lnTo>
                  <a:lnTo>
                    <a:pt x="1914" y="152"/>
                  </a:lnTo>
                  <a:lnTo>
                    <a:pt x="1902" y="154"/>
                  </a:lnTo>
                  <a:lnTo>
                    <a:pt x="1894" y="156"/>
                  </a:lnTo>
                  <a:lnTo>
                    <a:pt x="1890" y="160"/>
                  </a:lnTo>
                  <a:lnTo>
                    <a:pt x="1890" y="164"/>
                  </a:lnTo>
                  <a:lnTo>
                    <a:pt x="1894" y="168"/>
                  </a:lnTo>
                  <a:lnTo>
                    <a:pt x="1900" y="172"/>
                  </a:lnTo>
                  <a:lnTo>
                    <a:pt x="1910" y="176"/>
                  </a:lnTo>
                  <a:lnTo>
                    <a:pt x="1920" y="178"/>
                  </a:lnTo>
                  <a:lnTo>
                    <a:pt x="1926" y="180"/>
                  </a:lnTo>
                  <a:lnTo>
                    <a:pt x="1932" y="186"/>
                  </a:lnTo>
                  <a:lnTo>
                    <a:pt x="1934" y="188"/>
                  </a:lnTo>
                  <a:lnTo>
                    <a:pt x="1938" y="190"/>
                  </a:lnTo>
                  <a:lnTo>
                    <a:pt x="1956" y="188"/>
                  </a:lnTo>
                  <a:lnTo>
                    <a:pt x="1982" y="180"/>
                  </a:lnTo>
                  <a:lnTo>
                    <a:pt x="1996" y="174"/>
                  </a:lnTo>
                  <a:lnTo>
                    <a:pt x="2000" y="172"/>
                  </a:lnTo>
                  <a:lnTo>
                    <a:pt x="2000" y="170"/>
                  </a:lnTo>
                  <a:lnTo>
                    <a:pt x="1998" y="168"/>
                  </a:lnTo>
                  <a:lnTo>
                    <a:pt x="1994" y="166"/>
                  </a:lnTo>
                  <a:lnTo>
                    <a:pt x="1982" y="162"/>
                  </a:lnTo>
                  <a:lnTo>
                    <a:pt x="1964" y="158"/>
                  </a:lnTo>
                  <a:lnTo>
                    <a:pt x="1928" y="154"/>
                  </a:lnTo>
                  <a:close/>
                  <a:moveTo>
                    <a:pt x="526" y="138"/>
                  </a:moveTo>
                  <a:lnTo>
                    <a:pt x="526" y="138"/>
                  </a:lnTo>
                  <a:lnTo>
                    <a:pt x="532" y="144"/>
                  </a:lnTo>
                  <a:lnTo>
                    <a:pt x="538" y="148"/>
                  </a:lnTo>
                  <a:lnTo>
                    <a:pt x="552" y="152"/>
                  </a:lnTo>
                  <a:lnTo>
                    <a:pt x="558" y="154"/>
                  </a:lnTo>
                  <a:lnTo>
                    <a:pt x="562" y="152"/>
                  </a:lnTo>
                  <a:lnTo>
                    <a:pt x="564" y="150"/>
                  </a:lnTo>
                  <a:lnTo>
                    <a:pt x="564" y="146"/>
                  </a:lnTo>
                  <a:lnTo>
                    <a:pt x="564" y="142"/>
                  </a:lnTo>
                  <a:lnTo>
                    <a:pt x="568" y="140"/>
                  </a:lnTo>
                  <a:lnTo>
                    <a:pt x="572" y="136"/>
                  </a:lnTo>
                  <a:lnTo>
                    <a:pt x="582" y="136"/>
                  </a:lnTo>
                  <a:lnTo>
                    <a:pt x="600" y="134"/>
                  </a:lnTo>
                  <a:lnTo>
                    <a:pt x="604" y="132"/>
                  </a:lnTo>
                  <a:lnTo>
                    <a:pt x="606" y="130"/>
                  </a:lnTo>
                  <a:lnTo>
                    <a:pt x="604" y="128"/>
                  </a:lnTo>
                  <a:lnTo>
                    <a:pt x="598" y="126"/>
                  </a:lnTo>
                  <a:lnTo>
                    <a:pt x="580" y="122"/>
                  </a:lnTo>
                  <a:lnTo>
                    <a:pt x="556" y="120"/>
                  </a:lnTo>
                  <a:lnTo>
                    <a:pt x="534" y="122"/>
                  </a:lnTo>
                  <a:lnTo>
                    <a:pt x="526" y="124"/>
                  </a:lnTo>
                  <a:lnTo>
                    <a:pt x="522" y="126"/>
                  </a:lnTo>
                  <a:lnTo>
                    <a:pt x="522" y="132"/>
                  </a:lnTo>
                  <a:lnTo>
                    <a:pt x="526" y="138"/>
                  </a:lnTo>
                  <a:close/>
                  <a:moveTo>
                    <a:pt x="658" y="948"/>
                  </a:moveTo>
                  <a:lnTo>
                    <a:pt x="658" y="948"/>
                  </a:lnTo>
                  <a:lnTo>
                    <a:pt x="658" y="944"/>
                  </a:lnTo>
                  <a:lnTo>
                    <a:pt x="656" y="942"/>
                  </a:lnTo>
                  <a:lnTo>
                    <a:pt x="644" y="936"/>
                  </a:lnTo>
                  <a:lnTo>
                    <a:pt x="628" y="926"/>
                  </a:lnTo>
                  <a:lnTo>
                    <a:pt x="620" y="920"/>
                  </a:lnTo>
                  <a:lnTo>
                    <a:pt x="612" y="912"/>
                  </a:lnTo>
                  <a:lnTo>
                    <a:pt x="602" y="904"/>
                  </a:lnTo>
                  <a:lnTo>
                    <a:pt x="594" y="904"/>
                  </a:lnTo>
                  <a:lnTo>
                    <a:pt x="588" y="906"/>
                  </a:lnTo>
                  <a:lnTo>
                    <a:pt x="582" y="908"/>
                  </a:lnTo>
                  <a:lnTo>
                    <a:pt x="580" y="910"/>
                  </a:lnTo>
                  <a:lnTo>
                    <a:pt x="580" y="912"/>
                  </a:lnTo>
                  <a:lnTo>
                    <a:pt x="582" y="916"/>
                  </a:lnTo>
                  <a:lnTo>
                    <a:pt x="584" y="920"/>
                  </a:lnTo>
                  <a:lnTo>
                    <a:pt x="582" y="920"/>
                  </a:lnTo>
                  <a:lnTo>
                    <a:pt x="578" y="918"/>
                  </a:lnTo>
                  <a:lnTo>
                    <a:pt x="576" y="918"/>
                  </a:lnTo>
                  <a:lnTo>
                    <a:pt x="574" y="920"/>
                  </a:lnTo>
                  <a:lnTo>
                    <a:pt x="576" y="924"/>
                  </a:lnTo>
                  <a:lnTo>
                    <a:pt x="580" y="930"/>
                  </a:lnTo>
                  <a:lnTo>
                    <a:pt x="588" y="940"/>
                  </a:lnTo>
                  <a:lnTo>
                    <a:pt x="594" y="944"/>
                  </a:lnTo>
                  <a:lnTo>
                    <a:pt x="596" y="946"/>
                  </a:lnTo>
                  <a:lnTo>
                    <a:pt x="600" y="944"/>
                  </a:lnTo>
                  <a:lnTo>
                    <a:pt x="600" y="942"/>
                  </a:lnTo>
                  <a:lnTo>
                    <a:pt x="604" y="942"/>
                  </a:lnTo>
                  <a:lnTo>
                    <a:pt x="610" y="942"/>
                  </a:lnTo>
                  <a:lnTo>
                    <a:pt x="618" y="946"/>
                  </a:lnTo>
                  <a:lnTo>
                    <a:pt x="620" y="948"/>
                  </a:lnTo>
                  <a:lnTo>
                    <a:pt x="620" y="952"/>
                  </a:lnTo>
                  <a:lnTo>
                    <a:pt x="620" y="956"/>
                  </a:lnTo>
                  <a:lnTo>
                    <a:pt x="624" y="958"/>
                  </a:lnTo>
                  <a:lnTo>
                    <a:pt x="638" y="956"/>
                  </a:lnTo>
                  <a:lnTo>
                    <a:pt x="652" y="954"/>
                  </a:lnTo>
                  <a:lnTo>
                    <a:pt x="656" y="950"/>
                  </a:lnTo>
                  <a:lnTo>
                    <a:pt x="658" y="948"/>
                  </a:lnTo>
                  <a:close/>
                  <a:moveTo>
                    <a:pt x="768" y="460"/>
                  </a:moveTo>
                  <a:lnTo>
                    <a:pt x="768" y="460"/>
                  </a:lnTo>
                  <a:lnTo>
                    <a:pt x="752" y="466"/>
                  </a:lnTo>
                  <a:lnTo>
                    <a:pt x="742" y="468"/>
                  </a:lnTo>
                  <a:lnTo>
                    <a:pt x="736" y="468"/>
                  </a:lnTo>
                  <a:lnTo>
                    <a:pt x="732" y="466"/>
                  </a:lnTo>
                  <a:lnTo>
                    <a:pt x="728" y="462"/>
                  </a:lnTo>
                  <a:lnTo>
                    <a:pt x="722" y="460"/>
                  </a:lnTo>
                  <a:lnTo>
                    <a:pt x="712" y="458"/>
                  </a:lnTo>
                  <a:lnTo>
                    <a:pt x="698" y="460"/>
                  </a:lnTo>
                  <a:lnTo>
                    <a:pt x="682" y="462"/>
                  </a:lnTo>
                  <a:lnTo>
                    <a:pt x="674" y="464"/>
                  </a:lnTo>
                  <a:lnTo>
                    <a:pt x="672" y="468"/>
                  </a:lnTo>
                  <a:lnTo>
                    <a:pt x="672" y="470"/>
                  </a:lnTo>
                  <a:lnTo>
                    <a:pt x="674" y="474"/>
                  </a:lnTo>
                  <a:lnTo>
                    <a:pt x="674" y="476"/>
                  </a:lnTo>
                  <a:lnTo>
                    <a:pt x="672" y="478"/>
                  </a:lnTo>
                  <a:lnTo>
                    <a:pt x="664" y="476"/>
                  </a:lnTo>
                  <a:lnTo>
                    <a:pt x="652" y="478"/>
                  </a:lnTo>
                  <a:lnTo>
                    <a:pt x="636" y="480"/>
                  </a:lnTo>
                  <a:lnTo>
                    <a:pt x="620" y="484"/>
                  </a:lnTo>
                  <a:lnTo>
                    <a:pt x="602" y="492"/>
                  </a:lnTo>
                  <a:lnTo>
                    <a:pt x="584" y="500"/>
                  </a:lnTo>
                  <a:lnTo>
                    <a:pt x="568" y="508"/>
                  </a:lnTo>
                  <a:lnTo>
                    <a:pt x="554" y="518"/>
                  </a:lnTo>
                  <a:lnTo>
                    <a:pt x="544" y="528"/>
                  </a:lnTo>
                  <a:lnTo>
                    <a:pt x="538" y="536"/>
                  </a:lnTo>
                  <a:lnTo>
                    <a:pt x="532" y="538"/>
                  </a:lnTo>
                  <a:lnTo>
                    <a:pt x="528" y="538"/>
                  </a:lnTo>
                  <a:lnTo>
                    <a:pt x="526" y="538"/>
                  </a:lnTo>
                  <a:lnTo>
                    <a:pt x="524" y="536"/>
                  </a:lnTo>
                  <a:lnTo>
                    <a:pt x="520" y="534"/>
                  </a:lnTo>
                  <a:lnTo>
                    <a:pt x="514" y="536"/>
                  </a:lnTo>
                  <a:lnTo>
                    <a:pt x="506" y="542"/>
                  </a:lnTo>
                  <a:lnTo>
                    <a:pt x="498" y="548"/>
                  </a:lnTo>
                  <a:lnTo>
                    <a:pt x="494" y="550"/>
                  </a:lnTo>
                  <a:lnTo>
                    <a:pt x="490" y="548"/>
                  </a:lnTo>
                  <a:lnTo>
                    <a:pt x="488" y="546"/>
                  </a:lnTo>
                  <a:lnTo>
                    <a:pt x="488" y="544"/>
                  </a:lnTo>
                  <a:lnTo>
                    <a:pt x="484" y="542"/>
                  </a:lnTo>
                  <a:lnTo>
                    <a:pt x="480" y="542"/>
                  </a:lnTo>
                  <a:lnTo>
                    <a:pt x="474" y="546"/>
                  </a:lnTo>
                  <a:lnTo>
                    <a:pt x="470" y="550"/>
                  </a:lnTo>
                  <a:lnTo>
                    <a:pt x="468" y="554"/>
                  </a:lnTo>
                  <a:lnTo>
                    <a:pt x="470" y="558"/>
                  </a:lnTo>
                  <a:lnTo>
                    <a:pt x="474" y="560"/>
                  </a:lnTo>
                  <a:lnTo>
                    <a:pt x="480" y="564"/>
                  </a:lnTo>
                  <a:lnTo>
                    <a:pt x="480" y="568"/>
                  </a:lnTo>
                  <a:lnTo>
                    <a:pt x="476" y="570"/>
                  </a:lnTo>
                  <a:lnTo>
                    <a:pt x="472" y="572"/>
                  </a:lnTo>
                  <a:lnTo>
                    <a:pt x="470" y="576"/>
                  </a:lnTo>
                  <a:lnTo>
                    <a:pt x="472" y="578"/>
                  </a:lnTo>
                  <a:lnTo>
                    <a:pt x="476" y="580"/>
                  </a:lnTo>
                  <a:lnTo>
                    <a:pt x="478" y="582"/>
                  </a:lnTo>
                  <a:lnTo>
                    <a:pt x="478" y="584"/>
                  </a:lnTo>
                  <a:lnTo>
                    <a:pt x="476" y="586"/>
                  </a:lnTo>
                  <a:lnTo>
                    <a:pt x="468" y="586"/>
                  </a:lnTo>
                  <a:lnTo>
                    <a:pt x="460" y="588"/>
                  </a:lnTo>
                  <a:lnTo>
                    <a:pt x="454" y="594"/>
                  </a:lnTo>
                  <a:lnTo>
                    <a:pt x="450" y="600"/>
                  </a:lnTo>
                  <a:lnTo>
                    <a:pt x="446" y="606"/>
                  </a:lnTo>
                  <a:lnTo>
                    <a:pt x="442" y="614"/>
                  </a:lnTo>
                  <a:lnTo>
                    <a:pt x="436" y="622"/>
                  </a:lnTo>
                  <a:lnTo>
                    <a:pt x="426" y="630"/>
                  </a:lnTo>
                  <a:lnTo>
                    <a:pt x="414" y="636"/>
                  </a:lnTo>
                  <a:lnTo>
                    <a:pt x="390" y="648"/>
                  </a:lnTo>
                  <a:lnTo>
                    <a:pt x="384" y="654"/>
                  </a:lnTo>
                  <a:lnTo>
                    <a:pt x="380" y="658"/>
                  </a:lnTo>
                  <a:lnTo>
                    <a:pt x="380" y="662"/>
                  </a:lnTo>
                  <a:lnTo>
                    <a:pt x="382" y="666"/>
                  </a:lnTo>
                  <a:lnTo>
                    <a:pt x="390" y="666"/>
                  </a:lnTo>
                  <a:lnTo>
                    <a:pt x="400" y="666"/>
                  </a:lnTo>
                  <a:lnTo>
                    <a:pt x="408" y="668"/>
                  </a:lnTo>
                  <a:lnTo>
                    <a:pt x="410" y="670"/>
                  </a:lnTo>
                  <a:lnTo>
                    <a:pt x="408" y="674"/>
                  </a:lnTo>
                  <a:lnTo>
                    <a:pt x="406" y="678"/>
                  </a:lnTo>
                  <a:lnTo>
                    <a:pt x="402" y="680"/>
                  </a:lnTo>
                  <a:lnTo>
                    <a:pt x="402" y="684"/>
                  </a:lnTo>
                  <a:lnTo>
                    <a:pt x="406" y="684"/>
                  </a:lnTo>
                  <a:lnTo>
                    <a:pt x="416" y="682"/>
                  </a:lnTo>
                  <a:lnTo>
                    <a:pt x="438" y="676"/>
                  </a:lnTo>
                  <a:lnTo>
                    <a:pt x="446" y="676"/>
                  </a:lnTo>
                  <a:lnTo>
                    <a:pt x="454" y="676"/>
                  </a:lnTo>
                  <a:lnTo>
                    <a:pt x="460" y="678"/>
                  </a:lnTo>
                  <a:lnTo>
                    <a:pt x="466" y="682"/>
                  </a:lnTo>
                  <a:lnTo>
                    <a:pt x="486" y="692"/>
                  </a:lnTo>
                  <a:lnTo>
                    <a:pt x="496" y="696"/>
                  </a:lnTo>
                  <a:lnTo>
                    <a:pt x="508" y="694"/>
                  </a:lnTo>
                  <a:lnTo>
                    <a:pt x="514" y="692"/>
                  </a:lnTo>
                  <a:lnTo>
                    <a:pt x="518" y="690"/>
                  </a:lnTo>
                  <a:lnTo>
                    <a:pt x="522" y="686"/>
                  </a:lnTo>
                  <a:lnTo>
                    <a:pt x="524" y="680"/>
                  </a:lnTo>
                  <a:lnTo>
                    <a:pt x="526" y="674"/>
                  </a:lnTo>
                  <a:lnTo>
                    <a:pt x="528" y="672"/>
                  </a:lnTo>
                  <a:lnTo>
                    <a:pt x="538" y="670"/>
                  </a:lnTo>
                  <a:lnTo>
                    <a:pt x="542" y="668"/>
                  </a:lnTo>
                  <a:lnTo>
                    <a:pt x="546" y="664"/>
                  </a:lnTo>
                  <a:lnTo>
                    <a:pt x="550" y="660"/>
                  </a:lnTo>
                  <a:lnTo>
                    <a:pt x="554" y="650"/>
                  </a:lnTo>
                  <a:lnTo>
                    <a:pt x="558" y="640"/>
                  </a:lnTo>
                  <a:lnTo>
                    <a:pt x="562" y="634"/>
                  </a:lnTo>
                  <a:lnTo>
                    <a:pt x="566" y="630"/>
                  </a:lnTo>
                  <a:lnTo>
                    <a:pt x="572" y="628"/>
                  </a:lnTo>
                  <a:lnTo>
                    <a:pt x="580" y="624"/>
                  </a:lnTo>
                  <a:lnTo>
                    <a:pt x="584" y="622"/>
                  </a:lnTo>
                  <a:lnTo>
                    <a:pt x="586" y="616"/>
                  </a:lnTo>
                  <a:lnTo>
                    <a:pt x="588" y="606"/>
                  </a:lnTo>
                  <a:lnTo>
                    <a:pt x="590" y="602"/>
                  </a:lnTo>
                  <a:lnTo>
                    <a:pt x="594" y="600"/>
                  </a:lnTo>
                  <a:lnTo>
                    <a:pt x="610" y="594"/>
                  </a:lnTo>
                  <a:lnTo>
                    <a:pt x="638" y="584"/>
                  </a:lnTo>
                  <a:lnTo>
                    <a:pt x="652" y="578"/>
                  </a:lnTo>
                  <a:lnTo>
                    <a:pt x="658" y="572"/>
                  </a:lnTo>
                  <a:lnTo>
                    <a:pt x="662" y="568"/>
                  </a:lnTo>
                  <a:lnTo>
                    <a:pt x="664" y="564"/>
                  </a:lnTo>
                  <a:lnTo>
                    <a:pt x="668" y="558"/>
                  </a:lnTo>
                  <a:lnTo>
                    <a:pt x="674" y="552"/>
                  </a:lnTo>
                  <a:lnTo>
                    <a:pt x="688" y="544"/>
                  </a:lnTo>
                  <a:lnTo>
                    <a:pt x="712" y="534"/>
                  </a:lnTo>
                  <a:lnTo>
                    <a:pt x="744" y="522"/>
                  </a:lnTo>
                  <a:lnTo>
                    <a:pt x="778" y="512"/>
                  </a:lnTo>
                  <a:lnTo>
                    <a:pt x="854" y="492"/>
                  </a:lnTo>
                  <a:lnTo>
                    <a:pt x="924" y="474"/>
                  </a:lnTo>
                  <a:lnTo>
                    <a:pt x="956" y="464"/>
                  </a:lnTo>
                  <a:lnTo>
                    <a:pt x="980" y="454"/>
                  </a:lnTo>
                  <a:lnTo>
                    <a:pt x="990" y="448"/>
                  </a:lnTo>
                  <a:lnTo>
                    <a:pt x="998" y="444"/>
                  </a:lnTo>
                  <a:lnTo>
                    <a:pt x="1002" y="438"/>
                  </a:lnTo>
                  <a:lnTo>
                    <a:pt x="1002" y="432"/>
                  </a:lnTo>
                  <a:lnTo>
                    <a:pt x="1002" y="428"/>
                  </a:lnTo>
                  <a:lnTo>
                    <a:pt x="1000" y="424"/>
                  </a:lnTo>
                  <a:lnTo>
                    <a:pt x="996" y="420"/>
                  </a:lnTo>
                  <a:lnTo>
                    <a:pt x="990" y="416"/>
                  </a:lnTo>
                  <a:lnTo>
                    <a:pt x="974" y="410"/>
                  </a:lnTo>
                  <a:lnTo>
                    <a:pt x="954" y="406"/>
                  </a:lnTo>
                  <a:lnTo>
                    <a:pt x="932" y="408"/>
                  </a:lnTo>
                  <a:lnTo>
                    <a:pt x="908" y="412"/>
                  </a:lnTo>
                  <a:lnTo>
                    <a:pt x="878" y="422"/>
                  </a:lnTo>
                  <a:lnTo>
                    <a:pt x="874" y="426"/>
                  </a:lnTo>
                  <a:lnTo>
                    <a:pt x="870" y="428"/>
                  </a:lnTo>
                  <a:lnTo>
                    <a:pt x="868" y="430"/>
                  </a:lnTo>
                  <a:lnTo>
                    <a:pt x="864" y="434"/>
                  </a:lnTo>
                  <a:lnTo>
                    <a:pt x="856" y="438"/>
                  </a:lnTo>
                  <a:lnTo>
                    <a:pt x="842" y="444"/>
                  </a:lnTo>
                  <a:lnTo>
                    <a:pt x="818" y="450"/>
                  </a:lnTo>
                  <a:lnTo>
                    <a:pt x="808" y="450"/>
                  </a:lnTo>
                  <a:lnTo>
                    <a:pt x="798" y="452"/>
                  </a:lnTo>
                  <a:lnTo>
                    <a:pt x="768" y="460"/>
                  </a:lnTo>
                  <a:close/>
                  <a:moveTo>
                    <a:pt x="484" y="70"/>
                  </a:moveTo>
                  <a:lnTo>
                    <a:pt x="484" y="70"/>
                  </a:lnTo>
                  <a:lnTo>
                    <a:pt x="482" y="70"/>
                  </a:lnTo>
                  <a:lnTo>
                    <a:pt x="484" y="70"/>
                  </a:lnTo>
                  <a:lnTo>
                    <a:pt x="490" y="72"/>
                  </a:lnTo>
                  <a:lnTo>
                    <a:pt x="500" y="74"/>
                  </a:lnTo>
                  <a:lnTo>
                    <a:pt x="510" y="78"/>
                  </a:lnTo>
                  <a:lnTo>
                    <a:pt x="528" y="86"/>
                  </a:lnTo>
                  <a:lnTo>
                    <a:pt x="538" y="86"/>
                  </a:lnTo>
                  <a:lnTo>
                    <a:pt x="554" y="86"/>
                  </a:lnTo>
                  <a:lnTo>
                    <a:pt x="568" y="86"/>
                  </a:lnTo>
                  <a:lnTo>
                    <a:pt x="568" y="84"/>
                  </a:lnTo>
                  <a:lnTo>
                    <a:pt x="566" y="82"/>
                  </a:lnTo>
                  <a:lnTo>
                    <a:pt x="544" y="76"/>
                  </a:lnTo>
                  <a:lnTo>
                    <a:pt x="530" y="72"/>
                  </a:lnTo>
                  <a:lnTo>
                    <a:pt x="512" y="70"/>
                  </a:lnTo>
                  <a:lnTo>
                    <a:pt x="496" y="68"/>
                  </a:lnTo>
                  <a:lnTo>
                    <a:pt x="484" y="70"/>
                  </a:lnTo>
                  <a:close/>
                  <a:moveTo>
                    <a:pt x="542" y="114"/>
                  </a:moveTo>
                  <a:lnTo>
                    <a:pt x="542" y="114"/>
                  </a:lnTo>
                  <a:lnTo>
                    <a:pt x="554" y="116"/>
                  </a:lnTo>
                  <a:lnTo>
                    <a:pt x="558" y="114"/>
                  </a:lnTo>
                  <a:lnTo>
                    <a:pt x="560" y="112"/>
                  </a:lnTo>
                  <a:lnTo>
                    <a:pt x="560" y="110"/>
                  </a:lnTo>
                  <a:lnTo>
                    <a:pt x="560" y="108"/>
                  </a:lnTo>
                  <a:lnTo>
                    <a:pt x="554" y="106"/>
                  </a:lnTo>
                  <a:lnTo>
                    <a:pt x="542" y="106"/>
                  </a:lnTo>
                  <a:lnTo>
                    <a:pt x="532" y="108"/>
                  </a:lnTo>
                  <a:lnTo>
                    <a:pt x="530" y="110"/>
                  </a:lnTo>
                  <a:lnTo>
                    <a:pt x="532" y="112"/>
                  </a:lnTo>
                  <a:lnTo>
                    <a:pt x="534" y="114"/>
                  </a:lnTo>
                  <a:lnTo>
                    <a:pt x="542" y="114"/>
                  </a:lnTo>
                  <a:close/>
                  <a:moveTo>
                    <a:pt x="590" y="96"/>
                  </a:moveTo>
                  <a:lnTo>
                    <a:pt x="590" y="96"/>
                  </a:lnTo>
                  <a:lnTo>
                    <a:pt x="596" y="94"/>
                  </a:lnTo>
                  <a:lnTo>
                    <a:pt x="598" y="92"/>
                  </a:lnTo>
                  <a:lnTo>
                    <a:pt x="598" y="90"/>
                  </a:lnTo>
                  <a:lnTo>
                    <a:pt x="596" y="88"/>
                  </a:lnTo>
                  <a:lnTo>
                    <a:pt x="592" y="86"/>
                  </a:lnTo>
                  <a:lnTo>
                    <a:pt x="584" y="86"/>
                  </a:lnTo>
                  <a:lnTo>
                    <a:pt x="574" y="88"/>
                  </a:lnTo>
                  <a:lnTo>
                    <a:pt x="562" y="90"/>
                  </a:lnTo>
                  <a:lnTo>
                    <a:pt x="556" y="92"/>
                  </a:lnTo>
                  <a:lnTo>
                    <a:pt x="556" y="94"/>
                  </a:lnTo>
                  <a:lnTo>
                    <a:pt x="560" y="96"/>
                  </a:lnTo>
                  <a:lnTo>
                    <a:pt x="576" y="96"/>
                  </a:lnTo>
                  <a:lnTo>
                    <a:pt x="590" y="96"/>
                  </a:lnTo>
                  <a:close/>
                  <a:moveTo>
                    <a:pt x="554" y="70"/>
                  </a:moveTo>
                  <a:lnTo>
                    <a:pt x="554" y="70"/>
                  </a:lnTo>
                  <a:lnTo>
                    <a:pt x="554" y="72"/>
                  </a:lnTo>
                  <a:lnTo>
                    <a:pt x="554" y="74"/>
                  </a:lnTo>
                  <a:lnTo>
                    <a:pt x="562" y="78"/>
                  </a:lnTo>
                  <a:lnTo>
                    <a:pt x="572" y="80"/>
                  </a:lnTo>
                  <a:lnTo>
                    <a:pt x="582" y="80"/>
                  </a:lnTo>
                  <a:lnTo>
                    <a:pt x="584" y="78"/>
                  </a:lnTo>
                  <a:lnTo>
                    <a:pt x="584" y="76"/>
                  </a:lnTo>
                  <a:lnTo>
                    <a:pt x="576" y="72"/>
                  </a:lnTo>
                  <a:lnTo>
                    <a:pt x="564" y="68"/>
                  </a:lnTo>
                  <a:lnTo>
                    <a:pt x="558" y="68"/>
                  </a:lnTo>
                  <a:lnTo>
                    <a:pt x="554" y="70"/>
                  </a:lnTo>
                  <a:close/>
                  <a:moveTo>
                    <a:pt x="1962" y="108"/>
                  </a:moveTo>
                  <a:lnTo>
                    <a:pt x="1962" y="108"/>
                  </a:lnTo>
                  <a:lnTo>
                    <a:pt x="1950" y="114"/>
                  </a:lnTo>
                  <a:lnTo>
                    <a:pt x="1938" y="120"/>
                  </a:lnTo>
                  <a:lnTo>
                    <a:pt x="1916" y="128"/>
                  </a:lnTo>
                  <a:lnTo>
                    <a:pt x="1908" y="132"/>
                  </a:lnTo>
                  <a:lnTo>
                    <a:pt x="1906" y="134"/>
                  </a:lnTo>
                  <a:lnTo>
                    <a:pt x="1908" y="136"/>
                  </a:lnTo>
                  <a:lnTo>
                    <a:pt x="1918" y="138"/>
                  </a:lnTo>
                  <a:lnTo>
                    <a:pt x="1930" y="138"/>
                  </a:lnTo>
                  <a:lnTo>
                    <a:pt x="1938" y="142"/>
                  </a:lnTo>
                  <a:lnTo>
                    <a:pt x="1952" y="146"/>
                  </a:lnTo>
                  <a:lnTo>
                    <a:pt x="1968" y="154"/>
                  </a:lnTo>
                  <a:lnTo>
                    <a:pt x="1980" y="156"/>
                  </a:lnTo>
                  <a:lnTo>
                    <a:pt x="1994" y="158"/>
                  </a:lnTo>
                  <a:lnTo>
                    <a:pt x="2010" y="158"/>
                  </a:lnTo>
                  <a:lnTo>
                    <a:pt x="2016" y="158"/>
                  </a:lnTo>
                  <a:lnTo>
                    <a:pt x="2020" y="156"/>
                  </a:lnTo>
                  <a:lnTo>
                    <a:pt x="2022" y="152"/>
                  </a:lnTo>
                  <a:lnTo>
                    <a:pt x="2024" y="150"/>
                  </a:lnTo>
                  <a:lnTo>
                    <a:pt x="2028" y="146"/>
                  </a:lnTo>
                  <a:lnTo>
                    <a:pt x="2040" y="142"/>
                  </a:lnTo>
                  <a:lnTo>
                    <a:pt x="2058" y="140"/>
                  </a:lnTo>
                  <a:lnTo>
                    <a:pt x="2100" y="140"/>
                  </a:lnTo>
                  <a:lnTo>
                    <a:pt x="2130" y="140"/>
                  </a:lnTo>
                  <a:lnTo>
                    <a:pt x="2138" y="138"/>
                  </a:lnTo>
                  <a:lnTo>
                    <a:pt x="2142" y="136"/>
                  </a:lnTo>
                  <a:lnTo>
                    <a:pt x="2142" y="130"/>
                  </a:lnTo>
                  <a:lnTo>
                    <a:pt x="2136" y="122"/>
                  </a:lnTo>
                  <a:lnTo>
                    <a:pt x="2132" y="114"/>
                  </a:lnTo>
                  <a:lnTo>
                    <a:pt x="2132" y="112"/>
                  </a:lnTo>
                  <a:lnTo>
                    <a:pt x="2134" y="110"/>
                  </a:lnTo>
                  <a:lnTo>
                    <a:pt x="2140" y="108"/>
                  </a:lnTo>
                  <a:lnTo>
                    <a:pt x="2146" y="106"/>
                  </a:lnTo>
                  <a:lnTo>
                    <a:pt x="2162" y="104"/>
                  </a:lnTo>
                  <a:lnTo>
                    <a:pt x="2164" y="102"/>
                  </a:lnTo>
                  <a:lnTo>
                    <a:pt x="2166" y="100"/>
                  </a:lnTo>
                  <a:lnTo>
                    <a:pt x="2164" y="96"/>
                  </a:lnTo>
                  <a:lnTo>
                    <a:pt x="2160" y="92"/>
                  </a:lnTo>
                  <a:lnTo>
                    <a:pt x="2154" y="90"/>
                  </a:lnTo>
                  <a:lnTo>
                    <a:pt x="2142" y="88"/>
                  </a:lnTo>
                  <a:lnTo>
                    <a:pt x="2136" y="88"/>
                  </a:lnTo>
                  <a:lnTo>
                    <a:pt x="2128" y="86"/>
                  </a:lnTo>
                  <a:lnTo>
                    <a:pt x="2118" y="82"/>
                  </a:lnTo>
                  <a:lnTo>
                    <a:pt x="2110" y="74"/>
                  </a:lnTo>
                  <a:lnTo>
                    <a:pt x="2090" y="60"/>
                  </a:lnTo>
                  <a:lnTo>
                    <a:pt x="2082" y="56"/>
                  </a:lnTo>
                  <a:lnTo>
                    <a:pt x="2076" y="52"/>
                  </a:lnTo>
                  <a:lnTo>
                    <a:pt x="2068" y="50"/>
                  </a:lnTo>
                  <a:lnTo>
                    <a:pt x="2060" y="50"/>
                  </a:lnTo>
                  <a:lnTo>
                    <a:pt x="2052" y="54"/>
                  </a:lnTo>
                  <a:lnTo>
                    <a:pt x="2044" y="58"/>
                  </a:lnTo>
                  <a:lnTo>
                    <a:pt x="2034" y="62"/>
                  </a:lnTo>
                  <a:lnTo>
                    <a:pt x="2026" y="66"/>
                  </a:lnTo>
                  <a:lnTo>
                    <a:pt x="2008" y="68"/>
                  </a:lnTo>
                  <a:lnTo>
                    <a:pt x="1988" y="74"/>
                  </a:lnTo>
                  <a:lnTo>
                    <a:pt x="1978" y="78"/>
                  </a:lnTo>
                  <a:lnTo>
                    <a:pt x="1964" y="84"/>
                  </a:lnTo>
                  <a:lnTo>
                    <a:pt x="1954" y="92"/>
                  </a:lnTo>
                  <a:lnTo>
                    <a:pt x="1952" y="94"/>
                  </a:lnTo>
                  <a:lnTo>
                    <a:pt x="1954" y="96"/>
                  </a:lnTo>
                  <a:lnTo>
                    <a:pt x="1960" y="98"/>
                  </a:lnTo>
                  <a:lnTo>
                    <a:pt x="1964" y="98"/>
                  </a:lnTo>
                  <a:lnTo>
                    <a:pt x="1968" y="98"/>
                  </a:lnTo>
                  <a:lnTo>
                    <a:pt x="1968" y="100"/>
                  </a:lnTo>
                  <a:lnTo>
                    <a:pt x="1968" y="102"/>
                  </a:lnTo>
                  <a:lnTo>
                    <a:pt x="1962" y="108"/>
                  </a:lnTo>
                  <a:close/>
                  <a:moveTo>
                    <a:pt x="3810" y="584"/>
                  </a:moveTo>
                  <a:lnTo>
                    <a:pt x="3810" y="584"/>
                  </a:lnTo>
                  <a:lnTo>
                    <a:pt x="3826" y="588"/>
                  </a:lnTo>
                  <a:lnTo>
                    <a:pt x="3834" y="588"/>
                  </a:lnTo>
                  <a:lnTo>
                    <a:pt x="3840" y="584"/>
                  </a:lnTo>
                  <a:lnTo>
                    <a:pt x="3842" y="580"/>
                  </a:lnTo>
                  <a:lnTo>
                    <a:pt x="3842" y="574"/>
                  </a:lnTo>
                  <a:lnTo>
                    <a:pt x="3846" y="570"/>
                  </a:lnTo>
                  <a:lnTo>
                    <a:pt x="3852" y="568"/>
                  </a:lnTo>
                  <a:lnTo>
                    <a:pt x="3864" y="570"/>
                  </a:lnTo>
                  <a:lnTo>
                    <a:pt x="3878" y="574"/>
                  </a:lnTo>
                  <a:lnTo>
                    <a:pt x="3890" y="572"/>
                  </a:lnTo>
                  <a:lnTo>
                    <a:pt x="3900" y="570"/>
                  </a:lnTo>
                  <a:lnTo>
                    <a:pt x="3910" y="566"/>
                  </a:lnTo>
                  <a:lnTo>
                    <a:pt x="3918" y="562"/>
                  </a:lnTo>
                  <a:lnTo>
                    <a:pt x="3926" y="560"/>
                  </a:lnTo>
                  <a:lnTo>
                    <a:pt x="3934" y="562"/>
                  </a:lnTo>
                  <a:lnTo>
                    <a:pt x="3942" y="566"/>
                  </a:lnTo>
                  <a:lnTo>
                    <a:pt x="3952" y="570"/>
                  </a:lnTo>
                  <a:lnTo>
                    <a:pt x="3962" y="572"/>
                  </a:lnTo>
                  <a:lnTo>
                    <a:pt x="3974" y="572"/>
                  </a:lnTo>
                  <a:lnTo>
                    <a:pt x="3986" y="570"/>
                  </a:lnTo>
                  <a:lnTo>
                    <a:pt x="4014" y="562"/>
                  </a:lnTo>
                  <a:lnTo>
                    <a:pt x="4048" y="552"/>
                  </a:lnTo>
                  <a:lnTo>
                    <a:pt x="4056" y="546"/>
                  </a:lnTo>
                  <a:lnTo>
                    <a:pt x="4060" y="542"/>
                  </a:lnTo>
                  <a:lnTo>
                    <a:pt x="4060" y="538"/>
                  </a:lnTo>
                  <a:lnTo>
                    <a:pt x="4056" y="534"/>
                  </a:lnTo>
                  <a:lnTo>
                    <a:pt x="4054" y="530"/>
                  </a:lnTo>
                  <a:lnTo>
                    <a:pt x="4054" y="528"/>
                  </a:lnTo>
                  <a:lnTo>
                    <a:pt x="4056" y="524"/>
                  </a:lnTo>
                  <a:lnTo>
                    <a:pt x="4066" y="524"/>
                  </a:lnTo>
                  <a:lnTo>
                    <a:pt x="4070" y="522"/>
                  </a:lnTo>
                  <a:lnTo>
                    <a:pt x="4074" y="520"/>
                  </a:lnTo>
                  <a:lnTo>
                    <a:pt x="4076" y="518"/>
                  </a:lnTo>
                  <a:lnTo>
                    <a:pt x="4074" y="516"/>
                  </a:lnTo>
                  <a:lnTo>
                    <a:pt x="4068" y="512"/>
                  </a:lnTo>
                  <a:lnTo>
                    <a:pt x="4056" y="506"/>
                  </a:lnTo>
                  <a:lnTo>
                    <a:pt x="4042" y="500"/>
                  </a:lnTo>
                  <a:lnTo>
                    <a:pt x="4026" y="498"/>
                  </a:lnTo>
                  <a:lnTo>
                    <a:pt x="4010" y="496"/>
                  </a:lnTo>
                  <a:lnTo>
                    <a:pt x="3994" y="498"/>
                  </a:lnTo>
                  <a:lnTo>
                    <a:pt x="3980" y="498"/>
                  </a:lnTo>
                  <a:lnTo>
                    <a:pt x="3968" y="496"/>
                  </a:lnTo>
                  <a:lnTo>
                    <a:pt x="3958" y="490"/>
                  </a:lnTo>
                  <a:lnTo>
                    <a:pt x="3948" y="484"/>
                  </a:lnTo>
                  <a:lnTo>
                    <a:pt x="3938" y="478"/>
                  </a:lnTo>
                  <a:lnTo>
                    <a:pt x="3928" y="472"/>
                  </a:lnTo>
                  <a:lnTo>
                    <a:pt x="3918" y="470"/>
                  </a:lnTo>
                  <a:lnTo>
                    <a:pt x="3912" y="472"/>
                  </a:lnTo>
                  <a:lnTo>
                    <a:pt x="3906" y="474"/>
                  </a:lnTo>
                  <a:lnTo>
                    <a:pt x="3898" y="480"/>
                  </a:lnTo>
                  <a:lnTo>
                    <a:pt x="3894" y="486"/>
                  </a:lnTo>
                  <a:lnTo>
                    <a:pt x="3892" y="492"/>
                  </a:lnTo>
                  <a:lnTo>
                    <a:pt x="3894" y="498"/>
                  </a:lnTo>
                  <a:lnTo>
                    <a:pt x="3900" y="506"/>
                  </a:lnTo>
                  <a:lnTo>
                    <a:pt x="3900" y="510"/>
                  </a:lnTo>
                  <a:lnTo>
                    <a:pt x="3896" y="512"/>
                  </a:lnTo>
                  <a:lnTo>
                    <a:pt x="3890" y="512"/>
                  </a:lnTo>
                  <a:lnTo>
                    <a:pt x="3882" y="508"/>
                  </a:lnTo>
                  <a:lnTo>
                    <a:pt x="3862" y="498"/>
                  </a:lnTo>
                  <a:lnTo>
                    <a:pt x="3842" y="484"/>
                  </a:lnTo>
                  <a:lnTo>
                    <a:pt x="3822" y="472"/>
                  </a:lnTo>
                  <a:lnTo>
                    <a:pt x="3814" y="468"/>
                  </a:lnTo>
                  <a:lnTo>
                    <a:pt x="3808" y="468"/>
                  </a:lnTo>
                  <a:lnTo>
                    <a:pt x="3800" y="466"/>
                  </a:lnTo>
                  <a:lnTo>
                    <a:pt x="3794" y="468"/>
                  </a:lnTo>
                  <a:lnTo>
                    <a:pt x="3778" y="476"/>
                  </a:lnTo>
                  <a:lnTo>
                    <a:pt x="3758" y="488"/>
                  </a:lnTo>
                  <a:lnTo>
                    <a:pt x="3748" y="496"/>
                  </a:lnTo>
                  <a:lnTo>
                    <a:pt x="3746" y="502"/>
                  </a:lnTo>
                  <a:lnTo>
                    <a:pt x="3746" y="508"/>
                  </a:lnTo>
                  <a:lnTo>
                    <a:pt x="3748" y="514"/>
                  </a:lnTo>
                  <a:lnTo>
                    <a:pt x="3752" y="524"/>
                  </a:lnTo>
                  <a:lnTo>
                    <a:pt x="3752" y="530"/>
                  </a:lnTo>
                  <a:lnTo>
                    <a:pt x="3746" y="532"/>
                  </a:lnTo>
                  <a:lnTo>
                    <a:pt x="3742" y="536"/>
                  </a:lnTo>
                  <a:lnTo>
                    <a:pt x="3742" y="542"/>
                  </a:lnTo>
                  <a:lnTo>
                    <a:pt x="3744" y="548"/>
                  </a:lnTo>
                  <a:lnTo>
                    <a:pt x="3752" y="554"/>
                  </a:lnTo>
                  <a:lnTo>
                    <a:pt x="3762" y="560"/>
                  </a:lnTo>
                  <a:lnTo>
                    <a:pt x="3776" y="568"/>
                  </a:lnTo>
                  <a:lnTo>
                    <a:pt x="3810" y="584"/>
                  </a:lnTo>
                  <a:close/>
                  <a:moveTo>
                    <a:pt x="4172" y="572"/>
                  </a:moveTo>
                  <a:lnTo>
                    <a:pt x="4172" y="572"/>
                  </a:lnTo>
                  <a:lnTo>
                    <a:pt x="4198" y="578"/>
                  </a:lnTo>
                  <a:lnTo>
                    <a:pt x="4218" y="578"/>
                  </a:lnTo>
                  <a:lnTo>
                    <a:pt x="4262" y="576"/>
                  </a:lnTo>
                  <a:lnTo>
                    <a:pt x="4276" y="574"/>
                  </a:lnTo>
                  <a:lnTo>
                    <a:pt x="4288" y="570"/>
                  </a:lnTo>
                  <a:lnTo>
                    <a:pt x="4294" y="566"/>
                  </a:lnTo>
                  <a:lnTo>
                    <a:pt x="4300" y="560"/>
                  </a:lnTo>
                  <a:lnTo>
                    <a:pt x="4300" y="556"/>
                  </a:lnTo>
                  <a:lnTo>
                    <a:pt x="4300" y="552"/>
                  </a:lnTo>
                  <a:lnTo>
                    <a:pt x="4296" y="550"/>
                  </a:lnTo>
                  <a:lnTo>
                    <a:pt x="4288" y="550"/>
                  </a:lnTo>
                  <a:lnTo>
                    <a:pt x="4280" y="550"/>
                  </a:lnTo>
                  <a:lnTo>
                    <a:pt x="4274" y="548"/>
                  </a:lnTo>
                  <a:lnTo>
                    <a:pt x="4266" y="540"/>
                  </a:lnTo>
                  <a:lnTo>
                    <a:pt x="4260" y="536"/>
                  </a:lnTo>
                  <a:lnTo>
                    <a:pt x="4252" y="534"/>
                  </a:lnTo>
                  <a:lnTo>
                    <a:pt x="4244" y="536"/>
                  </a:lnTo>
                  <a:lnTo>
                    <a:pt x="4230" y="540"/>
                  </a:lnTo>
                  <a:lnTo>
                    <a:pt x="4220" y="542"/>
                  </a:lnTo>
                  <a:lnTo>
                    <a:pt x="4214" y="542"/>
                  </a:lnTo>
                  <a:lnTo>
                    <a:pt x="4212" y="540"/>
                  </a:lnTo>
                  <a:lnTo>
                    <a:pt x="4212" y="536"/>
                  </a:lnTo>
                  <a:lnTo>
                    <a:pt x="4210" y="532"/>
                  </a:lnTo>
                  <a:lnTo>
                    <a:pt x="4204" y="528"/>
                  </a:lnTo>
                  <a:lnTo>
                    <a:pt x="4194" y="526"/>
                  </a:lnTo>
                  <a:lnTo>
                    <a:pt x="4174" y="528"/>
                  </a:lnTo>
                  <a:lnTo>
                    <a:pt x="4154" y="528"/>
                  </a:lnTo>
                  <a:lnTo>
                    <a:pt x="4142" y="526"/>
                  </a:lnTo>
                  <a:lnTo>
                    <a:pt x="4132" y="524"/>
                  </a:lnTo>
                  <a:lnTo>
                    <a:pt x="4126" y="520"/>
                  </a:lnTo>
                  <a:lnTo>
                    <a:pt x="4122" y="514"/>
                  </a:lnTo>
                  <a:lnTo>
                    <a:pt x="4122" y="516"/>
                  </a:lnTo>
                  <a:lnTo>
                    <a:pt x="4118" y="518"/>
                  </a:lnTo>
                  <a:lnTo>
                    <a:pt x="4112" y="530"/>
                  </a:lnTo>
                  <a:lnTo>
                    <a:pt x="4108" y="536"/>
                  </a:lnTo>
                  <a:lnTo>
                    <a:pt x="4110" y="542"/>
                  </a:lnTo>
                  <a:lnTo>
                    <a:pt x="4114" y="550"/>
                  </a:lnTo>
                  <a:lnTo>
                    <a:pt x="4126" y="556"/>
                  </a:lnTo>
                  <a:lnTo>
                    <a:pt x="4144" y="564"/>
                  </a:lnTo>
                  <a:lnTo>
                    <a:pt x="4172" y="572"/>
                  </a:lnTo>
                  <a:close/>
                  <a:moveTo>
                    <a:pt x="5478" y="870"/>
                  </a:moveTo>
                  <a:lnTo>
                    <a:pt x="5478" y="866"/>
                  </a:lnTo>
                  <a:lnTo>
                    <a:pt x="5548" y="856"/>
                  </a:lnTo>
                  <a:lnTo>
                    <a:pt x="5558" y="854"/>
                  </a:lnTo>
                  <a:lnTo>
                    <a:pt x="5564" y="852"/>
                  </a:lnTo>
                  <a:lnTo>
                    <a:pt x="5570" y="848"/>
                  </a:lnTo>
                  <a:lnTo>
                    <a:pt x="5572" y="846"/>
                  </a:lnTo>
                  <a:lnTo>
                    <a:pt x="5570" y="842"/>
                  </a:lnTo>
                  <a:lnTo>
                    <a:pt x="5568" y="838"/>
                  </a:lnTo>
                  <a:lnTo>
                    <a:pt x="5560" y="832"/>
                  </a:lnTo>
                  <a:lnTo>
                    <a:pt x="5546" y="826"/>
                  </a:lnTo>
                  <a:lnTo>
                    <a:pt x="5530" y="820"/>
                  </a:lnTo>
                  <a:lnTo>
                    <a:pt x="5512" y="818"/>
                  </a:lnTo>
                  <a:lnTo>
                    <a:pt x="5494" y="818"/>
                  </a:lnTo>
                  <a:lnTo>
                    <a:pt x="5478" y="820"/>
                  </a:lnTo>
                  <a:lnTo>
                    <a:pt x="5478" y="818"/>
                  </a:lnTo>
                  <a:lnTo>
                    <a:pt x="5454" y="826"/>
                  </a:lnTo>
                  <a:lnTo>
                    <a:pt x="5444" y="832"/>
                  </a:lnTo>
                  <a:lnTo>
                    <a:pt x="5434" y="838"/>
                  </a:lnTo>
                  <a:lnTo>
                    <a:pt x="5428" y="844"/>
                  </a:lnTo>
                  <a:lnTo>
                    <a:pt x="5422" y="850"/>
                  </a:lnTo>
                  <a:lnTo>
                    <a:pt x="5418" y="856"/>
                  </a:lnTo>
                  <a:lnTo>
                    <a:pt x="5418" y="864"/>
                  </a:lnTo>
                  <a:lnTo>
                    <a:pt x="5418" y="868"/>
                  </a:lnTo>
                  <a:lnTo>
                    <a:pt x="5422" y="872"/>
                  </a:lnTo>
                  <a:lnTo>
                    <a:pt x="5426" y="874"/>
                  </a:lnTo>
                  <a:lnTo>
                    <a:pt x="5434" y="874"/>
                  </a:lnTo>
                  <a:lnTo>
                    <a:pt x="5452" y="874"/>
                  </a:lnTo>
                  <a:lnTo>
                    <a:pt x="5478" y="870"/>
                  </a:lnTo>
                  <a:close/>
                  <a:moveTo>
                    <a:pt x="2060" y="404"/>
                  </a:moveTo>
                  <a:lnTo>
                    <a:pt x="2060" y="404"/>
                  </a:lnTo>
                  <a:lnTo>
                    <a:pt x="2068" y="408"/>
                  </a:lnTo>
                  <a:lnTo>
                    <a:pt x="2078" y="408"/>
                  </a:lnTo>
                  <a:lnTo>
                    <a:pt x="2088" y="406"/>
                  </a:lnTo>
                  <a:lnTo>
                    <a:pt x="2096" y="404"/>
                  </a:lnTo>
                  <a:lnTo>
                    <a:pt x="2104" y="400"/>
                  </a:lnTo>
                  <a:lnTo>
                    <a:pt x="2108" y="396"/>
                  </a:lnTo>
                  <a:lnTo>
                    <a:pt x="2112" y="392"/>
                  </a:lnTo>
                  <a:lnTo>
                    <a:pt x="2112" y="388"/>
                  </a:lnTo>
                  <a:lnTo>
                    <a:pt x="2106" y="386"/>
                  </a:lnTo>
                  <a:lnTo>
                    <a:pt x="2100" y="386"/>
                  </a:lnTo>
                  <a:lnTo>
                    <a:pt x="2080" y="392"/>
                  </a:lnTo>
                  <a:lnTo>
                    <a:pt x="2064" y="398"/>
                  </a:lnTo>
                  <a:lnTo>
                    <a:pt x="2060" y="402"/>
                  </a:lnTo>
                  <a:lnTo>
                    <a:pt x="2058" y="404"/>
                  </a:lnTo>
                  <a:lnTo>
                    <a:pt x="2060" y="404"/>
                  </a:lnTo>
                  <a:close/>
                  <a:moveTo>
                    <a:pt x="3868" y="678"/>
                  </a:moveTo>
                  <a:lnTo>
                    <a:pt x="3868" y="678"/>
                  </a:lnTo>
                  <a:lnTo>
                    <a:pt x="3858" y="686"/>
                  </a:lnTo>
                  <a:lnTo>
                    <a:pt x="3856" y="688"/>
                  </a:lnTo>
                  <a:lnTo>
                    <a:pt x="3858" y="690"/>
                  </a:lnTo>
                  <a:lnTo>
                    <a:pt x="3866" y="690"/>
                  </a:lnTo>
                  <a:lnTo>
                    <a:pt x="3896" y="688"/>
                  </a:lnTo>
                  <a:lnTo>
                    <a:pt x="3916" y="688"/>
                  </a:lnTo>
                  <a:lnTo>
                    <a:pt x="3940" y="692"/>
                  </a:lnTo>
                  <a:lnTo>
                    <a:pt x="3970" y="696"/>
                  </a:lnTo>
                  <a:lnTo>
                    <a:pt x="3990" y="696"/>
                  </a:lnTo>
                  <a:lnTo>
                    <a:pt x="4004" y="694"/>
                  </a:lnTo>
                  <a:lnTo>
                    <a:pt x="4006" y="692"/>
                  </a:lnTo>
                  <a:lnTo>
                    <a:pt x="4008" y="690"/>
                  </a:lnTo>
                  <a:lnTo>
                    <a:pt x="4008" y="686"/>
                  </a:lnTo>
                  <a:lnTo>
                    <a:pt x="4006" y="682"/>
                  </a:lnTo>
                  <a:lnTo>
                    <a:pt x="4000" y="674"/>
                  </a:lnTo>
                  <a:lnTo>
                    <a:pt x="3988" y="664"/>
                  </a:lnTo>
                  <a:lnTo>
                    <a:pt x="3972" y="654"/>
                  </a:lnTo>
                  <a:lnTo>
                    <a:pt x="3956" y="648"/>
                  </a:lnTo>
                  <a:lnTo>
                    <a:pt x="3940" y="644"/>
                  </a:lnTo>
                  <a:lnTo>
                    <a:pt x="3928" y="646"/>
                  </a:lnTo>
                  <a:lnTo>
                    <a:pt x="3916" y="648"/>
                  </a:lnTo>
                  <a:lnTo>
                    <a:pt x="3904" y="654"/>
                  </a:lnTo>
                  <a:lnTo>
                    <a:pt x="3894" y="662"/>
                  </a:lnTo>
                  <a:lnTo>
                    <a:pt x="3868" y="678"/>
                  </a:lnTo>
                  <a:close/>
                  <a:moveTo>
                    <a:pt x="5044" y="956"/>
                  </a:moveTo>
                  <a:lnTo>
                    <a:pt x="5044" y="956"/>
                  </a:lnTo>
                  <a:lnTo>
                    <a:pt x="5046" y="954"/>
                  </a:lnTo>
                  <a:lnTo>
                    <a:pt x="5046" y="950"/>
                  </a:lnTo>
                  <a:lnTo>
                    <a:pt x="5044" y="948"/>
                  </a:lnTo>
                  <a:lnTo>
                    <a:pt x="5042" y="946"/>
                  </a:lnTo>
                  <a:lnTo>
                    <a:pt x="5034" y="942"/>
                  </a:lnTo>
                  <a:lnTo>
                    <a:pt x="5024" y="940"/>
                  </a:lnTo>
                  <a:lnTo>
                    <a:pt x="5012" y="938"/>
                  </a:lnTo>
                  <a:lnTo>
                    <a:pt x="5000" y="938"/>
                  </a:lnTo>
                  <a:lnTo>
                    <a:pt x="4990" y="938"/>
                  </a:lnTo>
                  <a:lnTo>
                    <a:pt x="4984" y="942"/>
                  </a:lnTo>
                  <a:lnTo>
                    <a:pt x="4982" y="944"/>
                  </a:lnTo>
                  <a:lnTo>
                    <a:pt x="4982" y="946"/>
                  </a:lnTo>
                  <a:lnTo>
                    <a:pt x="4986" y="950"/>
                  </a:lnTo>
                  <a:lnTo>
                    <a:pt x="4992" y="954"/>
                  </a:lnTo>
                  <a:lnTo>
                    <a:pt x="5002" y="958"/>
                  </a:lnTo>
                  <a:lnTo>
                    <a:pt x="5014" y="960"/>
                  </a:lnTo>
                  <a:lnTo>
                    <a:pt x="5024" y="962"/>
                  </a:lnTo>
                  <a:lnTo>
                    <a:pt x="5034" y="960"/>
                  </a:lnTo>
                  <a:lnTo>
                    <a:pt x="5044" y="956"/>
                  </a:lnTo>
                  <a:close/>
                  <a:moveTo>
                    <a:pt x="3698" y="530"/>
                  </a:moveTo>
                  <a:lnTo>
                    <a:pt x="3698" y="530"/>
                  </a:lnTo>
                  <a:lnTo>
                    <a:pt x="3704" y="524"/>
                  </a:lnTo>
                  <a:lnTo>
                    <a:pt x="3706" y="518"/>
                  </a:lnTo>
                  <a:lnTo>
                    <a:pt x="3704" y="508"/>
                  </a:lnTo>
                  <a:lnTo>
                    <a:pt x="3696" y="498"/>
                  </a:lnTo>
                  <a:lnTo>
                    <a:pt x="3694" y="496"/>
                  </a:lnTo>
                  <a:lnTo>
                    <a:pt x="3692" y="496"/>
                  </a:lnTo>
                  <a:lnTo>
                    <a:pt x="3688" y="500"/>
                  </a:lnTo>
                  <a:lnTo>
                    <a:pt x="3684" y="506"/>
                  </a:lnTo>
                  <a:lnTo>
                    <a:pt x="3682" y="514"/>
                  </a:lnTo>
                  <a:lnTo>
                    <a:pt x="3680" y="524"/>
                  </a:lnTo>
                  <a:lnTo>
                    <a:pt x="3684" y="530"/>
                  </a:lnTo>
                  <a:lnTo>
                    <a:pt x="3686" y="532"/>
                  </a:lnTo>
                  <a:lnTo>
                    <a:pt x="3688" y="532"/>
                  </a:lnTo>
                  <a:lnTo>
                    <a:pt x="3692" y="532"/>
                  </a:lnTo>
                  <a:lnTo>
                    <a:pt x="3698" y="530"/>
                  </a:lnTo>
                  <a:close/>
                  <a:moveTo>
                    <a:pt x="2260" y="322"/>
                  </a:moveTo>
                  <a:lnTo>
                    <a:pt x="2260" y="322"/>
                  </a:lnTo>
                  <a:lnTo>
                    <a:pt x="2286" y="316"/>
                  </a:lnTo>
                  <a:lnTo>
                    <a:pt x="2314" y="310"/>
                  </a:lnTo>
                  <a:lnTo>
                    <a:pt x="2350" y="306"/>
                  </a:lnTo>
                  <a:lnTo>
                    <a:pt x="2398" y="304"/>
                  </a:lnTo>
                  <a:lnTo>
                    <a:pt x="2424" y="302"/>
                  </a:lnTo>
                  <a:lnTo>
                    <a:pt x="2442" y="298"/>
                  </a:lnTo>
                  <a:lnTo>
                    <a:pt x="2456" y="294"/>
                  </a:lnTo>
                  <a:lnTo>
                    <a:pt x="2464" y="288"/>
                  </a:lnTo>
                  <a:lnTo>
                    <a:pt x="2466" y="284"/>
                  </a:lnTo>
                  <a:lnTo>
                    <a:pt x="2466" y="282"/>
                  </a:lnTo>
                  <a:lnTo>
                    <a:pt x="2462" y="274"/>
                  </a:lnTo>
                  <a:lnTo>
                    <a:pt x="2456" y="266"/>
                  </a:lnTo>
                  <a:lnTo>
                    <a:pt x="2442" y="256"/>
                  </a:lnTo>
                  <a:lnTo>
                    <a:pt x="2420" y="240"/>
                  </a:lnTo>
                  <a:lnTo>
                    <a:pt x="2412" y="234"/>
                  </a:lnTo>
                  <a:lnTo>
                    <a:pt x="2406" y="232"/>
                  </a:lnTo>
                  <a:lnTo>
                    <a:pt x="2398" y="232"/>
                  </a:lnTo>
                  <a:lnTo>
                    <a:pt x="2388" y="236"/>
                  </a:lnTo>
                  <a:lnTo>
                    <a:pt x="2376" y="242"/>
                  </a:lnTo>
                  <a:lnTo>
                    <a:pt x="2360" y="254"/>
                  </a:lnTo>
                  <a:lnTo>
                    <a:pt x="2346" y="262"/>
                  </a:lnTo>
                  <a:lnTo>
                    <a:pt x="2344" y="264"/>
                  </a:lnTo>
                  <a:lnTo>
                    <a:pt x="2344" y="262"/>
                  </a:lnTo>
                  <a:lnTo>
                    <a:pt x="2356" y="248"/>
                  </a:lnTo>
                  <a:lnTo>
                    <a:pt x="2364" y="238"/>
                  </a:lnTo>
                  <a:lnTo>
                    <a:pt x="2372" y="226"/>
                  </a:lnTo>
                  <a:lnTo>
                    <a:pt x="2376" y="218"/>
                  </a:lnTo>
                  <a:lnTo>
                    <a:pt x="2374" y="214"/>
                  </a:lnTo>
                  <a:lnTo>
                    <a:pt x="2372" y="212"/>
                  </a:lnTo>
                  <a:lnTo>
                    <a:pt x="2354" y="208"/>
                  </a:lnTo>
                  <a:lnTo>
                    <a:pt x="2344" y="206"/>
                  </a:lnTo>
                  <a:lnTo>
                    <a:pt x="2336" y="206"/>
                  </a:lnTo>
                  <a:lnTo>
                    <a:pt x="2326" y="208"/>
                  </a:lnTo>
                  <a:lnTo>
                    <a:pt x="2316" y="212"/>
                  </a:lnTo>
                  <a:lnTo>
                    <a:pt x="2306" y="222"/>
                  </a:lnTo>
                  <a:lnTo>
                    <a:pt x="2294" y="236"/>
                  </a:lnTo>
                  <a:lnTo>
                    <a:pt x="2286" y="248"/>
                  </a:lnTo>
                  <a:lnTo>
                    <a:pt x="2278" y="256"/>
                  </a:lnTo>
                  <a:lnTo>
                    <a:pt x="2266" y="264"/>
                  </a:lnTo>
                  <a:lnTo>
                    <a:pt x="2260" y="270"/>
                  </a:lnTo>
                  <a:lnTo>
                    <a:pt x="2252" y="278"/>
                  </a:lnTo>
                  <a:lnTo>
                    <a:pt x="2242" y="292"/>
                  </a:lnTo>
                  <a:lnTo>
                    <a:pt x="2230" y="314"/>
                  </a:lnTo>
                  <a:lnTo>
                    <a:pt x="2226" y="324"/>
                  </a:lnTo>
                  <a:lnTo>
                    <a:pt x="2226" y="328"/>
                  </a:lnTo>
                  <a:lnTo>
                    <a:pt x="2228" y="330"/>
                  </a:lnTo>
                  <a:lnTo>
                    <a:pt x="2238" y="328"/>
                  </a:lnTo>
                  <a:lnTo>
                    <a:pt x="2260" y="322"/>
                  </a:lnTo>
                  <a:close/>
                  <a:moveTo>
                    <a:pt x="2156" y="150"/>
                  </a:moveTo>
                  <a:lnTo>
                    <a:pt x="2156" y="150"/>
                  </a:lnTo>
                  <a:lnTo>
                    <a:pt x="2132" y="150"/>
                  </a:lnTo>
                  <a:lnTo>
                    <a:pt x="2100" y="148"/>
                  </a:lnTo>
                  <a:lnTo>
                    <a:pt x="2084" y="150"/>
                  </a:lnTo>
                  <a:lnTo>
                    <a:pt x="2068" y="152"/>
                  </a:lnTo>
                  <a:lnTo>
                    <a:pt x="2054" y="156"/>
                  </a:lnTo>
                  <a:lnTo>
                    <a:pt x="2042" y="162"/>
                  </a:lnTo>
                  <a:lnTo>
                    <a:pt x="2016" y="178"/>
                  </a:lnTo>
                  <a:lnTo>
                    <a:pt x="1988" y="192"/>
                  </a:lnTo>
                  <a:lnTo>
                    <a:pt x="1980" y="198"/>
                  </a:lnTo>
                  <a:lnTo>
                    <a:pt x="1978" y="200"/>
                  </a:lnTo>
                  <a:lnTo>
                    <a:pt x="1978" y="202"/>
                  </a:lnTo>
                  <a:lnTo>
                    <a:pt x="1980" y="204"/>
                  </a:lnTo>
                  <a:lnTo>
                    <a:pt x="1982" y="204"/>
                  </a:lnTo>
                  <a:lnTo>
                    <a:pt x="1996" y="206"/>
                  </a:lnTo>
                  <a:lnTo>
                    <a:pt x="2012" y="206"/>
                  </a:lnTo>
                  <a:lnTo>
                    <a:pt x="2020" y="208"/>
                  </a:lnTo>
                  <a:lnTo>
                    <a:pt x="2024" y="210"/>
                  </a:lnTo>
                  <a:lnTo>
                    <a:pt x="2024" y="214"/>
                  </a:lnTo>
                  <a:lnTo>
                    <a:pt x="2024" y="218"/>
                  </a:lnTo>
                  <a:lnTo>
                    <a:pt x="2026" y="224"/>
                  </a:lnTo>
                  <a:lnTo>
                    <a:pt x="2030" y="230"/>
                  </a:lnTo>
                  <a:lnTo>
                    <a:pt x="2038" y="234"/>
                  </a:lnTo>
                  <a:lnTo>
                    <a:pt x="2046" y="238"/>
                  </a:lnTo>
                  <a:lnTo>
                    <a:pt x="2054" y="238"/>
                  </a:lnTo>
                  <a:lnTo>
                    <a:pt x="2074" y="240"/>
                  </a:lnTo>
                  <a:lnTo>
                    <a:pt x="2100" y="244"/>
                  </a:lnTo>
                  <a:lnTo>
                    <a:pt x="2118" y="246"/>
                  </a:lnTo>
                  <a:lnTo>
                    <a:pt x="2138" y="252"/>
                  </a:lnTo>
                  <a:lnTo>
                    <a:pt x="2158" y="258"/>
                  </a:lnTo>
                  <a:lnTo>
                    <a:pt x="2180" y="260"/>
                  </a:lnTo>
                  <a:lnTo>
                    <a:pt x="2200" y="260"/>
                  </a:lnTo>
                  <a:lnTo>
                    <a:pt x="2218" y="258"/>
                  </a:lnTo>
                  <a:lnTo>
                    <a:pt x="2232" y="252"/>
                  </a:lnTo>
                  <a:lnTo>
                    <a:pt x="2240" y="248"/>
                  </a:lnTo>
                  <a:lnTo>
                    <a:pt x="2244" y="244"/>
                  </a:lnTo>
                  <a:lnTo>
                    <a:pt x="2244" y="240"/>
                  </a:lnTo>
                  <a:lnTo>
                    <a:pt x="2242" y="238"/>
                  </a:lnTo>
                  <a:lnTo>
                    <a:pt x="2240" y="234"/>
                  </a:lnTo>
                  <a:lnTo>
                    <a:pt x="2236" y="232"/>
                  </a:lnTo>
                  <a:lnTo>
                    <a:pt x="2236" y="228"/>
                  </a:lnTo>
                  <a:lnTo>
                    <a:pt x="2236" y="220"/>
                  </a:lnTo>
                  <a:lnTo>
                    <a:pt x="2238" y="210"/>
                  </a:lnTo>
                  <a:lnTo>
                    <a:pt x="2244" y="202"/>
                  </a:lnTo>
                  <a:lnTo>
                    <a:pt x="2248" y="192"/>
                  </a:lnTo>
                  <a:lnTo>
                    <a:pt x="2252" y="184"/>
                  </a:lnTo>
                  <a:lnTo>
                    <a:pt x="2252" y="180"/>
                  </a:lnTo>
                  <a:lnTo>
                    <a:pt x="2252" y="176"/>
                  </a:lnTo>
                  <a:lnTo>
                    <a:pt x="2250" y="174"/>
                  </a:lnTo>
                  <a:lnTo>
                    <a:pt x="2246" y="172"/>
                  </a:lnTo>
                  <a:lnTo>
                    <a:pt x="2238" y="166"/>
                  </a:lnTo>
                  <a:lnTo>
                    <a:pt x="2234" y="162"/>
                  </a:lnTo>
                  <a:lnTo>
                    <a:pt x="2230" y="160"/>
                  </a:lnTo>
                  <a:lnTo>
                    <a:pt x="2226" y="156"/>
                  </a:lnTo>
                  <a:lnTo>
                    <a:pt x="2220" y="156"/>
                  </a:lnTo>
                  <a:lnTo>
                    <a:pt x="2212" y="156"/>
                  </a:lnTo>
                  <a:lnTo>
                    <a:pt x="2184" y="164"/>
                  </a:lnTo>
                  <a:lnTo>
                    <a:pt x="2170" y="170"/>
                  </a:lnTo>
                  <a:lnTo>
                    <a:pt x="2162" y="170"/>
                  </a:lnTo>
                  <a:lnTo>
                    <a:pt x="2160" y="168"/>
                  </a:lnTo>
                  <a:lnTo>
                    <a:pt x="2162" y="164"/>
                  </a:lnTo>
                  <a:lnTo>
                    <a:pt x="2164" y="158"/>
                  </a:lnTo>
                  <a:lnTo>
                    <a:pt x="2164" y="154"/>
                  </a:lnTo>
                  <a:lnTo>
                    <a:pt x="2164" y="150"/>
                  </a:lnTo>
                  <a:lnTo>
                    <a:pt x="2156" y="150"/>
                  </a:lnTo>
                  <a:close/>
                  <a:moveTo>
                    <a:pt x="3192" y="724"/>
                  </a:moveTo>
                  <a:lnTo>
                    <a:pt x="3192" y="724"/>
                  </a:lnTo>
                  <a:lnTo>
                    <a:pt x="3218" y="728"/>
                  </a:lnTo>
                  <a:lnTo>
                    <a:pt x="3242" y="734"/>
                  </a:lnTo>
                  <a:lnTo>
                    <a:pt x="3268" y="744"/>
                  </a:lnTo>
                  <a:lnTo>
                    <a:pt x="3300" y="758"/>
                  </a:lnTo>
                  <a:lnTo>
                    <a:pt x="3308" y="762"/>
                  </a:lnTo>
                  <a:lnTo>
                    <a:pt x="3314" y="764"/>
                  </a:lnTo>
                  <a:lnTo>
                    <a:pt x="3316" y="762"/>
                  </a:lnTo>
                  <a:lnTo>
                    <a:pt x="3316" y="760"/>
                  </a:lnTo>
                  <a:lnTo>
                    <a:pt x="3314" y="752"/>
                  </a:lnTo>
                  <a:lnTo>
                    <a:pt x="3316" y="748"/>
                  </a:lnTo>
                  <a:lnTo>
                    <a:pt x="3320" y="746"/>
                  </a:lnTo>
                  <a:lnTo>
                    <a:pt x="3332" y="746"/>
                  </a:lnTo>
                  <a:lnTo>
                    <a:pt x="3338" y="746"/>
                  </a:lnTo>
                  <a:lnTo>
                    <a:pt x="3368" y="758"/>
                  </a:lnTo>
                  <a:lnTo>
                    <a:pt x="3390" y="768"/>
                  </a:lnTo>
                  <a:lnTo>
                    <a:pt x="3412" y="778"/>
                  </a:lnTo>
                  <a:lnTo>
                    <a:pt x="3420" y="782"/>
                  </a:lnTo>
                  <a:lnTo>
                    <a:pt x="3428" y="782"/>
                  </a:lnTo>
                  <a:lnTo>
                    <a:pt x="3434" y="778"/>
                  </a:lnTo>
                  <a:lnTo>
                    <a:pt x="3440" y="772"/>
                  </a:lnTo>
                  <a:lnTo>
                    <a:pt x="3440" y="766"/>
                  </a:lnTo>
                  <a:lnTo>
                    <a:pt x="3440" y="762"/>
                  </a:lnTo>
                  <a:lnTo>
                    <a:pt x="3436" y="756"/>
                  </a:lnTo>
                  <a:lnTo>
                    <a:pt x="3430" y="752"/>
                  </a:lnTo>
                  <a:lnTo>
                    <a:pt x="3422" y="748"/>
                  </a:lnTo>
                  <a:lnTo>
                    <a:pt x="3414" y="746"/>
                  </a:lnTo>
                  <a:lnTo>
                    <a:pt x="3412" y="744"/>
                  </a:lnTo>
                  <a:lnTo>
                    <a:pt x="3412" y="742"/>
                  </a:lnTo>
                  <a:lnTo>
                    <a:pt x="3414" y="742"/>
                  </a:lnTo>
                  <a:lnTo>
                    <a:pt x="3422" y="738"/>
                  </a:lnTo>
                  <a:lnTo>
                    <a:pt x="3432" y="736"/>
                  </a:lnTo>
                  <a:lnTo>
                    <a:pt x="3432" y="734"/>
                  </a:lnTo>
                  <a:lnTo>
                    <a:pt x="3432" y="732"/>
                  </a:lnTo>
                  <a:lnTo>
                    <a:pt x="3426" y="730"/>
                  </a:lnTo>
                  <a:lnTo>
                    <a:pt x="3418" y="726"/>
                  </a:lnTo>
                  <a:lnTo>
                    <a:pt x="3410" y="724"/>
                  </a:lnTo>
                  <a:lnTo>
                    <a:pt x="3406" y="720"/>
                  </a:lnTo>
                  <a:lnTo>
                    <a:pt x="3406" y="718"/>
                  </a:lnTo>
                  <a:lnTo>
                    <a:pt x="3416" y="714"/>
                  </a:lnTo>
                  <a:lnTo>
                    <a:pt x="3428" y="710"/>
                  </a:lnTo>
                  <a:lnTo>
                    <a:pt x="3430" y="708"/>
                  </a:lnTo>
                  <a:lnTo>
                    <a:pt x="3430" y="706"/>
                  </a:lnTo>
                  <a:lnTo>
                    <a:pt x="3426" y="702"/>
                  </a:lnTo>
                  <a:lnTo>
                    <a:pt x="3418" y="696"/>
                  </a:lnTo>
                  <a:lnTo>
                    <a:pt x="3392" y="686"/>
                  </a:lnTo>
                  <a:lnTo>
                    <a:pt x="3364" y="676"/>
                  </a:lnTo>
                  <a:lnTo>
                    <a:pt x="3352" y="674"/>
                  </a:lnTo>
                  <a:lnTo>
                    <a:pt x="3342" y="676"/>
                  </a:lnTo>
                  <a:lnTo>
                    <a:pt x="3336" y="678"/>
                  </a:lnTo>
                  <a:lnTo>
                    <a:pt x="3330" y="684"/>
                  </a:lnTo>
                  <a:lnTo>
                    <a:pt x="3326" y="688"/>
                  </a:lnTo>
                  <a:lnTo>
                    <a:pt x="3322" y="690"/>
                  </a:lnTo>
                  <a:lnTo>
                    <a:pt x="3320" y="688"/>
                  </a:lnTo>
                  <a:lnTo>
                    <a:pt x="3316" y="682"/>
                  </a:lnTo>
                  <a:lnTo>
                    <a:pt x="3312" y="676"/>
                  </a:lnTo>
                  <a:lnTo>
                    <a:pt x="3306" y="672"/>
                  </a:lnTo>
                  <a:lnTo>
                    <a:pt x="3302" y="668"/>
                  </a:lnTo>
                  <a:lnTo>
                    <a:pt x="3294" y="668"/>
                  </a:lnTo>
                  <a:lnTo>
                    <a:pt x="3278" y="666"/>
                  </a:lnTo>
                  <a:lnTo>
                    <a:pt x="3270" y="664"/>
                  </a:lnTo>
                  <a:lnTo>
                    <a:pt x="3258" y="660"/>
                  </a:lnTo>
                  <a:lnTo>
                    <a:pt x="3244" y="656"/>
                  </a:lnTo>
                  <a:lnTo>
                    <a:pt x="3230" y="654"/>
                  </a:lnTo>
                  <a:lnTo>
                    <a:pt x="3216" y="656"/>
                  </a:lnTo>
                  <a:lnTo>
                    <a:pt x="3204" y="660"/>
                  </a:lnTo>
                  <a:lnTo>
                    <a:pt x="3194" y="666"/>
                  </a:lnTo>
                  <a:lnTo>
                    <a:pt x="3186" y="674"/>
                  </a:lnTo>
                  <a:lnTo>
                    <a:pt x="3186" y="676"/>
                  </a:lnTo>
                  <a:lnTo>
                    <a:pt x="3186" y="680"/>
                  </a:lnTo>
                  <a:lnTo>
                    <a:pt x="3188" y="684"/>
                  </a:lnTo>
                  <a:lnTo>
                    <a:pt x="3190" y="688"/>
                  </a:lnTo>
                  <a:lnTo>
                    <a:pt x="3194" y="692"/>
                  </a:lnTo>
                  <a:lnTo>
                    <a:pt x="3196" y="696"/>
                  </a:lnTo>
                  <a:lnTo>
                    <a:pt x="3196" y="700"/>
                  </a:lnTo>
                  <a:lnTo>
                    <a:pt x="3196" y="702"/>
                  </a:lnTo>
                  <a:lnTo>
                    <a:pt x="3190" y="706"/>
                  </a:lnTo>
                  <a:lnTo>
                    <a:pt x="3184" y="712"/>
                  </a:lnTo>
                  <a:lnTo>
                    <a:pt x="3178" y="714"/>
                  </a:lnTo>
                  <a:lnTo>
                    <a:pt x="3176" y="718"/>
                  </a:lnTo>
                  <a:lnTo>
                    <a:pt x="3180" y="720"/>
                  </a:lnTo>
                  <a:lnTo>
                    <a:pt x="3192" y="724"/>
                  </a:lnTo>
                  <a:close/>
                  <a:moveTo>
                    <a:pt x="614" y="10"/>
                  </a:moveTo>
                  <a:lnTo>
                    <a:pt x="614" y="10"/>
                  </a:lnTo>
                  <a:lnTo>
                    <a:pt x="614" y="8"/>
                  </a:lnTo>
                  <a:lnTo>
                    <a:pt x="612" y="6"/>
                  </a:lnTo>
                  <a:lnTo>
                    <a:pt x="606" y="4"/>
                  </a:lnTo>
                  <a:lnTo>
                    <a:pt x="588" y="0"/>
                  </a:lnTo>
                  <a:lnTo>
                    <a:pt x="576" y="0"/>
                  </a:lnTo>
                  <a:lnTo>
                    <a:pt x="566" y="2"/>
                  </a:lnTo>
                  <a:lnTo>
                    <a:pt x="558" y="4"/>
                  </a:lnTo>
                  <a:lnTo>
                    <a:pt x="554" y="10"/>
                  </a:lnTo>
                  <a:lnTo>
                    <a:pt x="552" y="12"/>
                  </a:lnTo>
                  <a:lnTo>
                    <a:pt x="554" y="14"/>
                  </a:lnTo>
                  <a:lnTo>
                    <a:pt x="558" y="18"/>
                  </a:lnTo>
                  <a:lnTo>
                    <a:pt x="568" y="18"/>
                  </a:lnTo>
                  <a:lnTo>
                    <a:pt x="578" y="18"/>
                  </a:lnTo>
                  <a:lnTo>
                    <a:pt x="602" y="16"/>
                  </a:lnTo>
                  <a:lnTo>
                    <a:pt x="610" y="12"/>
                  </a:lnTo>
                  <a:lnTo>
                    <a:pt x="614" y="10"/>
                  </a:lnTo>
                  <a:close/>
                  <a:moveTo>
                    <a:pt x="444" y="80"/>
                  </a:moveTo>
                  <a:lnTo>
                    <a:pt x="444" y="80"/>
                  </a:lnTo>
                  <a:lnTo>
                    <a:pt x="450" y="82"/>
                  </a:lnTo>
                  <a:lnTo>
                    <a:pt x="450" y="84"/>
                  </a:lnTo>
                  <a:lnTo>
                    <a:pt x="456" y="86"/>
                  </a:lnTo>
                  <a:lnTo>
                    <a:pt x="474" y="88"/>
                  </a:lnTo>
                  <a:lnTo>
                    <a:pt x="502" y="94"/>
                  </a:lnTo>
                  <a:lnTo>
                    <a:pt x="514" y="100"/>
                  </a:lnTo>
                  <a:lnTo>
                    <a:pt x="524" y="102"/>
                  </a:lnTo>
                  <a:lnTo>
                    <a:pt x="536" y="100"/>
                  </a:lnTo>
                  <a:lnTo>
                    <a:pt x="544" y="96"/>
                  </a:lnTo>
                  <a:lnTo>
                    <a:pt x="546" y="94"/>
                  </a:lnTo>
                  <a:lnTo>
                    <a:pt x="544" y="94"/>
                  </a:lnTo>
                  <a:lnTo>
                    <a:pt x="520" y="88"/>
                  </a:lnTo>
                  <a:lnTo>
                    <a:pt x="492" y="76"/>
                  </a:lnTo>
                  <a:lnTo>
                    <a:pt x="478" y="74"/>
                  </a:lnTo>
                  <a:lnTo>
                    <a:pt x="466" y="76"/>
                  </a:lnTo>
                  <a:lnTo>
                    <a:pt x="458" y="76"/>
                  </a:lnTo>
                  <a:lnTo>
                    <a:pt x="452" y="74"/>
                  </a:lnTo>
                  <a:lnTo>
                    <a:pt x="438" y="70"/>
                  </a:lnTo>
                  <a:lnTo>
                    <a:pt x="432" y="68"/>
                  </a:lnTo>
                  <a:lnTo>
                    <a:pt x="426" y="66"/>
                  </a:lnTo>
                  <a:lnTo>
                    <a:pt x="420" y="68"/>
                  </a:lnTo>
                  <a:lnTo>
                    <a:pt x="414" y="74"/>
                  </a:lnTo>
                  <a:lnTo>
                    <a:pt x="412" y="76"/>
                  </a:lnTo>
                  <a:lnTo>
                    <a:pt x="414" y="76"/>
                  </a:lnTo>
                  <a:lnTo>
                    <a:pt x="420" y="78"/>
                  </a:lnTo>
                  <a:lnTo>
                    <a:pt x="432" y="78"/>
                  </a:lnTo>
                  <a:lnTo>
                    <a:pt x="444" y="80"/>
                  </a:lnTo>
                  <a:close/>
                  <a:moveTo>
                    <a:pt x="296" y="786"/>
                  </a:moveTo>
                  <a:lnTo>
                    <a:pt x="296" y="786"/>
                  </a:lnTo>
                  <a:lnTo>
                    <a:pt x="290" y="806"/>
                  </a:lnTo>
                  <a:lnTo>
                    <a:pt x="288" y="812"/>
                  </a:lnTo>
                  <a:lnTo>
                    <a:pt x="288" y="818"/>
                  </a:lnTo>
                  <a:lnTo>
                    <a:pt x="292" y="822"/>
                  </a:lnTo>
                  <a:lnTo>
                    <a:pt x="300" y="826"/>
                  </a:lnTo>
                  <a:lnTo>
                    <a:pt x="310" y="828"/>
                  </a:lnTo>
                  <a:lnTo>
                    <a:pt x="324" y="828"/>
                  </a:lnTo>
                  <a:lnTo>
                    <a:pt x="340" y="828"/>
                  </a:lnTo>
                  <a:lnTo>
                    <a:pt x="338" y="830"/>
                  </a:lnTo>
                  <a:lnTo>
                    <a:pt x="334" y="832"/>
                  </a:lnTo>
                  <a:lnTo>
                    <a:pt x="330" y="836"/>
                  </a:lnTo>
                  <a:lnTo>
                    <a:pt x="330" y="842"/>
                  </a:lnTo>
                  <a:lnTo>
                    <a:pt x="330" y="844"/>
                  </a:lnTo>
                  <a:lnTo>
                    <a:pt x="332" y="848"/>
                  </a:lnTo>
                  <a:lnTo>
                    <a:pt x="344" y="856"/>
                  </a:lnTo>
                  <a:lnTo>
                    <a:pt x="350" y="858"/>
                  </a:lnTo>
                  <a:lnTo>
                    <a:pt x="356" y="860"/>
                  </a:lnTo>
                  <a:lnTo>
                    <a:pt x="360" y="860"/>
                  </a:lnTo>
                  <a:lnTo>
                    <a:pt x="362" y="858"/>
                  </a:lnTo>
                  <a:lnTo>
                    <a:pt x="364" y="852"/>
                  </a:lnTo>
                  <a:lnTo>
                    <a:pt x="366" y="844"/>
                  </a:lnTo>
                  <a:lnTo>
                    <a:pt x="366" y="838"/>
                  </a:lnTo>
                  <a:lnTo>
                    <a:pt x="366" y="834"/>
                  </a:lnTo>
                  <a:lnTo>
                    <a:pt x="368" y="832"/>
                  </a:lnTo>
                  <a:lnTo>
                    <a:pt x="370" y="834"/>
                  </a:lnTo>
                  <a:lnTo>
                    <a:pt x="376" y="842"/>
                  </a:lnTo>
                  <a:lnTo>
                    <a:pt x="380" y="848"/>
                  </a:lnTo>
                  <a:lnTo>
                    <a:pt x="382" y="852"/>
                  </a:lnTo>
                  <a:lnTo>
                    <a:pt x="382" y="856"/>
                  </a:lnTo>
                  <a:lnTo>
                    <a:pt x="382" y="860"/>
                  </a:lnTo>
                  <a:lnTo>
                    <a:pt x="378" y="866"/>
                  </a:lnTo>
                  <a:lnTo>
                    <a:pt x="372" y="870"/>
                  </a:lnTo>
                  <a:lnTo>
                    <a:pt x="368" y="874"/>
                  </a:lnTo>
                  <a:lnTo>
                    <a:pt x="368" y="876"/>
                  </a:lnTo>
                  <a:lnTo>
                    <a:pt x="374" y="878"/>
                  </a:lnTo>
                  <a:lnTo>
                    <a:pt x="388" y="880"/>
                  </a:lnTo>
                  <a:lnTo>
                    <a:pt x="404" y="882"/>
                  </a:lnTo>
                  <a:lnTo>
                    <a:pt x="414" y="884"/>
                  </a:lnTo>
                  <a:lnTo>
                    <a:pt x="420" y="886"/>
                  </a:lnTo>
                  <a:lnTo>
                    <a:pt x="424" y="888"/>
                  </a:lnTo>
                  <a:lnTo>
                    <a:pt x="426" y="890"/>
                  </a:lnTo>
                  <a:lnTo>
                    <a:pt x="430" y="892"/>
                  </a:lnTo>
                  <a:lnTo>
                    <a:pt x="450" y="892"/>
                  </a:lnTo>
                  <a:lnTo>
                    <a:pt x="464" y="894"/>
                  </a:lnTo>
                  <a:lnTo>
                    <a:pt x="476" y="894"/>
                  </a:lnTo>
                  <a:lnTo>
                    <a:pt x="494" y="898"/>
                  </a:lnTo>
                  <a:lnTo>
                    <a:pt x="504" y="898"/>
                  </a:lnTo>
                  <a:lnTo>
                    <a:pt x="514" y="898"/>
                  </a:lnTo>
                  <a:lnTo>
                    <a:pt x="524" y="894"/>
                  </a:lnTo>
                  <a:lnTo>
                    <a:pt x="536" y="888"/>
                  </a:lnTo>
                  <a:lnTo>
                    <a:pt x="540" y="886"/>
                  </a:lnTo>
                  <a:lnTo>
                    <a:pt x="540" y="884"/>
                  </a:lnTo>
                  <a:lnTo>
                    <a:pt x="540" y="882"/>
                  </a:lnTo>
                  <a:lnTo>
                    <a:pt x="538" y="878"/>
                  </a:lnTo>
                  <a:lnTo>
                    <a:pt x="530" y="874"/>
                  </a:lnTo>
                  <a:lnTo>
                    <a:pt x="518" y="868"/>
                  </a:lnTo>
                  <a:lnTo>
                    <a:pt x="506" y="862"/>
                  </a:lnTo>
                  <a:lnTo>
                    <a:pt x="494" y="854"/>
                  </a:lnTo>
                  <a:lnTo>
                    <a:pt x="484" y="846"/>
                  </a:lnTo>
                  <a:lnTo>
                    <a:pt x="476" y="836"/>
                  </a:lnTo>
                  <a:lnTo>
                    <a:pt x="472" y="826"/>
                  </a:lnTo>
                  <a:lnTo>
                    <a:pt x="466" y="820"/>
                  </a:lnTo>
                  <a:lnTo>
                    <a:pt x="456" y="808"/>
                  </a:lnTo>
                  <a:lnTo>
                    <a:pt x="452" y="800"/>
                  </a:lnTo>
                  <a:lnTo>
                    <a:pt x="448" y="792"/>
                  </a:lnTo>
                  <a:lnTo>
                    <a:pt x="448" y="780"/>
                  </a:lnTo>
                  <a:lnTo>
                    <a:pt x="450" y="764"/>
                  </a:lnTo>
                  <a:lnTo>
                    <a:pt x="452" y="756"/>
                  </a:lnTo>
                  <a:lnTo>
                    <a:pt x="456" y="748"/>
                  </a:lnTo>
                  <a:lnTo>
                    <a:pt x="464" y="736"/>
                  </a:lnTo>
                  <a:lnTo>
                    <a:pt x="474" y="726"/>
                  </a:lnTo>
                  <a:lnTo>
                    <a:pt x="482" y="718"/>
                  </a:lnTo>
                  <a:lnTo>
                    <a:pt x="490" y="712"/>
                  </a:lnTo>
                  <a:lnTo>
                    <a:pt x="492" y="706"/>
                  </a:lnTo>
                  <a:lnTo>
                    <a:pt x="492" y="704"/>
                  </a:lnTo>
                  <a:lnTo>
                    <a:pt x="488" y="702"/>
                  </a:lnTo>
                  <a:lnTo>
                    <a:pt x="478" y="696"/>
                  </a:lnTo>
                  <a:lnTo>
                    <a:pt x="458" y="688"/>
                  </a:lnTo>
                  <a:lnTo>
                    <a:pt x="454" y="686"/>
                  </a:lnTo>
                  <a:lnTo>
                    <a:pt x="448" y="686"/>
                  </a:lnTo>
                  <a:lnTo>
                    <a:pt x="434" y="688"/>
                  </a:lnTo>
                  <a:lnTo>
                    <a:pt x="400" y="694"/>
                  </a:lnTo>
                  <a:lnTo>
                    <a:pt x="378" y="698"/>
                  </a:lnTo>
                  <a:lnTo>
                    <a:pt x="366" y="700"/>
                  </a:lnTo>
                  <a:lnTo>
                    <a:pt x="362" y="702"/>
                  </a:lnTo>
                  <a:lnTo>
                    <a:pt x="362" y="706"/>
                  </a:lnTo>
                  <a:lnTo>
                    <a:pt x="362" y="708"/>
                  </a:lnTo>
                  <a:lnTo>
                    <a:pt x="362" y="712"/>
                  </a:lnTo>
                  <a:lnTo>
                    <a:pt x="358" y="716"/>
                  </a:lnTo>
                  <a:lnTo>
                    <a:pt x="348" y="720"/>
                  </a:lnTo>
                  <a:lnTo>
                    <a:pt x="338" y="726"/>
                  </a:lnTo>
                  <a:lnTo>
                    <a:pt x="334" y="730"/>
                  </a:lnTo>
                  <a:lnTo>
                    <a:pt x="332" y="734"/>
                  </a:lnTo>
                  <a:lnTo>
                    <a:pt x="334" y="736"/>
                  </a:lnTo>
                  <a:lnTo>
                    <a:pt x="338" y="742"/>
                  </a:lnTo>
                  <a:lnTo>
                    <a:pt x="340" y="746"/>
                  </a:lnTo>
                  <a:lnTo>
                    <a:pt x="340" y="754"/>
                  </a:lnTo>
                  <a:lnTo>
                    <a:pt x="336" y="764"/>
                  </a:lnTo>
                  <a:lnTo>
                    <a:pt x="330" y="774"/>
                  </a:lnTo>
                  <a:lnTo>
                    <a:pt x="324" y="778"/>
                  </a:lnTo>
                  <a:lnTo>
                    <a:pt x="320" y="778"/>
                  </a:lnTo>
                  <a:lnTo>
                    <a:pt x="316" y="776"/>
                  </a:lnTo>
                  <a:lnTo>
                    <a:pt x="310" y="774"/>
                  </a:lnTo>
                  <a:lnTo>
                    <a:pt x="306" y="774"/>
                  </a:lnTo>
                  <a:lnTo>
                    <a:pt x="302" y="778"/>
                  </a:lnTo>
                  <a:lnTo>
                    <a:pt x="296" y="786"/>
                  </a:lnTo>
                  <a:close/>
                  <a:moveTo>
                    <a:pt x="282" y="168"/>
                  </a:moveTo>
                  <a:lnTo>
                    <a:pt x="282" y="168"/>
                  </a:lnTo>
                  <a:lnTo>
                    <a:pt x="290" y="168"/>
                  </a:lnTo>
                  <a:lnTo>
                    <a:pt x="294" y="164"/>
                  </a:lnTo>
                  <a:lnTo>
                    <a:pt x="292" y="160"/>
                  </a:lnTo>
                  <a:lnTo>
                    <a:pt x="288" y="158"/>
                  </a:lnTo>
                  <a:lnTo>
                    <a:pt x="280" y="154"/>
                  </a:lnTo>
                  <a:lnTo>
                    <a:pt x="270" y="152"/>
                  </a:lnTo>
                  <a:lnTo>
                    <a:pt x="260" y="152"/>
                  </a:lnTo>
                  <a:lnTo>
                    <a:pt x="250" y="156"/>
                  </a:lnTo>
                  <a:lnTo>
                    <a:pt x="242" y="160"/>
                  </a:lnTo>
                  <a:lnTo>
                    <a:pt x="240" y="164"/>
                  </a:lnTo>
                  <a:lnTo>
                    <a:pt x="240" y="166"/>
                  </a:lnTo>
                  <a:lnTo>
                    <a:pt x="244" y="166"/>
                  </a:lnTo>
                  <a:lnTo>
                    <a:pt x="260" y="168"/>
                  </a:lnTo>
                  <a:lnTo>
                    <a:pt x="282" y="168"/>
                  </a:lnTo>
                  <a:close/>
                  <a:moveTo>
                    <a:pt x="416" y="96"/>
                  </a:moveTo>
                  <a:lnTo>
                    <a:pt x="416" y="96"/>
                  </a:lnTo>
                  <a:lnTo>
                    <a:pt x="424" y="96"/>
                  </a:lnTo>
                  <a:lnTo>
                    <a:pt x="428" y="100"/>
                  </a:lnTo>
                  <a:lnTo>
                    <a:pt x="432" y="100"/>
                  </a:lnTo>
                  <a:lnTo>
                    <a:pt x="440" y="100"/>
                  </a:lnTo>
                  <a:lnTo>
                    <a:pt x="452" y="98"/>
                  </a:lnTo>
                  <a:lnTo>
                    <a:pt x="464" y="96"/>
                  </a:lnTo>
                  <a:lnTo>
                    <a:pt x="470" y="96"/>
                  </a:lnTo>
                  <a:lnTo>
                    <a:pt x="472" y="96"/>
                  </a:lnTo>
                  <a:lnTo>
                    <a:pt x="470" y="94"/>
                  </a:lnTo>
                  <a:lnTo>
                    <a:pt x="452" y="88"/>
                  </a:lnTo>
                  <a:lnTo>
                    <a:pt x="440" y="86"/>
                  </a:lnTo>
                  <a:lnTo>
                    <a:pt x="436" y="86"/>
                  </a:lnTo>
                  <a:lnTo>
                    <a:pt x="432" y="88"/>
                  </a:lnTo>
                  <a:lnTo>
                    <a:pt x="428" y="90"/>
                  </a:lnTo>
                  <a:lnTo>
                    <a:pt x="424" y="90"/>
                  </a:lnTo>
                  <a:lnTo>
                    <a:pt x="414" y="88"/>
                  </a:lnTo>
                  <a:lnTo>
                    <a:pt x="404" y="86"/>
                  </a:lnTo>
                  <a:lnTo>
                    <a:pt x="398" y="88"/>
                  </a:lnTo>
                  <a:lnTo>
                    <a:pt x="396" y="92"/>
                  </a:lnTo>
                  <a:lnTo>
                    <a:pt x="394" y="94"/>
                  </a:lnTo>
                  <a:lnTo>
                    <a:pt x="398" y="96"/>
                  </a:lnTo>
                  <a:lnTo>
                    <a:pt x="416" y="96"/>
                  </a:lnTo>
                  <a:close/>
                  <a:moveTo>
                    <a:pt x="406" y="124"/>
                  </a:moveTo>
                  <a:lnTo>
                    <a:pt x="406" y="124"/>
                  </a:lnTo>
                  <a:lnTo>
                    <a:pt x="414" y="122"/>
                  </a:lnTo>
                  <a:lnTo>
                    <a:pt x="416" y="122"/>
                  </a:lnTo>
                  <a:lnTo>
                    <a:pt x="416" y="120"/>
                  </a:lnTo>
                  <a:lnTo>
                    <a:pt x="414" y="116"/>
                  </a:lnTo>
                  <a:lnTo>
                    <a:pt x="408" y="112"/>
                  </a:lnTo>
                  <a:lnTo>
                    <a:pt x="402" y="110"/>
                  </a:lnTo>
                  <a:lnTo>
                    <a:pt x="394" y="110"/>
                  </a:lnTo>
                  <a:lnTo>
                    <a:pt x="390" y="112"/>
                  </a:lnTo>
                  <a:lnTo>
                    <a:pt x="392" y="114"/>
                  </a:lnTo>
                  <a:lnTo>
                    <a:pt x="392" y="116"/>
                  </a:lnTo>
                  <a:lnTo>
                    <a:pt x="392" y="118"/>
                  </a:lnTo>
                  <a:lnTo>
                    <a:pt x="390" y="120"/>
                  </a:lnTo>
                  <a:lnTo>
                    <a:pt x="390" y="122"/>
                  </a:lnTo>
                  <a:lnTo>
                    <a:pt x="392" y="124"/>
                  </a:lnTo>
                  <a:lnTo>
                    <a:pt x="406" y="124"/>
                  </a:lnTo>
                  <a:close/>
                  <a:moveTo>
                    <a:pt x="382" y="134"/>
                  </a:moveTo>
                  <a:lnTo>
                    <a:pt x="382" y="134"/>
                  </a:lnTo>
                  <a:lnTo>
                    <a:pt x="372" y="126"/>
                  </a:lnTo>
                  <a:lnTo>
                    <a:pt x="368" y="124"/>
                  </a:lnTo>
                  <a:lnTo>
                    <a:pt x="364" y="124"/>
                  </a:lnTo>
                  <a:lnTo>
                    <a:pt x="350" y="128"/>
                  </a:lnTo>
                  <a:lnTo>
                    <a:pt x="330" y="136"/>
                  </a:lnTo>
                  <a:lnTo>
                    <a:pt x="328" y="138"/>
                  </a:lnTo>
                  <a:lnTo>
                    <a:pt x="326" y="140"/>
                  </a:lnTo>
                  <a:lnTo>
                    <a:pt x="328" y="142"/>
                  </a:lnTo>
                  <a:lnTo>
                    <a:pt x="332" y="144"/>
                  </a:lnTo>
                  <a:lnTo>
                    <a:pt x="342" y="146"/>
                  </a:lnTo>
                  <a:lnTo>
                    <a:pt x="356" y="148"/>
                  </a:lnTo>
                  <a:lnTo>
                    <a:pt x="370" y="148"/>
                  </a:lnTo>
                  <a:lnTo>
                    <a:pt x="380" y="146"/>
                  </a:lnTo>
                  <a:lnTo>
                    <a:pt x="384" y="144"/>
                  </a:lnTo>
                  <a:lnTo>
                    <a:pt x="386" y="142"/>
                  </a:lnTo>
                  <a:lnTo>
                    <a:pt x="386" y="138"/>
                  </a:lnTo>
                  <a:lnTo>
                    <a:pt x="382" y="134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54" y="118"/>
                  </a:lnTo>
                  <a:lnTo>
                    <a:pt x="62" y="114"/>
                  </a:lnTo>
                  <a:lnTo>
                    <a:pt x="66" y="114"/>
                  </a:lnTo>
                  <a:lnTo>
                    <a:pt x="70" y="116"/>
                  </a:lnTo>
                  <a:lnTo>
                    <a:pt x="76" y="120"/>
                  </a:lnTo>
                  <a:lnTo>
                    <a:pt x="80" y="122"/>
                  </a:lnTo>
                  <a:lnTo>
                    <a:pt x="86" y="124"/>
                  </a:lnTo>
                  <a:lnTo>
                    <a:pt x="92" y="122"/>
                  </a:lnTo>
                  <a:lnTo>
                    <a:pt x="102" y="118"/>
                  </a:lnTo>
                  <a:lnTo>
                    <a:pt x="118" y="110"/>
                  </a:lnTo>
                  <a:lnTo>
                    <a:pt x="130" y="104"/>
                  </a:lnTo>
                  <a:lnTo>
                    <a:pt x="134" y="102"/>
                  </a:lnTo>
                  <a:lnTo>
                    <a:pt x="140" y="102"/>
                  </a:lnTo>
                  <a:lnTo>
                    <a:pt x="148" y="102"/>
                  </a:lnTo>
                  <a:lnTo>
                    <a:pt x="158" y="106"/>
                  </a:lnTo>
                  <a:lnTo>
                    <a:pt x="168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82" y="106"/>
                  </a:lnTo>
                  <a:lnTo>
                    <a:pt x="182" y="102"/>
                  </a:lnTo>
                  <a:lnTo>
                    <a:pt x="176" y="98"/>
                  </a:lnTo>
                  <a:lnTo>
                    <a:pt x="166" y="94"/>
                  </a:lnTo>
                  <a:lnTo>
                    <a:pt x="150" y="90"/>
                  </a:lnTo>
                  <a:lnTo>
                    <a:pt x="126" y="86"/>
                  </a:lnTo>
                  <a:lnTo>
                    <a:pt x="122" y="88"/>
                  </a:lnTo>
                  <a:lnTo>
                    <a:pt x="120" y="90"/>
                  </a:lnTo>
                  <a:lnTo>
                    <a:pt x="118" y="92"/>
                  </a:lnTo>
                  <a:lnTo>
                    <a:pt x="114" y="94"/>
                  </a:lnTo>
                  <a:lnTo>
                    <a:pt x="108" y="98"/>
                  </a:lnTo>
                  <a:lnTo>
                    <a:pt x="96" y="100"/>
                  </a:lnTo>
                  <a:lnTo>
                    <a:pt x="64" y="104"/>
                  </a:lnTo>
                  <a:lnTo>
                    <a:pt x="42" y="108"/>
                  </a:lnTo>
                  <a:lnTo>
                    <a:pt x="34" y="110"/>
                  </a:lnTo>
                  <a:lnTo>
                    <a:pt x="32" y="112"/>
                  </a:lnTo>
                  <a:lnTo>
                    <a:pt x="36" y="114"/>
                  </a:lnTo>
                  <a:lnTo>
                    <a:pt x="46" y="116"/>
                  </a:lnTo>
                  <a:close/>
                  <a:moveTo>
                    <a:pt x="202" y="100"/>
                  </a:moveTo>
                  <a:lnTo>
                    <a:pt x="202" y="100"/>
                  </a:lnTo>
                  <a:lnTo>
                    <a:pt x="210" y="106"/>
                  </a:lnTo>
                  <a:lnTo>
                    <a:pt x="210" y="108"/>
                  </a:lnTo>
                  <a:lnTo>
                    <a:pt x="210" y="112"/>
                  </a:lnTo>
                  <a:lnTo>
                    <a:pt x="208" y="114"/>
                  </a:lnTo>
                  <a:lnTo>
                    <a:pt x="202" y="116"/>
                  </a:lnTo>
                  <a:lnTo>
                    <a:pt x="178" y="118"/>
                  </a:lnTo>
                  <a:lnTo>
                    <a:pt x="152" y="118"/>
                  </a:lnTo>
                  <a:lnTo>
                    <a:pt x="136" y="118"/>
                  </a:lnTo>
                  <a:lnTo>
                    <a:pt x="132" y="120"/>
                  </a:lnTo>
                  <a:lnTo>
                    <a:pt x="134" y="124"/>
                  </a:lnTo>
                  <a:lnTo>
                    <a:pt x="140" y="126"/>
                  </a:lnTo>
                  <a:lnTo>
                    <a:pt x="146" y="132"/>
                  </a:lnTo>
                  <a:lnTo>
                    <a:pt x="146" y="134"/>
                  </a:lnTo>
                  <a:lnTo>
                    <a:pt x="144" y="134"/>
                  </a:lnTo>
                  <a:lnTo>
                    <a:pt x="124" y="132"/>
                  </a:lnTo>
                  <a:lnTo>
                    <a:pt x="110" y="132"/>
                  </a:lnTo>
                  <a:lnTo>
                    <a:pt x="100" y="132"/>
                  </a:lnTo>
                  <a:lnTo>
                    <a:pt x="96" y="134"/>
                  </a:lnTo>
                  <a:lnTo>
                    <a:pt x="96" y="136"/>
                  </a:lnTo>
                  <a:lnTo>
                    <a:pt x="100" y="140"/>
                  </a:lnTo>
                  <a:lnTo>
                    <a:pt x="110" y="144"/>
                  </a:lnTo>
                  <a:lnTo>
                    <a:pt x="118" y="148"/>
                  </a:lnTo>
                  <a:lnTo>
                    <a:pt x="122" y="148"/>
                  </a:lnTo>
                  <a:lnTo>
                    <a:pt x="128" y="144"/>
                  </a:lnTo>
                  <a:lnTo>
                    <a:pt x="140" y="140"/>
                  </a:lnTo>
                  <a:lnTo>
                    <a:pt x="146" y="140"/>
                  </a:lnTo>
                  <a:lnTo>
                    <a:pt x="148" y="140"/>
                  </a:lnTo>
                  <a:lnTo>
                    <a:pt x="146" y="146"/>
                  </a:lnTo>
                  <a:lnTo>
                    <a:pt x="146" y="150"/>
                  </a:lnTo>
                  <a:lnTo>
                    <a:pt x="146" y="152"/>
                  </a:lnTo>
                  <a:lnTo>
                    <a:pt x="150" y="152"/>
                  </a:lnTo>
                  <a:lnTo>
                    <a:pt x="160" y="150"/>
                  </a:lnTo>
                  <a:lnTo>
                    <a:pt x="168" y="148"/>
                  </a:lnTo>
                  <a:lnTo>
                    <a:pt x="176" y="146"/>
                  </a:lnTo>
                  <a:lnTo>
                    <a:pt x="184" y="148"/>
                  </a:lnTo>
                  <a:lnTo>
                    <a:pt x="190" y="150"/>
                  </a:lnTo>
                  <a:lnTo>
                    <a:pt x="192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198" y="142"/>
                  </a:lnTo>
                  <a:lnTo>
                    <a:pt x="192" y="140"/>
                  </a:lnTo>
                  <a:lnTo>
                    <a:pt x="184" y="138"/>
                  </a:lnTo>
                  <a:lnTo>
                    <a:pt x="184" y="136"/>
                  </a:lnTo>
                  <a:lnTo>
                    <a:pt x="186" y="134"/>
                  </a:lnTo>
                  <a:lnTo>
                    <a:pt x="196" y="130"/>
                  </a:lnTo>
                  <a:lnTo>
                    <a:pt x="206" y="130"/>
                  </a:lnTo>
                  <a:lnTo>
                    <a:pt x="216" y="128"/>
                  </a:lnTo>
                  <a:lnTo>
                    <a:pt x="220" y="126"/>
                  </a:lnTo>
                  <a:lnTo>
                    <a:pt x="226" y="124"/>
                  </a:lnTo>
                  <a:lnTo>
                    <a:pt x="230" y="120"/>
                  </a:lnTo>
                  <a:lnTo>
                    <a:pt x="234" y="118"/>
                  </a:lnTo>
                  <a:lnTo>
                    <a:pt x="246" y="118"/>
                  </a:lnTo>
                  <a:lnTo>
                    <a:pt x="262" y="118"/>
                  </a:lnTo>
                  <a:lnTo>
                    <a:pt x="286" y="114"/>
                  </a:lnTo>
                  <a:lnTo>
                    <a:pt x="298" y="112"/>
                  </a:lnTo>
                  <a:lnTo>
                    <a:pt x="304" y="108"/>
                  </a:lnTo>
                  <a:lnTo>
                    <a:pt x="306" y="104"/>
                  </a:lnTo>
                  <a:lnTo>
                    <a:pt x="304" y="102"/>
                  </a:lnTo>
                  <a:lnTo>
                    <a:pt x="298" y="98"/>
                  </a:lnTo>
                  <a:lnTo>
                    <a:pt x="290" y="96"/>
                  </a:lnTo>
                  <a:lnTo>
                    <a:pt x="280" y="96"/>
                  </a:lnTo>
                  <a:lnTo>
                    <a:pt x="270" y="98"/>
                  </a:lnTo>
                  <a:lnTo>
                    <a:pt x="256" y="98"/>
                  </a:lnTo>
                  <a:lnTo>
                    <a:pt x="258" y="98"/>
                  </a:lnTo>
                  <a:lnTo>
                    <a:pt x="260" y="96"/>
                  </a:lnTo>
                  <a:lnTo>
                    <a:pt x="262" y="94"/>
                  </a:lnTo>
                  <a:lnTo>
                    <a:pt x="262" y="92"/>
                  </a:lnTo>
                  <a:lnTo>
                    <a:pt x="258" y="90"/>
                  </a:lnTo>
                  <a:lnTo>
                    <a:pt x="250" y="88"/>
                  </a:lnTo>
                  <a:lnTo>
                    <a:pt x="228" y="88"/>
                  </a:lnTo>
                  <a:lnTo>
                    <a:pt x="208" y="90"/>
                  </a:lnTo>
                  <a:lnTo>
                    <a:pt x="202" y="92"/>
                  </a:lnTo>
                  <a:lnTo>
                    <a:pt x="198" y="96"/>
                  </a:lnTo>
                  <a:lnTo>
                    <a:pt x="198" y="98"/>
                  </a:lnTo>
                  <a:lnTo>
                    <a:pt x="202" y="100"/>
                  </a:lnTo>
                  <a:close/>
                  <a:moveTo>
                    <a:pt x="272" y="70"/>
                  </a:moveTo>
                  <a:lnTo>
                    <a:pt x="272" y="70"/>
                  </a:lnTo>
                  <a:lnTo>
                    <a:pt x="276" y="66"/>
                  </a:lnTo>
                  <a:lnTo>
                    <a:pt x="278" y="64"/>
                  </a:lnTo>
                  <a:lnTo>
                    <a:pt x="276" y="62"/>
                  </a:lnTo>
                  <a:lnTo>
                    <a:pt x="274" y="60"/>
                  </a:lnTo>
                  <a:lnTo>
                    <a:pt x="268" y="60"/>
                  </a:lnTo>
                  <a:lnTo>
                    <a:pt x="262" y="60"/>
                  </a:lnTo>
                  <a:lnTo>
                    <a:pt x="256" y="62"/>
                  </a:lnTo>
                  <a:lnTo>
                    <a:pt x="250" y="66"/>
                  </a:lnTo>
                  <a:lnTo>
                    <a:pt x="246" y="72"/>
                  </a:lnTo>
                  <a:lnTo>
                    <a:pt x="244" y="76"/>
                  </a:lnTo>
                  <a:lnTo>
                    <a:pt x="244" y="78"/>
                  </a:lnTo>
                  <a:lnTo>
                    <a:pt x="248" y="78"/>
                  </a:lnTo>
                  <a:lnTo>
                    <a:pt x="258" y="74"/>
                  </a:lnTo>
                  <a:lnTo>
                    <a:pt x="272" y="70"/>
                  </a:lnTo>
                  <a:close/>
                  <a:moveTo>
                    <a:pt x="228" y="142"/>
                  </a:moveTo>
                  <a:lnTo>
                    <a:pt x="228" y="142"/>
                  </a:lnTo>
                  <a:lnTo>
                    <a:pt x="222" y="144"/>
                  </a:lnTo>
                  <a:lnTo>
                    <a:pt x="220" y="146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2" y="156"/>
                  </a:lnTo>
                  <a:lnTo>
                    <a:pt x="226" y="156"/>
                  </a:lnTo>
                  <a:lnTo>
                    <a:pt x="232" y="156"/>
                  </a:lnTo>
                  <a:lnTo>
                    <a:pt x="238" y="154"/>
                  </a:lnTo>
                  <a:lnTo>
                    <a:pt x="246" y="148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6" y="140"/>
                  </a:lnTo>
                  <a:lnTo>
                    <a:pt x="242" y="138"/>
                  </a:lnTo>
                  <a:lnTo>
                    <a:pt x="228" y="142"/>
                  </a:lnTo>
                  <a:close/>
                  <a:moveTo>
                    <a:pt x="790" y="22"/>
                  </a:moveTo>
                  <a:lnTo>
                    <a:pt x="790" y="22"/>
                  </a:lnTo>
                  <a:lnTo>
                    <a:pt x="792" y="20"/>
                  </a:lnTo>
                  <a:lnTo>
                    <a:pt x="792" y="18"/>
                  </a:lnTo>
                  <a:lnTo>
                    <a:pt x="788" y="14"/>
                  </a:lnTo>
                  <a:lnTo>
                    <a:pt x="780" y="12"/>
                  </a:lnTo>
                  <a:lnTo>
                    <a:pt x="770" y="12"/>
                  </a:lnTo>
                  <a:lnTo>
                    <a:pt x="748" y="12"/>
                  </a:lnTo>
                  <a:lnTo>
                    <a:pt x="736" y="14"/>
                  </a:lnTo>
                  <a:lnTo>
                    <a:pt x="728" y="18"/>
                  </a:lnTo>
                  <a:lnTo>
                    <a:pt x="726" y="18"/>
                  </a:lnTo>
                  <a:lnTo>
                    <a:pt x="726" y="20"/>
                  </a:lnTo>
                  <a:lnTo>
                    <a:pt x="730" y="22"/>
                  </a:lnTo>
                  <a:lnTo>
                    <a:pt x="750" y="26"/>
                  </a:lnTo>
                  <a:lnTo>
                    <a:pt x="774" y="26"/>
                  </a:lnTo>
                  <a:lnTo>
                    <a:pt x="784" y="26"/>
                  </a:lnTo>
                  <a:lnTo>
                    <a:pt x="790" y="22"/>
                  </a:lnTo>
                  <a:close/>
                  <a:moveTo>
                    <a:pt x="596" y="154"/>
                  </a:moveTo>
                  <a:lnTo>
                    <a:pt x="596" y="154"/>
                  </a:lnTo>
                  <a:lnTo>
                    <a:pt x="588" y="158"/>
                  </a:lnTo>
                  <a:lnTo>
                    <a:pt x="586" y="160"/>
                  </a:lnTo>
                  <a:lnTo>
                    <a:pt x="588" y="162"/>
                  </a:lnTo>
                  <a:lnTo>
                    <a:pt x="592" y="164"/>
                  </a:lnTo>
                  <a:lnTo>
                    <a:pt x="608" y="164"/>
                  </a:lnTo>
                  <a:lnTo>
                    <a:pt x="628" y="164"/>
                  </a:lnTo>
                  <a:lnTo>
                    <a:pt x="634" y="162"/>
                  </a:lnTo>
                  <a:lnTo>
                    <a:pt x="638" y="160"/>
                  </a:lnTo>
                  <a:lnTo>
                    <a:pt x="636" y="158"/>
                  </a:lnTo>
                  <a:lnTo>
                    <a:pt x="632" y="156"/>
                  </a:lnTo>
                  <a:lnTo>
                    <a:pt x="618" y="152"/>
                  </a:lnTo>
                  <a:lnTo>
                    <a:pt x="610" y="152"/>
                  </a:lnTo>
                  <a:lnTo>
                    <a:pt x="600" y="154"/>
                  </a:lnTo>
                  <a:lnTo>
                    <a:pt x="596" y="154"/>
                  </a:lnTo>
                  <a:close/>
                  <a:moveTo>
                    <a:pt x="482" y="98"/>
                  </a:moveTo>
                  <a:lnTo>
                    <a:pt x="482" y="98"/>
                  </a:lnTo>
                  <a:lnTo>
                    <a:pt x="460" y="100"/>
                  </a:lnTo>
                  <a:lnTo>
                    <a:pt x="458" y="102"/>
                  </a:lnTo>
                  <a:lnTo>
                    <a:pt x="462" y="106"/>
                  </a:lnTo>
                  <a:lnTo>
                    <a:pt x="470" y="108"/>
                  </a:lnTo>
                  <a:lnTo>
                    <a:pt x="482" y="108"/>
                  </a:lnTo>
                  <a:lnTo>
                    <a:pt x="510" y="106"/>
                  </a:lnTo>
                  <a:lnTo>
                    <a:pt x="514" y="106"/>
                  </a:lnTo>
                  <a:lnTo>
                    <a:pt x="516" y="104"/>
                  </a:lnTo>
                  <a:lnTo>
                    <a:pt x="508" y="100"/>
                  </a:lnTo>
                  <a:lnTo>
                    <a:pt x="496" y="98"/>
                  </a:lnTo>
                  <a:lnTo>
                    <a:pt x="482" y="98"/>
                  </a:lnTo>
                  <a:close/>
                  <a:moveTo>
                    <a:pt x="796" y="100"/>
                  </a:moveTo>
                  <a:lnTo>
                    <a:pt x="796" y="100"/>
                  </a:lnTo>
                  <a:lnTo>
                    <a:pt x="822" y="96"/>
                  </a:lnTo>
                  <a:lnTo>
                    <a:pt x="842" y="92"/>
                  </a:lnTo>
                  <a:lnTo>
                    <a:pt x="848" y="90"/>
                  </a:lnTo>
                  <a:lnTo>
                    <a:pt x="854" y="88"/>
                  </a:lnTo>
                  <a:lnTo>
                    <a:pt x="856" y="84"/>
                  </a:lnTo>
                  <a:lnTo>
                    <a:pt x="858" y="78"/>
                  </a:lnTo>
                  <a:lnTo>
                    <a:pt x="856" y="70"/>
                  </a:lnTo>
                  <a:lnTo>
                    <a:pt x="852" y="66"/>
                  </a:lnTo>
                  <a:lnTo>
                    <a:pt x="844" y="62"/>
                  </a:lnTo>
                  <a:lnTo>
                    <a:pt x="836" y="60"/>
                  </a:lnTo>
                  <a:lnTo>
                    <a:pt x="828" y="60"/>
                  </a:lnTo>
                  <a:lnTo>
                    <a:pt x="820" y="60"/>
                  </a:lnTo>
                  <a:lnTo>
                    <a:pt x="812" y="62"/>
                  </a:lnTo>
                  <a:lnTo>
                    <a:pt x="806" y="66"/>
                  </a:lnTo>
                  <a:lnTo>
                    <a:pt x="800" y="70"/>
                  </a:lnTo>
                  <a:lnTo>
                    <a:pt x="796" y="72"/>
                  </a:lnTo>
                  <a:lnTo>
                    <a:pt x="784" y="74"/>
                  </a:lnTo>
                  <a:lnTo>
                    <a:pt x="768" y="76"/>
                  </a:lnTo>
                  <a:lnTo>
                    <a:pt x="758" y="80"/>
                  </a:lnTo>
                  <a:lnTo>
                    <a:pt x="748" y="86"/>
                  </a:lnTo>
                  <a:lnTo>
                    <a:pt x="742" y="90"/>
                  </a:lnTo>
                  <a:lnTo>
                    <a:pt x="740" y="94"/>
                  </a:lnTo>
                  <a:lnTo>
                    <a:pt x="742" y="98"/>
                  </a:lnTo>
                  <a:lnTo>
                    <a:pt x="748" y="100"/>
                  </a:lnTo>
                  <a:lnTo>
                    <a:pt x="758" y="102"/>
                  </a:lnTo>
                  <a:lnTo>
                    <a:pt x="768" y="102"/>
                  </a:lnTo>
                  <a:lnTo>
                    <a:pt x="796" y="100"/>
                  </a:lnTo>
                  <a:close/>
                  <a:moveTo>
                    <a:pt x="506" y="132"/>
                  </a:moveTo>
                  <a:lnTo>
                    <a:pt x="506" y="132"/>
                  </a:lnTo>
                  <a:lnTo>
                    <a:pt x="494" y="134"/>
                  </a:lnTo>
                  <a:lnTo>
                    <a:pt x="482" y="132"/>
                  </a:lnTo>
                  <a:lnTo>
                    <a:pt x="476" y="134"/>
                  </a:lnTo>
                  <a:lnTo>
                    <a:pt x="472" y="136"/>
                  </a:lnTo>
                  <a:lnTo>
                    <a:pt x="468" y="140"/>
                  </a:lnTo>
                  <a:lnTo>
                    <a:pt x="466" y="148"/>
                  </a:lnTo>
                  <a:lnTo>
                    <a:pt x="466" y="154"/>
                  </a:lnTo>
                  <a:lnTo>
                    <a:pt x="468" y="156"/>
                  </a:lnTo>
                  <a:lnTo>
                    <a:pt x="472" y="158"/>
                  </a:lnTo>
                  <a:lnTo>
                    <a:pt x="478" y="158"/>
                  </a:lnTo>
                  <a:lnTo>
                    <a:pt x="494" y="158"/>
                  </a:lnTo>
                  <a:lnTo>
                    <a:pt x="512" y="158"/>
                  </a:lnTo>
                  <a:lnTo>
                    <a:pt x="520" y="156"/>
                  </a:lnTo>
                  <a:lnTo>
                    <a:pt x="524" y="154"/>
                  </a:lnTo>
                  <a:lnTo>
                    <a:pt x="526" y="150"/>
                  </a:lnTo>
                  <a:lnTo>
                    <a:pt x="524" y="144"/>
                  </a:lnTo>
                  <a:lnTo>
                    <a:pt x="522" y="138"/>
                  </a:lnTo>
                  <a:lnTo>
                    <a:pt x="516" y="134"/>
                  </a:lnTo>
                  <a:lnTo>
                    <a:pt x="512" y="132"/>
                  </a:lnTo>
                  <a:lnTo>
                    <a:pt x="506" y="132"/>
                  </a:lnTo>
                  <a:close/>
                  <a:moveTo>
                    <a:pt x="456" y="58"/>
                  </a:moveTo>
                  <a:lnTo>
                    <a:pt x="456" y="58"/>
                  </a:lnTo>
                  <a:lnTo>
                    <a:pt x="460" y="58"/>
                  </a:lnTo>
                  <a:lnTo>
                    <a:pt x="464" y="58"/>
                  </a:lnTo>
                  <a:lnTo>
                    <a:pt x="470" y="58"/>
                  </a:lnTo>
                  <a:lnTo>
                    <a:pt x="480" y="58"/>
                  </a:lnTo>
                  <a:lnTo>
                    <a:pt x="486" y="58"/>
                  </a:lnTo>
                  <a:lnTo>
                    <a:pt x="492" y="62"/>
                  </a:lnTo>
                  <a:lnTo>
                    <a:pt x="496" y="64"/>
                  </a:lnTo>
                  <a:lnTo>
                    <a:pt x="500" y="64"/>
                  </a:lnTo>
                  <a:lnTo>
                    <a:pt x="508" y="60"/>
                  </a:lnTo>
                  <a:lnTo>
                    <a:pt x="524" y="56"/>
                  </a:lnTo>
                  <a:lnTo>
                    <a:pt x="548" y="52"/>
                  </a:lnTo>
                  <a:lnTo>
                    <a:pt x="552" y="52"/>
                  </a:lnTo>
                  <a:lnTo>
                    <a:pt x="550" y="50"/>
                  </a:lnTo>
                  <a:lnTo>
                    <a:pt x="540" y="48"/>
                  </a:lnTo>
                  <a:lnTo>
                    <a:pt x="498" y="44"/>
                  </a:lnTo>
                  <a:lnTo>
                    <a:pt x="492" y="44"/>
                  </a:lnTo>
                  <a:lnTo>
                    <a:pt x="488" y="44"/>
                  </a:lnTo>
                  <a:lnTo>
                    <a:pt x="488" y="46"/>
                  </a:lnTo>
                  <a:lnTo>
                    <a:pt x="490" y="48"/>
                  </a:lnTo>
                  <a:lnTo>
                    <a:pt x="494" y="52"/>
                  </a:lnTo>
                  <a:lnTo>
                    <a:pt x="492" y="54"/>
                  </a:lnTo>
                  <a:lnTo>
                    <a:pt x="488" y="54"/>
                  </a:lnTo>
                  <a:lnTo>
                    <a:pt x="462" y="52"/>
                  </a:lnTo>
                  <a:lnTo>
                    <a:pt x="454" y="54"/>
                  </a:lnTo>
                  <a:lnTo>
                    <a:pt x="454" y="56"/>
                  </a:lnTo>
                  <a:lnTo>
                    <a:pt x="456" y="58"/>
                  </a:lnTo>
                  <a:close/>
                  <a:moveTo>
                    <a:pt x="678" y="84"/>
                  </a:moveTo>
                  <a:lnTo>
                    <a:pt x="678" y="84"/>
                  </a:lnTo>
                  <a:lnTo>
                    <a:pt x="688" y="82"/>
                  </a:lnTo>
                  <a:lnTo>
                    <a:pt x="696" y="78"/>
                  </a:lnTo>
                  <a:lnTo>
                    <a:pt x="704" y="74"/>
                  </a:lnTo>
                  <a:lnTo>
                    <a:pt x="710" y="70"/>
                  </a:lnTo>
                  <a:lnTo>
                    <a:pt x="710" y="68"/>
                  </a:lnTo>
                  <a:lnTo>
                    <a:pt x="710" y="66"/>
                  </a:lnTo>
                  <a:lnTo>
                    <a:pt x="704" y="64"/>
                  </a:lnTo>
                  <a:lnTo>
                    <a:pt x="692" y="64"/>
                  </a:lnTo>
                  <a:lnTo>
                    <a:pt x="670" y="68"/>
                  </a:lnTo>
                  <a:lnTo>
                    <a:pt x="654" y="72"/>
                  </a:lnTo>
                  <a:lnTo>
                    <a:pt x="646" y="76"/>
                  </a:lnTo>
                  <a:lnTo>
                    <a:pt x="644" y="80"/>
                  </a:lnTo>
                  <a:lnTo>
                    <a:pt x="646" y="82"/>
                  </a:lnTo>
                  <a:lnTo>
                    <a:pt x="658" y="84"/>
                  </a:lnTo>
                  <a:lnTo>
                    <a:pt x="678" y="84"/>
                  </a:lnTo>
                  <a:close/>
                  <a:moveTo>
                    <a:pt x="568" y="44"/>
                  </a:moveTo>
                  <a:lnTo>
                    <a:pt x="568" y="44"/>
                  </a:lnTo>
                  <a:lnTo>
                    <a:pt x="580" y="44"/>
                  </a:lnTo>
                  <a:lnTo>
                    <a:pt x="582" y="44"/>
                  </a:lnTo>
                  <a:lnTo>
                    <a:pt x="580" y="42"/>
                  </a:lnTo>
                  <a:lnTo>
                    <a:pt x="570" y="38"/>
                  </a:lnTo>
                  <a:lnTo>
                    <a:pt x="556" y="34"/>
                  </a:lnTo>
                  <a:lnTo>
                    <a:pt x="544" y="30"/>
                  </a:lnTo>
                  <a:lnTo>
                    <a:pt x="536" y="28"/>
                  </a:lnTo>
                  <a:lnTo>
                    <a:pt x="528" y="30"/>
                  </a:lnTo>
                  <a:lnTo>
                    <a:pt x="518" y="34"/>
                  </a:lnTo>
                  <a:lnTo>
                    <a:pt x="510" y="38"/>
                  </a:lnTo>
                  <a:lnTo>
                    <a:pt x="508" y="40"/>
                  </a:lnTo>
                  <a:lnTo>
                    <a:pt x="510" y="40"/>
                  </a:lnTo>
                  <a:lnTo>
                    <a:pt x="520" y="40"/>
                  </a:lnTo>
                  <a:lnTo>
                    <a:pt x="542" y="42"/>
                  </a:lnTo>
                  <a:lnTo>
                    <a:pt x="568" y="44"/>
                  </a:lnTo>
                  <a:close/>
                  <a:moveTo>
                    <a:pt x="672" y="122"/>
                  </a:moveTo>
                  <a:lnTo>
                    <a:pt x="672" y="122"/>
                  </a:lnTo>
                  <a:lnTo>
                    <a:pt x="682" y="124"/>
                  </a:lnTo>
                  <a:lnTo>
                    <a:pt x="690" y="124"/>
                  </a:lnTo>
                  <a:lnTo>
                    <a:pt x="694" y="124"/>
                  </a:lnTo>
                  <a:lnTo>
                    <a:pt x="698" y="120"/>
                  </a:lnTo>
                  <a:lnTo>
                    <a:pt x="706" y="116"/>
                  </a:lnTo>
                  <a:lnTo>
                    <a:pt x="710" y="112"/>
                  </a:lnTo>
                  <a:lnTo>
                    <a:pt x="718" y="112"/>
                  </a:lnTo>
                  <a:lnTo>
                    <a:pt x="724" y="110"/>
                  </a:lnTo>
                  <a:lnTo>
                    <a:pt x="728" y="106"/>
                  </a:lnTo>
                  <a:lnTo>
                    <a:pt x="730" y="100"/>
                  </a:lnTo>
                  <a:lnTo>
                    <a:pt x="728" y="94"/>
                  </a:lnTo>
                  <a:lnTo>
                    <a:pt x="724" y="88"/>
                  </a:lnTo>
                  <a:lnTo>
                    <a:pt x="716" y="84"/>
                  </a:lnTo>
                  <a:lnTo>
                    <a:pt x="704" y="84"/>
                  </a:lnTo>
                  <a:lnTo>
                    <a:pt x="688" y="88"/>
                  </a:lnTo>
                  <a:lnTo>
                    <a:pt x="670" y="94"/>
                  </a:lnTo>
                  <a:lnTo>
                    <a:pt x="656" y="94"/>
                  </a:lnTo>
                  <a:lnTo>
                    <a:pt x="644" y="92"/>
                  </a:lnTo>
                  <a:lnTo>
                    <a:pt x="634" y="90"/>
                  </a:lnTo>
                  <a:lnTo>
                    <a:pt x="626" y="90"/>
                  </a:lnTo>
                  <a:lnTo>
                    <a:pt x="620" y="90"/>
                  </a:lnTo>
                  <a:lnTo>
                    <a:pt x="614" y="94"/>
                  </a:lnTo>
                  <a:lnTo>
                    <a:pt x="608" y="104"/>
                  </a:lnTo>
                  <a:lnTo>
                    <a:pt x="606" y="116"/>
                  </a:lnTo>
                  <a:lnTo>
                    <a:pt x="606" y="118"/>
                  </a:lnTo>
                  <a:lnTo>
                    <a:pt x="608" y="122"/>
                  </a:lnTo>
                  <a:lnTo>
                    <a:pt x="614" y="124"/>
                  </a:lnTo>
                  <a:lnTo>
                    <a:pt x="622" y="124"/>
                  </a:lnTo>
                  <a:lnTo>
                    <a:pt x="646" y="120"/>
                  </a:lnTo>
                  <a:lnTo>
                    <a:pt x="660" y="120"/>
                  </a:lnTo>
                  <a:lnTo>
                    <a:pt x="672" y="122"/>
                  </a:lnTo>
                  <a:close/>
                  <a:moveTo>
                    <a:pt x="4428" y="2314"/>
                  </a:moveTo>
                  <a:lnTo>
                    <a:pt x="4428" y="2314"/>
                  </a:lnTo>
                  <a:lnTo>
                    <a:pt x="4426" y="2314"/>
                  </a:lnTo>
                  <a:lnTo>
                    <a:pt x="4428" y="2314"/>
                  </a:lnTo>
                  <a:lnTo>
                    <a:pt x="4432" y="2310"/>
                  </a:lnTo>
                  <a:lnTo>
                    <a:pt x="4436" y="2306"/>
                  </a:lnTo>
                  <a:lnTo>
                    <a:pt x="4436" y="2302"/>
                  </a:lnTo>
                  <a:lnTo>
                    <a:pt x="4432" y="2304"/>
                  </a:lnTo>
                  <a:lnTo>
                    <a:pt x="4428" y="2314"/>
                  </a:lnTo>
                  <a:close/>
                  <a:moveTo>
                    <a:pt x="4510" y="2192"/>
                  </a:moveTo>
                  <a:lnTo>
                    <a:pt x="4510" y="2192"/>
                  </a:lnTo>
                  <a:lnTo>
                    <a:pt x="4508" y="2194"/>
                  </a:lnTo>
                  <a:lnTo>
                    <a:pt x="4506" y="2196"/>
                  </a:lnTo>
                  <a:lnTo>
                    <a:pt x="4502" y="2202"/>
                  </a:lnTo>
                  <a:lnTo>
                    <a:pt x="4498" y="2210"/>
                  </a:lnTo>
                  <a:lnTo>
                    <a:pt x="4496" y="2214"/>
                  </a:lnTo>
                  <a:lnTo>
                    <a:pt x="4492" y="2216"/>
                  </a:lnTo>
                  <a:lnTo>
                    <a:pt x="4482" y="2220"/>
                  </a:lnTo>
                  <a:lnTo>
                    <a:pt x="4476" y="2224"/>
                  </a:lnTo>
                  <a:lnTo>
                    <a:pt x="4476" y="2226"/>
                  </a:lnTo>
                  <a:lnTo>
                    <a:pt x="4474" y="2228"/>
                  </a:lnTo>
                  <a:lnTo>
                    <a:pt x="4478" y="2236"/>
                  </a:lnTo>
                  <a:lnTo>
                    <a:pt x="4480" y="2238"/>
                  </a:lnTo>
                  <a:lnTo>
                    <a:pt x="4482" y="2238"/>
                  </a:lnTo>
                  <a:lnTo>
                    <a:pt x="4484" y="2236"/>
                  </a:lnTo>
                  <a:lnTo>
                    <a:pt x="4490" y="2230"/>
                  </a:lnTo>
                  <a:lnTo>
                    <a:pt x="4494" y="2228"/>
                  </a:lnTo>
                  <a:lnTo>
                    <a:pt x="4498" y="2226"/>
                  </a:lnTo>
                  <a:lnTo>
                    <a:pt x="4504" y="2224"/>
                  </a:lnTo>
                  <a:lnTo>
                    <a:pt x="4508" y="2220"/>
                  </a:lnTo>
                  <a:lnTo>
                    <a:pt x="4510" y="2214"/>
                  </a:lnTo>
                  <a:lnTo>
                    <a:pt x="4512" y="2208"/>
                  </a:lnTo>
                  <a:lnTo>
                    <a:pt x="4512" y="2198"/>
                  </a:lnTo>
                  <a:lnTo>
                    <a:pt x="4512" y="2194"/>
                  </a:lnTo>
                  <a:lnTo>
                    <a:pt x="4510" y="2192"/>
                  </a:lnTo>
                  <a:close/>
                  <a:moveTo>
                    <a:pt x="4462" y="2262"/>
                  </a:moveTo>
                  <a:lnTo>
                    <a:pt x="4462" y="2262"/>
                  </a:lnTo>
                  <a:lnTo>
                    <a:pt x="4460" y="2260"/>
                  </a:lnTo>
                  <a:lnTo>
                    <a:pt x="4456" y="2262"/>
                  </a:lnTo>
                  <a:lnTo>
                    <a:pt x="4452" y="2272"/>
                  </a:lnTo>
                  <a:lnTo>
                    <a:pt x="4448" y="2284"/>
                  </a:lnTo>
                  <a:lnTo>
                    <a:pt x="4448" y="2292"/>
                  </a:lnTo>
                  <a:lnTo>
                    <a:pt x="4448" y="2294"/>
                  </a:lnTo>
                  <a:lnTo>
                    <a:pt x="4452" y="2292"/>
                  </a:lnTo>
                  <a:lnTo>
                    <a:pt x="4458" y="2282"/>
                  </a:lnTo>
                  <a:lnTo>
                    <a:pt x="4462" y="2272"/>
                  </a:lnTo>
                  <a:lnTo>
                    <a:pt x="4462" y="2266"/>
                  </a:lnTo>
                  <a:lnTo>
                    <a:pt x="4462" y="2262"/>
                  </a:lnTo>
                  <a:close/>
                  <a:moveTo>
                    <a:pt x="4486" y="4072"/>
                  </a:moveTo>
                  <a:lnTo>
                    <a:pt x="4486" y="4072"/>
                  </a:lnTo>
                  <a:lnTo>
                    <a:pt x="4482" y="4070"/>
                  </a:lnTo>
                  <a:lnTo>
                    <a:pt x="4482" y="4068"/>
                  </a:lnTo>
                  <a:lnTo>
                    <a:pt x="4480" y="4066"/>
                  </a:lnTo>
                  <a:lnTo>
                    <a:pt x="4478" y="4064"/>
                  </a:lnTo>
                  <a:lnTo>
                    <a:pt x="4474" y="4064"/>
                  </a:lnTo>
                  <a:lnTo>
                    <a:pt x="4470" y="4064"/>
                  </a:lnTo>
                  <a:lnTo>
                    <a:pt x="4460" y="4068"/>
                  </a:lnTo>
                  <a:lnTo>
                    <a:pt x="4450" y="4076"/>
                  </a:lnTo>
                  <a:lnTo>
                    <a:pt x="4448" y="4080"/>
                  </a:lnTo>
                  <a:lnTo>
                    <a:pt x="4448" y="4084"/>
                  </a:lnTo>
                  <a:lnTo>
                    <a:pt x="4446" y="4088"/>
                  </a:lnTo>
                  <a:lnTo>
                    <a:pt x="4442" y="4094"/>
                  </a:lnTo>
                  <a:lnTo>
                    <a:pt x="4440" y="4100"/>
                  </a:lnTo>
                  <a:lnTo>
                    <a:pt x="4438" y="4104"/>
                  </a:lnTo>
                  <a:lnTo>
                    <a:pt x="4440" y="4106"/>
                  </a:lnTo>
                  <a:lnTo>
                    <a:pt x="4442" y="4104"/>
                  </a:lnTo>
                  <a:lnTo>
                    <a:pt x="4448" y="4104"/>
                  </a:lnTo>
                  <a:lnTo>
                    <a:pt x="4458" y="4106"/>
                  </a:lnTo>
                  <a:lnTo>
                    <a:pt x="4462" y="4106"/>
                  </a:lnTo>
                  <a:lnTo>
                    <a:pt x="4466" y="4106"/>
                  </a:lnTo>
                  <a:lnTo>
                    <a:pt x="4470" y="4102"/>
                  </a:lnTo>
                  <a:lnTo>
                    <a:pt x="4474" y="4098"/>
                  </a:lnTo>
                  <a:lnTo>
                    <a:pt x="4478" y="4094"/>
                  </a:lnTo>
                  <a:lnTo>
                    <a:pt x="4480" y="4092"/>
                  </a:lnTo>
                  <a:lnTo>
                    <a:pt x="4482" y="4090"/>
                  </a:lnTo>
                  <a:lnTo>
                    <a:pt x="4484" y="4082"/>
                  </a:lnTo>
                  <a:lnTo>
                    <a:pt x="4488" y="4074"/>
                  </a:lnTo>
                  <a:lnTo>
                    <a:pt x="4488" y="4072"/>
                  </a:lnTo>
                  <a:lnTo>
                    <a:pt x="4486" y="4072"/>
                  </a:lnTo>
                  <a:close/>
                  <a:moveTo>
                    <a:pt x="2916" y="5240"/>
                  </a:moveTo>
                  <a:lnTo>
                    <a:pt x="2916" y="5240"/>
                  </a:lnTo>
                  <a:lnTo>
                    <a:pt x="2912" y="5240"/>
                  </a:lnTo>
                  <a:lnTo>
                    <a:pt x="2908" y="5240"/>
                  </a:lnTo>
                  <a:lnTo>
                    <a:pt x="2902" y="5244"/>
                  </a:lnTo>
                  <a:lnTo>
                    <a:pt x="2898" y="5248"/>
                  </a:lnTo>
                  <a:lnTo>
                    <a:pt x="2896" y="5252"/>
                  </a:lnTo>
                  <a:lnTo>
                    <a:pt x="2896" y="5260"/>
                  </a:lnTo>
                  <a:lnTo>
                    <a:pt x="2896" y="5264"/>
                  </a:lnTo>
                  <a:lnTo>
                    <a:pt x="2894" y="5266"/>
                  </a:lnTo>
                  <a:lnTo>
                    <a:pt x="2890" y="5266"/>
                  </a:lnTo>
                  <a:lnTo>
                    <a:pt x="2888" y="5270"/>
                  </a:lnTo>
                  <a:lnTo>
                    <a:pt x="2892" y="5272"/>
                  </a:lnTo>
                  <a:lnTo>
                    <a:pt x="2904" y="5274"/>
                  </a:lnTo>
                  <a:lnTo>
                    <a:pt x="2914" y="5274"/>
                  </a:lnTo>
                  <a:lnTo>
                    <a:pt x="2916" y="5272"/>
                  </a:lnTo>
                  <a:lnTo>
                    <a:pt x="2918" y="5272"/>
                  </a:lnTo>
                  <a:lnTo>
                    <a:pt x="2918" y="5266"/>
                  </a:lnTo>
                  <a:lnTo>
                    <a:pt x="2920" y="5258"/>
                  </a:lnTo>
                  <a:lnTo>
                    <a:pt x="2924" y="5250"/>
                  </a:lnTo>
                  <a:lnTo>
                    <a:pt x="2924" y="5246"/>
                  </a:lnTo>
                  <a:lnTo>
                    <a:pt x="2922" y="5242"/>
                  </a:lnTo>
                  <a:lnTo>
                    <a:pt x="2916" y="5240"/>
                  </a:lnTo>
                  <a:close/>
                  <a:moveTo>
                    <a:pt x="2868" y="5234"/>
                  </a:moveTo>
                  <a:lnTo>
                    <a:pt x="2868" y="5234"/>
                  </a:lnTo>
                  <a:lnTo>
                    <a:pt x="2866" y="5232"/>
                  </a:lnTo>
                  <a:lnTo>
                    <a:pt x="2864" y="5232"/>
                  </a:lnTo>
                  <a:lnTo>
                    <a:pt x="2860" y="5234"/>
                  </a:lnTo>
                  <a:lnTo>
                    <a:pt x="2854" y="5238"/>
                  </a:lnTo>
                  <a:lnTo>
                    <a:pt x="2850" y="5238"/>
                  </a:lnTo>
                  <a:lnTo>
                    <a:pt x="2844" y="5236"/>
                  </a:lnTo>
                  <a:lnTo>
                    <a:pt x="2838" y="5234"/>
                  </a:lnTo>
                  <a:lnTo>
                    <a:pt x="2836" y="5234"/>
                  </a:lnTo>
                  <a:lnTo>
                    <a:pt x="2834" y="5236"/>
                  </a:lnTo>
                  <a:lnTo>
                    <a:pt x="2834" y="5240"/>
                  </a:lnTo>
                  <a:lnTo>
                    <a:pt x="2836" y="5246"/>
                  </a:lnTo>
                  <a:lnTo>
                    <a:pt x="2840" y="5248"/>
                  </a:lnTo>
                  <a:lnTo>
                    <a:pt x="2844" y="5250"/>
                  </a:lnTo>
                  <a:lnTo>
                    <a:pt x="2850" y="5252"/>
                  </a:lnTo>
                  <a:lnTo>
                    <a:pt x="2856" y="5256"/>
                  </a:lnTo>
                  <a:lnTo>
                    <a:pt x="2860" y="5262"/>
                  </a:lnTo>
                  <a:lnTo>
                    <a:pt x="2860" y="5266"/>
                  </a:lnTo>
                  <a:lnTo>
                    <a:pt x="2860" y="5270"/>
                  </a:lnTo>
                  <a:lnTo>
                    <a:pt x="2862" y="5270"/>
                  </a:lnTo>
                  <a:lnTo>
                    <a:pt x="2866" y="5270"/>
                  </a:lnTo>
                  <a:lnTo>
                    <a:pt x="2868" y="5266"/>
                  </a:lnTo>
                  <a:lnTo>
                    <a:pt x="2870" y="5260"/>
                  </a:lnTo>
                  <a:lnTo>
                    <a:pt x="2876" y="5254"/>
                  </a:lnTo>
                  <a:lnTo>
                    <a:pt x="2882" y="5250"/>
                  </a:lnTo>
                  <a:lnTo>
                    <a:pt x="2882" y="5246"/>
                  </a:lnTo>
                  <a:lnTo>
                    <a:pt x="2882" y="5244"/>
                  </a:lnTo>
                  <a:lnTo>
                    <a:pt x="2876" y="5240"/>
                  </a:lnTo>
                  <a:lnTo>
                    <a:pt x="2868" y="5234"/>
                  </a:lnTo>
                  <a:close/>
                  <a:moveTo>
                    <a:pt x="2906" y="5026"/>
                  </a:moveTo>
                  <a:lnTo>
                    <a:pt x="2906" y="5026"/>
                  </a:lnTo>
                  <a:lnTo>
                    <a:pt x="2906" y="5016"/>
                  </a:lnTo>
                  <a:lnTo>
                    <a:pt x="2906" y="5006"/>
                  </a:lnTo>
                  <a:lnTo>
                    <a:pt x="2904" y="5000"/>
                  </a:lnTo>
                  <a:lnTo>
                    <a:pt x="2902" y="5000"/>
                  </a:lnTo>
                  <a:lnTo>
                    <a:pt x="2900" y="5002"/>
                  </a:lnTo>
                  <a:lnTo>
                    <a:pt x="2898" y="5010"/>
                  </a:lnTo>
                  <a:lnTo>
                    <a:pt x="2898" y="5018"/>
                  </a:lnTo>
                  <a:lnTo>
                    <a:pt x="2898" y="5026"/>
                  </a:lnTo>
                  <a:lnTo>
                    <a:pt x="2896" y="5036"/>
                  </a:lnTo>
                  <a:lnTo>
                    <a:pt x="2896" y="5038"/>
                  </a:lnTo>
                  <a:lnTo>
                    <a:pt x="2898" y="5038"/>
                  </a:lnTo>
                  <a:lnTo>
                    <a:pt x="2902" y="5034"/>
                  </a:lnTo>
                  <a:lnTo>
                    <a:pt x="2906" y="5026"/>
                  </a:lnTo>
                  <a:close/>
                  <a:moveTo>
                    <a:pt x="3284" y="4314"/>
                  </a:moveTo>
                  <a:lnTo>
                    <a:pt x="3284" y="4314"/>
                  </a:lnTo>
                  <a:lnTo>
                    <a:pt x="3286" y="4316"/>
                  </a:lnTo>
                  <a:lnTo>
                    <a:pt x="3288" y="4318"/>
                  </a:lnTo>
                  <a:lnTo>
                    <a:pt x="3290" y="4318"/>
                  </a:lnTo>
                  <a:lnTo>
                    <a:pt x="3290" y="4316"/>
                  </a:lnTo>
                  <a:lnTo>
                    <a:pt x="3290" y="4314"/>
                  </a:lnTo>
                  <a:lnTo>
                    <a:pt x="3288" y="4312"/>
                  </a:lnTo>
                  <a:lnTo>
                    <a:pt x="3284" y="4314"/>
                  </a:lnTo>
                  <a:close/>
                  <a:moveTo>
                    <a:pt x="3284" y="4332"/>
                  </a:moveTo>
                  <a:lnTo>
                    <a:pt x="3284" y="4332"/>
                  </a:lnTo>
                  <a:lnTo>
                    <a:pt x="3284" y="4330"/>
                  </a:lnTo>
                  <a:lnTo>
                    <a:pt x="3282" y="4330"/>
                  </a:lnTo>
                  <a:lnTo>
                    <a:pt x="3278" y="4336"/>
                  </a:lnTo>
                  <a:lnTo>
                    <a:pt x="3278" y="4344"/>
                  </a:lnTo>
                  <a:lnTo>
                    <a:pt x="3278" y="4350"/>
                  </a:lnTo>
                  <a:lnTo>
                    <a:pt x="3282" y="4354"/>
                  </a:lnTo>
                  <a:lnTo>
                    <a:pt x="3284" y="4358"/>
                  </a:lnTo>
                  <a:lnTo>
                    <a:pt x="3286" y="4358"/>
                  </a:lnTo>
                  <a:lnTo>
                    <a:pt x="3286" y="4354"/>
                  </a:lnTo>
                  <a:lnTo>
                    <a:pt x="3284" y="4332"/>
                  </a:lnTo>
                  <a:close/>
                  <a:moveTo>
                    <a:pt x="2868" y="5178"/>
                  </a:moveTo>
                  <a:lnTo>
                    <a:pt x="2868" y="5178"/>
                  </a:lnTo>
                  <a:lnTo>
                    <a:pt x="2870" y="5178"/>
                  </a:lnTo>
                  <a:lnTo>
                    <a:pt x="2872" y="5178"/>
                  </a:lnTo>
                  <a:lnTo>
                    <a:pt x="2874" y="5178"/>
                  </a:lnTo>
                  <a:lnTo>
                    <a:pt x="2876" y="5178"/>
                  </a:lnTo>
                  <a:lnTo>
                    <a:pt x="2876" y="5176"/>
                  </a:lnTo>
                  <a:lnTo>
                    <a:pt x="2874" y="5174"/>
                  </a:lnTo>
                  <a:lnTo>
                    <a:pt x="2872" y="5172"/>
                  </a:lnTo>
                  <a:lnTo>
                    <a:pt x="2866" y="5172"/>
                  </a:lnTo>
                  <a:lnTo>
                    <a:pt x="2862" y="5174"/>
                  </a:lnTo>
                  <a:lnTo>
                    <a:pt x="2864" y="5176"/>
                  </a:lnTo>
                  <a:lnTo>
                    <a:pt x="2866" y="5178"/>
                  </a:lnTo>
                  <a:lnTo>
                    <a:pt x="2868" y="5178"/>
                  </a:lnTo>
                  <a:close/>
                  <a:moveTo>
                    <a:pt x="2798" y="5190"/>
                  </a:moveTo>
                  <a:lnTo>
                    <a:pt x="2798" y="5190"/>
                  </a:lnTo>
                  <a:lnTo>
                    <a:pt x="2804" y="5186"/>
                  </a:lnTo>
                  <a:lnTo>
                    <a:pt x="2812" y="5182"/>
                  </a:lnTo>
                  <a:lnTo>
                    <a:pt x="2818" y="5180"/>
                  </a:lnTo>
                  <a:lnTo>
                    <a:pt x="2818" y="5178"/>
                  </a:lnTo>
                  <a:lnTo>
                    <a:pt x="2818" y="5176"/>
                  </a:lnTo>
                  <a:lnTo>
                    <a:pt x="2814" y="5174"/>
                  </a:lnTo>
                  <a:lnTo>
                    <a:pt x="2810" y="5174"/>
                  </a:lnTo>
                  <a:lnTo>
                    <a:pt x="2804" y="5176"/>
                  </a:lnTo>
                  <a:lnTo>
                    <a:pt x="2794" y="5176"/>
                  </a:lnTo>
                  <a:lnTo>
                    <a:pt x="2780" y="5174"/>
                  </a:lnTo>
                  <a:lnTo>
                    <a:pt x="2770" y="5176"/>
                  </a:lnTo>
                  <a:lnTo>
                    <a:pt x="2764" y="5180"/>
                  </a:lnTo>
                  <a:lnTo>
                    <a:pt x="2764" y="5182"/>
                  </a:lnTo>
                  <a:lnTo>
                    <a:pt x="2764" y="5186"/>
                  </a:lnTo>
                  <a:lnTo>
                    <a:pt x="2768" y="5188"/>
                  </a:lnTo>
                  <a:lnTo>
                    <a:pt x="2780" y="5192"/>
                  </a:lnTo>
                  <a:lnTo>
                    <a:pt x="2790" y="5192"/>
                  </a:lnTo>
                  <a:lnTo>
                    <a:pt x="2796" y="5192"/>
                  </a:lnTo>
                  <a:lnTo>
                    <a:pt x="2798" y="5190"/>
                  </a:lnTo>
                  <a:close/>
                  <a:moveTo>
                    <a:pt x="4914" y="1916"/>
                  </a:moveTo>
                  <a:lnTo>
                    <a:pt x="4914" y="1916"/>
                  </a:lnTo>
                  <a:lnTo>
                    <a:pt x="4910" y="1920"/>
                  </a:lnTo>
                  <a:lnTo>
                    <a:pt x="4910" y="1924"/>
                  </a:lnTo>
                  <a:lnTo>
                    <a:pt x="4912" y="1928"/>
                  </a:lnTo>
                  <a:lnTo>
                    <a:pt x="4914" y="1934"/>
                  </a:lnTo>
                  <a:lnTo>
                    <a:pt x="4926" y="1944"/>
                  </a:lnTo>
                  <a:lnTo>
                    <a:pt x="4938" y="1954"/>
                  </a:lnTo>
                  <a:lnTo>
                    <a:pt x="4942" y="1958"/>
                  </a:lnTo>
                  <a:lnTo>
                    <a:pt x="4942" y="1954"/>
                  </a:lnTo>
                  <a:lnTo>
                    <a:pt x="4940" y="1946"/>
                  </a:lnTo>
                  <a:lnTo>
                    <a:pt x="4936" y="1936"/>
                  </a:lnTo>
                  <a:lnTo>
                    <a:pt x="4930" y="1926"/>
                  </a:lnTo>
                  <a:lnTo>
                    <a:pt x="4924" y="1918"/>
                  </a:lnTo>
                  <a:lnTo>
                    <a:pt x="4918" y="1914"/>
                  </a:lnTo>
                  <a:lnTo>
                    <a:pt x="4916" y="1914"/>
                  </a:lnTo>
                  <a:lnTo>
                    <a:pt x="4914" y="1916"/>
                  </a:lnTo>
                  <a:close/>
                  <a:moveTo>
                    <a:pt x="4520" y="2200"/>
                  </a:moveTo>
                  <a:lnTo>
                    <a:pt x="4520" y="2200"/>
                  </a:lnTo>
                  <a:lnTo>
                    <a:pt x="4522" y="2200"/>
                  </a:lnTo>
                  <a:lnTo>
                    <a:pt x="4524" y="2200"/>
                  </a:lnTo>
                  <a:lnTo>
                    <a:pt x="4528" y="2196"/>
                  </a:lnTo>
                  <a:lnTo>
                    <a:pt x="4528" y="2192"/>
                  </a:lnTo>
                  <a:lnTo>
                    <a:pt x="4528" y="2188"/>
                  </a:lnTo>
                  <a:lnTo>
                    <a:pt x="4524" y="2188"/>
                  </a:lnTo>
                  <a:lnTo>
                    <a:pt x="4520" y="2190"/>
                  </a:lnTo>
                  <a:lnTo>
                    <a:pt x="4518" y="2194"/>
                  </a:lnTo>
                  <a:lnTo>
                    <a:pt x="4518" y="2196"/>
                  </a:lnTo>
                  <a:lnTo>
                    <a:pt x="4520" y="2200"/>
                  </a:lnTo>
                  <a:close/>
                  <a:moveTo>
                    <a:pt x="4814" y="1702"/>
                  </a:moveTo>
                  <a:lnTo>
                    <a:pt x="4814" y="1702"/>
                  </a:lnTo>
                  <a:lnTo>
                    <a:pt x="4812" y="1704"/>
                  </a:lnTo>
                  <a:lnTo>
                    <a:pt x="4812" y="1706"/>
                  </a:lnTo>
                  <a:lnTo>
                    <a:pt x="4816" y="1706"/>
                  </a:lnTo>
                  <a:lnTo>
                    <a:pt x="4832" y="1700"/>
                  </a:lnTo>
                  <a:lnTo>
                    <a:pt x="4842" y="1696"/>
                  </a:lnTo>
                  <a:lnTo>
                    <a:pt x="4850" y="1690"/>
                  </a:lnTo>
                  <a:lnTo>
                    <a:pt x="4856" y="1684"/>
                  </a:lnTo>
                  <a:lnTo>
                    <a:pt x="4858" y="1678"/>
                  </a:lnTo>
                  <a:lnTo>
                    <a:pt x="4856" y="1674"/>
                  </a:lnTo>
                  <a:lnTo>
                    <a:pt x="4852" y="1672"/>
                  </a:lnTo>
                  <a:lnTo>
                    <a:pt x="4848" y="1672"/>
                  </a:lnTo>
                  <a:lnTo>
                    <a:pt x="4842" y="1674"/>
                  </a:lnTo>
                  <a:lnTo>
                    <a:pt x="4828" y="1686"/>
                  </a:lnTo>
                  <a:lnTo>
                    <a:pt x="4814" y="1702"/>
                  </a:lnTo>
                  <a:close/>
                  <a:moveTo>
                    <a:pt x="3278" y="4364"/>
                  </a:moveTo>
                  <a:lnTo>
                    <a:pt x="3278" y="4364"/>
                  </a:lnTo>
                  <a:lnTo>
                    <a:pt x="3276" y="4362"/>
                  </a:lnTo>
                  <a:lnTo>
                    <a:pt x="3274" y="4362"/>
                  </a:lnTo>
                  <a:lnTo>
                    <a:pt x="3278" y="4384"/>
                  </a:lnTo>
                  <a:lnTo>
                    <a:pt x="3278" y="4398"/>
                  </a:lnTo>
                  <a:lnTo>
                    <a:pt x="3278" y="4400"/>
                  </a:lnTo>
                  <a:lnTo>
                    <a:pt x="3276" y="4402"/>
                  </a:lnTo>
                  <a:lnTo>
                    <a:pt x="3272" y="4402"/>
                  </a:lnTo>
                  <a:lnTo>
                    <a:pt x="3266" y="4398"/>
                  </a:lnTo>
                  <a:lnTo>
                    <a:pt x="3264" y="4400"/>
                  </a:lnTo>
                  <a:lnTo>
                    <a:pt x="3264" y="4406"/>
                  </a:lnTo>
                  <a:lnTo>
                    <a:pt x="3262" y="4408"/>
                  </a:lnTo>
                  <a:lnTo>
                    <a:pt x="3260" y="4408"/>
                  </a:lnTo>
                  <a:lnTo>
                    <a:pt x="3256" y="4404"/>
                  </a:lnTo>
                  <a:lnTo>
                    <a:pt x="3254" y="4402"/>
                  </a:lnTo>
                  <a:lnTo>
                    <a:pt x="3252" y="4400"/>
                  </a:lnTo>
                  <a:lnTo>
                    <a:pt x="3250" y="4402"/>
                  </a:lnTo>
                  <a:lnTo>
                    <a:pt x="3248" y="4404"/>
                  </a:lnTo>
                  <a:lnTo>
                    <a:pt x="3248" y="4424"/>
                  </a:lnTo>
                  <a:lnTo>
                    <a:pt x="3248" y="4426"/>
                  </a:lnTo>
                  <a:lnTo>
                    <a:pt x="3246" y="4426"/>
                  </a:lnTo>
                  <a:lnTo>
                    <a:pt x="3240" y="4422"/>
                  </a:lnTo>
                  <a:lnTo>
                    <a:pt x="3238" y="4422"/>
                  </a:lnTo>
                  <a:lnTo>
                    <a:pt x="3234" y="4420"/>
                  </a:lnTo>
                  <a:lnTo>
                    <a:pt x="3232" y="4422"/>
                  </a:lnTo>
                  <a:lnTo>
                    <a:pt x="3230" y="4428"/>
                  </a:lnTo>
                  <a:lnTo>
                    <a:pt x="3226" y="4438"/>
                  </a:lnTo>
                  <a:lnTo>
                    <a:pt x="3224" y="4440"/>
                  </a:lnTo>
                  <a:lnTo>
                    <a:pt x="3220" y="4440"/>
                  </a:lnTo>
                  <a:lnTo>
                    <a:pt x="3214" y="4444"/>
                  </a:lnTo>
                  <a:lnTo>
                    <a:pt x="3210" y="4446"/>
                  </a:lnTo>
                  <a:lnTo>
                    <a:pt x="3212" y="4440"/>
                  </a:lnTo>
                  <a:lnTo>
                    <a:pt x="3212" y="4432"/>
                  </a:lnTo>
                  <a:lnTo>
                    <a:pt x="3210" y="4424"/>
                  </a:lnTo>
                  <a:lnTo>
                    <a:pt x="3208" y="4420"/>
                  </a:lnTo>
                  <a:lnTo>
                    <a:pt x="3204" y="4418"/>
                  </a:lnTo>
                  <a:lnTo>
                    <a:pt x="3200" y="4418"/>
                  </a:lnTo>
                  <a:lnTo>
                    <a:pt x="3198" y="4420"/>
                  </a:lnTo>
                  <a:lnTo>
                    <a:pt x="3198" y="4418"/>
                  </a:lnTo>
                  <a:lnTo>
                    <a:pt x="3196" y="4416"/>
                  </a:lnTo>
                  <a:lnTo>
                    <a:pt x="3194" y="4414"/>
                  </a:lnTo>
                  <a:lnTo>
                    <a:pt x="3192" y="4416"/>
                  </a:lnTo>
                  <a:lnTo>
                    <a:pt x="3192" y="4420"/>
                  </a:lnTo>
                  <a:lnTo>
                    <a:pt x="3190" y="4422"/>
                  </a:lnTo>
                  <a:lnTo>
                    <a:pt x="3188" y="4424"/>
                  </a:lnTo>
                  <a:lnTo>
                    <a:pt x="3186" y="4424"/>
                  </a:lnTo>
                  <a:lnTo>
                    <a:pt x="3182" y="4424"/>
                  </a:lnTo>
                  <a:lnTo>
                    <a:pt x="3178" y="4428"/>
                  </a:lnTo>
                  <a:lnTo>
                    <a:pt x="3176" y="4432"/>
                  </a:lnTo>
                  <a:lnTo>
                    <a:pt x="3178" y="4438"/>
                  </a:lnTo>
                  <a:lnTo>
                    <a:pt x="3178" y="4440"/>
                  </a:lnTo>
                  <a:lnTo>
                    <a:pt x="3174" y="4442"/>
                  </a:lnTo>
                  <a:lnTo>
                    <a:pt x="3170" y="4444"/>
                  </a:lnTo>
                  <a:lnTo>
                    <a:pt x="3166" y="4442"/>
                  </a:lnTo>
                  <a:lnTo>
                    <a:pt x="3164" y="4442"/>
                  </a:lnTo>
                  <a:lnTo>
                    <a:pt x="3162" y="4442"/>
                  </a:lnTo>
                  <a:lnTo>
                    <a:pt x="3160" y="4444"/>
                  </a:lnTo>
                  <a:lnTo>
                    <a:pt x="3156" y="4446"/>
                  </a:lnTo>
                  <a:lnTo>
                    <a:pt x="3150" y="4448"/>
                  </a:lnTo>
                  <a:lnTo>
                    <a:pt x="3146" y="4452"/>
                  </a:lnTo>
                  <a:lnTo>
                    <a:pt x="3142" y="4458"/>
                  </a:lnTo>
                  <a:lnTo>
                    <a:pt x="3140" y="4462"/>
                  </a:lnTo>
                  <a:lnTo>
                    <a:pt x="3140" y="4472"/>
                  </a:lnTo>
                  <a:lnTo>
                    <a:pt x="3138" y="4478"/>
                  </a:lnTo>
                  <a:lnTo>
                    <a:pt x="3134" y="4488"/>
                  </a:lnTo>
                  <a:lnTo>
                    <a:pt x="3132" y="4492"/>
                  </a:lnTo>
                  <a:lnTo>
                    <a:pt x="3134" y="4496"/>
                  </a:lnTo>
                  <a:lnTo>
                    <a:pt x="3136" y="4500"/>
                  </a:lnTo>
                  <a:lnTo>
                    <a:pt x="3138" y="4504"/>
                  </a:lnTo>
                  <a:lnTo>
                    <a:pt x="3140" y="4504"/>
                  </a:lnTo>
                  <a:lnTo>
                    <a:pt x="3144" y="4500"/>
                  </a:lnTo>
                  <a:lnTo>
                    <a:pt x="3148" y="4488"/>
                  </a:lnTo>
                  <a:lnTo>
                    <a:pt x="3150" y="4480"/>
                  </a:lnTo>
                  <a:lnTo>
                    <a:pt x="3152" y="4478"/>
                  </a:lnTo>
                  <a:lnTo>
                    <a:pt x="3152" y="4476"/>
                  </a:lnTo>
                  <a:lnTo>
                    <a:pt x="3154" y="4474"/>
                  </a:lnTo>
                  <a:lnTo>
                    <a:pt x="3156" y="4472"/>
                  </a:lnTo>
                  <a:lnTo>
                    <a:pt x="3156" y="4470"/>
                  </a:lnTo>
                  <a:lnTo>
                    <a:pt x="3158" y="4466"/>
                  </a:lnTo>
                  <a:lnTo>
                    <a:pt x="3160" y="4462"/>
                  </a:lnTo>
                  <a:lnTo>
                    <a:pt x="3164" y="4460"/>
                  </a:lnTo>
                  <a:lnTo>
                    <a:pt x="3168" y="4462"/>
                  </a:lnTo>
                  <a:lnTo>
                    <a:pt x="3170" y="4466"/>
                  </a:lnTo>
                  <a:lnTo>
                    <a:pt x="3168" y="4472"/>
                  </a:lnTo>
                  <a:lnTo>
                    <a:pt x="3168" y="4474"/>
                  </a:lnTo>
                  <a:lnTo>
                    <a:pt x="3172" y="4474"/>
                  </a:lnTo>
                  <a:lnTo>
                    <a:pt x="3178" y="4472"/>
                  </a:lnTo>
                  <a:lnTo>
                    <a:pt x="3182" y="4466"/>
                  </a:lnTo>
                  <a:lnTo>
                    <a:pt x="3184" y="4462"/>
                  </a:lnTo>
                  <a:lnTo>
                    <a:pt x="3184" y="4466"/>
                  </a:lnTo>
                  <a:lnTo>
                    <a:pt x="3184" y="4472"/>
                  </a:lnTo>
                  <a:lnTo>
                    <a:pt x="3184" y="4474"/>
                  </a:lnTo>
                  <a:lnTo>
                    <a:pt x="3186" y="4476"/>
                  </a:lnTo>
                  <a:lnTo>
                    <a:pt x="3192" y="4478"/>
                  </a:lnTo>
                  <a:lnTo>
                    <a:pt x="3194" y="4480"/>
                  </a:lnTo>
                  <a:lnTo>
                    <a:pt x="3194" y="4476"/>
                  </a:lnTo>
                  <a:lnTo>
                    <a:pt x="3194" y="4470"/>
                  </a:lnTo>
                  <a:lnTo>
                    <a:pt x="3196" y="4466"/>
                  </a:lnTo>
                  <a:lnTo>
                    <a:pt x="3198" y="4464"/>
                  </a:lnTo>
                  <a:lnTo>
                    <a:pt x="3196" y="4462"/>
                  </a:lnTo>
                  <a:lnTo>
                    <a:pt x="3194" y="4460"/>
                  </a:lnTo>
                  <a:lnTo>
                    <a:pt x="3196" y="4458"/>
                  </a:lnTo>
                  <a:lnTo>
                    <a:pt x="3200" y="4458"/>
                  </a:lnTo>
                  <a:lnTo>
                    <a:pt x="3206" y="4460"/>
                  </a:lnTo>
                  <a:lnTo>
                    <a:pt x="3210" y="4464"/>
                  </a:lnTo>
                  <a:lnTo>
                    <a:pt x="3216" y="4466"/>
                  </a:lnTo>
                  <a:lnTo>
                    <a:pt x="3218" y="4468"/>
                  </a:lnTo>
                  <a:lnTo>
                    <a:pt x="3222" y="4472"/>
                  </a:lnTo>
                  <a:lnTo>
                    <a:pt x="3222" y="4476"/>
                  </a:lnTo>
                  <a:lnTo>
                    <a:pt x="3224" y="4478"/>
                  </a:lnTo>
                  <a:lnTo>
                    <a:pt x="3226" y="4478"/>
                  </a:lnTo>
                  <a:lnTo>
                    <a:pt x="3226" y="4482"/>
                  </a:lnTo>
                  <a:lnTo>
                    <a:pt x="3224" y="4486"/>
                  </a:lnTo>
                  <a:lnTo>
                    <a:pt x="3220" y="4492"/>
                  </a:lnTo>
                  <a:lnTo>
                    <a:pt x="3216" y="4500"/>
                  </a:lnTo>
                  <a:lnTo>
                    <a:pt x="3216" y="4502"/>
                  </a:lnTo>
                  <a:lnTo>
                    <a:pt x="3216" y="4506"/>
                  </a:lnTo>
                  <a:lnTo>
                    <a:pt x="3218" y="4520"/>
                  </a:lnTo>
                  <a:lnTo>
                    <a:pt x="3220" y="4526"/>
                  </a:lnTo>
                  <a:lnTo>
                    <a:pt x="3222" y="4532"/>
                  </a:lnTo>
                  <a:lnTo>
                    <a:pt x="3224" y="4534"/>
                  </a:lnTo>
                  <a:lnTo>
                    <a:pt x="3224" y="4536"/>
                  </a:lnTo>
                  <a:lnTo>
                    <a:pt x="3226" y="4538"/>
                  </a:lnTo>
                  <a:lnTo>
                    <a:pt x="3234" y="4544"/>
                  </a:lnTo>
                  <a:lnTo>
                    <a:pt x="3252" y="4552"/>
                  </a:lnTo>
                  <a:lnTo>
                    <a:pt x="3256" y="4554"/>
                  </a:lnTo>
                  <a:lnTo>
                    <a:pt x="3260" y="4548"/>
                  </a:lnTo>
                  <a:lnTo>
                    <a:pt x="3264" y="4542"/>
                  </a:lnTo>
                  <a:lnTo>
                    <a:pt x="3266" y="4542"/>
                  </a:lnTo>
                  <a:lnTo>
                    <a:pt x="3268" y="4544"/>
                  </a:lnTo>
                  <a:lnTo>
                    <a:pt x="3266" y="4550"/>
                  </a:lnTo>
                  <a:lnTo>
                    <a:pt x="3266" y="4556"/>
                  </a:lnTo>
                  <a:lnTo>
                    <a:pt x="3268" y="4564"/>
                  </a:lnTo>
                  <a:lnTo>
                    <a:pt x="3270" y="4566"/>
                  </a:lnTo>
                  <a:lnTo>
                    <a:pt x="3272" y="4568"/>
                  </a:lnTo>
                  <a:lnTo>
                    <a:pt x="3274" y="4566"/>
                  </a:lnTo>
                  <a:lnTo>
                    <a:pt x="3278" y="4564"/>
                  </a:lnTo>
                  <a:lnTo>
                    <a:pt x="3282" y="4554"/>
                  </a:lnTo>
                  <a:lnTo>
                    <a:pt x="3284" y="4546"/>
                  </a:lnTo>
                  <a:lnTo>
                    <a:pt x="3286" y="4540"/>
                  </a:lnTo>
                  <a:lnTo>
                    <a:pt x="3284" y="4534"/>
                  </a:lnTo>
                  <a:lnTo>
                    <a:pt x="3280" y="4524"/>
                  </a:lnTo>
                  <a:lnTo>
                    <a:pt x="3278" y="4520"/>
                  </a:lnTo>
                  <a:lnTo>
                    <a:pt x="3276" y="4518"/>
                  </a:lnTo>
                  <a:lnTo>
                    <a:pt x="3274" y="4516"/>
                  </a:lnTo>
                  <a:lnTo>
                    <a:pt x="3274" y="4514"/>
                  </a:lnTo>
                  <a:lnTo>
                    <a:pt x="3274" y="4508"/>
                  </a:lnTo>
                  <a:lnTo>
                    <a:pt x="3276" y="4500"/>
                  </a:lnTo>
                  <a:lnTo>
                    <a:pt x="3280" y="4496"/>
                  </a:lnTo>
                  <a:lnTo>
                    <a:pt x="3284" y="4494"/>
                  </a:lnTo>
                  <a:lnTo>
                    <a:pt x="3284" y="4490"/>
                  </a:lnTo>
                  <a:lnTo>
                    <a:pt x="3284" y="4486"/>
                  </a:lnTo>
                  <a:lnTo>
                    <a:pt x="3288" y="4484"/>
                  </a:lnTo>
                  <a:lnTo>
                    <a:pt x="3290" y="4482"/>
                  </a:lnTo>
                  <a:lnTo>
                    <a:pt x="3292" y="4482"/>
                  </a:lnTo>
                  <a:lnTo>
                    <a:pt x="3292" y="4490"/>
                  </a:lnTo>
                  <a:lnTo>
                    <a:pt x="3294" y="4498"/>
                  </a:lnTo>
                  <a:lnTo>
                    <a:pt x="3296" y="4502"/>
                  </a:lnTo>
                  <a:lnTo>
                    <a:pt x="3300" y="4506"/>
                  </a:lnTo>
                  <a:lnTo>
                    <a:pt x="3302" y="4510"/>
                  </a:lnTo>
                  <a:lnTo>
                    <a:pt x="3300" y="4512"/>
                  </a:lnTo>
                  <a:lnTo>
                    <a:pt x="3300" y="4518"/>
                  </a:lnTo>
                  <a:lnTo>
                    <a:pt x="3302" y="4528"/>
                  </a:lnTo>
                  <a:lnTo>
                    <a:pt x="3304" y="4530"/>
                  </a:lnTo>
                  <a:lnTo>
                    <a:pt x="3306" y="4530"/>
                  </a:lnTo>
                  <a:lnTo>
                    <a:pt x="3306" y="4526"/>
                  </a:lnTo>
                  <a:lnTo>
                    <a:pt x="3308" y="4518"/>
                  </a:lnTo>
                  <a:lnTo>
                    <a:pt x="3306" y="4508"/>
                  </a:lnTo>
                  <a:lnTo>
                    <a:pt x="3304" y="4502"/>
                  </a:lnTo>
                  <a:lnTo>
                    <a:pt x="3308" y="4504"/>
                  </a:lnTo>
                  <a:lnTo>
                    <a:pt x="3310" y="4506"/>
                  </a:lnTo>
                  <a:lnTo>
                    <a:pt x="3312" y="4506"/>
                  </a:lnTo>
                  <a:lnTo>
                    <a:pt x="3310" y="4504"/>
                  </a:lnTo>
                  <a:lnTo>
                    <a:pt x="3310" y="4500"/>
                  </a:lnTo>
                  <a:lnTo>
                    <a:pt x="3312" y="4498"/>
                  </a:lnTo>
                  <a:lnTo>
                    <a:pt x="3316" y="4498"/>
                  </a:lnTo>
                  <a:lnTo>
                    <a:pt x="3320" y="4492"/>
                  </a:lnTo>
                  <a:lnTo>
                    <a:pt x="3322" y="4488"/>
                  </a:lnTo>
                  <a:lnTo>
                    <a:pt x="3322" y="4482"/>
                  </a:lnTo>
                  <a:lnTo>
                    <a:pt x="3320" y="4468"/>
                  </a:lnTo>
                  <a:lnTo>
                    <a:pt x="3320" y="4464"/>
                  </a:lnTo>
                  <a:lnTo>
                    <a:pt x="3318" y="4462"/>
                  </a:lnTo>
                  <a:lnTo>
                    <a:pt x="3316" y="4460"/>
                  </a:lnTo>
                  <a:lnTo>
                    <a:pt x="3314" y="4458"/>
                  </a:lnTo>
                  <a:lnTo>
                    <a:pt x="3314" y="4452"/>
                  </a:lnTo>
                  <a:lnTo>
                    <a:pt x="3316" y="4446"/>
                  </a:lnTo>
                  <a:lnTo>
                    <a:pt x="3316" y="4442"/>
                  </a:lnTo>
                  <a:lnTo>
                    <a:pt x="3314" y="4438"/>
                  </a:lnTo>
                  <a:lnTo>
                    <a:pt x="3314" y="4432"/>
                  </a:lnTo>
                  <a:lnTo>
                    <a:pt x="3314" y="4428"/>
                  </a:lnTo>
                  <a:lnTo>
                    <a:pt x="3312" y="4424"/>
                  </a:lnTo>
                  <a:lnTo>
                    <a:pt x="3310" y="4424"/>
                  </a:lnTo>
                  <a:lnTo>
                    <a:pt x="3308" y="4424"/>
                  </a:lnTo>
                  <a:lnTo>
                    <a:pt x="3304" y="4424"/>
                  </a:lnTo>
                  <a:lnTo>
                    <a:pt x="3302" y="4422"/>
                  </a:lnTo>
                  <a:lnTo>
                    <a:pt x="3302" y="4420"/>
                  </a:lnTo>
                  <a:lnTo>
                    <a:pt x="3304" y="4418"/>
                  </a:lnTo>
                  <a:lnTo>
                    <a:pt x="3308" y="4416"/>
                  </a:lnTo>
                  <a:lnTo>
                    <a:pt x="3310" y="4412"/>
                  </a:lnTo>
                  <a:lnTo>
                    <a:pt x="3312" y="4406"/>
                  </a:lnTo>
                  <a:lnTo>
                    <a:pt x="3308" y="4400"/>
                  </a:lnTo>
                  <a:lnTo>
                    <a:pt x="3306" y="4396"/>
                  </a:lnTo>
                  <a:lnTo>
                    <a:pt x="3306" y="4390"/>
                  </a:lnTo>
                  <a:lnTo>
                    <a:pt x="3306" y="4386"/>
                  </a:lnTo>
                  <a:lnTo>
                    <a:pt x="3302" y="4388"/>
                  </a:lnTo>
                  <a:lnTo>
                    <a:pt x="3300" y="4388"/>
                  </a:lnTo>
                  <a:lnTo>
                    <a:pt x="3298" y="4384"/>
                  </a:lnTo>
                  <a:lnTo>
                    <a:pt x="3296" y="4380"/>
                  </a:lnTo>
                  <a:lnTo>
                    <a:pt x="3292" y="4376"/>
                  </a:lnTo>
                  <a:lnTo>
                    <a:pt x="3288" y="4374"/>
                  </a:lnTo>
                  <a:lnTo>
                    <a:pt x="3284" y="4372"/>
                  </a:lnTo>
                  <a:lnTo>
                    <a:pt x="3282" y="4368"/>
                  </a:lnTo>
                  <a:lnTo>
                    <a:pt x="3282" y="4366"/>
                  </a:lnTo>
                  <a:lnTo>
                    <a:pt x="3278" y="4364"/>
                  </a:lnTo>
                  <a:close/>
                  <a:moveTo>
                    <a:pt x="3136" y="4268"/>
                  </a:moveTo>
                  <a:lnTo>
                    <a:pt x="3136" y="4268"/>
                  </a:lnTo>
                  <a:lnTo>
                    <a:pt x="3138" y="4270"/>
                  </a:lnTo>
                  <a:lnTo>
                    <a:pt x="3140" y="4272"/>
                  </a:lnTo>
                  <a:lnTo>
                    <a:pt x="3140" y="4278"/>
                  </a:lnTo>
                  <a:lnTo>
                    <a:pt x="3138" y="4286"/>
                  </a:lnTo>
                  <a:lnTo>
                    <a:pt x="3138" y="4296"/>
                  </a:lnTo>
                  <a:lnTo>
                    <a:pt x="3140" y="4302"/>
                  </a:lnTo>
                  <a:lnTo>
                    <a:pt x="3136" y="4306"/>
                  </a:lnTo>
                  <a:lnTo>
                    <a:pt x="3134" y="4312"/>
                  </a:lnTo>
                  <a:lnTo>
                    <a:pt x="3134" y="4324"/>
                  </a:lnTo>
                  <a:lnTo>
                    <a:pt x="3134" y="4328"/>
                  </a:lnTo>
                  <a:lnTo>
                    <a:pt x="3136" y="4330"/>
                  </a:lnTo>
                  <a:lnTo>
                    <a:pt x="3138" y="4330"/>
                  </a:lnTo>
                  <a:lnTo>
                    <a:pt x="3140" y="4328"/>
                  </a:lnTo>
                  <a:lnTo>
                    <a:pt x="3146" y="4324"/>
                  </a:lnTo>
                  <a:lnTo>
                    <a:pt x="3148" y="4320"/>
                  </a:lnTo>
                  <a:lnTo>
                    <a:pt x="3152" y="4320"/>
                  </a:lnTo>
                  <a:lnTo>
                    <a:pt x="3158" y="4318"/>
                  </a:lnTo>
                  <a:lnTo>
                    <a:pt x="3166" y="4312"/>
                  </a:lnTo>
                  <a:lnTo>
                    <a:pt x="3178" y="4298"/>
                  </a:lnTo>
                  <a:lnTo>
                    <a:pt x="3182" y="4296"/>
                  </a:lnTo>
                  <a:lnTo>
                    <a:pt x="3182" y="4292"/>
                  </a:lnTo>
                  <a:lnTo>
                    <a:pt x="3184" y="4282"/>
                  </a:lnTo>
                  <a:lnTo>
                    <a:pt x="3182" y="4276"/>
                  </a:lnTo>
                  <a:lnTo>
                    <a:pt x="3180" y="4276"/>
                  </a:lnTo>
                  <a:lnTo>
                    <a:pt x="3178" y="4276"/>
                  </a:lnTo>
                  <a:lnTo>
                    <a:pt x="3176" y="4278"/>
                  </a:lnTo>
                  <a:lnTo>
                    <a:pt x="3172" y="4276"/>
                  </a:lnTo>
                  <a:lnTo>
                    <a:pt x="3168" y="4274"/>
                  </a:lnTo>
                  <a:lnTo>
                    <a:pt x="3166" y="4274"/>
                  </a:lnTo>
                  <a:lnTo>
                    <a:pt x="3164" y="4274"/>
                  </a:lnTo>
                  <a:lnTo>
                    <a:pt x="3162" y="4276"/>
                  </a:lnTo>
                  <a:lnTo>
                    <a:pt x="3160" y="4274"/>
                  </a:lnTo>
                  <a:lnTo>
                    <a:pt x="3154" y="4270"/>
                  </a:lnTo>
                  <a:lnTo>
                    <a:pt x="3146" y="4264"/>
                  </a:lnTo>
                  <a:lnTo>
                    <a:pt x="3138" y="4258"/>
                  </a:lnTo>
                  <a:lnTo>
                    <a:pt x="3132" y="4258"/>
                  </a:lnTo>
                  <a:lnTo>
                    <a:pt x="3130" y="4260"/>
                  </a:lnTo>
                  <a:lnTo>
                    <a:pt x="3130" y="4264"/>
                  </a:lnTo>
                  <a:lnTo>
                    <a:pt x="3136" y="4268"/>
                  </a:lnTo>
                  <a:close/>
                  <a:moveTo>
                    <a:pt x="3270" y="4928"/>
                  </a:moveTo>
                  <a:lnTo>
                    <a:pt x="3270" y="4928"/>
                  </a:lnTo>
                  <a:lnTo>
                    <a:pt x="3268" y="4926"/>
                  </a:lnTo>
                  <a:lnTo>
                    <a:pt x="3264" y="4924"/>
                  </a:lnTo>
                  <a:lnTo>
                    <a:pt x="3250" y="4920"/>
                  </a:lnTo>
                  <a:lnTo>
                    <a:pt x="3244" y="4920"/>
                  </a:lnTo>
                  <a:lnTo>
                    <a:pt x="3238" y="4920"/>
                  </a:lnTo>
                  <a:lnTo>
                    <a:pt x="3232" y="4924"/>
                  </a:lnTo>
                  <a:lnTo>
                    <a:pt x="3230" y="4930"/>
                  </a:lnTo>
                  <a:lnTo>
                    <a:pt x="3232" y="4934"/>
                  </a:lnTo>
                  <a:lnTo>
                    <a:pt x="3236" y="4936"/>
                  </a:lnTo>
                  <a:lnTo>
                    <a:pt x="3242" y="4936"/>
                  </a:lnTo>
                  <a:lnTo>
                    <a:pt x="3250" y="4936"/>
                  </a:lnTo>
                  <a:lnTo>
                    <a:pt x="3264" y="4934"/>
                  </a:lnTo>
                  <a:lnTo>
                    <a:pt x="3268" y="4932"/>
                  </a:lnTo>
                  <a:lnTo>
                    <a:pt x="3270" y="4928"/>
                  </a:lnTo>
                  <a:close/>
                  <a:moveTo>
                    <a:pt x="3148" y="4520"/>
                  </a:moveTo>
                  <a:lnTo>
                    <a:pt x="3148" y="4520"/>
                  </a:lnTo>
                  <a:lnTo>
                    <a:pt x="3146" y="4516"/>
                  </a:lnTo>
                  <a:lnTo>
                    <a:pt x="3138" y="4512"/>
                  </a:lnTo>
                  <a:lnTo>
                    <a:pt x="3136" y="4512"/>
                  </a:lnTo>
                  <a:lnTo>
                    <a:pt x="3132" y="4512"/>
                  </a:lnTo>
                  <a:lnTo>
                    <a:pt x="3130" y="4516"/>
                  </a:lnTo>
                  <a:lnTo>
                    <a:pt x="3130" y="4520"/>
                  </a:lnTo>
                  <a:lnTo>
                    <a:pt x="3130" y="4524"/>
                  </a:lnTo>
                  <a:lnTo>
                    <a:pt x="3132" y="4526"/>
                  </a:lnTo>
                  <a:lnTo>
                    <a:pt x="3136" y="4528"/>
                  </a:lnTo>
                  <a:lnTo>
                    <a:pt x="3140" y="4526"/>
                  </a:lnTo>
                  <a:lnTo>
                    <a:pt x="3146" y="4524"/>
                  </a:lnTo>
                  <a:lnTo>
                    <a:pt x="3148" y="4520"/>
                  </a:lnTo>
                  <a:close/>
                  <a:moveTo>
                    <a:pt x="3204" y="4288"/>
                  </a:moveTo>
                  <a:lnTo>
                    <a:pt x="3204" y="4288"/>
                  </a:lnTo>
                  <a:lnTo>
                    <a:pt x="3204" y="4290"/>
                  </a:lnTo>
                  <a:lnTo>
                    <a:pt x="3204" y="4294"/>
                  </a:lnTo>
                  <a:lnTo>
                    <a:pt x="3206" y="4296"/>
                  </a:lnTo>
                  <a:lnTo>
                    <a:pt x="3208" y="4296"/>
                  </a:lnTo>
                  <a:lnTo>
                    <a:pt x="3208" y="4294"/>
                  </a:lnTo>
                  <a:lnTo>
                    <a:pt x="3208" y="4292"/>
                  </a:lnTo>
                  <a:lnTo>
                    <a:pt x="3206" y="4288"/>
                  </a:lnTo>
                  <a:lnTo>
                    <a:pt x="3204" y="4288"/>
                  </a:lnTo>
                  <a:close/>
                  <a:moveTo>
                    <a:pt x="3186" y="4210"/>
                  </a:moveTo>
                  <a:lnTo>
                    <a:pt x="3186" y="4210"/>
                  </a:lnTo>
                  <a:lnTo>
                    <a:pt x="3184" y="4208"/>
                  </a:lnTo>
                  <a:lnTo>
                    <a:pt x="3182" y="4204"/>
                  </a:lnTo>
                  <a:lnTo>
                    <a:pt x="3178" y="4200"/>
                  </a:lnTo>
                  <a:lnTo>
                    <a:pt x="3174" y="4198"/>
                  </a:lnTo>
                  <a:lnTo>
                    <a:pt x="3174" y="4200"/>
                  </a:lnTo>
                  <a:lnTo>
                    <a:pt x="3174" y="4202"/>
                  </a:lnTo>
                  <a:lnTo>
                    <a:pt x="3178" y="4206"/>
                  </a:lnTo>
                  <a:lnTo>
                    <a:pt x="3180" y="4212"/>
                  </a:lnTo>
                  <a:lnTo>
                    <a:pt x="3184" y="4214"/>
                  </a:lnTo>
                  <a:lnTo>
                    <a:pt x="3190" y="4220"/>
                  </a:lnTo>
                  <a:lnTo>
                    <a:pt x="3192" y="4220"/>
                  </a:lnTo>
                  <a:lnTo>
                    <a:pt x="3190" y="4216"/>
                  </a:lnTo>
                  <a:lnTo>
                    <a:pt x="3188" y="4212"/>
                  </a:lnTo>
                  <a:lnTo>
                    <a:pt x="3186" y="4210"/>
                  </a:lnTo>
                  <a:close/>
                  <a:moveTo>
                    <a:pt x="3250" y="5238"/>
                  </a:moveTo>
                  <a:lnTo>
                    <a:pt x="3250" y="5238"/>
                  </a:lnTo>
                  <a:lnTo>
                    <a:pt x="3240" y="5236"/>
                  </a:lnTo>
                  <a:lnTo>
                    <a:pt x="3236" y="5234"/>
                  </a:lnTo>
                  <a:lnTo>
                    <a:pt x="3234" y="5234"/>
                  </a:lnTo>
                  <a:lnTo>
                    <a:pt x="3232" y="5242"/>
                  </a:lnTo>
                  <a:lnTo>
                    <a:pt x="3230" y="5250"/>
                  </a:lnTo>
                  <a:lnTo>
                    <a:pt x="3232" y="5250"/>
                  </a:lnTo>
                  <a:lnTo>
                    <a:pt x="3234" y="5250"/>
                  </a:lnTo>
                  <a:lnTo>
                    <a:pt x="3244" y="5248"/>
                  </a:lnTo>
                  <a:lnTo>
                    <a:pt x="3256" y="5248"/>
                  </a:lnTo>
                  <a:lnTo>
                    <a:pt x="3260" y="5246"/>
                  </a:lnTo>
                  <a:lnTo>
                    <a:pt x="3262" y="5246"/>
                  </a:lnTo>
                  <a:lnTo>
                    <a:pt x="3264" y="5244"/>
                  </a:lnTo>
                  <a:lnTo>
                    <a:pt x="3262" y="5242"/>
                  </a:lnTo>
                  <a:lnTo>
                    <a:pt x="3258" y="5238"/>
                  </a:lnTo>
                  <a:lnTo>
                    <a:pt x="3254" y="5236"/>
                  </a:lnTo>
                  <a:lnTo>
                    <a:pt x="3250" y="5238"/>
                  </a:lnTo>
                  <a:close/>
                  <a:moveTo>
                    <a:pt x="3160" y="4332"/>
                  </a:moveTo>
                  <a:lnTo>
                    <a:pt x="3160" y="4332"/>
                  </a:lnTo>
                  <a:lnTo>
                    <a:pt x="3162" y="4332"/>
                  </a:lnTo>
                  <a:lnTo>
                    <a:pt x="3166" y="4328"/>
                  </a:lnTo>
                  <a:lnTo>
                    <a:pt x="3168" y="4322"/>
                  </a:lnTo>
                  <a:lnTo>
                    <a:pt x="3166" y="4318"/>
                  </a:lnTo>
                  <a:lnTo>
                    <a:pt x="3164" y="4318"/>
                  </a:lnTo>
                  <a:lnTo>
                    <a:pt x="3162" y="4320"/>
                  </a:lnTo>
                  <a:lnTo>
                    <a:pt x="3160" y="4322"/>
                  </a:lnTo>
                  <a:lnTo>
                    <a:pt x="3160" y="4326"/>
                  </a:lnTo>
                  <a:lnTo>
                    <a:pt x="3160" y="4328"/>
                  </a:lnTo>
                  <a:lnTo>
                    <a:pt x="3158" y="4328"/>
                  </a:lnTo>
                  <a:lnTo>
                    <a:pt x="3158" y="4330"/>
                  </a:lnTo>
                  <a:lnTo>
                    <a:pt x="3160" y="4332"/>
                  </a:lnTo>
                  <a:close/>
                  <a:moveTo>
                    <a:pt x="3190" y="5244"/>
                  </a:moveTo>
                  <a:lnTo>
                    <a:pt x="3190" y="5244"/>
                  </a:lnTo>
                  <a:lnTo>
                    <a:pt x="3188" y="5242"/>
                  </a:lnTo>
                  <a:lnTo>
                    <a:pt x="3186" y="5240"/>
                  </a:lnTo>
                  <a:lnTo>
                    <a:pt x="3182" y="5242"/>
                  </a:lnTo>
                  <a:lnTo>
                    <a:pt x="3178" y="5244"/>
                  </a:lnTo>
                  <a:lnTo>
                    <a:pt x="3176" y="5248"/>
                  </a:lnTo>
                  <a:lnTo>
                    <a:pt x="3178" y="5248"/>
                  </a:lnTo>
                  <a:lnTo>
                    <a:pt x="3184" y="5248"/>
                  </a:lnTo>
                  <a:lnTo>
                    <a:pt x="3188" y="5248"/>
                  </a:lnTo>
                  <a:lnTo>
                    <a:pt x="3190" y="5244"/>
                  </a:lnTo>
                  <a:close/>
                  <a:moveTo>
                    <a:pt x="3176" y="5252"/>
                  </a:moveTo>
                  <a:lnTo>
                    <a:pt x="3176" y="5252"/>
                  </a:lnTo>
                  <a:lnTo>
                    <a:pt x="3172" y="5254"/>
                  </a:lnTo>
                  <a:lnTo>
                    <a:pt x="3172" y="5256"/>
                  </a:lnTo>
                  <a:lnTo>
                    <a:pt x="3176" y="5258"/>
                  </a:lnTo>
                  <a:lnTo>
                    <a:pt x="3180" y="5254"/>
                  </a:lnTo>
                  <a:lnTo>
                    <a:pt x="3182" y="5252"/>
                  </a:lnTo>
                  <a:lnTo>
                    <a:pt x="3182" y="5250"/>
                  </a:lnTo>
                  <a:lnTo>
                    <a:pt x="3176" y="5252"/>
                  </a:lnTo>
                  <a:close/>
                  <a:moveTo>
                    <a:pt x="3224" y="5242"/>
                  </a:moveTo>
                  <a:lnTo>
                    <a:pt x="3224" y="5242"/>
                  </a:lnTo>
                  <a:lnTo>
                    <a:pt x="3220" y="5246"/>
                  </a:lnTo>
                  <a:lnTo>
                    <a:pt x="3218" y="5246"/>
                  </a:lnTo>
                  <a:lnTo>
                    <a:pt x="3216" y="5244"/>
                  </a:lnTo>
                  <a:lnTo>
                    <a:pt x="3214" y="5248"/>
                  </a:lnTo>
                  <a:lnTo>
                    <a:pt x="3214" y="5250"/>
                  </a:lnTo>
                  <a:lnTo>
                    <a:pt x="3216" y="5254"/>
                  </a:lnTo>
                  <a:lnTo>
                    <a:pt x="3220" y="5256"/>
                  </a:lnTo>
                  <a:lnTo>
                    <a:pt x="3222" y="5254"/>
                  </a:lnTo>
                  <a:lnTo>
                    <a:pt x="3224" y="5252"/>
                  </a:lnTo>
                  <a:lnTo>
                    <a:pt x="3228" y="5246"/>
                  </a:lnTo>
                  <a:lnTo>
                    <a:pt x="3228" y="5240"/>
                  </a:lnTo>
                  <a:lnTo>
                    <a:pt x="3228" y="5238"/>
                  </a:lnTo>
                  <a:lnTo>
                    <a:pt x="3226" y="5238"/>
                  </a:lnTo>
                  <a:lnTo>
                    <a:pt x="3224" y="5242"/>
                  </a:lnTo>
                  <a:close/>
                  <a:moveTo>
                    <a:pt x="3202" y="5252"/>
                  </a:moveTo>
                  <a:lnTo>
                    <a:pt x="3202" y="5252"/>
                  </a:lnTo>
                  <a:lnTo>
                    <a:pt x="3204" y="5250"/>
                  </a:lnTo>
                  <a:lnTo>
                    <a:pt x="3206" y="5248"/>
                  </a:lnTo>
                  <a:lnTo>
                    <a:pt x="3206" y="5246"/>
                  </a:lnTo>
                  <a:lnTo>
                    <a:pt x="3210" y="5244"/>
                  </a:lnTo>
                  <a:lnTo>
                    <a:pt x="3212" y="5240"/>
                  </a:lnTo>
                  <a:lnTo>
                    <a:pt x="3208" y="5240"/>
                  </a:lnTo>
                  <a:lnTo>
                    <a:pt x="3198" y="5240"/>
                  </a:lnTo>
                  <a:lnTo>
                    <a:pt x="3194" y="5242"/>
                  </a:lnTo>
                  <a:lnTo>
                    <a:pt x="3194" y="5246"/>
                  </a:lnTo>
                  <a:lnTo>
                    <a:pt x="3194" y="5248"/>
                  </a:lnTo>
                  <a:lnTo>
                    <a:pt x="3188" y="5254"/>
                  </a:lnTo>
                  <a:lnTo>
                    <a:pt x="3184" y="5256"/>
                  </a:lnTo>
                  <a:lnTo>
                    <a:pt x="3186" y="5256"/>
                  </a:lnTo>
                  <a:lnTo>
                    <a:pt x="3196" y="5258"/>
                  </a:lnTo>
                  <a:lnTo>
                    <a:pt x="3200" y="5256"/>
                  </a:lnTo>
                  <a:lnTo>
                    <a:pt x="3200" y="5254"/>
                  </a:lnTo>
                  <a:lnTo>
                    <a:pt x="3202" y="5252"/>
                  </a:lnTo>
                  <a:close/>
                  <a:moveTo>
                    <a:pt x="3244" y="4390"/>
                  </a:moveTo>
                  <a:lnTo>
                    <a:pt x="3244" y="4390"/>
                  </a:lnTo>
                  <a:lnTo>
                    <a:pt x="3242" y="4392"/>
                  </a:lnTo>
                  <a:lnTo>
                    <a:pt x="3242" y="4394"/>
                  </a:lnTo>
                  <a:lnTo>
                    <a:pt x="3246" y="4396"/>
                  </a:lnTo>
                  <a:lnTo>
                    <a:pt x="3250" y="4396"/>
                  </a:lnTo>
                  <a:lnTo>
                    <a:pt x="3252" y="4394"/>
                  </a:lnTo>
                  <a:lnTo>
                    <a:pt x="3250" y="4392"/>
                  </a:lnTo>
                  <a:lnTo>
                    <a:pt x="3246" y="4390"/>
                  </a:lnTo>
                  <a:lnTo>
                    <a:pt x="3244" y="4390"/>
                  </a:lnTo>
                  <a:close/>
                  <a:moveTo>
                    <a:pt x="3228" y="4278"/>
                  </a:moveTo>
                  <a:lnTo>
                    <a:pt x="3228" y="4278"/>
                  </a:lnTo>
                  <a:lnTo>
                    <a:pt x="3228" y="4280"/>
                  </a:lnTo>
                  <a:lnTo>
                    <a:pt x="3230" y="4284"/>
                  </a:lnTo>
                  <a:lnTo>
                    <a:pt x="3234" y="4290"/>
                  </a:lnTo>
                  <a:lnTo>
                    <a:pt x="3234" y="4294"/>
                  </a:lnTo>
                  <a:lnTo>
                    <a:pt x="3232" y="4298"/>
                  </a:lnTo>
                  <a:lnTo>
                    <a:pt x="3234" y="4300"/>
                  </a:lnTo>
                  <a:lnTo>
                    <a:pt x="3234" y="4302"/>
                  </a:lnTo>
                  <a:lnTo>
                    <a:pt x="3232" y="4304"/>
                  </a:lnTo>
                  <a:lnTo>
                    <a:pt x="3232" y="4306"/>
                  </a:lnTo>
                  <a:lnTo>
                    <a:pt x="3234" y="4308"/>
                  </a:lnTo>
                  <a:lnTo>
                    <a:pt x="3238" y="4308"/>
                  </a:lnTo>
                  <a:lnTo>
                    <a:pt x="3240" y="4306"/>
                  </a:lnTo>
                  <a:lnTo>
                    <a:pt x="3240" y="4304"/>
                  </a:lnTo>
                  <a:lnTo>
                    <a:pt x="3242" y="4304"/>
                  </a:lnTo>
                  <a:lnTo>
                    <a:pt x="3246" y="4308"/>
                  </a:lnTo>
                  <a:lnTo>
                    <a:pt x="3248" y="4314"/>
                  </a:lnTo>
                  <a:lnTo>
                    <a:pt x="3248" y="4318"/>
                  </a:lnTo>
                  <a:lnTo>
                    <a:pt x="3248" y="4322"/>
                  </a:lnTo>
                  <a:lnTo>
                    <a:pt x="3246" y="4328"/>
                  </a:lnTo>
                  <a:lnTo>
                    <a:pt x="3248" y="4332"/>
                  </a:lnTo>
                  <a:lnTo>
                    <a:pt x="3248" y="4334"/>
                  </a:lnTo>
                  <a:lnTo>
                    <a:pt x="3248" y="4338"/>
                  </a:lnTo>
                  <a:lnTo>
                    <a:pt x="3246" y="4342"/>
                  </a:lnTo>
                  <a:lnTo>
                    <a:pt x="3248" y="4344"/>
                  </a:lnTo>
                  <a:lnTo>
                    <a:pt x="3256" y="4348"/>
                  </a:lnTo>
                  <a:lnTo>
                    <a:pt x="3258" y="4350"/>
                  </a:lnTo>
                  <a:lnTo>
                    <a:pt x="3258" y="4344"/>
                  </a:lnTo>
                  <a:lnTo>
                    <a:pt x="3256" y="4338"/>
                  </a:lnTo>
                  <a:lnTo>
                    <a:pt x="3256" y="4336"/>
                  </a:lnTo>
                  <a:lnTo>
                    <a:pt x="3256" y="4334"/>
                  </a:lnTo>
                  <a:lnTo>
                    <a:pt x="3258" y="4336"/>
                  </a:lnTo>
                  <a:lnTo>
                    <a:pt x="3260" y="4342"/>
                  </a:lnTo>
                  <a:lnTo>
                    <a:pt x="3262" y="4348"/>
                  </a:lnTo>
                  <a:lnTo>
                    <a:pt x="3266" y="4354"/>
                  </a:lnTo>
                  <a:lnTo>
                    <a:pt x="3270" y="4356"/>
                  </a:lnTo>
                  <a:lnTo>
                    <a:pt x="3270" y="4354"/>
                  </a:lnTo>
                  <a:lnTo>
                    <a:pt x="3266" y="4344"/>
                  </a:lnTo>
                  <a:lnTo>
                    <a:pt x="3264" y="4342"/>
                  </a:lnTo>
                  <a:lnTo>
                    <a:pt x="3266" y="4342"/>
                  </a:lnTo>
                  <a:lnTo>
                    <a:pt x="3268" y="4340"/>
                  </a:lnTo>
                  <a:lnTo>
                    <a:pt x="3270" y="4338"/>
                  </a:lnTo>
                  <a:lnTo>
                    <a:pt x="3268" y="4332"/>
                  </a:lnTo>
                  <a:lnTo>
                    <a:pt x="3266" y="4330"/>
                  </a:lnTo>
                  <a:lnTo>
                    <a:pt x="3266" y="4326"/>
                  </a:lnTo>
                  <a:lnTo>
                    <a:pt x="3264" y="4322"/>
                  </a:lnTo>
                  <a:lnTo>
                    <a:pt x="3260" y="4318"/>
                  </a:lnTo>
                  <a:lnTo>
                    <a:pt x="3260" y="4316"/>
                  </a:lnTo>
                  <a:lnTo>
                    <a:pt x="3258" y="4312"/>
                  </a:lnTo>
                  <a:lnTo>
                    <a:pt x="3258" y="4304"/>
                  </a:lnTo>
                  <a:lnTo>
                    <a:pt x="3258" y="4296"/>
                  </a:lnTo>
                  <a:lnTo>
                    <a:pt x="3258" y="4294"/>
                  </a:lnTo>
                  <a:lnTo>
                    <a:pt x="3256" y="4292"/>
                  </a:lnTo>
                  <a:lnTo>
                    <a:pt x="3254" y="4290"/>
                  </a:lnTo>
                  <a:lnTo>
                    <a:pt x="3256" y="4288"/>
                  </a:lnTo>
                  <a:lnTo>
                    <a:pt x="3256" y="4284"/>
                  </a:lnTo>
                  <a:lnTo>
                    <a:pt x="3252" y="4284"/>
                  </a:lnTo>
                  <a:lnTo>
                    <a:pt x="3248" y="4284"/>
                  </a:lnTo>
                  <a:lnTo>
                    <a:pt x="3246" y="4286"/>
                  </a:lnTo>
                  <a:lnTo>
                    <a:pt x="3244" y="4288"/>
                  </a:lnTo>
                  <a:lnTo>
                    <a:pt x="3240" y="4286"/>
                  </a:lnTo>
                  <a:lnTo>
                    <a:pt x="3234" y="4280"/>
                  </a:lnTo>
                  <a:lnTo>
                    <a:pt x="3230" y="4278"/>
                  </a:lnTo>
                  <a:lnTo>
                    <a:pt x="3228" y="4278"/>
                  </a:lnTo>
                  <a:close/>
                  <a:moveTo>
                    <a:pt x="3292" y="3100"/>
                  </a:moveTo>
                  <a:lnTo>
                    <a:pt x="3292" y="3100"/>
                  </a:lnTo>
                  <a:lnTo>
                    <a:pt x="3294" y="3100"/>
                  </a:lnTo>
                  <a:lnTo>
                    <a:pt x="3296" y="3094"/>
                  </a:lnTo>
                  <a:lnTo>
                    <a:pt x="3296" y="3092"/>
                  </a:lnTo>
                  <a:lnTo>
                    <a:pt x="3294" y="3094"/>
                  </a:lnTo>
                  <a:lnTo>
                    <a:pt x="3292" y="3096"/>
                  </a:lnTo>
                  <a:lnTo>
                    <a:pt x="3292" y="3100"/>
                  </a:lnTo>
                  <a:close/>
                  <a:moveTo>
                    <a:pt x="3208" y="4238"/>
                  </a:moveTo>
                  <a:lnTo>
                    <a:pt x="3208" y="4238"/>
                  </a:lnTo>
                  <a:lnTo>
                    <a:pt x="3210" y="4234"/>
                  </a:lnTo>
                  <a:lnTo>
                    <a:pt x="3208" y="4228"/>
                  </a:lnTo>
                  <a:lnTo>
                    <a:pt x="3204" y="4224"/>
                  </a:lnTo>
                  <a:lnTo>
                    <a:pt x="3202" y="4222"/>
                  </a:lnTo>
                  <a:lnTo>
                    <a:pt x="3200" y="4222"/>
                  </a:lnTo>
                  <a:lnTo>
                    <a:pt x="3200" y="4224"/>
                  </a:lnTo>
                  <a:lnTo>
                    <a:pt x="3204" y="4230"/>
                  </a:lnTo>
                  <a:lnTo>
                    <a:pt x="3208" y="4238"/>
                  </a:lnTo>
                  <a:close/>
                  <a:moveTo>
                    <a:pt x="3164" y="4238"/>
                  </a:moveTo>
                  <a:lnTo>
                    <a:pt x="3164" y="4238"/>
                  </a:lnTo>
                  <a:lnTo>
                    <a:pt x="3164" y="4232"/>
                  </a:lnTo>
                  <a:lnTo>
                    <a:pt x="3162" y="4230"/>
                  </a:lnTo>
                  <a:lnTo>
                    <a:pt x="3158" y="4230"/>
                  </a:lnTo>
                  <a:lnTo>
                    <a:pt x="3154" y="4232"/>
                  </a:lnTo>
                  <a:lnTo>
                    <a:pt x="3152" y="4232"/>
                  </a:lnTo>
                  <a:lnTo>
                    <a:pt x="3154" y="4234"/>
                  </a:lnTo>
                  <a:lnTo>
                    <a:pt x="3156" y="4236"/>
                  </a:lnTo>
                  <a:lnTo>
                    <a:pt x="3160" y="4240"/>
                  </a:lnTo>
                  <a:lnTo>
                    <a:pt x="3162" y="4240"/>
                  </a:lnTo>
                  <a:lnTo>
                    <a:pt x="3164" y="4238"/>
                  </a:lnTo>
                  <a:close/>
                  <a:moveTo>
                    <a:pt x="3196" y="4228"/>
                  </a:moveTo>
                  <a:lnTo>
                    <a:pt x="3196" y="4228"/>
                  </a:lnTo>
                  <a:lnTo>
                    <a:pt x="3192" y="4228"/>
                  </a:lnTo>
                  <a:lnTo>
                    <a:pt x="3190" y="4228"/>
                  </a:lnTo>
                  <a:lnTo>
                    <a:pt x="3188" y="4228"/>
                  </a:lnTo>
                  <a:lnTo>
                    <a:pt x="3186" y="4232"/>
                  </a:lnTo>
                  <a:lnTo>
                    <a:pt x="3188" y="4238"/>
                  </a:lnTo>
                  <a:lnTo>
                    <a:pt x="3186" y="4242"/>
                  </a:lnTo>
                  <a:lnTo>
                    <a:pt x="3182" y="4256"/>
                  </a:lnTo>
                  <a:lnTo>
                    <a:pt x="3182" y="4258"/>
                  </a:lnTo>
                  <a:lnTo>
                    <a:pt x="3184" y="4258"/>
                  </a:lnTo>
                  <a:lnTo>
                    <a:pt x="3186" y="4254"/>
                  </a:lnTo>
                  <a:lnTo>
                    <a:pt x="3196" y="4244"/>
                  </a:lnTo>
                  <a:lnTo>
                    <a:pt x="3198" y="4244"/>
                  </a:lnTo>
                  <a:lnTo>
                    <a:pt x="3200" y="4244"/>
                  </a:lnTo>
                  <a:lnTo>
                    <a:pt x="3202" y="4250"/>
                  </a:lnTo>
                  <a:lnTo>
                    <a:pt x="3204" y="4256"/>
                  </a:lnTo>
                  <a:lnTo>
                    <a:pt x="3206" y="4258"/>
                  </a:lnTo>
                  <a:lnTo>
                    <a:pt x="3208" y="4260"/>
                  </a:lnTo>
                  <a:lnTo>
                    <a:pt x="3212" y="4262"/>
                  </a:lnTo>
                  <a:lnTo>
                    <a:pt x="3218" y="4266"/>
                  </a:lnTo>
                  <a:lnTo>
                    <a:pt x="3222" y="4268"/>
                  </a:lnTo>
                  <a:lnTo>
                    <a:pt x="3220" y="4264"/>
                  </a:lnTo>
                  <a:lnTo>
                    <a:pt x="3218" y="4258"/>
                  </a:lnTo>
                  <a:lnTo>
                    <a:pt x="3216" y="4252"/>
                  </a:lnTo>
                  <a:lnTo>
                    <a:pt x="3214" y="4246"/>
                  </a:lnTo>
                  <a:lnTo>
                    <a:pt x="3210" y="4242"/>
                  </a:lnTo>
                  <a:lnTo>
                    <a:pt x="3206" y="4240"/>
                  </a:lnTo>
                  <a:lnTo>
                    <a:pt x="3202" y="4234"/>
                  </a:lnTo>
                  <a:lnTo>
                    <a:pt x="3198" y="4230"/>
                  </a:lnTo>
                  <a:lnTo>
                    <a:pt x="3196" y="4228"/>
                  </a:lnTo>
                  <a:close/>
                  <a:moveTo>
                    <a:pt x="3152" y="5104"/>
                  </a:moveTo>
                  <a:lnTo>
                    <a:pt x="3152" y="5104"/>
                  </a:lnTo>
                  <a:lnTo>
                    <a:pt x="3160" y="5100"/>
                  </a:lnTo>
                  <a:lnTo>
                    <a:pt x="3162" y="5098"/>
                  </a:lnTo>
                  <a:lnTo>
                    <a:pt x="3162" y="5094"/>
                  </a:lnTo>
                  <a:lnTo>
                    <a:pt x="3160" y="5090"/>
                  </a:lnTo>
                  <a:lnTo>
                    <a:pt x="3162" y="5084"/>
                  </a:lnTo>
                  <a:lnTo>
                    <a:pt x="3164" y="5078"/>
                  </a:lnTo>
                  <a:lnTo>
                    <a:pt x="3166" y="5070"/>
                  </a:lnTo>
                  <a:lnTo>
                    <a:pt x="3164" y="5066"/>
                  </a:lnTo>
                  <a:lnTo>
                    <a:pt x="3164" y="5064"/>
                  </a:lnTo>
                  <a:lnTo>
                    <a:pt x="3160" y="5064"/>
                  </a:lnTo>
                  <a:lnTo>
                    <a:pt x="3158" y="5064"/>
                  </a:lnTo>
                  <a:lnTo>
                    <a:pt x="3152" y="5070"/>
                  </a:lnTo>
                  <a:lnTo>
                    <a:pt x="3150" y="5074"/>
                  </a:lnTo>
                  <a:lnTo>
                    <a:pt x="3150" y="5078"/>
                  </a:lnTo>
                  <a:lnTo>
                    <a:pt x="3150" y="5090"/>
                  </a:lnTo>
                  <a:lnTo>
                    <a:pt x="3148" y="5098"/>
                  </a:lnTo>
                  <a:lnTo>
                    <a:pt x="3148" y="5104"/>
                  </a:lnTo>
                  <a:lnTo>
                    <a:pt x="3148" y="5106"/>
                  </a:lnTo>
                  <a:lnTo>
                    <a:pt x="3152" y="5104"/>
                  </a:lnTo>
                  <a:close/>
                  <a:moveTo>
                    <a:pt x="3192" y="4332"/>
                  </a:moveTo>
                  <a:lnTo>
                    <a:pt x="3192" y="4332"/>
                  </a:lnTo>
                  <a:lnTo>
                    <a:pt x="3198" y="4322"/>
                  </a:lnTo>
                  <a:lnTo>
                    <a:pt x="3198" y="4314"/>
                  </a:lnTo>
                  <a:lnTo>
                    <a:pt x="3196" y="4308"/>
                  </a:lnTo>
                  <a:lnTo>
                    <a:pt x="3196" y="4306"/>
                  </a:lnTo>
                  <a:lnTo>
                    <a:pt x="3192" y="4306"/>
                  </a:lnTo>
                  <a:lnTo>
                    <a:pt x="3190" y="4304"/>
                  </a:lnTo>
                  <a:lnTo>
                    <a:pt x="3186" y="4304"/>
                  </a:lnTo>
                  <a:lnTo>
                    <a:pt x="3184" y="4304"/>
                  </a:lnTo>
                  <a:lnTo>
                    <a:pt x="3178" y="4306"/>
                  </a:lnTo>
                  <a:lnTo>
                    <a:pt x="3176" y="4310"/>
                  </a:lnTo>
                  <a:lnTo>
                    <a:pt x="3174" y="4312"/>
                  </a:lnTo>
                  <a:lnTo>
                    <a:pt x="3174" y="4316"/>
                  </a:lnTo>
                  <a:lnTo>
                    <a:pt x="3176" y="4320"/>
                  </a:lnTo>
                  <a:lnTo>
                    <a:pt x="3174" y="4322"/>
                  </a:lnTo>
                  <a:lnTo>
                    <a:pt x="3172" y="4324"/>
                  </a:lnTo>
                  <a:lnTo>
                    <a:pt x="3170" y="4326"/>
                  </a:lnTo>
                  <a:lnTo>
                    <a:pt x="3170" y="4330"/>
                  </a:lnTo>
                  <a:lnTo>
                    <a:pt x="3172" y="4336"/>
                  </a:lnTo>
                  <a:lnTo>
                    <a:pt x="3172" y="4344"/>
                  </a:lnTo>
                  <a:lnTo>
                    <a:pt x="3172" y="4348"/>
                  </a:lnTo>
                  <a:lnTo>
                    <a:pt x="3168" y="4352"/>
                  </a:lnTo>
                  <a:lnTo>
                    <a:pt x="3164" y="4354"/>
                  </a:lnTo>
                  <a:lnTo>
                    <a:pt x="3162" y="4354"/>
                  </a:lnTo>
                  <a:lnTo>
                    <a:pt x="3158" y="4352"/>
                  </a:lnTo>
                  <a:lnTo>
                    <a:pt x="3154" y="4352"/>
                  </a:lnTo>
                  <a:lnTo>
                    <a:pt x="3152" y="4358"/>
                  </a:lnTo>
                  <a:lnTo>
                    <a:pt x="3152" y="4364"/>
                  </a:lnTo>
                  <a:lnTo>
                    <a:pt x="3156" y="4372"/>
                  </a:lnTo>
                  <a:lnTo>
                    <a:pt x="3162" y="4380"/>
                  </a:lnTo>
                  <a:lnTo>
                    <a:pt x="3166" y="4382"/>
                  </a:lnTo>
                  <a:lnTo>
                    <a:pt x="3170" y="4384"/>
                  </a:lnTo>
                  <a:lnTo>
                    <a:pt x="3172" y="4392"/>
                  </a:lnTo>
                  <a:lnTo>
                    <a:pt x="3176" y="4398"/>
                  </a:lnTo>
                  <a:lnTo>
                    <a:pt x="3178" y="4400"/>
                  </a:lnTo>
                  <a:lnTo>
                    <a:pt x="3180" y="4400"/>
                  </a:lnTo>
                  <a:lnTo>
                    <a:pt x="3184" y="4396"/>
                  </a:lnTo>
                  <a:lnTo>
                    <a:pt x="3188" y="4392"/>
                  </a:lnTo>
                  <a:lnTo>
                    <a:pt x="3190" y="4388"/>
                  </a:lnTo>
                  <a:lnTo>
                    <a:pt x="3190" y="4384"/>
                  </a:lnTo>
                  <a:lnTo>
                    <a:pt x="3186" y="4376"/>
                  </a:lnTo>
                  <a:lnTo>
                    <a:pt x="3182" y="4364"/>
                  </a:lnTo>
                  <a:lnTo>
                    <a:pt x="3182" y="4360"/>
                  </a:lnTo>
                  <a:lnTo>
                    <a:pt x="3184" y="4356"/>
                  </a:lnTo>
                  <a:lnTo>
                    <a:pt x="3188" y="4348"/>
                  </a:lnTo>
                  <a:lnTo>
                    <a:pt x="3188" y="4344"/>
                  </a:lnTo>
                  <a:lnTo>
                    <a:pt x="3190" y="4338"/>
                  </a:lnTo>
                  <a:lnTo>
                    <a:pt x="3192" y="4332"/>
                  </a:lnTo>
                  <a:close/>
                  <a:moveTo>
                    <a:pt x="3202" y="4390"/>
                  </a:moveTo>
                  <a:lnTo>
                    <a:pt x="3202" y="4390"/>
                  </a:lnTo>
                  <a:lnTo>
                    <a:pt x="3200" y="4392"/>
                  </a:lnTo>
                  <a:lnTo>
                    <a:pt x="3196" y="4392"/>
                  </a:lnTo>
                  <a:lnTo>
                    <a:pt x="3198" y="4394"/>
                  </a:lnTo>
                  <a:lnTo>
                    <a:pt x="3202" y="4396"/>
                  </a:lnTo>
                  <a:lnTo>
                    <a:pt x="3204" y="4396"/>
                  </a:lnTo>
                  <a:lnTo>
                    <a:pt x="3206" y="4394"/>
                  </a:lnTo>
                  <a:lnTo>
                    <a:pt x="3204" y="4390"/>
                  </a:lnTo>
                  <a:lnTo>
                    <a:pt x="3202" y="4388"/>
                  </a:lnTo>
                  <a:lnTo>
                    <a:pt x="3202" y="4390"/>
                  </a:lnTo>
                  <a:close/>
                  <a:moveTo>
                    <a:pt x="3218" y="4324"/>
                  </a:moveTo>
                  <a:lnTo>
                    <a:pt x="3218" y="4324"/>
                  </a:lnTo>
                  <a:lnTo>
                    <a:pt x="3218" y="4318"/>
                  </a:lnTo>
                  <a:lnTo>
                    <a:pt x="3220" y="4314"/>
                  </a:lnTo>
                  <a:lnTo>
                    <a:pt x="3222" y="4310"/>
                  </a:lnTo>
                  <a:lnTo>
                    <a:pt x="3222" y="4308"/>
                  </a:lnTo>
                  <a:lnTo>
                    <a:pt x="3220" y="4300"/>
                  </a:lnTo>
                  <a:lnTo>
                    <a:pt x="3220" y="4292"/>
                  </a:lnTo>
                  <a:lnTo>
                    <a:pt x="3218" y="4290"/>
                  </a:lnTo>
                  <a:lnTo>
                    <a:pt x="3216" y="4298"/>
                  </a:lnTo>
                  <a:lnTo>
                    <a:pt x="3210" y="4312"/>
                  </a:lnTo>
                  <a:lnTo>
                    <a:pt x="3208" y="4316"/>
                  </a:lnTo>
                  <a:lnTo>
                    <a:pt x="3206" y="4324"/>
                  </a:lnTo>
                  <a:lnTo>
                    <a:pt x="3204" y="4334"/>
                  </a:lnTo>
                  <a:lnTo>
                    <a:pt x="3198" y="4342"/>
                  </a:lnTo>
                  <a:lnTo>
                    <a:pt x="3194" y="4348"/>
                  </a:lnTo>
                  <a:lnTo>
                    <a:pt x="3192" y="4354"/>
                  </a:lnTo>
                  <a:lnTo>
                    <a:pt x="3192" y="4362"/>
                  </a:lnTo>
                  <a:lnTo>
                    <a:pt x="3190" y="4374"/>
                  </a:lnTo>
                  <a:lnTo>
                    <a:pt x="3190" y="4380"/>
                  </a:lnTo>
                  <a:lnTo>
                    <a:pt x="3192" y="4380"/>
                  </a:lnTo>
                  <a:lnTo>
                    <a:pt x="3194" y="4376"/>
                  </a:lnTo>
                  <a:lnTo>
                    <a:pt x="3198" y="4368"/>
                  </a:lnTo>
                  <a:lnTo>
                    <a:pt x="3200" y="4362"/>
                  </a:lnTo>
                  <a:lnTo>
                    <a:pt x="3202" y="4360"/>
                  </a:lnTo>
                  <a:lnTo>
                    <a:pt x="3204" y="4358"/>
                  </a:lnTo>
                  <a:lnTo>
                    <a:pt x="3204" y="4352"/>
                  </a:lnTo>
                  <a:lnTo>
                    <a:pt x="3204" y="4348"/>
                  </a:lnTo>
                  <a:lnTo>
                    <a:pt x="3206" y="4344"/>
                  </a:lnTo>
                  <a:lnTo>
                    <a:pt x="3212" y="4340"/>
                  </a:lnTo>
                  <a:lnTo>
                    <a:pt x="3218" y="4332"/>
                  </a:lnTo>
                  <a:lnTo>
                    <a:pt x="3220" y="4328"/>
                  </a:lnTo>
                  <a:lnTo>
                    <a:pt x="3218" y="4324"/>
                  </a:lnTo>
                  <a:close/>
                  <a:moveTo>
                    <a:pt x="3226" y="4342"/>
                  </a:moveTo>
                  <a:lnTo>
                    <a:pt x="3226" y="4342"/>
                  </a:lnTo>
                  <a:lnTo>
                    <a:pt x="3222" y="4350"/>
                  </a:lnTo>
                  <a:lnTo>
                    <a:pt x="3216" y="4354"/>
                  </a:lnTo>
                  <a:lnTo>
                    <a:pt x="3214" y="4356"/>
                  </a:lnTo>
                  <a:lnTo>
                    <a:pt x="3210" y="4360"/>
                  </a:lnTo>
                  <a:lnTo>
                    <a:pt x="3210" y="4364"/>
                  </a:lnTo>
                  <a:lnTo>
                    <a:pt x="3212" y="4368"/>
                  </a:lnTo>
                  <a:lnTo>
                    <a:pt x="3214" y="4370"/>
                  </a:lnTo>
                  <a:lnTo>
                    <a:pt x="3216" y="4372"/>
                  </a:lnTo>
                  <a:lnTo>
                    <a:pt x="3224" y="4372"/>
                  </a:lnTo>
                  <a:lnTo>
                    <a:pt x="3230" y="4370"/>
                  </a:lnTo>
                  <a:lnTo>
                    <a:pt x="3234" y="4368"/>
                  </a:lnTo>
                  <a:lnTo>
                    <a:pt x="3236" y="4366"/>
                  </a:lnTo>
                  <a:lnTo>
                    <a:pt x="3240" y="4366"/>
                  </a:lnTo>
                  <a:lnTo>
                    <a:pt x="3240" y="4364"/>
                  </a:lnTo>
                  <a:lnTo>
                    <a:pt x="3240" y="4362"/>
                  </a:lnTo>
                  <a:lnTo>
                    <a:pt x="3240" y="4356"/>
                  </a:lnTo>
                  <a:lnTo>
                    <a:pt x="3242" y="4352"/>
                  </a:lnTo>
                  <a:lnTo>
                    <a:pt x="3242" y="4346"/>
                  </a:lnTo>
                  <a:lnTo>
                    <a:pt x="3242" y="4344"/>
                  </a:lnTo>
                  <a:lnTo>
                    <a:pt x="3240" y="4344"/>
                  </a:lnTo>
                  <a:lnTo>
                    <a:pt x="3238" y="4346"/>
                  </a:lnTo>
                  <a:lnTo>
                    <a:pt x="3238" y="4348"/>
                  </a:lnTo>
                  <a:lnTo>
                    <a:pt x="3234" y="4348"/>
                  </a:lnTo>
                  <a:lnTo>
                    <a:pt x="3232" y="4346"/>
                  </a:lnTo>
                  <a:lnTo>
                    <a:pt x="3228" y="4342"/>
                  </a:lnTo>
                  <a:lnTo>
                    <a:pt x="3228" y="4340"/>
                  </a:lnTo>
                  <a:lnTo>
                    <a:pt x="3226" y="4342"/>
                  </a:lnTo>
                  <a:close/>
                  <a:moveTo>
                    <a:pt x="3240" y="4278"/>
                  </a:moveTo>
                  <a:lnTo>
                    <a:pt x="3240" y="4278"/>
                  </a:lnTo>
                  <a:lnTo>
                    <a:pt x="3242" y="4278"/>
                  </a:lnTo>
                  <a:lnTo>
                    <a:pt x="3242" y="4274"/>
                  </a:lnTo>
                  <a:lnTo>
                    <a:pt x="3240" y="4270"/>
                  </a:lnTo>
                  <a:lnTo>
                    <a:pt x="3236" y="4270"/>
                  </a:lnTo>
                  <a:lnTo>
                    <a:pt x="3234" y="4270"/>
                  </a:lnTo>
                  <a:lnTo>
                    <a:pt x="3234" y="4274"/>
                  </a:lnTo>
                  <a:lnTo>
                    <a:pt x="3236" y="4278"/>
                  </a:lnTo>
                  <a:lnTo>
                    <a:pt x="3240" y="4278"/>
                  </a:lnTo>
                  <a:close/>
                  <a:moveTo>
                    <a:pt x="3164" y="5116"/>
                  </a:moveTo>
                  <a:lnTo>
                    <a:pt x="3164" y="5116"/>
                  </a:lnTo>
                  <a:lnTo>
                    <a:pt x="3166" y="5118"/>
                  </a:lnTo>
                  <a:lnTo>
                    <a:pt x="3168" y="5116"/>
                  </a:lnTo>
                  <a:lnTo>
                    <a:pt x="3172" y="5110"/>
                  </a:lnTo>
                  <a:lnTo>
                    <a:pt x="3174" y="5106"/>
                  </a:lnTo>
                  <a:lnTo>
                    <a:pt x="3176" y="5104"/>
                  </a:lnTo>
                  <a:lnTo>
                    <a:pt x="3182" y="5102"/>
                  </a:lnTo>
                  <a:lnTo>
                    <a:pt x="3184" y="5102"/>
                  </a:lnTo>
                  <a:lnTo>
                    <a:pt x="3186" y="5100"/>
                  </a:lnTo>
                  <a:lnTo>
                    <a:pt x="3180" y="5092"/>
                  </a:lnTo>
                  <a:lnTo>
                    <a:pt x="3176" y="5086"/>
                  </a:lnTo>
                  <a:lnTo>
                    <a:pt x="3176" y="5082"/>
                  </a:lnTo>
                  <a:lnTo>
                    <a:pt x="3176" y="5078"/>
                  </a:lnTo>
                  <a:lnTo>
                    <a:pt x="3178" y="5076"/>
                  </a:lnTo>
                  <a:lnTo>
                    <a:pt x="3184" y="5070"/>
                  </a:lnTo>
                  <a:lnTo>
                    <a:pt x="3184" y="5064"/>
                  </a:lnTo>
                  <a:lnTo>
                    <a:pt x="3182" y="5058"/>
                  </a:lnTo>
                  <a:lnTo>
                    <a:pt x="3180" y="5054"/>
                  </a:lnTo>
                  <a:lnTo>
                    <a:pt x="3178" y="5052"/>
                  </a:lnTo>
                  <a:lnTo>
                    <a:pt x="3174" y="5054"/>
                  </a:lnTo>
                  <a:lnTo>
                    <a:pt x="3172" y="5058"/>
                  </a:lnTo>
                  <a:lnTo>
                    <a:pt x="3170" y="5070"/>
                  </a:lnTo>
                  <a:lnTo>
                    <a:pt x="3168" y="5086"/>
                  </a:lnTo>
                  <a:lnTo>
                    <a:pt x="3166" y="5094"/>
                  </a:lnTo>
                  <a:lnTo>
                    <a:pt x="3164" y="5100"/>
                  </a:lnTo>
                  <a:lnTo>
                    <a:pt x="3160" y="5108"/>
                  </a:lnTo>
                  <a:lnTo>
                    <a:pt x="3158" y="5110"/>
                  </a:lnTo>
                  <a:lnTo>
                    <a:pt x="3158" y="5112"/>
                  </a:lnTo>
                  <a:lnTo>
                    <a:pt x="3164" y="5116"/>
                  </a:lnTo>
                  <a:close/>
                  <a:moveTo>
                    <a:pt x="3346" y="4866"/>
                  </a:moveTo>
                  <a:lnTo>
                    <a:pt x="3346" y="4866"/>
                  </a:lnTo>
                  <a:lnTo>
                    <a:pt x="3348" y="4862"/>
                  </a:lnTo>
                  <a:lnTo>
                    <a:pt x="3348" y="4858"/>
                  </a:lnTo>
                  <a:lnTo>
                    <a:pt x="3348" y="4852"/>
                  </a:lnTo>
                  <a:lnTo>
                    <a:pt x="3346" y="4852"/>
                  </a:lnTo>
                  <a:lnTo>
                    <a:pt x="3344" y="4852"/>
                  </a:lnTo>
                  <a:lnTo>
                    <a:pt x="3342" y="4856"/>
                  </a:lnTo>
                  <a:lnTo>
                    <a:pt x="3342" y="4860"/>
                  </a:lnTo>
                  <a:lnTo>
                    <a:pt x="3342" y="4864"/>
                  </a:lnTo>
                  <a:lnTo>
                    <a:pt x="3344" y="4866"/>
                  </a:lnTo>
                  <a:lnTo>
                    <a:pt x="3346" y="4866"/>
                  </a:lnTo>
                  <a:close/>
                  <a:moveTo>
                    <a:pt x="3342" y="4998"/>
                  </a:moveTo>
                  <a:lnTo>
                    <a:pt x="3342" y="4998"/>
                  </a:lnTo>
                  <a:lnTo>
                    <a:pt x="3336" y="4992"/>
                  </a:lnTo>
                  <a:lnTo>
                    <a:pt x="3330" y="4990"/>
                  </a:lnTo>
                  <a:lnTo>
                    <a:pt x="3324" y="4986"/>
                  </a:lnTo>
                  <a:lnTo>
                    <a:pt x="3316" y="4986"/>
                  </a:lnTo>
                  <a:lnTo>
                    <a:pt x="3310" y="4986"/>
                  </a:lnTo>
                  <a:lnTo>
                    <a:pt x="3304" y="4988"/>
                  </a:lnTo>
                  <a:lnTo>
                    <a:pt x="3300" y="4992"/>
                  </a:lnTo>
                  <a:lnTo>
                    <a:pt x="3298" y="4996"/>
                  </a:lnTo>
                  <a:lnTo>
                    <a:pt x="3298" y="5002"/>
                  </a:lnTo>
                  <a:lnTo>
                    <a:pt x="3304" y="5010"/>
                  </a:lnTo>
                  <a:lnTo>
                    <a:pt x="3312" y="5016"/>
                  </a:lnTo>
                  <a:lnTo>
                    <a:pt x="3320" y="5024"/>
                  </a:lnTo>
                  <a:lnTo>
                    <a:pt x="3326" y="5026"/>
                  </a:lnTo>
                  <a:lnTo>
                    <a:pt x="3332" y="5026"/>
                  </a:lnTo>
                  <a:lnTo>
                    <a:pt x="3336" y="5024"/>
                  </a:lnTo>
                  <a:lnTo>
                    <a:pt x="3342" y="5020"/>
                  </a:lnTo>
                  <a:lnTo>
                    <a:pt x="3344" y="5016"/>
                  </a:lnTo>
                  <a:lnTo>
                    <a:pt x="3346" y="5010"/>
                  </a:lnTo>
                  <a:lnTo>
                    <a:pt x="3344" y="5004"/>
                  </a:lnTo>
                  <a:lnTo>
                    <a:pt x="3342" y="4998"/>
                  </a:lnTo>
                  <a:close/>
                  <a:moveTo>
                    <a:pt x="3330" y="5214"/>
                  </a:moveTo>
                  <a:lnTo>
                    <a:pt x="3330" y="5214"/>
                  </a:lnTo>
                  <a:lnTo>
                    <a:pt x="3328" y="5212"/>
                  </a:lnTo>
                  <a:lnTo>
                    <a:pt x="3326" y="5210"/>
                  </a:lnTo>
                  <a:lnTo>
                    <a:pt x="3314" y="5210"/>
                  </a:lnTo>
                  <a:lnTo>
                    <a:pt x="3302" y="5214"/>
                  </a:lnTo>
                  <a:lnTo>
                    <a:pt x="3296" y="5216"/>
                  </a:lnTo>
                  <a:lnTo>
                    <a:pt x="3290" y="5220"/>
                  </a:lnTo>
                  <a:lnTo>
                    <a:pt x="3290" y="5224"/>
                  </a:lnTo>
                  <a:lnTo>
                    <a:pt x="3292" y="5224"/>
                  </a:lnTo>
                  <a:lnTo>
                    <a:pt x="3306" y="5224"/>
                  </a:lnTo>
                  <a:lnTo>
                    <a:pt x="3322" y="5220"/>
                  </a:lnTo>
                  <a:lnTo>
                    <a:pt x="3328" y="5216"/>
                  </a:lnTo>
                  <a:lnTo>
                    <a:pt x="3330" y="5214"/>
                  </a:lnTo>
                  <a:close/>
                  <a:moveTo>
                    <a:pt x="3294" y="4936"/>
                  </a:moveTo>
                  <a:lnTo>
                    <a:pt x="3294" y="4936"/>
                  </a:lnTo>
                  <a:lnTo>
                    <a:pt x="3292" y="4938"/>
                  </a:lnTo>
                  <a:lnTo>
                    <a:pt x="3292" y="4942"/>
                  </a:lnTo>
                  <a:lnTo>
                    <a:pt x="3296" y="4956"/>
                  </a:lnTo>
                  <a:lnTo>
                    <a:pt x="3298" y="4960"/>
                  </a:lnTo>
                  <a:lnTo>
                    <a:pt x="3300" y="4960"/>
                  </a:lnTo>
                  <a:lnTo>
                    <a:pt x="3300" y="4956"/>
                  </a:lnTo>
                  <a:lnTo>
                    <a:pt x="3298" y="4950"/>
                  </a:lnTo>
                  <a:lnTo>
                    <a:pt x="3298" y="4944"/>
                  </a:lnTo>
                  <a:lnTo>
                    <a:pt x="3296" y="4938"/>
                  </a:lnTo>
                  <a:lnTo>
                    <a:pt x="3296" y="4936"/>
                  </a:lnTo>
                  <a:lnTo>
                    <a:pt x="3294" y="4936"/>
                  </a:lnTo>
                  <a:close/>
                  <a:moveTo>
                    <a:pt x="3344" y="5246"/>
                  </a:moveTo>
                  <a:lnTo>
                    <a:pt x="3344" y="5246"/>
                  </a:lnTo>
                  <a:lnTo>
                    <a:pt x="3340" y="5244"/>
                  </a:lnTo>
                  <a:lnTo>
                    <a:pt x="3336" y="5244"/>
                  </a:lnTo>
                  <a:lnTo>
                    <a:pt x="3330" y="5248"/>
                  </a:lnTo>
                  <a:lnTo>
                    <a:pt x="3322" y="5250"/>
                  </a:lnTo>
                  <a:lnTo>
                    <a:pt x="3316" y="5250"/>
                  </a:lnTo>
                  <a:lnTo>
                    <a:pt x="3312" y="5250"/>
                  </a:lnTo>
                  <a:lnTo>
                    <a:pt x="3306" y="5252"/>
                  </a:lnTo>
                  <a:lnTo>
                    <a:pt x="3300" y="5254"/>
                  </a:lnTo>
                  <a:lnTo>
                    <a:pt x="3296" y="5254"/>
                  </a:lnTo>
                  <a:lnTo>
                    <a:pt x="3292" y="5254"/>
                  </a:lnTo>
                  <a:lnTo>
                    <a:pt x="3286" y="5254"/>
                  </a:lnTo>
                  <a:lnTo>
                    <a:pt x="3268" y="5258"/>
                  </a:lnTo>
                  <a:lnTo>
                    <a:pt x="3260" y="5262"/>
                  </a:lnTo>
                  <a:lnTo>
                    <a:pt x="3258" y="5266"/>
                  </a:lnTo>
                  <a:lnTo>
                    <a:pt x="3256" y="5272"/>
                  </a:lnTo>
                  <a:lnTo>
                    <a:pt x="3248" y="5278"/>
                  </a:lnTo>
                  <a:lnTo>
                    <a:pt x="3240" y="5284"/>
                  </a:lnTo>
                  <a:lnTo>
                    <a:pt x="3234" y="5286"/>
                  </a:lnTo>
                  <a:lnTo>
                    <a:pt x="3226" y="5290"/>
                  </a:lnTo>
                  <a:lnTo>
                    <a:pt x="3216" y="5296"/>
                  </a:lnTo>
                  <a:lnTo>
                    <a:pt x="3206" y="5304"/>
                  </a:lnTo>
                  <a:lnTo>
                    <a:pt x="3202" y="5310"/>
                  </a:lnTo>
                  <a:lnTo>
                    <a:pt x="3200" y="5322"/>
                  </a:lnTo>
                  <a:lnTo>
                    <a:pt x="3198" y="5326"/>
                  </a:lnTo>
                  <a:lnTo>
                    <a:pt x="3200" y="5328"/>
                  </a:lnTo>
                  <a:lnTo>
                    <a:pt x="3202" y="5330"/>
                  </a:lnTo>
                  <a:lnTo>
                    <a:pt x="3204" y="5330"/>
                  </a:lnTo>
                  <a:lnTo>
                    <a:pt x="3202" y="5332"/>
                  </a:lnTo>
                  <a:lnTo>
                    <a:pt x="3198" y="5336"/>
                  </a:lnTo>
                  <a:lnTo>
                    <a:pt x="3194" y="5340"/>
                  </a:lnTo>
                  <a:lnTo>
                    <a:pt x="3194" y="5342"/>
                  </a:lnTo>
                  <a:lnTo>
                    <a:pt x="3194" y="5344"/>
                  </a:lnTo>
                  <a:lnTo>
                    <a:pt x="3202" y="5346"/>
                  </a:lnTo>
                  <a:lnTo>
                    <a:pt x="3206" y="5346"/>
                  </a:lnTo>
                  <a:lnTo>
                    <a:pt x="3210" y="5344"/>
                  </a:lnTo>
                  <a:lnTo>
                    <a:pt x="3216" y="5340"/>
                  </a:lnTo>
                  <a:lnTo>
                    <a:pt x="3220" y="5336"/>
                  </a:lnTo>
                  <a:lnTo>
                    <a:pt x="3222" y="5336"/>
                  </a:lnTo>
                  <a:lnTo>
                    <a:pt x="3226" y="5336"/>
                  </a:lnTo>
                  <a:lnTo>
                    <a:pt x="3230" y="5336"/>
                  </a:lnTo>
                  <a:lnTo>
                    <a:pt x="3234" y="5334"/>
                  </a:lnTo>
                  <a:lnTo>
                    <a:pt x="3244" y="5320"/>
                  </a:lnTo>
                  <a:lnTo>
                    <a:pt x="3252" y="5312"/>
                  </a:lnTo>
                  <a:lnTo>
                    <a:pt x="3256" y="5306"/>
                  </a:lnTo>
                  <a:lnTo>
                    <a:pt x="3260" y="5300"/>
                  </a:lnTo>
                  <a:lnTo>
                    <a:pt x="3268" y="5294"/>
                  </a:lnTo>
                  <a:lnTo>
                    <a:pt x="3280" y="5288"/>
                  </a:lnTo>
                  <a:lnTo>
                    <a:pt x="3288" y="5286"/>
                  </a:lnTo>
                  <a:lnTo>
                    <a:pt x="3294" y="5284"/>
                  </a:lnTo>
                  <a:lnTo>
                    <a:pt x="3300" y="5280"/>
                  </a:lnTo>
                  <a:lnTo>
                    <a:pt x="3304" y="5278"/>
                  </a:lnTo>
                  <a:lnTo>
                    <a:pt x="3308" y="5278"/>
                  </a:lnTo>
                  <a:lnTo>
                    <a:pt x="3314" y="5276"/>
                  </a:lnTo>
                  <a:lnTo>
                    <a:pt x="3318" y="5272"/>
                  </a:lnTo>
                  <a:lnTo>
                    <a:pt x="3324" y="5266"/>
                  </a:lnTo>
                  <a:lnTo>
                    <a:pt x="3328" y="5266"/>
                  </a:lnTo>
                  <a:lnTo>
                    <a:pt x="3334" y="5264"/>
                  </a:lnTo>
                  <a:lnTo>
                    <a:pt x="3340" y="5260"/>
                  </a:lnTo>
                  <a:lnTo>
                    <a:pt x="3348" y="5252"/>
                  </a:lnTo>
                  <a:lnTo>
                    <a:pt x="3348" y="5248"/>
                  </a:lnTo>
                  <a:lnTo>
                    <a:pt x="3344" y="5246"/>
                  </a:lnTo>
                  <a:close/>
                  <a:moveTo>
                    <a:pt x="3328" y="4618"/>
                  </a:moveTo>
                  <a:lnTo>
                    <a:pt x="3328" y="4618"/>
                  </a:lnTo>
                  <a:lnTo>
                    <a:pt x="3326" y="4622"/>
                  </a:lnTo>
                  <a:lnTo>
                    <a:pt x="3326" y="4628"/>
                  </a:lnTo>
                  <a:lnTo>
                    <a:pt x="3326" y="4630"/>
                  </a:lnTo>
                  <a:lnTo>
                    <a:pt x="3328" y="4632"/>
                  </a:lnTo>
                  <a:lnTo>
                    <a:pt x="3328" y="4634"/>
                  </a:lnTo>
                  <a:lnTo>
                    <a:pt x="3326" y="4638"/>
                  </a:lnTo>
                  <a:lnTo>
                    <a:pt x="3324" y="4642"/>
                  </a:lnTo>
                  <a:lnTo>
                    <a:pt x="3326" y="4644"/>
                  </a:lnTo>
                  <a:lnTo>
                    <a:pt x="3330" y="4642"/>
                  </a:lnTo>
                  <a:lnTo>
                    <a:pt x="3330" y="4640"/>
                  </a:lnTo>
                  <a:lnTo>
                    <a:pt x="3332" y="4636"/>
                  </a:lnTo>
                  <a:lnTo>
                    <a:pt x="3332" y="4632"/>
                  </a:lnTo>
                  <a:lnTo>
                    <a:pt x="3334" y="4630"/>
                  </a:lnTo>
                  <a:lnTo>
                    <a:pt x="3334" y="4628"/>
                  </a:lnTo>
                  <a:lnTo>
                    <a:pt x="3332" y="4624"/>
                  </a:lnTo>
                  <a:lnTo>
                    <a:pt x="3332" y="4620"/>
                  </a:lnTo>
                  <a:lnTo>
                    <a:pt x="3332" y="4618"/>
                  </a:lnTo>
                  <a:lnTo>
                    <a:pt x="3328" y="4618"/>
                  </a:lnTo>
                  <a:close/>
                  <a:moveTo>
                    <a:pt x="3302" y="3114"/>
                  </a:moveTo>
                  <a:lnTo>
                    <a:pt x="3302" y="3114"/>
                  </a:lnTo>
                  <a:lnTo>
                    <a:pt x="3304" y="3116"/>
                  </a:lnTo>
                  <a:lnTo>
                    <a:pt x="3308" y="3114"/>
                  </a:lnTo>
                  <a:lnTo>
                    <a:pt x="3310" y="3112"/>
                  </a:lnTo>
                  <a:lnTo>
                    <a:pt x="3310" y="3108"/>
                  </a:lnTo>
                  <a:lnTo>
                    <a:pt x="3306" y="3108"/>
                  </a:lnTo>
                  <a:lnTo>
                    <a:pt x="3302" y="3110"/>
                  </a:lnTo>
                  <a:lnTo>
                    <a:pt x="3300" y="3112"/>
                  </a:lnTo>
                  <a:lnTo>
                    <a:pt x="3302" y="3114"/>
                  </a:lnTo>
                  <a:close/>
                  <a:moveTo>
                    <a:pt x="3298" y="3086"/>
                  </a:moveTo>
                  <a:lnTo>
                    <a:pt x="3298" y="3086"/>
                  </a:lnTo>
                  <a:lnTo>
                    <a:pt x="3296" y="3088"/>
                  </a:lnTo>
                  <a:lnTo>
                    <a:pt x="3298" y="3090"/>
                  </a:lnTo>
                  <a:lnTo>
                    <a:pt x="3302" y="3096"/>
                  </a:lnTo>
                  <a:lnTo>
                    <a:pt x="3302" y="3098"/>
                  </a:lnTo>
                  <a:lnTo>
                    <a:pt x="3304" y="3094"/>
                  </a:lnTo>
                  <a:lnTo>
                    <a:pt x="3302" y="3088"/>
                  </a:lnTo>
                  <a:lnTo>
                    <a:pt x="3300" y="3086"/>
                  </a:lnTo>
                  <a:lnTo>
                    <a:pt x="3298" y="3086"/>
                  </a:lnTo>
                  <a:close/>
                  <a:moveTo>
                    <a:pt x="3298" y="4354"/>
                  </a:moveTo>
                  <a:lnTo>
                    <a:pt x="3298" y="4354"/>
                  </a:lnTo>
                  <a:lnTo>
                    <a:pt x="3296" y="4358"/>
                  </a:lnTo>
                  <a:lnTo>
                    <a:pt x="3296" y="4362"/>
                  </a:lnTo>
                  <a:lnTo>
                    <a:pt x="3298" y="4362"/>
                  </a:lnTo>
                  <a:lnTo>
                    <a:pt x="3300" y="4364"/>
                  </a:lnTo>
                  <a:lnTo>
                    <a:pt x="3304" y="4362"/>
                  </a:lnTo>
                  <a:lnTo>
                    <a:pt x="3304" y="4360"/>
                  </a:lnTo>
                  <a:lnTo>
                    <a:pt x="3302" y="4356"/>
                  </a:lnTo>
                  <a:lnTo>
                    <a:pt x="3300" y="4348"/>
                  </a:lnTo>
                  <a:lnTo>
                    <a:pt x="3298" y="4354"/>
                  </a:lnTo>
                  <a:close/>
                  <a:moveTo>
                    <a:pt x="3274" y="4930"/>
                  </a:moveTo>
                  <a:lnTo>
                    <a:pt x="3274" y="4930"/>
                  </a:lnTo>
                  <a:lnTo>
                    <a:pt x="3274" y="4932"/>
                  </a:lnTo>
                  <a:lnTo>
                    <a:pt x="3278" y="4934"/>
                  </a:lnTo>
                  <a:lnTo>
                    <a:pt x="3288" y="4934"/>
                  </a:lnTo>
                  <a:lnTo>
                    <a:pt x="3310" y="4928"/>
                  </a:lnTo>
                  <a:lnTo>
                    <a:pt x="3312" y="4926"/>
                  </a:lnTo>
                  <a:lnTo>
                    <a:pt x="3310" y="4926"/>
                  </a:lnTo>
                  <a:lnTo>
                    <a:pt x="3296" y="4924"/>
                  </a:lnTo>
                  <a:lnTo>
                    <a:pt x="3282" y="4924"/>
                  </a:lnTo>
                  <a:lnTo>
                    <a:pt x="3276" y="4926"/>
                  </a:lnTo>
                  <a:lnTo>
                    <a:pt x="3274" y="4930"/>
                  </a:lnTo>
                  <a:close/>
                  <a:moveTo>
                    <a:pt x="3132" y="5104"/>
                  </a:moveTo>
                  <a:lnTo>
                    <a:pt x="3132" y="5104"/>
                  </a:lnTo>
                  <a:lnTo>
                    <a:pt x="3136" y="5106"/>
                  </a:lnTo>
                  <a:lnTo>
                    <a:pt x="3138" y="5104"/>
                  </a:lnTo>
                  <a:lnTo>
                    <a:pt x="3136" y="5096"/>
                  </a:lnTo>
                  <a:lnTo>
                    <a:pt x="3134" y="5090"/>
                  </a:lnTo>
                  <a:lnTo>
                    <a:pt x="3132" y="5086"/>
                  </a:lnTo>
                  <a:lnTo>
                    <a:pt x="3130" y="5088"/>
                  </a:lnTo>
                  <a:lnTo>
                    <a:pt x="3130" y="5096"/>
                  </a:lnTo>
                  <a:lnTo>
                    <a:pt x="3132" y="5104"/>
                  </a:lnTo>
                  <a:close/>
                  <a:moveTo>
                    <a:pt x="3196" y="4912"/>
                  </a:moveTo>
                  <a:lnTo>
                    <a:pt x="3196" y="4912"/>
                  </a:lnTo>
                  <a:lnTo>
                    <a:pt x="3198" y="4908"/>
                  </a:lnTo>
                  <a:lnTo>
                    <a:pt x="3198" y="4904"/>
                  </a:lnTo>
                  <a:lnTo>
                    <a:pt x="3196" y="4900"/>
                  </a:lnTo>
                  <a:lnTo>
                    <a:pt x="3192" y="4900"/>
                  </a:lnTo>
                  <a:lnTo>
                    <a:pt x="3190" y="4902"/>
                  </a:lnTo>
                  <a:lnTo>
                    <a:pt x="3188" y="4904"/>
                  </a:lnTo>
                  <a:lnTo>
                    <a:pt x="3188" y="4908"/>
                  </a:lnTo>
                  <a:lnTo>
                    <a:pt x="3192" y="4912"/>
                  </a:lnTo>
                  <a:lnTo>
                    <a:pt x="3194" y="4912"/>
                  </a:lnTo>
                  <a:lnTo>
                    <a:pt x="3196" y="4912"/>
                  </a:lnTo>
                  <a:close/>
                  <a:moveTo>
                    <a:pt x="3180" y="4896"/>
                  </a:moveTo>
                  <a:lnTo>
                    <a:pt x="3180" y="4896"/>
                  </a:lnTo>
                  <a:lnTo>
                    <a:pt x="3176" y="4896"/>
                  </a:lnTo>
                  <a:lnTo>
                    <a:pt x="3172" y="4900"/>
                  </a:lnTo>
                  <a:lnTo>
                    <a:pt x="3170" y="4906"/>
                  </a:lnTo>
                  <a:lnTo>
                    <a:pt x="3172" y="4916"/>
                  </a:lnTo>
                  <a:lnTo>
                    <a:pt x="3174" y="4916"/>
                  </a:lnTo>
                  <a:lnTo>
                    <a:pt x="3180" y="4908"/>
                  </a:lnTo>
                  <a:lnTo>
                    <a:pt x="3184" y="4900"/>
                  </a:lnTo>
                  <a:lnTo>
                    <a:pt x="3182" y="4898"/>
                  </a:lnTo>
                  <a:lnTo>
                    <a:pt x="3180" y="4896"/>
                  </a:lnTo>
                  <a:close/>
                  <a:moveTo>
                    <a:pt x="3184" y="5356"/>
                  </a:moveTo>
                  <a:lnTo>
                    <a:pt x="3184" y="5356"/>
                  </a:lnTo>
                  <a:lnTo>
                    <a:pt x="3180" y="5360"/>
                  </a:lnTo>
                  <a:lnTo>
                    <a:pt x="3174" y="5364"/>
                  </a:lnTo>
                  <a:lnTo>
                    <a:pt x="3170" y="5366"/>
                  </a:lnTo>
                  <a:lnTo>
                    <a:pt x="3168" y="5370"/>
                  </a:lnTo>
                  <a:lnTo>
                    <a:pt x="3168" y="5372"/>
                  </a:lnTo>
                  <a:lnTo>
                    <a:pt x="3170" y="5372"/>
                  </a:lnTo>
                  <a:lnTo>
                    <a:pt x="3178" y="5370"/>
                  </a:lnTo>
                  <a:lnTo>
                    <a:pt x="3190" y="5362"/>
                  </a:lnTo>
                  <a:lnTo>
                    <a:pt x="3194" y="5358"/>
                  </a:lnTo>
                  <a:lnTo>
                    <a:pt x="3192" y="5352"/>
                  </a:lnTo>
                  <a:lnTo>
                    <a:pt x="3192" y="5350"/>
                  </a:lnTo>
                  <a:lnTo>
                    <a:pt x="3190" y="5350"/>
                  </a:lnTo>
                  <a:lnTo>
                    <a:pt x="3188" y="5352"/>
                  </a:lnTo>
                  <a:lnTo>
                    <a:pt x="3184" y="5356"/>
                  </a:lnTo>
                  <a:close/>
                  <a:moveTo>
                    <a:pt x="3074" y="5152"/>
                  </a:moveTo>
                  <a:lnTo>
                    <a:pt x="3074" y="5152"/>
                  </a:lnTo>
                  <a:lnTo>
                    <a:pt x="3076" y="5154"/>
                  </a:lnTo>
                  <a:lnTo>
                    <a:pt x="3078" y="5144"/>
                  </a:lnTo>
                  <a:lnTo>
                    <a:pt x="3076" y="5132"/>
                  </a:lnTo>
                  <a:lnTo>
                    <a:pt x="3076" y="5122"/>
                  </a:lnTo>
                  <a:lnTo>
                    <a:pt x="3074" y="5122"/>
                  </a:lnTo>
                  <a:lnTo>
                    <a:pt x="3074" y="5124"/>
                  </a:lnTo>
                  <a:lnTo>
                    <a:pt x="3072" y="5130"/>
                  </a:lnTo>
                  <a:lnTo>
                    <a:pt x="3072" y="5142"/>
                  </a:lnTo>
                  <a:lnTo>
                    <a:pt x="3074" y="5152"/>
                  </a:lnTo>
                  <a:close/>
                  <a:moveTo>
                    <a:pt x="3070" y="5308"/>
                  </a:moveTo>
                  <a:lnTo>
                    <a:pt x="3070" y="5308"/>
                  </a:lnTo>
                  <a:lnTo>
                    <a:pt x="3066" y="5308"/>
                  </a:lnTo>
                  <a:lnTo>
                    <a:pt x="3066" y="5306"/>
                  </a:lnTo>
                  <a:lnTo>
                    <a:pt x="3064" y="5304"/>
                  </a:lnTo>
                  <a:lnTo>
                    <a:pt x="3060" y="5298"/>
                  </a:lnTo>
                  <a:lnTo>
                    <a:pt x="3054" y="5294"/>
                  </a:lnTo>
                  <a:lnTo>
                    <a:pt x="3048" y="5294"/>
                  </a:lnTo>
                  <a:lnTo>
                    <a:pt x="3046" y="5296"/>
                  </a:lnTo>
                  <a:lnTo>
                    <a:pt x="3042" y="5296"/>
                  </a:lnTo>
                  <a:lnTo>
                    <a:pt x="3036" y="5294"/>
                  </a:lnTo>
                  <a:lnTo>
                    <a:pt x="3026" y="5294"/>
                  </a:lnTo>
                  <a:lnTo>
                    <a:pt x="3020" y="5296"/>
                  </a:lnTo>
                  <a:lnTo>
                    <a:pt x="3016" y="5298"/>
                  </a:lnTo>
                  <a:lnTo>
                    <a:pt x="3014" y="5302"/>
                  </a:lnTo>
                  <a:lnTo>
                    <a:pt x="3012" y="5306"/>
                  </a:lnTo>
                  <a:lnTo>
                    <a:pt x="3014" y="5310"/>
                  </a:lnTo>
                  <a:lnTo>
                    <a:pt x="3016" y="5312"/>
                  </a:lnTo>
                  <a:lnTo>
                    <a:pt x="3026" y="5316"/>
                  </a:lnTo>
                  <a:lnTo>
                    <a:pt x="3036" y="5318"/>
                  </a:lnTo>
                  <a:lnTo>
                    <a:pt x="3046" y="5322"/>
                  </a:lnTo>
                  <a:lnTo>
                    <a:pt x="3054" y="5328"/>
                  </a:lnTo>
                  <a:lnTo>
                    <a:pt x="3058" y="5334"/>
                  </a:lnTo>
                  <a:lnTo>
                    <a:pt x="3060" y="5338"/>
                  </a:lnTo>
                  <a:lnTo>
                    <a:pt x="3064" y="5340"/>
                  </a:lnTo>
                  <a:lnTo>
                    <a:pt x="3068" y="5340"/>
                  </a:lnTo>
                  <a:lnTo>
                    <a:pt x="3070" y="5342"/>
                  </a:lnTo>
                  <a:lnTo>
                    <a:pt x="3074" y="5342"/>
                  </a:lnTo>
                  <a:lnTo>
                    <a:pt x="3076" y="5340"/>
                  </a:lnTo>
                  <a:lnTo>
                    <a:pt x="3078" y="5338"/>
                  </a:lnTo>
                  <a:lnTo>
                    <a:pt x="3080" y="5338"/>
                  </a:lnTo>
                  <a:lnTo>
                    <a:pt x="3082" y="5336"/>
                  </a:lnTo>
                  <a:lnTo>
                    <a:pt x="3086" y="5332"/>
                  </a:lnTo>
                  <a:lnTo>
                    <a:pt x="3086" y="5330"/>
                  </a:lnTo>
                  <a:lnTo>
                    <a:pt x="3086" y="5326"/>
                  </a:lnTo>
                  <a:lnTo>
                    <a:pt x="3082" y="5320"/>
                  </a:lnTo>
                  <a:lnTo>
                    <a:pt x="3076" y="5312"/>
                  </a:lnTo>
                  <a:lnTo>
                    <a:pt x="3070" y="5308"/>
                  </a:lnTo>
                  <a:close/>
                  <a:moveTo>
                    <a:pt x="3176" y="5238"/>
                  </a:moveTo>
                  <a:lnTo>
                    <a:pt x="3176" y="5238"/>
                  </a:lnTo>
                  <a:lnTo>
                    <a:pt x="3174" y="5234"/>
                  </a:lnTo>
                  <a:lnTo>
                    <a:pt x="3172" y="5234"/>
                  </a:lnTo>
                  <a:lnTo>
                    <a:pt x="3168" y="5234"/>
                  </a:lnTo>
                  <a:lnTo>
                    <a:pt x="3166" y="5238"/>
                  </a:lnTo>
                  <a:lnTo>
                    <a:pt x="3166" y="5240"/>
                  </a:lnTo>
                  <a:lnTo>
                    <a:pt x="3168" y="5240"/>
                  </a:lnTo>
                  <a:lnTo>
                    <a:pt x="3170" y="5242"/>
                  </a:lnTo>
                  <a:lnTo>
                    <a:pt x="3168" y="5246"/>
                  </a:lnTo>
                  <a:lnTo>
                    <a:pt x="3160" y="5248"/>
                  </a:lnTo>
                  <a:lnTo>
                    <a:pt x="3156" y="5252"/>
                  </a:lnTo>
                  <a:lnTo>
                    <a:pt x="3156" y="5256"/>
                  </a:lnTo>
                  <a:lnTo>
                    <a:pt x="3156" y="5258"/>
                  </a:lnTo>
                  <a:lnTo>
                    <a:pt x="3152" y="5260"/>
                  </a:lnTo>
                  <a:lnTo>
                    <a:pt x="3148" y="5260"/>
                  </a:lnTo>
                  <a:lnTo>
                    <a:pt x="3146" y="5260"/>
                  </a:lnTo>
                  <a:lnTo>
                    <a:pt x="3142" y="5256"/>
                  </a:lnTo>
                  <a:lnTo>
                    <a:pt x="3136" y="5252"/>
                  </a:lnTo>
                  <a:lnTo>
                    <a:pt x="3134" y="5250"/>
                  </a:lnTo>
                  <a:lnTo>
                    <a:pt x="3132" y="5252"/>
                  </a:lnTo>
                  <a:lnTo>
                    <a:pt x="3128" y="5254"/>
                  </a:lnTo>
                  <a:lnTo>
                    <a:pt x="3124" y="5254"/>
                  </a:lnTo>
                  <a:lnTo>
                    <a:pt x="3120" y="5254"/>
                  </a:lnTo>
                  <a:lnTo>
                    <a:pt x="3116" y="5256"/>
                  </a:lnTo>
                  <a:lnTo>
                    <a:pt x="3114" y="5258"/>
                  </a:lnTo>
                  <a:lnTo>
                    <a:pt x="3112" y="5256"/>
                  </a:lnTo>
                  <a:lnTo>
                    <a:pt x="3106" y="5254"/>
                  </a:lnTo>
                  <a:lnTo>
                    <a:pt x="3100" y="5250"/>
                  </a:lnTo>
                  <a:lnTo>
                    <a:pt x="3092" y="5246"/>
                  </a:lnTo>
                  <a:lnTo>
                    <a:pt x="3076" y="5242"/>
                  </a:lnTo>
                  <a:lnTo>
                    <a:pt x="3068" y="5242"/>
                  </a:lnTo>
                  <a:lnTo>
                    <a:pt x="3064" y="5242"/>
                  </a:lnTo>
                  <a:lnTo>
                    <a:pt x="3060" y="5246"/>
                  </a:lnTo>
                  <a:lnTo>
                    <a:pt x="3056" y="5250"/>
                  </a:lnTo>
                  <a:lnTo>
                    <a:pt x="3050" y="5252"/>
                  </a:lnTo>
                  <a:lnTo>
                    <a:pt x="3048" y="5256"/>
                  </a:lnTo>
                  <a:lnTo>
                    <a:pt x="3048" y="5262"/>
                  </a:lnTo>
                  <a:lnTo>
                    <a:pt x="3050" y="5270"/>
                  </a:lnTo>
                  <a:lnTo>
                    <a:pt x="3050" y="5272"/>
                  </a:lnTo>
                  <a:lnTo>
                    <a:pt x="3052" y="5272"/>
                  </a:lnTo>
                  <a:lnTo>
                    <a:pt x="3056" y="5270"/>
                  </a:lnTo>
                  <a:lnTo>
                    <a:pt x="3062" y="5268"/>
                  </a:lnTo>
                  <a:lnTo>
                    <a:pt x="3078" y="5270"/>
                  </a:lnTo>
                  <a:lnTo>
                    <a:pt x="3086" y="5272"/>
                  </a:lnTo>
                  <a:lnTo>
                    <a:pt x="3092" y="5274"/>
                  </a:lnTo>
                  <a:lnTo>
                    <a:pt x="3096" y="5278"/>
                  </a:lnTo>
                  <a:lnTo>
                    <a:pt x="3098" y="5276"/>
                  </a:lnTo>
                  <a:lnTo>
                    <a:pt x="3102" y="5274"/>
                  </a:lnTo>
                  <a:lnTo>
                    <a:pt x="3106" y="5274"/>
                  </a:lnTo>
                  <a:lnTo>
                    <a:pt x="3108" y="5274"/>
                  </a:lnTo>
                  <a:lnTo>
                    <a:pt x="3110" y="5272"/>
                  </a:lnTo>
                  <a:lnTo>
                    <a:pt x="3112" y="5270"/>
                  </a:lnTo>
                  <a:lnTo>
                    <a:pt x="3120" y="5272"/>
                  </a:lnTo>
                  <a:lnTo>
                    <a:pt x="3124" y="5272"/>
                  </a:lnTo>
                  <a:lnTo>
                    <a:pt x="3128" y="5272"/>
                  </a:lnTo>
                  <a:lnTo>
                    <a:pt x="3134" y="5270"/>
                  </a:lnTo>
                  <a:lnTo>
                    <a:pt x="3138" y="5268"/>
                  </a:lnTo>
                  <a:lnTo>
                    <a:pt x="3142" y="5266"/>
                  </a:lnTo>
                  <a:lnTo>
                    <a:pt x="3150" y="5266"/>
                  </a:lnTo>
                  <a:lnTo>
                    <a:pt x="3158" y="5264"/>
                  </a:lnTo>
                  <a:lnTo>
                    <a:pt x="3166" y="5260"/>
                  </a:lnTo>
                  <a:lnTo>
                    <a:pt x="3168" y="5258"/>
                  </a:lnTo>
                  <a:lnTo>
                    <a:pt x="3170" y="5254"/>
                  </a:lnTo>
                  <a:lnTo>
                    <a:pt x="3170" y="5252"/>
                  </a:lnTo>
                  <a:lnTo>
                    <a:pt x="3174" y="5248"/>
                  </a:lnTo>
                  <a:lnTo>
                    <a:pt x="3176" y="5244"/>
                  </a:lnTo>
                  <a:lnTo>
                    <a:pt x="3176" y="5238"/>
                  </a:lnTo>
                  <a:close/>
                  <a:moveTo>
                    <a:pt x="3042" y="5268"/>
                  </a:moveTo>
                  <a:lnTo>
                    <a:pt x="3042" y="5268"/>
                  </a:lnTo>
                  <a:lnTo>
                    <a:pt x="3044" y="5266"/>
                  </a:lnTo>
                  <a:lnTo>
                    <a:pt x="3046" y="5264"/>
                  </a:lnTo>
                  <a:lnTo>
                    <a:pt x="3044" y="5262"/>
                  </a:lnTo>
                  <a:lnTo>
                    <a:pt x="3042" y="5260"/>
                  </a:lnTo>
                  <a:lnTo>
                    <a:pt x="3040" y="5262"/>
                  </a:lnTo>
                  <a:lnTo>
                    <a:pt x="3040" y="5266"/>
                  </a:lnTo>
                  <a:lnTo>
                    <a:pt x="3040" y="5268"/>
                  </a:lnTo>
                  <a:lnTo>
                    <a:pt x="3042" y="5268"/>
                  </a:lnTo>
                  <a:close/>
                  <a:moveTo>
                    <a:pt x="3038" y="5258"/>
                  </a:moveTo>
                  <a:lnTo>
                    <a:pt x="3038" y="5258"/>
                  </a:lnTo>
                  <a:lnTo>
                    <a:pt x="3040" y="5256"/>
                  </a:lnTo>
                  <a:lnTo>
                    <a:pt x="3040" y="5254"/>
                  </a:lnTo>
                  <a:lnTo>
                    <a:pt x="3038" y="5252"/>
                  </a:lnTo>
                  <a:lnTo>
                    <a:pt x="3034" y="5250"/>
                  </a:lnTo>
                  <a:lnTo>
                    <a:pt x="3032" y="5250"/>
                  </a:lnTo>
                  <a:lnTo>
                    <a:pt x="3032" y="5252"/>
                  </a:lnTo>
                  <a:lnTo>
                    <a:pt x="3032" y="5258"/>
                  </a:lnTo>
                  <a:lnTo>
                    <a:pt x="3030" y="5262"/>
                  </a:lnTo>
                  <a:lnTo>
                    <a:pt x="3032" y="5266"/>
                  </a:lnTo>
                  <a:lnTo>
                    <a:pt x="3032" y="5264"/>
                  </a:lnTo>
                  <a:lnTo>
                    <a:pt x="3034" y="5260"/>
                  </a:lnTo>
                  <a:lnTo>
                    <a:pt x="3038" y="5258"/>
                  </a:lnTo>
                  <a:close/>
                  <a:moveTo>
                    <a:pt x="2740" y="626"/>
                  </a:moveTo>
                  <a:lnTo>
                    <a:pt x="2740" y="626"/>
                  </a:lnTo>
                  <a:lnTo>
                    <a:pt x="2756" y="630"/>
                  </a:lnTo>
                  <a:lnTo>
                    <a:pt x="2768" y="628"/>
                  </a:lnTo>
                  <a:lnTo>
                    <a:pt x="2778" y="624"/>
                  </a:lnTo>
                  <a:lnTo>
                    <a:pt x="2784" y="618"/>
                  </a:lnTo>
                  <a:lnTo>
                    <a:pt x="2786" y="612"/>
                  </a:lnTo>
                  <a:lnTo>
                    <a:pt x="2786" y="608"/>
                  </a:lnTo>
                  <a:lnTo>
                    <a:pt x="2784" y="604"/>
                  </a:lnTo>
                  <a:lnTo>
                    <a:pt x="2782" y="602"/>
                  </a:lnTo>
                  <a:lnTo>
                    <a:pt x="2776" y="600"/>
                  </a:lnTo>
                  <a:lnTo>
                    <a:pt x="2764" y="598"/>
                  </a:lnTo>
                  <a:lnTo>
                    <a:pt x="2748" y="598"/>
                  </a:lnTo>
                  <a:lnTo>
                    <a:pt x="2736" y="598"/>
                  </a:lnTo>
                  <a:lnTo>
                    <a:pt x="2726" y="600"/>
                  </a:lnTo>
                  <a:lnTo>
                    <a:pt x="2720" y="604"/>
                  </a:lnTo>
                  <a:lnTo>
                    <a:pt x="2716" y="608"/>
                  </a:lnTo>
                  <a:lnTo>
                    <a:pt x="2720" y="614"/>
                  </a:lnTo>
                  <a:lnTo>
                    <a:pt x="2726" y="618"/>
                  </a:lnTo>
                  <a:lnTo>
                    <a:pt x="2740" y="626"/>
                  </a:lnTo>
                  <a:close/>
                  <a:moveTo>
                    <a:pt x="162" y="3354"/>
                  </a:moveTo>
                  <a:lnTo>
                    <a:pt x="162" y="3354"/>
                  </a:lnTo>
                  <a:lnTo>
                    <a:pt x="160" y="3358"/>
                  </a:lnTo>
                  <a:lnTo>
                    <a:pt x="162" y="3364"/>
                  </a:lnTo>
                  <a:lnTo>
                    <a:pt x="164" y="3366"/>
                  </a:lnTo>
                  <a:lnTo>
                    <a:pt x="166" y="3368"/>
                  </a:lnTo>
                  <a:lnTo>
                    <a:pt x="168" y="3366"/>
                  </a:lnTo>
                  <a:lnTo>
                    <a:pt x="168" y="3362"/>
                  </a:lnTo>
                  <a:lnTo>
                    <a:pt x="166" y="3356"/>
                  </a:lnTo>
                  <a:lnTo>
                    <a:pt x="164" y="3352"/>
                  </a:lnTo>
                  <a:lnTo>
                    <a:pt x="162" y="3352"/>
                  </a:lnTo>
                  <a:lnTo>
                    <a:pt x="162" y="3354"/>
                  </a:lnTo>
                  <a:close/>
                  <a:moveTo>
                    <a:pt x="3766" y="1952"/>
                  </a:moveTo>
                  <a:lnTo>
                    <a:pt x="3766" y="1952"/>
                  </a:lnTo>
                  <a:lnTo>
                    <a:pt x="3772" y="1954"/>
                  </a:lnTo>
                  <a:lnTo>
                    <a:pt x="3776" y="1954"/>
                  </a:lnTo>
                  <a:lnTo>
                    <a:pt x="3780" y="1950"/>
                  </a:lnTo>
                  <a:lnTo>
                    <a:pt x="3782" y="1944"/>
                  </a:lnTo>
                  <a:lnTo>
                    <a:pt x="3784" y="1940"/>
                  </a:lnTo>
                  <a:lnTo>
                    <a:pt x="3782" y="1934"/>
                  </a:lnTo>
                  <a:lnTo>
                    <a:pt x="3780" y="1930"/>
                  </a:lnTo>
                  <a:lnTo>
                    <a:pt x="3774" y="1928"/>
                  </a:lnTo>
                  <a:lnTo>
                    <a:pt x="3768" y="1928"/>
                  </a:lnTo>
                  <a:lnTo>
                    <a:pt x="3764" y="1930"/>
                  </a:lnTo>
                  <a:lnTo>
                    <a:pt x="3760" y="1932"/>
                  </a:lnTo>
                  <a:lnTo>
                    <a:pt x="3758" y="1936"/>
                  </a:lnTo>
                  <a:lnTo>
                    <a:pt x="3758" y="1938"/>
                  </a:lnTo>
                  <a:lnTo>
                    <a:pt x="3760" y="1944"/>
                  </a:lnTo>
                  <a:lnTo>
                    <a:pt x="3762" y="1948"/>
                  </a:lnTo>
                  <a:lnTo>
                    <a:pt x="3766" y="1952"/>
                  </a:lnTo>
                  <a:close/>
                  <a:moveTo>
                    <a:pt x="3314" y="2942"/>
                  </a:moveTo>
                  <a:lnTo>
                    <a:pt x="3314" y="2942"/>
                  </a:lnTo>
                  <a:lnTo>
                    <a:pt x="3316" y="2940"/>
                  </a:lnTo>
                  <a:lnTo>
                    <a:pt x="3318" y="2936"/>
                  </a:lnTo>
                  <a:lnTo>
                    <a:pt x="3316" y="2932"/>
                  </a:lnTo>
                  <a:lnTo>
                    <a:pt x="3312" y="2930"/>
                  </a:lnTo>
                  <a:lnTo>
                    <a:pt x="3310" y="2930"/>
                  </a:lnTo>
                  <a:lnTo>
                    <a:pt x="3310" y="2932"/>
                  </a:lnTo>
                  <a:lnTo>
                    <a:pt x="3310" y="2936"/>
                  </a:lnTo>
                  <a:lnTo>
                    <a:pt x="3312" y="2940"/>
                  </a:lnTo>
                  <a:lnTo>
                    <a:pt x="3314" y="2942"/>
                  </a:lnTo>
                  <a:close/>
                  <a:moveTo>
                    <a:pt x="3310" y="2998"/>
                  </a:moveTo>
                  <a:lnTo>
                    <a:pt x="3310" y="2998"/>
                  </a:lnTo>
                  <a:lnTo>
                    <a:pt x="3308" y="2998"/>
                  </a:lnTo>
                  <a:lnTo>
                    <a:pt x="3308" y="3002"/>
                  </a:lnTo>
                  <a:lnTo>
                    <a:pt x="3310" y="3004"/>
                  </a:lnTo>
                  <a:lnTo>
                    <a:pt x="3312" y="3006"/>
                  </a:lnTo>
                  <a:lnTo>
                    <a:pt x="3314" y="3006"/>
                  </a:lnTo>
                  <a:lnTo>
                    <a:pt x="3314" y="3002"/>
                  </a:lnTo>
                  <a:lnTo>
                    <a:pt x="3312" y="2998"/>
                  </a:lnTo>
                  <a:lnTo>
                    <a:pt x="3310" y="2998"/>
                  </a:lnTo>
                  <a:close/>
                  <a:moveTo>
                    <a:pt x="468" y="3506"/>
                  </a:moveTo>
                  <a:lnTo>
                    <a:pt x="468" y="3506"/>
                  </a:lnTo>
                  <a:lnTo>
                    <a:pt x="468" y="3508"/>
                  </a:lnTo>
                  <a:lnTo>
                    <a:pt x="466" y="3510"/>
                  </a:lnTo>
                  <a:lnTo>
                    <a:pt x="458" y="3514"/>
                  </a:lnTo>
                  <a:lnTo>
                    <a:pt x="452" y="3518"/>
                  </a:lnTo>
                  <a:lnTo>
                    <a:pt x="450" y="3520"/>
                  </a:lnTo>
                  <a:lnTo>
                    <a:pt x="450" y="3522"/>
                  </a:lnTo>
                  <a:lnTo>
                    <a:pt x="452" y="3524"/>
                  </a:lnTo>
                  <a:lnTo>
                    <a:pt x="456" y="3524"/>
                  </a:lnTo>
                  <a:lnTo>
                    <a:pt x="464" y="3520"/>
                  </a:lnTo>
                  <a:lnTo>
                    <a:pt x="476" y="3514"/>
                  </a:lnTo>
                  <a:lnTo>
                    <a:pt x="484" y="3504"/>
                  </a:lnTo>
                  <a:lnTo>
                    <a:pt x="486" y="3502"/>
                  </a:lnTo>
                  <a:lnTo>
                    <a:pt x="486" y="3500"/>
                  </a:lnTo>
                  <a:lnTo>
                    <a:pt x="480" y="3502"/>
                  </a:lnTo>
                  <a:lnTo>
                    <a:pt x="468" y="3506"/>
                  </a:lnTo>
                  <a:close/>
                  <a:moveTo>
                    <a:pt x="1966" y="4176"/>
                  </a:moveTo>
                  <a:lnTo>
                    <a:pt x="1966" y="4176"/>
                  </a:lnTo>
                  <a:lnTo>
                    <a:pt x="1964" y="4176"/>
                  </a:lnTo>
                  <a:lnTo>
                    <a:pt x="1960" y="4184"/>
                  </a:lnTo>
                  <a:lnTo>
                    <a:pt x="1958" y="4200"/>
                  </a:lnTo>
                  <a:lnTo>
                    <a:pt x="1956" y="4222"/>
                  </a:lnTo>
                  <a:lnTo>
                    <a:pt x="1954" y="4242"/>
                  </a:lnTo>
                  <a:lnTo>
                    <a:pt x="1952" y="4252"/>
                  </a:lnTo>
                  <a:lnTo>
                    <a:pt x="1950" y="4260"/>
                  </a:lnTo>
                  <a:lnTo>
                    <a:pt x="1952" y="4272"/>
                  </a:lnTo>
                  <a:lnTo>
                    <a:pt x="1954" y="4278"/>
                  </a:lnTo>
                  <a:lnTo>
                    <a:pt x="1956" y="4280"/>
                  </a:lnTo>
                  <a:lnTo>
                    <a:pt x="1958" y="4274"/>
                  </a:lnTo>
                  <a:lnTo>
                    <a:pt x="1962" y="4248"/>
                  </a:lnTo>
                  <a:lnTo>
                    <a:pt x="1962" y="4240"/>
                  </a:lnTo>
                  <a:lnTo>
                    <a:pt x="1962" y="4236"/>
                  </a:lnTo>
                  <a:lnTo>
                    <a:pt x="1962" y="4234"/>
                  </a:lnTo>
                  <a:lnTo>
                    <a:pt x="1964" y="4232"/>
                  </a:lnTo>
                  <a:lnTo>
                    <a:pt x="1966" y="4228"/>
                  </a:lnTo>
                  <a:lnTo>
                    <a:pt x="1966" y="4226"/>
                  </a:lnTo>
                  <a:lnTo>
                    <a:pt x="1964" y="4218"/>
                  </a:lnTo>
                  <a:lnTo>
                    <a:pt x="1964" y="4210"/>
                  </a:lnTo>
                  <a:lnTo>
                    <a:pt x="1964" y="4206"/>
                  </a:lnTo>
                  <a:lnTo>
                    <a:pt x="1964" y="4204"/>
                  </a:lnTo>
                  <a:lnTo>
                    <a:pt x="1968" y="4200"/>
                  </a:lnTo>
                  <a:lnTo>
                    <a:pt x="1970" y="4192"/>
                  </a:lnTo>
                  <a:lnTo>
                    <a:pt x="1970" y="4182"/>
                  </a:lnTo>
                  <a:lnTo>
                    <a:pt x="1966" y="4176"/>
                  </a:lnTo>
                  <a:close/>
                  <a:moveTo>
                    <a:pt x="1508" y="4454"/>
                  </a:moveTo>
                  <a:lnTo>
                    <a:pt x="1508" y="4454"/>
                  </a:lnTo>
                  <a:lnTo>
                    <a:pt x="1504" y="4444"/>
                  </a:lnTo>
                  <a:lnTo>
                    <a:pt x="1498" y="4430"/>
                  </a:lnTo>
                  <a:lnTo>
                    <a:pt x="1492" y="4416"/>
                  </a:lnTo>
                  <a:lnTo>
                    <a:pt x="1484" y="4404"/>
                  </a:lnTo>
                  <a:lnTo>
                    <a:pt x="1478" y="4396"/>
                  </a:lnTo>
                  <a:lnTo>
                    <a:pt x="1474" y="4388"/>
                  </a:lnTo>
                  <a:lnTo>
                    <a:pt x="1472" y="4380"/>
                  </a:lnTo>
                  <a:lnTo>
                    <a:pt x="1464" y="4372"/>
                  </a:lnTo>
                  <a:lnTo>
                    <a:pt x="1456" y="4364"/>
                  </a:lnTo>
                  <a:lnTo>
                    <a:pt x="1448" y="4360"/>
                  </a:lnTo>
                  <a:lnTo>
                    <a:pt x="1442" y="4360"/>
                  </a:lnTo>
                  <a:lnTo>
                    <a:pt x="1438" y="4362"/>
                  </a:lnTo>
                  <a:lnTo>
                    <a:pt x="1438" y="4364"/>
                  </a:lnTo>
                  <a:lnTo>
                    <a:pt x="1440" y="4368"/>
                  </a:lnTo>
                  <a:lnTo>
                    <a:pt x="1444" y="4372"/>
                  </a:lnTo>
                  <a:lnTo>
                    <a:pt x="1446" y="4382"/>
                  </a:lnTo>
                  <a:lnTo>
                    <a:pt x="1446" y="4392"/>
                  </a:lnTo>
                  <a:lnTo>
                    <a:pt x="1444" y="4398"/>
                  </a:lnTo>
                  <a:lnTo>
                    <a:pt x="1440" y="4404"/>
                  </a:lnTo>
                  <a:lnTo>
                    <a:pt x="1440" y="4410"/>
                  </a:lnTo>
                  <a:lnTo>
                    <a:pt x="1440" y="4420"/>
                  </a:lnTo>
                  <a:lnTo>
                    <a:pt x="1438" y="4430"/>
                  </a:lnTo>
                  <a:lnTo>
                    <a:pt x="1436" y="4438"/>
                  </a:lnTo>
                  <a:lnTo>
                    <a:pt x="1436" y="4436"/>
                  </a:lnTo>
                  <a:lnTo>
                    <a:pt x="1434" y="4432"/>
                  </a:lnTo>
                  <a:lnTo>
                    <a:pt x="1432" y="4432"/>
                  </a:lnTo>
                  <a:lnTo>
                    <a:pt x="1430" y="4440"/>
                  </a:lnTo>
                  <a:lnTo>
                    <a:pt x="1432" y="4456"/>
                  </a:lnTo>
                  <a:lnTo>
                    <a:pt x="1434" y="4476"/>
                  </a:lnTo>
                  <a:lnTo>
                    <a:pt x="1434" y="4500"/>
                  </a:lnTo>
                  <a:lnTo>
                    <a:pt x="1436" y="4512"/>
                  </a:lnTo>
                  <a:lnTo>
                    <a:pt x="1438" y="4524"/>
                  </a:lnTo>
                  <a:lnTo>
                    <a:pt x="1442" y="4534"/>
                  </a:lnTo>
                  <a:lnTo>
                    <a:pt x="1450" y="4544"/>
                  </a:lnTo>
                  <a:lnTo>
                    <a:pt x="1458" y="4548"/>
                  </a:lnTo>
                  <a:lnTo>
                    <a:pt x="1464" y="4550"/>
                  </a:lnTo>
                  <a:lnTo>
                    <a:pt x="1470" y="4550"/>
                  </a:lnTo>
                  <a:lnTo>
                    <a:pt x="1476" y="4548"/>
                  </a:lnTo>
                  <a:lnTo>
                    <a:pt x="1488" y="4540"/>
                  </a:lnTo>
                  <a:lnTo>
                    <a:pt x="1502" y="4532"/>
                  </a:lnTo>
                  <a:lnTo>
                    <a:pt x="1508" y="4526"/>
                  </a:lnTo>
                  <a:lnTo>
                    <a:pt x="1512" y="4520"/>
                  </a:lnTo>
                  <a:lnTo>
                    <a:pt x="1516" y="4510"/>
                  </a:lnTo>
                  <a:lnTo>
                    <a:pt x="1518" y="4502"/>
                  </a:lnTo>
                  <a:lnTo>
                    <a:pt x="1518" y="4484"/>
                  </a:lnTo>
                  <a:lnTo>
                    <a:pt x="1516" y="4476"/>
                  </a:lnTo>
                  <a:lnTo>
                    <a:pt x="1514" y="4472"/>
                  </a:lnTo>
                  <a:lnTo>
                    <a:pt x="1512" y="4466"/>
                  </a:lnTo>
                  <a:lnTo>
                    <a:pt x="1512" y="4462"/>
                  </a:lnTo>
                  <a:lnTo>
                    <a:pt x="1510" y="4458"/>
                  </a:lnTo>
                  <a:lnTo>
                    <a:pt x="1508" y="4454"/>
                  </a:lnTo>
                  <a:close/>
                  <a:moveTo>
                    <a:pt x="1946" y="4308"/>
                  </a:moveTo>
                  <a:lnTo>
                    <a:pt x="1946" y="4308"/>
                  </a:lnTo>
                  <a:lnTo>
                    <a:pt x="1942" y="4310"/>
                  </a:lnTo>
                  <a:lnTo>
                    <a:pt x="1940" y="4316"/>
                  </a:lnTo>
                  <a:lnTo>
                    <a:pt x="1940" y="4322"/>
                  </a:lnTo>
                  <a:lnTo>
                    <a:pt x="1942" y="4328"/>
                  </a:lnTo>
                  <a:lnTo>
                    <a:pt x="1944" y="4328"/>
                  </a:lnTo>
                  <a:lnTo>
                    <a:pt x="1946" y="4326"/>
                  </a:lnTo>
                  <a:lnTo>
                    <a:pt x="1948" y="4320"/>
                  </a:lnTo>
                  <a:lnTo>
                    <a:pt x="1950" y="4312"/>
                  </a:lnTo>
                  <a:lnTo>
                    <a:pt x="1948" y="4310"/>
                  </a:lnTo>
                  <a:lnTo>
                    <a:pt x="1946" y="4308"/>
                  </a:lnTo>
                  <a:close/>
                  <a:moveTo>
                    <a:pt x="1996" y="4488"/>
                  </a:moveTo>
                  <a:lnTo>
                    <a:pt x="1996" y="4488"/>
                  </a:lnTo>
                  <a:lnTo>
                    <a:pt x="1994" y="4492"/>
                  </a:lnTo>
                  <a:lnTo>
                    <a:pt x="1994" y="4496"/>
                  </a:lnTo>
                  <a:lnTo>
                    <a:pt x="1994" y="4504"/>
                  </a:lnTo>
                  <a:lnTo>
                    <a:pt x="1998" y="4508"/>
                  </a:lnTo>
                  <a:lnTo>
                    <a:pt x="2000" y="4510"/>
                  </a:lnTo>
                  <a:lnTo>
                    <a:pt x="2002" y="4508"/>
                  </a:lnTo>
                  <a:lnTo>
                    <a:pt x="2004" y="4506"/>
                  </a:lnTo>
                  <a:lnTo>
                    <a:pt x="2004" y="4502"/>
                  </a:lnTo>
                  <a:lnTo>
                    <a:pt x="2004" y="4494"/>
                  </a:lnTo>
                  <a:lnTo>
                    <a:pt x="2000" y="4488"/>
                  </a:lnTo>
                  <a:lnTo>
                    <a:pt x="1998" y="4488"/>
                  </a:lnTo>
                  <a:lnTo>
                    <a:pt x="1996" y="4488"/>
                  </a:lnTo>
                  <a:close/>
                  <a:moveTo>
                    <a:pt x="1980" y="4454"/>
                  </a:moveTo>
                  <a:lnTo>
                    <a:pt x="1980" y="4454"/>
                  </a:lnTo>
                  <a:lnTo>
                    <a:pt x="1982" y="4454"/>
                  </a:lnTo>
                  <a:lnTo>
                    <a:pt x="1984" y="4454"/>
                  </a:lnTo>
                  <a:lnTo>
                    <a:pt x="1982" y="4448"/>
                  </a:lnTo>
                  <a:lnTo>
                    <a:pt x="1980" y="4448"/>
                  </a:lnTo>
                  <a:lnTo>
                    <a:pt x="1978" y="4448"/>
                  </a:lnTo>
                  <a:lnTo>
                    <a:pt x="1978" y="4450"/>
                  </a:lnTo>
                  <a:lnTo>
                    <a:pt x="1980" y="4454"/>
                  </a:lnTo>
                  <a:close/>
                  <a:moveTo>
                    <a:pt x="1954" y="4386"/>
                  </a:moveTo>
                  <a:lnTo>
                    <a:pt x="1954" y="4386"/>
                  </a:lnTo>
                  <a:lnTo>
                    <a:pt x="1952" y="4390"/>
                  </a:lnTo>
                  <a:lnTo>
                    <a:pt x="1952" y="4394"/>
                  </a:lnTo>
                  <a:lnTo>
                    <a:pt x="1954" y="4396"/>
                  </a:lnTo>
                  <a:lnTo>
                    <a:pt x="1958" y="4396"/>
                  </a:lnTo>
                  <a:lnTo>
                    <a:pt x="1960" y="4394"/>
                  </a:lnTo>
                  <a:lnTo>
                    <a:pt x="1958" y="4390"/>
                  </a:lnTo>
                  <a:lnTo>
                    <a:pt x="1958" y="4386"/>
                  </a:lnTo>
                  <a:lnTo>
                    <a:pt x="1956" y="4386"/>
                  </a:lnTo>
                  <a:lnTo>
                    <a:pt x="1954" y="4386"/>
                  </a:lnTo>
                  <a:close/>
                  <a:moveTo>
                    <a:pt x="2078" y="4702"/>
                  </a:moveTo>
                  <a:lnTo>
                    <a:pt x="2078" y="4702"/>
                  </a:lnTo>
                  <a:lnTo>
                    <a:pt x="2078" y="4706"/>
                  </a:lnTo>
                  <a:lnTo>
                    <a:pt x="2080" y="4710"/>
                  </a:lnTo>
                  <a:lnTo>
                    <a:pt x="2084" y="4714"/>
                  </a:lnTo>
                  <a:lnTo>
                    <a:pt x="2090" y="4720"/>
                  </a:lnTo>
                  <a:lnTo>
                    <a:pt x="2102" y="4728"/>
                  </a:lnTo>
                  <a:lnTo>
                    <a:pt x="2106" y="4730"/>
                  </a:lnTo>
                  <a:lnTo>
                    <a:pt x="2106" y="4726"/>
                  </a:lnTo>
                  <a:lnTo>
                    <a:pt x="2102" y="4716"/>
                  </a:lnTo>
                  <a:lnTo>
                    <a:pt x="2094" y="4706"/>
                  </a:lnTo>
                  <a:lnTo>
                    <a:pt x="2084" y="4700"/>
                  </a:lnTo>
                  <a:lnTo>
                    <a:pt x="2080" y="4700"/>
                  </a:lnTo>
                  <a:lnTo>
                    <a:pt x="2078" y="4702"/>
                  </a:lnTo>
                  <a:close/>
                  <a:moveTo>
                    <a:pt x="2508" y="4960"/>
                  </a:moveTo>
                  <a:lnTo>
                    <a:pt x="2508" y="4960"/>
                  </a:lnTo>
                  <a:lnTo>
                    <a:pt x="2502" y="4956"/>
                  </a:lnTo>
                  <a:lnTo>
                    <a:pt x="2500" y="4950"/>
                  </a:lnTo>
                  <a:lnTo>
                    <a:pt x="2496" y="4932"/>
                  </a:lnTo>
                  <a:lnTo>
                    <a:pt x="2494" y="4924"/>
                  </a:lnTo>
                  <a:lnTo>
                    <a:pt x="2490" y="4918"/>
                  </a:lnTo>
                  <a:lnTo>
                    <a:pt x="2484" y="4914"/>
                  </a:lnTo>
                  <a:lnTo>
                    <a:pt x="2476" y="4912"/>
                  </a:lnTo>
                  <a:lnTo>
                    <a:pt x="2466" y="4916"/>
                  </a:lnTo>
                  <a:lnTo>
                    <a:pt x="2464" y="4920"/>
                  </a:lnTo>
                  <a:lnTo>
                    <a:pt x="2464" y="4926"/>
                  </a:lnTo>
                  <a:lnTo>
                    <a:pt x="2462" y="4928"/>
                  </a:lnTo>
                  <a:lnTo>
                    <a:pt x="2460" y="4932"/>
                  </a:lnTo>
                  <a:lnTo>
                    <a:pt x="2456" y="4936"/>
                  </a:lnTo>
                  <a:lnTo>
                    <a:pt x="2454" y="4938"/>
                  </a:lnTo>
                  <a:lnTo>
                    <a:pt x="2454" y="4940"/>
                  </a:lnTo>
                  <a:lnTo>
                    <a:pt x="2456" y="4942"/>
                  </a:lnTo>
                  <a:lnTo>
                    <a:pt x="2464" y="4944"/>
                  </a:lnTo>
                  <a:lnTo>
                    <a:pt x="2474" y="4942"/>
                  </a:lnTo>
                  <a:lnTo>
                    <a:pt x="2478" y="4944"/>
                  </a:lnTo>
                  <a:lnTo>
                    <a:pt x="2480" y="4948"/>
                  </a:lnTo>
                  <a:lnTo>
                    <a:pt x="2484" y="4958"/>
                  </a:lnTo>
                  <a:lnTo>
                    <a:pt x="2488" y="4972"/>
                  </a:lnTo>
                  <a:lnTo>
                    <a:pt x="2490" y="4976"/>
                  </a:lnTo>
                  <a:lnTo>
                    <a:pt x="2494" y="4978"/>
                  </a:lnTo>
                  <a:lnTo>
                    <a:pt x="2502" y="4984"/>
                  </a:lnTo>
                  <a:lnTo>
                    <a:pt x="2508" y="4988"/>
                  </a:lnTo>
                  <a:lnTo>
                    <a:pt x="2512" y="4990"/>
                  </a:lnTo>
                  <a:lnTo>
                    <a:pt x="2516" y="4990"/>
                  </a:lnTo>
                  <a:lnTo>
                    <a:pt x="2518" y="4990"/>
                  </a:lnTo>
                  <a:lnTo>
                    <a:pt x="2520" y="4988"/>
                  </a:lnTo>
                  <a:lnTo>
                    <a:pt x="2518" y="4984"/>
                  </a:lnTo>
                  <a:lnTo>
                    <a:pt x="2516" y="4978"/>
                  </a:lnTo>
                  <a:lnTo>
                    <a:pt x="2514" y="4976"/>
                  </a:lnTo>
                  <a:lnTo>
                    <a:pt x="2516" y="4974"/>
                  </a:lnTo>
                  <a:lnTo>
                    <a:pt x="2518" y="4970"/>
                  </a:lnTo>
                  <a:lnTo>
                    <a:pt x="2518" y="4966"/>
                  </a:lnTo>
                  <a:lnTo>
                    <a:pt x="2514" y="4964"/>
                  </a:lnTo>
                  <a:lnTo>
                    <a:pt x="2508" y="4960"/>
                  </a:lnTo>
                  <a:close/>
                  <a:moveTo>
                    <a:pt x="2428" y="4870"/>
                  </a:moveTo>
                  <a:lnTo>
                    <a:pt x="2428" y="4870"/>
                  </a:lnTo>
                  <a:lnTo>
                    <a:pt x="2432" y="4868"/>
                  </a:lnTo>
                  <a:lnTo>
                    <a:pt x="2434" y="4862"/>
                  </a:lnTo>
                  <a:lnTo>
                    <a:pt x="2434" y="4858"/>
                  </a:lnTo>
                  <a:lnTo>
                    <a:pt x="2432" y="4856"/>
                  </a:lnTo>
                  <a:lnTo>
                    <a:pt x="2430" y="4856"/>
                  </a:lnTo>
                  <a:lnTo>
                    <a:pt x="2426" y="4858"/>
                  </a:lnTo>
                  <a:lnTo>
                    <a:pt x="2424" y="4860"/>
                  </a:lnTo>
                  <a:lnTo>
                    <a:pt x="2420" y="4866"/>
                  </a:lnTo>
                  <a:lnTo>
                    <a:pt x="2420" y="4868"/>
                  </a:lnTo>
                  <a:lnTo>
                    <a:pt x="2420" y="4872"/>
                  </a:lnTo>
                  <a:lnTo>
                    <a:pt x="2424" y="4872"/>
                  </a:lnTo>
                  <a:lnTo>
                    <a:pt x="2428" y="4870"/>
                  </a:lnTo>
                  <a:close/>
                  <a:moveTo>
                    <a:pt x="2450" y="4852"/>
                  </a:moveTo>
                  <a:lnTo>
                    <a:pt x="2450" y="4852"/>
                  </a:lnTo>
                  <a:lnTo>
                    <a:pt x="2444" y="4848"/>
                  </a:lnTo>
                  <a:lnTo>
                    <a:pt x="2434" y="4840"/>
                  </a:lnTo>
                  <a:lnTo>
                    <a:pt x="2430" y="4836"/>
                  </a:lnTo>
                  <a:lnTo>
                    <a:pt x="2428" y="4838"/>
                  </a:lnTo>
                  <a:lnTo>
                    <a:pt x="2428" y="4846"/>
                  </a:lnTo>
                  <a:lnTo>
                    <a:pt x="2430" y="4848"/>
                  </a:lnTo>
                  <a:lnTo>
                    <a:pt x="2432" y="4850"/>
                  </a:lnTo>
                  <a:lnTo>
                    <a:pt x="2438" y="4854"/>
                  </a:lnTo>
                  <a:lnTo>
                    <a:pt x="2446" y="4854"/>
                  </a:lnTo>
                  <a:lnTo>
                    <a:pt x="2450" y="4852"/>
                  </a:lnTo>
                  <a:close/>
                  <a:moveTo>
                    <a:pt x="2378" y="4806"/>
                  </a:moveTo>
                  <a:lnTo>
                    <a:pt x="2378" y="4806"/>
                  </a:lnTo>
                  <a:lnTo>
                    <a:pt x="2376" y="4806"/>
                  </a:lnTo>
                  <a:lnTo>
                    <a:pt x="2376" y="4810"/>
                  </a:lnTo>
                  <a:lnTo>
                    <a:pt x="2376" y="4812"/>
                  </a:lnTo>
                  <a:lnTo>
                    <a:pt x="2378" y="4814"/>
                  </a:lnTo>
                  <a:lnTo>
                    <a:pt x="2382" y="4814"/>
                  </a:lnTo>
                  <a:lnTo>
                    <a:pt x="2382" y="4810"/>
                  </a:lnTo>
                  <a:lnTo>
                    <a:pt x="2380" y="4806"/>
                  </a:lnTo>
                  <a:lnTo>
                    <a:pt x="2378" y="4806"/>
                  </a:lnTo>
                  <a:close/>
                  <a:moveTo>
                    <a:pt x="2422" y="4774"/>
                  </a:moveTo>
                  <a:lnTo>
                    <a:pt x="2422" y="4774"/>
                  </a:lnTo>
                  <a:lnTo>
                    <a:pt x="2414" y="4778"/>
                  </a:lnTo>
                  <a:lnTo>
                    <a:pt x="2412" y="4782"/>
                  </a:lnTo>
                  <a:lnTo>
                    <a:pt x="2410" y="4784"/>
                  </a:lnTo>
                  <a:lnTo>
                    <a:pt x="2406" y="4788"/>
                  </a:lnTo>
                  <a:lnTo>
                    <a:pt x="2406" y="4790"/>
                  </a:lnTo>
                  <a:lnTo>
                    <a:pt x="2410" y="4792"/>
                  </a:lnTo>
                  <a:lnTo>
                    <a:pt x="2414" y="4790"/>
                  </a:lnTo>
                  <a:lnTo>
                    <a:pt x="2420" y="4796"/>
                  </a:lnTo>
                  <a:lnTo>
                    <a:pt x="2416" y="4796"/>
                  </a:lnTo>
                  <a:lnTo>
                    <a:pt x="2414" y="4796"/>
                  </a:lnTo>
                  <a:lnTo>
                    <a:pt x="2414" y="4798"/>
                  </a:lnTo>
                  <a:lnTo>
                    <a:pt x="2414" y="4800"/>
                  </a:lnTo>
                  <a:lnTo>
                    <a:pt x="2418" y="4804"/>
                  </a:lnTo>
                  <a:lnTo>
                    <a:pt x="2420" y="4804"/>
                  </a:lnTo>
                  <a:lnTo>
                    <a:pt x="2422" y="4802"/>
                  </a:lnTo>
                  <a:lnTo>
                    <a:pt x="2420" y="4798"/>
                  </a:lnTo>
                  <a:lnTo>
                    <a:pt x="2432" y="4808"/>
                  </a:lnTo>
                  <a:lnTo>
                    <a:pt x="2436" y="4808"/>
                  </a:lnTo>
                  <a:lnTo>
                    <a:pt x="2438" y="4804"/>
                  </a:lnTo>
                  <a:lnTo>
                    <a:pt x="2438" y="4798"/>
                  </a:lnTo>
                  <a:lnTo>
                    <a:pt x="2438" y="4790"/>
                  </a:lnTo>
                  <a:lnTo>
                    <a:pt x="2436" y="4782"/>
                  </a:lnTo>
                  <a:lnTo>
                    <a:pt x="2434" y="4776"/>
                  </a:lnTo>
                  <a:lnTo>
                    <a:pt x="2428" y="4774"/>
                  </a:lnTo>
                  <a:lnTo>
                    <a:pt x="2422" y="4774"/>
                  </a:lnTo>
                  <a:close/>
                  <a:moveTo>
                    <a:pt x="2384" y="4796"/>
                  </a:moveTo>
                  <a:lnTo>
                    <a:pt x="2384" y="4796"/>
                  </a:lnTo>
                  <a:lnTo>
                    <a:pt x="2384" y="4798"/>
                  </a:lnTo>
                  <a:lnTo>
                    <a:pt x="2384" y="4802"/>
                  </a:lnTo>
                  <a:lnTo>
                    <a:pt x="2386" y="4806"/>
                  </a:lnTo>
                  <a:lnTo>
                    <a:pt x="2390" y="4806"/>
                  </a:lnTo>
                  <a:lnTo>
                    <a:pt x="2392" y="4806"/>
                  </a:lnTo>
                  <a:lnTo>
                    <a:pt x="2390" y="4802"/>
                  </a:lnTo>
                  <a:lnTo>
                    <a:pt x="2388" y="4798"/>
                  </a:lnTo>
                  <a:lnTo>
                    <a:pt x="2384" y="4796"/>
                  </a:lnTo>
                  <a:close/>
                  <a:moveTo>
                    <a:pt x="2578" y="4662"/>
                  </a:moveTo>
                  <a:lnTo>
                    <a:pt x="2578" y="4662"/>
                  </a:lnTo>
                  <a:lnTo>
                    <a:pt x="2580" y="4662"/>
                  </a:lnTo>
                  <a:lnTo>
                    <a:pt x="2584" y="4660"/>
                  </a:lnTo>
                  <a:lnTo>
                    <a:pt x="2584" y="4650"/>
                  </a:lnTo>
                  <a:lnTo>
                    <a:pt x="2584" y="4640"/>
                  </a:lnTo>
                  <a:lnTo>
                    <a:pt x="2582" y="4634"/>
                  </a:lnTo>
                  <a:lnTo>
                    <a:pt x="2578" y="4634"/>
                  </a:lnTo>
                  <a:lnTo>
                    <a:pt x="2574" y="4640"/>
                  </a:lnTo>
                  <a:lnTo>
                    <a:pt x="2570" y="4646"/>
                  </a:lnTo>
                  <a:lnTo>
                    <a:pt x="2572" y="4650"/>
                  </a:lnTo>
                  <a:lnTo>
                    <a:pt x="2574" y="4652"/>
                  </a:lnTo>
                  <a:lnTo>
                    <a:pt x="2578" y="4656"/>
                  </a:lnTo>
                  <a:lnTo>
                    <a:pt x="2576" y="4658"/>
                  </a:lnTo>
                  <a:lnTo>
                    <a:pt x="2574" y="4660"/>
                  </a:lnTo>
                  <a:lnTo>
                    <a:pt x="2578" y="4662"/>
                  </a:lnTo>
                  <a:close/>
                  <a:moveTo>
                    <a:pt x="2136" y="4766"/>
                  </a:moveTo>
                  <a:lnTo>
                    <a:pt x="2136" y="4766"/>
                  </a:lnTo>
                  <a:lnTo>
                    <a:pt x="2134" y="4768"/>
                  </a:lnTo>
                  <a:lnTo>
                    <a:pt x="2134" y="4772"/>
                  </a:lnTo>
                  <a:lnTo>
                    <a:pt x="2138" y="4782"/>
                  </a:lnTo>
                  <a:lnTo>
                    <a:pt x="2154" y="4806"/>
                  </a:lnTo>
                  <a:lnTo>
                    <a:pt x="2158" y="4812"/>
                  </a:lnTo>
                  <a:lnTo>
                    <a:pt x="2162" y="4812"/>
                  </a:lnTo>
                  <a:lnTo>
                    <a:pt x="2164" y="4810"/>
                  </a:lnTo>
                  <a:lnTo>
                    <a:pt x="2166" y="4806"/>
                  </a:lnTo>
                  <a:lnTo>
                    <a:pt x="2166" y="4794"/>
                  </a:lnTo>
                  <a:lnTo>
                    <a:pt x="2164" y="4790"/>
                  </a:lnTo>
                  <a:lnTo>
                    <a:pt x="2160" y="4786"/>
                  </a:lnTo>
                  <a:lnTo>
                    <a:pt x="2154" y="4780"/>
                  </a:lnTo>
                  <a:lnTo>
                    <a:pt x="2150" y="4772"/>
                  </a:lnTo>
                  <a:lnTo>
                    <a:pt x="2144" y="4768"/>
                  </a:lnTo>
                  <a:lnTo>
                    <a:pt x="2140" y="4766"/>
                  </a:lnTo>
                  <a:lnTo>
                    <a:pt x="2136" y="4766"/>
                  </a:lnTo>
                  <a:close/>
                  <a:moveTo>
                    <a:pt x="2832" y="5258"/>
                  </a:moveTo>
                  <a:lnTo>
                    <a:pt x="2832" y="5258"/>
                  </a:lnTo>
                  <a:lnTo>
                    <a:pt x="2828" y="5254"/>
                  </a:lnTo>
                  <a:lnTo>
                    <a:pt x="2828" y="5248"/>
                  </a:lnTo>
                  <a:lnTo>
                    <a:pt x="2832" y="5234"/>
                  </a:lnTo>
                  <a:lnTo>
                    <a:pt x="2832" y="5226"/>
                  </a:lnTo>
                  <a:lnTo>
                    <a:pt x="2832" y="5220"/>
                  </a:lnTo>
                  <a:lnTo>
                    <a:pt x="2828" y="5214"/>
                  </a:lnTo>
                  <a:lnTo>
                    <a:pt x="2820" y="5212"/>
                  </a:lnTo>
                  <a:lnTo>
                    <a:pt x="2808" y="5212"/>
                  </a:lnTo>
                  <a:lnTo>
                    <a:pt x="2798" y="5214"/>
                  </a:lnTo>
                  <a:lnTo>
                    <a:pt x="2786" y="5216"/>
                  </a:lnTo>
                  <a:lnTo>
                    <a:pt x="2780" y="5216"/>
                  </a:lnTo>
                  <a:lnTo>
                    <a:pt x="2772" y="5212"/>
                  </a:lnTo>
                  <a:lnTo>
                    <a:pt x="2762" y="5208"/>
                  </a:lnTo>
                  <a:lnTo>
                    <a:pt x="2762" y="5206"/>
                  </a:lnTo>
                  <a:lnTo>
                    <a:pt x="2762" y="5204"/>
                  </a:lnTo>
                  <a:lnTo>
                    <a:pt x="2762" y="5196"/>
                  </a:lnTo>
                  <a:lnTo>
                    <a:pt x="2762" y="5190"/>
                  </a:lnTo>
                  <a:lnTo>
                    <a:pt x="2758" y="5184"/>
                  </a:lnTo>
                  <a:lnTo>
                    <a:pt x="2754" y="5178"/>
                  </a:lnTo>
                  <a:lnTo>
                    <a:pt x="2752" y="5174"/>
                  </a:lnTo>
                  <a:lnTo>
                    <a:pt x="2748" y="5174"/>
                  </a:lnTo>
                  <a:lnTo>
                    <a:pt x="2746" y="5176"/>
                  </a:lnTo>
                  <a:lnTo>
                    <a:pt x="2740" y="5178"/>
                  </a:lnTo>
                  <a:lnTo>
                    <a:pt x="2738" y="5178"/>
                  </a:lnTo>
                  <a:lnTo>
                    <a:pt x="2734" y="5174"/>
                  </a:lnTo>
                  <a:lnTo>
                    <a:pt x="2730" y="5168"/>
                  </a:lnTo>
                  <a:lnTo>
                    <a:pt x="2728" y="5170"/>
                  </a:lnTo>
                  <a:lnTo>
                    <a:pt x="2726" y="5170"/>
                  </a:lnTo>
                  <a:lnTo>
                    <a:pt x="2720" y="5166"/>
                  </a:lnTo>
                  <a:lnTo>
                    <a:pt x="2718" y="5164"/>
                  </a:lnTo>
                  <a:lnTo>
                    <a:pt x="2714" y="5162"/>
                  </a:lnTo>
                  <a:lnTo>
                    <a:pt x="2708" y="5164"/>
                  </a:lnTo>
                  <a:lnTo>
                    <a:pt x="2704" y="5166"/>
                  </a:lnTo>
                  <a:lnTo>
                    <a:pt x="2700" y="5166"/>
                  </a:lnTo>
                  <a:lnTo>
                    <a:pt x="2698" y="5162"/>
                  </a:lnTo>
                  <a:lnTo>
                    <a:pt x="2694" y="5154"/>
                  </a:lnTo>
                  <a:lnTo>
                    <a:pt x="2692" y="5150"/>
                  </a:lnTo>
                  <a:lnTo>
                    <a:pt x="2688" y="5148"/>
                  </a:lnTo>
                  <a:lnTo>
                    <a:pt x="2686" y="5150"/>
                  </a:lnTo>
                  <a:lnTo>
                    <a:pt x="2682" y="5152"/>
                  </a:lnTo>
                  <a:lnTo>
                    <a:pt x="2680" y="5156"/>
                  </a:lnTo>
                  <a:lnTo>
                    <a:pt x="2676" y="5166"/>
                  </a:lnTo>
                  <a:lnTo>
                    <a:pt x="2670" y="5178"/>
                  </a:lnTo>
                  <a:lnTo>
                    <a:pt x="2668" y="5180"/>
                  </a:lnTo>
                  <a:lnTo>
                    <a:pt x="2666" y="5180"/>
                  </a:lnTo>
                  <a:lnTo>
                    <a:pt x="2660" y="5176"/>
                  </a:lnTo>
                  <a:lnTo>
                    <a:pt x="2654" y="5174"/>
                  </a:lnTo>
                  <a:lnTo>
                    <a:pt x="2646" y="5172"/>
                  </a:lnTo>
                  <a:lnTo>
                    <a:pt x="2634" y="5174"/>
                  </a:lnTo>
                  <a:lnTo>
                    <a:pt x="2630" y="5174"/>
                  </a:lnTo>
                  <a:lnTo>
                    <a:pt x="2626" y="5176"/>
                  </a:lnTo>
                  <a:lnTo>
                    <a:pt x="2620" y="5174"/>
                  </a:lnTo>
                  <a:lnTo>
                    <a:pt x="2612" y="5172"/>
                  </a:lnTo>
                  <a:lnTo>
                    <a:pt x="2604" y="5172"/>
                  </a:lnTo>
                  <a:lnTo>
                    <a:pt x="2600" y="5170"/>
                  </a:lnTo>
                  <a:lnTo>
                    <a:pt x="2596" y="5168"/>
                  </a:lnTo>
                  <a:lnTo>
                    <a:pt x="2594" y="5162"/>
                  </a:lnTo>
                  <a:lnTo>
                    <a:pt x="2590" y="5154"/>
                  </a:lnTo>
                  <a:lnTo>
                    <a:pt x="2588" y="5148"/>
                  </a:lnTo>
                  <a:lnTo>
                    <a:pt x="2586" y="5144"/>
                  </a:lnTo>
                  <a:lnTo>
                    <a:pt x="2584" y="5144"/>
                  </a:lnTo>
                  <a:lnTo>
                    <a:pt x="2582" y="5144"/>
                  </a:lnTo>
                  <a:lnTo>
                    <a:pt x="2576" y="5146"/>
                  </a:lnTo>
                  <a:lnTo>
                    <a:pt x="2574" y="5146"/>
                  </a:lnTo>
                  <a:lnTo>
                    <a:pt x="2570" y="5142"/>
                  </a:lnTo>
                  <a:lnTo>
                    <a:pt x="2566" y="5140"/>
                  </a:lnTo>
                  <a:lnTo>
                    <a:pt x="2564" y="5140"/>
                  </a:lnTo>
                  <a:lnTo>
                    <a:pt x="2558" y="5140"/>
                  </a:lnTo>
                  <a:lnTo>
                    <a:pt x="2554" y="5142"/>
                  </a:lnTo>
                  <a:lnTo>
                    <a:pt x="2552" y="5140"/>
                  </a:lnTo>
                  <a:lnTo>
                    <a:pt x="2550" y="5138"/>
                  </a:lnTo>
                  <a:lnTo>
                    <a:pt x="2544" y="5132"/>
                  </a:lnTo>
                  <a:lnTo>
                    <a:pt x="2538" y="5128"/>
                  </a:lnTo>
                  <a:lnTo>
                    <a:pt x="2532" y="5128"/>
                  </a:lnTo>
                  <a:lnTo>
                    <a:pt x="2530" y="5130"/>
                  </a:lnTo>
                  <a:lnTo>
                    <a:pt x="2530" y="5132"/>
                  </a:lnTo>
                  <a:lnTo>
                    <a:pt x="2528" y="5136"/>
                  </a:lnTo>
                  <a:lnTo>
                    <a:pt x="2526" y="5136"/>
                  </a:lnTo>
                  <a:lnTo>
                    <a:pt x="2520" y="5136"/>
                  </a:lnTo>
                  <a:lnTo>
                    <a:pt x="2512" y="5132"/>
                  </a:lnTo>
                  <a:lnTo>
                    <a:pt x="2498" y="5130"/>
                  </a:lnTo>
                  <a:lnTo>
                    <a:pt x="2492" y="5130"/>
                  </a:lnTo>
                  <a:lnTo>
                    <a:pt x="2488" y="5132"/>
                  </a:lnTo>
                  <a:lnTo>
                    <a:pt x="2486" y="5136"/>
                  </a:lnTo>
                  <a:lnTo>
                    <a:pt x="2484" y="5140"/>
                  </a:lnTo>
                  <a:lnTo>
                    <a:pt x="2482" y="5150"/>
                  </a:lnTo>
                  <a:lnTo>
                    <a:pt x="2480" y="5152"/>
                  </a:lnTo>
                  <a:lnTo>
                    <a:pt x="2478" y="5154"/>
                  </a:lnTo>
                  <a:lnTo>
                    <a:pt x="2474" y="5156"/>
                  </a:lnTo>
                  <a:lnTo>
                    <a:pt x="2472" y="5160"/>
                  </a:lnTo>
                  <a:lnTo>
                    <a:pt x="2472" y="5164"/>
                  </a:lnTo>
                  <a:lnTo>
                    <a:pt x="2464" y="5164"/>
                  </a:lnTo>
                  <a:lnTo>
                    <a:pt x="2460" y="5166"/>
                  </a:lnTo>
                  <a:lnTo>
                    <a:pt x="2458" y="5168"/>
                  </a:lnTo>
                  <a:lnTo>
                    <a:pt x="2460" y="5172"/>
                  </a:lnTo>
                  <a:lnTo>
                    <a:pt x="2464" y="5174"/>
                  </a:lnTo>
                  <a:lnTo>
                    <a:pt x="2474" y="5174"/>
                  </a:lnTo>
                  <a:lnTo>
                    <a:pt x="2482" y="5174"/>
                  </a:lnTo>
                  <a:lnTo>
                    <a:pt x="2490" y="5174"/>
                  </a:lnTo>
                  <a:lnTo>
                    <a:pt x="2494" y="5174"/>
                  </a:lnTo>
                  <a:lnTo>
                    <a:pt x="2496" y="5178"/>
                  </a:lnTo>
                  <a:lnTo>
                    <a:pt x="2500" y="5180"/>
                  </a:lnTo>
                  <a:lnTo>
                    <a:pt x="2504" y="5180"/>
                  </a:lnTo>
                  <a:lnTo>
                    <a:pt x="2510" y="5180"/>
                  </a:lnTo>
                  <a:lnTo>
                    <a:pt x="2512" y="5180"/>
                  </a:lnTo>
                  <a:lnTo>
                    <a:pt x="2508" y="5188"/>
                  </a:lnTo>
                  <a:lnTo>
                    <a:pt x="2506" y="5194"/>
                  </a:lnTo>
                  <a:lnTo>
                    <a:pt x="2508" y="5198"/>
                  </a:lnTo>
                  <a:lnTo>
                    <a:pt x="2510" y="5200"/>
                  </a:lnTo>
                  <a:lnTo>
                    <a:pt x="2516" y="5200"/>
                  </a:lnTo>
                  <a:lnTo>
                    <a:pt x="2536" y="5204"/>
                  </a:lnTo>
                  <a:lnTo>
                    <a:pt x="2550" y="5210"/>
                  </a:lnTo>
                  <a:lnTo>
                    <a:pt x="2570" y="5218"/>
                  </a:lnTo>
                  <a:lnTo>
                    <a:pt x="2576" y="5220"/>
                  </a:lnTo>
                  <a:lnTo>
                    <a:pt x="2584" y="5220"/>
                  </a:lnTo>
                  <a:lnTo>
                    <a:pt x="2588" y="5220"/>
                  </a:lnTo>
                  <a:lnTo>
                    <a:pt x="2594" y="5218"/>
                  </a:lnTo>
                  <a:lnTo>
                    <a:pt x="2602" y="5214"/>
                  </a:lnTo>
                  <a:lnTo>
                    <a:pt x="2606" y="5214"/>
                  </a:lnTo>
                  <a:lnTo>
                    <a:pt x="2608" y="5214"/>
                  </a:lnTo>
                  <a:lnTo>
                    <a:pt x="2614" y="5218"/>
                  </a:lnTo>
                  <a:lnTo>
                    <a:pt x="2620" y="5216"/>
                  </a:lnTo>
                  <a:lnTo>
                    <a:pt x="2628" y="5216"/>
                  </a:lnTo>
                  <a:lnTo>
                    <a:pt x="2642" y="5218"/>
                  </a:lnTo>
                  <a:lnTo>
                    <a:pt x="2648" y="5220"/>
                  </a:lnTo>
                  <a:lnTo>
                    <a:pt x="2654" y="5224"/>
                  </a:lnTo>
                  <a:lnTo>
                    <a:pt x="2662" y="5230"/>
                  </a:lnTo>
                  <a:lnTo>
                    <a:pt x="2668" y="5234"/>
                  </a:lnTo>
                  <a:lnTo>
                    <a:pt x="2676" y="5238"/>
                  </a:lnTo>
                  <a:lnTo>
                    <a:pt x="2690" y="5242"/>
                  </a:lnTo>
                  <a:lnTo>
                    <a:pt x="2706" y="5246"/>
                  </a:lnTo>
                  <a:lnTo>
                    <a:pt x="2722" y="5248"/>
                  </a:lnTo>
                  <a:lnTo>
                    <a:pt x="2726" y="5246"/>
                  </a:lnTo>
                  <a:lnTo>
                    <a:pt x="2728" y="5244"/>
                  </a:lnTo>
                  <a:lnTo>
                    <a:pt x="2732" y="5244"/>
                  </a:lnTo>
                  <a:lnTo>
                    <a:pt x="2752" y="5248"/>
                  </a:lnTo>
                  <a:lnTo>
                    <a:pt x="2764" y="5250"/>
                  </a:lnTo>
                  <a:lnTo>
                    <a:pt x="2770" y="5248"/>
                  </a:lnTo>
                  <a:lnTo>
                    <a:pt x="2772" y="5246"/>
                  </a:lnTo>
                  <a:lnTo>
                    <a:pt x="2774" y="5244"/>
                  </a:lnTo>
                  <a:lnTo>
                    <a:pt x="2774" y="5242"/>
                  </a:lnTo>
                  <a:lnTo>
                    <a:pt x="2776" y="5242"/>
                  </a:lnTo>
                  <a:lnTo>
                    <a:pt x="2794" y="5250"/>
                  </a:lnTo>
                  <a:lnTo>
                    <a:pt x="2806" y="5256"/>
                  </a:lnTo>
                  <a:lnTo>
                    <a:pt x="2814" y="5258"/>
                  </a:lnTo>
                  <a:lnTo>
                    <a:pt x="2820" y="5260"/>
                  </a:lnTo>
                  <a:lnTo>
                    <a:pt x="2828" y="5264"/>
                  </a:lnTo>
                  <a:lnTo>
                    <a:pt x="2834" y="5268"/>
                  </a:lnTo>
                  <a:lnTo>
                    <a:pt x="2836" y="5268"/>
                  </a:lnTo>
                  <a:lnTo>
                    <a:pt x="2836" y="5266"/>
                  </a:lnTo>
                  <a:lnTo>
                    <a:pt x="2836" y="5262"/>
                  </a:lnTo>
                  <a:lnTo>
                    <a:pt x="2832" y="5258"/>
                  </a:lnTo>
                  <a:close/>
                  <a:moveTo>
                    <a:pt x="2398" y="4778"/>
                  </a:moveTo>
                  <a:lnTo>
                    <a:pt x="2398" y="4778"/>
                  </a:lnTo>
                  <a:lnTo>
                    <a:pt x="2400" y="4780"/>
                  </a:lnTo>
                  <a:lnTo>
                    <a:pt x="2402" y="4780"/>
                  </a:lnTo>
                  <a:lnTo>
                    <a:pt x="2406" y="4780"/>
                  </a:lnTo>
                  <a:lnTo>
                    <a:pt x="2410" y="4776"/>
                  </a:lnTo>
                  <a:lnTo>
                    <a:pt x="2410" y="4774"/>
                  </a:lnTo>
                  <a:lnTo>
                    <a:pt x="2408" y="4772"/>
                  </a:lnTo>
                  <a:lnTo>
                    <a:pt x="2402" y="4772"/>
                  </a:lnTo>
                  <a:lnTo>
                    <a:pt x="2398" y="4774"/>
                  </a:lnTo>
                  <a:lnTo>
                    <a:pt x="2398" y="4776"/>
                  </a:lnTo>
                  <a:lnTo>
                    <a:pt x="2398" y="4778"/>
                  </a:lnTo>
                  <a:close/>
                  <a:moveTo>
                    <a:pt x="2330" y="4760"/>
                  </a:moveTo>
                  <a:lnTo>
                    <a:pt x="2330" y="4760"/>
                  </a:lnTo>
                  <a:lnTo>
                    <a:pt x="2330" y="4762"/>
                  </a:lnTo>
                  <a:lnTo>
                    <a:pt x="2332" y="4764"/>
                  </a:lnTo>
                  <a:lnTo>
                    <a:pt x="2340" y="4770"/>
                  </a:lnTo>
                  <a:lnTo>
                    <a:pt x="2348" y="4774"/>
                  </a:lnTo>
                  <a:lnTo>
                    <a:pt x="2350" y="4774"/>
                  </a:lnTo>
                  <a:lnTo>
                    <a:pt x="2350" y="4770"/>
                  </a:lnTo>
                  <a:lnTo>
                    <a:pt x="2350" y="4768"/>
                  </a:lnTo>
                  <a:lnTo>
                    <a:pt x="2346" y="4764"/>
                  </a:lnTo>
                  <a:lnTo>
                    <a:pt x="2340" y="4760"/>
                  </a:lnTo>
                  <a:lnTo>
                    <a:pt x="2334" y="4758"/>
                  </a:lnTo>
                  <a:lnTo>
                    <a:pt x="2332" y="4758"/>
                  </a:lnTo>
                  <a:lnTo>
                    <a:pt x="2330" y="4760"/>
                  </a:lnTo>
                  <a:close/>
                  <a:moveTo>
                    <a:pt x="2230" y="4942"/>
                  </a:moveTo>
                  <a:lnTo>
                    <a:pt x="2230" y="4942"/>
                  </a:lnTo>
                  <a:lnTo>
                    <a:pt x="2230" y="4944"/>
                  </a:lnTo>
                  <a:lnTo>
                    <a:pt x="2230" y="4946"/>
                  </a:lnTo>
                  <a:lnTo>
                    <a:pt x="2234" y="4952"/>
                  </a:lnTo>
                  <a:lnTo>
                    <a:pt x="2238" y="4956"/>
                  </a:lnTo>
                  <a:lnTo>
                    <a:pt x="2242" y="4956"/>
                  </a:lnTo>
                  <a:lnTo>
                    <a:pt x="2244" y="4954"/>
                  </a:lnTo>
                  <a:lnTo>
                    <a:pt x="2244" y="4952"/>
                  </a:lnTo>
                  <a:lnTo>
                    <a:pt x="2244" y="4950"/>
                  </a:lnTo>
                  <a:lnTo>
                    <a:pt x="2240" y="4944"/>
                  </a:lnTo>
                  <a:lnTo>
                    <a:pt x="2236" y="4940"/>
                  </a:lnTo>
                  <a:lnTo>
                    <a:pt x="2232" y="4940"/>
                  </a:lnTo>
                  <a:lnTo>
                    <a:pt x="2230" y="4942"/>
                  </a:lnTo>
                  <a:close/>
                  <a:moveTo>
                    <a:pt x="2194" y="4886"/>
                  </a:moveTo>
                  <a:lnTo>
                    <a:pt x="2194" y="4886"/>
                  </a:lnTo>
                  <a:lnTo>
                    <a:pt x="2192" y="4890"/>
                  </a:lnTo>
                  <a:lnTo>
                    <a:pt x="2192" y="4896"/>
                  </a:lnTo>
                  <a:lnTo>
                    <a:pt x="2194" y="4904"/>
                  </a:lnTo>
                  <a:lnTo>
                    <a:pt x="2198" y="4910"/>
                  </a:lnTo>
                  <a:lnTo>
                    <a:pt x="2208" y="4920"/>
                  </a:lnTo>
                  <a:lnTo>
                    <a:pt x="2214" y="4924"/>
                  </a:lnTo>
                  <a:lnTo>
                    <a:pt x="2218" y="4924"/>
                  </a:lnTo>
                  <a:lnTo>
                    <a:pt x="2220" y="4920"/>
                  </a:lnTo>
                  <a:lnTo>
                    <a:pt x="2220" y="4914"/>
                  </a:lnTo>
                  <a:lnTo>
                    <a:pt x="2214" y="4900"/>
                  </a:lnTo>
                  <a:lnTo>
                    <a:pt x="2210" y="4894"/>
                  </a:lnTo>
                  <a:lnTo>
                    <a:pt x="2204" y="4888"/>
                  </a:lnTo>
                  <a:lnTo>
                    <a:pt x="2200" y="4886"/>
                  </a:lnTo>
                  <a:lnTo>
                    <a:pt x="2194" y="4886"/>
                  </a:lnTo>
                  <a:close/>
                  <a:moveTo>
                    <a:pt x="2182" y="4866"/>
                  </a:moveTo>
                  <a:lnTo>
                    <a:pt x="2182" y="4866"/>
                  </a:lnTo>
                  <a:lnTo>
                    <a:pt x="2184" y="4868"/>
                  </a:lnTo>
                  <a:lnTo>
                    <a:pt x="2186" y="4866"/>
                  </a:lnTo>
                  <a:lnTo>
                    <a:pt x="2188" y="4862"/>
                  </a:lnTo>
                  <a:lnTo>
                    <a:pt x="2188" y="4856"/>
                  </a:lnTo>
                  <a:lnTo>
                    <a:pt x="2186" y="4850"/>
                  </a:lnTo>
                  <a:lnTo>
                    <a:pt x="2184" y="4850"/>
                  </a:lnTo>
                  <a:lnTo>
                    <a:pt x="2182" y="4850"/>
                  </a:lnTo>
                  <a:lnTo>
                    <a:pt x="2180" y="4854"/>
                  </a:lnTo>
                  <a:lnTo>
                    <a:pt x="2180" y="4860"/>
                  </a:lnTo>
                  <a:lnTo>
                    <a:pt x="2180" y="4864"/>
                  </a:lnTo>
                  <a:lnTo>
                    <a:pt x="2182" y="4866"/>
                  </a:lnTo>
                  <a:close/>
                  <a:moveTo>
                    <a:pt x="2248" y="4964"/>
                  </a:moveTo>
                  <a:lnTo>
                    <a:pt x="2248" y="4964"/>
                  </a:lnTo>
                  <a:lnTo>
                    <a:pt x="2246" y="4968"/>
                  </a:lnTo>
                  <a:lnTo>
                    <a:pt x="2246" y="4974"/>
                  </a:lnTo>
                  <a:lnTo>
                    <a:pt x="2248" y="4976"/>
                  </a:lnTo>
                  <a:lnTo>
                    <a:pt x="2252" y="4978"/>
                  </a:lnTo>
                  <a:lnTo>
                    <a:pt x="2254" y="4978"/>
                  </a:lnTo>
                  <a:lnTo>
                    <a:pt x="2256" y="4980"/>
                  </a:lnTo>
                  <a:lnTo>
                    <a:pt x="2260" y="4990"/>
                  </a:lnTo>
                  <a:lnTo>
                    <a:pt x="2262" y="4996"/>
                  </a:lnTo>
                  <a:lnTo>
                    <a:pt x="2264" y="4996"/>
                  </a:lnTo>
                  <a:lnTo>
                    <a:pt x="2266" y="4994"/>
                  </a:lnTo>
                  <a:lnTo>
                    <a:pt x="2266" y="4990"/>
                  </a:lnTo>
                  <a:lnTo>
                    <a:pt x="2266" y="4984"/>
                  </a:lnTo>
                  <a:lnTo>
                    <a:pt x="2260" y="4974"/>
                  </a:lnTo>
                  <a:lnTo>
                    <a:pt x="2254" y="4964"/>
                  </a:lnTo>
                  <a:lnTo>
                    <a:pt x="2250" y="4964"/>
                  </a:lnTo>
                  <a:lnTo>
                    <a:pt x="2248" y="4964"/>
                  </a:lnTo>
                  <a:close/>
                  <a:moveTo>
                    <a:pt x="2354" y="4788"/>
                  </a:moveTo>
                  <a:lnTo>
                    <a:pt x="2354" y="4788"/>
                  </a:lnTo>
                  <a:lnTo>
                    <a:pt x="2352" y="4784"/>
                  </a:lnTo>
                  <a:lnTo>
                    <a:pt x="2350" y="4792"/>
                  </a:lnTo>
                  <a:lnTo>
                    <a:pt x="2348" y="4796"/>
                  </a:lnTo>
                  <a:lnTo>
                    <a:pt x="2348" y="4800"/>
                  </a:lnTo>
                  <a:lnTo>
                    <a:pt x="2352" y="4800"/>
                  </a:lnTo>
                  <a:lnTo>
                    <a:pt x="2358" y="4802"/>
                  </a:lnTo>
                  <a:lnTo>
                    <a:pt x="2364" y="4802"/>
                  </a:lnTo>
                  <a:lnTo>
                    <a:pt x="2370" y="4804"/>
                  </a:lnTo>
                  <a:lnTo>
                    <a:pt x="2372" y="4804"/>
                  </a:lnTo>
                  <a:lnTo>
                    <a:pt x="2372" y="4800"/>
                  </a:lnTo>
                  <a:lnTo>
                    <a:pt x="2372" y="4798"/>
                  </a:lnTo>
                  <a:lnTo>
                    <a:pt x="2370" y="4796"/>
                  </a:lnTo>
                  <a:lnTo>
                    <a:pt x="2364" y="4794"/>
                  </a:lnTo>
                  <a:lnTo>
                    <a:pt x="2358" y="4792"/>
                  </a:lnTo>
                  <a:lnTo>
                    <a:pt x="2354" y="4788"/>
                  </a:lnTo>
                  <a:close/>
                  <a:moveTo>
                    <a:pt x="2484" y="5128"/>
                  </a:moveTo>
                  <a:lnTo>
                    <a:pt x="2484" y="5128"/>
                  </a:lnTo>
                  <a:lnTo>
                    <a:pt x="2486" y="5124"/>
                  </a:lnTo>
                  <a:lnTo>
                    <a:pt x="2486" y="5120"/>
                  </a:lnTo>
                  <a:lnTo>
                    <a:pt x="2488" y="5108"/>
                  </a:lnTo>
                  <a:lnTo>
                    <a:pt x="2486" y="5092"/>
                  </a:lnTo>
                  <a:lnTo>
                    <a:pt x="2488" y="5076"/>
                  </a:lnTo>
                  <a:lnTo>
                    <a:pt x="2488" y="5062"/>
                  </a:lnTo>
                  <a:lnTo>
                    <a:pt x="2486" y="5056"/>
                  </a:lnTo>
                  <a:lnTo>
                    <a:pt x="2484" y="5050"/>
                  </a:lnTo>
                  <a:lnTo>
                    <a:pt x="2486" y="5038"/>
                  </a:lnTo>
                  <a:lnTo>
                    <a:pt x="2488" y="5028"/>
                  </a:lnTo>
                  <a:lnTo>
                    <a:pt x="2488" y="5020"/>
                  </a:lnTo>
                  <a:lnTo>
                    <a:pt x="2486" y="5014"/>
                  </a:lnTo>
                  <a:lnTo>
                    <a:pt x="2492" y="5004"/>
                  </a:lnTo>
                  <a:lnTo>
                    <a:pt x="2494" y="4998"/>
                  </a:lnTo>
                  <a:lnTo>
                    <a:pt x="2496" y="4994"/>
                  </a:lnTo>
                  <a:lnTo>
                    <a:pt x="2494" y="4990"/>
                  </a:lnTo>
                  <a:lnTo>
                    <a:pt x="2492" y="4988"/>
                  </a:lnTo>
                  <a:lnTo>
                    <a:pt x="2486" y="4982"/>
                  </a:lnTo>
                  <a:lnTo>
                    <a:pt x="2482" y="4978"/>
                  </a:lnTo>
                  <a:lnTo>
                    <a:pt x="2480" y="4972"/>
                  </a:lnTo>
                  <a:lnTo>
                    <a:pt x="2476" y="4962"/>
                  </a:lnTo>
                  <a:lnTo>
                    <a:pt x="2472" y="4956"/>
                  </a:lnTo>
                  <a:lnTo>
                    <a:pt x="2468" y="4954"/>
                  </a:lnTo>
                  <a:lnTo>
                    <a:pt x="2460" y="4956"/>
                  </a:lnTo>
                  <a:lnTo>
                    <a:pt x="2456" y="4958"/>
                  </a:lnTo>
                  <a:lnTo>
                    <a:pt x="2452" y="4956"/>
                  </a:lnTo>
                  <a:lnTo>
                    <a:pt x="2450" y="4956"/>
                  </a:lnTo>
                  <a:lnTo>
                    <a:pt x="2446" y="4958"/>
                  </a:lnTo>
                  <a:lnTo>
                    <a:pt x="2440" y="4962"/>
                  </a:lnTo>
                  <a:lnTo>
                    <a:pt x="2442" y="4956"/>
                  </a:lnTo>
                  <a:lnTo>
                    <a:pt x="2446" y="4946"/>
                  </a:lnTo>
                  <a:lnTo>
                    <a:pt x="2446" y="4942"/>
                  </a:lnTo>
                  <a:lnTo>
                    <a:pt x="2442" y="4940"/>
                  </a:lnTo>
                  <a:lnTo>
                    <a:pt x="2438" y="4938"/>
                  </a:lnTo>
                  <a:lnTo>
                    <a:pt x="2436" y="4932"/>
                  </a:lnTo>
                  <a:lnTo>
                    <a:pt x="2430" y="4914"/>
                  </a:lnTo>
                  <a:lnTo>
                    <a:pt x="2428" y="4904"/>
                  </a:lnTo>
                  <a:lnTo>
                    <a:pt x="2426" y="4898"/>
                  </a:lnTo>
                  <a:lnTo>
                    <a:pt x="2422" y="4892"/>
                  </a:lnTo>
                  <a:lnTo>
                    <a:pt x="2420" y="4890"/>
                  </a:lnTo>
                  <a:lnTo>
                    <a:pt x="2416" y="4890"/>
                  </a:lnTo>
                  <a:lnTo>
                    <a:pt x="2410" y="4890"/>
                  </a:lnTo>
                  <a:lnTo>
                    <a:pt x="2404" y="4890"/>
                  </a:lnTo>
                  <a:lnTo>
                    <a:pt x="2394" y="4884"/>
                  </a:lnTo>
                  <a:lnTo>
                    <a:pt x="2390" y="4880"/>
                  </a:lnTo>
                  <a:lnTo>
                    <a:pt x="2388" y="4876"/>
                  </a:lnTo>
                  <a:lnTo>
                    <a:pt x="2388" y="4872"/>
                  </a:lnTo>
                  <a:lnTo>
                    <a:pt x="2388" y="4868"/>
                  </a:lnTo>
                  <a:lnTo>
                    <a:pt x="2390" y="4862"/>
                  </a:lnTo>
                  <a:lnTo>
                    <a:pt x="2392" y="4858"/>
                  </a:lnTo>
                  <a:lnTo>
                    <a:pt x="2390" y="4852"/>
                  </a:lnTo>
                  <a:lnTo>
                    <a:pt x="2390" y="4848"/>
                  </a:lnTo>
                  <a:lnTo>
                    <a:pt x="2392" y="4846"/>
                  </a:lnTo>
                  <a:lnTo>
                    <a:pt x="2396" y="4844"/>
                  </a:lnTo>
                  <a:lnTo>
                    <a:pt x="2400" y="4842"/>
                  </a:lnTo>
                  <a:lnTo>
                    <a:pt x="2402" y="4836"/>
                  </a:lnTo>
                  <a:lnTo>
                    <a:pt x="2402" y="4832"/>
                  </a:lnTo>
                  <a:lnTo>
                    <a:pt x="2400" y="4826"/>
                  </a:lnTo>
                  <a:lnTo>
                    <a:pt x="2396" y="4822"/>
                  </a:lnTo>
                  <a:lnTo>
                    <a:pt x="2392" y="4818"/>
                  </a:lnTo>
                  <a:lnTo>
                    <a:pt x="2386" y="4816"/>
                  </a:lnTo>
                  <a:lnTo>
                    <a:pt x="2380" y="4818"/>
                  </a:lnTo>
                  <a:lnTo>
                    <a:pt x="2376" y="4820"/>
                  </a:lnTo>
                  <a:lnTo>
                    <a:pt x="2374" y="4820"/>
                  </a:lnTo>
                  <a:lnTo>
                    <a:pt x="2372" y="4814"/>
                  </a:lnTo>
                  <a:lnTo>
                    <a:pt x="2372" y="4812"/>
                  </a:lnTo>
                  <a:lnTo>
                    <a:pt x="2368" y="4808"/>
                  </a:lnTo>
                  <a:lnTo>
                    <a:pt x="2364" y="4806"/>
                  </a:lnTo>
                  <a:lnTo>
                    <a:pt x="2356" y="4804"/>
                  </a:lnTo>
                  <a:lnTo>
                    <a:pt x="2348" y="4802"/>
                  </a:lnTo>
                  <a:lnTo>
                    <a:pt x="2342" y="4796"/>
                  </a:lnTo>
                  <a:lnTo>
                    <a:pt x="2340" y="4790"/>
                  </a:lnTo>
                  <a:lnTo>
                    <a:pt x="2338" y="4784"/>
                  </a:lnTo>
                  <a:lnTo>
                    <a:pt x="2336" y="4776"/>
                  </a:lnTo>
                  <a:lnTo>
                    <a:pt x="2332" y="4768"/>
                  </a:lnTo>
                  <a:lnTo>
                    <a:pt x="2324" y="4762"/>
                  </a:lnTo>
                  <a:lnTo>
                    <a:pt x="2314" y="4758"/>
                  </a:lnTo>
                  <a:lnTo>
                    <a:pt x="2308" y="4756"/>
                  </a:lnTo>
                  <a:lnTo>
                    <a:pt x="2304" y="4754"/>
                  </a:lnTo>
                  <a:lnTo>
                    <a:pt x="2302" y="4748"/>
                  </a:lnTo>
                  <a:lnTo>
                    <a:pt x="2300" y="4740"/>
                  </a:lnTo>
                  <a:lnTo>
                    <a:pt x="2298" y="4738"/>
                  </a:lnTo>
                  <a:lnTo>
                    <a:pt x="2296" y="4734"/>
                  </a:lnTo>
                  <a:lnTo>
                    <a:pt x="2288" y="4728"/>
                  </a:lnTo>
                  <a:lnTo>
                    <a:pt x="2284" y="4728"/>
                  </a:lnTo>
                  <a:lnTo>
                    <a:pt x="2282" y="4730"/>
                  </a:lnTo>
                  <a:lnTo>
                    <a:pt x="2282" y="4732"/>
                  </a:lnTo>
                  <a:lnTo>
                    <a:pt x="2282" y="4740"/>
                  </a:lnTo>
                  <a:lnTo>
                    <a:pt x="2282" y="4742"/>
                  </a:lnTo>
                  <a:lnTo>
                    <a:pt x="2280" y="4740"/>
                  </a:lnTo>
                  <a:lnTo>
                    <a:pt x="2274" y="4736"/>
                  </a:lnTo>
                  <a:lnTo>
                    <a:pt x="2270" y="4732"/>
                  </a:lnTo>
                  <a:lnTo>
                    <a:pt x="2266" y="4728"/>
                  </a:lnTo>
                  <a:lnTo>
                    <a:pt x="2262" y="4718"/>
                  </a:lnTo>
                  <a:lnTo>
                    <a:pt x="2258" y="4710"/>
                  </a:lnTo>
                  <a:lnTo>
                    <a:pt x="2254" y="4708"/>
                  </a:lnTo>
                  <a:lnTo>
                    <a:pt x="2252" y="4708"/>
                  </a:lnTo>
                  <a:lnTo>
                    <a:pt x="2248" y="4702"/>
                  </a:lnTo>
                  <a:lnTo>
                    <a:pt x="2242" y="4692"/>
                  </a:lnTo>
                  <a:lnTo>
                    <a:pt x="2234" y="4680"/>
                  </a:lnTo>
                  <a:lnTo>
                    <a:pt x="2222" y="4670"/>
                  </a:lnTo>
                  <a:lnTo>
                    <a:pt x="2214" y="4666"/>
                  </a:lnTo>
                  <a:lnTo>
                    <a:pt x="2208" y="4664"/>
                  </a:lnTo>
                  <a:lnTo>
                    <a:pt x="2204" y="4662"/>
                  </a:lnTo>
                  <a:lnTo>
                    <a:pt x="2200" y="4658"/>
                  </a:lnTo>
                  <a:lnTo>
                    <a:pt x="2196" y="4652"/>
                  </a:lnTo>
                  <a:lnTo>
                    <a:pt x="2192" y="4646"/>
                  </a:lnTo>
                  <a:lnTo>
                    <a:pt x="2190" y="4644"/>
                  </a:lnTo>
                  <a:lnTo>
                    <a:pt x="2186" y="4642"/>
                  </a:lnTo>
                  <a:lnTo>
                    <a:pt x="2182" y="4640"/>
                  </a:lnTo>
                  <a:lnTo>
                    <a:pt x="2180" y="4638"/>
                  </a:lnTo>
                  <a:lnTo>
                    <a:pt x="2180" y="4632"/>
                  </a:lnTo>
                  <a:lnTo>
                    <a:pt x="2178" y="4626"/>
                  </a:lnTo>
                  <a:lnTo>
                    <a:pt x="2176" y="4624"/>
                  </a:lnTo>
                  <a:lnTo>
                    <a:pt x="2174" y="4622"/>
                  </a:lnTo>
                  <a:lnTo>
                    <a:pt x="2170" y="4620"/>
                  </a:lnTo>
                  <a:lnTo>
                    <a:pt x="2168" y="4618"/>
                  </a:lnTo>
                  <a:lnTo>
                    <a:pt x="2166" y="4612"/>
                  </a:lnTo>
                  <a:lnTo>
                    <a:pt x="2166" y="4604"/>
                  </a:lnTo>
                  <a:lnTo>
                    <a:pt x="2162" y="4598"/>
                  </a:lnTo>
                  <a:lnTo>
                    <a:pt x="2158" y="4592"/>
                  </a:lnTo>
                  <a:lnTo>
                    <a:pt x="2150" y="4582"/>
                  </a:lnTo>
                  <a:lnTo>
                    <a:pt x="2146" y="4582"/>
                  </a:lnTo>
                  <a:lnTo>
                    <a:pt x="2146" y="4584"/>
                  </a:lnTo>
                  <a:lnTo>
                    <a:pt x="2142" y="4586"/>
                  </a:lnTo>
                  <a:lnTo>
                    <a:pt x="2138" y="4586"/>
                  </a:lnTo>
                  <a:lnTo>
                    <a:pt x="2134" y="4584"/>
                  </a:lnTo>
                  <a:lnTo>
                    <a:pt x="2130" y="4582"/>
                  </a:lnTo>
                  <a:lnTo>
                    <a:pt x="2128" y="4580"/>
                  </a:lnTo>
                  <a:lnTo>
                    <a:pt x="2122" y="4582"/>
                  </a:lnTo>
                  <a:lnTo>
                    <a:pt x="2114" y="4584"/>
                  </a:lnTo>
                  <a:lnTo>
                    <a:pt x="2108" y="4584"/>
                  </a:lnTo>
                  <a:lnTo>
                    <a:pt x="2098" y="4584"/>
                  </a:lnTo>
                  <a:lnTo>
                    <a:pt x="2088" y="4580"/>
                  </a:lnTo>
                  <a:lnTo>
                    <a:pt x="2086" y="4578"/>
                  </a:lnTo>
                  <a:lnTo>
                    <a:pt x="2084" y="4576"/>
                  </a:lnTo>
                  <a:lnTo>
                    <a:pt x="2082" y="4572"/>
                  </a:lnTo>
                  <a:lnTo>
                    <a:pt x="2078" y="4568"/>
                  </a:lnTo>
                  <a:lnTo>
                    <a:pt x="2070" y="4566"/>
                  </a:lnTo>
                  <a:lnTo>
                    <a:pt x="2062" y="4564"/>
                  </a:lnTo>
                  <a:lnTo>
                    <a:pt x="2058" y="4566"/>
                  </a:lnTo>
                  <a:lnTo>
                    <a:pt x="2056" y="4570"/>
                  </a:lnTo>
                  <a:lnTo>
                    <a:pt x="2056" y="4576"/>
                  </a:lnTo>
                  <a:lnTo>
                    <a:pt x="2058" y="4584"/>
                  </a:lnTo>
                  <a:lnTo>
                    <a:pt x="2060" y="4594"/>
                  </a:lnTo>
                  <a:lnTo>
                    <a:pt x="2070" y="4612"/>
                  </a:lnTo>
                  <a:lnTo>
                    <a:pt x="2080" y="4626"/>
                  </a:lnTo>
                  <a:lnTo>
                    <a:pt x="2086" y="4634"/>
                  </a:lnTo>
                  <a:lnTo>
                    <a:pt x="2094" y="4640"/>
                  </a:lnTo>
                  <a:lnTo>
                    <a:pt x="2102" y="4650"/>
                  </a:lnTo>
                  <a:lnTo>
                    <a:pt x="2104" y="4654"/>
                  </a:lnTo>
                  <a:lnTo>
                    <a:pt x="2108" y="4658"/>
                  </a:lnTo>
                  <a:lnTo>
                    <a:pt x="2114" y="4658"/>
                  </a:lnTo>
                  <a:lnTo>
                    <a:pt x="2116" y="4658"/>
                  </a:lnTo>
                  <a:lnTo>
                    <a:pt x="2120" y="4660"/>
                  </a:lnTo>
                  <a:lnTo>
                    <a:pt x="2124" y="4664"/>
                  </a:lnTo>
                  <a:lnTo>
                    <a:pt x="2130" y="4672"/>
                  </a:lnTo>
                  <a:lnTo>
                    <a:pt x="2138" y="4686"/>
                  </a:lnTo>
                  <a:lnTo>
                    <a:pt x="2138" y="4690"/>
                  </a:lnTo>
                  <a:lnTo>
                    <a:pt x="2138" y="4692"/>
                  </a:lnTo>
                  <a:lnTo>
                    <a:pt x="2146" y="4698"/>
                  </a:lnTo>
                  <a:lnTo>
                    <a:pt x="2152" y="4702"/>
                  </a:lnTo>
                  <a:lnTo>
                    <a:pt x="2154" y="4706"/>
                  </a:lnTo>
                  <a:lnTo>
                    <a:pt x="2154" y="4716"/>
                  </a:lnTo>
                  <a:lnTo>
                    <a:pt x="2156" y="4720"/>
                  </a:lnTo>
                  <a:lnTo>
                    <a:pt x="2158" y="4724"/>
                  </a:lnTo>
                  <a:lnTo>
                    <a:pt x="2162" y="4730"/>
                  </a:lnTo>
                  <a:lnTo>
                    <a:pt x="2172" y="4736"/>
                  </a:lnTo>
                  <a:lnTo>
                    <a:pt x="2182" y="4742"/>
                  </a:lnTo>
                  <a:lnTo>
                    <a:pt x="2192" y="4748"/>
                  </a:lnTo>
                  <a:lnTo>
                    <a:pt x="2198" y="4756"/>
                  </a:lnTo>
                  <a:lnTo>
                    <a:pt x="2200" y="4760"/>
                  </a:lnTo>
                  <a:lnTo>
                    <a:pt x="2200" y="4762"/>
                  </a:lnTo>
                  <a:lnTo>
                    <a:pt x="2198" y="4766"/>
                  </a:lnTo>
                  <a:lnTo>
                    <a:pt x="2198" y="4772"/>
                  </a:lnTo>
                  <a:lnTo>
                    <a:pt x="2206" y="4794"/>
                  </a:lnTo>
                  <a:lnTo>
                    <a:pt x="2214" y="4820"/>
                  </a:lnTo>
                  <a:lnTo>
                    <a:pt x="2218" y="4828"/>
                  </a:lnTo>
                  <a:lnTo>
                    <a:pt x="2226" y="4834"/>
                  </a:lnTo>
                  <a:lnTo>
                    <a:pt x="2234" y="4838"/>
                  </a:lnTo>
                  <a:lnTo>
                    <a:pt x="2236" y="4844"/>
                  </a:lnTo>
                  <a:lnTo>
                    <a:pt x="2240" y="4854"/>
                  </a:lnTo>
                  <a:lnTo>
                    <a:pt x="2254" y="4870"/>
                  </a:lnTo>
                  <a:lnTo>
                    <a:pt x="2260" y="4876"/>
                  </a:lnTo>
                  <a:lnTo>
                    <a:pt x="2262" y="4882"/>
                  </a:lnTo>
                  <a:lnTo>
                    <a:pt x="2264" y="4886"/>
                  </a:lnTo>
                  <a:lnTo>
                    <a:pt x="2264" y="4890"/>
                  </a:lnTo>
                  <a:lnTo>
                    <a:pt x="2262" y="4898"/>
                  </a:lnTo>
                  <a:lnTo>
                    <a:pt x="2264" y="4900"/>
                  </a:lnTo>
                  <a:lnTo>
                    <a:pt x="2266" y="4904"/>
                  </a:lnTo>
                  <a:lnTo>
                    <a:pt x="2274" y="4912"/>
                  </a:lnTo>
                  <a:lnTo>
                    <a:pt x="2278" y="4922"/>
                  </a:lnTo>
                  <a:lnTo>
                    <a:pt x="2282" y="4934"/>
                  </a:lnTo>
                  <a:lnTo>
                    <a:pt x="2284" y="4946"/>
                  </a:lnTo>
                  <a:lnTo>
                    <a:pt x="2290" y="4960"/>
                  </a:lnTo>
                  <a:lnTo>
                    <a:pt x="2300" y="4976"/>
                  </a:lnTo>
                  <a:lnTo>
                    <a:pt x="2312" y="4992"/>
                  </a:lnTo>
                  <a:lnTo>
                    <a:pt x="2326" y="5008"/>
                  </a:lnTo>
                  <a:lnTo>
                    <a:pt x="2336" y="5018"/>
                  </a:lnTo>
                  <a:lnTo>
                    <a:pt x="2342" y="5028"/>
                  </a:lnTo>
                  <a:lnTo>
                    <a:pt x="2350" y="5038"/>
                  </a:lnTo>
                  <a:lnTo>
                    <a:pt x="2364" y="5054"/>
                  </a:lnTo>
                  <a:lnTo>
                    <a:pt x="2380" y="5072"/>
                  </a:lnTo>
                  <a:lnTo>
                    <a:pt x="2394" y="5084"/>
                  </a:lnTo>
                  <a:lnTo>
                    <a:pt x="2404" y="5094"/>
                  </a:lnTo>
                  <a:lnTo>
                    <a:pt x="2416" y="5108"/>
                  </a:lnTo>
                  <a:lnTo>
                    <a:pt x="2426" y="5122"/>
                  </a:lnTo>
                  <a:lnTo>
                    <a:pt x="2434" y="5132"/>
                  </a:lnTo>
                  <a:lnTo>
                    <a:pt x="2436" y="5134"/>
                  </a:lnTo>
                  <a:lnTo>
                    <a:pt x="2438" y="5134"/>
                  </a:lnTo>
                  <a:lnTo>
                    <a:pt x="2434" y="5120"/>
                  </a:lnTo>
                  <a:lnTo>
                    <a:pt x="2434" y="5112"/>
                  </a:lnTo>
                  <a:lnTo>
                    <a:pt x="2434" y="5110"/>
                  </a:lnTo>
                  <a:lnTo>
                    <a:pt x="2438" y="5112"/>
                  </a:lnTo>
                  <a:lnTo>
                    <a:pt x="2444" y="5114"/>
                  </a:lnTo>
                  <a:lnTo>
                    <a:pt x="2450" y="5118"/>
                  </a:lnTo>
                  <a:lnTo>
                    <a:pt x="2454" y="5120"/>
                  </a:lnTo>
                  <a:lnTo>
                    <a:pt x="2458" y="5118"/>
                  </a:lnTo>
                  <a:lnTo>
                    <a:pt x="2460" y="5114"/>
                  </a:lnTo>
                  <a:lnTo>
                    <a:pt x="2462" y="5108"/>
                  </a:lnTo>
                  <a:lnTo>
                    <a:pt x="2464" y="5108"/>
                  </a:lnTo>
                  <a:lnTo>
                    <a:pt x="2470" y="5116"/>
                  </a:lnTo>
                  <a:lnTo>
                    <a:pt x="2476" y="5126"/>
                  </a:lnTo>
                  <a:lnTo>
                    <a:pt x="2480" y="5128"/>
                  </a:lnTo>
                  <a:lnTo>
                    <a:pt x="2484" y="5128"/>
                  </a:lnTo>
                  <a:close/>
                  <a:moveTo>
                    <a:pt x="2344" y="4774"/>
                  </a:moveTo>
                  <a:lnTo>
                    <a:pt x="2344" y="4774"/>
                  </a:lnTo>
                  <a:lnTo>
                    <a:pt x="2340" y="4772"/>
                  </a:lnTo>
                  <a:lnTo>
                    <a:pt x="2338" y="4772"/>
                  </a:lnTo>
                  <a:lnTo>
                    <a:pt x="2338" y="4774"/>
                  </a:lnTo>
                  <a:lnTo>
                    <a:pt x="2338" y="4776"/>
                  </a:lnTo>
                  <a:lnTo>
                    <a:pt x="2340" y="4784"/>
                  </a:lnTo>
                  <a:lnTo>
                    <a:pt x="2344" y="4792"/>
                  </a:lnTo>
                  <a:lnTo>
                    <a:pt x="2346" y="4792"/>
                  </a:lnTo>
                  <a:lnTo>
                    <a:pt x="2348" y="4788"/>
                  </a:lnTo>
                  <a:lnTo>
                    <a:pt x="2348" y="4780"/>
                  </a:lnTo>
                  <a:lnTo>
                    <a:pt x="2346" y="4776"/>
                  </a:lnTo>
                  <a:lnTo>
                    <a:pt x="2344" y="4774"/>
                  </a:lnTo>
                  <a:close/>
                  <a:moveTo>
                    <a:pt x="2374" y="4792"/>
                  </a:moveTo>
                  <a:lnTo>
                    <a:pt x="2374" y="4792"/>
                  </a:lnTo>
                  <a:lnTo>
                    <a:pt x="2372" y="4786"/>
                  </a:lnTo>
                  <a:lnTo>
                    <a:pt x="2366" y="4784"/>
                  </a:lnTo>
                  <a:lnTo>
                    <a:pt x="2360" y="4782"/>
                  </a:lnTo>
                  <a:lnTo>
                    <a:pt x="2358" y="4782"/>
                  </a:lnTo>
                  <a:lnTo>
                    <a:pt x="2358" y="4784"/>
                  </a:lnTo>
                  <a:lnTo>
                    <a:pt x="2358" y="4788"/>
                  </a:lnTo>
                  <a:lnTo>
                    <a:pt x="2364" y="4790"/>
                  </a:lnTo>
                  <a:lnTo>
                    <a:pt x="2372" y="4794"/>
                  </a:lnTo>
                  <a:lnTo>
                    <a:pt x="2374" y="4794"/>
                  </a:lnTo>
                  <a:lnTo>
                    <a:pt x="2374" y="4792"/>
                  </a:lnTo>
                  <a:close/>
                  <a:moveTo>
                    <a:pt x="2316" y="4736"/>
                  </a:moveTo>
                  <a:lnTo>
                    <a:pt x="2316" y="4736"/>
                  </a:lnTo>
                  <a:lnTo>
                    <a:pt x="2312" y="4736"/>
                  </a:lnTo>
                  <a:lnTo>
                    <a:pt x="2310" y="4736"/>
                  </a:lnTo>
                  <a:lnTo>
                    <a:pt x="2306" y="4740"/>
                  </a:lnTo>
                  <a:lnTo>
                    <a:pt x="2306" y="4746"/>
                  </a:lnTo>
                  <a:lnTo>
                    <a:pt x="2308" y="4750"/>
                  </a:lnTo>
                  <a:lnTo>
                    <a:pt x="2310" y="4752"/>
                  </a:lnTo>
                  <a:lnTo>
                    <a:pt x="2312" y="4752"/>
                  </a:lnTo>
                  <a:lnTo>
                    <a:pt x="2314" y="4752"/>
                  </a:lnTo>
                  <a:lnTo>
                    <a:pt x="2318" y="4746"/>
                  </a:lnTo>
                  <a:lnTo>
                    <a:pt x="2318" y="4740"/>
                  </a:lnTo>
                  <a:lnTo>
                    <a:pt x="2318" y="4736"/>
                  </a:lnTo>
                  <a:lnTo>
                    <a:pt x="2316" y="4736"/>
                  </a:lnTo>
                  <a:close/>
                  <a:moveTo>
                    <a:pt x="36" y="5458"/>
                  </a:moveTo>
                  <a:lnTo>
                    <a:pt x="36" y="5458"/>
                  </a:lnTo>
                  <a:lnTo>
                    <a:pt x="32" y="5458"/>
                  </a:lnTo>
                  <a:lnTo>
                    <a:pt x="30" y="5460"/>
                  </a:lnTo>
                  <a:lnTo>
                    <a:pt x="32" y="5464"/>
                  </a:lnTo>
                  <a:lnTo>
                    <a:pt x="36" y="5470"/>
                  </a:lnTo>
                  <a:lnTo>
                    <a:pt x="38" y="5472"/>
                  </a:lnTo>
                  <a:lnTo>
                    <a:pt x="40" y="5472"/>
                  </a:lnTo>
                  <a:lnTo>
                    <a:pt x="40" y="5468"/>
                  </a:lnTo>
                  <a:lnTo>
                    <a:pt x="40" y="5462"/>
                  </a:lnTo>
                  <a:lnTo>
                    <a:pt x="36" y="5458"/>
                  </a:lnTo>
                  <a:close/>
                  <a:moveTo>
                    <a:pt x="2554" y="4992"/>
                  </a:moveTo>
                  <a:lnTo>
                    <a:pt x="2554" y="4992"/>
                  </a:lnTo>
                  <a:lnTo>
                    <a:pt x="2558" y="4998"/>
                  </a:lnTo>
                  <a:lnTo>
                    <a:pt x="2560" y="4998"/>
                  </a:lnTo>
                  <a:lnTo>
                    <a:pt x="2562" y="4996"/>
                  </a:lnTo>
                  <a:lnTo>
                    <a:pt x="2564" y="4994"/>
                  </a:lnTo>
                  <a:lnTo>
                    <a:pt x="2566" y="4994"/>
                  </a:lnTo>
                  <a:lnTo>
                    <a:pt x="2570" y="4994"/>
                  </a:lnTo>
                  <a:lnTo>
                    <a:pt x="2574" y="4994"/>
                  </a:lnTo>
                  <a:lnTo>
                    <a:pt x="2578" y="4988"/>
                  </a:lnTo>
                  <a:lnTo>
                    <a:pt x="2582" y="4980"/>
                  </a:lnTo>
                  <a:lnTo>
                    <a:pt x="2582" y="4976"/>
                  </a:lnTo>
                  <a:lnTo>
                    <a:pt x="2580" y="4974"/>
                  </a:lnTo>
                  <a:lnTo>
                    <a:pt x="2576" y="4968"/>
                  </a:lnTo>
                  <a:lnTo>
                    <a:pt x="2568" y="4964"/>
                  </a:lnTo>
                  <a:lnTo>
                    <a:pt x="2562" y="4962"/>
                  </a:lnTo>
                  <a:lnTo>
                    <a:pt x="2558" y="4964"/>
                  </a:lnTo>
                  <a:lnTo>
                    <a:pt x="2556" y="4968"/>
                  </a:lnTo>
                  <a:lnTo>
                    <a:pt x="2554" y="4972"/>
                  </a:lnTo>
                  <a:lnTo>
                    <a:pt x="2552" y="4982"/>
                  </a:lnTo>
                  <a:lnTo>
                    <a:pt x="2552" y="4988"/>
                  </a:lnTo>
                  <a:lnTo>
                    <a:pt x="2554" y="4992"/>
                  </a:lnTo>
                  <a:close/>
                  <a:moveTo>
                    <a:pt x="8" y="5430"/>
                  </a:moveTo>
                  <a:lnTo>
                    <a:pt x="8" y="5430"/>
                  </a:lnTo>
                  <a:lnTo>
                    <a:pt x="6" y="5434"/>
                  </a:lnTo>
                  <a:lnTo>
                    <a:pt x="6" y="5436"/>
                  </a:lnTo>
                  <a:lnTo>
                    <a:pt x="6" y="5440"/>
                  </a:lnTo>
                  <a:lnTo>
                    <a:pt x="10" y="5444"/>
                  </a:lnTo>
                  <a:lnTo>
                    <a:pt x="14" y="5442"/>
                  </a:lnTo>
                  <a:lnTo>
                    <a:pt x="14" y="5438"/>
                  </a:lnTo>
                  <a:lnTo>
                    <a:pt x="14" y="5434"/>
                  </a:lnTo>
                  <a:lnTo>
                    <a:pt x="12" y="5430"/>
                  </a:lnTo>
                  <a:lnTo>
                    <a:pt x="10" y="5430"/>
                  </a:lnTo>
                  <a:lnTo>
                    <a:pt x="8" y="5430"/>
                  </a:lnTo>
                  <a:close/>
                  <a:moveTo>
                    <a:pt x="3222" y="4178"/>
                  </a:moveTo>
                  <a:lnTo>
                    <a:pt x="3222" y="4178"/>
                  </a:lnTo>
                  <a:lnTo>
                    <a:pt x="3224" y="4178"/>
                  </a:lnTo>
                  <a:lnTo>
                    <a:pt x="3228" y="4176"/>
                  </a:lnTo>
                  <a:lnTo>
                    <a:pt x="3232" y="4172"/>
                  </a:lnTo>
                  <a:lnTo>
                    <a:pt x="3234" y="4166"/>
                  </a:lnTo>
                  <a:lnTo>
                    <a:pt x="3232" y="4162"/>
                  </a:lnTo>
                  <a:lnTo>
                    <a:pt x="3232" y="4160"/>
                  </a:lnTo>
                  <a:lnTo>
                    <a:pt x="3230" y="4160"/>
                  </a:lnTo>
                  <a:lnTo>
                    <a:pt x="3228" y="4156"/>
                  </a:lnTo>
                  <a:lnTo>
                    <a:pt x="3226" y="4152"/>
                  </a:lnTo>
                  <a:lnTo>
                    <a:pt x="3224" y="4150"/>
                  </a:lnTo>
                  <a:lnTo>
                    <a:pt x="3222" y="4154"/>
                  </a:lnTo>
                  <a:lnTo>
                    <a:pt x="3222" y="4160"/>
                  </a:lnTo>
                  <a:lnTo>
                    <a:pt x="3222" y="4168"/>
                  </a:lnTo>
                  <a:lnTo>
                    <a:pt x="3220" y="4172"/>
                  </a:lnTo>
                  <a:lnTo>
                    <a:pt x="3218" y="4174"/>
                  </a:lnTo>
                  <a:lnTo>
                    <a:pt x="3222" y="4178"/>
                  </a:lnTo>
                  <a:close/>
                  <a:moveTo>
                    <a:pt x="3526" y="3176"/>
                  </a:moveTo>
                  <a:lnTo>
                    <a:pt x="3526" y="3176"/>
                  </a:lnTo>
                  <a:lnTo>
                    <a:pt x="3522" y="3176"/>
                  </a:lnTo>
                  <a:lnTo>
                    <a:pt x="3520" y="3174"/>
                  </a:lnTo>
                  <a:lnTo>
                    <a:pt x="3522" y="3168"/>
                  </a:lnTo>
                  <a:lnTo>
                    <a:pt x="3526" y="3162"/>
                  </a:lnTo>
                  <a:lnTo>
                    <a:pt x="3526" y="3158"/>
                  </a:lnTo>
                  <a:lnTo>
                    <a:pt x="3526" y="3154"/>
                  </a:lnTo>
                  <a:lnTo>
                    <a:pt x="3522" y="3152"/>
                  </a:lnTo>
                  <a:lnTo>
                    <a:pt x="3518" y="3152"/>
                  </a:lnTo>
                  <a:lnTo>
                    <a:pt x="3510" y="3156"/>
                  </a:lnTo>
                  <a:lnTo>
                    <a:pt x="3506" y="3156"/>
                  </a:lnTo>
                  <a:lnTo>
                    <a:pt x="3504" y="3156"/>
                  </a:lnTo>
                  <a:lnTo>
                    <a:pt x="3500" y="3154"/>
                  </a:lnTo>
                  <a:lnTo>
                    <a:pt x="3500" y="3148"/>
                  </a:lnTo>
                  <a:lnTo>
                    <a:pt x="3498" y="3146"/>
                  </a:lnTo>
                  <a:lnTo>
                    <a:pt x="3496" y="3142"/>
                  </a:lnTo>
                  <a:lnTo>
                    <a:pt x="3490" y="3140"/>
                  </a:lnTo>
                  <a:lnTo>
                    <a:pt x="3486" y="3140"/>
                  </a:lnTo>
                  <a:lnTo>
                    <a:pt x="3482" y="3140"/>
                  </a:lnTo>
                  <a:lnTo>
                    <a:pt x="3478" y="3144"/>
                  </a:lnTo>
                  <a:lnTo>
                    <a:pt x="3476" y="3148"/>
                  </a:lnTo>
                  <a:lnTo>
                    <a:pt x="3474" y="3154"/>
                  </a:lnTo>
                  <a:lnTo>
                    <a:pt x="3470" y="3154"/>
                  </a:lnTo>
                  <a:lnTo>
                    <a:pt x="3466" y="3154"/>
                  </a:lnTo>
                  <a:lnTo>
                    <a:pt x="3464" y="3160"/>
                  </a:lnTo>
                  <a:lnTo>
                    <a:pt x="3462" y="3164"/>
                  </a:lnTo>
                  <a:lnTo>
                    <a:pt x="3460" y="3164"/>
                  </a:lnTo>
                  <a:lnTo>
                    <a:pt x="3456" y="3160"/>
                  </a:lnTo>
                  <a:lnTo>
                    <a:pt x="3454" y="3158"/>
                  </a:lnTo>
                  <a:lnTo>
                    <a:pt x="3452" y="3164"/>
                  </a:lnTo>
                  <a:lnTo>
                    <a:pt x="3452" y="3168"/>
                  </a:lnTo>
                  <a:lnTo>
                    <a:pt x="3448" y="3170"/>
                  </a:lnTo>
                  <a:lnTo>
                    <a:pt x="3444" y="3168"/>
                  </a:lnTo>
                  <a:lnTo>
                    <a:pt x="3440" y="3168"/>
                  </a:lnTo>
                  <a:lnTo>
                    <a:pt x="3442" y="3174"/>
                  </a:lnTo>
                  <a:lnTo>
                    <a:pt x="3444" y="3182"/>
                  </a:lnTo>
                  <a:lnTo>
                    <a:pt x="3444" y="3186"/>
                  </a:lnTo>
                  <a:lnTo>
                    <a:pt x="3444" y="3190"/>
                  </a:lnTo>
                  <a:lnTo>
                    <a:pt x="3446" y="3196"/>
                  </a:lnTo>
                  <a:lnTo>
                    <a:pt x="3448" y="3200"/>
                  </a:lnTo>
                  <a:lnTo>
                    <a:pt x="3450" y="3204"/>
                  </a:lnTo>
                  <a:lnTo>
                    <a:pt x="3450" y="3210"/>
                  </a:lnTo>
                  <a:lnTo>
                    <a:pt x="3456" y="3204"/>
                  </a:lnTo>
                  <a:lnTo>
                    <a:pt x="3460" y="3202"/>
                  </a:lnTo>
                  <a:lnTo>
                    <a:pt x="3464" y="3200"/>
                  </a:lnTo>
                  <a:lnTo>
                    <a:pt x="3464" y="3202"/>
                  </a:lnTo>
                  <a:lnTo>
                    <a:pt x="3464" y="3204"/>
                  </a:lnTo>
                  <a:lnTo>
                    <a:pt x="3466" y="3208"/>
                  </a:lnTo>
                  <a:lnTo>
                    <a:pt x="3468" y="3208"/>
                  </a:lnTo>
                  <a:lnTo>
                    <a:pt x="3472" y="3206"/>
                  </a:lnTo>
                  <a:lnTo>
                    <a:pt x="3474" y="3204"/>
                  </a:lnTo>
                  <a:lnTo>
                    <a:pt x="3474" y="3200"/>
                  </a:lnTo>
                  <a:lnTo>
                    <a:pt x="3472" y="3198"/>
                  </a:lnTo>
                  <a:lnTo>
                    <a:pt x="3468" y="3194"/>
                  </a:lnTo>
                  <a:lnTo>
                    <a:pt x="3466" y="3192"/>
                  </a:lnTo>
                  <a:lnTo>
                    <a:pt x="3464" y="3188"/>
                  </a:lnTo>
                  <a:lnTo>
                    <a:pt x="3466" y="3182"/>
                  </a:lnTo>
                  <a:lnTo>
                    <a:pt x="3466" y="3180"/>
                  </a:lnTo>
                  <a:lnTo>
                    <a:pt x="3468" y="3180"/>
                  </a:lnTo>
                  <a:lnTo>
                    <a:pt x="3470" y="3182"/>
                  </a:lnTo>
                  <a:lnTo>
                    <a:pt x="3474" y="3186"/>
                  </a:lnTo>
                  <a:lnTo>
                    <a:pt x="3480" y="3196"/>
                  </a:lnTo>
                  <a:lnTo>
                    <a:pt x="3482" y="3208"/>
                  </a:lnTo>
                  <a:lnTo>
                    <a:pt x="3480" y="3218"/>
                  </a:lnTo>
                  <a:lnTo>
                    <a:pt x="3474" y="3228"/>
                  </a:lnTo>
                  <a:lnTo>
                    <a:pt x="3468" y="3236"/>
                  </a:lnTo>
                  <a:lnTo>
                    <a:pt x="3466" y="3242"/>
                  </a:lnTo>
                  <a:lnTo>
                    <a:pt x="3470" y="3258"/>
                  </a:lnTo>
                  <a:lnTo>
                    <a:pt x="3470" y="3266"/>
                  </a:lnTo>
                  <a:lnTo>
                    <a:pt x="3468" y="3270"/>
                  </a:lnTo>
                  <a:lnTo>
                    <a:pt x="3466" y="3274"/>
                  </a:lnTo>
                  <a:lnTo>
                    <a:pt x="3466" y="3276"/>
                  </a:lnTo>
                  <a:lnTo>
                    <a:pt x="3476" y="3280"/>
                  </a:lnTo>
                  <a:lnTo>
                    <a:pt x="3482" y="3282"/>
                  </a:lnTo>
                  <a:lnTo>
                    <a:pt x="3486" y="3286"/>
                  </a:lnTo>
                  <a:lnTo>
                    <a:pt x="3486" y="3290"/>
                  </a:lnTo>
                  <a:lnTo>
                    <a:pt x="3486" y="3292"/>
                  </a:lnTo>
                  <a:lnTo>
                    <a:pt x="3488" y="3292"/>
                  </a:lnTo>
                  <a:lnTo>
                    <a:pt x="3496" y="3288"/>
                  </a:lnTo>
                  <a:lnTo>
                    <a:pt x="3500" y="3284"/>
                  </a:lnTo>
                  <a:lnTo>
                    <a:pt x="3502" y="3280"/>
                  </a:lnTo>
                  <a:lnTo>
                    <a:pt x="3502" y="3278"/>
                  </a:lnTo>
                  <a:lnTo>
                    <a:pt x="3502" y="3276"/>
                  </a:lnTo>
                  <a:lnTo>
                    <a:pt x="3500" y="3272"/>
                  </a:lnTo>
                  <a:lnTo>
                    <a:pt x="3502" y="3270"/>
                  </a:lnTo>
                  <a:lnTo>
                    <a:pt x="3506" y="3268"/>
                  </a:lnTo>
                  <a:lnTo>
                    <a:pt x="3508" y="3270"/>
                  </a:lnTo>
                  <a:lnTo>
                    <a:pt x="3510" y="3274"/>
                  </a:lnTo>
                  <a:lnTo>
                    <a:pt x="3514" y="3272"/>
                  </a:lnTo>
                  <a:lnTo>
                    <a:pt x="3516" y="3268"/>
                  </a:lnTo>
                  <a:lnTo>
                    <a:pt x="3518" y="3260"/>
                  </a:lnTo>
                  <a:lnTo>
                    <a:pt x="3522" y="3236"/>
                  </a:lnTo>
                  <a:lnTo>
                    <a:pt x="3528" y="3212"/>
                  </a:lnTo>
                  <a:lnTo>
                    <a:pt x="3532" y="3202"/>
                  </a:lnTo>
                  <a:lnTo>
                    <a:pt x="3534" y="3200"/>
                  </a:lnTo>
                  <a:lnTo>
                    <a:pt x="3538" y="3198"/>
                  </a:lnTo>
                  <a:lnTo>
                    <a:pt x="3540" y="3196"/>
                  </a:lnTo>
                  <a:lnTo>
                    <a:pt x="3542" y="3194"/>
                  </a:lnTo>
                  <a:lnTo>
                    <a:pt x="3540" y="3186"/>
                  </a:lnTo>
                  <a:lnTo>
                    <a:pt x="3534" y="3180"/>
                  </a:lnTo>
                  <a:lnTo>
                    <a:pt x="3530" y="3178"/>
                  </a:lnTo>
                  <a:lnTo>
                    <a:pt x="3526" y="3176"/>
                  </a:lnTo>
                  <a:close/>
                  <a:moveTo>
                    <a:pt x="3432" y="3438"/>
                  </a:moveTo>
                  <a:lnTo>
                    <a:pt x="3432" y="3438"/>
                  </a:lnTo>
                  <a:lnTo>
                    <a:pt x="3432" y="3442"/>
                  </a:lnTo>
                  <a:lnTo>
                    <a:pt x="3434" y="3442"/>
                  </a:lnTo>
                  <a:lnTo>
                    <a:pt x="3440" y="3436"/>
                  </a:lnTo>
                  <a:lnTo>
                    <a:pt x="3446" y="3428"/>
                  </a:lnTo>
                  <a:lnTo>
                    <a:pt x="3448" y="3424"/>
                  </a:lnTo>
                  <a:lnTo>
                    <a:pt x="3448" y="3422"/>
                  </a:lnTo>
                  <a:lnTo>
                    <a:pt x="3444" y="3422"/>
                  </a:lnTo>
                  <a:lnTo>
                    <a:pt x="3438" y="3424"/>
                  </a:lnTo>
                  <a:lnTo>
                    <a:pt x="3434" y="3430"/>
                  </a:lnTo>
                  <a:lnTo>
                    <a:pt x="3432" y="3434"/>
                  </a:lnTo>
                  <a:lnTo>
                    <a:pt x="3432" y="3438"/>
                  </a:lnTo>
                  <a:close/>
                  <a:moveTo>
                    <a:pt x="3434" y="3100"/>
                  </a:moveTo>
                  <a:lnTo>
                    <a:pt x="3434" y="3100"/>
                  </a:lnTo>
                  <a:lnTo>
                    <a:pt x="3432" y="3102"/>
                  </a:lnTo>
                  <a:lnTo>
                    <a:pt x="3430" y="3106"/>
                  </a:lnTo>
                  <a:lnTo>
                    <a:pt x="3430" y="3110"/>
                  </a:lnTo>
                  <a:lnTo>
                    <a:pt x="3428" y="3116"/>
                  </a:lnTo>
                  <a:lnTo>
                    <a:pt x="3426" y="3126"/>
                  </a:lnTo>
                  <a:lnTo>
                    <a:pt x="3426" y="3130"/>
                  </a:lnTo>
                  <a:lnTo>
                    <a:pt x="3428" y="3128"/>
                  </a:lnTo>
                  <a:lnTo>
                    <a:pt x="3430" y="3124"/>
                  </a:lnTo>
                  <a:lnTo>
                    <a:pt x="3432" y="3120"/>
                  </a:lnTo>
                  <a:lnTo>
                    <a:pt x="3434" y="3114"/>
                  </a:lnTo>
                  <a:lnTo>
                    <a:pt x="3436" y="3110"/>
                  </a:lnTo>
                  <a:lnTo>
                    <a:pt x="3438" y="3104"/>
                  </a:lnTo>
                  <a:lnTo>
                    <a:pt x="3438" y="3100"/>
                  </a:lnTo>
                  <a:lnTo>
                    <a:pt x="3436" y="3100"/>
                  </a:lnTo>
                  <a:lnTo>
                    <a:pt x="3434" y="3100"/>
                  </a:lnTo>
                  <a:close/>
                  <a:moveTo>
                    <a:pt x="4106" y="2564"/>
                  </a:moveTo>
                  <a:lnTo>
                    <a:pt x="4106" y="2564"/>
                  </a:lnTo>
                  <a:lnTo>
                    <a:pt x="4098" y="2576"/>
                  </a:lnTo>
                  <a:lnTo>
                    <a:pt x="4088" y="2586"/>
                  </a:lnTo>
                  <a:lnTo>
                    <a:pt x="4084" y="2594"/>
                  </a:lnTo>
                  <a:lnTo>
                    <a:pt x="4082" y="2598"/>
                  </a:lnTo>
                  <a:lnTo>
                    <a:pt x="4084" y="2604"/>
                  </a:lnTo>
                  <a:lnTo>
                    <a:pt x="4086" y="2604"/>
                  </a:lnTo>
                  <a:lnTo>
                    <a:pt x="4088" y="2602"/>
                  </a:lnTo>
                  <a:lnTo>
                    <a:pt x="4094" y="2592"/>
                  </a:lnTo>
                  <a:lnTo>
                    <a:pt x="4098" y="2586"/>
                  </a:lnTo>
                  <a:lnTo>
                    <a:pt x="4104" y="2580"/>
                  </a:lnTo>
                  <a:lnTo>
                    <a:pt x="4112" y="2574"/>
                  </a:lnTo>
                  <a:lnTo>
                    <a:pt x="4122" y="2570"/>
                  </a:lnTo>
                  <a:lnTo>
                    <a:pt x="4126" y="2568"/>
                  </a:lnTo>
                  <a:lnTo>
                    <a:pt x="4126" y="2566"/>
                  </a:lnTo>
                  <a:lnTo>
                    <a:pt x="4120" y="2562"/>
                  </a:lnTo>
                  <a:lnTo>
                    <a:pt x="4112" y="2562"/>
                  </a:lnTo>
                  <a:lnTo>
                    <a:pt x="4108" y="2562"/>
                  </a:lnTo>
                  <a:lnTo>
                    <a:pt x="4106" y="2564"/>
                  </a:lnTo>
                  <a:close/>
                  <a:moveTo>
                    <a:pt x="3472" y="4884"/>
                  </a:moveTo>
                  <a:lnTo>
                    <a:pt x="3472" y="4884"/>
                  </a:lnTo>
                  <a:lnTo>
                    <a:pt x="3474" y="4884"/>
                  </a:lnTo>
                  <a:lnTo>
                    <a:pt x="3476" y="4884"/>
                  </a:lnTo>
                  <a:lnTo>
                    <a:pt x="3484" y="4882"/>
                  </a:lnTo>
                  <a:lnTo>
                    <a:pt x="3488" y="4880"/>
                  </a:lnTo>
                  <a:lnTo>
                    <a:pt x="3490" y="4878"/>
                  </a:lnTo>
                  <a:lnTo>
                    <a:pt x="3488" y="4878"/>
                  </a:lnTo>
                  <a:lnTo>
                    <a:pt x="3478" y="4878"/>
                  </a:lnTo>
                  <a:lnTo>
                    <a:pt x="3472" y="4880"/>
                  </a:lnTo>
                  <a:lnTo>
                    <a:pt x="3472" y="4882"/>
                  </a:lnTo>
                  <a:lnTo>
                    <a:pt x="3472" y="4884"/>
                  </a:lnTo>
                  <a:close/>
                  <a:moveTo>
                    <a:pt x="3468" y="3214"/>
                  </a:moveTo>
                  <a:lnTo>
                    <a:pt x="3468" y="3214"/>
                  </a:lnTo>
                  <a:lnTo>
                    <a:pt x="3468" y="3212"/>
                  </a:lnTo>
                  <a:lnTo>
                    <a:pt x="3466" y="3212"/>
                  </a:lnTo>
                  <a:lnTo>
                    <a:pt x="3462" y="3212"/>
                  </a:lnTo>
                  <a:lnTo>
                    <a:pt x="3460" y="3218"/>
                  </a:lnTo>
                  <a:lnTo>
                    <a:pt x="3460" y="3224"/>
                  </a:lnTo>
                  <a:lnTo>
                    <a:pt x="3460" y="3226"/>
                  </a:lnTo>
                  <a:lnTo>
                    <a:pt x="3462" y="3226"/>
                  </a:lnTo>
                  <a:lnTo>
                    <a:pt x="3464" y="3224"/>
                  </a:lnTo>
                  <a:lnTo>
                    <a:pt x="3468" y="3220"/>
                  </a:lnTo>
                  <a:lnTo>
                    <a:pt x="3468" y="3214"/>
                  </a:lnTo>
                  <a:close/>
                  <a:moveTo>
                    <a:pt x="3482" y="3322"/>
                  </a:moveTo>
                  <a:lnTo>
                    <a:pt x="3482" y="3322"/>
                  </a:lnTo>
                  <a:lnTo>
                    <a:pt x="3478" y="3322"/>
                  </a:lnTo>
                  <a:lnTo>
                    <a:pt x="3476" y="3326"/>
                  </a:lnTo>
                  <a:lnTo>
                    <a:pt x="3478" y="3330"/>
                  </a:lnTo>
                  <a:lnTo>
                    <a:pt x="3482" y="3332"/>
                  </a:lnTo>
                  <a:lnTo>
                    <a:pt x="3486" y="3332"/>
                  </a:lnTo>
                  <a:lnTo>
                    <a:pt x="3486" y="3328"/>
                  </a:lnTo>
                  <a:lnTo>
                    <a:pt x="3484" y="3324"/>
                  </a:lnTo>
                  <a:lnTo>
                    <a:pt x="3482" y="3322"/>
                  </a:lnTo>
                  <a:close/>
                  <a:moveTo>
                    <a:pt x="3652" y="3124"/>
                  </a:moveTo>
                  <a:lnTo>
                    <a:pt x="3652" y="3124"/>
                  </a:lnTo>
                  <a:lnTo>
                    <a:pt x="3654" y="3126"/>
                  </a:lnTo>
                  <a:lnTo>
                    <a:pt x="3656" y="3124"/>
                  </a:lnTo>
                  <a:lnTo>
                    <a:pt x="3658" y="3118"/>
                  </a:lnTo>
                  <a:lnTo>
                    <a:pt x="3662" y="3112"/>
                  </a:lnTo>
                  <a:lnTo>
                    <a:pt x="3662" y="3106"/>
                  </a:lnTo>
                  <a:lnTo>
                    <a:pt x="3662" y="3104"/>
                  </a:lnTo>
                  <a:lnTo>
                    <a:pt x="3660" y="3104"/>
                  </a:lnTo>
                  <a:lnTo>
                    <a:pt x="3656" y="3110"/>
                  </a:lnTo>
                  <a:lnTo>
                    <a:pt x="3652" y="3116"/>
                  </a:lnTo>
                  <a:lnTo>
                    <a:pt x="3652" y="3120"/>
                  </a:lnTo>
                  <a:lnTo>
                    <a:pt x="3652" y="3124"/>
                  </a:lnTo>
                  <a:close/>
                  <a:moveTo>
                    <a:pt x="3482" y="4890"/>
                  </a:moveTo>
                  <a:lnTo>
                    <a:pt x="3482" y="4890"/>
                  </a:lnTo>
                  <a:lnTo>
                    <a:pt x="3486" y="4896"/>
                  </a:lnTo>
                  <a:lnTo>
                    <a:pt x="3492" y="4904"/>
                  </a:lnTo>
                  <a:lnTo>
                    <a:pt x="3494" y="4904"/>
                  </a:lnTo>
                  <a:lnTo>
                    <a:pt x="3498" y="4898"/>
                  </a:lnTo>
                  <a:lnTo>
                    <a:pt x="3498" y="4890"/>
                  </a:lnTo>
                  <a:lnTo>
                    <a:pt x="3498" y="4888"/>
                  </a:lnTo>
                  <a:lnTo>
                    <a:pt x="3496" y="4886"/>
                  </a:lnTo>
                  <a:lnTo>
                    <a:pt x="3492" y="4884"/>
                  </a:lnTo>
                  <a:lnTo>
                    <a:pt x="3486" y="4884"/>
                  </a:lnTo>
                  <a:lnTo>
                    <a:pt x="3482" y="4886"/>
                  </a:lnTo>
                  <a:lnTo>
                    <a:pt x="3482" y="4888"/>
                  </a:lnTo>
                  <a:lnTo>
                    <a:pt x="3482" y="4890"/>
                  </a:lnTo>
                  <a:close/>
                  <a:moveTo>
                    <a:pt x="3640" y="3122"/>
                  </a:moveTo>
                  <a:lnTo>
                    <a:pt x="3640" y="3122"/>
                  </a:lnTo>
                  <a:lnTo>
                    <a:pt x="3634" y="3120"/>
                  </a:lnTo>
                  <a:lnTo>
                    <a:pt x="3628" y="3116"/>
                  </a:lnTo>
                  <a:lnTo>
                    <a:pt x="3620" y="3116"/>
                  </a:lnTo>
                  <a:lnTo>
                    <a:pt x="3612" y="3120"/>
                  </a:lnTo>
                  <a:lnTo>
                    <a:pt x="3608" y="3122"/>
                  </a:lnTo>
                  <a:lnTo>
                    <a:pt x="3604" y="3126"/>
                  </a:lnTo>
                  <a:lnTo>
                    <a:pt x="3602" y="3132"/>
                  </a:lnTo>
                  <a:lnTo>
                    <a:pt x="3600" y="3136"/>
                  </a:lnTo>
                  <a:lnTo>
                    <a:pt x="3598" y="3138"/>
                  </a:lnTo>
                  <a:lnTo>
                    <a:pt x="3596" y="3136"/>
                  </a:lnTo>
                  <a:lnTo>
                    <a:pt x="3592" y="3136"/>
                  </a:lnTo>
                  <a:lnTo>
                    <a:pt x="3590" y="3136"/>
                  </a:lnTo>
                  <a:lnTo>
                    <a:pt x="3586" y="3138"/>
                  </a:lnTo>
                  <a:lnTo>
                    <a:pt x="3582" y="3140"/>
                  </a:lnTo>
                  <a:lnTo>
                    <a:pt x="3580" y="3136"/>
                  </a:lnTo>
                  <a:lnTo>
                    <a:pt x="3580" y="3130"/>
                  </a:lnTo>
                  <a:lnTo>
                    <a:pt x="3578" y="3128"/>
                  </a:lnTo>
                  <a:lnTo>
                    <a:pt x="3576" y="3128"/>
                  </a:lnTo>
                  <a:lnTo>
                    <a:pt x="3574" y="3132"/>
                  </a:lnTo>
                  <a:lnTo>
                    <a:pt x="3568" y="3144"/>
                  </a:lnTo>
                  <a:lnTo>
                    <a:pt x="3564" y="3150"/>
                  </a:lnTo>
                  <a:lnTo>
                    <a:pt x="3560" y="3156"/>
                  </a:lnTo>
                  <a:lnTo>
                    <a:pt x="3550" y="3164"/>
                  </a:lnTo>
                  <a:lnTo>
                    <a:pt x="3544" y="3168"/>
                  </a:lnTo>
                  <a:lnTo>
                    <a:pt x="3548" y="3168"/>
                  </a:lnTo>
                  <a:lnTo>
                    <a:pt x="3554" y="3168"/>
                  </a:lnTo>
                  <a:lnTo>
                    <a:pt x="3556" y="3170"/>
                  </a:lnTo>
                  <a:lnTo>
                    <a:pt x="3558" y="3172"/>
                  </a:lnTo>
                  <a:lnTo>
                    <a:pt x="3558" y="3174"/>
                  </a:lnTo>
                  <a:lnTo>
                    <a:pt x="3558" y="3182"/>
                  </a:lnTo>
                  <a:lnTo>
                    <a:pt x="3558" y="3186"/>
                  </a:lnTo>
                  <a:lnTo>
                    <a:pt x="3562" y="3190"/>
                  </a:lnTo>
                  <a:lnTo>
                    <a:pt x="3564" y="3192"/>
                  </a:lnTo>
                  <a:lnTo>
                    <a:pt x="3564" y="3196"/>
                  </a:lnTo>
                  <a:lnTo>
                    <a:pt x="3564" y="3198"/>
                  </a:lnTo>
                  <a:lnTo>
                    <a:pt x="3562" y="3200"/>
                  </a:lnTo>
                  <a:lnTo>
                    <a:pt x="3564" y="3200"/>
                  </a:lnTo>
                  <a:lnTo>
                    <a:pt x="3574" y="3202"/>
                  </a:lnTo>
                  <a:lnTo>
                    <a:pt x="3578" y="3202"/>
                  </a:lnTo>
                  <a:lnTo>
                    <a:pt x="3580" y="3198"/>
                  </a:lnTo>
                  <a:lnTo>
                    <a:pt x="3584" y="3186"/>
                  </a:lnTo>
                  <a:lnTo>
                    <a:pt x="3588" y="3178"/>
                  </a:lnTo>
                  <a:lnTo>
                    <a:pt x="3590" y="3172"/>
                  </a:lnTo>
                  <a:lnTo>
                    <a:pt x="3594" y="3166"/>
                  </a:lnTo>
                  <a:lnTo>
                    <a:pt x="3602" y="3164"/>
                  </a:lnTo>
                  <a:lnTo>
                    <a:pt x="3608" y="3162"/>
                  </a:lnTo>
                  <a:lnTo>
                    <a:pt x="3614" y="3164"/>
                  </a:lnTo>
                  <a:lnTo>
                    <a:pt x="3620" y="3170"/>
                  </a:lnTo>
                  <a:lnTo>
                    <a:pt x="3624" y="3172"/>
                  </a:lnTo>
                  <a:lnTo>
                    <a:pt x="3626" y="3172"/>
                  </a:lnTo>
                  <a:lnTo>
                    <a:pt x="3628" y="3170"/>
                  </a:lnTo>
                  <a:lnTo>
                    <a:pt x="3630" y="3166"/>
                  </a:lnTo>
                  <a:lnTo>
                    <a:pt x="3632" y="3160"/>
                  </a:lnTo>
                  <a:lnTo>
                    <a:pt x="3636" y="3156"/>
                  </a:lnTo>
                  <a:lnTo>
                    <a:pt x="3642" y="3150"/>
                  </a:lnTo>
                  <a:lnTo>
                    <a:pt x="3646" y="3148"/>
                  </a:lnTo>
                  <a:lnTo>
                    <a:pt x="3648" y="3144"/>
                  </a:lnTo>
                  <a:lnTo>
                    <a:pt x="3646" y="3140"/>
                  </a:lnTo>
                  <a:lnTo>
                    <a:pt x="3644" y="3132"/>
                  </a:lnTo>
                  <a:lnTo>
                    <a:pt x="3644" y="3128"/>
                  </a:lnTo>
                  <a:lnTo>
                    <a:pt x="3644" y="3126"/>
                  </a:lnTo>
                  <a:lnTo>
                    <a:pt x="3640" y="3122"/>
                  </a:lnTo>
                  <a:close/>
                  <a:moveTo>
                    <a:pt x="3450" y="4936"/>
                  </a:moveTo>
                  <a:lnTo>
                    <a:pt x="3450" y="4936"/>
                  </a:lnTo>
                  <a:lnTo>
                    <a:pt x="3456" y="4938"/>
                  </a:lnTo>
                  <a:lnTo>
                    <a:pt x="3462" y="4940"/>
                  </a:lnTo>
                  <a:lnTo>
                    <a:pt x="3468" y="4940"/>
                  </a:lnTo>
                  <a:lnTo>
                    <a:pt x="3470" y="4938"/>
                  </a:lnTo>
                  <a:lnTo>
                    <a:pt x="3472" y="4934"/>
                  </a:lnTo>
                  <a:lnTo>
                    <a:pt x="3474" y="4926"/>
                  </a:lnTo>
                  <a:lnTo>
                    <a:pt x="3472" y="4922"/>
                  </a:lnTo>
                  <a:lnTo>
                    <a:pt x="3466" y="4922"/>
                  </a:lnTo>
                  <a:lnTo>
                    <a:pt x="3458" y="4924"/>
                  </a:lnTo>
                  <a:lnTo>
                    <a:pt x="3448" y="4930"/>
                  </a:lnTo>
                  <a:lnTo>
                    <a:pt x="3448" y="4932"/>
                  </a:lnTo>
                  <a:lnTo>
                    <a:pt x="3450" y="4936"/>
                  </a:lnTo>
                  <a:close/>
                  <a:moveTo>
                    <a:pt x="3012" y="5270"/>
                  </a:moveTo>
                  <a:lnTo>
                    <a:pt x="3012" y="5270"/>
                  </a:lnTo>
                  <a:lnTo>
                    <a:pt x="3008" y="5266"/>
                  </a:lnTo>
                  <a:lnTo>
                    <a:pt x="3006" y="5264"/>
                  </a:lnTo>
                  <a:lnTo>
                    <a:pt x="3008" y="5262"/>
                  </a:lnTo>
                  <a:lnTo>
                    <a:pt x="3012" y="5264"/>
                  </a:lnTo>
                  <a:lnTo>
                    <a:pt x="3020" y="5266"/>
                  </a:lnTo>
                  <a:lnTo>
                    <a:pt x="3022" y="5266"/>
                  </a:lnTo>
                  <a:lnTo>
                    <a:pt x="3022" y="5264"/>
                  </a:lnTo>
                  <a:lnTo>
                    <a:pt x="3022" y="5258"/>
                  </a:lnTo>
                  <a:lnTo>
                    <a:pt x="3020" y="5250"/>
                  </a:lnTo>
                  <a:lnTo>
                    <a:pt x="3014" y="5244"/>
                  </a:lnTo>
                  <a:lnTo>
                    <a:pt x="3010" y="5242"/>
                  </a:lnTo>
                  <a:lnTo>
                    <a:pt x="3008" y="5244"/>
                  </a:lnTo>
                  <a:lnTo>
                    <a:pt x="3006" y="5246"/>
                  </a:lnTo>
                  <a:lnTo>
                    <a:pt x="3004" y="5246"/>
                  </a:lnTo>
                  <a:lnTo>
                    <a:pt x="3000" y="5242"/>
                  </a:lnTo>
                  <a:lnTo>
                    <a:pt x="2998" y="5240"/>
                  </a:lnTo>
                  <a:lnTo>
                    <a:pt x="2994" y="5240"/>
                  </a:lnTo>
                  <a:lnTo>
                    <a:pt x="2992" y="5242"/>
                  </a:lnTo>
                  <a:lnTo>
                    <a:pt x="2988" y="5244"/>
                  </a:lnTo>
                  <a:lnTo>
                    <a:pt x="2986" y="5244"/>
                  </a:lnTo>
                  <a:lnTo>
                    <a:pt x="2982" y="5240"/>
                  </a:lnTo>
                  <a:lnTo>
                    <a:pt x="2978" y="5236"/>
                  </a:lnTo>
                  <a:lnTo>
                    <a:pt x="2974" y="5234"/>
                  </a:lnTo>
                  <a:lnTo>
                    <a:pt x="2970" y="5234"/>
                  </a:lnTo>
                  <a:lnTo>
                    <a:pt x="2966" y="5236"/>
                  </a:lnTo>
                  <a:lnTo>
                    <a:pt x="2964" y="5238"/>
                  </a:lnTo>
                  <a:lnTo>
                    <a:pt x="2964" y="5240"/>
                  </a:lnTo>
                  <a:lnTo>
                    <a:pt x="2966" y="5244"/>
                  </a:lnTo>
                  <a:lnTo>
                    <a:pt x="2970" y="5250"/>
                  </a:lnTo>
                  <a:lnTo>
                    <a:pt x="2974" y="5252"/>
                  </a:lnTo>
                  <a:lnTo>
                    <a:pt x="2978" y="5252"/>
                  </a:lnTo>
                  <a:lnTo>
                    <a:pt x="2984" y="5256"/>
                  </a:lnTo>
                  <a:lnTo>
                    <a:pt x="2986" y="5260"/>
                  </a:lnTo>
                  <a:lnTo>
                    <a:pt x="2984" y="5260"/>
                  </a:lnTo>
                  <a:lnTo>
                    <a:pt x="2982" y="5260"/>
                  </a:lnTo>
                  <a:lnTo>
                    <a:pt x="2976" y="5262"/>
                  </a:lnTo>
                  <a:lnTo>
                    <a:pt x="2972" y="5264"/>
                  </a:lnTo>
                  <a:lnTo>
                    <a:pt x="2970" y="5264"/>
                  </a:lnTo>
                  <a:lnTo>
                    <a:pt x="2966" y="5260"/>
                  </a:lnTo>
                  <a:lnTo>
                    <a:pt x="2960" y="5252"/>
                  </a:lnTo>
                  <a:lnTo>
                    <a:pt x="2956" y="5252"/>
                  </a:lnTo>
                  <a:lnTo>
                    <a:pt x="2954" y="5252"/>
                  </a:lnTo>
                  <a:lnTo>
                    <a:pt x="2948" y="5250"/>
                  </a:lnTo>
                  <a:lnTo>
                    <a:pt x="2944" y="5248"/>
                  </a:lnTo>
                  <a:lnTo>
                    <a:pt x="2940" y="5246"/>
                  </a:lnTo>
                  <a:lnTo>
                    <a:pt x="2938" y="5248"/>
                  </a:lnTo>
                  <a:lnTo>
                    <a:pt x="2936" y="5250"/>
                  </a:lnTo>
                  <a:lnTo>
                    <a:pt x="2932" y="5254"/>
                  </a:lnTo>
                  <a:lnTo>
                    <a:pt x="2928" y="5256"/>
                  </a:lnTo>
                  <a:lnTo>
                    <a:pt x="2926" y="5258"/>
                  </a:lnTo>
                  <a:lnTo>
                    <a:pt x="2926" y="5266"/>
                  </a:lnTo>
                  <a:lnTo>
                    <a:pt x="2926" y="5270"/>
                  </a:lnTo>
                  <a:lnTo>
                    <a:pt x="2926" y="5276"/>
                  </a:lnTo>
                  <a:lnTo>
                    <a:pt x="2926" y="5278"/>
                  </a:lnTo>
                  <a:lnTo>
                    <a:pt x="2928" y="5280"/>
                  </a:lnTo>
                  <a:lnTo>
                    <a:pt x="2938" y="5282"/>
                  </a:lnTo>
                  <a:lnTo>
                    <a:pt x="2948" y="5282"/>
                  </a:lnTo>
                  <a:lnTo>
                    <a:pt x="2960" y="5278"/>
                  </a:lnTo>
                  <a:lnTo>
                    <a:pt x="2970" y="5274"/>
                  </a:lnTo>
                  <a:lnTo>
                    <a:pt x="2978" y="5272"/>
                  </a:lnTo>
                  <a:lnTo>
                    <a:pt x="2984" y="5272"/>
                  </a:lnTo>
                  <a:lnTo>
                    <a:pt x="2986" y="5268"/>
                  </a:lnTo>
                  <a:lnTo>
                    <a:pt x="2988" y="5268"/>
                  </a:lnTo>
                  <a:lnTo>
                    <a:pt x="2990" y="5270"/>
                  </a:lnTo>
                  <a:lnTo>
                    <a:pt x="2992" y="5272"/>
                  </a:lnTo>
                  <a:lnTo>
                    <a:pt x="2994" y="5270"/>
                  </a:lnTo>
                  <a:lnTo>
                    <a:pt x="2998" y="5270"/>
                  </a:lnTo>
                  <a:lnTo>
                    <a:pt x="3004" y="5270"/>
                  </a:lnTo>
                  <a:lnTo>
                    <a:pt x="3014" y="5272"/>
                  </a:lnTo>
                  <a:lnTo>
                    <a:pt x="3016" y="5272"/>
                  </a:lnTo>
                  <a:lnTo>
                    <a:pt x="3012" y="5270"/>
                  </a:lnTo>
                  <a:close/>
                  <a:moveTo>
                    <a:pt x="3240" y="4810"/>
                  </a:moveTo>
                  <a:lnTo>
                    <a:pt x="3240" y="4810"/>
                  </a:lnTo>
                  <a:lnTo>
                    <a:pt x="3258" y="4782"/>
                  </a:lnTo>
                  <a:lnTo>
                    <a:pt x="3262" y="4776"/>
                  </a:lnTo>
                  <a:lnTo>
                    <a:pt x="3264" y="4770"/>
                  </a:lnTo>
                  <a:lnTo>
                    <a:pt x="3264" y="4764"/>
                  </a:lnTo>
                  <a:lnTo>
                    <a:pt x="3262" y="4760"/>
                  </a:lnTo>
                  <a:lnTo>
                    <a:pt x="3258" y="4756"/>
                  </a:lnTo>
                  <a:lnTo>
                    <a:pt x="3254" y="4756"/>
                  </a:lnTo>
                  <a:lnTo>
                    <a:pt x="3250" y="4758"/>
                  </a:lnTo>
                  <a:lnTo>
                    <a:pt x="3246" y="4764"/>
                  </a:lnTo>
                  <a:lnTo>
                    <a:pt x="3236" y="4776"/>
                  </a:lnTo>
                  <a:lnTo>
                    <a:pt x="3228" y="4792"/>
                  </a:lnTo>
                  <a:lnTo>
                    <a:pt x="3222" y="4796"/>
                  </a:lnTo>
                  <a:lnTo>
                    <a:pt x="3216" y="4798"/>
                  </a:lnTo>
                  <a:lnTo>
                    <a:pt x="3208" y="4798"/>
                  </a:lnTo>
                  <a:lnTo>
                    <a:pt x="3198" y="4798"/>
                  </a:lnTo>
                  <a:lnTo>
                    <a:pt x="3182" y="4794"/>
                  </a:lnTo>
                  <a:lnTo>
                    <a:pt x="3176" y="4794"/>
                  </a:lnTo>
                  <a:lnTo>
                    <a:pt x="3174" y="4796"/>
                  </a:lnTo>
                  <a:lnTo>
                    <a:pt x="3170" y="4798"/>
                  </a:lnTo>
                  <a:lnTo>
                    <a:pt x="3168" y="4798"/>
                  </a:lnTo>
                  <a:lnTo>
                    <a:pt x="3158" y="4794"/>
                  </a:lnTo>
                  <a:lnTo>
                    <a:pt x="3146" y="4792"/>
                  </a:lnTo>
                  <a:lnTo>
                    <a:pt x="3138" y="4790"/>
                  </a:lnTo>
                  <a:lnTo>
                    <a:pt x="3130" y="4790"/>
                  </a:lnTo>
                  <a:lnTo>
                    <a:pt x="3122" y="4790"/>
                  </a:lnTo>
                  <a:lnTo>
                    <a:pt x="3118" y="4788"/>
                  </a:lnTo>
                  <a:lnTo>
                    <a:pt x="3116" y="4786"/>
                  </a:lnTo>
                  <a:lnTo>
                    <a:pt x="3114" y="4784"/>
                  </a:lnTo>
                  <a:lnTo>
                    <a:pt x="3114" y="4780"/>
                  </a:lnTo>
                  <a:lnTo>
                    <a:pt x="3114" y="4778"/>
                  </a:lnTo>
                  <a:lnTo>
                    <a:pt x="3112" y="4778"/>
                  </a:lnTo>
                  <a:lnTo>
                    <a:pt x="3104" y="4778"/>
                  </a:lnTo>
                  <a:lnTo>
                    <a:pt x="3098" y="4776"/>
                  </a:lnTo>
                  <a:lnTo>
                    <a:pt x="3092" y="4776"/>
                  </a:lnTo>
                  <a:lnTo>
                    <a:pt x="3090" y="4778"/>
                  </a:lnTo>
                  <a:lnTo>
                    <a:pt x="3088" y="4780"/>
                  </a:lnTo>
                  <a:lnTo>
                    <a:pt x="3084" y="4788"/>
                  </a:lnTo>
                  <a:lnTo>
                    <a:pt x="3080" y="4796"/>
                  </a:lnTo>
                  <a:lnTo>
                    <a:pt x="3078" y="4800"/>
                  </a:lnTo>
                  <a:lnTo>
                    <a:pt x="3074" y="4800"/>
                  </a:lnTo>
                  <a:lnTo>
                    <a:pt x="3072" y="4800"/>
                  </a:lnTo>
                  <a:lnTo>
                    <a:pt x="3068" y="4796"/>
                  </a:lnTo>
                  <a:lnTo>
                    <a:pt x="3066" y="4792"/>
                  </a:lnTo>
                  <a:lnTo>
                    <a:pt x="3064" y="4792"/>
                  </a:lnTo>
                  <a:lnTo>
                    <a:pt x="3060" y="4798"/>
                  </a:lnTo>
                  <a:lnTo>
                    <a:pt x="3056" y="4810"/>
                  </a:lnTo>
                  <a:lnTo>
                    <a:pt x="3052" y="4820"/>
                  </a:lnTo>
                  <a:lnTo>
                    <a:pt x="3048" y="4824"/>
                  </a:lnTo>
                  <a:lnTo>
                    <a:pt x="3048" y="4828"/>
                  </a:lnTo>
                  <a:lnTo>
                    <a:pt x="3048" y="4834"/>
                  </a:lnTo>
                  <a:lnTo>
                    <a:pt x="3048" y="4838"/>
                  </a:lnTo>
                  <a:lnTo>
                    <a:pt x="3046" y="4840"/>
                  </a:lnTo>
                  <a:lnTo>
                    <a:pt x="3044" y="4842"/>
                  </a:lnTo>
                  <a:lnTo>
                    <a:pt x="3040" y="4844"/>
                  </a:lnTo>
                  <a:lnTo>
                    <a:pt x="3040" y="4848"/>
                  </a:lnTo>
                  <a:lnTo>
                    <a:pt x="3042" y="4854"/>
                  </a:lnTo>
                  <a:lnTo>
                    <a:pt x="3044" y="4864"/>
                  </a:lnTo>
                  <a:lnTo>
                    <a:pt x="3040" y="4876"/>
                  </a:lnTo>
                  <a:lnTo>
                    <a:pt x="3034" y="4886"/>
                  </a:lnTo>
                  <a:lnTo>
                    <a:pt x="3030" y="4900"/>
                  </a:lnTo>
                  <a:lnTo>
                    <a:pt x="3030" y="4908"/>
                  </a:lnTo>
                  <a:lnTo>
                    <a:pt x="3030" y="4918"/>
                  </a:lnTo>
                  <a:lnTo>
                    <a:pt x="3030" y="4932"/>
                  </a:lnTo>
                  <a:lnTo>
                    <a:pt x="3028" y="4934"/>
                  </a:lnTo>
                  <a:lnTo>
                    <a:pt x="3026" y="4936"/>
                  </a:lnTo>
                  <a:lnTo>
                    <a:pt x="3024" y="4936"/>
                  </a:lnTo>
                  <a:lnTo>
                    <a:pt x="3024" y="4938"/>
                  </a:lnTo>
                  <a:lnTo>
                    <a:pt x="3022" y="4944"/>
                  </a:lnTo>
                  <a:lnTo>
                    <a:pt x="3020" y="4952"/>
                  </a:lnTo>
                  <a:lnTo>
                    <a:pt x="3020" y="4960"/>
                  </a:lnTo>
                  <a:lnTo>
                    <a:pt x="3016" y="4964"/>
                  </a:lnTo>
                  <a:lnTo>
                    <a:pt x="3014" y="4968"/>
                  </a:lnTo>
                  <a:lnTo>
                    <a:pt x="3010" y="4968"/>
                  </a:lnTo>
                  <a:lnTo>
                    <a:pt x="3006" y="4970"/>
                  </a:lnTo>
                  <a:lnTo>
                    <a:pt x="3006" y="4972"/>
                  </a:lnTo>
                  <a:lnTo>
                    <a:pt x="3008" y="4976"/>
                  </a:lnTo>
                  <a:lnTo>
                    <a:pt x="3010" y="4984"/>
                  </a:lnTo>
                  <a:lnTo>
                    <a:pt x="3008" y="4986"/>
                  </a:lnTo>
                  <a:lnTo>
                    <a:pt x="3006" y="4990"/>
                  </a:lnTo>
                  <a:lnTo>
                    <a:pt x="3008" y="5002"/>
                  </a:lnTo>
                  <a:lnTo>
                    <a:pt x="3012" y="5008"/>
                  </a:lnTo>
                  <a:lnTo>
                    <a:pt x="3014" y="5010"/>
                  </a:lnTo>
                  <a:lnTo>
                    <a:pt x="3018" y="5010"/>
                  </a:lnTo>
                  <a:lnTo>
                    <a:pt x="3020" y="5010"/>
                  </a:lnTo>
                  <a:lnTo>
                    <a:pt x="3024" y="5010"/>
                  </a:lnTo>
                  <a:lnTo>
                    <a:pt x="3028" y="5010"/>
                  </a:lnTo>
                  <a:lnTo>
                    <a:pt x="3032" y="5014"/>
                  </a:lnTo>
                  <a:lnTo>
                    <a:pt x="3036" y="5022"/>
                  </a:lnTo>
                  <a:lnTo>
                    <a:pt x="3040" y="5034"/>
                  </a:lnTo>
                  <a:lnTo>
                    <a:pt x="3040" y="5046"/>
                  </a:lnTo>
                  <a:lnTo>
                    <a:pt x="3038" y="5058"/>
                  </a:lnTo>
                  <a:lnTo>
                    <a:pt x="3036" y="5070"/>
                  </a:lnTo>
                  <a:lnTo>
                    <a:pt x="3032" y="5082"/>
                  </a:lnTo>
                  <a:lnTo>
                    <a:pt x="3030" y="5092"/>
                  </a:lnTo>
                  <a:lnTo>
                    <a:pt x="3030" y="5102"/>
                  </a:lnTo>
                  <a:lnTo>
                    <a:pt x="3034" y="5112"/>
                  </a:lnTo>
                  <a:lnTo>
                    <a:pt x="3038" y="5116"/>
                  </a:lnTo>
                  <a:lnTo>
                    <a:pt x="3042" y="5118"/>
                  </a:lnTo>
                  <a:lnTo>
                    <a:pt x="3046" y="5118"/>
                  </a:lnTo>
                  <a:lnTo>
                    <a:pt x="3050" y="5116"/>
                  </a:lnTo>
                  <a:lnTo>
                    <a:pt x="3058" y="5114"/>
                  </a:lnTo>
                  <a:lnTo>
                    <a:pt x="3068" y="5112"/>
                  </a:lnTo>
                  <a:lnTo>
                    <a:pt x="3072" y="5112"/>
                  </a:lnTo>
                  <a:lnTo>
                    <a:pt x="3072" y="5110"/>
                  </a:lnTo>
                  <a:lnTo>
                    <a:pt x="3070" y="5100"/>
                  </a:lnTo>
                  <a:lnTo>
                    <a:pt x="3068" y="5088"/>
                  </a:lnTo>
                  <a:lnTo>
                    <a:pt x="3068" y="5082"/>
                  </a:lnTo>
                  <a:lnTo>
                    <a:pt x="3070" y="5076"/>
                  </a:lnTo>
                  <a:lnTo>
                    <a:pt x="3072" y="5070"/>
                  </a:lnTo>
                  <a:lnTo>
                    <a:pt x="3074" y="5064"/>
                  </a:lnTo>
                  <a:lnTo>
                    <a:pt x="3072" y="5050"/>
                  </a:lnTo>
                  <a:lnTo>
                    <a:pt x="3072" y="5034"/>
                  </a:lnTo>
                  <a:lnTo>
                    <a:pt x="3072" y="5014"/>
                  </a:lnTo>
                  <a:lnTo>
                    <a:pt x="3074" y="5004"/>
                  </a:lnTo>
                  <a:lnTo>
                    <a:pt x="3072" y="4998"/>
                  </a:lnTo>
                  <a:lnTo>
                    <a:pt x="3068" y="4990"/>
                  </a:lnTo>
                  <a:lnTo>
                    <a:pt x="3068" y="4988"/>
                  </a:lnTo>
                  <a:lnTo>
                    <a:pt x="3068" y="4984"/>
                  </a:lnTo>
                  <a:lnTo>
                    <a:pt x="3076" y="4974"/>
                  </a:lnTo>
                  <a:lnTo>
                    <a:pt x="3084" y="4970"/>
                  </a:lnTo>
                  <a:lnTo>
                    <a:pt x="3090" y="4968"/>
                  </a:lnTo>
                  <a:lnTo>
                    <a:pt x="3094" y="4968"/>
                  </a:lnTo>
                  <a:lnTo>
                    <a:pt x="3098" y="4972"/>
                  </a:lnTo>
                  <a:lnTo>
                    <a:pt x="3100" y="4976"/>
                  </a:lnTo>
                  <a:lnTo>
                    <a:pt x="3100" y="4982"/>
                  </a:lnTo>
                  <a:lnTo>
                    <a:pt x="3098" y="4990"/>
                  </a:lnTo>
                  <a:lnTo>
                    <a:pt x="3094" y="4996"/>
                  </a:lnTo>
                  <a:lnTo>
                    <a:pt x="3092" y="5002"/>
                  </a:lnTo>
                  <a:lnTo>
                    <a:pt x="3090" y="5008"/>
                  </a:lnTo>
                  <a:lnTo>
                    <a:pt x="3092" y="5012"/>
                  </a:lnTo>
                  <a:lnTo>
                    <a:pt x="3094" y="5016"/>
                  </a:lnTo>
                  <a:lnTo>
                    <a:pt x="3102" y="5024"/>
                  </a:lnTo>
                  <a:lnTo>
                    <a:pt x="3112" y="5034"/>
                  </a:lnTo>
                  <a:lnTo>
                    <a:pt x="3116" y="5040"/>
                  </a:lnTo>
                  <a:lnTo>
                    <a:pt x="3116" y="5046"/>
                  </a:lnTo>
                  <a:lnTo>
                    <a:pt x="3114" y="5062"/>
                  </a:lnTo>
                  <a:lnTo>
                    <a:pt x="3114" y="5068"/>
                  </a:lnTo>
                  <a:lnTo>
                    <a:pt x="3116" y="5074"/>
                  </a:lnTo>
                  <a:lnTo>
                    <a:pt x="3120" y="5076"/>
                  </a:lnTo>
                  <a:lnTo>
                    <a:pt x="3130" y="5078"/>
                  </a:lnTo>
                  <a:lnTo>
                    <a:pt x="3136" y="5076"/>
                  </a:lnTo>
                  <a:lnTo>
                    <a:pt x="3138" y="5076"/>
                  </a:lnTo>
                  <a:lnTo>
                    <a:pt x="3140" y="5072"/>
                  </a:lnTo>
                  <a:lnTo>
                    <a:pt x="3140" y="5070"/>
                  </a:lnTo>
                  <a:lnTo>
                    <a:pt x="3140" y="5062"/>
                  </a:lnTo>
                  <a:lnTo>
                    <a:pt x="3142" y="5060"/>
                  </a:lnTo>
                  <a:lnTo>
                    <a:pt x="3148" y="5056"/>
                  </a:lnTo>
                  <a:lnTo>
                    <a:pt x="3152" y="5056"/>
                  </a:lnTo>
                  <a:lnTo>
                    <a:pt x="3156" y="5054"/>
                  </a:lnTo>
                  <a:lnTo>
                    <a:pt x="3164" y="5056"/>
                  </a:lnTo>
                  <a:lnTo>
                    <a:pt x="3166" y="5056"/>
                  </a:lnTo>
                  <a:lnTo>
                    <a:pt x="3168" y="5056"/>
                  </a:lnTo>
                  <a:lnTo>
                    <a:pt x="3172" y="5048"/>
                  </a:lnTo>
                  <a:lnTo>
                    <a:pt x="3172" y="5042"/>
                  </a:lnTo>
                  <a:lnTo>
                    <a:pt x="3170" y="5036"/>
                  </a:lnTo>
                  <a:lnTo>
                    <a:pt x="3164" y="5032"/>
                  </a:lnTo>
                  <a:lnTo>
                    <a:pt x="3158" y="5028"/>
                  </a:lnTo>
                  <a:lnTo>
                    <a:pt x="3152" y="5026"/>
                  </a:lnTo>
                  <a:lnTo>
                    <a:pt x="3148" y="5022"/>
                  </a:lnTo>
                  <a:lnTo>
                    <a:pt x="3146" y="5016"/>
                  </a:lnTo>
                  <a:lnTo>
                    <a:pt x="3148" y="5012"/>
                  </a:lnTo>
                  <a:lnTo>
                    <a:pt x="3152" y="5006"/>
                  </a:lnTo>
                  <a:lnTo>
                    <a:pt x="3152" y="4998"/>
                  </a:lnTo>
                  <a:lnTo>
                    <a:pt x="3150" y="4990"/>
                  </a:lnTo>
                  <a:lnTo>
                    <a:pt x="3148" y="4980"/>
                  </a:lnTo>
                  <a:lnTo>
                    <a:pt x="3136" y="4962"/>
                  </a:lnTo>
                  <a:lnTo>
                    <a:pt x="3122" y="4946"/>
                  </a:lnTo>
                  <a:lnTo>
                    <a:pt x="3118" y="4940"/>
                  </a:lnTo>
                  <a:lnTo>
                    <a:pt x="3118" y="4934"/>
                  </a:lnTo>
                  <a:lnTo>
                    <a:pt x="3122" y="4930"/>
                  </a:lnTo>
                  <a:lnTo>
                    <a:pt x="3128" y="4926"/>
                  </a:lnTo>
                  <a:lnTo>
                    <a:pt x="3146" y="4916"/>
                  </a:lnTo>
                  <a:lnTo>
                    <a:pt x="3154" y="4908"/>
                  </a:lnTo>
                  <a:lnTo>
                    <a:pt x="3162" y="4898"/>
                  </a:lnTo>
                  <a:lnTo>
                    <a:pt x="3168" y="4888"/>
                  </a:lnTo>
                  <a:lnTo>
                    <a:pt x="3172" y="4884"/>
                  </a:lnTo>
                  <a:lnTo>
                    <a:pt x="3176" y="4884"/>
                  </a:lnTo>
                  <a:lnTo>
                    <a:pt x="3180" y="4886"/>
                  </a:lnTo>
                  <a:lnTo>
                    <a:pt x="3186" y="4890"/>
                  </a:lnTo>
                  <a:lnTo>
                    <a:pt x="3190" y="4890"/>
                  </a:lnTo>
                  <a:lnTo>
                    <a:pt x="3192" y="4888"/>
                  </a:lnTo>
                  <a:lnTo>
                    <a:pt x="3196" y="4880"/>
                  </a:lnTo>
                  <a:lnTo>
                    <a:pt x="3196" y="4876"/>
                  </a:lnTo>
                  <a:lnTo>
                    <a:pt x="3194" y="4874"/>
                  </a:lnTo>
                  <a:lnTo>
                    <a:pt x="3192" y="4872"/>
                  </a:lnTo>
                  <a:lnTo>
                    <a:pt x="3188" y="4870"/>
                  </a:lnTo>
                  <a:lnTo>
                    <a:pt x="3170" y="4870"/>
                  </a:lnTo>
                  <a:lnTo>
                    <a:pt x="3160" y="4872"/>
                  </a:lnTo>
                  <a:lnTo>
                    <a:pt x="3152" y="4874"/>
                  </a:lnTo>
                  <a:lnTo>
                    <a:pt x="3144" y="4880"/>
                  </a:lnTo>
                  <a:lnTo>
                    <a:pt x="3136" y="4884"/>
                  </a:lnTo>
                  <a:lnTo>
                    <a:pt x="3130" y="4884"/>
                  </a:lnTo>
                  <a:lnTo>
                    <a:pt x="3124" y="4884"/>
                  </a:lnTo>
                  <a:lnTo>
                    <a:pt x="3116" y="4882"/>
                  </a:lnTo>
                  <a:lnTo>
                    <a:pt x="3112" y="4886"/>
                  </a:lnTo>
                  <a:lnTo>
                    <a:pt x="3108" y="4890"/>
                  </a:lnTo>
                  <a:lnTo>
                    <a:pt x="3106" y="4894"/>
                  </a:lnTo>
                  <a:lnTo>
                    <a:pt x="3104" y="4900"/>
                  </a:lnTo>
                  <a:lnTo>
                    <a:pt x="3100" y="4904"/>
                  </a:lnTo>
                  <a:lnTo>
                    <a:pt x="3096" y="4908"/>
                  </a:lnTo>
                  <a:lnTo>
                    <a:pt x="3088" y="4908"/>
                  </a:lnTo>
                  <a:lnTo>
                    <a:pt x="3082" y="4906"/>
                  </a:lnTo>
                  <a:lnTo>
                    <a:pt x="3078" y="4904"/>
                  </a:lnTo>
                  <a:lnTo>
                    <a:pt x="3078" y="4902"/>
                  </a:lnTo>
                  <a:lnTo>
                    <a:pt x="3078" y="4898"/>
                  </a:lnTo>
                  <a:lnTo>
                    <a:pt x="3076" y="4892"/>
                  </a:lnTo>
                  <a:lnTo>
                    <a:pt x="3074" y="4888"/>
                  </a:lnTo>
                  <a:lnTo>
                    <a:pt x="3068" y="4882"/>
                  </a:lnTo>
                  <a:lnTo>
                    <a:pt x="3064" y="4880"/>
                  </a:lnTo>
                  <a:lnTo>
                    <a:pt x="3062" y="4876"/>
                  </a:lnTo>
                  <a:lnTo>
                    <a:pt x="3058" y="4866"/>
                  </a:lnTo>
                  <a:lnTo>
                    <a:pt x="3058" y="4852"/>
                  </a:lnTo>
                  <a:lnTo>
                    <a:pt x="3060" y="4840"/>
                  </a:lnTo>
                  <a:lnTo>
                    <a:pt x="3066" y="4828"/>
                  </a:lnTo>
                  <a:lnTo>
                    <a:pt x="3072" y="4818"/>
                  </a:lnTo>
                  <a:lnTo>
                    <a:pt x="3074" y="4816"/>
                  </a:lnTo>
                  <a:lnTo>
                    <a:pt x="3078" y="4814"/>
                  </a:lnTo>
                  <a:lnTo>
                    <a:pt x="3082" y="4814"/>
                  </a:lnTo>
                  <a:lnTo>
                    <a:pt x="3086" y="4816"/>
                  </a:lnTo>
                  <a:lnTo>
                    <a:pt x="3092" y="4818"/>
                  </a:lnTo>
                  <a:lnTo>
                    <a:pt x="3096" y="4820"/>
                  </a:lnTo>
                  <a:lnTo>
                    <a:pt x="3106" y="4818"/>
                  </a:lnTo>
                  <a:lnTo>
                    <a:pt x="3116" y="4818"/>
                  </a:lnTo>
                  <a:lnTo>
                    <a:pt x="3122" y="4818"/>
                  </a:lnTo>
                  <a:lnTo>
                    <a:pt x="3126" y="4818"/>
                  </a:lnTo>
                  <a:lnTo>
                    <a:pt x="3132" y="4820"/>
                  </a:lnTo>
                  <a:lnTo>
                    <a:pt x="3140" y="4820"/>
                  </a:lnTo>
                  <a:lnTo>
                    <a:pt x="3156" y="4818"/>
                  </a:lnTo>
                  <a:lnTo>
                    <a:pt x="3172" y="4816"/>
                  </a:lnTo>
                  <a:lnTo>
                    <a:pt x="3178" y="4818"/>
                  </a:lnTo>
                  <a:lnTo>
                    <a:pt x="3182" y="4820"/>
                  </a:lnTo>
                  <a:lnTo>
                    <a:pt x="3186" y="4822"/>
                  </a:lnTo>
                  <a:lnTo>
                    <a:pt x="3192" y="4824"/>
                  </a:lnTo>
                  <a:lnTo>
                    <a:pt x="3200" y="4826"/>
                  </a:lnTo>
                  <a:lnTo>
                    <a:pt x="3208" y="4826"/>
                  </a:lnTo>
                  <a:lnTo>
                    <a:pt x="3218" y="4824"/>
                  </a:lnTo>
                  <a:lnTo>
                    <a:pt x="3226" y="4822"/>
                  </a:lnTo>
                  <a:lnTo>
                    <a:pt x="3234" y="4816"/>
                  </a:lnTo>
                  <a:lnTo>
                    <a:pt x="3240" y="4810"/>
                  </a:lnTo>
                  <a:close/>
                  <a:moveTo>
                    <a:pt x="2954" y="5244"/>
                  </a:moveTo>
                  <a:lnTo>
                    <a:pt x="2954" y="5244"/>
                  </a:lnTo>
                  <a:lnTo>
                    <a:pt x="2954" y="5248"/>
                  </a:lnTo>
                  <a:lnTo>
                    <a:pt x="2956" y="5246"/>
                  </a:lnTo>
                  <a:lnTo>
                    <a:pt x="2960" y="5240"/>
                  </a:lnTo>
                  <a:lnTo>
                    <a:pt x="2962" y="5238"/>
                  </a:lnTo>
                  <a:lnTo>
                    <a:pt x="2960" y="5236"/>
                  </a:lnTo>
                  <a:lnTo>
                    <a:pt x="2958" y="5236"/>
                  </a:lnTo>
                  <a:lnTo>
                    <a:pt x="2954" y="5240"/>
                  </a:lnTo>
                  <a:lnTo>
                    <a:pt x="2954" y="5244"/>
                  </a:lnTo>
                  <a:close/>
                  <a:moveTo>
                    <a:pt x="3346" y="4878"/>
                  </a:moveTo>
                  <a:lnTo>
                    <a:pt x="3346" y="4878"/>
                  </a:lnTo>
                  <a:lnTo>
                    <a:pt x="3350" y="4878"/>
                  </a:lnTo>
                  <a:lnTo>
                    <a:pt x="3352" y="4876"/>
                  </a:lnTo>
                  <a:lnTo>
                    <a:pt x="3350" y="4874"/>
                  </a:lnTo>
                  <a:lnTo>
                    <a:pt x="3348" y="4872"/>
                  </a:lnTo>
                  <a:lnTo>
                    <a:pt x="3346" y="4872"/>
                  </a:lnTo>
                  <a:lnTo>
                    <a:pt x="3344" y="4874"/>
                  </a:lnTo>
                  <a:lnTo>
                    <a:pt x="3344" y="4876"/>
                  </a:lnTo>
                  <a:lnTo>
                    <a:pt x="3346" y="4878"/>
                  </a:lnTo>
                  <a:close/>
                  <a:moveTo>
                    <a:pt x="3352" y="4858"/>
                  </a:moveTo>
                  <a:lnTo>
                    <a:pt x="3352" y="4858"/>
                  </a:lnTo>
                  <a:lnTo>
                    <a:pt x="3350" y="4862"/>
                  </a:lnTo>
                  <a:lnTo>
                    <a:pt x="3354" y="4868"/>
                  </a:lnTo>
                  <a:lnTo>
                    <a:pt x="3358" y="4874"/>
                  </a:lnTo>
                  <a:lnTo>
                    <a:pt x="3360" y="4876"/>
                  </a:lnTo>
                  <a:lnTo>
                    <a:pt x="3364" y="4874"/>
                  </a:lnTo>
                  <a:lnTo>
                    <a:pt x="3364" y="4866"/>
                  </a:lnTo>
                  <a:lnTo>
                    <a:pt x="3362" y="4858"/>
                  </a:lnTo>
                  <a:lnTo>
                    <a:pt x="3360" y="4854"/>
                  </a:lnTo>
                  <a:lnTo>
                    <a:pt x="3356" y="4854"/>
                  </a:lnTo>
                  <a:lnTo>
                    <a:pt x="3352" y="4858"/>
                  </a:lnTo>
                  <a:close/>
                  <a:moveTo>
                    <a:pt x="3452" y="4980"/>
                  </a:moveTo>
                  <a:lnTo>
                    <a:pt x="3452" y="4980"/>
                  </a:lnTo>
                  <a:lnTo>
                    <a:pt x="3440" y="4974"/>
                  </a:lnTo>
                  <a:lnTo>
                    <a:pt x="3438" y="4974"/>
                  </a:lnTo>
                  <a:lnTo>
                    <a:pt x="3436" y="4976"/>
                  </a:lnTo>
                  <a:lnTo>
                    <a:pt x="3428" y="4978"/>
                  </a:lnTo>
                  <a:lnTo>
                    <a:pt x="3422" y="4980"/>
                  </a:lnTo>
                  <a:lnTo>
                    <a:pt x="3414" y="4978"/>
                  </a:lnTo>
                  <a:lnTo>
                    <a:pt x="3404" y="4978"/>
                  </a:lnTo>
                  <a:lnTo>
                    <a:pt x="3396" y="4978"/>
                  </a:lnTo>
                  <a:lnTo>
                    <a:pt x="3390" y="4980"/>
                  </a:lnTo>
                  <a:lnTo>
                    <a:pt x="3384" y="4982"/>
                  </a:lnTo>
                  <a:lnTo>
                    <a:pt x="3378" y="4986"/>
                  </a:lnTo>
                  <a:lnTo>
                    <a:pt x="3376" y="4990"/>
                  </a:lnTo>
                  <a:lnTo>
                    <a:pt x="3374" y="4996"/>
                  </a:lnTo>
                  <a:lnTo>
                    <a:pt x="3374" y="5002"/>
                  </a:lnTo>
                  <a:lnTo>
                    <a:pt x="3376" y="5010"/>
                  </a:lnTo>
                  <a:lnTo>
                    <a:pt x="3378" y="5006"/>
                  </a:lnTo>
                  <a:lnTo>
                    <a:pt x="3380" y="4998"/>
                  </a:lnTo>
                  <a:lnTo>
                    <a:pt x="3382" y="4994"/>
                  </a:lnTo>
                  <a:lnTo>
                    <a:pt x="3384" y="4992"/>
                  </a:lnTo>
                  <a:lnTo>
                    <a:pt x="3386" y="4992"/>
                  </a:lnTo>
                  <a:lnTo>
                    <a:pt x="3388" y="4994"/>
                  </a:lnTo>
                  <a:lnTo>
                    <a:pt x="3392" y="5000"/>
                  </a:lnTo>
                  <a:lnTo>
                    <a:pt x="3396" y="5002"/>
                  </a:lnTo>
                  <a:lnTo>
                    <a:pt x="3400" y="5004"/>
                  </a:lnTo>
                  <a:lnTo>
                    <a:pt x="3404" y="5004"/>
                  </a:lnTo>
                  <a:lnTo>
                    <a:pt x="3408" y="5000"/>
                  </a:lnTo>
                  <a:lnTo>
                    <a:pt x="3414" y="4998"/>
                  </a:lnTo>
                  <a:lnTo>
                    <a:pt x="3418" y="4998"/>
                  </a:lnTo>
                  <a:lnTo>
                    <a:pt x="3428" y="5002"/>
                  </a:lnTo>
                  <a:lnTo>
                    <a:pt x="3436" y="5006"/>
                  </a:lnTo>
                  <a:lnTo>
                    <a:pt x="3438" y="5008"/>
                  </a:lnTo>
                  <a:lnTo>
                    <a:pt x="3440" y="5006"/>
                  </a:lnTo>
                  <a:lnTo>
                    <a:pt x="3442" y="5002"/>
                  </a:lnTo>
                  <a:lnTo>
                    <a:pt x="3446" y="5002"/>
                  </a:lnTo>
                  <a:lnTo>
                    <a:pt x="3456" y="5006"/>
                  </a:lnTo>
                  <a:lnTo>
                    <a:pt x="3468" y="5014"/>
                  </a:lnTo>
                  <a:lnTo>
                    <a:pt x="3482" y="5022"/>
                  </a:lnTo>
                  <a:lnTo>
                    <a:pt x="3488" y="5026"/>
                  </a:lnTo>
                  <a:lnTo>
                    <a:pt x="3492" y="5028"/>
                  </a:lnTo>
                  <a:lnTo>
                    <a:pt x="3494" y="5026"/>
                  </a:lnTo>
                  <a:lnTo>
                    <a:pt x="3496" y="5024"/>
                  </a:lnTo>
                  <a:lnTo>
                    <a:pt x="3494" y="5012"/>
                  </a:lnTo>
                  <a:lnTo>
                    <a:pt x="3484" y="4994"/>
                  </a:lnTo>
                  <a:lnTo>
                    <a:pt x="3478" y="4988"/>
                  </a:lnTo>
                  <a:lnTo>
                    <a:pt x="3476" y="4984"/>
                  </a:lnTo>
                  <a:lnTo>
                    <a:pt x="3472" y="4982"/>
                  </a:lnTo>
                  <a:lnTo>
                    <a:pt x="3470" y="4984"/>
                  </a:lnTo>
                  <a:lnTo>
                    <a:pt x="3464" y="4984"/>
                  </a:lnTo>
                  <a:lnTo>
                    <a:pt x="3458" y="4984"/>
                  </a:lnTo>
                  <a:lnTo>
                    <a:pt x="3452" y="4980"/>
                  </a:lnTo>
                  <a:close/>
                  <a:moveTo>
                    <a:pt x="3092" y="4546"/>
                  </a:moveTo>
                  <a:lnTo>
                    <a:pt x="3092" y="4546"/>
                  </a:lnTo>
                  <a:lnTo>
                    <a:pt x="3090" y="4552"/>
                  </a:lnTo>
                  <a:lnTo>
                    <a:pt x="3092" y="4552"/>
                  </a:lnTo>
                  <a:lnTo>
                    <a:pt x="3094" y="4552"/>
                  </a:lnTo>
                  <a:lnTo>
                    <a:pt x="3098" y="4552"/>
                  </a:lnTo>
                  <a:lnTo>
                    <a:pt x="3104" y="4552"/>
                  </a:lnTo>
                  <a:lnTo>
                    <a:pt x="3108" y="4554"/>
                  </a:lnTo>
                  <a:lnTo>
                    <a:pt x="3112" y="4552"/>
                  </a:lnTo>
                  <a:lnTo>
                    <a:pt x="3112" y="4548"/>
                  </a:lnTo>
                  <a:lnTo>
                    <a:pt x="3110" y="4548"/>
                  </a:lnTo>
                  <a:lnTo>
                    <a:pt x="3106" y="4546"/>
                  </a:lnTo>
                  <a:lnTo>
                    <a:pt x="3102" y="4542"/>
                  </a:lnTo>
                  <a:lnTo>
                    <a:pt x="3100" y="4540"/>
                  </a:lnTo>
                  <a:lnTo>
                    <a:pt x="3098" y="4540"/>
                  </a:lnTo>
                  <a:lnTo>
                    <a:pt x="3096" y="4542"/>
                  </a:lnTo>
                  <a:lnTo>
                    <a:pt x="3092" y="4546"/>
                  </a:lnTo>
                  <a:close/>
                  <a:moveTo>
                    <a:pt x="3058" y="4324"/>
                  </a:moveTo>
                  <a:lnTo>
                    <a:pt x="3058" y="4324"/>
                  </a:lnTo>
                  <a:lnTo>
                    <a:pt x="3056" y="4322"/>
                  </a:lnTo>
                  <a:lnTo>
                    <a:pt x="3052" y="4322"/>
                  </a:lnTo>
                  <a:lnTo>
                    <a:pt x="3048" y="4326"/>
                  </a:lnTo>
                  <a:lnTo>
                    <a:pt x="3048" y="4330"/>
                  </a:lnTo>
                  <a:lnTo>
                    <a:pt x="3050" y="4330"/>
                  </a:lnTo>
                  <a:lnTo>
                    <a:pt x="3058" y="4324"/>
                  </a:lnTo>
                  <a:close/>
                  <a:moveTo>
                    <a:pt x="3358" y="4790"/>
                  </a:moveTo>
                  <a:lnTo>
                    <a:pt x="3358" y="4790"/>
                  </a:lnTo>
                  <a:lnTo>
                    <a:pt x="3360" y="4800"/>
                  </a:lnTo>
                  <a:lnTo>
                    <a:pt x="3358" y="4806"/>
                  </a:lnTo>
                  <a:lnTo>
                    <a:pt x="3358" y="4812"/>
                  </a:lnTo>
                  <a:lnTo>
                    <a:pt x="3358" y="4816"/>
                  </a:lnTo>
                  <a:lnTo>
                    <a:pt x="3362" y="4820"/>
                  </a:lnTo>
                  <a:lnTo>
                    <a:pt x="3364" y="4826"/>
                  </a:lnTo>
                  <a:lnTo>
                    <a:pt x="3364" y="4830"/>
                  </a:lnTo>
                  <a:lnTo>
                    <a:pt x="3364" y="4838"/>
                  </a:lnTo>
                  <a:lnTo>
                    <a:pt x="3364" y="4846"/>
                  </a:lnTo>
                  <a:lnTo>
                    <a:pt x="3364" y="4850"/>
                  </a:lnTo>
                  <a:lnTo>
                    <a:pt x="3368" y="4856"/>
                  </a:lnTo>
                  <a:lnTo>
                    <a:pt x="3382" y="4876"/>
                  </a:lnTo>
                  <a:lnTo>
                    <a:pt x="3388" y="4882"/>
                  </a:lnTo>
                  <a:lnTo>
                    <a:pt x="3390" y="4884"/>
                  </a:lnTo>
                  <a:lnTo>
                    <a:pt x="3394" y="4884"/>
                  </a:lnTo>
                  <a:lnTo>
                    <a:pt x="3394" y="4882"/>
                  </a:lnTo>
                  <a:lnTo>
                    <a:pt x="3394" y="4880"/>
                  </a:lnTo>
                  <a:lnTo>
                    <a:pt x="3390" y="4876"/>
                  </a:lnTo>
                  <a:lnTo>
                    <a:pt x="3384" y="4868"/>
                  </a:lnTo>
                  <a:lnTo>
                    <a:pt x="3380" y="4860"/>
                  </a:lnTo>
                  <a:lnTo>
                    <a:pt x="3376" y="4848"/>
                  </a:lnTo>
                  <a:lnTo>
                    <a:pt x="3374" y="4836"/>
                  </a:lnTo>
                  <a:lnTo>
                    <a:pt x="3374" y="4826"/>
                  </a:lnTo>
                  <a:lnTo>
                    <a:pt x="3376" y="4820"/>
                  </a:lnTo>
                  <a:lnTo>
                    <a:pt x="3380" y="4818"/>
                  </a:lnTo>
                  <a:lnTo>
                    <a:pt x="3382" y="4818"/>
                  </a:lnTo>
                  <a:lnTo>
                    <a:pt x="3390" y="4820"/>
                  </a:lnTo>
                  <a:lnTo>
                    <a:pt x="3402" y="4824"/>
                  </a:lnTo>
                  <a:lnTo>
                    <a:pt x="3406" y="4826"/>
                  </a:lnTo>
                  <a:lnTo>
                    <a:pt x="3410" y="4826"/>
                  </a:lnTo>
                  <a:lnTo>
                    <a:pt x="3410" y="4822"/>
                  </a:lnTo>
                  <a:lnTo>
                    <a:pt x="3406" y="4816"/>
                  </a:lnTo>
                  <a:lnTo>
                    <a:pt x="3400" y="4812"/>
                  </a:lnTo>
                  <a:lnTo>
                    <a:pt x="3394" y="4810"/>
                  </a:lnTo>
                  <a:lnTo>
                    <a:pt x="3390" y="4806"/>
                  </a:lnTo>
                  <a:lnTo>
                    <a:pt x="3386" y="4804"/>
                  </a:lnTo>
                  <a:lnTo>
                    <a:pt x="3386" y="4802"/>
                  </a:lnTo>
                  <a:lnTo>
                    <a:pt x="3388" y="4800"/>
                  </a:lnTo>
                  <a:lnTo>
                    <a:pt x="3394" y="4796"/>
                  </a:lnTo>
                  <a:lnTo>
                    <a:pt x="3400" y="4792"/>
                  </a:lnTo>
                  <a:lnTo>
                    <a:pt x="3404" y="4788"/>
                  </a:lnTo>
                  <a:lnTo>
                    <a:pt x="3406" y="4784"/>
                  </a:lnTo>
                  <a:lnTo>
                    <a:pt x="3408" y="4774"/>
                  </a:lnTo>
                  <a:lnTo>
                    <a:pt x="3406" y="4770"/>
                  </a:lnTo>
                  <a:lnTo>
                    <a:pt x="3404" y="4766"/>
                  </a:lnTo>
                  <a:lnTo>
                    <a:pt x="3400" y="4766"/>
                  </a:lnTo>
                  <a:lnTo>
                    <a:pt x="3396" y="4766"/>
                  </a:lnTo>
                  <a:lnTo>
                    <a:pt x="3390" y="4770"/>
                  </a:lnTo>
                  <a:lnTo>
                    <a:pt x="3386" y="4774"/>
                  </a:lnTo>
                  <a:lnTo>
                    <a:pt x="3378" y="4788"/>
                  </a:lnTo>
                  <a:lnTo>
                    <a:pt x="3372" y="4800"/>
                  </a:lnTo>
                  <a:lnTo>
                    <a:pt x="3370" y="4800"/>
                  </a:lnTo>
                  <a:lnTo>
                    <a:pt x="3368" y="4798"/>
                  </a:lnTo>
                  <a:lnTo>
                    <a:pt x="3366" y="4792"/>
                  </a:lnTo>
                  <a:lnTo>
                    <a:pt x="3368" y="4788"/>
                  </a:lnTo>
                  <a:lnTo>
                    <a:pt x="3372" y="4782"/>
                  </a:lnTo>
                  <a:lnTo>
                    <a:pt x="3378" y="4772"/>
                  </a:lnTo>
                  <a:lnTo>
                    <a:pt x="3378" y="4766"/>
                  </a:lnTo>
                  <a:lnTo>
                    <a:pt x="3378" y="4762"/>
                  </a:lnTo>
                  <a:lnTo>
                    <a:pt x="3376" y="4754"/>
                  </a:lnTo>
                  <a:lnTo>
                    <a:pt x="3374" y="4750"/>
                  </a:lnTo>
                  <a:lnTo>
                    <a:pt x="3374" y="4748"/>
                  </a:lnTo>
                  <a:lnTo>
                    <a:pt x="3374" y="4744"/>
                  </a:lnTo>
                  <a:lnTo>
                    <a:pt x="3378" y="4734"/>
                  </a:lnTo>
                  <a:lnTo>
                    <a:pt x="3378" y="4732"/>
                  </a:lnTo>
                  <a:lnTo>
                    <a:pt x="3376" y="4732"/>
                  </a:lnTo>
                  <a:lnTo>
                    <a:pt x="3370" y="4736"/>
                  </a:lnTo>
                  <a:lnTo>
                    <a:pt x="3366" y="4740"/>
                  </a:lnTo>
                  <a:lnTo>
                    <a:pt x="3362" y="4746"/>
                  </a:lnTo>
                  <a:lnTo>
                    <a:pt x="3356" y="4760"/>
                  </a:lnTo>
                  <a:lnTo>
                    <a:pt x="3356" y="4776"/>
                  </a:lnTo>
                  <a:lnTo>
                    <a:pt x="3356" y="4784"/>
                  </a:lnTo>
                  <a:lnTo>
                    <a:pt x="3358" y="4790"/>
                  </a:lnTo>
                  <a:close/>
                  <a:moveTo>
                    <a:pt x="3086" y="4178"/>
                  </a:moveTo>
                  <a:lnTo>
                    <a:pt x="3086" y="4178"/>
                  </a:lnTo>
                  <a:lnTo>
                    <a:pt x="3076" y="4178"/>
                  </a:lnTo>
                  <a:lnTo>
                    <a:pt x="3070" y="4180"/>
                  </a:lnTo>
                  <a:lnTo>
                    <a:pt x="3068" y="4184"/>
                  </a:lnTo>
                  <a:lnTo>
                    <a:pt x="3072" y="4186"/>
                  </a:lnTo>
                  <a:lnTo>
                    <a:pt x="3076" y="4188"/>
                  </a:lnTo>
                  <a:lnTo>
                    <a:pt x="3076" y="4190"/>
                  </a:lnTo>
                  <a:lnTo>
                    <a:pt x="3078" y="4194"/>
                  </a:lnTo>
                  <a:lnTo>
                    <a:pt x="3080" y="4196"/>
                  </a:lnTo>
                  <a:lnTo>
                    <a:pt x="3084" y="4202"/>
                  </a:lnTo>
                  <a:lnTo>
                    <a:pt x="3088" y="4212"/>
                  </a:lnTo>
                  <a:lnTo>
                    <a:pt x="3092" y="4224"/>
                  </a:lnTo>
                  <a:lnTo>
                    <a:pt x="3098" y="4238"/>
                  </a:lnTo>
                  <a:lnTo>
                    <a:pt x="3102" y="4244"/>
                  </a:lnTo>
                  <a:lnTo>
                    <a:pt x="3104" y="4244"/>
                  </a:lnTo>
                  <a:lnTo>
                    <a:pt x="3106" y="4244"/>
                  </a:lnTo>
                  <a:lnTo>
                    <a:pt x="3112" y="4240"/>
                  </a:lnTo>
                  <a:lnTo>
                    <a:pt x="3116" y="4232"/>
                  </a:lnTo>
                  <a:lnTo>
                    <a:pt x="3118" y="4224"/>
                  </a:lnTo>
                  <a:lnTo>
                    <a:pt x="3118" y="4220"/>
                  </a:lnTo>
                  <a:lnTo>
                    <a:pt x="3116" y="4216"/>
                  </a:lnTo>
                  <a:lnTo>
                    <a:pt x="3116" y="4208"/>
                  </a:lnTo>
                  <a:lnTo>
                    <a:pt x="3118" y="4204"/>
                  </a:lnTo>
                  <a:lnTo>
                    <a:pt x="3116" y="4198"/>
                  </a:lnTo>
                  <a:lnTo>
                    <a:pt x="3114" y="4194"/>
                  </a:lnTo>
                  <a:lnTo>
                    <a:pt x="3110" y="4190"/>
                  </a:lnTo>
                  <a:lnTo>
                    <a:pt x="3100" y="4184"/>
                  </a:lnTo>
                  <a:lnTo>
                    <a:pt x="3086" y="4178"/>
                  </a:lnTo>
                  <a:close/>
                  <a:moveTo>
                    <a:pt x="3138" y="4192"/>
                  </a:moveTo>
                  <a:lnTo>
                    <a:pt x="3138" y="4192"/>
                  </a:lnTo>
                  <a:lnTo>
                    <a:pt x="3140" y="4190"/>
                  </a:lnTo>
                  <a:lnTo>
                    <a:pt x="3142" y="4186"/>
                  </a:lnTo>
                  <a:lnTo>
                    <a:pt x="3140" y="4180"/>
                  </a:lnTo>
                  <a:lnTo>
                    <a:pt x="3138" y="4178"/>
                  </a:lnTo>
                  <a:lnTo>
                    <a:pt x="3134" y="4178"/>
                  </a:lnTo>
                  <a:lnTo>
                    <a:pt x="3132" y="4178"/>
                  </a:lnTo>
                  <a:lnTo>
                    <a:pt x="3130" y="4178"/>
                  </a:lnTo>
                  <a:lnTo>
                    <a:pt x="3130" y="4184"/>
                  </a:lnTo>
                  <a:lnTo>
                    <a:pt x="3130" y="4188"/>
                  </a:lnTo>
                  <a:lnTo>
                    <a:pt x="3132" y="4192"/>
                  </a:lnTo>
                  <a:lnTo>
                    <a:pt x="3134" y="4194"/>
                  </a:lnTo>
                  <a:lnTo>
                    <a:pt x="3138" y="4192"/>
                  </a:lnTo>
                  <a:close/>
                  <a:moveTo>
                    <a:pt x="3386" y="4736"/>
                  </a:moveTo>
                  <a:lnTo>
                    <a:pt x="3386" y="4736"/>
                  </a:lnTo>
                  <a:lnTo>
                    <a:pt x="3388" y="4742"/>
                  </a:lnTo>
                  <a:lnTo>
                    <a:pt x="3392" y="4742"/>
                  </a:lnTo>
                  <a:lnTo>
                    <a:pt x="3396" y="4740"/>
                  </a:lnTo>
                  <a:lnTo>
                    <a:pt x="3398" y="4736"/>
                  </a:lnTo>
                  <a:lnTo>
                    <a:pt x="3402" y="4732"/>
                  </a:lnTo>
                  <a:lnTo>
                    <a:pt x="3404" y="4726"/>
                  </a:lnTo>
                  <a:lnTo>
                    <a:pt x="3404" y="4720"/>
                  </a:lnTo>
                  <a:lnTo>
                    <a:pt x="3404" y="4714"/>
                  </a:lnTo>
                  <a:lnTo>
                    <a:pt x="3400" y="4712"/>
                  </a:lnTo>
                  <a:lnTo>
                    <a:pt x="3398" y="4712"/>
                  </a:lnTo>
                  <a:lnTo>
                    <a:pt x="3394" y="4714"/>
                  </a:lnTo>
                  <a:lnTo>
                    <a:pt x="3392" y="4718"/>
                  </a:lnTo>
                  <a:lnTo>
                    <a:pt x="3388" y="4726"/>
                  </a:lnTo>
                  <a:lnTo>
                    <a:pt x="3386" y="4736"/>
                  </a:lnTo>
                  <a:close/>
                  <a:moveTo>
                    <a:pt x="3378" y="4912"/>
                  </a:moveTo>
                  <a:lnTo>
                    <a:pt x="3378" y="4912"/>
                  </a:lnTo>
                  <a:lnTo>
                    <a:pt x="3374" y="4908"/>
                  </a:lnTo>
                  <a:lnTo>
                    <a:pt x="3370" y="4906"/>
                  </a:lnTo>
                  <a:lnTo>
                    <a:pt x="3364" y="4904"/>
                  </a:lnTo>
                  <a:lnTo>
                    <a:pt x="3362" y="4904"/>
                  </a:lnTo>
                  <a:lnTo>
                    <a:pt x="3358" y="4906"/>
                  </a:lnTo>
                  <a:lnTo>
                    <a:pt x="3356" y="4908"/>
                  </a:lnTo>
                  <a:lnTo>
                    <a:pt x="3354" y="4912"/>
                  </a:lnTo>
                  <a:lnTo>
                    <a:pt x="3354" y="4916"/>
                  </a:lnTo>
                  <a:lnTo>
                    <a:pt x="3354" y="4922"/>
                  </a:lnTo>
                  <a:lnTo>
                    <a:pt x="3358" y="4924"/>
                  </a:lnTo>
                  <a:lnTo>
                    <a:pt x="3366" y="4922"/>
                  </a:lnTo>
                  <a:lnTo>
                    <a:pt x="3382" y="4922"/>
                  </a:lnTo>
                  <a:lnTo>
                    <a:pt x="3384" y="4922"/>
                  </a:lnTo>
                  <a:lnTo>
                    <a:pt x="3384" y="4920"/>
                  </a:lnTo>
                  <a:lnTo>
                    <a:pt x="3378" y="4912"/>
                  </a:lnTo>
                  <a:close/>
                  <a:moveTo>
                    <a:pt x="3378" y="5236"/>
                  </a:moveTo>
                  <a:lnTo>
                    <a:pt x="3378" y="5236"/>
                  </a:lnTo>
                  <a:lnTo>
                    <a:pt x="3374" y="5234"/>
                  </a:lnTo>
                  <a:lnTo>
                    <a:pt x="3370" y="5234"/>
                  </a:lnTo>
                  <a:lnTo>
                    <a:pt x="3368" y="5236"/>
                  </a:lnTo>
                  <a:lnTo>
                    <a:pt x="3372" y="5240"/>
                  </a:lnTo>
                  <a:lnTo>
                    <a:pt x="3376" y="5242"/>
                  </a:lnTo>
                  <a:lnTo>
                    <a:pt x="3380" y="5240"/>
                  </a:lnTo>
                  <a:lnTo>
                    <a:pt x="3380" y="5238"/>
                  </a:lnTo>
                  <a:lnTo>
                    <a:pt x="3378" y="5236"/>
                  </a:lnTo>
                  <a:close/>
                  <a:moveTo>
                    <a:pt x="3444" y="5230"/>
                  </a:moveTo>
                  <a:lnTo>
                    <a:pt x="3444" y="5230"/>
                  </a:lnTo>
                  <a:lnTo>
                    <a:pt x="3448" y="5232"/>
                  </a:lnTo>
                  <a:lnTo>
                    <a:pt x="3450" y="5230"/>
                  </a:lnTo>
                  <a:lnTo>
                    <a:pt x="3452" y="5228"/>
                  </a:lnTo>
                  <a:lnTo>
                    <a:pt x="3452" y="5224"/>
                  </a:lnTo>
                  <a:lnTo>
                    <a:pt x="3448" y="5220"/>
                  </a:lnTo>
                  <a:lnTo>
                    <a:pt x="3442" y="5218"/>
                  </a:lnTo>
                  <a:lnTo>
                    <a:pt x="3440" y="5220"/>
                  </a:lnTo>
                  <a:lnTo>
                    <a:pt x="3442" y="5224"/>
                  </a:lnTo>
                  <a:lnTo>
                    <a:pt x="3444" y="5230"/>
                  </a:lnTo>
                  <a:close/>
                  <a:moveTo>
                    <a:pt x="3364" y="4876"/>
                  </a:moveTo>
                  <a:lnTo>
                    <a:pt x="3364" y="4876"/>
                  </a:lnTo>
                  <a:lnTo>
                    <a:pt x="3364" y="4878"/>
                  </a:lnTo>
                  <a:lnTo>
                    <a:pt x="3366" y="4880"/>
                  </a:lnTo>
                  <a:lnTo>
                    <a:pt x="3370" y="4882"/>
                  </a:lnTo>
                  <a:lnTo>
                    <a:pt x="3372" y="4880"/>
                  </a:lnTo>
                  <a:lnTo>
                    <a:pt x="3374" y="4876"/>
                  </a:lnTo>
                  <a:lnTo>
                    <a:pt x="3372" y="4874"/>
                  </a:lnTo>
                  <a:lnTo>
                    <a:pt x="3368" y="4874"/>
                  </a:lnTo>
                  <a:lnTo>
                    <a:pt x="3364" y="4876"/>
                  </a:lnTo>
                  <a:close/>
                  <a:moveTo>
                    <a:pt x="3374" y="5022"/>
                  </a:moveTo>
                  <a:lnTo>
                    <a:pt x="3374" y="5022"/>
                  </a:lnTo>
                  <a:lnTo>
                    <a:pt x="3378" y="5024"/>
                  </a:lnTo>
                  <a:lnTo>
                    <a:pt x="3384" y="5022"/>
                  </a:lnTo>
                  <a:lnTo>
                    <a:pt x="3388" y="5018"/>
                  </a:lnTo>
                  <a:lnTo>
                    <a:pt x="3390" y="5012"/>
                  </a:lnTo>
                  <a:lnTo>
                    <a:pt x="3390" y="5010"/>
                  </a:lnTo>
                  <a:lnTo>
                    <a:pt x="3388" y="5010"/>
                  </a:lnTo>
                  <a:lnTo>
                    <a:pt x="3382" y="5012"/>
                  </a:lnTo>
                  <a:lnTo>
                    <a:pt x="3376" y="5018"/>
                  </a:lnTo>
                  <a:lnTo>
                    <a:pt x="3374" y="5020"/>
                  </a:lnTo>
                  <a:lnTo>
                    <a:pt x="3374" y="5022"/>
                  </a:lnTo>
                  <a:close/>
                  <a:moveTo>
                    <a:pt x="3412" y="3200"/>
                  </a:moveTo>
                  <a:lnTo>
                    <a:pt x="3412" y="3200"/>
                  </a:lnTo>
                  <a:lnTo>
                    <a:pt x="3408" y="3200"/>
                  </a:lnTo>
                  <a:lnTo>
                    <a:pt x="3406" y="3202"/>
                  </a:lnTo>
                  <a:lnTo>
                    <a:pt x="3404" y="3206"/>
                  </a:lnTo>
                  <a:lnTo>
                    <a:pt x="3406" y="3208"/>
                  </a:lnTo>
                  <a:lnTo>
                    <a:pt x="3408" y="3208"/>
                  </a:lnTo>
                  <a:lnTo>
                    <a:pt x="3414" y="3206"/>
                  </a:lnTo>
                  <a:lnTo>
                    <a:pt x="3416" y="3204"/>
                  </a:lnTo>
                  <a:lnTo>
                    <a:pt x="3416" y="3202"/>
                  </a:lnTo>
                  <a:lnTo>
                    <a:pt x="3412" y="3200"/>
                  </a:lnTo>
                  <a:close/>
                  <a:moveTo>
                    <a:pt x="3402" y="3084"/>
                  </a:moveTo>
                  <a:lnTo>
                    <a:pt x="3402" y="3084"/>
                  </a:lnTo>
                  <a:lnTo>
                    <a:pt x="3400" y="3088"/>
                  </a:lnTo>
                  <a:lnTo>
                    <a:pt x="3398" y="3092"/>
                  </a:lnTo>
                  <a:lnTo>
                    <a:pt x="3400" y="3096"/>
                  </a:lnTo>
                  <a:lnTo>
                    <a:pt x="3402" y="3098"/>
                  </a:lnTo>
                  <a:lnTo>
                    <a:pt x="3404" y="3096"/>
                  </a:lnTo>
                  <a:lnTo>
                    <a:pt x="3406" y="3092"/>
                  </a:lnTo>
                  <a:lnTo>
                    <a:pt x="3406" y="3088"/>
                  </a:lnTo>
                  <a:lnTo>
                    <a:pt x="3406" y="3084"/>
                  </a:lnTo>
                  <a:lnTo>
                    <a:pt x="3404" y="3084"/>
                  </a:lnTo>
                  <a:lnTo>
                    <a:pt x="3402" y="3084"/>
                  </a:lnTo>
                  <a:close/>
                  <a:moveTo>
                    <a:pt x="3416" y="3464"/>
                  </a:moveTo>
                  <a:lnTo>
                    <a:pt x="3416" y="3464"/>
                  </a:lnTo>
                  <a:lnTo>
                    <a:pt x="3420" y="3466"/>
                  </a:lnTo>
                  <a:lnTo>
                    <a:pt x="3422" y="3464"/>
                  </a:lnTo>
                  <a:lnTo>
                    <a:pt x="3422" y="3460"/>
                  </a:lnTo>
                  <a:lnTo>
                    <a:pt x="3420" y="3454"/>
                  </a:lnTo>
                  <a:lnTo>
                    <a:pt x="3418" y="3452"/>
                  </a:lnTo>
                  <a:lnTo>
                    <a:pt x="3416" y="3454"/>
                  </a:lnTo>
                  <a:lnTo>
                    <a:pt x="3414" y="3458"/>
                  </a:lnTo>
                  <a:lnTo>
                    <a:pt x="3416" y="3464"/>
                  </a:lnTo>
                  <a:close/>
                  <a:moveTo>
                    <a:pt x="2806" y="3776"/>
                  </a:moveTo>
                  <a:lnTo>
                    <a:pt x="2806" y="3776"/>
                  </a:lnTo>
                  <a:lnTo>
                    <a:pt x="2810" y="3778"/>
                  </a:lnTo>
                  <a:lnTo>
                    <a:pt x="2814" y="3778"/>
                  </a:lnTo>
                  <a:lnTo>
                    <a:pt x="2816" y="3776"/>
                  </a:lnTo>
                  <a:lnTo>
                    <a:pt x="2818" y="3774"/>
                  </a:lnTo>
                  <a:lnTo>
                    <a:pt x="2820" y="3768"/>
                  </a:lnTo>
                  <a:lnTo>
                    <a:pt x="2818" y="3762"/>
                  </a:lnTo>
                  <a:lnTo>
                    <a:pt x="2820" y="3758"/>
                  </a:lnTo>
                  <a:lnTo>
                    <a:pt x="2820" y="3754"/>
                  </a:lnTo>
                  <a:lnTo>
                    <a:pt x="2820" y="3752"/>
                  </a:lnTo>
                  <a:lnTo>
                    <a:pt x="2818" y="3752"/>
                  </a:lnTo>
                  <a:lnTo>
                    <a:pt x="2814" y="3752"/>
                  </a:lnTo>
                  <a:lnTo>
                    <a:pt x="2812" y="3752"/>
                  </a:lnTo>
                  <a:lnTo>
                    <a:pt x="2814" y="3752"/>
                  </a:lnTo>
                  <a:lnTo>
                    <a:pt x="2814" y="3750"/>
                  </a:lnTo>
                  <a:lnTo>
                    <a:pt x="2812" y="3748"/>
                  </a:lnTo>
                  <a:lnTo>
                    <a:pt x="2810" y="3750"/>
                  </a:lnTo>
                  <a:lnTo>
                    <a:pt x="2808" y="3752"/>
                  </a:lnTo>
                  <a:lnTo>
                    <a:pt x="2808" y="3756"/>
                  </a:lnTo>
                  <a:lnTo>
                    <a:pt x="2806" y="3758"/>
                  </a:lnTo>
                  <a:lnTo>
                    <a:pt x="2802" y="3760"/>
                  </a:lnTo>
                  <a:lnTo>
                    <a:pt x="2802" y="3766"/>
                  </a:lnTo>
                  <a:lnTo>
                    <a:pt x="2802" y="3774"/>
                  </a:lnTo>
                  <a:lnTo>
                    <a:pt x="2800" y="3774"/>
                  </a:lnTo>
                  <a:lnTo>
                    <a:pt x="2802" y="3774"/>
                  </a:lnTo>
                  <a:lnTo>
                    <a:pt x="2804" y="3774"/>
                  </a:lnTo>
                  <a:lnTo>
                    <a:pt x="2806" y="3776"/>
                  </a:lnTo>
                  <a:close/>
                  <a:moveTo>
                    <a:pt x="3380" y="3090"/>
                  </a:moveTo>
                  <a:lnTo>
                    <a:pt x="3380" y="3090"/>
                  </a:lnTo>
                  <a:lnTo>
                    <a:pt x="3378" y="3088"/>
                  </a:lnTo>
                  <a:lnTo>
                    <a:pt x="3376" y="3086"/>
                  </a:lnTo>
                  <a:lnTo>
                    <a:pt x="3372" y="3088"/>
                  </a:lnTo>
                  <a:lnTo>
                    <a:pt x="3370" y="3090"/>
                  </a:lnTo>
                  <a:lnTo>
                    <a:pt x="3370" y="3092"/>
                  </a:lnTo>
                  <a:lnTo>
                    <a:pt x="3376" y="3096"/>
                  </a:lnTo>
                  <a:lnTo>
                    <a:pt x="3378" y="3096"/>
                  </a:lnTo>
                  <a:lnTo>
                    <a:pt x="3380" y="3096"/>
                  </a:lnTo>
                  <a:lnTo>
                    <a:pt x="3380" y="3090"/>
                  </a:lnTo>
                  <a:close/>
                  <a:moveTo>
                    <a:pt x="3918" y="2740"/>
                  </a:moveTo>
                  <a:lnTo>
                    <a:pt x="3918" y="2740"/>
                  </a:lnTo>
                  <a:lnTo>
                    <a:pt x="3918" y="2736"/>
                  </a:lnTo>
                  <a:lnTo>
                    <a:pt x="3918" y="2734"/>
                  </a:lnTo>
                  <a:lnTo>
                    <a:pt x="3914" y="2732"/>
                  </a:lnTo>
                  <a:lnTo>
                    <a:pt x="3908" y="2730"/>
                  </a:lnTo>
                  <a:lnTo>
                    <a:pt x="3902" y="2728"/>
                  </a:lnTo>
                  <a:lnTo>
                    <a:pt x="3900" y="2726"/>
                  </a:lnTo>
                  <a:lnTo>
                    <a:pt x="3898" y="2728"/>
                  </a:lnTo>
                  <a:lnTo>
                    <a:pt x="3894" y="2736"/>
                  </a:lnTo>
                  <a:lnTo>
                    <a:pt x="3894" y="2740"/>
                  </a:lnTo>
                  <a:lnTo>
                    <a:pt x="3894" y="2744"/>
                  </a:lnTo>
                  <a:lnTo>
                    <a:pt x="3898" y="2746"/>
                  </a:lnTo>
                  <a:lnTo>
                    <a:pt x="3902" y="2744"/>
                  </a:lnTo>
                  <a:lnTo>
                    <a:pt x="3906" y="2744"/>
                  </a:lnTo>
                  <a:lnTo>
                    <a:pt x="3910" y="2746"/>
                  </a:lnTo>
                  <a:lnTo>
                    <a:pt x="3910" y="2748"/>
                  </a:lnTo>
                  <a:lnTo>
                    <a:pt x="3912" y="2752"/>
                  </a:lnTo>
                  <a:lnTo>
                    <a:pt x="3908" y="2760"/>
                  </a:lnTo>
                  <a:lnTo>
                    <a:pt x="3906" y="2762"/>
                  </a:lnTo>
                  <a:lnTo>
                    <a:pt x="3904" y="2760"/>
                  </a:lnTo>
                  <a:lnTo>
                    <a:pt x="3900" y="2758"/>
                  </a:lnTo>
                  <a:lnTo>
                    <a:pt x="3898" y="2760"/>
                  </a:lnTo>
                  <a:lnTo>
                    <a:pt x="3894" y="2762"/>
                  </a:lnTo>
                  <a:lnTo>
                    <a:pt x="3890" y="2764"/>
                  </a:lnTo>
                  <a:lnTo>
                    <a:pt x="3888" y="2762"/>
                  </a:lnTo>
                  <a:lnTo>
                    <a:pt x="3888" y="2756"/>
                  </a:lnTo>
                  <a:lnTo>
                    <a:pt x="3886" y="2746"/>
                  </a:lnTo>
                  <a:lnTo>
                    <a:pt x="3884" y="2742"/>
                  </a:lnTo>
                  <a:lnTo>
                    <a:pt x="3880" y="2740"/>
                  </a:lnTo>
                  <a:lnTo>
                    <a:pt x="3878" y="2742"/>
                  </a:lnTo>
                  <a:lnTo>
                    <a:pt x="3876" y="2744"/>
                  </a:lnTo>
                  <a:lnTo>
                    <a:pt x="3874" y="2750"/>
                  </a:lnTo>
                  <a:lnTo>
                    <a:pt x="3874" y="2758"/>
                  </a:lnTo>
                  <a:lnTo>
                    <a:pt x="3872" y="2764"/>
                  </a:lnTo>
                  <a:lnTo>
                    <a:pt x="3870" y="2768"/>
                  </a:lnTo>
                  <a:lnTo>
                    <a:pt x="3866" y="2768"/>
                  </a:lnTo>
                  <a:lnTo>
                    <a:pt x="3862" y="2770"/>
                  </a:lnTo>
                  <a:lnTo>
                    <a:pt x="3858" y="2770"/>
                  </a:lnTo>
                  <a:lnTo>
                    <a:pt x="3856" y="2772"/>
                  </a:lnTo>
                  <a:lnTo>
                    <a:pt x="3856" y="2776"/>
                  </a:lnTo>
                  <a:lnTo>
                    <a:pt x="3856" y="2786"/>
                  </a:lnTo>
                  <a:lnTo>
                    <a:pt x="3858" y="2796"/>
                  </a:lnTo>
                  <a:lnTo>
                    <a:pt x="3860" y="2802"/>
                  </a:lnTo>
                  <a:lnTo>
                    <a:pt x="3858" y="2806"/>
                  </a:lnTo>
                  <a:lnTo>
                    <a:pt x="3856" y="2808"/>
                  </a:lnTo>
                  <a:lnTo>
                    <a:pt x="3852" y="2810"/>
                  </a:lnTo>
                  <a:lnTo>
                    <a:pt x="3850" y="2812"/>
                  </a:lnTo>
                  <a:lnTo>
                    <a:pt x="3850" y="2814"/>
                  </a:lnTo>
                  <a:lnTo>
                    <a:pt x="3850" y="2816"/>
                  </a:lnTo>
                  <a:lnTo>
                    <a:pt x="3852" y="2818"/>
                  </a:lnTo>
                  <a:lnTo>
                    <a:pt x="3854" y="2818"/>
                  </a:lnTo>
                  <a:lnTo>
                    <a:pt x="3858" y="2820"/>
                  </a:lnTo>
                  <a:lnTo>
                    <a:pt x="3860" y="2824"/>
                  </a:lnTo>
                  <a:lnTo>
                    <a:pt x="3860" y="2832"/>
                  </a:lnTo>
                  <a:lnTo>
                    <a:pt x="3858" y="2846"/>
                  </a:lnTo>
                  <a:lnTo>
                    <a:pt x="3854" y="2866"/>
                  </a:lnTo>
                  <a:lnTo>
                    <a:pt x="3850" y="2884"/>
                  </a:lnTo>
                  <a:lnTo>
                    <a:pt x="3844" y="2896"/>
                  </a:lnTo>
                  <a:lnTo>
                    <a:pt x="3840" y="2904"/>
                  </a:lnTo>
                  <a:lnTo>
                    <a:pt x="3834" y="2912"/>
                  </a:lnTo>
                  <a:lnTo>
                    <a:pt x="3822" y="2926"/>
                  </a:lnTo>
                  <a:lnTo>
                    <a:pt x="3808" y="2942"/>
                  </a:lnTo>
                  <a:lnTo>
                    <a:pt x="3802" y="2952"/>
                  </a:lnTo>
                  <a:lnTo>
                    <a:pt x="3794" y="2960"/>
                  </a:lnTo>
                  <a:lnTo>
                    <a:pt x="3788" y="2964"/>
                  </a:lnTo>
                  <a:lnTo>
                    <a:pt x="3782" y="2968"/>
                  </a:lnTo>
                  <a:lnTo>
                    <a:pt x="3768" y="2974"/>
                  </a:lnTo>
                  <a:lnTo>
                    <a:pt x="3760" y="2978"/>
                  </a:lnTo>
                  <a:lnTo>
                    <a:pt x="3752" y="2984"/>
                  </a:lnTo>
                  <a:lnTo>
                    <a:pt x="3742" y="2990"/>
                  </a:lnTo>
                  <a:lnTo>
                    <a:pt x="3742" y="2988"/>
                  </a:lnTo>
                  <a:lnTo>
                    <a:pt x="3742" y="2986"/>
                  </a:lnTo>
                  <a:lnTo>
                    <a:pt x="3744" y="2978"/>
                  </a:lnTo>
                  <a:lnTo>
                    <a:pt x="3744" y="2974"/>
                  </a:lnTo>
                  <a:lnTo>
                    <a:pt x="3740" y="2970"/>
                  </a:lnTo>
                  <a:lnTo>
                    <a:pt x="3740" y="2968"/>
                  </a:lnTo>
                  <a:lnTo>
                    <a:pt x="3740" y="2966"/>
                  </a:lnTo>
                  <a:lnTo>
                    <a:pt x="3748" y="2960"/>
                  </a:lnTo>
                  <a:lnTo>
                    <a:pt x="3754" y="2952"/>
                  </a:lnTo>
                  <a:lnTo>
                    <a:pt x="3756" y="2948"/>
                  </a:lnTo>
                  <a:lnTo>
                    <a:pt x="3754" y="2944"/>
                  </a:lnTo>
                  <a:lnTo>
                    <a:pt x="3752" y="2944"/>
                  </a:lnTo>
                  <a:lnTo>
                    <a:pt x="3748" y="2944"/>
                  </a:lnTo>
                  <a:lnTo>
                    <a:pt x="3738" y="2948"/>
                  </a:lnTo>
                  <a:lnTo>
                    <a:pt x="3734" y="2952"/>
                  </a:lnTo>
                  <a:lnTo>
                    <a:pt x="3730" y="2956"/>
                  </a:lnTo>
                  <a:lnTo>
                    <a:pt x="3728" y="2962"/>
                  </a:lnTo>
                  <a:lnTo>
                    <a:pt x="3730" y="2966"/>
                  </a:lnTo>
                  <a:lnTo>
                    <a:pt x="3730" y="2976"/>
                  </a:lnTo>
                  <a:lnTo>
                    <a:pt x="3728" y="2986"/>
                  </a:lnTo>
                  <a:lnTo>
                    <a:pt x="3722" y="2996"/>
                  </a:lnTo>
                  <a:lnTo>
                    <a:pt x="3716" y="3006"/>
                  </a:lnTo>
                  <a:lnTo>
                    <a:pt x="3704" y="3022"/>
                  </a:lnTo>
                  <a:lnTo>
                    <a:pt x="3700" y="3026"/>
                  </a:lnTo>
                  <a:lnTo>
                    <a:pt x="3698" y="3030"/>
                  </a:lnTo>
                  <a:lnTo>
                    <a:pt x="3700" y="3036"/>
                  </a:lnTo>
                  <a:lnTo>
                    <a:pt x="3700" y="3044"/>
                  </a:lnTo>
                  <a:lnTo>
                    <a:pt x="3698" y="3046"/>
                  </a:lnTo>
                  <a:lnTo>
                    <a:pt x="3694" y="3050"/>
                  </a:lnTo>
                  <a:lnTo>
                    <a:pt x="3690" y="3052"/>
                  </a:lnTo>
                  <a:lnTo>
                    <a:pt x="3682" y="3054"/>
                  </a:lnTo>
                  <a:lnTo>
                    <a:pt x="3676" y="3054"/>
                  </a:lnTo>
                  <a:lnTo>
                    <a:pt x="3672" y="3052"/>
                  </a:lnTo>
                  <a:lnTo>
                    <a:pt x="3672" y="3048"/>
                  </a:lnTo>
                  <a:lnTo>
                    <a:pt x="3674" y="3044"/>
                  </a:lnTo>
                  <a:lnTo>
                    <a:pt x="3672" y="3042"/>
                  </a:lnTo>
                  <a:lnTo>
                    <a:pt x="3668" y="3040"/>
                  </a:lnTo>
                  <a:lnTo>
                    <a:pt x="3662" y="3042"/>
                  </a:lnTo>
                  <a:lnTo>
                    <a:pt x="3652" y="3044"/>
                  </a:lnTo>
                  <a:lnTo>
                    <a:pt x="3626" y="3052"/>
                  </a:lnTo>
                  <a:lnTo>
                    <a:pt x="3614" y="3056"/>
                  </a:lnTo>
                  <a:lnTo>
                    <a:pt x="3602" y="3058"/>
                  </a:lnTo>
                  <a:lnTo>
                    <a:pt x="3594" y="3058"/>
                  </a:lnTo>
                  <a:lnTo>
                    <a:pt x="3592" y="3056"/>
                  </a:lnTo>
                  <a:lnTo>
                    <a:pt x="3590" y="3054"/>
                  </a:lnTo>
                  <a:lnTo>
                    <a:pt x="3588" y="3050"/>
                  </a:lnTo>
                  <a:lnTo>
                    <a:pt x="3584" y="3050"/>
                  </a:lnTo>
                  <a:lnTo>
                    <a:pt x="3580" y="3050"/>
                  </a:lnTo>
                  <a:lnTo>
                    <a:pt x="3574" y="3052"/>
                  </a:lnTo>
                  <a:lnTo>
                    <a:pt x="3562" y="3062"/>
                  </a:lnTo>
                  <a:lnTo>
                    <a:pt x="3548" y="3080"/>
                  </a:lnTo>
                  <a:lnTo>
                    <a:pt x="3542" y="3088"/>
                  </a:lnTo>
                  <a:lnTo>
                    <a:pt x="3536" y="3092"/>
                  </a:lnTo>
                  <a:lnTo>
                    <a:pt x="3530" y="3096"/>
                  </a:lnTo>
                  <a:lnTo>
                    <a:pt x="3524" y="3098"/>
                  </a:lnTo>
                  <a:lnTo>
                    <a:pt x="3518" y="3106"/>
                  </a:lnTo>
                  <a:lnTo>
                    <a:pt x="3514" y="3112"/>
                  </a:lnTo>
                  <a:lnTo>
                    <a:pt x="3510" y="3114"/>
                  </a:lnTo>
                  <a:lnTo>
                    <a:pt x="3502" y="3114"/>
                  </a:lnTo>
                  <a:lnTo>
                    <a:pt x="3500" y="3116"/>
                  </a:lnTo>
                  <a:lnTo>
                    <a:pt x="3498" y="3116"/>
                  </a:lnTo>
                  <a:lnTo>
                    <a:pt x="3496" y="3120"/>
                  </a:lnTo>
                  <a:lnTo>
                    <a:pt x="3496" y="3126"/>
                  </a:lnTo>
                  <a:lnTo>
                    <a:pt x="3496" y="3132"/>
                  </a:lnTo>
                  <a:lnTo>
                    <a:pt x="3500" y="3136"/>
                  </a:lnTo>
                  <a:lnTo>
                    <a:pt x="3504" y="3136"/>
                  </a:lnTo>
                  <a:lnTo>
                    <a:pt x="3508" y="3136"/>
                  </a:lnTo>
                  <a:lnTo>
                    <a:pt x="3522" y="3134"/>
                  </a:lnTo>
                  <a:lnTo>
                    <a:pt x="3528" y="3134"/>
                  </a:lnTo>
                  <a:lnTo>
                    <a:pt x="3536" y="3138"/>
                  </a:lnTo>
                  <a:lnTo>
                    <a:pt x="3542" y="3140"/>
                  </a:lnTo>
                  <a:lnTo>
                    <a:pt x="3544" y="3140"/>
                  </a:lnTo>
                  <a:lnTo>
                    <a:pt x="3546" y="3138"/>
                  </a:lnTo>
                  <a:lnTo>
                    <a:pt x="3546" y="3134"/>
                  </a:lnTo>
                  <a:lnTo>
                    <a:pt x="3546" y="3124"/>
                  </a:lnTo>
                  <a:lnTo>
                    <a:pt x="3548" y="3120"/>
                  </a:lnTo>
                  <a:lnTo>
                    <a:pt x="3550" y="3118"/>
                  </a:lnTo>
                  <a:lnTo>
                    <a:pt x="3556" y="3116"/>
                  </a:lnTo>
                  <a:lnTo>
                    <a:pt x="3558" y="3118"/>
                  </a:lnTo>
                  <a:lnTo>
                    <a:pt x="3562" y="3120"/>
                  </a:lnTo>
                  <a:lnTo>
                    <a:pt x="3570" y="3120"/>
                  </a:lnTo>
                  <a:lnTo>
                    <a:pt x="3596" y="3116"/>
                  </a:lnTo>
                  <a:lnTo>
                    <a:pt x="3620" y="3108"/>
                  </a:lnTo>
                  <a:lnTo>
                    <a:pt x="3626" y="3104"/>
                  </a:lnTo>
                  <a:lnTo>
                    <a:pt x="3630" y="3102"/>
                  </a:lnTo>
                  <a:lnTo>
                    <a:pt x="3632" y="3098"/>
                  </a:lnTo>
                  <a:lnTo>
                    <a:pt x="3632" y="3096"/>
                  </a:lnTo>
                  <a:lnTo>
                    <a:pt x="3636" y="3096"/>
                  </a:lnTo>
                  <a:lnTo>
                    <a:pt x="3648" y="3098"/>
                  </a:lnTo>
                  <a:lnTo>
                    <a:pt x="3656" y="3100"/>
                  </a:lnTo>
                  <a:lnTo>
                    <a:pt x="3662" y="3100"/>
                  </a:lnTo>
                  <a:lnTo>
                    <a:pt x="3670" y="3098"/>
                  </a:lnTo>
                  <a:lnTo>
                    <a:pt x="3674" y="3098"/>
                  </a:lnTo>
                  <a:lnTo>
                    <a:pt x="3676" y="3102"/>
                  </a:lnTo>
                  <a:lnTo>
                    <a:pt x="3678" y="3106"/>
                  </a:lnTo>
                  <a:lnTo>
                    <a:pt x="3676" y="3110"/>
                  </a:lnTo>
                  <a:lnTo>
                    <a:pt x="3672" y="3114"/>
                  </a:lnTo>
                  <a:lnTo>
                    <a:pt x="3666" y="3118"/>
                  </a:lnTo>
                  <a:lnTo>
                    <a:pt x="3666" y="3120"/>
                  </a:lnTo>
                  <a:lnTo>
                    <a:pt x="3666" y="3124"/>
                  </a:lnTo>
                  <a:lnTo>
                    <a:pt x="3666" y="3130"/>
                  </a:lnTo>
                  <a:lnTo>
                    <a:pt x="3664" y="3136"/>
                  </a:lnTo>
                  <a:lnTo>
                    <a:pt x="3664" y="3142"/>
                  </a:lnTo>
                  <a:lnTo>
                    <a:pt x="3664" y="3144"/>
                  </a:lnTo>
                  <a:lnTo>
                    <a:pt x="3668" y="3146"/>
                  </a:lnTo>
                  <a:lnTo>
                    <a:pt x="3674" y="3150"/>
                  </a:lnTo>
                  <a:lnTo>
                    <a:pt x="3674" y="3152"/>
                  </a:lnTo>
                  <a:lnTo>
                    <a:pt x="3676" y="3156"/>
                  </a:lnTo>
                  <a:lnTo>
                    <a:pt x="3684" y="3162"/>
                  </a:lnTo>
                  <a:lnTo>
                    <a:pt x="3684" y="3164"/>
                  </a:lnTo>
                  <a:lnTo>
                    <a:pt x="3688" y="3166"/>
                  </a:lnTo>
                  <a:lnTo>
                    <a:pt x="3692" y="3164"/>
                  </a:lnTo>
                  <a:lnTo>
                    <a:pt x="3696" y="3160"/>
                  </a:lnTo>
                  <a:lnTo>
                    <a:pt x="3700" y="3156"/>
                  </a:lnTo>
                  <a:lnTo>
                    <a:pt x="3716" y="3130"/>
                  </a:lnTo>
                  <a:lnTo>
                    <a:pt x="3720" y="3124"/>
                  </a:lnTo>
                  <a:lnTo>
                    <a:pt x="3724" y="3122"/>
                  </a:lnTo>
                  <a:lnTo>
                    <a:pt x="3734" y="3118"/>
                  </a:lnTo>
                  <a:lnTo>
                    <a:pt x="3738" y="3116"/>
                  </a:lnTo>
                  <a:lnTo>
                    <a:pt x="3738" y="3114"/>
                  </a:lnTo>
                  <a:lnTo>
                    <a:pt x="3736" y="3112"/>
                  </a:lnTo>
                  <a:lnTo>
                    <a:pt x="3730" y="3108"/>
                  </a:lnTo>
                  <a:lnTo>
                    <a:pt x="3724" y="3104"/>
                  </a:lnTo>
                  <a:lnTo>
                    <a:pt x="3722" y="3098"/>
                  </a:lnTo>
                  <a:lnTo>
                    <a:pt x="3722" y="3090"/>
                  </a:lnTo>
                  <a:lnTo>
                    <a:pt x="3724" y="3086"/>
                  </a:lnTo>
                  <a:lnTo>
                    <a:pt x="3728" y="3082"/>
                  </a:lnTo>
                  <a:lnTo>
                    <a:pt x="3732" y="3080"/>
                  </a:lnTo>
                  <a:lnTo>
                    <a:pt x="3734" y="3082"/>
                  </a:lnTo>
                  <a:lnTo>
                    <a:pt x="3734" y="3086"/>
                  </a:lnTo>
                  <a:lnTo>
                    <a:pt x="3736" y="3092"/>
                  </a:lnTo>
                  <a:lnTo>
                    <a:pt x="3738" y="3094"/>
                  </a:lnTo>
                  <a:lnTo>
                    <a:pt x="3742" y="3096"/>
                  </a:lnTo>
                  <a:lnTo>
                    <a:pt x="3746" y="3096"/>
                  </a:lnTo>
                  <a:lnTo>
                    <a:pt x="3750" y="3096"/>
                  </a:lnTo>
                  <a:lnTo>
                    <a:pt x="3746" y="3100"/>
                  </a:lnTo>
                  <a:lnTo>
                    <a:pt x="3742" y="3104"/>
                  </a:lnTo>
                  <a:lnTo>
                    <a:pt x="3750" y="3104"/>
                  </a:lnTo>
                  <a:lnTo>
                    <a:pt x="3762" y="3102"/>
                  </a:lnTo>
                  <a:lnTo>
                    <a:pt x="3774" y="3102"/>
                  </a:lnTo>
                  <a:lnTo>
                    <a:pt x="3782" y="3104"/>
                  </a:lnTo>
                  <a:lnTo>
                    <a:pt x="3786" y="3104"/>
                  </a:lnTo>
                  <a:lnTo>
                    <a:pt x="3788" y="3100"/>
                  </a:lnTo>
                  <a:lnTo>
                    <a:pt x="3792" y="3092"/>
                  </a:lnTo>
                  <a:lnTo>
                    <a:pt x="3800" y="3082"/>
                  </a:lnTo>
                  <a:lnTo>
                    <a:pt x="3806" y="3076"/>
                  </a:lnTo>
                  <a:lnTo>
                    <a:pt x="3810" y="3076"/>
                  </a:lnTo>
                  <a:lnTo>
                    <a:pt x="3810" y="3078"/>
                  </a:lnTo>
                  <a:lnTo>
                    <a:pt x="3812" y="3082"/>
                  </a:lnTo>
                  <a:lnTo>
                    <a:pt x="3810" y="3090"/>
                  </a:lnTo>
                  <a:lnTo>
                    <a:pt x="3810" y="3096"/>
                  </a:lnTo>
                  <a:lnTo>
                    <a:pt x="3810" y="3102"/>
                  </a:lnTo>
                  <a:lnTo>
                    <a:pt x="3812" y="3104"/>
                  </a:lnTo>
                  <a:lnTo>
                    <a:pt x="3814" y="3104"/>
                  </a:lnTo>
                  <a:lnTo>
                    <a:pt x="3820" y="3098"/>
                  </a:lnTo>
                  <a:lnTo>
                    <a:pt x="3824" y="3086"/>
                  </a:lnTo>
                  <a:lnTo>
                    <a:pt x="3826" y="3076"/>
                  </a:lnTo>
                  <a:lnTo>
                    <a:pt x="3828" y="3068"/>
                  </a:lnTo>
                  <a:lnTo>
                    <a:pt x="3830" y="3066"/>
                  </a:lnTo>
                  <a:lnTo>
                    <a:pt x="3834" y="3066"/>
                  </a:lnTo>
                  <a:lnTo>
                    <a:pt x="3842" y="3070"/>
                  </a:lnTo>
                  <a:lnTo>
                    <a:pt x="3848" y="3074"/>
                  </a:lnTo>
                  <a:lnTo>
                    <a:pt x="3848" y="3072"/>
                  </a:lnTo>
                  <a:lnTo>
                    <a:pt x="3848" y="3064"/>
                  </a:lnTo>
                  <a:lnTo>
                    <a:pt x="3848" y="3060"/>
                  </a:lnTo>
                  <a:lnTo>
                    <a:pt x="3850" y="3054"/>
                  </a:lnTo>
                  <a:lnTo>
                    <a:pt x="3852" y="3050"/>
                  </a:lnTo>
                  <a:lnTo>
                    <a:pt x="3856" y="3048"/>
                  </a:lnTo>
                  <a:lnTo>
                    <a:pt x="3862" y="3046"/>
                  </a:lnTo>
                  <a:lnTo>
                    <a:pt x="3864" y="3048"/>
                  </a:lnTo>
                  <a:lnTo>
                    <a:pt x="3864" y="3050"/>
                  </a:lnTo>
                  <a:lnTo>
                    <a:pt x="3864" y="3052"/>
                  </a:lnTo>
                  <a:lnTo>
                    <a:pt x="3862" y="3056"/>
                  </a:lnTo>
                  <a:lnTo>
                    <a:pt x="3858" y="3066"/>
                  </a:lnTo>
                  <a:lnTo>
                    <a:pt x="3854" y="3080"/>
                  </a:lnTo>
                  <a:lnTo>
                    <a:pt x="3854" y="3090"/>
                  </a:lnTo>
                  <a:lnTo>
                    <a:pt x="3856" y="3090"/>
                  </a:lnTo>
                  <a:lnTo>
                    <a:pt x="3860" y="3086"/>
                  </a:lnTo>
                  <a:lnTo>
                    <a:pt x="3864" y="3080"/>
                  </a:lnTo>
                  <a:lnTo>
                    <a:pt x="3866" y="3078"/>
                  </a:lnTo>
                  <a:lnTo>
                    <a:pt x="3872" y="3076"/>
                  </a:lnTo>
                  <a:lnTo>
                    <a:pt x="3874" y="3076"/>
                  </a:lnTo>
                  <a:lnTo>
                    <a:pt x="3876" y="3072"/>
                  </a:lnTo>
                  <a:lnTo>
                    <a:pt x="3878" y="3060"/>
                  </a:lnTo>
                  <a:lnTo>
                    <a:pt x="3880" y="3052"/>
                  </a:lnTo>
                  <a:lnTo>
                    <a:pt x="3886" y="3048"/>
                  </a:lnTo>
                  <a:lnTo>
                    <a:pt x="3890" y="3048"/>
                  </a:lnTo>
                  <a:lnTo>
                    <a:pt x="3894" y="3048"/>
                  </a:lnTo>
                  <a:lnTo>
                    <a:pt x="3898" y="3048"/>
                  </a:lnTo>
                  <a:lnTo>
                    <a:pt x="3900" y="3046"/>
                  </a:lnTo>
                  <a:lnTo>
                    <a:pt x="3898" y="3042"/>
                  </a:lnTo>
                  <a:lnTo>
                    <a:pt x="3892" y="3034"/>
                  </a:lnTo>
                  <a:lnTo>
                    <a:pt x="3888" y="3028"/>
                  </a:lnTo>
                  <a:lnTo>
                    <a:pt x="3886" y="3022"/>
                  </a:lnTo>
                  <a:lnTo>
                    <a:pt x="3884" y="3010"/>
                  </a:lnTo>
                  <a:lnTo>
                    <a:pt x="3886" y="3000"/>
                  </a:lnTo>
                  <a:lnTo>
                    <a:pt x="3892" y="2988"/>
                  </a:lnTo>
                  <a:lnTo>
                    <a:pt x="3896" y="2978"/>
                  </a:lnTo>
                  <a:lnTo>
                    <a:pt x="3902" y="2966"/>
                  </a:lnTo>
                  <a:lnTo>
                    <a:pt x="3902" y="2952"/>
                  </a:lnTo>
                  <a:lnTo>
                    <a:pt x="3900" y="2938"/>
                  </a:lnTo>
                  <a:lnTo>
                    <a:pt x="3898" y="2928"/>
                  </a:lnTo>
                  <a:lnTo>
                    <a:pt x="3898" y="2920"/>
                  </a:lnTo>
                  <a:lnTo>
                    <a:pt x="3898" y="2912"/>
                  </a:lnTo>
                  <a:lnTo>
                    <a:pt x="3900" y="2906"/>
                  </a:lnTo>
                  <a:lnTo>
                    <a:pt x="3904" y="2902"/>
                  </a:lnTo>
                  <a:lnTo>
                    <a:pt x="3908" y="2900"/>
                  </a:lnTo>
                  <a:lnTo>
                    <a:pt x="3912" y="2900"/>
                  </a:lnTo>
                  <a:lnTo>
                    <a:pt x="3918" y="2902"/>
                  </a:lnTo>
                  <a:lnTo>
                    <a:pt x="3922" y="2906"/>
                  </a:lnTo>
                  <a:lnTo>
                    <a:pt x="3924" y="2906"/>
                  </a:lnTo>
                  <a:lnTo>
                    <a:pt x="3924" y="2898"/>
                  </a:lnTo>
                  <a:lnTo>
                    <a:pt x="3924" y="2884"/>
                  </a:lnTo>
                  <a:lnTo>
                    <a:pt x="3926" y="2876"/>
                  </a:lnTo>
                  <a:lnTo>
                    <a:pt x="3930" y="2868"/>
                  </a:lnTo>
                  <a:lnTo>
                    <a:pt x="3936" y="2860"/>
                  </a:lnTo>
                  <a:lnTo>
                    <a:pt x="3940" y="2850"/>
                  </a:lnTo>
                  <a:lnTo>
                    <a:pt x="3942" y="2840"/>
                  </a:lnTo>
                  <a:lnTo>
                    <a:pt x="3944" y="2830"/>
                  </a:lnTo>
                  <a:lnTo>
                    <a:pt x="3942" y="2820"/>
                  </a:lnTo>
                  <a:lnTo>
                    <a:pt x="3940" y="2810"/>
                  </a:lnTo>
                  <a:lnTo>
                    <a:pt x="3936" y="2802"/>
                  </a:lnTo>
                  <a:lnTo>
                    <a:pt x="3932" y="2794"/>
                  </a:lnTo>
                  <a:lnTo>
                    <a:pt x="3926" y="2788"/>
                  </a:lnTo>
                  <a:lnTo>
                    <a:pt x="3922" y="2780"/>
                  </a:lnTo>
                  <a:lnTo>
                    <a:pt x="3918" y="2766"/>
                  </a:lnTo>
                  <a:lnTo>
                    <a:pt x="3918" y="2752"/>
                  </a:lnTo>
                  <a:lnTo>
                    <a:pt x="3918" y="2740"/>
                  </a:lnTo>
                  <a:close/>
                  <a:moveTo>
                    <a:pt x="3276" y="3612"/>
                  </a:moveTo>
                  <a:lnTo>
                    <a:pt x="3276" y="3612"/>
                  </a:lnTo>
                  <a:lnTo>
                    <a:pt x="3274" y="3610"/>
                  </a:lnTo>
                  <a:lnTo>
                    <a:pt x="3270" y="3612"/>
                  </a:lnTo>
                  <a:lnTo>
                    <a:pt x="3268" y="3614"/>
                  </a:lnTo>
                  <a:lnTo>
                    <a:pt x="3268" y="3618"/>
                  </a:lnTo>
                  <a:lnTo>
                    <a:pt x="3272" y="3618"/>
                  </a:lnTo>
                  <a:lnTo>
                    <a:pt x="3274" y="3618"/>
                  </a:lnTo>
                  <a:lnTo>
                    <a:pt x="3276" y="3614"/>
                  </a:lnTo>
                  <a:lnTo>
                    <a:pt x="3276" y="3612"/>
                  </a:lnTo>
                  <a:close/>
                  <a:moveTo>
                    <a:pt x="3322" y="3130"/>
                  </a:moveTo>
                  <a:lnTo>
                    <a:pt x="3322" y="3130"/>
                  </a:lnTo>
                  <a:lnTo>
                    <a:pt x="3324" y="3128"/>
                  </a:lnTo>
                  <a:lnTo>
                    <a:pt x="3322" y="3126"/>
                  </a:lnTo>
                  <a:lnTo>
                    <a:pt x="3318" y="3126"/>
                  </a:lnTo>
                  <a:lnTo>
                    <a:pt x="3316" y="3128"/>
                  </a:lnTo>
                  <a:lnTo>
                    <a:pt x="3318" y="3130"/>
                  </a:lnTo>
                  <a:lnTo>
                    <a:pt x="3320" y="3130"/>
                  </a:lnTo>
                  <a:lnTo>
                    <a:pt x="3322" y="3130"/>
                  </a:lnTo>
                  <a:close/>
                  <a:moveTo>
                    <a:pt x="3302" y="3176"/>
                  </a:moveTo>
                  <a:lnTo>
                    <a:pt x="3302" y="3176"/>
                  </a:lnTo>
                  <a:lnTo>
                    <a:pt x="3304" y="3178"/>
                  </a:lnTo>
                  <a:lnTo>
                    <a:pt x="3310" y="3178"/>
                  </a:lnTo>
                  <a:lnTo>
                    <a:pt x="3320" y="3176"/>
                  </a:lnTo>
                  <a:lnTo>
                    <a:pt x="3330" y="3170"/>
                  </a:lnTo>
                  <a:lnTo>
                    <a:pt x="3334" y="3166"/>
                  </a:lnTo>
                  <a:lnTo>
                    <a:pt x="3334" y="3162"/>
                  </a:lnTo>
                  <a:lnTo>
                    <a:pt x="3332" y="3158"/>
                  </a:lnTo>
                  <a:lnTo>
                    <a:pt x="3326" y="3158"/>
                  </a:lnTo>
                  <a:lnTo>
                    <a:pt x="3322" y="3158"/>
                  </a:lnTo>
                  <a:lnTo>
                    <a:pt x="3314" y="3160"/>
                  </a:lnTo>
                  <a:lnTo>
                    <a:pt x="3310" y="3164"/>
                  </a:lnTo>
                  <a:lnTo>
                    <a:pt x="3304" y="3166"/>
                  </a:lnTo>
                  <a:lnTo>
                    <a:pt x="3302" y="3172"/>
                  </a:lnTo>
                  <a:lnTo>
                    <a:pt x="3302" y="3176"/>
                  </a:lnTo>
                  <a:close/>
                  <a:moveTo>
                    <a:pt x="3372" y="3542"/>
                  </a:moveTo>
                  <a:lnTo>
                    <a:pt x="3372" y="3542"/>
                  </a:lnTo>
                  <a:lnTo>
                    <a:pt x="3374" y="3538"/>
                  </a:lnTo>
                  <a:lnTo>
                    <a:pt x="3376" y="3534"/>
                  </a:lnTo>
                  <a:lnTo>
                    <a:pt x="3386" y="3520"/>
                  </a:lnTo>
                  <a:lnTo>
                    <a:pt x="3392" y="3512"/>
                  </a:lnTo>
                  <a:lnTo>
                    <a:pt x="3394" y="3508"/>
                  </a:lnTo>
                  <a:lnTo>
                    <a:pt x="3390" y="3508"/>
                  </a:lnTo>
                  <a:lnTo>
                    <a:pt x="3384" y="3512"/>
                  </a:lnTo>
                  <a:lnTo>
                    <a:pt x="3374" y="3522"/>
                  </a:lnTo>
                  <a:lnTo>
                    <a:pt x="3370" y="3528"/>
                  </a:lnTo>
                  <a:lnTo>
                    <a:pt x="3366" y="3538"/>
                  </a:lnTo>
                  <a:lnTo>
                    <a:pt x="3366" y="3544"/>
                  </a:lnTo>
                  <a:lnTo>
                    <a:pt x="3368" y="3546"/>
                  </a:lnTo>
                  <a:lnTo>
                    <a:pt x="3372" y="3544"/>
                  </a:lnTo>
                  <a:lnTo>
                    <a:pt x="3372" y="3542"/>
                  </a:lnTo>
                  <a:close/>
                  <a:moveTo>
                    <a:pt x="3932" y="2136"/>
                  </a:moveTo>
                  <a:lnTo>
                    <a:pt x="3932" y="2136"/>
                  </a:lnTo>
                  <a:lnTo>
                    <a:pt x="3930" y="2138"/>
                  </a:lnTo>
                  <a:lnTo>
                    <a:pt x="3932" y="2138"/>
                  </a:lnTo>
                  <a:lnTo>
                    <a:pt x="3936" y="2142"/>
                  </a:lnTo>
                  <a:lnTo>
                    <a:pt x="3942" y="2150"/>
                  </a:lnTo>
                  <a:lnTo>
                    <a:pt x="3950" y="2162"/>
                  </a:lnTo>
                  <a:lnTo>
                    <a:pt x="3952" y="2168"/>
                  </a:lnTo>
                  <a:lnTo>
                    <a:pt x="3952" y="2174"/>
                  </a:lnTo>
                  <a:lnTo>
                    <a:pt x="3948" y="2186"/>
                  </a:lnTo>
                  <a:lnTo>
                    <a:pt x="3944" y="2198"/>
                  </a:lnTo>
                  <a:lnTo>
                    <a:pt x="3944" y="2206"/>
                  </a:lnTo>
                  <a:lnTo>
                    <a:pt x="3946" y="2214"/>
                  </a:lnTo>
                  <a:lnTo>
                    <a:pt x="3948" y="2224"/>
                  </a:lnTo>
                  <a:lnTo>
                    <a:pt x="3948" y="2236"/>
                  </a:lnTo>
                  <a:lnTo>
                    <a:pt x="3948" y="2266"/>
                  </a:lnTo>
                  <a:lnTo>
                    <a:pt x="3944" y="2294"/>
                  </a:lnTo>
                  <a:lnTo>
                    <a:pt x="3940" y="2304"/>
                  </a:lnTo>
                  <a:lnTo>
                    <a:pt x="3938" y="2312"/>
                  </a:lnTo>
                  <a:lnTo>
                    <a:pt x="3936" y="2316"/>
                  </a:lnTo>
                  <a:lnTo>
                    <a:pt x="3938" y="2320"/>
                  </a:lnTo>
                  <a:lnTo>
                    <a:pt x="3944" y="2330"/>
                  </a:lnTo>
                  <a:lnTo>
                    <a:pt x="3946" y="2336"/>
                  </a:lnTo>
                  <a:lnTo>
                    <a:pt x="3948" y="2344"/>
                  </a:lnTo>
                  <a:lnTo>
                    <a:pt x="3946" y="2356"/>
                  </a:lnTo>
                  <a:lnTo>
                    <a:pt x="3942" y="2370"/>
                  </a:lnTo>
                  <a:lnTo>
                    <a:pt x="3940" y="2378"/>
                  </a:lnTo>
                  <a:lnTo>
                    <a:pt x="3940" y="2386"/>
                  </a:lnTo>
                  <a:lnTo>
                    <a:pt x="3942" y="2400"/>
                  </a:lnTo>
                  <a:lnTo>
                    <a:pt x="3944" y="2412"/>
                  </a:lnTo>
                  <a:lnTo>
                    <a:pt x="3944" y="2418"/>
                  </a:lnTo>
                  <a:lnTo>
                    <a:pt x="3940" y="2424"/>
                  </a:lnTo>
                  <a:lnTo>
                    <a:pt x="3936" y="2436"/>
                  </a:lnTo>
                  <a:lnTo>
                    <a:pt x="3934" y="2444"/>
                  </a:lnTo>
                  <a:lnTo>
                    <a:pt x="3936" y="2454"/>
                  </a:lnTo>
                  <a:lnTo>
                    <a:pt x="3938" y="2468"/>
                  </a:lnTo>
                  <a:lnTo>
                    <a:pt x="3942" y="2478"/>
                  </a:lnTo>
                  <a:lnTo>
                    <a:pt x="3944" y="2478"/>
                  </a:lnTo>
                  <a:lnTo>
                    <a:pt x="3946" y="2478"/>
                  </a:lnTo>
                  <a:lnTo>
                    <a:pt x="3950" y="2470"/>
                  </a:lnTo>
                  <a:lnTo>
                    <a:pt x="3954" y="2456"/>
                  </a:lnTo>
                  <a:lnTo>
                    <a:pt x="3958" y="2442"/>
                  </a:lnTo>
                  <a:lnTo>
                    <a:pt x="3962" y="2434"/>
                  </a:lnTo>
                  <a:lnTo>
                    <a:pt x="3966" y="2432"/>
                  </a:lnTo>
                  <a:lnTo>
                    <a:pt x="3968" y="2432"/>
                  </a:lnTo>
                  <a:lnTo>
                    <a:pt x="3972" y="2434"/>
                  </a:lnTo>
                  <a:lnTo>
                    <a:pt x="3976" y="2438"/>
                  </a:lnTo>
                  <a:lnTo>
                    <a:pt x="3980" y="2440"/>
                  </a:lnTo>
                  <a:lnTo>
                    <a:pt x="3984" y="2438"/>
                  </a:lnTo>
                  <a:lnTo>
                    <a:pt x="3990" y="2440"/>
                  </a:lnTo>
                  <a:lnTo>
                    <a:pt x="3994" y="2442"/>
                  </a:lnTo>
                  <a:lnTo>
                    <a:pt x="3996" y="2446"/>
                  </a:lnTo>
                  <a:lnTo>
                    <a:pt x="3998" y="2456"/>
                  </a:lnTo>
                  <a:lnTo>
                    <a:pt x="4000" y="2464"/>
                  </a:lnTo>
                  <a:lnTo>
                    <a:pt x="4000" y="2466"/>
                  </a:lnTo>
                  <a:lnTo>
                    <a:pt x="4002" y="2466"/>
                  </a:lnTo>
                  <a:lnTo>
                    <a:pt x="4006" y="2454"/>
                  </a:lnTo>
                  <a:lnTo>
                    <a:pt x="4006" y="2448"/>
                  </a:lnTo>
                  <a:lnTo>
                    <a:pt x="4004" y="2444"/>
                  </a:lnTo>
                  <a:lnTo>
                    <a:pt x="4002" y="2434"/>
                  </a:lnTo>
                  <a:lnTo>
                    <a:pt x="4002" y="2426"/>
                  </a:lnTo>
                  <a:lnTo>
                    <a:pt x="3998" y="2426"/>
                  </a:lnTo>
                  <a:lnTo>
                    <a:pt x="3992" y="2426"/>
                  </a:lnTo>
                  <a:lnTo>
                    <a:pt x="3990" y="2422"/>
                  </a:lnTo>
                  <a:lnTo>
                    <a:pt x="3986" y="2420"/>
                  </a:lnTo>
                  <a:lnTo>
                    <a:pt x="3984" y="2410"/>
                  </a:lnTo>
                  <a:lnTo>
                    <a:pt x="3980" y="2400"/>
                  </a:lnTo>
                  <a:lnTo>
                    <a:pt x="3976" y="2394"/>
                  </a:lnTo>
                  <a:lnTo>
                    <a:pt x="3972" y="2390"/>
                  </a:lnTo>
                  <a:lnTo>
                    <a:pt x="3966" y="2382"/>
                  </a:lnTo>
                  <a:lnTo>
                    <a:pt x="3964" y="2372"/>
                  </a:lnTo>
                  <a:lnTo>
                    <a:pt x="3964" y="2362"/>
                  </a:lnTo>
                  <a:lnTo>
                    <a:pt x="3964" y="2350"/>
                  </a:lnTo>
                  <a:lnTo>
                    <a:pt x="3970" y="2328"/>
                  </a:lnTo>
                  <a:lnTo>
                    <a:pt x="3978" y="2314"/>
                  </a:lnTo>
                  <a:lnTo>
                    <a:pt x="3980" y="2308"/>
                  </a:lnTo>
                  <a:lnTo>
                    <a:pt x="3982" y="2304"/>
                  </a:lnTo>
                  <a:lnTo>
                    <a:pt x="3982" y="2294"/>
                  </a:lnTo>
                  <a:lnTo>
                    <a:pt x="3984" y="2290"/>
                  </a:lnTo>
                  <a:lnTo>
                    <a:pt x="3984" y="2288"/>
                  </a:lnTo>
                  <a:lnTo>
                    <a:pt x="3988" y="2284"/>
                  </a:lnTo>
                  <a:lnTo>
                    <a:pt x="3994" y="2282"/>
                  </a:lnTo>
                  <a:lnTo>
                    <a:pt x="4004" y="2280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6" y="2294"/>
                  </a:lnTo>
                  <a:lnTo>
                    <a:pt x="4048" y="2314"/>
                  </a:lnTo>
                  <a:lnTo>
                    <a:pt x="4052" y="2316"/>
                  </a:lnTo>
                  <a:lnTo>
                    <a:pt x="4052" y="2312"/>
                  </a:lnTo>
                  <a:lnTo>
                    <a:pt x="4048" y="2302"/>
                  </a:lnTo>
                  <a:lnTo>
                    <a:pt x="4040" y="2294"/>
                  </a:lnTo>
                  <a:lnTo>
                    <a:pt x="4034" y="2282"/>
                  </a:lnTo>
                  <a:lnTo>
                    <a:pt x="4032" y="2276"/>
                  </a:lnTo>
                  <a:lnTo>
                    <a:pt x="4030" y="2268"/>
                  </a:lnTo>
                  <a:lnTo>
                    <a:pt x="4026" y="2252"/>
                  </a:lnTo>
                  <a:lnTo>
                    <a:pt x="4020" y="2234"/>
                  </a:lnTo>
                  <a:lnTo>
                    <a:pt x="4012" y="2214"/>
                  </a:lnTo>
                  <a:lnTo>
                    <a:pt x="4010" y="2206"/>
                  </a:lnTo>
                  <a:lnTo>
                    <a:pt x="4010" y="2196"/>
                  </a:lnTo>
                  <a:lnTo>
                    <a:pt x="4008" y="2180"/>
                  </a:lnTo>
                  <a:lnTo>
                    <a:pt x="4004" y="2168"/>
                  </a:lnTo>
                  <a:lnTo>
                    <a:pt x="4002" y="2158"/>
                  </a:lnTo>
                  <a:lnTo>
                    <a:pt x="3998" y="2148"/>
                  </a:lnTo>
                  <a:lnTo>
                    <a:pt x="3998" y="2144"/>
                  </a:lnTo>
                  <a:lnTo>
                    <a:pt x="3994" y="2146"/>
                  </a:lnTo>
                  <a:lnTo>
                    <a:pt x="3992" y="2146"/>
                  </a:lnTo>
                  <a:lnTo>
                    <a:pt x="3992" y="2138"/>
                  </a:lnTo>
                  <a:lnTo>
                    <a:pt x="3994" y="2128"/>
                  </a:lnTo>
                  <a:lnTo>
                    <a:pt x="3992" y="2128"/>
                  </a:lnTo>
                  <a:lnTo>
                    <a:pt x="3990" y="2128"/>
                  </a:lnTo>
                  <a:lnTo>
                    <a:pt x="3988" y="2124"/>
                  </a:lnTo>
                  <a:lnTo>
                    <a:pt x="3988" y="2116"/>
                  </a:lnTo>
                  <a:lnTo>
                    <a:pt x="3988" y="2108"/>
                  </a:lnTo>
                  <a:lnTo>
                    <a:pt x="3992" y="2096"/>
                  </a:lnTo>
                  <a:lnTo>
                    <a:pt x="3994" y="2090"/>
                  </a:lnTo>
                  <a:lnTo>
                    <a:pt x="3996" y="2082"/>
                  </a:lnTo>
                  <a:lnTo>
                    <a:pt x="3996" y="2072"/>
                  </a:lnTo>
                  <a:lnTo>
                    <a:pt x="3994" y="2058"/>
                  </a:lnTo>
                  <a:lnTo>
                    <a:pt x="3990" y="2042"/>
                  </a:lnTo>
                  <a:lnTo>
                    <a:pt x="3988" y="2036"/>
                  </a:lnTo>
                  <a:lnTo>
                    <a:pt x="3986" y="2034"/>
                  </a:lnTo>
                  <a:lnTo>
                    <a:pt x="3988" y="2032"/>
                  </a:lnTo>
                  <a:lnTo>
                    <a:pt x="3988" y="2028"/>
                  </a:lnTo>
                  <a:lnTo>
                    <a:pt x="3986" y="2026"/>
                  </a:lnTo>
                  <a:lnTo>
                    <a:pt x="3984" y="2026"/>
                  </a:lnTo>
                  <a:lnTo>
                    <a:pt x="3982" y="2022"/>
                  </a:lnTo>
                  <a:lnTo>
                    <a:pt x="3982" y="2014"/>
                  </a:lnTo>
                  <a:lnTo>
                    <a:pt x="3978" y="2010"/>
                  </a:lnTo>
                  <a:lnTo>
                    <a:pt x="3978" y="2006"/>
                  </a:lnTo>
                  <a:lnTo>
                    <a:pt x="3980" y="2000"/>
                  </a:lnTo>
                  <a:lnTo>
                    <a:pt x="3984" y="1994"/>
                  </a:lnTo>
                  <a:lnTo>
                    <a:pt x="3982" y="1988"/>
                  </a:lnTo>
                  <a:lnTo>
                    <a:pt x="3978" y="1984"/>
                  </a:lnTo>
                  <a:lnTo>
                    <a:pt x="3974" y="1976"/>
                  </a:lnTo>
                  <a:lnTo>
                    <a:pt x="3970" y="1972"/>
                  </a:lnTo>
                  <a:lnTo>
                    <a:pt x="3970" y="1974"/>
                  </a:lnTo>
                  <a:lnTo>
                    <a:pt x="3966" y="1978"/>
                  </a:lnTo>
                  <a:lnTo>
                    <a:pt x="3962" y="1980"/>
                  </a:lnTo>
                  <a:lnTo>
                    <a:pt x="3958" y="1982"/>
                  </a:lnTo>
                  <a:lnTo>
                    <a:pt x="3954" y="1982"/>
                  </a:lnTo>
                  <a:lnTo>
                    <a:pt x="3954" y="1984"/>
                  </a:lnTo>
                  <a:lnTo>
                    <a:pt x="3960" y="1990"/>
                  </a:lnTo>
                  <a:lnTo>
                    <a:pt x="3966" y="1998"/>
                  </a:lnTo>
                  <a:lnTo>
                    <a:pt x="3968" y="2004"/>
                  </a:lnTo>
                  <a:lnTo>
                    <a:pt x="3970" y="2008"/>
                  </a:lnTo>
                  <a:lnTo>
                    <a:pt x="3966" y="2016"/>
                  </a:lnTo>
                  <a:lnTo>
                    <a:pt x="3964" y="2018"/>
                  </a:lnTo>
                  <a:lnTo>
                    <a:pt x="3962" y="2018"/>
                  </a:lnTo>
                  <a:lnTo>
                    <a:pt x="3960" y="2020"/>
                  </a:lnTo>
                  <a:lnTo>
                    <a:pt x="3960" y="2024"/>
                  </a:lnTo>
                  <a:lnTo>
                    <a:pt x="3962" y="2024"/>
                  </a:lnTo>
                  <a:lnTo>
                    <a:pt x="3964" y="2026"/>
                  </a:lnTo>
                  <a:lnTo>
                    <a:pt x="3966" y="2028"/>
                  </a:lnTo>
                  <a:lnTo>
                    <a:pt x="3966" y="2030"/>
                  </a:lnTo>
                  <a:lnTo>
                    <a:pt x="3962" y="2034"/>
                  </a:lnTo>
                  <a:lnTo>
                    <a:pt x="3958" y="2038"/>
                  </a:lnTo>
                  <a:lnTo>
                    <a:pt x="3954" y="2038"/>
                  </a:lnTo>
                  <a:lnTo>
                    <a:pt x="3954" y="2036"/>
                  </a:lnTo>
                  <a:lnTo>
                    <a:pt x="3952" y="2034"/>
                  </a:lnTo>
                  <a:lnTo>
                    <a:pt x="3952" y="2030"/>
                  </a:lnTo>
                  <a:lnTo>
                    <a:pt x="3950" y="2028"/>
                  </a:lnTo>
                  <a:lnTo>
                    <a:pt x="3946" y="2030"/>
                  </a:lnTo>
                  <a:lnTo>
                    <a:pt x="3940" y="2032"/>
                  </a:lnTo>
                  <a:lnTo>
                    <a:pt x="3936" y="2034"/>
                  </a:lnTo>
                  <a:lnTo>
                    <a:pt x="3932" y="2036"/>
                  </a:lnTo>
                  <a:lnTo>
                    <a:pt x="3934" y="2044"/>
                  </a:lnTo>
                  <a:lnTo>
                    <a:pt x="3936" y="2054"/>
                  </a:lnTo>
                  <a:lnTo>
                    <a:pt x="3938" y="2066"/>
                  </a:lnTo>
                  <a:lnTo>
                    <a:pt x="3936" y="2078"/>
                  </a:lnTo>
                  <a:lnTo>
                    <a:pt x="3930" y="2090"/>
                  </a:lnTo>
                  <a:lnTo>
                    <a:pt x="3928" y="2098"/>
                  </a:lnTo>
                  <a:lnTo>
                    <a:pt x="3928" y="2104"/>
                  </a:lnTo>
                  <a:lnTo>
                    <a:pt x="3930" y="2108"/>
                  </a:lnTo>
                  <a:lnTo>
                    <a:pt x="3928" y="2118"/>
                  </a:lnTo>
                  <a:lnTo>
                    <a:pt x="3926" y="2124"/>
                  </a:lnTo>
                  <a:lnTo>
                    <a:pt x="3928" y="2128"/>
                  </a:lnTo>
                  <a:lnTo>
                    <a:pt x="3930" y="2132"/>
                  </a:lnTo>
                  <a:lnTo>
                    <a:pt x="3934" y="2134"/>
                  </a:lnTo>
                  <a:lnTo>
                    <a:pt x="3934" y="2136"/>
                  </a:lnTo>
                  <a:lnTo>
                    <a:pt x="3932" y="2136"/>
                  </a:lnTo>
                  <a:close/>
                  <a:moveTo>
                    <a:pt x="4070" y="2610"/>
                  </a:moveTo>
                  <a:lnTo>
                    <a:pt x="4070" y="2610"/>
                  </a:lnTo>
                  <a:lnTo>
                    <a:pt x="4068" y="2602"/>
                  </a:lnTo>
                  <a:lnTo>
                    <a:pt x="4068" y="2594"/>
                  </a:lnTo>
                  <a:lnTo>
                    <a:pt x="4070" y="2586"/>
                  </a:lnTo>
                  <a:lnTo>
                    <a:pt x="4072" y="2580"/>
                  </a:lnTo>
                  <a:lnTo>
                    <a:pt x="4078" y="2572"/>
                  </a:lnTo>
                  <a:lnTo>
                    <a:pt x="4078" y="2570"/>
                  </a:lnTo>
                  <a:lnTo>
                    <a:pt x="4076" y="2568"/>
                  </a:lnTo>
                  <a:lnTo>
                    <a:pt x="4072" y="2570"/>
                  </a:lnTo>
                  <a:lnTo>
                    <a:pt x="4068" y="2572"/>
                  </a:lnTo>
                  <a:lnTo>
                    <a:pt x="4062" y="2582"/>
                  </a:lnTo>
                  <a:lnTo>
                    <a:pt x="4054" y="2590"/>
                  </a:lnTo>
                  <a:lnTo>
                    <a:pt x="4050" y="2592"/>
                  </a:lnTo>
                  <a:lnTo>
                    <a:pt x="4044" y="2592"/>
                  </a:lnTo>
                  <a:lnTo>
                    <a:pt x="4040" y="2592"/>
                  </a:lnTo>
                  <a:lnTo>
                    <a:pt x="4038" y="2590"/>
                  </a:lnTo>
                  <a:lnTo>
                    <a:pt x="4036" y="2586"/>
                  </a:lnTo>
                  <a:lnTo>
                    <a:pt x="4034" y="2582"/>
                  </a:lnTo>
                  <a:lnTo>
                    <a:pt x="4032" y="2580"/>
                  </a:lnTo>
                  <a:lnTo>
                    <a:pt x="4028" y="2578"/>
                  </a:lnTo>
                  <a:lnTo>
                    <a:pt x="4022" y="2578"/>
                  </a:lnTo>
                  <a:lnTo>
                    <a:pt x="4012" y="2576"/>
                  </a:lnTo>
                  <a:lnTo>
                    <a:pt x="4004" y="2570"/>
                  </a:lnTo>
                  <a:lnTo>
                    <a:pt x="3994" y="2562"/>
                  </a:lnTo>
                  <a:lnTo>
                    <a:pt x="3984" y="2554"/>
                  </a:lnTo>
                  <a:lnTo>
                    <a:pt x="3966" y="2534"/>
                  </a:lnTo>
                  <a:lnTo>
                    <a:pt x="3952" y="2516"/>
                  </a:lnTo>
                  <a:lnTo>
                    <a:pt x="3946" y="2510"/>
                  </a:lnTo>
                  <a:lnTo>
                    <a:pt x="3940" y="2506"/>
                  </a:lnTo>
                  <a:lnTo>
                    <a:pt x="3934" y="2504"/>
                  </a:lnTo>
                  <a:lnTo>
                    <a:pt x="3930" y="2504"/>
                  </a:lnTo>
                  <a:lnTo>
                    <a:pt x="3926" y="2508"/>
                  </a:lnTo>
                  <a:lnTo>
                    <a:pt x="3924" y="2512"/>
                  </a:lnTo>
                  <a:lnTo>
                    <a:pt x="3924" y="2520"/>
                  </a:lnTo>
                  <a:lnTo>
                    <a:pt x="3928" y="2530"/>
                  </a:lnTo>
                  <a:lnTo>
                    <a:pt x="3932" y="2540"/>
                  </a:lnTo>
                  <a:lnTo>
                    <a:pt x="3932" y="2546"/>
                  </a:lnTo>
                  <a:lnTo>
                    <a:pt x="3932" y="2552"/>
                  </a:lnTo>
                  <a:lnTo>
                    <a:pt x="3930" y="2556"/>
                  </a:lnTo>
                  <a:lnTo>
                    <a:pt x="3928" y="2564"/>
                  </a:lnTo>
                  <a:lnTo>
                    <a:pt x="3926" y="2568"/>
                  </a:lnTo>
                  <a:lnTo>
                    <a:pt x="3928" y="2574"/>
                  </a:lnTo>
                  <a:lnTo>
                    <a:pt x="3928" y="2580"/>
                  </a:lnTo>
                  <a:lnTo>
                    <a:pt x="3928" y="2584"/>
                  </a:lnTo>
                  <a:lnTo>
                    <a:pt x="3922" y="2594"/>
                  </a:lnTo>
                  <a:lnTo>
                    <a:pt x="3918" y="2602"/>
                  </a:lnTo>
                  <a:lnTo>
                    <a:pt x="3916" y="2606"/>
                  </a:lnTo>
                  <a:lnTo>
                    <a:pt x="3916" y="2610"/>
                  </a:lnTo>
                  <a:lnTo>
                    <a:pt x="3918" y="2620"/>
                  </a:lnTo>
                  <a:lnTo>
                    <a:pt x="3918" y="2630"/>
                  </a:lnTo>
                  <a:lnTo>
                    <a:pt x="3914" y="2634"/>
                  </a:lnTo>
                  <a:lnTo>
                    <a:pt x="3912" y="2636"/>
                  </a:lnTo>
                  <a:lnTo>
                    <a:pt x="3906" y="2636"/>
                  </a:lnTo>
                  <a:lnTo>
                    <a:pt x="3900" y="2632"/>
                  </a:lnTo>
                  <a:lnTo>
                    <a:pt x="3886" y="2626"/>
                  </a:lnTo>
                  <a:lnTo>
                    <a:pt x="3876" y="2624"/>
                  </a:lnTo>
                  <a:lnTo>
                    <a:pt x="3874" y="2624"/>
                  </a:lnTo>
                  <a:lnTo>
                    <a:pt x="3872" y="2628"/>
                  </a:lnTo>
                  <a:lnTo>
                    <a:pt x="3874" y="2630"/>
                  </a:lnTo>
                  <a:lnTo>
                    <a:pt x="3878" y="2636"/>
                  </a:lnTo>
                  <a:lnTo>
                    <a:pt x="3880" y="2640"/>
                  </a:lnTo>
                  <a:lnTo>
                    <a:pt x="3880" y="2642"/>
                  </a:lnTo>
                  <a:lnTo>
                    <a:pt x="3878" y="2648"/>
                  </a:lnTo>
                  <a:lnTo>
                    <a:pt x="3872" y="2656"/>
                  </a:lnTo>
                  <a:lnTo>
                    <a:pt x="3866" y="2662"/>
                  </a:lnTo>
                  <a:lnTo>
                    <a:pt x="3858" y="2670"/>
                  </a:lnTo>
                  <a:lnTo>
                    <a:pt x="3854" y="2676"/>
                  </a:lnTo>
                  <a:lnTo>
                    <a:pt x="3852" y="2680"/>
                  </a:lnTo>
                  <a:lnTo>
                    <a:pt x="3852" y="2682"/>
                  </a:lnTo>
                  <a:lnTo>
                    <a:pt x="3854" y="2686"/>
                  </a:lnTo>
                  <a:lnTo>
                    <a:pt x="3856" y="2690"/>
                  </a:lnTo>
                  <a:lnTo>
                    <a:pt x="3862" y="2694"/>
                  </a:lnTo>
                  <a:lnTo>
                    <a:pt x="3866" y="2700"/>
                  </a:lnTo>
                  <a:lnTo>
                    <a:pt x="3866" y="2706"/>
                  </a:lnTo>
                  <a:lnTo>
                    <a:pt x="3864" y="2710"/>
                  </a:lnTo>
                  <a:lnTo>
                    <a:pt x="3860" y="2722"/>
                  </a:lnTo>
                  <a:lnTo>
                    <a:pt x="3862" y="2726"/>
                  </a:lnTo>
                  <a:lnTo>
                    <a:pt x="3864" y="2732"/>
                  </a:lnTo>
                  <a:lnTo>
                    <a:pt x="3866" y="2734"/>
                  </a:lnTo>
                  <a:lnTo>
                    <a:pt x="3870" y="2736"/>
                  </a:lnTo>
                  <a:lnTo>
                    <a:pt x="3874" y="2732"/>
                  </a:lnTo>
                  <a:lnTo>
                    <a:pt x="3880" y="2720"/>
                  </a:lnTo>
                  <a:lnTo>
                    <a:pt x="3884" y="2712"/>
                  </a:lnTo>
                  <a:lnTo>
                    <a:pt x="3888" y="2710"/>
                  </a:lnTo>
                  <a:lnTo>
                    <a:pt x="3890" y="2712"/>
                  </a:lnTo>
                  <a:lnTo>
                    <a:pt x="3896" y="2714"/>
                  </a:lnTo>
                  <a:lnTo>
                    <a:pt x="3900" y="2714"/>
                  </a:lnTo>
                  <a:lnTo>
                    <a:pt x="3908" y="2712"/>
                  </a:lnTo>
                  <a:lnTo>
                    <a:pt x="3912" y="2710"/>
                  </a:lnTo>
                  <a:lnTo>
                    <a:pt x="3910" y="2706"/>
                  </a:lnTo>
                  <a:lnTo>
                    <a:pt x="3894" y="2698"/>
                  </a:lnTo>
                  <a:lnTo>
                    <a:pt x="3886" y="2692"/>
                  </a:lnTo>
                  <a:lnTo>
                    <a:pt x="3878" y="2686"/>
                  </a:lnTo>
                  <a:lnTo>
                    <a:pt x="3874" y="2680"/>
                  </a:lnTo>
                  <a:lnTo>
                    <a:pt x="3874" y="2676"/>
                  </a:lnTo>
                  <a:lnTo>
                    <a:pt x="3876" y="2672"/>
                  </a:lnTo>
                  <a:lnTo>
                    <a:pt x="3882" y="2666"/>
                  </a:lnTo>
                  <a:lnTo>
                    <a:pt x="3886" y="2666"/>
                  </a:lnTo>
                  <a:lnTo>
                    <a:pt x="3888" y="2668"/>
                  </a:lnTo>
                  <a:lnTo>
                    <a:pt x="3892" y="2670"/>
                  </a:lnTo>
                  <a:lnTo>
                    <a:pt x="3896" y="2674"/>
                  </a:lnTo>
                  <a:lnTo>
                    <a:pt x="3900" y="2676"/>
                  </a:lnTo>
                  <a:lnTo>
                    <a:pt x="3906" y="2676"/>
                  </a:lnTo>
                  <a:lnTo>
                    <a:pt x="3912" y="2674"/>
                  </a:lnTo>
                  <a:lnTo>
                    <a:pt x="3918" y="2670"/>
                  </a:lnTo>
                  <a:lnTo>
                    <a:pt x="3924" y="2668"/>
                  </a:lnTo>
                  <a:lnTo>
                    <a:pt x="3930" y="2666"/>
                  </a:lnTo>
                  <a:lnTo>
                    <a:pt x="3936" y="2668"/>
                  </a:lnTo>
                  <a:lnTo>
                    <a:pt x="3954" y="2678"/>
                  </a:lnTo>
                  <a:lnTo>
                    <a:pt x="3984" y="2698"/>
                  </a:lnTo>
                  <a:lnTo>
                    <a:pt x="3992" y="2700"/>
                  </a:lnTo>
                  <a:lnTo>
                    <a:pt x="3996" y="2698"/>
                  </a:lnTo>
                  <a:lnTo>
                    <a:pt x="4000" y="2692"/>
                  </a:lnTo>
                  <a:lnTo>
                    <a:pt x="4002" y="2684"/>
                  </a:lnTo>
                  <a:lnTo>
                    <a:pt x="4008" y="2664"/>
                  </a:lnTo>
                  <a:lnTo>
                    <a:pt x="4012" y="2656"/>
                  </a:lnTo>
                  <a:lnTo>
                    <a:pt x="4018" y="2652"/>
                  </a:lnTo>
                  <a:lnTo>
                    <a:pt x="4030" y="2648"/>
                  </a:lnTo>
                  <a:lnTo>
                    <a:pt x="4042" y="2646"/>
                  </a:lnTo>
                  <a:lnTo>
                    <a:pt x="4054" y="2644"/>
                  </a:lnTo>
                  <a:lnTo>
                    <a:pt x="4068" y="2640"/>
                  </a:lnTo>
                  <a:lnTo>
                    <a:pt x="4090" y="2630"/>
                  </a:lnTo>
                  <a:lnTo>
                    <a:pt x="4096" y="2626"/>
                  </a:lnTo>
                  <a:lnTo>
                    <a:pt x="4096" y="2624"/>
                  </a:lnTo>
                  <a:lnTo>
                    <a:pt x="4094" y="2622"/>
                  </a:lnTo>
                  <a:lnTo>
                    <a:pt x="4092" y="2620"/>
                  </a:lnTo>
                  <a:lnTo>
                    <a:pt x="4090" y="2620"/>
                  </a:lnTo>
                  <a:lnTo>
                    <a:pt x="4084" y="2622"/>
                  </a:lnTo>
                  <a:lnTo>
                    <a:pt x="4082" y="2622"/>
                  </a:lnTo>
                  <a:lnTo>
                    <a:pt x="4078" y="2622"/>
                  </a:lnTo>
                  <a:lnTo>
                    <a:pt x="4074" y="2618"/>
                  </a:lnTo>
                  <a:lnTo>
                    <a:pt x="4070" y="2610"/>
                  </a:lnTo>
                  <a:close/>
                  <a:moveTo>
                    <a:pt x="3802" y="2924"/>
                  </a:moveTo>
                  <a:lnTo>
                    <a:pt x="3802" y="2924"/>
                  </a:lnTo>
                  <a:lnTo>
                    <a:pt x="3806" y="2916"/>
                  </a:lnTo>
                  <a:lnTo>
                    <a:pt x="3806" y="2908"/>
                  </a:lnTo>
                  <a:lnTo>
                    <a:pt x="3804" y="2906"/>
                  </a:lnTo>
                  <a:lnTo>
                    <a:pt x="3802" y="2904"/>
                  </a:lnTo>
                  <a:lnTo>
                    <a:pt x="3800" y="2906"/>
                  </a:lnTo>
                  <a:lnTo>
                    <a:pt x="3796" y="2910"/>
                  </a:lnTo>
                  <a:lnTo>
                    <a:pt x="3792" y="2914"/>
                  </a:lnTo>
                  <a:lnTo>
                    <a:pt x="3792" y="2918"/>
                  </a:lnTo>
                  <a:lnTo>
                    <a:pt x="3792" y="2922"/>
                  </a:lnTo>
                  <a:lnTo>
                    <a:pt x="3792" y="2924"/>
                  </a:lnTo>
                  <a:lnTo>
                    <a:pt x="3794" y="2926"/>
                  </a:lnTo>
                  <a:lnTo>
                    <a:pt x="3798" y="2928"/>
                  </a:lnTo>
                  <a:lnTo>
                    <a:pt x="3800" y="2926"/>
                  </a:lnTo>
                  <a:lnTo>
                    <a:pt x="3802" y="2924"/>
                  </a:lnTo>
                  <a:close/>
                  <a:moveTo>
                    <a:pt x="3594" y="3018"/>
                  </a:moveTo>
                  <a:lnTo>
                    <a:pt x="3594" y="3018"/>
                  </a:lnTo>
                  <a:lnTo>
                    <a:pt x="3596" y="3016"/>
                  </a:lnTo>
                  <a:lnTo>
                    <a:pt x="3596" y="3014"/>
                  </a:lnTo>
                  <a:lnTo>
                    <a:pt x="3594" y="3010"/>
                  </a:lnTo>
                  <a:lnTo>
                    <a:pt x="3592" y="3010"/>
                  </a:lnTo>
                  <a:lnTo>
                    <a:pt x="3590" y="3012"/>
                  </a:lnTo>
                  <a:lnTo>
                    <a:pt x="3588" y="3014"/>
                  </a:lnTo>
                  <a:lnTo>
                    <a:pt x="3590" y="3018"/>
                  </a:lnTo>
                  <a:lnTo>
                    <a:pt x="3594" y="3018"/>
                  </a:lnTo>
                  <a:close/>
                  <a:moveTo>
                    <a:pt x="3048" y="4040"/>
                  </a:moveTo>
                  <a:lnTo>
                    <a:pt x="3048" y="4040"/>
                  </a:lnTo>
                  <a:lnTo>
                    <a:pt x="3046" y="4042"/>
                  </a:lnTo>
                  <a:lnTo>
                    <a:pt x="3044" y="4044"/>
                  </a:lnTo>
                  <a:lnTo>
                    <a:pt x="3042" y="4050"/>
                  </a:lnTo>
                  <a:lnTo>
                    <a:pt x="3044" y="4056"/>
                  </a:lnTo>
                  <a:lnTo>
                    <a:pt x="3046" y="4062"/>
                  </a:lnTo>
                  <a:lnTo>
                    <a:pt x="3048" y="4064"/>
                  </a:lnTo>
                  <a:lnTo>
                    <a:pt x="3050" y="4068"/>
                  </a:lnTo>
                  <a:lnTo>
                    <a:pt x="3052" y="4098"/>
                  </a:lnTo>
                  <a:lnTo>
                    <a:pt x="3054" y="4116"/>
                  </a:lnTo>
                  <a:lnTo>
                    <a:pt x="3056" y="4120"/>
                  </a:lnTo>
                  <a:lnTo>
                    <a:pt x="3058" y="4120"/>
                  </a:lnTo>
                  <a:lnTo>
                    <a:pt x="3062" y="4120"/>
                  </a:lnTo>
                  <a:lnTo>
                    <a:pt x="3064" y="4122"/>
                  </a:lnTo>
                  <a:lnTo>
                    <a:pt x="3066" y="4126"/>
                  </a:lnTo>
                  <a:lnTo>
                    <a:pt x="3070" y="4134"/>
                  </a:lnTo>
                  <a:lnTo>
                    <a:pt x="3074" y="4138"/>
                  </a:lnTo>
                  <a:lnTo>
                    <a:pt x="3076" y="4134"/>
                  </a:lnTo>
                  <a:lnTo>
                    <a:pt x="3076" y="4128"/>
                  </a:lnTo>
                  <a:lnTo>
                    <a:pt x="3078" y="4120"/>
                  </a:lnTo>
                  <a:lnTo>
                    <a:pt x="3078" y="4118"/>
                  </a:lnTo>
                  <a:lnTo>
                    <a:pt x="3082" y="4118"/>
                  </a:lnTo>
                  <a:lnTo>
                    <a:pt x="3086" y="4122"/>
                  </a:lnTo>
                  <a:lnTo>
                    <a:pt x="3090" y="4126"/>
                  </a:lnTo>
                  <a:lnTo>
                    <a:pt x="3092" y="4130"/>
                  </a:lnTo>
                  <a:lnTo>
                    <a:pt x="3090" y="4134"/>
                  </a:lnTo>
                  <a:lnTo>
                    <a:pt x="3086" y="4140"/>
                  </a:lnTo>
                  <a:lnTo>
                    <a:pt x="3080" y="4146"/>
                  </a:lnTo>
                  <a:lnTo>
                    <a:pt x="3076" y="4156"/>
                  </a:lnTo>
                  <a:lnTo>
                    <a:pt x="3078" y="4164"/>
                  </a:lnTo>
                  <a:lnTo>
                    <a:pt x="3078" y="4166"/>
                  </a:lnTo>
                  <a:lnTo>
                    <a:pt x="3082" y="4166"/>
                  </a:lnTo>
                  <a:lnTo>
                    <a:pt x="3084" y="4164"/>
                  </a:lnTo>
                  <a:lnTo>
                    <a:pt x="3088" y="4166"/>
                  </a:lnTo>
                  <a:lnTo>
                    <a:pt x="3092" y="4170"/>
                  </a:lnTo>
                  <a:lnTo>
                    <a:pt x="3096" y="4174"/>
                  </a:lnTo>
                  <a:lnTo>
                    <a:pt x="3100" y="4176"/>
                  </a:lnTo>
                  <a:lnTo>
                    <a:pt x="3104" y="4178"/>
                  </a:lnTo>
                  <a:lnTo>
                    <a:pt x="3112" y="4176"/>
                  </a:lnTo>
                  <a:lnTo>
                    <a:pt x="3112" y="4174"/>
                  </a:lnTo>
                  <a:lnTo>
                    <a:pt x="3112" y="4168"/>
                  </a:lnTo>
                  <a:lnTo>
                    <a:pt x="3112" y="4166"/>
                  </a:lnTo>
                  <a:lnTo>
                    <a:pt x="3116" y="4164"/>
                  </a:lnTo>
                  <a:lnTo>
                    <a:pt x="3120" y="4160"/>
                  </a:lnTo>
                  <a:lnTo>
                    <a:pt x="3124" y="4160"/>
                  </a:lnTo>
                  <a:lnTo>
                    <a:pt x="3138" y="4172"/>
                  </a:lnTo>
                  <a:lnTo>
                    <a:pt x="3144" y="4176"/>
                  </a:lnTo>
                  <a:lnTo>
                    <a:pt x="3148" y="4180"/>
                  </a:lnTo>
                  <a:lnTo>
                    <a:pt x="3152" y="4188"/>
                  </a:lnTo>
                  <a:lnTo>
                    <a:pt x="3154" y="4196"/>
                  </a:lnTo>
                  <a:lnTo>
                    <a:pt x="3156" y="4198"/>
                  </a:lnTo>
                  <a:lnTo>
                    <a:pt x="3158" y="4198"/>
                  </a:lnTo>
                  <a:lnTo>
                    <a:pt x="3162" y="4198"/>
                  </a:lnTo>
                  <a:lnTo>
                    <a:pt x="3162" y="4196"/>
                  </a:lnTo>
                  <a:lnTo>
                    <a:pt x="3162" y="4188"/>
                  </a:lnTo>
                  <a:lnTo>
                    <a:pt x="3154" y="4170"/>
                  </a:lnTo>
                  <a:lnTo>
                    <a:pt x="3154" y="4166"/>
                  </a:lnTo>
                  <a:lnTo>
                    <a:pt x="3154" y="4164"/>
                  </a:lnTo>
                  <a:lnTo>
                    <a:pt x="3160" y="4164"/>
                  </a:lnTo>
                  <a:lnTo>
                    <a:pt x="3164" y="4168"/>
                  </a:lnTo>
                  <a:lnTo>
                    <a:pt x="3168" y="4174"/>
                  </a:lnTo>
                  <a:lnTo>
                    <a:pt x="3172" y="4180"/>
                  </a:lnTo>
                  <a:lnTo>
                    <a:pt x="3176" y="4182"/>
                  </a:lnTo>
                  <a:lnTo>
                    <a:pt x="3180" y="4186"/>
                  </a:lnTo>
                  <a:lnTo>
                    <a:pt x="3184" y="4192"/>
                  </a:lnTo>
                  <a:lnTo>
                    <a:pt x="3186" y="4198"/>
                  </a:lnTo>
                  <a:lnTo>
                    <a:pt x="3186" y="4202"/>
                  </a:lnTo>
                  <a:lnTo>
                    <a:pt x="3188" y="4206"/>
                  </a:lnTo>
                  <a:lnTo>
                    <a:pt x="3196" y="4210"/>
                  </a:lnTo>
                  <a:lnTo>
                    <a:pt x="3206" y="4216"/>
                  </a:lnTo>
                  <a:lnTo>
                    <a:pt x="3210" y="4218"/>
                  </a:lnTo>
                  <a:lnTo>
                    <a:pt x="3212" y="4222"/>
                  </a:lnTo>
                  <a:lnTo>
                    <a:pt x="3212" y="4228"/>
                  </a:lnTo>
                  <a:lnTo>
                    <a:pt x="3216" y="4232"/>
                  </a:lnTo>
                  <a:lnTo>
                    <a:pt x="3218" y="4230"/>
                  </a:lnTo>
                  <a:lnTo>
                    <a:pt x="3220" y="4224"/>
                  </a:lnTo>
                  <a:lnTo>
                    <a:pt x="3222" y="4216"/>
                  </a:lnTo>
                  <a:lnTo>
                    <a:pt x="3222" y="4208"/>
                  </a:lnTo>
                  <a:lnTo>
                    <a:pt x="3220" y="4204"/>
                  </a:lnTo>
                  <a:lnTo>
                    <a:pt x="3218" y="4202"/>
                  </a:lnTo>
                  <a:lnTo>
                    <a:pt x="3210" y="4200"/>
                  </a:lnTo>
                  <a:lnTo>
                    <a:pt x="3206" y="4200"/>
                  </a:lnTo>
                  <a:lnTo>
                    <a:pt x="3206" y="4196"/>
                  </a:lnTo>
                  <a:lnTo>
                    <a:pt x="3206" y="4194"/>
                  </a:lnTo>
                  <a:lnTo>
                    <a:pt x="3206" y="4192"/>
                  </a:lnTo>
                  <a:lnTo>
                    <a:pt x="3204" y="4186"/>
                  </a:lnTo>
                  <a:lnTo>
                    <a:pt x="3198" y="4182"/>
                  </a:lnTo>
                  <a:lnTo>
                    <a:pt x="3196" y="4178"/>
                  </a:lnTo>
                  <a:lnTo>
                    <a:pt x="3194" y="4174"/>
                  </a:lnTo>
                  <a:lnTo>
                    <a:pt x="3196" y="4174"/>
                  </a:lnTo>
                  <a:lnTo>
                    <a:pt x="3198" y="4174"/>
                  </a:lnTo>
                  <a:lnTo>
                    <a:pt x="3206" y="4174"/>
                  </a:lnTo>
                  <a:lnTo>
                    <a:pt x="3210" y="4172"/>
                  </a:lnTo>
                  <a:lnTo>
                    <a:pt x="3212" y="4172"/>
                  </a:lnTo>
                  <a:lnTo>
                    <a:pt x="3214" y="4168"/>
                  </a:lnTo>
                  <a:lnTo>
                    <a:pt x="3210" y="4164"/>
                  </a:lnTo>
                  <a:lnTo>
                    <a:pt x="3194" y="4156"/>
                  </a:lnTo>
                  <a:lnTo>
                    <a:pt x="3190" y="4154"/>
                  </a:lnTo>
                  <a:lnTo>
                    <a:pt x="3186" y="4156"/>
                  </a:lnTo>
                  <a:lnTo>
                    <a:pt x="3186" y="4158"/>
                  </a:lnTo>
                  <a:lnTo>
                    <a:pt x="3184" y="4162"/>
                  </a:lnTo>
                  <a:lnTo>
                    <a:pt x="3184" y="4170"/>
                  </a:lnTo>
                  <a:lnTo>
                    <a:pt x="3182" y="4172"/>
                  </a:lnTo>
                  <a:lnTo>
                    <a:pt x="3180" y="4170"/>
                  </a:lnTo>
                  <a:lnTo>
                    <a:pt x="3178" y="4168"/>
                  </a:lnTo>
                  <a:lnTo>
                    <a:pt x="3176" y="4164"/>
                  </a:lnTo>
                  <a:lnTo>
                    <a:pt x="3176" y="4158"/>
                  </a:lnTo>
                  <a:lnTo>
                    <a:pt x="3176" y="4154"/>
                  </a:lnTo>
                  <a:lnTo>
                    <a:pt x="3174" y="4150"/>
                  </a:lnTo>
                  <a:lnTo>
                    <a:pt x="3170" y="4146"/>
                  </a:lnTo>
                  <a:lnTo>
                    <a:pt x="3164" y="4142"/>
                  </a:lnTo>
                  <a:lnTo>
                    <a:pt x="3158" y="4140"/>
                  </a:lnTo>
                  <a:lnTo>
                    <a:pt x="3154" y="4140"/>
                  </a:lnTo>
                  <a:lnTo>
                    <a:pt x="3152" y="4140"/>
                  </a:lnTo>
                  <a:lnTo>
                    <a:pt x="3150" y="4142"/>
                  </a:lnTo>
                  <a:lnTo>
                    <a:pt x="3148" y="4146"/>
                  </a:lnTo>
                  <a:lnTo>
                    <a:pt x="3144" y="4146"/>
                  </a:lnTo>
                  <a:lnTo>
                    <a:pt x="3142" y="4146"/>
                  </a:lnTo>
                  <a:lnTo>
                    <a:pt x="3140" y="4148"/>
                  </a:lnTo>
                  <a:lnTo>
                    <a:pt x="3140" y="4152"/>
                  </a:lnTo>
                  <a:lnTo>
                    <a:pt x="3140" y="4158"/>
                  </a:lnTo>
                  <a:lnTo>
                    <a:pt x="3138" y="4158"/>
                  </a:lnTo>
                  <a:lnTo>
                    <a:pt x="3136" y="4158"/>
                  </a:lnTo>
                  <a:lnTo>
                    <a:pt x="3130" y="4156"/>
                  </a:lnTo>
                  <a:lnTo>
                    <a:pt x="3126" y="4152"/>
                  </a:lnTo>
                  <a:lnTo>
                    <a:pt x="3122" y="4142"/>
                  </a:lnTo>
                  <a:lnTo>
                    <a:pt x="3120" y="4132"/>
                  </a:lnTo>
                  <a:lnTo>
                    <a:pt x="3120" y="4124"/>
                  </a:lnTo>
                  <a:lnTo>
                    <a:pt x="3120" y="4120"/>
                  </a:lnTo>
                  <a:lnTo>
                    <a:pt x="3120" y="4116"/>
                  </a:lnTo>
                  <a:lnTo>
                    <a:pt x="3116" y="4104"/>
                  </a:lnTo>
                  <a:lnTo>
                    <a:pt x="3112" y="4092"/>
                  </a:lnTo>
                  <a:lnTo>
                    <a:pt x="3112" y="4086"/>
                  </a:lnTo>
                  <a:lnTo>
                    <a:pt x="3116" y="4082"/>
                  </a:lnTo>
                  <a:lnTo>
                    <a:pt x="3120" y="4072"/>
                  </a:lnTo>
                  <a:lnTo>
                    <a:pt x="3120" y="4066"/>
                  </a:lnTo>
                  <a:lnTo>
                    <a:pt x="3120" y="4062"/>
                  </a:lnTo>
                  <a:lnTo>
                    <a:pt x="3124" y="4054"/>
                  </a:lnTo>
                  <a:lnTo>
                    <a:pt x="3128" y="4052"/>
                  </a:lnTo>
                  <a:lnTo>
                    <a:pt x="3130" y="4050"/>
                  </a:lnTo>
                  <a:lnTo>
                    <a:pt x="3132" y="4052"/>
                  </a:lnTo>
                  <a:lnTo>
                    <a:pt x="3134" y="4052"/>
                  </a:lnTo>
                  <a:lnTo>
                    <a:pt x="3136" y="4056"/>
                  </a:lnTo>
                  <a:lnTo>
                    <a:pt x="3138" y="4056"/>
                  </a:lnTo>
                  <a:lnTo>
                    <a:pt x="3144" y="4046"/>
                  </a:lnTo>
                  <a:lnTo>
                    <a:pt x="3148" y="4034"/>
                  </a:lnTo>
                  <a:lnTo>
                    <a:pt x="3154" y="4008"/>
                  </a:lnTo>
                  <a:lnTo>
                    <a:pt x="3154" y="4006"/>
                  </a:lnTo>
                  <a:lnTo>
                    <a:pt x="3152" y="4002"/>
                  </a:lnTo>
                  <a:lnTo>
                    <a:pt x="3146" y="3992"/>
                  </a:lnTo>
                  <a:lnTo>
                    <a:pt x="3144" y="3986"/>
                  </a:lnTo>
                  <a:lnTo>
                    <a:pt x="3142" y="3978"/>
                  </a:lnTo>
                  <a:lnTo>
                    <a:pt x="3142" y="3970"/>
                  </a:lnTo>
                  <a:lnTo>
                    <a:pt x="3144" y="3960"/>
                  </a:lnTo>
                  <a:lnTo>
                    <a:pt x="3148" y="3944"/>
                  </a:lnTo>
                  <a:lnTo>
                    <a:pt x="3146" y="3936"/>
                  </a:lnTo>
                  <a:lnTo>
                    <a:pt x="3146" y="3934"/>
                  </a:lnTo>
                  <a:lnTo>
                    <a:pt x="3142" y="3934"/>
                  </a:lnTo>
                  <a:lnTo>
                    <a:pt x="3140" y="3936"/>
                  </a:lnTo>
                  <a:lnTo>
                    <a:pt x="3136" y="3942"/>
                  </a:lnTo>
                  <a:lnTo>
                    <a:pt x="3132" y="3946"/>
                  </a:lnTo>
                  <a:lnTo>
                    <a:pt x="3126" y="3944"/>
                  </a:lnTo>
                  <a:lnTo>
                    <a:pt x="3122" y="3942"/>
                  </a:lnTo>
                  <a:lnTo>
                    <a:pt x="3114" y="3938"/>
                  </a:lnTo>
                  <a:lnTo>
                    <a:pt x="3100" y="3930"/>
                  </a:lnTo>
                  <a:lnTo>
                    <a:pt x="3094" y="3926"/>
                  </a:lnTo>
                  <a:lnTo>
                    <a:pt x="3086" y="3928"/>
                  </a:lnTo>
                  <a:lnTo>
                    <a:pt x="3076" y="3932"/>
                  </a:lnTo>
                  <a:lnTo>
                    <a:pt x="3076" y="3936"/>
                  </a:lnTo>
                  <a:lnTo>
                    <a:pt x="3074" y="3938"/>
                  </a:lnTo>
                  <a:lnTo>
                    <a:pt x="3074" y="3946"/>
                  </a:lnTo>
                  <a:lnTo>
                    <a:pt x="3074" y="3952"/>
                  </a:lnTo>
                  <a:lnTo>
                    <a:pt x="3072" y="3958"/>
                  </a:lnTo>
                  <a:lnTo>
                    <a:pt x="3068" y="3966"/>
                  </a:lnTo>
                  <a:lnTo>
                    <a:pt x="3068" y="3972"/>
                  </a:lnTo>
                  <a:lnTo>
                    <a:pt x="3068" y="3986"/>
                  </a:lnTo>
                  <a:lnTo>
                    <a:pt x="3070" y="4000"/>
                  </a:lnTo>
                  <a:lnTo>
                    <a:pt x="3068" y="4010"/>
                  </a:lnTo>
                  <a:lnTo>
                    <a:pt x="3066" y="4018"/>
                  </a:lnTo>
                  <a:lnTo>
                    <a:pt x="3064" y="4026"/>
                  </a:lnTo>
                  <a:lnTo>
                    <a:pt x="3062" y="4032"/>
                  </a:lnTo>
                  <a:lnTo>
                    <a:pt x="3064" y="4038"/>
                  </a:lnTo>
                  <a:lnTo>
                    <a:pt x="3066" y="4040"/>
                  </a:lnTo>
                  <a:lnTo>
                    <a:pt x="3068" y="4046"/>
                  </a:lnTo>
                  <a:lnTo>
                    <a:pt x="3070" y="4050"/>
                  </a:lnTo>
                  <a:lnTo>
                    <a:pt x="3068" y="4054"/>
                  </a:lnTo>
                  <a:lnTo>
                    <a:pt x="3066" y="4058"/>
                  </a:lnTo>
                  <a:lnTo>
                    <a:pt x="3062" y="4060"/>
                  </a:lnTo>
                  <a:lnTo>
                    <a:pt x="3060" y="4056"/>
                  </a:lnTo>
                  <a:lnTo>
                    <a:pt x="3058" y="4054"/>
                  </a:lnTo>
                  <a:lnTo>
                    <a:pt x="3052" y="4044"/>
                  </a:lnTo>
                  <a:lnTo>
                    <a:pt x="3050" y="4042"/>
                  </a:lnTo>
                  <a:lnTo>
                    <a:pt x="3048" y="4040"/>
                  </a:lnTo>
                  <a:close/>
                  <a:moveTo>
                    <a:pt x="3012" y="4336"/>
                  </a:moveTo>
                  <a:lnTo>
                    <a:pt x="3012" y="4336"/>
                  </a:lnTo>
                  <a:lnTo>
                    <a:pt x="2996" y="4362"/>
                  </a:lnTo>
                  <a:lnTo>
                    <a:pt x="2978" y="4384"/>
                  </a:lnTo>
                  <a:lnTo>
                    <a:pt x="2960" y="4400"/>
                  </a:lnTo>
                  <a:lnTo>
                    <a:pt x="2950" y="4412"/>
                  </a:lnTo>
                  <a:lnTo>
                    <a:pt x="2948" y="4420"/>
                  </a:lnTo>
                  <a:lnTo>
                    <a:pt x="2944" y="4428"/>
                  </a:lnTo>
                  <a:lnTo>
                    <a:pt x="2944" y="4432"/>
                  </a:lnTo>
                  <a:lnTo>
                    <a:pt x="2946" y="4434"/>
                  </a:lnTo>
                  <a:lnTo>
                    <a:pt x="2950" y="4432"/>
                  </a:lnTo>
                  <a:lnTo>
                    <a:pt x="2954" y="4426"/>
                  </a:lnTo>
                  <a:lnTo>
                    <a:pt x="2960" y="4422"/>
                  </a:lnTo>
                  <a:lnTo>
                    <a:pt x="2968" y="4410"/>
                  </a:lnTo>
                  <a:lnTo>
                    <a:pt x="2994" y="4388"/>
                  </a:lnTo>
                  <a:lnTo>
                    <a:pt x="3002" y="4380"/>
                  </a:lnTo>
                  <a:lnTo>
                    <a:pt x="3006" y="4372"/>
                  </a:lnTo>
                  <a:lnTo>
                    <a:pt x="3008" y="4368"/>
                  </a:lnTo>
                  <a:lnTo>
                    <a:pt x="3008" y="4364"/>
                  </a:lnTo>
                  <a:lnTo>
                    <a:pt x="3010" y="4358"/>
                  </a:lnTo>
                  <a:lnTo>
                    <a:pt x="3012" y="4356"/>
                  </a:lnTo>
                  <a:lnTo>
                    <a:pt x="3016" y="4354"/>
                  </a:lnTo>
                  <a:lnTo>
                    <a:pt x="3022" y="4352"/>
                  </a:lnTo>
                  <a:lnTo>
                    <a:pt x="3024" y="4350"/>
                  </a:lnTo>
                  <a:lnTo>
                    <a:pt x="3028" y="4344"/>
                  </a:lnTo>
                  <a:lnTo>
                    <a:pt x="3030" y="4338"/>
                  </a:lnTo>
                  <a:lnTo>
                    <a:pt x="3030" y="4336"/>
                  </a:lnTo>
                  <a:lnTo>
                    <a:pt x="3034" y="4336"/>
                  </a:lnTo>
                  <a:lnTo>
                    <a:pt x="3038" y="4334"/>
                  </a:lnTo>
                  <a:lnTo>
                    <a:pt x="3042" y="4330"/>
                  </a:lnTo>
                  <a:lnTo>
                    <a:pt x="3044" y="4324"/>
                  </a:lnTo>
                  <a:lnTo>
                    <a:pt x="3042" y="4316"/>
                  </a:lnTo>
                  <a:lnTo>
                    <a:pt x="3040" y="4312"/>
                  </a:lnTo>
                  <a:lnTo>
                    <a:pt x="3040" y="4306"/>
                  </a:lnTo>
                  <a:lnTo>
                    <a:pt x="3040" y="4296"/>
                  </a:lnTo>
                  <a:lnTo>
                    <a:pt x="3040" y="4288"/>
                  </a:lnTo>
                  <a:lnTo>
                    <a:pt x="3038" y="4286"/>
                  </a:lnTo>
                  <a:lnTo>
                    <a:pt x="3036" y="4284"/>
                  </a:lnTo>
                  <a:lnTo>
                    <a:pt x="3034" y="4284"/>
                  </a:lnTo>
                  <a:lnTo>
                    <a:pt x="3032" y="4286"/>
                  </a:lnTo>
                  <a:lnTo>
                    <a:pt x="3032" y="4294"/>
                  </a:lnTo>
                  <a:lnTo>
                    <a:pt x="3030" y="4302"/>
                  </a:lnTo>
                  <a:lnTo>
                    <a:pt x="3028" y="4304"/>
                  </a:lnTo>
                  <a:lnTo>
                    <a:pt x="3026" y="4306"/>
                  </a:lnTo>
                  <a:lnTo>
                    <a:pt x="3024" y="4306"/>
                  </a:lnTo>
                  <a:lnTo>
                    <a:pt x="3024" y="4308"/>
                  </a:lnTo>
                  <a:lnTo>
                    <a:pt x="3026" y="4312"/>
                  </a:lnTo>
                  <a:lnTo>
                    <a:pt x="3028" y="4318"/>
                  </a:lnTo>
                  <a:lnTo>
                    <a:pt x="3028" y="4322"/>
                  </a:lnTo>
                  <a:lnTo>
                    <a:pt x="3026" y="4326"/>
                  </a:lnTo>
                  <a:lnTo>
                    <a:pt x="3022" y="4330"/>
                  </a:lnTo>
                  <a:lnTo>
                    <a:pt x="3020" y="4328"/>
                  </a:lnTo>
                  <a:lnTo>
                    <a:pt x="3018" y="4328"/>
                  </a:lnTo>
                  <a:lnTo>
                    <a:pt x="3012" y="4336"/>
                  </a:lnTo>
                  <a:close/>
                  <a:moveTo>
                    <a:pt x="3126" y="3596"/>
                  </a:moveTo>
                  <a:lnTo>
                    <a:pt x="3126" y="3596"/>
                  </a:lnTo>
                  <a:lnTo>
                    <a:pt x="3122" y="3592"/>
                  </a:lnTo>
                  <a:lnTo>
                    <a:pt x="3118" y="3590"/>
                  </a:lnTo>
                  <a:lnTo>
                    <a:pt x="3116" y="3590"/>
                  </a:lnTo>
                  <a:lnTo>
                    <a:pt x="3114" y="3590"/>
                  </a:lnTo>
                  <a:lnTo>
                    <a:pt x="3110" y="3594"/>
                  </a:lnTo>
                  <a:lnTo>
                    <a:pt x="3104" y="3598"/>
                  </a:lnTo>
                  <a:lnTo>
                    <a:pt x="3098" y="3600"/>
                  </a:lnTo>
                  <a:lnTo>
                    <a:pt x="3092" y="3608"/>
                  </a:lnTo>
                  <a:lnTo>
                    <a:pt x="3072" y="3644"/>
                  </a:lnTo>
                  <a:lnTo>
                    <a:pt x="3062" y="3662"/>
                  </a:lnTo>
                  <a:lnTo>
                    <a:pt x="3060" y="3678"/>
                  </a:lnTo>
                  <a:lnTo>
                    <a:pt x="3060" y="3694"/>
                  </a:lnTo>
                  <a:lnTo>
                    <a:pt x="3062" y="3712"/>
                  </a:lnTo>
                  <a:lnTo>
                    <a:pt x="3066" y="3726"/>
                  </a:lnTo>
                  <a:lnTo>
                    <a:pt x="3070" y="3730"/>
                  </a:lnTo>
                  <a:lnTo>
                    <a:pt x="3074" y="3734"/>
                  </a:lnTo>
                  <a:lnTo>
                    <a:pt x="3078" y="3742"/>
                  </a:lnTo>
                  <a:lnTo>
                    <a:pt x="3082" y="3752"/>
                  </a:lnTo>
                  <a:lnTo>
                    <a:pt x="3086" y="3762"/>
                  </a:lnTo>
                  <a:lnTo>
                    <a:pt x="3088" y="3764"/>
                  </a:lnTo>
                  <a:lnTo>
                    <a:pt x="3090" y="3762"/>
                  </a:lnTo>
                  <a:lnTo>
                    <a:pt x="3090" y="3756"/>
                  </a:lnTo>
                  <a:lnTo>
                    <a:pt x="3090" y="3748"/>
                  </a:lnTo>
                  <a:lnTo>
                    <a:pt x="3092" y="3738"/>
                  </a:lnTo>
                  <a:lnTo>
                    <a:pt x="3094" y="3730"/>
                  </a:lnTo>
                  <a:lnTo>
                    <a:pt x="3096" y="3726"/>
                  </a:lnTo>
                  <a:lnTo>
                    <a:pt x="3098" y="3722"/>
                  </a:lnTo>
                  <a:lnTo>
                    <a:pt x="3102" y="3718"/>
                  </a:lnTo>
                  <a:lnTo>
                    <a:pt x="3106" y="3712"/>
                  </a:lnTo>
                  <a:lnTo>
                    <a:pt x="3110" y="3702"/>
                  </a:lnTo>
                  <a:lnTo>
                    <a:pt x="3114" y="3690"/>
                  </a:lnTo>
                  <a:lnTo>
                    <a:pt x="3120" y="3662"/>
                  </a:lnTo>
                  <a:lnTo>
                    <a:pt x="3126" y="3644"/>
                  </a:lnTo>
                  <a:lnTo>
                    <a:pt x="3130" y="3632"/>
                  </a:lnTo>
                  <a:lnTo>
                    <a:pt x="3130" y="3628"/>
                  </a:lnTo>
                  <a:lnTo>
                    <a:pt x="3128" y="3622"/>
                  </a:lnTo>
                  <a:lnTo>
                    <a:pt x="3128" y="3618"/>
                  </a:lnTo>
                  <a:lnTo>
                    <a:pt x="3128" y="3614"/>
                  </a:lnTo>
                  <a:lnTo>
                    <a:pt x="3130" y="3610"/>
                  </a:lnTo>
                  <a:lnTo>
                    <a:pt x="3132" y="3608"/>
                  </a:lnTo>
                  <a:lnTo>
                    <a:pt x="3132" y="3604"/>
                  </a:lnTo>
                  <a:lnTo>
                    <a:pt x="3130" y="3600"/>
                  </a:lnTo>
                  <a:lnTo>
                    <a:pt x="3126" y="3596"/>
                  </a:lnTo>
                  <a:close/>
                  <a:moveTo>
                    <a:pt x="4186" y="2510"/>
                  </a:moveTo>
                  <a:lnTo>
                    <a:pt x="4186" y="2510"/>
                  </a:lnTo>
                  <a:lnTo>
                    <a:pt x="4182" y="2506"/>
                  </a:lnTo>
                  <a:lnTo>
                    <a:pt x="4182" y="2510"/>
                  </a:lnTo>
                  <a:lnTo>
                    <a:pt x="4180" y="2516"/>
                  </a:lnTo>
                  <a:lnTo>
                    <a:pt x="4180" y="2518"/>
                  </a:lnTo>
                  <a:lnTo>
                    <a:pt x="4176" y="2522"/>
                  </a:lnTo>
                  <a:lnTo>
                    <a:pt x="4166" y="2526"/>
                  </a:lnTo>
                  <a:lnTo>
                    <a:pt x="4156" y="2534"/>
                  </a:lnTo>
                  <a:lnTo>
                    <a:pt x="4148" y="2544"/>
                  </a:lnTo>
                  <a:lnTo>
                    <a:pt x="4140" y="2558"/>
                  </a:lnTo>
                  <a:lnTo>
                    <a:pt x="4140" y="2560"/>
                  </a:lnTo>
                  <a:lnTo>
                    <a:pt x="4140" y="2562"/>
                  </a:lnTo>
                  <a:lnTo>
                    <a:pt x="4142" y="2564"/>
                  </a:lnTo>
                  <a:lnTo>
                    <a:pt x="4144" y="2562"/>
                  </a:lnTo>
                  <a:lnTo>
                    <a:pt x="4152" y="2556"/>
                  </a:lnTo>
                  <a:lnTo>
                    <a:pt x="4162" y="2546"/>
                  </a:lnTo>
                  <a:lnTo>
                    <a:pt x="4170" y="2536"/>
                  </a:lnTo>
                  <a:lnTo>
                    <a:pt x="4176" y="2532"/>
                  </a:lnTo>
                  <a:lnTo>
                    <a:pt x="4182" y="2528"/>
                  </a:lnTo>
                  <a:lnTo>
                    <a:pt x="4192" y="2522"/>
                  </a:lnTo>
                  <a:lnTo>
                    <a:pt x="4196" y="2518"/>
                  </a:lnTo>
                  <a:lnTo>
                    <a:pt x="4202" y="2516"/>
                  </a:lnTo>
                  <a:lnTo>
                    <a:pt x="4212" y="2512"/>
                  </a:lnTo>
                  <a:lnTo>
                    <a:pt x="4216" y="2510"/>
                  </a:lnTo>
                  <a:lnTo>
                    <a:pt x="4218" y="2508"/>
                  </a:lnTo>
                  <a:lnTo>
                    <a:pt x="4218" y="2506"/>
                  </a:lnTo>
                  <a:lnTo>
                    <a:pt x="4216" y="2502"/>
                  </a:lnTo>
                  <a:lnTo>
                    <a:pt x="4214" y="2500"/>
                  </a:lnTo>
                  <a:lnTo>
                    <a:pt x="4210" y="2500"/>
                  </a:lnTo>
                  <a:lnTo>
                    <a:pt x="4204" y="2504"/>
                  </a:lnTo>
                  <a:lnTo>
                    <a:pt x="4194" y="2510"/>
                  </a:lnTo>
                  <a:lnTo>
                    <a:pt x="4190" y="2510"/>
                  </a:lnTo>
                  <a:lnTo>
                    <a:pt x="4186" y="2510"/>
                  </a:lnTo>
                  <a:close/>
                  <a:moveTo>
                    <a:pt x="3264" y="4226"/>
                  </a:moveTo>
                  <a:lnTo>
                    <a:pt x="3264" y="4226"/>
                  </a:lnTo>
                  <a:lnTo>
                    <a:pt x="3258" y="4226"/>
                  </a:lnTo>
                  <a:lnTo>
                    <a:pt x="3250" y="4226"/>
                  </a:lnTo>
                  <a:lnTo>
                    <a:pt x="3242" y="4228"/>
                  </a:lnTo>
                  <a:lnTo>
                    <a:pt x="3234" y="4226"/>
                  </a:lnTo>
                  <a:lnTo>
                    <a:pt x="3230" y="4226"/>
                  </a:lnTo>
                  <a:lnTo>
                    <a:pt x="3228" y="4228"/>
                  </a:lnTo>
                  <a:lnTo>
                    <a:pt x="3228" y="4234"/>
                  </a:lnTo>
                  <a:lnTo>
                    <a:pt x="3234" y="4244"/>
                  </a:lnTo>
                  <a:lnTo>
                    <a:pt x="3242" y="4252"/>
                  </a:lnTo>
                  <a:lnTo>
                    <a:pt x="3246" y="4258"/>
                  </a:lnTo>
                  <a:lnTo>
                    <a:pt x="3248" y="4260"/>
                  </a:lnTo>
                  <a:lnTo>
                    <a:pt x="3250" y="4262"/>
                  </a:lnTo>
                  <a:lnTo>
                    <a:pt x="3254" y="4264"/>
                  </a:lnTo>
                  <a:lnTo>
                    <a:pt x="3258" y="4266"/>
                  </a:lnTo>
                  <a:lnTo>
                    <a:pt x="3258" y="4268"/>
                  </a:lnTo>
                  <a:lnTo>
                    <a:pt x="3256" y="4272"/>
                  </a:lnTo>
                  <a:lnTo>
                    <a:pt x="3254" y="4276"/>
                  </a:lnTo>
                  <a:lnTo>
                    <a:pt x="3252" y="4276"/>
                  </a:lnTo>
                  <a:lnTo>
                    <a:pt x="3252" y="4278"/>
                  </a:lnTo>
                  <a:lnTo>
                    <a:pt x="3256" y="4282"/>
                  </a:lnTo>
                  <a:lnTo>
                    <a:pt x="3260" y="4288"/>
                  </a:lnTo>
                  <a:lnTo>
                    <a:pt x="3264" y="4296"/>
                  </a:lnTo>
                  <a:lnTo>
                    <a:pt x="3266" y="4298"/>
                  </a:lnTo>
                  <a:lnTo>
                    <a:pt x="3268" y="4300"/>
                  </a:lnTo>
                  <a:lnTo>
                    <a:pt x="3272" y="4298"/>
                  </a:lnTo>
                  <a:lnTo>
                    <a:pt x="3276" y="4298"/>
                  </a:lnTo>
                  <a:lnTo>
                    <a:pt x="3280" y="4298"/>
                  </a:lnTo>
                  <a:lnTo>
                    <a:pt x="3282" y="4300"/>
                  </a:lnTo>
                  <a:lnTo>
                    <a:pt x="3286" y="4302"/>
                  </a:lnTo>
                  <a:lnTo>
                    <a:pt x="3288" y="4300"/>
                  </a:lnTo>
                  <a:lnTo>
                    <a:pt x="3286" y="4296"/>
                  </a:lnTo>
                  <a:lnTo>
                    <a:pt x="3282" y="4292"/>
                  </a:lnTo>
                  <a:lnTo>
                    <a:pt x="3282" y="4290"/>
                  </a:lnTo>
                  <a:lnTo>
                    <a:pt x="3282" y="4288"/>
                  </a:lnTo>
                  <a:lnTo>
                    <a:pt x="3282" y="4284"/>
                  </a:lnTo>
                  <a:lnTo>
                    <a:pt x="3278" y="4280"/>
                  </a:lnTo>
                  <a:lnTo>
                    <a:pt x="3276" y="4276"/>
                  </a:lnTo>
                  <a:lnTo>
                    <a:pt x="3276" y="4272"/>
                  </a:lnTo>
                  <a:lnTo>
                    <a:pt x="3276" y="4260"/>
                  </a:lnTo>
                  <a:lnTo>
                    <a:pt x="3276" y="4248"/>
                  </a:lnTo>
                  <a:lnTo>
                    <a:pt x="3276" y="4242"/>
                  </a:lnTo>
                  <a:lnTo>
                    <a:pt x="3274" y="4240"/>
                  </a:lnTo>
                  <a:lnTo>
                    <a:pt x="3270" y="4236"/>
                  </a:lnTo>
                  <a:lnTo>
                    <a:pt x="3270" y="4234"/>
                  </a:lnTo>
                  <a:lnTo>
                    <a:pt x="3268" y="4230"/>
                  </a:lnTo>
                  <a:lnTo>
                    <a:pt x="3264" y="4226"/>
                  </a:lnTo>
                  <a:close/>
                  <a:moveTo>
                    <a:pt x="2906" y="4970"/>
                  </a:moveTo>
                  <a:lnTo>
                    <a:pt x="2906" y="4970"/>
                  </a:lnTo>
                  <a:lnTo>
                    <a:pt x="2908" y="4964"/>
                  </a:lnTo>
                  <a:lnTo>
                    <a:pt x="2910" y="4962"/>
                  </a:lnTo>
                  <a:lnTo>
                    <a:pt x="2914" y="4960"/>
                  </a:lnTo>
                  <a:lnTo>
                    <a:pt x="2918" y="4958"/>
                  </a:lnTo>
                  <a:lnTo>
                    <a:pt x="2918" y="4956"/>
                  </a:lnTo>
                  <a:lnTo>
                    <a:pt x="2918" y="4950"/>
                  </a:lnTo>
                  <a:lnTo>
                    <a:pt x="2916" y="4942"/>
                  </a:lnTo>
                  <a:lnTo>
                    <a:pt x="2914" y="4932"/>
                  </a:lnTo>
                  <a:lnTo>
                    <a:pt x="2914" y="4924"/>
                  </a:lnTo>
                  <a:lnTo>
                    <a:pt x="2916" y="4918"/>
                  </a:lnTo>
                  <a:lnTo>
                    <a:pt x="2920" y="4912"/>
                  </a:lnTo>
                  <a:lnTo>
                    <a:pt x="2930" y="4902"/>
                  </a:lnTo>
                  <a:lnTo>
                    <a:pt x="2934" y="4898"/>
                  </a:lnTo>
                  <a:lnTo>
                    <a:pt x="2938" y="4892"/>
                  </a:lnTo>
                  <a:lnTo>
                    <a:pt x="2940" y="4888"/>
                  </a:lnTo>
                  <a:lnTo>
                    <a:pt x="2944" y="4886"/>
                  </a:lnTo>
                  <a:lnTo>
                    <a:pt x="2952" y="4882"/>
                  </a:lnTo>
                  <a:lnTo>
                    <a:pt x="2954" y="4882"/>
                  </a:lnTo>
                  <a:lnTo>
                    <a:pt x="2958" y="4878"/>
                  </a:lnTo>
                  <a:lnTo>
                    <a:pt x="2958" y="4872"/>
                  </a:lnTo>
                  <a:lnTo>
                    <a:pt x="2958" y="4862"/>
                  </a:lnTo>
                  <a:lnTo>
                    <a:pt x="2956" y="4840"/>
                  </a:lnTo>
                  <a:lnTo>
                    <a:pt x="2958" y="4822"/>
                  </a:lnTo>
                  <a:lnTo>
                    <a:pt x="2962" y="4808"/>
                  </a:lnTo>
                  <a:lnTo>
                    <a:pt x="2964" y="4804"/>
                  </a:lnTo>
                  <a:lnTo>
                    <a:pt x="2968" y="4800"/>
                  </a:lnTo>
                  <a:lnTo>
                    <a:pt x="2972" y="4796"/>
                  </a:lnTo>
                  <a:lnTo>
                    <a:pt x="2974" y="4792"/>
                  </a:lnTo>
                  <a:lnTo>
                    <a:pt x="2978" y="4792"/>
                  </a:lnTo>
                  <a:lnTo>
                    <a:pt x="2982" y="4796"/>
                  </a:lnTo>
                  <a:lnTo>
                    <a:pt x="2988" y="4800"/>
                  </a:lnTo>
                  <a:lnTo>
                    <a:pt x="2992" y="4802"/>
                  </a:lnTo>
                  <a:lnTo>
                    <a:pt x="3002" y="4802"/>
                  </a:lnTo>
                  <a:lnTo>
                    <a:pt x="3010" y="4800"/>
                  </a:lnTo>
                  <a:lnTo>
                    <a:pt x="3012" y="4798"/>
                  </a:lnTo>
                  <a:lnTo>
                    <a:pt x="3014" y="4796"/>
                  </a:lnTo>
                  <a:lnTo>
                    <a:pt x="3012" y="4792"/>
                  </a:lnTo>
                  <a:lnTo>
                    <a:pt x="3006" y="4786"/>
                  </a:lnTo>
                  <a:lnTo>
                    <a:pt x="2988" y="4770"/>
                  </a:lnTo>
                  <a:lnTo>
                    <a:pt x="2980" y="4760"/>
                  </a:lnTo>
                  <a:lnTo>
                    <a:pt x="2972" y="4752"/>
                  </a:lnTo>
                  <a:lnTo>
                    <a:pt x="2970" y="4744"/>
                  </a:lnTo>
                  <a:lnTo>
                    <a:pt x="2970" y="4742"/>
                  </a:lnTo>
                  <a:lnTo>
                    <a:pt x="2970" y="4738"/>
                  </a:lnTo>
                  <a:lnTo>
                    <a:pt x="2974" y="4734"/>
                  </a:lnTo>
                  <a:lnTo>
                    <a:pt x="2976" y="4730"/>
                  </a:lnTo>
                  <a:lnTo>
                    <a:pt x="2974" y="4726"/>
                  </a:lnTo>
                  <a:lnTo>
                    <a:pt x="2972" y="4722"/>
                  </a:lnTo>
                  <a:lnTo>
                    <a:pt x="2966" y="4714"/>
                  </a:lnTo>
                  <a:lnTo>
                    <a:pt x="2964" y="4708"/>
                  </a:lnTo>
                  <a:lnTo>
                    <a:pt x="2962" y="4702"/>
                  </a:lnTo>
                  <a:lnTo>
                    <a:pt x="2960" y="4696"/>
                  </a:lnTo>
                  <a:lnTo>
                    <a:pt x="2958" y="4692"/>
                  </a:lnTo>
                  <a:lnTo>
                    <a:pt x="2954" y="4690"/>
                  </a:lnTo>
                  <a:lnTo>
                    <a:pt x="2950" y="4686"/>
                  </a:lnTo>
                  <a:lnTo>
                    <a:pt x="2948" y="4684"/>
                  </a:lnTo>
                  <a:lnTo>
                    <a:pt x="2950" y="4678"/>
                  </a:lnTo>
                  <a:lnTo>
                    <a:pt x="2950" y="4672"/>
                  </a:lnTo>
                  <a:lnTo>
                    <a:pt x="2952" y="4668"/>
                  </a:lnTo>
                  <a:lnTo>
                    <a:pt x="2956" y="4666"/>
                  </a:lnTo>
                  <a:lnTo>
                    <a:pt x="2958" y="4666"/>
                  </a:lnTo>
                  <a:lnTo>
                    <a:pt x="2964" y="4666"/>
                  </a:lnTo>
                  <a:lnTo>
                    <a:pt x="2966" y="4666"/>
                  </a:lnTo>
                  <a:lnTo>
                    <a:pt x="2966" y="4662"/>
                  </a:lnTo>
                  <a:lnTo>
                    <a:pt x="2964" y="4658"/>
                  </a:lnTo>
                  <a:lnTo>
                    <a:pt x="2956" y="4648"/>
                  </a:lnTo>
                  <a:lnTo>
                    <a:pt x="2954" y="4644"/>
                  </a:lnTo>
                  <a:lnTo>
                    <a:pt x="2954" y="4642"/>
                  </a:lnTo>
                  <a:lnTo>
                    <a:pt x="2954" y="4640"/>
                  </a:lnTo>
                  <a:lnTo>
                    <a:pt x="2956" y="4638"/>
                  </a:lnTo>
                  <a:lnTo>
                    <a:pt x="2958" y="4638"/>
                  </a:lnTo>
                  <a:lnTo>
                    <a:pt x="2960" y="4636"/>
                  </a:lnTo>
                  <a:lnTo>
                    <a:pt x="2958" y="4630"/>
                  </a:lnTo>
                  <a:lnTo>
                    <a:pt x="2958" y="4628"/>
                  </a:lnTo>
                  <a:lnTo>
                    <a:pt x="2966" y="4632"/>
                  </a:lnTo>
                  <a:lnTo>
                    <a:pt x="2972" y="4636"/>
                  </a:lnTo>
                  <a:lnTo>
                    <a:pt x="2976" y="4636"/>
                  </a:lnTo>
                  <a:lnTo>
                    <a:pt x="2980" y="4632"/>
                  </a:lnTo>
                  <a:lnTo>
                    <a:pt x="2986" y="4632"/>
                  </a:lnTo>
                  <a:lnTo>
                    <a:pt x="2992" y="4630"/>
                  </a:lnTo>
                  <a:lnTo>
                    <a:pt x="2998" y="4628"/>
                  </a:lnTo>
                  <a:lnTo>
                    <a:pt x="2998" y="4626"/>
                  </a:lnTo>
                  <a:lnTo>
                    <a:pt x="2998" y="4624"/>
                  </a:lnTo>
                  <a:lnTo>
                    <a:pt x="2990" y="4618"/>
                  </a:lnTo>
                  <a:lnTo>
                    <a:pt x="2982" y="4610"/>
                  </a:lnTo>
                  <a:lnTo>
                    <a:pt x="2980" y="4606"/>
                  </a:lnTo>
                  <a:lnTo>
                    <a:pt x="2982" y="4602"/>
                  </a:lnTo>
                  <a:lnTo>
                    <a:pt x="2986" y="4598"/>
                  </a:lnTo>
                  <a:lnTo>
                    <a:pt x="2988" y="4598"/>
                  </a:lnTo>
                  <a:lnTo>
                    <a:pt x="2990" y="4598"/>
                  </a:lnTo>
                  <a:lnTo>
                    <a:pt x="2994" y="4600"/>
                  </a:lnTo>
                  <a:lnTo>
                    <a:pt x="3002" y="4600"/>
                  </a:lnTo>
                  <a:lnTo>
                    <a:pt x="3014" y="4596"/>
                  </a:lnTo>
                  <a:lnTo>
                    <a:pt x="3020" y="4592"/>
                  </a:lnTo>
                  <a:lnTo>
                    <a:pt x="3024" y="4586"/>
                  </a:lnTo>
                  <a:lnTo>
                    <a:pt x="3024" y="4580"/>
                  </a:lnTo>
                  <a:lnTo>
                    <a:pt x="3022" y="4578"/>
                  </a:lnTo>
                  <a:lnTo>
                    <a:pt x="3022" y="4576"/>
                  </a:lnTo>
                  <a:lnTo>
                    <a:pt x="3018" y="4576"/>
                  </a:lnTo>
                  <a:lnTo>
                    <a:pt x="3014" y="4578"/>
                  </a:lnTo>
                  <a:lnTo>
                    <a:pt x="3012" y="4578"/>
                  </a:lnTo>
                  <a:lnTo>
                    <a:pt x="3010" y="4576"/>
                  </a:lnTo>
                  <a:lnTo>
                    <a:pt x="3006" y="4572"/>
                  </a:lnTo>
                  <a:lnTo>
                    <a:pt x="3004" y="4572"/>
                  </a:lnTo>
                  <a:lnTo>
                    <a:pt x="3000" y="4570"/>
                  </a:lnTo>
                  <a:lnTo>
                    <a:pt x="2998" y="4566"/>
                  </a:lnTo>
                  <a:lnTo>
                    <a:pt x="2994" y="4562"/>
                  </a:lnTo>
                  <a:lnTo>
                    <a:pt x="2988" y="4560"/>
                  </a:lnTo>
                  <a:lnTo>
                    <a:pt x="2984" y="4560"/>
                  </a:lnTo>
                  <a:lnTo>
                    <a:pt x="2982" y="4560"/>
                  </a:lnTo>
                  <a:lnTo>
                    <a:pt x="2976" y="4564"/>
                  </a:lnTo>
                  <a:lnTo>
                    <a:pt x="2974" y="4564"/>
                  </a:lnTo>
                  <a:lnTo>
                    <a:pt x="2972" y="4562"/>
                  </a:lnTo>
                  <a:lnTo>
                    <a:pt x="2972" y="4560"/>
                  </a:lnTo>
                  <a:lnTo>
                    <a:pt x="2974" y="4558"/>
                  </a:lnTo>
                  <a:lnTo>
                    <a:pt x="2976" y="4556"/>
                  </a:lnTo>
                  <a:lnTo>
                    <a:pt x="2976" y="4550"/>
                  </a:lnTo>
                  <a:lnTo>
                    <a:pt x="2974" y="4548"/>
                  </a:lnTo>
                  <a:lnTo>
                    <a:pt x="2972" y="4548"/>
                  </a:lnTo>
                  <a:lnTo>
                    <a:pt x="2968" y="4548"/>
                  </a:lnTo>
                  <a:lnTo>
                    <a:pt x="2964" y="4550"/>
                  </a:lnTo>
                  <a:lnTo>
                    <a:pt x="2962" y="4550"/>
                  </a:lnTo>
                  <a:lnTo>
                    <a:pt x="2960" y="4548"/>
                  </a:lnTo>
                  <a:lnTo>
                    <a:pt x="2960" y="4542"/>
                  </a:lnTo>
                  <a:lnTo>
                    <a:pt x="2960" y="4536"/>
                  </a:lnTo>
                  <a:lnTo>
                    <a:pt x="2962" y="4530"/>
                  </a:lnTo>
                  <a:lnTo>
                    <a:pt x="2958" y="4522"/>
                  </a:lnTo>
                  <a:lnTo>
                    <a:pt x="2954" y="4518"/>
                  </a:lnTo>
                  <a:lnTo>
                    <a:pt x="2952" y="4520"/>
                  </a:lnTo>
                  <a:lnTo>
                    <a:pt x="2948" y="4520"/>
                  </a:lnTo>
                  <a:lnTo>
                    <a:pt x="2946" y="4518"/>
                  </a:lnTo>
                  <a:lnTo>
                    <a:pt x="2944" y="4510"/>
                  </a:lnTo>
                  <a:lnTo>
                    <a:pt x="2942" y="4504"/>
                  </a:lnTo>
                  <a:lnTo>
                    <a:pt x="2940" y="4502"/>
                  </a:lnTo>
                  <a:lnTo>
                    <a:pt x="2938" y="4502"/>
                  </a:lnTo>
                  <a:lnTo>
                    <a:pt x="2936" y="4504"/>
                  </a:lnTo>
                  <a:lnTo>
                    <a:pt x="2934" y="4508"/>
                  </a:lnTo>
                  <a:lnTo>
                    <a:pt x="2932" y="4514"/>
                  </a:lnTo>
                  <a:lnTo>
                    <a:pt x="2928" y="4520"/>
                  </a:lnTo>
                  <a:lnTo>
                    <a:pt x="2926" y="4522"/>
                  </a:lnTo>
                  <a:lnTo>
                    <a:pt x="2924" y="4520"/>
                  </a:lnTo>
                  <a:lnTo>
                    <a:pt x="2926" y="4512"/>
                  </a:lnTo>
                  <a:lnTo>
                    <a:pt x="2928" y="4504"/>
                  </a:lnTo>
                  <a:lnTo>
                    <a:pt x="2926" y="4500"/>
                  </a:lnTo>
                  <a:lnTo>
                    <a:pt x="2924" y="4500"/>
                  </a:lnTo>
                  <a:lnTo>
                    <a:pt x="2920" y="4502"/>
                  </a:lnTo>
                  <a:lnTo>
                    <a:pt x="2918" y="4506"/>
                  </a:lnTo>
                  <a:lnTo>
                    <a:pt x="2916" y="4514"/>
                  </a:lnTo>
                  <a:lnTo>
                    <a:pt x="2910" y="4528"/>
                  </a:lnTo>
                  <a:lnTo>
                    <a:pt x="2904" y="4538"/>
                  </a:lnTo>
                  <a:lnTo>
                    <a:pt x="2900" y="4542"/>
                  </a:lnTo>
                  <a:lnTo>
                    <a:pt x="2896" y="4544"/>
                  </a:lnTo>
                  <a:lnTo>
                    <a:pt x="2896" y="4548"/>
                  </a:lnTo>
                  <a:lnTo>
                    <a:pt x="2894" y="4556"/>
                  </a:lnTo>
                  <a:lnTo>
                    <a:pt x="2892" y="4558"/>
                  </a:lnTo>
                  <a:lnTo>
                    <a:pt x="2890" y="4560"/>
                  </a:lnTo>
                  <a:lnTo>
                    <a:pt x="2890" y="4562"/>
                  </a:lnTo>
                  <a:lnTo>
                    <a:pt x="2888" y="4570"/>
                  </a:lnTo>
                  <a:lnTo>
                    <a:pt x="2884" y="4572"/>
                  </a:lnTo>
                  <a:lnTo>
                    <a:pt x="2882" y="4574"/>
                  </a:lnTo>
                  <a:lnTo>
                    <a:pt x="2880" y="4572"/>
                  </a:lnTo>
                  <a:lnTo>
                    <a:pt x="2876" y="4570"/>
                  </a:lnTo>
                  <a:lnTo>
                    <a:pt x="2874" y="4572"/>
                  </a:lnTo>
                  <a:lnTo>
                    <a:pt x="2868" y="4580"/>
                  </a:lnTo>
                  <a:lnTo>
                    <a:pt x="2868" y="4582"/>
                  </a:lnTo>
                  <a:lnTo>
                    <a:pt x="2868" y="4584"/>
                  </a:lnTo>
                  <a:lnTo>
                    <a:pt x="2872" y="4586"/>
                  </a:lnTo>
                  <a:lnTo>
                    <a:pt x="2876" y="4592"/>
                  </a:lnTo>
                  <a:lnTo>
                    <a:pt x="2874" y="4594"/>
                  </a:lnTo>
                  <a:lnTo>
                    <a:pt x="2872" y="4598"/>
                  </a:lnTo>
                  <a:lnTo>
                    <a:pt x="2868" y="4602"/>
                  </a:lnTo>
                  <a:lnTo>
                    <a:pt x="2864" y="4600"/>
                  </a:lnTo>
                  <a:lnTo>
                    <a:pt x="2862" y="4600"/>
                  </a:lnTo>
                  <a:lnTo>
                    <a:pt x="2858" y="4604"/>
                  </a:lnTo>
                  <a:lnTo>
                    <a:pt x="2854" y="4608"/>
                  </a:lnTo>
                  <a:lnTo>
                    <a:pt x="2854" y="4604"/>
                  </a:lnTo>
                  <a:lnTo>
                    <a:pt x="2856" y="4598"/>
                  </a:lnTo>
                  <a:lnTo>
                    <a:pt x="2856" y="4596"/>
                  </a:lnTo>
                  <a:lnTo>
                    <a:pt x="2854" y="4596"/>
                  </a:lnTo>
                  <a:lnTo>
                    <a:pt x="2850" y="4598"/>
                  </a:lnTo>
                  <a:lnTo>
                    <a:pt x="2844" y="4602"/>
                  </a:lnTo>
                  <a:lnTo>
                    <a:pt x="2836" y="4610"/>
                  </a:lnTo>
                  <a:lnTo>
                    <a:pt x="2828" y="4616"/>
                  </a:lnTo>
                  <a:lnTo>
                    <a:pt x="2822" y="4618"/>
                  </a:lnTo>
                  <a:lnTo>
                    <a:pt x="2816" y="4618"/>
                  </a:lnTo>
                  <a:lnTo>
                    <a:pt x="2814" y="4618"/>
                  </a:lnTo>
                  <a:lnTo>
                    <a:pt x="2812" y="4618"/>
                  </a:lnTo>
                  <a:lnTo>
                    <a:pt x="2812" y="4630"/>
                  </a:lnTo>
                  <a:lnTo>
                    <a:pt x="2810" y="4634"/>
                  </a:lnTo>
                  <a:lnTo>
                    <a:pt x="2806" y="4640"/>
                  </a:lnTo>
                  <a:lnTo>
                    <a:pt x="2798" y="4652"/>
                  </a:lnTo>
                  <a:lnTo>
                    <a:pt x="2786" y="4666"/>
                  </a:lnTo>
                  <a:lnTo>
                    <a:pt x="2780" y="4674"/>
                  </a:lnTo>
                  <a:lnTo>
                    <a:pt x="2778" y="4684"/>
                  </a:lnTo>
                  <a:lnTo>
                    <a:pt x="2774" y="4688"/>
                  </a:lnTo>
                  <a:lnTo>
                    <a:pt x="2766" y="4692"/>
                  </a:lnTo>
                  <a:lnTo>
                    <a:pt x="2746" y="4696"/>
                  </a:lnTo>
                  <a:lnTo>
                    <a:pt x="2724" y="4700"/>
                  </a:lnTo>
                  <a:lnTo>
                    <a:pt x="2716" y="4704"/>
                  </a:lnTo>
                  <a:lnTo>
                    <a:pt x="2712" y="4706"/>
                  </a:lnTo>
                  <a:lnTo>
                    <a:pt x="2710" y="4710"/>
                  </a:lnTo>
                  <a:lnTo>
                    <a:pt x="2708" y="4716"/>
                  </a:lnTo>
                  <a:lnTo>
                    <a:pt x="2710" y="4724"/>
                  </a:lnTo>
                  <a:lnTo>
                    <a:pt x="2708" y="4728"/>
                  </a:lnTo>
                  <a:lnTo>
                    <a:pt x="2704" y="4726"/>
                  </a:lnTo>
                  <a:lnTo>
                    <a:pt x="2702" y="4724"/>
                  </a:lnTo>
                  <a:lnTo>
                    <a:pt x="2700" y="4724"/>
                  </a:lnTo>
                  <a:lnTo>
                    <a:pt x="2698" y="4728"/>
                  </a:lnTo>
                  <a:lnTo>
                    <a:pt x="2698" y="4734"/>
                  </a:lnTo>
                  <a:lnTo>
                    <a:pt x="2700" y="4738"/>
                  </a:lnTo>
                  <a:lnTo>
                    <a:pt x="2702" y="4738"/>
                  </a:lnTo>
                  <a:lnTo>
                    <a:pt x="2702" y="4740"/>
                  </a:lnTo>
                  <a:lnTo>
                    <a:pt x="2700" y="4742"/>
                  </a:lnTo>
                  <a:lnTo>
                    <a:pt x="2698" y="4750"/>
                  </a:lnTo>
                  <a:lnTo>
                    <a:pt x="2696" y="4756"/>
                  </a:lnTo>
                  <a:lnTo>
                    <a:pt x="2692" y="4760"/>
                  </a:lnTo>
                  <a:lnTo>
                    <a:pt x="2692" y="4764"/>
                  </a:lnTo>
                  <a:lnTo>
                    <a:pt x="2696" y="4768"/>
                  </a:lnTo>
                  <a:lnTo>
                    <a:pt x="2698" y="4772"/>
                  </a:lnTo>
                  <a:lnTo>
                    <a:pt x="2698" y="4774"/>
                  </a:lnTo>
                  <a:lnTo>
                    <a:pt x="2690" y="4768"/>
                  </a:lnTo>
                  <a:lnTo>
                    <a:pt x="2684" y="4766"/>
                  </a:lnTo>
                  <a:lnTo>
                    <a:pt x="2678" y="4766"/>
                  </a:lnTo>
                  <a:lnTo>
                    <a:pt x="2672" y="4764"/>
                  </a:lnTo>
                  <a:lnTo>
                    <a:pt x="2672" y="4762"/>
                  </a:lnTo>
                  <a:lnTo>
                    <a:pt x="2672" y="4760"/>
                  </a:lnTo>
                  <a:lnTo>
                    <a:pt x="2674" y="4756"/>
                  </a:lnTo>
                  <a:lnTo>
                    <a:pt x="2672" y="4756"/>
                  </a:lnTo>
                  <a:lnTo>
                    <a:pt x="2670" y="4756"/>
                  </a:lnTo>
                  <a:lnTo>
                    <a:pt x="2666" y="4754"/>
                  </a:lnTo>
                  <a:lnTo>
                    <a:pt x="2664" y="4752"/>
                  </a:lnTo>
                  <a:lnTo>
                    <a:pt x="2664" y="4754"/>
                  </a:lnTo>
                  <a:lnTo>
                    <a:pt x="2662" y="4756"/>
                  </a:lnTo>
                  <a:lnTo>
                    <a:pt x="2656" y="4758"/>
                  </a:lnTo>
                  <a:lnTo>
                    <a:pt x="2650" y="4758"/>
                  </a:lnTo>
                  <a:lnTo>
                    <a:pt x="2644" y="4756"/>
                  </a:lnTo>
                  <a:lnTo>
                    <a:pt x="2640" y="4750"/>
                  </a:lnTo>
                  <a:lnTo>
                    <a:pt x="2638" y="4742"/>
                  </a:lnTo>
                  <a:lnTo>
                    <a:pt x="2632" y="4744"/>
                  </a:lnTo>
                  <a:lnTo>
                    <a:pt x="2628" y="4746"/>
                  </a:lnTo>
                  <a:lnTo>
                    <a:pt x="2622" y="4750"/>
                  </a:lnTo>
                  <a:lnTo>
                    <a:pt x="2620" y="4758"/>
                  </a:lnTo>
                  <a:lnTo>
                    <a:pt x="2618" y="4764"/>
                  </a:lnTo>
                  <a:lnTo>
                    <a:pt x="2614" y="4772"/>
                  </a:lnTo>
                  <a:lnTo>
                    <a:pt x="2610" y="4780"/>
                  </a:lnTo>
                  <a:lnTo>
                    <a:pt x="2606" y="4802"/>
                  </a:lnTo>
                  <a:lnTo>
                    <a:pt x="2606" y="4812"/>
                  </a:lnTo>
                  <a:lnTo>
                    <a:pt x="2608" y="4820"/>
                  </a:lnTo>
                  <a:lnTo>
                    <a:pt x="2610" y="4826"/>
                  </a:lnTo>
                  <a:lnTo>
                    <a:pt x="2616" y="4830"/>
                  </a:lnTo>
                  <a:lnTo>
                    <a:pt x="2620" y="4834"/>
                  </a:lnTo>
                  <a:lnTo>
                    <a:pt x="2620" y="4836"/>
                  </a:lnTo>
                  <a:lnTo>
                    <a:pt x="2616" y="4844"/>
                  </a:lnTo>
                  <a:lnTo>
                    <a:pt x="2614" y="4848"/>
                  </a:lnTo>
                  <a:lnTo>
                    <a:pt x="2614" y="4854"/>
                  </a:lnTo>
                  <a:lnTo>
                    <a:pt x="2614" y="4858"/>
                  </a:lnTo>
                  <a:lnTo>
                    <a:pt x="2618" y="4864"/>
                  </a:lnTo>
                  <a:lnTo>
                    <a:pt x="2622" y="4870"/>
                  </a:lnTo>
                  <a:lnTo>
                    <a:pt x="2624" y="4874"/>
                  </a:lnTo>
                  <a:lnTo>
                    <a:pt x="2624" y="4876"/>
                  </a:lnTo>
                  <a:lnTo>
                    <a:pt x="2622" y="4878"/>
                  </a:lnTo>
                  <a:lnTo>
                    <a:pt x="2620" y="4880"/>
                  </a:lnTo>
                  <a:lnTo>
                    <a:pt x="2626" y="4882"/>
                  </a:lnTo>
                  <a:lnTo>
                    <a:pt x="2630" y="4886"/>
                  </a:lnTo>
                  <a:lnTo>
                    <a:pt x="2632" y="4888"/>
                  </a:lnTo>
                  <a:lnTo>
                    <a:pt x="2632" y="4890"/>
                  </a:lnTo>
                  <a:lnTo>
                    <a:pt x="2630" y="4892"/>
                  </a:lnTo>
                  <a:lnTo>
                    <a:pt x="2628" y="4898"/>
                  </a:lnTo>
                  <a:lnTo>
                    <a:pt x="2626" y="4900"/>
                  </a:lnTo>
                  <a:lnTo>
                    <a:pt x="2628" y="4902"/>
                  </a:lnTo>
                  <a:lnTo>
                    <a:pt x="2632" y="4904"/>
                  </a:lnTo>
                  <a:lnTo>
                    <a:pt x="2634" y="4904"/>
                  </a:lnTo>
                  <a:lnTo>
                    <a:pt x="2640" y="4900"/>
                  </a:lnTo>
                  <a:lnTo>
                    <a:pt x="2646" y="4898"/>
                  </a:lnTo>
                  <a:lnTo>
                    <a:pt x="2650" y="4898"/>
                  </a:lnTo>
                  <a:lnTo>
                    <a:pt x="2652" y="4902"/>
                  </a:lnTo>
                  <a:lnTo>
                    <a:pt x="2652" y="4908"/>
                  </a:lnTo>
                  <a:lnTo>
                    <a:pt x="2652" y="4910"/>
                  </a:lnTo>
                  <a:lnTo>
                    <a:pt x="2650" y="4918"/>
                  </a:lnTo>
                  <a:lnTo>
                    <a:pt x="2648" y="4926"/>
                  </a:lnTo>
                  <a:lnTo>
                    <a:pt x="2648" y="4934"/>
                  </a:lnTo>
                  <a:lnTo>
                    <a:pt x="2652" y="4942"/>
                  </a:lnTo>
                  <a:lnTo>
                    <a:pt x="2658" y="4960"/>
                  </a:lnTo>
                  <a:lnTo>
                    <a:pt x="2660" y="4972"/>
                  </a:lnTo>
                  <a:lnTo>
                    <a:pt x="2660" y="4980"/>
                  </a:lnTo>
                  <a:lnTo>
                    <a:pt x="2660" y="4984"/>
                  </a:lnTo>
                  <a:lnTo>
                    <a:pt x="2660" y="4986"/>
                  </a:lnTo>
                  <a:lnTo>
                    <a:pt x="2666" y="4986"/>
                  </a:lnTo>
                  <a:lnTo>
                    <a:pt x="2678" y="4988"/>
                  </a:lnTo>
                  <a:lnTo>
                    <a:pt x="2684" y="4992"/>
                  </a:lnTo>
                  <a:lnTo>
                    <a:pt x="2692" y="4992"/>
                  </a:lnTo>
                  <a:lnTo>
                    <a:pt x="2698" y="4986"/>
                  </a:lnTo>
                  <a:lnTo>
                    <a:pt x="2702" y="4982"/>
                  </a:lnTo>
                  <a:lnTo>
                    <a:pt x="2706" y="4982"/>
                  </a:lnTo>
                  <a:lnTo>
                    <a:pt x="2712" y="4982"/>
                  </a:lnTo>
                  <a:lnTo>
                    <a:pt x="2716" y="4984"/>
                  </a:lnTo>
                  <a:lnTo>
                    <a:pt x="2720" y="4986"/>
                  </a:lnTo>
                  <a:lnTo>
                    <a:pt x="2722" y="4992"/>
                  </a:lnTo>
                  <a:lnTo>
                    <a:pt x="2724" y="4996"/>
                  </a:lnTo>
                  <a:lnTo>
                    <a:pt x="2724" y="5002"/>
                  </a:lnTo>
                  <a:lnTo>
                    <a:pt x="2724" y="5010"/>
                  </a:lnTo>
                  <a:lnTo>
                    <a:pt x="2726" y="5012"/>
                  </a:lnTo>
                  <a:lnTo>
                    <a:pt x="2728" y="5012"/>
                  </a:lnTo>
                  <a:lnTo>
                    <a:pt x="2734" y="5010"/>
                  </a:lnTo>
                  <a:lnTo>
                    <a:pt x="2740" y="5004"/>
                  </a:lnTo>
                  <a:lnTo>
                    <a:pt x="2742" y="5002"/>
                  </a:lnTo>
                  <a:lnTo>
                    <a:pt x="2746" y="5002"/>
                  </a:lnTo>
                  <a:lnTo>
                    <a:pt x="2754" y="5004"/>
                  </a:lnTo>
                  <a:lnTo>
                    <a:pt x="2756" y="5004"/>
                  </a:lnTo>
                  <a:lnTo>
                    <a:pt x="2760" y="5004"/>
                  </a:lnTo>
                  <a:lnTo>
                    <a:pt x="2764" y="5002"/>
                  </a:lnTo>
                  <a:lnTo>
                    <a:pt x="2768" y="4998"/>
                  </a:lnTo>
                  <a:lnTo>
                    <a:pt x="2770" y="4992"/>
                  </a:lnTo>
                  <a:lnTo>
                    <a:pt x="2774" y="4990"/>
                  </a:lnTo>
                  <a:lnTo>
                    <a:pt x="2776" y="4990"/>
                  </a:lnTo>
                  <a:lnTo>
                    <a:pt x="2778" y="4992"/>
                  </a:lnTo>
                  <a:lnTo>
                    <a:pt x="2784" y="4996"/>
                  </a:lnTo>
                  <a:lnTo>
                    <a:pt x="2788" y="4998"/>
                  </a:lnTo>
                  <a:lnTo>
                    <a:pt x="2792" y="4998"/>
                  </a:lnTo>
                  <a:lnTo>
                    <a:pt x="2794" y="4998"/>
                  </a:lnTo>
                  <a:lnTo>
                    <a:pt x="2796" y="5000"/>
                  </a:lnTo>
                  <a:lnTo>
                    <a:pt x="2796" y="5004"/>
                  </a:lnTo>
                  <a:lnTo>
                    <a:pt x="2796" y="5006"/>
                  </a:lnTo>
                  <a:lnTo>
                    <a:pt x="2798" y="5008"/>
                  </a:lnTo>
                  <a:lnTo>
                    <a:pt x="2800" y="5008"/>
                  </a:lnTo>
                  <a:lnTo>
                    <a:pt x="2806" y="5006"/>
                  </a:lnTo>
                  <a:lnTo>
                    <a:pt x="2814" y="5004"/>
                  </a:lnTo>
                  <a:lnTo>
                    <a:pt x="2820" y="5004"/>
                  </a:lnTo>
                  <a:lnTo>
                    <a:pt x="2826" y="5008"/>
                  </a:lnTo>
                  <a:lnTo>
                    <a:pt x="2830" y="5012"/>
                  </a:lnTo>
                  <a:lnTo>
                    <a:pt x="2834" y="5016"/>
                  </a:lnTo>
                  <a:lnTo>
                    <a:pt x="2836" y="5022"/>
                  </a:lnTo>
                  <a:lnTo>
                    <a:pt x="2836" y="5030"/>
                  </a:lnTo>
                  <a:lnTo>
                    <a:pt x="2836" y="5036"/>
                  </a:lnTo>
                  <a:lnTo>
                    <a:pt x="2836" y="5040"/>
                  </a:lnTo>
                  <a:lnTo>
                    <a:pt x="2840" y="5042"/>
                  </a:lnTo>
                  <a:lnTo>
                    <a:pt x="2846" y="5040"/>
                  </a:lnTo>
                  <a:lnTo>
                    <a:pt x="2852" y="5036"/>
                  </a:lnTo>
                  <a:lnTo>
                    <a:pt x="2868" y="5026"/>
                  </a:lnTo>
                  <a:lnTo>
                    <a:pt x="2876" y="5024"/>
                  </a:lnTo>
                  <a:lnTo>
                    <a:pt x="2882" y="5022"/>
                  </a:lnTo>
                  <a:lnTo>
                    <a:pt x="2886" y="5020"/>
                  </a:lnTo>
                  <a:lnTo>
                    <a:pt x="2890" y="5018"/>
                  </a:lnTo>
                  <a:lnTo>
                    <a:pt x="2894" y="5008"/>
                  </a:lnTo>
                  <a:lnTo>
                    <a:pt x="2896" y="4996"/>
                  </a:lnTo>
                  <a:lnTo>
                    <a:pt x="2898" y="4986"/>
                  </a:lnTo>
                  <a:lnTo>
                    <a:pt x="2898" y="4982"/>
                  </a:lnTo>
                  <a:lnTo>
                    <a:pt x="2902" y="4980"/>
                  </a:lnTo>
                  <a:lnTo>
                    <a:pt x="2904" y="4978"/>
                  </a:lnTo>
                  <a:lnTo>
                    <a:pt x="2906" y="4970"/>
                  </a:lnTo>
                  <a:close/>
                  <a:moveTo>
                    <a:pt x="2606" y="3938"/>
                  </a:moveTo>
                  <a:lnTo>
                    <a:pt x="2606" y="3938"/>
                  </a:lnTo>
                  <a:lnTo>
                    <a:pt x="2616" y="3942"/>
                  </a:lnTo>
                  <a:lnTo>
                    <a:pt x="2622" y="3944"/>
                  </a:lnTo>
                  <a:lnTo>
                    <a:pt x="2624" y="3944"/>
                  </a:lnTo>
                  <a:lnTo>
                    <a:pt x="2626" y="3944"/>
                  </a:lnTo>
                  <a:lnTo>
                    <a:pt x="2630" y="3948"/>
                  </a:lnTo>
                  <a:lnTo>
                    <a:pt x="2634" y="3950"/>
                  </a:lnTo>
                  <a:lnTo>
                    <a:pt x="2638" y="3948"/>
                  </a:lnTo>
                  <a:lnTo>
                    <a:pt x="2640" y="3942"/>
                  </a:lnTo>
                  <a:lnTo>
                    <a:pt x="2640" y="3940"/>
                  </a:lnTo>
                  <a:lnTo>
                    <a:pt x="2642" y="3940"/>
                  </a:lnTo>
                  <a:lnTo>
                    <a:pt x="2646" y="3940"/>
                  </a:lnTo>
                  <a:lnTo>
                    <a:pt x="2652" y="3938"/>
                  </a:lnTo>
                  <a:lnTo>
                    <a:pt x="2654" y="3938"/>
                  </a:lnTo>
                  <a:lnTo>
                    <a:pt x="2654" y="3934"/>
                  </a:lnTo>
                  <a:lnTo>
                    <a:pt x="2656" y="3930"/>
                  </a:lnTo>
                  <a:lnTo>
                    <a:pt x="2658" y="3928"/>
                  </a:lnTo>
                  <a:lnTo>
                    <a:pt x="2664" y="3926"/>
                  </a:lnTo>
                  <a:lnTo>
                    <a:pt x="2666" y="3924"/>
                  </a:lnTo>
                  <a:lnTo>
                    <a:pt x="2670" y="3922"/>
                  </a:lnTo>
                  <a:lnTo>
                    <a:pt x="2670" y="3918"/>
                  </a:lnTo>
                  <a:lnTo>
                    <a:pt x="2672" y="3912"/>
                  </a:lnTo>
                  <a:lnTo>
                    <a:pt x="2674" y="3902"/>
                  </a:lnTo>
                  <a:lnTo>
                    <a:pt x="2678" y="3892"/>
                  </a:lnTo>
                  <a:lnTo>
                    <a:pt x="2684" y="3884"/>
                  </a:lnTo>
                  <a:lnTo>
                    <a:pt x="2690" y="3878"/>
                  </a:lnTo>
                  <a:lnTo>
                    <a:pt x="2692" y="3874"/>
                  </a:lnTo>
                  <a:lnTo>
                    <a:pt x="2692" y="3868"/>
                  </a:lnTo>
                  <a:lnTo>
                    <a:pt x="2690" y="3862"/>
                  </a:lnTo>
                  <a:lnTo>
                    <a:pt x="2686" y="3858"/>
                  </a:lnTo>
                  <a:lnTo>
                    <a:pt x="2682" y="3856"/>
                  </a:lnTo>
                  <a:lnTo>
                    <a:pt x="2680" y="3854"/>
                  </a:lnTo>
                  <a:lnTo>
                    <a:pt x="2676" y="3852"/>
                  </a:lnTo>
                  <a:lnTo>
                    <a:pt x="2674" y="3854"/>
                  </a:lnTo>
                  <a:lnTo>
                    <a:pt x="2670" y="3856"/>
                  </a:lnTo>
                  <a:lnTo>
                    <a:pt x="2666" y="3856"/>
                  </a:lnTo>
                  <a:lnTo>
                    <a:pt x="2660" y="3856"/>
                  </a:lnTo>
                  <a:lnTo>
                    <a:pt x="2654" y="3858"/>
                  </a:lnTo>
                  <a:lnTo>
                    <a:pt x="2652" y="3860"/>
                  </a:lnTo>
                  <a:lnTo>
                    <a:pt x="2648" y="3860"/>
                  </a:lnTo>
                  <a:lnTo>
                    <a:pt x="2642" y="3858"/>
                  </a:lnTo>
                  <a:lnTo>
                    <a:pt x="2636" y="3858"/>
                  </a:lnTo>
                  <a:lnTo>
                    <a:pt x="2634" y="3858"/>
                  </a:lnTo>
                  <a:lnTo>
                    <a:pt x="2632" y="3862"/>
                  </a:lnTo>
                  <a:lnTo>
                    <a:pt x="2630" y="3864"/>
                  </a:lnTo>
                  <a:lnTo>
                    <a:pt x="2626" y="3864"/>
                  </a:lnTo>
                  <a:lnTo>
                    <a:pt x="2622" y="3862"/>
                  </a:lnTo>
                  <a:lnTo>
                    <a:pt x="2620" y="3864"/>
                  </a:lnTo>
                  <a:lnTo>
                    <a:pt x="2618" y="3866"/>
                  </a:lnTo>
                  <a:lnTo>
                    <a:pt x="2616" y="3870"/>
                  </a:lnTo>
                  <a:lnTo>
                    <a:pt x="2616" y="3872"/>
                  </a:lnTo>
                  <a:lnTo>
                    <a:pt x="2614" y="3874"/>
                  </a:lnTo>
                  <a:lnTo>
                    <a:pt x="2608" y="3882"/>
                  </a:lnTo>
                  <a:lnTo>
                    <a:pt x="2604" y="3886"/>
                  </a:lnTo>
                  <a:lnTo>
                    <a:pt x="2598" y="3890"/>
                  </a:lnTo>
                  <a:lnTo>
                    <a:pt x="2596" y="3896"/>
                  </a:lnTo>
                  <a:lnTo>
                    <a:pt x="2596" y="3908"/>
                  </a:lnTo>
                  <a:lnTo>
                    <a:pt x="2596" y="3920"/>
                  </a:lnTo>
                  <a:lnTo>
                    <a:pt x="2596" y="3926"/>
                  </a:lnTo>
                  <a:lnTo>
                    <a:pt x="2600" y="3932"/>
                  </a:lnTo>
                  <a:lnTo>
                    <a:pt x="2606" y="3938"/>
                  </a:lnTo>
                  <a:close/>
                  <a:moveTo>
                    <a:pt x="3234" y="3626"/>
                  </a:moveTo>
                  <a:lnTo>
                    <a:pt x="3234" y="3626"/>
                  </a:lnTo>
                  <a:lnTo>
                    <a:pt x="3234" y="3624"/>
                  </a:lnTo>
                  <a:lnTo>
                    <a:pt x="3232" y="3624"/>
                  </a:lnTo>
                  <a:lnTo>
                    <a:pt x="3226" y="3626"/>
                  </a:lnTo>
                  <a:lnTo>
                    <a:pt x="3222" y="3632"/>
                  </a:lnTo>
                  <a:lnTo>
                    <a:pt x="3222" y="3634"/>
                  </a:lnTo>
                  <a:lnTo>
                    <a:pt x="3224" y="3636"/>
                  </a:lnTo>
                  <a:lnTo>
                    <a:pt x="3226" y="3636"/>
                  </a:lnTo>
                  <a:lnTo>
                    <a:pt x="3230" y="3634"/>
                  </a:lnTo>
                  <a:lnTo>
                    <a:pt x="3234" y="3626"/>
                  </a:lnTo>
                  <a:close/>
                  <a:moveTo>
                    <a:pt x="3140" y="4236"/>
                  </a:moveTo>
                  <a:lnTo>
                    <a:pt x="3140" y="4236"/>
                  </a:lnTo>
                  <a:lnTo>
                    <a:pt x="3142" y="4224"/>
                  </a:lnTo>
                  <a:lnTo>
                    <a:pt x="3142" y="4222"/>
                  </a:lnTo>
                  <a:lnTo>
                    <a:pt x="3138" y="4224"/>
                  </a:lnTo>
                  <a:lnTo>
                    <a:pt x="3136" y="4226"/>
                  </a:lnTo>
                  <a:lnTo>
                    <a:pt x="3136" y="4230"/>
                  </a:lnTo>
                  <a:lnTo>
                    <a:pt x="3134" y="4236"/>
                  </a:lnTo>
                  <a:lnTo>
                    <a:pt x="3134" y="4240"/>
                  </a:lnTo>
                  <a:lnTo>
                    <a:pt x="3136" y="4242"/>
                  </a:lnTo>
                  <a:lnTo>
                    <a:pt x="3138" y="4242"/>
                  </a:lnTo>
                  <a:lnTo>
                    <a:pt x="3140" y="4236"/>
                  </a:lnTo>
                  <a:close/>
                  <a:moveTo>
                    <a:pt x="3216" y="3638"/>
                  </a:moveTo>
                  <a:lnTo>
                    <a:pt x="3216" y="3638"/>
                  </a:lnTo>
                  <a:lnTo>
                    <a:pt x="3216" y="3634"/>
                  </a:lnTo>
                  <a:lnTo>
                    <a:pt x="3212" y="3632"/>
                  </a:lnTo>
                  <a:lnTo>
                    <a:pt x="3208" y="3632"/>
                  </a:lnTo>
                  <a:lnTo>
                    <a:pt x="3206" y="3636"/>
                  </a:lnTo>
                  <a:lnTo>
                    <a:pt x="3208" y="3638"/>
                  </a:lnTo>
                  <a:lnTo>
                    <a:pt x="3210" y="3640"/>
                  </a:lnTo>
                  <a:lnTo>
                    <a:pt x="3214" y="3640"/>
                  </a:lnTo>
                  <a:lnTo>
                    <a:pt x="3216" y="3638"/>
                  </a:lnTo>
                  <a:close/>
                  <a:moveTo>
                    <a:pt x="3130" y="4102"/>
                  </a:moveTo>
                  <a:lnTo>
                    <a:pt x="3130" y="4102"/>
                  </a:lnTo>
                  <a:lnTo>
                    <a:pt x="3128" y="4106"/>
                  </a:lnTo>
                  <a:lnTo>
                    <a:pt x="3128" y="4108"/>
                  </a:lnTo>
                  <a:lnTo>
                    <a:pt x="3132" y="4120"/>
                  </a:lnTo>
                  <a:lnTo>
                    <a:pt x="3134" y="4124"/>
                  </a:lnTo>
                  <a:lnTo>
                    <a:pt x="3136" y="4124"/>
                  </a:lnTo>
                  <a:lnTo>
                    <a:pt x="3136" y="4120"/>
                  </a:lnTo>
                  <a:lnTo>
                    <a:pt x="3136" y="4116"/>
                  </a:lnTo>
                  <a:lnTo>
                    <a:pt x="3134" y="4104"/>
                  </a:lnTo>
                  <a:lnTo>
                    <a:pt x="3132" y="4102"/>
                  </a:lnTo>
                  <a:lnTo>
                    <a:pt x="3130" y="4102"/>
                  </a:lnTo>
                  <a:close/>
                  <a:moveTo>
                    <a:pt x="3462" y="5402"/>
                  </a:moveTo>
                  <a:lnTo>
                    <a:pt x="3462" y="5402"/>
                  </a:lnTo>
                  <a:lnTo>
                    <a:pt x="3462" y="5410"/>
                  </a:lnTo>
                  <a:lnTo>
                    <a:pt x="3462" y="5414"/>
                  </a:lnTo>
                  <a:lnTo>
                    <a:pt x="3466" y="5416"/>
                  </a:lnTo>
                  <a:lnTo>
                    <a:pt x="3472" y="5418"/>
                  </a:lnTo>
                  <a:lnTo>
                    <a:pt x="3476" y="5418"/>
                  </a:lnTo>
                  <a:lnTo>
                    <a:pt x="3478" y="5416"/>
                  </a:lnTo>
                  <a:lnTo>
                    <a:pt x="3478" y="5412"/>
                  </a:lnTo>
                  <a:lnTo>
                    <a:pt x="3474" y="5404"/>
                  </a:lnTo>
                  <a:lnTo>
                    <a:pt x="3468" y="5398"/>
                  </a:lnTo>
                  <a:lnTo>
                    <a:pt x="3464" y="5394"/>
                  </a:lnTo>
                  <a:lnTo>
                    <a:pt x="3462" y="5396"/>
                  </a:lnTo>
                  <a:lnTo>
                    <a:pt x="3462" y="5402"/>
                  </a:lnTo>
                  <a:close/>
                  <a:moveTo>
                    <a:pt x="4244" y="2492"/>
                  </a:moveTo>
                  <a:lnTo>
                    <a:pt x="4244" y="2492"/>
                  </a:lnTo>
                  <a:lnTo>
                    <a:pt x="4244" y="2496"/>
                  </a:lnTo>
                  <a:lnTo>
                    <a:pt x="4248" y="2496"/>
                  </a:lnTo>
                  <a:lnTo>
                    <a:pt x="4256" y="2492"/>
                  </a:lnTo>
                  <a:lnTo>
                    <a:pt x="4264" y="2486"/>
                  </a:lnTo>
                  <a:lnTo>
                    <a:pt x="4280" y="2470"/>
                  </a:lnTo>
                  <a:lnTo>
                    <a:pt x="4284" y="2464"/>
                  </a:lnTo>
                  <a:lnTo>
                    <a:pt x="4284" y="2460"/>
                  </a:lnTo>
                  <a:lnTo>
                    <a:pt x="4282" y="2460"/>
                  </a:lnTo>
                  <a:lnTo>
                    <a:pt x="4276" y="2460"/>
                  </a:lnTo>
                  <a:lnTo>
                    <a:pt x="4266" y="2466"/>
                  </a:lnTo>
                  <a:lnTo>
                    <a:pt x="4254" y="2476"/>
                  </a:lnTo>
                  <a:lnTo>
                    <a:pt x="4248" y="2484"/>
                  </a:lnTo>
                  <a:lnTo>
                    <a:pt x="4244" y="2492"/>
                  </a:lnTo>
                  <a:close/>
                  <a:moveTo>
                    <a:pt x="4364" y="2396"/>
                  </a:moveTo>
                  <a:lnTo>
                    <a:pt x="4364" y="2396"/>
                  </a:lnTo>
                  <a:lnTo>
                    <a:pt x="4368" y="2398"/>
                  </a:lnTo>
                  <a:lnTo>
                    <a:pt x="4370" y="2396"/>
                  </a:lnTo>
                  <a:lnTo>
                    <a:pt x="4370" y="2394"/>
                  </a:lnTo>
                  <a:lnTo>
                    <a:pt x="4368" y="2392"/>
                  </a:lnTo>
                  <a:lnTo>
                    <a:pt x="4366" y="2390"/>
                  </a:lnTo>
                  <a:lnTo>
                    <a:pt x="4364" y="2392"/>
                  </a:lnTo>
                  <a:lnTo>
                    <a:pt x="4364" y="2394"/>
                  </a:lnTo>
                  <a:lnTo>
                    <a:pt x="4364" y="2396"/>
                  </a:lnTo>
                  <a:close/>
                  <a:moveTo>
                    <a:pt x="4388" y="2374"/>
                  </a:moveTo>
                  <a:lnTo>
                    <a:pt x="4388" y="2374"/>
                  </a:lnTo>
                  <a:lnTo>
                    <a:pt x="4392" y="2376"/>
                  </a:lnTo>
                  <a:lnTo>
                    <a:pt x="4392" y="2374"/>
                  </a:lnTo>
                  <a:lnTo>
                    <a:pt x="4394" y="2370"/>
                  </a:lnTo>
                  <a:lnTo>
                    <a:pt x="4392" y="2368"/>
                  </a:lnTo>
                  <a:lnTo>
                    <a:pt x="4390" y="2366"/>
                  </a:lnTo>
                  <a:lnTo>
                    <a:pt x="4388" y="2368"/>
                  </a:lnTo>
                  <a:lnTo>
                    <a:pt x="4388" y="2372"/>
                  </a:lnTo>
                  <a:lnTo>
                    <a:pt x="4388" y="2374"/>
                  </a:lnTo>
                  <a:close/>
                  <a:moveTo>
                    <a:pt x="264" y="3518"/>
                  </a:moveTo>
                  <a:lnTo>
                    <a:pt x="264" y="3518"/>
                  </a:lnTo>
                  <a:lnTo>
                    <a:pt x="266" y="3518"/>
                  </a:lnTo>
                  <a:lnTo>
                    <a:pt x="264" y="3518"/>
                  </a:lnTo>
                  <a:close/>
                  <a:moveTo>
                    <a:pt x="5798" y="1166"/>
                  </a:moveTo>
                  <a:lnTo>
                    <a:pt x="5798" y="1166"/>
                  </a:lnTo>
                  <a:lnTo>
                    <a:pt x="5790" y="1156"/>
                  </a:lnTo>
                  <a:lnTo>
                    <a:pt x="5782" y="1148"/>
                  </a:lnTo>
                  <a:lnTo>
                    <a:pt x="5772" y="1144"/>
                  </a:lnTo>
                  <a:lnTo>
                    <a:pt x="5760" y="1140"/>
                  </a:lnTo>
                  <a:lnTo>
                    <a:pt x="5732" y="1138"/>
                  </a:lnTo>
                  <a:lnTo>
                    <a:pt x="5698" y="1136"/>
                  </a:lnTo>
                  <a:lnTo>
                    <a:pt x="5692" y="1138"/>
                  </a:lnTo>
                  <a:lnTo>
                    <a:pt x="5688" y="1140"/>
                  </a:lnTo>
                  <a:lnTo>
                    <a:pt x="5686" y="1144"/>
                  </a:lnTo>
                  <a:lnTo>
                    <a:pt x="5686" y="1148"/>
                  </a:lnTo>
                  <a:lnTo>
                    <a:pt x="5690" y="1160"/>
                  </a:lnTo>
                  <a:lnTo>
                    <a:pt x="5696" y="1172"/>
                  </a:lnTo>
                  <a:lnTo>
                    <a:pt x="5702" y="1184"/>
                  </a:lnTo>
                  <a:lnTo>
                    <a:pt x="5704" y="1190"/>
                  </a:lnTo>
                  <a:lnTo>
                    <a:pt x="5704" y="1192"/>
                  </a:lnTo>
                  <a:lnTo>
                    <a:pt x="5700" y="1192"/>
                  </a:lnTo>
                  <a:lnTo>
                    <a:pt x="5684" y="1186"/>
                  </a:lnTo>
                  <a:lnTo>
                    <a:pt x="5676" y="1180"/>
                  </a:lnTo>
                  <a:lnTo>
                    <a:pt x="5670" y="1174"/>
                  </a:lnTo>
                  <a:lnTo>
                    <a:pt x="5666" y="1168"/>
                  </a:lnTo>
                  <a:lnTo>
                    <a:pt x="5664" y="1162"/>
                  </a:lnTo>
                  <a:lnTo>
                    <a:pt x="5664" y="1150"/>
                  </a:lnTo>
                  <a:lnTo>
                    <a:pt x="5666" y="1138"/>
                  </a:lnTo>
                  <a:lnTo>
                    <a:pt x="5666" y="1126"/>
                  </a:lnTo>
                  <a:lnTo>
                    <a:pt x="5664" y="1120"/>
                  </a:lnTo>
                  <a:lnTo>
                    <a:pt x="5660" y="1114"/>
                  </a:lnTo>
                  <a:lnTo>
                    <a:pt x="5654" y="1106"/>
                  </a:lnTo>
                  <a:lnTo>
                    <a:pt x="5646" y="1100"/>
                  </a:lnTo>
                  <a:lnTo>
                    <a:pt x="5634" y="1092"/>
                  </a:lnTo>
                  <a:lnTo>
                    <a:pt x="5618" y="1084"/>
                  </a:lnTo>
                  <a:lnTo>
                    <a:pt x="5580" y="1068"/>
                  </a:lnTo>
                  <a:lnTo>
                    <a:pt x="5546" y="1050"/>
                  </a:lnTo>
                  <a:lnTo>
                    <a:pt x="5478" y="1014"/>
                  </a:lnTo>
                  <a:lnTo>
                    <a:pt x="5478" y="1008"/>
                  </a:lnTo>
                  <a:lnTo>
                    <a:pt x="5448" y="994"/>
                  </a:lnTo>
                  <a:lnTo>
                    <a:pt x="5418" y="982"/>
                  </a:lnTo>
                  <a:lnTo>
                    <a:pt x="5386" y="970"/>
                  </a:lnTo>
                  <a:lnTo>
                    <a:pt x="5356" y="962"/>
                  </a:lnTo>
                  <a:lnTo>
                    <a:pt x="5310" y="952"/>
                  </a:lnTo>
                  <a:lnTo>
                    <a:pt x="5294" y="946"/>
                  </a:lnTo>
                  <a:lnTo>
                    <a:pt x="5270" y="944"/>
                  </a:lnTo>
                  <a:lnTo>
                    <a:pt x="5210" y="940"/>
                  </a:lnTo>
                  <a:lnTo>
                    <a:pt x="5170" y="936"/>
                  </a:lnTo>
                  <a:lnTo>
                    <a:pt x="5144" y="930"/>
                  </a:lnTo>
                  <a:lnTo>
                    <a:pt x="5126" y="924"/>
                  </a:lnTo>
                  <a:lnTo>
                    <a:pt x="5116" y="918"/>
                  </a:lnTo>
                  <a:lnTo>
                    <a:pt x="5108" y="916"/>
                  </a:lnTo>
                  <a:lnTo>
                    <a:pt x="5102" y="918"/>
                  </a:lnTo>
                  <a:lnTo>
                    <a:pt x="5096" y="926"/>
                  </a:lnTo>
                  <a:lnTo>
                    <a:pt x="5086" y="942"/>
                  </a:lnTo>
                  <a:lnTo>
                    <a:pt x="5080" y="950"/>
                  </a:lnTo>
                  <a:lnTo>
                    <a:pt x="5078" y="958"/>
                  </a:lnTo>
                  <a:lnTo>
                    <a:pt x="5078" y="964"/>
                  </a:lnTo>
                  <a:lnTo>
                    <a:pt x="5080" y="968"/>
                  </a:lnTo>
                  <a:lnTo>
                    <a:pt x="5084" y="972"/>
                  </a:lnTo>
                  <a:lnTo>
                    <a:pt x="5088" y="974"/>
                  </a:lnTo>
                  <a:lnTo>
                    <a:pt x="5100" y="978"/>
                  </a:lnTo>
                  <a:lnTo>
                    <a:pt x="5110" y="982"/>
                  </a:lnTo>
                  <a:lnTo>
                    <a:pt x="5114" y="986"/>
                  </a:lnTo>
                  <a:lnTo>
                    <a:pt x="5116" y="988"/>
                  </a:lnTo>
                  <a:lnTo>
                    <a:pt x="5116" y="992"/>
                  </a:lnTo>
                  <a:lnTo>
                    <a:pt x="5114" y="998"/>
                  </a:lnTo>
                  <a:lnTo>
                    <a:pt x="5108" y="1004"/>
                  </a:lnTo>
                  <a:lnTo>
                    <a:pt x="5100" y="1012"/>
                  </a:lnTo>
                  <a:lnTo>
                    <a:pt x="5084" y="1024"/>
                  </a:lnTo>
                  <a:lnTo>
                    <a:pt x="5076" y="1028"/>
                  </a:lnTo>
                  <a:lnTo>
                    <a:pt x="5072" y="1030"/>
                  </a:lnTo>
                  <a:lnTo>
                    <a:pt x="5068" y="1028"/>
                  </a:lnTo>
                  <a:lnTo>
                    <a:pt x="5064" y="1026"/>
                  </a:lnTo>
                  <a:lnTo>
                    <a:pt x="5058" y="1020"/>
                  </a:lnTo>
                  <a:lnTo>
                    <a:pt x="5052" y="1012"/>
                  </a:lnTo>
                  <a:lnTo>
                    <a:pt x="5044" y="1004"/>
                  </a:lnTo>
                  <a:lnTo>
                    <a:pt x="5040" y="1000"/>
                  </a:lnTo>
                  <a:lnTo>
                    <a:pt x="5034" y="996"/>
                  </a:lnTo>
                  <a:lnTo>
                    <a:pt x="5028" y="996"/>
                  </a:lnTo>
                  <a:lnTo>
                    <a:pt x="5020" y="994"/>
                  </a:lnTo>
                  <a:lnTo>
                    <a:pt x="5012" y="994"/>
                  </a:lnTo>
                  <a:lnTo>
                    <a:pt x="5006" y="992"/>
                  </a:lnTo>
                  <a:lnTo>
                    <a:pt x="5004" y="990"/>
                  </a:lnTo>
                  <a:lnTo>
                    <a:pt x="5002" y="988"/>
                  </a:lnTo>
                  <a:lnTo>
                    <a:pt x="5000" y="978"/>
                  </a:lnTo>
                  <a:lnTo>
                    <a:pt x="5000" y="970"/>
                  </a:lnTo>
                  <a:lnTo>
                    <a:pt x="5000" y="962"/>
                  </a:lnTo>
                  <a:lnTo>
                    <a:pt x="4998" y="960"/>
                  </a:lnTo>
                  <a:lnTo>
                    <a:pt x="4994" y="958"/>
                  </a:lnTo>
                  <a:lnTo>
                    <a:pt x="4988" y="956"/>
                  </a:lnTo>
                  <a:lnTo>
                    <a:pt x="4980" y="958"/>
                  </a:lnTo>
                  <a:lnTo>
                    <a:pt x="4958" y="964"/>
                  </a:lnTo>
                  <a:lnTo>
                    <a:pt x="4944" y="968"/>
                  </a:lnTo>
                  <a:lnTo>
                    <a:pt x="4930" y="970"/>
                  </a:lnTo>
                  <a:lnTo>
                    <a:pt x="4920" y="972"/>
                  </a:lnTo>
                  <a:lnTo>
                    <a:pt x="4908" y="972"/>
                  </a:lnTo>
                  <a:lnTo>
                    <a:pt x="4890" y="968"/>
                  </a:lnTo>
                  <a:lnTo>
                    <a:pt x="4870" y="964"/>
                  </a:lnTo>
                  <a:lnTo>
                    <a:pt x="4850" y="958"/>
                  </a:lnTo>
                  <a:lnTo>
                    <a:pt x="4828" y="954"/>
                  </a:lnTo>
                  <a:lnTo>
                    <a:pt x="4814" y="954"/>
                  </a:lnTo>
                  <a:lnTo>
                    <a:pt x="4800" y="954"/>
                  </a:lnTo>
                  <a:lnTo>
                    <a:pt x="4784" y="956"/>
                  </a:lnTo>
                  <a:lnTo>
                    <a:pt x="4766" y="958"/>
                  </a:lnTo>
                  <a:lnTo>
                    <a:pt x="4732" y="966"/>
                  </a:lnTo>
                  <a:lnTo>
                    <a:pt x="4706" y="966"/>
                  </a:lnTo>
                  <a:lnTo>
                    <a:pt x="4686" y="964"/>
                  </a:lnTo>
                  <a:lnTo>
                    <a:pt x="4674" y="960"/>
                  </a:lnTo>
                  <a:lnTo>
                    <a:pt x="4668" y="956"/>
                  </a:lnTo>
                  <a:lnTo>
                    <a:pt x="4666" y="952"/>
                  </a:lnTo>
                  <a:lnTo>
                    <a:pt x="4662" y="944"/>
                  </a:lnTo>
                  <a:lnTo>
                    <a:pt x="4664" y="934"/>
                  </a:lnTo>
                  <a:lnTo>
                    <a:pt x="4668" y="924"/>
                  </a:lnTo>
                  <a:lnTo>
                    <a:pt x="4670" y="918"/>
                  </a:lnTo>
                  <a:lnTo>
                    <a:pt x="4670" y="912"/>
                  </a:lnTo>
                  <a:lnTo>
                    <a:pt x="4668" y="906"/>
                  </a:lnTo>
                  <a:lnTo>
                    <a:pt x="4662" y="898"/>
                  </a:lnTo>
                  <a:lnTo>
                    <a:pt x="4656" y="892"/>
                  </a:lnTo>
                  <a:lnTo>
                    <a:pt x="4648" y="884"/>
                  </a:lnTo>
                  <a:lnTo>
                    <a:pt x="4636" y="878"/>
                  </a:lnTo>
                  <a:lnTo>
                    <a:pt x="4624" y="872"/>
                  </a:lnTo>
                  <a:lnTo>
                    <a:pt x="4608" y="868"/>
                  </a:lnTo>
                  <a:lnTo>
                    <a:pt x="4592" y="862"/>
                  </a:lnTo>
                  <a:lnTo>
                    <a:pt x="4572" y="860"/>
                  </a:lnTo>
                  <a:lnTo>
                    <a:pt x="4552" y="856"/>
                  </a:lnTo>
                  <a:lnTo>
                    <a:pt x="4528" y="856"/>
                  </a:lnTo>
                  <a:lnTo>
                    <a:pt x="4504" y="856"/>
                  </a:lnTo>
                  <a:lnTo>
                    <a:pt x="4476" y="860"/>
                  </a:lnTo>
                  <a:lnTo>
                    <a:pt x="4448" y="864"/>
                  </a:lnTo>
                  <a:lnTo>
                    <a:pt x="4420" y="868"/>
                  </a:lnTo>
                  <a:lnTo>
                    <a:pt x="4396" y="870"/>
                  </a:lnTo>
                  <a:lnTo>
                    <a:pt x="4374" y="868"/>
                  </a:lnTo>
                  <a:lnTo>
                    <a:pt x="4358" y="866"/>
                  </a:lnTo>
                  <a:lnTo>
                    <a:pt x="4342" y="860"/>
                  </a:lnTo>
                  <a:lnTo>
                    <a:pt x="4328" y="854"/>
                  </a:lnTo>
                  <a:lnTo>
                    <a:pt x="4318" y="848"/>
                  </a:lnTo>
                  <a:lnTo>
                    <a:pt x="4308" y="840"/>
                  </a:lnTo>
                  <a:lnTo>
                    <a:pt x="4292" y="822"/>
                  </a:lnTo>
                  <a:lnTo>
                    <a:pt x="4278" y="804"/>
                  </a:lnTo>
                  <a:lnTo>
                    <a:pt x="4264" y="788"/>
                  </a:lnTo>
                  <a:lnTo>
                    <a:pt x="4256" y="782"/>
                  </a:lnTo>
                  <a:lnTo>
                    <a:pt x="4246" y="778"/>
                  </a:lnTo>
                  <a:lnTo>
                    <a:pt x="4228" y="772"/>
                  </a:lnTo>
                  <a:lnTo>
                    <a:pt x="4214" y="768"/>
                  </a:lnTo>
                  <a:lnTo>
                    <a:pt x="4186" y="768"/>
                  </a:lnTo>
                  <a:lnTo>
                    <a:pt x="4154" y="764"/>
                  </a:lnTo>
                  <a:lnTo>
                    <a:pt x="4130" y="762"/>
                  </a:lnTo>
                  <a:lnTo>
                    <a:pt x="4100" y="754"/>
                  </a:lnTo>
                  <a:lnTo>
                    <a:pt x="4068" y="748"/>
                  </a:lnTo>
                  <a:lnTo>
                    <a:pt x="4044" y="744"/>
                  </a:lnTo>
                  <a:lnTo>
                    <a:pt x="4002" y="740"/>
                  </a:lnTo>
                  <a:lnTo>
                    <a:pt x="3964" y="738"/>
                  </a:lnTo>
                  <a:lnTo>
                    <a:pt x="3944" y="734"/>
                  </a:lnTo>
                  <a:lnTo>
                    <a:pt x="3922" y="730"/>
                  </a:lnTo>
                  <a:lnTo>
                    <a:pt x="3902" y="724"/>
                  </a:lnTo>
                  <a:lnTo>
                    <a:pt x="3892" y="724"/>
                  </a:lnTo>
                  <a:lnTo>
                    <a:pt x="3892" y="726"/>
                  </a:lnTo>
                  <a:lnTo>
                    <a:pt x="3890" y="728"/>
                  </a:lnTo>
                  <a:lnTo>
                    <a:pt x="3890" y="734"/>
                  </a:lnTo>
                  <a:lnTo>
                    <a:pt x="3892" y="740"/>
                  </a:lnTo>
                  <a:lnTo>
                    <a:pt x="3890" y="744"/>
                  </a:lnTo>
                  <a:lnTo>
                    <a:pt x="3888" y="746"/>
                  </a:lnTo>
                  <a:lnTo>
                    <a:pt x="3882" y="750"/>
                  </a:lnTo>
                  <a:lnTo>
                    <a:pt x="3876" y="752"/>
                  </a:lnTo>
                  <a:lnTo>
                    <a:pt x="3854" y="754"/>
                  </a:lnTo>
                  <a:lnTo>
                    <a:pt x="3842" y="756"/>
                  </a:lnTo>
                  <a:lnTo>
                    <a:pt x="3834" y="758"/>
                  </a:lnTo>
                  <a:lnTo>
                    <a:pt x="3830" y="764"/>
                  </a:lnTo>
                  <a:lnTo>
                    <a:pt x="3830" y="768"/>
                  </a:lnTo>
                  <a:lnTo>
                    <a:pt x="3832" y="776"/>
                  </a:lnTo>
                  <a:lnTo>
                    <a:pt x="3836" y="782"/>
                  </a:lnTo>
                  <a:lnTo>
                    <a:pt x="3846" y="798"/>
                  </a:lnTo>
                  <a:lnTo>
                    <a:pt x="3856" y="812"/>
                  </a:lnTo>
                  <a:lnTo>
                    <a:pt x="3860" y="818"/>
                  </a:lnTo>
                  <a:lnTo>
                    <a:pt x="3862" y="822"/>
                  </a:lnTo>
                  <a:lnTo>
                    <a:pt x="3860" y="826"/>
                  </a:lnTo>
                  <a:lnTo>
                    <a:pt x="3856" y="828"/>
                  </a:lnTo>
                  <a:lnTo>
                    <a:pt x="3848" y="826"/>
                  </a:lnTo>
                  <a:lnTo>
                    <a:pt x="3836" y="824"/>
                  </a:lnTo>
                  <a:lnTo>
                    <a:pt x="3810" y="818"/>
                  </a:lnTo>
                  <a:lnTo>
                    <a:pt x="3792" y="818"/>
                  </a:lnTo>
                  <a:lnTo>
                    <a:pt x="3778" y="818"/>
                  </a:lnTo>
                  <a:lnTo>
                    <a:pt x="3770" y="820"/>
                  </a:lnTo>
                  <a:lnTo>
                    <a:pt x="3760" y="824"/>
                  </a:lnTo>
                  <a:lnTo>
                    <a:pt x="3750" y="824"/>
                  </a:lnTo>
                  <a:lnTo>
                    <a:pt x="3736" y="824"/>
                  </a:lnTo>
                  <a:lnTo>
                    <a:pt x="3716" y="820"/>
                  </a:lnTo>
                  <a:lnTo>
                    <a:pt x="3704" y="818"/>
                  </a:lnTo>
                  <a:lnTo>
                    <a:pt x="3694" y="818"/>
                  </a:lnTo>
                  <a:lnTo>
                    <a:pt x="3686" y="818"/>
                  </a:lnTo>
                  <a:lnTo>
                    <a:pt x="3676" y="820"/>
                  </a:lnTo>
                  <a:lnTo>
                    <a:pt x="3662" y="826"/>
                  </a:lnTo>
                  <a:lnTo>
                    <a:pt x="3650" y="832"/>
                  </a:lnTo>
                  <a:lnTo>
                    <a:pt x="3638" y="836"/>
                  </a:lnTo>
                  <a:lnTo>
                    <a:pt x="3632" y="838"/>
                  </a:lnTo>
                  <a:lnTo>
                    <a:pt x="3624" y="836"/>
                  </a:lnTo>
                  <a:lnTo>
                    <a:pt x="3616" y="836"/>
                  </a:lnTo>
                  <a:lnTo>
                    <a:pt x="3608" y="832"/>
                  </a:lnTo>
                  <a:lnTo>
                    <a:pt x="3598" y="826"/>
                  </a:lnTo>
                  <a:lnTo>
                    <a:pt x="3586" y="818"/>
                  </a:lnTo>
                  <a:lnTo>
                    <a:pt x="3576" y="812"/>
                  </a:lnTo>
                  <a:lnTo>
                    <a:pt x="3566" y="810"/>
                  </a:lnTo>
                  <a:lnTo>
                    <a:pt x="3558" y="810"/>
                  </a:lnTo>
                  <a:lnTo>
                    <a:pt x="3552" y="814"/>
                  </a:lnTo>
                  <a:lnTo>
                    <a:pt x="3546" y="820"/>
                  </a:lnTo>
                  <a:lnTo>
                    <a:pt x="3540" y="828"/>
                  </a:lnTo>
                  <a:lnTo>
                    <a:pt x="3530" y="848"/>
                  </a:lnTo>
                  <a:lnTo>
                    <a:pt x="3520" y="864"/>
                  </a:lnTo>
                  <a:lnTo>
                    <a:pt x="3514" y="872"/>
                  </a:lnTo>
                  <a:lnTo>
                    <a:pt x="3508" y="876"/>
                  </a:lnTo>
                  <a:lnTo>
                    <a:pt x="3500" y="878"/>
                  </a:lnTo>
                  <a:lnTo>
                    <a:pt x="3492" y="878"/>
                  </a:lnTo>
                  <a:lnTo>
                    <a:pt x="3482" y="872"/>
                  </a:lnTo>
                  <a:lnTo>
                    <a:pt x="3470" y="864"/>
                  </a:lnTo>
                  <a:lnTo>
                    <a:pt x="3428" y="824"/>
                  </a:lnTo>
                  <a:lnTo>
                    <a:pt x="3402" y="796"/>
                  </a:lnTo>
                  <a:lnTo>
                    <a:pt x="3390" y="784"/>
                  </a:lnTo>
                  <a:lnTo>
                    <a:pt x="3380" y="776"/>
                  </a:lnTo>
                  <a:lnTo>
                    <a:pt x="3368" y="768"/>
                  </a:lnTo>
                  <a:lnTo>
                    <a:pt x="3352" y="762"/>
                  </a:lnTo>
                  <a:lnTo>
                    <a:pt x="3346" y="760"/>
                  </a:lnTo>
                  <a:lnTo>
                    <a:pt x="3342" y="760"/>
                  </a:lnTo>
                  <a:lnTo>
                    <a:pt x="3338" y="762"/>
                  </a:lnTo>
                  <a:lnTo>
                    <a:pt x="3338" y="764"/>
                  </a:lnTo>
                  <a:lnTo>
                    <a:pt x="3340" y="772"/>
                  </a:lnTo>
                  <a:lnTo>
                    <a:pt x="3344" y="782"/>
                  </a:lnTo>
                  <a:lnTo>
                    <a:pt x="3348" y="792"/>
                  </a:lnTo>
                  <a:lnTo>
                    <a:pt x="3350" y="798"/>
                  </a:lnTo>
                  <a:lnTo>
                    <a:pt x="3348" y="798"/>
                  </a:lnTo>
                  <a:lnTo>
                    <a:pt x="3346" y="798"/>
                  </a:lnTo>
                  <a:lnTo>
                    <a:pt x="3336" y="790"/>
                  </a:lnTo>
                  <a:lnTo>
                    <a:pt x="3318" y="778"/>
                  </a:lnTo>
                  <a:lnTo>
                    <a:pt x="3296" y="766"/>
                  </a:lnTo>
                  <a:lnTo>
                    <a:pt x="3270" y="754"/>
                  </a:lnTo>
                  <a:lnTo>
                    <a:pt x="3242" y="744"/>
                  </a:lnTo>
                  <a:lnTo>
                    <a:pt x="3208" y="734"/>
                  </a:lnTo>
                  <a:lnTo>
                    <a:pt x="3170" y="728"/>
                  </a:lnTo>
                  <a:lnTo>
                    <a:pt x="3128" y="722"/>
                  </a:lnTo>
                  <a:lnTo>
                    <a:pt x="3082" y="716"/>
                  </a:lnTo>
                  <a:lnTo>
                    <a:pt x="3030" y="712"/>
                  </a:lnTo>
                  <a:lnTo>
                    <a:pt x="3012" y="708"/>
                  </a:lnTo>
                  <a:lnTo>
                    <a:pt x="3000" y="704"/>
                  </a:lnTo>
                  <a:lnTo>
                    <a:pt x="2994" y="702"/>
                  </a:lnTo>
                  <a:lnTo>
                    <a:pt x="2992" y="698"/>
                  </a:lnTo>
                  <a:lnTo>
                    <a:pt x="2992" y="694"/>
                  </a:lnTo>
                  <a:lnTo>
                    <a:pt x="2994" y="690"/>
                  </a:lnTo>
                  <a:lnTo>
                    <a:pt x="3002" y="684"/>
                  </a:lnTo>
                  <a:lnTo>
                    <a:pt x="3008" y="678"/>
                  </a:lnTo>
                  <a:lnTo>
                    <a:pt x="3008" y="676"/>
                  </a:lnTo>
                  <a:lnTo>
                    <a:pt x="3006" y="674"/>
                  </a:lnTo>
                  <a:lnTo>
                    <a:pt x="3002" y="672"/>
                  </a:lnTo>
                  <a:lnTo>
                    <a:pt x="2992" y="670"/>
                  </a:lnTo>
                  <a:lnTo>
                    <a:pt x="2946" y="666"/>
                  </a:lnTo>
                  <a:lnTo>
                    <a:pt x="2904" y="664"/>
                  </a:lnTo>
                  <a:lnTo>
                    <a:pt x="2864" y="664"/>
                  </a:lnTo>
                  <a:lnTo>
                    <a:pt x="2844" y="666"/>
                  </a:lnTo>
                  <a:lnTo>
                    <a:pt x="2822" y="670"/>
                  </a:lnTo>
                  <a:lnTo>
                    <a:pt x="2814" y="670"/>
                  </a:lnTo>
                  <a:lnTo>
                    <a:pt x="2806" y="670"/>
                  </a:lnTo>
                  <a:lnTo>
                    <a:pt x="2800" y="670"/>
                  </a:lnTo>
                  <a:lnTo>
                    <a:pt x="2794" y="668"/>
                  </a:lnTo>
                  <a:lnTo>
                    <a:pt x="2790" y="662"/>
                  </a:lnTo>
                  <a:lnTo>
                    <a:pt x="2786" y="654"/>
                  </a:lnTo>
                  <a:lnTo>
                    <a:pt x="2784" y="648"/>
                  </a:lnTo>
                  <a:lnTo>
                    <a:pt x="2780" y="644"/>
                  </a:lnTo>
                  <a:lnTo>
                    <a:pt x="2778" y="642"/>
                  </a:lnTo>
                  <a:lnTo>
                    <a:pt x="2774" y="642"/>
                  </a:lnTo>
                  <a:lnTo>
                    <a:pt x="2762" y="648"/>
                  </a:lnTo>
                  <a:lnTo>
                    <a:pt x="2748" y="654"/>
                  </a:lnTo>
                  <a:lnTo>
                    <a:pt x="2738" y="654"/>
                  </a:lnTo>
                  <a:lnTo>
                    <a:pt x="2730" y="652"/>
                  </a:lnTo>
                  <a:lnTo>
                    <a:pt x="2722" y="648"/>
                  </a:lnTo>
                  <a:lnTo>
                    <a:pt x="2714" y="644"/>
                  </a:lnTo>
                  <a:lnTo>
                    <a:pt x="2704" y="640"/>
                  </a:lnTo>
                  <a:lnTo>
                    <a:pt x="2692" y="638"/>
                  </a:lnTo>
                  <a:lnTo>
                    <a:pt x="2676" y="640"/>
                  </a:lnTo>
                  <a:lnTo>
                    <a:pt x="2660" y="644"/>
                  </a:lnTo>
                  <a:lnTo>
                    <a:pt x="2652" y="650"/>
                  </a:lnTo>
                  <a:lnTo>
                    <a:pt x="2650" y="658"/>
                  </a:lnTo>
                  <a:lnTo>
                    <a:pt x="2648" y="664"/>
                  </a:lnTo>
                  <a:lnTo>
                    <a:pt x="2642" y="672"/>
                  </a:lnTo>
                  <a:lnTo>
                    <a:pt x="2634" y="680"/>
                  </a:lnTo>
                  <a:lnTo>
                    <a:pt x="2614" y="686"/>
                  </a:lnTo>
                  <a:lnTo>
                    <a:pt x="2586" y="692"/>
                  </a:lnTo>
                  <a:lnTo>
                    <a:pt x="2554" y="696"/>
                  </a:lnTo>
                  <a:lnTo>
                    <a:pt x="2530" y="698"/>
                  </a:lnTo>
                  <a:lnTo>
                    <a:pt x="2516" y="696"/>
                  </a:lnTo>
                  <a:lnTo>
                    <a:pt x="2512" y="694"/>
                  </a:lnTo>
                  <a:lnTo>
                    <a:pt x="2512" y="692"/>
                  </a:lnTo>
                  <a:lnTo>
                    <a:pt x="2512" y="690"/>
                  </a:lnTo>
                  <a:lnTo>
                    <a:pt x="2516" y="686"/>
                  </a:lnTo>
                  <a:lnTo>
                    <a:pt x="2528" y="676"/>
                  </a:lnTo>
                  <a:lnTo>
                    <a:pt x="2550" y="666"/>
                  </a:lnTo>
                  <a:lnTo>
                    <a:pt x="2580" y="652"/>
                  </a:lnTo>
                  <a:lnTo>
                    <a:pt x="2610" y="640"/>
                  </a:lnTo>
                  <a:lnTo>
                    <a:pt x="2632" y="628"/>
                  </a:lnTo>
                  <a:lnTo>
                    <a:pt x="2660" y="610"/>
                  </a:lnTo>
                  <a:lnTo>
                    <a:pt x="2672" y="602"/>
                  </a:lnTo>
                  <a:lnTo>
                    <a:pt x="2688" y="594"/>
                  </a:lnTo>
                  <a:lnTo>
                    <a:pt x="2706" y="586"/>
                  </a:lnTo>
                  <a:lnTo>
                    <a:pt x="2734" y="576"/>
                  </a:lnTo>
                  <a:lnTo>
                    <a:pt x="2762" y="566"/>
                  </a:lnTo>
                  <a:lnTo>
                    <a:pt x="2782" y="554"/>
                  </a:lnTo>
                  <a:lnTo>
                    <a:pt x="2788" y="548"/>
                  </a:lnTo>
                  <a:lnTo>
                    <a:pt x="2794" y="542"/>
                  </a:lnTo>
                  <a:lnTo>
                    <a:pt x="2802" y="528"/>
                  </a:lnTo>
                  <a:lnTo>
                    <a:pt x="2806" y="514"/>
                  </a:lnTo>
                  <a:lnTo>
                    <a:pt x="2806" y="502"/>
                  </a:lnTo>
                  <a:lnTo>
                    <a:pt x="2802" y="490"/>
                  </a:lnTo>
                  <a:lnTo>
                    <a:pt x="2798" y="478"/>
                  </a:lnTo>
                  <a:lnTo>
                    <a:pt x="2792" y="470"/>
                  </a:lnTo>
                  <a:lnTo>
                    <a:pt x="2784" y="464"/>
                  </a:lnTo>
                  <a:lnTo>
                    <a:pt x="2776" y="462"/>
                  </a:lnTo>
                  <a:lnTo>
                    <a:pt x="2768" y="460"/>
                  </a:lnTo>
                  <a:lnTo>
                    <a:pt x="2748" y="454"/>
                  </a:lnTo>
                  <a:lnTo>
                    <a:pt x="2738" y="448"/>
                  </a:lnTo>
                  <a:lnTo>
                    <a:pt x="2724" y="438"/>
                  </a:lnTo>
                  <a:lnTo>
                    <a:pt x="2712" y="430"/>
                  </a:lnTo>
                  <a:lnTo>
                    <a:pt x="2700" y="426"/>
                  </a:lnTo>
                  <a:lnTo>
                    <a:pt x="2686" y="424"/>
                  </a:lnTo>
                  <a:lnTo>
                    <a:pt x="2672" y="424"/>
                  </a:lnTo>
                  <a:lnTo>
                    <a:pt x="2644" y="428"/>
                  </a:lnTo>
                  <a:lnTo>
                    <a:pt x="2628" y="428"/>
                  </a:lnTo>
                  <a:lnTo>
                    <a:pt x="2612" y="426"/>
                  </a:lnTo>
                  <a:lnTo>
                    <a:pt x="2598" y="424"/>
                  </a:lnTo>
                  <a:lnTo>
                    <a:pt x="2590" y="424"/>
                  </a:lnTo>
                  <a:lnTo>
                    <a:pt x="2582" y="426"/>
                  </a:lnTo>
                  <a:lnTo>
                    <a:pt x="2578" y="428"/>
                  </a:lnTo>
                  <a:lnTo>
                    <a:pt x="2574" y="432"/>
                  </a:lnTo>
                  <a:lnTo>
                    <a:pt x="2566" y="436"/>
                  </a:lnTo>
                  <a:lnTo>
                    <a:pt x="2554" y="440"/>
                  </a:lnTo>
                  <a:lnTo>
                    <a:pt x="2538" y="444"/>
                  </a:lnTo>
                  <a:lnTo>
                    <a:pt x="2516" y="444"/>
                  </a:lnTo>
                  <a:lnTo>
                    <a:pt x="2512" y="444"/>
                  </a:lnTo>
                  <a:lnTo>
                    <a:pt x="2512" y="442"/>
                  </a:lnTo>
                  <a:lnTo>
                    <a:pt x="2516" y="436"/>
                  </a:lnTo>
                  <a:lnTo>
                    <a:pt x="2528" y="428"/>
                  </a:lnTo>
                  <a:lnTo>
                    <a:pt x="2538" y="420"/>
                  </a:lnTo>
                  <a:lnTo>
                    <a:pt x="2540" y="416"/>
                  </a:lnTo>
                  <a:lnTo>
                    <a:pt x="2542" y="412"/>
                  </a:lnTo>
                  <a:lnTo>
                    <a:pt x="2540" y="410"/>
                  </a:lnTo>
                  <a:lnTo>
                    <a:pt x="2534" y="406"/>
                  </a:lnTo>
                  <a:lnTo>
                    <a:pt x="2524" y="404"/>
                  </a:lnTo>
                  <a:lnTo>
                    <a:pt x="2508" y="402"/>
                  </a:lnTo>
                  <a:lnTo>
                    <a:pt x="2478" y="400"/>
                  </a:lnTo>
                  <a:lnTo>
                    <a:pt x="2458" y="398"/>
                  </a:lnTo>
                  <a:lnTo>
                    <a:pt x="2448" y="394"/>
                  </a:lnTo>
                  <a:lnTo>
                    <a:pt x="2446" y="394"/>
                  </a:lnTo>
                  <a:lnTo>
                    <a:pt x="2446" y="392"/>
                  </a:lnTo>
                  <a:lnTo>
                    <a:pt x="2450" y="388"/>
                  </a:lnTo>
                  <a:lnTo>
                    <a:pt x="2458" y="386"/>
                  </a:lnTo>
                  <a:lnTo>
                    <a:pt x="2486" y="378"/>
                  </a:lnTo>
                  <a:lnTo>
                    <a:pt x="2492" y="376"/>
                  </a:lnTo>
                  <a:lnTo>
                    <a:pt x="2496" y="374"/>
                  </a:lnTo>
                  <a:lnTo>
                    <a:pt x="2496" y="370"/>
                  </a:lnTo>
                  <a:lnTo>
                    <a:pt x="2496" y="366"/>
                  </a:lnTo>
                  <a:lnTo>
                    <a:pt x="2492" y="364"/>
                  </a:lnTo>
                  <a:lnTo>
                    <a:pt x="2486" y="360"/>
                  </a:lnTo>
                  <a:lnTo>
                    <a:pt x="2470" y="352"/>
                  </a:lnTo>
                  <a:lnTo>
                    <a:pt x="2448" y="348"/>
                  </a:lnTo>
                  <a:lnTo>
                    <a:pt x="2422" y="348"/>
                  </a:lnTo>
                  <a:lnTo>
                    <a:pt x="2408" y="348"/>
                  </a:lnTo>
                  <a:lnTo>
                    <a:pt x="2392" y="352"/>
                  </a:lnTo>
                  <a:lnTo>
                    <a:pt x="2378" y="356"/>
                  </a:lnTo>
                  <a:lnTo>
                    <a:pt x="2362" y="362"/>
                  </a:lnTo>
                  <a:lnTo>
                    <a:pt x="2342" y="370"/>
                  </a:lnTo>
                  <a:lnTo>
                    <a:pt x="2326" y="380"/>
                  </a:lnTo>
                  <a:lnTo>
                    <a:pt x="2314" y="388"/>
                  </a:lnTo>
                  <a:lnTo>
                    <a:pt x="2304" y="396"/>
                  </a:lnTo>
                  <a:lnTo>
                    <a:pt x="2296" y="402"/>
                  </a:lnTo>
                  <a:lnTo>
                    <a:pt x="2292" y="408"/>
                  </a:lnTo>
                  <a:lnTo>
                    <a:pt x="2286" y="420"/>
                  </a:lnTo>
                  <a:lnTo>
                    <a:pt x="2284" y="428"/>
                  </a:lnTo>
                  <a:lnTo>
                    <a:pt x="2280" y="434"/>
                  </a:lnTo>
                  <a:lnTo>
                    <a:pt x="2276" y="436"/>
                  </a:lnTo>
                  <a:lnTo>
                    <a:pt x="2272" y="438"/>
                  </a:lnTo>
                  <a:lnTo>
                    <a:pt x="2256" y="440"/>
                  </a:lnTo>
                  <a:lnTo>
                    <a:pt x="2224" y="442"/>
                  </a:lnTo>
                  <a:lnTo>
                    <a:pt x="2208" y="444"/>
                  </a:lnTo>
                  <a:lnTo>
                    <a:pt x="2206" y="444"/>
                  </a:lnTo>
                  <a:lnTo>
                    <a:pt x="2206" y="446"/>
                  </a:lnTo>
                  <a:lnTo>
                    <a:pt x="2206" y="448"/>
                  </a:lnTo>
                  <a:lnTo>
                    <a:pt x="2210" y="452"/>
                  </a:lnTo>
                  <a:lnTo>
                    <a:pt x="2208" y="456"/>
                  </a:lnTo>
                  <a:lnTo>
                    <a:pt x="2206" y="458"/>
                  </a:lnTo>
                  <a:lnTo>
                    <a:pt x="2192" y="464"/>
                  </a:lnTo>
                  <a:lnTo>
                    <a:pt x="2162" y="472"/>
                  </a:lnTo>
                  <a:lnTo>
                    <a:pt x="2132" y="478"/>
                  </a:lnTo>
                  <a:lnTo>
                    <a:pt x="2118" y="478"/>
                  </a:lnTo>
                  <a:lnTo>
                    <a:pt x="2114" y="476"/>
                  </a:lnTo>
                  <a:lnTo>
                    <a:pt x="2112" y="474"/>
                  </a:lnTo>
                  <a:lnTo>
                    <a:pt x="2112" y="470"/>
                  </a:lnTo>
                  <a:lnTo>
                    <a:pt x="2110" y="468"/>
                  </a:lnTo>
                  <a:lnTo>
                    <a:pt x="2108" y="464"/>
                  </a:lnTo>
                  <a:lnTo>
                    <a:pt x="2106" y="462"/>
                  </a:lnTo>
                  <a:lnTo>
                    <a:pt x="2098" y="462"/>
                  </a:lnTo>
                  <a:lnTo>
                    <a:pt x="2076" y="460"/>
                  </a:lnTo>
                  <a:lnTo>
                    <a:pt x="2034" y="464"/>
                  </a:lnTo>
                  <a:lnTo>
                    <a:pt x="1994" y="472"/>
                  </a:lnTo>
                  <a:lnTo>
                    <a:pt x="1982" y="474"/>
                  </a:lnTo>
                  <a:lnTo>
                    <a:pt x="1974" y="478"/>
                  </a:lnTo>
                  <a:lnTo>
                    <a:pt x="1970" y="482"/>
                  </a:lnTo>
                  <a:lnTo>
                    <a:pt x="1968" y="484"/>
                  </a:lnTo>
                  <a:lnTo>
                    <a:pt x="1970" y="490"/>
                  </a:lnTo>
                  <a:lnTo>
                    <a:pt x="1970" y="494"/>
                  </a:lnTo>
                  <a:lnTo>
                    <a:pt x="1970" y="496"/>
                  </a:lnTo>
                  <a:lnTo>
                    <a:pt x="1968" y="500"/>
                  </a:lnTo>
                  <a:lnTo>
                    <a:pt x="1964" y="502"/>
                  </a:lnTo>
                  <a:lnTo>
                    <a:pt x="1954" y="504"/>
                  </a:lnTo>
                  <a:lnTo>
                    <a:pt x="1942" y="506"/>
                  </a:lnTo>
                  <a:lnTo>
                    <a:pt x="1898" y="512"/>
                  </a:lnTo>
                  <a:lnTo>
                    <a:pt x="1850" y="516"/>
                  </a:lnTo>
                  <a:lnTo>
                    <a:pt x="1818" y="522"/>
                  </a:lnTo>
                  <a:lnTo>
                    <a:pt x="1800" y="526"/>
                  </a:lnTo>
                  <a:lnTo>
                    <a:pt x="1790" y="532"/>
                  </a:lnTo>
                  <a:lnTo>
                    <a:pt x="1784" y="538"/>
                  </a:lnTo>
                  <a:lnTo>
                    <a:pt x="1776" y="542"/>
                  </a:lnTo>
                  <a:lnTo>
                    <a:pt x="1764" y="546"/>
                  </a:lnTo>
                  <a:lnTo>
                    <a:pt x="1742" y="550"/>
                  </a:lnTo>
                  <a:lnTo>
                    <a:pt x="1728" y="550"/>
                  </a:lnTo>
                  <a:lnTo>
                    <a:pt x="1718" y="554"/>
                  </a:lnTo>
                  <a:lnTo>
                    <a:pt x="1708" y="558"/>
                  </a:lnTo>
                  <a:lnTo>
                    <a:pt x="1698" y="562"/>
                  </a:lnTo>
                  <a:lnTo>
                    <a:pt x="1692" y="566"/>
                  </a:lnTo>
                  <a:lnTo>
                    <a:pt x="1686" y="572"/>
                  </a:lnTo>
                  <a:lnTo>
                    <a:pt x="1682" y="578"/>
                  </a:lnTo>
                  <a:lnTo>
                    <a:pt x="1680" y="584"/>
                  </a:lnTo>
                  <a:lnTo>
                    <a:pt x="1678" y="590"/>
                  </a:lnTo>
                  <a:lnTo>
                    <a:pt x="1678" y="596"/>
                  </a:lnTo>
                  <a:lnTo>
                    <a:pt x="1680" y="602"/>
                  </a:lnTo>
                  <a:lnTo>
                    <a:pt x="1682" y="608"/>
                  </a:lnTo>
                  <a:lnTo>
                    <a:pt x="1686" y="612"/>
                  </a:lnTo>
                  <a:lnTo>
                    <a:pt x="1690" y="616"/>
                  </a:lnTo>
                  <a:lnTo>
                    <a:pt x="1696" y="618"/>
                  </a:lnTo>
                  <a:lnTo>
                    <a:pt x="1704" y="620"/>
                  </a:lnTo>
                  <a:lnTo>
                    <a:pt x="1716" y="622"/>
                  </a:lnTo>
                  <a:lnTo>
                    <a:pt x="1724" y="624"/>
                  </a:lnTo>
                  <a:lnTo>
                    <a:pt x="1726" y="628"/>
                  </a:lnTo>
                  <a:lnTo>
                    <a:pt x="1724" y="634"/>
                  </a:lnTo>
                  <a:lnTo>
                    <a:pt x="1716" y="638"/>
                  </a:lnTo>
                  <a:lnTo>
                    <a:pt x="1704" y="644"/>
                  </a:lnTo>
                  <a:lnTo>
                    <a:pt x="1690" y="648"/>
                  </a:lnTo>
                  <a:lnTo>
                    <a:pt x="1672" y="652"/>
                  </a:lnTo>
                  <a:lnTo>
                    <a:pt x="1638" y="658"/>
                  </a:lnTo>
                  <a:lnTo>
                    <a:pt x="1604" y="662"/>
                  </a:lnTo>
                  <a:lnTo>
                    <a:pt x="1542" y="662"/>
                  </a:lnTo>
                  <a:lnTo>
                    <a:pt x="1514" y="662"/>
                  </a:lnTo>
                  <a:lnTo>
                    <a:pt x="1490" y="666"/>
                  </a:lnTo>
                  <a:lnTo>
                    <a:pt x="1480" y="668"/>
                  </a:lnTo>
                  <a:lnTo>
                    <a:pt x="1470" y="672"/>
                  </a:lnTo>
                  <a:lnTo>
                    <a:pt x="1462" y="676"/>
                  </a:lnTo>
                  <a:lnTo>
                    <a:pt x="1458" y="682"/>
                  </a:lnTo>
                  <a:lnTo>
                    <a:pt x="1450" y="692"/>
                  </a:lnTo>
                  <a:lnTo>
                    <a:pt x="1450" y="696"/>
                  </a:lnTo>
                  <a:lnTo>
                    <a:pt x="1452" y="698"/>
                  </a:lnTo>
                  <a:lnTo>
                    <a:pt x="1456" y="702"/>
                  </a:lnTo>
                  <a:lnTo>
                    <a:pt x="1462" y="704"/>
                  </a:lnTo>
                  <a:lnTo>
                    <a:pt x="1470" y="706"/>
                  </a:lnTo>
                  <a:lnTo>
                    <a:pt x="1476" y="710"/>
                  </a:lnTo>
                  <a:lnTo>
                    <a:pt x="1476" y="714"/>
                  </a:lnTo>
                  <a:lnTo>
                    <a:pt x="1476" y="718"/>
                  </a:lnTo>
                  <a:lnTo>
                    <a:pt x="1476" y="724"/>
                  </a:lnTo>
                  <a:lnTo>
                    <a:pt x="1472" y="732"/>
                  </a:lnTo>
                  <a:lnTo>
                    <a:pt x="1468" y="738"/>
                  </a:lnTo>
                  <a:lnTo>
                    <a:pt x="1468" y="744"/>
                  </a:lnTo>
                  <a:lnTo>
                    <a:pt x="1468" y="748"/>
                  </a:lnTo>
                  <a:lnTo>
                    <a:pt x="1472" y="752"/>
                  </a:lnTo>
                  <a:lnTo>
                    <a:pt x="1480" y="756"/>
                  </a:lnTo>
                  <a:lnTo>
                    <a:pt x="1492" y="758"/>
                  </a:lnTo>
                  <a:lnTo>
                    <a:pt x="1506" y="760"/>
                  </a:lnTo>
                  <a:lnTo>
                    <a:pt x="1520" y="764"/>
                  </a:lnTo>
                  <a:lnTo>
                    <a:pt x="1524" y="766"/>
                  </a:lnTo>
                  <a:lnTo>
                    <a:pt x="1528" y="770"/>
                  </a:lnTo>
                  <a:lnTo>
                    <a:pt x="1532" y="774"/>
                  </a:lnTo>
                  <a:lnTo>
                    <a:pt x="1532" y="780"/>
                  </a:lnTo>
                  <a:lnTo>
                    <a:pt x="1534" y="786"/>
                  </a:lnTo>
                  <a:lnTo>
                    <a:pt x="1536" y="790"/>
                  </a:lnTo>
                  <a:lnTo>
                    <a:pt x="1540" y="792"/>
                  </a:lnTo>
                  <a:lnTo>
                    <a:pt x="1546" y="794"/>
                  </a:lnTo>
                  <a:lnTo>
                    <a:pt x="1556" y="796"/>
                  </a:lnTo>
                  <a:lnTo>
                    <a:pt x="1568" y="796"/>
                  </a:lnTo>
                  <a:lnTo>
                    <a:pt x="1580" y="798"/>
                  </a:lnTo>
                  <a:lnTo>
                    <a:pt x="1584" y="800"/>
                  </a:lnTo>
                  <a:lnTo>
                    <a:pt x="1586" y="804"/>
                  </a:lnTo>
                  <a:lnTo>
                    <a:pt x="1588" y="806"/>
                  </a:lnTo>
                  <a:lnTo>
                    <a:pt x="1588" y="812"/>
                  </a:lnTo>
                  <a:lnTo>
                    <a:pt x="1586" y="818"/>
                  </a:lnTo>
                  <a:lnTo>
                    <a:pt x="1582" y="828"/>
                  </a:lnTo>
                  <a:lnTo>
                    <a:pt x="1578" y="836"/>
                  </a:lnTo>
                  <a:lnTo>
                    <a:pt x="1576" y="844"/>
                  </a:lnTo>
                  <a:lnTo>
                    <a:pt x="1576" y="852"/>
                  </a:lnTo>
                  <a:lnTo>
                    <a:pt x="1578" y="858"/>
                  </a:lnTo>
                  <a:lnTo>
                    <a:pt x="1582" y="868"/>
                  </a:lnTo>
                  <a:lnTo>
                    <a:pt x="1590" y="876"/>
                  </a:lnTo>
                  <a:lnTo>
                    <a:pt x="1596" y="882"/>
                  </a:lnTo>
                  <a:lnTo>
                    <a:pt x="1598" y="886"/>
                  </a:lnTo>
                  <a:lnTo>
                    <a:pt x="1598" y="890"/>
                  </a:lnTo>
                  <a:lnTo>
                    <a:pt x="1598" y="896"/>
                  </a:lnTo>
                  <a:lnTo>
                    <a:pt x="1596" y="900"/>
                  </a:lnTo>
                  <a:lnTo>
                    <a:pt x="1590" y="906"/>
                  </a:lnTo>
                  <a:lnTo>
                    <a:pt x="1584" y="912"/>
                  </a:lnTo>
                  <a:lnTo>
                    <a:pt x="1570" y="922"/>
                  </a:lnTo>
                  <a:lnTo>
                    <a:pt x="1566" y="924"/>
                  </a:lnTo>
                  <a:lnTo>
                    <a:pt x="1564" y="922"/>
                  </a:lnTo>
                  <a:lnTo>
                    <a:pt x="1566" y="912"/>
                  </a:lnTo>
                  <a:lnTo>
                    <a:pt x="1568" y="898"/>
                  </a:lnTo>
                  <a:lnTo>
                    <a:pt x="1572" y="884"/>
                  </a:lnTo>
                  <a:lnTo>
                    <a:pt x="1572" y="878"/>
                  </a:lnTo>
                  <a:lnTo>
                    <a:pt x="1572" y="872"/>
                  </a:lnTo>
                  <a:lnTo>
                    <a:pt x="1570" y="866"/>
                  </a:lnTo>
                  <a:lnTo>
                    <a:pt x="1566" y="864"/>
                  </a:lnTo>
                  <a:lnTo>
                    <a:pt x="1560" y="864"/>
                  </a:lnTo>
                  <a:lnTo>
                    <a:pt x="1552" y="866"/>
                  </a:lnTo>
                  <a:lnTo>
                    <a:pt x="1542" y="868"/>
                  </a:lnTo>
                  <a:lnTo>
                    <a:pt x="1538" y="868"/>
                  </a:lnTo>
                  <a:lnTo>
                    <a:pt x="1536" y="866"/>
                  </a:lnTo>
                  <a:lnTo>
                    <a:pt x="1536" y="864"/>
                  </a:lnTo>
                  <a:lnTo>
                    <a:pt x="1542" y="856"/>
                  </a:lnTo>
                  <a:lnTo>
                    <a:pt x="1550" y="844"/>
                  </a:lnTo>
                  <a:lnTo>
                    <a:pt x="1560" y="832"/>
                  </a:lnTo>
                  <a:lnTo>
                    <a:pt x="1562" y="826"/>
                  </a:lnTo>
                  <a:lnTo>
                    <a:pt x="1564" y="820"/>
                  </a:lnTo>
                  <a:lnTo>
                    <a:pt x="1562" y="816"/>
                  </a:lnTo>
                  <a:lnTo>
                    <a:pt x="1558" y="812"/>
                  </a:lnTo>
                  <a:lnTo>
                    <a:pt x="1552" y="810"/>
                  </a:lnTo>
                  <a:lnTo>
                    <a:pt x="1540" y="810"/>
                  </a:lnTo>
                  <a:lnTo>
                    <a:pt x="1518" y="810"/>
                  </a:lnTo>
                  <a:lnTo>
                    <a:pt x="1504" y="806"/>
                  </a:lnTo>
                  <a:lnTo>
                    <a:pt x="1492" y="798"/>
                  </a:lnTo>
                  <a:lnTo>
                    <a:pt x="1482" y="792"/>
                  </a:lnTo>
                  <a:lnTo>
                    <a:pt x="1472" y="782"/>
                  </a:lnTo>
                  <a:lnTo>
                    <a:pt x="1460" y="774"/>
                  </a:lnTo>
                  <a:lnTo>
                    <a:pt x="1442" y="768"/>
                  </a:lnTo>
                  <a:lnTo>
                    <a:pt x="1416" y="762"/>
                  </a:lnTo>
                  <a:lnTo>
                    <a:pt x="1400" y="760"/>
                  </a:lnTo>
                  <a:lnTo>
                    <a:pt x="1386" y="760"/>
                  </a:lnTo>
                  <a:lnTo>
                    <a:pt x="1374" y="760"/>
                  </a:lnTo>
                  <a:lnTo>
                    <a:pt x="1364" y="762"/>
                  </a:lnTo>
                  <a:lnTo>
                    <a:pt x="1358" y="764"/>
                  </a:lnTo>
                  <a:lnTo>
                    <a:pt x="1352" y="768"/>
                  </a:lnTo>
                  <a:lnTo>
                    <a:pt x="1346" y="776"/>
                  </a:lnTo>
                  <a:lnTo>
                    <a:pt x="1342" y="784"/>
                  </a:lnTo>
                  <a:lnTo>
                    <a:pt x="1340" y="790"/>
                  </a:lnTo>
                  <a:lnTo>
                    <a:pt x="1336" y="794"/>
                  </a:lnTo>
                  <a:lnTo>
                    <a:pt x="1334" y="794"/>
                  </a:lnTo>
                  <a:lnTo>
                    <a:pt x="1330" y="792"/>
                  </a:lnTo>
                  <a:lnTo>
                    <a:pt x="1316" y="788"/>
                  </a:lnTo>
                  <a:lnTo>
                    <a:pt x="1302" y="788"/>
                  </a:lnTo>
                  <a:lnTo>
                    <a:pt x="1292" y="792"/>
                  </a:lnTo>
                  <a:lnTo>
                    <a:pt x="1284" y="796"/>
                  </a:lnTo>
                  <a:lnTo>
                    <a:pt x="1282" y="800"/>
                  </a:lnTo>
                  <a:lnTo>
                    <a:pt x="1282" y="804"/>
                  </a:lnTo>
                  <a:lnTo>
                    <a:pt x="1282" y="808"/>
                  </a:lnTo>
                  <a:lnTo>
                    <a:pt x="1284" y="812"/>
                  </a:lnTo>
                  <a:lnTo>
                    <a:pt x="1288" y="816"/>
                  </a:lnTo>
                  <a:lnTo>
                    <a:pt x="1294" y="820"/>
                  </a:lnTo>
                  <a:lnTo>
                    <a:pt x="1314" y="828"/>
                  </a:lnTo>
                  <a:lnTo>
                    <a:pt x="1332" y="834"/>
                  </a:lnTo>
                  <a:lnTo>
                    <a:pt x="1342" y="840"/>
                  </a:lnTo>
                  <a:lnTo>
                    <a:pt x="1344" y="842"/>
                  </a:lnTo>
                  <a:lnTo>
                    <a:pt x="1344" y="844"/>
                  </a:lnTo>
                  <a:lnTo>
                    <a:pt x="1340" y="846"/>
                  </a:lnTo>
                  <a:lnTo>
                    <a:pt x="1332" y="848"/>
                  </a:lnTo>
                  <a:lnTo>
                    <a:pt x="1318" y="848"/>
                  </a:lnTo>
                  <a:lnTo>
                    <a:pt x="1280" y="844"/>
                  </a:lnTo>
                  <a:lnTo>
                    <a:pt x="1270" y="842"/>
                  </a:lnTo>
                  <a:lnTo>
                    <a:pt x="1264" y="840"/>
                  </a:lnTo>
                  <a:lnTo>
                    <a:pt x="1260" y="836"/>
                  </a:lnTo>
                  <a:lnTo>
                    <a:pt x="1256" y="830"/>
                  </a:lnTo>
                  <a:lnTo>
                    <a:pt x="1256" y="824"/>
                  </a:lnTo>
                  <a:lnTo>
                    <a:pt x="1256" y="818"/>
                  </a:lnTo>
                  <a:lnTo>
                    <a:pt x="1260" y="804"/>
                  </a:lnTo>
                  <a:lnTo>
                    <a:pt x="1264" y="788"/>
                  </a:lnTo>
                  <a:lnTo>
                    <a:pt x="1268" y="772"/>
                  </a:lnTo>
                  <a:lnTo>
                    <a:pt x="1270" y="758"/>
                  </a:lnTo>
                  <a:lnTo>
                    <a:pt x="1268" y="750"/>
                  </a:lnTo>
                  <a:lnTo>
                    <a:pt x="1266" y="744"/>
                  </a:lnTo>
                  <a:lnTo>
                    <a:pt x="1258" y="734"/>
                  </a:lnTo>
                  <a:lnTo>
                    <a:pt x="1250" y="726"/>
                  </a:lnTo>
                  <a:lnTo>
                    <a:pt x="1244" y="722"/>
                  </a:lnTo>
                  <a:lnTo>
                    <a:pt x="1240" y="722"/>
                  </a:lnTo>
                  <a:lnTo>
                    <a:pt x="1236" y="724"/>
                  </a:lnTo>
                  <a:lnTo>
                    <a:pt x="1234" y="730"/>
                  </a:lnTo>
                  <a:lnTo>
                    <a:pt x="1234" y="738"/>
                  </a:lnTo>
                  <a:lnTo>
                    <a:pt x="1238" y="752"/>
                  </a:lnTo>
                  <a:lnTo>
                    <a:pt x="1240" y="762"/>
                  </a:lnTo>
                  <a:lnTo>
                    <a:pt x="1238" y="772"/>
                  </a:lnTo>
                  <a:lnTo>
                    <a:pt x="1236" y="778"/>
                  </a:lnTo>
                  <a:lnTo>
                    <a:pt x="1230" y="784"/>
                  </a:lnTo>
                  <a:lnTo>
                    <a:pt x="1224" y="788"/>
                  </a:lnTo>
                  <a:lnTo>
                    <a:pt x="1216" y="792"/>
                  </a:lnTo>
                  <a:lnTo>
                    <a:pt x="1198" y="798"/>
                  </a:lnTo>
                  <a:lnTo>
                    <a:pt x="1182" y="804"/>
                  </a:lnTo>
                  <a:lnTo>
                    <a:pt x="1176" y="808"/>
                  </a:lnTo>
                  <a:lnTo>
                    <a:pt x="1170" y="812"/>
                  </a:lnTo>
                  <a:lnTo>
                    <a:pt x="1168" y="818"/>
                  </a:lnTo>
                  <a:lnTo>
                    <a:pt x="1168" y="824"/>
                  </a:lnTo>
                  <a:lnTo>
                    <a:pt x="1172" y="832"/>
                  </a:lnTo>
                  <a:lnTo>
                    <a:pt x="1178" y="842"/>
                  </a:lnTo>
                  <a:lnTo>
                    <a:pt x="1200" y="870"/>
                  </a:lnTo>
                  <a:lnTo>
                    <a:pt x="1208" y="878"/>
                  </a:lnTo>
                  <a:lnTo>
                    <a:pt x="1212" y="886"/>
                  </a:lnTo>
                  <a:lnTo>
                    <a:pt x="1212" y="894"/>
                  </a:lnTo>
                  <a:lnTo>
                    <a:pt x="1210" y="902"/>
                  </a:lnTo>
                  <a:lnTo>
                    <a:pt x="1204" y="912"/>
                  </a:lnTo>
                  <a:lnTo>
                    <a:pt x="1194" y="926"/>
                  </a:lnTo>
                  <a:lnTo>
                    <a:pt x="1184" y="940"/>
                  </a:lnTo>
                  <a:lnTo>
                    <a:pt x="1180" y="950"/>
                  </a:lnTo>
                  <a:lnTo>
                    <a:pt x="1180" y="956"/>
                  </a:lnTo>
                  <a:lnTo>
                    <a:pt x="1182" y="962"/>
                  </a:lnTo>
                  <a:lnTo>
                    <a:pt x="1190" y="974"/>
                  </a:lnTo>
                  <a:lnTo>
                    <a:pt x="1192" y="982"/>
                  </a:lnTo>
                  <a:lnTo>
                    <a:pt x="1194" y="992"/>
                  </a:lnTo>
                  <a:lnTo>
                    <a:pt x="1194" y="996"/>
                  </a:lnTo>
                  <a:lnTo>
                    <a:pt x="1196" y="1000"/>
                  </a:lnTo>
                  <a:lnTo>
                    <a:pt x="1200" y="1002"/>
                  </a:lnTo>
                  <a:lnTo>
                    <a:pt x="1204" y="1002"/>
                  </a:lnTo>
                  <a:lnTo>
                    <a:pt x="1218" y="1000"/>
                  </a:lnTo>
                  <a:lnTo>
                    <a:pt x="1234" y="996"/>
                  </a:lnTo>
                  <a:lnTo>
                    <a:pt x="1254" y="992"/>
                  </a:lnTo>
                  <a:lnTo>
                    <a:pt x="1276" y="992"/>
                  </a:lnTo>
                  <a:lnTo>
                    <a:pt x="1288" y="992"/>
                  </a:lnTo>
                  <a:lnTo>
                    <a:pt x="1298" y="994"/>
                  </a:lnTo>
                  <a:lnTo>
                    <a:pt x="1310" y="998"/>
                  </a:lnTo>
                  <a:lnTo>
                    <a:pt x="1322" y="1004"/>
                  </a:lnTo>
                  <a:lnTo>
                    <a:pt x="1340" y="1016"/>
                  </a:lnTo>
                  <a:lnTo>
                    <a:pt x="1352" y="1028"/>
                  </a:lnTo>
                  <a:lnTo>
                    <a:pt x="1358" y="1036"/>
                  </a:lnTo>
                  <a:lnTo>
                    <a:pt x="1360" y="1044"/>
                  </a:lnTo>
                  <a:lnTo>
                    <a:pt x="1360" y="1050"/>
                  </a:lnTo>
                  <a:lnTo>
                    <a:pt x="1356" y="1054"/>
                  </a:lnTo>
                  <a:lnTo>
                    <a:pt x="1350" y="1066"/>
                  </a:lnTo>
                  <a:lnTo>
                    <a:pt x="1342" y="1078"/>
                  </a:lnTo>
                  <a:lnTo>
                    <a:pt x="1334" y="1092"/>
                  </a:lnTo>
                  <a:lnTo>
                    <a:pt x="1332" y="1096"/>
                  </a:lnTo>
                  <a:lnTo>
                    <a:pt x="1330" y="1098"/>
                  </a:lnTo>
                  <a:lnTo>
                    <a:pt x="1330" y="1092"/>
                  </a:lnTo>
                  <a:lnTo>
                    <a:pt x="1332" y="1082"/>
                  </a:lnTo>
                  <a:lnTo>
                    <a:pt x="1334" y="1066"/>
                  </a:lnTo>
                  <a:lnTo>
                    <a:pt x="1334" y="1052"/>
                  </a:lnTo>
                  <a:lnTo>
                    <a:pt x="1330" y="1038"/>
                  </a:lnTo>
                  <a:lnTo>
                    <a:pt x="1322" y="1026"/>
                  </a:lnTo>
                  <a:lnTo>
                    <a:pt x="1318" y="1020"/>
                  </a:lnTo>
                  <a:lnTo>
                    <a:pt x="1312" y="1016"/>
                  </a:lnTo>
                  <a:lnTo>
                    <a:pt x="1304" y="1014"/>
                  </a:lnTo>
                  <a:lnTo>
                    <a:pt x="1298" y="1012"/>
                  </a:lnTo>
                  <a:lnTo>
                    <a:pt x="1288" y="1010"/>
                  </a:lnTo>
                  <a:lnTo>
                    <a:pt x="1278" y="1010"/>
                  </a:lnTo>
                  <a:lnTo>
                    <a:pt x="1266" y="1012"/>
                  </a:lnTo>
                  <a:lnTo>
                    <a:pt x="1254" y="1016"/>
                  </a:lnTo>
                  <a:lnTo>
                    <a:pt x="1242" y="1020"/>
                  </a:lnTo>
                  <a:lnTo>
                    <a:pt x="1234" y="1026"/>
                  </a:lnTo>
                  <a:lnTo>
                    <a:pt x="1228" y="1032"/>
                  </a:lnTo>
                  <a:lnTo>
                    <a:pt x="1224" y="1036"/>
                  </a:lnTo>
                  <a:lnTo>
                    <a:pt x="1222" y="1044"/>
                  </a:lnTo>
                  <a:lnTo>
                    <a:pt x="1222" y="1050"/>
                  </a:lnTo>
                  <a:lnTo>
                    <a:pt x="1226" y="1062"/>
                  </a:lnTo>
                  <a:lnTo>
                    <a:pt x="1230" y="1076"/>
                  </a:lnTo>
                  <a:lnTo>
                    <a:pt x="1234" y="1088"/>
                  </a:lnTo>
                  <a:lnTo>
                    <a:pt x="1234" y="1092"/>
                  </a:lnTo>
                  <a:lnTo>
                    <a:pt x="1232" y="1098"/>
                  </a:lnTo>
                  <a:lnTo>
                    <a:pt x="1228" y="1102"/>
                  </a:lnTo>
                  <a:lnTo>
                    <a:pt x="1222" y="1106"/>
                  </a:lnTo>
                  <a:lnTo>
                    <a:pt x="1210" y="1112"/>
                  </a:lnTo>
                  <a:lnTo>
                    <a:pt x="1202" y="1120"/>
                  </a:lnTo>
                  <a:lnTo>
                    <a:pt x="1198" y="1128"/>
                  </a:lnTo>
                  <a:lnTo>
                    <a:pt x="1196" y="1136"/>
                  </a:lnTo>
                  <a:lnTo>
                    <a:pt x="1194" y="1144"/>
                  </a:lnTo>
                  <a:lnTo>
                    <a:pt x="1188" y="1152"/>
                  </a:lnTo>
                  <a:lnTo>
                    <a:pt x="1180" y="1160"/>
                  </a:lnTo>
                  <a:lnTo>
                    <a:pt x="1166" y="1168"/>
                  </a:lnTo>
                  <a:lnTo>
                    <a:pt x="1152" y="1176"/>
                  </a:lnTo>
                  <a:lnTo>
                    <a:pt x="1144" y="1184"/>
                  </a:lnTo>
                  <a:lnTo>
                    <a:pt x="1136" y="1196"/>
                  </a:lnTo>
                  <a:lnTo>
                    <a:pt x="1130" y="1200"/>
                  </a:lnTo>
                  <a:lnTo>
                    <a:pt x="1118" y="1202"/>
                  </a:lnTo>
                  <a:lnTo>
                    <a:pt x="1100" y="1200"/>
                  </a:lnTo>
                  <a:lnTo>
                    <a:pt x="1070" y="1196"/>
                  </a:lnTo>
                  <a:lnTo>
                    <a:pt x="1044" y="1190"/>
                  </a:lnTo>
                  <a:lnTo>
                    <a:pt x="1036" y="1186"/>
                  </a:lnTo>
                  <a:lnTo>
                    <a:pt x="1040" y="1184"/>
                  </a:lnTo>
                  <a:lnTo>
                    <a:pt x="1052" y="1180"/>
                  </a:lnTo>
                  <a:lnTo>
                    <a:pt x="1072" y="1176"/>
                  </a:lnTo>
                  <a:lnTo>
                    <a:pt x="1094" y="1168"/>
                  </a:lnTo>
                  <a:lnTo>
                    <a:pt x="1104" y="1162"/>
                  </a:lnTo>
                  <a:lnTo>
                    <a:pt x="1114" y="1156"/>
                  </a:lnTo>
                  <a:lnTo>
                    <a:pt x="1122" y="1148"/>
                  </a:lnTo>
                  <a:lnTo>
                    <a:pt x="1128" y="1138"/>
                  </a:lnTo>
                  <a:lnTo>
                    <a:pt x="1138" y="1122"/>
                  </a:lnTo>
                  <a:lnTo>
                    <a:pt x="1146" y="1112"/>
                  </a:lnTo>
                  <a:lnTo>
                    <a:pt x="1154" y="1106"/>
                  </a:lnTo>
                  <a:lnTo>
                    <a:pt x="1160" y="1104"/>
                  </a:lnTo>
                  <a:lnTo>
                    <a:pt x="1166" y="1100"/>
                  </a:lnTo>
                  <a:lnTo>
                    <a:pt x="1170" y="1096"/>
                  </a:lnTo>
                  <a:lnTo>
                    <a:pt x="1174" y="1088"/>
                  </a:lnTo>
                  <a:lnTo>
                    <a:pt x="1176" y="1072"/>
                  </a:lnTo>
                  <a:lnTo>
                    <a:pt x="1176" y="1058"/>
                  </a:lnTo>
                  <a:lnTo>
                    <a:pt x="1174" y="1044"/>
                  </a:lnTo>
                  <a:lnTo>
                    <a:pt x="1166" y="1034"/>
                  </a:lnTo>
                  <a:lnTo>
                    <a:pt x="1160" y="1026"/>
                  </a:lnTo>
                  <a:lnTo>
                    <a:pt x="1152" y="1016"/>
                  </a:lnTo>
                  <a:lnTo>
                    <a:pt x="1146" y="1004"/>
                  </a:lnTo>
                  <a:lnTo>
                    <a:pt x="1142" y="988"/>
                  </a:lnTo>
                  <a:lnTo>
                    <a:pt x="1142" y="968"/>
                  </a:lnTo>
                  <a:lnTo>
                    <a:pt x="1150" y="928"/>
                  </a:lnTo>
                  <a:lnTo>
                    <a:pt x="1152" y="910"/>
                  </a:lnTo>
                  <a:lnTo>
                    <a:pt x="1154" y="896"/>
                  </a:lnTo>
                  <a:lnTo>
                    <a:pt x="1152" y="882"/>
                  </a:lnTo>
                  <a:lnTo>
                    <a:pt x="1148" y="868"/>
                  </a:lnTo>
                  <a:lnTo>
                    <a:pt x="1140" y="856"/>
                  </a:lnTo>
                  <a:lnTo>
                    <a:pt x="1126" y="844"/>
                  </a:lnTo>
                  <a:lnTo>
                    <a:pt x="1116" y="832"/>
                  </a:lnTo>
                  <a:lnTo>
                    <a:pt x="1114" y="828"/>
                  </a:lnTo>
                  <a:lnTo>
                    <a:pt x="1112" y="824"/>
                  </a:lnTo>
                  <a:lnTo>
                    <a:pt x="1114" y="822"/>
                  </a:lnTo>
                  <a:lnTo>
                    <a:pt x="1118" y="818"/>
                  </a:lnTo>
                  <a:lnTo>
                    <a:pt x="1126" y="812"/>
                  </a:lnTo>
                  <a:lnTo>
                    <a:pt x="1136" y="804"/>
                  </a:lnTo>
                  <a:lnTo>
                    <a:pt x="1146" y="796"/>
                  </a:lnTo>
                  <a:lnTo>
                    <a:pt x="1150" y="790"/>
                  </a:lnTo>
                  <a:lnTo>
                    <a:pt x="1154" y="782"/>
                  </a:lnTo>
                  <a:lnTo>
                    <a:pt x="1156" y="774"/>
                  </a:lnTo>
                  <a:lnTo>
                    <a:pt x="1156" y="764"/>
                  </a:lnTo>
                  <a:lnTo>
                    <a:pt x="1156" y="754"/>
                  </a:lnTo>
                  <a:lnTo>
                    <a:pt x="1152" y="744"/>
                  </a:lnTo>
                  <a:lnTo>
                    <a:pt x="1148" y="738"/>
                  </a:lnTo>
                  <a:lnTo>
                    <a:pt x="1142" y="732"/>
                  </a:lnTo>
                  <a:lnTo>
                    <a:pt x="1134" y="728"/>
                  </a:lnTo>
                  <a:lnTo>
                    <a:pt x="1126" y="724"/>
                  </a:lnTo>
                  <a:lnTo>
                    <a:pt x="1106" y="722"/>
                  </a:lnTo>
                  <a:lnTo>
                    <a:pt x="1086" y="722"/>
                  </a:lnTo>
                  <a:lnTo>
                    <a:pt x="1064" y="724"/>
                  </a:lnTo>
                  <a:lnTo>
                    <a:pt x="1044" y="724"/>
                  </a:lnTo>
                  <a:lnTo>
                    <a:pt x="1028" y="722"/>
                  </a:lnTo>
                  <a:lnTo>
                    <a:pt x="1020" y="722"/>
                  </a:lnTo>
                  <a:lnTo>
                    <a:pt x="1012" y="722"/>
                  </a:lnTo>
                  <a:lnTo>
                    <a:pt x="1006" y="726"/>
                  </a:lnTo>
                  <a:lnTo>
                    <a:pt x="1002" y="732"/>
                  </a:lnTo>
                  <a:lnTo>
                    <a:pt x="994" y="748"/>
                  </a:lnTo>
                  <a:lnTo>
                    <a:pt x="988" y="766"/>
                  </a:lnTo>
                  <a:lnTo>
                    <a:pt x="980" y="788"/>
                  </a:lnTo>
                  <a:lnTo>
                    <a:pt x="970" y="808"/>
                  </a:lnTo>
                  <a:lnTo>
                    <a:pt x="964" y="816"/>
                  </a:lnTo>
                  <a:lnTo>
                    <a:pt x="958" y="824"/>
                  </a:lnTo>
                  <a:lnTo>
                    <a:pt x="948" y="832"/>
                  </a:lnTo>
                  <a:lnTo>
                    <a:pt x="938" y="838"/>
                  </a:lnTo>
                  <a:lnTo>
                    <a:pt x="916" y="848"/>
                  </a:lnTo>
                  <a:lnTo>
                    <a:pt x="908" y="854"/>
                  </a:lnTo>
                  <a:lnTo>
                    <a:pt x="906" y="858"/>
                  </a:lnTo>
                  <a:lnTo>
                    <a:pt x="904" y="862"/>
                  </a:lnTo>
                  <a:lnTo>
                    <a:pt x="906" y="866"/>
                  </a:lnTo>
                  <a:lnTo>
                    <a:pt x="912" y="874"/>
                  </a:lnTo>
                  <a:lnTo>
                    <a:pt x="920" y="884"/>
                  </a:lnTo>
                  <a:lnTo>
                    <a:pt x="922" y="888"/>
                  </a:lnTo>
                  <a:lnTo>
                    <a:pt x="926" y="894"/>
                  </a:lnTo>
                  <a:lnTo>
                    <a:pt x="926" y="902"/>
                  </a:lnTo>
                  <a:lnTo>
                    <a:pt x="926" y="910"/>
                  </a:lnTo>
                  <a:lnTo>
                    <a:pt x="922" y="918"/>
                  </a:lnTo>
                  <a:lnTo>
                    <a:pt x="916" y="928"/>
                  </a:lnTo>
                  <a:lnTo>
                    <a:pt x="912" y="938"/>
                  </a:lnTo>
                  <a:lnTo>
                    <a:pt x="910" y="948"/>
                  </a:lnTo>
                  <a:lnTo>
                    <a:pt x="912" y="954"/>
                  </a:lnTo>
                  <a:lnTo>
                    <a:pt x="916" y="962"/>
                  </a:lnTo>
                  <a:lnTo>
                    <a:pt x="924" y="968"/>
                  </a:lnTo>
                  <a:lnTo>
                    <a:pt x="932" y="974"/>
                  </a:lnTo>
                  <a:lnTo>
                    <a:pt x="952" y="986"/>
                  </a:lnTo>
                  <a:lnTo>
                    <a:pt x="974" y="996"/>
                  </a:lnTo>
                  <a:lnTo>
                    <a:pt x="982" y="1002"/>
                  </a:lnTo>
                  <a:lnTo>
                    <a:pt x="990" y="1008"/>
                  </a:lnTo>
                  <a:lnTo>
                    <a:pt x="996" y="1014"/>
                  </a:lnTo>
                  <a:lnTo>
                    <a:pt x="998" y="1022"/>
                  </a:lnTo>
                  <a:lnTo>
                    <a:pt x="998" y="1030"/>
                  </a:lnTo>
                  <a:lnTo>
                    <a:pt x="992" y="1040"/>
                  </a:lnTo>
                  <a:lnTo>
                    <a:pt x="982" y="1054"/>
                  </a:lnTo>
                  <a:lnTo>
                    <a:pt x="978" y="1058"/>
                  </a:lnTo>
                  <a:lnTo>
                    <a:pt x="974" y="1060"/>
                  </a:lnTo>
                  <a:lnTo>
                    <a:pt x="970" y="1060"/>
                  </a:lnTo>
                  <a:lnTo>
                    <a:pt x="966" y="1060"/>
                  </a:lnTo>
                  <a:lnTo>
                    <a:pt x="956" y="1052"/>
                  </a:lnTo>
                  <a:lnTo>
                    <a:pt x="942" y="1040"/>
                  </a:lnTo>
                  <a:lnTo>
                    <a:pt x="918" y="1024"/>
                  </a:lnTo>
                  <a:lnTo>
                    <a:pt x="884" y="1004"/>
                  </a:lnTo>
                  <a:lnTo>
                    <a:pt x="862" y="994"/>
                  </a:lnTo>
                  <a:lnTo>
                    <a:pt x="838" y="984"/>
                  </a:lnTo>
                  <a:lnTo>
                    <a:pt x="810" y="974"/>
                  </a:lnTo>
                  <a:lnTo>
                    <a:pt x="786" y="966"/>
                  </a:lnTo>
                  <a:lnTo>
                    <a:pt x="762" y="960"/>
                  </a:lnTo>
                  <a:lnTo>
                    <a:pt x="742" y="956"/>
                  </a:lnTo>
                  <a:lnTo>
                    <a:pt x="724" y="954"/>
                  </a:lnTo>
                  <a:lnTo>
                    <a:pt x="706" y="952"/>
                  </a:lnTo>
                  <a:lnTo>
                    <a:pt x="692" y="952"/>
                  </a:lnTo>
                  <a:lnTo>
                    <a:pt x="678" y="954"/>
                  </a:lnTo>
                  <a:lnTo>
                    <a:pt x="668" y="956"/>
                  </a:lnTo>
                  <a:lnTo>
                    <a:pt x="660" y="960"/>
                  </a:lnTo>
                  <a:lnTo>
                    <a:pt x="654" y="964"/>
                  </a:lnTo>
                  <a:lnTo>
                    <a:pt x="650" y="968"/>
                  </a:lnTo>
                  <a:lnTo>
                    <a:pt x="650" y="974"/>
                  </a:lnTo>
                  <a:lnTo>
                    <a:pt x="650" y="980"/>
                  </a:lnTo>
                  <a:lnTo>
                    <a:pt x="654" y="986"/>
                  </a:lnTo>
                  <a:lnTo>
                    <a:pt x="660" y="994"/>
                  </a:lnTo>
                  <a:lnTo>
                    <a:pt x="664" y="998"/>
                  </a:lnTo>
                  <a:lnTo>
                    <a:pt x="664" y="1004"/>
                  </a:lnTo>
                  <a:lnTo>
                    <a:pt x="664" y="1010"/>
                  </a:lnTo>
                  <a:lnTo>
                    <a:pt x="662" y="1016"/>
                  </a:lnTo>
                  <a:lnTo>
                    <a:pt x="654" y="1028"/>
                  </a:lnTo>
                  <a:lnTo>
                    <a:pt x="642" y="1038"/>
                  </a:lnTo>
                  <a:lnTo>
                    <a:pt x="628" y="1044"/>
                  </a:lnTo>
                  <a:lnTo>
                    <a:pt x="622" y="1046"/>
                  </a:lnTo>
                  <a:lnTo>
                    <a:pt x="618" y="1046"/>
                  </a:lnTo>
                  <a:lnTo>
                    <a:pt x="612" y="1046"/>
                  </a:lnTo>
                  <a:lnTo>
                    <a:pt x="608" y="1042"/>
                  </a:lnTo>
                  <a:lnTo>
                    <a:pt x="606" y="1038"/>
                  </a:lnTo>
                  <a:lnTo>
                    <a:pt x="606" y="1030"/>
                  </a:lnTo>
                  <a:lnTo>
                    <a:pt x="604" y="1018"/>
                  </a:lnTo>
                  <a:lnTo>
                    <a:pt x="602" y="1010"/>
                  </a:lnTo>
                  <a:lnTo>
                    <a:pt x="596" y="1006"/>
                  </a:lnTo>
                  <a:lnTo>
                    <a:pt x="590" y="1006"/>
                  </a:lnTo>
                  <a:lnTo>
                    <a:pt x="582" y="1010"/>
                  </a:lnTo>
                  <a:lnTo>
                    <a:pt x="570" y="1016"/>
                  </a:lnTo>
                  <a:lnTo>
                    <a:pt x="542" y="1034"/>
                  </a:lnTo>
                  <a:lnTo>
                    <a:pt x="526" y="1042"/>
                  </a:lnTo>
                  <a:lnTo>
                    <a:pt x="520" y="1042"/>
                  </a:lnTo>
                  <a:lnTo>
                    <a:pt x="516" y="1042"/>
                  </a:lnTo>
                  <a:lnTo>
                    <a:pt x="506" y="1040"/>
                  </a:lnTo>
                  <a:lnTo>
                    <a:pt x="498" y="1036"/>
                  </a:lnTo>
                  <a:lnTo>
                    <a:pt x="488" y="1032"/>
                  </a:lnTo>
                  <a:lnTo>
                    <a:pt x="478" y="1032"/>
                  </a:lnTo>
                  <a:lnTo>
                    <a:pt x="470" y="1032"/>
                  </a:lnTo>
                  <a:lnTo>
                    <a:pt x="462" y="1034"/>
                  </a:lnTo>
                  <a:lnTo>
                    <a:pt x="440" y="1046"/>
                  </a:lnTo>
                  <a:lnTo>
                    <a:pt x="420" y="1056"/>
                  </a:lnTo>
                  <a:lnTo>
                    <a:pt x="412" y="1060"/>
                  </a:lnTo>
                  <a:lnTo>
                    <a:pt x="406" y="1060"/>
                  </a:lnTo>
                  <a:lnTo>
                    <a:pt x="400" y="1060"/>
                  </a:lnTo>
                  <a:lnTo>
                    <a:pt x="396" y="1058"/>
                  </a:lnTo>
                  <a:lnTo>
                    <a:pt x="392" y="1054"/>
                  </a:lnTo>
                  <a:lnTo>
                    <a:pt x="390" y="1052"/>
                  </a:lnTo>
                  <a:lnTo>
                    <a:pt x="388" y="1042"/>
                  </a:lnTo>
                  <a:lnTo>
                    <a:pt x="392" y="1030"/>
                  </a:lnTo>
                  <a:lnTo>
                    <a:pt x="396" y="1020"/>
                  </a:lnTo>
                  <a:lnTo>
                    <a:pt x="406" y="1012"/>
                  </a:lnTo>
                  <a:lnTo>
                    <a:pt x="410" y="1006"/>
                  </a:lnTo>
                  <a:lnTo>
                    <a:pt x="412" y="1004"/>
                  </a:lnTo>
                  <a:lnTo>
                    <a:pt x="410" y="1004"/>
                  </a:lnTo>
                  <a:lnTo>
                    <a:pt x="402" y="1004"/>
                  </a:lnTo>
                  <a:lnTo>
                    <a:pt x="388" y="1008"/>
                  </a:lnTo>
                  <a:lnTo>
                    <a:pt x="368" y="1014"/>
                  </a:lnTo>
                  <a:lnTo>
                    <a:pt x="342" y="1024"/>
                  </a:lnTo>
                  <a:lnTo>
                    <a:pt x="312" y="1038"/>
                  </a:lnTo>
                  <a:lnTo>
                    <a:pt x="276" y="1054"/>
                  </a:lnTo>
                  <a:lnTo>
                    <a:pt x="242" y="1070"/>
                  </a:lnTo>
                  <a:lnTo>
                    <a:pt x="216" y="1078"/>
                  </a:lnTo>
                  <a:lnTo>
                    <a:pt x="196" y="1084"/>
                  </a:lnTo>
                  <a:lnTo>
                    <a:pt x="180" y="1086"/>
                  </a:lnTo>
                  <a:lnTo>
                    <a:pt x="168" y="1088"/>
                  </a:lnTo>
                  <a:lnTo>
                    <a:pt x="158" y="1094"/>
                  </a:lnTo>
                  <a:lnTo>
                    <a:pt x="152" y="1106"/>
                  </a:lnTo>
                  <a:lnTo>
                    <a:pt x="144" y="1124"/>
                  </a:lnTo>
                  <a:lnTo>
                    <a:pt x="138" y="1142"/>
                  </a:lnTo>
                  <a:lnTo>
                    <a:pt x="132" y="1152"/>
                  </a:lnTo>
                  <a:lnTo>
                    <a:pt x="126" y="1158"/>
                  </a:lnTo>
                  <a:lnTo>
                    <a:pt x="120" y="1158"/>
                  </a:lnTo>
                  <a:lnTo>
                    <a:pt x="106" y="1156"/>
                  </a:lnTo>
                  <a:lnTo>
                    <a:pt x="98" y="1156"/>
                  </a:lnTo>
                  <a:lnTo>
                    <a:pt x="86" y="1160"/>
                  </a:lnTo>
                  <a:lnTo>
                    <a:pt x="78" y="1164"/>
                  </a:lnTo>
                  <a:lnTo>
                    <a:pt x="54" y="1230"/>
                  </a:lnTo>
                  <a:lnTo>
                    <a:pt x="44" y="1256"/>
                  </a:lnTo>
                  <a:lnTo>
                    <a:pt x="36" y="1274"/>
                  </a:lnTo>
                  <a:lnTo>
                    <a:pt x="28" y="1292"/>
                  </a:lnTo>
                  <a:lnTo>
                    <a:pt x="20" y="1312"/>
                  </a:lnTo>
                  <a:lnTo>
                    <a:pt x="8" y="1346"/>
                  </a:lnTo>
                  <a:lnTo>
                    <a:pt x="0" y="1382"/>
                  </a:lnTo>
                  <a:lnTo>
                    <a:pt x="0" y="1562"/>
                  </a:lnTo>
                  <a:lnTo>
                    <a:pt x="60" y="1706"/>
                  </a:lnTo>
                  <a:lnTo>
                    <a:pt x="180" y="1898"/>
                  </a:lnTo>
                  <a:lnTo>
                    <a:pt x="236" y="2142"/>
                  </a:lnTo>
                  <a:lnTo>
                    <a:pt x="172" y="2176"/>
                  </a:lnTo>
                  <a:lnTo>
                    <a:pt x="166" y="2200"/>
                  </a:lnTo>
                  <a:lnTo>
                    <a:pt x="124" y="2214"/>
                  </a:lnTo>
                  <a:lnTo>
                    <a:pt x="104" y="2206"/>
                  </a:lnTo>
                  <a:lnTo>
                    <a:pt x="92" y="2204"/>
                  </a:lnTo>
                  <a:lnTo>
                    <a:pt x="86" y="2204"/>
                  </a:lnTo>
                  <a:lnTo>
                    <a:pt x="84" y="2208"/>
                  </a:lnTo>
                  <a:lnTo>
                    <a:pt x="70" y="2258"/>
                  </a:lnTo>
                  <a:lnTo>
                    <a:pt x="60" y="2304"/>
                  </a:lnTo>
                  <a:lnTo>
                    <a:pt x="76" y="2364"/>
                  </a:lnTo>
                  <a:lnTo>
                    <a:pt x="114" y="2388"/>
                  </a:lnTo>
                  <a:lnTo>
                    <a:pt x="142" y="2422"/>
                  </a:lnTo>
                  <a:lnTo>
                    <a:pt x="148" y="2454"/>
                  </a:lnTo>
                  <a:lnTo>
                    <a:pt x="130" y="2486"/>
                  </a:lnTo>
                  <a:lnTo>
                    <a:pt x="98" y="2508"/>
                  </a:lnTo>
                  <a:lnTo>
                    <a:pt x="70" y="2552"/>
                  </a:lnTo>
                  <a:lnTo>
                    <a:pt x="80" y="2588"/>
                  </a:lnTo>
                  <a:lnTo>
                    <a:pt x="132" y="2652"/>
                  </a:lnTo>
                  <a:lnTo>
                    <a:pt x="156" y="2704"/>
                  </a:lnTo>
                  <a:lnTo>
                    <a:pt x="182" y="2744"/>
                  </a:lnTo>
                  <a:lnTo>
                    <a:pt x="180" y="2776"/>
                  </a:lnTo>
                  <a:lnTo>
                    <a:pt x="182" y="2792"/>
                  </a:lnTo>
                  <a:lnTo>
                    <a:pt x="186" y="2844"/>
                  </a:lnTo>
                  <a:lnTo>
                    <a:pt x="190" y="2864"/>
                  </a:lnTo>
                  <a:lnTo>
                    <a:pt x="186" y="2882"/>
                  </a:lnTo>
                  <a:lnTo>
                    <a:pt x="188" y="2896"/>
                  </a:lnTo>
                  <a:lnTo>
                    <a:pt x="182" y="2898"/>
                  </a:lnTo>
                  <a:lnTo>
                    <a:pt x="178" y="2898"/>
                  </a:lnTo>
                  <a:lnTo>
                    <a:pt x="176" y="2896"/>
                  </a:lnTo>
                  <a:lnTo>
                    <a:pt x="176" y="2894"/>
                  </a:lnTo>
                  <a:lnTo>
                    <a:pt x="174" y="2888"/>
                  </a:lnTo>
                  <a:lnTo>
                    <a:pt x="172" y="2886"/>
                  </a:lnTo>
                  <a:lnTo>
                    <a:pt x="170" y="2886"/>
                  </a:lnTo>
                  <a:lnTo>
                    <a:pt x="172" y="2886"/>
                  </a:lnTo>
                  <a:lnTo>
                    <a:pt x="174" y="2888"/>
                  </a:lnTo>
                  <a:lnTo>
                    <a:pt x="176" y="2894"/>
                  </a:lnTo>
                  <a:lnTo>
                    <a:pt x="176" y="2896"/>
                  </a:lnTo>
                  <a:lnTo>
                    <a:pt x="178" y="2898"/>
                  </a:lnTo>
                  <a:lnTo>
                    <a:pt x="182" y="2898"/>
                  </a:lnTo>
                  <a:lnTo>
                    <a:pt x="188" y="2896"/>
                  </a:lnTo>
                  <a:lnTo>
                    <a:pt x="174" y="2986"/>
                  </a:lnTo>
                  <a:lnTo>
                    <a:pt x="174" y="3028"/>
                  </a:lnTo>
                  <a:lnTo>
                    <a:pt x="168" y="3124"/>
                  </a:lnTo>
                  <a:lnTo>
                    <a:pt x="174" y="3168"/>
                  </a:lnTo>
                  <a:lnTo>
                    <a:pt x="210" y="3264"/>
                  </a:lnTo>
                  <a:lnTo>
                    <a:pt x="248" y="3338"/>
                  </a:lnTo>
                  <a:lnTo>
                    <a:pt x="248" y="3362"/>
                  </a:lnTo>
                  <a:lnTo>
                    <a:pt x="254" y="3368"/>
                  </a:lnTo>
                  <a:lnTo>
                    <a:pt x="258" y="3372"/>
                  </a:lnTo>
                  <a:lnTo>
                    <a:pt x="262" y="3384"/>
                  </a:lnTo>
                  <a:lnTo>
                    <a:pt x="264" y="3394"/>
                  </a:lnTo>
                  <a:lnTo>
                    <a:pt x="268" y="3400"/>
                  </a:lnTo>
                  <a:lnTo>
                    <a:pt x="272" y="3406"/>
                  </a:lnTo>
                  <a:lnTo>
                    <a:pt x="276" y="3412"/>
                  </a:lnTo>
                  <a:lnTo>
                    <a:pt x="278" y="3416"/>
                  </a:lnTo>
                  <a:lnTo>
                    <a:pt x="278" y="3424"/>
                  </a:lnTo>
                  <a:lnTo>
                    <a:pt x="280" y="3432"/>
                  </a:lnTo>
                  <a:lnTo>
                    <a:pt x="282" y="3438"/>
                  </a:lnTo>
                  <a:lnTo>
                    <a:pt x="286" y="3444"/>
                  </a:lnTo>
                  <a:lnTo>
                    <a:pt x="294" y="3452"/>
                  </a:lnTo>
                  <a:lnTo>
                    <a:pt x="302" y="3456"/>
                  </a:lnTo>
                  <a:lnTo>
                    <a:pt x="320" y="3464"/>
                  </a:lnTo>
                  <a:lnTo>
                    <a:pt x="334" y="3470"/>
                  </a:lnTo>
                  <a:lnTo>
                    <a:pt x="338" y="3474"/>
                  </a:lnTo>
                  <a:lnTo>
                    <a:pt x="338" y="3478"/>
                  </a:lnTo>
                  <a:lnTo>
                    <a:pt x="338" y="3480"/>
                  </a:lnTo>
                  <a:lnTo>
                    <a:pt x="340" y="3484"/>
                  </a:lnTo>
                  <a:lnTo>
                    <a:pt x="350" y="3490"/>
                  </a:lnTo>
                  <a:lnTo>
                    <a:pt x="360" y="3496"/>
                  </a:lnTo>
                  <a:lnTo>
                    <a:pt x="366" y="3500"/>
                  </a:lnTo>
                  <a:lnTo>
                    <a:pt x="374" y="3508"/>
                  </a:lnTo>
                  <a:lnTo>
                    <a:pt x="382" y="3512"/>
                  </a:lnTo>
                  <a:lnTo>
                    <a:pt x="388" y="3514"/>
                  </a:lnTo>
                  <a:lnTo>
                    <a:pt x="394" y="3514"/>
                  </a:lnTo>
                  <a:lnTo>
                    <a:pt x="404" y="3516"/>
                  </a:lnTo>
                  <a:lnTo>
                    <a:pt x="410" y="3516"/>
                  </a:lnTo>
                  <a:lnTo>
                    <a:pt x="414" y="3522"/>
                  </a:lnTo>
                  <a:lnTo>
                    <a:pt x="420" y="3524"/>
                  </a:lnTo>
                  <a:lnTo>
                    <a:pt x="424" y="3526"/>
                  </a:lnTo>
                  <a:lnTo>
                    <a:pt x="428" y="3524"/>
                  </a:lnTo>
                  <a:lnTo>
                    <a:pt x="432" y="3522"/>
                  </a:lnTo>
                  <a:lnTo>
                    <a:pt x="442" y="3514"/>
                  </a:lnTo>
                  <a:lnTo>
                    <a:pt x="446" y="3512"/>
                  </a:lnTo>
                  <a:lnTo>
                    <a:pt x="450" y="3512"/>
                  </a:lnTo>
                  <a:lnTo>
                    <a:pt x="456" y="3510"/>
                  </a:lnTo>
                  <a:lnTo>
                    <a:pt x="458" y="3508"/>
                  </a:lnTo>
                  <a:lnTo>
                    <a:pt x="462" y="3504"/>
                  </a:lnTo>
                  <a:lnTo>
                    <a:pt x="464" y="3502"/>
                  </a:lnTo>
                  <a:lnTo>
                    <a:pt x="468" y="3502"/>
                  </a:lnTo>
                  <a:lnTo>
                    <a:pt x="472" y="3500"/>
                  </a:lnTo>
                  <a:lnTo>
                    <a:pt x="476" y="3498"/>
                  </a:lnTo>
                  <a:lnTo>
                    <a:pt x="480" y="3494"/>
                  </a:lnTo>
                  <a:lnTo>
                    <a:pt x="482" y="3492"/>
                  </a:lnTo>
                  <a:lnTo>
                    <a:pt x="488" y="3490"/>
                  </a:lnTo>
                  <a:lnTo>
                    <a:pt x="492" y="3490"/>
                  </a:lnTo>
                  <a:lnTo>
                    <a:pt x="500" y="3492"/>
                  </a:lnTo>
                  <a:lnTo>
                    <a:pt x="508" y="3496"/>
                  </a:lnTo>
                  <a:lnTo>
                    <a:pt x="514" y="3502"/>
                  </a:lnTo>
                  <a:lnTo>
                    <a:pt x="518" y="3512"/>
                  </a:lnTo>
                  <a:lnTo>
                    <a:pt x="520" y="3522"/>
                  </a:lnTo>
                  <a:lnTo>
                    <a:pt x="524" y="3542"/>
                  </a:lnTo>
                  <a:lnTo>
                    <a:pt x="526" y="3558"/>
                  </a:lnTo>
                  <a:lnTo>
                    <a:pt x="528" y="3562"/>
                  </a:lnTo>
                  <a:lnTo>
                    <a:pt x="532" y="3564"/>
                  </a:lnTo>
                  <a:lnTo>
                    <a:pt x="542" y="3566"/>
                  </a:lnTo>
                  <a:lnTo>
                    <a:pt x="550" y="3568"/>
                  </a:lnTo>
                  <a:lnTo>
                    <a:pt x="554" y="3570"/>
                  </a:lnTo>
                  <a:lnTo>
                    <a:pt x="558" y="3572"/>
                  </a:lnTo>
                  <a:lnTo>
                    <a:pt x="562" y="3576"/>
                  </a:lnTo>
                  <a:lnTo>
                    <a:pt x="566" y="3574"/>
                  </a:lnTo>
                  <a:lnTo>
                    <a:pt x="570" y="3574"/>
                  </a:lnTo>
                  <a:lnTo>
                    <a:pt x="580" y="3574"/>
                  </a:lnTo>
                  <a:lnTo>
                    <a:pt x="586" y="3574"/>
                  </a:lnTo>
                  <a:lnTo>
                    <a:pt x="590" y="3576"/>
                  </a:lnTo>
                  <a:lnTo>
                    <a:pt x="596" y="3580"/>
                  </a:lnTo>
                  <a:lnTo>
                    <a:pt x="600" y="3584"/>
                  </a:lnTo>
                  <a:lnTo>
                    <a:pt x="604" y="3584"/>
                  </a:lnTo>
                  <a:lnTo>
                    <a:pt x="608" y="3582"/>
                  </a:lnTo>
                  <a:lnTo>
                    <a:pt x="614" y="3580"/>
                  </a:lnTo>
                  <a:lnTo>
                    <a:pt x="620" y="3582"/>
                  </a:lnTo>
                  <a:lnTo>
                    <a:pt x="636" y="3584"/>
                  </a:lnTo>
                  <a:lnTo>
                    <a:pt x="650" y="3588"/>
                  </a:lnTo>
                  <a:lnTo>
                    <a:pt x="652" y="3588"/>
                  </a:lnTo>
                  <a:lnTo>
                    <a:pt x="654" y="3586"/>
                  </a:lnTo>
                  <a:lnTo>
                    <a:pt x="654" y="3582"/>
                  </a:lnTo>
                  <a:lnTo>
                    <a:pt x="656" y="3580"/>
                  </a:lnTo>
                  <a:lnTo>
                    <a:pt x="658" y="3582"/>
                  </a:lnTo>
                  <a:lnTo>
                    <a:pt x="662" y="3586"/>
                  </a:lnTo>
                  <a:lnTo>
                    <a:pt x="664" y="3590"/>
                  </a:lnTo>
                  <a:lnTo>
                    <a:pt x="670" y="3592"/>
                  </a:lnTo>
                  <a:lnTo>
                    <a:pt x="678" y="3594"/>
                  </a:lnTo>
                  <a:lnTo>
                    <a:pt x="688" y="3598"/>
                  </a:lnTo>
                  <a:lnTo>
                    <a:pt x="692" y="3600"/>
                  </a:lnTo>
                  <a:lnTo>
                    <a:pt x="696" y="3600"/>
                  </a:lnTo>
                  <a:lnTo>
                    <a:pt x="696" y="3596"/>
                  </a:lnTo>
                  <a:lnTo>
                    <a:pt x="698" y="3592"/>
                  </a:lnTo>
                  <a:lnTo>
                    <a:pt x="700" y="3592"/>
                  </a:lnTo>
                  <a:lnTo>
                    <a:pt x="702" y="3592"/>
                  </a:lnTo>
                  <a:lnTo>
                    <a:pt x="706" y="3598"/>
                  </a:lnTo>
                  <a:lnTo>
                    <a:pt x="710" y="3600"/>
                  </a:lnTo>
                  <a:lnTo>
                    <a:pt x="712" y="3600"/>
                  </a:lnTo>
                  <a:lnTo>
                    <a:pt x="716" y="3598"/>
                  </a:lnTo>
                  <a:lnTo>
                    <a:pt x="724" y="3594"/>
                  </a:lnTo>
                  <a:lnTo>
                    <a:pt x="726" y="3592"/>
                  </a:lnTo>
                  <a:lnTo>
                    <a:pt x="730" y="3594"/>
                  </a:lnTo>
                  <a:lnTo>
                    <a:pt x="732" y="3594"/>
                  </a:lnTo>
                  <a:lnTo>
                    <a:pt x="734" y="3594"/>
                  </a:lnTo>
                  <a:lnTo>
                    <a:pt x="738" y="3590"/>
                  </a:lnTo>
                  <a:lnTo>
                    <a:pt x="740" y="3588"/>
                  </a:lnTo>
                  <a:lnTo>
                    <a:pt x="746" y="3588"/>
                  </a:lnTo>
                  <a:lnTo>
                    <a:pt x="752" y="3588"/>
                  </a:lnTo>
                  <a:lnTo>
                    <a:pt x="762" y="3590"/>
                  </a:lnTo>
                  <a:lnTo>
                    <a:pt x="770" y="3594"/>
                  </a:lnTo>
                  <a:lnTo>
                    <a:pt x="774" y="3594"/>
                  </a:lnTo>
                  <a:lnTo>
                    <a:pt x="776" y="3592"/>
                  </a:lnTo>
                  <a:lnTo>
                    <a:pt x="778" y="3590"/>
                  </a:lnTo>
                  <a:lnTo>
                    <a:pt x="780" y="3588"/>
                  </a:lnTo>
                  <a:lnTo>
                    <a:pt x="782" y="3586"/>
                  </a:lnTo>
                  <a:lnTo>
                    <a:pt x="786" y="3586"/>
                  </a:lnTo>
                  <a:lnTo>
                    <a:pt x="794" y="3586"/>
                  </a:lnTo>
                  <a:lnTo>
                    <a:pt x="810" y="3590"/>
                  </a:lnTo>
                  <a:lnTo>
                    <a:pt x="820" y="3594"/>
                  </a:lnTo>
                  <a:lnTo>
                    <a:pt x="824" y="3594"/>
                  </a:lnTo>
                  <a:lnTo>
                    <a:pt x="828" y="3590"/>
                  </a:lnTo>
                  <a:lnTo>
                    <a:pt x="832" y="3588"/>
                  </a:lnTo>
                  <a:lnTo>
                    <a:pt x="840" y="3586"/>
                  </a:lnTo>
                  <a:lnTo>
                    <a:pt x="866" y="3582"/>
                  </a:lnTo>
                  <a:lnTo>
                    <a:pt x="892" y="3582"/>
                  </a:lnTo>
                  <a:lnTo>
                    <a:pt x="900" y="3584"/>
                  </a:lnTo>
                  <a:lnTo>
                    <a:pt x="904" y="3586"/>
                  </a:lnTo>
                  <a:lnTo>
                    <a:pt x="904" y="3588"/>
                  </a:lnTo>
                  <a:lnTo>
                    <a:pt x="904" y="3598"/>
                  </a:lnTo>
                  <a:lnTo>
                    <a:pt x="904" y="3606"/>
                  </a:lnTo>
                  <a:lnTo>
                    <a:pt x="904" y="3608"/>
                  </a:lnTo>
                  <a:lnTo>
                    <a:pt x="906" y="3610"/>
                  </a:lnTo>
                  <a:lnTo>
                    <a:pt x="916" y="3612"/>
                  </a:lnTo>
                  <a:lnTo>
                    <a:pt x="920" y="3612"/>
                  </a:lnTo>
                  <a:lnTo>
                    <a:pt x="924" y="3614"/>
                  </a:lnTo>
                  <a:lnTo>
                    <a:pt x="926" y="3616"/>
                  </a:lnTo>
                  <a:lnTo>
                    <a:pt x="926" y="3620"/>
                  </a:lnTo>
                  <a:lnTo>
                    <a:pt x="926" y="3626"/>
                  </a:lnTo>
                  <a:lnTo>
                    <a:pt x="926" y="3630"/>
                  </a:lnTo>
                  <a:lnTo>
                    <a:pt x="928" y="3634"/>
                  </a:lnTo>
                  <a:lnTo>
                    <a:pt x="932" y="3638"/>
                  </a:lnTo>
                  <a:lnTo>
                    <a:pt x="932" y="3642"/>
                  </a:lnTo>
                  <a:lnTo>
                    <a:pt x="932" y="3646"/>
                  </a:lnTo>
                  <a:lnTo>
                    <a:pt x="934" y="3652"/>
                  </a:lnTo>
                  <a:lnTo>
                    <a:pt x="938" y="3654"/>
                  </a:lnTo>
                  <a:lnTo>
                    <a:pt x="936" y="3656"/>
                  </a:lnTo>
                  <a:lnTo>
                    <a:pt x="936" y="3658"/>
                  </a:lnTo>
                  <a:lnTo>
                    <a:pt x="940" y="3662"/>
                  </a:lnTo>
                  <a:lnTo>
                    <a:pt x="944" y="3664"/>
                  </a:lnTo>
                  <a:lnTo>
                    <a:pt x="946" y="3664"/>
                  </a:lnTo>
                  <a:lnTo>
                    <a:pt x="950" y="3664"/>
                  </a:lnTo>
                  <a:lnTo>
                    <a:pt x="952" y="3662"/>
                  </a:lnTo>
                  <a:lnTo>
                    <a:pt x="956" y="3664"/>
                  </a:lnTo>
                  <a:lnTo>
                    <a:pt x="958" y="3666"/>
                  </a:lnTo>
                  <a:lnTo>
                    <a:pt x="962" y="3670"/>
                  </a:lnTo>
                  <a:lnTo>
                    <a:pt x="966" y="3674"/>
                  </a:lnTo>
                  <a:lnTo>
                    <a:pt x="972" y="3676"/>
                  </a:lnTo>
                  <a:lnTo>
                    <a:pt x="976" y="3680"/>
                  </a:lnTo>
                  <a:lnTo>
                    <a:pt x="982" y="3690"/>
                  </a:lnTo>
                  <a:lnTo>
                    <a:pt x="986" y="3696"/>
                  </a:lnTo>
                  <a:lnTo>
                    <a:pt x="992" y="3702"/>
                  </a:lnTo>
                  <a:lnTo>
                    <a:pt x="1000" y="3708"/>
                  </a:lnTo>
                  <a:lnTo>
                    <a:pt x="1008" y="3712"/>
                  </a:lnTo>
                  <a:lnTo>
                    <a:pt x="1016" y="3716"/>
                  </a:lnTo>
                  <a:lnTo>
                    <a:pt x="1024" y="3716"/>
                  </a:lnTo>
                  <a:lnTo>
                    <a:pt x="1032" y="3716"/>
                  </a:lnTo>
                  <a:lnTo>
                    <a:pt x="1038" y="3712"/>
                  </a:lnTo>
                  <a:lnTo>
                    <a:pt x="1044" y="3708"/>
                  </a:lnTo>
                  <a:lnTo>
                    <a:pt x="1048" y="3708"/>
                  </a:lnTo>
                  <a:lnTo>
                    <a:pt x="1052" y="3710"/>
                  </a:lnTo>
                  <a:lnTo>
                    <a:pt x="1052" y="3714"/>
                  </a:lnTo>
                  <a:lnTo>
                    <a:pt x="1050" y="3720"/>
                  </a:lnTo>
                  <a:lnTo>
                    <a:pt x="1046" y="3726"/>
                  </a:lnTo>
                  <a:lnTo>
                    <a:pt x="1040" y="3730"/>
                  </a:lnTo>
                  <a:lnTo>
                    <a:pt x="1028" y="3734"/>
                  </a:lnTo>
                  <a:lnTo>
                    <a:pt x="1016" y="3736"/>
                  </a:lnTo>
                  <a:lnTo>
                    <a:pt x="1006" y="3734"/>
                  </a:lnTo>
                  <a:lnTo>
                    <a:pt x="992" y="3732"/>
                  </a:lnTo>
                  <a:lnTo>
                    <a:pt x="992" y="3734"/>
                  </a:lnTo>
                  <a:lnTo>
                    <a:pt x="994" y="3740"/>
                  </a:lnTo>
                  <a:lnTo>
                    <a:pt x="1018" y="3770"/>
                  </a:lnTo>
                  <a:lnTo>
                    <a:pt x="1048" y="3804"/>
                  </a:lnTo>
                  <a:lnTo>
                    <a:pt x="1060" y="3814"/>
                  </a:lnTo>
                  <a:lnTo>
                    <a:pt x="1070" y="3820"/>
                  </a:lnTo>
                  <a:lnTo>
                    <a:pt x="1078" y="3822"/>
                  </a:lnTo>
                  <a:lnTo>
                    <a:pt x="1090" y="3818"/>
                  </a:lnTo>
                  <a:lnTo>
                    <a:pt x="1102" y="3810"/>
                  </a:lnTo>
                  <a:lnTo>
                    <a:pt x="1116" y="3798"/>
                  </a:lnTo>
                  <a:lnTo>
                    <a:pt x="1124" y="3790"/>
                  </a:lnTo>
                  <a:lnTo>
                    <a:pt x="1128" y="3782"/>
                  </a:lnTo>
                  <a:lnTo>
                    <a:pt x="1128" y="3772"/>
                  </a:lnTo>
                  <a:lnTo>
                    <a:pt x="1128" y="3764"/>
                  </a:lnTo>
                  <a:lnTo>
                    <a:pt x="1128" y="3756"/>
                  </a:lnTo>
                  <a:lnTo>
                    <a:pt x="1128" y="3750"/>
                  </a:lnTo>
                  <a:lnTo>
                    <a:pt x="1132" y="3744"/>
                  </a:lnTo>
                  <a:lnTo>
                    <a:pt x="1138" y="3742"/>
                  </a:lnTo>
                  <a:lnTo>
                    <a:pt x="1144" y="3740"/>
                  </a:lnTo>
                  <a:lnTo>
                    <a:pt x="1148" y="3740"/>
                  </a:lnTo>
                  <a:lnTo>
                    <a:pt x="1148" y="3742"/>
                  </a:lnTo>
                  <a:lnTo>
                    <a:pt x="1146" y="3746"/>
                  </a:lnTo>
                  <a:lnTo>
                    <a:pt x="1142" y="3754"/>
                  </a:lnTo>
                  <a:lnTo>
                    <a:pt x="1142" y="3760"/>
                  </a:lnTo>
                  <a:lnTo>
                    <a:pt x="1144" y="3764"/>
                  </a:lnTo>
                  <a:lnTo>
                    <a:pt x="1146" y="3770"/>
                  </a:lnTo>
                  <a:lnTo>
                    <a:pt x="1146" y="3774"/>
                  </a:lnTo>
                  <a:lnTo>
                    <a:pt x="1144" y="3778"/>
                  </a:lnTo>
                  <a:lnTo>
                    <a:pt x="1144" y="3782"/>
                  </a:lnTo>
                  <a:lnTo>
                    <a:pt x="1144" y="3788"/>
                  </a:lnTo>
                  <a:lnTo>
                    <a:pt x="1146" y="3794"/>
                  </a:lnTo>
                  <a:lnTo>
                    <a:pt x="1150" y="3804"/>
                  </a:lnTo>
                  <a:lnTo>
                    <a:pt x="1154" y="3814"/>
                  </a:lnTo>
                  <a:lnTo>
                    <a:pt x="1154" y="3822"/>
                  </a:lnTo>
                  <a:lnTo>
                    <a:pt x="1150" y="3838"/>
                  </a:lnTo>
                  <a:lnTo>
                    <a:pt x="1148" y="3848"/>
                  </a:lnTo>
                  <a:lnTo>
                    <a:pt x="1148" y="3864"/>
                  </a:lnTo>
                  <a:lnTo>
                    <a:pt x="1148" y="3884"/>
                  </a:lnTo>
                  <a:lnTo>
                    <a:pt x="1152" y="3912"/>
                  </a:lnTo>
                  <a:lnTo>
                    <a:pt x="1170" y="4010"/>
                  </a:lnTo>
                  <a:lnTo>
                    <a:pt x="1176" y="4042"/>
                  </a:lnTo>
                  <a:lnTo>
                    <a:pt x="1184" y="4060"/>
                  </a:lnTo>
                  <a:lnTo>
                    <a:pt x="1194" y="4084"/>
                  </a:lnTo>
                  <a:lnTo>
                    <a:pt x="1210" y="4122"/>
                  </a:lnTo>
                  <a:lnTo>
                    <a:pt x="1224" y="4164"/>
                  </a:lnTo>
                  <a:lnTo>
                    <a:pt x="1230" y="4184"/>
                  </a:lnTo>
                  <a:lnTo>
                    <a:pt x="1232" y="4204"/>
                  </a:lnTo>
                  <a:lnTo>
                    <a:pt x="1236" y="4220"/>
                  </a:lnTo>
                  <a:lnTo>
                    <a:pt x="1240" y="4232"/>
                  </a:lnTo>
                  <a:lnTo>
                    <a:pt x="1254" y="4256"/>
                  </a:lnTo>
                  <a:lnTo>
                    <a:pt x="1262" y="4268"/>
                  </a:lnTo>
                  <a:lnTo>
                    <a:pt x="1268" y="4284"/>
                  </a:lnTo>
                  <a:lnTo>
                    <a:pt x="1276" y="4304"/>
                  </a:lnTo>
                  <a:lnTo>
                    <a:pt x="1282" y="4330"/>
                  </a:lnTo>
                  <a:lnTo>
                    <a:pt x="1290" y="4358"/>
                  </a:lnTo>
                  <a:lnTo>
                    <a:pt x="1296" y="4384"/>
                  </a:lnTo>
                  <a:lnTo>
                    <a:pt x="1306" y="4406"/>
                  </a:lnTo>
                  <a:lnTo>
                    <a:pt x="1314" y="4424"/>
                  </a:lnTo>
                  <a:lnTo>
                    <a:pt x="1324" y="4436"/>
                  </a:lnTo>
                  <a:lnTo>
                    <a:pt x="1328" y="4442"/>
                  </a:lnTo>
                  <a:lnTo>
                    <a:pt x="1334" y="4444"/>
                  </a:lnTo>
                  <a:lnTo>
                    <a:pt x="1338" y="4446"/>
                  </a:lnTo>
                  <a:lnTo>
                    <a:pt x="1344" y="4446"/>
                  </a:lnTo>
                  <a:lnTo>
                    <a:pt x="1348" y="4444"/>
                  </a:lnTo>
                  <a:lnTo>
                    <a:pt x="1354" y="4440"/>
                  </a:lnTo>
                  <a:lnTo>
                    <a:pt x="1362" y="4432"/>
                  </a:lnTo>
                  <a:lnTo>
                    <a:pt x="1366" y="4424"/>
                  </a:lnTo>
                  <a:lnTo>
                    <a:pt x="1368" y="4416"/>
                  </a:lnTo>
                  <a:lnTo>
                    <a:pt x="1368" y="4410"/>
                  </a:lnTo>
                  <a:lnTo>
                    <a:pt x="1368" y="4406"/>
                  </a:lnTo>
                  <a:lnTo>
                    <a:pt x="1372" y="4400"/>
                  </a:lnTo>
                  <a:lnTo>
                    <a:pt x="1376" y="4396"/>
                  </a:lnTo>
                  <a:lnTo>
                    <a:pt x="1384" y="4394"/>
                  </a:lnTo>
                  <a:lnTo>
                    <a:pt x="1402" y="4390"/>
                  </a:lnTo>
                  <a:lnTo>
                    <a:pt x="1412" y="4390"/>
                  </a:lnTo>
                  <a:lnTo>
                    <a:pt x="1418" y="4390"/>
                  </a:lnTo>
                  <a:lnTo>
                    <a:pt x="1420" y="4390"/>
                  </a:lnTo>
                  <a:lnTo>
                    <a:pt x="1420" y="4388"/>
                  </a:lnTo>
                  <a:lnTo>
                    <a:pt x="1420" y="4386"/>
                  </a:lnTo>
                  <a:lnTo>
                    <a:pt x="1416" y="4384"/>
                  </a:lnTo>
                  <a:lnTo>
                    <a:pt x="1408" y="4382"/>
                  </a:lnTo>
                  <a:lnTo>
                    <a:pt x="1404" y="4380"/>
                  </a:lnTo>
                  <a:lnTo>
                    <a:pt x="1400" y="4376"/>
                  </a:lnTo>
                  <a:lnTo>
                    <a:pt x="1402" y="4370"/>
                  </a:lnTo>
                  <a:lnTo>
                    <a:pt x="1406" y="4362"/>
                  </a:lnTo>
                  <a:lnTo>
                    <a:pt x="1410" y="4354"/>
                  </a:lnTo>
                  <a:lnTo>
                    <a:pt x="1412" y="4348"/>
                  </a:lnTo>
                  <a:lnTo>
                    <a:pt x="1412" y="4342"/>
                  </a:lnTo>
                  <a:lnTo>
                    <a:pt x="1414" y="4340"/>
                  </a:lnTo>
                  <a:lnTo>
                    <a:pt x="1428" y="4338"/>
                  </a:lnTo>
                  <a:lnTo>
                    <a:pt x="1434" y="4336"/>
                  </a:lnTo>
                  <a:lnTo>
                    <a:pt x="1436" y="4334"/>
                  </a:lnTo>
                  <a:lnTo>
                    <a:pt x="1438" y="4332"/>
                  </a:lnTo>
                  <a:lnTo>
                    <a:pt x="1438" y="4322"/>
                  </a:lnTo>
                  <a:lnTo>
                    <a:pt x="1436" y="4312"/>
                  </a:lnTo>
                  <a:lnTo>
                    <a:pt x="1434" y="4298"/>
                  </a:lnTo>
                  <a:lnTo>
                    <a:pt x="1432" y="4284"/>
                  </a:lnTo>
                  <a:lnTo>
                    <a:pt x="1434" y="4266"/>
                  </a:lnTo>
                  <a:lnTo>
                    <a:pt x="1440" y="4246"/>
                  </a:lnTo>
                  <a:lnTo>
                    <a:pt x="1448" y="4226"/>
                  </a:lnTo>
                  <a:lnTo>
                    <a:pt x="1454" y="4206"/>
                  </a:lnTo>
                  <a:lnTo>
                    <a:pt x="1456" y="4196"/>
                  </a:lnTo>
                  <a:lnTo>
                    <a:pt x="1454" y="4186"/>
                  </a:lnTo>
                  <a:lnTo>
                    <a:pt x="1452" y="4172"/>
                  </a:lnTo>
                  <a:lnTo>
                    <a:pt x="1448" y="4154"/>
                  </a:lnTo>
                  <a:lnTo>
                    <a:pt x="1448" y="4144"/>
                  </a:lnTo>
                  <a:lnTo>
                    <a:pt x="1450" y="4138"/>
                  </a:lnTo>
                  <a:lnTo>
                    <a:pt x="1450" y="4128"/>
                  </a:lnTo>
                  <a:lnTo>
                    <a:pt x="1446" y="4108"/>
                  </a:lnTo>
                  <a:lnTo>
                    <a:pt x="1444" y="4098"/>
                  </a:lnTo>
                  <a:lnTo>
                    <a:pt x="1442" y="4088"/>
                  </a:lnTo>
                  <a:lnTo>
                    <a:pt x="1444" y="4082"/>
                  </a:lnTo>
                  <a:lnTo>
                    <a:pt x="1444" y="4076"/>
                  </a:lnTo>
                  <a:lnTo>
                    <a:pt x="1448" y="4074"/>
                  </a:lnTo>
                  <a:lnTo>
                    <a:pt x="1452" y="4070"/>
                  </a:lnTo>
                  <a:lnTo>
                    <a:pt x="1460" y="4068"/>
                  </a:lnTo>
                  <a:lnTo>
                    <a:pt x="1470" y="4066"/>
                  </a:lnTo>
                  <a:lnTo>
                    <a:pt x="1480" y="4064"/>
                  </a:lnTo>
                  <a:lnTo>
                    <a:pt x="1488" y="4058"/>
                  </a:lnTo>
                  <a:lnTo>
                    <a:pt x="1490" y="4054"/>
                  </a:lnTo>
                  <a:lnTo>
                    <a:pt x="1492" y="4050"/>
                  </a:lnTo>
                  <a:lnTo>
                    <a:pt x="1494" y="4040"/>
                  </a:lnTo>
                  <a:lnTo>
                    <a:pt x="1496" y="4038"/>
                  </a:lnTo>
                  <a:lnTo>
                    <a:pt x="1498" y="4038"/>
                  </a:lnTo>
                  <a:lnTo>
                    <a:pt x="1502" y="4040"/>
                  </a:lnTo>
                  <a:lnTo>
                    <a:pt x="1506" y="4042"/>
                  </a:lnTo>
                  <a:lnTo>
                    <a:pt x="1512" y="4042"/>
                  </a:lnTo>
                  <a:lnTo>
                    <a:pt x="1520" y="4040"/>
                  </a:lnTo>
                  <a:lnTo>
                    <a:pt x="1530" y="4032"/>
                  </a:lnTo>
                  <a:lnTo>
                    <a:pt x="1536" y="4024"/>
                  </a:lnTo>
                  <a:lnTo>
                    <a:pt x="1538" y="4020"/>
                  </a:lnTo>
                  <a:lnTo>
                    <a:pt x="1538" y="4016"/>
                  </a:lnTo>
                  <a:lnTo>
                    <a:pt x="1538" y="4014"/>
                  </a:lnTo>
                  <a:lnTo>
                    <a:pt x="1538" y="4010"/>
                  </a:lnTo>
                  <a:lnTo>
                    <a:pt x="1542" y="4004"/>
                  </a:lnTo>
                  <a:lnTo>
                    <a:pt x="1550" y="3996"/>
                  </a:lnTo>
                  <a:lnTo>
                    <a:pt x="1566" y="3982"/>
                  </a:lnTo>
                  <a:lnTo>
                    <a:pt x="1584" y="3966"/>
                  </a:lnTo>
                  <a:lnTo>
                    <a:pt x="1600" y="3950"/>
                  </a:lnTo>
                  <a:lnTo>
                    <a:pt x="1624" y="3918"/>
                  </a:lnTo>
                  <a:lnTo>
                    <a:pt x="1644" y="3892"/>
                  </a:lnTo>
                  <a:lnTo>
                    <a:pt x="1654" y="3880"/>
                  </a:lnTo>
                  <a:lnTo>
                    <a:pt x="1666" y="3870"/>
                  </a:lnTo>
                  <a:lnTo>
                    <a:pt x="1674" y="3866"/>
                  </a:lnTo>
                  <a:lnTo>
                    <a:pt x="1680" y="3864"/>
                  </a:lnTo>
                  <a:lnTo>
                    <a:pt x="1688" y="3864"/>
                  </a:lnTo>
                  <a:lnTo>
                    <a:pt x="1692" y="3864"/>
                  </a:lnTo>
                  <a:lnTo>
                    <a:pt x="1696" y="3860"/>
                  </a:lnTo>
                  <a:lnTo>
                    <a:pt x="1704" y="3852"/>
                  </a:lnTo>
                  <a:lnTo>
                    <a:pt x="1714" y="3840"/>
                  </a:lnTo>
                  <a:lnTo>
                    <a:pt x="1722" y="3828"/>
                  </a:lnTo>
                  <a:lnTo>
                    <a:pt x="1724" y="3816"/>
                  </a:lnTo>
                  <a:lnTo>
                    <a:pt x="1724" y="3808"/>
                  </a:lnTo>
                  <a:lnTo>
                    <a:pt x="1722" y="3802"/>
                  </a:lnTo>
                  <a:lnTo>
                    <a:pt x="1720" y="3796"/>
                  </a:lnTo>
                  <a:lnTo>
                    <a:pt x="1720" y="3790"/>
                  </a:lnTo>
                  <a:lnTo>
                    <a:pt x="1724" y="3784"/>
                  </a:lnTo>
                  <a:lnTo>
                    <a:pt x="1736" y="3778"/>
                  </a:lnTo>
                  <a:lnTo>
                    <a:pt x="1748" y="3772"/>
                  </a:lnTo>
                  <a:lnTo>
                    <a:pt x="1756" y="3766"/>
                  </a:lnTo>
                  <a:lnTo>
                    <a:pt x="1768" y="3758"/>
                  </a:lnTo>
                  <a:lnTo>
                    <a:pt x="1770" y="3756"/>
                  </a:lnTo>
                  <a:lnTo>
                    <a:pt x="1772" y="3756"/>
                  </a:lnTo>
                  <a:lnTo>
                    <a:pt x="1774" y="3766"/>
                  </a:lnTo>
                  <a:lnTo>
                    <a:pt x="1774" y="3772"/>
                  </a:lnTo>
                  <a:lnTo>
                    <a:pt x="1778" y="3776"/>
                  </a:lnTo>
                  <a:lnTo>
                    <a:pt x="1780" y="3778"/>
                  </a:lnTo>
                  <a:lnTo>
                    <a:pt x="1784" y="3778"/>
                  </a:lnTo>
                  <a:lnTo>
                    <a:pt x="1790" y="3774"/>
                  </a:lnTo>
                  <a:lnTo>
                    <a:pt x="1794" y="3774"/>
                  </a:lnTo>
                  <a:lnTo>
                    <a:pt x="1798" y="3774"/>
                  </a:lnTo>
                  <a:lnTo>
                    <a:pt x="1804" y="3776"/>
                  </a:lnTo>
                  <a:lnTo>
                    <a:pt x="1808" y="3776"/>
                  </a:lnTo>
                  <a:lnTo>
                    <a:pt x="1810" y="3774"/>
                  </a:lnTo>
                  <a:lnTo>
                    <a:pt x="1808" y="3768"/>
                  </a:lnTo>
                  <a:lnTo>
                    <a:pt x="1806" y="3760"/>
                  </a:lnTo>
                  <a:lnTo>
                    <a:pt x="1806" y="3758"/>
                  </a:lnTo>
                  <a:lnTo>
                    <a:pt x="1810" y="3756"/>
                  </a:lnTo>
                  <a:lnTo>
                    <a:pt x="1812" y="3762"/>
                  </a:lnTo>
                  <a:lnTo>
                    <a:pt x="1816" y="3766"/>
                  </a:lnTo>
                  <a:lnTo>
                    <a:pt x="1818" y="3766"/>
                  </a:lnTo>
                  <a:lnTo>
                    <a:pt x="1820" y="3766"/>
                  </a:lnTo>
                  <a:lnTo>
                    <a:pt x="1824" y="3766"/>
                  </a:lnTo>
                  <a:lnTo>
                    <a:pt x="1826" y="3766"/>
                  </a:lnTo>
                  <a:lnTo>
                    <a:pt x="1828" y="3768"/>
                  </a:lnTo>
                  <a:lnTo>
                    <a:pt x="1830" y="3770"/>
                  </a:lnTo>
                  <a:lnTo>
                    <a:pt x="1832" y="3770"/>
                  </a:lnTo>
                  <a:lnTo>
                    <a:pt x="1836" y="3764"/>
                  </a:lnTo>
                  <a:lnTo>
                    <a:pt x="1842" y="3760"/>
                  </a:lnTo>
                  <a:lnTo>
                    <a:pt x="1844" y="3760"/>
                  </a:lnTo>
                  <a:lnTo>
                    <a:pt x="1848" y="3762"/>
                  </a:lnTo>
                  <a:lnTo>
                    <a:pt x="1852" y="3766"/>
                  </a:lnTo>
                  <a:lnTo>
                    <a:pt x="1856" y="3764"/>
                  </a:lnTo>
                  <a:lnTo>
                    <a:pt x="1860" y="3762"/>
                  </a:lnTo>
                  <a:lnTo>
                    <a:pt x="1864" y="3756"/>
                  </a:lnTo>
                  <a:lnTo>
                    <a:pt x="1866" y="3748"/>
                  </a:lnTo>
                  <a:lnTo>
                    <a:pt x="1868" y="3740"/>
                  </a:lnTo>
                  <a:lnTo>
                    <a:pt x="1868" y="3734"/>
                  </a:lnTo>
                  <a:lnTo>
                    <a:pt x="1866" y="3726"/>
                  </a:lnTo>
                  <a:lnTo>
                    <a:pt x="1864" y="3716"/>
                  </a:lnTo>
                  <a:lnTo>
                    <a:pt x="1866" y="3706"/>
                  </a:lnTo>
                  <a:lnTo>
                    <a:pt x="1866" y="3698"/>
                  </a:lnTo>
                  <a:lnTo>
                    <a:pt x="1866" y="3690"/>
                  </a:lnTo>
                  <a:lnTo>
                    <a:pt x="1864" y="3686"/>
                  </a:lnTo>
                  <a:lnTo>
                    <a:pt x="1866" y="3684"/>
                  </a:lnTo>
                  <a:lnTo>
                    <a:pt x="1868" y="3680"/>
                  </a:lnTo>
                  <a:lnTo>
                    <a:pt x="1870" y="3676"/>
                  </a:lnTo>
                  <a:lnTo>
                    <a:pt x="1872" y="3678"/>
                  </a:lnTo>
                  <a:lnTo>
                    <a:pt x="1872" y="3684"/>
                  </a:lnTo>
                  <a:lnTo>
                    <a:pt x="1876" y="3710"/>
                  </a:lnTo>
                  <a:lnTo>
                    <a:pt x="1880" y="3720"/>
                  </a:lnTo>
                  <a:lnTo>
                    <a:pt x="1882" y="3724"/>
                  </a:lnTo>
                  <a:lnTo>
                    <a:pt x="1884" y="3726"/>
                  </a:lnTo>
                  <a:lnTo>
                    <a:pt x="1888" y="3726"/>
                  </a:lnTo>
                  <a:lnTo>
                    <a:pt x="1890" y="3726"/>
                  </a:lnTo>
                  <a:lnTo>
                    <a:pt x="1898" y="3722"/>
                  </a:lnTo>
                  <a:lnTo>
                    <a:pt x="1900" y="3720"/>
                  </a:lnTo>
                  <a:lnTo>
                    <a:pt x="1904" y="3720"/>
                  </a:lnTo>
                  <a:lnTo>
                    <a:pt x="1906" y="3722"/>
                  </a:lnTo>
                  <a:lnTo>
                    <a:pt x="1910" y="3726"/>
                  </a:lnTo>
                  <a:lnTo>
                    <a:pt x="1916" y="3738"/>
                  </a:lnTo>
                  <a:lnTo>
                    <a:pt x="1922" y="3760"/>
                  </a:lnTo>
                  <a:lnTo>
                    <a:pt x="1926" y="3768"/>
                  </a:lnTo>
                  <a:lnTo>
                    <a:pt x="1928" y="3772"/>
                  </a:lnTo>
                  <a:lnTo>
                    <a:pt x="1928" y="3774"/>
                  </a:lnTo>
                  <a:lnTo>
                    <a:pt x="1928" y="3780"/>
                  </a:lnTo>
                  <a:lnTo>
                    <a:pt x="1926" y="3786"/>
                  </a:lnTo>
                  <a:lnTo>
                    <a:pt x="1926" y="3792"/>
                  </a:lnTo>
                  <a:lnTo>
                    <a:pt x="1930" y="3804"/>
                  </a:lnTo>
                  <a:lnTo>
                    <a:pt x="1934" y="3814"/>
                  </a:lnTo>
                  <a:lnTo>
                    <a:pt x="1936" y="3810"/>
                  </a:lnTo>
                  <a:lnTo>
                    <a:pt x="1936" y="3800"/>
                  </a:lnTo>
                  <a:lnTo>
                    <a:pt x="1938" y="3806"/>
                  </a:lnTo>
                  <a:lnTo>
                    <a:pt x="1942" y="3816"/>
                  </a:lnTo>
                  <a:lnTo>
                    <a:pt x="1946" y="3828"/>
                  </a:lnTo>
                  <a:lnTo>
                    <a:pt x="1952" y="3838"/>
                  </a:lnTo>
                  <a:lnTo>
                    <a:pt x="1968" y="3862"/>
                  </a:lnTo>
                  <a:lnTo>
                    <a:pt x="1972" y="3864"/>
                  </a:lnTo>
                  <a:lnTo>
                    <a:pt x="1974" y="3860"/>
                  </a:lnTo>
                  <a:lnTo>
                    <a:pt x="1976" y="3856"/>
                  </a:lnTo>
                  <a:lnTo>
                    <a:pt x="1978" y="3854"/>
                  </a:lnTo>
                  <a:lnTo>
                    <a:pt x="1980" y="3854"/>
                  </a:lnTo>
                  <a:lnTo>
                    <a:pt x="1982" y="3854"/>
                  </a:lnTo>
                  <a:lnTo>
                    <a:pt x="1990" y="3862"/>
                  </a:lnTo>
                  <a:lnTo>
                    <a:pt x="1994" y="3870"/>
                  </a:lnTo>
                  <a:lnTo>
                    <a:pt x="1998" y="3876"/>
                  </a:lnTo>
                  <a:lnTo>
                    <a:pt x="2004" y="3882"/>
                  </a:lnTo>
                  <a:lnTo>
                    <a:pt x="2008" y="3886"/>
                  </a:lnTo>
                  <a:lnTo>
                    <a:pt x="2008" y="3888"/>
                  </a:lnTo>
                  <a:lnTo>
                    <a:pt x="2006" y="3890"/>
                  </a:lnTo>
                  <a:lnTo>
                    <a:pt x="2002" y="3892"/>
                  </a:lnTo>
                  <a:lnTo>
                    <a:pt x="2000" y="3892"/>
                  </a:lnTo>
                  <a:lnTo>
                    <a:pt x="1996" y="3890"/>
                  </a:lnTo>
                  <a:lnTo>
                    <a:pt x="1992" y="3886"/>
                  </a:lnTo>
                  <a:lnTo>
                    <a:pt x="1990" y="3886"/>
                  </a:lnTo>
                  <a:lnTo>
                    <a:pt x="1988" y="3888"/>
                  </a:lnTo>
                  <a:lnTo>
                    <a:pt x="1986" y="3890"/>
                  </a:lnTo>
                  <a:lnTo>
                    <a:pt x="1986" y="3894"/>
                  </a:lnTo>
                  <a:lnTo>
                    <a:pt x="1992" y="3904"/>
                  </a:lnTo>
                  <a:lnTo>
                    <a:pt x="1998" y="3910"/>
                  </a:lnTo>
                  <a:lnTo>
                    <a:pt x="2000" y="3912"/>
                  </a:lnTo>
                  <a:lnTo>
                    <a:pt x="2000" y="3910"/>
                  </a:lnTo>
                  <a:lnTo>
                    <a:pt x="2002" y="3904"/>
                  </a:lnTo>
                  <a:lnTo>
                    <a:pt x="2004" y="3900"/>
                  </a:lnTo>
                  <a:lnTo>
                    <a:pt x="2006" y="3900"/>
                  </a:lnTo>
                  <a:lnTo>
                    <a:pt x="2010" y="3912"/>
                  </a:lnTo>
                  <a:lnTo>
                    <a:pt x="2016" y="3930"/>
                  </a:lnTo>
                  <a:lnTo>
                    <a:pt x="2024" y="3950"/>
                  </a:lnTo>
                  <a:lnTo>
                    <a:pt x="2028" y="3960"/>
                  </a:lnTo>
                  <a:lnTo>
                    <a:pt x="2032" y="3972"/>
                  </a:lnTo>
                  <a:lnTo>
                    <a:pt x="2032" y="3982"/>
                  </a:lnTo>
                  <a:lnTo>
                    <a:pt x="2030" y="3992"/>
                  </a:lnTo>
                  <a:lnTo>
                    <a:pt x="2016" y="4034"/>
                  </a:lnTo>
                  <a:lnTo>
                    <a:pt x="2014" y="4050"/>
                  </a:lnTo>
                  <a:lnTo>
                    <a:pt x="2014" y="4056"/>
                  </a:lnTo>
                  <a:lnTo>
                    <a:pt x="2016" y="4058"/>
                  </a:lnTo>
                  <a:lnTo>
                    <a:pt x="2020" y="4058"/>
                  </a:lnTo>
                  <a:lnTo>
                    <a:pt x="2022" y="4056"/>
                  </a:lnTo>
                  <a:lnTo>
                    <a:pt x="2026" y="4050"/>
                  </a:lnTo>
                  <a:lnTo>
                    <a:pt x="2028" y="4044"/>
                  </a:lnTo>
                  <a:lnTo>
                    <a:pt x="2030" y="4042"/>
                  </a:lnTo>
                  <a:lnTo>
                    <a:pt x="2034" y="4042"/>
                  </a:lnTo>
                  <a:lnTo>
                    <a:pt x="2036" y="4042"/>
                  </a:lnTo>
                  <a:lnTo>
                    <a:pt x="2036" y="4044"/>
                  </a:lnTo>
                  <a:lnTo>
                    <a:pt x="2032" y="4048"/>
                  </a:lnTo>
                  <a:lnTo>
                    <a:pt x="2032" y="4054"/>
                  </a:lnTo>
                  <a:lnTo>
                    <a:pt x="2032" y="4056"/>
                  </a:lnTo>
                  <a:lnTo>
                    <a:pt x="2036" y="4060"/>
                  </a:lnTo>
                  <a:lnTo>
                    <a:pt x="2040" y="4064"/>
                  </a:lnTo>
                  <a:lnTo>
                    <a:pt x="2042" y="4064"/>
                  </a:lnTo>
                  <a:lnTo>
                    <a:pt x="2046" y="4062"/>
                  </a:lnTo>
                  <a:lnTo>
                    <a:pt x="2048" y="4060"/>
                  </a:lnTo>
                  <a:lnTo>
                    <a:pt x="2050" y="4060"/>
                  </a:lnTo>
                  <a:lnTo>
                    <a:pt x="2052" y="4062"/>
                  </a:lnTo>
                  <a:lnTo>
                    <a:pt x="2056" y="4066"/>
                  </a:lnTo>
                  <a:lnTo>
                    <a:pt x="2062" y="4070"/>
                  </a:lnTo>
                  <a:lnTo>
                    <a:pt x="2066" y="4068"/>
                  </a:lnTo>
                  <a:lnTo>
                    <a:pt x="2068" y="4066"/>
                  </a:lnTo>
                  <a:lnTo>
                    <a:pt x="2072" y="4060"/>
                  </a:lnTo>
                  <a:lnTo>
                    <a:pt x="2080" y="4048"/>
                  </a:lnTo>
                  <a:lnTo>
                    <a:pt x="2086" y="4042"/>
                  </a:lnTo>
                  <a:lnTo>
                    <a:pt x="2092" y="4038"/>
                  </a:lnTo>
                  <a:lnTo>
                    <a:pt x="2106" y="4032"/>
                  </a:lnTo>
                  <a:lnTo>
                    <a:pt x="2112" y="4028"/>
                  </a:lnTo>
                  <a:lnTo>
                    <a:pt x="2118" y="4024"/>
                  </a:lnTo>
                  <a:lnTo>
                    <a:pt x="2122" y="4016"/>
                  </a:lnTo>
                  <a:lnTo>
                    <a:pt x="2124" y="4008"/>
                  </a:lnTo>
                  <a:lnTo>
                    <a:pt x="2126" y="3998"/>
                  </a:lnTo>
                  <a:lnTo>
                    <a:pt x="2122" y="3986"/>
                  </a:lnTo>
                  <a:lnTo>
                    <a:pt x="2128" y="3990"/>
                  </a:lnTo>
                  <a:lnTo>
                    <a:pt x="2130" y="3992"/>
                  </a:lnTo>
                  <a:lnTo>
                    <a:pt x="2132" y="3998"/>
                  </a:lnTo>
                  <a:lnTo>
                    <a:pt x="2132" y="4002"/>
                  </a:lnTo>
                  <a:lnTo>
                    <a:pt x="2136" y="4004"/>
                  </a:lnTo>
                  <a:lnTo>
                    <a:pt x="2138" y="4008"/>
                  </a:lnTo>
                  <a:lnTo>
                    <a:pt x="2140" y="4020"/>
                  </a:lnTo>
                  <a:lnTo>
                    <a:pt x="2144" y="4028"/>
                  </a:lnTo>
                  <a:lnTo>
                    <a:pt x="2146" y="4030"/>
                  </a:lnTo>
                  <a:lnTo>
                    <a:pt x="2148" y="4032"/>
                  </a:lnTo>
                  <a:lnTo>
                    <a:pt x="2152" y="4030"/>
                  </a:lnTo>
                  <a:lnTo>
                    <a:pt x="2156" y="4028"/>
                  </a:lnTo>
                  <a:lnTo>
                    <a:pt x="2158" y="4028"/>
                  </a:lnTo>
                  <a:lnTo>
                    <a:pt x="2156" y="4032"/>
                  </a:lnTo>
                  <a:lnTo>
                    <a:pt x="2152" y="4040"/>
                  </a:lnTo>
                  <a:lnTo>
                    <a:pt x="2150" y="4046"/>
                  </a:lnTo>
                  <a:lnTo>
                    <a:pt x="2150" y="4052"/>
                  </a:lnTo>
                  <a:lnTo>
                    <a:pt x="2154" y="4060"/>
                  </a:lnTo>
                  <a:lnTo>
                    <a:pt x="2156" y="4070"/>
                  </a:lnTo>
                  <a:lnTo>
                    <a:pt x="2158" y="4092"/>
                  </a:lnTo>
                  <a:lnTo>
                    <a:pt x="2160" y="4114"/>
                  </a:lnTo>
                  <a:lnTo>
                    <a:pt x="2164" y="4128"/>
                  </a:lnTo>
                  <a:lnTo>
                    <a:pt x="2168" y="4140"/>
                  </a:lnTo>
                  <a:lnTo>
                    <a:pt x="2172" y="4154"/>
                  </a:lnTo>
                  <a:lnTo>
                    <a:pt x="2172" y="4172"/>
                  </a:lnTo>
                  <a:lnTo>
                    <a:pt x="2174" y="4172"/>
                  </a:lnTo>
                  <a:lnTo>
                    <a:pt x="2176" y="4166"/>
                  </a:lnTo>
                  <a:lnTo>
                    <a:pt x="2178" y="4168"/>
                  </a:lnTo>
                  <a:lnTo>
                    <a:pt x="2180" y="4172"/>
                  </a:lnTo>
                  <a:lnTo>
                    <a:pt x="2184" y="4186"/>
                  </a:lnTo>
                  <a:lnTo>
                    <a:pt x="2188" y="4198"/>
                  </a:lnTo>
                  <a:lnTo>
                    <a:pt x="2190" y="4208"/>
                  </a:lnTo>
                  <a:lnTo>
                    <a:pt x="2192" y="4216"/>
                  </a:lnTo>
                  <a:lnTo>
                    <a:pt x="2194" y="4224"/>
                  </a:lnTo>
                  <a:lnTo>
                    <a:pt x="2192" y="4232"/>
                  </a:lnTo>
                  <a:lnTo>
                    <a:pt x="2192" y="4240"/>
                  </a:lnTo>
                  <a:lnTo>
                    <a:pt x="2192" y="4242"/>
                  </a:lnTo>
                  <a:lnTo>
                    <a:pt x="2194" y="4246"/>
                  </a:lnTo>
                  <a:lnTo>
                    <a:pt x="2194" y="4248"/>
                  </a:lnTo>
                  <a:lnTo>
                    <a:pt x="2194" y="4250"/>
                  </a:lnTo>
                  <a:lnTo>
                    <a:pt x="2192" y="4258"/>
                  </a:lnTo>
                  <a:lnTo>
                    <a:pt x="2190" y="4266"/>
                  </a:lnTo>
                  <a:lnTo>
                    <a:pt x="2192" y="4268"/>
                  </a:lnTo>
                  <a:lnTo>
                    <a:pt x="2196" y="4268"/>
                  </a:lnTo>
                  <a:lnTo>
                    <a:pt x="2198" y="4268"/>
                  </a:lnTo>
                  <a:lnTo>
                    <a:pt x="2200" y="4270"/>
                  </a:lnTo>
                  <a:lnTo>
                    <a:pt x="2200" y="4276"/>
                  </a:lnTo>
                  <a:lnTo>
                    <a:pt x="2196" y="4286"/>
                  </a:lnTo>
                  <a:lnTo>
                    <a:pt x="2196" y="4298"/>
                  </a:lnTo>
                  <a:lnTo>
                    <a:pt x="2194" y="4306"/>
                  </a:lnTo>
                  <a:lnTo>
                    <a:pt x="2192" y="4310"/>
                  </a:lnTo>
                  <a:lnTo>
                    <a:pt x="2190" y="4320"/>
                  </a:lnTo>
                  <a:lnTo>
                    <a:pt x="2188" y="4344"/>
                  </a:lnTo>
                  <a:lnTo>
                    <a:pt x="2188" y="4352"/>
                  </a:lnTo>
                  <a:lnTo>
                    <a:pt x="2190" y="4352"/>
                  </a:lnTo>
                  <a:lnTo>
                    <a:pt x="2198" y="4336"/>
                  </a:lnTo>
                  <a:lnTo>
                    <a:pt x="2198" y="4340"/>
                  </a:lnTo>
                  <a:lnTo>
                    <a:pt x="2198" y="4346"/>
                  </a:lnTo>
                  <a:lnTo>
                    <a:pt x="2190" y="4360"/>
                  </a:lnTo>
                  <a:lnTo>
                    <a:pt x="2186" y="4368"/>
                  </a:lnTo>
                  <a:lnTo>
                    <a:pt x="2188" y="4372"/>
                  </a:lnTo>
                  <a:lnTo>
                    <a:pt x="2188" y="4374"/>
                  </a:lnTo>
                  <a:lnTo>
                    <a:pt x="2186" y="4380"/>
                  </a:lnTo>
                  <a:lnTo>
                    <a:pt x="2182" y="4390"/>
                  </a:lnTo>
                  <a:lnTo>
                    <a:pt x="2182" y="4396"/>
                  </a:lnTo>
                  <a:lnTo>
                    <a:pt x="2182" y="4400"/>
                  </a:lnTo>
                  <a:lnTo>
                    <a:pt x="2180" y="4406"/>
                  </a:lnTo>
                  <a:lnTo>
                    <a:pt x="2178" y="4416"/>
                  </a:lnTo>
                  <a:lnTo>
                    <a:pt x="2176" y="4426"/>
                  </a:lnTo>
                  <a:lnTo>
                    <a:pt x="2178" y="4434"/>
                  </a:lnTo>
                  <a:lnTo>
                    <a:pt x="2180" y="4440"/>
                  </a:lnTo>
                  <a:lnTo>
                    <a:pt x="2182" y="4442"/>
                  </a:lnTo>
                  <a:lnTo>
                    <a:pt x="2184" y="4442"/>
                  </a:lnTo>
                  <a:lnTo>
                    <a:pt x="2186" y="4438"/>
                  </a:lnTo>
                  <a:lnTo>
                    <a:pt x="2190" y="4432"/>
                  </a:lnTo>
                  <a:lnTo>
                    <a:pt x="2190" y="4430"/>
                  </a:lnTo>
                  <a:lnTo>
                    <a:pt x="2192" y="4430"/>
                  </a:lnTo>
                  <a:lnTo>
                    <a:pt x="2198" y="4438"/>
                  </a:lnTo>
                  <a:lnTo>
                    <a:pt x="2204" y="4450"/>
                  </a:lnTo>
                  <a:lnTo>
                    <a:pt x="2210" y="4464"/>
                  </a:lnTo>
                  <a:lnTo>
                    <a:pt x="2220" y="4480"/>
                  </a:lnTo>
                  <a:lnTo>
                    <a:pt x="2224" y="4484"/>
                  </a:lnTo>
                  <a:lnTo>
                    <a:pt x="2228" y="4484"/>
                  </a:lnTo>
                  <a:lnTo>
                    <a:pt x="2232" y="4486"/>
                  </a:lnTo>
                  <a:lnTo>
                    <a:pt x="2234" y="4488"/>
                  </a:lnTo>
                  <a:lnTo>
                    <a:pt x="2234" y="4494"/>
                  </a:lnTo>
                  <a:lnTo>
                    <a:pt x="2234" y="4498"/>
                  </a:lnTo>
                  <a:lnTo>
                    <a:pt x="2236" y="4502"/>
                  </a:lnTo>
                  <a:lnTo>
                    <a:pt x="2238" y="4508"/>
                  </a:lnTo>
                  <a:lnTo>
                    <a:pt x="2248" y="4516"/>
                  </a:lnTo>
                  <a:lnTo>
                    <a:pt x="2254" y="4526"/>
                  </a:lnTo>
                  <a:lnTo>
                    <a:pt x="2258" y="4536"/>
                  </a:lnTo>
                  <a:lnTo>
                    <a:pt x="2262" y="4544"/>
                  </a:lnTo>
                  <a:lnTo>
                    <a:pt x="2266" y="4562"/>
                  </a:lnTo>
                  <a:lnTo>
                    <a:pt x="2266" y="4578"/>
                  </a:lnTo>
                  <a:lnTo>
                    <a:pt x="2266" y="4588"/>
                  </a:lnTo>
                  <a:lnTo>
                    <a:pt x="2264" y="4592"/>
                  </a:lnTo>
                  <a:lnTo>
                    <a:pt x="2264" y="4596"/>
                  </a:lnTo>
                  <a:lnTo>
                    <a:pt x="2268" y="4600"/>
                  </a:lnTo>
                  <a:lnTo>
                    <a:pt x="2270" y="4602"/>
                  </a:lnTo>
                  <a:lnTo>
                    <a:pt x="2272" y="4606"/>
                  </a:lnTo>
                  <a:lnTo>
                    <a:pt x="2274" y="4612"/>
                  </a:lnTo>
                  <a:lnTo>
                    <a:pt x="2272" y="4622"/>
                  </a:lnTo>
                  <a:lnTo>
                    <a:pt x="2272" y="4634"/>
                  </a:lnTo>
                  <a:lnTo>
                    <a:pt x="2276" y="4638"/>
                  </a:lnTo>
                  <a:lnTo>
                    <a:pt x="2278" y="4640"/>
                  </a:lnTo>
                  <a:lnTo>
                    <a:pt x="2278" y="4644"/>
                  </a:lnTo>
                  <a:lnTo>
                    <a:pt x="2278" y="4648"/>
                  </a:lnTo>
                  <a:lnTo>
                    <a:pt x="2282" y="4654"/>
                  </a:lnTo>
                  <a:lnTo>
                    <a:pt x="2292" y="4666"/>
                  </a:lnTo>
                  <a:lnTo>
                    <a:pt x="2296" y="4672"/>
                  </a:lnTo>
                  <a:lnTo>
                    <a:pt x="2300" y="4680"/>
                  </a:lnTo>
                  <a:lnTo>
                    <a:pt x="2302" y="4688"/>
                  </a:lnTo>
                  <a:lnTo>
                    <a:pt x="2302" y="4696"/>
                  </a:lnTo>
                  <a:lnTo>
                    <a:pt x="2302" y="4700"/>
                  </a:lnTo>
                  <a:lnTo>
                    <a:pt x="2302" y="4702"/>
                  </a:lnTo>
                  <a:lnTo>
                    <a:pt x="2308" y="4708"/>
                  </a:lnTo>
                  <a:lnTo>
                    <a:pt x="2320" y="4716"/>
                  </a:lnTo>
                  <a:lnTo>
                    <a:pt x="2330" y="4724"/>
                  </a:lnTo>
                  <a:lnTo>
                    <a:pt x="2344" y="4736"/>
                  </a:lnTo>
                  <a:lnTo>
                    <a:pt x="2354" y="4746"/>
                  </a:lnTo>
                  <a:lnTo>
                    <a:pt x="2364" y="4754"/>
                  </a:lnTo>
                  <a:lnTo>
                    <a:pt x="2376" y="4760"/>
                  </a:lnTo>
                  <a:lnTo>
                    <a:pt x="2382" y="4764"/>
                  </a:lnTo>
                  <a:lnTo>
                    <a:pt x="2384" y="4766"/>
                  </a:lnTo>
                  <a:lnTo>
                    <a:pt x="2386" y="4770"/>
                  </a:lnTo>
                  <a:lnTo>
                    <a:pt x="2390" y="4776"/>
                  </a:lnTo>
                  <a:lnTo>
                    <a:pt x="2392" y="4774"/>
                  </a:lnTo>
                  <a:lnTo>
                    <a:pt x="2396" y="4770"/>
                  </a:lnTo>
                  <a:lnTo>
                    <a:pt x="2400" y="4770"/>
                  </a:lnTo>
                  <a:lnTo>
                    <a:pt x="2404" y="4770"/>
                  </a:lnTo>
                  <a:lnTo>
                    <a:pt x="2408" y="4770"/>
                  </a:lnTo>
                  <a:lnTo>
                    <a:pt x="2410" y="4768"/>
                  </a:lnTo>
                  <a:lnTo>
                    <a:pt x="2410" y="4764"/>
                  </a:lnTo>
                  <a:lnTo>
                    <a:pt x="2414" y="4764"/>
                  </a:lnTo>
                  <a:lnTo>
                    <a:pt x="2416" y="4766"/>
                  </a:lnTo>
                  <a:lnTo>
                    <a:pt x="2414" y="4770"/>
                  </a:lnTo>
                  <a:lnTo>
                    <a:pt x="2414" y="4772"/>
                  </a:lnTo>
                  <a:lnTo>
                    <a:pt x="2418" y="4774"/>
                  </a:lnTo>
                  <a:lnTo>
                    <a:pt x="2420" y="4774"/>
                  </a:lnTo>
                  <a:lnTo>
                    <a:pt x="2422" y="4772"/>
                  </a:lnTo>
                  <a:lnTo>
                    <a:pt x="2422" y="4766"/>
                  </a:lnTo>
                  <a:lnTo>
                    <a:pt x="2420" y="4756"/>
                  </a:lnTo>
                  <a:lnTo>
                    <a:pt x="2416" y="4750"/>
                  </a:lnTo>
                  <a:lnTo>
                    <a:pt x="2414" y="4744"/>
                  </a:lnTo>
                  <a:lnTo>
                    <a:pt x="2412" y="4740"/>
                  </a:lnTo>
                  <a:lnTo>
                    <a:pt x="2410" y="4730"/>
                  </a:lnTo>
                  <a:lnTo>
                    <a:pt x="2406" y="4718"/>
                  </a:lnTo>
                  <a:lnTo>
                    <a:pt x="2402" y="4714"/>
                  </a:lnTo>
                  <a:lnTo>
                    <a:pt x="2398" y="4708"/>
                  </a:lnTo>
                  <a:lnTo>
                    <a:pt x="2392" y="4704"/>
                  </a:lnTo>
                  <a:lnTo>
                    <a:pt x="2388" y="4698"/>
                  </a:lnTo>
                  <a:lnTo>
                    <a:pt x="2388" y="4690"/>
                  </a:lnTo>
                  <a:lnTo>
                    <a:pt x="2388" y="4684"/>
                  </a:lnTo>
                  <a:lnTo>
                    <a:pt x="2390" y="4672"/>
                  </a:lnTo>
                  <a:lnTo>
                    <a:pt x="2390" y="4668"/>
                  </a:lnTo>
                  <a:lnTo>
                    <a:pt x="2386" y="4664"/>
                  </a:lnTo>
                  <a:lnTo>
                    <a:pt x="2384" y="4658"/>
                  </a:lnTo>
                  <a:lnTo>
                    <a:pt x="2386" y="4654"/>
                  </a:lnTo>
                  <a:lnTo>
                    <a:pt x="2386" y="4648"/>
                  </a:lnTo>
                  <a:lnTo>
                    <a:pt x="2388" y="4642"/>
                  </a:lnTo>
                  <a:lnTo>
                    <a:pt x="2388" y="4636"/>
                  </a:lnTo>
                  <a:lnTo>
                    <a:pt x="2388" y="4628"/>
                  </a:lnTo>
                  <a:lnTo>
                    <a:pt x="2390" y="4616"/>
                  </a:lnTo>
                  <a:lnTo>
                    <a:pt x="2386" y="4600"/>
                  </a:lnTo>
                  <a:lnTo>
                    <a:pt x="2384" y="4592"/>
                  </a:lnTo>
                  <a:lnTo>
                    <a:pt x="2378" y="4584"/>
                  </a:lnTo>
                  <a:lnTo>
                    <a:pt x="2366" y="4570"/>
                  </a:lnTo>
                  <a:lnTo>
                    <a:pt x="2354" y="4558"/>
                  </a:lnTo>
                  <a:lnTo>
                    <a:pt x="2350" y="4552"/>
                  </a:lnTo>
                  <a:lnTo>
                    <a:pt x="2348" y="4546"/>
                  </a:lnTo>
                  <a:lnTo>
                    <a:pt x="2344" y="4540"/>
                  </a:lnTo>
                  <a:lnTo>
                    <a:pt x="2342" y="4538"/>
                  </a:lnTo>
                  <a:lnTo>
                    <a:pt x="2334" y="4536"/>
                  </a:lnTo>
                  <a:lnTo>
                    <a:pt x="2324" y="4526"/>
                  </a:lnTo>
                  <a:lnTo>
                    <a:pt x="2310" y="4508"/>
                  </a:lnTo>
                  <a:lnTo>
                    <a:pt x="2306" y="4502"/>
                  </a:lnTo>
                  <a:lnTo>
                    <a:pt x="2304" y="4502"/>
                  </a:lnTo>
                  <a:lnTo>
                    <a:pt x="2300" y="4504"/>
                  </a:lnTo>
                  <a:lnTo>
                    <a:pt x="2296" y="4504"/>
                  </a:lnTo>
                  <a:lnTo>
                    <a:pt x="2292" y="4504"/>
                  </a:lnTo>
                  <a:lnTo>
                    <a:pt x="2286" y="4500"/>
                  </a:lnTo>
                  <a:lnTo>
                    <a:pt x="2276" y="4494"/>
                  </a:lnTo>
                  <a:lnTo>
                    <a:pt x="2272" y="4486"/>
                  </a:lnTo>
                  <a:lnTo>
                    <a:pt x="2270" y="4476"/>
                  </a:lnTo>
                  <a:lnTo>
                    <a:pt x="2264" y="4454"/>
                  </a:lnTo>
                  <a:lnTo>
                    <a:pt x="2262" y="4434"/>
                  </a:lnTo>
                  <a:lnTo>
                    <a:pt x="2260" y="4428"/>
                  </a:lnTo>
                  <a:lnTo>
                    <a:pt x="2258" y="4426"/>
                  </a:lnTo>
                  <a:lnTo>
                    <a:pt x="2254" y="4426"/>
                  </a:lnTo>
                  <a:lnTo>
                    <a:pt x="2252" y="4424"/>
                  </a:lnTo>
                  <a:lnTo>
                    <a:pt x="2248" y="4416"/>
                  </a:lnTo>
                  <a:lnTo>
                    <a:pt x="2244" y="4402"/>
                  </a:lnTo>
                  <a:lnTo>
                    <a:pt x="2244" y="4388"/>
                  </a:lnTo>
                  <a:lnTo>
                    <a:pt x="2242" y="4386"/>
                  </a:lnTo>
                  <a:lnTo>
                    <a:pt x="2240" y="4384"/>
                  </a:lnTo>
                  <a:lnTo>
                    <a:pt x="2230" y="4388"/>
                  </a:lnTo>
                  <a:lnTo>
                    <a:pt x="2226" y="4390"/>
                  </a:lnTo>
                  <a:lnTo>
                    <a:pt x="2222" y="4390"/>
                  </a:lnTo>
                  <a:lnTo>
                    <a:pt x="2220" y="4388"/>
                  </a:lnTo>
                  <a:lnTo>
                    <a:pt x="2220" y="4382"/>
                  </a:lnTo>
                  <a:lnTo>
                    <a:pt x="2218" y="4352"/>
                  </a:lnTo>
                  <a:lnTo>
                    <a:pt x="2218" y="4330"/>
                  </a:lnTo>
                  <a:lnTo>
                    <a:pt x="2220" y="4320"/>
                  </a:lnTo>
                  <a:lnTo>
                    <a:pt x="2224" y="4316"/>
                  </a:lnTo>
                  <a:lnTo>
                    <a:pt x="2226" y="4310"/>
                  </a:lnTo>
                  <a:lnTo>
                    <a:pt x="2228" y="4306"/>
                  </a:lnTo>
                  <a:lnTo>
                    <a:pt x="2232" y="4296"/>
                  </a:lnTo>
                  <a:lnTo>
                    <a:pt x="2234" y="4284"/>
                  </a:lnTo>
                  <a:lnTo>
                    <a:pt x="2236" y="4274"/>
                  </a:lnTo>
                  <a:lnTo>
                    <a:pt x="2242" y="4258"/>
                  </a:lnTo>
                  <a:lnTo>
                    <a:pt x="2248" y="4232"/>
                  </a:lnTo>
                  <a:lnTo>
                    <a:pt x="2252" y="4208"/>
                  </a:lnTo>
                  <a:lnTo>
                    <a:pt x="2252" y="4200"/>
                  </a:lnTo>
                  <a:lnTo>
                    <a:pt x="2252" y="4196"/>
                  </a:lnTo>
                  <a:lnTo>
                    <a:pt x="2248" y="4192"/>
                  </a:lnTo>
                  <a:lnTo>
                    <a:pt x="2248" y="4190"/>
                  </a:lnTo>
                  <a:lnTo>
                    <a:pt x="2248" y="4186"/>
                  </a:lnTo>
                  <a:lnTo>
                    <a:pt x="2250" y="4184"/>
                  </a:lnTo>
                  <a:lnTo>
                    <a:pt x="2252" y="4180"/>
                  </a:lnTo>
                  <a:lnTo>
                    <a:pt x="2256" y="4178"/>
                  </a:lnTo>
                  <a:lnTo>
                    <a:pt x="2272" y="4176"/>
                  </a:lnTo>
                  <a:lnTo>
                    <a:pt x="2278" y="4178"/>
                  </a:lnTo>
                  <a:lnTo>
                    <a:pt x="2282" y="4180"/>
                  </a:lnTo>
                  <a:lnTo>
                    <a:pt x="2286" y="4182"/>
                  </a:lnTo>
                  <a:lnTo>
                    <a:pt x="2286" y="4184"/>
                  </a:lnTo>
                  <a:lnTo>
                    <a:pt x="2284" y="4194"/>
                  </a:lnTo>
                  <a:lnTo>
                    <a:pt x="2282" y="4210"/>
                  </a:lnTo>
                  <a:lnTo>
                    <a:pt x="2282" y="4220"/>
                  </a:lnTo>
                  <a:lnTo>
                    <a:pt x="2284" y="4222"/>
                  </a:lnTo>
                  <a:lnTo>
                    <a:pt x="2286" y="4222"/>
                  </a:lnTo>
                  <a:lnTo>
                    <a:pt x="2292" y="4222"/>
                  </a:lnTo>
                  <a:lnTo>
                    <a:pt x="2296" y="4222"/>
                  </a:lnTo>
                  <a:lnTo>
                    <a:pt x="2300" y="4222"/>
                  </a:lnTo>
                  <a:lnTo>
                    <a:pt x="2304" y="4224"/>
                  </a:lnTo>
                  <a:lnTo>
                    <a:pt x="2306" y="4224"/>
                  </a:lnTo>
                  <a:lnTo>
                    <a:pt x="2310" y="4220"/>
                  </a:lnTo>
                  <a:lnTo>
                    <a:pt x="2316" y="4218"/>
                  </a:lnTo>
                  <a:lnTo>
                    <a:pt x="2318" y="4218"/>
                  </a:lnTo>
                  <a:lnTo>
                    <a:pt x="2322" y="4220"/>
                  </a:lnTo>
                  <a:lnTo>
                    <a:pt x="2330" y="4228"/>
                  </a:lnTo>
                  <a:lnTo>
                    <a:pt x="2336" y="4236"/>
                  </a:lnTo>
                  <a:lnTo>
                    <a:pt x="2342" y="4244"/>
                  </a:lnTo>
                  <a:lnTo>
                    <a:pt x="2346" y="4246"/>
                  </a:lnTo>
                  <a:lnTo>
                    <a:pt x="2350" y="4248"/>
                  </a:lnTo>
                  <a:lnTo>
                    <a:pt x="2354" y="4250"/>
                  </a:lnTo>
                  <a:lnTo>
                    <a:pt x="2356" y="4252"/>
                  </a:lnTo>
                  <a:lnTo>
                    <a:pt x="2360" y="4258"/>
                  </a:lnTo>
                  <a:lnTo>
                    <a:pt x="2362" y="4266"/>
                  </a:lnTo>
                  <a:lnTo>
                    <a:pt x="2364" y="4268"/>
                  </a:lnTo>
                  <a:lnTo>
                    <a:pt x="2368" y="4268"/>
                  </a:lnTo>
                  <a:lnTo>
                    <a:pt x="2362" y="4256"/>
                  </a:lnTo>
                  <a:lnTo>
                    <a:pt x="2362" y="4246"/>
                  </a:lnTo>
                  <a:lnTo>
                    <a:pt x="2362" y="4256"/>
                  </a:lnTo>
                  <a:lnTo>
                    <a:pt x="2368" y="4268"/>
                  </a:lnTo>
                  <a:lnTo>
                    <a:pt x="2374" y="4280"/>
                  </a:lnTo>
                  <a:lnTo>
                    <a:pt x="2376" y="4286"/>
                  </a:lnTo>
                  <a:lnTo>
                    <a:pt x="2374" y="4292"/>
                  </a:lnTo>
                  <a:lnTo>
                    <a:pt x="2374" y="4300"/>
                  </a:lnTo>
                  <a:lnTo>
                    <a:pt x="2376" y="4310"/>
                  </a:lnTo>
                  <a:lnTo>
                    <a:pt x="2378" y="4310"/>
                  </a:lnTo>
                  <a:lnTo>
                    <a:pt x="2380" y="4308"/>
                  </a:lnTo>
                  <a:lnTo>
                    <a:pt x="2386" y="4308"/>
                  </a:lnTo>
                  <a:lnTo>
                    <a:pt x="2388" y="4308"/>
                  </a:lnTo>
                  <a:lnTo>
                    <a:pt x="2388" y="4304"/>
                  </a:lnTo>
                  <a:lnTo>
                    <a:pt x="2388" y="4298"/>
                  </a:lnTo>
                  <a:lnTo>
                    <a:pt x="2388" y="4296"/>
                  </a:lnTo>
                  <a:lnTo>
                    <a:pt x="2390" y="4294"/>
                  </a:lnTo>
                  <a:lnTo>
                    <a:pt x="2392" y="4296"/>
                  </a:lnTo>
                  <a:lnTo>
                    <a:pt x="2396" y="4300"/>
                  </a:lnTo>
                  <a:lnTo>
                    <a:pt x="2398" y="4304"/>
                  </a:lnTo>
                  <a:lnTo>
                    <a:pt x="2398" y="4308"/>
                  </a:lnTo>
                  <a:lnTo>
                    <a:pt x="2394" y="4314"/>
                  </a:lnTo>
                  <a:lnTo>
                    <a:pt x="2390" y="4320"/>
                  </a:lnTo>
                  <a:lnTo>
                    <a:pt x="2390" y="4322"/>
                  </a:lnTo>
                  <a:lnTo>
                    <a:pt x="2392" y="4324"/>
                  </a:lnTo>
                  <a:lnTo>
                    <a:pt x="2396" y="4326"/>
                  </a:lnTo>
                  <a:lnTo>
                    <a:pt x="2398" y="4326"/>
                  </a:lnTo>
                  <a:lnTo>
                    <a:pt x="2402" y="4324"/>
                  </a:lnTo>
                  <a:lnTo>
                    <a:pt x="2404" y="4322"/>
                  </a:lnTo>
                  <a:lnTo>
                    <a:pt x="2406" y="4320"/>
                  </a:lnTo>
                  <a:lnTo>
                    <a:pt x="2406" y="4322"/>
                  </a:lnTo>
                  <a:lnTo>
                    <a:pt x="2412" y="4324"/>
                  </a:lnTo>
                  <a:lnTo>
                    <a:pt x="2416" y="4324"/>
                  </a:lnTo>
                  <a:lnTo>
                    <a:pt x="2422" y="4326"/>
                  </a:lnTo>
                  <a:lnTo>
                    <a:pt x="2424" y="4328"/>
                  </a:lnTo>
                  <a:lnTo>
                    <a:pt x="2428" y="4334"/>
                  </a:lnTo>
                  <a:lnTo>
                    <a:pt x="2430" y="4340"/>
                  </a:lnTo>
                  <a:lnTo>
                    <a:pt x="2434" y="4344"/>
                  </a:lnTo>
                  <a:lnTo>
                    <a:pt x="2436" y="4344"/>
                  </a:lnTo>
                  <a:lnTo>
                    <a:pt x="2438" y="4344"/>
                  </a:lnTo>
                  <a:lnTo>
                    <a:pt x="2444" y="4342"/>
                  </a:lnTo>
                  <a:lnTo>
                    <a:pt x="2446" y="4342"/>
                  </a:lnTo>
                  <a:lnTo>
                    <a:pt x="2450" y="4346"/>
                  </a:lnTo>
                  <a:lnTo>
                    <a:pt x="2452" y="4350"/>
                  </a:lnTo>
                  <a:lnTo>
                    <a:pt x="2452" y="4352"/>
                  </a:lnTo>
                  <a:lnTo>
                    <a:pt x="2448" y="4360"/>
                  </a:lnTo>
                  <a:lnTo>
                    <a:pt x="2444" y="4370"/>
                  </a:lnTo>
                  <a:lnTo>
                    <a:pt x="2442" y="4378"/>
                  </a:lnTo>
                  <a:lnTo>
                    <a:pt x="2440" y="4388"/>
                  </a:lnTo>
                  <a:lnTo>
                    <a:pt x="2440" y="4410"/>
                  </a:lnTo>
                  <a:lnTo>
                    <a:pt x="2442" y="4422"/>
                  </a:lnTo>
                  <a:lnTo>
                    <a:pt x="2444" y="4424"/>
                  </a:lnTo>
                  <a:lnTo>
                    <a:pt x="2446" y="4424"/>
                  </a:lnTo>
                  <a:lnTo>
                    <a:pt x="2450" y="4422"/>
                  </a:lnTo>
                  <a:lnTo>
                    <a:pt x="2456" y="4416"/>
                  </a:lnTo>
                  <a:lnTo>
                    <a:pt x="2478" y="4396"/>
                  </a:lnTo>
                  <a:lnTo>
                    <a:pt x="2488" y="4388"/>
                  </a:lnTo>
                  <a:lnTo>
                    <a:pt x="2496" y="4384"/>
                  </a:lnTo>
                  <a:lnTo>
                    <a:pt x="2500" y="4382"/>
                  </a:lnTo>
                  <a:lnTo>
                    <a:pt x="2502" y="4380"/>
                  </a:lnTo>
                  <a:lnTo>
                    <a:pt x="2502" y="4376"/>
                  </a:lnTo>
                  <a:lnTo>
                    <a:pt x="2502" y="4374"/>
                  </a:lnTo>
                  <a:lnTo>
                    <a:pt x="2508" y="4372"/>
                  </a:lnTo>
                  <a:lnTo>
                    <a:pt x="2512" y="4370"/>
                  </a:lnTo>
                  <a:lnTo>
                    <a:pt x="2516" y="4364"/>
                  </a:lnTo>
                  <a:lnTo>
                    <a:pt x="2520" y="4346"/>
                  </a:lnTo>
                  <a:lnTo>
                    <a:pt x="2524" y="4328"/>
                  </a:lnTo>
                  <a:lnTo>
                    <a:pt x="2526" y="4324"/>
                  </a:lnTo>
                  <a:lnTo>
                    <a:pt x="2526" y="4322"/>
                  </a:lnTo>
                  <a:lnTo>
                    <a:pt x="2528" y="4324"/>
                  </a:lnTo>
                  <a:lnTo>
                    <a:pt x="2534" y="4328"/>
                  </a:lnTo>
                  <a:lnTo>
                    <a:pt x="2536" y="4330"/>
                  </a:lnTo>
                  <a:lnTo>
                    <a:pt x="2538" y="4332"/>
                  </a:lnTo>
                  <a:lnTo>
                    <a:pt x="2544" y="4332"/>
                  </a:lnTo>
                  <a:lnTo>
                    <a:pt x="2548" y="4330"/>
                  </a:lnTo>
                  <a:lnTo>
                    <a:pt x="2556" y="4326"/>
                  </a:lnTo>
                  <a:lnTo>
                    <a:pt x="2566" y="4318"/>
                  </a:lnTo>
                  <a:lnTo>
                    <a:pt x="2576" y="4310"/>
                  </a:lnTo>
                  <a:lnTo>
                    <a:pt x="2584" y="4304"/>
                  </a:lnTo>
                  <a:lnTo>
                    <a:pt x="2598" y="4296"/>
                  </a:lnTo>
                  <a:lnTo>
                    <a:pt x="2604" y="4292"/>
                  </a:lnTo>
                  <a:lnTo>
                    <a:pt x="2610" y="4286"/>
                  </a:lnTo>
                  <a:lnTo>
                    <a:pt x="2614" y="4280"/>
                  </a:lnTo>
                  <a:lnTo>
                    <a:pt x="2618" y="4272"/>
                  </a:lnTo>
                  <a:lnTo>
                    <a:pt x="2622" y="4252"/>
                  </a:lnTo>
                  <a:lnTo>
                    <a:pt x="2622" y="4238"/>
                  </a:lnTo>
                  <a:lnTo>
                    <a:pt x="2624" y="4228"/>
                  </a:lnTo>
                  <a:lnTo>
                    <a:pt x="2624" y="4224"/>
                  </a:lnTo>
                  <a:lnTo>
                    <a:pt x="2626" y="4222"/>
                  </a:lnTo>
                  <a:lnTo>
                    <a:pt x="2628" y="4222"/>
                  </a:lnTo>
                  <a:lnTo>
                    <a:pt x="2630" y="4220"/>
                  </a:lnTo>
                  <a:lnTo>
                    <a:pt x="2630" y="4214"/>
                  </a:lnTo>
                  <a:lnTo>
                    <a:pt x="2628" y="4206"/>
                  </a:lnTo>
                  <a:lnTo>
                    <a:pt x="2624" y="4198"/>
                  </a:lnTo>
                  <a:lnTo>
                    <a:pt x="2622" y="4194"/>
                  </a:lnTo>
                  <a:lnTo>
                    <a:pt x="2622" y="4190"/>
                  </a:lnTo>
                  <a:lnTo>
                    <a:pt x="2624" y="4174"/>
                  </a:lnTo>
                  <a:lnTo>
                    <a:pt x="2624" y="4152"/>
                  </a:lnTo>
                  <a:lnTo>
                    <a:pt x="2622" y="4138"/>
                  </a:lnTo>
                  <a:lnTo>
                    <a:pt x="2616" y="4122"/>
                  </a:lnTo>
                  <a:lnTo>
                    <a:pt x="2606" y="4096"/>
                  </a:lnTo>
                  <a:lnTo>
                    <a:pt x="2598" y="4080"/>
                  </a:lnTo>
                  <a:lnTo>
                    <a:pt x="2590" y="4068"/>
                  </a:lnTo>
                  <a:lnTo>
                    <a:pt x="2584" y="4056"/>
                  </a:lnTo>
                  <a:lnTo>
                    <a:pt x="2580" y="4046"/>
                  </a:lnTo>
                  <a:lnTo>
                    <a:pt x="2572" y="4042"/>
                  </a:lnTo>
                  <a:lnTo>
                    <a:pt x="2562" y="4034"/>
                  </a:lnTo>
                  <a:lnTo>
                    <a:pt x="2548" y="4020"/>
                  </a:lnTo>
                  <a:lnTo>
                    <a:pt x="2534" y="4002"/>
                  </a:lnTo>
                  <a:lnTo>
                    <a:pt x="2522" y="3986"/>
                  </a:lnTo>
                  <a:lnTo>
                    <a:pt x="2514" y="3972"/>
                  </a:lnTo>
                  <a:lnTo>
                    <a:pt x="2510" y="3966"/>
                  </a:lnTo>
                  <a:lnTo>
                    <a:pt x="2510" y="3960"/>
                  </a:lnTo>
                  <a:lnTo>
                    <a:pt x="2508" y="3954"/>
                  </a:lnTo>
                  <a:lnTo>
                    <a:pt x="2506" y="3950"/>
                  </a:lnTo>
                  <a:lnTo>
                    <a:pt x="2500" y="3946"/>
                  </a:lnTo>
                  <a:lnTo>
                    <a:pt x="2492" y="3940"/>
                  </a:lnTo>
                  <a:lnTo>
                    <a:pt x="2486" y="3934"/>
                  </a:lnTo>
                  <a:lnTo>
                    <a:pt x="2482" y="3926"/>
                  </a:lnTo>
                  <a:lnTo>
                    <a:pt x="2478" y="3916"/>
                  </a:lnTo>
                  <a:lnTo>
                    <a:pt x="2478" y="3904"/>
                  </a:lnTo>
                  <a:lnTo>
                    <a:pt x="2480" y="3894"/>
                  </a:lnTo>
                  <a:lnTo>
                    <a:pt x="2482" y="3884"/>
                  </a:lnTo>
                  <a:lnTo>
                    <a:pt x="2486" y="3874"/>
                  </a:lnTo>
                  <a:lnTo>
                    <a:pt x="2492" y="3864"/>
                  </a:lnTo>
                  <a:lnTo>
                    <a:pt x="2498" y="3856"/>
                  </a:lnTo>
                  <a:lnTo>
                    <a:pt x="2506" y="3848"/>
                  </a:lnTo>
                  <a:lnTo>
                    <a:pt x="2512" y="3842"/>
                  </a:lnTo>
                  <a:lnTo>
                    <a:pt x="2516" y="3836"/>
                  </a:lnTo>
                  <a:lnTo>
                    <a:pt x="2518" y="3826"/>
                  </a:lnTo>
                  <a:lnTo>
                    <a:pt x="2520" y="3816"/>
                  </a:lnTo>
                  <a:lnTo>
                    <a:pt x="2522" y="3812"/>
                  </a:lnTo>
                  <a:lnTo>
                    <a:pt x="2526" y="3808"/>
                  </a:lnTo>
                  <a:lnTo>
                    <a:pt x="2532" y="3806"/>
                  </a:lnTo>
                  <a:lnTo>
                    <a:pt x="2534" y="3806"/>
                  </a:lnTo>
                  <a:lnTo>
                    <a:pt x="2536" y="3808"/>
                  </a:lnTo>
                  <a:lnTo>
                    <a:pt x="2540" y="3808"/>
                  </a:lnTo>
                  <a:lnTo>
                    <a:pt x="2544" y="3804"/>
                  </a:lnTo>
                  <a:lnTo>
                    <a:pt x="2546" y="3800"/>
                  </a:lnTo>
                  <a:lnTo>
                    <a:pt x="2548" y="3794"/>
                  </a:lnTo>
                  <a:lnTo>
                    <a:pt x="2554" y="3790"/>
                  </a:lnTo>
                  <a:lnTo>
                    <a:pt x="2562" y="3784"/>
                  </a:lnTo>
                  <a:lnTo>
                    <a:pt x="2568" y="3782"/>
                  </a:lnTo>
                  <a:lnTo>
                    <a:pt x="2572" y="3782"/>
                  </a:lnTo>
                  <a:lnTo>
                    <a:pt x="2574" y="3778"/>
                  </a:lnTo>
                  <a:lnTo>
                    <a:pt x="2576" y="3780"/>
                  </a:lnTo>
                  <a:lnTo>
                    <a:pt x="2578" y="3780"/>
                  </a:lnTo>
                  <a:lnTo>
                    <a:pt x="2582" y="3780"/>
                  </a:lnTo>
                  <a:lnTo>
                    <a:pt x="2584" y="3776"/>
                  </a:lnTo>
                  <a:lnTo>
                    <a:pt x="2584" y="3774"/>
                  </a:lnTo>
                  <a:lnTo>
                    <a:pt x="2586" y="3776"/>
                  </a:lnTo>
                  <a:lnTo>
                    <a:pt x="2590" y="3778"/>
                  </a:lnTo>
                  <a:lnTo>
                    <a:pt x="2592" y="3778"/>
                  </a:lnTo>
                  <a:lnTo>
                    <a:pt x="2594" y="3774"/>
                  </a:lnTo>
                  <a:lnTo>
                    <a:pt x="2592" y="3772"/>
                  </a:lnTo>
                  <a:lnTo>
                    <a:pt x="2592" y="3768"/>
                  </a:lnTo>
                  <a:lnTo>
                    <a:pt x="2592" y="3762"/>
                  </a:lnTo>
                  <a:lnTo>
                    <a:pt x="2592" y="3760"/>
                  </a:lnTo>
                  <a:lnTo>
                    <a:pt x="2594" y="3762"/>
                  </a:lnTo>
                  <a:lnTo>
                    <a:pt x="2596" y="3766"/>
                  </a:lnTo>
                  <a:lnTo>
                    <a:pt x="2602" y="3772"/>
                  </a:lnTo>
                  <a:lnTo>
                    <a:pt x="2604" y="3774"/>
                  </a:lnTo>
                  <a:lnTo>
                    <a:pt x="2610" y="3776"/>
                  </a:lnTo>
                  <a:lnTo>
                    <a:pt x="2614" y="3776"/>
                  </a:lnTo>
                  <a:lnTo>
                    <a:pt x="2616" y="3778"/>
                  </a:lnTo>
                  <a:lnTo>
                    <a:pt x="2614" y="3782"/>
                  </a:lnTo>
                  <a:lnTo>
                    <a:pt x="2614" y="3784"/>
                  </a:lnTo>
                  <a:lnTo>
                    <a:pt x="2616" y="3786"/>
                  </a:lnTo>
                  <a:lnTo>
                    <a:pt x="2620" y="3786"/>
                  </a:lnTo>
                  <a:lnTo>
                    <a:pt x="2630" y="3784"/>
                  </a:lnTo>
                  <a:lnTo>
                    <a:pt x="2632" y="3782"/>
                  </a:lnTo>
                  <a:lnTo>
                    <a:pt x="2634" y="3778"/>
                  </a:lnTo>
                  <a:lnTo>
                    <a:pt x="2632" y="3772"/>
                  </a:lnTo>
                  <a:lnTo>
                    <a:pt x="2634" y="3772"/>
                  </a:lnTo>
                  <a:lnTo>
                    <a:pt x="2636" y="3778"/>
                  </a:lnTo>
                  <a:lnTo>
                    <a:pt x="2640" y="3782"/>
                  </a:lnTo>
                  <a:lnTo>
                    <a:pt x="2642" y="3782"/>
                  </a:lnTo>
                  <a:lnTo>
                    <a:pt x="2644" y="3782"/>
                  </a:lnTo>
                  <a:lnTo>
                    <a:pt x="2648" y="3784"/>
                  </a:lnTo>
                  <a:lnTo>
                    <a:pt x="2648" y="3786"/>
                  </a:lnTo>
                  <a:lnTo>
                    <a:pt x="2646" y="3788"/>
                  </a:lnTo>
                  <a:lnTo>
                    <a:pt x="2642" y="3794"/>
                  </a:lnTo>
                  <a:lnTo>
                    <a:pt x="2640" y="3802"/>
                  </a:lnTo>
                  <a:lnTo>
                    <a:pt x="2638" y="3810"/>
                  </a:lnTo>
                  <a:lnTo>
                    <a:pt x="2640" y="3816"/>
                  </a:lnTo>
                  <a:lnTo>
                    <a:pt x="2642" y="3818"/>
                  </a:lnTo>
                  <a:lnTo>
                    <a:pt x="2642" y="3820"/>
                  </a:lnTo>
                  <a:lnTo>
                    <a:pt x="2642" y="3824"/>
                  </a:lnTo>
                  <a:lnTo>
                    <a:pt x="2644" y="3828"/>
                  </a:lnTo>
                  <a:lnTo>
                    <a:pt x="2646" y="3832"/>
                  </a:lnTo>
                  <a:lnTo>
                    <a:pt x="2648" y="3836"/>
                  </a:lnTo>
                  <a:lnTo>
                    <a:pt x="2648" y="3840"/>
                  </a:lnTo>
                  <a:lnTo>
                    <a:pt x="2648" y="3842"/>
                  </a:lnTo>
                  <a:lnTo>
                    <a:pt x="2652" y="3844"/>
                  </a:lnTo>
                  <a:lnTo>
                    <a:pt x="2664" y="3842"/>
                  </a:lnTo>
                  <a:lnTo>
                    <a:pt x="2672" y="3838"/>
                  </a:lnTo>
                  <a:lnTo>
                    <a:pt x="2674" y="3836"/>
                  </a:lnTo>
                  <a:lnTo>
                    <a:pt x="2674" y="3834"/>
                  </a:lnTo>
                  <a:lnTo>
                    <a:pt x="2670" y="3828"/>
                  </a:lnTo>
                  <a:lnTo>
                    <a:pt x="2668" y="3820"/>
                  </a:lnTo>
                  <a:lnTo>
                    <a:pt x="2666" y="3814"/>
                  </a:lnTo>
                  <a:lnTo>
                    <a:pt x="2662" y="3812"/>
                  </a:lnTo>
                  <a:lnTo>
                    <a:pt x="2660" y="3812"/>
                  </a:lnTo>
                  <a:lnTo>
                    <a:pt x="2658" y="3810"/>
                  </a:lnTo>
                  <a:lnTo>
                    <a:pt x="2660" y="3804"/>
                  </a:lnTo>
                  <a:lnTo>
                    <a:pt x="2666" y="3800"/>
                  </a:lnTo>
                  <a:lnTo>
                    <a:pt x="2684" y="3788"/>
                  </a:lnTo>
                  <a:lnTo>
                    <a:pt x="2692" y="3784"/>
                  </a:lnTo>
                  <a:lnTo>
                    <a:pt x="2698" y="3782"/>
                  </a:lnTo>
                  <a:lnTo>
                    <a:pt x="2704" y="3784"/>
                  </a:lnTo>
                  <a:lnTo>
                    <a:pt x="2716" y="3780"/>
                  </a:lnTo>
                  <a:lnTo>
                    <a:pt x="2722" y="3778"/>
                  </a:lnTo>
                  <a:lnTo>
                    <a:pt x="2726" y="3774"/>
                  </a:lnTo>
                  <a:lnTo>
                    <a:pt x="2730" y="3768"/>
                  </a:lnTo>
                  <a:lnTo>
                    <a:pt x="2730" y="3764"/>
                  </a:lnTo>
                  <a:lnTo>
                    <a:pt x="2736" y="3766"/>
                  </a:lnTo>
                  <a:lnTo>
                    <a:pt x="2740" y="3768"/>
                  </a:lnTo>
                  <a:lnTo>
                    <a:pt x="2742" y="3772"/>
                  </a:lnTo>
                  <a:lnTo>
                    <a:pt x="2746" y="3768"/>
                  </a:lnTo>
                  <a:lnTo>
                    <a:pt x="2750" y="3764"/>
                  </a:lnTo>
                  <a:lnTo>
                    <a:pt x="2752" y="3766"/>
                  </a:lnTo>
                  <a:lnTo>
                    <a:pt x="2754" y="3768"/>
                  </a:lnTo>
                  <a:lnTo>
                    <a:pt x="2758" y="3764"/>
                  </a:lnTo>
                  <a:lnTo>
                    <a:pt x="2762" y="3760"/>
                  </a:lnTo>
                  <a:lnTo>
                    <a:pt x="2764" y="3760"/>
                  </a:lnTo>
                  <a:lnTo>
                    <a:pt x="2768" y="3760"/>
                  </a:lnTo>
                  <a:lnTo>
                    <a:pt x="2772" y="3762"/>
                  </a:lnTo>
                  <a:lnTo>
                    <a:pt x="2774" y="3760"/>
                  </a:lnTo>
                  <a:lnTo>
                    <a:pt x="2774" y="3756"/>
                  </a:lnTo>
                  <a:lnTo>
                    <a:pt x="2776" y="3750"/>
                  </a:lnTo>
                  <a:lnTo>
                    <a:pt x="2778" y="3752"/>
                  </a:lnTo>
                  <a:lnTo>
                    <a:pt x="2780" y="3754"/>
                  </a:lnTo>
                  <a:lnTo>
                    <a:pt x="2782" y="3754"/>
                  </a:lnTo>
                  <a:lnTo>
                    <a:pt x="2784" y="3752"/>
                  </a:lnTo>
                  <a:lnTo>
                    <a:pt x="2788" y="3748"/>
                  </a:lnTo>
                  <a:lnTo>
                    <a:pt x="2790" y="3748"/>
                  </a:lnTo>
                  <a:lnTo>
                    <a:pt x="2792" y="3748"/>
                  </a:lnTo>
                  <a:lnTo>
                    <a:pt x="2796" y="3744"/>
                  </a:lnTo>
                  <a:lnTo>
                    <a:pt x="2798" y="3740"/>
                  </a:lnTo>
                  <a:lnTo>
                    <a:pt x="2798" y="3736"/>
                  </a:lnTo>
                  <a:lnTo>
                    <a:pt x="2794" y="3724"/>
                  </a:lnTo>
                  <a:lnTo>
                    <a:pt x="2792" y="3714"/>
                  </a:lnTo>
                  <a:lnTo>
                    <a:pt x="2790" y="3712"/>
                  </a:lnTo>
                  <a:lnTo>
                    <a:pt x="2792" y="3708"/>
                  </a:lnTo>
                  <a:lnTo>
                    <a:pt x="2794" y="3708"/>
                  </a:lnTo>
                  <a:lnTo>
                    <a:pt x="2796" y="3710"/>
                  </a:lnTo>
                  <a:lnTo>
                    <a:pt x="2804" y="3720"/>
                  </a:lnTo>
                  <a:lnTo>
                    <a:pt x="2808" y="3726"/>
                  </a:lnTo>
                  <a:lnTo>
                    <a:pt x="2812" y="3730"/>
                  </a:lnTo>
                  <a:lnTo>
                    <a:pt x="2810" y="3734"/>
                  </a:lnTo>
                  <a:lnTo>
                    <a:pt x="2810" y="3738"/>
                  </a:lnTo>
                  <a:lnTo>
                    <a:pt x="2812" y="3738"/>
                  </a:lnTo>
                  <a:lnTo>
                    <a:pt x="2818" y="3740"/>
                  </a:lnTo>
                  <a:lnTo>
                    <a:pt x="2820" y="3742"/>
                  </a:lnTo>
                  <a:lnTo>
                    <a:pt x="2824" y="3742"/>
                  </a:lnTo>
                  <a:lnTo>
                    <a:pt x="2826" y="3740"/>
                  </a:lnTo>
                  <a:lnTo>
                    <a:pt x="2828" y="3736"/>
                  </a:lnTo>
                  <a:lnTo>
                    <a:pt x="2828" y="3734"/>
                  </a:lnTo>
                  <a:lnTo>
                    <a:pt x="2826" y="3730"/>
                  </a:lnTo>
                  <a:lnTo>
                    <a:pt x="2826" y="3726"/>
                  </a:lnTo>
                  <a:lnTo>
                    <a:pt x="2826" y="3724"/>
                  </a:lnTo>
                  <a:lnTo>
                    <a:pt x="2828" y="3724"/>
                  </a:lnTo>
                  <a:lnTo>
                    <a:pt x="2830" y="3728"/>
                  </a:lnTo>
                  <a:lnTo>
                    <a:pt x="2834" y="3730"/>
                  </a:lnTo>
                  <a:lnTo>
                    <a:pt x="2836" y="3732"/>
                  </a:lnTo>
                  <a:lnTo>
                    <a:pt x="2838" y="3730"/>
                  </a:lnTo>
                  <a:lnTo>
                    <a:pt x="2840" y="3728"/>
                  </a:lnTo>
                  <a:lnTo>
                    <a:pt x="2838" y="3724"/>
                  </a:lnTo>
                  <a:lnTo>
                    <a:pt x="2836" y="3720"/>
                  </a:lnTo>
                  <a:lnTo>
                    <a:pt x="2838" y="3718"/>
                  </a:lnTo>
                  <a:lnTo>
                    <a:pt x="2840" y="3716"/>
                  </a:lnTo>
                  <a:lnTo>
                    <a:pt x="2842" y="3716"/>
                  </a:lnTo>
                  <a:lnTo>
                    <a:pt x="2844" y="3718"/>
                  </a:lnTo>
                  <a:lnTo>
                    <a:pt x="2846" y="3724"/>
                  </a:lnTo>
                  <a:lnTo>
                    <a:pt x="2846" y="3726"/>
                  </a:lnTo>
                  <a:lnTo>
                    <a:pt x="2848" y="3728"/>
                  </a:lnTo>
                  <a:lnTo>
                    <a:pt x="2850" y="3728"/>
                  </a:lnTo>
                  <a:lnTo>
                    <a:pt x="2854" y="3724"/>
                  </a:lnTo>
                  <a:lnTo>
                    <a:pt x="2860" y="3718"/>
                  </a:lnTo>
                  <a:lnTo>
                    <a:pt x="2864" y="3716"/>
                  </a:lnTo>
                  <a:lnTo>
                    <a:pt x="2874" y="3722"/>
                  </a:lnTo>
                  <a:lnTo>
                    <a:pt x="2876" y="3722"/>
                  </a:lnTo>
                  <a:lnTo>
                    <a:pt x="2878" y="3722"/>
                  </a:lnTo>
                  <a:lnTo>
                    <a:pt x="2878" y="3718"/>
                  </a:lnTo>
                  <a:lnTo>
                    <a:pt x="2878" y="3714"/>
                  </a:lnTo>
                  <a:lnTo>
                    <a:pt x="2878" y="3712"/>
                  </a:lnTo>
                  <a:lnTo>
                    <a:pt x="2880" y="3712"/>
                  </a:lnTo>
                  <a:lnTo>
                    <a:pt x="2882" y="3712"/>
                  </a:lnTo>
                  <a:lnTo>
                    <a:pt x="2884" y="3716"/>
                  </a:lnTo>
                  <a:lnTo>
                    <a:pt x="2886" y="3718"/>
                  </a:lnTo>
                  <a:lnTo>
                    <a:pt x="2894" y="3716"/>
                  </a:lnTo>
                  <a:lnTo>
                    <a:pt x="2902" y="3712"/>
                  </a:lnTo>
                  <a:lnTo>
                    <a:pt x="2910" y="3710"/>
                  </a:lnTo>
                  <a:lnTo>
                    <a:pt x="2914" y="3706"/>
                  </a:lnTo>
                  <a:lnTo>
                    <a:pt x="2916" y="3702"/>
                  </a:lnTo>
                  <a:lnTo>
                    <a:pt x="2918" y="3698"/>
                  </a:lnTo>
                  <a:lnTo>
                    <a:pt x="2918" y="3696"/>
                  </a:lnTo>
                  <a:lnTo>
                    <a:pt x="2922" y="3694"/>
                  </a:lnTo>
                  <a:lnTo>
                    <a:pt x="2926" y="3692"/>
                  </a:lnTo>
                  <a:lnTo>
                    <a:pt x="2924" y="3690"/>
                  </a:lnTo>
                  <a:lnTo>
                    <a:pt x="2922" y="3688"/>
                  </a:lnTo>
                  <a:lnTo>
                    <a:pt x="2924" y="3686"/>
                  </a:lnTo>
                  <a:lnTo>
                    <a:pt x="2926" y="3684"/>
                  </a:lnTo>
                  <a:lnTo>
                    <a:pt x="2930" y="3678"/>
                  </a:lnTo>
                  <a:lnTo>
                    <a:pt x="2932" y="3674"/>
                  </a:lnTo>
                  <a:lnTo>
                    <a:pt x="2936" y="3674"/>
                  </a:lnTo>
                  <a:lnTo>
                    <a:pt x="2940" y="3674"/>
                  </a:lnTo>
                  <a:lnTo>
                    <a:pt x="2944" y="3672"/>
                  </a:lnTo>
                  <a:lnTo>
                    <a:pt x="2948" y="3668"/>
                  </a:lnTo>
                  <a:lnTo>
                    <a:pt x="2954" y="3662"/>
                  </a:lnTo>
                  <a:lnTo>
                    <a:pt x="2956" y="3662"/>
                  </a:lnTo>
                  <a:lnTo>
                    <a:pt x="2956" y="3664"/>
                  </a:lnTo>
                  <a:lnTo>
                    <a:pt x="2958" y="3666"/>
                  </a:lnTo>
                  <a:lnTo>
                    <a:pt x="2960" y="3662"/>
                  </a:lnTo>
                  <a:lnTo>
                    <a:pt x="2974" y="3648"/>
                  </a:lnTo>
                  <a:lnTo>
                    <a:pt x="2980" y="3642"/>
                  </a:lnTo>
                  <a:lnTo>
                    <a:pt x="2980" y="3638"/>
                  </a:lnTo>
                  <a:lnTo>
                    <a:pt x="2978" y="3636"/>
                  </a:lnTo>
                  <a:lnTo>
                    <a:pt x="2976" y="3632"/>
                  </a:lnTo>
                  <a:lnTo>
                    <a:pt x="2978" y="3626"/>
                  </a:lnTo>
                  <a:lnTo>
                    <a:pt x="2980" y="3624"/>
                  </a:lnTo>
                  <a:lnTo>
                    <a:pt x="2982" y="3624"/>
                  </a:lnTo>
                  <a:lnTo>
                    <a:pt x="2984" y="3626"/>
                  </a:lnTo>
                  <a:lnTo>
                    <a:pt x="2986" y="3628"/>
                  </a:lnTo>
                  <a:lnTo>
                    <a:pt x="2988" y="3626"/>
                  </a:lnTo>
                  <a:lnTo>
                    <a:pt x="2990" y="3626"/>
                  </a:lnTo>
                  <a:lnTo>
                    <a:pt x="2994" y="3628"/>
                  </a:lnTo>
                  <a:lnTo>
                    <a:pt x="2998" y="3630"/>
                  </a:lnTo>
                  <a:lnTo>
                    <a:pt x="3000" y="3624"/>
                  </a:lnTo>
                  <a:lnTo>
                    <a:pt x="3004" y="3616"/>
                  </a:lnTo>
                  <a:lnTo>
                    <a:pt x="3008" y="3614"/>
                  </a:lnTo>
                  <a:lnTo>
                    <a:pt x="3012" y="3610"/>
                  </a:lnTo>
                  <a:lnTo>
                    <a:pt x="3016" y="3608"/>
                  </a:lnTo>
                  <a:lnTo>
                    <a:pt x="3016" y="3606"/>
                  </a:lnTo>
                  <a:lnTo>
                    <a:pt x="3012" y="3602"/>
                  </a:lnTo>
                  <a:lnTo>
                    <a:pt x="3010" y="3598"/>
                  </a:lnTo>
                  <a:lnTo>
                    <a:pt x="3010" y="3594"/>
                  </a:lnTo>
                  <a:lnTo>
                    <a:pt x="3012" y="3590"/>
                  </a:lnTo>
                  <a:lnTo>
                    <a:pt x="3014" y="3594"/>
                  </a:lnTo>
                  <a:lnTo>
                    <a:pt x="3018" y="3596"/>
                  </a:lnTo>
                  <a:lnTo>
                    <a:pt x="3022" y="3596"/>
                  </a:lnTo>
                  <a:lnTo>
                    <a:pt x="3026" y="3594"/>
                  </a:lnTo>
                  <a:lnTo>
                    <a:pt x="3030" y="3590"/>
                  </a:lnTo>
                  <a:lnTo>
                    <a:pt x="3030" y="3588"/>
                  </a:lnTo>
                  <a:lnTo>
                    <a:pt x="3028" y="3588"/>
                  </a:lnTo>
                  <a:lnTo>
                    <a:pt x="3024" y="3588"/>
                  </a:lnTo>
                  <a:lnTo>
                    <a:pt x="3020" y="3586"/>
                  </a:lnTo>
                  <a:lnTo>
                    <a:pt x="3020" y="3582"/>
                  </a:lnTo>
                  <a:lnTo>
                    <a:pt x="3022" y="3578"/>
                  </a:lnTo>
                  <a:lnTo>
                    <a:pt x="3024" y="3576"/>
                  </a:lnTo>
                  <a:lnTo>
                    <a:pt x="3026" y="3576"/>
                  </a:lnTo>
                  <a:lnTo>
                    <a:pt x="3030" y="3578"/>
                  </a:lnTo>
                  <a:lnTo>
                    <a:pt x="3032" y="3580"/>
                  </a:lnTo>
                  <a:lnTo>
                    <a:pt x="3038" y="3586"/>
                  </a:lnTo>
                  <a:lnTo>
                    <a:pt x="3040" y="3586"/>
                  </a:lnTo>
                  <a:lnTo>
                    <a:pt x="3042" y="3582"/>
                  </a:lnTo>
                  <a:lnTo>
                    <a:pt x="3038" y="3576"/>
                  </a:lnTo>
                  <a:lnTo>
                    <a:pt x="3036" y="3572"/>
                  </a:lnTo>
                  <a:lnTo>
                    <a:pt x="3038" y="3568"/>
                  </a:lnTo>
                  <a:lnTo>
                    <a:pt x="3042" y="3558"/>
                  </a:lnTo>
                  <a:lnTo>
                    <a:pt x="3044" y="3552"/>
                  </a:lnTo>
                  <a:lnTo>
                    <a:pt x="3040" y="3552"/>
                  </a:lnTo>
                  <a:lnTo>
                    <a:pt x="3038" y="3552"/>
                  </a:lnTo>
                  <a:lnTo>
                    <a:pt x="3036" y="3550"/>
                  </a:lnTo>
                  <a:lnTo>
                    <a:pt x="3038" y="3546"/>
                  </a:lnTo>
                  <a:lnTo>
                    <a:pt x="3042" y="3540"/>
                  </a:lnTo>
                  <a:lnTo>
                    <a:pt x="3048" y="3536"/>
                  </a:lnTo>
                  <a:lnTo>
                    <a:pt x="3052" y="3534"/>
                  </a:lnTo>
                  <a:lnTo>
                    <a:pt x="3052" y="3532"/>
                  </a:lnTo>
                  <a:lnTo>
                    <a:pt x="3050" y="3532"/>
                  </a:lnTo>
                  <a:lnTo>
                    <a:pt x="3046" y="3526"/>
                  </a:lnTo>
                  <a:lnTo>
                    <a:pt x="3042" y="3522"/>
                  </a:lnTo>
                  <a:lnTo>
                    <a:pt x="3040" y="3518"/>
                  </a:lnTo>
                  <a:lnTo>
                    <a:pt x="3038" y="3518"/>
                  </a:lnTo>
                  <a:lnTo>
                    <a:pt x="3042" y="3516"/>
                  </a:lnTo>
                  <a:lnTo>
                    <a:pt x="3046" y="3514"/>
                  </a:lnTo>
                  <a:lnTo>
                    <a:pt x="3046" y="3516"/>
                  </a:lnTo>
                  <a:lnTo>
                    <a:pt x="3048" y="3520"/>
                  </a:lnTo>
                  <a:lnTo>
                    <a:pt x="3050" y="3524"/>
                  </a:lnTo>
                  <a:lnTo>
                    <a:pt x="3054" y="3524"/>
                  </a:lnTo>
                  <a:lnTo>
                    <a:pt x="3058" y="3522"/>
                  </a:lnTo>
                  <a:lnTo>
                    <a:pt x="3060" y="3520"/>
                  </a:lnTo>
                  <a:lnTo>
                    <a:pt x="3062" y="3518"/>
                  </a:lnTo>
                  <a:lnTo>
                    <a:pt x="3062" y="3512"/>
                  </a:lnTo>
                  <a:lnTo>
                    <a:pt x="3060" y="3510"/>
                  </a:lnTo>
                  <a:lnTo>
                    <a:pt x="3060" y="3508"/>
                  </a:lnTo>
                  <a:lnTo>
                    <a:pt x="3062" y="3506"/>
                  </a:lnTo>
                  <a:lnTo>
                    <a:pt x="3068" y="3502"/>
                  </a:lnTo>
                  <a:lnTo>
                    <a:pt x="3074" y="3492"/>
                  </a:lnTo>
                  <a:lnTo>
                    <a:pt x="3080" y="3482"/>
                  </a:lnTo>
                  <a:lnTo>
                    <a:pt x="3080" y="3478"/>
                  </a:lnTo>
                  <a:lnTo>
                    <a:pt x="3080" y="3474"/>
                  </a:lnTo>
                  <a:lnTo>
                    <a:pt x="3080" y="3470"/>
                  </a:lnTo>
                  <a:lnTo>
                    <a:pt x="3080" y="3468"/>
                  </a:lnTo>
                  <a:lnTo>
                    <a:pt x="3084" y="3462"/>
                  </a:lnTo>
                  <a:lnTo>
                    <a:pt x="3090" y="3454"/>
                  </a:lnTo>
                  <a:lnTo>
                    <a:pt x="3098" y="3440"/>
                  </a:lnTo>
                  <a:lnTo>
                    <a:pt x="3100" y="3436"/>
                  </a:lnTo>
                  <a:lnTo>
                    <a:pt x="3102" y="3432"/>
                  </a:lnTo>
                  <a:lnTo>
                    <a:pt x="3104" y="3434"/>
                  </a:lnTo>
                  <a:lnTo>
                    <a:pt x="3106" y="3436"/>
                  </a:lnTo>
                  <a:lnTo>
                    <a:pt x="3108" y="3440"/>
                  </a:lnTo>
                  <a:lnTo>
                    <a:pt x="3110" y="3440"/>
                  </a:lnTo>
                  <a:lnTo>
                    <a:pt x="3112" y="3440"/>
                  </a:lnTo>
                  <a:lnTo>
                    <a:pt x="3116" y="3436"/>
                  </a:lnTo>
                  <a:lnTo>
                    <a:pt x="3120" y="3434"/>
                  </a:lnTo>
                  <a:lnTo>
                    <a:pt x="3122" y="3432"/>
                  </a:lnTo>
                  <a:lnTo>
                    <a:pt x="3118" y="3424"/>
                  </a:lnTo>
                  <a:lnTo>
                    <a:pt x="3116" y="3420"/>
                  </a:lnTo>
                  <a:lnTo>
                    <a:pt x="3116" y="3416"/>
                  </a:lnTo>
                  <a:lnTo>
                    <a:pt x="3118" y="3414"/>
                  </a:lnTo>
                  <a:lnTo>
                    <a:pt x="3122" y="3412"/>
                  </a:lnTo>
                  <a:lnTo>
                    <a:pt x="3122" y="3410"/>
                  </a:lnTo>
                  <a:lnTo>
                    <a:pt x="3122" y="3408"/>
                  </a:lnTo>
                  <a:lnTo>
                    <a:pt x="3122" y="3402"/>
                  </a:lnTo>
                  <a:lnTo>
                    <a:pt x="3122" y="3400"/>
                  </a:lnTo>
                  <a:lnTo>
                    <a:pt x="3124" y="3398"/>
                  </a:lnTo>
                  <a:lnTo>
                    <a:pt x="3120" y="3392"/>
                  </a:lnTo>
                  <a:lnTo>
                    <a:pt x="3118" y="3390"/>
                  </a:lnTo>
                  <a:lnTo>
                    <a:pt x="3124" y="3390"/>
                  </a:lnTo>
                  <a:lnTo>
                    <a:pt x="3128" y="3390"/>
                  </a:lnTo>
                  <a:lnTo>
                    <a:pt x="3132" y="3388"/>
                  </a:lnTo>
                  <a:lnTo>
                    <a:pt x="3134" y="3384"/>
                  </a:lnTo>
                  <a:lnTo>
                    <a:pt x="3134" y="3376"/>
                  </a:lnTo>
                  <a:lnTo>
                    <a:pt x="3134" y="3370"/>
                  </a:lnTo>
                  <a:lnTo>
                    <a:pt x="3132" y="3366"/>
                  </a:lnTo>
                  <a:lnTo>
                    <a:pt x="3128" y="3362"/>
                  </a:lnTo>
                  <a:lnTo>
                    <a:pt x="3136" y="3356"/>
                  </a:lnTo>
                  <a:lnTo>
                    <a:pt x="3140" y="3352"/>
                  </a:lnTo>
                  <a:lnTo>
                    <a:pt x="3136" y="3350"/>
                  </a:lnTo>
                  <a:lnTo>
                    <a:pt x="3128" y="3348"/>
                  </a:lnTo>
                  <a:lnTo>
                    <a:pt x="3122" y="3344"/>
                  </a:lnTo>
                  <a:lnTo>
                    <a:pt x="3118" y="3338"/>
                  </a:lnTo>
                  <a:lnTo>
                    <a:pt x="3112" y="3332"/>
                  </a:lnTo>
                  <a:lnTo>
                    <a:pt x="3108" y="3330"/>
                  </a:lnTo>
                  <a:lnTo>
                    <a:pt x="3102" y="3330"/>
                  </a:lnTo>
                  <a:lnTo>
                    <a:pt x="3096" y="3334"/>
                  </a:lnTo>
                  <a:lnTo>
                    <a:pt x="3086" y="3338"/>
                  </a:lnTo>
                  <a:lnTo>
                    <a:pt x="3082" y="3338"/>
                  </a:lnTo>
                  <a:lnTo>
                    <a:pt x="3078" y="3334"/>
                  </a:lnTo>
                  <a:lnTo>
                    <a:pt x="3076" y="3332"/>
                  </a:lnTo>
                  <a:lnTo>
                    <a:pt x="3074" y="3330"/>
                  </a:lnTo>
                  <a:lnTo>
                    <a:pt x="3070" y="3332"/>
                  </a:lnTo>
                  <a:lnTo>
                    <a:pt x="3070" y="3328"/>
                  </a:lnTo>
                  <a:lnTo>
                    <a:pt x="3072" y="3326"/>
                  </a:lnTo>
                  <a:lnTo>
                    <a:pt x="3074" y="3324"/>
                  </a:lnTo>
                  <a:lnTo>
                    <a:pt x="3082" y="3326"/>
                  </a:lnTo>
                  <a:lnTo>
                    <a:pt x="3088" y="3326"/>
                  </a:lnTo>
                  <a:lnTo>
                    <a:pt x="3090" y="3326"/>
                  </a:lnTo>
                  <a:lnTo>
                    <a:pt x="3092" y="3324"/>
                  </a:lnTo>
                  <a:lnTo>
                    <a:pt x="3098" y="3316"/>
                  </a:lnTo>
                  <a:lnTo>
                    <a:pt x="3106" y="3310"/>
                  </a:lnTo>
                  <a:lnTo>
                    <a:pt x="3116" y="3304"/>
                  </a:lnTo>
                  <a:lnTo>
                    <a:pt x="3124" y="3302"/>
                  </a:lnTo>
                  <a:lnTo>
                    <a:pt x="3128" y="3300"/>
                  </a:lnTo>
                  <a:lnTo>
                    <a:pt x="3132" y="3298"/>
                  </a:lnTo>
                  <a:lnTo>
                    <a:pt x="3132" y="3294"/>
                  </a:lnTo>
                  <a:lnTo>
                    <a:pt x="3130" y="3290"/>
                  </a:lnTo>
                  <a:lnTo>
                    <a:pt x="3122" y="3278"/>
                  </a:lnTo>
                  <a:lnTo>
                    <a:pt x="3110" y="3268"/>
                  </a:lnTo>
                  <a:lnTo>
                    <a:pt x="3100" y="3258"/>
                  </a:lnTo>
                  <a:lnTo>
                    <a:pt x="3090" y="3254"/>
                  </a:lnTo>
                  <a:lnTo>
                    <a:pt x="3086" y="3252"/>
                  </a:lnTo>
                  <a:lnTo>
                    <a:pt x="3086" y="3250"/>
                  </a:lnTo>
                  <a:lnTo>
                    <a:pt x="3086" y="3248"/>
                  </a:lnTo>
                  <a:lnTo>
                    <a:pt x="3086" y="3246"/>
                  </a:lnTo>
                  <a:lnTo>
                    <a:pt x="3086" y="3244"/>
                  </a:lnTo>
                  <a:lnTo>
                    <a:pt x="3082" y="3242"/>
                  </a:lnTo>
                  <a:lnTo>
                    <a:pt x="3078" y="3240"/>
                  </a:lnTo>
                  <a:lnTo>
                    <a:pt x="3074" y="3242"/>
                  </a:lnTo>
                  <a:lnTo>
                    <a:pt x="3068" y="3246"/>
                  </a:lnTo>
                  <a:lnTo>
                    <a:pt x="3062" y="3246"/>
                  </a:lnTo>
                  <a:lnTo>
                    <a:pt x="3056" y="3244"/>
                  </a:lnTo>
                  <a:lnTo>
                    <a:pt x="3050" y="3242"/>
                  </a:lnTo>
                  <a:lnTo>
                    <a:pt x="3046" y="3236"/>
                  </a:lnTo>
                  <a:lnTo>
                    <a:pt x="3044" y="3232"/>
                  </a:lnTo>
                  <a:lnTo>
                    <a:pt x="3042" y="3228"/>
                  </a:lnTo>
                  <a:lnTo>
                    <a:pt x="3044" y="3224"/>
                  </a:lnTo>
                  <a:lnTo>
                    <a:pt x="3046" y="3224"/>
                  </a:lnTo>
                  <a:lnTo>
                    <a:pt x="3048" y="3224"/>
                  </a:lnTo>
                  <a:lnTo>
                    <a:pt x="3052" y="3230"/>
                  </a:lnTo>
                  <a:lnTo>
                    <a:pt x="3056" y="3238"/>
                  </a:lnTo>
                  <a:lnTo>
                    <a:pt x="3060" y="3242"/>
                  </a:lnTo>
                  <a:lnTo>
                    <a:pt x="3062" y="3244"/>
                  </a:lnTo>
                  <a:lnTo>
                    <a:pt x="3066" y="3242"/>
                  </a:lnTo>
                  <a:lnTo>
                    <a:pt x="3072" y="3240"/>
                  </a:lnTo>
                  <a:lnTo>
                    <a:pt x="3078" y="3236"/>
                  </a:lnTo>
                  <a:lnTo>
                    <a:pt x="3080" y="3236"/>
                  </a:lnTo>
                  <a:lnTo>
                    <a:pt x="3084" y="3236"/>
                  </a:lnTo>
                  <a:lnTo>
                    <a:pt x="3088" y="3240"/>
                  </a:lnTo>
                  <a:lnTo>
                    <a:pt x="3090" y="3242"/>
                  </a:lnTo>
                  <a:lnTo>
                    <a:pt x="3092" y="3246"/>
                  </a:lnTo>
                  <a:lnTo>
                    <a:pt x="3094" y="3248"/>
                  </a:lnTo>
                  <a:lnTo>
                    <a:pt x="3098" y="3248"/>
                  </a:lnTo>
                  <a:lnTo>
                    <a:pt x="3104" y="3248"/>
                  </a:lnTo>
                  <a:lnTo>
                    <a:pt x="3110" y="3250"/>
                  </a:lnTo>
                  <a:lnTo>
                    <a:pt x="3122" y="3256"/>
                  </a:lnTo>
                  <a:lnTo>
                    <a:pt x="3128" y="3258"/>
                  </a:lnTo>
                  <a:lnTo>
                    <a:pt x="3130" y="3258"/>
                  </a:lnTo>
                  <a:lnTo>
                    <a:pt x="3132" y="3256"/>
                  </a:lnTo>
                  <a:lnTo>
                    <a:pt x="3132" y="3254"/>
                  </a:lnTo>
                  <a:lnTo>
                    <a:pt x="3128" y="3244"/>
                  </a:lnTo>
                  <a:lnTo>
                    <a:pt x="3120" y="3236"/>
                  </a:lnTo>
                  <a:lnTo>
                    <a:pt x="3114" y="3230"/>
                  </a:lnTo>
                  <a:lnTo>
                    <a:pt x="3112" y="3226"/>
                  </a:lnTo>
                  <a:lnTo>
                    <a:pt x="3108" y="3220"/>
                  </a:lnTo>
                  <a:lnTo>
                    <a:pt x="3100" y="3212"/>
                  </a:lnTo>
                  <a:lnTo>
                    <a:pt x="3092" y="3206"/>
                  </a:lnTo>
                  <a:lnTo>
                    <a:pt x="3090" y="3200"/>
                  </a:lnTo>
                  <a:lnTo>
                    <a:pt x="3090" y="3192"/>
                  </a:lnTo>
                  <a:lnTo>
                    <a:pt x="3088" y="3186"/>
                  </a:lnTo>
                  <a:lnTo>
                    <a:pt x="3086" y="3178"/>
                  </a:lnTo>
                  <a:lnTo>
                    <a:pt x="3082" y="3168"/>
                  </a:lnTo>
                  <a:lnTo>
                    <a:pt x="3078" y="3158"/>
                  </a:lnTo>
                  <a:lnTo>
                    <a:pt x="3072" y="3138"/>
                  </a:lnTo>
                  <a:lnTo>
                    <a:pt x="3070" y="3130"/>
                  </a:lnTo>
                  <a:lnTo>
                    <a:pt x="3066" y="3122"/>
                  </a:lnTo>
                  <a:lnTo>
                    <a:pt x="3060" y="3116"/>
                  </a:lnTo>
                  <a:lnTo>
                    <a:pt x="3052" y="3112"/>
                  </a:lnTo>
                  <a:lnTo>
                    <a:pt x="3044" y="3108"/>
                  </a:lnTo>
                  <a:lnTo>
                    <a:pt x="3040" y="3104"/>
                  </a:lnTo>
                  <a:lnTo>
                    <a:pt x="3036" y="3098"/>
                  </a:lnTo>
                  <a:lnTo>
                    <a:pt x="3034" y="3094"/>
                  </a:lnTo>
                  <a:lnTo>
                    <a:pt x="3032" y="3094"/>
                  </a:lnTo>
                  <a:lnTo>
                    <a:pt x="3026" y="3096"/>
                  </a:lnTo>
                  <a:lnTo>
                    <a:pt x="3022" y="3096"/>
                  </a:lnTo>
                  <a:lnTo>
                    <a:pt x="3022" y="3092"/>
                  </a:lnTo>
                  <a:lnTo>
                    <a:pt x="3024" y="3084"/>
                  </a:lnTo>
                  <a:lnTo>
                    <a:pt x="3026" y="3076"/>
                  </a:lnTo>
                  <a:lnTo>
                    <a:pt x="3038" y="3058"/>
                  </a:lnTo>
                  <a:lnTo>
                    <a:pt x="3044" y="3052"/>
                  </a:lnTo>
                  <a:lnTo>
                    <a:pt x="3048" y="3048"/>
                  </a:lnTo>
                  <a:lnTo>
                    <a:pt x="3054" y="3044"/>
                  </a:lnTo>
                  <a:lnTo>
                    <a:pt x="3056" y="3042"/>
                  </a:lnTo>
                  <a:lnTo>
                    <a:pt x="3058" y="3038"/>
                  </a:lnTo>
                  <a:lnTo>
                    <a:pt x="3062" y="3034"/>
                  </a:lnTo>
                  <a:lnTo>
                    <a:pt x="3064" y="3032"/>
                  </a:lnTo>
                  <a:lnTo>
                    <a:pt x="3064" y="3028"/>
                  </a:lnTo>
                  <a:lnTo>
                    <a:pt x="3062" y="3024"/>
                  </a:lnTo>
                  <a:lnTo>
                    <a:pt x="3060" y="3020"/>
                  </a:lnTo>
                  <a:lnTo>
                    <a:pt x="3060" y="3018"/>
                  </a:lnTo>
                  <a:lnTo>
                    <a:pt x="3062" y="3018"/>
                  </a:lnTo>
                  <a:lnTo>
                    <a:pt x="3064" y="3016"/>
                  </a:lnTo>
                  <a:lnTo>
                    <a:pt x="3066" y="3016"/>
                  </a:lnTo>
                  <a:lnTo>
                    <a:pt x="3066" y="3020"/>
                  </a:lnTo>
                  <a:lnTo>
                    <a:pt x="3068" y="3022"/>
                  </a:lnTo>
                  <a:lnTo>
                    <a:pt x="3070" y="3024"/>
                  </a:lnTo>
                  <a:lnTo>
                    <a:pt x="3072" y="3024"/>
                  </a:lnTo>
                  <a:lnTo>
                    <a:pt x="3076" y="3022"/>
                  </a:lnTo>
                  <a:lnTo>
                    <a:pt x="3080" y="3020"/>
                  </a:lnTo>
                  <a:lnTo>
                    <a:pt x="3082" y="3018"/>
                  </a:lnTo>
                  <a:lnTo>
                    <a:pt x="3084" y="3012"/>
                  </a:lnTo>
                  <a:lnTo>
                    <a:pt x="3086" y="3008"/>
                  </a:lnTo>
                  <a:lnTo>
                    <a:pt x="3088" y="3006"/>
                  </a:lnTo>
                  <a:lnTo>
                    <a:pt x="3090" y="3008"/>
                  </a:lnTo>
                  <a:lnTo>
                    <a:pt x="3092" y="3008"/>
                  </a:lnTo>
                  <a:lnTo>
                    <a:pt x="3094" y="3006"/>
                  </a:lnTo>
                  <a:lnTo>
                    <a:pt x="3096" y="3002"/>
                  </a:lnTo>
                  <a:lnTo>
                    <a:pt x="3100" y="2996"/>
                  </a:lnTo>
                  <a:lnTo>
                    <a:pt x="3106" y="2990"/>
                  </a:lnTo>
                  <a:lnTo>
                    <a:pt x="3114" y="2988"/>
                  </a:lnTo>
                  <a:lnTo>
                    <a:pt x="3118" y="2988"/>
                  </a:lnTo>
                  <a:lnTo>
                    <a:pt x="3122" y="2986"/>
                  </a:lnTo>
                  <a:lnTo>
                    <a:pt x="3128" y="2982"/>
                  </a:lnTo>
                  <a:lnTo>
                    <a:pt x="3134" y="2976"/>
                  </a:lnTo>
                  <a:lnTo>
                    <a:pt x="3136" y="2976"/>
                  </a:lnTo>
                  <a:lnTo>
                    <a:pt x="3138" y="2978"/>
                  </a:lnTo>
                  <a:lnTo>
                    <a:pt x="3140" y="2978"/>
                  </a:lnTo>
                  <a:lnTo>
                    <a:pt x="3142" y="2976"/>
                  </a:lnTo>
                  <a:lnTo>
                    <a:pt x="3142" y="2978"/>
                  </a:lnTo>
                  <a:lnTo>
                    <a:pt x="3144" y="2980"/>
                  </a:lnTo>
                  <a:lnTo>
                    <a:pt x="3144" y="2982"/>
                  </a:lnTo>
                  <a:lnTo>
                    <a:pt x="3148" y="2984"/>
                  </a:lnTo>
                  <a:lnTo>
                    <a:pt x="3152" y="2982"/>
                  </a:lnTo>
                  <a:lnTo>
                    <a:pt x="3156" y="2980"/>
                  </a:lnTo>
                  <a:lnTo>
                    <a:pt x="3158" y="2978"/>
                  </a:lnTo>
                  <a:lnTo>
                    <a:pt x="3156" y="2974"/>
                  </a:lnTo>
                  <a:lnTo>
                    <a:pt x="3156" y="2972"/>
                  </a:lnTo>
                  <a:lnTo>
                    <a:pt x="3156" y="2970"/>
                  </a:lnTo>
                  <a:lnTo>
                    <a:pt x="3158" y="2966"/>
                  </a:lnTo>
                  <a:lnTo>
                    <a:pt x="3162" y="2960"/>
                  </a:lnTo>
                  <a:lnTo>
                    <a:pt x="3164" y="2958"/>
                  </a:lnTo>
                  <a:lnTo>
                    <a:pt x="3164" y="2956"/>
                  </a:lnTo>
                  <a:lnTo>
                    <a:pt x="3158" y="2952"/>
                  </a:lnTo>
                  <a:lnTo>
                    <a:pt x="3150" y="2950"/>
                  </a:lnTo>
                  <a:lnTo>
                    <a:pt x="3144" y="2946"/>
                  </a:lnTo>
                  <a:lnTo>
                    <a:pt x="3140" y="2942"/>
                  </a:lnTo>
                  <a:lnTo>
                    <a:pt x="3138" y="2944"/>
                  </a:lnTo>
                  <a:lnTo>
                    <a:pt x="3134" y="2948"/>
                  </a:lnTo>
                  <a:lnTo>
                    <a:pt x="3132" y="2948"/>
                  </a:lnTo>
                  <a:lnTo>
                    <a:pt x="3126" y="2950"/>
                  </a:lnTo>
                  <a:lnTo>
                    <a:pt x="3116" y="2948"/>
                  </a:lnTo>
                  <a:lnTo>
                    <a:pt x="3114" y="2944"/>
                  </a:lnTo>
                  <a:lnTo>
                    <a:pt x="3112" y="2942"/>
                  </a:lnTo>
                  <a:lnTo>
                    <a:pt x="3108" y="2942"/>
                  </a:lnTo>
                  <a:lnTo>
                    <a:pt x="3102" y="2942"/>
                  </a:lnTo>
                  <a:lnTo>
                    <a:pt x="3100" y="2938"/>
                  </a:lnTo>
                  <a:lnTo>
                    <a:pt x="3096" y="2934"/>
                  </a:lnTo>
                  <a:lnTo>
                    <a:pt x="3094" y="2930"/>
                  </a:lnTo>
                  <a:lnTo>
                    <a:pt x="3090" y="2930"/>
                  </a:lnTo>
                  <a:lnTo>
                    <a:pt x="3080" y="2930"/>
                  </a:lnTo>
                  <a:lnTo>
                    <a:pt x="3072" y="2934"/>
                  </a:lnTo>
                  <a:lnTo>
                    <a:pt x="3066" y="2940"/>
                  </a:lnTo>
                  <a:lnTo>
                    <a:pt x="3062" y="2946"/>
                  </a:lnTo>
                  <a:lnTo>
                    <a:pt x="3056" y="2950"/>
                  </a:lnTo>
                  <a:lnTo>
                    <a:pt x="3052" y="2952"/>
                  </a:lnTo>
                  <a:lnTo>
                    <a:pt x="3050" y="2954"/>
                  </a:lnTo>
                  <a:lnTo>
                    <a:pt x="3050" y="2958"/>
                  </a:lnTo>
                  <a:lnTo>
                    <a:pt x="3052" y="2962"/>
                  </a:lnTo>
                  <a:lnTo>
                    <a:pt x="3050" y="2964"/>
                  </a:lnTo>
                  <a:lnTo>
                    <a:pt x="3044" y="2966"/>
                  </a:lnTo>
                  <a:lnTo>
                    <a:pt x="3032" y="2968"/>
                  </a:lnTo>
                  <a:lnTo>
                    <a:pt x="3026" y="2968"/>
                  </a:lnTo>
                  <a:lnTo>
                    <a:pt x="3020" y="2964"/>
                  </a:lnTo>
                  <a:lnTo>
                    <a:pt x="3018" y="2960"/>
                  </a:lnTo>
                  <a:lnTo>
                    <a:pt x="3014" y="2956"/>
                  </a:lnTo>
                  <a:lnTo>
                    <a:pt x="3014" y="2946"/>
                  </a:lnTo>
                  <a:lnTo>
                    <a:pt x="3014" y="2940"/>
                  </a:lnTo>
                  <a:lnTo>
                    <a:pt x="3016" y="2938"/>
                  </a:lnTo>
                  <a:lnTo>
                    <a:pt x="3018" y="2934"/>
                  </a:lnTo>
                  <a:lnTo>
                    <a:pt x="3018" y="2930"/>
                  </a:lnTo>
                  <a:lnTo>
                    <a:pt x="3014" y="2922"/>
                  </a:lnTo>
                  <a:lnTo>
                    <a:pt x="3008" y="2914"/>
                  </a:lnTo>
                  <a:lnTo>
                    <a:pt x="3004" y="2912"/>
                  </a:lnTo>
                  <a:lnTo>
                    <a:pt x="3002" y="2912"/>
                  </a:lnTo>
                  <a:lnTo>
                    <a:pt x="2996" y="2914"/>
                  </a:lnTo>
                  <a:lnTo>
                    <a:pt x="2988" y="2914"/>
                  </a:lnTo>
                  <a:lnTo>
                    <a:pt x="2980" y="2914"/>
                  </a:lnTo>
                  <a:lnTo>
                    <a:pt x="2976" y="2912"/>
                  </a:lnTo>
                  <a:lnTo>
                    <a:pt x="2974" y="2910"/>
                  </a:lnTo>
                  <a:lnTo>
                    <a:pt x="2970" y="2906"/>
                  </a:lnTo>
                  <a:lnTo>
                    <a:pt x="2966" y="2904"/>
                  </a:lnTo>
                  <a:lnTo>
                    <a:pt x="2962" y="2900"/>
                  </a:lnTo>
                  <a:lnTo>
                    <a:pt x="2958" y="2890"/>
                  </a:lnTo>
                  <a:lnTo>
                    <a:pt x="2958" y="2880"/>
                  </a:lnTo>
                  <a:lnTo>
                    <a:pt x="2960" y="2872"/>
                  </a:lnTo>
                  <a:lnTo>
                    <a:pt x="2962" y="2868"/>
                  </a:lnTo>
                  <a:lnTo>
                    <a:pt x="2964" y="2862"/>
                  </a:lnTo>
                  <a:lnTo>
                    <a:pt x="2966" y="2856"/>
                  </a:lnTo>
                  <a:lnTo>
                    <a:pt x="2970" y="2854"/>
                  </a:lnTo>
                  <a:lnTo>
                    <a:pt x="2976" y="2854"/>
                  </a:lnTo>
                  <a:lnTo>
                    <a:pt x="2982" y="2860"/>
                  </a:lnTo>
                  <a:lnTo>
                    <a:pt x="2986" y="2864"/>
                  </a:lnTo>
                  <a:lnTo>
                    <a:pt x="2988" y="2864"/>
                  </a:lnTo>
                  <a:lnTo>
                    <a:pt x="2992" y="2862"/>
                  </a:lnTo>
                  <a:lnTo>
                    <a:pt x="2996" y="2856"/>
                  </a:lnTo>
                  <a:lnTo>
                    <a:pt x="3000" y="2856"/>
                  </a:lnTo>
                  <a:lnTo>
                    <a:pt x="3002" y="2856"/>
                  </a:lnTo>
                  <a:lnTo>
                    <a:pt x="3010" y="2856"/>
                  </a:lnTo>
                  <a:lnTo>
                    <a:pt x="3018" y="2854"/>
                  </a:lnTo>
                  <a:lnTo>
                    <a:pt x="3024" y="2846"/>
                  </a:lnTo>
                  <a:lnTo>
                    <a:pt x="3026" y="2836"/>
                  </a:lnTo>
                  <a:lnTo>
                    <a:pt x="3026" y="2830"/>
                  </a:lnTo>
                  <a:lnTo>
                    <a:pt x="3032" y="2824"/>
                  </a:lnTo>
                  <a:lnTo>
                    <a:pt x="3044" y="2814"/>
                  </a:lnTo>
                  <a:lnTo>
                    <a:pt x="3058" y="2806"/>
                  </a:lnTo>
                  <a:lnTo>
                    <a:pt x="3070" y="2802"/>
                  </a:lnTo>
                  <a:lnTo>
                    <a:pt x="3076" y="2798"/>
                  </a:lnTo>
                  <a:lnTo>
                    <a:pt x="3078" y="2794"/>
                  </a:lnTo>
                  <a:lnTo>
                    <a:pt x="3080" y="2786"/>
                  </a:lnTo>
                  <a:lnTo>
                    <a:pt x="3088" y="2778"/>
                  </a:lnTo>
                  <a:lnTo>
                    <a:pt x="3094" y="2770"/>
                  </a:lnTo>
                  <a:lnTo>
                    <a:pt x="3094" y="2768"/>
                  </a:lnTo>
                  <a:lnTo>
                    <a:pt x="3096" y="2766"/>
                  </a:lnTo>
                  <a:lnTo>
                    <a:pt x="3100" y="2762"/>
                  </a:lnTo>
                  <a:lnTo>
                    <a:pt x="3104" y="2760"/>
                  </a:lnTo>
                  <a:lnTo>
                    <a:pt x="3108" y="2760"/>
                  </a:lnTo>
                  <a:lnTo>
                    <a:pt x="3114" y="2760"/>
                  </a:lnTo>
                  <a:lnTo>
                    <a:pt x="3120" y="2762"/>
                  </a:lnTo>
                  <a:lnTo>
                    <a:pt x="3122" y="2762"/>
                  </a:lnTo>
                  <a:lnTo>
                    <a:pt x="3124" y="2762"/>
                  </a:lnTo>
                  <a:lnTo>
                    <a:pt x="3128" y="2760"/>
                  </a:lnTo>
                  <a:lnTo>
                    <a:pt x="3130" y="2760"/>
                  </a:lnTo>
                  <a:lnTo>
                    <a:pt x="3132" y="2764"/>
                  </a:lnTo>
                  <a:lnTo>
                    <a:pt x="3138" y="2770"/>
                  </a:lnTo>
                  <a:lnTo>
                    <a:pt x="3144" y="2778"/>
                  </a:lnTo>
                  <a:lnTo>
                    <a:pt x="3146" y="2782"/>
                  </a:lnTo>
                  <a:lnTo>
                    <a:pt x="3144" y="2790"/>
                  </a:lnTo>
                  <a:lnTo>
                    <a:pt x="3138" y="2800"/>
                  </a:lnTo>
                  <a:lnTo>
                    <a:pt x="3132" y="2806"/>
                  </a:lnTo>
                  <a:lnTo>
                    <a:pt x="3128" y="2810"/>
                  </a:lnTo>
                  <a:lnTo>
                    <a:pt x="3120" y="2816"/>
                  </a:lnTo>
                  <a:lnTo>
                    <a:pt x="3114" y="2820"/>
                  </a:lnTo>
                  <a:lnTo>
                    <a:pt x="3114" y="2822"/>
                  </a:lnTo>
                  <a:lnTo>
                    <a:pt x="3114" y="2824"/>
                  </a:lnTo>
                  <a:lnTo>
                    <a:pt x="3116" y="2826"/>
                  </a:lnTo>
                  <a:lnTo>
                    <a:pt x="3114" y="2828"/>
                  </a:lnTo>
                  <a:lnTo>
                    <a:pt x="3110" y="2832"/>
                  </a:lnTo>
                  <a:lnTo>
                    <a:pt x="3104" y="2834"/>
                  </a:lnTo>
                  <a:lnTo>
                    <a:pt x="3104" y="2836"/>
                  </a:lnTo>
                  <a:lnTo>
                    <a:pt x="3106" y="2836"/>
                  </a:lnTo>
                  <a:lnTo>
                    <a:pt x="3110" y="2840"/>
                  </a:lnTo>
                  <a:lnTo>
                    <a:pt x="3116" y="2844"/>
                  </a:lnTo>
                  <a:lnTo>
                    <a:pt x="3120" y="2850"/>
                  </a:lnTo>
                  <a:lnTo>
                    <a:pt x="3122" y="2854"/>
                  </a:lnTo>
                  <a:lnTo>
                    <a:pt x="3122" y="2858"/>
                  </a:lnTo>
                  <a:lnTo>
                    <a:pt x="3120" y="2862"/>
                  </a:lnTo>
                  <a:lnTo>
                    <a:pt x="3118" y="2864"/>
                  </a:lnTo>
                  <a:lnTo>
                    <a:pt x="3116" y="2862"/>
                  </a:lnTo>
                  <a:lnTo>
                    <a:pt x="3112" y="2860"/>
                  </a:lnTo>
                  <a:lnTo>
                    <a:pt x="3110" y="2862"/>
                  </a:lnTo>
                  <a:lnTo>
                    <a:pt x="3108" y="2864"/>
                  </a:lnTo>
                  <a:lnTo>
                    <a:pt x="3106" y="2868"/>
                  </a:lnTo>
                  <a:lnTo>
                    <a:pt x="3102" y="2868"/>
                  </a:lnTo>
                  <a:lnTo>
                    <a:pt x="3100" y="2876"/>
                  </a:lnTo>
                  <a:lnTo>
                    <a:pt x="3100" y="2880"/>
                  </a:lnTo>
                  <a:lnTo>
                    <a:pt x="3102" y="2882"/>
                  </a:lnTo>
                  <a:lnTo>
                    <a:pt x="3104" y="2882"/>
                  </a:lnTo>
                  <a:lnTo>
                    <a:pt x="3106" y="2880"/>
                  </a:lnTo>
                  <a:lnTo>
                    <a:pt x="3112" y="2878"/>
                  </a:lnTo>
                  <a:lnTo>
                    <a:pt x="3120" y="2874"/>
                  </a:lnTo>
                  <a:lnTo>
                    <a:pt x="3124" y="2874"/>
                  </a:lnTo>
                  <a:lnTo>
                    <a:pt x="3124" y="2872"/>
                  </a:lnTo>
                  <a:lnTo>
                    <a:pt x="3124" y="2868"/>
                  </a:lnTo>
                  <a:lnTo>
                    <a:pt x="3124" y="2866"/>
                  </a:lnTo>
                  <a:lnTo>
                    <a:pt x="3128" y="2866"/>
                  </a:lnTo>
                  <a:lnTo>
                    <a:pt x="3132" y="2866"/>
                  </a:lnTo>
                  <a:lnTo>
                    <a:pt x="3136" y="2864"/>
                  </a:lnTo>
                  <a:lnTo>
                    <a:pt x="3142" y="2856"/>
                  </a:lnTo>
                  <a:lnTo>
                    <a:pt x="3148" y="2848"/>
                  </a:lnTo>
                  <a:lnTo>
                    <a:pt x="3152" y="2844"/>
                  </a:lnTo>
                  <a:lnTo>
                    <a:pt x="3156" y="2840"/>
                  </a:lnTo>
                  <a:lnTo>
                    <a:pt x="3162" y="2836"/>
                  </a:lnTo>
                  <a:lnTo>
                    <a:pt x="3164" y="2834"/>
                  </a:lnTo>
                  <a:lnTo>
                    <a:pt x="3168" y="2832"/>
                  </a:lnTo>
                  <a:lnTo>
                    <a:pt x="3176" y="2830"/>
                  </a:lnTo>
                  <a:lnTo>
                    <a:pt x="3182" y="2830"/>
                  </a:lnTo>
                  <a:lnTo>
                    <a:pt x="3186" y="2828"/>
                  </a:lnTo>
                  <a:lnTo>
                    <a:pt x="3188" y="2826"/>
                  </a:lnTo>
                  <a:lnTo>
                    <a:pt x="3190" y="2822"/>
                  </a:lnTo>
                  <a:lnTo>
                    <a:pt x="3194" y="2822"/>
                  </a:lnTo>
                  <a:lnTo>
                    <a:pt x="3196" y="2824"/>
                  </a:lnTo>
                  <a:lnTo>
                    <a:pt x="3200" y="2822"/>
                  </a:lnTo>
                  <a:lnTo>
                    <a:pt x="3202" y="2820"/>
                  </a:lnTo>
                  <a:lnTo>
                    <a:pt x="3206" y="2820"/>
                  </a:lnTo>
                  <a:lnTo>
                    <a:pt x="3212" y="2820"/>
                  </a:lnTo>
                  <a:lnTo>
                    <a:pt x="3220" y="2818"/>
                  </a:lnTo>
                  <a:lnTo>
                    <a:pt x="3226" y="2816"/>
                  </a:lnTo>
                  <a:lnTo>
                    <a:pt x="3230" y="2812"/>
                  </a:lnTo>
                  <a:lnTo>
                    <a:pt x="3232" y="2808"/>
                  </a:lnTo>
                  <a:lnTo>
                    <a:pt x="3230" y="2812"/>
                  </a:lnTo>
                  <a:lnTo>
                    <a:pt x="3232" y="2818"/>
                  </a:lnTo>
                  <a:lnTo>
                    <a:pt x="3236" y="2824"/>
                  </a:lnTo>
                  <a:lnTo>
                    <a:pt x="3242" y="2828"/>
                  </a:lnTo>
                  <a:lnTo>
                    <a:pt x="3244" y="2830"/>
                  </a:lnTo>
                  <a:lnTo>
                    <a:pt x="3246" y="2828"/>
                  </a:lnTo>
                  <a:lnTo>
                    <a:pt x="3250" y="2828"/>
                  </a:lnTo>
                  <a:lnTo>
                    <a:pt x="3254" y="2828"/>
                  </a:lnTo>
                  <a:lnTo>
                    <a:pt x="3264" y="2832"/>
                  </a:lnTo>
                  <a:lnTo>
                    <a:pt x="3268" y="2836"/>
                  </a:lnTo>
                  <a:lnTo>
                    <a:pt x="3272" y="2840"/>
                  </a:lnTo>
                  <a:lnTo>
                    <a:pt x="3274" y="2846"/>
                  </a:lnTo>
                  <a:lnTo>
                    <a:pt x="3272" y="2850"/>
                  </a:lnTo>
                  <a:lnTo>
                    <a:pt x="3264" y="2868"/>
                  </a:lnTo>
                  <a:lnTo>
                    <a:pt x="3262" y="2876"/>
                  </a:lnTo>
                  <a:lnTo>
                    <a:pt x="3262" y="2878"/>
                  </a:lnTo>
                  <a:lnTo>
                    <a:pt x="3264" y="2880"/>
                  </a:lnTo>
                  <a:lnTo>
                    <a:pt x="3266" y="2884"/>
                  </a:lnTo>
                  <a:lnTo>
                    <a:pt x="3262" y="2886"/>
                  </a:lnTo>
                  <a:lnTo>
                    <a:pt x="3258" y="2892"/>
                  </a:lnTo>
                  <a:lnTo>
                    <a:pt x="3254" y="2900"/>
                  </a:lnTo>
                  <a:lnTo>
                    <a:pt x="3250" y="2906"/>
                  </a:lnTo>
                  <a:lnTo>
                    <a:pt x="3248" y="2910"/>
                  </a:lnTo>
                  <a:lnTo>
                    <a:pt x="3244" y="2914"/>
                  </a:lnTo>
                  <a:lnTo>
                    <a:pt x="3242" y="2914"/>
                  </a:lnTo>
                  <a:lnTo>
                    <a:pt x="3252" y="2916"/>
                  </a:lnTo>
                  <a:lnTo>
                    <a:pt x="3258" y="2918"/>
                  </a:lnTo>
                  <a:lnTo>
                    <a:pt x="3260" y="2918"/>
                  </a:lnTo>
                  <a:lnTo>
                    <a:pt x="3258" y="2920"/>
                  </a:lnTo>
                  <a:lnTo>
                    <a:pt x="3258" y="2922"/>
                  </a:lnTo>
                  <a:lnTo>
                    <a:pt x="3254" y="2924"/>
                  </a:lnTo>
                  <a:lnTo>
                    <a:pt x="3256" y="2926"/>
                  </a:lnTo>
                  <a:lnTo>
                    <a:pt x="3262" y="2928"/>
                  </a:lnTo>
                  <a:lnTo>
                    <a:pt x="3268" y="2928"/>
                  </a:lnTo>
                  <a:lnTo>
                    <a:pt x="3270" y="2930"/>
                  </a:lnTo>
                  <a:lnTo>
                    <a:pt x="3270" y="2932"/>
                  </a:lnTo>
                  <a:lnTo>
                    <a:pt x="3270" y="2934"/>
                  </a:lnTo>
                  <a:lnTo>
                    <a:pt x="3270" y="2938"/>
                  </a:lnTo>
                  <a:lnTo>
                    <a:pt x="3274" y="2936"/>
                  </a:lnTo>
                  <a:lnTo>
                    <a:pt x="3278" y="2934"/>
                  </a:lnTo>
                  <a:lnTo>
                    <a:pt x="3280" y="2930"/>
                  </a:lnTo>
                  <a:lnTo>
                    <a:pt x="3282" y="2924"/>
                  </a:lnTo>
                  <a:lnTo>
                    <a:pt x="3284" y="2922"/>
                  </a:lnTo>
                  <a:lnTo>
                    <a:pt x="3292" y="2926"/>
                  </a:lnTo>
                  <a:lnTo>
                    <a:pt x="3300" y="2934"/>
                  </a:lnTo>
                  <a:lnTo>
                    <a:pt x="3302" y="2934"/>
                  </a:lnTo>
                  <a:lnTo>
                    <a:pt x="3304" y="2930"/>
                  </a:lnTo>
                  <a:lnTo>
                    <a:pt x="3304" y="2928"/>
                  </a:lnTo>
                  <a:lnTo>
                    <a:pt x="3306" y="2926"/>
                  </a:lnTo>
                  <a:lnTo>
                    <a:pt x="3312" y="2928"/>
                  </a:lnTo>
                  <a:lnTo>
                    <a:pt x="3318" y="2930"/>
                  </a:lnTo>
                  <a:lnTo>
                    <a:pt x="3324" y="2930"/>
                  </a:lnTo>
                  <a:lnTo>
                    <a:pt x="3324" y="2934"/>
                  </a:lnTo>
                  <a:lnTo>
                    <a:pt x="3322" y="2934"/>
                  </a:lnTo>
                  <a:lnTo>
                    <a:pt x="3320" y="2938"/>
                  </a:lnTo>
                  <a:lnTo>
                    <a:pt x="3320" y="2942"/>
                  </a:lnTo>
                  <a:lnTo>
                    <a:pt x="3324" y="2948"/>
                  </a:lnTo>
                  <a:lnTo>
                    <a:pt x="3326" y="2954"/>
                  </a:lnTo>
                  <a:lnTo>
                    <a:pt x="3326" y="2958"/>
                  </a:lnTo>
                  <a:lnTo>
                    <a:pt x="3324" y="2960"/>
                  </a:lnTo>
                  <a:lnTo>
                    <a:pt x="3324" y="2962"/>
                  </a:lnTo>
                  <a:lnTo>
                    <a:pt x="3324" y="2966"/>
                  </a:lnTo>
                  <a:lnTo>
                    <a:pt x="3328" y="2970"/>
                  </a:lnTo>
                  <a:lnTo>
                    <a:pt x="3332" y="2974"/>
                  </a:lnTo>
                  <a:lnTo>
                    <a:pt x="3334" y="2976"/>
                  </a:lnTo>
                  <a:lnTo>
                    <a:pt x="3334" y="2980"/>
                  </a:lnTo>
                  <a:lnTo>
                    <a:pt x="3332" y="2982"/>
                  </a:lnTo>
                  <a:lnTo>
                    <a:pt x="3330" y="2980"/>
                  </a:lnTo>
                  <a:lnTo>
                    <a:pt x="3328" y="2976"/>
                  </a:lnTo>
                  <a:lnTo>
                    <a:pt x="3326" y="2974"/>
                  </a:lnTo>
                  <a:lnTo>
                    <a:pt x="3322" y="2974"/>
                  </a:lnTo>
                  <a:lnTo>
                    <a:pt x="3312" y="2974"/>
                  </a:lnTo>
                  <a:lnTo>
                    <a:pt x="3310" y="2974"/>
                  </a:lnTo>
                  <a:lnTo>
                    <a:pt x="3312" y="2978"/>
                  </a:lnTo>
                  <a:lnTo>
                    <a:pt x="3312" y="2980"/>
                  </a:lnTo>
                  <a:lnTo>
                    <a:pt x="3312" y="2982"/>
                  </a:lnTo>
                  <a:lnTo>
                    <a:pt x="3310" y="2982"/>
                  </a:lnTo>
                  <a:lnTo>
                    <a:pt x="3308" y="2980"/>
                  </a:lnTo>
                  <a:lnTo>
                    <a:pt x="3306" y="2980"/>
                  </a:lnTo>
                  <a:lnTo>
                    <a:pt x="3302" y="2984"/>
                  </a:lnTo>
                  <a:lnTo>
                    <a:pt x="3302" y="2988"/>
                  </a:lnTo>
                  <a:lnTo>
                    <a:pt x="3304" y="2992"/>
                  </a:lnTo>
                  <a:lnTo>
                    <a:pt x="3308" y="2994"/>
                  </a:lnTo>
                  <a:lnTo>
                    <a:pt x="3312" y="2992"/>
                  </a:lnTo>
                  <a:lnTo>
                    <a:pt x="3314" y="2992"/>
                  </a:lnTo>
                  <a:lnTo>
                    <a:pt x="3316" y="2998"/>
                  </a:lnTo>
                  <a:lnTo>
                    <a:pt x="3318" y="3014"/>
                  </a:lnTo>
                  <a:lnTo>
                    <a:pt x="3318" y="3020"/>
                  </a:lnTo>
                  <a:lnTo>
                    <a:pt x="3320" y="3022"/>
                  </a:lnTo>
                  <a:lnTo>
                    <a:pt x="3324" y="3026"/>
                  </a:lnTo>
                  <a:lnTo>
                    <a:pt x="3324" y="3028"/>
                  </a:lnTo>
                  <a:lnTo>
                    <a:pt x="3322" y="3030"/>
                  </a:lnTo>
                  <a:lnTo>
                    <a:pt x="3324" y="3034"/>
                  </a:lnTo>
                  <a:lnTo>
                    <a:pt x="3326" y="3038"/>
                  </a:lnTo>
                  <a:lnTo>
                    <a:pt x="3324" y="3042"/>
                  </a:lnTo>
                  <a:lnTo>
                    <a:pt x="3320" y="3046"/>
                  </a:lnTo>
                  <a:lnTo>
                    <a:pt x="3316" y="3054"/>
                  </a:lnTo>
                  <a:lnTo>
                    <a:pt x="3308" y="3070"/>
                  </a:lnTo>
                  <a:lnTo>
                    <a:pt x="3308" y="3076"/>
                  </a:lnTo>
                  <a:lnTo>
                    <a:pt x="3308" y="3078"/>
                  </a:lnTo>
                  <a:lnTo>
                    <a:pt x="3310" y="3082"/>
                  </a:lnTo>
                  <a:lnTo>
                    <a:pt x="3310" y="3084"/>
                  </a:lnTo>
                  <a:lnTo>
                    <a:pt x="3312" y="3088"/>
                  </a:lnTo>
                  <a:lnTo>
                    <a:pt x="3312" y="3092"/>
                  </a:lnTo>
                  <a:lnTo>
                    <a:pt x="3314" y="3096"/>
                  </a:lnTo>
                  <a:lnTo>
                    <a:pt x="3312" y="3096"/>
                  </a:lnTo>
                  <a:lnTo>
                    <a:pt x="3308" y="3096"/>
                  </a:lnTo>
                  <a:lnTo>
                    <a:pt x="3308" y="3100"/>
                  </a:lnTo>
                  <a:lnTo>
                    <a:pt x="3310" y="3104"/>
                  </a:lnTo>
                  <a:lnTo>
                    <a:pt x="3312" y="3104"/>
                  </a:lnTo>
                  <a:lnTo>
                    <a:pt x="3316" y="3104"/>
                  </a:lnTo>
                  <a:lnTo>
                    <a:pt x="3316" y="3110"/>
                  </a:lnTo>
                  <a:lnTo>
                    <a:pt x="3316" y="3116"/>
                  </a:lnTo>
                  <a:lnTo>
                    <a:pt x="3318" y="3118"/>
                  </a:lnTo>
                  <a:lnTo>
                    <a:pt x="3322" y="3116"/>
                  </a:lnTo>
                  <a:lnTo>
                    <a:pt x="3326" y="3110"/>
                  </a:lnTo>
                  <a:lnTo>
                    <a:pt x="3330" y="3104"/>
                  </a:lnTo>
                  <a:lnTo>
                    <a:pt x="3330" y="3106"/>
                  </a:lnTo>
                  <a:lnTo>
                    <a:pt x="3330" y="3110"/>
                  </a:lnTo>
                  <a:lnTo>
                    <a:pt x="3330" y="3112"/>
                  </a:lnTo>
                  <a:lnTo>
                    <a:pt x="3334" y="3110"/>
                  </a:lnTo>
                  <a:lnTo>
                    <a:pt x="3334" y="3108"/>
                  </a:lnTo>
                  <a:lnTo>
                    <a:pt x="3338" y="3102"/>
                  </a:lnTo>
                  <a:lnTo>
                    <a:pt x="3342" y="3098"/>
                  </a:lnTo>
                  <a:lnTo>
                    <a:pt x="3346" y="3094"/>
                  </a:lnTo>
                  <a:lnTo>
                    <a:pt x="3348" y="3094"/>
                  </a:lnTo>
                  <a:lnTo>
                    <a:pt x="3348" y="3096"/>
                  </a:lnTo>
                  <a:lnTo>
                    <a:pt x="3346" y="3100"/>
                  </a:lnTo>
                  <a:lnTo>
                    <a:pt x="3344" y="3106"/>
                  </a:lnTo>
                  <a:lnTo>
                    <a:pt x="3346" y="3108"/>
                  </a:lnTo>
                  <a:lnTo>
                    <a:pt x="3350" y="3110"/>
                  </a:lnTo>
                  <a:lnTo>
                    <a:pt x="3354" y="3108"/>
                  </a:lnTo>
                  <a:lnTo>
                    <a:pt x="3356" y="3106"/>
                  </a:lnTo>
                  <a:lnTo>
                    <a:pt x="3356" y="3104"/>
                  </a:lnTo>
                  <a:lnTo>
                    <a:pt x="3354" y="3096"/>
                  </a:lnTo>
                  <a:lnTo>
                    <a:pt x="3354" y="3094"/>
                  </a:lnTo>
                  <a:lnTo>
                    <a:pt x="3356" y="3092"/>
                  </a:lnTo>
                  <a:lnTo>
                    <a:pt x="3358" y="3092"/>
                  </a:lnTo>
                  <a:lnTo>
                    <a:pt x="3358" y="3094"/>
                  </a:lnTo>
                  <a:lnTo>
                    <a:pt x="3360" y="3102"/>
                  </a:lnTo>
                  <a:lnTo>
                    <a:pt x="3362" y="3100"/>
                  </a:lnTo>
                  <a:lnTo>
                    <a:pt x="3366" y="3096"/>
                  </a:lnTo>
                  <a:lnTo>
                    <a:pt x="3368" y="3094"/>
                  </a:lnTo>
                  <a:lnTo>
                    <a:pt x="3368" y="3092"/>
                  </a:lnTo>
                  <a:lnTo>
                    <a:pt x="3364" y="3088"/>
                  </a:lnTo>
                  <a:lnTo>
                    <a:pt x="3362" y="3086"/>
                  </a:lnTo>
                  <a:lnTo>
                    <a:pt x="3366" y="3084"/>
                  </a:lnTo>
                  <a:lnTo>
                    <a:pt x="3376" y="3084"/>
                  </a:lnTo>
                  <a:lnTo>
                    <a:pt x="3384" y="3086"/>
                  </a:lnTo>
                  <a:lnTo>
                    <a:pt x="3390" y="3090"/>
                  </a:lnTo>
                  <a:lnTo>
                    <a:pt x="3394" y="3090"/>
                  </a:lnTo>
                  <a:lnTo>
                    <a:pt x="3396" y="3088"/>
                  </a:lnTo>
                  <a:lnTo>
                    <a:pt x="3396" y="3084"/>
                  </a:lnTo>
                  <a:lnTo>
                    <a:pt x="3396" y="3082"/>
                  </a:lnTo>
                  <a:lnTo>
                    <a:pt x="3400" y="3078"/>
                  </a:lnTo>
                  <a:lnTo>
                    <a:pt x="3406" y="3076"/>
                  </a:lnTo>
                  <a:lnTo>
                    <a:pt x="3412" y="3078"/>
                  </a:lnTo>
                  <a:lnTo>
                    <a:pt x="3418" y="3078"/>
                  </a:lnTo>
                  <a:lnTo>
                    <a:pt x="3422" y="3076"/>
                  </a:lnTo>
                  <a:lnTo>
                    <a:pt x="3428" y="3070"/>
                  </a:lnTo>
                  <a:lnTo>
                    <a:pt x="3434" y="3058"/>
                  </a:lnTo>
                  <a:lnTo>
                    <a:pt x="3438" y="3044"/>
                  </a:lnTo>
                  <a:lnTo>
                    <a:pt x="3440" y="3032"/>
                  </a:lnTo>
                  <a:lnTo>
                    <a:pt x="3440" y="3026"/>
                  </a:lnTo>
                  <a:lnTo>
                    <a:pt x="3436" y="3026"/>
                  </a:lnTo>
                  <a:lnTo>
                    <a:pt x="3434" y="3026"/>
                  </a:lnTo>
                  <a:lnTo>
                    <a:pt x="3432" y="3018"/>
                  </a:lnTo>
                  <a:lnTo>
                    <a:pt x="3434" y="3008"/>
                  </a:lnTo>
                  <a:lnTo>
                    <a:pt x="3436" y="3002"/>
                  </a:lnTo>
                  <a:lnTo>
                    <a:pt x="3436" y="2994"/>
                  </a:lnTo>
                  <a:lnTo>
                    <a:pt x="3436" y="2980"/>
                  </a:lnTo>
                  <a:lnTo>
                    <a:pt x="3432" y="2964"/>
                  </a:lnTo>
                  <a:lnTo>
                    <a:pt x="3426" y="2948"/>
                  </a:lnTo>
                  <a:lnTo>
                    <a:pt x="3418" y="2934"/>
                  </a:lnTo>
                  <a:lnTo>
                    <a:pt x="3410" y="2922"/>
                  </a:lnTo>
                  <a:lnTo>
                    <a:pt x="3402" y="2910"/>
                  </a:lnTo>
                  <a:lnTo>
                    <a:pt x="3398" y="2902"/>
                  </a:lnTo>
                  <a:lnTo>
                    <a:pt x="3392" y="2886"/>
                  </a:lnTo>
                  <a:lnTo>
                    <a:pt x="3388" y="2882"/>
                  </a:lnTo>
                  <a:lnTo>
                    <a:pt x="3386" y="2880"/>
                  </a:lnTo>
                  <a:lnTo>
                    <a:pt x="3380" y="2876"/>
                  </a:lnTo>
                  <a:lnTo>
                    <a:pt x="3374" y="2866"/>
                  </a:lnTo>
                  <a:lnTo>
                    <a:pt x="3370" y="2862"/>
                  </a:lnTo>
                  <a:lnTo>
                    <a:pt x="3366" y="2858"/>
                  </a:lnTo>
                  <a:lnTo>
                    <a:pt x="3360" y="2856"/>
                  </a:lnTo>
                  <a:lnTo>
                    <a:pt x="3354" y="2856"/>
                  </a:lnTo>
                  <a:lnTo>
                    <a:pt x="3352" y="2852"/>
                  </a:lnTo>
                  <a:lnTo>
                    <a:pt x="3352" y="2850"/>
                  </a:lnTo>
                  <a:lnTo>
                    <a:pt x="3354" y="2848"/>
                  </a:lnTo>
                  <a:lnTo>
                    <a:pt x="3356" y="2848"/>
                  </a:lnTo>
                  <a:lnTo>
                    <a:pt x="3358" y="2848"/>
                  </a:lnTo>
                  <a:lnTo>
                    <a:pt x="3360" y="2848"/>
                  </a:lnTo>
                  <a:lnTo>
                    <a:pt x="3360" y="2838"/>
                  </a:lnTo>
                  <a:lnTo>
                    <a:pt x="3358" y="2830"/>
                  </a:lnTo>
                  <a:lnTo>
                    <a:pt x="3358" y="2826"/>
                  </a:lnTo>
                  <a:lnTo>
                    <a:pt x="3360" y="2822"/>
                  </a:lnTo>
                  <a:lnTo>
                    <a:pt x="3362" y="2822"/>
                  </a:lnTo>
                  <a:lnTo>
                    <a:pt x="3368" y="2820"/>
                  </a:lnTo>
                  <a:lnTo>
                    <a:pt x="3372" y="2818"/>
                  </a:lnTo>
                  <a:lnTo>
                    <a:pt x="3374" y="2814"/>
                  </a:lnTo>
                  <a:lnTo>
                    <a:pt x="3376" y="2810"/>
                  </a:lnTo>
                  <a:lnTo>
                    <a:pt x="3378" y="2808"/>
                  </a:lnTo>
                  <a:lnTo>
                    <a:pt x="3384" y="2810"/>
                  </a:lnTo>
                  <a:lnTo>
                    <a:pt x="3386" y="2810"/>
                  </a:lnTo>
                  <a:lnTo>
                    <a:pt x="3390" y="2810"/>
                  </a:lnTo>
                  <a:lnTo>
                    <a:pt x="3396" y="2806"/>
                  </a:lnTo>
                  <a:lnTo>
                    <a:pt x="3402" y="2800"/>
                  </a:lnTo>
                  <a:lnTo>
                    <a:pt x="3426" y="2776"/>
                  </a:lnTo>
                  <a:lnTo>
                    <a:pt x="3434" y="2768"/>
                  </a:lnTo>
                  <a:lnTo>
                    <a:pt x="3442" y="2766"/>
                  </a:lnTo>
                  <a:lnTo>
                    <a:pt x="3444" y="2764"/>
                  </a:lnTo>
                  <a:lnTo>
                    <a:pt x="3446" y="2762"/>
                  </a:lnTo>
                  <a:lnTo>
                    <a:pt x="3448" y="2754"/>
                  </a:lnTo>
                  <a:lnTo>
                    <a:pt x="3448" y="2746"/>
                  </a:lnTo>
                  <a:lnTo>
                    <a:pt x="3448" y="2738"/>
                  </a:lnTo>
                  <a:lnTo>
                    <a:pt x="3448" y="2734"/>
                  </a:lnTo>
                  <a:lnTo>
                    <a:pt x="3448" y="2732"/>
                  </a:lnTo>
                  <a:lnTo>
                    <a:pt x="3446" y="2730"/>
                  </a:lnTo>
                  <a:lnTo>
                    <a:pt x="3444" y="2728"/>
                  </a:lnTo>
                  <a:lnTo>
                    <a:pt x="3444" y="2724"/>
                  </a:lnTo>
                  <a:lnTo>
                    <a:pt x="3450" y="2714"/>
                  </a:lnTo>
                  <a:lnTo>
                    <a:pt x="3464" y="2694"/>
                  </a:lnTo>
                  <a:lnTo>
                    <a:pt x="3474" y="2684"/>
                  </a:lnTo>
                  <a:lnTo>
                    <a:pt x="3478" y="2682"/>
                  </a:lnTo>
                  <a:lnTo>
                    <a:pt x="3480" y="2684"/>
                  </a:lnTo>
                  <a:lnTo>
                    <a:pt x="3482" y="2684"/>
                  </a:lnTo>
                  <a:lnTo>
                    <a:pt x="3488" y="2682"/>
                  </a:lnTo>
                  <a:lnTo>
                    <a:pt x="3492" y="2678"/>
                  </a:lnTo>
                  <a:lnTo>
                    <a:pt x="3492" y="2674"/>
                  </a:lnTo>
                  <a:lnTo>
                    <a:pt x="3492" y="2666"/>
                  </a:lnTo>
                  <a:lnTo>
                    <a:pt x="3492" y="2664"/>
                  </a:lnTo>
                  <a:lnTo>
                    <a:pt x="3498" y="2664"/>
                  </a:lnTo>
                  <a:lnTo>
                    <a:pt x="3506" y="2666"/>
                  </a:lnTo>
                  <a:lnTo>
                    <a:pt x="3510" y="2664"/>
                  </a:lnTo>
                  <a:lnTo>
                    <a:pt x="3514" y="2658"/>
                  </a:lnTo>
                  <a:lnTo>
                    <a:pt x="3518" y="2650"/>
                  </a:lnTo>
                  <a:lnTo>
                    <a:pt x="3524" y="2640"/>
                  </a:lnTo>
                  <a:lnTo>
                    <a:pt x="3524" y="2632"/>
                  </a:lnTo>
                  <a:lnTo>
                    <a:pt x="3526" y="2628"/>
                  </a:lnTo>
                  <a:lnTo>
                    <a:pt x="3528" y="2626"/>
                  </a:lnTo>
                  <a:lnTo>
                    <a:pt x="3532" y="2626"/>
                  </a:lnTo>
                  <a:lnTo>
                    <a:pt x="3536" y="2626"/>
                  </a:lnTo>
                  <a:lnTo>
                    <a:pt x="3536" y="2628"/>
                  </a:lnTo>
                  <a:lnTo>
                    <a:pt x="3536" y="2634"/>
                  </a:lnTo>
                  <a:lnTo>
                    <a:pt x="3534" y="2638"/>
                  </a:lnTo>
                  <a:lnTo>
                    <a:pt x="3536" y="2638"/>
                  </a:lnTo>
                  <a:lnTo>
                    <a:pt x="3538" y="2638"/>
                  </a:lnTo>
                  <a:lnTo>
                    <a:pt x="3542" y="2636"/>
                  </a:lnTo>
                  <a:lnTo>
                    <a:pt x="3548" y="2632"/>
                  </a:lnTo>
                  <a:lnTo>
                    <a:pt x="3550" y="2632"/>
                  </a:lnTo>
                  <a:lnTo>
                    <a:pt x="3552" y="2634"/>
                  </a:lnTo>
                  <a:lnTo>
                    <a:pt x="3552" y="2638"/>
                  </a:lnTo>
                  <a:lnTo>
                    <a:pt x="3552" y="2646"/>
                  </a:lnTo>
                  <a:lnTo>
                    <a:pt x="3554" y="2648"/>
                  </a:lnTo>
                  <a:lnTo>
                    <a:pt x="3556" y="2650"/>
                  </a:lnTo>
                  <a:lnTo>
                    <a:pt x="3570" y="2654"/>
                  </a:lnTo>
                  <a:lnTo>
                    <a:pt x="3580" y="2660"/>
                  </a:lnTo>
                  <a:lnTo>
                    <a:pt x="3584" y="2660"/>
                  </a:lnTo>
                  <a:lnTo>
                    <a:pt x="3590" y="2658"/>
                  </a:lnTo>
                  <a:lnTo>
                    <a:pt x="3598" y="2656"/>
                  </a:lnTo>
                  <a:lnTo>
                    <a:pt x="3608" y="2652"/>
                  </a:lnTo>
                  <a:lnTo>
                    <a:pt x="3616" y="2650"/>
                  </a:lnTo>
                  <a:lnTo>
                    <a:pt x="3622" y="2644"/>
                  </a:lnTo>
                  <a:lnTo>
                    <a:pt x="3632" y="2638"/>
                  </a:lnTo>
                  <a:lnTo>
                    <a:pt x="3648" y="2628"/>
                  </a:lnTo>
                  <a:lnTo>
                    <a:pt x="3658" y="2620"/>
                  </a:lnTo>
                  <a:lnTo>
                    <a:pt x="3666" y="2610"/>
                  </a:lnTo>
                  <a:lnTo>
                    <a:pt x="3686" y="2584"/>
                  </a:lnTo>
                  <a:lnTo>
                    <a:pt x="3712" y="2550"/>
                  </a:lnTo>
                  <a:lnTo>
                    <a:pt x="3728" y="2530"/>
                  </a:lnTo>
                  <a:lnTo>
                    <a:pt x="3748" y="2508"/>
                  </a:lnTo>
                  <a:lnTo>
                    <a:pt x="3768" y="2488"/>
                  </a:lnTo>
                  <a:lnTo>
                    <a:pt x="3780" y="2468"/>
                  </a:lnTo>
                  <a:lnTo>
                    <a:pt x="3790" y="2454"/>
                  </a:lnTo>
                  <a:lnTo>
                    <a:pt x="3796" y="2440"/>
                  </a:lnTo>
                  <a:lnTo>
                    <a:pt x="3804" y="2418"/>
                  </a:lnTo>
                  <a:lnTo>
                    <a:pt x="3808" y="2408"/>
                  </a:lnTo>
                  <a:lnTo>
                    <a:pt x="3816" y="2400"/>
                  </a:lnTo>
                  <a:lnTo>
                    <a:pt x="3824" y="2394"/>
                  </a:lnTo>
                  <a:lnTo>
                    <a:pt x="3828" y="2388"/>
                  </a:lnTo>
                  <a:lnTo>
                    <a:pt x="3832" y="2378"/>
                  </a:lnTo>
                  <a:lnTo>
                    <a:pt x="3834" y="2372"/>
                  </a:lnTo>
                  <a:lnTo>
                    <a:pt x="3838" y="2366"/>
                  </a:lnTo>
                  <a:lnTo>
                    <a:pt x="3844" y="2358"/>
                  </a:lnTo>
                  <a:lnTo>
                    <a:pt x="3854" y="2346"/>
                  </a:lnTo>
                  <a:lnTo>
                    <a:pt x="3860" y="2340"/>
                  </a:lnTo>
                  <a:lnTo>
                    <a:pt x="3866" y="2334"/>
                  </a:lnTo>
                  <a:lnTo>
                    <a:pt x="3874" y="2316"/>
                  </a:lnTo>
                  <a:lnTo>
                    <a:pt x="3880" y="2296"/>
                  </a:lnTo>
                  <a:lnTo>
                    <a:pt x="3882" y="2276"/>
                  </a:lnTo>
                  <a:lnTo>
                    <a:pt x="3884" y="2256"/>
                  </a:lnTo>
                  <a:lnTo>
                    <a:pt x="3884" y="2238"/>
                  </a:lnTo>
                  <a:lnTo>
                    <a:pt x="3882" y="2224"/>
                  </a:lnTo>
                  <a:lnTo>
                    <a:pt x="3880" y="2212"/>
                  </a:lnTo>
                  <a:lnTo>
                    <a:pt x="3878" y="2204"/>
                  </a:lnTo>
                  <a:lnTo>
                    <a:pt x="3878" y="2198"/>
                  </a:lnTo>
                  <a:lnTo>
                    <a:pt x="3880" y="2192"/>
                  </a:lnTo>
                  <a:lnTo>
                    <a:pt x="3882" y="2188"/>
                  </a:lnTo>
                  <a:lnTo>
                    <a:pt x="3888" y="2178"/>
                  </a:lnTo>
                  <a:lnTo>
                    <a:pt x="3892" y="2170"/>
                  </a:lnTo>
                  <a:lnTo>
                    <a:pt x="3896" y="2160"/>
                  </a:lnTo>
                  <a:lnTo>
                    <a:pt x="3898" y="2150"/>
                  </a:lnTo>
                  <a:lnTo>
                    <a:pt x="3904" y="2142"/>
                  </a:lnTo>
                  <a:lnTo>
                    <a:pt x="3914" y="2128"/>
                  </a:lnTo>
                  <a:lnTo>
                    <a:pt x="3920" y="2122"/>
                  </a:lnTo>
                  <a:lnTo>
                    <a:pt x="3922" y="2116"/>
                  </a:lnTo>
                  <a:lnTo>
                    <a:pt x="3920" y="2110"/>
                  </a:lnTo>
                  <a:lnTo>
                    <a:pt x="3916" y="2104"/>
                  </a:lnTo>
                  <a:lnTo>
                    <a:pt x="3910" y="2098"/>
                  </a:lnTo>
                  <a:lnTo>
                    <a:pt x="3908" y="2094"/>
                  </a:lnTo>
                  <a:lnTo>
                    <a:pt x="3908" y="2090"/>
                  </a:lnTo>
                  <a:lnTo>
                    <a:pt x="3910" y="2086"/>
                  </a:lnTo>
                  <a:lnTo>
                    <a:pt x="3910" y="2078"/>
                  </a:lnTo>
                  <a:lnTo>
                    <a:pt x="3910" y="2072"/>
                  </a:lnTo>
                  <a:lnTo>
                    <a:pt x="3906" y="2066"/>
                  </a:lnTo>
                  <a:lnTo>
                    <a:pt x="3904" y="2062"/>
                  </a:lnTo>
                  <a:lnTo>
                    <a:pt x="3906" y="2058"/>
                  </a:lnTo>
                  <a:lnTo>
                    <a:pt x="3914" y="2052"/>
                  </a:lnTo>
                  <a:lnTo>
                    <a:pt x="3918" y="2050"/>
                  </a:lnTo>
                  <a:lnTo>
                    <a:pt x="3920" y="2046"/>
                  </a:lnTo>
                  <a:lnTo>
                    <a:pt x="3918" y="2042"/>
                  </a:lnTo>
                  <a:lnTo>
                    <a:pt x="3910" y="2034"/>
                  </a:lnTo>
                  <a:lnTo>
                    <a:pt x="3892" y="2020"/>
                  </a:lnTo>
                  <a:lnTo>
                    <a:pt x="3880" y="2010"/>
                  </a:lnTo>
                  <a:lnTo>
                    <a:pt x="3864" y="1990"/>
                  </a:lnTo>
                  <a:lnTo>
                    <a:pt x="3858" y="1986"/>
                  </a:lnTo>
                  <a:lnTo>
                    <a:pt x="3854" y="1984"/>
                  </a:lnTo>
                  <a:lnTo>
                    <a:pt x="3842" y="1984"/>
                  </a:lnTo>
                  <a:lnTo>
                    <a:pt x="3832" y="1986"/>
                  </a:lnTo>
                  <a:lnTo>
                    <a:pt x="3826" y="1986"/>
                  </a:lnTo>
                  <a:lnTo>
                    <a:pt x="3820" y="1984"/>
                  </a:lnTo>
                  <a:lnTo>
                    <a:pt x="3814" y="1982"/>
                  </a:lnTo>
                  <a:lnTo>
                    <a:pt x="3812" y="1984"/>
                  </a:lnTo>
                  <a:lnTo>
                    <a:pt x="3808" y="1996"/>
                  </a:lnTo>
                  <a:lnTo>
                    <a:pt x="3804" y="2004"/>
                  </a:lnTo>
                  <a:lnTo>
                    <a:pt x="3800" y="2012"/>
                  </a:lnTo>
                  <a:lnTo>
                    <a:pt x="3792" y="2018"/>
                  </a:lnTo>
                  <a:lnTo>
                    <a:pt x="3780" y="2024"/>
                  </a:lnTo>
                  <a:lnTo>
                    <a:pt x="3772" y="2026"/>
                  </a:lnTo>
                  <a:lnTo>
                    <a:pt x="3766" y="2026"/>
                  </a:lnTo>
                  <a:lnTo>
                    <a:pt x="3764" y="2024"/>
                  </a:lnTo>
                  <a:lnTo>
                    <a:pt x="3762" y="2022"/>
                  </a:lnTo>
                  <a:lnTo>
                    <a:pt x="3760" y="2018"/>
                  </a:lnTo>
                  <a:lnTo>
                    <a:pt x="3762" y="2014"/>
                  </a:lnTo>
                  <a:lnTo>
                    <a:pt x="3764" y="2002"/>
                  </a:lnTo>
                  <a:lnTo>
                    <a:pt x="3768" y="1992"/>
                  </a:lnTo>
                  <a:lnTo>
                    <a:pt x="3772" y="1984"/>
                  </a:lnTo>
                  <a:lnTo>
                    <a:pt x="3770" y="1982"/>
                  </a:lnTo>
                  <a:lnTo>
                    <a:pt x="3768" y="1980"/>
                  </a:lnTo>
                  <a:lnTo>
                    <a:pt x="3766" y="1980"/>
                  </a:lnTo>
                  <a:lnTo>
                    <a:pt x="3760" y="1982"/>
                  </a:lnTo>
                  <a:lnTo>
                    <a:pt x="3750" y="1986"/>
                  </a:lnTo>
                  <a:lnTo>
                    <a:pt x="3746" y="1992"/>
                  </a:lnTo>
                  <a:lnTo>
                    <a:pt x="3746" y="1996"/>
                  </a:lnTo>
                  <a:lnTo>
                    <a:pt x="3748" y="2000"/>
                  </a:lnTo>
                  <a:lnTo>
                    <a:pt x="3750" y="2002"/>
                  </a:lnTo>
                  <a:lnTo>
                    <a:pt x="3750" y="2004"/>
                  </a:lnTo>
                  <a:lnTo>
                    <a:pt x="3746" y="2008"/>
                  </a:lnTo>
                  <a:lnTo>
                    <a:pt x="3738" y="2008"/>
                  </a:lnTo>
                  <a:lnTo>
                    <a:pt x="3732" y="2008"/>
                  </a:lnTo>
                  <a:lnTo>
                    <a:pt x="3730" y="2008"/>
                  </a:lnTo>
                  <a:lnTo>
                    <a:pt x="3728" y="2006"/>
                  </a:lnTo>
                  <a:lnTo>
                    <a:pt x="3728" y="2002"/>
                  </a:lnTo>
                  <a:lnTo>
                    <a:pt x="3730" y="1994"/>
                  </a:lnTo>
                  <a:lnTo>
                    <a:pt x="3734" y="1986"/>
                  </a:lnTo>
                  <a:lnTo>
                    <a:pt x="3736" y="1976"/>
                  </a:lnTo>
                  <a:lnTo>
                    <a:pt x="3736" y="1972"/>
                  </a:lnTo>
                  <a:lnTo>
                    <a:pt x="3734" y="1968"/>
                  </a:lnTo>
                  <a:lnTo>
                    <a:pt x="3732" y="1966"/>
                  </a:lnTo>
                  <a:lnTo>
                    <a:pt x="3728" y="1962"/>
                  </a:lnTo>
                  <a:lnTo>
                    <a:pt x="3722" y="1962"/>
                  </a:lnTo>
                  <a:lnTo>
                    <a:pt x="3714" y="1960"/>
                  </a:lnTo>
                  <a:lnTo>
                    <a:pt x="3696" y="1962"/>
                  </a:lnTo>
                  <a:lnTo>
                    <a:pt x="3682" y="1960"/>
                  </a:lnTo>
                  <a:lnTo>
                    <a:pt x="3672" y="1958"/>
                  </a:lnTo>
                  <a:lnTo>
                    <a:pt x="3666" y="1954"/>
                  </a:lnTo>
                  <a:lnTo>
                    <a:pt x="3666" y="1950"/>
                  </a:lnTo>
                  <a:lnTo>
                    <a:pt x="3666" y="1948"/>
                  </a:lnTo>
                  <a:lnTo>
                    <a:pt x="3674" y="1938"/>
                  </a:lnTo>
                  <a:lnTo>
                    <a:pt x="3686" y="1928"/>
                  </a:lnTo>
                  <a:lnTo>
                    <a:pt x="3706" y="1912"/>
                  </a:lnTo>
                  <a:lnTo>
                    <a:pt x="3746" y="1886"/>
                  </a:lnTo>
                  <a:lnTo>
                    <a:pt x="3768" y="1868"/>
                  </a:lnTo>
                  <a:lnTo>
                    <a:pt x="3776" y="1862"/>
                  </a:lnTo>
                  <a:lnTo>
                    <a:pt x="3782" y="1852"/>
                  </a:lnTo>
                  <a:lnTo>
                    <a:pt x="3788" y="1844"/>
                  </a:lnTo>
                  <a:lnTo>
                    <a:pt x="3794" y="1832"/>
                  </a:lnTo>
                  <a:lnTo>
                    <a:pt x="3802" y="1818"/>
                  </a:lnTo>
                  <a:lnTo>
                    <a:pt x="3812" y="1808"/>
                  </a:lnTo>
                  <a:lnTo>
                    <a:pt x="3824" y="1800"/>
                  </a:lnTo>
                  <a:lnTo>
                    <a:pt x="3838" y="1790"/>
                  </a:lnTo>
                  <a:lnTo>
                    <a:pt x="3852" y="1782"/>
                  </a:lnTo>
                  <a:lnTo>
                    <a:pt x="3866" y="1772"/>
                  </a:lnTo>
                  <a:lnTo>
                    <a:pt x="3878" y="1760"/>
                  </a:lnTo>
                  <a:lnTo>
                    <a:pt x="3882" y="1752"/>
                  </a:lnTo>
                  <a:lnTo>
                    <a:pt x="3886" y="1746"/>
                  </a:lnTo>
                  <a:lnTo>
                    <a:pt x="3894" y="1728"/>
                  </a:lnTo>
                  <a:lnTo>
                    <a:pt x="3908" y="1712"/>
                  </a:lnTo>
                  <a:lnTo>
                    <a:pt x="3926" y="1696"/>
                  </a:lnTo>
                  <a:lnTo>
                    <a:pt x="3944" y="1682"/>
                  </a:lnTo>
                  <a:lnTo>
                    <a:pt x="3966" y="1672"/>
                  </a:lnTo>
                  <a:lnTo>
                    <a:pt x="3986" y="1664"/>
                  </a:lnTo>
                  <a:lnTo>
                    <a:pt x="4006" y="1660"/>
                  </a:lnTo>
                  <a:lnTo>
                    <a:pt x="4014" y="1660"/>
                  </a:lnTo>
                  <a:lnTo>
                    <a:pt x="4022" y="1662"/>
                  </a:lnTo>
                  <a:lnTo>
                    <a:pt x="4036" y="1664"/>
                  </a:lnTo>
                  <a:lnTo>
                    <a:pt x="4048" y="1666"/>
                  </a:lnTo>
                  <a:lnTo>
                    <a:pt x="4068" y="1664"/>
                  </a:lnTo>
                  <a:lnTo>
                    <a:pt x="4082" y="1664"/>
                  </a:lnTo>
                  <a:lnTo>
                    <a:pt x="4090" y="1666"/>
                  </a:lnTo>
                  <a:lnTo>
                    <a:pt x="4098" y="1670"/>
                  </a:lnTo>
                  <a:lnTo>
                    <a:pt x="4104" y="1672"/>
                  </a:lnTo>
                  <a:lnTo>
                    <a:pt x="4108" y="1672"/>
                  </a:lnTo>
                  <a:lnTo>
                    <a:pt x="4110" y="1670"/>
                  </a:lnTo>
                  <a:lnTo>
                    <a:pt x="4112" y="1666"/>
                  </a:lnTo>
                  <a:lnTo>
                    <a:pt x="4116" y="1662"/>
                  </a:lnTo>
                  <a:lnTo>
                    <a:pt x="4124" y="1660"/>
                  </a:lnTo>
                  <a:lnTo>
                    <a:pt x="4136" y="1658"/>
                  </a:lnTo>
                  <a:lnTo>
                    <a:pt x="4154" y="1660"/>
                  </a:lnTo>
                  <a:lnTo>
                    <a:pt x="4188" y="1668"/>
                  </a:lnTo>
                  <a:lnTo>
                    <a:pt x="4200" y="1670"/>
                  </a:lnTo>
                  <a:lnTo>
                    <a:pt x="4208" y="1670"/>
                  </a:lnTo>
                  <a:lnTo>
                    <a:pt x="4214" y="1670"/>
                  </a:lnTo>
                  <a:lnTo>
                    <a:pt x="4220" y="1666"/>
                  </a:lnTo>
                  <a:lnTo>
                    <a:pt x="4224" y="1658"/>
                  </a:lnTo>
                  <a:lnTo>
                    <a:pt x="4228" y="1648"/>
                  </a:lnTo>
                  <a:lnTo>
                    <a:pt x="4230" y="1646"/>
                  </a:lnTo>
                  <a:lnTo>
                    <a:pt x="4236" y="1644"/>
                  </a:lnTo>
                  <a:lnTo>
                    <a:pt x="4250" y="1642"/>
                  </a:lnTo>
                  <a:lnTo>
                    <a:pt x="4272" y="1642"/>
                  </a:lnTo>
                  <a:lnTo>
                    <a:pt x="4294" y="1644"/>
                  </a:lnTo>
                  <a:lnTo>
                    <a:pt x="4314" y="1648"/>
                  </a:lnTo>
                  <a:lnTo>
                    <a:pt x="4322" y="1652"/>
                  </a:lnTo>
                  <a:lnTo>
                    <a:pt x="4328" y="1656"/>
                  </a:lnTo>
                  <a:lnTo>
                    <a:pt x="4330" y="1660"/>
                  </a:lnTo>
                  <a:lnTo>
                    <a:pt x="4330" y="1664"/>
                  </a:lnTo>
                  <a:lnTo>
                    <a:pt x="4328" y="1670"/>
                  </a:lnTo>
                  <a:lnTo>
                    <a:pt x="4320" y="1676"/>
                  </a:lnTo>
                  <a:lnTo>
                    <a:pt x="4314" y="1682"/>
                  </a:lnTo>
                  <a:lnTo>
                    <a:pt x="4312" y="1686"/>
                  </a:lnTo>
                  <a:lnTo>
                    <a:pt x="4312" y="1688"/>
                  </a:lnTo>
                  <a:lnTo>
                    <a:pt x="4314" y="1690"/>
                  </a:lnTo>
                  <a:lnTo>
                    <a:pt x="4324" y="1692"/>
                  </a:lnTo>
                  <a:lnTo>
                    <a:pt x="4340" y="1690"/>
                  </a:lnTo>
                  <a:lnTo>
                    <a:pt x="4358" y="1688"/>
                  </a:lnTo>
                  <a:lnTo>
                    <a:pt x="4374" y="1684"/>
                  </a:lnTo>
                  <a:lnTo>
                    <a:pt x="4386" y="1680"/>
                  </a:lnTo>
                  <a:lnTo>
                    <a:pt x="4394" y="1676"/>
                  </a:lnTo>
                  <a:lnTo>
                    <a:pt x="4398" y="1670"/>
                  </a:lnTo>
                  <a:lnTo>
                    <a:pt x="4404" y="1670"/>
                  </a:lnTo>
                  <a:lnTo>
                    <a:pt x="4410" y="1674"/>
                  </a:lnTo>
                  <a:lnTo>
                    <a:pt x="4418" y="1678"/>
                  </a:lnTo>
                  <a:lnTo>
                    <a:pt x="4426" y="1682"/>
                  </a:lnTo>
                  <a:lnTo>
                    <a:pt x="4436" y="1684"/>
                  </a:lnTo>
                  <a:lnTo>
                    <a:pt x="4448" y="1682"/>
                  </a:lnTo>
                  <a:lnTo>
                    <a:pt x="4454" y="1680"/>
                  </a:lnTo>
                  <a:lnTo>
                    <a:pt x="4462" y="1676"/>
                  </a:lnTo>
                  <a:lnTo>
                    <a:pt x="4466" y="1672"/>
                  </a:lnTo>
                  <a:lnTo>
                    <a:pt x="4468" y="1668"/>
                  </a:lnTo>
                  <a:lnTo>
                    <a:pt x="4468" y="1664"/>
                  </a:lnTo>
                  <a:lnTo>
                    <a:pt x="4466" y="1660"/>
                  </a:lnTo>
                  <a:lnTo>
                    <a:pt x="4458" y="1652"/>
                  </a:lnTo>
                  <a:lnTo>
                    <a:pt x="4448" y="1646"/>
                  </a:lnTo>
                  <a:lnTo>
                    <a:pt x="4442" y="1642"/>
                  </a:lnTo>
                  <a:lnTo>
                    <a:pt x="4440" y="1636"/>
                  </a:lnTo>
                  <a:lnTo>
                    <a:pt x="4438" y="1632"/>
                  </a:lnTo>
                  <a:lnTo>
                    <a:pt x="4438" y="1626"/>
                  </a:lnTo>
                  <a:lnTo>
                    <a:pt x="4440" y="1618"/>
                  </a:lnTo>
                  <a:lnTo>
                    <a:pt x="4446" y="1612"/>
                  </a:lnTo>
                  <a:lnTo>
                    <a:pt x="4456" y="1602"/>
                  </a:lnTo>
                  <a:lnTo>
                    <a:pt x="4468" y="1592"/>
                  </a:lnTo>
                  <a:lnTo>
                    <a:pt x="4496" y="1572"/>
                  </a:lnTo>
                  <a:lnTo>
                    <a:pt x="4514" y="1556"/>
                  </a:lnTo>
                  <a:lnTo>
                    <a:pt x="4536" y="1530"/>
                  </a:lnTo>
                  <a:lnTo>
                    <a:pt x="4546" y="1522"/>
                  </a:lnTo>
                  <a:lnTo>
                    <a:pt x="4562" y="1514"/>
                  </a:lnTo>
                  <a:lnTo>
                    <a:pt x="4584" y="1508"/>
                  </a:lnTo>
                  <a:lnTo>
                    <a:pt x="4616" y="1502"/>
                  </a:lnTo>
                  <a:lnTo>
                    <a:pt x="4630" y="1502"/>
                  </a:lnTo>
                  <a:lnTo>
                    <a:pt x="4642" y="1504"/>
                  </a:lnTo>
                  <a:lnTo>
                    <a:pt x="4650" y="1508"/>
                  </a:lnTo>
                  <a:lnTo>
                    <a:pt x="4656" y="1514"/>
                  </a:lnTo>
                  <a:lnTo>
                    <a:pt x="4660" y="1520"/>
                  </a:lnTo>
                  <a:lnTo>
                    <a:pt x="4664" y="1528"/>
                  </a:lnTo>
                  <a:lnTo>
                    <a:pt x="4664" y="1546"/>
                  </a:lnTo>
                  <a:lnTo>
                    <a:pt x="4666" y="1562"/>
                  </a:lnTo>
                  <a:lnTo>
                    <a:pt x="4666" y="1568"/>
                  </a:lnTo>
                  <a:lnTo>
                    <a:pt x="4668" y="1574"/>
                  </a:lnTo>
                  <a:lnTo>
                    <a:pt x="4672" y="1578"/>
                  </a:lnTo>
                  <a:lnTo>
                    <a:pt x="4676" y="1580"/>
                  </a:lnTo>
                  <a:lnTo>
                    <a:pt x="4684" y="1578"/>
                  </a:lnTo>
                  <a:lnTo>
                    <a:pt x="4694" y="1574"/>
                  </a:lnTo>
                  <a:lnTo>
                    <a:pt x="4714" y="1562"/>
                  </a:lnTo>
                  <a:lnTo>
                    <a:pt x="4728" y="1550"/>
                  </a:lnTo>
                  <a:lnTo>
                    <a:pt x="4738" y="1540"/>
                  </a:lnTo>
                  <a:lnTo>
                    <a:pt x="4746" y="1530"/>
                  </a:lnTo>
                  <a:lnTo>
                    <a:pt x="4752" y="1524"/>
                  </a:lnTo>
                  <a:lnTo>
                    <a:pt x="4758" y="1520"/>
                  </a:lnTo>
                  <a:lnTo>
                    <a:pt x="4766" y="1518"/>
                  </a:lnTo>
                  <a:lnTo>
                    <a:pt x="4778" y="1520"/>
                  </a:lnTo>
                  <a:lnTo>
                    <a:pt x="4784" y="1522"/>
                  </a:lnTo>
                  <a:lnTo>
                    <a:pt x="4788" y="1520"/>
                  </a:lnTo>
                  <a:lnTo>
                    <a:pt x="4790" y="1518"/>
                  </a:lnTo>
                  <a:lnTo>
                    <a:pt x="4792" y="1514"/>
                  </a:lnTo>
                  <a:lnTo>
                    <a:pt x="4790" y="1502"/>
                  </a:lnTo>
                  <a:lnTo>
                    <a:pt x="4788" y="1486"/>
                  </a:lnTo>
                  <a:lnTo>
                    <a:pt x="4788" y="1472"/>
                  </a:lnTo>
                  <a:lnTo>
                    <a:pt x="4790" y="1464"/>
                  </a:lnTo>
                  <a:lnTo>
                    <a:pt x="4792" y="1458"/>
                  </a:lnTo>
                  <a:lnTo>
                    <a:pt x="4796" y="1452"/>
                  </a:lnTo>
                  <a:lnTo>
                    <a:pt x="4802" y="1448"/>
                  </a:lnTo>
                  <a:lnTo>
                    <a:pt x="4812" y="1446"/>
                  </a:lnTo>
                  <a:lnTo>
                    <a:pt x="4824" y="1446"/>
                  </a:lnTo>
                  <a:lnTo>
                    <a:pt x="4854" y="1446"/>
                  </a:lnTo>
                  <a:lnTo>
                    <a:pt x="4856" y="1448"/>
                  </a:lnTo>
                  <a:lnTo>
                    <a:pt x="4858" y="1448"/>
                  </a:lnTo>
                  <a:lnTo>
                    <a:pt x="4854" y="1452"/>
                  </a:lnTo>
                  <a:lnTo>
                    <a:pt x="4848" y="1460"/>
                  </a:lnTo>
                  <a:lnTo>
                    <a:pt x="4838" y="1472"/>
                  </a:lnTo>
                  <a:lnTo>
                    <a:pt x="4830" y="1490"/>
                  </a:lnTo>
                  <a:lnTo>
                    <a:pt x="4828" y="1500"/>
                  </a:lnTo>
                  <a:lnTo>
                    <a:pt x="4824" y="1512"/>
                  </a:lnTo>
                  <a:lnTo>
                    <a:pt x="4822" y="1526"/>
                  </a:lnTo>
                  <a:lnTo>
                    <a:pt x="4818" y="1536"/>
                  </a:lnTo>
                  <a:lnTo>
                    <a:pt x="4814" y="1544"/>
                  </a:lnTo>
                  <a:lnTo>
                    <a:pt x="4810" y="1552"/>
                  </a:lnTo>
                  <a:lnTo>
                    <a:pt x="4798" y="1564"/>
                  </a:lnTo>
                  <a:lnTo>
                    <a:pt x="4784" y="1572"/>
                  </a:lnTo>
                  <a:lnTo>
                    <a:pt x="4766" y="1582"/>
                  </a:lnTo>
                  <a:lnTo>
                    <a:pt x="4748" y="1594"/>
                  </a:lnTo>
                  <a:lnTo>
                    <a:pt x="4726" y="1612"/>
                  </a:lnTo>
                  <a:lnTo>
                    <a:pt x="4716" y="1622"/>
                  </a:lnTo>
                  <a:lnTo>
                    <a:pt x="4704" y="1636"/>
                  </a:lnTo>
                  <a:lnTo>
                    <a:pt x="4664" y="1686"/>
                  </a:lnTo>
                  <a:lnTo>
                    <a:pt x="4646" y="1706"/>
                  </a:lnTo>
                  <a:lnTo>
                    <a:pt x="4630" y="1722"/>
                  </a:lnTo>
                  <a:lnTo>
                    <a:pt x="4614" y="1734"/>
                  </a:lnTo>
                  <a:lnTo>
                    <a:pt x="4600" y="1744"/>
                  </a:lnTo>
                  <a:lnTo>
                    <a:pt x="4584" y="1752"/>
                  </a:lnTo>
                  <a:lnTo>
                    <a:pt x="4568" y="1756"/>
                  </a:lnTo>
                  <a:lnTo>
                    <a:pt x="4554" y="1760"/>
                  </a:lnTo>
                  <a:lnTo>
                    <a:pt x="4546" y="1764"/>
                  </a:lnTo>
                  <a:lnTo>
                    <a:pt x="4544" y="1770"/>
                  </a:lnTo>
                  <a:lnTo>
                    <a:pt x="4542" y="1776"/>
                  </a:lnTo>
                  <a:lnTo>
                    <a:pt x="4542" y="1784"/>
                  </a:lnTo>
                  <a:lnTo>
                    <a:pt x="4540" y="1792"/>
                  </a:lnTo>
                  <a:lnTo>
                    <a:pt x="4532" y="1802"/>
                  </a:lnTo>
                  <a:lnTo>
                    <a:pt x="4520" y="1812"/>
                  </a:lnTo>
                  <a:lnTo>
                    <a:pt x="4514" y="1820"/>
                  </a:lnTo>
                  <a:lnTo>
                    <a:pt x="4508" y="1828"/>
                  </a:lnTo>
                  <a:lnTo>
                    <a:pt x="4502" y="1840"/>
                  </a:lnTo>
                  <a:lnTo>
                    <a:pt x="4498" y="1854"/>
                  </a:lnTo>
                  <a:lnTo>
                    <a:pt x="4496" y="1868"/>
                  </a:lnTo>
                  <a:lnTo>
                    <a:pt x="4494" y="1886"/>
                  </a:lnTo>
                  <a:lnTo>
                    <a:pt x="4494" y="1922"/>
                  </a:lnTo>
                  <a:lnTo>
                    <a:pt x="4496" y="1962"/>
                  </a:lnTo>
                  <a:lnTo>
                    <a:pt x="4502" y="2006"/>
                  </a:lnTo>
                  <a:lnTo>
                    <a:pt x="4508" y="2050"/>
                  </a:lnTo>
                  <a:lnTo>
                    <a:pt x="4518" y="2092"/>
                  </a:lnTo>
                  <a:lnTo>
                    <a:pt x="4520" y="2110"/>
                  </a:lnTo>
                  <a:lnTo>
                    <a:pt x="4522" y="2132"/>
                  </a:lnTo>
                  <a:lnTo>
                    <a:pt x="4526" y="2152"/>
                  </a:lnTo>
                  <a:lnTo>
                    <a:pt x="4530" y="2168"/>
                  </a:lnTo>
                  <a:lnTo>
                    <a:pt x="4532" y="2172"/>
                  </a:lnTo>
                  <a:lnTo>
                    <a:pt x="4536" y="2176"/>
                  </a:lnTo>
                  <a:lnTo>
                    <a:pt x="4542" y="2178"/>
                  </a:lnTo>
                  <a:lnTo>
                    <a:pt x="4548" y="2176"/>
                  </a:lnTo>
                  <a:lnTo>
                    <a:pt x="4556" y="2172"/>
                  </a:lnTo>
                  <a:lnTo>
                    <a:pt x="4564" y="2164"/>
                  </a:lnTo>
                  <a:lnTo>
                    <a:pt x="4574" y="2152"/>
                  </a:lnTo>
                  <a:lnTo>
                    <a:pt x="4588" y="2136"/>
                  </a:lnTo>
                  <a:lnTo>
                    <a:pt x="4594" y="2124"/>
                  </a:lnTo>
                  <a:lnTo>
                    <a:pt x="4600" y="2114"/>
                  </a:lnTo>
                  <a:lnTo>
                    <a:pt x="4608" y="2094"/>
                  </a:lnTo>
                  <a:lnTo>
                    <a:pt x="4610" y="2080"/>
                  </a:lnTo>
                  <a:lnTo>
                    <a:pt x="4612" y="2068"/>
                  </a:lnTo>
                  <a:lnTo>
                    <a:pt x="4612" y="2060"/>
                  </a:lnTo>
                  <a:lnTo>
                    <a:pt x="4614" y="2056"/>
                  </a:lnTo>
                  <a:lnTo>
                    <a:pt x="4618" y="2054"/>
                  </a:lnTo>
                  <a:lnTo>
                    <a:pt x="4626" y="2050"/>
                  </a:lnTo>
                  <a:lnTo>
                    <a:pt x="4644" y="2050"/>
                  </a:lnTo>
                  <a:lnTo>
                    <a:pt x="4654" y="2048"/>
                  </a:lnTo>
                  <a:lnTo>
                    <a:pt x="4660" y="2046"/>
                  </a:lnTo>
                  <a:lnTo>
                    <a:pt x="4664" y="2042"/>
                  </a:lnTo>
                  <a:lnTo>
                    <a:pt x="4668" y="2038"/>
                  </a:lnTo>
                  <a:lnTo>
                    <a:pt x="4670" y="2024"/>
                  </a:lnTo>
                  <a:lnTo>
                    <a:pt x="4670" y="2010"/>
                  </a:lnTo>
                  <a:lnTo>
                    <a:pt x="4670" y="1996"/>
                  </a:lnTo>
                  <a:lnTo>
                    <a:pt x="4672" y="1988"/>
                  </a:lnTo>
                  <a:lnTo>
                    <a:pt x="4676" y="1982"/>
                  </a:lnTo>
                  <a:lnTo>
                    <a:pt x="4680" y="1976"/>
                  </a:lnTo>
                  <a:lnTo>
                    <a:pt x="4686" y="1972"/>
                  </a:lnTo>
                  <a:lnTo>
                    <a:pt x="4694" y="1968"/>
                  </a:lnTo>
                  <a:lnTo>
                    <a:pt x="4704" y="1968"/>
                  </a:lnTo>
                  <a:lnTo>
                    <a:pt x="4730" y="1964"/>
                  </a:lnTo>
                  <a:lnTo>
                    <a:pt x="4740" y="1960"/>
                  </a:lnTo>
                  <a:lnTo>
                    <a:pt x="4744" y="1956"/>
                  </a:lnTo>
                  <a:lnTo>
                    <a:pt x="4748" y="1952"/>
                  </a:lnTo>
                  <a:lnTo>
                    <a:pt x="4750" y="1948"/>
                  </a:lnTo>
                  <a:lnTo>
                    <a:pt x="4750" y="1944"/>
                  </a:lnTo>
                  <a:lnTo>
                    <a:pt x="4748" y="1938"/>
                  </a:lnTo>
                  <a:lnTo>
                    <a:pt x="4744" y="1926"/>
                  </a:lnTo>
                  <a:lnTo>
                    <a:pt x="4740" y="1912"/>
                  </a:lnTo>
                  <a:lnTo>
                    <a:pt x="4738" y="1904"/>
                  </a:lnTo>
                  <a:lnTo>
                    <a:pt x="4738" y="1896"/>
                  </a:lnTo>
                  <a:lnTo>
                    <a:pt x="4740" y="1888"/>
                  </a:lnTo>
                  <a:lnTo>
                    <a:pt x="4744" y="1880"/>
                  </a:lnTo>
                  <a:lnTo>
                    <a:pt x="4748" y="1874"/>
                  </a:lnTo>
                  <a:lnTo>
                    <a:pt x="4752" y="1870"/>
                  </a:lnTo>
                  <a:lnTo>
                    <a:pt x="4756" y="1866"/>
                  </a:lnTo>
                  <a:lnTo>
                    <a:pt x="4760" y="1866"/>
                  </a:lnTo>
                  <a:lnTo>
                    <a:pt x="4770" y="1866"/>
                  </a:lnTo>
                  <a:lnTo>
                    <a:pt x="4778" y="1870"/>
                  </a:lnTo>
                  <a:lnTo>
                    <a:pt x="4784" y="1874"/>
                  </a:lnTo>
                  <a:lnTo>
                    <a:pt x="4792" y="1874"/>
                  </a:lnTo>
                  <a:lnTo>
                    <a:pt x="4794" y="1874"/>
                  </a:lnTo>
                  <a:lnTo>
                    <a:pt x="4796" y="1872"/>
                  </a:lnTo>
                  <a:lnTo>
                    <a:pt x="4800" y="1862"/>
                  </a:lnTo>
                  <a:lnTo>
                    <a:pt x="4800" y="1854"/>
                  </a:lnTo>
                  <a:lnTo>
                    <a:pt x="4800" y="1846"/>
                  </a:lnTo>
                  <a:lnTo>
                    <a:pt x="4798" y="1840"/>
                  </a:lnTo>
                  <a:lnTo>
                    <a:pt x="4796" y="1836"/>
                  </a:lnTo>
                  <a:lnTo>
                    <a:pt x="4788" y="1828"/>
                  </a:lnTo>
                  <a:lnTo>
                    <a:pt x="4782" y="1822"/>
                  </a:lnTo>
                  <a:lnTo>
                    <a:pt x="4774" y="1816"/>
                  </a:lnTo>
                  <a:lnTo>
                    <a:pt x="4772" y="1814"/>
                  </a:lnTo>
                  <a:lnTo>
                    <a:pt x="4772" y="1810"/>
                  </a:lnTo>
                  <a:lnTo>
                    <a:pt x="4772" y="1806"/>
                  </a:lnTo>
                  <a:lnTo>
                    <a:pt x="4774" y="1802"/>
                  </a:lnTo>
                  <a:lnTo>
                    <a:pt x="4782" y="1790"/>
                  </a:lnTo>
                  <a:lnTo>
                    <a:pt x="4790" y="1780"/>
                  </a:lnTo>
                  <a:lnTo>
                    <a:pt x="4794" y="1772"/>
                  </a:lnTo>
                  <a:lnTo>
                    <a:pt x="4794" y="1766"/>
                  </a:lnTo>
                  <a:lnTo>
                    <a:pt x="4792" y="1760"/>
                  </a:lnTo>
                  <a:lnTo>
                    <a:pt x="4788" y="1756"/>
                  </a:lnTo>
                  <a:lnTo>
                    <a:pt x="4782" y="1752"/>
                  </a:lnTo>
                  <a:lnTo>
                    <a:pt x="4768" y="1748"/>
                  </a:lnTo>
                  <a:lnTo>
                    <a:pt x="4756" y="1744"/>
                  </a:lnTo>
                  <a:lnTo>
                    <a:pt x="4750" y="1740"/>
                  </a:lnTo>
                  <a:lnTo>
                    <a:pt x="4746" y="1738"/>
                  </a:lnTo>
                  <a:lnTo>
                    <a:pt x="4746" y="1732"/>
                  </a:lnTo>
                  <a:lnTo>
                    <a:pt x="4748" y="1728"/>
                  </a:lnTo>
                  <a:lnTo>
                    <a:pt x="4752" y="1720"/>
                  </a:lnTo>
                  <a:lnTo>
                    <a:pt x="4762" y="1712"/>
                  </a:lnTo>
                  <a:lnTo>
                    <a:pt x="4782" y="1694"/>
                  </a:lnTo>
                  <a:lnTo>
                    <a:pt x="4794" y="1678"/>
                  </a:lnTo>
                  <a:lnTo>
                    <a:pt x="4800" y="1664"/>
                  </a:lnTo>
                  <a:lnTo>
                    <a:pt x="4804" y="1652"/>
                  </a:lnTo>
                  <a:lnTo>
                    <a:pt x="4806" y="1642"/>
                  </a:lnTo>
                  <a:lnTo>
                    <a:pt x="4810" y="1634"/>
                  </a:lnTo>
                  <a:lnTo>
                    <a:pt x="4816" y="1628"/>
                  </a:lnTo>
                  <a:lnTo>
                    <a:pt x="4828" y="1622"/>
                  </a:lnTo>
                  <a:lnTo>
                    <a:pt x="4840" y="1618"/>
                  </a:lnTo>
                  <a:lnTo>
                    <a:pt x="4848" y="1618"/>
                  </a:lnTo>
                  <a:lnTo>
                    <a:pt x="4852" y="1620"/>
                  </a:lnTo>
                  <a:lnTo>
                    <a:pt x="4854" y="1622"/>
                  </a:lnTo>
                  <a:lnTo>
                    <a:pt x="4856" y="1624"/>
                  </a:lnTo>
                  <a:lnTo>
                    <a:pt x="4862" y="1622"/>
                  </a:lnTo>
                  <a:lnTo>
                    <a:pt x="4872" y="1616"/>
                  </a:lnTo>
                  <a:lnTo>
                    <a:pt x="4888" y="1606"/>
                  </a:lnTo>
                  <a:lnTo>
                    <a:pt x="4900" y="1598"/>
                  </a:lnTo>
                  <a:lnTo>
                    <a:pt x="4908" y="1592"/>
                  </a:lnTo>
                  <a:lnTo>
                    <a:pt x="4914" y="1592"/>
                  </a:lnTo>
                  <a:lnTo>
                    <a:pt x="4916" y="1592"/>
                  </a:lnTo>
                  <a:lnTo>
                    <a:pt x="4918" y="1596"/>
                  </a:lnTo>
                  <a:lnTo>
                    <a:pt x="4918" y="1600"/>
                  </a:lnTo>
                  <a:lnTo>
                    <a:pt x="4914" y="1612"/>
                  </a:lnTo>
                  <a:lnTo>
                    <a:pt x="4910" y="1624"/>
                  </a:lnTo>
                  <a:lnTo>
                    <a:pt x="4910" y="1628"/>
                  </a:lnTo>
                  <a:lnTo>
                    <a:pt x="4910" y="1632"/>
                  </a:lnTo>
                  <a:lnTo>
                    <a:pt x="4912" y="1632"/>
                  </a:lnTo>
                  <a:lnTo>
                    <a:pt x="4916" y="1632"/>
                  </a:lnTo>
                  <a:lnTo>
                    <a:pt x="4934" y="1618"/>
                  </a:lnTo>
                  <a:lnTo>
                    <a:pt x="4958" y="1600"/>
                  </a:lnTo>
                  <a:lnTo>
                    <a:pt x="4980" y="1588"/>
                  </a:lnTo>
                  <a:lnTo>
                    <a:pt x="4990" y="1586"/>
                  </a:lnTo>
                  <a:lnTo>
                    <a:pt x="5000" y="1584"/>
                  </a:lnTo>
                  <a:lnTo>
                    <a:pt x="5016" y="1584"/>
                  </a:lnTo>
                  <a:lnTo>
                    <a:pt x="5032" y="1588"/>
                  </a:lnTo>
                  <a:lnTo>
                    <a:pt x="5048" y="1596"/>
                  </a:lnTo>
                  <a:lnTo>
                    <a:pt x="5060" y="1606"/>
                  </a:lnTo>
                  <a:lnTo>
                    <a:pt x="5072" y="1618"/>
                  </a:lnTo>
                  <a:lnTo>
                    <a:pt x="5080" y="1628"/>
                  </a:lnTo>
                  <a:lnTo>
                    <a:pt x="5082" y="1630"/>
                  </a:lnTo>
                  <a:lnTo>
                    <a:pt x="5084" y="1628"/>
                  </a:lnTo>
                  <a:lnTo>
                    <a:pt x="5086" y="1620"/>
                  </a:lnTo>
                  <a:lnTo>
                    <a:pt x="5094" y="1608"/>
                  </a:lnTo>
                  <a:lnTo>
                    <a:pt x="5108" y="1592"/>
                  </a:lnTo>
                  <a:lnTo>
                    <a:pt x="5118" y="1584"/>
                  </a:lnTo>
                  <a:lnTo>
                    <a:pt x="5132" y="1574"/>
                  </a:lnTo>
                  <a:lnTo>
                    <a:pt x="5148" y="1564"/>
                  </a:lnTo>
                  <a:lnTo>
                    <a:pt x="5168" y="1552"/>
                  </a:lnTo>
                  <a:lnTo>
                    <a:pt x="5186" y="1542"/>
                  </a:lnTo>
                  <a:lnTo>
                    <a:pt x="5202" y="1532"/>
                  </a:lnTo>
                  <a:lnTo>
                    <a:pt x="5236" y="1508"/>
                  </a:lnTo>
                  <a:lnTo>
                    <a:pt x="5252" y="1496"/>
                  </a:lnTo>
                  <a:lnTo>
                    <a:pt x="5272" y="1484"/>
                  </a:lnTo>
                  <a:lnTo>
                    <a:pt x="5290" y="1474"/>
                  </a:lnTo>
                  <a:lnTo>
                    <a:pt x="5312" y="1466"/>
                  </a:lnTo>
                  <a:lnTo>
                    <a:pt x="5330" y="1460"/>
                  </a:lnTo>
                  <a:lnTo>
                    <a:pt x="5348" y="1456"/>
                  </a:lnTo>
                  <a:lnTo>
                    <a:pt x="5362" y="1454"/>
                  </a:lnTo>
                  <a:lnTo>
                    <a:pt x="5374" y="1454"/>
                  </a:lnTo>
                  <a:lnTo>
                    <a:pt x="5396" y="1456"/>
                  </a:lnTo>
                  <a:lnTo>
                    <a:pt x="5410" y="1460"/>
                  </a:lnTo>
                  <a:lnTo>
                    <a:pt x="5422" y="1464"/>
                  </a:lnTo>
                  <a:lnTo>
                    <a:pt x="5430" y="1466"/>
                  </a:lnTo>
                  <a:lnTo>
                    <a:pt x="5434" y="1466"/>
                  </a:lnTo>
                  <a:lnTo>
                    <a:pt x="5438" y="1464"/>
                  </a:lnTo>
                  <a:lnTo>
                    <a:pt x="5448" y="1458"/>
                  </a:lnTo>
                  <a:lnTo>
                    <a:pt x="5454" y="1448"/>
                  </a:lnTo>
                  <a:lnTo>
                    <a:pt x="5458" y="1440"/>
                  </a:lnTo>
                  <a:lnTo>
                    <a:pt x="5456" y="1432"/>
                  </a:lnTo>
                  <a:lnTo>
                    <a:pt x="5450" y="1422"/>
                  </a:lnTo>
                  <a:lnTo>
                    <a:pt x="5436" y="1400"/>
                  </a:lnTo>
                  <a:lnTo>
                    <a:pt x="5428" y="1386"/>
                  </a:lnTo>
                  <a:lnTo>
                    <a:pt x="5420" y="1368"/>
                  </a:lnTo>
                  <a:lnTo>
                    <a:pt x="5412" y="1348"/>
                  </a:lnTo>
                  <a:lnTo>
                    <a:pt x="5404" y="1338"/>
                  </a:lnTo>
                  <a:lnTo>
                    <a:pt x="5400" y="1336"/>
                  </a:lnTo>
                  <a:lnTo>
                    <a:pt x="5396" y="1336"/>
                  </a:lnTo>
                  <a:lnTo>
                    <a:pt x="5390" y="1336"/>
                  </a:lnTo>
                  <a:lnTo>
                    <a:pt x="5384" y="1338"/>
                  </a:lnTo>
                  <a:lnTo>
                    <a:pt x="5378" y="1338"/>
                  </a:lnTo>
                  <a:lnTo>
                    <a:pt x="5376" y="1336"/>
                  </a:lnTo>
                  <a:lnTo>
                    <a:pt x="5374" y="1334"/>
                  </a:lnTo>
                  <a:lnTo>
                    <a:pt x="5368" y="1322"/>
                  </a:lnTo>
                  <a:lnTo>
                    <a:pt x="5368" y="1316"/>
                  </a:lnTo>
                  <a:lnTo>
                    <a:pt x="5368" y="1312"/>
                  </a:lnTo>
                  <a:lnTo>
                    <a:pt x="5372" y="1310"/>
                  </a:lnTo>
                  <a:lnTo>
                    <a:pt x="5374" y="1308"/>
                  </a:lnTo>
                  <a:lnTo>
                    <a:pt x="5384" y="1308"/>
                  </a:lnTo>
                  <a:lnTo>
                    <a:pt x="5398" y="1310"/>
                  </a:lnTo>
                  <a:lnTo>
                    <a:pt x="5414" y="1312"/>
                  </a:lnTo>
                  <a:lnTo>
                    <a:pt x="5432" y="1310"/>
                  </a:lnTo>
                  <a:lnTo>
                    <a:pt x="5440" y="1308"/>
                  </a:lnTo>
                  <a:lnTo>
                    <a:pt x="5448" y="1304"/>
                  </a:lnTo>
                  <a:lnTo>
                    <a:pt x="5454" y="1298"/>
                  </a:lnTo>
                  <a:lnTo>
                    <a:pt x="5462" y="1292"/>
                  </a:lnTo>
                  <a:lnTo>
                    <a:pt x="5478" y="1272"/>
                  </a:lnTo>
                  <a:lnTo>
                    <a:pt x="5478" y="1258"/>
                  </a:lnTo>
                  <a:lnTo>
                    <a:pt x="5486" y="1248"/>
                  </a:lnTo>
                  <a:lnTo>
                    <a:pt x="5490" y="1244"/>
                  </a:lnTo>
                  <a:lnTo>
                    <a:pt x="5490" y="1240"/>
                  </a:lnTo>
                  <a:lnTo>
                    <a:pt x="5490" y="1236"/>
                  </a:lnTo>
                  <a:lnTo>
                    <a:pt x="5488" y="1232"/>
                  </a:lnTo>
                  <a:lnTo>
                    <a:pt x="5480" y="1220"/>
                  </a:lnTo>
                  <a:lnTo>
                    <a:pt x="5478" y="1216"/>
                  </a:lnTo>
                  <a:lnTo>
                    <a:pt x="5478" y="1204"/>
                  </a:lnTo>
                  <a:lnTo>
                    <a:pt x="5480" y="1200"/>
                  </a:lnTo>
                  <a:lnTo>
                    <a:pt x="5484" y="1200"/>
                  </a:lnTo>
                  <a:lnTo>
                    <a:pt x="5490" y="1200"/>
                  </a:lnTo>
                  <a:lnTo>
                    <a:pt x="5496" y="1202"/>
                  </a:lnTo>
                  <a:lnTo>
                    <a:pt x="5502" y="1206"/>
                  </a:lnTo>
                  <a:lnTo>
                    <a:pt x="5510" y="1212"/>
                  </a:lnTo>
                  <a:lnTo>
                    <a:pt x="5516" y="1220"/>
                  </a:lnTo>
                  <a:lnTo>
                    <a:pt x="5520" y="1230"/>
                  </a:lnTo>
                  <a:lnTo>
                    <a:pt x="5524" y="1238"/>
                  </a:lnTo>
                  <a:lnTo>
                    <a:pt x="5530" y="1242"/>
                  </a:lnTo>
                  <a:lnTo>
                    <a:pt x="5536" y="1244"/>
                  </a:lnTo>
                  <a:lnTo>
                    <a:pt x="5542" y="1246"/>
                  </a:lnTo>
                  <a:lnTo>
                    <a:pt x="5556" y="1244"/>
                  </a:lnTo>
                  <a:lnTo>
                    <a:pt x="5572" y="1242"/>
                  </a:lnTo>
                  <a:lnTo>
                    <a:pt x="5588" y="1238"/>
                  </a:lnTo>
                  <a:lnTo>
                    <a:pt x="5596" y="1238"/>
                  </a:lnTo>
                  <a:lnTo>
                    <a:pt x="5604" y="1238"/>
                  </a:lnTo>
                  <a:lnTo>
                    <a:pt x="5610" y="1242"/>
                  </a:lnTo>
                  <a:lnTo>
                    <a:pt x="5618" y="1246"/>
                  </a:lnTo>
                  <a:lnTo>
                    <a:pt x="5624" y="1252"/>
                  </a:lnTo>
                  <a:lnTo>
                    <a:pt x="5628" y="1262"/>
                  </a:lnTo>
                  <a:lnTo>
                    <a:pt x="5638" y="1278"/>
                  </a:lnTo>
                  <a:lnTo>
                    <a:pt x="5648" y="1290"/>
                  </a:lnTo>
                  <a:lnTo>
                    <a:pt x="5656" y="1294"/>
                  </a:lnTo>
                  <a:lnTo>
                    <a:pt x="5664" y="1296"/>
                  </a:lnTo>
                  <a:lnTo>
                    <a:pt x="5674" y="1298"/>
                  </a:lnTo>
                  <a:lnTo>
                    <a:pt x="5682" y="1298"/>
                  </a:lnTo>
                  <a:lnTo>
                    <a:pt x="5690" y="1302"/>
                  </a:lnTo>
                  <a:lnTo>
                    <a:pt x="5696" y="1310"/>
                  </a:lnTo>
                  <a:lnTo>
                    <a:pt x="5700" y="1316"/>
                  </a:lnTo>
                  <a:lnTo>
                    <a:pt x="5706" y="1320"/>
                  </a:lnTo>
                  <a:lnTo>
                    <a:pt x="5710" y="1322"/>
                  </a:lnTo>
                  <a:lnTo>
                    <a:pt x="5716" y="1322"/>
                  </a:lnTo>
                  <a:lnTo>
                    <a:pt x="5726" y="1322"/>
                  </a:lnTo>
                  <a:lnTo>
                    <a:pt x="5738" y="1318"/>
                  </a:lnTo>
                  <a:lnTo>
                    <a:pt x="5748" y="1310"/>
                  </a:lnTo>
                  <a:lnTo>
                    <a:pt x="5756" y="1298"/>
                  </a:lnTo>
                  <a:lnTo>
                    <a:pt x="5764" y="1284"/>
                  </a:lnTo>
                  <a:lnTo>
                    <a:pt x="5766" y="1268"/>
                  </a:lnTo>
                  <a:lnTo>
                    <a:pt x="5768" y="1254"/>
                  </a:lnTo>
                  <a:lnTo>
                    <a:pt x="5770" y="1248"/>
                  </a:lnTo>
                  <a:lnTo>
                    <a:pt x="5774" y="1246"/>
                  </a:lnTo>
                  <a:lnTo>
                    <a:pt x="5782" y="1240"/>
                  </a:lnTo>
                  <a:lnTo>
                    <a:pt x="5792" y="1238"/>
                  </a:lnTo>
                  <a:lnTo>
                    <a:pt x="5802" y="1238"/>
                  </a:lnTo>
                  <a:lnTo>
                    <a:pt x="5816" y="1234"/>
                  </a:lnTo>
                  <a:lnTo>
                    <a:pt x="5830" y="1228"/>
                  </a:lnTo>
                  <a:lnTo>
                    <a:pt x="5836" y="1222"/>
                  </a:lnTo>
                  <a:lnTo>
                    <a:pt x="5844" y="1216"/>
                  </a:lnTo>
                  <a:lnTo>
                    <a:pt x="5854" y="1204"/>
                  </a:lnTo>
                  <a:lnTo>
                    <a:pt x="5856" y="1198"/>
                  </a:lnTo>
                  <a:lnTo>
                    <a:pt x="5856" y="1196"/>
                  </a:lnTo>
                  <a:lnTo>
                    <a:pt x="5854" y="1194"/>
                  </a:lnTo>
                  <a:lnTo>
                    <a:pt x="5846" y="1194"/>
                  </a:lnTo>
                  <a:lnTo>
                    <a:pt x="5836" y="1192"/>
                  </a:lnTo>
                  <a:lnTo>
                    <a:pt x="5824" y="1188"/>
                  </a:lnTo>
                  <a:lnTo>
                    <a:pt x="5816" y="1184"/>
                  </a:lnTo>
                  <a:lnTo>
                    <a:pt x="5810" y="1180"/>
                  </a:lnTo>
                  <a:lnTo>
                    <a:pt x="5804" y="1174"/>
                  </a:lnTo>
                  <a:lnTo>
                    <a:pt x="5798" y="116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5" name="Freeform 6004">
              <a:extLst>
                <a:ext uri="{FF2B5EF4-FFF2-40B4-BE49-F238E27FC236}">
                  <a16:creationId xmlns:a16="http://schemas.microsoft.com/office/drawing/2014/main" id="{8084EDEE-D2EB-49B3-9ADC-8C3B1203D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599" y="3604608"/>
              <a:ext cx="5080" cy="6349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4" y="10"/>
                </a:cxn>
                <a:cxn ang="0">
                  <a:pos x="6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8" h="10">
                  <a:moveTo>
                    <a:pt x="0" y="6"/>
                  </a:moveTo>
                  <a:lnTo>
                    <a:pt x="0" y="6"/>
                  </a:lnTo>
                  <a:lnTo>
                    <a:pt x="2" y="8"/>
                  </a:lnTo>
                  <a:lnTo>
                    <a:pt x="4" y="10"/>
                  </a:lnTo>
                  <a:lnTo>
                    <a:pt x="6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grpSp>
          <p:nvGrpSpPr>
            <p:cNvPr id="16" name="Gruppe 224">
              <a:extLst>
                <a:ext uri="{FF2B5EF4-FFF2-40B4-BE49-F238E27FC236}">
                  <a16:creationId xmlns:a16="http://schemas.microsoft.com/office/drawing/2014/main" id="{2155B84D-46D0-41D5-84D1-1E8824965BEE}"/>
                </a:ext>
              </a:extLst>
            </p:cNvPr>
            <p:cNvGrpSpPr/>
            <p:nvPr/>
          </p:nvGrpSpPr>
          <p:grpSpPr bwMode="auto">
            <a:xfrm>
              <a:off x="61885" y="752495"/>
              <a:ext cx="3986212" cy="2951162"/>
              <a:chOff x="93979" y="699453"/>
              <a:chExt cx="3986530" cy="2951480"/>
            </a:xfrm>
            <a:grpFill/>
          </p:grpSpPr>
          <p:sp>
            <p:nvSpPr>
              <p:cNvPr id="24" name="Freeform 6016">
                <a:extLst>
                  <a:ext uri="{FF2B5EF4-FFF2-40B4-BE49-F238E27FC236}">
                    <a16:creationId xmlns:a16="http://schemas.microsoft.com/office/drawing/2014/main" id="{7596B081-98FC-4084-922B-4FA14F143F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2550" y="1099503"/>
                <a:ext cx="40640" cy="26670"/>
              </a:xfrm>
              <a:custGeom>
                <a:avLst/>
                <a:gdLst/>
                <a:ahLst/>
                <a:cxnLst>
                  <a:cxn ang="0">
                    <a:pos x="54" y="2"/>
                  </a:cxn>
                  <a:cxn ang="0">
                    <a:pos x="54" y="2"/>
                  </a:cxn>
                  <a:cxn ang="0">
                    <a:pos x="32" y="12"/>
                  </a:cxn>
                  <a:cxn ang="0">
                    <a:pos x="10" y="24"/>
                  </a:cxn>
                  <a:cxn ang="0">
                    <a:pos x="4" y="30"/>
                  </a:cxn>
                  <a:cxn ang="0">
                    <a:pos x="0" y="36"/>
                  </a:cxn>
                  <a:cxn ang="0">
                    <a:pos x="2" y="38"/>
                  </a:cxn>
                  <a:cxn ang="0">
                    <a:pos x="4" y="40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8" y="42"/>
                  </a:cxn>
                  <a:cxn ang="0">
                    <a:pos x="40" y="36"/>
                  </a:cxn>
                  <a:cxn ang="0">
                    <a:pos x="50" y="28"/>
                  </a:cxn>
                  <a:cxn ang="0">
                    <a:pos x="58" y="20"/>
                  </a:cxn>
                  <a:cxn ang="0">
                    <a:pos x="62" y="10"/>
                  </a:cxn>
                  <a:cxn ang="0">
                    <a:pos x="64" y="4"/>
                  </a:cxn>
                  <a:cxn ang="0">
                    <a:pos x="64" y="2"/>
                  </a:cxn>
                  <a:cxn ang="0">
                    <a:pos x="62" y="0"/>
                  </a:cxn>
                  <a:cxn ang="0">
                    <a:pos x="58" y="0"/>
                  </a:cxn>
                  <a:cxn ang="0">
                    <a:pos x="54" y="2"/>
                  </a:cxn>
                  <a:cxn ang="0">
                    <a:pos x="54" y="2"/>
                  </a:cxn>
                </a:cxnLst>
                <a:rect l="0" t="0" r="r" b="b"/>
                <a:pathLst>
                  <a:path w="64" h="42">
                    <a:moveTo>
                      <a:pt x="54" y="2"/>
                    </a:moveTo>
                    <a:lnTo>
                      <a:pt x="54" y="2"/>
                    </a:lnTo>
                    <a:lnTo>
                      <a:pt x="32" y="12"/>
                    </a:lnTo>
                    <a:lnTo>
                      <a:pt x="10" y="24"/>
                    </a:lnTo>
                    <a:lnTo>
                      <a:pt x="4" y="30"/>
                    </a:lnTo>
                    <a:lnTo>
                      <a:pt x="0" y="36"/>
                    </a:lnTo>
                    <a:lnTo>
                      <a:pt x="2" y="38"/>
                    </a:lnTo>
                    <a:lnTo>
                      <a:pt x="4" y="40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8" y="42"/>
                    </a:lnTo>
                    <a:lnTo>
                      <a:pt x="40" y="36"/>
                    </a:lnTo>
                    <a:lnTo>
                      <a:pt x="50" y="28"/>
                    </a:lnTo>
                    <a:lnTo>
                      <a:pt x="58" y="20"/>
                    </a:lnTo>
                    <a:lnTo>
                      <a:pt x="62" y="10"/>
                    </a:lnTo>
                    <a:lnTo>
                      <a:pt x="64" y="4"/>
                    </a:lnTo>
                    <a:lnTo>
                      <a:pt x="64" y="2"/>
                    </a:lnTo>
                    <a:lnTo>
                      <a:pt x="62" y="0"/>
                    </a:lnTo>
                    <a:lnTo>
                      <a:pt x="58" y="0"/>
                    </a:lnTo>
                    <a:lnTo>
                      <a:pt x="54" y="2"/>
                    </a:lnTo>
                    <a:lnTo>
                      <a:pt x="54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5" name="Freeform 6017">
                <a:extLst>
                  <a:ext uri="{FF2B5EF4-FFF2-40B4-BE49-F238E27FC236}">
                    <a16:creationId xmlns:a16="http://schemas.microsoft.com/office/drawing/2014/main" id="{B959F5FD-8FF7-4CE7-BD23-C7AFE80341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4910" y="1173163"/>
                <a:ext cx="270510" cy="165100"/>
              </a:xfrm>
              <a:custGeom>
                <a:avLst/>
                <a:gdLst/>
                <a:ahLst/>
                <a:cxnLst>
                  <a:cxn ang="0">
                    <a:pos x="20" y="198"/>
                  </a:cxn>
                  <a:cxn ang="0">
                    <a:pos x="68" y="214"/>
                  </a:cxn>
                  <a:cxn ang="0">
                    <a:pos x="92" y="232"/>
                  </a:cxn>
                  <a:cxn ang="0">
                    <a:pos x="106" y="256"/>
                  </a:cxn>
                  <a:cxn ang="0">
                    <a:pos x="116" y="260"/>
                  </a:cxn>
                  <a:cxn ang="0">
                    <a:pos x="146" y="248"/>
                  </a:cxn>
                  <a:cxn ang="0">
                    <a:pos x="168" y="236"/>
                  </a:cxn>
                  <a:cxn ang="0">
                    <a:pos x="184" y="238"/>
                  </a:cxn>
                  <a:cxn ang="0">
                    <a:pos x="208" y="232"/>
                  </a:cxn>
                  <a:cxn ang="0">
                    <a:pos x="216" y="226"/>
                  </a:cxn>
                  <a:cxn ang="0">
                    <a:pos x="224" y="200"/>
                  </a:cxn>
                  <a:cxn ang="0">
                    <a:pos x="232" y="178"/>
                  </a:cxn>
                  <a:cxn ang="0">
                    <a:pos x="254" y="172"/>
                  </a:cxn>
                  <a:cxn ang="0">
                    <a:pos x="266" y="158"/>
                  </a:cxn>
                  <a:cxn ang="0">
                    <a:pos x="280" y="140"/>
                  </a:cxn>
                  <a:cxn ang="0">
                    <a:pos x="322" y="124"/>
                  </a:cxn>
                  <a:cxn ang="0">
                    <a:pos x="392" y="94"/>
                  </a:cxn>
                  <a:cxn ang="0">
                    <a:pos x="418" y="86"/>
                  </a:cxn>
                  <a:cxn ang="0">
                    <a:pos x="424" y="72"/>
                  </a:cxn>
                  <a:cxn ang="0">
                    <a:pos x="408" y="64"/>
                  </a:cxn>
                  <a:cxn ang="0">
                    <a:pos x="370" y="40"/>
                  </a:cxn>
                  <a:cxn ang="0">
                    <a:pos x="334" y="22"/>
                  </a:cxn>
                  <a:cxn ang="0">
                    <a:pos x="302" y="22"/>
                  </a:cxn>
                  <a:cxn ang="0">
                    <a:pos x="284" y="30"/>
                  </a:cxn>
                  <a:cxn ang="0">
                    <a:pos x="276" y="40"/>
                  </a:cxn>
                  <a:cxn ang="0">
                    <a:pos x="272" y="36"/>
                  </a:cxn>
                  <a:cxn ang="0">
                    <a:pos x="268" y="26"/>
                  </a:cxn>
                  <a:cxn ang="0">
                    <a:pos x="260" y="26"/>
                  </a:cxn>
                  <a:cxn ang="0">
                    <a:pos x="234" y="22"/>
                  </a:cxn>
                  <a:cxn ang="0">
                    <a:pos x="192" y="2"/>
                  </a:cxn>
                  <a:cxn ang="0">
                    <a:pos x="168" y="0"/>
                  </a:cxn>
                  <a:cxn ang="0">
                    <a:pos x="138" y="6"/>
                  </a:cxn>
                  <a:cxn ang="0">
                    <a:pos x="54" y="16"/>
                  </a:cxn>
                  <a:cxn ang="0">
                    <a:pos x="50" y="20"/>
                  </a:cxn>
                  <a:cxn ang="0">
                    <a:pos x="56" y="28"/>
                  </a:cxn>
                  <a:cxn ang="0">
                    <a:pos x="64" y="46"/>
                  </a:cxn>
                  <a:cxn ang="0">
                    <a:pos x="76" y="52"/>
                  </a:cxn>
                  <a:cxn ang="0">
                    <a:pos x="86" y="60"/>
                  </a:cxn>
                  <a:cxn ang="0">
                    <a:pos x="74" y="72"/>
                  </a:cxn>
                  <a:cxn ang="0">
                    <a:pos x="72" y="80"/>
                  </a:cxn>
                  <a:cxn ang="0">
                    <a:pos x="58" y="84"/>
                  </a:cxn>
                  <a:cxn ang="0">
                    <a:pos x="56" y="90"/>
                  </a:cxn>
                  <a:cxn ang="0">
                    <a:pos x="48" y="106"/>
                  </a:cxn>
                  <a:cxn ang="0">
                    <a:pos x="46" y="114"/>
                  </a:cxn>
                  <a:cxn ang="0">
                    <a:pos x="56" y="122"/>
                  </a:cxn>
                  <a:cxn ang="0">
                    <a:pos x="44" y="126"/>
                  </a:cxn>
                  <a:cxn ang="0">
                    <a:pos x="30" y="130"/>
                  </a:cxn>
                  <a:cxn ang="0">
                    <a:pos x="34" y="140"/>
                  </a:cxn>
                  <a:cxn ang="0">
                    <a:pos x="22" y="160"/>
                  </a:cxn>
                  <a:cxn ang="0">
                    <a:pos x="4" y="182"/>
                  </a:cxn>
                  <a:cxn ang="0">
                    <a:pos x="0" y="192"/>
                  </a:cxn>
                  <a:cxn ang="0">
                    <a:pos x="2" y="196"/>
                  </a:cxn>
                </a:cxnLst>
                <a:rect l="0" t="0" r="r" b="b"/>
                <a:pathLst>
                  <a:path w="426" h="260">
                    <a:moveTo>
                      <a:pt x="2" y="196"/>
                    </a:moveTo>
                    <a:lnTo>
                      <a:pt x="2" y="196"/>
                    </a:lnTo>
                    <a:lnTo>
                      <a:pt x="20" y="198"/>
                    </a:lnTo>
                    <a:lnTo>
                      <a:pt x="38" y="204"/>
                    </a:lnTo>
                    <a:lnTo>
                      <a:pt x="68" y="214"/>
                    </a:lnTo>
                    <a:lnTo>
                      <a:pt x="68" y="214"/>
                    </a:lnTo>
                    <a:lnTo>
                      <a:pt x="78" y="220"/>
                    </a:lnTo>
                    <a:lnTo>
                      <a:pt x="86" y="226"/>
                    </a:lnTo>
                    <a:lnTo>
                      <a:pt x="92" y="232"/>
                    </a:lnTo>
                    <a:lnTo>
                      <a:pt x="96" y="240"/>
                    </a:lnTo>
                    <a:lnTo>
                      <a:pt x="102" y="252"/>
                    </a:lnTo>
                    <a:lnTo>
                      <a:pt x="106" y="256"/>
                    </a:lnTo>
                    <a:lnTo>
                      <a:pt x="110" y="260"/>
                    </a:lnTo>
                    <a:lnTo>
                      <a:pt x="110" y="260"/>
                    </a:lnTo>
                    <a:lnTo>
                      <a:pt x="116" y="260"/>
                    </a:lnTo>
                    <a:lnTo>
                      <a:pt x="122" y="260"/>
                    </a:lnTo>
                    <a:lnTo>
                      <a:pt x="134" y="256"/>
                    </a:lnTo>
                    <a:lnTo>
                      <a:pt x="146" y="248"/>
                    </a:lnTo>
                    <a:lnTo>
                      <a:pt x="160" y="240"/>
                    </a:lnTo>
                    <a:lnTo>
                      <a:pt x="160" y="240"/>
                    </a:lnTo>
                    <a:lnTo>
                      <a:pt x="168" y="236"/>
                    </a:lnTo>
                    <a:lnTo>
                      <a:pt x="172" y="234"/>
                    </a:lnTo>
                    <a:lnTo>
                      <a:pt x="180" y="236"/>
                    </a:lnTo>
                    <a:lnTo>
                      <a:pt x="184" y="238"/>
                    </a:lnTo>
                    <a:lnTo>
                      <a:pt x="190" y="238"/>
                    </a:lnTo>
                    <a:lnTo>
                      <a:pt x="198" y="236"/>
                    </a:lnTo>
                    <a:lnTo>
                      <a:pt x="208" y="232"/>
                    </a:lnTo>
                    <a:lnTo>
                      <a:pt x="208" y="232"/>
                    </a:lnTo>
                    <a:lnTo>
                      <a:pt x="212" y="230"/>
                    </a:lnTo>
                    <a:lnTo>
                      <a:pt x="216" y="226"/>
                    </a:lnTo>
                    <a:lnTo>
                      <a:pt x="222" y="218"/>
                    </a:lnTo>
                    <a:lnTo>
                      <a:pt x="224" y="210"/>
                    </a:lnTo>
                    <a:lnTo>
                      <a:pt x="224" y="200"/>
                    </a:lnTo>
                    <a:lnTo>
                      <a:pt x="224" y="192"/>
                    </a:lnTo>
                    <a:lnTo>
                      <a:pt x="226" y="184"/>
                    </a:lnTo>
                    <a:lnTo>
                      <a:pt x="232" y="178"/>
                    </a:lnTo>
                    <a:lnTo>
                      <a:pt x="244" y="174"/>
                    </a:lnTo>
                    <a:lnTo>
                      <a:pt x="244" y="174"/>
                    </a:lnTo>
                    <a:lnTo>
                      <a:pt x="254" y="172"/>
                    </a:lnTo>
                    <a:lnTo>
                      <a:pt x="260" y="170"/>
                    </a:lnTo>
                    <a:lnTo>
                      <a:pt x="264" y="164"/>
                    </a:lnTo>
                    <a:lnTo>
                      <a:pt x="266" y="158"/>
                    </a:lnTo>
                    <a:lnTo>
                      <a:pt x="268" y="152"/>
                    </a:lnTo>
                    <a:lnTo>
                      <a:pt x="272" y="146"/>
                    </a:lnTo>
                    <a:lnTo>
                      <a:pt x="280" y="140"/>
                    </a:lnTo>
                    <a:lnTo>
                      <a:pt x="292" y="136"/>
                    </a:lnTo>
                    <a:lnTo>
                      <a:pt x="292" y="136"/>
                    </a:lnTo>
                    <a:lnTo>
                      <a:pt x="322" y="124"/>
                    </a:lnTo>
                    <a:lnTo>
                      <a:pt x="348" y="112"/>
                    </a:lnTo>
                    <a:lnTo>
                      <a:pt x="370" y="102"/>
                    </a:lnTo>
                    <a:lnTo>
                      <a:pt x="392" y="94"/>
                    </a:lnTo>
                    <a:lnTo>
                      <a:pt x="392" y="94"/>
                    </a:lnTo>
                    <a:lnTo>
                      <a:pt x="408" y="90"/>
                    </a:lnTo>
                    <a:lnTo>
                      <a:pt x="418" y="86"/>
                    </a:lnTo>
                    <a:lnTo>
                      <a:pt x="424" y="82"/>
                    </a:lnTo>
                    <a:lnTo>
                      <a:pt x="426" y="76"/>
                    </a:lnTo>
                    <a:lnTo>
                      <a:pt x="424" y="72"/>
                    </a:lnTo>
                    <a:lnTo>
                      <a:pt x="420" y="70"/>
                    </a:lnTo>
                    <a:lnTo>
                      <a:pt x="408" y="64"/>
                    </a:lnTo>
                    <a:lnTo>
                      <a:pt x="408" y="64"/>
                    </a:lnTo>
                    <a:lnTo>
                      <a:pt x="398" y="60"/>
                    </a:lnTo>
                    <a:lnTo>
                      <a:pt x="390" y="54"/>
                    </a:lnTo>
                    <a:lnTo>
                      <a:pt x="370" y="40"/>
                    </a:lnTo>
                    <a:lnTo>
                      <a:pt x="360" y="32"/>
                    </a:lnTo>
                    <a:lnTo>
                      <a:pt x="348" y="26"/>
                    </a:lnTo>
                    <a:lnTo>
                      <a:pt x="334" y="22"/>
                    </a:lnTo>
                    <a:lnTo>
                      <a:pt x="318" y="22"/>
                    </a:lnTo>
                    <a:lnTo>
                      <a:pt x="318" y="22"/>
                    </a:lnTo>
                    <a:lnTo>
                      <a:pt x="302" y="22"/>
                    </a:lnTo>
                    <a:lnTo>
                      <a:pt x="294" y="24"/>
                    </a:lnTo>
                    <a:lnTo>
                      <a:pt x="288" y="26"/>
                    </a:lnTo>
                    <a:lnTo>
                      <a:pt x="284" y="30"/>
                    </a:lnTo>
                    <a:lnTo>
                      <a:pt x="282" y="36"/>
                    </a:lnTo>
                    <a:lnTo>
                      <a:pt x="280" y="38"/>
                    </a:lnTo>
                    <a:lnTo>
                      <a:pt x="276" y="40"/>
                    </a:lnTo>
                    <a:lnTo>
                      <a:pt x="276" y="40"/>
                    </a:lnTo>
                    <a:lnTo>
                      <a:pt x="272" y="40"/>
                    </a:lnTo>
                    <a:lnTo>
                      <a:pt x="272" y="36"/>
                    </a:lnTo>
                    <a:lnTo>
                      <a:pt x="272" y="32"/>
                    </a:lnTo>
                    <a:lnTo>
                      <a:pt x="272" y="30"/>
                    </a:lnTo>
                    <a:lnTo>
                      <a:pt x="268" y="26"/>
                    </a:lnTo>
                    <a:lnTo>
                      <a:pt x="268" y="26"/>
                    </a:lnTo>
                    <a:lnTo>
                      <a:pt x="266" y="26"/>
                    </a:lnTo>
                    <a:lnTo>
                      <a:pt x="260" y="26"/>
                    </a:lnTo>
                    <a:lnTo>
                      <a:pt x="250" y="24"/>
                    </a:lnTo>
                    <a:lnTo>
                      <a:pt x="234" y="22"/>
                    </a:lnTo>
                    <a:lnTo>
                      <a:pt x="234" y="22"/>
                    </a:lnTo>
                    <a:lnTo>
                      <a:pt x="218" y="16"/>
                    </a:lnTo>
                    <a:lnTo>
                      <a:pt x="208" y="12"/>
                    </a:lnTo>
                    <a:lnTo>
                      <a:pt x="192" y="2"/>
                    </a:lnTo>
                    <a:lnTo>
                      <a:pt x="186" y="0"/>
                    </a:lnTo>
                    <a:lnTo>
                      <a:pt x="178" y="0"/>
                    </a:lnTo>
                    <a:lnTo>
                      <a:pt x="168" y="0"/>
                    </a:lnTo>
                    <a:lnTo>
                      <a:pt x="154" y="2"/>
                    </a:lnTo>
                    <a:lnTo>
                      <a:pt x="154" y="2"/>
                    </a:lnTo>
                    <a:lnTo>
                      <a:pt x="138" y="6"/>
                    </a:lnTo>
                    <a:lnTo>
                      <a:pt x="120" y="8"/>
                    </a:lnTo>
                    <a:lnTo>
                      <a:pt x="82" y="12"/>
                    </a:lnTo>
                    <a:lnTo>
                      <a:pt x="54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4" y="24"/>
                    </a:lnTo>
                    <a:lnTo>
                      <a:pt x="56" y="28"/>
                    </a:lnTo>
                    <a:lnTo>
                      <a:pt x="58" y="36"/>
                    </a:lnTo>
                    <a:lnTo>
                      <a:pt x="60" y="42"/>
                    </a:lnTo>
                    <a:lnTo>
                      <a:pt x="64" y="46"/>
                    </a:lnTo>
                    <a:lnTo>
                      <a:pt x="68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4" y="56"/>
                    </a:lnTo>
                    <a:lnTo>
                      <a:pt x="86" y="58"/>
                    </a:lnTo>
                    <a:lnTo>
                      <a:pt x="86" y="60"/>
                    </a:lnTo>
                    <a:lnTo>
                      <a:pt x="84" y="64"/>
                    </a:lnTo>
                    <a:lnTo>
                      <a:pt x="76" y="68"/>
                    </a:lnTo>
                    <a:lnTo>
                      <a:pt x="74" y="72"/>
                    </a:lnTo>
                    <a:lnTo>
                      <a:pt x="72" y="76"/>
                    </a:lnTo>
                    <a:lnTo>
                      <a:pt x="72" y="76"/>
                    </a:lnTo>
                    <a:lnTo>
                      <a:pt x="72" y="80"/>
                    </a:lnTo>
                    <a:lnTo>
                      <a:pt x="70" y="82"/>
                    </a:lnTo>
                    <a:lnTo>
                      <a:pt x="64" y="82"/>
                    </a:lnTo>
                    <a:lnTo>
                      <a:pt x="58" y="84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54" y="98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12"/>
                    </a:lnTo>
                    <a:lnTo>
                      <a:pt x="46" y="114"/>
                    </a:lnTo>
                    <a:lnTo>
                      <a:pt x="46" y="114"/>
                    </a:lnTo>
                    <a:lnTo>
                      <a:pt x="54" y="118"/>
                    </a:lnTo>
                    <a:lnTo>
                      <a:pt x="56" y="122"/>
                    </a:lnTo>
                    <a:lnTo>
                      <a:pt x="56" y="124"/>
                    </a:lnTo>
                    <a:lnTo>
                      <a:pt x="54" y="124"/>
                    </a:lnTo>
                    <a:lnTo>
                      <a:pt x="44" y="126"/>
                    </a:lnTo>
                    <a:lnTo>
                      <a:pt x="44" y="126"/>
                    </a:lnTo>
                    <a:lnTo>
                      <a:pt x="34" y="128"/>
                    </a:lnTo>
                    <a:lnTo>
                      <a:pt x="30" y="130"/>
                    </a:lnTo>
                    <a:lnTo>
                      <a:pt x="30" y="134"/>
                    </a:lnTo>
                    <a:lnTo>
                      <a:pt x="34" y="140"/>
                    </a:lnTo>
                    <a:lnTo>
                      <a:pt x="34" y="140"/>
                    </a:lnTo>
                    <a:lnTo>
                      <a:pt x="34" y="144"/>
                    </a:lnTo>
                    <a:lnTo>
                      <a:pt x="32" y="150"/>
                    </a:lnTo>
                    <a:lnTo>
                      <a:pt x="22" y="160"/>
                    </a:lnTo>
                    <a:lnTo>
                      <a:pt x="10" y="172"/>
                    </a:lnTo>
                    <a:lnTo>
                      <a:pt x="6" y="178"/>
                    </a:lnTo>
                    <a:lnTo>
                      <a:pt x="4" y="182"/>
                    </a:lnTo>
                    <a:lnTo>
                      <a:pt x="4" y="182"/>
                    </a:lnTo>
                    <a:lnTo>
                      <a:pt x="2" y="188"/>
                    </a:lnTo>
                    <a:lnTo>
                      <a:pt x="0" y="192"/>
                    </a:lnTo>
                    <a:lnTo>
                      <a:pt x="0" y="194"/>
                    </a:lnTo>
                    <a:lnTo>
                      <a:pt x="2" y="196"/>
                    </a:lnTo>
                    <a:lnTo>
                      <a:pt x="2" y="19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6" name="Freeform 6018">
                <a:extLst>
                  <a:ext uri="{FF2B5EF4-FFF2-40B4-BE49-F238E27FC236}">
                    <a16:creationId xmlns:a16="http://schemas.microsoft.com/office/drawing/2014/main" id="{56EFAADF-ED32-4AA0-BB48-0DD304755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8570" y="1024573"/>
                <a:ext cx="190500" cy="87630"/>
              </a:xfrm>
              <a:custGeom>
                <a:avLst/>
                <a:gdLst/>
                <a:ahLst/>
                <a:cxnLst>
                  <a:cxn ang="0">
                    <a:pos x="12" y="124"/>
                  </a:cxn>
                  <a:cxn ang="0">
                    <a:pos x="16" y="130"/>
                  </a:cxn>
                  <a:cxn ang="0">
                    <a:pos x="36" y="120"/>
                  </a:cxn>
                  <a:cxn ang="0">
                    <a:pos x="50" y="118"/>
                  </a:cxn>
                  <a:cxn ang="0">
                    <a:pos x="66" y="124"/>
                  </a:cxn>
                  <a:cxn ang="0">
                    <a:pos x="76" y="124"/>
                  </a:cxn>
                  <a:cxn ang="0">
                    <a:pos x="88" y="114"/>
                  </a:cxn>
                  <a:cxn ang="0">
                    <a:pos x="94" y="122"/>
                  </a:cxn>
                  <a:cxn ang="0">
                    <a:pos x="112" y="138"/>
                  </a:cxn>
                  <a:cxn ang="0">
                    <a:pos x="132" y="132"/>
                  </a:cxn>
                  <a:cxn ang="0">
                    <a:pos x="138" y="114"/>
                  </a:cxn>
                  <a:cxn ang="0">
                    <a:pos x="146" y="110"/>
                  </a:cxn>
                  <a:cxn ang="0">
                    <a:pos x="156" y="114"/>
                  </a:cxn>
                  <a:cxn ang="0">
                    <a:pos x="174" y="94"/>
                  </a:cxn>
                  <a:cxn ang="0">
                    <a:pos x="182" y="76"/>
                  </a:cxn>
                  <a:cxn ang="0">
                    <a:pos x="186" y="66"/>
                  </a:cxn>
                  <a:cxn ang="0">
                    <a:pos x="206" y="56"/>
                  </a:cxn>
                  <a:cxn ang="0">
                    <a:pos x="208" y="64"/>
                  </a:cxn>
                  <a:cxn ang="0">
                    <a:pos x="206" y="88"/>
                  </a:cxn>
                  <a:cxn ang="0">
                    <a:pos x="214" y="96"/>
                  </a:cxn>
                  <a:cxn ang="0">
                    <a:pos x="236" y="100"/>
                  </a:cxn>
                  <a:cxn ang="0">
                    <a:pos x="244" y="92"/>
                  </a:cxn>
                  <a:cxn ang="0">
                    <a:pos x="246" y="80"/>
                  </a:cxn>
                  <a:cxn ang="0">
                    <a:pos x="274" y="74"/>
                  </a:cxn>
                  <a:cxn ang="0">
                    <a:pos x="294" y="60"/>
                  </a:cxn>
                  <a:cxn ang="0">
                    <a:pos x="280" y="42"/>
                  </a:cxn>
                  <a:cxn ang="0">
                    <a:pos x="272" y="36"/>
                  </a:cxn>
                  <a:cxn ang="0">
                    <a:pos x="278" y="28"/>
                  </a:cxn>
                  <a:cxn ang="0">
                    <a:pos x="300" y="18"/>
                  </a:cxn>
                  <a:cxn ang="0">
                    <a:pos x="288" y="8"/>
                  </a:cxn>
                  <a:cxn ang="0">
                    <a:pos x="258" y="0"/>
                  </a:cxn>
                  <a:cxn ang="0">
                    <a:pos x="244" y="4"/>
                  </a:cxn>
                  <a:cxn ang="0">
                    <a:pos x="234" y="16"/>
                  </a:cxn>
                  <a:cxn ang="0">
                    <a:pos x="202" y="12"/>
                  </a:cxn>
                  <a:cxn ang="0">
                    <a:pos x="160" y="18"/>
                  </a:cxn>
                  <a:cxn ang="0">
                    <a:pos x="128" y="38"/>
                  </a:cxn>
                  <a:cxn ang="0">
                    <a:pos x="102" y="58"/>
                  </a:cxn>
                  <a:cxn ang="0">
                    <a:pos x="82" y="66"/>
                  </a:cxn>
                  <a:cxn ang="0">
                    <a:pos x="66" y="78"/>
                  </a:cxn>
                  <a:cxn ang="0">
                    <a:pos x="44" y="90"/>
                  </a:cxn>
                  <a:cxn ang="0">
                    <a:pos x="28" y="86"/>
                  </a:cxn>
                  <a:cxn ang="0">
                    <a:pos x="12" y="96"/>
                  </a:cxn>
                  <a:cxn ang="0">
                    <a:pos x="2" y="112"/>
                  </a:cxn>
                  <a:cxn ang="0">
                    <a:pos x="14" y="116"/>
                  </a:cxn>
                </a:cxnLst>
                <a:rect l="0" t="0" r="r" b="b"/>
                <a:pathLst>
                  <a:path w="300" h="138">
                    <a:moveTo>
                      <a:pt x="14" y="120"/>
                    </a:moveTo>
                    <a:lnTo>
                      <a:pt x="14" y="120"/>
                    </a:lnTo>
                    <a:lnTo>
                      <a:pt x="12" y="124"/>
                    </a:lnTo>
                    <a:lnTo>
                      <a:pt x="12" y="126"/>
                    </a:lnTo>
                    <a:lnTo>
                      <a:pt x="14" y="128"/>
                    </a:lnTo>
                    <a:lnTo>
                      <a:pt x="16" y="130"/>
                    </a:lnTo>
                    <a:lnTo>
                      <a:pt x="24" y="128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42" y="118"/>
                    </a:lnTo>
                    <a:lnTo>
                      <a:pt x="46" y="116"/>
                    </a:lnTo>
                    <a:lnTo>
                      <a:pt x="50" y="118"/>
                    </a:lnTo>
                    <a:lnTo>
                      <a:pt x="52" y="118"/>
                    </a:lnTo>
                    <a:lnTo>
                      <a:pt x="60" y="124"/>
                    </a:lnTo>
                    <a:lnTo>
                      <a:pt x="66" y="124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6" y="124"/>
                    </a:lnTo>
                    <a:lnTo>
                      <a:pt x="82" y="122"/>
                    </a:lnTo>
                    <a:lnTo>
                      <a:pt x="86" y="116"/>
                    </a:lnTo>
                    <a:lnTo>
                      <a:pt x="88" y="114"/>
                    </a:lnTo>
                    <a:lnTo>
                      <a:pt x="90" y="114"/>
                    </a:lnTo>
                    <a:lnTo>
                      <a:pt x="94" y="122"/>
                    </a:lnTo>
                    <a:lnTo>
                      <a:pt x="94" y="122"/>
                    </a:lnTo>
                    <a:lnTo>
                      <a:pt x="98" y="130"/>
                    </a:lnTo>
                    <a:lnTo>
                      <a:pt x="104" y="134"/>
                    </a:lnTo>
                    <a:lnTo>
                      <a:pt x="112" y="138"/>
                    </a:lnTo>
                    <a:lnTo>
                      <a:pt x="118" y="138"/>
                    </a:lnTo>
                    <a:lnTo>
                      <a:pt x="126" y="136"/>
                    </a:lnTo>
                    <a:lnTo>
                      <a:pt x="132" y="132"/>
                    </a:lnTo>
                    <a:lnTo>
                      <a:pt x="136" y="124"/>
                    </a:lnTo>
                    <a:lnTo>
                      <a:pt x="138" y="114"/>
                    </a:lnTo>
                    <a:lnTo>
                      <a:pt x="138" y="114"/>
                    </a:lnTo>
                    <a:lnTo>
                      <a:pt x="138" y="106"/>
                    </a:lnTo>
                    <a:lnTo>
                      <a:pt x="140" y="104"/>
                    </a:lnTo>
                    <a:lnTo>
                      <a:pt x="146" y="110"/>
                    </a:lnTo>
                    <a:lnTo>
                      <a:pt x="150" y="114"/>
                    </a:lnTo>
                    <a:lnTo>
                      <a:pt x="154" y="114"/>
                    </a:lnTo>
                    <a:lnTo>
                      <a:pt x="156" y="114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74" y="94"/>
                    </a:lnTo>
                    <a:lnTo>
                      <a:pt x="174" y="94"/>
                    </a:lnTo>
                    <a:lnTo>
                      <a:pt x="180" y="82"/>
                    </a:lnTo>
                    <a:lnTo>
                      <a:pt x="182" y="76"/>
                    </a:lnTo>
                    <a:lnTo>
                      <a:pt x="182" y="68"/>
                    </a:lnTo>
                    <a:lnTo>
                      <a:pt x="184" y="66"/>
                    </a:lnTo>
                    <a:lnTo>
                      <a:pt x="186" y="66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206" y="56"/>
                    </a:lnTo>
                    <a:lnTo>
                      <a:pt x="208" y="58"/>
                    </a:lnTo>
                    <a:lnTo>
                      <a:pt x="210" y="58"/>
                    </a:lnTo>
                    <a:lnTo>
                      <a:pt x="208" y="64"/>
                    </a:lnTo>
                    <a:lnTo>
                      <a:pt x="206" y="72"/>
                    </a:lnTo>
                    <a:lnTo>
                      <a:pt x="204" y="80"/>
                    </a:lnTo>
                    <a:lnTo>
                      <a:pt x="206" y="88"/>
                    </a:lnTo>
                    <a:lnTo>
                      <a:pt x="208" y="92"/>
                    </a:lnTo>
                    <a:lnTo>
                      <a:pt x="210" y="94"/>
                    </a:lnTo>
                    <a:lnTo>
                      <a:pt x="214" y="96"/>
                    </a:lnTo>
                    <a:lnTo>
                      <a:pt x="222" y="98"/>
                    </a:lnTo>
                    <a:lnTo>
                      <a:pt x="222" y="98"/>
                    </a:lnTo>
                    <a:lnTo>
                      <a:pt x="236" y="100"/>
                    </a:lnTo>
                    <a:lnTo>
                      <a:pt x="242" y="98"/>
                    </a:lnTo>
                    <a:lnTo>
                      <a:pt x="246" y="96"/>
                    </a:lnTo>
                    <a:lnTo>
                      <a:pt x="244" y="92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6" y="80"/>
                    </a:lnTo>
                    <a:lnTo>
                      <a:pt x="254" y="78"/>
                    </a:lnTo>
                    <a:lnTo>
                      <a:pt x="254" y="78"/>
                    </a:lnTo>
                    <a:lnTo>
                      <a:pt x="274" y="74"/>
                    </a:lnTo>
                    <a:lnTo>
                      <a:pt x="284" y="70"/>
                    </a:lnTo>
                    <a:lnTo>
                      <a:pt x="290" y="66"/>
                    </a:lnTo>
                    <a:lnTo>
                      <a:pt x="294" y="60"/>
                    </a:lnTo>
                    <a:lnTo>
                      <a:pt x="294" y="54"/>
                    </a:lnTo>
                    <a:lnTo>
                      <a:pt x="290" y="48"/>
                    </a:lnTo>
                    <a:lnTo>
                      <a:pt x="280" y="42"/>
                    </a:lnTo>
                    <a:lnTo>
                      <a:pt x="280" y="42"/>
                    </a:lnTo>
                    <a:lnTo>
                      <a:pt x="274" y="38"/>
                    </a:lnTo>
                    <a:lnTo>
                      <a:pt x="272" y="36"/>
                    </a:lnTo>
                    <a:lnTo>
                      <a:pt x="272" y="34"/>
                    </a:lnTo>
                    <a:lnTo>
                      <a:pt x="272" y="32"/>
                    </a:lnTo>
                    <a:lnTo>
                      <a:pt x="278" y="28"/>
                    </a:lnTo>
                    <a:lnTo>
                      <a:pt x="288" y="24"/>
                    </a:lnTo>
                    <a:lnTo>
                      <a:pt x="296" y="22"/>
                    </a:lnTo>
                    <a:lnTo>
                      <a:pt x="300" y="18"/>
                    </a:lnTo>
                    <a:lnTo>
                      <a:pt x="300" y="16"/>
                    </a:lnTo>
                    <a:lnTo>
                      <a:pt x="298" y="14"/>
                    </a:lnTo>
                    <a:lnTo>
                      <a:pt x="288" y="8"/>
                    </a:lnTo>
                    <a:lnTo>
                      <a:pt x="288" y="8"/>
                    </a:lnTo>
                    <a:lnTo>
                      <a:pt x="266" y="0"/>
                    </a:lnTo>
                    <a:lnTo>
                      <a:pt x="258" y="0"/>
                    </a:lnTo>
                    <a:lnTo>
                      <a:pt x="254" y="0"/>
                    </a:lnTo>
                    <a:lnTo>
                      <a:pt x="248" y="2"/>
                    </a:lnTo>
                    <a:lnTo>
                      <a:pt x="244" y="4"/>
                    </a:lnTo>
                    <a:lnTo>
                      <a:pt x="238" y="14"/>
                    </a:lnTo>
                    <a:lnTo>
                      <a:pt x="238" y="14"/>
                    </a:lnTo>
                    <a:lnTo>
                      <a:pt x="234" y="16"/>
                    </a:lnTo>
                    <a:lnTo>
                      <a:pt x="232" y="16"/>
                    </a:lnTo>
                    <a:lnTo>
                      <a:pt x="224" y="16"/>
                    </a:lnTo>
                    <a:lnTo>
                      <a:pt x="202" y="12"/>
                    </a:lnTo>
                    <a:lnTo>
                      <a:pt x="186" y="12"/>
                    </a:lnTo>
                    <a:lnTo>
                      <a:pt x="170" y="14"/>
                    </a:lnTo>
                    <a:lnTo>
                      <a:pt x="160" y="18"/>
                    </a:lnTo>
                    <a:lnTo>
                      <a:pt x="150" y="22"/>
                    </a:lnTo>
                    <a:lnTo>
                      <a:pt x="140" y="28"/>
                    </a:lnTo>
                    <a:lnTo>
                      <a:pt x="128" y="38"/>
                    </a:lnTo>
                    <a:lnTo>
                      <a:pt x="128" y="38"/>
                    </a:lnTo>
                    <a:lnTo>
                      <a:pt x="112" y="50"/>
                    </a:lnTo>
                    <a:lnTo>
                      <a:pt x="102" y="58"/>
                    </a:lnTo>
                    <a:lnTo>
                      <a:pt x="94" y="62"/>
                    </a:lnTo>
                    <a:lnTo>
                      <a:pt x="90" y="62"/>
                    </a:lnTo>
                    <a:lnTo>
                      <a:pt x="82" y="66"/>
                    </a:lnTo>
                    <a:lnTo>
                      <a:pt x="76" y="70"/>
                    </a:lnTo>
                    <a:lnTo>
                      <a:pt x="66" y="78"/>
                    </a:lnTo>
                    <a:lnTo>
                      <a:pt x="66" y="78"/>
                    </a:lnTo>
                    <a:lnTo>
                      <a:pt x="58" y="86"/>
                    </a:lnTo>
                    <a:lnTo>
                      <a:pt x="50" y="88"/>
                    </a:lnTo>
                    <a:lnTo>
                      <a:pt x="44" y="90"/>
                    </a:lnTo>
                    <a:lnTo>
                      <a:pt x="38" y="88"/>
                    </a:lnTo>
                    <a:lnTo>
                      <a:pt x="34" y="86"/>
                    </a:lnTo>
                    <a:lnTo>
                      <a:pt x="28" y="86"/>
                    </a:lnTo>
                    <a:lnTo>
                      <a:pt x="20" y="90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4" y="104"/>
                    </a:lnTo>
                    <a:lnTo>
                      <a:pt x="0" y="108"/>
                    </a:lnTo>
                    <a:lnTo>
                      <a:pt x="2" y="112"/>
                    </a:lnTo>
                    <a:lnTo>
                      <a:pt x="4" y="112"/>
                    </a:lnTo>
                    <a:lnTo>
                      <a:pt x="12" y="114"/>
                    </a:lnTo>
                    <a:lnTo>
                      <a:pt x="14" y="116"/>
                    </a:lnTo>
                    <a:lnTo>
                      <a:pt x="14" y="120"/>
                    </a:lnTo>
                    <a:lnTo>
                      <a:pt x="14" y="1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" name="Freeform 6019">
                <a:extLst>
                  <a:ext uri="{FF2B5EF4-FFF2-40B4-BE49-F238E27FC236}">
                    <a16:creationId xmlns:a16="http://schemas.microsoft.com/office/drawing/2014/main" id="{734119CC-5285-455D-B00B-09C290707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8120" y="1056323"/>
                <a:ext cx="35560" cy="10160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18" y="16"/>
                  </a:cxn>
                  <a:cxn ang="0">
                    <a:pos x="38" y="16"/>
                  </a:cxn>
                  <a:cxn ang="0">
                    <a:pos x="46" y="14"/>
                  </a:cxn>
                  <a:cxn ang="0">
                    <a:pos x="54" y="12"/>
                  </a:cxn>
                  <a:cxn ang="0">
                    <a:pos x="54" y="12"/>
                  </a:cxn>
                  <a:cxn ang="0">
                    <a:pos x="56" y="10"/>
                  </a:cxn>
                  <a:cxn ang="0">
                    <a:pos x="56" y="8"/>
                  </a:cxn>
                  <a:cxn ang="0">
                    <a:pos x="54" y="6"/>
                  </a:cxn>
                  <a:cxn ang="0">
                    <a:pos x="46" y="2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</a:cxnLst>
                <a:rect l="0" t="0" r="r" b="b"/>
                <a:pathLst>
                  <a:path w="56" h="16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18" y="16"/>
                    </a:lnTo>
                    <a:lnTo>
                      <a:pt x="38" y="16"/>
                    </a:lnTo>
                    <a:lnTo>
                      <a:pt x="46" y="14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6" y="10"/>
                    </a:lnTo>
                    <a:lnTo>
                      <a:pt x="56" y="8"/>
                    </a:lnTo>
                    <a:lnTo>
                      <a:pt x="54" y="6"/>
                    </a:lnTo>
                    <a:lnTo>
                      <a:pt x="46" y="2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2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" name="Freeform 6020">
                <a:extLst>
                  <a:ext uri="{FF2B5EF4-FFF2-40B4-BE49-F238E27FC236}">
                    <a16:creationId xmlns:a16="http://schemas.microsoft.com/office/drawing/2014/main" id="{700CEBC1-1DE2-471B-89DF-06F7493880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310" y="996633"/>
                <a:ext cx="34290" cy="19050"/>
              </a:xfrm>
              <a:custGeom>
                <a:avLst/>
                <a:gdLst/>
                <a:ahLst/>
                <a:cxnLst>
                  <a:cxn ang="0">
                    <a:pos x="42" y="30"/>
                  </a:cxn>
                  <a:cxn ang="0">
                    <a:pos x="42" y="30"/>
                  </a:cxn>
                  <a:cxn ang="0">
                    <a:pos x="52" y="28"/>
                  </a:cxn>
                  <a:cxn ang="0">
                    <a:pos x="54" y="26"/>
                  </a:cxn>
                  <a:cxn ang="0">
                    <a:pos x="54" y="24"/>
                  </a:cxn>
                  <a:cxn ang="0">
                    <a:pos x="50" y="18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4"/>
                  </a:cxn>
                  <a:cxn ang="0">
                    <a:pos x="26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8" y="22"/>
                  </a:cxn>
                  <a:cxn ang="0">
                    <a:pos x="24" y="28"/>
                  </a:cxn>
                  <a:cxn ang="0">
                    <a:pos x="32" y="28"/>
                  </a:cxn>
                  <a:cxn ang="0">
                    <a:pos x="42" y="30"/>
                  </a:cxn>
                  <a:cxn ang="0">
                    <a:pos x="42" y="30"/>
                  </a:cxn>
                </a:cxnLst>
                <a:rect l="0" t="0" r="r" b="b"/>
                <a:pathLst>
                  <a:path w="54" h="30">
                    <a:moveTo>
                      <a:pt x="42" y="30"/>
                    </a:moveTo>
                    <a:lnTo>
                      <a:pt x="42" y="30"/>
                    </a:lnTo>
                    <a:lnTo>
                      <a:pt x="52" y="28"/>
                    </a:lnTo>
                    <a:lnTo>
                      <a:pt x="54" y="26"/>
                    </a:lnTo>
                    <a:lnTo>
                      <a:pt x="54" y="24"/>
                    </a:lnTo>
                    <a:lnTo>
                      <a:pt x="50" y="1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4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8" y="22"/>
                    </a:lnTo>
                    <a:lnTo>
                      <a:pt x="24" y="28"/>
                    </a:lnTo>
                    <a:lnTo>
                      <a:pt x="32" y="28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9" name="Freeform 6021">
                <a:extLst>
                  <a:ext uri="{FF2B5EF4-FFF2-40B4-BE49-F238E27FC236}">
                    <a16:creationId xmlns:a16="http://schemas.microsoft.com/office/drawing/2014/main" id="{FBA35CF1-15FF-4706-BB28-9FB987A055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4950" y="994093"/>
                <a:ext cx="97790" cy="39370"/>
              </a:xfrm>
              <a:custGeom>
                <a:avLst/>
                <a:gdLst/>
                <a:ahLst/>
                <a:cxnLst>
                  <a:cxn ang="0">
                    <a:pos x="106" y="56"/>
                  </a:cxn>
                  <a:cxn ang="0">
                    <a:pos x="106" y="56"/>
                  </a:cxn>
                  <a:cxn ang="0">
                    <a:pos x="120" y="52"/>
                  </a:cxn>
                  <a:cxn ang="0">
                    <a:pos x="130" y="48"/>
                  </a:cxn>
                  <a:cxn ang="0">
                    <a:pos x="136" y="44"/>
                  </a:cxn>
                  <a:cxn ang="0">
                    <a:pos x="138" y="40"/>
                  </a:cxn>
                  <a:cxn ang="0">
                    <a:pos x="138" y="34"/>
                  </a:cxn>
                  <a:cxn ang="0">
                    <a:pos x="132" y="30"/>
                  </a:cxn>
                  <a:cxn ang="0">
                    <a:pos x="124" y="28"/>
                  </a:cxn>
                  <a:cxn ang="0">
                    <a:pos x="114" y="26"/>
                  </a:cxn>
                  <a:cxn ang="0">
                    <a:pos x="114" y="26"/>
                  </a:cxn>
                  <a:cxn ang="0">
                    <a:pos x="104" y="24"/>
                  </a:cxn>
                  <a:cxn ang="0">
                    <a:pos x="104" y="24"/>
                  </a:cxn>
                  <a:cxn ang="0">
                    <a:pos x="118" y="22"/>
                  </a:cxn>
                  <a:cxn ang="0">
                    <a:pos x="138" y="16"/>
                  </a:cxn>
                  <a:cxn ang="0">
                    <a:pos x="148" y="12"/>
                  </a:cxn>
                  <a:cxn ang="0">
                    <a:pos x="152" y="8"/>
                  </a:cxn>
                  <a:cxn ang="0">
                    <a:pos x="152" y="8"/>
                  </a:cxn>
                  <a:cxn ang="0">
                    <a:pos x="154" y="4"/>
                  </a:cxn>
                  <a:cxn ang="0">
                    <a:pos x="152" y="2"/>
                  </a:cxn>
                  <a:cxn ang="0">
                    <a:pos x="148" y="0"/>
                  </a:cxn>
                  <a:cxn ang="0">
                    <a:pos x="138" y="0"/>
                  </a:cxn>
                  <a:cxn ang="0">
                    <a:pos x="124" y="0"/>
                  </a:cxn>
                  <a:cxn ang="0">
                    <a:pos x="90" y="4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18" y="14"/>
                  </a:cxn>
                  <a:cxn ang="0">
                    <a:pos x="8" y="18"/>
                  </a:cxn>
                  <a:cxn ang="0">
                    <a:pos x="4" y="22"/>
                  </a:cxn>
                  <a:cxn ang="0">
                    <a:pos x="0" y="26"/>
                  </a:cxn>
                  <a:cxn ang="0">
                    <a:pos x="0" y="30"/>
                  </a:cxn>
                  <a:cxn ang="0">
                    <a:pos x="8" y="46"/>
                  </a:cxn>
                  <a:cxn ang="0">
                    <a:pos x="8" y="46"/>
                  </a:cxn>
                  <a:cxn ang="0">
                    <a:pos x="14" y="52"/>
                  </a:cxn>
                  <a:cxn ang="0">
                    <a:pos x="22" y="58"/>
                  </a:cxn>
                  <a:cxn ang="0">
                    <a:pos x="32" y="60"/>
                  </a:cxn>
                  <a:cxn ang="0">
                    <a:pos x="46" y="62"/>
                  </a:cxn>
                  <a:cxn ang="0">
                    <a:pos x="74" y="60"/>
                  </a:cxn>
                  <a:cxn ang="0">
                    <a:pos x="106" y="56"/>
                  </a:cxn>
                  <a:cxn ang="0">
                    <a:pos x="106" y="56"/>
                  </a:cxn>
                </a:cxnLst>
                <a:rect l="0" t="0" r="r" b="b"/>
                <a:pathLst>
                  <a:path w="154" h="62">
                    <a:moveTo>
                      <a:pt x="106" y="56"/>
                    </a:moveTo>
                    <a:lnTo>
                      <a:pt x="106" y="56"/>
                    </a:lnTo>
                    <a:lnTo>
                      <a:pt x="120" y="52"/>
                    </a:lnTo>
                    <a:lnTo>
                      <a:pt x="130" y="48"/>
                    </a:lnTo>
                    <a:lnTo>
                      <a:pt x="136" y="44"/>
                    </a:lnTo>
                    <a:lnTo>
                      <a:pt x="138" y="40"/>
                    </a:lnTo>
                    <a:lnTo>
                      <a:pt x="138" y="34"/>
                    </a:lnTo>
                    <a:lnTo>
                      <a:pt x="132" y="30"/>
                    </a:lnTo>
                    <a:lnTo>
                      <a:pt x="124" y="28"/>
                    </a:lnTo>
                    <a:lnTo>
                      <a:pt x="114" y="26"/>
                    </a:lnTo>
                    <a:lnTo>
                      <a:pt x="114" y="26"/>
                    </a:lnTo>
                    <a:lnTo>
                      <a:pt x="104" y="24"/>
                    </a:lnTo>
                    <a:lnTo>
                      <a:pt x="104" y="24"/>
                    </a:lnTo>
                    <a:lnTo>
                      <a:pt x="118" y="22"/>
                    </a:lnTo>
                    <a:lnTo>
                      <a:pt x="138" y="16"/>
                    </a:lnTo>
                    <a:lnTo>
                      <a:pt x="148" y="12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54" y="4"/>
                    </a:lnTo>
                    <a:lnTo>
                      <a:pt x="152" y="2"/>
                    </a:lnTo>
                    <a:lnTo>
                      <a:pt x="148" y="0"/>
                    </a:lnTo>
                    <a:lnTo>
                      <a:pt x="138" y="0"/>
                    </a:lnTo>
                    <a:lnTo>
                      <a:pt x="124" y="0"/>
                    </a:lnTo>
                    <a:lnTo>
                      <a:pt x="9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18" y="14"/>
                    </a:lnTo>
                    <a:lnTo>
                      <a:pt x="8" y="18"/>
                    </a:lnTo>
                    <a:lnTo>
                      <a:pt x="4" y="22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4" y="52"/>
                    </a:lnTo>
                    <a:lnTo>
                      <a:pt x="22" y="58"/>
                    </a:lnTo>
                    <a:lnTo>
                      <a:pt x="32" y="60"/>
                    </a:lnTo>
                    <a:lnTo>
                      <a:pt x="46" y="62"/>
                    </a:lnTo>
                    <a:lnTo>
                      <a:pt x="74" y="60"/>
                    </a:lnTo>
                    <a:lnTo>
                      <a:pt x="106" y="56"/>
                    </a:lnTo>
                    <a:lnTo>
                      <a:pt x="106" y="5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0" name="Freeform 6022">
                <a:extLst>
                  <a:ext uri="{FF2B5EF4-FFF2-40B4-BE49-F238E27FC236}">
                    <a16:creationId xmlns:a16="http://schemas.microsoft.com/office/drawing/2014/main" id="{26755C6D-2B06-47F9-91C1-7DAD2A050B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920" y="1067753"/>
                <a:ext cx="143510" cy="87630"/>
              </a:xfrm>
              <a:custGeom>
                <a:avLst/>
                <a:gdLst/>
                <a:ahLst/>
                <a:cxnLst>
                  <a:cxn ang="0">
                    <a:pos x="144" y="12"/>
                  </a:cxn>
                  <a:cxn ang="0">
                    <a:pos x="130" y="4"/>
                  </a:cxn>
                  <a:cxn ang="0">
                    <a:pos x="104" y="4"/>
                  </a:cxn>
                  <a:cxn ang="0">
                    <a:pos x="88" y="8"/>
                  </a:cxn>
                  <a:cxn ang="0">
                    <a:pos x="78" y="14"/>
                  </a:cxn>
                  <a:cxn ang="0">
                    <a:pos x="84" y="22"/>
                  </a:cxn>
                  <a:cxn ang="0">
                    <a:pos x="124" y="62"/>
                  </a:cxn>
                  <a:cxn ang="0">
                    <a:pos x="102" y="50"/>
                  </a:cxn>
                  <a:cxn ang="0">
                    <a:pos x="82" y="34"/>
                  </a:cxn>
                  <a:cxn ang="0">
                    <a:pos x="74" y="24"/>
                  </a:cxn>
                  <a:cxn ang="0">
                    <a:pos x="64" y="20"/>
                  </a:cxn>
                  <a:cxn ang="0">
                    <a:pos x="54" y="18"/>
                  </a:cxn>
                  <a:cxn ang="0">
                    <a:pos x="32" y="20"/>
                  </a:cxn>
                  <a:cxn ang="0">
                    <a:pos x="26" y="26"/>
                  </a:cxn>
                  <a:cxn ang="0">
                    <a:pos x="32" y="36"/>
                  </a:cxn>
                  <a:cxn ang="0">
                    <a:pos x="46" y="52"/>
                  </a:cxn>
                  <a:cxn ang="0">
                    <a:pos x="56" y="64"/>
                  </a:cxn>
                  <a:cxn ang="0">
                    <a:pos x="42" y="60"/>
                  </a:cxn>
                  <a:cxn ang="0">
                    <a:pos x="32" y="62"/>
                  </a:cxn>
                  <a:cxn ang="0">
                    <a:pos x="26" y="66"/>
                  </a:cxn>
                  <a:cxn ang="0">
                    <a:pos x="8" y="74"/>
                  </a:cxn>
                  <a:cxn ang="0">
                    <a:pos x="0" y="78"/>
                  </a:cxn>
                  <a:cxn ang="0">
                    <a:pos x="4" y="86"/>
                  </a:cxn>
                  <a:cxn ang="0">
                    <a:pos x="8" y="88"/>
                  </a:cxn>
                  <a:cxn ang="0">
                    <a:pos x="26" y="90"/>
                  </a:cxn>
                  <a:cxn ang="0">
                    <a:pos x="66" y="86"/>
                  </a:cxn>
                  <a:cxn ang="0">
                    <a:pos x="122" y="76"/>
                  </a:cxn>
                  <a:cxn ang="0">
                    <a:pos x="136" y="76"/>
                  </a:cxn>
                  <a:cxn ang="0">
                    <a:pos x="138" y="80"/>
                  </a:cxn>
                  <a:cxn ang="0">
                    <a:pos x="106" y="90"/>
                  </a:cxn>
                  <a:cxn ang="0">
                    <a:pos x="92" y="98"/>
                  </a:cxn>
                  <a:cxn ang="0">
                    <a:pos x="90" y="104"/>
                  </a:cxn>
                  <a:cxn ang="0">
                    <a:pos x="92" y="106"/>
                  </a:cxn>
                  <a:cxn ang="0">
                    <a:pos x="100" y="120"/>
                  </a:cxn>
                  <a:cxn ang="0">
                    <a:pos x="104" y="136"/>
                  </a:cxn>
                  <a:cxn ang="0">
                    <a:pos x="116" y="136"/>
                  </a:cxn>
                  <a:cxn ang="0">
                    <a:pos x="126" y="134"/>
                  </a:cxn>
                  <a:cxn ang="0">
                    <a:pos x="142" y="128"/>
                  </a:cxn>
                  <a:cxn ang="0">
                    <a:pos x="166" y="132"/>
                  </a:cxn>
                  <a:cxn ang="0">
                    <a:pos x="200" y="128"/>
                  </a:cxn>
                  <a:cxn ang="0">
                    <a:pos x="208" y="122"/>
                  </a:cxn>
                  <a:cxn ang="0">
                    <a:pos x="208" y="112"/>
                  </a:cxn>
                  <a:cxn ang="0">
                    <a:pos x="202" y="100"/>
                  </a:cxn>
                  <a:cxn ang="0">
                    <a:pos x="202" y="88"/>
                  </a:cxn>
                  <a:cxn ang="0">
                    <a:pos x="210" y="88"/>
                  </a:cxn>
                  <a:cxn ang="0">
                    <a:pos x="214" y="92"/>
                  </a:cxn>
                  <a:cxn ang="0">
                    <a:pos x="226" y="98"/>
                  </a:cxn>
                  <a:cxn ang="0">
                    <a:pos x="224" y="90"/>
                  </a:cxn>
                  <a:cxn ang="0">
                    <a:pos x="216" y="76"/>
                  </a:cxn>
                  <a:cxn ang="0">
                    <a:pos x="212" y="60"/>
                  </a:cxn>
                  <a:cxn ang="0">
                    <a:pos x="208" y="30"/>
                  </a:cxn>
                  <a:cxn ang="0">
                    <a:pos x="196" y="10"/>
                  </a:cxn>
                  <a:cxn ang="0">
                    <a:pos x="184" y="4"/>
                  </a:cxn>
                  <a:cxn ang="0">
                    <a:pos x="164" y="0"/>
                  </a:cxn>
                  <a:cxn ang="0">
                    <a:pos x="156" y="6"/>
                  </a:cxn>
                  <a:cxn ang="0">
                    <a:pos x="148" y="14"/>
                  </a:cxn>
                  <a:cxn ang="0">
                    <a:pos x="144" y="12"/>
                  </a:cxn>
                </a:cxnLst>
                <a:rect l="0" t="0" r="r" b="b"/>
                <a:pathLst>
                  <a:path w="226" h="138">
                    <a:moveTo>
                      <a:pt x="144" y="12"/>
                    </a:moveTo>
                    <a:lnTo>
                      <a:pt x="144" y="12"/>
                    </a:lnTo>
                    <a:lnTo>
                      <a:pt x="138" y="6"/>
                    </a:lnTo>
                    <a:lnTo>
                      <a:pt x="130" y="4"/>
                    </a:lnTo>
                    <a:lnTo>
                      <a:pt x="118" y="2"/>
                    </a:lnTo>
                    <a:lnTo>
                      <a:pt x="10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102" y="38"/>
                    </a:lnTo>
                    <a:lnTo>
                      <a:pt x="124" y="62"/>
                    </a:lnTo>
                    <a:lnTo>
                      <a:pt x="124" y="62"/>
                    </a:lnTo>
                    <a:lnTo>
                      <a:pt x="102" y="50"/>
                    </a:lnTo>
                    <a:lnTo>
                      <a:pt x="90" y="42"/>
                    </a:lnTo>
                    <a:lnTo>
                      <a:pt x="82" y="34"/>
                    </a:lnTo>
                    <a:lnTo>
                      <a:pt x="78" y="28"/>
                    </a:lnTo>
                    <a:lnTo>
                      <a:pt x="74" y="24"/>
                    </a:lnTo>
                    <a:lnTo>
                      <a:pt x="70" y="22"/>
                    </a:lnTo>
                    <a:lnTo>
                      <a:pt x="64" y="20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40" y="18"/>
                    </a:lnTo>
                    <a:lnTo>
                      <a:pt x="32" y="20"/>
                    </a:lnTo>
                    <a:lnTo>
                      <a:pt x="28" y="22"/>
                    </a:lnTo>
                    <a:lnTo>
                      <a:pt x="26" y="26"/>
                    </a:lnTo>
                    <a:lnTo>
                      <a:pt x="28" y="30"/>
                    </a:lnTo>
                    <a:lnTo>
                      <a:pt x="32" y="36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2"/>
                    </a:lnTo>
                    <a:lnTo>
                      <a:pt x="42" y="60"/>
                    </a:lnTo>
                    <a:lnTo>
                      <a:pt x="36" y="60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26" y="66"/>
                    </a:lnTo>
                    <a:lnTo>
                      <a:pt x="20" y="70"/>
                    </a:lnTo>
                    <a:lnTo>
                      <a:pt x="8" y="74"/>
                    </a:lnTo>
                    <a:lnTo>
                      <a:pt x="4" y="76"/>
                    </a:lnTo>
                    <a:lnTo>
                      <a:pt x="0" y="78"/>
                    </a:lnTo>
                    <a:lnTo>
                      <a:pt x="0" y="82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8" y="88"/>
                    </a:lnTo>
                    <a:lnTo>
                      <a:pt x="12" y="90"/>
                    </a:lnTo>
                    <a:lnTo>
                      <a:pt x="26" y="90"/>
                    </a:lnTo>
                    <a:lnTo>
                      <a:pt x="44" y="88"/>
                    </a:lnTo>
                    <a:lnTo>
                      <a:pt x="66" y="86"/>
                    </a:lnTo>
                    <a:lnTo>
                      <a:pt x="106" y="78"/>
                    </a:lnTo>
                    <a:lnTo>
                      <a:pt x="122" y="76"/>
                    </a:lnTo>
                    <a:lnTo>
                      <a:pt x="136" y="76"/>
                    </a:lnTo>
                    <a:lnTo>
                      <a:pt x="136" y="76"/>
                    </a:lnTo>
                    <a:lnTo>
                      <a:pt x="140" y="78"/>
                    </a:lnTo>
                    <a:lnTo>
                      <a:pt x="138" y="80"/>
                    </a:lnTo>
                    <a:lnTo>
                      <a:pt x="118" y="86"/>
                    </a:lnTo>
                    <a:lnTo>
                      <a:pt x="106" y="90"/>
                    </a:lnTo>
                    <a:lnTo>
                      <a:pt x="96" y="94"/>
                    </a:lnTo>
                    <a:lnTo>
                      <a:pt x="92" y="98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98" y="114"/>
                    </a:lnTo>
                    <a:lnTo>
                      <a:pt x="100" y="120"/>
                    </a:lnTo>
                    <a:lnTo>
                      <a:pt x="102" y="132"/>
                    </a:lnTo>
                    <a:lnTo>
                      <a:pt x="104" y="136"/>
                    </a:lnTo>
                    <a:lnTo>
                      <a:pt x="108" y="138"/>
                    </a:lnTo>
                    <a:lnTo>
                      <a:pt x="116" y="136"/>
                    </a:lnTo>
                    <a:lnTo>
                      <a:pt x="126" y="134"/>
                    </a:lnTo>
                    <a:lnTo>
                      <a:pt x="126" y="134"/>
                    </a:lnTo>
                    <a:lnTo>
                      <a:pt x="136" y="130"/>
                    </a:lnTo>
                    <a:lnTo>
                      <a:pt x="142" y="128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84" y="132"/>
                    </a:lnTo>
                    <a:lnTo>
                      <a:pt x="200" y="128"/>
                    </a:lnTo>
                    <a:lnTo>
                      <a:pt x="206" y="126"/>
                    </a:lnTo>
                    <a:lnTo>
                      <a:pt x="208" y="122"/>
                    </a:lnTo>
                    <a:lnTo>
                      <a:pt x="210" y="118"/>
                    </a:lnTo>
                    <a:lnTo>
                      <a:pt x="208" y="112"/>
                    </a:lnTo>
                    <a:lnTo>
                      <a:pt x="208" y="112"/>
                    </a:lnTo>
                    <a:lnTo>
                      <a:pt x="202" y="100"/>
                    </a:lnTo>
                    <a:lnTo>
                      <a:pt x="202" y="92"/>
                    </a:lnTo>
                    <a:lnTo>
                      <a:pt x="202" y="88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92"/>
                    </a:lnTo>
                    <a:lnTo>
                      <a:pt x="214" y="92"/>
                    </a:lnTo>
                    <a:lnTo>
                      <a:pt x="224" y="98"/>
                    </a:lnTo>
                    <a:lnTo>
                      <a:pt x="226" y="98"/>
                    </a:lnTo>
                    <a:lnTo>
                      <a:pt x="226" y="98"/>
                    </a:lnTo>
                    <a:lnTo>
                      <a:pt x="224" y="90"/>
                    </a:lnTo>
                    <a:lnTo>
                      <a:pt x="216" y="76"/>
                    </a:lnTo>
                    <a:lnTo>
                      <a:pt x="216" y="76"/>
                    </a:lnTo>
                    <a:lnTo>
                      <a:pt x="214" y="68"/>
                    </a:lnTo>
                    <a:lnTo>
                      <a:pt x="212" y="60"/>
                    </a:lnTo>
                    <a:lnTo>
                      <a:pt x="210" y="40"/>
                    </a:lnTo>
                    <a:lnTo>
                      <a:pt x="208" y="30"/>
                    </a:lnTo>
                    <a:lnTo>
                      <a:pt x="204" y="20"/>
                    </a:lnTo>
                    <a:lnTo>
                      <a:pt x="196" y="10"/>
                    </a:lnTo>
                    <a:lnTo>
                      <a:pt x="184" y="4"/>
                    </a:lnTo>
                    <a:lnTo>
                      <a:pt x="184" y="4"/>
                    </a:lnTo>
                    <a:lnTo>
                      <a:pt x="172" y="0"/>
                    </a:lnTo>
                    <a:lnTo>
                      <a:pt x="164" y="0"/>
                    </a:lnTo>
                    <a:lnTo>
                      <a:pt x="160" y="2"/>
                    </a:lnTo>
                    <a:lnTo>
                      <a:pt x="156" y="6"/>
                    </a:lnTo>
                    <a:lnTo>
                      <a:pt x="152" y="14"/>
                    </a:lnTo>
                    <a:lnTo>
                      <a:pt x="148" y="14"/>
                    </a:lnTo>
                    <a:lnTo>
                      <a:pt x="144" y="12"/>
                    </a:lnTo>
                    <a:lnTo>
                      <a:pt x="144" y="1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1" name="Freeform 6023">
                <a:extLst>
                  <a:ext uri="{FF2B5EF4-FFF2-40B4-BE49-F238E27FC236}">
                    <a16:creationId xmlns:a16="http://schemas.microsoft.com/office/drawing/2014/main" id="{BB524794-0877-4BB0-855E-84F00EBB53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2770" y="887413"/>
                <a:ext cx="36830" cy="25400"/>
              </a:xfrm>
              <a:custGeom>
                <a:avLst/>
                <a:gdLst/>
                <a:ahLst/>
                <a:cxnLst>
                  <a:cxn ang="0">
                    <a:pos x="30" y="32"/>
                  </a:cxn>
                  <a:cxn ang="0">
                    <a:pos x="30" y="32"/>
                  </a:cxn>
                  <a:cxn ang="0">
                    <a:pos x="40" y="38"/>
                  </a:cxn>
                  <a:cxn ang="0">
                    <a:pos x="46" y="40"/>
                  </a:cxn>
                  <a:cxn ang="0">
                    <a:pos x="50" y="40"/>
                  </a:cxn>
                  <a:cxn ang="0">
                    <a:pos x="54" y="38"/>
                  </a:cxn>
                  <a:cxn ang="0">
                    <a:pos x="56" y="34"/>
                  </a:cxn>
                  <a:cxn ang="0">
                    <a:pos x="58" y="28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10" y="24"/>
                  </a:cxn>
                  <a:cxn ang="0">
                    <a:pos x="18" y="26"/>
                  </a:cxn>
                  <a:cxn ang="0">
                    <a:pos x="24" y="28"/>
                  </a:cxn>
                  <a:cxn ang="0">
                    <a:pos x="30" y="32"/>
                  </a:cxn>
                  <a:cxn ang="0">
                    <a:pos x="30" y="32"/>
                  </a:cxn>
                </a:cxnLst>
                <a:rect l="0" t="0" r="r" b="b"/>
                <a:pathLst>
                  <a:path w="58" h="40">
                    <a:moveTo>
                      <a:pt x="30" y="32"/>
                    </a:moveTo>
                    <a:lnTo>
                      <a:pt x="30" y="32"/>
                    </a:lnTo>
                    <a:lnTo>
                      <a:pt x="40" y="38"/>
                    </a:lnTo>
                    <a:lnTo>
                      <a:pt x="46" y="40"/>
                    </a:lnTo>
                    <a:lnTo>
                      <a:pt x="50" y="40"/>
                    </a:lnTo>
                    <a:lnTo>
                      <a:pt x="54" y="38"/>
                    </a:lnTo>
                    <a:lnTo>
                      <a:pt x="56" y="34"/>
                    </a:lnTo>
                    <a:lnTo>
                      <a:pt x="58" y="28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10" y="24"/>
                    </a:lnTo>
                    <a:lnTo>
                      <a:pt x="18" y="26"/>
                    </a:lnTo>
                    <a:lnTo>
                      <a:pt x="24" y="28"/>
                    </a:lnTo>
                    <a:lnTo>
                      <a:pt x="30" y="32"/>
                    </a:lnTo>
                    <a:lnTo>
                      <a:pt x="30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2" name="Freeform 6024">
                <a:extLst>
                  <a:ext uri="{FF2B5EF4-FFF2-40B4-BE49-F238E27FC236}">
                    <a16:creationId xmlns:a16="http://schemas.microsoft.com/office/drawing/2014/main" id="{BA716EE0-209F-4C0F-8603-B51C7A4A09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7490" y="963613"/>
                <a:ext cx="102870" cy="24130"/>
              </a:xfrm>
              <a:custGeom>
                <a:avLst/>
                <a:gdLst/>
                <a:ahLst/>
                <a:cxnLst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4" y="32"/>
                  </a:cxn>
                  <a:cxn ang="0">
                    <a:pos x="60" y="36"/>
                  </a:cxn>
                  <a:cxn ang="0">
                    <a:pos x="60" y="36"/>
                  </a:cxn>
                  <a:cxn ang="0">
                    <a:pos x="72" y="38"/>
                  </a:cxn>
                  <a:cxn ang="0">
                    <a:pos x="76" y="36"/>
                  </a:cxn>
                  <a:cxn ang="0">
                    <a:pos x="84" y="34"/>
                  </a:cxn>
                  <a:cxn ang="0">
                    <a:pos x="108" y="34"/>
                  </a:cxn>
                  <a:cxn ang="0">
                    <a:pos x="108" y="34"/>
                  </a:cxn>
                  <a:cxn ang="0">
                    <a:pos x="124" y="36"/>
                  </a:cxn>
                  <a:cxn ang="0">
                    <a:pos x="138" y="34"/>
                  </a:cxn>
                  <a:cxn ang="0">
                    <a:pos x="150" y="32"/>
                  </a:cxn>
                  <a:cxn ang="0">
                    <a:pos x="158" y="28"/>
                  </a:cxn>
                  <a:cxn ang="0">
                    <a:pos x="162" y="24"/>
                  </a:cxn>
                  <a:cxn ang="0">
                    <a:pos x="162" y="22"/>
                  </a:cxn>
                  <a:cxn ang="0">
                    <a:pos x="160" y="18"/>
                  </a:cxn>
                  <a:cxn ang="0">
                    <a:pos x="152" y="12"/>
                  </a:cxn>
                  <a:cxn ang="0">
                    <a:pos x="138" y="6"/>
                  </a:cxn>
                  <a:cxn ang="0">
                    <a:pos x="138" y="6"/>
                  </a:cxn>
                  <a:cxn ang="0">
                    <a:pos x="122" y="0"/>
                  </a:cxn>
                  <a:cxn ang="0">
                    <a:pos x="108" y="0"/>
                  </a:cxn>
                  <a:cxn ang="0">
                    <a:pos x="96" y="0"/>
                  </a:cxn>
                  <a:cxn ang="0">
                    <a:pos x="86" y="2"/>
                  </a:cxn>
                  <a:cxn ang="0">
                    <a:pos x="64" y="10"/>
                  </a:cxn>
                  <a:cxn ang="0">
                    <a:pos x="52" y="14"/>
                  </a:cxn>
                  <a:cxn ang="0">
                    <a:pos x="36" y="16"/>
                  </a:cxn>
                  <a:cxn ang="0">
                    <a:pos x="36" y="16"/>
                  </a:cxn>
                  <a:cxn ang="0">
                    <a:pos x="22" y="20"/>
                  </a:cxn>
                  <a:cxn ang="0">
                    <a:pos x="10" y="24"/>
                  </a:cxn>
                  <a:cxn ang="0">
                    <a:pos x="4" y="28"/>
                  </a:cxn>
                  <a:cxn ang="0">
                    <a:pos x="0" y="30"/>
                  </a:cxn>
                  <a:cxn ang="0">
                    <a:pos x="0" y="34"/>
                  </a:cxn>
                  <a:cxn ang="0">
                    <a:pos x="4" y="36"/>
                  </a:cxn>
                  <a:cxn ang="0">
                    <a:pos x="10" y="36"/>
                  </a:cxn>
                  <a:cxn ang="0">
                    <a:pos x="20" y="34"/>
                  </a:cxn>
                  <a:cxn ang="0">
                    <a:pos x="20" y="34"/>
                  </a:cxn>
                </a:cxnLst>
                <a:rect l="0" t="0" r="r" b="b"/>
                <a:pathLst>
                  <a:path w="162" h="38">
                    <a:moveTo>
                      <a:pt x="20" y="34"/>
                    </a:moveTo>
                    <a:lnTo>
                      <a:pt x="20" y="34"/>
                    </a:lnTo>
                    <a:lnTo>
                      <a:pt x="26" y="32"/>
                    </a:lnTo>
                    <a:lnTo>
                      <a:pt x="34" y="32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72" y="38"/>
                    </a:lnTo>
                    <a:lnTo>
                      <a:pt x="76" y="36"/>
                    </a:lnTo>
                    <a:lnTo>
                      <a:pt x="84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24" y="36"/>
                    </a:lnTo>
                    <a:lnTo>
                      <a:pt x="138" y="34"/>
                    </a:lnTo>
                    <a:lnTo>
                      <a:pt x="150" y="32"/>
                    </a:lnTo>
                    <a:lnTo>
                      <a:pt x="158" y="28"/>
                    </a:lnTo>
                    <a:lnTo>
                      <a:pt x="162" y="24"/>
                    </a:lnTo>
                    <a:lnTo>
                      <a:pt x="162" y="22"/>
                    </a:lnTo>
                    <a:lnTo>
                      <a:pt x="160" y="18"/>
                    </a:lnTo>
                    <a:lnTo>
                      <a:pt x="152" y="12"/>
                    </a:lnTo>
                    <a:lnTo>
                      <a:pt x="138" y="6"/>
                    </a:lnTo>
                    <a:lnTo>
                      <a:pt x="138" y="6"/>
                    </a:lnTo>
                    <a:lnTo>
                      <a:pt x="122" y="0"/>
                    </a:lnTo>
                    <a:lnTo>
                      <a:pt x="108" y="0"/>
                    </a:lnTo>
                    <a:lnTo>
                      <a:pt x="96" y="0"/>
                    </a:lnTo>
                    <a:lnTo>
                      <a:pt x="86" y="2"/>
                    </a:lnTo>
                    <a:lnTo>
                      <a:pt x="64" y="10"/>
                    </a:lnTo>
                    <a:lnTo>
                      <a:pt x="52" y="14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22" y="20"/>
                    </a:lnTo>
                    <a:lnTo>
                      <a:pt x="10" y="24"/>
                    </a:lnTo>
                    <a:lnTo>
                      <a:pt x="4" y="28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10" y="36"/>
                    </a:lnTo>
                    <a:lnTo>
                      <a:pt x="20" y="34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3" name="Freeform 6025">
                <a:extLst>
                  <a:ext uri="{FF2B5EF4-FFF2-40B4-BE49-F238E27FC236}">
                    <a16:creationId xmlns:a16="http://schemas.microsoft.com/office/drawing/2014/main" id="{5F33CE2D-A760-44F5-9011-C8085D4F6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3070" y="928053"/>
                <a:ext cx="168910" cy="82550"/>
              </a:xfrm>
              <a:custGeom>
                <a:avLst/>
                <a:gdLst/>
                <a:ahLst/>
                <a:cxnLst>
                  <a:cxn ang="0">
                    <a:pos x="30" y="40"/>
                  </a:cxn>
                  <a:cxn ang="0">
                    <a:pos x="32" y="50"/>
                  </a:cxn>
                  <a:cxn ang="0">
                    <a:pos x="40" y="46"/>
                  </a:cxn>
                  <a:cxn ang="0">
                    <a:pos x="52" y="44"/>
                  </a:cxn>
                  <a:cxn ang="0">
                    <a:pos x="66" y="54"/>
                  </a:cxn>
                  <a:cxn ang="0">
                    <a:pos x="72" y="62"/>
                  </a:cxn>
                  <a:cxn ang="0">
                    <a:pos x="68" y="70"/>
                  </a:cxn>
                  <a:cxn ang="0">
                    <a:pos x="44" y="68"/>
                  </a:cxn>
                  <a:cxn ang="0">
                    <a:pos x="26" y="70"/>
                  </a:cxn>
                  <a:cxn ang="0">
                    <a:pos x="24" y="74"/>
                  </a:cxn>
                  <a:cxn ang="0">
                    <a:pos x="24" y="82"/>
                  </a:cxn>
                  <a:cxn ang="0">
                    <a:pos x="36" y="90"/>
                  </a:cxn>
                  <a:cxn ang="0">
                    <a:pos x="60" y="92"/>
                  </a:cxn>
                  <a:cxn ang="0">
                    <a:pos x="78" y="88"/>
                  </a:cxn>
                  <a:cxn ang="0">
                    <a:pos x="108" y="82"/>
                  </a:cxn>
                  <a:cxn ang="0">
                    <a:pos x="114" y="86"/>
                  </a:cxn>
                  <a:cxn ang="0">
                    <a:pos x="120" y="92"/>
                  </a:cxn>
                  <a:cxn ang="0">
                    <a:pos x="146" y="90"/>
                  </a:cxn>
                  <a:cxn ang="0">
                    <a:pos x="156" y="90"/>
                  </a:cxn>
                  <a:cxn ang="0">
                    <a:pos x="170" y="92"/>
                  </a:cxn>
                  <a:cxn ang="0">
                    <a:pos x="182" y="102"/>
                  </a:cxn>
                  <a:cxn ang="0">
                    <a:pos x="194" y="120"/>
                  </a:cxn>
                  <a:cxn ang="0">
                    <a:pos x="204" y="126"/>
                  </a:cxn>
                  <a:cxn ang="0">
                    <a:pos x="220" y="130"/>
                  </a:cxn>
                  <a:cxn ang="0">
                    <a:pos x="244" y="128"/>
                  </a:cxn>
                  <a:cxn ang="0">
                    <a:pos x="254" y="126"/>
                  </a:cxn>
                  <a:cxn ang="0">
                    <a:pos x="266" y="122"/>
                  </a:cxn>
                  <a:cxn ang="0">
                    <a:pos x="266" y="114"/>
                  </a:cxn>
                  <a:cxn ang="0">
                    <a:pos x="258" y="102"/>
                  </a:cxn>
                  <a:cxn ang="0">
                    <a:pos x="234" y="82"/>
                  </a:cxn>
                  <a:cxn ang="0">
                    <a:pos x="238" y="78"/>
                  </a:cxn>
                  <a:cxn ang="0">
                    <a:pos x="242" y="76"/>
                  </a:cxn>
                  <a:cxn ang="0">
                    <a:pos x="248" y="68"/>
                  </a:cxn>
                  <a:cxn ang="0">
                    <a:pos x="242" y="58"/>
                  </a:cxn>
                  <a:cxn ang="0">
                    <a:pos x="224" y="50"/>
                  </a:cxn>
                  <a:cxn ang="0">
                    <a:pos x="210" y="48"/>
                  </a:cxn>
                  <a:cxn ang="0">
                    <a:pos x="186" y="44"/>
                  </a:cxn>
                  <a:cxn ang="0">
                    <a:pos x="184" y="40"/>
                  </a:cxn>
                  <a:cxn ang="0">
                    <a:pos x="176" y="32"/>
                  </a:cxn>
                  <a:cxn ang="0">
                    <a:pos x="164" y="28"/>
                  </a:cxn>
                  <a:cxn ang="0">
                    <a:pos x="140" y="26"/>
                  </a:cxn>
                  <a:cxn ang="0">
                    <a:pos x="130" y="32"/>
                  </a:cxn>
                  <a:cxn ang="0">
                    <a:pos x="124" y="36"/>
                  </a:cxn>
                  <a:cxn ang="0">
                    <a:pos x="118" y="28"/>
                  </a:cxn>
                  <a:cxn ang="0">
                    <a:pos x="114" y="24"/>
                  </a:cxn>
                  <a:cxn ang="0">
                    <a:pos x="96" y="10"/>
                  </a:cxn>
                  <a:cxn ang="0">
                    <a:pos x="58" y="0"/>
                  </a:cxn>
                  <a:cxn ang="0">
                    <a:pos x="22" y="2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8" y="34"/>
                  </a:cxn>
                  <a:cxn ang="0">
                    <a:pos x="20" y="30"/>
                  </a:cxn>
                  <a:cxn ang="0">
                    <a:pos x="28" y="34"/>
                  </a:cxn>
                  <a:cxn ang="0">
                    <a:pos x="30" y="40"/>
                  </a:cxn>
                </a:cxnLst>
                <a:rect l="0" t="0" r="r" b="b"/>
                <a:pathLst>
                  <a:path w="266" h="130">
                    <a:moveTo>
                      <a:pt x="30" y="40"/>
                    </a:moveTo>
                    <a:lnTo>
                      <a:pt x="30" y="40"/>
                    </a:lnTo>
                    <a:lnTo>
                      <a:pt x="30" y="48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0" y="46"/>
                    </a:lnTo>
                    <a:lnTo>
                      <a:pt x="46" y="44"/>
                    </a:lnTo>
                    <a:lnTo>
                      <a:pt x="52" y="44"/>
                    </a:lnTo>
                    <a:lnTo>
                      <a:pt x="58" y="46"/>
                    </a:lnTo>
                    <a:lnTo>
                      <a:pt x="66" y="54"/>
                    </a:lnTo>
                    <a:lnTo>
                      <a:pt x="66" y="54"/>
                    </a:lnTo>
                    <a:lnTo>
                      <a:pt x="72" y="62"/>
                    </a:lnTo>
                    <a:lnTo>
                      <a:pt x="72" y="66"/>
                    </a:lnTo>
                    <a:lnTo>
                      <a:pt x="68" y="70"/>
                    </a:lnTo>
                    <a:lnTo>
                      <a:pt x="60" y="70"/>
                    </a:lnTo>
                    <a:lnTo>
                      <a:pt x="44" y="68"/>
                    </a:lnTo>
                    <a:lnTo>
                      <a:pt x="34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4" y="74"/>
                    </a:lnTo>
                    <a:lnTo>
                      <a:pt x="22" y="78"/>
                    </a:lnTo>
                    <a:lnTo>
                      <a:pt x="24" y="82"/>
                    </a:lnTo>
                    <a:lnTo>
                      <a:pt x="28" y="86"/>
                    </a:lnTo>
                    <a:lnTo>
                      <a:pt x="36" y="90"/>
                    </a:lnTo>
                    <a:lnTo>
                      <a:pt x="46" y="92"/>
                    </a:lnTo>
                    <a:lnTo>
                      <a:pt x="60" y="92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98" y="82"/>
                    </a:lnTo>
                    <a:lnTo>
                      <a:pt x="108" y="82"/>
                    </a:lnTo>
                    <a:lnTo>
                      <a:pt x="112" y="82"/>
                    </a:lnTo>
                    <a:lnTo>
                      <a:pt x="114" y="86"/>
                    </a:lnTo>
                    <a:lnTo>
                      <a:pt x="116" y="88"/>
                    </a:lnTo>
                    <a:lnTo>
                      <a:pt x="120" y="92"/>
                    </a:lnTo>
                    <a:lnTo>
                      <a:pt x="130" y="92"/>
                    </a:lnTo>
                    <a:lnTo>
                      <a:pt x="146" y="90"/>
                    </a:lnTo>
                    <a:lnTo>
                      <a:pt x="146" y="90"/>
                    </a:lnTo>
                    <a:lnTo>
                      <a:pt x="156" y="90"/>
                    </a:lnTo>
                    <a:lnTo>
                      <a:pt x="164" y="90"/>
                    </a:lnTo>
                    <a:lnTo>
                      <a:pt x="170" y="92"/>
                    </a:lnTo>
                    <a:lnTo>
                      <a:pt x="174" y="94"/>
                    </a:lnTo>
                    <a:lnTo>
                      <a:pt x="182" y="102"/>
                    </a:lnTo>
                    <a:lnTo>
                      <a:pt x="186" y="110"/>
                    </a:lnTo>
                    <a:lnTo>
                      <a:pt x="194" y="120"/>
                    </a:lnTo>
                    <a:lnTo>
                      <a:pt x="198" y="124"/>
                    </a:lnTo>
                    <a:lnTo>
                      <a:pt x="204" y="126"/>
                    </a:lnTo>
                    <a:lnTo>
                      <a:pt x="210" y="128"/>
                    </a:lnTo>
                    <a:lnTo>
                      <a:pt x="220" y="130"/>
                    </a:lnTo>
                    <a:lnTo>
                      <a:pt x="230" y="130"/>
                    </a:lnTo>
                    <a:lnTo>
                      <a:pt x="244" y="128"/>
                    </a:lnTo>
                    <a:lnTo>
                      <a:pt x="244" y="128"/>
                    </a:lnTo>
                    <a:lnTo>
                      <a:pt x="254" y="126"/>
                    </a:lnTo>
                    <a:lnTo>
                      <a:pt x="262" y="124"/>
                    </a:lnTo>
                    <a:lnTo>
                      <a:pt x="266" y="122"/>
                    </a:lnTo>
                    <a:lnTo>
                      <a:pt x="266" y="118"/>
                    </a:lnTo>
                    <a:lnTo>
                      <a:pt x="266" y="114"/>
                    </a:lnTo>
                    <a:lnTo>
                      <a:pt x="264" y="110"/>
                    </a:lnTo>
                    <a:lnTo>
                      <a:pt x="258" y="102"/>
                    </a:lnTo>
                    <a:lnTo>
                      <a:pt x="240" y="88"/>
                    </a:lnTo>
                    <a:lnTo>
                      <a:pt x="234" y="82"/>
                    </a:lnTo>
                    <a:lnTo>
                      <a:pt x="234" y="80"/>
                    </a:lnTo>
                    <a:lnTo>
                      <a:pt x="238" y="78"/>
                    </a:lnTo>
                    <a:lnTo>
                      <a:pt x="238" y="78"/>
                    </a:lnTo>
                    <a:lnTo>
                      <a:pt x="242" y="76"/>
                    </a:lnTo>
                    <a:lnTo>
                      <a:pt x="246" y="72"/>
                    </a:lnTo>
                    <a:lnTo>
                      <a:pt x="248" y="68"/>
                    </a:lnTo>
                    <a:lnTo>
                      <a:pt x="246" y="64"/>
                    </a:lnTo>
                    <a:lnTo>
                      <a:pt x="242" y="58"/>
                    </a:lnTo>
                    <a:lnTo>
                      <a:pt x="236" y="54"/>
                    </a:lnTo>
                    <a:lnTo>
                      <a:pt x="224" y="50"/>
                    </a:lnTo>
                    <a:lnTo>
                      <a:pt x="210" y="48"/>
                    </a:lnTo>
                    <a:lnTo>
                      <a:pt x="210" y="48"/>
                    </a:lnTo>
                    <a:lnTo>
                      <a:pt x="190" y="46"/>
                    </a:lnTo>
                    <a:lnTo>
                      <a:pt x="186" y="44"/>
                    </a:lnTo>
                    <a:lnTo>
                      <a:pt x="186" y="42"/>
                    </a:lnTo>
                    <a:lnTo>
                      <a:pt x="184" y="40"/>
                    </a:lnTo>
                    <a:lnTo>
                      <a:pt x="182" y="36"/>
                    </a:lnTo>
                    <a:lnTo>
                      <a:pt x="176" y="32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50" y="26"/>
                    </a:lnTo>
                    <a:lnTo>
                      <a:pt x="140" y="26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4"/>
                    </a:lnTo>
                    <a:lnTo>
                      <a:pt x="124" y="36"/>
                    </a:lnTo>
                    <a:lnTo>
                      <a:pt x="122" y="34"/>
                    </a:lnTo>
                    <a:lnTo>
                      <a:pt x="118" y="28"/>
                    </a:lnTo>
                    <a:lnTo>
                      <a:pt x="118" y="28"/>
                    </a:lnTo>
                    <a:lnTo>
                      <a:pt x="114" y="24"/>
                    </a:lnTo>
                    <a:lnTo>
                      <a:pt x="110" y="18"/>
                    </a:lnTo>
                    <a:lnTo>
                      <a:pt x="96" y="10"/>
                    </a:lnTo>
                    <a:lnTo>
                      <a:pt x="78" y="4"/>
                    </a:lnTo>
                    <a:lnTo>
                      <a:pt x="58" y="0"/>
                    </a:lnTo>
                    <a:lnTo>
                      <a:pt x="40" y="0"/>
                    </a:lnTo>
                    <a:lnTo>
                      <a:pt x="22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2"/>
                    </a:lnTo>
                    <a:lnTo>
                      <a:pt x="8" y="34"/>
                    </a:lnTo>
                    <a:lnTo>
                      <a:pt x="14" y="32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8" y="34"/>
                    </a:lnTo>
                    <a:lnTo>
                      <a:pt x="30" y="40"/>
                    </a:lnTo>
                    <a:lnTo>
                      <a:pt x="30" y="4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4" name="Freeform 6026">
                <a:extLst>
                  <a:ext uri="{FF2B5EF4-FFF2-40B4-BE49-F238E27FC236}">
                    <a16:creationId xmlns:a16="http://schemas.microsoft.com/office/drawing/2014/main" id="{64AC6F8C-7AD9-4332-9890-89CB483C8F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4180" y="1013143"/>
                <a:ext cx="44450" cy="33020"/>
              </a:xfrm>
              <a:custGeom>
                <a:avLst/>
                <a:gdLst/>
                <a:ahLst/>
                <a:cxnLst>
                  <a:cxn ang="0">
                    <a:pos x="56" y="52"/>
                  </a:cxn>
                  <a:cxn ang="0">
                    <a:pos x="56" y="52"/>
                  </a:cxn>
                  <a:cxn ang="0">
                    <a:pos x="66" y="50"/>
                  </a:cxn>
                  <a:cxn ang="0">
                    <a:pos x="68" y="48"/>
                  </a:cxn>
                  <a:cxn ang="0">
                    <a:pos x="70" y="46"/>
                  </a:cxn>
                  <a:cxn ang="0">
                    <a:pos x="70" y="44"/>
                  </a:cxn>
                  <a:cxn ang="0">
                    <a:pos x="68" y="40"/>
                  </a:cxn>
                  <a:cxn ang="0">
                    <a:pos x="56" y="26"/>
                  </a:cxn>
                  <a:cxn ang="0">
                    <a:pos x="56" y="26"/>
                  </a:cxn>
                  <a:cxn ang="0">
                    <a:pos x="46" y="18"/>
                  </a:cxn>
                  <a:cxn ang="0">
                    <a:pos x="36" y="12"/>
                  </a:cxn>
                  <a:cxn ang="0">
                    <a:pos x="26" y="6"/>
                  </a:cxn>
                  <a:cxn ang="0">
                    <a:pos x="16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8" y="22"/>
                  </a:cxn>
                  <a:cxn ang="0">
                    <a:pos x="18" y="36"/>
                  </a:cxn>
                  <a:cxn ang="0">
                    <a:pos x="24" y="44"/>
                  </a:cxn>
                  <a:cxn ang="0">
                    <a:pos x="32" y="48"/>
                  </a:cxn>
                  <a:cxn ang="0">
                    <a:pos x="42" y="52"/>
                  </a:cxn>
                  <a:cxn ang="0">
                    <a:pos x="56" y="52"/>
                  </a:cxn>
                  <a:cxn ang="0">
                    <a:pos x="56" y="52"/>
                  </a:cxn>
                </a:cxnLst>
                <a:rect l="0" t="0" r="r" b="b"/>
                <a:pathLst>
                  <a:path w="70" h="52">
                    <a:moveTo>
                      <a:pt x="56" y="52"/>
                    </a:moveTo>
                    <a:lnTo>
                      <a:pt x="56" y="52"/>
                    </a:lnTo>
                    <a:lnTo>
                      <a:pt x="66" y="50"/>
                    </a:lnTo>
                    <a:lnTo>
                      <a:pt x="68" y="48"/>
                    </a:lnTo>
                    <a:lnTo>
                      <a:pt x="70" y="46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46" y="18"/>
                    </a:lnTo>
                    <a:lnTo>
                      <a:pt x="36" y="12"/>
                    </a:lnTo>
                    <a:lnTo>
                      <a:pt x="26" y="6"/>
                    </a:lnTo>
                    <a:lnTo>
                      <a:pt x="16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8" y="22"/>
                    </a:lnTo>
                    <a:lnTo>
                      <a:pt x="18" y="36"/>
                    </a:lnTo>
                    <a:lnTo>
                      <a:pt x="24" y="44"/>
                    </a:lnTo>
                    <a:lnTo>
                      <a:pt x="32" y="48"/>
                    </a:lnTo>
                    <a:lnTo>
                      <a:pt x="42" y="52"/>
                    </a:lnTo>
                    <a:lnTo>
                      <a:pt x="56" y="52"/>
                    </a:lnTo>
                    <a:lnTo>
                      <a:pt x="56" y="5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5" name="Freeform 6027">
                <a:extLst>
                  <a:ext uri="{FF2B5EF4-FFF2-40B4-BE49-F238E27FC236}">
                    <a16:creationId xmlns:a16="http://schemas.microsoft.com/office/drawing/2014/main" id="{76C437A4-7383-47B9-AC71-136CC4D3EE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410" y="957263"/>
                <a:ext cx="95250" cy="54610"/>
              </a:xfrm>
              <a:custGeom>
                <a:avLst/>
                <a:gdLst/>
                <a:ahLst/>
                <a:cxnLst>
                  <a:cxn ang="0">
                    <a:pos x="14" y="38"/>
                  </a:cxn>
                  <a:cxn ang="0">
                    <a:pos x="22" y="44"/>
                  </a:cxn>
                  <a:cxn ang="0">
                    <a:pos x="44" y="54"/>
                  </a:cxn>
                  <a:cxn ang="0">
                    <a:pos x="50" y="56"/>
                  </a:cxn>
                  <a:cxn ang="0">
                    <a:pos x="52" y="58"/>
                  </a:cxn>
                  <a:cxn ang="0">
                    <a:pos x="42" y="64"/>
                  </a:cxn>
                  <a:cxn ang="0">
                    <a:pos x="32" y="68"/>
                  </a:cxn>
                  <a:cxn ang="0">
                    <a:pos x="40" y="68"/>
                  </a:cxn>
                  <a:cxn ang="0">
                    <a:pos x="50" y="70"/>
                  </a:cxn>
                  <a:cxn ang="0">
                    <a:pos x="56" y="76"/>
                  </a:cxn>
                  <a:cxn ang="0">
                    <a:pos x="60" y="84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98" y="76"/>
                  </a:cxn>
                  <a:cxn ang="0">
                    <a:pos x="132" y="70"/>
                  </a:cxn>
                  <a:cxn ang="0">
                    <a:pos x="142" y="64"/>
                  </a:cxn>
                  <a:cxn ang="0">
                    <a:pos x="140" y="60"/>
                  </a:cxn>
                  <a:cxn ang="0">
                    <a:pos x="140" y="52"/>
                  </a:cxn>
                  <a:cxn ang="0">
                    <a:pos x="150" y="42"/>
                  </a:cxn>
                  <a:cxn ang="0">
                    <a:pos x="148" y="36"/>
                  </a:cxn>
                  <a:cxn ang="0">
                    <a:pos x="140" y="32"/>
                  </a:cxn>
                  <a:cxn ang="0">
                    <a:pos x="122" y="24"/>
                  </a:cxn>
                  <a:cxn ang="0">
                    <a:pos x="100" y="22"/>
                  </a:cxn>
                  <a:cxn ang="0">
                    <a:pos x="82" y="14"/>
                  </a:cxn>
                  <a:cxn ang="0">
                    <a:pos x="68" y="8"/>
                  </a:cxn>
                  <a:cxn ang="0">
                    <a:pos x="42" y="0"/>
                  </a:cxn>
                  <a:cxn ang="0">
                    <a:pos x="18" y="0"/>
                  </a:cxn>
                  <a:cxn ang="0">
                    <a:pos x="8" y="8"/>
                  </a:cxn>
                  <a:cxn ang="0">
                    <a:pos x="8" y="14"/>
                  </a:cxn>
                  <a:cxn ang="0">
                    <a:pos x="10" y="20"/>
                  </a:cxn>
                  <a:cxn ang="0">
                    <a:pos x="6" y="28"/>
                  </a:cxn>
                  <a:cxn ang="0">
                    <a:pos x="0" y="30"/>
                  </a:cxn>
                  <a:cxn ang="0">
                    <a:pos x="14" y="38"/>
                  </a:cxn>
                </a:cxnLst>
                <a:rect l="0" t="0" r="r" b="b"/>
                <a:pathLst>
                  <a:path w="150" h="86">
                    <a:moveTo>
                      <a:pt x="14" y="38"/>
                    </a:moveTo>
                    <a:lnTo>
                      <a:pt x="14" y="38"/>
                    </a:lnTo>
                    <a:lnTo>
                      <a:pt x="20" y="42"/>
                    </a:lnTo>
                    <a:lnTo>
                      <a:pt x="22" y="44"/>
                    </a:lnTo>
                    <a:lnTo>
                      <a:pt x="28" y="4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50" y="56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48" y="62"/>
                    </a:lnTo>
                    <a:lnTo>
                      <a:pt x="42" y="64"/>
                    </a:lnTo>
                    <a:lnTo>
                      <a:pt x="32" y="66"/>
                    </a:lnTo>
                    <a:lnTo>
                      <a:pt x="32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50" y="70"/>
                    </a:lnTo>
                    <a:lnTo>
                      <a:pt x="54" y="74"/>
                    </a:lnTo>
                    <a:lnTo>
                      <a:pt x="56" y="76"/>
                    </a:lnTo>
                    <a:lnTo>
                      <a:pt x="58" y="80"/>
                    </a:lnTo>
                    <a:lnTo>
                      <a:pt x="60" y="84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86" y="78"/>
                    </a:lnTo>
                    <a:lnTo>
                      <a:pt x="98" y="76"/>
                    </a:lnTo>
                    <a:lnTo>
                      <a:pt x="122" y="72"/>
                    </a:lnTo>
                    <a:lnTo>
                      <a:pt x="132" y="70"/>
                    </a:lnTo>
                    <a:lnTo>
                      <a:pt x="138" y="68"/>
                    </a:lnTo>
                    <a:lnTo>
                      <a:pt x="142" y="64"/>
                    </a:lnTo>
                    <a:lnTo>
                      <a:pt x="140" y="60"/>
                    </a:lnTo>
                    <a:lnTo>
                      <a:pt x="140" y="60"/>
                    </a:lnTo>
                    <a:lnTo>
                      <a:pt x="138" y="54"/>
                    </a:lnTo>
                    <a:lnTo>
                      <a:pt x="140" y="52"/>
                    </a:lnTo>
                    <a:lnTo>
                      <a:pt x="146" y="46"/>
                    </a:lnTo>
                    <a:lnTo>
                      <a:pt x="150" y="42"/>
                    </a:lnTo>
                    <a:lnTo>
                      <a:pt x="150" y="40"/>
                    </a:lnTo>
                    <a:lnTo>
                      <a:pt x="148" y="36"/>
                    </a:lnTo>
                    <a:lnTo>
                      <a:pt x="140" y="32"/>
                    </a:lnTo>
                    <a:lnTo>
                      <a:pt x="140" y="32"/>
                    </a:lnTo>
                    <a:lnTo>
                      <a:pt x="128" y="26"/>
                    </a:lnTo>
                    <a:lnTo>
                      <a:pt x="122" y="24"/>
                    </a:lnTo>
                    <a:lnTo>
                      <a:pt x="110" y="24"/>
                    </a:lnTo>
                    <a:lnTo>
                      <a:pt x="100" y="22"/>
                    </a:lnTo>
                    <a:lnTo>
                      <a:pt x="92" y="20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68" y="8"/>
                    </a:lnTo>
                    <a:lnTo>
                      <a:pt x="56" y="2"/>
                    </a:lnTo>
                    <a:lnTo>
                      <a:pt x="42" y="0"/>
                    </a:lnTo>
                    <a:lnTo>
                      <a:pt x="30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8" y="8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20"/>
                    </a:lnTo>
                    <a:lnTo>
                      <a:pt x="10" y="24"/>
                    </a:lnTo>
                    <a:lnTo>
                      <a:pt x="6" y="28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6" name="Freeform 6033">
                <a:extLst>
                  <a:ext uri="{FF2B5EF4-FFF2-40B4-BE49-F238E27FC236}">
                    <a16:creationId xmlns:a16="http://schemas.microsoft.com/office/drawing/2014/main" id="{E667BE6A-E78F-4B05-913F-4DEDB5E6D9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430" y="1806893"/>
                <a:ext cx="15240" cy="889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4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</a:cxnLst>
                <a:rect l="0" t="0" r="r" b="b"/>
                <a:pathLst>
                  <a:path w="24" h="14">
                    <a:moveTo>
                      <a:pt x="14" y="0"/>
                    </a:moveTo>
                    <a:lnTo>
                      <a:pt x="14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7" name="Freeform 6037">
                <a:extLst>
                  <a:ext uri="{FF2B5EF4-FFF2-40B4-BE49-F238E27FC236}">
                    <a16:creationId xmlns:a16="http://schemas.microsoft.com/office/drawing/2014/main" id="{D0B15623-F208-4965-94D4-6D7C33511A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950" y="1811973"/>
                <a:ext cx="24130" cy="22860"/>
              </a:xfrm>
              <a:custGeom>
                <a:avLst/>
                <a:gdLst/>
                <a:ahLst/>
                <a:cxnLst>
                  <a:cxn ang="0">
                    <a:pos x="28" y="2"/>
                  </a:cxn>
                  <a:cxn ang="0">
                    <a:pos x="28" y="2"/>
                  </a:cxn>
                  <a:cxn ang="0">
                    <a:pos x="18" y="16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0" y="36"/>
                  </a:cxn>
                  <a:cxn ang="0">
                    <a:pos x="4" y="36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2" y="26"/>
                  </a:cxn>
                  <a:cxn ang="0">
                    <a:pos x="26" y="20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6" y="4"/>
                  </a:cxn>
                  <a:cxn ang="0">
                    <a:pos x="38" y="2"/>
                  </a:cxn>
                  <a:cxn ang="0">
                    <a:pos x="36" y="0"/>
                  </a:cxn>
                  <a:cxn ang="0">
                    <a:pos x="32" y="0"/>
                  </a:cxn>
                  <a:cxn ang="0">
                    <a:pos x="28" y="2"/>
                  </a:cxn>
                  <a:cxn ang="0">
                    <a:pos x="28" y="2"/>
                  </a:cxn>
                </a:cxnLst>
                <a:rect l="0" t="0" r="r" b="b"/>
                <a:pathLst>
                  <a:path w="38" h="36">
                    <a:moveTo>
                      <a:pt x="28" y="2"/>
                    </a:moveTo>
                    <a:lnTo>
                      <a:pt x="28" y="2"/>
                    </a:lnTo>
                    <a:lnTo>
                      <a:pt x="18" y="1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4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2" y="26"/>
                    </a:lnTo>
                    <a:lnTo>
                      <a:pt x="26" y="20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4"/>
                    </a:lnTo>
                    <a:lnTo>
                      <a:pt x="38" y="2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8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8" name="Freeform 6054">
                <a:extLst>
                  <a:ext uri="{FF2B5EF4-FFF2-40B4-BE49-F238E27FC236}">
                    <a16:creationId xmlns:a16="http://schemas.microsoft.com/office/drawing/2014/main" id="{389328A6-4B03-49FD-87C4-7C238520A0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730" y="1058863"/>
                <a:ext cx="317500" cy="121920"/>
              </a:xfrm>
              <a:custGeom>
                <a:avLst/>
                <a:gdLst/>
                <a:ahLst/>
                <a:cxnLst>
                  <a:cxn ang="0">
                    <a:pos x="314" y="78"/>
                  </a:cxn>
                  <a:cxn ang="0">
                    <a:pos x="338" y="86"/>
                  </a:cxn>
                  <a:cxn ang="0">
                    <a:pos x="354" y="100"/>
                  </a:cxn>
                  <a:cxn ang="0">
                    <a:pos x="340" y="106"/>
                  </a:cxn>
                  <a:cxn ang="0">
                    <a:pos x="280" y="102"/>
                  </a:cxn>
                  <a:cxn ang="0">
                    <a:pos x="258" y="102"/>
                  </a:cxn>
                  <a:cxn ang="0">
                    <a:pos x="236" y="72"/>
                  </a:cxn>
                  <a:cxn ang="0">
                    <a:pos x="186" y="46"/>
                  </a:cxn>
                  <a:cxn ang="0">
                    <a:pos x="154" y="54"/>
                  </a:cxn>
                  <a:cxn ang="0">
                    <a:pos x="138" y="36"/>
                  </a:cxn>
                  <a:cxn ang="0">
                    <a:pos x="102" y="32"/>
                  </a:cxn>
                  <a:cxn ang="0">
                    <a:pos x="42" y="58"/>
                  </a:cxn>
                  <a:cxn ang="0">
                    <a:pos x="46" y="66"/>
                  </a:cxn>
                  <a:cxn ang="0">
                    <a:pos x="22" y="88"/>
                  </a:cxn>
                  <a:cxn ang="0">
                    <a:pos x="24" y="98"/>
                  </a:cxn>
                  <a:cxn ang="0">
                    <a:pos x="14" y="110"/>
                  </a:cxn>
                  <a:cxn ang="0">
                    <a:pos x="6" y="132"/>
                  </a:cxn>
                  <a:cxn ang="0">
                    <a:pos x="66" y="146"/>
                  </a:cxn>
                  <a:cxn ang="0">
                    <a:pos x="94" y="138"/>
                  </a:cxn>
                  <a:cxn ang="0">
                    <a:pos x="106" y="146"/>
                  </a:cxn>
                  <a:cxn ang="0">
                    <a:pos x="124" y="148"/>
                  </a:cxn>
                  <a:cxn ang="0">
                    <a:pos x="144" y="126"/>
                  </a:cxn>
                  <a:cxn ang="0">
                    <a:pos x="152" y="130"/>
                  </a:cxn>
                  <a:cxn ang="0">
                    <a:pos x="158" y="140"/>
                  </a:cxn>
                  <a:cxn ang="0">
                    <a:pos x="232" y="132"/>
                  </a:cxn>
                  <a:cxn ang="0">
                    <a:pos x="264" y="134"/>
                  </a:cxn>
                  <a:cxn ang="0">
                    <a:pos x="212" y="148"/>
                  </a:cxn>
                  <a:cxn ang="0">
                    <a:pos x="144" y="160"/>
                  </a:cxn>
                  <a:cxn ang="0">
                    <a:pos x="134" y="176"/>
                  </a:cxn>
                  <a:cxn ang="0">
                    <a:pos x="166" y="190"/>
                  </a:cxn>
                  <a:cxn ang="0">
                    <a:pos x="234" y="184"/>
                  </a:cxn>
                  <a:cxn ang="0">
                    <a:pos x="296" y="164"/>
                  </a:cxn>
                  <a:cxn ang="0">
                    <a:pos x="350" y="146"/>
                  </a:cxn>
                  <a:cxn ang="0">
                    <a:pos x="378" y="152"/>
                  </a:cxn>
                  <a:cxn ang="0">
                    <a:pos x="394" y="144"/>
                  </a:cxn>
                  <a:cxn ang="0">
                    <a:pos x="420" y="150"/>
                  </a:cxn>
                  <a:cxn ang="0">
                    <a:pos x="460" y="138"/>
                  </a:cxn>
                  <a:cxn ang="0">
                    <a:pos x="492" y="106"/>
                  </a:cxn>
                  <a:cxn ang="0">
                    <a:pos x="498" y="84"/>
                  </a:cxn>
                  <a:cxn ang="0">
                    <a:pos x="470" y="68"/>
                  </a:cxn>
                  <a:cxn ang="0">
                    <a:pos x="436" y="70"/>
                  </a:cxn>
                  <a:cxn ang="0">
                    <a:pos x="398" y="80"/>
                  </a:cxn>
                  <a:cxn ang="0">
                    <a:pos x="400" y="68"/>
                  </a:cxn>
                  <a:cxn ang="0">
                    <a:pos x="384" y="60"/>
                  </a:cxn>
                  <a:cxn ang="0">
                    <a:pos x="384" y="52"/>
                  </a:cxn>
                  <a:cxn ang="0">
                    <a:pos x="382" y="40"/>
                  </a:cxn>
                  <a:cxn ang="0">
                    <a:pos x="370" y="18"/>
                  </a:cxn>
                  <a:cxn ang="0">
                    <a:pos x="358" y="0"/>
                  </a:cxn>
                  <a:cxn ang="0">
                    <a:pos x="300" y="28"/>
                  </a:cxn>
                  <a:cxn ang="0">
                    <a:pos x="290" y="40"/>
                  </a:cxn>
                  <a:cxn ang="0">
                    <a:pos x="318" y="54"/>
                  </a:cxn>
                  <a:cxn ang="0">
                    <a:pos x="328" y="66"/>
                  </a:cxn>
                </a:cxnLst>
                <a:rect l="0" t="0" r="r" b="b"/>
                <a:pathLst>
                  <a:path w="500" h="192">
                    <a:moveTo>
                      <a:pt x="322" y="70"/>
                    </a:moveTo>
                    <a:lnTo>
                      <a:pt x="322" y="70"/>
                    </a:lnTo>
                    <a:lnTo>
                      <a:pt x="316" y="76"/>
                    </a:lnTo>
                    <a:lnTo>
                      <a:pt x="314" y="78"/>
                    </a:lnTo>
                    <a:lnTo>
                      <a:pt x="316" y="80"/>
                    </a:lnTo>
                    <a:lnTo>
                      <a:pt x="320" y="82"/>
                    </a:lnTo>
                    <a:lnTo>
                      <a:pt x="330" y="84"/>
                    </a:lnTo>
                    <a:lnTo>
                      <a:pt x="338" y="86"/>
                    </a:lnTo>
                    <a:lnTo>
                      <a:pt x="348" y="90"/>
                    </a:lnTo>
                    <a:lnTo>
                      <a:pt x="354" y="94"/>
                    </a:lnTo>
                    <a:lnTo>
                      <a:pt x="356" y="96"/>
                    </a:lnTo>
                    <a:lnTo>
                      <a:pt x="354" y="100"/>
                    </a:lnTo>
                    <a:lnTo>
                      <a:pt x="354" y="100"/>
                    </a:lnTo>
                    <a:lnTo>
                      <a:pt x="352" y="104"/>
                    </a:lnTo>
                    <a:lnTo>
                      <a:pt x="346" y="108"/>
                    </a:lnTo>
                    <a:lnTo>
                      <a:pt x="340" y="106"/>
                    </a:lnTo>
                    <a:lnTo>
                      <a:pt x="332" y="106"/>
                    </a:lnTo>
                    <a:lnTo>
                      <a:pt x="310" y="102"/>
                    </a:lnTo>
                    <a:lnTo>
                      <a:pt x="296" y="100"/>
                    </a:lnTo>
                    <a:lnTo>
                      <a:pt x="280" y="102"/>
                    </a:lnTo>
                    <a:lnTo>
                      <a:pt x="280" y="102"/>
                    </a:lnTo>
                    <a:lnTo>
                      <a:pt x="268" y="104"/>
                    </a:lnTo>
                    <a:lnTo>
                      <a:pt x="260" y="104"/>
                    </a:lnTo>
                    <a:lnTo>
                      <a:pt x="258" y="102"/>
                    </a:lnTo>
                    <a:lnTo>
                      <a:pt x="256" y="98"/>
                    </a:lnTo>
                    <a:lnTo>
                      <a:pt x="252" y="90"/>
                    </a:lnTo>
                    <a:lnTo>
                      <a:pt x="246" y="82"/>
                    </a:lnTo>
                    <a:lnTo>
                      <a:pt x="236" y="72"/>
                    </a:lnTo>
                    <a:lnTo>
                      <a:pt x="220" y="60"/>
                    </a:lnTo>
                    <a:lnTo>
                      <a:pt x="220" y="60"/>
                    </a:lnTo>
                    <a:lnTo>
                      <a:pt x="200" y="50"/>
                    </a:lnTo>
                    <a:lnTo>
                      <a:pt x="186" y="46"/>
                    </a:lnTo>
                    <a:lnTo>
                      <a:pt x="174" y="46"/>
                    </a:lnTo>
                    <a:lnTo>
                      <a:pt x="166" y="50"/>
                    </a:lnTo>
                    <a:lnTo>
                      <a:pt x="160" y="52"/>
                    </a:lnTo>
                    <a:lnTo>
                      <a:pt x="154" y="54"/>
                    </a:lnTo>
                    <a:lnTo>
                      <a:pt x="150" y="52"/>
                    </a:lnTo>
                    <a:lnTo>
                      <a:pt x="144" y="44"/>
                    </a:lnTo>
                    <a:lnTo>
                      <a:pt x="144" y="44"/>
                    </a:lnTo>
                    <a:lnTo>
                      <a:pt x="138" y="36"/>
                    </a:lnTo>
                    <a:lnTo>
                      <a:pt x="130" y="30"/>
                    </a:lnTo>
                    <a:lnTo>
                      <a:pt x="122" y="30"/>
                    </a:lnTo>
                    <a:lnTo>
                      <a:pt x="112" y="30"/>
                    </a:lnTo>
                    <a:lnTo>
                      <a:pt x="102" y="32"/>
                    </a:lnTo>
                    <a:lnTo>
                      <a:pt x="88" y="38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42" y="58"/>
                    </a:lnTo>
                    <a:lnTo>
                      <a:pt x="40" y="60"/>
                    </a:lnTo>
                    <a:lnTo>
                      <a:pt x="42" y="60"/>
                    </a:lnTo>
                    <a:lnTo>
                      <a:pt x="44" y="64"/>
                    </a:lnTo>
                    <a:lnTo>
                      <a:pt x="46" y="66"/>
                    </a:lnTo>
                    <a:lnTo>
                      <a:pt x="42" y="72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22" y="88"/>
                    </a:lnTo>
                    <a:lnTo>
                      <a:pt x="20" y="94"/>
                    </a:lnTo>
                    <a:lnTo>
                      <a:pt x="20" y="96"/>
                    </a:lnTo>
                    <a:lnTo>
                      <a:pt x="22" y="98"/>
                    </a:lnTo>
                    <a:lnTo>
                      <a:pt x="24" y="98"/>
                    </a:lnTo>
                    <a:lnTo>
                      <a:pt x="26" y="100"/>
                    </a:lnTo>
                    <a:lnTo>
                      <a:pt x="22" y="104"/>
                    </a:lnTo>
                    <a:lnTo>
                      <a:pt x="14" y="110"/>
                    </a:lnTo>
                    <a:lnTo>
                      <a:pt x="14" y="110"/>
                    </a:lnTo>
                    <a:lnTo>
                      <a:pt x="4" y="118"/>
                    </a:lnTo>
                    <a:lnTo>
                      <a:pt x="0" y="124"/>
                    </a:lnTo>
                    <a:lnTo>
                      <a:pt x="2" y="128"/>
                    </a:lnTo>
                    <a:lnTo>
                      <a:pt x="6" y="132"/>
                    </a:lnTo>
                    <a:lnTo>
                      <a:pt x="26" y="138"/>
                    </a:lnTo>
                    <a:lnTo>
                      <a:pt x="54" y="144"/>
                    </a:lnTo>
                    <a:lnTo>
                      <a:pt x="54" y="144"/>
                    </a:lnTo>
                    <a:lnTo>
                      <a:pt x="66" y="146"/>
                    </a:lnTo>
                    <a:lnTo>
                      <a:pt x="76" y="146"/>
                    </a:lnTo>
                    <a:lnTo>
                      <a:pt x="84" y="144"/>
                    </a:lnTo>
                    <a:lnTo>
                      <a:pt x="88" y="142"/>
                    </a:lnTo>
                    <a:lnTo>
                      <a:pt x="94" y="138"/>
                    </a:lnTo>
                    <a:lnTo>
                      <a:pt x="96" y="136"/>
                    </a:lnTo>
                    <a:lnTo>
                      <a:pt x="98" y="140"/>
                    </a:lnTo>
                    <a:lnTo>
                      <a:pt x="98" y="140"/>
                    </a:lnTo>
                    <a:lnTo>
                      <a:pt x="106" y="146"/>
                    </a:lnTo>
                    <a:lnTo>
                      <a:pt x="110" y="148"/>
                    </a:lnTo>
                    <a:lnTo>
                      <a:pt x="114" y="150"/>
                    </a:lnTo>
                    <a:lnTo>
                      <a:pt x="118" y="150"/>
                    </a:lnTo>
                    <a:lnTo>
                      <a:pt x="124" y="148"/>
                    </a:lnTo>
                    <a:lnTo>
                      <a:pt x="128" y="14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44" y="126"/>
                    </a:lnTo>
                    <a:lnTo>
                      <a:pt x="150" y="122"/>
                    </a:lnTo>
                    <a:lnTo>
                      <a:pt x="152" y="122"/>
                    </a:lnTo>
                    <a:lnTo>
                      <a:pt x="154" y="124"/>
                    </a:lnTo>
                    <a:lnTo>
                      <a:pt x="152" y="130"/>
                    </a:lnTo>
                    <a:lnTo>
                      <a:pt x="152" y="130"/>
                    </a:lnTo>
                    <a:lnTo>
                      <a:pt x="150" y="134"/>
                    </a:lnTo>
                    <a:lnTo>
                      <a:pt x="154" y="138"/>
                    </a:lnTo>
                    <a:lnTo>
                      <a:pt x="158" y="140"/>
                    </a:lnTo>
                    <a:lnTo>
                      <a:pt x="166" y="142"/>
                    </a:lnTo>
                    <a:lnTo>
                      <a:pt x="192" y="140"/>
                    </a:lnTo>
                    <a:lnTo>
                      <a:pt x="232" y="132"/>
                    </a:lnTo>
                    <a:lnTo>
                      <a:pt x="232" y="132"/>
                    </a:lnTo>
                    <a:lnTo>
                      <a:pt x="252" y="130"/>
                    </a:lnTo>
                    <a:lnTo>
                      <a:pt x="262" y="130"/>
                    </a:lnTo>
                    <a:lnTo>
                      <a:pt x="266" y="130"/>
                    </a:lnTo>
                    <a:lnTo>
                      <a:pt x="264" y="134"/>
                    </a:lnTo>
                    <a:lnTo>
                      <a:pt x="256" y="138"/>
                    </a:lnTo>
                    <a:lnTo>
                      <a:pt x="244" y="142"/>
                    </a:lnTo>
                    <a:lnTo>
                      <a:pt x="228" y="144"/>
                    </a:lnTo>
                    <a:lnTo>
                      <a:pt x="212" y="148"/>
                    </a:lnTo>
                    <a:lnTo>
                      <a:pt x="212" y="148"/>
                    </a:lnTo>
                    <a:lnTo>
                      <a:pt x="176" y="152"/>
                    </a:lnTo>
                    <a:lnTo>
                      <a:pt x="158" y="156"/>
                    </a:lnTo>
                    <a:lnTo>
                      <a:pt x="144" y="160"/>
                    </a:lnTo>
                    <a:lnTo>
                      <a:pt x="136" y="166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4" y="176"/>
                    </a:lnTo>
                    <a:lnTo>
                      <a:pt x="138" y="178"/>
                    </a:lnTo>
                    <a:lnTo>
                      <a:pt x="152" y="186"/>
                    </a:lnTo>
                    <a:lnTo>
                      <a:pt x="152" y="186"/>
                    </a:lnTo>
                    <a:lnTo>
                      <a:pt x="166" y="190"/>
                    </a:lnTo>
                    <a:lnTo>
                      <a:pt x="178" y="192"/>
                    </a:lnTo>
                    <a:lnTo>
                      <a:pt x="192" y="192"/>
                    </a:lnTo>
                    <a:lnTo>
                      <a:pt x="206" y="190"/>
                    </a:lnTo>
                    <a:lnTo>
                      <a:pt x="234" y="184"/>
                    </a:lnTo>
                    <a:lnTo>
                      <a:pt x="266" y="174"/>
                    </a:lnTo>
                    <a:lnTo>
                      <a:pt x="266" y="174"/>
                    </a:lnTo>
                    <a:lnTo>
                      <a:pt x="282" y="170"/>
                    </a:lnTo>
                    <a:lnTo>
                      <a:pt x="296" y="164"/>
                    </a:lnTo>
                    <a:lnTo>
                      <a:pt x="318" y="154"/>
                    </a:lnTo>
                    <a:lnTo>
                      <a:pt x="328" y="150"/>
                    </a:lnTo>
                    <a:lnTo>
                      <a:pt x="338" y="146"/>
                    </a:lnTo>
                    <a:lnTo>
                      <a:pt x="350" y="146"/>
                    </a:lnTo>
                    <a:lnTo>
                      <a:pt x="360" y="148"/>
                    </a:lnTo>
                    <a:lnTo>
                      <a:pt x="360" y="148"/>
                    </a:lnTo>
                    <a:lnTo>
                      <a:pt x="370" y="150"/>
                    </a:lnTo>
                    <a:lnTo>
                      <a:pt x="378" y="152"/>
                    </a:lnTo>
                    <a:lnTo>
                      <a:pt x="382" y="150"/>
                    </a:lnTo>
                    <a:lnTo>
                      <a:pt x="386" y="148"/>
                    </a:lnTo>
                    <a:lnTo>
                      <a:pt x="388" y="146"/>
                    </a:lnTo>
                    <a:lnTo>
                      <a:pt x="394" y="144"/>
                    </a:lnTo>
                    <a:lnTo>
                      <a:pt x="400" y="144"/>
                    </a:lnTo>
                    <a:lnTo>
                      <a:pt x="410" y="146"/>
                    </a:lnTo>
                    <a:lnTo>
                      <a:pt x="410" y="146"/>
                    </a:lnTo>
                    <a:lnTo>
                      <a:pt x="420" y="150"/>
                    </a:lnTo>
                    <a:lnTo>
                      <a:pt x="430" y="150"/>
                    </a:lnTo>
                    <a:lnTo>
                      <a:pt x="440" y="148"/>
                    </a:lnTo>
                    <a:lnTo>
                      <a:pt x="450" y="144"/>
                    </a:lnTo>
                    <a:lnTo>
                      <a:pt x="460" y="138"/>
                    </a:lnTo>
                    <a:lnTo>
                      <a:pt x="470" y="130"/>
                    </a:lnTo>
                    <a:lnTo>
                      <a:pt x="482" y="120"/>
                    </a:lnTo>
                    <a:lnTo>
                      <a:pt x="492" y="106"/>
                    </a:lnTo>
                    <a:lnTo>
                      <a:pt x="492" y="106"/>
                    </a:lnTo>
                    <a:lnTo>
                      <a:pt x="496" y="100"/>
                    </a:lnTo>
                    <a:lnTo>
                      <a:pt x="500" y="94"/>
                    </a:lnTo>
                    <a:lnTo>
                      <a:pt x="500" y="88"/>
                    </a:lnTo>
                    <a:lnTo>
                      <a:pt x="498" y="84"/>
                    </a:lnTo>
                    <a:lnTo>
                      <a:pt x="496" y="80"/>
                    </a:lnTo>
                    <a:lnTo>
                      <a:pt x="492" y="76"/>
                    </a:lnTo>
                    <a:lnTo>
                      <a:pt x="482" y="70"/>
                    </a:lnTo>
                    <a:lnTo>
                      <a:pt x="470" y="68"/>
                    </a:lnTo>
                    <a:lnTo>
                      <a:pt x="456" y="66"/>
                    </a:lnTo>
                    <a:lnTo>
                      <a:pt x="444" y="68"/>
                    </a:lnTo>
                    <a:lnTo>
                      <a:pt x="436" y="70"/>
                    </a:lnTo>
                    <a:lnTo>
                      <a:pt x="436" y="70"/>
                    </a:lnTo>
                    <a:lnTo>
                      <a:pt x="420" y="76"/>
                    </a:lnTo>
                    <a:lnTo>
                      <a:pt x="406" y="80"/>
                    </a:lnTo>
                    <a:lnTo>
                      <a:pt x="402" y="82"/>
                    </a:lnTo>
                    <a:lnTo>
                      <a:pt x="398" y="80"/>
                    </a:lnTo>
                    <a:lnTo>
                      <a:pt x="398" y="78"/>
                    </a:lnTo>
                    <a:lnTo>
                      <a:pt x="400" y="72"/>
                    </a:lnTo>
                    <a:lnTo>
                      <a:pt x="400" y="72"/>
                    </a:lnTo>
                    <a:lnTo>
                      <a:pt x="400" y="68"/>
                    </a:lnTo>
                    <a:lnTo>
                      <a:pt x="398" y="64"/>
                    </a:lnTo>
                    <a:lnTo>
                      <a:pt x="394" y="62"/>
                    </a:lnTo>
                    <a:lnTo>
                      <a:pt x="390" y="62"/>
                    </a:lnTo>
                    <a:lnTo>
                      <a:pt x="384" y="60"/>
                    </a:lnTo>
                    <a:lnTo>
                      <a:pt x="380" y="60"/>
                    </a:lnTo>
                    <a:lnTo>
                      <a:pt x="380" y="56"/>
                    </a:lnTo>
                    <a:lnTo>
                      <a:pt x="384" y="52"/>
                    </a:lnTo>
                    <a:lnTo>
                      <a:pt x="384" y="52"/>
                    </a:lnTo>
                    <a:lnTo>
                      <a:pt x="388" y="46"/>
                    </a:lnTo>
                    <a:lnTo>
                      <a:pt x="388" y="44"/>
                    </a:lnTo>
                    <a:lnTo>
                      <a:pt x="386" y="42"/>
                    </a:lnTo>
                    <a:lnTo>
                      <a:pt x="382" y="40"/>
                    </a:lnTo>
                    <a:lnTo>
                      <a:pt x="378" y="38"/>
                    </a:lnTo>
                    <a:lnTo>
                      <a:pt x="374" y="34"/>
                    </a:lnTo>
                    <a:lnTo>
                      <a:pt x="372" y="28"/>
                    </a:lnTo>
                    <a:lnTo>
                      <a:pt x="370" y="18"/>
                    </a:lnTo>
                    <a:lnTo>
                      <a:pt x="370" y="18"/>
                    </a:lnTo>
                    <a:lnTo>
                      <a:pt x="368" y="8"/>
                    </a:lnTo>
                    <a:lnTo>
                      <a:pt x="364" y="2"/>
                    </a:lnTo>
                    <a:lnTo>
                      <a:pt x="358" y="0"/>
                    </a:lnTo>
                    <a:lnTo>
                      <a:pt x="350" y="2"/>
                    </a:lnTo>
                    <a:lnTo>
                      <a:pt x="340" y="6"/>
                    </a:lnTo>
                    <a:lnTo>
                      <a:pt x="328" y="12"/>
                    </a:lnTo>
                    <a:lnTo>
                      <a:pt x="300" y="28"/>
                    </a:lnTo>
                    <a:lnTo>
                      <a:pt x="300" y="28"/>
                    </a:lnTo>
                    <a:lnTo>
                      <a:pt x="294" y="32"/>
                    </a:lnTo>
                    <a:lnTo>
                      <a:pt x="292" y="36"/>
                    </a:lnTo>
                    <a:lnTo>
                      <a:pt x="290" y="40"/>
                    </a:lnTo>
                    <a:lnTo>
                      <a:pt x="292" y="42"/>
                    </a:lnTo>
                    <a:lnTo>
                      <a:pt x="298" y="46"/>
                    </a:lnTo>
                    <a:lnTo>
                      <a:pt x="308" y="50"/>
                    </a:lnTo>
                    <a:lnTo>
                      <a:pt x="318" y="54"/>
                    </a:lnTo>
                    <a:lnTo>
                      <a:pt x="326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6"/>
                    </a:lnTo>
                    <a:lnTo>
                      <a:pt x="322" y="70"/>
                    </a:lnTo>
                    <a:lnTo>
                      <a:pt x="322" y="7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9" name="Freeform 6074">
                <a:extLst>
                  <a:ext uri="{FF2B5EF4-FFF2-40B4-BE49-F238E27FC236}">
                    <a16:creationId xmlns:a16="http://schemas.microsoft.com/office/drawing/2014/main" id="{64F2C0C5-9B0D-40D1-B93D-3D3C9DC70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3930" y="3139123"/>
                <a:ext cx="278130" cy="109220"/>
              </a:xfrm>
              <a:custGeom>
                <a:avLst/>
                <a:gdLst/>
                <a:ahLst/>
                <a:cxnLst>
                  <a:cxn ang="0">
                    <a:pos x="416" y="160"/>
                  </a:cxn>
                  <a:cxn ang="0">
                    <a:pos x="436" y="156"/>
                  </a:cxn>
                  <a:cxn ang="0">
                    <a:pos x="428" y="148"/>
                  </a:cxn>
                  <a:cxn ang="0">
                    <a:pos x="414" y="136"/>
                  </a:cxn>
                  <a:cxn ang="0">
                    <a:pos x="384" y="126"/>
                  </a:cxn>
                  <a:cxn ang="0">
                    <a:pos x="374" y="120"/>
                  </a:cxn>
                  <a:cxn ang="0">
                    <a:pos x="376" y="108"/>
                  </a:cxn>
                  <a:cxn ang="0">
                    <a:pos x="358" y="106"/>
                  </a:cxn>
                  <a:cxn ang="0">
                    <a:pos x="350" y="100"/>
                  </a:cxn>
                  <a:cxn ang="0">
                    <a:pos x="338" y="100"/>
                  </a:cxn>
                  <a:cxn ang="0">
                    <a:pos x="326" y="92"/>
                  </a:cxn>
                  <a:cxn ang="0">
                    <a:pos x="300" y="68"/>
                  </a:cxn>
                  <a:cxn ang="0">
                    <a:pos x="300" y="76"/>
                  </a:cxn>
                  <a:cxn ang="0">
                    <a:pos x="292" y="64"/>
                  </a:cxn>
                  <a:cxn ang="0">
                    <a:pos x="286" y="60"/>
                  </a:cxn>
                  <a:cxn ang="0">
                    <a:pos x="260" y="48"/>
                  </a:cxn>
                  <a:cxn ang="0">
                    <a:pos x="230" y="40"/>
                  </a:cxn>
                  <a:cxn ang="0">
                    <a:pos x="216" y="28"/>
                  </a:cxn>
                  <a:cxn ang="0">
                    <a:pos x="194" y="14"/>
                  </a:cxn>
                  <a:cxn ang="0">
                    <a:pos x="180" y="8"/>
                  </a:cxn>
                  <a:cxn ang="0">
                    <a:pos x="164" y="8"/>
                  </a:cxn>
                  <a:cxn ang="0">
                    <a:pos x="150" y="0"/>
                  </a:cxn>
                  <a:cxn ang="0">
                    <a:pos x="136" y="4"/>
                  </a:cxn>
                  <a:cxn ang="0">
                    <a:pos x="112" y="0"/>
                  </a:cxn>
                  <a:cxn ang="0">
                    <a:pos x="92" y="10"/>
                  </a:cxn>
                  <a:cxn ang="0">
                    <a:pos x="56" y="18"/>
                  </a:cxn>
                  <a:cxn ang="0">
                    <a:pos x="24" y="42"/>
                  </a:cxn>
                  <a:cxn ang="0">
                    <a:pos x="24" y="58"/>
                  </a:cxn>
                  <a:cxn ang="0">
                    <a:pos x="2" y="66"/>
                  </a:cxn>
                  <a:cxn ang="0">
                    <a:pos x="4" y="72"/>
                  </a:cxn>
                  <a:cxn ang="0">
                    <a:pos x="18" y="72"/>
                  </a:cxn>
                  <a:cxn ang="0">
                    <a:pos x="24" y="72"/>
                  </a:cxn>
                  <a:cxn ang="0">
                    <a:pos x="40" y="62"/>
                  </a:cxn>
                  <a:cxn ang="0">
                    <a:pos x="70" y="44"/>
                  </a:cxn>
                  <a:cxn ang="0">
                    <a:pos x="92" y="30"/>
                  </a:cxn>
                  <a:cxn ang="0">
                    <a:pos x="132" y="32"/>
                  </a:cxn>
                  <a:cxn ang="0">
                    <a:pos x="124" y="38"/>
                  </a:cxn>
                  <a:cxn ang="0">
                    <a:pos x="118" y="46"/>
                  </a:cxn>
                  <a:cxn ang="0">
                    <a:pos x="164" y="58"/>
                  </a:cxn>
                  <a:cxn ang="0">
                    <a:pos x="186" y="62"/>
                  </a:cxn>
                  <a:cxn ang="0">
                    <a:pos x="214" y="80"/>
                  </a:cxn>
                  <a:cxn ang="0">
                    <a:pos x="242" y="84"/>
                  </a:cxn>
                  <a:cxn ang="0">
                    <a:pos x="256" y="94"/>
                  </a:cxn>
                  <a:cxn ang="0">
                    <a:pos x="268" y="120"/>
                  </a:cxn>
                  <a:cxn ang="0">
                    <a:pos x="288" y="128"/>
                  </a:cxn>
                  <a:cxn ang="0">
                    <a:pos x="318" y="136"/>
                  </a:cxn>
                  <a:cxn ang="0">
                    <a:pos x="310" y="150"/>
                  </a:cxn>
                  <a:cxn ang="0">
                    <a:pos x="290" y="168"/>
                  </a:cxn>
                  <a:cxn ang="0">
                    <a:pos x="348" y="164"/>
                  </a:cxn>
                  <a:cxn ang="0">
                    <a:pos x="382" y="170"/>
                  </a:cxn>
                  <a:cxn ang="0">
                    <a:pos x="400" y="166"/>
                  </a:cxn>
                </a:cxnLst>
                <a:rect l="0" t="0" r="r" b="b"/>
                <a:pathLst>
                  <a:path w="438" h="172">
                    <a:moveTo>
                      <a:pt x="400" y="166"/>
                    </a:moveTo>
                    <a:lnTo>
                      <a:pt x="400" y="166"/>
                    </a:lnTo>
                    <a:lnTo>
                      <a:pt x="410" y="162"/>
                    </a:lnTo>
                    <a:lnTo>
                      <a:pt x="416" y="160"/>
                    </a:lnTo>
                    <a:lnTo>
                      <a:pt x="426" y="160"/>
                    </a:lnTo>
                    <a:lnTo>
                      <a:pt x="432" y="162"/>
                    </a:lnTo>
                    <a:lnTo>
                      <a:pt x="436" y="156"/>
                    </a:lnTo>
                    <a:lnTo>
                      <a:pt x="436" y="156"/>
                    </a:lnTo>
                    <a:lnTo>
                      <a:pt x="438" y="152"/>
                    </a:lnTo>
                    <a:lnTo>
                      <a:pt x="438" y="150"/>
                    </a:lnTo>
                    <a:lnTo>
                      <a:pt x="434" y="150"/>
                    </a:lnTo>
                    <a:lnTo>
                      <a:pt x="428" y="148"/>
                    </a:lnTo>
                    <a:lnTo>
                      <a:pt x="424" y="146"/>
                    </a:lnTo>
                    <a:lnTo>
                      <a:pt x="420" y="144"/>
                    </a:lnTo>
                    <a:lnTo>
                      <a:pt x="420" y="144"/>
                    </a:lnTo>
                    <a:lnTo>
                      <a:pt x="414" y="136"/>
                    </a:lnTo>
                    <a:lnTo>
                      <a:pt x="410" y="132"/>
                    </a:lnTo>
                    <a:lnTo>
                      <a:pt x="400" y="128"/>
                    </a:lnTo>
                    <a:lnTo>
                      <a:pt x="384" y="126"/>
                    </a:lnTo>
                    <a:lnTo>
                      <a:pt x="384" y="126"/>
                    </a:lnTo>
                    <a:lnTo>
                      <a:pt x="372" y="124"/>
                    </a:lnTo>
                    <a:lnTo>
                      <a:pt x="370" y="124"/>
                    </a:lnTo>
                    <a:lnTo>
                      <a:pt x="372" y="122"/>
                    </a:lnTo>
                    <a:lnTo>
                      <a:pt x="374" y="120"/>
                    </a:lnTo>
                    <a:lnTo>
                      <a:pt x="376" y="116"/>
                    </a:lnTo>
                    <a:lnTo>
                      <a:pt x="376" y="112"/>
                    </a:lnTo>
                    <a:lnTo>
                      <a:pt x="376" y="112"/>
                    </a:lnTo>
                    <a:lnTo>
                      <a:pt x="376" y="108"/>
                    </a:lnTo>
                    <a:lnTo>
                      <a:pt x="374" y="108"/>
                    </a:lnTo>
                    <a:lnTo>
                      <a:pt x="368" y="106"/>
                    </a:lnTo>
                    <a:lnTo>
                      <a:pt x="362" y="106"/>
                    </a:lnTo>
                    <a:lnTo>
                      <a:pt x="358" y="106"/>
                    </a:lnTo>
                    <a:lnTo>
                      <a:pt x="356" y="104"/>
                    </a:lnTo>
                    <a:lnTo>
                      <a:pt x="356" y="104"/>
                    </a:lnTo>
                    <a:lnTo>
                      <a:pt x="352" y="102"/>
                    </a:lnTo>
                    <a:lnTo>
                      <a:pt x="350" y="100"/>
                    </a:lnTo>
                    <a:lnTo>
                      <a:pt x="344" y="102"/>
                    </a:lnTo>
                    <a:lnTo>
                      <a:pt x="340" y="102"/>
                    </a:lnTo>
                    <a:lnTo>
                      <a:pt x="338" y="102"/>
                    </a:lnTo>
                    <a:lnTo>
                      <a:pt x="338" y="100"/>
                    </a:lnTo>
                    <a:lnTo>
                      <a:pt x="338" y="100"/>
                    </a:lnTo>
                    <a:lnTo>
                      <a:pt x="334" y="96"/>
                    </a:lnTo>
                    <a:lnTo>
                      <a:pt x="332" y="94"/>
                    </a:lnTo>
                    <a:lnTo>
                      <a:pt x="326" y="92"/>
                    </a:lnTo>
                    <a:lnTo>
                      <a:pt x="320" y="86"/>
                    </a:lnTo>
                    <a:lnTo>
                      <a:pt x="320" y="86"/>
                    </a:lnTo>
                    <a:lnTo>
                      <a:pt x="304" y="70"/>
                    </a:lnTo>
                    <a:lnTo>
                      <a:pt x="300" y="68"/>
                    </a:lnTo>
                    <a:lnTo>
                      <a:pt x="300" y="70"/>
                    </a:lnTo>
                    <a:lnTo>
                      <a:pt x="300" y="72"/>
                    </a:lnTo>
                    <a:lnTo>
                      <a:pt x="300" y="72"/>
                    </a:lnTo>
                    <a:lnTo>
                      <a:pt x="300" y="76"/>
                    </a:lnTo>
                    <a:lnTo>
                      <a:pt x="300" y="76"/>
                    </a:lnTo>
                    <a:lnTo>
                      <a:pt x="296" y="76"/>
                    </a:lnTo>
                    <a:lnTo>
                      <a:pt x="294" y="70"/>
                    </a:lnTo>
                    <a:lnTo>
                      <a:pt x="292" y="64"/>
                    </a:lnTo>
                    <a:lnTo>
                      <a:pt x="292" y="64"/>
                    </a:lnTo>
                    <a:lnTo>
                      <a:pt x="292" y="62"/>
                    </a:lnTo>
                    <a:lnTo>
                      <a:pt x="292" y="60"/>
                    </a:lnTo>
                    <a:lnTo>
                      <a:pt x="286" y="60"/>
                    </a:lnTo>
                    <a:lnTo>
                      <a:pt x="276" y="56"/>
                    </a:lnTo>
                    <a:lnTo>
                      <a:pt x="268" y="54"/>
                    </a:lnTo>
                    <a:lnTo>
                      <a:pt x="260" y="48"/>
                    </a:lnTo>
                    <a:lnTo>
                      <a:pt x="260" y="48"/>
                    </a:lnTo>
                    <a:lnTo>
                      <a:pt x="252" y="42"/>
                    </a:lnTo>
                    <a:lnTo>
                      <a:pt x="244" y="40"/>
                    </a:lnTo>
                    <a:lnTo>
                      <a:pt x="234" y="40"/>
                    </a:lnTo>
                    <a:lnTo>
                      <a:pt x="230" y="40"/>
                    </a:lnTo>
                    <a:lnTo>
                      <a:pt x="226" y="38"/>
                    </a:lnTo>
                    <a:lnTo>
                      <a:pt x="220" y="34"/>
                    </a:lnTo>
                    <a:lnTo>
                      <a:pt x="216" y="28"/>
                    </a:lnTo>
                    <a:lnTo>
                      <a:pt x="216" y="28"/>
                    </a:lnTo>
                    <a:lnTo>
                      <a:pt x="210" y="20"/>
                    </a:lnTo>
                    <a:lnTo>
                      <a:pt x="204" y="16"/>
                    </a:lnTo>
                    <a:lnTo>
                      <a:pt x="200" y="14"/>
                    </a:lnTo>
                    <a:lnTo>
                      <a:pt x="194" y="14"/>
                    </a:lnTo>
                    <a:lnTo>
                      <a:pt x="186" y="14"/>
                    </a:lnTo>
                    <a:lnTo>
                      <a:pt x="182" y="12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76" y="6"/>
                    </a:lnTo>
                    <a:lnTo>
                      <a:pt x="174" y="4"/>
                    </a:lnTo>
                    <a:lnTo>
                      <a:pt x="168" y="6"/>
                    </a:lnTo>
                    <a:lnTo>
                      <a:pt x="164" y="8"/>
                    </a:lnTo>
                    <a:lnTo>
                      <a:pt x="160" y="6"/>
                    </a:lnTo>
                    <a:lnTo>
                      <a:pt x="156" y="4"/>
                    </a:lnTo>
                    <a:lnTo>
                      <a:pt x="156" y="4"/>
                    </a:lnTo>
                    <a:lnTo>
                      <a:pt x="150" y="0"/>
                    </a:lnTo>
                    <a:lnTo>
                      <a:pt x="148" y="2"/>
                    </a:lnTo>
                    <a:lnTo>
                      <a:pt x="146" y="2"/>
                    </a:lnTo>
                    <a:lnTo>
                      <a:pt x="142" y="4"/>
                    </a:lnTo>
                    <a:lnTo>
                      <a:pt x="136" y="4"/>
                    </a:lnTo>
                    <a:lnTo>
                      <a:pt x="126" y="2"/>
                    </a:lnTo>
                    <a:lnTo>
                      <a:pt x="126" y="2"/>
                    </a:lnTo>
                    <a:lnTo>
                      <a:pt x="118" y="0"/>
                    </a:lnTo>
                    <a:lnTo>
                      <a:pt x="112" y="0"/>
                    </a:lnTo>
                    <a:lnTo>
                      <a:pt x="108" y="2"/>
                    </a:lnTo>
                    <a:lnTo>
                      <a:pt x="104" y="4"/>
                    </a:lnTo>
                    <a:lnTo>
                      <a:pt x="98" y="8"/>
                    </a:lnTo>
                    <a:lnTo>
                      <a:pt x="9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68" y="14"/>
                    </a:lnTo>
                    <a:lnTo>
                      <a:pt x="56" y="18"/>
                    </a:lnTo>
                    <a:lnTo>
                      <a:pt x="44" y="22"/>
                    </a:lnTo>
                    <a:lnTo>
                      <a:pt x="36" y="28"/>
                    </a:lnTo>
                    <a:lnTo>
                      <a:pt x="28" y="34"/>
                    </a:lnTo>
                    <a:lnTo>
                      <a:pt x="24" y="42"/>
                    </a:lnTo>
                    <a:lnTo>
                      <a:pt x="22" y="48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2" y="60"/>
                    </a:lnTo>
                    <a:lnTo>
                      <a:pt x="14" y="62"/>
                    </a:lnTo>
                    <a:lnTo>
                      <a:pt x="4" y="64"/>
                    </a:lnTo>
                    <a:lnTo>
                      <a:pt x="2" y="66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2" y="70"/>
                    </a:lnTo>
                    <a:lnTo>
                      <a:pt x="4" y="72"/>
                    </a:lnTo>
                    <a:lnTo>
                      <a:pt x="8" y="72"/>
                    </a:lnTo>
                    <a:lnTo>
                      <a:pt x="14" y="72"/>
                    </a:lnTo>
                    <a:lnTo>
                      <a:pt x="16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4" y="72"/>
                    </a:lnTo>
                    <a:lnTo>
                      <a:pt x="30" y="68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40" y="62"/>
                    </a:lnTo>
                    <a:lnTo>
                      <a:pt x="42" y="58"/>
                    </a:lnTo>
                    <a:lnTo>
                      <a:pt x="52" y="54"/>
                    </a:lnTo>
                    <a:lnTo>
                      <a:pt x="62" y="48"/>
                    </a:lnTo>
                    <a:lnTo>
                      <a:pt x="70" y="44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4" y="34"/>
                    </a:lnTo>
                    <a:lnTo>
                      <a:pt x="92" y="30"/>
                    </a:lnTo>
                    <a:lnTo>
                      <a:pt x="100" y="28"/>
                    </a:lnTo>
                    <a:lnTo>
                      <a:pt x="108" y="28"/>
                    </a:lnTo>
                    <a:lnTo>
                      <a:pt x="124" y="28"/>
                    </a:lnTo>
                    <a:lnTo>
                      <a:pt x="132" y="32"/>
                    </a:lnTo>
                    <a:lnTo>
                      <a:pt x="132" y="32"/>
                    </a:lnTo>
                    <a:lnTo>
                      <a:pt x="134" y="34"/>
                    </a:lnTo>
                    <a:lnTo>
                      <a:pt x="132" y="36"/>
                    </a:lnTo>
                    <a:lnTo>
                      <a:pt x="124" y="38"/>
                    </a:lnTo>
                    <a:lnTo>
                      <a:pt x="116" y="42"/>
                    </a:lnTo>
                    <a:lnTo>
                      <a:pt x="116" y="44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26" y="52"/>
                    </a:lnTo>
                    <a:lnTo>
                      <a:pt x="134" y="56"/>
                    </a:lnTo>
                    <a:lnTo>
                      <a:pt x="146" y="58"/>
                    </a:lnTo>
                    <a:lnTo>
                      <a:pt x="164" y="58"/>
                    </a:lnTo>
                    <a:lnTo>
                      <a:pt x="164" y="58"/>
                    </a:lnTo>
                    <a:lnTo>
                      <a:pt x="174" y="58"/>
                    </a:lnTo>
                    <a:lnTo>
                      <a:pt x="180" y="60"/>
                    </a:lnTo>
                    <a:lnTo>
                      <a:pt x="186" y="62"/>
                    </a:lnTo>
                    <a:lnTo>
                      <a:pt x="190" y="66"/>
                    </a:lnTo>
                    <a:lnTo>
                      <a:pt x="200" y="74"/>
                    </a:lnTo>
                    <a:lnTo>
                      <a:pt x="206" y="78"/>
                    </a:lnTo>
                    <a:lnTo>
                      <a:pt x="214" y="80"/>
                    </a:lnTo>
                    <a:lnTo>
                      <a:pt x="214" y="80"/>
                    </a:lnTo>
                    <a:lnTo>
                      <a:pt x="222" y="84"/>
                    </a:lnTo>
                    <a:lnTo>
                      <a:pt x="230" y="84"/>
                    </a:lnTo>
                    <a:lnTo>
                      <a:pt x="242" y="84"/>
                    </a:lnTo>
                    <a:lnTo>
                      <a:pt x="246" y="84"/>
                    </a:lnTo>
                    <a:lnTo>
                      <a:pt x="250" y="86"/>
                    </a:lnTo>
                    <a:lnTo>
                      <a:pt x="252" y="88"/>
                    </a:lnTo>
                    <a:lnTo>
                      <a:pt x="256" y="94"/>
                    </a:lnTo>
                    <a:lnTo>
                      <a:pt x="256" y="94"/>
                    </a:lnTo>
                    <a:lnTo>
                      <a:pt x="260" y="106"/>
                    </a:lnTo>
                    <a:lnTo>
                      <a:pt x="266" y="116"/>
                    </a:lnTo>
                    <a:lnTo>
                      <a:pt x="268" y="120"/>
                    </a:lnTo>
                    <a:lnTo>
                      <a:pt x="274" y="124"/>
                    </a:lnTo>
                    <a:lnTo>
                      <a:pt x="280" y="126"/>
                    </a:lnTo>
                    <a:lnTo>
                      <a:pt x="288" y="128"/>
                    </a:lnTo>
                    <a:lnTo>
                      <a:pt x="288" y="128"/>
                    </a:lnTo>
                    <a:lnTo>
                      <a:pt x="304" y="128"/>
                    </a:lnTo>
                    <a:lnTo>
                      <a:pt x="310" y="130"/>
                    </a:lnTo>
                    <a:lnTo>
                      <a:pt x="316" y="134"/>
                    </a:lnTo>
                    <a:lnTo>
                      <a:pt x="318" y="136"/>
                    </a:lnTo>
                    <a:lnTo>
                      <a:pt x="318" y="140"/>
                    </a:lnTo>
                    <a:lnTo>
                      <a:pt x="316" y="144"/>
                    </a:lnTo>
                    <a:lnTo>
                      <a:pt x="310" y="150"/>
                    </a:lnTo>
                    <a:lnTo>
                      <a:pt x="310" y="150"/>
                    </a:lnTo>
                    <a:lnTo>
                      <a:pt x="298" y="158"/>
                    </a:lnTo>
                    <a:lnTo>
                      <a:pt x="292" y="162"/>
                    </a:lnTo>
                    <a:lnTo>
                      <a:pt x="290" y="166"/>
                    </a:lnTo>
                    <a:lnTo>
                      <a:pt x="290" y="168"/>
                    </a:lnTo>
                    <a:lnTo>
                      <a:pt x="296" y="170"/>
                    </a:lnTo>
                    <a:lnTo>
                      <a:pt x="328" y="166"/>
                    </a:lnTo>
                    <a:lnTo>
                      <a:pt x="328" y="166"/>
                    </a:lnTo>
                    <a:lnTo>
                      <a:pt x="348" y="164"/>
                    </a:lnTo>
                    <a:lnTo>
                      <a:pt x="360" y="166"/>
                    </a:lnTo>
                    <a:lnTo>
                      <a:pt x="370" y="166"/>
                    </a:lnTo>
                    <a:lnTo>
                      <a:pt x="376" y="168"/>
                    </a:lnTo>
                    <a:lnTo>
                      <a:pt x="382" y="170"/>
                    </a:lnTo>
                    <a:lnTo>
                      <a:pt x="386" y="172"/>
                    </a:lnTo>
                    <a:lnTo>
                      <a:pt x="392" y="170"/>
                    </a:lnTo>
                    <a:lnTo>
                      <a:pt x="400" y="166"/>
                    </a:lnTo>
                    <a:lnTo>
                      <a:pt x="400" y="16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0" name="Freeform 6084">
                <a:extLst>
                  <a:ext uri="{FF2B5EF4-FFF2-40B4-BE49-F238E27FC236}">
                    <a16:creationId xmlns:a16="http://schemas.microsoft.com/office/drawing/2014/main" id="{810B0AAA-5E9C-4103-99F0-614716D1E6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1460" y="3296603"/>
                <a:ext cx="5080" cy="5080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</a:cxnLst>
                <a:rect l="0" t="0" r="r" b="b"/>
                <a:pathLst>
                  <a:path w="8" h="8">
                    <a:moveTo>
                      <a:pt x="0" y="6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1" name="Freeform 6086">
                <a:extLst>
                  <a:ext uri="{FF2B5EF4-FFF2-40B4-BE49-F238E27FC236}">
                    <a16:creationId xmlns:a16="http://schemas.microsoft.com/office/drawing/2014/main" id="{4BDAF60B-FC8E-4381-B91C-90DA4335A5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979" y="1296353"/>
                <a:ext cx="2874010" cy="2354580"/>
              </a:xfrm>
              <a:custGeom>
                <a:avLst/>
                <a:gdLst/>
                <a:ahLst/>
                <a:cxnLst>
                  <a:cxn ang="0">
                    <a:pos x="3400" y="3516"/>
                  </a:cxn>
                  <a:cxn ang="0">
                    <a:pos x="3292" y="3276"/>
                  </a:cxn>
                  <a:cxn ang="0">
                    <a:pos x="3246" y="3102"/>
                  </a:cxn>
                  <a:cxn ang="0">
                    <a:pos x="3116" y="3080"/>
                  </a:cxn>
                  <a:cxn ang="0">
                    <a:pos x="2830" y="2916"/>
                  </a:cxn>
                  <a:cxn ang="0">
                    <a:pos x="3078" y="2572"/>
                  </a:cxn>
                  <a:cxn ang="0">
                    <a:pos x="3134" y="2554"/>
                  </a:cxn>
                  <a:cxn ang="0">
                    <a:pos x="3436" y="2646"/>
                  </a:cxn>
                  <a:cxn ang="0">
                    <a:pos x="3526" y="2642"/>
                  </a:cxn>
                  <a:cxn ang="0">
                    <a:pos x="3686" y="2282"/>
                  </a:cxn>
                  <a:cxn ang="0">
                    <a:pos x="3698" y="2162"/>
                  </a:cxn>
                  <a:cxn ang="0">
                    <a:pos x="3748" y="2092"/>
                  </a:cxn>
                  <a:cxn ang="0">
                    <a:pos x="3924" y="1928"/>
                  </a:cxn>
                  <a:cxn ang="0">
                    <a:pos x="4006" y="1782"/>
                  </a:cxn>
                  <a:cxn ang="0">
                    <a:pos x="4138" y="1824"/>
                  </a:cxn>
                  <a:cxn ang="0">
                    <a:pos x="4150" y="1496"/>
                  </a:cxn>
                  <a:cxn ang="0">
                    <a:pos x="4522" y="1296"/>
                  </a:cxn>
                  <a:cxn ang="0">
                    <a:pos x="4314" y="1090"/>
                  </a:cxn>
                  <a:cxn ang="0">
                    <a:pos x="4060" y="934"/>
                  </a:cxn>
                  <a:cxn ang="0">
                    <a:pos x="3720" y="680"/>
                  </a:cxn>
                  <a:cxn ang="0">
                    <a:pos x="3570" y="1166"/>
                  </a:cxn>
                  <a:cxn ang="0">
                    <a:pos x="3346" y="1132"/>
                  </a:cxn>
                  <a:cxn ang="0">
                    <a:pos x="3060" y="648"/>
                  </a:cxn>
                  <a:cxn ang="0">
                    <a:pos x="3304" y="420"/>
                  </a:cxn>
                  <a:cxn ang="0">
                    <a:pos x="3452" y="258"/>
                  </a:cxn>
                  <a:cxn ang="0">
                    <a:pos x="3282" y="322"/>
                  </a:cxn>
                  <a:cxn ang="0">
                    <a:pos x="3048" y="164"/>
                  </a:cxn>
                  <a:cxn ang="0">
                    <a:pos x="2954" y="232"/>
                  </a:cxn>
                  <a:cxn ang="0">
                    <a:pos x="2726" y="298"/>
                  </a:cxn>
                  <a:cxn ang="0">
                    <a:pos x="2330" y="286"/>
                  </a:cxn>
                  <a:cxn ang="0">
                    <a:pos x="1732" y="136"/>
                  </a:cxn>
                  <a:cxn ang="0">
                    <a:pos x="1406" y="178"/>
                  </a:cxn>
                  <a:cxn ang="0">
                    <a:pos x="636" y="94"/>
                  </a:cxn>
                  <a:cxn ang="0">
                    <a:pos x="54" y="266"/>
                  </a:cxn>
                  <a:cxn ang="0">
                    <a:pos x="28" y="440"/>
                  </a:cxn>
                  <a:cxn ang="0">
                    <a:pos x="270" y="598"/>
                  </a:cxn>
                  <a:cxn ang="0">
                    <a:pos x="246" y="900"/>
                  </a:cxn>
                  <a:cxn ang="0">
                    <a:pos x="218" y="1124"/>
                  </a:cxn>
                  <a:cxn ang="0">
                    <a:pos x="548" y="956"/>
                  </a:cxn>
                  <a:cxn ang="0">
                    <a:pos x="648" y="882"/>
                  </a:cxn>
                  <a:cxn ang="0">
                    <a:pos x="1136" y="842"/>
                  </a:cxn>
                  <a:cxn ang="0">
                    <a:pos x="1412" y="1020"/>
                  </a:cxn>
                  <a:cxn ang="0">
                    <a:pos x="1524" y="1162"/>
                  </a:cxn>
                  <a:cxn ang="0">
                    <a:pos x="1646" y="1306"/>
                  </a:cxn>
                  <a:cxn ang="0">
                    <a:pos x="1750" y="1434"/>
                  </a:cxn>
                  <a:cxn ang="0">
                    <a:pos x="1840" y="1570"/>
                  </a:cxn>
                  <a:cxn ang="0">
                    <a:pos x="1838" y="2170"/>
                  </a:cxn>
                  <a:cxn ang="0">
                    <a:pos x="2146" y="2682"/>
                  </a:cxn>
                  <a:cxn ang="0">
                    <a:pos x="2168" y="2564"/>
                  </a:cxn>
                  <a:cxn ang="0">
                    <a:pos x="2530" y="2998"/>
                  </a:cxn>
                  <a:cxn ang="0">
                    <a:pos x="3202" y="3400"/>
                  </a:cxn>
                  <a:cxn ang="0">
                    <a:pos x="3330" y="3570"/>
                  </a:cxn>
                  <a:cxn ang="0">
                    <a:pos x="3432" y="3656"/>
                  </a:cxn>
                  <a:cxn ang="0">
                    <a:pos x="3562" y="3616"/>
                  </a:cxn>
                  <a:cxn ang="0">
                    <a:pos x="3408" y="1922"/>
                  </a:cxn>
                  <a:cxn ang="0">
                    <a:pos x="3590" y="1870"/>
                  </a:cxn>
                  <a:cxn ang="0">
                    <a:pos x="3578" y="1812"/>
                  </a:cxn>
                  <a:cxn ang="0">
                    <a:pos x="3344" y="1588"/>
                  </a:cxn>
                  <a:cxn ang="0">
                    <a:pos x="3548" y="1750"/>
                  </a:cxn>
                  <a:cxn ang="0">
                    <a:pos x="3418" y="1798"/>
                  </a:cxn>
                  <a:cxn ang="0">
                    <a:pos x="3294" y="1766"/>
                  </a:cxn>
                  <a:cxn ang="0">
                    <a:pos x="3244" y="1726"/>
                  </a:cxn>
                  <a:cxn ang="0">
                    <a:pos x="3258" y="1654"/>
                  </a:cxn>
                </a:cxnLst>
                <a:rect l="0" t="0" r="r" b="b"/>
                <a:pathLst>
                  <a:path w="4526" h="3708">
                    <a:moveTo>
                      <a:pt x="3654" y="3626"/>
                    </a:move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42" y="3614"/>
                    </a:lnTo>
                    <a:lnTo>
                      <a:pt x="3628" y="3600"/>
                    </a:lnTo>
                    <a:lnTo>
                      <a:pt x="3622" y="3596"/>
                    </a:lnTo>
                    <a:lnTo>
                      <a:pt x="3614" y="3592"/>
                    </a:lnTo>
                    <a:lnTo>
                      <a:pt x="3606" y="3590"/>
                    </a:lnTo>
                    <a:lnTo>
                      <a:pt x="3598" y="3588"/>
                    </a:lnTo>
                    <a:lnTo>
                      <a:pt x="3598" y="3588"/>
                    </a:lnTo>
                    <a:lnTo>
                      <a:pt x="3588" y="3590"/>
                    </a:lnTo>
                    <a:lnTo>
                      <a:pt x="3588" y="3588"/>
                    </a:lnTo>
                    <a:lnTo>
                      <a:pt x="3588" y="3588"/>
                    </a:lnTo>
                    <a:lnTo>
                      <a:pt x="3588" y="3586"/>
                    </a:lnTo>
                    <a:lnTo>
                      <a:pt x="3586" y="3584"/>
                    </a:lnTo>
                    <a:lnTo>
                      <a:pt x="3574" y="3582"/>
                    </a:lnTo>
                    <a:lnTo>
                      <a:pt x="3574" y="3582"/>
                    </a:lnTo>
                    <a:lnTo>
                      <a:pt x="3562" y="3582"/>
                    </a:lnTo>
                    <a:lnTo>
                      <a:pt x="3560" y="3582"/>
                    </a:lnTo>
                    <a:lnTo>
                      <a:pt x="3560" y="3584"/>
                    </a:lnTo>
                    <a:lnTo>
                      <a:pt x="3556" y="3590"/>
                    </a:lnTo>
                    <a:lnTo>
                      <a:pt x="3552" y="3594"/>
                    </a:lnTo>
                    <a:lnTo>
                      <a:pt x="3546" y="3598"/>
                    </a:lnTo>
                    <a:lnTo>
                      <a:pt x="3546" y="3598"/>
                    </a:lnTo>
                    <a:lnTo>
                      <a:pt x="3524" y="3608"/>
                    </a:lnTo>
                    <a:lnTo>
                      <a:pt x="3518" y="3612"/>
                    </a:lnTo>
                    <a:lnTo>
                      <a:pt x="3514" y="3616"/>
                    </a:lnTo>
                    <a:lnTo>
                      <a:pt x="3496" y="3622"/>
                    </a:lnTo>
                    <a:lnTo>
                      <a:pt x="3496" y="3622"/>
                    </a:lnTo>
                    <a:lnTo>
                      <a:pt x="3492" y="3622"/>
                    </a:lnTo>
                    <a:lnTo>
                      <a:pt x="3488" y="3620"/>
                    </a:lnTo>
                    <a:lnTo>
                      <a:pt x="3480" y="3612"/>
                    </a:lnTo>
                    <a:lnTo>
                      <a:pt x="3480" y="3612"/>
                    </a:lnTo>
                    <a:lnTo>
                      <a:pt x="3476" y="3608"/>
                    </a:lnTo>
                    <a:lnTo>
                      <a:pt x="3474" y="3604"/>
                    </a:lnTo>
                    <a:lnTo>
                      <a:pt x="3474" y="3604"/>
                    </a:lnTo>
                    <a:lnTo>
                      <a:pt x="3472" y="3602"/>
                    </a:lnTo>
                    <a:lnTo>
                      <a:pt x="3470" y="3602"/>
                    </a:lnTo>
                    <a:lnTo>
                      <a:pt x="3468" y="3604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68" y="3612"/>
                    </a:lnTo>
                    <a:lnTo>
                      <a:pt x="3464" y="3612"/>
                    </a:lnTo>
                    <a:lnTo>
                      <a:pt x="3460" y="3610"/>
                    </a:lnTo>
                    <a:lnTo>
                      <a:pt x="3456" y="3608"/>
                    </a:lnTo>
                    <a:lnTo>
                      <a:pt x="3456" y="3608"/>
                    </a:lnTo>
                    <a:lnTo>
                      <a:pt x="3458" y="3604"/>
                    </a:lnTo>
                    <a:lnTo>
                      <a:pt x="3460" y="3604"/>
                    </a:lnTo>
                    <a:lnTo>
                      <a:pt x="3460" y="3602"/>
                    </a:lnTo>
                    <a:lnTo>
                      <a:pt x="3460" y="3600"/>
                    </a:lnTo>
                    <a:lnTo>
                      <a:pt x="3460" y="3600"/>
                    </a:lnTo>
                    <a:lnTo>
                      <a:pt x="3458" y="3600"/>
                    </a:lnTo>
                    <a:lnTo>
                      <a:pt x="3454" y="3600"/>
                    </a:lnTo>
                    <a:lnTo>
                      <a:pt x="3452" y="3600"/>
                    </a:lnTo>
                    <a:lnTo>
                      <a:pt x="3452" y="3596"/>
                    </a:lnTo>
                    <a:lnTo>
                      <a:pt x="3452" y="3596"/>
                    </a:lnTo>
                    <a:lnTo>
                      <a:pt x="3452" y="3590"/>
                    </a:lnTo>
                    <a:lnTo>
                      <a:pt x="3450" y="3588"/>
                    </a:lnTo>
                    <a:lnTo>
                      <a:pt x="3444" y="3584"/>
                    </a:lnTo>
                    <a:lnTo>
                      <a:pt x="3444" y="3584"/>
                    </a:lnTo>
                    <a:lnTo>
                      <a:pt x="3440" y="3578"/>
                    </a:lnTo>
                    <a:lnTo>
                      <a:pt x="3432" y="3568"/>
                    </a:lnTo>
                    <a:lnTo>
                      <a:pt x="3422" y="3558"/>
                    </a:lnTo>
                    <a:lnTo>
                      <a:pt x="3412" y="3544"/>
                    </a:lnTo>
                    <a:lnTo>
                      <a:pt x="3412" y="3544"/>
                    </a:lnTo>
                    <a:lnTo>
                      <a:pt x="3406" y="3534"/>
                    </a:lnTo>
                    <a:lnTo>
                      <a:pt x="3404" y="3528"/>
                    </a:lnTo>
                    <a:lnTo>
                      <a:pt x="3404" y="3522"/>
                    </a:lnTo>
                    <a:lnTo>
                      <a:pt x="3400" y="3516"/>
                    </a:lnTo>
                    <a:lnTo>
                      <a:pt x="3400" y="3516"/>
                    </a:lnTo>
                    <a:lnTo>
                      <a:pt x="3396" y="3512"/>
                    </a:lnTo>
                    <a:lnTo>
                      <a:pt x="3392" y="3504"/>
                    </a:lnTo>
                    <a:lnTo>
                      <a:pt x="3392" y="3504"/>
                    </a:lnTo>
                    <a:lnTo>
                      <a:pt x="3392" y="3498"/>
                    </a:lnTo>
                    <a:lnTo>
                      <a:pt x="3392" y="3492"/>
                    </a:lnTo>
                    <a:lnTo>
                      <a:pt x="3396" y="3486"/>
                    </a:lnTo>
                    <a:lnTo>
                      <a:pt x="3398" y="3484"/>
                    </a:lnTo>
                    <a:lnTo>
                      <a:pt x="3398" y="3484"/>
                    </a:lnTo>
                    <a:lnTo>
                      <a:pt x="3400" y="3482"/>
                    </a:lnTo>
                    <a:lnTo>
                      <a:pt x="3400" y="3478"/>
                    </a:lnTo>
                    <a:lnTo>
                      <a:pt x="3398" y="3474"/>
                    </a:lnTo>
                    <a:lnTo>
                      <a:pt x="3396" y="3472"/>
                    </a:lnTo>
                    <a:lnTo>
                      <a:pt x="3396" y="3472"/>
                    </a:lnTo>
                    <a:lnTo>
                      <a:pt x="3396" y="3470"/>
                    </a:lnTo>
                    <a:lnTo>
                      <a:pt x="3394" y="3470"/>
                    </a:lnTo>
                    <a:lnTo>
                      <a:pt x="3396" y="3464"/>
                    </a:lnTo>
                    <a:lnTo>
                      <a:pt x="3400" y="3452"/>
                    </a:lnTo>
                    <a:lnTo>
                      <a:pt x="3400" y="3452"/>
                    </a:lnTo>
                    <a:lnTo>
                      <a:pt x="3400" y="3446"/>
                    </a:lnTo>
                    <a:lnTo>
                      <a:pt x="3402" y="3444"/>
                    </a:lnTo>
                    <a:lnTo>
                      <a:pt x="3404" y="3444"/>
                    </a:lnTo>
                    <a:lnTo>
                      <a:pt x="3404" y="3444"/>
                    </a:lnTo>
                    <a:lnTo>
                      <a:pt x="3408" y="3444"/>
                    </a:lnTo>
                    <a:lnTo>
                      <a:pt x="3406" y="3438"/>
                    </a:lnTo>
                    <a:lnTo>
                      <a:pt x="3406" y="3438"/>
                    </a:lnTo>
                    <a:lnTo>
                      <a:pt x="3406" y="3424"/>
                    </a:lnTo>
                    <a:lnTo>
                      <a:pt x="3404" y="3404"/>
                    </a:lnTo>
                    <a:lnTo>
                      <a:pt x="3404" y="3404"/>
                    </a:lnTo>
                    <a:lnTo>
                      <a:pt x="3402" y="3396"/>
                    </a:lnTo>
                    <a:lnTo>
                      <a:pt x="3404" y="3392"/>
                    </a:lnTo>
                    <a:lnTo>
                      <a:pt x="3406" y="3386"/>
                    </a:lnTo>
                    <a:lnTo>
                      <a:pt x="3408" y="3378"/>
                    </a:lnTo>
                    <a:lnTo>
                      <a:pt x="3408" y="3378"/>
                    </a:lnTo>
                    <a:lnTo>
                      <a:pt x="3410" y="3368"/>
                    </a:lnTo>
                    <a:lnTo>
                      <a:pt x="3414" y="3358"/>
                    </a:lnTo>
                    <a:lnTo>
                      <a:pt x="3418" y="3350"/>
                    </a:lnTo>
                    <a:lnTo>
                      <a:pt x="3418" y="3346"/>
                    </a:lnTo>
                    <a:lnTo>
                      <a:pt x="3418" y="3342"/>
                    </a:lnTo>
                    <a:lnTo>
                      <a:pt x="3418" y="3342"/>
                    </a:lnTo>
                    <a:lnTo>
                      <a:pt x="3416" y="3334"/>
                    </a:lnTo>
                    <a:lnTo>
                      <a:pt x="3416" y="3328"/>
                    </a:lnTo>
                    <a:lnTo>
                      <a:pt x="3418" y="3324"/>
                    </a:lnTo>
                    <a:lnTo>
                      <a:pt x="3420" y="3318"/>
                    </a:lnTo>
                    <a:lnTo>
                      <a:pt x="3420" y="3318"/>
                    </a:lnTo>
                    <a:lnTo>
                      <a:pt x="3420" y="3314"/>
                    </a:lnTo>
                    <a:lnTo>
                      <a:pt x="3418" y="3310"/>
                    </a:lnTo>
                    <a:lnTo>
                      <a:pt x="3412" y="3304"/>
                    </a:lnTo>
                    <a:lnTo>
                      <a:pt x="3406" y="3300"/>
                    </a:lnTo>
                    <a:lnTo>
                      <a:pt x="3406" y="3300"/>
                    </a:lnTo>
                    <a:lnTo>
                      <a:pt x="3388" y="3290"/>
                    </a:lnTo>
                    <a:lnTo>
                      <a:pt x="3380" y="3280"/>
                    </a:lnTo>
                    <a:lnTo>
                      <a:pt x="3380" y="3280"/>
                    </a:lnTo>
                    <a:lnTo>
                      <a:pt x="3372" y="3274"/>
                    </a:lnTo>
                    <a:lnTo>
                      <a:pt x="3360" y="3270"/>
                    </a:lnTo>
                    <a:lnTo>
                      <a:pt x="3350" y="3268"/>
                    </a:lnTo>
                    <a:lnTo>
                      <a:pt x="3344" y="3268"/>
                    </a:lnTo>
                    <a:lnTo>
                      <a:pt x="3344" y="3268"/>
                    </a:lnTo>
                    <a:lnTo>
                      <a:pt x="3340" y="3270"/>
                    </a:lnTo>
                    <a:lnTo>
                      <a:pt x="3334" y="3270"/>
                    </a:lnTo>
                    <a:lnTo>
                      <a:pt x="3326" y="3270"/>
                    </a:lnTo>
                    <a:lnTo>
                      <a:pt x="3320" y="3268"/>
                    </a:lnTo>
                    <a:lnTo>
                      <a:pt x="3320" y="3268"/>
                    </a:lnTo>
                    <a:lnTo>
                      <a:pt x="3308" y="3264"/>
                    </a:lnTo>
                    <a:lnTo>
                      <a:pt x="3306" y="3264"/>
                    </a:lnTo>
                    <a:lnTo>
                      <a:pt x="3308" y="3266"/>
                    </a:lnTo>
                    <a:lnTo>
                      <a:pt x="3308" y="3266"/>
                    </a:lnTo>
                    <a:lnTo>
                      <a:pt x="3308" y="3268"/>
                    </a:lnTo>
                    <a:lnTo>
                      <a:pt x="3308" y="3270"/>
                    </a:lnTo>
                    <a:lnTo>
                      <a:pt x="3304" y="3272"/>
                    </a:lnTo>
                    <a:lnTo>
                      <a:pt x="3292" y="3276"/>
                    </a:lnTo>
                    <a:lnTo>
                      <a:pt x="3292" y="3276"/>
                    </a:lnTo>
                    <a:lnTo>
                      <a:pt x="3278" y="3278"/>
                    </a:lnTo>
                    <a:lnTo>
                      <a:pt x="3266" y="3276"/>
                    </a:lnTo>
                    <a:lnTo>
                      <a:pt x="3258" y="3274"/>
                    </a:lnTo>
                    <a:lnTo>
                      <a:pt x="3248" y="3274"/>
                    </a:lnTo>
                    <a:lnTo>
                      <a:pt x="3248" y="3274"/>
                    </a:lnTo>
                    <a:lnTo>
                      <a:pt x="3244" y="3276"/>
                    </a:lnTo>
                    <a:lnTo>
                      <a:pt x="3242" y="3274"/>
                    </a:lnTo>
                    <a:lnTo>
                      <a:pt x="3240" y="3272"/>
                    </a:lnTo>
                    <a:lnTo>
                      <a:pt x="3238" y="3270"/>
                    </a:lnTo>
                    <a:lnTo>
                      <a:pt x="3238" y="3270"/>
                    </a:lnTo>
                    <a:lnTo>
                      <a:pt x="3236" y="3270"/>
                    </a:lnTo>
                    <a:lnTo>
                      <a:pt x="3232" y="3272"/>
                    </a:lnTo>
                    <a:lnTo>
                      <a:pt x="3226" y="3276"/>
                    </a:lnTo>
                    <a:lnTo>
                      <a:pt x="3222" y="3282"/>
                    </a:lnTo>
                    <a:lnTo>
                      <a:pt x="3218" y="3282"/>
                    </a:lnTo>
                    <a:lnTo>
                      <a:pt x="3216" y="3280"/>
                    </a:lnTo>
                    <a:lnTo>
                      <a:pt x="3216" y="3280"/>
                    </a:lnTo>
                    <a:lnTo>
                      <a:pt x="3206" y="3272"/>
                    </a:lnTo>
                    <a:lnTo>
                      <a:pt x="3202" y="3268"/>
                    </a:lnTo>
                    <a:lnTo>
                      <a:pt x="3200" y="3268"/>
                    </a:lnTo>
                    <a:lnTo>
                      <a:pt x="3202" y="3270"/>
                    </a:lnTo>
                    <a:lnTo>
                      <a:pt x="3202" y="3270"/>
                    </a:lnTo>
                    <a:lnTo>
                      <a:pt x="3204" y="3274"/>
                    </a:lnTo>
                    <a:lnTo>
                      <a:pt x="3202" y="3280"/>
                    </a:lnTo>
                    <a:lnTo>
                      <a:pt x="3202" y="3280"/>
                    </a:lnTo>
                    <a:lnTo>
                      <a:pt x="3200" y="3282"/>
                    </a:lnTo>
                    <a:lnTo>
                      <a:pt x="3198" y="3280"/>
                    </a:lnTo>
                    <a:lnTo>
                      <a:pt x="3194" y="3274"/>
                    </a:lnTo>
                    <a:lnTo>
                      <a:pt x="3188" y="3270"/>
                    </a:lnTo>
                    <a:lnTo>
                      <a:pt x="3188" y="3270"/>
                    </a:lnTo>
                    <a:lnTo>
                      <a:pt x="3188" y="3268"/>
                    </a:lnTo>
                    <a:lnTo>
                      <a:pt x="3190" y="3264"/>
                    </a:lnTo>
                    <a:lnTo>
                      <a:pt x="3196" y="3256"/>
                    </a:lnTo>
                    <a:lnTo>
                      <a:pt x="3202" y="3250"/>
                    </a:lnTo>
                    <a:lnTo>
                      <a:pt x="3208" y="3242"/>
                    </a:lnTo>
                    <a:lnTo>
                      <a:pt x="3208" y="3242"/>
                    </a:lnTo>
                    <a:lnTo>
                      <a:pt x="3212" y="3236"/>
                    </a:lnTo>
                    <a:lnTo>
                      <a:pt x="3214" y="3228"/>
                    </a:lnTo>
                    <a:lnTo>
                      <a:pt x="3216" y="3206"/>
                    </a:lnTo>
                    <a:lnTo>
                      <a:pt x="3218" y="3182"/>
                    </a:lnTo>
                    <a:lnTo>
                      <a:pt x="3222" y="3160"/>
                    </a:lnTo>
                    <a:lnTo>
                      <a:pt x="3222" y="3160"/>
                    </a:lnTo>
                    <a:lnTo>
                      <a:pt x="3222" y="3154"/>
                    </a:lnTo>
                    <a:lnTo>
                      <a:pt x="3220" y="3150"/>
                    </a:lnTo>
                    <a:lnTo>
                      <a:pt x="3218" y="3148"/>
                    </a:lnTo>
                    <a:lnTo>
                      <a:pt x="3216" y="3148"/>
                    </a:lnTo>
                    <a:lnTo>
                      <a:pt x="3216" y="3148"/>
                    </a:lnTo>
                    <a:lnTo>
                      <a:pt x="3214" y="3150"/>
                    </a:lnTo>
                    <a:lnTo>
                      <a:pt x="3212" y="3150"/>
                    </a:lnTo>
                    <a:lnTo>
                      <a:pt x="3212" y="3144"/>
                    </a:lnTo>
                    <a:lnTo>
                      <a:pt x="3212" y="3144"/>
                    </a:lnTo>
                    <a:lnTo>
                      <a:pt x="3220" y="3128"/>
                    </a:lnTo>
                    <a:lnTo>
                      <a:pt x="3220" y="3128"/>
                    </a:lnTo>
                    <a:lnTo>
                      <a:pt x="3222" y="3124"/>
                    </a:lnTo>
                    <a:lnTo>
                      <a:pt x="3224" y="3124"/>
                    </a:lnTo>
                    <a:lnTo>
                      <a:pt x="3224" y="3128"/>
                    </a:lnTo>
                    <a:lnTo>
                      <a:pt x="3222" y="3134"/>
                    </a:lnTo>
                    <a:lnTo>
                      <a:pt x="3222" y="3134"/>
                    </a:lnTo>
                    <a:lnTo>
                      <a:pt x="3222" y="3140"/>
                    </a:lnTo>
                    <a:lnTo>
                      <a:pt x="3224" y="3144"/>
                    </a:lnTo>
                    <a:lnTo>
                      <a:pt x="3226" y="3148"/>
                    </a:lnTo>
                    <a:lnTo>
                      <a:pt x="3230" y="3154"/>
                    </a:lnTo>
                    <a:lnTo>
                      <a:pt x="3230" y="3154"/>
                    </a:lnTo>
                    <a:lnTo>
                      <a:pt x="3232" y="3156"/>
                    </a:lnTo>
                    <a:lnTo>
                      <a:pt x="3232" y="3152"/>
                    </a:lnTo>
                    <a:lnTo>
                      <a:pt x="3236" y="3138"/>
                    </a:lnTo>
                    <a:lnTo>
                      <a:pt x="3242" y="3118"/>
                    </a:lnTo>
                    <a:lnTo>
                      <a:pt x="3244" y="3104"/>
                    </a:lnTo>
                    <a:lnTo>
                      <a:pt x="3244" y="3104"/>
                    </a:lnTo>
                    <a:lnTo>
                      <a:pt x="3246" y="3102"/>
                    </a:lnTo>
                    <a:lnTo>
                      <a:pt x="3244" y="3102"/>
                    </a:lnTo>
                    <a:lnTo>
                      <a:pt x="3240" y="3102"/>
                    </a:lnTo>
                    <a:lnTo>
                      <a:pt x="3238" y="3102"/>
                    </a:lnTo>
                    <a:lnTo>
                      <a:pt x="3242" y="3098"/>
                    </a:lnTo>
                    <a:lnTo>
                      <a:pt x="3242" y="3098"/>
                    </a:lnTo>
                    <a:lnTo>
                      <a:pt x="3250" y="3088"/>
                    </a:lnTo>
                    <a:lnTo>
                      <a:pt x="3248" y="3086"/>
                    </a:lnTo>
                    <a:lnTo>
                      <a:pt x="3244" y="3088"/>
                    </a:lnTo>
                    <a:lnTo>
                      <a:pt x="3244" y="3088"/>
                    </a:lnTo>
                    <a:lnTo>
                      <a:pt x="3238" y="3090"/>
                    </a:lnTo>
                    <a:lnTo>
                      <a:pt x="3236" y="3088"/>
                    </a:lnTo>
                    <a:lnTo>
                      <a:pt x="3236" y="3084"/>
                    </a:lnTo>
                    <a:lnTo>
                      <a:pt x="3242" y="3078"/>
                    </a:lnTo>
                    <a:lnTo>
                      <a:pt x="3242" y="3078"/>
                    </a:lnTo>
                    <a:lnTo>
                      <a:pt x="3246" y="3076"/>
                    </a:lnTo>
                    <a:lnTo>
                      <a:pt x="3248" y="3072"/>
                    </a:lnTo>
                    <a:lnTo>
                      <a:pt x="3248" y="3064"/>
                    </a:lnTo>
                    <a:lnTo>
                      <a:pt x="3252" y="3050"/>
                    </a:lnTo>
                    <a:lnTo>
                      <a:pt x="3256" y="3040"/>
                    </a:lnTo>
                    <a:lnTo>
                      <a:pt x="3264" y="3030"/>
                    </a:lnTo>
                    <a:lnTo>
                      <a:pt x="3264" y="3030"/>
                    </a:lnTo>
                    <a:lnTo>
                      <a:pt x="3274" y="3016"/>
                    </a:lnTo>
                    <a:lnTo>
                      <a:pt x="3276" y="3010"/>
                    </a:lnTo>
                    <a:lnTo>
                      <a:pt x="3274" y="3006"/>
                    </a:lnTo>
                    <a:lnTo>
                      <a:pt x="3272" y="3002"/>
                    </a:lnTo>
                    <a:lnTo>
                      <a:pt x="3272" y="3002"/>
                    </a:lnTo>
                    <a:lnTo>
                      <a:pt x="3272" y="2996"/>
                    </a:lnTo>
                    <a:lnTo>
                      <a:pt x="3272" y="2994"/>
                    </a:lnTo>
                    <a:lnTo>
                      <a:pt x="3268" y="2992"/>
                    </a:lnTo>
                    <a:lnTo>
                      <a:pt x="3266" y="2988"/>
                    </a:lnTo>
                    <a:lnTo>
                      <a:pt x="3266" y="2988"/>
                    </a:lnTo>
                    <a:lnTo>
                      <a:pt x="3264" y="2986"/>
                    </a:lnTo>
                    <a:lnTo>
                      <a:pt x="3260" y="2986"/>
                    </a:lnTo>
                    <a:lnTo>
                      <a:pt x="3256" y="2986"/>
                    </a:lnTo>
                    <a:lnTo>
                      <a:pt x="3252" y="2988"/>
                    </a:lnTo>
                    <a:lnTo>
                      <a:pt x="3252" y="2988"/>
                    </a:lnTo>
                    <a:lnTo>
                      <a:pt x="3254" y="2990"/>
                    </a:lnTo>
                    <a:lnTo>
                      <a:pt x="3254" y="2990"/>
                    </a:lnTo>
                    <a:lnTo>
                      <a:pt x="3260" y="2990"/>
                    </a:lnTo>
                    <a:lnTo>
                      <a:pt x="3260" y="2992"/>
                    </a:lnTo>
                    <a:lnTo>
                      <a:pt x="3256" y="2994"/>
                    </a:lnTo>
                    <a:lnTo>
                      <a:pt x="3256" y="2994"/>
                    </a:lnTo>
                    <a:lnTo>
                      <a:pt x="3254" y="2994"/>
                    </a:lnTo>
                    <a:lnTo>
                      <a:pt x="3250" y="2994"/>
                    </a:lnTo>
                    <a:lnTo>
                      <a:pt x="3242" y="2990"/>
                    </a:lnTo>
                    <a:lnTo>
                      <a:pt x="3230" y="2988"/>
                    </a:lnTo>
                    <a:lnTo>
                      <a:pt x="3222" y="2986"/>
                    </a:lnTo>
                    <a:lnTo>
                      <a:pt x="3214" y="2986"/>
                    </a:lnTo>
                    <a:lnTo>
                      <a:pt x="3214" y="2986"/>
                    </a:lnTo>
                    <a:lnTo>
                      <a:pt x="3202" y="2990"/>
                    </a:lnTo>
                    <a:lnTo>
                      <a:pt x="3196" y="2992"/>
                    </a:lnTo>
                    <a:lnTo>
                      <a:pt x="3190" y="2996"/>
                    </a:lnTo>
                    <a:lnTo>
                      <a:pt x="3180" y="2998"/>
                    </a:lnTo>
                    <a:lnTo>
                      <a:pt x="3180" y="2998"/>
                    </a:lnTo>
                    <a:lnTo>
                      <a:pt x="3162" y="3000"/>
                    </a:lnTo>
                    <a:lnTo>
                      <a:pt x="3146" y="3004"/>
                    </a:lnTo>
                    <a:lnTo>
                      <a:pt x="3140" y="3008"/>
                    </a:lnTo>
                    <a:lnTo>
                      <a:pt x="3134" y="3012"/>
                    </a:lnTo>
                    <a:lnTo>
                      <a:pt x="3130" y="3016"/>
                    </a:lnTo>
                    <a:lnTo>
                      <a:pt x="3130" y="3020"/>
                    </a:lnTo>
                    <a:lnTo>
                      <a:pt x="3130" y="3020"/>
                    </a:lnTo>
                    <a:lnTo>
                      <a:pt x="3128" y="3028"/>
                    </a:lnTo>
                    <a:lnTo>
                      <a:pt x="3126" y="3034"/>
                    </a:lnTo>
                    <a:lnTo>
                      <a:pt x="3124" y="3040"/>
                    </a:lnTo>
                    <a:lnTo>
                      <a:pt x="3124" y="3056"/>
                    </a:lnTo>
                    <a:lnTo>
                      <a:pt x="3124" y="3056"/>
                    </a:lnTo>
                    <a:lnTo>
                      <a:pt x="3126" y="3068"/>
                    </a:lnTo>
                    <a:lnTo>
                      <a:pt x="3124" y="3070"/>
                    </a:lnTo>
                    <a:lnTo>
                      <a:pt x="3122" y="3072"/>
                    </a:lnTo>
                    <a:lnTo>
                      <a:pt x="3118" y="3076"/>
                    </a:lnTo>
                    <a:lnTo>
                      <a:pt x="3116" y="3080"/>
                    </a:lnTo>
                    <a:lnTo>
                      <a:pt x="3116" y="3088"/>
                    </a:lnTo>
                    <a:lnTo>
                      <a:pt x="3116" y="3088"/>
                    </a:lnTo>
                    <a:lnTo>
                      <a:pt x="3114" y="3096"/>
                    </a:lnTo>
                    <a:lnTo>
                      <a:pt x="3112" y="3102"/>
                    </a:lnTo>
                    <a:lnTo>
                      <a:pt x="3108" y="3108"/>
                    </a:lnTo>
                    <a:lnTo>
                      <a:pt x="3104" y="3112"/>
                    </a:lnTo>
                    <a:lnTo>
                      <a:pt x="3094" y="3118"/>
                    </a:lnTo>
                    <a:lnTo>
                      <a:pt x="3086" y="3122"/>
                    </a:lnTo>
                    <a:lnTo>
                      <a:pt x="3086" y="3122"/>
                    </a:lnTo>
                    <a:lnTo>
                      <a:pt x="3084" y="3126"/>
                    </a:lnTo>
                    <a:lnTo>
                      <a:pt x="3084" y="3126"/>
                    </a:lnTo>
                    <a:lnTo>
                      <a:pt x="3088" y="3128"/>
                    </a:lnTo>
                    <a:lnTo>
                      <a:pt x="3092" y="3132"/>
                    </a:lnTo>
                    <a:lnTo>
                      <a:pt x="3092" y="3134"/>
                    </a:lnTo>
                    <a:lnTo>
                      <a:pt x="3090" y="3138"/>
                    </a:lnTo>
                    <a:lnTo>
                      <a:pt x="3090" y="3138"/>
                    </a:lnTo>
                    <a:lnTo>
                      <a:pt x="3086" y="3142"/>
                    </a:lnTo>
                    <a:lnTo>
                      <a:pt x="3078" y="3144"/>
                    </a:lnTo>
                    <a:lnTo>
                      <a:pt x="3072" y="3144"/>
                    </a:lnTo>
                    <a:lnTo>
                      <a:pt x="3070" y="3142"/>
                    </a:lnTo>
                    <a:lnTo>
                      <a:pt x="3070" y="3140"/>
                    </a:lnTo>
                    <a:lnTo>
                      <a:pt x="3070" y="3140"/>
                    </a:lnTo>
                    <a:lnTo>
                      <a:pt x="3068" y="3134"/>
                    </a:lnTo>
                    <a:lnTo>
                      <a:pt x="3066" y="3132"/>
                    </a:lnTo>
                    <a:lnTo>
                      <a:pt x="3058" y="3132"/>
                    </a:lnTo>
                    <a:lnTo>
                      <a:pt x="3046" y="3132"/>
                    </a:lnTo>
                    <a:lnTo>
                      <a:pt x="3046" y="3132"/>
                    </a:lnTo>
                    <a:lnTo>
                      <a:pt x="3038" y="3134"/>
                    </a:lnTo>
                    <a:lnTo>
                      <a:pt x="3034" y="3138"/>
                    </a:lnTo>
                    <a:lnTo>
                      <a:pt x="3028" y="3142"/>
                    </a:lnTo>
                    <a:lnTo>
                      <a:pt x="3010" y="3144"/>
                    </a:lnTo>
                    <a:lnTo>
                      <a:pt x="3010" y="3144"/>
                    </a:lnTo>
                    <a:lnTo>
                      <a:pt x="2996" y="3146"/>
                    </a:lnTo>
                    <a:lnTo>
                      <a:pt x="2986" y="3152"/>
                    </a:lnTo>
                    <a:lnTo>
                      <a:pt x="2978" y="3156"/>
                    </a:lnTo>
                    <a:lnTo>
                      <a:pt x="2968" y="3160"/>
                    </a:lnTo>
                    <a:lnTo>
                      <a:pt x="2968" y="3160"/>
                    </a:lnTo>
                    <a:lnTo>
                      <a:pt x="2964" y="3160"/>
                    </a:lnTo>
                    <a:lnTo>
                      <a:pt x="2960" y="3158"/>
                    </a:lnTo>
                    <a:lnTo>
                      <a:pt x="2956" y="3148"/>
                    </a:lnTo>
                    <a:lnTo>
                      <a:pt x="2952" y="3144"/>
                    </a:lnTo>
                    <a:lnTo>
                      <a:pt x="2946" y="3138"/>
                    </a:lnTo>
                    <a:lnTo>
                      <a:pt x="2938" y="3134"/>
                    </a:lnTo>
                    <a:lnTo>
                      <a:pt x="2924" y="3130"/>
                    </a:lnTo>
                    <a:lnTo>
                      <a:pt x="2924" y="3130"/>
                    </a:lnTo>
                    <a:lnTo>
                      <a:pt x="2912" y="3126"/>
                    </a:lnTo>
                    <a:lnTo>
                      <a:pt x="2904" y="3120"/>
                    </a:lnTo>
                    <a:lnTo>
                      <a:pt x="2898" y="3112"/>
                    </a:lnTo>
                    <a:lnTo>
                      <a:pt x="2894" y="3102"/>
                    </a:lnTo>
                    <a:lnTo>
                      <a:pt x="2884" y="3076"/>
                    </a:lnTo>
                    <a:lnTo>
                      <a:pt x="2876" y="3062"/>
                    </a:lnTo>
                    <a:lnTo>
                      <a:pt x="2864" y="3046"/>
                    </a:lnTo>
                    <a:lnTo>
                      <a:pt x="2864" y="3046"/>
                    </a:lnTo>
                    <a:lnTo>
                      <a:pt x="2858" y="3036"/>
                    </a:lnTo>
                    <a:lnTo>
                      <a:pt x="2852" y="3028"/>
                    </a:lnTo>
                    <a:lnTo>
                      <a:pt x="2848" y="3010"/>
                    </a:lnTo>
                    <a:lnTo>
                      <a:pt x="2844" y="2998"/>
                    </a:lnTo>
                    <a:lnTo>
                      <a:pt x="2844" y="2994"/>
                    </a:lnTo>
                    <a:lnTo>
                      <a:pt x="2842" y="2992"/>
                    </a:lnTo>
                    <a:lnTo>
                      <a:pt x="2842" y="2992"/>
                    </a:lnTo>
                    <a:lnTo>
                      <a:pt x="2838" y="2990"/>
                    </a:lnTo>
                    <a:lnTo>
                      <a:pt x="2836" y="2988"/>
                    </a:lnTo>
                    <a:lnTo>
                      <a:pt x="2834" y="2976"/>
                    </a:lnTo>
                    <a:lnTo>
                      <a:pt x="2830" y="2948"/>
                    </a:lnTo>
                    <a:lnTo>
                      <a:pt x="2830" y="2948"/>
                    </a:lnTo>
                    <a:lnTo>
                      <a:pt x="2830" y="2938"/>
                    </a:lnTo>
                    <a:lnTo>
                      <a:pt x="2828" y="2934"/>
                    </a:lnTo>
                    <a:lnTo>
                      <a:pt x="2828" y="2932"/>
                    </a:lnTo>
                    <a:lnTo>
                      <a:pt x="2830" y="2926"/>
                    </a:lnTo>
                    <a:lnTo>
                      <a:pt x="2830" y="2926"/>
                    </a:lnTo>
                    <a:lnTo>
                      <a:pt x="2830" y="2916"/>
                    </a:lnTo>
                    <a:lnTo>
                      <a:pt x="2830" y="2906"/>
                    </a:lnTo>
                    <a:lnTo>
                      <a:pt x="2830" y="2886"/>
                    </a:lnTo>
                    <a:lnTo>
                      <a:pt x="2834" y="2854"/>
                    </a:lnTo>
                    <a:lnTo>
                      <a:pt x="2834" y="2854"/>
                    </a:lnTo>
                    <a:lnTo>
                      <a:pt x="2840" y="2820"/>
                    </a:lnTo>
                    <a:lnTo>
                      <a:pt x="2846" y="2800"/>
                    </a:lnTo>
                    <a:lnTo>
                      <a:pt x="2852" y="2784"/>
                    </a:lnTo>
                    <a:lnTo>
                      <a:pt x="2856" y="2766"/>
                    </a:lnTo>
                    <a:lnTo>
                      <a:pt x="2856" y="2766"/>
                    </a:lnTo>
                    <a:lnTo>
                      <a:pt x="2854" y="2748"/>
                    </a:lnTo>
                    <a:lnTo>
                      <a:pt x="2850" y="2728"/>
                    </a:lnTo>
                    <a:lnTo>
                      <a:pt x="2846" y="2710"/>
                    </a:lnTo>
                    <a:lnTo>
                      <a:pt x="2846" y="2696"/>
                    </a:lnTo>
                    <a:lnTo>
                      <a:pt x="2846" y="2696"/>
                    </a:lnTo>
                    <a:lnTo>
                      <a:pt x="2850" y="2686"/>
                    </a:lnTo>
                    <a:lnTo>
                      <a:pt x="2854" y="2678"/>
                    </a:lnTo>
                    <a:lnTo>
                      <a:pt x="2858" y="2672"/>
                    </a:lnTo>
                    <a:lnTo>
                      <a:pt x="2864" y="2662"/>
                    </a:lnTo>
                    <a:lnTo>
                      <a:pt x="2864" y="2662"/>
                    </a:lnTo>
                    <a:lnTo>
                      <a:pt x="2866" y="2658"/>
                    </a:lnTo>
                    <a:lnTo>
                      <a:pt x="2870" y="2654"/>
                    </a:lnTo>
                    <a:lnTo>
                      <a:pt x="2880" y="2646"/>
                    </a:lnTo>
                    <a:lnTo>
                      <a:pt x="2886" y="2642"/>
                    </a:lnTo>
                    <a:lnTo>
                      <a:pt x="2888" y="2640"/>
                    </a:lnTo>
                    <a:lnTo>
                      <a:pt x="2886" y="2638"/>
                    </a:lnTo>
                    <a:lnTo>
                      <a:pt x="2886" y="2638"/>
                    </a:lnTo>
                    <a:lnTo>
                      <a:pt x="2880" y="2628"/>
                    </a:lnTo>
                    <a:lnTo>
                      <a:pt x="2878" y="2626"/>
                    </a:lnTo>
                    <a:lnTo>
                      <a:pt x="2882" y="2628"/>
                    </a:lnTo>
                    <a:lnTo>
                      <a:pt x="2882" y="2628"/>
                    </a:lnTo>
                    <a:lnTo>
                      <a:pt x="2886" y="2628"/>
                    </a:lnTo>
                    <a:lnTo>
                      <a:pt x="2890" y="2628"/>
                    </a:lnTo>
                    <a:lnTo>
                      <a:pt x="2892" y="2626"/>
                    </a:lnTo>
                    <a:lnTo>
                      <a:pt x="2894" y="2628"/>
                    </a:lnTo>
                    <a:lnTo>
                      <a:pt x="2894" y="2628"/>
                    </a:lnTo>
                    <a:lnTo>
                      <a:pt x="2896" y="2628"/>
                    </a:lnTo>
                    <a:lnTo>
                      <a:pt x="2902" y="2628"/>
                    </a:lnTo>
                    <a:lnTo>
                      <a:pt x="2912" y="2624"/>
                    </a:lnTo>
                    <a:lnTo>
                      <a:pt x="2926" y="2616"/>
                    </a:lnTo>
                    <a:lnTo>
                      <a:pt x="2936" y="2606"/>
                    </a:lnTo>
                    <a:lnTo>
                      <a:pt x="2936" y="2606"/>
                    </a:lnTo>
                    <a:lnTo>
                      <a:pt x="2942" y="2600"/>
                    </a:lnTo>
                    <a:lnTo>
                      <a:pt x="2948" y="2594"/>
                    </a:lnTo>
                    <a:lnTo>
                      <a:pt x="2964" y="2584"/>
                    </a:lnTo>
                    <a:lnTo>
                      <a:pt x="2964" y="2584"/>
                    </a:lnTo>
                    <a:lnTo>
                      <a:pt x="2980" y="2572"/>
                    </a:lnTo>
                    <a:lnTo>
                      <a:pt x="2990" y="2570"/>
                    </a:lnTo>
                    <a:lnTo>
                      <a:pt x="3006" y="2568"/>
                    </a:lnTo>
                    <a:lnTo>
                      <a:pt x="3006" y="2568"/>
                    </a:lnTo>
                    <a:lnTo>
                      <a:pt x="3014" y="2568"/>
                    </a:lnTo>
                    <a:lnTo>
                      <a:pt x="3020" y="2570"/>
                    </a:lnTo>
                    <a:lnTo>
                      <a:pt x="3032" y="2574"/>
                    </a:lnTo>
                    <a:lnTo>
                      <a:pt x="3040" y="2580"/>
                    </a:lnTo>
                    <a:lnTo>
                      <a:pt x="3046" y="2580"/>
                    </a:lnTo>
                    <a:lnTo>
                      <a:pt x="3050" y="2580"/>
                    </a:lnTo>
                    <a:lnTo>
                      <a:pt x="3050" y="2580"/>
                    </a:lnTo>
                    <a:lnTo>
                      <a:pt x="3060" y="2578"/>
                    </a:lnTo>
                    <a:lnTo>
                      <a:pt x="3064" y="2580"/>
                    </a:lnTo>
                    <a:lnTo>
                      <a:pt x="3068" y="2582"/>
                    </a:lnTo>
                    <a:lnTo>
                      <a:pt x="3072" y="2580"/>
                    </a:lnTo>
                    <a:lnTo>
                      <a:pt x="3072" y="2580"/>
                    </a:lnTo>
                    <a:lnTo>
                      <a:pt x="3074" y="2578"/>
                    </a:lnTo>
                    <a:lnTo>
                      <a:pt x="3072" y="2578"/>
                    </a:lnTo>
                    <a:lnTo>
                      <a:pt x="3066" y="2576"/>
                    </a:lnTo>
                    <a:lnTo>
                      <a:pt x="3058" y="2572"/>
                    </a:lnTo>
                    <a:lnTo>
                      <a:pt x="3058" y="2572"/>
                    </a:lnTo>
                    <a:lnTo>
                      <a:pt x="3060" y="2568"/>
                    </a:lnTo>
                    <a:lnTo>
                      <a:pt x="3060" y="2568"/>
                    </a:lnTo>
                    <a:lnTo>
                      <a:pt x="3068" y="2566"/>
                    </a:lnTo>
                    <a:lnTo>
                      <a:pt x="3074" y="2568"/>
                    </a:lnTo>
                    <a:lnTo>
                      <a:pt x="3078" y="2572"/>
                    </a:lnTo>
                    <a:lnTo>
                      <a:pt x="3082" y="2578"/>
                    </a:lnTo>
                    <a:lnTo>
                      <a:pt x="3082" y="2578"/>
                    </a:lnTo>
                    <a:lnTo>
                      <a:pt x="3084" y="2580"/>
                    </a:lnTo>
                    <a:lnTo>
                      <a:pt x="3086" y="2582"/>
                    </a:lnTo>
                    <a:lnTo>
                      <a:pt x="3092" y="2584"/>
                    </a:lnTo>
                    <a:lnTo>
                      <a:pt x="3096" y="2586"/>
                    </a:lnTo>
                    <a:lnTo>
                      <a:pt x="3094" y="2588"/>
                    </a:lnTo>
                    <a:lnTo>
                      <a:pt x="3092" y="2590"/>
                    </a:lnTo>
                    <a:lnTo>
                      <a:pt x="3092" y="2590"/>
                    </a:lnTo>
                    <a:lnTo>
                      <a:pt x="3092" y="2594"/>
                    </a:lnTo>
                    <a:lnTo>
                      <a:pt x="3094" y="2596"/>
                    </a:lnTo>
                    <a:lnTo>
                      <a:pt x="3102" y="2600"/>
                    </a:lnTo>
                    <a:lnTo>
                      <a:pt x="3112" y="2600"/>
                    </a:lnTo>
                    <a:lnTo>
                      <a:pt x="3118" y="2600"/>
                    </a:lnTo>
                    <a:lnTo>
                      <a:pt x="3118" y="2600"/>
                    </a:lnTo>
                    <a:lnTo>
                      <a:pt x="3120" y="2596"/>
                    </a:lnTo>
                    <a:lnTo>
                      <a:pt x="3126" y="2594"/>
                    </a:lnTo>
                    <a:lnTo>
                      <a:pt x="3130" y="2594"/>
                    </a:lnTo>
                    <a:lnTo>
                      <a:pt x="3134" y="2600"/>
                    </a:lnTo>
                    <a:lnTo>
                      <a:pt x="3134" y="2600"/>
                    </a:lnTo>
                    <a:lnTo>
                      <a:pt x="3136" y="2602"/>
                    </a:lnTo>
                    <a:lnTo>
                      <a:pt x="3138" y="2604"/>
                    </a:lnTo>
                    <a:lnTo>
                      <a:pt x="3142" y="2602"/>
                    </a:lnTo>
                    <a:lnTo>
                      <a:pt x="3144" y="2596"/>
                    </a:lnTo>
                    <a:lnTo>
                      <a:pt x="3144" y="2592"/>
                    </a:lnTo>
                    <a:lnTo>
                      <a:pt x="3142" y="2588"/>
                    </a:lnTo>
                    <a:lnTo>
                      <a:pt x="3142" y="2588"/>
                    </a:lnTo>
                    <a:lnTo>
                      <a:pt x="3142" y="2584"/>
                    </a:lnTo>
                    <a:lnTo>
                      <a:pt x="3146" y="2584"/>
                    </a:lnTo>
                    <a:lnTo>
                      <a:pt x="3152" y="2586"/>
                    </a:lnTo>
                    <a:lnTo>
                      <a:pt x="3160" y="2594"/>
                    </a:lnTo>
                    <a:lnTo>
                      <a:pt x="3160" y="2594"/>
                    </a:lnTo>
                    <a:lnTo>
                      <a:pt x="3166" y="2602"/>
                    </a:lnTo>
                    <a:lnTo>
                      <a:pt x="3168" y="2608"/>
                    </a:lnTo>
                    <a:lnTo>
                      <a:pt x="3168" y="2610"/>
                    </a:lnTo>
                    <a:lnTo>
                      <a:pt x="3170" y="2610"/>
                    </a:lnTo>
                    <a:lnTo>
                      <a:pt x="3176" y="2606"/>
                    </a:lnTo>
                    <a:lnTo>
                      <a:pt x="3176" y="2606"/>
                    </a:lnTo>
                    <a:lnTo>
                      <a:pt x="3180" y="2602"/>
                    </a:lnTo>
                    <a:lnTo>
                      <a:pt x="3182" y="2600"/>
                    </a:lnTo>
                    <a:lnTo>
                      <a:pt x="3182" y="2596"/>
                    </a:lnTo>
                    <a:lnTo>
                      <a:pt x="3180" y="2594"/>
                    </a:lnTo>
                    <a:lnTo>
                      <a:pt x="3174" y="2590"/>
                    </a:lnTo>
                    <a:lnTo>
                      <a:pt x="3162" y="2584"/>
                    </a:lnTo>
                    <a:lnTo>
                      <a:pt x="3162" y="2584"/>
                    </a:lnTo>
                    <a:lnTo>
                      <a:pt x="3158" y="2580"/>
                    </a:lnTo>
                    <a:lnTo>
                      <a:pt x="3158" y="2578"/>
                    </a:lnTo>
                    <a:lnTo>
                      <a:pt x="3160" y="2576"/>
                    </a:lnTo>
                    <a:lnTo>
                      <a:pt x="3164" y="2574"/>
                    </a:lnTo>
                    <a:lnTo>
                      <a:pt x="3170" y="2568"/>
                    </a:lnTo>
                    <a:lnTo>
                      <a:pt x="3172" y="2564"/>
                    </a:lnTo>
                    <a:lnTo>
                      <a:pt x="3172" y="2560"/>
                    </a:lnTo>
                    <a:lnTo>
                      <a:pt x="3172" y="2560"/>
                    </a:lnTo>
                    <a:lnTo>
                      <a:pt x="3170" y="2556"/>
                    </a:lnTo>
                    <a:lnTo>
                      <a:pt x="3168" y="2556"/>
                    </a:lnTo>
                    <a:lnTo>
                      <a:pt x="3164" y="2558"/>
                    </a:lnTo>
                    <a:lnTo>
                      <a:pt x="3160" y="2562"/>
                    </a:lnTo>
                    <a:lnTo>
                      <a:pt x="3158" y="2562"/>
                    </a:lnTo>
                    <a:lnTo>
                      <a:pt x="3156" y="2562"/>
                    </a:lnTo>
                    <a:lnTo>
                      <a:pt x="3156" y="2562"/>
                    </a:lnTo>
                    <a:lnTo>
                      <a:pt x="3154" y="2560"/>
                    </a:lnTo>
                    <a:lnTo>
                      <a:pt x="3154" y="2558"/>
                    </a:lnTo>
                    <a:lnTo>
                      <a:pt x="3156" y="2556"/>
                    </a:lnTo>
                    <a:lnTo>
                      <a:pt x="3158" y="2552"/>
                    </a:lnTo>
                    <a:lnTo>
                      <a:pt x="3154" y="2550"/>
                    </a:lnTo>
                    <a:lnTo>
                      <a:pt x="3154" y="2550"/>
                    </a:lnTo>
                    <a:lnTo>
                      <a:pt x="3148" y="2550"/>
                    </a:lnTo>
                    <a:lnTo>
                      <a:pt x="3144" y="2554"/>
                    </a:lnTo>
                    <a:lnTo>
                      <a:pt x="3142" y="2556"/>
                    </a:lnTo>
                    <a:lnTo>
                      <a:pt x="3134" y="2554"/>
                    </a:lnTo>
                    <a:lnTo>
                      <a:pt x="3134" y="2554"/>
                    </a:lnTo>
                    <a:lnTo>
                      <a:pt x="3130" y="2550"/>
                    </a:lnTo>
                    <a:lnTo>
                      <a:pt x="3128" y="2548"/>
                    </a:lnTo>
                    <a:lnTo>
                      <a:pt x="3128" y="2544"/>
                    </a:lnTo>
                    <a:lnTo>
                      <a:pt x="3130" y="2540"/>
                    </a:lnTo>
                    <a:lnTo>
                      <a:pt x="3132" y="2538"/>
                    </a:lnTo>
                    <a:lnTo>
                      <a:pt x="3136" y="2536"/>
                    </a:lnTo>
                    <a:lnTo>
                      <a:pt x="3142" y="2536"/>
                    </a:lnTo>
                    <a:lnTo>
                      <a:pt x="3148" y="2538"/>
                    </a:lnTo>
                    <a:lnTo>
                      <a:pt x="3148" y="2538"/>
                    </a:lnTo>
                    <a:lnTo>
                      <a:pt x="3156" y="2544"/>
                    </a:lnTo>
                    <a:lnTo>
                      <a:pt x="3164" y="2546"/>
                    </a:lnTo>
                    <a:lnTo>
                      <a:pt x="3170" y="2544"/>
                    </a:lnTo>
                    <a:lnTo>
                      <a:pt x="3178" y="2538"/>
                    </a:lnTo>
                    <a:lnTo>
                      <a:pt x="3178" y="2538"/>
                    </a:lnTo>
                    <a:lnTo>
                      <a:pt x="3182" y="2536"/>
                    </a:lnTo>
                    <a:lnTo>
                      <a:pt x="3190" y="2536"/>
                    </a:lnTo>
                    <a:lnTo>
                      <a:pt x="3202" y="2536"/>
                    </a:lnTo>
                    <a:lnTo>
                      <a:pt x="3214" y="2538"/>
                    </a:lnTo>
                    <a:lnTo>
                      <a:pt x="3218" y="2538"/>
                    </a:lnTo>
                    <a:lnTo>
                      <a:pt x="3220" y="2536"/>
                    </a:lnTo>
                    <a:lnTo>
                      <a:pt x="3220" y="2536"/>
                    </a:lnTo>
                    <a:lnTo>
                      <a:pt x="3222" y="2522"/>
                    </a:lnTo>
                    <a:lnTo>
                      <a:pt x="3224" y="2520"/>
                    </a:lnTo>
                    <a:lnTo>
                      <a:pt x="3226" y="2522"/>
                    </a:lnTo>
                    <a:lnTo>
                      <a:pt x="3232" y="2534"/>
                    </a:lnTo>
                    <a:lnTo>
                      <a:pt x="3232" y="2534"/>
                    </a:lnTo>
                    <a:lnTo>
                      <a:pt x="3232" y="2538"/>
                    </a:lnTo>
                    <a:lnTo>
                      <a:pt x="3230" y="2540"/>
                    </a:lnTo>
                    <a:lnTo>
                      <a:pt x="3226" y="2544"/>
                    </a:lnTo>
                    <a:lnTo>
                      <a:pt x="3224" y="2546"/>
                    </a:lnTo>
                    <a:lnTo>
                      <a:pt x="3234" y="2544"/>
                    </a:lnTo>
                    <a:lnTo>
                      <a:pt x="3234" y="2544"/>
                    </a:lnTo>
                    <a:lnTo>
                      <a:pt x="3268" y="2536"/>
                    </a:lnTo>
                    <a:lnTo>
                      <a:pt x="3282" y="2536"/>
                    </a:lnTo>
                    <a:lnTo>
                      <a:pt x="3296" y="2538"/>
                    </a:lnTo>
                    <a:lnTo>
                      <a:pt x="3296" y="2538"/>
                    </a:lnTo>
                    <a:lnTo>
                      <a:pt x="3312" y="2544"/>
                    </a:lnTo>
                    <a:lnTo>
                      <a:pt x="3318" y="2546"/>
                    </a:lnTo>
                    <a:lnTo>
                      <a:pt x="3320" y="2552"/>
                    </a:lnTo>
                    <a:lnTo>
                      <a:pt x="3320" y="2552"/>
                    </a:lnTo>
                    <a:lnTo>
                      <a:pt x="3324" y="2556"/>
                    </a:lnTo>
                    <a:lnTo>
                      <a:pt x="3326" y="2556"/>
                    </a:lnTo>
                    <a:lnTo>
                      <a:pt x="3330" y="2560"/>
                    </a:lnTo>
                    <a:lnTo>
                      <a:pt x="3330" y="2566"/>
                    </a:lnTo>
                    <a:lnTo>
                      <a:pt x="3330" y="2566"/>
                    </a:lnTo>
                    <a:lnTo>
                      <a:pt x="3332" y="2570"/>
                    </a:lnTo>
                    <a:lnTo>
                      <a:pt x="3336" y="2572"/>
                    </a:lnTo>
                    <a:lnTo>
                      <a:pt x="3340" y="2570"/>
                    </a:lnTo>
                    <a:lnTo>
                      <a:pt x="3346" y="2570"/>
                    </a:lnTo>
                    <a:lnTo>
                      <a:pt x="3360" y="2564"/>
                    </a:lnTo>
                    <a:lnTo>
                      <a:pt x="3368" y="2562"/>
                    </a:lnTo>
                    <a:lnTo>
                      <a:pt x="3368" y="2562"/>
                    </a:lnTo>
                    <a:lnTo>
                      <a:pt x="3370" y="2560"/>
                    </a:lnTo>
                    <a:lnTo>
                      <a:pt x="3372" y="2560"/>
                    </a:lnTo>
                    <a:lnTo>
                      <a:pt x="3372" y="2556"/>
                    </a:lnTo>
                    <a:lnTo>
                      <a:pt x="3376" y="2552"/>
                    </a:lnTo>
                    <a:lnTo>
                      <a:pt x="3382" y="2552"/>
                    </a:lnTo>
                    <a:lnTo>
                      <a:pt x="3382" y="2552"/>
                    </a:lnTo>
                    <a:lnTo>
                      <a:pt x="3388" y="2554"/>
                    </a:lnTo>
                    <a:lnTo>
                      <a:pt x="3394" y="2558"/>
                    </a:lnTo>
                    <a:lnTo>
                      <a:pt x="3406" y="2574"/>
                    </a:lnTo>
                    <a:lnTo>
                      <a:pt x="3418" y="2592"/>
                    </a:lnTo>
                    <a:lnTo>
                      <a:pt x="3424" y="2596"/>
                    </a:lnTo>
                    <a:lnTo>
                      <a:pt x="3428" y="2598"/>
                    </a:lnTo>
                    <a:lnTo>
                      <a:pt x="3428" y="2598"/>
                    </a:lnTo>
                    <a:lnTo>
                      <a:pt x="3432" y="2600"/>
                    </a:lnTo>
                    <a:lnTo>
                      <a:pt x="3434" y="2604"/>
                    </a:lnTo>
                    <a:lnTo>
                      <a:pt x="3438" y="2616"/>
                    </a:lnTo>
                    <a:lnTo>
                      <a:pt x="3440" y="2630"/>
                    </a:lnTo>
                    <a:lnTo>
                      <a:pt x="3436" y="2646"/>
                    </a:lnTo>
                    <a:lnTo>
                      <a:pt x="3436" y="2646"/>
                    </a:lnTo>
                    <a:lnTo>
                      <a:pt x="3434" y="2658"/>
                    </a:lnTo>
                    <a:lnTo>
                      <a:pt x="3434" y="2670"/>
                    </a:lnTo>
                    <a:lnTo>
                      <a:pt x="3436" y="2676"/>
                    </a:lnTo>
                    <a:lnTo>
                      <a:pt x="3438" y="2678"/>
                    </a:lnTo>
                    <a:lnTo>
                      <a:pt x="3440" y="2676"/>
                    </a:lnTo>
                    <a:lnTo>
                      <a:pt x="3440" y="2676"/>
                    </a:lnTo>
                    <a:lnTo>
                      <a:pt x="3446" y="2672"/>
                    </a:lnTo>
                    <a:lnTo>
                      <a:pt x="3450" y="2670"/>
                    </a:lnTo>
                    <a:lnTo>
                      <a:pt x="3450" y="2670"/>
                    </a:lnTo>
                    <a:lnTo>
                      <a:pt x="3452" y="2672"/>
                    </a:lnTo>
                    <a:lnTo>
                      <a:pt x="3448" y="2678"/>
                    </a:lnTo>
                    <a:lnTo>
                      <a:pt x="3448" y="2678"/>
                    </a:lnTo>
                    <a:lnTo>
                      <a:pt x="3444" y="2682"/>
                    </a:lnTo>
                    <a:lnTo>
                      <a:pt x="3444" y="2688"/>
                    </a:lnTo>
                    <a:lnTo>
                      <a:pt x="3446" y="2698"/>
                    </a:lnTo>
                    <a:lnTo>
                      <a:pt x="3450" y="2710"/>
                    </a:lnTo>
                    <a:lnTo>
                      <a:pt x="3456" y="2718"/>
                    </a:lnTo>
                    <a:lnTo>
                      <a:pt x="3456" y="2718"/>
                    </a:lnTo>
                    <a:lnTo>
                      <a:pt x="3458" y="2720"/>
                    </a:lnTo>
                    <a:lnTo>
                      <a:pt x="3460" y="2720"/>
                    </a:lnTo>
                    <a:lnTo>
                      <a:pt x="3462" y="2720"/>
                    </a:lnTo>
                    <a:lnTo>
                      <a:pt x="3462" y="2718"/>
                    </a:lnTo>
                    <a:lnTo>
                      <a:pt x="3462" y="2720"/>
                    </a:lnTo>
                    <a:lnTo>
                      <a:pt x="3464" y="2726"/>
                    </a:lnTo>
                    <a:lnTo>
                      <a:pt x="3464" y="2726"/>
                    </a:lnTo>
                    <a:lnTo>
                      <a:pt x="3466" y="2734"/>
                    </a:lnTo>
                    <a:lnTo>
                      <a:pt x="3470" y="2738"/>
                    </a:lnTo>
                    <a:lnTo>
                      <a:pt x="3474" y="2742"/>
                    </a:lnTo>
                    <a:lnTo>
                      <a:pt x="3476" y="2754"/>
                    </a:lnTo>
                    <a:lnTo>
                      <a:pt x="3476" y="2754"/>
                    </a:lnTo>
                    <a:lnTo>
                      <a:pt x="3478" y="2760"/>
                    </a:lnTo>
                    <a:lnTo>
                      <a:pt x="3480" y="2764"/>
                    </a:lnTo>
                    <a:lnTo>
                      <a:pt x="3484" y="2768"/>
                    </a:lnTo>
                    <a:lnTo>
                      <a:pt x="3486" y="2768"/>
                    </a:lnTo>
                    <a:lnTo>
                      <a:pt x="3492" y="2772"/>
                    </a:lnTo>
                    <a:lnTo>
                      <a:pt x="3496" y="2776"/>
                    </a:lnTo>
                    <a:lnTo>
                      <a:pt x="3498" y="2782"/>
                    </a:lnTo>
                    <a:lnTo>
                      <a:pt x="3498" y="2782"/>
                    </a:lnTo>
                    <a:lnTo>
                      <a:pt x="3500" y="2792"/>
                    </a:lnTo>
                    <a:lnTo>
                      <a:pt x="3504" y="2796"/>
                    </a:lnTo>
                    <a:lnTo>
                      <a:pt x="3506" y="2796"/>
                    </a:lnTo>
                    <a:lnTo>
                      <a:pt x="3504" y="2798"/>
                    </a:lnTo>
                    <a:lnTo>
                      <a:pt x="3504" y="2798"/>
                    </a:lnTo>
                    <a:lnTo>
                      <a:pt x="3502" y="2804"/>
                    </a:lnTo>
                    <a:lnTo>
                      <a:pt x="3504" y="2808"/>
                    </a:lnTo>
                    <a:lnTo>
                      <a:pt x="3508" y="2808"/>
                    </a:lnTo>
                    <a:lnTo>
                      <a:pt x="3518" y="2806"/>
                    </a:lnTo>
                    <a:lnTo>
                      <a:pt x="3518" y="2806"/>
                    </a:lnTo>
                    <a:lnTo>
                      <a:pt x="3522" y="2806"/>
                    </a:lnTo>
                    <a:lnTo>
                      <a:pt x="3524" y="2806"/>
                    </a:lnTo>
                    <a:lnTo>
                      <a:pt x="3526" y="2810"/>
                    </a:lnTo>
                    <a:lnTo>
                      <a:pt x="3526" y="2810"/>
                    </a:lnTo>
                    <a:lnTo>
                      <a:pt x="3530" y="2804"/>
                    </a:lnTo>
                    <a:lnTo>
                      <a:pt x="3530" y="2804"/>
                    </a:lnTo>
                    <a:lnTo>
                      <a:pt x="3534" y="2796"/>
                    </a:lnTo>
                    <a:lnTo>
                      <a:pt x="3536" y="2790"/>
                    </a:lnTo>
                    <a:lnTo>
                      <a:pt x="3536" y="2786"/>
                    </a:lnTo>
                    <a:lnTo>
                      <a:pt x="3540" y="2778"/>
                    </a:lnTo>
                    <a:lnTo>
                      <a:pt x="3540" y="2778"/>
                    </a:lnTo>
                    <a:lnTo>
                      <a:pt x="3544" y="2768"/>
                    </a:lnTo>
                    <a:lnTo>
                      <a:pt x="3544" y="2758"/>
                    </a:lnTo>
                    <a:lnTo>
                      <a:pt x="3544" y="2746"/>
                    </a:lnTo>
                    <a:lnTo>
                      <a:pt x="3546" y="2732"/>
                    </a:lnTo>
                    <a:lnTo>
                      <a:pt x="3546" y="2732"/>
                    </a:lnTo>
                    <a:lnTo>
                      <a:pt x="3546" y="2722"/>
                    </a:lnTo>
                    <a:lnTo>
                      <a:pt x="3544" y="2712"/>
                    </a:lnTo>
                    <a:lnTo>
                      <a:pt x="3536" y="2686"/>
                    </a:lnTo>
                    <a:lnTo>
                      <a:pt x="3526" y="2662"/>
                    </a:lnTo>
                    <a:lnTo>
                      <a:pt x="3526" y="2650"/>
                    </a:lnTo>
                    <a:lnTo>
                      <a:pt x="3526" y="2642"/>
                    </a:lnTo>
                    <a:lnTo>
                      <a:pt x="3526" y="2642"/>
                    </a:lnTo>
                    <a:lnTo>
                      <a:pt x="3526" y="2636"/>
                    </a:lnTo>
                    <a:lnTo>
                      <a:pt x="3524" y="2630"/>
                    </a:lnTo>
                    <a:lnTo>
                      <a:pt x="3514" y="2610"/>
                    </a:lnTo>
                    <a:lnTo>
                      <a:pt x="3506" y="2598"/>
                    </a:lnTo>
                    <a:lnTo>
                      <a:pt x="3500" y="2582"/>
                    </a:lnTo>
                    <a:lnTo>
                      <a:pt x="3496" y="2564"/>
                    </a:lnTo>
                    <a:lnTo>
                      <a:pt x="3492" y="2542"/>
                    </a:lnTo>
                    <a:lnTo>
                      <a:pt x="3492" y="2542"/>
                    </a:lnTo>
                    <a:lnTo>
                      <a:pt x="3490" y="2520"/>
                    </a:lnTo>
                    <a:lnTo>
                      <a:pt x="3492" y="2500"/>
                    </a:lnTo>
                    <a:lnTo>
                      <a:pt x="3496" y="2484"/>
                    </a:lnTo>
                    <a:lnTo>
                      <a:pt x="3502" y="2470"/>
                    </a:lnTo>
                    <a:lnTo>
                      <a:pt x="3508" y="2458"/>
                    </a:lnTo>
                    <a:lnTo>
                      <a:pt x="3514" y="2448"/>
                    </a:lnTo>
                    <a:lnTo>
                      <a:pt x="3524" y="2438"/>
                    </a:lnTo>
                    <a:lnTo>
                      <a:pt x="3524" y="2438"/>
                    </a:lnTo>
                    <a:lnTo>
                      <a:pt x="3528" y="2434"/>
                    </a:lnTo>
                    <a:lnTo>
                      <a:pt x="3528" y="2432"/>
                    </a:lnTo>
                    <a:lnTo>
                      <a:pt x="3528" y="2428"/>
                    </a:lnTo>
                    <a:lnTo>
                      <a:pt x="3528" y="2426"/>
                    </a:lnTo>
                    <a:lnTo>
                      <a:pt x="3528" y="2426"/>
                    </a:lnTo>
                    <a:lnTo>
                      <a:pt x="3536" y="2424"/>
                    </a:lnTo>
                    <a:lnTo>
                      <a:pt x="3536" y="2424"/>
                    </a:lnTo>
                    <a:lnTo>
                      <a:pt x="3542" y="2424"/>
                    </a:lnTo>
                    <a:lnTo>
                      <a:pt x="3548" y="2420"/>
                    </a:lnTo>
                    <a:lnTo>
                      <a:pt x="3556" y="2412"/>
                    </a:lnTo>
                    <a:lnTo>
                      <a:pt x="3564" y="2402"/>
                    </a:lnTo>
                    <a:lnTo>
                      <a:pt x="3568" y="2400"/>
                    </a:lnTo>
                    <a:lnTo>
                      <a:pt x="3570" y="2398"/>
                    </a:lnTo>
                    <a:lnTo>
                      <a:pt x="3570" y="2398"/>
                    </a:lnTo>
                    <a:lnTo>
                      <a:pt x="3574" y="2398"/>
                    </a:lnTo>
                    <a:lnTo>
                      <a:pt x="3576" y="2394"/>
                    </a:lnTo>
                    <a:lnTo>
                      <a:pt x="3580" y="2384"/>
                    </a:lnTo>
                    <a:lnTo>
                      <a:pt x="3588" y="2370"/>
                    </a:lnTo>
                    <a:lnTo>
                      <a:pt x="3592" y="2362"/>
                    </a:lnTo>
                    <a:lnTo>
                      <a:pt x="3600" y="2356"/>
                    </a:lnTo>
                    <a:lnTo>
                      <a:pt x="3600" y="2356"/>
                    </a:lnTo>
                    <a:lnTo>
                      <a:pt x="3606" y="2352"/>
                    </a:lnTo>
                    <a:lnTo>
                      <a:pt x="3612" y="2350"/>
                    </a:lnTo>
                    <a:lnTo>
                      <a:pt x="3624" y="2350"/>
                    </a:lnTo>
                    <a:lnTo>
                      <a:pt x="3628" y="2350"/>
                    </a:lnTo>
                    <a:lnTo>
                      <a:pt x="3630" y="2350"/>
                    </a:lnTo>
                    <a:lnTo>
                      <a:pt x="3634" y="2346"/>
                    </a:lnTo>
                    <a:lnTo>
                      <a:pt x="3636" y="2342"/>
                    </a:lnTo>
                    <a:lnTo>
                      <a:pt x="3636" y="2342"/>
                    </a:lnTo>
                    <a:lnTo>
                      <a:pt x="3638" y="2334"/>
                    </a:lnTo>
                    <a:lnTo>
                      <a:pt x="3642" y="2328"/>
                    </a:lnTo>
                    <a:lnTo>
                      <a:pt x="3654" y="2318"/>
                    </a:lnTo>
                    <a:lnTo>
                      <a:pt x="3666" y="2310"/>
                    </a:lnTo>
                    <a:lnTo>
                      <a:pt x="3680" y="2306"/>
                    </a:lnTo>
                    <a:lnTo>
                      <a:pt x="3680" y="2306"/>
                    </a:lnTo>
                    <a:lnTo>
                      <a:pt x="3690" y="2304"/>
                    </a:lnTo>
                    <a:lnTo>
                      <a:pt x="3696" y="2300"/>
                    </a:lnTo>
                    <a:lnTo>
                      <a:pt x="3698" y="2294"/>
                    </a:lnTo>
                    <a:lnTo>
                      <a:pt x="3698" y="2292"/>
                    </a:lnTo>
                    <a:lnTo>
                      <a:pt x="3696" y="2290"/>
                    </a:lnTo>
                    <a:lnTo>
                      <a:pt x="3696" y="2290"/>
                    </a:lnTo>
                    <a:lnTo>
                      <a:pt x="3694" y="2290"/>
                    </a:lnTo>
                    <a:lnTo>
                      <a:pt x="3690" y="2290"/>
                    </a:lnTo>
                    <a:lnTo>
                      <a:pt x="3686" y="2294"/>
                    </a:lnTo>
                    <a:lnTo>
                      <a:pt x="3680" y="2296"/>
                    </a:lnTo>
                    <a:lnTo>
                      <a:pt x="3676" y="2298"/>
                    </a:lnTo>
                    <a:lnTo>
                      <a:pt x="3674" y="2296"/>
                    </a:lnTo>
                    <a:lnTo>
                      <a:pt x="3674" y="2296"/>
                    </a:lnTo>
                    <a:lnTo>
                      <a:pt x="3672" y="2294"/>
                    </a:lnTo>
                    <a:lnTo>
                      <a:pt x="3674" y="2292"/>
                    </a:lnTo>
                    <a:lnTo>
                      <a:pt x="3680" y="2290"/>
                    </a:lnTo>
                    <a:lnTo>
                      <a:pt x="3682" y="2288"/>
                    </a:lnTo>
                    <a:lnTo>
                      <a:pt x="3684" y="2286"/>
                    </a:lnTo>
                    <a:lnTo>
                      <a:pt x="3684" y="2286"/>
                    </a:lnTo>
                    <a:lnTo>
                      <a:pt x="3686" y="2282"/>
                    </a:lnTo>
                    <a:lnTo>
                      <a:pt x="3684" y="2278"/>
                    </a:lnTo>
                    <a:lnTo>
                      <a:pt x="3678" y="2272"/>
                    </a:lnTo>
                    <a:lnTo>
                      <a:pt x="3676" y="2268"/>
                    </a:lnTo>
                    <a:lnTo>
                      <a:pt x="3682" y="2268"/>
                    </a:lnTo>
                    <a:lnTo>
                      <a:pt x="3682" y="2268"/>
                    </a:lnTo>
                    <a:lnTo>
                      <a:pt x="3692" y="2272"/>
                    </a:lnTo>
                    <a:lnTo>
                      <a:pt x="3696" y="2274"/>
                    </a:lnTo>
                    <a:lnTo>
                      <a:pt x="3698" y="2276"/>
                    </a:lnTo>
                    <a:lnTo>
                      <a:pt x="3700" y="2274"/>
                    </a:lnTo>
                    <a:lnTo>
                      <a:pt x="3706" y="2270"/>
                    </a:lnTo>
                    <a:lnTo>
                      <a:pt x="3706" y="2270"/>
                    </a:lnTo>
                    <a:lnTo>
                      <a:pt x="3710" y="2264"/>
                    </a:lnTo>
                    <a:lnTo>
                      <a:pt x="3714" y="2262"/>
                    </a:lnTo>
                    <a:lnTo>
                      <a:pt x="3716" y="2260"/>
                    </a:lnTo>
                    <a:lnTo>
                      <a:pt x="3718" y="2254"/>
                    </a:lnTo>
                    <a:lnTo>
                      <a:pt x="3718" y="2254"/>
                    </a:lnTo>
                    <a:lnTo>
                      <a:pt x="3720" y="2246"/>
                    </a:lnTo>
                    <a:lnTo>
                      <a:pt x="3718" y="2242"/>
                    </a:lnTo>
                    <a:lnTo>
                      <a:pt x="3714" y="2240"/>
                    </a:lnTo>
                    <a:lnTo>
                      <a:pt x="3710" y="2244"/>
                    </a:lnTo>
                    <a:lnTo>
                      <a:pt x="3710" y="2244"/>
                    </a:lnTo>
                    <a:lnTo>
                      <a:pt x="3708" y="2244"/>
                    </a:lnTo>
                    <a:lnTo>
                      <a:pt x="3708" y="2242"/>
                    </a:lnTo>
                    <a:lnTo>
                      <a:pt x="3704" y="2240"/>
                    </a:lnTo>
                    <a:lnTo>
                      <a:pt x="3694" y="2240"/>
                    </a:lnTo>
                    <a:lnTo>
                      <a:pt x="3694" y="2240"/>
                    </a:lnTo>
                    <a:lnTo>
                      <a:pt x="3684" y="2242"/>
                    </a:lnTo>
                    <a:lnTo>
                      <a:pt x="3678" y="2240"/>
                    </a:lnTo>
                    <a:lnTo>
                      <a:pt x="3678" y="2236"/>
                    </a:lnTo>
                    <a:lnTo>
                      <a:pt x="3678" y="2230"/>
                    </a:lnTo>
                    <a:lnTo>
                      <a:pt x="3678" y="2230"/>
                    </a:lnTo>
                    <a:lnTo>
                      <a:pt x="3678" y="2228"/>
                    </a:lnTo>
                    <a:lnTo>
                      <a:pt x="3678" y="2228"/>
                    </a:lnTo>
                    <a:lnTo>
                      <a:pt x="3680" y="2232"/>
                    </a:lnTo>
                    <a:lnTo>
                      <a:pt x="3684" y="2236"/>
                    </a:lnTo>
                    <a:lnTo>
                      <a:pt x="3686" y="2236"/>
                    </a:lnTo>
                    <a:lnTo>
                      <a:pt x="3690" y="2236"/>
                    </a:lnTo>
                    <a:lnTo>
                      <a:pt x="3696" y="2234"/>
                    </a:lnTo>
                    <a:lnTo>
                      <a:pt x="3696" y="2234"/>
                    </a:lnTo>
                    <a:lnTo>
                      <a:pt x="3704" y="2230"/>
                    </a:lnTo>
                    <a:lnTo>
                      <a:pt x="3708" y="2230"/>
                    </a:lnTo>
                    <a:lnTo>
                      <a:pt x="3714" y="2232"/>
                    </a:lnTo>
                    <a:lnTo>
                      <a:pt x="3718" y="2236"/>
                    </a:lnTo>
                    <a:lnTo>
                      <a:pt x="3724" y="2244"/>
                    </a:lnTo>
                    <a:lnTo>
                      <a:pt x="3726" y="2248"/>
                    </a:lnTo>
                    <a:lnTo>
                      <a:pt x="3728" y="2248"/>
                    </a:lnTo>
                    <a:lnTo>
                      <a:pt x="3728" y="2248"/>
                    </a:lnTo>
                    <a:lnTo>
                      <a:pt x="3728" y="2246"/>
                    </a:lnTo>
                    <a:lnTo>
                      <a:pt x="3728" y="2244"/>
                    </a:lnTo>
                    <a:lnTo>
                      <a:pt x="3724" y="2236"/>
                    </a:lnTo>
                    <a:lnTo>
                      <a:pt x="3718" y="2222"/>
                    </a:lnTo>
                    <a:lnTo>
                      <a:pt x="3712" y="2198"/>
                    </a:lnTo>
                    <a:lnTo>
                      <a:pt x="3712" y="2198"/>
                    </a:lnTo>
                    <a:lnTo>
                      <a:pt x="3708" y="2188"/>
                    </a:lnTo>
                    <a:lnTo>
                      <a:pt x="3706" y="2186"/>
                    </a:lnTo>
                    <a:lnTo>
                      <a:pt x="3704" y="2186"/>
                    </a:lnTo>
                    <a:lnTo>
                      <a:pt x="3700" y="2188"/>
                    </a:lnTo>
                    <a:lnTo>
                      <a:pt x="3694" y="2190"/>
                    </a:lnTo>
                    <a:lnTo>
                      <a:pt x="3694" y="2190"/>
                    </a:lnTo>
                    <a:lnTo>
                      <a:pt x="3692" y="2190"/>
                    </a:lnTo>
                    <a:lnTo>
                      <a:pt x="3692" y="2190"/>
                    </a:lnTo>
                    <a:lnTo>
                      <a:pt x="3696" y="2186"/>
                    </a:lnTo>
                    <a:lnTo>
                      <a:pt x="3698" y="2180"/>
                    </a:lnTo>
                    <a:lnTo>
                      <a:pt x="3698" y="2176"/>
                    </a:lnTo>
                    <a:lnTo>
                      <a:pt x="3694" y="2174"/>
                    </a:lnTo>
                    <a:lnTo>
                      <a:pt x="3694" y="2174"/>
                    </a:lnTo>
                    <a:lnTo>
                      <a:pt x="3690" y="2170"/>
                    </a:lnTo>
                    <a:lnTo>
                      <a:pt x="3692" y="2170"/>
                    </a:lnTo>
                    <a:lnTo>
                      <a:pt x="3696" y="2168"/>
                    </a:lnTo>
                    <a:lnTo>
                      <a:pt x="3698" y="2166"/>
                    </a:lnTo>
                    <a:lnTo>
                      <a:pt x="3698" y="2162"/>
                    </a:lnTo>
                    <a:lnTo>
                      <a:pt x="3698" y="2156"/>
                    </a:lnTo>
                    <a:lnTo>
                      <a:pt x="3698" y="2156"/>
                    </a:lnTo>
                    <a:lnTo>
                      <a:pt x="3696" y="2144"/>
                    </a:lnTo>
                    <a:lnTo>
                      <a:pt x="3696" y="2140"/>
                    </a:lnTo>
                    <a:lnTo>
                      <a:pt x="3696" y="2136"/>
                    </a:lnTo>
                    <a:lnTo>
                      <a:pt x="3690" y="2130"/>
                    </a:lnTo>
                    <a:lnTo>
                      <a:pt x="3690" y="2130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86" y="2122"/>
                    </a:lnTo>
                    <a:lnTo>
                      <a:pt x="3686" y="2122"/>
                    </a:lnTo>
                    <a:lnTo>
                      <a:pt x="3694" y="2126"/>
                    </a:lnTo>
                    <a:lnTo>
                      <a:pt x="3696" y="2124"/>
                    </a:lnTo>
                    <a:lnTo>
                      <a:pt x="3696" y="2124"/>
                    </a:lnTo>
                    <a:lnTo>
                      <a:pt x="3692" y="2108"/>
                    </a:lnTo>
                    <a:lnTo>
                      <a:pt x="3692" y="2108"/>
                    </a:lnTo>
                    <a:lnTo>
                      <a:pt x="3688" y="2092"/>
                    </a:lnTo>
                    <a:lnTo>
                      <a:pt x="3690" y="2076"/>
                    </a:lnTo>
                    <a:lnTo>
                      <a:pt x="3690" y="2076"/>
                    </a:lnTo>
                    <a:lnTo>
                      <a:pt x="3692" y="2064"/>
                    </a:lnTo>
                    <a:lnTo>
                      <a:pt x="3696" y="2058"/>
                    </a:lnTo>
                    <a:lnTo>
                      <a:pt x="3702" y="2054"/>
                    </a:lnTo>
                    <a:lnTo>
                      <a:pt x="3702" y="2054"/>
                    </a:lnTo>
                    <a:lnTo>
                      <a:pt x="3704" y="2050"/>
                    </a:lnTo>
                    <a:lnTo>
                      <a:pt x="3704" y="2052"/>
                    </a:lnTo>
                    <a:lnTo>
                      <a:pt x="3700" y="2058"/>
                    </a:lnTo>
                    <a:lnTo>
                      <a:pt x="3698" y="2064"/>
                    </a:lnTo>
                    <a:lnTo>
                      <a:pt x="3698" y="2064"/>
                    </a:lnTo>
                    <a:lnTo>
                      <a:pt x="3694" y="2076"/>
                    </a:lnTo>
                    <a:lnTo>
                      <a:pt x="3694" y="2082"/>
                    </a:lnTo>
                    <a:lnTo>
                      <a:pt x="3696" y="2086"/>
                    </a:lnTo>
                    <a:lnTo>
                      <a:pt x="3696" y="2086"/>
                    </a:lnTo>
                    <a:lnTo>
                      <a:pt x="3696" y="2088"/>
                    </a:lnTo>
                    <a:lnTo>
                      <a:pt x="3696" y="2090"/>
                    </a:lnTo>
                    <a:lnTo>
                      <a:pt x="3694" y="2094"/>
                    </a:lnTo>
                    <a:lnTo>
                      <a:pt x="3696" y="2098"/>
                    </a:lnTo>
                    <a:lnTo>
                      <a:pt x="3696" y="2098"/>
                    </a:lnTo>
                    <a:lnTo>
                      <a:pt x="3698" y="2104"/>
                    </a:lnTo>
                    <a:lnTo>
                      <a:pt x="3696" y="2106"/>
                    </a:lnTo>
                    <a:lnTo>
                      <a:pt x="3696" y="2110"/>
                    </a:lnTo>
                    <a:lnTo>
                      <a:pt x="3700" y="2114"/>
                    </a:lnTo>
                    <a:lnTo>
                      <a:pt x="3700" y="2114"/>
                    </a:lnTo>
                    <a:lnTo>
                      <a:pt x="3706" y="2116"/>
                    </a:lnTo>
                    <a:lnTo>
                      <a:pt x="3708" y="2116"/>
                    </a:lnTo>
                    <a:lnTo>
                      <a:pt x="3710" y="2116"/>
                    </a:lnTo>
                    <a:lnTo>
                      <a:pt x="3712" y="2120"/>
                    </a:lnTo>
                    <a:lnTo>
                      <a:pt x="3712" y="2120"/>
                    </a:lnTo>
                    <a:lnTo>
                      <a:pt x="3712" y="2126"/>
                    </a:lnTo>
                    <a:lnTo>
                      <a:pt x="3712" y="2130"/>
                    </a:lnTo>
                    <a:lnTo>
                      <a:pt x="3712" y="2134"/>
                    </a:lnTo>
                    <a:lnTo>
                      <a:pt x="3716" y="2136"/>
                    </a:lnTo>
                    <a:lnTo>
                      <a:pt x="3716" y="2136"/>
                    </a:lnTo>
                    <a:lnTo>
                      <a:pt x="3718" y="2138"/>
                    </a:lnTo>
                    <a:lnTo>
                      <a:pt x="3716" y="2142"/>
                    </a:lnTo>
                    <a:lnTo>
                      <a:pt x="3710" y="2154"/>
                    </a:lnTo>
                    <a:lnTo>
                      <a:pt x="3706" y="2166"/>
                    </a:lnTo>
                    <a:lnTo>
                      <a:pt x="3706" y="2172"/>
                    </a:lnTo>
                    <a:lnTo>
                      <a:pt x="3710" y="2176"/>
                    </a:lnTo>
                    <a:lnTo>
                      <a:pt x="3710" y="2176"/>
                    </a:lnTo>
                    <a:lnTo>
                      <a:pt x="3712" y="2176"/>
                    </a:lnTo>
                    <a:lnTo>
                      <a:pt x="3714" y="2172"/>
                    </a:lnTo>
                    <a:lnTo>
                      <a:pt x="3720" y="2158"/>
                    </a:lnTo>
                    <a:lnTo>
                      <a:pt x="3728" y="2138"/>
                    </a:lnTo>
                    <a:lnTo>
                      <a:pt x="3738" y="2122"/>
                    </a:lnTo>
                    <a:lnTo>
                      <a:pt x="3738" y="2122"/>
                    </a:lnTo>
                    <a:lnTo>
                      <a:pt x="3744" y="2114"/>
                    </a:lnTo>
                    <a:lnTo>
                      <a:pt x="3746" y="2108"/>
                    </a:lnTo>
                    <a:lnTo>
                      <a:pt x="3748" y="2102"/>
                    </a:lnTo>
                    <a:lnTo>
                      <a:pt x="3748" y="2096"/>
                    </a:lnTo>
                    <a:lnTo>
                      <a:pt x="3748" y="2092"/>
                    </a:lnTo>
                    <a:lnTo>
                      <a:pt x="3746" y="2088"/>
                    </a:lnTo>
                    <a:lnTo>
                      <a:pt x="3744" y="2086"/>
                    </a:lnTo>
                    <a:lnTo>
                      <a:pt x="3740" y="2086"/>
                    </a:lnTo>
                    <a:lnTo>
                      <a:pt x="3740" y="2086"/>
                    </a:lnTo>
                    <a:lnTo>
                      <a:pt x="3738" y="2084"/>
                    </a:lnTo>
                    <a:lnTo>
                      <a:pt x="3736" y="2082"/>
                    </a:lnTo>
                    <a:lnTo>
                      <a:pt x="3732" y="2074"/>
                    </a:lnTo>
                    <a:lnTo>
                      <a:pt x="3726" y="2054"/>
                    </a:lnTo>
                    <a:lnTo>
                      <a:pt x="3726" y="2054"/>
                    </a:lnTo>
                    <a:lnTo>
                      <a:pt x="3724" y="2044"/>
                    </a:lnTo>
                    <a:lnTo>
                      <a:pt x="3726" y="2036"/>
                    </a:lnTo>
                    <a:lnTo>
                      <a:pt x="3730" y="2030"/>
                    </a:lnTo>
                    <a:lnTo>
                      <a:pt x="3738" y="2024"/>
                    </a:lnTo>
                    <a:lnTo>
                      <a:pt x="3738" y="2024"/>
                    </a:lnTo>
                    <a:lnTo>
                      <a:pt x="3742" y="2024"/>
                    </a:lnTo>
                    <a:lnTo>
                      <a:pt x="3736" y="2030"/>
                    </a:lnTo>
                    <a:lnTo>
                      <a:pt x="3732" y="2034"/>
                    </a:lnTo>
                    <a:lnTo>
                      <a:pt x="3730" y="2040"/>
                    </a:lnTo>
                    <a:lnTo>
                      <a:pt x="3730" y="2046"/>
                    </a:lnTo>
                    <a:lnTo>
                      <a:pt x="3732" y="2054"/>
                    </a:lnTo>
                    <a:lnTo>
                      <a:pt x="3732" y="2054"/>
                    </a:lnTo>
                    <a:lnTo>
                      <a:pt x="3738" y="2060"/>
                    </a:lnTo>
                    <a:lnTo>
                      <a:pt x="3742" y="2062"/>
                    </a:lnTo>
                    <a:lnTo>
                      <a:pt x="3748" y="2064"/>
                    </a:lnTo>
                    <a:lnTo>
                      <a:pt x="3750" y="2066"/>
                    </a:lnTo>
                    <a:lnTo>
                      <a:pt x="3750" y="2072"/>
                    </a:lnTo>
                    <a:lnTo>
                      <a:pt x="3750" y="2072"/>
                    </a:lnTo>
                    <a:lnTo>
                      <a:pt x="3750" y="2078"/>
                    </a:lnTo>
                    <a:lnTo>
                      <a:pt x="3752" y="2078"/>
                    </a:lnTo>
                    <a:lnTo>
                      <a:pt x="3754" y="2078"/>
                    </a:lnTo>
                    <a:lnTo>
                      <a:pt x="3758" y="2074"/>
                    </a:lnTo>
                    <a:lnTo>
                      <a:pt x="3766" y="2062"/>
                    </a:lnTo>
                    <a:lnTo>
                      <a:pt x="3774" y="2048"/>
                    </a:lnTo>
                    <a:lnTo>
                      <a:pt x="3774" y="2048"/>
                    </a:lnTo>
                    <a:lnTo>
                      <a:pt x="3784" y="2030"/>
                    </a:lnTo>
                    <a:lnTo>
                      <a:pt x="3790" y="2014"/>
                    </a:lnTo>
                    <a:lnTo>
                      <a:pt x="3790" y="2008"/>
                    </a:lnTo>
                    <a:lnTo>
                      <a:pt x="3790" y="2002"/>
                    </a:lnTo>
                    <a:lnTo>
                      <a:pt x="3790" y="2000"/>
                    </a:lnTo>
                    <a:lnTo>
                      <a:pt x="3786" y="1998"/>
                    </a:lnTo>
                    <a:lnTo>
                      <a:pt x="3786" y="1998"/>
                    </a:lnTo>
                    <a:lnTo>
                      <a:pt x="3778" y="1996"/>
                    </a:lnTo>
                    <a:lnTo>
                      <a:pt x="3776" y="1996"/>
                    </a:lnTo>
                    <a:lnTo>
                      <a:pt x="3776" y="1994"/>
                    </a:lnTo>
                    <a:lnTo>
                      <a:pt x="3778" y="1988"/>
                    </a:lnTo>
                    <a:lnTo>
                      <a:pt x="3784" y="1980"/>
                    </a:lnTo>
                    <a:lnTo>
                      <a:pt x="3784" y="1980"/>
                    </a:lnTo>
                    <a:lnTo>
                      <a:pt x="3796" y="1972"/>
                    </a:lnTo>
                    <a:lnTo>
                      <a:pt x="3808" y="1962"/>
                    </a:lnTo>
                    <a:lnTo>
                      <a:pt x="3824" y="1956"/>
                    </a:lnTo>
                    <a:lnTo>
                      <a:pt x="3838" y="1950"/>
                    </a:lnTo>
                    <a:lnTo>
                      <a:pt x="3838" y="1950"/>
                    </a:lnTo>
                    <a:lnTo>
                      <a:pt x="3854" y="1948"/>
                    </a:lnTo>
                    <a:lnTo>
                      <a:pt x="3870" y="1946"/>
                    </a:lnTo>
                    <a:lnTo>
                      <a:pt x="3886" y="1944"/>
                    </a:lnTo>
                    <a:lnTo>
                      <a:pt x="3890" y="1944"/>
                    </a:lnTo>
                    <a:lnTo>
                      <a:pt x="3892" y="1940"/>
                    </a:lnTo>
                    <a:lnTo>
                      <a:pt x="3892" y="1940"/>
                    </a:lnTo>
                    <a:lnTo>
                      <a:pt x="3894" y="1926"/>
                    </a:lnTo>
                    <a:lnTo>
                      <a:pt x="3896" y="1924"/>
                    </a:lnTo>
                    <a:lnTo>
                      <a:pt x="3898" y="1928"/>
                    </a:lnTo>
                    <a:lnTo>
                      <a:pt x="3898" y="1928"/>
                    </a:lnTo>
                    <a:lnTo>
                      <a:pt x="3900" y="1936"/>
                    </a:lnTo>
                    <a:lnTo>
                      <a:pt x="3904" y="1940"/>
                    </a:lnTo>
                    <a:lnTo>
                      <a:pt x="3906" y="1940"/>
                    </a:lnTo>
                    <a:lnTo>
                      <a:pt x="3908" y="1940"/>
                    </a:lnTo>
                    <a:lnTo>
                      <a:pt x="3914" y="1932"/>
                    </a:lnTo>
                    <a:lnTo>
                      <a:pt x="3914" y="1932"/>
                    </a:lnTo>
                    <a:lnTo>
                      <a:pt x="3920" y="1928"/>
                    </a:lnTo>
                    <a:lnTo>
                      <a:pt x="3922" y="1926"/>
                    </a:lnTo>
                    <a:lnTo>
                      <a:pt x="3924" y="1928"/>
                    </a:lnTo>
                    <a:lnTo>
                      <a:pt x="3924" y="1930"/>
                    </a:lnTo>
                    <a:lnTo>
                      <a:pt x="3924" y="1936"/>
                    </a:lnTo>
                    <a:lnTo>
                      <a:pt x="3926" y="1936"/>
                    </a:lnTo>
                    <a:lnTo>
                      <a:pt x="3928" y="1934"/>
                    </a:lnTo>
                    <a:lnTo>
                      <a:pt x="3928" y="1934"/>
                    </a:lnTo>
                    <a:lnTo>
                      <a:pt x="3932" y="1932"/>
                    </a:lnTo>
                    <a:lnTo>
                      <a:pt x="3936" y="1930"/>
                    </a:lnTo>
                    <a:lnTo>
                      <a:pt x="3946" y="1930"/>
                    </a:lnTo>
                    <a:lnTo>
                      <a:pt x="3952" y="1928"/>
                    </a:lnTo>
                    <a:lnTo>
                      <a:pt x="3952" y="1924"/>
                    </a:lnTo>
                    <a:lnTo>
                      <a:pt x="3952" y="1920"/>
                    </a:lnTo>
                    <a:lnTo>
                      <a:pt x="3952" y="1920"/>
                    </a:lnTo>
                    <a:lnTo>
                      <a:pt x="3948" y="1906"/>
                    </a:lnTo>
                    <a:lnTo>
                      <a:pt x="3946" y="1904"/>
                    </a:lnTo>
                    <a:lnTo>
                      <a:pt x="3942" y="1904"/>
                    </a:lnTo>
                    <a:lnTo>
                      <a:pt x="3942" y="1904"/>
                    </a:lnTo>
                    <a:lnTo>
                      <a:pt x="3940" y="1904"/>
                    </a:lnTo>
                    <a:lnTo>
                      <a:pt x="3942" y="1906"/>
                    </a:lnTo>
                    <a:lnTo>
                      <a:pt x="3946" y="1908"/>
                    </a:lnTo>
                    <a:lnTo>
                      <a:pt x="3948" y="1914"/>
                    </a:lnTo>
                    <a:lnTo>
                      <a:pt x="3948" y="1914"/>
                    </a:lnTo>
                    <a:lnTo>
                      <a:pt x="3944" y="1920"/>
                    </a:lnTo>
                    <a:lnTo>
                      <a:pt x="3940" y="1924"/>
                    </a:lnTo>
                    <a:lnTo>
                      <a:pt x="3936" y="1926"/>
                    </a:lnTo>
                    <a:lnTo>
                      <a:pt x="3932" y="1926"/>
                    </a:lnTo>
                    <a:lnTo>
                      <a:pt x="3930" y="1922"/>
                    </a:lnTo>
                    <a:lnTo>
                      <a:pt x="3928" y="1918"/>
                    </a:lnTo>
                    <a:lnTo>
                      <a:pt x="3928" y="1918"/>
                    </a:lnTo>
                    <a:lnTo>
                      <a:pt x="3924" y="1908"/>
                    </a:lnTo>
                    <a:lnTo>
                      <a:pt x="3924" y="1902"/>
                    </a:lnTo>
                    <a:lnTo>
                      <a:pt x="3920" y="1896"/>
                    </a:lnTo>
                    <a:lnTo>
                      <a:pt x="3912" y="1894"/>
                    </a:lnTo>
                    <a:lnTo>
                      <a:pt x="3912" y="1894"/>
                    </a:lnTo>
                    <a:lnTo>
                      <a:pt x="3910" y="1894"/>
                    </a:lnTo>
                    <a:lnTo>
                      <a:pt x="3910" y="1892"/>
                    </a:lnTo>
                    <a:lnTo>
                      <a:pt x="3918" y="1884"/>
                    </a:lnTo>
                    <a:lnTo>
                      <a:pt x="3926" y="1876"/>
                    </a:lnTo>
                    <a:lnTo>
                      <a:pt x="3926" y="1874"/>
                    </a:lnTo>
                    <a:lnTo>
                      <a:pt x="3924" y="1872"/>
                    </a:lnTo>
                    <a:lnTo>
                      <a:pt x="3924" y="1872"/>
                    </a:lnTo>
                    <a:lnTo>
                      <a:pt x="3922" y="1868"/>
                    </a:lnTo>
                    <a:lnTo>
                      <a:pt x="3920" y="1864"/>
                    </a:lnTo>
                    <a:lnTo>
                      <a:pt x="3922" y="1850"/>
                    </a:lnTo>
                    <a:lnTo>
                      <a:pt x="3928" y="1836"/>
                    </a:lnTo>
                    <a:lnTo>
                      <a:pt x="3936" y="1826"/>
                    </a:lnTo>
                    <a:lnTo>
                      <a:pt x="3936" y="1826"/>
                    </a:lnTo>
                    <a:lnTo>
                      <a:pt x="3940" y="1820"/>
                    </a:lnTo>
                    <a:lnTo>
                      <a:pt x="3940" y="1816"/>
                    </a:lnTo>
                    <a:lnTo>
                      <a:pt x="3940" y="1814"/>
                    </a:lnTo>
                    <a:lnTo>
                      <a:pt x="3942" y="1810"/>
                    </a:lnTo>
                    <a:lnTo>
                      <a:pt x="3942" y="1810"/>
                    </a:lnTo>
                    <a:lnTo>
                      <a:pt x="3944" y="1808"/>
                    </a:lnTo>
                    <a:lnTo>
                      <a:pt x="3946" y="1808"/>
                    </a:lnTo>
                    <a:lnTo>
                      <a:pt x="3948" y="1812"/>
                    </a:lnTo>
                    <a:lnTo>
                      <a:pt x="3952" y="1814"/>
                    </a:lnTo>
                    <a:lnTo>
                      <a:pt x="3954" y="1814"/>
                    </a:lnTo>
                    <a:lnTo>
                      <a:pt x="3958" y="1812"/>
                    </a:lnTo>
                    <a:lnTo>
                      <a:pt x="3958" y="1812"/>
                    </a:lnTo>
                    <a:lnTo>
                      <a:pt x="3966" y="1806"/>
                    </a:lnTo>
                    <a:lnTo>
                      <a:pt x="3970" y="1802"/>
                    </a:lnTo>
                    <a:lnTo>
                      <a:pt x="3974" y="1800"/>
                    </a:lnTo>
                    <a:lnTo>
                      <a:pt x="3976" y="1800"/>
                    </a:lnTo>
                    <a:lnTo>
                      <a:pt x="3976" y="1800"/>
                    </a:lnTo>
                    <a:lnTo>
                      <a:pt x="3982" y="1798"/>
                    </a:lnTo>
                    <a:lnTo>
                      <a:pt x="3984" y="1796"/>
                    </a:lnTo>
                    <a:lnTo>
                      <a:pt x="3988" y="1786"/>
                    </a:lnTo>
                    <a:lnTo>
                      <a:pt x="3992" y="1778"/>
                    </a:lnTo>
                    <a:lnTo>
                      <a:pt x="3996" y="1776"/>
                    </a:lnTo>
                    <a:lnTo>
                      <a:pt x="4000" y="1778"/>
                    </a:lnTo>
                    <a:lnTo>
                      <a:pt x="4000" y="1778"/>
                    </a:lnTo>
                    <a:lnTo>
                      <a:pt x="4006" y="1782"/>
                    </a:lnTo>
                    <a:lnTo>
                      <a:pt x="4008" y="1780"/>
                    </a:lnTo>
                    <a:lnTo>
                      <a:pt x="4010" y="1780"/>
                    </a:lnTo>
                    <a:lnTo>
                      <a:pt x="4012" y="1776"/>
                    </a:lnTo>
                    <a:lnTo>
                      <a:pt x="4016" y="1772"/>
                    </a:lnTo>
                    <a:lnTo>
                      <a:pt x="4016" y="1772"/>
                    </a:lnTo>
                    <a:lnTo>
                      <a:pt x="4022" y="1772"/>
                    </a:lnTo>
                    <a:lnTo>
                      <a:pt x="4024" y="1774"/>
                    </a:lnTo>
                    <a:lnTo>
                      <a:pt x="4028" y="1776"/>
                    </a:lnTo>
                    <a:lnTo>
                      <a:pt x="4036" y="1772"/>
                    </a:lnTo>
                    <a:lnTo>
                      <a:pt x="4036" y="1772"/>
                    </a:lnTo>
                    <a:lnTo>
                      <a:pt x="4044" y="1766"/>
                    </a:lnTo>
                    <a:lnTo>
                      <a:pt x="4052" y="1764"/>
                    </a:lnTo>
                    <a:lnTo>
                      <a:pt x="4060" y="1762"/>
                    </a:lnTo>
                    <a:lnTo>
                      <a:pt x="4066" y="1756"/>
                    </a:lnTo>
                    <a:lnTo>
                      <a:pt x="4066" y="1756"/>
                    </a:lnTo>
                    <a:lnTo>
                      <a:pt x="4070" y="1752"/>
                    </a:lnTo>
                    <a:lnTo>
                      <a:pt x="4070" y="1748"/>
                    </a:lnTo>
                    <a:lnTo>
                      <a:pt x="4068" y="1746"/>
                    </a:lnTo>
                    <a:lnTo>
                      <a:pt x="4066" y="1742"/>
                    </a:lnTo>
                    <a:lnTo>
                      <a:pt x="4066" y="1742"/>
                    </a:lnTo>
                    <a:lnTo>
                      <a:pt x="4064" y="1736"/>
                    </a:lnTo>
                    <a:lnTo>
                      <a:pt x="4062" y="1734"/>
                    </a:lnTo>
                    <a:lnTo>
                      <a:pt x="4054" y="1730"/>
                    </a:lnTo>
                    <a:lnTo>
                      <a:pt x="4054" y="1730"/>
                    </a:lnTo>
                    <a:lnTo>
                      <a:pt x="4052" y="1726"/>
                    </a:lnTo>
                    <a:lnTo>
                      <a:pt x="4050" y="1718"/>
                    </a:lnTo>
                    <a:lnTo>
                      <a:pt x="4050" y="1704"/>
                    </a:lnTo>
                    <a:lnTo>
                      <a:pt x="4050" y="1704"/>
                    </a:lnTo>
                    <a:lnTo>
                      <a:pt x="4052" y="1706"/>
                    </a:lnTo>
                    <a:lnTo>
                      <a:pt x="4054" y="1708"/>
                    </a:lnTo>
                    <a:lnTo>
                      <a:pt x="4054" y="1716"/>
                    </a:lnTo>
                    <a:lnTo>
                      <a:pt x="4054" y="1716"/>
                    </a:lnTo>
                    <a:lnTo>
                      <a:pt x="4054" y="1720"/>
                    </a:lnTo>
                    <a:lnTo>
                      <a:pt x="4056" y="1724"/>
                    </a:lnTo>
                    <a:lnTo>
                      <a:pt x="4060" y="1728"/>
                    </a:lnTo>
                    <a:lnTo>
                      <a:pt x="4066" y="1730"/>
                    </a:lnTo>
                    <a:lnTo>
                      <a:pt x="4066" y="1730"/>
                    </a:lnTo>
                    <a:lnTo>
                      <a:pt x="4078" y="1734"/>
                    </a:lnTo>
                    <a:lnTo>
                      <a:pt x="4088" y="1734"/>
                    </a:lnTo>
                    <a:lnTo>
                      <a:pt x="4096" y="1734"/>
                    </a:lnTo>
                    <a:lnTo>
                      <a:pt x="4106" y="1732"/>
                    </a:lnTo>
                    <a:lnTo>
                      <a:pt x="4122" y="1724"/>
                    </a:lnTo>
                    <a:lnTo>
                      <a:pt x="4144" y="1714"/>
                    </a:lnTo>
                    <a:lnTo>
                      <a:pt x="4144" y="1714"/>
                    </a:lnTo>
                    <a:lnTo>
                      <a:pt x="4152" y="1708"/>
                    </a:lnTo>
                    <a:lnTo>
                      <a:pt x="4156" y="1708"/>
                    </a:lnTo>
                    <a:lnTo>
                      <a:pt x="4156" y="1708"/>
                    </a:lnTo>
                    <a:lnTo>
                      <a:pt x="4158" y="1712"/>
                    </a:lnTo>
                    <a:lnTo>
                      <a:pt x="4160" y="1714"/>
                    </a:lnTo>
                    <a:lnTo>
                      <a:pt x="4164" y="1718"/>
                    </a:lnTo>
                    <a:lnTo>
                      <a:pt x="4172" y="1718"/>
                    </a:lnTo>
                    <a:lnTo>
                      <a:pt x="4188" y="1716"/>
                    </a:lnTo>
                    <a:lnTo>
                      <a:pt x="4188" y="1716"/>
                    </a:lnTo>
                    <a:lnTo>
                      <a:pt x="4202" y="1716"/>
                    </a:lnTo>
                    <a:lnTo>
                      <a:pt x="4194" y="1720"/>
                    </a:lnTo>
                    <a:lnTo>
                      <a:pt x="4172" y="1728"/>
                    </a:lnTo>
                    <a:lnTo>
                      <a:pt x="4148" y="1740"/>
                    </a:lnTo>
                    <a:lnTo>
                      <a:pt x="4148" y="1740"/>
                    </a:lnTo>
                    <a:lnTo>
                      <a:pt x="4136" y="1746"/>
                    </a:lnTo>
                    <a:lnTo>
                      <a:pt x="4126" y="1754"/>
                    </a:lnTo>
                    <a:lnTo>
                      <a:pt x="4118" y="1762"/>
                    </a:lnTo>
                    <a:lnTo>
                      <a:pt x="4110" y="1770"/>
                    </a:lnTo>
                    <a:lnTo>
                      <a:pt x="4106" y="1780"/>
                    </a:lnTo>
                    <a:lnTo>
                      <a:pt x="4104" y="1790"/>
                    </a:lnTo>
                    <a:lnTo>
                      <a:pt x="4106" y="1802"/>
                    </a:lnTo>
                    <a:lnTo>
                      <a:pt x="4110" y="1812"/>
                    </a:lnTo>
                    <a:lnTo>
                      <a:pt x="4110" y="1812"/>
                    </a:lnTo>
                    <a:lnTo>
                      <a:pt x="4116" y="1822"/>
                    </a:lnTo>
                    <a:lnTo>
                      <a:pt x="4124" y="1826"/>
                    </a:lnTo>
                    <a:lnTo>
                      <a:pt x="4130" y="1828"/>
                    </a:lnTo>
                    <a:lnTo>
                      <a:pt x="4138" y="1824"/>
                    </a:lnTo>
                    <a:lnTo>
                      <a:pt x="4146" y="1818"/>
                    </a:lnTo>
                    <a:lnTo>
                      <a:pt x="4154" y="1810"/>
                    </a:lnTo>
                    <a:lnTo>
                      <a:pt x="4174" y="1786"/>
                    </a:lnTo>
                    <a:lnTo>
                      <a:pt x="4174" y="1786"/>
                    </a:lnTo>
                    <a:lnTo>
                      <a:pt x="4182" y="1776"/>
                    </a:lnTo>
                    <a:lnTo>
                      <a:pt x="4190" y="1770"/>
                    </a:lnTo>
                    <a:lnTo>
                      <a:pt x="4196" y="1768"/>
                    </a:lnTo>
                    <a:lnTo>
                      <a:pt x="4202" y="1768"/>
                    </a:lnTo>
                    <a:lnTo>
                      <a:pt x="4208" y="1768"/>
                    </a:lnTo>
                    <a:lnTo>
                      <a:pt x="4216" y="1766"/>
                    </a:lnTo>
                    <a:lnTo>
                      <a:pt x="4224" y="1764"/>
                    </a:lnTo>
                    <a:lnTo>
                      <a:pt x="4238" y="1756"/>
                    </a:lnTo>
                    <a:lnTo>
                      <a:pt x="4238" y="1756"/>
                    </a:lnTo>
                    <a:lnTo>
                      <a:pt x="4252" y="1748"/>
                    </a:lnTo>
                    <a:lnTo>
                      <a:pt x="4266" y="1742"/>
                    </a:lnTo>
                    <a:lnTo>
                      <a:pt x="4290" y="1734"/>
                    </a:lnTo>
                    <a:lnTo>
                      <a:pt x="4300" y="1730"/>
                    </a:lnTo>
                    <a:lnTo>
                      <a:pt x="4306" y="1728"/>
                    </a:lnTo>
                    <a:lnTo>
                      <a:pt x="4308" y="1724"/>
                    </a:lnTo>
                    <a:lnTo>
                      <a:pt x="4304" y="1720"/>
                    </a:lnTo>
                    <a:lnTo>
                      <a:pt x="4304" y="1720"/>
                    </a:lnTo>
                    <a:lnTo>
                      <a:pt x="4284" y="1700"/>
                    </a:lnTo>
                    <a:lnTo>
                      <a:pt x="4280" y="1698"/>
                    </a:lnTo>
                    <a:lnTo>
                      <a:pt x="4276" y="1696"/>
                    </a:lnTo>
                    <a:lnTo>
                      <a:pt x="4270" y="1696"/>
                    </a:lnTo>
                    <a:lnTo>
                      <a:pt x="4264" y="1698"/>
                    </a:lnTo>
                    <a:lnTo>
                      <a:pt x="4264" y="1698"/>
                    </a:lnTo>
                    <a:lnTo>
                      <a:pt x="4258" y="1700"/>
                    </a:lnTo>
                    <a:lnTo>
                      <a:pt x="4246" y="1700"/>
                    </a:lnTo>
                    <a:lnTo>
                      <a:pt x="4236" y="1700"/>
                    </a:lnTo>
                    <a:lnTo>
                      <a:pt x="4224" y="1696"/>
                    </a:lnTo>
                    <a:lnTo>
                      <a:pt x="4212" y="1694"/>
                    </a:lnTo>
                    <a:lnTo>
                      <a:pt x="4204" y="1690"/>
                    </a:lnTo>
                    <a:lnTo>
                      <a:pt x="4198" y="1684"/>
                    </a:lnTo>
                    <a:lnTo>
                      <a:pt x="4196" y="1682"/>
                    </a:lnTo>
                    <a:lnTo>
                      <a:pt x="4196" y="1680"/>
                    </a:lnTo>
                    <a:lnTo>
                      <a:pt x="4196" y="1680"/>
                    </a:lnTo>
                    <a:lnTo>
                      <a:pt x="4196" y="1676"/>
                    </a:lnTo>
                    <a:lnTo>
                      <a:pt x="4194" y="1674"/>
                    </a:lnTo>
                    <a:lnTo>
                      <a:pt x="4186" y="1672"/>
                    </a:lnTo>
                    <a:lnTo>
                      <a:pt x="4178" y="1668"/>
                    </a:lnTo>
                    <a:lnTo>
                      <a:pt x="4172" y="1664"/>
                    </a:lnTo>
                    <a:lnTo>
                      <a:pt x="4166" y="1654"/>
                    </a:lnTo>
                    <a:lnTo>
                      <a:pt x="4160" y="1640"/>
                    </a:lnTo>
                    <a:lnTo>
                      <a:pt x="4160" y="1640"/>
                    </a:lnTo>
                    <a:lnTo>
                      <a:pt x="4156" y="1624"/>
                    </a:lnTo>
                    <a:lnTo>
                      <a:pt x="4156" y="1610"/>
                    </a:lnTo>
                    <a:lnTo>
                      <a:pt x="4158" y="1598"/>
                    </a:lnTo>
                    <a:lnTo>
                      <a:pt x="4160" y="1588"/>
                    </a:lnTo>
                    <a:lnTo>
                      <a:pt x="4162" y="1580"/>
                    </a:lnTo>
                    <a:lnTo>
                      <a:pt x="4162" y="1576"/>
                    </a:lnTo>
                    <a:lnTo>
                      <a:pt x="4158" y="1574"/>
                    </a:lnTo>
                    <a:lnTo>
                      <a:pt x="4148" y="1576"/>
                    </a:lnTo>
                    <a:lnTo>
                      <a:pt x="4148" y="1576"/>
                    </a:lnTo>
                    <a:lnTo>
                      <a:pt x="4134" y="1578"/>
                    </a:lnTo>
                    <a:lnTo>
                      <a:pt x="4126" y="1580"/>
                    </a:lnTo>
                    <a:lnTo>
                      <a:pt x="4124" y="1578"/>
                    </a:lnTo>
                    <a:lnTo>
                      <a:pt x="4126" y="1574"/>
                    </a:lnTo>
                    <a:lnTo>
                      <a:pt x="4140" y="1564"/>
                    </a:lnTo>
                    <a:lnTo>
                      <a:pt x="4164" y="1550"/>
                    </a:lnTo>
                    <a:lnTo>
                      <a:pt x="4164" y="1550"/>
                    </a:lnTo>
                    <a:lnTo>
                      <a:pt x="4178" y="1538"/>
                    </a:lnTo>
                    <a:lnTo>
                      <a:pt x="4182" y="1532"/>
                    </a:lnTo>
                    <a:lnTo>
                      <a:pt x="4184" y="1528"/>
                    </a:lnTo>
                    <a:lnTo>
                      <a:pt x="4184" y="1522"/>
                    </a:lnTo>
                    <a:lnTo>
                      <a:pt x="4180" y="1516"/>
                    </a:lnTo>
                    <a:lnTo>
                      <a:pt x="4174" y="1508"/>
                    </a:lnTo>
                    <a:lnTo>
                      <a:pt x="4166" y="1502"/>
                    </a:lnTo>
                    <a:lnTo>
                      <a:pt x="4166" y="1502"/>
                    </a:lnTo>
                    <a:lnTo>
                      <a:pt x="4160" y="1498"/>
                    </a:lnTo>
                    <a:lnTo>
                      <a:pt x="4150" y="1496"/>
                    </a:lnTo>
                    <a:lnTo>
                      <a:pt x="4140" y="1496"/>
                    </a:lnTo>
                    <a:lnTo>
                      <a:pt x="4130" y="1496"/>
                    </a:lnTo>
                    <a:lnTo>
                      <a:pt x="4102" y="1500"/>
                    </a:lnTo>
                    <a:lnTo>
                      <a:pt x="4074" y="1508"/>
                    </a:lnTo>
                    <a:lnTo>
                      <a:pt x="4044" y="1518"/>
                    </a:lnTo>
                    <a:lnTo>
                      <a:pt x="4018" y="1532"/>
                    </a:lnTo>
                    <a:lnTo>
                      <a:pt x="3996" y="1546"/>
                    </a:lnTo>
                    <a:lnTo>
                      <a:pt x="3988" y="1554"/>
                    </a:lnTo>
                    <a:lnTo>
                      <a:pt x="3982" y="1560"/>
                    </a:lnTo>
                    <a:lnTo>
                      <a:pt x="3982" y="1560"/>
                    </a:lnTo>
                    <a:lnTo>
                      <a:pt x="3964" y="1584"/>
                    </a:lnTo>
                    <a:lnTo>
                      <a:pt x="3948" y="1602"/>
                    </a:lnTo>
                    <a:lnTo>
                      <a:pt x="3934" y="1616"/>
                    </a:lnTo>
                    <a:lnTo>
                      <a:pt x="3922" y="1626"/>
                    </a:lnTo>
                    <a:lnTo>
                      <a:pt x="3914" y="1634"/>
                    </a:lnTo>
                    <a:lnTo>
                      <a:pt x="3908" y="1636"/>
                    </a:lnTo>
                    <a:lnTo>
                      <a:pt x="3908" y="1636"/>
                    </a:lnTo>
                    <a:lnTo>
                      <a:pt x="3908" y="1634"/>
                    </a:lnTo>
                    <a:lnTo>
                      <a:pt x="3914" y="1628"/>
                    </a:lnTo>
                    <a:lnTo>
                      <a:pt x="3914" y="1628"/>
                    </a:lnTo>
                    <a:lnTo>
                      <a:pt x="3924" y="1616"/>
                    </a:lnTo>
                    <a:lnTo>
                      <a:pt x="3936" y="1600"/>
                    </a:lnTo>
                    <a:lnTo>
                      <a:pt x="3964" y="1560"/>
                    </a:lnTo>
                    <a:lnTo>
                      <a:pt x="3978" y="1542"/>
                    </a:lnTo>
                    <a:lnTo>
                      <a:pt x="3994" y="1524"/>
                    </a:lnTo>
                    <a:lnTo>
                      <a:pt x="4010" y="1510"/>
                    </a:lnTo>
                    <a:lnTo>
                      <a:pt x="4020" y="1504"/>
                    </a:lnTo>
                    <a:lnTo>
                      <a:pt x="4030" y="1500"/>
                    </a:lnTo>
                    <a:lnTo>
                      <a:pt x="4030" y="1500"/>
                    </a:lnTo>
                    <a:lnTo>
                      <a:pt x="4040" y="1496"/>
                    </a:lnTo>
                    <a:lnTo>
                      <a:pt x="4050" y="1490"/>
                    </a:lnTo>
                    <a:lnTo>
                      <a:pt x="4056" y="1486"/>
                    </a:lnTo>
                    <a:lnTo>
                      <a:pt x="4060" y="1482"/>
                    </a:lnTo>
                    <a:lnTo>
                      <a:pt x="4066" y="1472"/>
                    </a:lnTo>
                    <a:lnTo>
                      <a:pt x="4068" y="1464"/>
                    </a:lnTo>
                    <a:lnTo>
                      <a:pt x="4072" y="1456"/>
                    </a:lnTo>
                    <a:lnTo>
                      <a:pt x="4076" y="1452"/>
                    </a:lnTo>
                    <a:lnTo>
                      <a:pt x="4082" y="1448"/>
                    </a:lnTo>
                    <a:lnTo>
                      <a:pt x="4090" y="1444"/>
                    </a:lnTo>
                    <a:lnTo>
                      <a:pt x="4102" y="1440"/>
                    </a:lnTo>
                    <a:lnTo>
                      <a:pt x="4136" y="1432"/>
                    </a:lnTo>
                    <a:lnTo>
                      <a:pt x="4136" y="1432"/>
                    </a:lnTo>
                    <a:lnTo>
                      <a:pt x="4160" y="1430"/>
                    </a:lnTo>
                    <a:lnTo>
                      <a:pt x="4182" y="1428"/>
                    </a:lnTo>
                    <a:lnTo>
                      <a:pt x="4202" y="1430"/>
                    </a:lnTo>
                    <a:lnTo>
                      <a:pt x="4220" y="1432"/>
                    </a:lnTo>
                    <a:lnTo>
                      <a:pt x="4252" y="1436"/>
                    </a:lnTo>
                    <a:lnTo>
                      <a:pt x="4278" y="1442"/>
                    </a:lnTo>
                    <a:lnTo>
                      <a:pt x="4304" y="1446"/>
                    </a:lnTo>
                    <a:lnTo>
                      <a:pt x="4316" y="1444"/>
                    </a:lnTo>
                    <a:lnTo>
                      <a:pt x="4330" y="1442"/>
                    </a:lnTo>
                    <a:lnTo>
                      <a:pt x="4342" y="1438"/>
                    </a:lnTo>
                    <a:lnTo>
                      <a:pt x="4356" y="1430"/>
                    </a:lnTo>
                    <a:lnTo>
                      <a:pt x="4370" y="1420"/>
                    </a:lnTo>
                    <a:lnTo>
                      <a:pt x="4386" y="1406"/>
                    </a:lnTo>
                    <a:lnTo>
                      <a:pt x="4386" y="1406"/>
                    </a:lnTo>
                    <a:lnTo>
                      <a:pt x="4414" y="1382"/>
                    </a:lnTo>
                    <a:lnTo>
                      <a:pt x="4434" y="1368"/>
                    </a:lnTo>
                    <a:lnTo>
                      <a:pt x="4448" y="1362"/>
                    </a:lnTo>
                    <a:lnTo>
                      <a:pt x="4458" y="1362"/>
                    </a:lnTo>
                    <a:lnTo>
                      <a:pt x="4470" y="1366"/>
                    </a:lnTo>
                    <a:lnTo>
                      <a:pt x="4474" y="1366"/>
                    </a:lnTo>
                    <a:lnTo>
                      <a:pt x="4482" y="1358"/>
                    </a:lnTo>
                    <a:lnTo>
                      <a:pt x="4482" y="1358"/>
                    </a:lnTo>
                    <a:lnTo>
                      <a:pt x="4492" y="1348"/>
                    </a:lnTo>
                    <a:lnTo>
                      <a:pt x="4502" y="1342"/>
                    </a:lnTo>
                    <a:lnTo>
                      <a:pt x="4518" y="1330"/>
                    </a:lnTo>
                    <a:lnTo>
                      <a:pt x="4524" y="1324"/>
                    </a:lnTo>
                    <a:lnTo>
                      <a:pt x="4526" y="1316"/>
                    </a:lnTo>
                    <a:lnTo>
                      <a:pt x="4526" y="1308"/>
                    </a:lnTo>
                    <a:lnTo>
                      <a:pt x="4522" y="1296"/>
                    </a:lnTo>
                    <a:lnTo>
                      <a:pt x="4522" y="1296"/>
                    </a:lnTo>
                    <a:lnTo>
                      <a:pt x="4518" y="1284"/>
                    </a:lnTo>
                    <a:lnTo>
                      <a:pt x="4518" y="1278"/>
                    </a:lnTo>
                    <a:lnTo>
                      <a:pt x="4518" y="1274"/>
                    </a:lnTo>
                    <a:lnTo>
                      <a:pt x="4522" y="1270"/>
                    </a:lnTo>
                    <a:lnTo>
                      <a:pt x="4524" y="1268"/>
                    </a:lnTo>
                    <a:lnTo>
                      <a:pt x="4526" y="1264"/>
                    </a:lnTo>
                    <a:lnTo>
                      <a:pt x="4524" y="1258"/>
                    </a:lnTo>
                    <a:lnTo>
                      <a:pt x="4522" y="1248"/>
                    </a:lnTo>
                    <a:lnTo>
                      <a:pt x="4522" y="1248"/>
                    </a:lnTo>
                    <a:lnTo>
                      <a:pt x="4516" y="1238"/>
                    </a:lnTo>
                    <a:lnTo>
                      <a:pt x="4510" y="1234"/>
                    </a:lnTo>
                    <a:lnTo>
                      <a:pt x="4502" y="1232"/>
                    </a:lnTo>
                    <a:lnTo>
                      <a:pt x="4496" y="1230"/>
                    </a:lnTo>
                    <a:lnTo>
                      <a:pt x="4488" y="1230"/>
                    </a:lnTo>
                    <a:lnTo>
                      <a:pt x="4480" y="1228"/>
                    </a:lnTo>
                    <a:lnTo>
                      <a:pt x="4472" y="1222"/>
                    </a:lnTo>
                    <a:lnTo>
                      <a:pt x="4464" y="1214"/>
                    </a:lnTo>
                    <a:lnTo>
                      <a:pt x="4464" y="1214"/>
                    </a:lnTo>
                    <a:lnTo>
                      <a:pt x="4454" y="1204"/>
                    </a:lnTo>
                    <a:lnTo>
                      <a:pt x="4446" y="1198"/>
                    </a:lnTo>
                    <a:lnTo>
                      <a:pt x="4436" y="1198"/>
                    </a:lnTo>
                    <a:lnTo>
                      <a:pt x="4428" y="1200"/>
                    </a:lnTo>
                    <a:lnTo>
                      <a:pt x="4416" y="1204"/>
                    </a:lnTo>
                    <a:lnTo>
                      <a:pt x="4406" y="1212"/>
                    </a:lnTo>
                    <a:lnTo>
                      <a:pt x="4376" y="1234"/>
                    </a:lnTo>
                    <a:lnTo>
                      <a:pt x="4376" y="1234"/>
                    </a:lnTo>
                    <a:lnTo>
                      <a:pt x="4362" y="1242"/>
                    </a:lnTo>
                    <a:lnTo>
                      <a:pt x="4352" y="1246"/>
                    </a:lnTo>
                    <a:lnTo>
                      <a:pt x="4344" y="1246"/>
                    </a:lnTo>
                    <a:lnTo>
                      <a:pt x="4342" y="1242"/>
                    </a:lnTo>
                    <a:lnTo>
                      <a:pt x="4342" y="1238"/>
                    </a:lnTo>
                    <a:lnTo>
                      <a:pt x="4346" y="1230"/>
                    </a:lnTo>
                    <a:lnTo>
                      <a:pt x="4354" y="1226"/>
                    </a:lnTo>
                    <a:lnTo>
                      <a:pt x="4364" y="1220"/>
                    </a:lnTo>
                    <a:lnTo>
                      <a:pt x="4364" y="1220"/>
                    </a:lnTo>
                    <a:lnTo>
                      <a:pt x="4376" y="1218"/>
                    </a:lnTo>
                    <a:lnTo>
                      <a:pt x="4386" y="1214"/>
                    </a:lnTo>
                    <a:lnTo>
                      <a:pt x="4400" y="1204"/>
                    </a:lnTo>
                    <a:lnTo>
                      <a:pt x="4414" y="1196"/>
                    </a:lnTo>
                    <a:lnTo>
                      <a:pt x="4424" y="1192"/>
                    </a:lnTo>
                    <a:lnTo>
                      <a:pt x="4438" y="1190"/>
                    </a:lnTo>
                    <a:lnTo>
                      <a:pt x="4438" y="1190"/>
                    </a:lnTo>
                    <a:lnTo>
                      <a:pt x="4450" y="1186"/>
                    </a:lnTo>
                    <a:lnTo>
                      <a:pt x="4456" y="1184"/>
                    </a:lnTo>
                    <a:lnTo>
                      <a:pt x="4458" y="1178"/>
                    </a:lnTo>
                    <a:lnTo>
                      <a:pt x="4456" y="1174"/>
                    </a:lnTo>
                    <a:lnTo>
                      <a:pt x="4450" y="1170"/>
                    </a:lnTo>
                    <a:lnTo>
                      <a:pt x="4442" y="1166"/>
                    </a:lnTo>
                    <a:lnTo>
                      <a:pt x="4432" y="1162"/>
                    </a:lnTo>
                    <a:lnTo>
                      <a:pt x="4418" y="1160"/>
                    </a:lnTo>
                    <a:lnTo>
                      <a:pt x="4418" y="1160"/>
                    </a:lnTo>
                    <a:lnTo>
                      <a:pt x="4406" y="1158"/>
                    </a:lnTo>
                    <a:lnTo>
                      <a:pt x="4400" y="1154"/>
                    </a:lnTo>
                    <a:lnTo>
                      <a:pt x="4396" y="1150"/>
                    </a:lnTo>
                    <a:lnTo>
                      <a:pt x="4394" y="1146"/>
                    </a:lnTo>
                    <a:lnTo>
                      <a:pt x="4392" y="1142"/>
                    </a:lnTo>
                    <a:lnTo>
                      <a:pt x="4388" y="1138"/>
                    </a:lnTo>
                    <a:lnTo>
                      <a:pt x="4378" y="1136"/>
                    </a:lnTo>
                    <a:lnTo>
                      <a:pt x="4364" y="1132"/>
                    </a:lnTo>
                    <a:lnTo>
                      <a:pt x="4364" y="1132"/>
                    </a:lnTo>
                    <a:lnTo>
                      <a:pt x="4350" y="1130"/>
                    </a:lnTo>
                    <a:lnTo>
                      <a:pt x="4342" y="1126"/>
                    </a:lnTo>
                    <a:lnTo>
                      <a:pt x="4340" y="1122"/>
                    </a:lnTo>
                    <a:lnTo>
                      <a:pt x="4338" y="1116"/>
                    </a:lnTo>
                    <a:lnTo>
                      <a:pt x="4340" y="1112"/>
                    </a:lnTo>
                    <a:lnTo>
                      <a:pt x="4338" y="1106"/>
                    </a:lnTo>
                    <a:lnTo>
                      <a:pt x="4334" y="1102"/>
                    </a:lnTo>
                    <a:lnTo>
                      <a:pt x="4324" y="1096"/>
                    </a:lnTo>
                    <a:lnTo>
                      <a:pt x="4324" y="1096"/>
                    </a:lnTo>
                    <a:lnTo>
                      <a:pt x="4314" y="1090"/>
                    </a:lnTo>
                    <a:lnTo>
                      <a:pt x="4304" y="1084"/>
                    </a:lnTo>
                    <a:lnTo>
                      <a:pt x="4296" y="1078"/>
                    </a:lnTo>
                    <a:lnTo>
                      <a:pt x="4290" y="1070"/>
                    </a:lnTo>
                    <a:lnTo>
                      <a:pt x="4286" y="1062"/>
                    </a:lnTo>
                    <a:lnTo>
                      <a:pt x="4286" y="1052"/>
                    </a:lnTo>
                    <a:lnTo>
                      <a:pt x="4288" y="1042"/>
                    </a:lnTo>
                    <a:lnTo>
                      <a:pt x="4294" y="1030"/>
                    </a:lnTo>
                    <a:lnTo>
                      <a:pt x="4294" y="1030"/>
                    </a:lnTo>
                    <a:lnTo>
                      <a:pt x="4298" y="1024"/>
                    </a:lnTo>
                    <a:lnTo>
                      <a:pt x="4298" y="1020"/>
                    </a:lnTo>
                    <a:lnTo>
                      <a:pt x="4298" y="1016"/>
                    </a:lnTo>
                    <a:lnTo>
                      <a:pt x="4296" y="1012"/>
                    </a:lnTo>
                    <a:lnTo>
                      <a:pt x="4290" y="1008"/>
                    </a:lnTo>
                    <a:lnTo>
                      <a:pt x="4282" y="1004"/>
                    </a:lnTo>
                    <a:lnTo>
                      <a:pt x="4274" y="1002"/>
                    </a:lnTo>
                    <a:lnTo>
                      <a:pt x="4268" y="998"/>
                    </a:lnTo>
                    <a:lnTo>
                      <a:pt x="4266" y="996"/>
                    </a:lnTo>
                    <a:lnTo>
                      <a:pt x="4266" y="994"/>
                    </a:lnTo>
                    <a:lnTo>
                      <a:pt x="4266" y="990"/>
                    </a:lnTo>
                    <a:lnTo>
                      <a:pt x="4270" y="986"/>
                    </a:lnTo>
                    <a:lnTo>
                      <a:pt x="4270" y="986"/>
                    </a:lnTo>
                    <a:lnTo>
                      <a:pt x="4274" y="978"/>
                    </a:lnTo>
                    <a:lnTo>
                      <a:pt x="4274" y="970"/>
                    </a:lnTo>
                    <a:lnTo>
                      <a:pt x="4270" y="966"/>
                    </a:lnTo>
                    <a:lnTo>
                      <a:pt x="4264" y="960"/>
                    </a:lnTo>
                    <a:lnTo>
                      <a:pt x="4258" y="954"/>
                    </a:lnTo>
                    <a:lnTo>
                      <a:pt x="4252" y="948"/>
                    </a:lnTo>
                    <a:lnTo>
                      <a:pt x="4246" y="940"/>
                    </a:lnTo>
                    <a:lnTo>
                      <a:pt x="4244" y="928"/>
                    </a:lnTo>
                    <a:lnTo>
                      <a:pt x="4244" y="928"/>
                    </a:lnTo>
                    <a:lnTo>
                      <a:pt x="4240" y="912"/>
                    </a:lnTo>
                    <a:lnTo>
                      <a:pt x="4238" y="908"/>
                    </a:lnTo>
                    <a:lnTo>
                      <a:pt x="4236" y="906"/>
                    </a:lnTo>
                    <a:lnTo>
                      <a:pt x="4230" y="902"/>
                    </a:lnTo>
                    <a:lnTo>
                      <a:pt x="4228" y="898"/>
                    </a:lnTo>
                    <a:lnTo>
                      <a:pt x="4226" y="890"/>
                    </a:lnTo>
                    <a:lnTo>
                      <a:pt x="4226" y="890"/>
                    </a:lnTo>
                    <a:lnTo>
                      <a:pt x="4222" y="882"/>
                    </a:lnTo>
                    <a:lnTo>
                      <a:pt x="4218" y="878"/>
                    </a:lnTo>
                    <a:lnTo>
                      <a:pt x="4210" y="872"/>
                    </a:lnTo>
                    <a:lnTo>
                      <a:pt x="4206" y="868"/>
                    </a:lnTo>
                    <a:lnTo>
                      <a:pt x="4200" y="862"/>
                    </a:lnTo>
                    <a:lnTo>
                      <a:pt x="4194" y="852"/>
                    </a:lnTo>
                    <a:lnTo>
                      <a:pt x="4186" y="838"/>
                    </a:lnTo>
                    <a:lnTo>
                      <a:pt x="4186" y="838"/>
                    </a:lnTo>
                    <a:lnTo>
                      <a:pt x="4180" y="824"/>
                    </a:lnTo>
                    <a:lnTo>
                      <a:pt x="4174" y="816"/>
                    </a:lnTo>
                    <a:lnTo>
                      <a:pt x="4168" y="812"/>
                    </a:lnTo>
                    <a:lnTo>
                      <a:pt x="4164" y="812"/>
                    </a:lnTo>
                    <a:lnTo>
                      <a:pt x="4158" y="814"/>
                    </a:lnTo>
                    <a:lnTo>
                      <a:pt x="4154" y="820"/>
                    </a:lnTo>
                    <a:lnTo>
                      <a:pt x="4140" y="836"/>
                    </a:lnTo>
                    <a:lnTo>
                      <a:pt x="4140" y="836"/>
                    </a:lnTo>
                    <a:lnTo>
                      <a:pt x="4132" y="848"/>
                    </a:lnTo>
                    <a:lnTo>
                      <a:pt x="4128" y="860"/>
                    </a:lnTo>
                    <a:lnTo>
                      <a:pt x="4124" y="884"/>
                    </a:lnTo>
                    <a:lnTo>
                      <a:pt x="4120" y="896"/>
                    </a:lnTo>
                    <a:lnTo>
                      <a:pt x="4116" y="904"/>
                    </a:lnTo>
                    <a:lnTo>
                      <a:pt x="4114" y="906"/>
                    </a:lnTo>
                    <a:lnTo>
                      <a:pt x="4110" y="908"/>
                    </a:lnTo>
                    <a:lnTo>
                      <a:pt x="4106" y="908"/>
                    </a:lnTo>
                    <a:lnTo>
                      <a:pt x="4100" y="906"/>
                    </a:lnTo>
                    <a:lnTo>
                      <a:pt x="4100" y="906"/>
                    </a:lnTo>
                    <a:lnTo>
                      <a:pt x="4090" y="904"/>
                    </a:lnTo>
                    <a:lnTo>
                      <a:pt x="4086" y="906"/>
                    </a:lnTo>
                    <a:lnTo>
                      <a:pt x="4084" y="908"/>
                    </a:lnTo>
                    <a:lnTo>
                      <a:pt x="4084" y="912"/>
                    </a:lnTo>
                    <a:lnTo>
                      <a:pt x="4082" y="916"/>
                    </a:lnTo>
                    <a:lnTo>
                      <a:pt x="4080" y="922"/>
                    </a:lnTo>
                    <a:lnTo>
                      <a:pt x="4074" y="928"/>
                    </a:lnTo>
                    <a:lnTo>
                      <a:pt x="4060" y="934"/>
                    </a:lnTo>
                    <a:lnTo>
                      <a:pt x="4060" y="934"/>
                    </a:lnTo>
                    <a:lnTo>
                      <a:pt x="4048" y="936"/>
                    </a:lnTo>
                    <a:lnTo>
                      <a:pt x="4038" y="934"/>
                    </a:lnTo>
                    <a:lnTo>
                      <a:pt x="4030" y="930"/>
                    </a:lnTo>
                    <a:lnTo>
                      <a:pt x="4024" y="922"/>
                    </a:lnTo>
                    <a:lnTo>
                      <a:pt x="4018" y="914"/>
                    </a:lnTo>
                    <a:lnTo>
                      <a:pt x="4010" y="908"/>
                    </a:lnTo>
                    <a:lnTo>
                      <a:pt x="4002" y="902"/>
                    </a:lnTo>
                    <a:lnTo>
                      <a:pt x="3988" y="900"/>
                    </a:lnTo>
                    <a:lnTo>
                      <a:pt x="3988" y="900"/>
                    </a:lnTo>
                    <a:lnTo>
                      <a:pt x="3976" y="900"/>
                    </a:lnTo>
                    <a:lnTo>
                      <a:pt x="3972" y="900"/>
                    </a:lnTo>
                    <a:lnTo>
                      <a:pt x="3970" y="896"/>
                    </a:lnTo>
                    <a:lnTo>
                      <a:pt x="3972" y="892"/>
                    </a:lnTo>
                    <a:lnTo>
                      <a:pt x="3974" y="888"/>
                    </a:lnTo>
                    <a:lnTo>
                      <a:pt x="3976" y="884"/>
                    </a:lnTo>
                    <a:lnTo>
                      <a:pt x="3974" y="880"/>
                    </a:lnTo>
                    <a:lnTo>
                      <a:pt x="3968" y="874"/>
                    </a:lnTo>
                    <a:lnTo>
                      <a:pt x="3968" y="874"/>
                    </a:lnTo>
                    <a:lnTo>
                      <a:pt x="3962" y="870"/>
                    </a:lnTo>
                    <a:lnTo>
                      <a:pt x="3960" y="866"/>
                    </a:lnTo>
                    <a:lnTo>
                      <a:pt x="3962" y="864"/>
                    </a:lnTo>
                    <a:lnTo>
                      <a:pt x="3964" y="860"/>
                    </a:lnTo>
                    <a:lnTo>
                      <a:pt x="3966" y="856"/>
                    </a:lnTo>
                    <a:lnTo>
                      <a:pt x="3968" y="850"/>
                    </a:lnTo>
                    <a:lnTo>
                      <a:pt x="3968" y="844"/>
                    </a:lnTo>
                    <a:lnTo>
                      <a:pt x="3964" y="836"/>
                    </a:lnTo>
                    <a:lnTo>
                      <a:pt x="3964" y="836"/>
                    </a:lnTo>
                    <a:lnTo>
                      <a:pt x="3960" y="824"/>
                    </a:lnTo>
                    <a:lnTo>
                      <a:pt x="3958" y="814"/>
                    </a:lnTo>
                    <a:lnTo>
                      <a:pt x="3962" y="802"/>
                    </a:lnTo>
                    <a:lnTo>
                      <a:pt x="3966" y="794"/>
                    </a:lnTo>
                    <a:lnTo>
                      <a:pt x="3974" y="776"/>
                    </a:lnTo>
                    <a:lnTo>
                      <a:pt x="3974" y="770"/>
                    </a:lnTo>
                    <a:lnTo>
                      <a:pt x="3972" y="764"/>
                    </a:lnTo>
                    <a:lnTo>
                      <a:pt x="3972" y="764"/>
                    </a:lnTo>
                    <a:lnTo>
                      <a:pt x="3968" y="758"/>
                    </a:lnTo>
                    <a:lnTo>
                      <a:pt x="3964" y="758"/>
                    </a:lnTo>
                    <a:lnTo>
                      <a:pt x="3960" y="760"/>
                    </a:lnTo>
                    <a:lnTo>
                      <a:pt x="3958" y="764"/>
                    </a:lnTo>
                    <a:lnTo>
                      <a:pt x="3954" y="770"/>
                    </a:lnTo>
                    <a:lnTo>
                      <a:pt x="3952" y="772"/>
                    </a:lnTo>
                    <a:lnTo>
                      <a:pt x="3950" y="770"/>
                    </a:lnTo>
                    <a:lnTo>
                      <a:pt x="3950" y="770"/>
                    </a:lnTo>
                    <a:lnTo>
                      <a:pt x="3944" y="766"/>
                    </a:lnTo>
                    <a:lnTo>
                      <a:pt x="3936" y="762"/>
                    </a:lnTo>
                    <a:lnTo>
                      <a:pt x="3914" y="756"/>
                    </a:lnTo>
                    <a:lnTo>
                      <a:pt x="3902" y="752"/>
                    </a:lnTo>
                    <a:lnTo>
                      <a:pt x="3894" y="748"/>
                    </a:lnTo>
                    <a:lnTo>
                      <a:pt x="3888" y="742"/>
                    </a:lnTo>
                    <a:lnTo>
                      <a:pt x="3886" y="740"/>
                    </a:lnTo>
                    <a:lnTo>
                      <a:pt x="3886" y="736"/>
                    </a:lnTo>
                    <a:lnTo>
                      <a:pt x="3886" y="736"/>
                    </a:lnTo>
                    <a:lnTo>
                      <a:pt x="3886" y="728"/>
                    </a:lnTo>
                    <a:lnTo>
                      <a:pt x="3882" y="722"/>
                    </a:lnTo>
                    <a:lnTo>
                      <a:pt x="3878" y="716"/>
                    </a:lnTo>
                    <a:lnTo>
                      <a:pt x="3870" y="710"/>
                    </a:lnTo>
                    <a:lnTo>
                      <a:pt x="3826" y="680"/>
                    </a:lnTo>
                    <a:lnTo>
                      <a:pt x="3826" y="680"/>
                    </a:lnTo>
                    <a:lnTo>
                      <a:pt x="3806" y="668"/>
                    </a:lnTo>
                    <a:lnTo>
                      <a:pt x="3800" y="668"/>
                    </a:lnTo>
                    <a:lnTo>
                      <a:pt x="3796" y="666"/>
                    </a:lnTo>
                    <a:lnTo>
                      <a:pt x="3790" y="668"/>
                    </a:lnTo>
                    <a:lnTo>
                      <a:pt x="3788" y="670"/>
                    </a:lnTo>
                    <a:lnTo>
                      <a:pt x="3780" y="678"/>
                    </a:lnTo>
                    <a:lnTo>
                      <a:pt x="3774" y="680"/>
                    </a:lnTo>
                    <a:lnTo>
                      <a:pt x="3768" y="684"/>
                    </a:lnTo>
                    <a:lnTo>
                      <a:pt x="3760" y="684"/>
                    </a:lnTo>
                    <a:lnTo>
                      <a:pt x="3750" y="686"/>
                    </a:lnTo>
                    <a:lnTo>
                      <a:pt x="3736" y="684"/>
                    </a:lnTo>
                    <a:lnTo>
                      <a:pt x="3720" y="680"/>
                    </a:lnTo>
                    <a:lnTo>
                      <a:pt x="3700" y="674"/>
                    </a:lnTo>
                    <a:lnTo>
                      <a:pt x="3676" y="664"/>
                    </a:lnTo>
                    <a:lnTo>
                      <a:pt x="3676" y="664"/>
                    </a:lnTo>
                    <a:lnTo>
                      <a:pt x="3666" y="662"/>
                    </a:lnTo>
                    <a:lnTo>
                      <a:pt x="3656" y="660"/>
                    </a:lnTo>
                    <a:lnTo>
                      <a:pt x="3648" y="660"/>
                    </a:lnTo>
                    <a:lnTo>
                      <a:pt x="3642" y="662"/>
                    </a:lnTo>
                    <a:lnTo>
                      <a:pt x="3636" y="664"/>
                    </a:lnTo>
                    <a:lnTo>
                      <a:pt x="3632" y="668"/>
                    </a:lnTo>
                    <a:lnTo>
                      <a:pt x="3626" y="678"/>
                    </a:lnTo>
                    <a:lnTo>
                      <a:pt x="3622" y="690"/>
                    </a:lnTo>
                    <a:lnTo>
                      <a:pt x="3622" y="702"/>
                    </a:lnTo>
                    <a:lnTo>
                      <a:pt x="3626" y="712"/>
                    </a:lnTo>
                    <a:lnTo>
                      <a:pt x="3630" y="720"/>
                    </a:lnTo>
                    <a:lnTo>
                      <a:pt x="3630" y="720"/>
                    </a:lnTo>
                    <a:lnTo>
                      <a:pt x="3634" y="726"/>
                    </a:lnTo>
                    <a:lnTo>
                      <a:pt x="3636" y="732"/>
                    </a:lnTo>
                    <a:lnTo>
                      <a:pt x="3638" y="738"/>
                    </a:lnTo>
                    <a:lnTo>
                      <a:pt x="3638" y="746"/>
                    </a:lnTo>
                    <a:lnTo>
                      <a:pt x="3634" y="760"/>
                    </a:lnTo>
                    <a:lnTo>
                      <a:pt x="3626" y="772"/>
                    </a:lnTo>
                    <a:lnTo>
                      <a:pt x="3626" y="772"/>
                    </a:lnTo>
                    <a:lnTo>
                      <a:pt x="3622" y="776"/>
                    </a:lnTo>
                    <a:lnTo>
                      <a:pt x="3622" y="780"/>
                    </a:lnTo>
                    <a:lnTo>
                      <a:pt x="3624" y="782"/>
                    </a:lnTo>
                    <a:lnTo>
                      <a:pt x="3626" y="786"/>
                    </a:lnTo>
                    <a:lnTo>
                      <a:pt x="3634" y="794"/>
                    </a:lnTo>
                    <a:lnTo>
                      <a:pt x="3640" y="802"/>
                    </a:lnTo>
                    <a:lnTo>
                      <a:pt x="3644" y="814"/>
                    </a:lnTo>
                    <a:lnTo>
                      <a:pt x="3644" y="814"/>
                    </a:lnTo>
                    <a:lnTo>
                      <a:pt x="3648" y="824"/>
                    </a:lnTo>
                    <a:lnTo>
                      <a:pt x="3650" y="832"/>
                    </a:lnTo>
                    <a:lnTo>
                      <a:pt x="3650" y="840"/>
                    </a:lnTo>
                    <a:lnTo>
                      <a:pt x="3648" y="844"/>
                    </a:lnTo>
                    <a:lnTo>
                      <a:pt x="3642" y="854"/>
                    </a:lnTo>
                    <a:lnTo>
                      <a:pt x="3636" y="870"/>
                    </a:lnTo>
                    <a:lnTo>
                      <a:pt x="3636" y="870"/>
                    </a:lnTo>
                    <a:lnTo>
                      <a:pt x="3634" y="878"/>
                    </a:lnTo>
                    <a:lnTo>
                      <a:pt x="3630" y="882"/>
                    </a:lnTo>
                    <a:lnTo>
                      <a:pt x="3620" y="888"/>
                    </a:lnTo>
                    <a:lnTo>
                      <a:pt x="3616" y="890"/>
                    </a:lnTo>
                    <a:lnTo>
                      <a:pt x="3612" y="894"/>
                    </a:lnTo>
                    <a:lnTo>
                      <a:pt x="3610" y="900"/>
                    </a:lnTo>
                    <a:lnTo>
                      <a:pt x="3606" y="910"/>
                    </a:lnTo>
                    <a:lnTo>
                      <a:pt x="3606" y="910"/>
                    </a:lnTo>
                    <a:lnTo>
                      <a:pt x="3606" y="916"/>
                    </a:lnTo>
                    <a:lnTo>
                      <a:pt x="3608" y="920"/>
                    </a:lnTo>
                    <a:lnTo>
                      <a:pt x="3614" y="926"/>
                    </a:lnTo>
                    <a:lnTo>
                      <a:pt x="3622" y="932"/>
                    </a:lnTo>
                    <a:lnTo>
                      <a:pt x="3634" y="940"/>
                    </a:lnTo>
                    <a:lnTo>
                      <a:pt x="3648" y="950"/>
                    </a:lnTo>
                    <a:lnTo>
                      <a:pt x="3660" y="964"/>
                    </a:lnTo>
                    <a:lnTo>
                      <a:pt x="3666" y="972"/>
                    </a:lnTo>
                    <a:lnTo>
                      <a:pt x="3672" y="984"/>
                    </a:lnTo>
                    <a:lnTo>
                      <a:pt x="3678" y="996"/>
                    </a:lnTo>
                    <a:lnTo>
                      <a:pt x="3684" y="1010"/>
                    </a:lnTo>
                    <a:lnTo>
                      <a:pt x="3684" y="1010"/>
                    </a:lnTo>
                    <a:lnTo>
                      <a:pt x="3686" y="1026"/>
                    </a:lnTo>
                    <a:lnTo>
                      <a:pt x="3688" y="1040"/>
                    </a:lnTo>
                    <a:lnTo>
                      <a:pt x="3688" y="1052"/>
                    </a:lnTo>
                    <a:lnTo>
                      <a:pt x="3684" y="1066"/>
                    </a:lnTo>
                    <a:lnTo>
                      <a:pt x="3680" y="1078"/>
                    </a:lnTo>
                    <a:lnTo>
                      <a:pt x="3674" y="1088"/>
                    </a:lnTo>
                    <a:lnTo>
                      <a:pt x="3668" y="1100"/>
                    </a:lnTo>
                    <a:lnTo>
                      <a:pt x="3660" y="1108"/>
                    </a:lnTo>
                    <a:lnTo>
                      <a:pt x="3642" y="1126"/>
                    </a:lnTo>
                    <a:lnTo>
                      <a:pt x="3624" y="1140"/>
                    </a:lnTo>
                    <a:lnTo>
                      <a:pt x="3604" y="1150"/>
                    </a:lnTo>
                    <a:lnTo>
                      <a:pt x="3584" y="1158"/>
                    </a:lnTo>
                    <a:lnTo>
                      <a:pt x="3584" y="1158"/>
                    </a:lnTo>
                    <a:lnTo>
                      <a:pt x="3570" y="1166"/>
                    </a:lnTo>
                    <a:lnTo>
                      <a:pt x="3562" y="1172"/>
                    </a:lnTo>
                    <a:lnTo>
                      <a:pt x="3562" y="1174"/>
                    </a:lnTo>
                    <a:lnTo>
                      <a:pt x="3562" y="1176"/>
                    </a:lnTo>
                    <a:lnTo>
                      <a:pt x="3566" y="1184"/>
                    </a:lnTo>
                    <a:lnTo>
                      <a:pt x="3572" y="1190"/>
                    </a:lnTo>
                    <a:lnTo>
                      <a:pt x="3578" y="1200"/>
                    </a:lnTo>
                    <a:lnTo>
                      <a:pt x="3582" y="1212"/>
                    </a:lnTo>
                    <a:lnTo>
                      <a:pt x="3584" y="1220"/>
                    </a:lnTo>
                    <a:lnTo>
                      <a:pt x="3584" y="1228"/>
                    </a:lnTo>
                    <a:lnTo>
                      <a:pt x="3584" y="1228"/>
                    </a:lnTo>
                    <a:lnTo>
                      <a:pt x="3586" y="1244"/>
                    </a:lnTo>
                    <a:lnTo>
                      <a:pt x="3588" y="1260"/>
                    </a:lnTo>
                    <a:lnTo>
                      <a:pt x="3598" y="1290"/>
                    </a:lnTo>
                    <a:lnTo>
                      <a:pt x="3602" y="1302"/>
                    </a:lnTo>
                    <a:lnTo>
                      <a:pt x="3604" y="1314"/>
                    </a:lnTo>
                    <a:lnTo>
                      <a:pt x="3604" y="1324"/>
                    </a:lnTo>
                    <a:lnTo>
                      <a:pt x="3600" y="1328"/>
                    </a:lnTo>
                    <a:lnTo>
                      <a:pt x="3598" y="1330"/>
                    </a:lnTo>
                    <a:lnTo>
                      <a:pt x="3598" y="1330"/>
                    </a:lnTo>
                    <a:lnTo>
                      <a:pt x="3594" y="1334"/>
                    </a:lnTo>
                    <a:lnTo>
                      <a:pt x="3592" y="1336"/>
                    </a:lnTo>
                    <a:lnTo>
                      <a:pt x="3590" y="1344"/>
                    </a:lnTo>
                    <a:lnTo>
                      <a:pt x="3592" y="1352"/>
                    </a:lnTo>
                    <a:lnTo>
                      <a:pt x="3594" y="1358"/>
                    </a:lnTo>
                    <a:lnTo>
                      <a:pt x="3596" y="1362"/>
                    </a:lnTo>
                    <a:lnTo>
                      <a:pt x="3594" y="1366"/>
                    </a:lnTo>
                    <a:lnTo>
                      <a:pt x="3590" y="1364"/>
                    </a:lnTo>
                    <a:lnTo>
                      <a:pt x="3580" y="1358"/>
                    </a:lnTo>
                    <a:lnTo>
                      <a:pt x="3580" y="1358"/>
                    </a:lnTo>
                    <a:lnTo>
                      <a:pt x="3570" y="1354"/>
                    </a:lnTo>
                    <a:lnTo>
                      <a:pt x="3568" y="1354"/>
                    </a:lnTo>
                    <a:lnTo>
                      <a:pt x="3566" y="1356"/>
                    </a:lnTo>
                    <a:lnTo>
                      <a:pt x="3562" y="1362"/>
                    </a:lnTo>
                    <a:lnTo>
                      <a:pt x="3562" y="1370"/>
                    </a:lnTo>
                    <a:lnTo>
                      <a:pt x="3562" y="1376"/>
                    </a:lnTo>
                    <a:lnTo>
                      <a:pt x="3560" y="1382"/>
                    </a:lnTo>
                    <a:lnTo>
                      <a:pt x="3558" y="1384"/>
                    </a:lnTo>
                    <a:lnTo>
                      <a:pt x="3554" y="1384"/>
                    </a:lnTo>
                    <a:lnTo>
                      <a:pt x="3546" y="1380"/>
                    </a:lnTo>
                    <a:lnTo>
                      <a:pt x="3546" y="1380"/>
                    </a:lnTo>
                    <a:lnTo>
                      <a:pt x="3536" y="1372"/>
                    </a:lnTo>
                    <a:lnTo>
                      <a:pt x="3530" y="1366"/>
                    </a:lnTo>
                    <a:lnTo>
                      <a:pt x="3522" y="1352"/>
                    </a:lnTo>
                    <a:lnTo>
                      <a:pt x="3516" y="1342"/>
                    </a:lnTo>
                    <a:lnTo>
                      <a:pt x="3508" y="1332"/>
                    </a:lnTo>
                    <a:lnTo>
                      <a:pt x="3494" y="1316"/>
                    </a:lnTo>
                    <a:lnTo>
                      <a:pt x="3474" y="1298"/>
                    </a:lnTo>
                    <a:lnTo>
                      <a:pt x="3474" y="1298"/>
                    </a:lnTo>
                    <a:lnTo>
                      <a:pt x="3464" y="1286"/>
                    </a:lnTo>
                    <a:lnTo>
                      <a:pt x="3458" y="1276"/>
                    </a:lnTo>
                    <a:lnTo>
                      <a:pt x="3456" y="1266"/>
                    </a:lnTo>
                    <a:lnTo>
                      <a:pt x="3456" y="1254"/>
                    </a:lnTo>
                    <a:lnTo>
                      <a:pt x="3456" y="1234"/>
                    </a:lnTo>
                    <a:lnTo>
                      <a:pt x="3456" y="1222"/>
                    </a:lnTo>
                    <a:lnTo>
                      <a:pt x="3454" y="1210"/>
                    </a:lnTo>
                    <a:lnTo>
                      <a:pt x="3454" y="1210"/>
                    </a:lnTo>
                    <a:lnTo>
                      <a:pt x="3450" y="1194"/>
                    </a:lnTo>
                    <a:lnTo>
                      <a:pt x="3450" y="1182"/>
                    </a:lnTo>
                    <a:lnTo>
                      <a:pt x="3454" y="1172"/>
                    </a:lnTo>
                    <a:lnTo>
                      <a:pt x="3456" y="1162"/>
                    </a:lnTo>
                    <a:lnTo>
                      <a:pt x="3458" y="1154"/>
                    </a:lnTo>
                    <a:lnTo>
                      <a:pt x="3456" y="1148"/>
                    </a:lnTo>
                    <a:lnTo>
                      <a:pt x="3452" y="1142"/>
                    </a:lnTo>
                    <a:lnTo>
                      <a:pt x="3440" y="1138"/>
                    </a:lnTo>
                    <a:lnTo>
                      <a:pt x="3440" y="1138"/>
                    </a:lnTo>
                    <a:lnTo>
                      <a:pt x="3414" y="1134"/>
                    </a:lnTo>
                    <a:lnTo>
                      <a:pt x="3394" y="1130"/>
                    </a:lnTo>
                    <a:lnTo>
                      <a:pt x="3378" y="1130"/>
                    </a:lnTo>
                    <a:lnTo>
                      <a:pt x="3368" y="1130"/>
                    </a:lnTo>
                    <a:lnTo>
                      <a:pt x="3354" y="1132"/>
                    </a:lnTo>
                    <a:lnTo>
                      <a:pt x="3346" y="1132"/>
                    </a:lnTo>
                    <a:lnTo>
                      <a:pt x="3340" y="1130"/>
                    </a:lnTo>
                    <a:lnTo>
                      <a:pt x="3340" y="1130"/>
                    </a:lnTo>
                    <a:lnTo>
                      <a:pt x="3334" y="1128"/>
                    </a:lnTo>
                    <a:lnTo>
                      <a:pt x="3330" y="1124"/>
                    </a:lnTo>
                    <a:lnTo>
                      <a:pt x="3322" y="1116"/>
                    </a:lnTo>
                    <a:lnTo>
                      <a:pt x="3316" y="1110"/>
                    </a:lnTo>
                    <a:lnTo>
                      <a:pt x="3306" y="1104"/>
                    </a:lnTo>
                    <a:lnTo>
                      <a:pt x="3290" y="1098"/>
                    </a:lnTo>
                    <a:lnTo>
                      <a:pt x="3268" y="1092"/>
                    </a:lnTo>
                    <a:lnTo>
                      <a:pt x="3268" y="1092"/>
                    </a:lnTo>
                    <a:lnTo>
                      <a:pt x="3246" y="1084"/>
                    </a:lnTo>
                    <a:lnTo>
                      <a:pt x="3236" y="1078"/>
                    </a:lnTo>
                    <a:lnTo>
                      <a:pt x="3232" y="1072"/>
                    </a:lnTo>
                    <a:lnTo>
                      <a:pt x="3230" y="1066"/>
                    </a:lnTo>
                    <a:lnTo>
                      <a:pt x="3226" y="1058"/>
                    </a:lnTo>
                    <a:lnTo>
                      <a:pt x="3216" y="1048"/>
                    </a:lnTo>
                    <a:lnTo>
                      <a:pt x="3198" y="1036"/>
                    </a:lnTo>
                    <a:lnTo>
                      <a:pt x="3166" y="1022"/>
                    </a:lnTo>
                    <a:lnTo>
                      <a:pt x="3166" y="1022"/>
                    </a:lnTo>
                    <a:lnTo>
                      <a:pt x="3146" y="1016"/>
                    </a:lnTo>
                    <a:lnTo>
                      <a:pt x="3130" y="1012"/>
                    </a:lnTo>
                    <a:lnTo>
                      <a:pt x="3114" y="1010"/>
                    </a:lnTo>
                    <a:lnTo>
                      <a:pt x="3102" y="1010"/>
                    </a:lnTo>
                    <a:lnTo>
                      <a:pt x="3090" y="1012"/>
                    </a:lnTo>
                    <a:lnTo>
                      <a:pt x="3080" y="1014"/>
                    </a:lnTo>
                    <a:lnTo>
                      <a:pt x="3064" y="1020"/>
                    </a:lnTo>
                    <a:lnTo>
                      <a:pt x="3052" y="1026"/>
                    </a:lnTo>
                    <a:lnTo>
                      <a:pt x="3046" y="1028"/>
                    </a:lnTo>
                    <a:lnTo>
                      <a:pt x="3044" y="1026"/>
                    </a:lnTo>
                    <a:lnTo>
                      <a:pt x="3042" y="1022"/>
                    </a:lnTo>
                    <a:lnTo>
                      <a:pt x="3040" y="1008"/>
                    </a:lnTo>
                    <a:lnTo>
                      <a:pt x="3040" y="1008"/>
                    </a:lnTo>
                    <a:lnTo>
                      <a:pt x="3040" y="992"/>
                    </a:lnTo>
                    <a:lnTo>
                      <a:pt x="3038" y="978"/>
                    </a:lnTo>
                    <a:lnTo>
                      <a:pt x="3032" y="962"/>
                    </a:lnTo>
                    <a:lnTo>
                      <a:pt x="3026" y="948"/>
                    </a:lnTo>
                    <a:lnTo>
                      <a:pt x="3024" y="938"/>
                    </a:lnTo>
                    <a:lnTo>
                      <a:pt x="3020" y="928"/>
                    </a:lnTo>
                    <a:lnTo>
                      <a:pt x="3020" y="928"/>
                    </a:lnTo>
                    <a:lnTo>
                      <a:pt x="3018" y="922"/>
                    </a:lnTo>
                    <a:lnTo>
                      <a:pt x="3016" y="918"/>
                    </a:lnTo>
                    <a:lnTo>
                      <a:pt x="3012" y="914"/>
                    </a:lnTo>
                    <a:lnTo>
                      <a:pt x="3008" y="914"/>
                    </a:lnTo>
                    <a:lnTo>
                      <a:pt x="2998" y="912"/>
                    </a:lnTo>
                    <a:lnTo>
                      <a:pt x="2986" y="912"/>
                    </a:lnTo>
                    <a:lnTo>
                      <a:pt x="2974" y="910"/>
                    </a:lnTo>
                    <a:lnTo>
                      <a:pt x="2968" y="908"/>
                    </a:lnTo>
                    <a:lnTo>
                      <a:pt x="2962" y="904"/>
                    </a:lnTo>
                    <a:lnTo>
                      <a:pt x="2958" y="898"/>
                    </a:lnTo>
                    <a:lnTo>
                      <a:pt x="2954" y="890"/>
                    </a:lnTo>
                    <a:lnTo>
                      <a:pt x="2950" y="882"/>
                    </a:lnTo>
                    <a:lnTo>
                      <a:pt x="2948" y="868"/>
                    </a:lnTo>
                    <a:lnTo>
                      <a:pt x="2948" y="868"/>
                    </a:lnTo>
                    <a:lnTo>
                      <a:pt x="2948" y="854"/>
                    </a:lnTo>
                    <a:lnTo>
                      <a:pt x="2948" y="840"/>
                    </a:lnTo>
                    <a:lnTo>
                      <a:pt x="2952" y="824"/>
                    </a:lnTo>
                    <a:lnTo>
                      <a:pt x="2956" y="808"/>
                    </a:lnTo>
                    <a:lnTo>
                      <a:pt x="2968" y="778"/>
                    </a:lnTo>
                    <a:lnTo>
                      <a:pt x="2982" y="750"/>
                    </a:lnTo>
                    <a:lnTo>
                      <a:pt x="2998" y="724"/>
                    </a:lnTo>
                    <a:lnTo>
                      <a:pt x="3014" y="706"/>
                    </a:lnTo>
                    <a:lnTo>
                      <a:pt x="3026" y="692"/>
                    </a:lnTo>
                    <a:lnTo>
                      <a:pt x="3030" y="690"/>
                    </a:lnTo>
                    <a:lnTo>
                      <a:pt x="3034" y="690"/>
                    </a:lnTo>
                    <a:lnTo>
                      <a:pt x="3034" y="690"/>
                    </a:lnTo>
                    <a:lnTo>
                      <a:pt x="3038" y="688"/>
                    </a:lnTo>
                    <a:lnTo>
                      <a:pt x="3042" y="684"/>
                    </a:lnTo>
                    <a:lnTo>
                      <a:pt x="3044" y="670"/>
                    </a:lnTo>
                    <a:lnTo>
                      <a:pt x="3048" y="662"/>
                    </a:lnTo>
                    <a:lnTo>
                      <a:pt x="3052" y="654"/>
                    </a:lnTo>
                    <a:lnTo>
                      <a:pt x="3060" y="648"/>
                    </a:lnTo>
                    <a:lnTo>
                      <a:pt x="3070" y="646"/>
                    </a:lnTo>
                    <a:lnTo>
                      <a:pt x="3070" y="646"/>
                    </a:lnTo>
                    <a:lnTo>
                      <a:pt x="3096" y="644"/>
                    </a:lnTo>
                    <a:lnTo>
                      <a:pt x="3106" y="640"/>
                    </a:lnTo>
                    <a:lnTo>
                      <a:pt x="3116" y="636"/>
                    </a:lnTo>
                    <a:lnTo>
                      <a:pt x="3120" y="630"/>
                    </a:lnTo>
                    <a:lnTo>
                      <a:pt x="3120" y="624"/>
                    </a:lnTo>
                    <a:lnTo>
                      <a:pt x="3116" y="614"/>
                    </a:lnTo>
                    <a:lnTo>
                      <a:pt x="3106" y="604"/>
                    </a:lnTo>
                    <a:lnTo>
                      <a:pt x="3106" y="604"/>
                    </a:lnTo>
                    <a:lnTo>
                      <a:pt x="3098" y="596"/>
                    </a:lnTo>
                    <a:lnTo>
                      <a:pt x="3098" y="594"/>
                    </a:lnTo>
                    <a:lnTo>
                      <a:pt x="3098" y="592"/>
                    </a:lnTo>
                    <a:lnTo>
                      <a:pt x="3104" y="590"/>
                    </a:lnTo>
                    <a:lnTo>
                      <a:pt x="3112" y="590"/>
                    </a:lnTo>
                    <a:lnTo>
                      <a:pt x="3124" y="590"/>
                    </a:lnTo>
                    <a:lnTo>
                      <a:pt x="3136" y="586"/>
                    </a:lnTo>
                    <a:lnTo>
                      <a:pt x="3140" y="584"/>
                    </a:lnTo>
                    <a:lnTo>
                      <a:pt x="3144" y="580"/>
                    </a:lnTo>
                    <a:lnTo>
                      <a:pt x="3148" y="576"/>
                    </a:lnTo>
                    <a:lnTo>
                      <a:pt x="3150" y="568"/>
                    </a:lnTo>
                    <a:lnTo>
                      <a:pt x="3150" y="568"/>
                    </a:lnTo>
                    <a:lnTo>
                      <a:pt x="3152" y="562"/>
                    </a:lnTo>
                    <a:lnTo>
                      <a:pt x="3154" y="558"/>
                    </a:lnTo>
                    <a:lnTo>
                      <a:pt x="3156" y="556"/>
                    </a:lnTo>
                    <a:lnTo>
                      <a:pt x="3158" y="556"/>
                    </a:lnTo>
                    <a:lnTo>
                      <a:pt x="3166" y="560"/>
                    </a:lnTo>
                    <a:lnTo>
                      <a:pt x="3176" y="566"/>
                    </a:lnTo>
                    <a:lnTo>
                      <a:pt x="3188" y="570"/>
                    </a:lnTo>
                    <a:lnTo>
                      <a:pt x="3194" y="572"/>
                    </a:lnTo>
                    <a:lnTo>
                      <a:pt x="3200" y="570"/>
                    </a:lnTo>
                    <a:lnTo>
                      <a:pt x="3206" y="568"/>
                    </a:lnTo>
                    <a:lnTo>
                      <a:pt x="3214" y="562"/>
                    </a:lnTo>
                    <a:lnTo>
                      <a:pt x="3220" y="554"/>
                    </a:lnTo>
                    <a:lnTo>
                      <a:pt x="3228" y="542"/>
                    </a:lnTo>
                    <a:lnTo>
                      <a:pt x="3228" y="542"/>
                    </a:lnTo>
                    <a:lnTo>
                      <a:pt x="3242" y="520"/>
                    </a:lnTo>
                    <a:lnTo>
                      <a:pt x="3252" y="506"/>
                    </a:lnTo>
                    <a:lnTo>
                      <a:pt x="3258" y="496"/>
                    </a:lnTo>
                    <a:lnTo>
                      <a:pt x="3260" y="492"/>
                    </a:lnTo>
                    <a:lnTo>
                      <a:pt x="3258" y="490"/>
                    </a:lnTo>
                    <a:lnTo>
                      <a:pt x="3256" y="488"/>
                    </a:lnTo>
                    <a:lnTo>
                      <a:pt x="3244" y="486"/>
                    </a:lnTo>
                    <a:lnTo>
                      <a:pt x="3228" y="484"/>
                    </a:lnTo>
                    <a:lnTo>
                      <a:pt x="3204" y="478"/>
                    </a:lnTo>
                    <a:lnTo>
                      <a:pt x="3204" y="478"/>
                    </a:lnTo>
                    <a:lnTo>
                      <a:pt x="3186" y="474"/>
                    </a:lnTo>
                    <a:lnTo>
                      <a:pt x="3176" y="470"/>
                    </a:lnTo>
                    <a:lnTo>
                      <a:pt x="3170" y="464"/>
                    </a:lnTo>
                    <a:lnTo>
                      <a:pt x="3164" y="460"/>
                    </a:lnTo>
                    <a:lnTo>
                      <a:pt x="3154" y="450"/>
                    </a:lnTo>
                    <a:lnTo>
                      <a:pt x="3144" y="444"/>
                    </a:lnTo>
                    <a:lnTo>
                      <a:pt x="3132" y="438"/>
                    </a:lnTo>
                    <a:lnTo>
                      <a:pt x="3132" y="438"/>
                    </a:lnTo>
                    <a:lnTo>
                      <a:pt x="3140" y="438"/>
                    </a:lnTo>
                    <a:lnTo>
                      <a:pt x="3148" y="438"/>
                    </a:lnTo>
                    <a:lnTo>
                      <a:pt x="3158" y="440"/>
                    </a:lnTo>
                    <a:lnTo>
                      <a:pt x="3166" y="442"/>
                    </a:lnTo>
                    <a:lnTo>
                      <a:pt x="3184" y="452"/>
                    </a:lnTo>
                    <a:lnTo>
                      <a:pt x="3202" y="462"/>
                    </a:lnTo>
                    <a:lnTo>
                      <a:pt x="3220" y="470"/>
                    </a:lnTo>
                    <a:lnTo>
                      <a:pt x="3230" y="472"/>
                    </a:lnTo>
                    <a:lnTo>
                      <a:pt x="3238" y="474"/>
                    </a:lnTo>
                    <a:lnTo>
                      <a:pt x="3246" y="474"/>
                    </a:lnTo>
                    <a:lnTo>
                      <a:pt x="3254" y="472"/>
                    </a:lnTo>
                    <a:lnTo>
                      <a:pt x="3262" y="466"/>
                    </a:lnTo>
                    <a:lnTo>
                      <a:pt x="3270" y="460"/>
                    </a:lnTo>
                    <a:lnTo>
                      <a:pt x="3270" y="460"/>
                    </a:lnTo>
                    <a:lnTo>
                      <a:pt x="3296" y="434"/>
                    </a:lnTo>
                    <a:lnTo>
                      <a:pt x="3302" y="426"/>
                    </a:lnTo>
                    <a:lnTo>
                      <a:pt x="3304" y="420"/>
                    </a:lnTo>
                    <a:lnTo>
                      <a:pt x="3304" y="416"/>
                    </a:lnTo>
                    <a:lnTo>
                      <a:pt x="3298" y="412"/>
                    </a:lnTo>
                    <a:lnTo>
                      <a:pt x="3278" y="402"/>
                    </a:lnTo>
                    <a:lnTo>
                      <a:pt x="3278" y="402"/>
                    </a:lnTo>
                    <a:lnTo>
                      <a:pt x="3270" y="394"/>
                    </a:lnTo>
                    <a:lnTo>
                      <a:pt x="3270" y="392"/>
                    </a:lnTo>
                    <a:lnTo>
                      <a:pt x="3270" y="390"/>
                    </a:lnTo>
                    <a:lnTo>
                      <a:pt x="3278" y="388"/>
                    </a:lnTo>
                    <a:lnTo>
                      <a:pt x="3288" y="388"/>
                    </a:lnTo>
                    <a:lnTo>
                      <a:pt x="3302" y="388"/>
                    </a:lnTo>
                    <a:lnTo>
                      <a:pt x="3316" y="390"/>
                    </a:lnTo>
                    <a:lnTo>
                      <a:pt x="3328" y="394"/>
                    </a:lnTo>
                    <a:lnTo>
                      <a:pt x="3336" y="400"/>
                    </a:lnTo>
                    <a:lnTo>
                      <a:pt x="3336" y="400"/>
                    </a:lnTo>
                    <a:lnTo>
                      <a:pt x="3346" y="410"/>
                    </a:lnTo>
                    <a:lnTo>
                      <a:pt x="3356" y="418"/>
                    </a:lnTo>
                    <a:lnTo>
                      <a:pt x="3366" y="426"/>
                    </a:lnTo>
                    <a:lnTo>
                      <a:pt x="3374" y="438"/>
                    </a:lnTo>
                    <a:lnTo>
                      <a:pt x="3374" y="438"/>
                    </a:lnTo>
                    <a:lnTo>
                      <a:pt x="3380" y="448"/>
                    </a:lnTo>
                    <a:lnTo>
                      <a:pt x="3388" y="452"/>
                    </a:lnTo>
                    <a:lnTo>
                      <a:pt x="3398" y="454"/>
                    </a:lnTo>
                    <a:lnTo>
                      <a:pt x="3410" y="452"/>
                    </a:lnTo>
                    <a:lnTo>
                      <a:pt x="3410" y="452"/>
                    </a:lnTo>
                    <a:lnTo>
                      <a:pt x="3412" y="450"/>
                    </a:lnTo>
                    <a:lnTo>
                      <a:pt x="3414" y="448"/>
                    </a:lnTo>
                    <a:lnTo>
                      <a:pt x="3412" y="444"/>
                    </a:lnTo>
                    <a:lnTo>
                      <a:pt x="3398" y="436"/>
                    </a:lnTo>
                    <a:lnTo>
                      <a:pt x="3392" y="432"/>
                    </a:lnTo>
                    <a:lnTo>
                      <a:pt x="3386" y="426"/>
                    </a:lnTo>
                    <a:lnTo>
                      <a:pt x="3384" y="424"/>
                    </a:lnTo>
                    <a:lnTo>
                      <a:pt x="3384" y="422"/>
                    </a:lnTo>
                    <a:lnTo>
                      <a:pt x="3386" y="418"/>
                    </a:lnTo>
                    <a:lnTo>
                      <a:pt x="3390" y="416"/>
                    </a:lnTo>
                    <a:lnTo>
                      <a:pt x="3390" y="416"/>
                    </a:lnTo>
                    <a:lnTo>
                      <a:pt x="3398" y="412"/>
                    </a:lnTo>
                    <a:lnTo>
                      <a:pt x="3404" y="406"/>
                    </a:lnTo>
                    <a:lnTo>
                      <a:pt x="3414" y="396"/>
                    </a:lnTo>
                    <a:lnTo>
                      <a:pt x="3426" y="388"/>
                    </a:lnTo>
                    <a:lnTo>
                      <a:pt x="3432" y="386"/>
                    </a:lnTo>
                    <a:lnTo>
                      <a:pt x="3438" y="386"/>
                    </a:lnTo>
                    <a:lnTo>
                      <a:pt x="3438" y="386"/>
                    </a:lnTo>
                    <a:lnTo>
                      <a:pt x="3444" y="386"/>
                    </a:lnTo>
                    <a:lnTo>
                      <a:pt x="3450" y="384"/>
                    </a:lnTo>
                    <a:lnTo>
                      <a:pt x="3456" y="380"/>
                    </a:lnTo>
                    <a:lnTo>
                      <a:pt x="3460" y="374"/>
                    </a:lnTo>
                    <a:lnTo>
                      <a:pt x="3468" y="364"/>
                    </a:lnTo>
                    <a:lnTo>
                      <a:pt x="3474" y="360"/>
                    </a:lnTo>
                    <a:lnTo>
                      <a:pt x="3478" y="360"/>
                    </a:lnTo>
                    <a:lnTo>
                      <a:pt x="3478" y="360"/>
                    </a:lnTo>
                    <a:lnTo>
                      <a:pt x="3484" y="358"/>
                    </a:lnTo>
                    <a:lnTo>
                      <a:pt x="3490" y="354"/>
                    </a:lnTo>
                    <a:lnTo>
                      <a:pt x="3492" y="348"/>
                    </a:lnTo>
                    <a:lnTo>
                      <a:pt x="3494" y="342"/>
                    </a:lnTo>
                    <a:lnTo>
                      <a:pt x="3492" y="334"/>
                    </a:lnTo>
                    <a:lnTo>
                      <a:pt x="3488" y="324"/>
                    </a:lnTo>
                    <a:lnTo>
                      <a:pt x="3482" y="316"/>
                    </a:lnTo>
                    <a:lnTo>
                      <a:pt x="3472" y="306"/>
                    </a:lnTo>
                    <a:lnTo>
                      <a:pt x="3472" y="306"/>
                    </a:lnTo>
                    <a:lnTo>
                      <a:pt x="3464" y="298"/>
                    </a:lnTo>
                    <a:lnTo>
                      <a:pt x="3460" y="292"/>
                    </a:lnTo>
                    <a:lnTo>
                      <a:pt x="3460" y="288"/>
                    </a:lnTo>
                    <a:lnTo>
                      <a:pt x="3462" y="284"/>
                    </a:lnTo>
                    <a:lnTo>
                      <a:pt x="3464" y="282"/>
                    </a:lnTo>
                    <a:lnTo>
                      <a:pt x="3466" y="278"/>
                    </a:lnTo>
                    <a:lnTo>
                      <a:pt x="3464" y="272"/>
                    </a:lnTo>
                    <a:lnTo>
                      <a:pt x="3458" y="266"/>
                    </a:lnTo>
                    <a:lnTo>
                      <a:pt x="3458" y="266"/>
                    </a:lnTo>
                    <a:lnTo>
                      <a:pt x="3452" y="260"/>
                    </a:lnTo>
                    <a:lnTo>
                      <a:pt x="3452" y="258"/>
                    </a:lnTo>
                    <a:lnTo>
                      <a:pt x="3452" y="258"/>
                    </a:lnTo>
                    <a:lnTo>
                      <a:pt x="3458" y="256"/>
                    </a:lnTo>
                    <a:lnTo>
                      <a:pt x="3466" y="256"/>
                    </a:lnTo>
                    <a:lnTo>
                      <a:pt x="3476" y="256"/>
                    </a:lnTo>
                    <a:lnTo>
                      <a:pt x="3484" y="254"/>
                    </a:lnTo>
                    <a:lnTo>
                      <a:pt x="3492" y="250"/>
                    </a:lnTo>
                    <a:lnTo>
                      <a:pt x="3494" y="248"/>
                    </a:lnTo>
                    <a:lnTo>
                      <a:pt x="3496" y="242"/>
                    </a:lnTo>
                    <a:lnTo>
                      <a:pt x="3496" y="242"/>
                    </a:lnTo>
                    <a:lnTo>
                      <a:pt x="3498" y="234"/>
                    </a:lnTo>
                    <a:lnTo>
                      <a:pt x="3496" y="230"/>
                    </a:lnTo>
                    <a:lnTo>
                      <a:pt x="3492" y="228"/>
                    </a:lnTo>
                    <a:lnTo>
                      <a:pt x="3488" y="226"/>
                    </a:lnTo>
                    <a:lnTo>
                      <a:pt x="3486" y="224"/>
                    </a:lnTo>
                    <a:lnTo>
                      <a:pt x="3484" y="222"/>
                    </a:lnTo>
                    <a:lnTo>
                      <a:pt x="3484" y="220"/>
                    </a:lnTo>
                    <a:lnTo>
                      <a:pt x="3490" y="214"/>
                    </a:lnTo>
                    <a:lnTo>
                      <a:pt x="3490" y="214"/>
                    </a:lnTo>
                    <a:lnTo>
                      <a:pt x="3492" y="206"/>
                    </a:lnTo>
                    <a:lnTo>
                      <a:pt x="3492" y="204"/>
                    </a:lnTo>
                    <a:lnTo>
                      <a:pt x="3486" y="202"/>
                    </a:lnTo>
                    <a:lnTo>
                      <a:pt x="3480" y="200"/>
                    </a:lnTo>
                    <a:lnTo>
                      <a:pt x="3472" y="198"/>
                    </a:lnTo>
                    <a:lnTo>
                      <a:pt x="3464" y="196"/>
                    </a:lnTo>
                    <a:lnTo>
                      <a:pt x="3458" y="192"/>
                    </a:lnTo>
                    <a:lnTo>
                      <a:pt x="3454" y="182"/>
                    </a:lnTo>
                    <a:lnTo>
                      <a:pt x="3454" y="182"/>
                    </a:lnTo>
                    <a:lnTo>
                      <a:pt x="3452" y="174"/>
                    </a:lnTo>
                    <a:lnTo>
                      <a:pt x="3446" y="170"/>
                    </a:lnTo>
                    <a:lnTo>
                      <a:pt x="3438" y="168"/>
                    </a:lnTo>
                    <a:lnTo>
                      <a:pt x="3428" y="168"/>
                    </a:lnTo>
                    <a:lnTo>
                      <a:pt x="3404" y="166"/>
                    </a:lnTo>
                    <a:lnTo>
                      <a:pt x="3392" y="164"/>
                    </a:lnTo>
                    <a:lnTo>
                      <a:pt x="3378" y="160"/>
                    </a:lnTo>
                    <a:lnTo>
                      <a:pt x="3378" y="160"/>
                    </a:lnTo>
                    <a:lnTo>
                      <a:pt x="3360" y="152"/>
                    </a:lnTo>
                    <a:lnTo>
                      <a:pt x="3356" y="152"/>
                    </a:lnTo>
                    <a:lnTo>
                      <a:pt x="3354" y="152"/>
                    </a:lnTo>
                    <a:lnTo>
                      <a:pt x="3348" y="156"/>
                    </a:lnTo>
                    <a:lnTo>
                      <a:pt x="3344" y="158"/>
                    </a:lnTo>
                    <a:lnTo>
                      <a:pt x="3334" y="158"/>
                    </a:lnTo>
                    <a:lnTo>
                      <a:pt x="3334" y="158"/>
                    </a:lnTo>
                    <a:lnTo>
                      <a:pt x="3326" y="160"/>
                    </a:lnTo>
                    <a:lnTo>
                      <a:pt x="3320" y="164"/>
                    </a:lnTo>
                    <a:lnTo>
                      <a:pt x="3318" y="172"/>
                    </a:lnTo>
                    <a:lnTo>
                      <a:pt x="3318" y="180"/>
                    </a:lnTo>
                    <a:lnTo>
                      <a:pt x="3322" y="190"/>
                    </a:lnTo>
                    <a:lnTo>
                      <a:pt x="3326" y="198"/>
                    </a:lnTo>
                    <a:lnTo>
                      <a:pt x="3330" y="206"/>
                    </a:lnTo>
                    <a:lnTo>
                      <a:pt x="3338" y="210"/>
                    </a:lnTo>
                    <a:lnTo>
                      <a:pt x="3338" y="210"/>
                    </a:lnTo>
                    <a:lnTo>
                      <a:pt x="3342" y="212"/>
                    </a:lnTo>
                    <a:lnTo>
                      <a:pt x="3346" y="216"/>
                    </a:lnTo>
                    <a:lnTo>
                      <a:pt x="3346" y="222"/>
                    </a:lnTo>
                    <a:lnTo>
                      <a:pt x="3344" y="226"/>
                    </a:lnTo>
                    <a:lnTo>
                      <a:pt x="3342" y="230"/>
                    </a:lnTo>
                    <a:lnTo>
                      <a:pt x="3338" y="232"/>
                    </a:lnTo>
                    <a:lnTo>
                      <a:pt x="3332" y="234"/>
                    </a:lnTo>
                    <a:lnTo>
                      <a:pt x="3326" y="234"/>
                    </a:lnTo>
                    <a:lnTo>
                      <a:pt x="3326" y="234"/>
                    </a:lnTo>
                    <a:lnTo>
                      <a:pt x="3322" y="236"/>
                    </a:lnTo>
                    <a:lnTo>
                      <a:pt x="3320" y="240"/>
                    </a:lnTo>
                    <a:lnTo>
                      <a:pt x="3318" y="256"/>
                    </a:lnTo>
                    <a:lnTo>
                      <a:pt x="3318" y="266"/>
                    </a:lnTo>
                    <a:lnTo>
                      <a:pt x="3316" y="278"/>
                    </a:lnTo>
                    <a:lnTo>
                      <a:pt x="3310" y="288"/>
                    </a:lnTo>
                    <a:lnTo>
                      <a:pt x="3300" y="296"/>
                    </a:lnTo>
                    <a:lnTo>
                      <a:pt x="3300" y="296"/>
                    </a:lnTo>
                    <a:lnTo>
                      <a:pt x="3292" y="302"/>
                    </a:lnTo>
                    <a:lnTo>
                      <a:pt x="3286" y="310"/>
                    </a:lnTo>
                    <a:lnTo>
                      <a:pt x="3284" y="316"/>
                    </a:lnTo>
                    <a:lnTo>
                      <a:pt x="3282" y="322"/>
                    </a:lnTo>
                    <a:lnTo>
                      <a:pt x="3280" y="328"/>
                    </a:lnTo>
                    <a:lnTo>
                      <a:pt x="3278" y="332"/>
                    </a:lnTo>
                    <a:lnTo>
                      <a:pt x="3274" y="338"/>
                    </a:lnTo>
                    <a:lnTo>
                      <a:pt x="3264" y="342"/>
                    </a:lnTo>
                    <a:lnTo>
                      <a:pt x="3264" y="342"/>
                    </a:lnTo>
                    <a:lnTo>
                      <a:pt x="3250" y="344"/>
                    </a:lnTo>
                    <a:lnTo>
                      <a:pt x="3246" y="344"/>
                    </a:lnTo>
                    <a:lnTo>
                      <a:pt x="3244" y="340"/>
                    </a:lnTo>
                    <a:lnTo>
                      <a:pt x="3238" y="330"/>
                    </a:lnTo>
                    <a:lnTo>
                      <a:pt x="3232" y="322"/>
                    </a:lnTo>
                    <a:lnTo>
                      <a:pt x="3222" y="312"/>
                    </a:lnTo>
                    <a:lnTo>
                      <a:pt x="3222" y="312"/>
                    </a:lnTo>
                    <a:lnTo>
                      <a:pt x="3214" y="304"/>
                    </a:lnTo>
                    <a:lnTo>
                      <a:pt x="3210" y="298"/>
                    </a:lnTo>
                    <a:lnTo>
                      <a:pt x="3212" y="292"/>
                    </a:lnTo>
                    <a:lnTo>
                      <a:pt x="3216" y="288"/>
                    </a:lnTo>
                    <a:lnTo>
                      <a:pt x="3226" y="280"/>
                    </a:lnTo>
                    <a:lnTo>
                      <a:pt x="3232" y="276"/>
                    </a:lnTo>
                    <a:lnTo>
                      <a:pt x="3234" y="270"/>
                    </a:lnTo>
                    <a:lnTo>
                      <a:pt x="3234" y="270"/>
                    </a:lnTo>
                    <a:lnTo>
                      <a:pt x="3232" y="260"/>
                    </a:lnTo>
                    <a:lnTo>
                      <a:pt x="3228" y="248"/>
                    </a:lnTo>
                    <a:lnTo>
                      <a:pt x="3220" y="234"/>
                    </a:lnTo>
                    <a:lnTo>
                      <a:pt x="3212" y="220"/>
                    </a:lnTo>
                    <a:lnTo>
                      <a:pt x="3200" y="210"/>
                    </a:lnTo>
                    <a:lnTo>
                      <a:pt x="3190" y="202"/>
                    </a:lnTo>
                    <a:lnTo>
                      <a:pt x="3184" y="200"/>
                    </a:lnTo>
                    <a:lnTo>
                      <a:pt x="3178" y="200"/>
                    </a:lnTo>
                    <a:lnTo>
                      <a:pt x="3172" y="202"/>
                    </a:lnTo>
                    <a:lnTo>
                      <a:pt x="3168" y="206"/>
                    </a:lnTo>
                    <a:lnTo>
                      <a:pt x="3168" y="206"/>
                    </a:lnTo>
                    <a:lnTo>
                      <a:pt x="3158" y="216"/>
                    </a:lnTo>
                    <a:lnTo>
                      <a:pt x="3154" y="230"/>
                    </a:lnTo>
                    <a:lnTo>
                      <a:pt x="3148" y="254"/>
                    </a:lnTo>
                    <a:lnTo>
                      <a:pt x="3146" y="262"/>
                    </a:lnTo>
                    <a:lnTo>
                      <a:pt x="3142" y="268"/>
                    </a:lnTo>
                    <a:lnTo>
                      <a:pt x="3140" y="268"/>
                    </a:lnTo>
                    <a:lnTo>
                      <a:pt x="3138" y="268"/>
                    </a:lnTo>
                    <a:lnTo>
                      <a:pt x="3130" y="260"/>
                    </a:lnTo>
                    <a:lnTo>
                      <a:pt x="3130" y="260"/>
                    </a:lnTo>
                    <a:lnTo>
                      <a:pt x="3124" y="252"/>
                    </a:lnTo>
                    <a:lnTo>
                      <a:pt x="3122" y="246"/>
                    </a:lnTo>
                    <a:lnTo>
                      <a:pt x="3122" y="242"/>
                    </a:lnTo>
                    <a:lnTo>
                      <a:pt x="3124" y="238"/>
                    </a:lnTo>
                    <a:lnTo>
                      <a:pt x="3126" y="236"/>
                    </a:lnTo>
                    <a:lnTo>
                      <a:pt x="3128" y="232"/>
                    </a:lnTo>
                    <a:lnTo>
                      <a:pt x="3124" y="226"/>
                    </a:lnTo>
                    <a:lnTo>
                      <a:pt x="3118" y="216"/>
                    </a:lnTo>
                    <a:lnTo>
                      <a:pt x="3118" y="216"/>
                    </a:lnTo>
                    <a:lnTo>
                      <a:pt x="3112" y="208"/>
                    </a:lnTo>
                    <a:lnTo>
                      <a:pt x="3110" y="204"/>
                    </a:lnTo>
                    <a:lnTo>
                      <a:pt x="3110" y="202"/>
                    </a:lnTo>
                    <a:lnTo>
                      <a:pt x="3114" y="198"/>
                    </a:lnTo>
                    <a:lnTo>
                      <a:pt x="3120" y="194"/>
                    </a:lnTo>
                    <a:lnTo>
                      <a:pt x="3126" y="192"/>
                    </a:lnTo>
                    <a:lnTo>
                      <a:pt x="3128" y="190"/>
                    </a:lnTo>
                    <a:lnTo>
                      <a:pt x="3126" y="186"/>
                    </a:lnTo>
                    <a:lnTo>
                      <a:pt x="3116" y="180"/>
                    </a:lnTo>
                    <a:lnTo>
                      <a:pt x="3116" y="180"/>
                    </a:lnTo>
                    <a:lnTo>
                      <a:pt x="3104" y="174"/>
                    </a:lnTo>
                    <a:lnTo>
                      <a:pt x="3094" y="172"/>
                    </a:lnTo>
                    <a:lnTo>
                      <a:pt x="3088" y="172"/>
                    </a:lnTo>
                    <a:lnTo>
                      <a:pt x="3082" y="174"/>
                    </a:lnTo>
                    <a:lnTo>
                      <a:pt x="3076" y="176"/>
                    </a:lnTo>
                    <a:lnTo>
                      <a:pt x="3070" y="178"/>
                    </a:lnTo>
                    <a:lnTo>
                      <a:pt x="3064" y="176"/>
                    </a:lnTo>
                    <a:lnTo>
                      <a:pt x="3054" y="172"/>
                    </a:lnTo>
                    <a:lnTo>
                      <a:pt x="3054" y="172"/>
                    </a:lnTo>
                    <a:lnTo>
                      <a:pt x="3050" y="170"/>
                    </a:lnTo>
                    <a:lnTo>
                      <a:pt x="3048" y="168"/>
                    </a:lnTo>
                    <a:lnTo>
                      <a:pt x="3048" y="164"/>
                    </a:lnTo>
                    <a:lnTo>
                      <a:pt x="3048" y="162"/>
                    </a:lnTo>
                    <a:lnTo>
                      <a:pt x="3054" y="154"/>
                    </a:lnTo>
                    <a:lnTo>
                      <a:pt x="3062" y="148"/>
                    </a:lnTo>
                    <a:lnTo>
                      <a:pt x="3076" y="134"/>
                    </a:lnTo>
                    <a:lnTo>
                      <a:pt x="3080" y="130"/>
                    </a:lnTo>
                    <a:lnTo>
                      <a:pt x="3080" y="126"/>
                    </a:lnTo>
                    <a:lnTo>
                      <a:pt x="3078" y="124"/>
                    </a:lnTo>
                    <a:lnTo>
                      <a:pt x="3078" y="124"/>
                    </a:lnTo>
                    <a:lnTo>
                      <a:pt x="3064" y="114"/>
                    </a:lnTo>
                    <a:lnTo>
                      <a:pt x="3046" y="102"/>
                    </a:lnTo>
                    <a:lnTo>
                      <a:pt x="3038" y="94"/>
                    </a:lnTo>
                    <a:lnTo>
                      <a:pt x="3032" y="86"/>
                    </a:lnTo>
                    <a:lnTo>
                      <a:pt x="3028" y="78"/>
                    </a:lnTo>
                    <a:lnTo>
                      <a:pt x="3026" y="66"/>
                    </a:lnTo>
                    <a:lnTo>
                      <a:pt x="3026" y="66"/>
                    </a:lnTo>
                    <a:lnTo>
                      <a:pt x="3026" y="62"/>
                    </a:lnTo>
                    <a:lnTo>
                      <a:pt x="3026" y="56"/>
                    </a:lnTo>
                    <a:lnTo>
                      <a:pt x="3020" y="44"/>
                    </a:lnTo>
                    <a:lnTo>
                      <a:pt x="3010" y="34"/>
                    </a:lnTo>
                    <a:lnTo>
                      <a:pt x="2998" y="24"/>
                    </a:lnTo>
                    <a:lnTo>
                      <a:pt x="2986" y="14"/>
                    </a:lnTo>
                    <a:lnTo>
                      <a:pt x="2972" y="8"/>
                    </a:lnTo>
                    <a:lnTo>
                      <a:pt x="2960" y="2"/>
                    </a:lnTo>
                    <a:lnTo>
                      <a:pt x="2948" y="0"/>
                    </a:lnTo>
                    <a:lnTo>
                      <a:pt x="2948" y="0"/>
                    </a:lnTo>
                    <a:lnTo>
                      <a:pt x="2940" y="0"/>
                    </a:lnTo>
                    <a:lnTo>
                      <a:pt x="2936" y="2"/>
                    </a:lnTo>
                    <a:lnTo>
                      <a:pt x="2934" y="4"/>
                    </a:lnTo>
                    <a:lnTo>
                      <a:pt x="2932" y="8"/>
                    </a:lnTo>
                    <a:lnTo>
                      <a:pt x="2932" y="12"/>
                    </a:lnTo>
                    <a:lnTo>
                      <a:pt x="2928" y="16"/>
                    </a:lnTo>
                    <a:lnTo>
                      <a:pt x="2924" y="20"/>
                    </a:lnTo>
                    <a:lnTo>
                      <a:pt x="2916" y="22"/>
                    </a:lnTo>
                    <a:lnTo>
                      <a:pt x="2916" y="22"/>
                    </a:lnTo>
                    <a:lnTo>
                      <a:pt x="2908" y="26"/>
                    </a:lnTo>
                    <a:lnTo>
                      <a:pt x="2904" y="28"/>
                    </a:lnTo>
                    <a:lnTo>
                      <a:pt x="2902" y="30"/>
                    </a:lnTo>
                    <a:lnTo>
                      <a:pt x="2902" y="34"/>
                    </a:lnTo>
                    <a:lnTo>
                      <a:pt x="2902" y="38"/>
                    </a:lnTo>
                    <a:lnTo>
                      <a:pt x="2900" y="42"/>
                    </a:lnTo>
                    <a:lnTo>
                      <a:pt x="2894" y="46"/>
                    </a:lnTo>
                    <a:lnTo>
                      <a:pt x="2886" y="50"/>
                    </a:lnTo>
                    <a:lnTo>
                      <a:pt x="2886" y="50"/>
                    </a:lnTo>
                    <a:lnTo>
                      <a:pt x="2878" y="56"/>
                    </a:lnTo>
                    <a:lnTo>
                      <a:pt x="2876" y="62"/>
                    </a:lnTo>
                    <a:lnTo>
                      <a:pt x="2876" y="70"/>
                    </a:lnTo>
                    <a:lnTo>
                      <a:pt x="2878" y="80"/>
                    </a:lnTo>
                    <a:lnTo>
                      <a:pt x="2886" y="98"/>
                    </a:lnTo>
                    <a:lnTo>
                      <a:pt x="2888" y="106"/>
                    </a:lnTo>
                    <a:lnTo>
                      <a:pt x="2886" y="114"/>
                    </a:lnTo>
                    <a:lnTo>
                      <a:pt x="2886" y="114"/>
                    </a:lnTo>
                    <a:lnTo>
                      <a:pt x="2884" y="128"/>
                    </a:lnTo>
                    <a:lnTo>
                      <a:pt x="2884" y="136"/>
                    </a:lnTo>
                    <a:lnTo>
                      <a:pt x="2886" y="142"/>
                    </a:lnTo>
                    <a:lnTo>
                      <a:pt x="2890" y="150"/>
                    </a:lnTo>
                    <a:lnTo>
                      <a:pt x="2898" y="156"/>
                    </a:lnTo>
                    <a:lnTo>
                      <a:pt x="2910" y="162"/>
                    </a:lnTo>
                    <a:lnTo>
                      <a:pt x="2924" y="168"/>
                    </a:lnTo>
                    <a:lnTo>
                      <a:pt x="2924" y="168"/>
                    </a:lnTo>
                    <a:lnTo>
                      <a:pt x="2940" y="172"/>
                    </a:lnTo>
                    <a:lnTo>
                      <a:pt x="2954" y="180"/>
                    </a:lnTo>
                    <a:lnTo>
                      <a:pt x="2964" y="186"/>
                    </a:lnTo>
                    <a:lnTo>
                      <a:pt x="2970" y="194"/>
                    </a:lnTo>
                    <a:lnTo>
                      <a:pt x="2974" y="202"/>
                    </a:lnTo>
                    <a:lnTo>
                      <a:pt x="2974" y="208"/>
                    </a:lnTo>
                    <a:lnTo>
                      <a:pt x="2972" y="214"/>
                    </a:lnTo>
                    <a:lnTo>
                      <a:pt x="2966" y="218"/>
                    </a:lnTo>
                    <a:lnTo>
                      <a:pt x="2966" y="218"/>
                    </a:lnTo>
                    <a:lnTo>
                      <a:pt x="2958" y="222"/>
                    </a:lnTo>
                    <a:lnTo>
                      <a:pt x="2954" y="226"/>
                    </a:lnTo>
                    <a:lnTo>
                      <a:pt x="2954" y="232"/>
                    </a:lnTo>
                    <a:lnTo>
                      <a:pt x="2956" y="234"/>
                    </a:lnTo>
                    <a:lnTo>
                      <a:pt x="2960" y="238"/>
                    </a:lnTo>
                    <a:lnTo>
                      <a:pt x="2966" y="238"/>
                    </a:lnTo>
                    <a:lnTo>
                      <a:pt x="2972" y="236"/>
                    </a:lnTo>
                    <a:lnTo>
                      <a:pt x="2980" y="234"/>
                    </a:lnTo>
                    <a:lnTo>
                      <a:pt x="2980" y="234"/>
                    </a:lnTo>
                    <a:lnTo>
                      <a:pt x="2986" y="230"/>
                    </a:lnTo>
                    <a:lnTo>
                      <a:pt x="2992" y="230"/>
                    </a:lnTo>
                    <a:lnTo>
                      <a:pt x="2996" y="232"/>
                    </a:lnTo>
                    <a:lnTo>
                      <a:pt x="2996" y="238"/>
                    </a:lnTo>
                    <a:lnTo>
                      <a:pt x="2994" y="246"/>
                    </a:lnTo>
                    <a:lnTo>
                      <a:pt x="2988" y="254"/>
                    </a:lnTo>
                    <a:lnTo>
                      <a:pt x="2980" y="262"/>
                    </a:lnTo>
                    <a:lnTo>
                      <a:pt x="2968" y="272"/>
                    </a:lnTo>
                    <a:lnTo>
                      <a:pt x="2968" y="272"/>
                    </a:lnTo>
                    <a:lnTo>
                      <a:pt x="2956" y="280"/>
                    </a:lnTo>
                    <a:lnTo>
                      <a:pt x="2946" y="282"/>
                    </a:lnTo>
                    <a:lnTo>
                      <a:pt x="2940" y="284"/>
                    </a:lnTo>
                    <a:lnTo>
                      <a:pt x="2934" y="282"/>
                    </a:lnTo>
                    <a:lnTo>
                      <a:pt x="2930" y="280"/>
                    </a:lnTo>
                    <a:lnTo>
                      <a:pt x="2928" y="282"/>
                    </a:lnTo>
                    <a:lnTo>
                      <a:pt x="2926" y="284"/>
                    </a:lnTo>
                    <a:lnTo>
                      <a:pt x="2922" y="290"/>
                    </a:lnTo>
                    <a:lnTo>
                      <a:pt x="2922" y="290"/>
                    </a:lnTo>
                    <a:lnTo>
                      <a:pt x="2920" y="300"/>
                    </a:lnTo>
                    <a:lnTo>
                      <a:pt x="2924" y="312"/>
                    </a:lnTo>
                    <a:lnTo>
                      <a:pt x="2930" y="334"/>
                    </a:lnTo>
                    <a:lnTo>
                      <a:pt x="2934" y="342"/>
                    </a:lnTo>
                    <a:lnTo>
                      <a:pt x="2934" y="348"/>
                    </a:lnTo>
                    <a:lnTo>
                      <a:pt x="2934" y="350"/>
                    </a:lnTo>
                    <a:lnTo>
                      <a:pt x="2930" y="348"/>
                    </a:lnTo>
                    <a:lnTo>
                      <a:pt x="2922" y="344"/>
                    </a:lnTo>
                    <a:lnTo>
                      <a:pt x="2922" y="344"/>
                    </a:lnTo>
                    <a:lnTo>
                      <a:pt x="2902" y="330"/>
                    </a:lnTo>
                    <a:lnTo>
                      <a:pt x="2896" y="326"/>
                    </a:lnTo>
                    <a:lnTo>
                      <a:pt x="2892" y="320"/>
                    </a:lnTo>
                    <a:lnTo>
                      <a:pt x="2892" y="316"/>
                    </a:lnTo>
                    <a:lnTo>
                      <a:pt x="2892" y="312"/>
                    </a:lnTo>
                    <a:lnTo>
                      <a:pt x="2896" y="298"/>
                    </a:lnTo>
                    <a:lnTo>
                      <a:pt x="2896" y="298"/>
                    </a:lnTo>
                    <a:lnTo>
                      <a:pt x="2900" y="286"/>
                    </a:lnTo>
                    <a:lnTo>
                      <a:pt x="2902" y="280"/>
                    </a:lnTo>
                    <a:lnTo>
                      <a:pt x="2900" y="276"/>
                    </a:lnTo>
                    <a:lnTo>
                      <a:pt x="2898" y="272"/>
                    </a:lnTo>
                    <a:lnTo>
                      <a:pt x="2892" y="270"/>
                    </a:lnTo>
                    <a:lnTo>
                      <a:pt x="2886" y="270"/>
                    </a:lnTo>
                    <a:lnTo>
                      <a:pt x="2876" y="270"/>
                    </a:lnTo>
                    <a:lnTo>
                      <a:pt x="2876" y="270"/>
                    </a:lnTo>
                    <a:lnTo>
                      <a:pt x="2866" y="270"/>
                    </a:lnTo>
                    <a:lnTo>
                      <a:pt x="2858" y="268"/>
                    </a:lnTo>
                    <a:lnTo>
                      <a:pt x="2844" y="260"/>
                    </a:lnTo>
                    <a:lnTo>
                      <a:pt x="2838" y="256"/>
                    </a:lnTo>
                    <a:lnTo>
                      <a:pt x="2830" y="254"/>
                    </a:lnTo>
                    <a:lnTo>
                      <a:pt x="2820" y="254"/>
                    </a:lnTo>
                    <a:lnTo>
                      <a:pt x="2810" y="258"/>
                    </a:lnTo>
                    <a:lnTo>
                      <a:pt x="2810" y="258"/>
                    </a:lnTo>
                    <a:lnTo>
                      <a:pt x="2800" y="264"/>
                    </a:lnTo>
                    <a:lnTo>
                      <a:pt x="2796" y="272"/>
                    </a:lnTo>
                    <a:lnTo>
                      <a:pt x="2796" y="278"/>
                    </a:lnTo>
                    <a:lnTo>
                      <a:pt x="2796" y="286"/>
                    </a:lnTo>
                    <a:lnTo>
                      <a:pt x="2798" y="292"/>
                    </a:lnTo>
                    <a:lnTo>
                      <a:pt x="2798" y="298"/>
                    </a:lnTo>
                    <a:lnTo>
                      <a:pt x="2794" y="304"/>
                    </a:lnTo>
                    <a:lnTo>
                      <a:pt x="2786" y="308"/>
                    </a:lnTo>
                    <a:lnTo>
                      <a:pt x="2786" y="308"/>
                    </a:lnTo>
                    <a:lnTo>
                      <a:pt x="2778" y="310"/>
                    </a:lnTo>
                    <a:lnTo>
                      <a:pt x="2772" y="308"/>
                    </a:lnTo>
                    <a:lnTo>
                      <a:pt x="2760" y="302"/>
                    </a:lnTo>
                    <a:lnTo>
                      <a:pt x="2752" y="300"/>
                    </a:lnTo>
                    <a:lnTo>
                      <a:pt x="2742" y="298"/>
                    </a:lnTo>
                    <a:lnTo>
                      <a:pt x="2726" y="298"/>
                    </a:lnTo>
                    <a:lnTo>
                      <a:pt x="2708" y="302"/>
                    </a:lnTo>
                    <a:lnTo>
                      <a:pt x="2708" y="302"/>
                    </a:lnTo>
                    <a:lnTo>
                      <a:pt x="2680" y="306"/>
                    </a:lnTo>
                    <a:lnTo>
                      <a:pt x="2658" y="306"/>
                    </a:lnTo>
                    <a:lnTo>
                      <a:pt x="2640" y="302"/>
                    </a:lnTo>
                    <a:lnTo>
                      <a:pt x="2626" y="298"/>
                    </a:lnTo>
                    <a:lnTo>
                      <a:pt x="2606" y="286"/>
                    </a:lnTo>
                    <a:lnTo>
                      <a:pt x="2598" y="284"/>
                    </a:lnTo>
                    <a:lnTo>
                      <a:pt x="2590" y="286"/>
                    </a:lnTo>
                    <a:lnTo>
                      <a:pt x="2590" y="286"/>
                    </a:lnTo>
                    <a:lnTo>
                      <a:pt x="2580" y="288"/>
                    </a:lnTo>
                    <a:lnTo>
                      <a:pt x="2572" y="288"/>
                    </a:lnTo>
                    <a:lnTo>
                      <a:pt x="2564" y="286"/>
                    </a:lnTo>
                    <a:lnTo>
                      <a:pt x="2556" y="282"/>
                    </a:lnTo>
                    <a:lnTo>
                      <a:pt x="2544" y="272"/>
                    </a:lnTo>
                    <a:lnTo>
                      <a:pt x="2532" y="260"/>
                    </a:lnTo>
                    <a:lnTo>
                      <a:pt x="2520" y="246"/>
                    </a:lnTo>
                    <a:lnTo>
                      <a:pt x="2510" y="234"/>
                    </a:lnTo>
                    <a:lnTo>
                      <a:pt x="2504" y="230"/>
                    </a:lnTo>
                    <a:lnTo>
                      <a:pt x="2498" y="226"/>
                    </a:lnTo>
                    <a:lnTo>
                      <a:pt x="2492" y="224"/>
                    </a:lnTo>
                    <a:lnTo>
                      <a:pt x="2486" y="224"/>
                    </a:lnTo>
                    <a:lnTo>
                      <a:pt x="2486" y="224"/>
                    </a:lnTo>
                    <a:lnTo>
                      <a:pt x="2456" y="230"/>
                    </a:lnTo>
                    <a:lnTo>
                      <a:pt x="2438" y="234"/>
                    </a:lnTo>
                    <a:lnTo>
                      <a:pt x="2422" y="240"/>
                    </a:lnTo>
                    <a:lnTo>
                      <a:pt x="2408" y="246"/>
                    </a:lnTo>
                    <a:lnTo>
                      <a:pt x="2398" y="252"/>
                    </a:lnTo>
                    <a:lnTo>
                      <a:pt x="2394" y="256"/>
                    </a:lnTo>
                    <a:lnTo>
                      <a:pt x="2392" y="262"/>
                    </a:lnTo>
                    <a:lnTo>
                      <a:pt x="2392" y="266"/>
                    </a:lnTo>
                    <a:lnTo>
                      <a:pt x="2394" y="270"/>
                    </a:lnTo>
                    <a:lnTo>
                      <a:pt x="2394" y="270"/>
                    </a:lnTo>
                    <a:lnTo>
                      <a:pt x="2398" y="274"/>
                    </a:lnTo>
                    <a:lnTo>
                      <a:pt x="2400" y="278"/>
                    </a:lnTo>
                    <a:lnTo>
                      <a:pt x="2406" y="280"/>
                    </a:lnTo>
                    <a:lnTo>
                      <a:pt x="2410" y="280"/>
                    </a:lnTo>
                    <a:lnTo>
                      <a:pt x="2420" y="278"/>
                    </a:lnTo>
                    <a:lnTo>
                      <a:pt x="2432" y="274"/>
                    </a:lnTo>
                    <a:lnTo>
                      <a:pt x="2456" y="264"/>
                    </a:lnTo>
                    <a:lnTo>
                      <a:pt x="2464" y="262"/>
                    </a:lnTo>
                    <a:lnTo>
                      <a:pt x="2468" y="262"/>
                    </a:lnTo>
                    <a:lnTo>
                      <a:pt x="2472" y="264"/>
                    </a:lnTo>
                    <a:lnTo>
                      <a:pt x="2472" y="264"/>
                    </a:lnTo>
                    <a:lnTo>
                      <a:pt x="2474" y="266"/>
                    </a:lnTo>
                    <a:lnTo>
                      <a:pt x="2476" y="268"/>
                    </a:lnTo>
                    <a:lnTo>
                      <a:pt x="2472" y="272"/>
                    </a:lnTo>
                    <a:lnTo>
                      <a:pt x="2456" y="278"/>
                    </a:lnTo>
                    <a:lnTo>
                      <a:pt x="2436" y="286"/>
                    </a:lnTo>
                    <a:lnTo>
                      <a:pt x="2428" y="292"/>
                    </a:lnTo>
                    <a:lnTo>
                      <a:pt x="2422" y="298"/>
                    </a:lnTo>
                    <a:lnTo>
                      <a:pt x="2422" y="298"/>
                    </a:lnTo>
                    <a:lnTo>
                      <a:pt x="2422" y="304"/>
                    </a:lnTo>
                    <a:lnTo>
                      <a:pt x="2424" y="308"/>
                    </a:lnTo>
                    <a:lnTo>
                      <a:pt x="2428" y="320"/>
                    </a:lnTo>
                    <a:lnTo>
                      <a:pt x="2440" y="342"/>
                    </a:lnTo>
                    <a:lnTo>
                      <a:pt x="2444" y="350"/>
                    </a:lnTo>
                    <a:lnTo>
                      <a:pt x="2444" y="352"/>
                    </a:lnTo>
                    <a:lnTo>
                      <a:pt x="2444" y="354"/>
                    </a:lnTo>
                    <a:lnTo>
                      <a:pt x="2436" y="350"/>
                    </a:lnTo>
                    <a:lnTo>
                      <a:pt x="2418" y="340"/>
                    </a:lnTo>
                    <a:lnTo>
                      <a:pt x="2418" y="340"/>
                    </a:lnTo>
                    <a:lnTo>
                      <a:pt x="2398" y="326"/>
                    </a:lnTo>
                    <a:lnTo>
                      <a:pt x="2382" y="318"/>
                    </a:lnTo>
                    <a:lnTo>
                      <a:pt x="2364" y="310"/>
                    </a:lnTo>
                    <a:lnTo>
                      <a:pt x="2354" y="306"/>
                    </a:lnTo>
                    <a:lnTo>
                      <a:pt x="2348" y="302"/>
                    </a:lnTo>
                    <a:lnTo>
                      <a:pt x="2340" y="294"/>
                    </a:lnTo>
                    <a:lnTo>
                      <a:pt x="2340" y="294"/>
                    </a:lnTo>
                    <a:lnTo>
                      <a:pt x="2334" y="288"/>
                    </a:lnTo>
                    <a:lnTo>
                      <a:pt x="2330" y="286"/>
                    </a:lnTo>
                    <a:lnTo>
                      <a:pt x="2326" y="288"/>
                    </a:lnTo>
                    <a:lnTo>
                      <a:pt x="2320" y="290"/>
                    </a:lnTo>
                    <a:lnTo>
                      <a:pt x="2314" y="296"/>
                    </a:lnTo>
                    <a:lnTo>
                      <a:pt x="2304" y="300"/>
                    </a:lnTo>
                    <a:lnTo>
                      <a:pt x="2286" y="304"/>
                    </a:lnTo>
                    <a:lnTo>
                      <a:pt x="2262" y="308"/>
                    </a:lnTo>
                    <a:lnTo>
                      <a:pt x="2262" y="308"/>
                    </a:lnTo>
                    <a:lnTo>
                      <a:pt x="2206" y="308"/>
                    </a:lnTo>
                    <a:lnTo>
                      <a:pt x="2180" y="308"/>
                    </a:lnTo>
                    <a:lnTo>
                      <a:pt x="2156" y="306"/>
                    </a:lnTo>
                    <a:lnTo>
                      <a:pt x="2140" y="302"/>
                    </a:lnTo>
                    <a:lnTo>
                      <a:pt x="2128" y="298"/>
                    </a:lnTo>
                    <a:lnTo>
                      <a:pt x="2124" y="296"/>
                    </a:lnTo>
                    <a:lnTo>
                      <a:pt x="2124" y="292"/>
                    </a:lnTo>
                    <a:lnTo>
                      <a:pt x="2126" y="288"/>
                    </a:lnTo>
                    <a:lnTo>
                      <a:pt x="2130" y="284"/>
                    </a:lnTo>
                    <a:lnTo>
                      <a:pt x="2130" y="284"/>
                    </a:lnTo>
                    <a:lnTo>
                      <a:pt x="2142" y="278"/>
                    </a:lnTo>
                    <a:lnTo>
                      <a:pt x="2154" y="274"/>
                    </a:lnTo>
                    <a:lnTo>
                      <a:pt x="2172" y="272"/>
                    </a:lnTo>
                    <a:lnTo>
                      <a:pt x="2178" y="270"/>
                    </a:lnTo>
                    <a:lnTo>
                      <a:pt x="2180" y="268"/>
                    </a:lnTo>
                    <a:lnTo>
                      <a:pt x="2178" y="264"/>
                    </a:lnTo>
                    <a:lnTo>
                      <a:pt x="2170" y="256"/>
                    </a:lnTo>
                    <a:lnTo>
                      <a:pt x="2170" y="256"/>
                    </a:lnTo>
                    <a:lnTo>
                      <a:pt x="2154" y="240"/>
                    </a:lnTo>
                    <a:lnTo>
                      <a:pt x="2144" y="232"/>
                    </a:lnTo>
                    <a:lnTo>
                      <a:pt x="2134" y="228"/>
                    </a:lnTo>
                    <a:lnTo>
                      <a:pt x="2124" y="222"/>
                    </a:lnTo>
                    <a:lnTo>
                      <a:pt x="2110" y="220"/>
                    </a:lnTo>
                    <a:lnTo>
                      <a:pt x="2096" y="220"/>
                    </a:lnTo>
                    <a:lnTo>
                      <a:pt x="2080" y="220"/>
                    </a:lnTo>
                    <a:lnTo>
                      <a:pt x="2080" y="220"/>
                    </a:lnTo>
                    <a:lnTo>
                      <a:pt x="2064" y="222"/>
                    </a:lnTo>
                    <a:lnTo>
                      <a:pt x="2046" y="220"/>
                    </a:lnTo>
                    <a:lnTo>
                      <a:pt x="2030" y="218"/>
                    </a:lnTo>
                    <a:lnTo>
                      <a:pt x="2014" y="212"/>
                    </a:lnTo>
                    <a:lnTo>
                      <a:pt x="1982" y="202"/>
                    </a:lnTo>
                    <a:lnTo>
                      <a:pt x="1948" y="194"/>
                    </a:lnTo>
                    <a:lnTo>
                      <a:pt x="1948" y="194"/>
                    </a:lnTo>
                    <a:lnTo>
                      <a:pt x="1932" y="190"/>
                    </a:lnTo>
                    <a:lnTo>
                      <a:pt x="1918" y="184"/>
                    </a:lnTo>
                    <a:lnTo>
                      <a:pt x="1890" y="172"/>
                    </a:lnTo>
                    <a:lnTo>
                      <a:pt x="1876" y="166"/>
                    </a:lnTo>
                    <a:lnTo>
                      <a:pt x="1862" y="160"/>
                    </a:lnTo>
                    <a:lnTo>
                      <a:pt x="1848" y="158"/>
                    </a:lnTo>
                    <a:lnTo>
                      <a:pt x="1832" y="158"/>
                    </a:lnTo>
                    <a:lnTo>
                      <a:pt x="1832" y="158"/>
                    </a:lnTo>
                    <a:lnTo>
                      <a:pt x="1820" y="160"/>
                    </a:lnTo>
                    <a:lnTo>
                      <a:pt x="1812" y="164"/>
                    </a:lnTo>
                    <a:lnTo>
                      <a:pt x="1808" y="170"/>
                    </a:lnTo>
                    <a:lnTo>
                      <a:pt x="1806" y="176"/>
                    </a:lnTo>
                    <a:lnTo>
                      <a:pt x="1804" y="182"/>
                    </a:lnTo>
                    <a:lnTo>
                      <a:pt x="1800" y="186"/>
                    </a:lnTo>
                    <a:lnTo>
                      <a:pt x="1792" y="188"/>
                    </a:lnTo>
                    <a:lnTo>
                      <a:pt x="1780" y="188"/>
                    </a:lnTo>
                    <a:lnTo>
                      <a:pt x="1780" y="188"/>
                    </a:lnTo>
                    <a:lnTo>
                      <a:pt x="1774" y="186"/>
                    </a:lnTo>
                    <a:lnTo>
                      <a:pt x="1768" y="184"/>
                    </a:lnTo>
                    <a:lnTo>
                      <a:pt x="1764" y="180"/>
                    </a:lnTo>
                    <a:lnTo>
                      <a:pt x="1762" y="176"/>
                    </a:lnTo>
                    <a:lnTo>
                      <a:pt x="1760" y="166"/>
                    </a:lnTo>
                    <a:lnTo>
                      <a:pt x="1760" y="156"/>
                    </a:lnTo>
                    <a:lnTo>
                      <a:pt x="1760" y="146"/>
                    </a:lnTo>
                    <a:lnTo>
                      <a:pt x="1758" y="138"/>
                    </a:lnTo>
                    <a:lnTo>
                      <a:pt x="1756" y="136"/>
                    </a:lnTo>
                    <a:lnTo>
                      <a:pt x="1750" y="134"/>
                    </a:lnTo>
                    <a:lnTo>
                      <a:pt x="1744" y="134"/>
                    </a:lnTo>
                    <a:lnTo>
                      <a:pt x="1736" y="134"/>
                    </a:lnTo>
                    <a:lnTo>
                      <a:pt x="1736" y="134"/>
                    </a:lnTo>
                    <a:lnTo>
                      <a:pt x="1732" y="136"/>
                    </a:lnTo>
                    <a:lnTo>
                      <a:pt x="1730" y="140"/>
                    </a:lnTo>
                    <a:lnTo>
                      <a:pt x="1726" y="148"/>
                    </a:lnTo>
                    <a:lnTo>
                      <a:pt x="1724" y="172"/>
                    </a:lnTo>
                    <a:lnTo>
                      <a:pt x="1720" y="182"/>
                    </a:lnTo>
                    <a:lnTo>
                      <a:pt x="1718" y="186"/>
                    </a:lnTo>
                    <a:lnTo>
                      <a:pt x="1716" y="190"/>
                    </a:lnTo>
                    <a:lnTo>
                      <a:pt x="1712" y="190"/>
                    </a:lnTo>
                    <a:lnTo>
                      <a:pt x="1706" y="190"/>
                    </a:lnTo>
                    <a:lnTo>
                      <a:pt x="1698" y="188"/>
                    </a:lnTo>
                    <a:lnTo>
                      <a:pt x="1688" y="184"/>
                    </a:lnTo>
                    <a:lnTo>
                      <a:pt x="1688" y="184"/>
                    </a:lnTo>
                    <a:lnTo>
                      <a:pt x="1684" y="182"/>
                    </a:lnTo>
                    <a:lnTo>
                      <a:pt x="1678" y="176"/>
                    </a:lnTo>
                    <a:lnTo>
                      <a:pt x="1668" y="162"/>
                    </a:lnTo>
                    <a:lnTo>
                      <a:pt x="1650" y="132"/>
                    </a:lnTo>
                    <a:lnTo>
                      <a:pt x="1640" y="116"/>
                    </a:lnTo>
                    <a:lnTo>
                      <a:pt x="1630" y="106"/>
                    </a:lnTo>
                    <a:lnTo>
                      <a:pt x="1624" y="104"/>
                    </a:lnTo>
                    <a:lnTo>
                      <a:pt x="1620" y="102"/>
                    </a:lnTo>
                    <a:lnTo>
                      <a:pt x="1614" y="102"/>
                    </a:lnTo>
                    <a:lnTo>
                      <a:pt x="1608" y="106"/>
                    </a:lnTo>
                    <a:lnTo>
                      <a:pt x="1608" y="106"/>
                    </a:lnTo>
                    <a:lnTo>
                      <a:pt x="1600" y="114"/>
                    </a:lnTo>
                    <a:lnTo>
                      <a:pt x="1598" y="116"/>
                    </a:lnTo>
                    <a:lnTo>
                      <a:pt x="1600" y="118"/>
                    </a:lnTo>
                    <a:lnTo>
                      <a:pt x="1604" y="120"/>
                    </a:lnTo>
                    <a:lnTo>
                      <a:pt x="1610" y="122"/>
                    </a:lnTo>
                    <a:lnTo>
                      <a:pt x="1616" y="124"/>
                    </a:lnTo>
                    <a:lnTo>
                      <a:pt x="1616" y="126"/>
                    </a:lnTo>
                    <a:lnTo>
                      <a:pt x="1616" y="130"/>
                    </a:lnTo>
                    <a:lnTo>
                      <a:pt x="1610" y="138"/>
                    </a:lnTo>
                    <a:lnTo>
                      <a:pt x="1592" y="150"/>
                    </a:lnTo>
                    <a:lnTo>
                      <a:pt x="1592" y="150"/>
                    </a:lnTo>
                    <a:lnTo>
                      <a:pt x="1574" y="160"/>
                    </a:lnTo>
                    <a:lnTo>
                      <a:pt x="1572" y="160"/>
                    </a:lnTo>
                    <a:lnTo>
                      <a:pt x="1570" y="158"/>
                    </a:lnTo>
                    <a:lnTo>
                      <a:pt x="1568" y="156"/>
                    </a:lnTo>
                    <a:lnTo>
                      <a:pt x="1560" y="156"/>
                    </a:lnTo>
                    <a:lnTo>
                      <a:pt x="1546" y="160"/>
                    </a:lnTo>
                    <a:lnTo>
                      <a:pt x="1522" y="168"/>
                    </a:lnTo>
                    <a:lnTo>
                      <a:pt x="1522" y="168"/>
                    </a:lnTo>
                    <a:lnTo>
                      <a:pt x="1482" y="180"/>
                    </a:lnTo>
                    <a:lnTo>
                      <a:pt x="1476" y="182"/>
                    </a:lnTo>
                    <a:lnTo>
                      <a:pt x="1476" y="180"/>
                    </a:lnTo>
                    <a:lnTo>
                      <a:pt x="1476" y="180"/>
                    </a:lnTo>
                    <a:lnTo>
                      <a:pt x="1494" y="168"/>
                    </a:lnTo>
                    <a:lnTo>
                      <a:pt x="1526" y="152"/>
                    </a:lnTo>
                    <a:lnTo>
                      <a:pt x="1526" y="152"/>
                    </a:lnTo>
                    <a:lnTo>
                      <a:pt x="1552" y="140"/>
                    </a:lnTo>
                    <a:lnTo>
                      <a:pt x="1558" y="136"/>
                    </a:lnTo>
                    <a:lnTo>
                      <a:pt x="1560" y="132"/>
                    </a:lnTo>
                    <a:lnTo>
                      <a:pt x="1560" y="132"/>
                    </a:lnTo>
                    <a:lnTo>
                      <a:pt x="1556" y="132"/>
                    </a:lnTo>
                    <a:lnTo>
                      <a:pt x="1538" y="134"/>
                    </a:lnTo>
                    <a:lnTo>
                      <a:pt x="1538" y="134"/>
                    </a:lnTo>
                    <a:lnTo>
                      <a:pt x="1530" y="136"/>
                    </a:lnTo>
                    <a:lnTo>
                      <a:pt x="1522" y="134"/>
                    </a:lnTo>
                    <a:lnTo>
                      <a:pt x="1510" y="134"/>
                    </a:lnTo>
                    <a:lnTo>
                      <a:pt x="1506" y="134"/>
                    </a:lnTo>
                    <a:lnTo>
                      <a:pt x="1498" y="136"/>
                    </a:lnTo>
                    <a:lnTo>
                      <a:pt x="1488" y="140"/>
                    </a:lnTo>
                    <a:lnTo>
                      <a:pt x="1474" y="148"/>
                    </a:lnTo>
                    <a:lnTo>
                      <a:pt x="1474" y="148"/>
                    </a:lnTo>
                    <a:lnTo>
                      <a:pt x="1462" y="156"/>
                    </a:lnTo>
                    <a:lnTo>
                      <a:pt x="1454" y="160"/>
                    </a:lnTo>
                    <a:lnTo>
                      <a:pt x="1448" y="160"/>
                    </a:lnTo>
                    <a:lnTo>
                      <a:pt x="1442" y="162"/>
                    </a:lnTo>
                    <a:lnTo>
                      <a:pt x="1438" y="162"/>
                    </a:lnTo>
                    <a:lnTo>
                      <a:pt x="1432" y="164"/>
                    </a:lnTo>
                    <a:lnTo>
                      <a:pt x="1422" y="168"/>
                    </a:lnTo>
                    <a:lnTo>
                      <a:pt x="1406" y="178"/>
                    </a:lnTo>
                    <a:lnTo>
                      <a:pt x="1406" y="178"/>
                    </a:lnTo>
                    <a:lnTo>
                      <a:pt x="1378" y="198"/>
                    </a:lnTo>
                    <a:lnTo>
                      <a:pt x="1358" y="210"/>
                    </a:lnTo>
                    <a:lnTo>
                      <a:pt x="1352" y="214"/>
                    </a:lnTo>
                    <a:lnTo>
                      <a:pt x="1350" y="218"/>
                    </a:lnTo>
                    <a:lnTo>
                      <a:pt x="1350" y="224"/>
                    </a:lnTo>
                    <a:lnTo>
                      <a:pt x="1352" y="230"/>
                    </a:lnTo>
                    <a:lnTo>
                      <a:pt x="1352" y="230"/>
                    </a:lnTo>
                    <a:lnTo>
                      <a:pt x="1352" y="234"/>
                    </a:lnTo>
                    <a:lnTo>
                      <a:pt x="1352" y="236"/>
                    </a:lnTo>
                    <a:lnTo>
                      <a:pt x="1340" y="232"/>
                    </a:lnTo>
                    <a:lnTo>
                      <a:pt x="1332" y="230"/>
                    </a:lnTo>
                    <a:lnTo>
                      <a:pt x="1324" y="228"/>
                    </a:lnTo>
                    <a:lnTo>
                      <a:pt x="1316" y="230"/>
                    </a:lnTo>
                    <a:lnTo>
                      <a:pt x="1308" y="232"/>
                    </a:lnTo>
                    <a:lnTo>
                      <a:pt x="1308" y="232"/>
                    </a:lnTo>
                    <a:lnTo>
                      <a:pt x="1300" y="236"/>
                    </a:lnTo>
                    <a:lnTo>
                      <a:pt x="1296" y="236"/>
                    </a:lnTo>
                    <a:lnTo>
                      <a:pt x="1294" y="236"/>
                    </a:lnTo>
                    <a:lnTo>
                      <a:pt x="1290" y="232"/>
                    </a:lnTo>
                    <a:lnTo>
                      <a:pt x="1286" y="228"/>
                    </a:lnTo>
                    <a:lnTo>
                      <a:pt x="1280" y="226"/>
                    </a:lnTo>
                    <a:lnTo>
                      <a:pt x="1270" y="224"/>
                    </a:lnTo>
                    <a:lnTo>
                      <a:pt x="1258" y="222"/>
                    </a:lnTo>
                    <a:lnTo>
                      <a:pt x="1258" y="222"/>
                    </a:lnTo>
                    <a:lnTo>
                      <a:pt x="1236" y="220"/>
                    </a:lnTo>
                    <a:lnTo>
                      <a:pt x="1216" y="214"/>
                    </a:lnTo>
                    <a:lnTo>
                      <a:pt x="1198" y="206"/>
                    </a:lnTo>
                    <a:lnTo>
                      <a:pt x="1178" y="196"/>
                    </a:lnTo>
                    <a:lnTo>
                      <a:pt x="1160" y="186"/>
                    </a:lnTo>
                    <a:lnTo>
                      <a:pt x="1138" y="178"/>
                    </a:lnTo>
                    <a:lnTo>
                      <a:pt x="1114" y="172"/>
                    </a:lnTo>
                    <a:lnTo>
                      <a:pt x="1102" y="172"/>
                    </a:lnTo>
                    <a:lnTo>
                      <a:pt x="1088" y="172"/>
                    </a:lnTo>
                    <a:lnTo>
                      <a:pt x="1088" y="172"/>
                    </a:lnTo>
                    <a:lnTo>
                      <a:pt x="1074" y="170"/>
                    </a:lnTo>
                    <a:lnTo>
                      <a:pt x="1062" y="168"/>
                    </a:lnTo>
                    <a:lnTo>
                      <a:pt x="1052" y="162"/>
                    </a:lnTo>
                    <a:lnTo>
                      <a:pt x="1044" y="158"/>
                    </a:lnTo>
                    <a:lnTo>
                      <a:pt x="1036" y="152"/>
                    </a:lnTo>
                    <a:lnTo>
                      <a:pt x="1026" y="146"/>
                    </a:lnTo>
                    <a:lnTo>
                      <a:pt x="1014" y="142"/>
                    </a:lnTo>
                    <a:lnTo>
                      <a:pt x="998" y="140"/>
                    </a:lnTo>
                    <a:lnTo>
                      <a:pt x="998" y="140"/>
                    </a:lnTo>
                    <a:lnTo>
                      <a:pt x="982" y="138"/>
                    </a:lnTo>
                    <a:lnTo>
                      <a:pt x="970" y="140"/>
                    </a:lnTo>
                    <a:lnTo>
                      <a:pt x="950" y="144"/>
                    </a:lnTo>
                    <a:lnTo>
                      <a:pt x="940" y="146"/>
                    </a:lnTo>
                    <a:lnTo>
                      <a:pt x="932" y="146"/>
                    </a:lnTo>
                    <a:lnTo>
                      <a:pt x="922" y="146"/>
                    </a:lnTo>
                    <a:lnTo>
                      <a:pt x="912" y="142"/>
                    </a:lnTo>
                    <a:lnTo>
                      <a:pt x="912" y="142"/>
                    </a:lnTo>
                    <a:lnTo>
                      <a:pt x="898" y="138"/>
                    </a:lnTo>
                    <a:lnTo>
                      <a:pt x="884" y="134"/>
                    </a:lnTo>
                    <a:lnTo>
                      <a:pt x="852" y="132"/>
                    </a:lnTo>
                    <a:lnTo>
                      <a:pt x="816" y="128"/>
                    </a:lnTo>
                    <a:lnTo>
                      <a:pt x="798" y="122"/>
                    </a:lnTo>
                    <a:lnTo>
                      <a:pt x="778" y="116"/>
                    </a:lnTo>
                    <a:lnTo>
                      <a:pt x="778" y="116"/>
                    </a:lnTo>
                    <a:lnTo>
                      <a:pt x="758" y="110"/>
                    </a:lnTo>
                    <a:lnTo>
                      <a:pt x="744" y="108"/>
                    </a:lnTo>
                    <a:lnTo>
                      <a:pt x="732" y="108"/>
                    </a:lnTo>
                    <a:lnTo>
                      <a:pt x="722" y="110"/>
                    </a:lnTo>
                    <a:lnTo>
                      <a:pt x="710" y="114"/>
                    </a:lnTo>
                    <a:lnTo>
                      <a:pt x="698" y="116"/>
                    </a:lnTo>
                    <a:lnTo>
                      <a:pt x="682" y="114"/>
                    </a:lnTo>
                    <a:lnTo>
                      <a:pt x="664" y="110"/>
                    </a:lnTo>
                    <a:lnTo>
                      <a:pt x="664" y="110"/>
                    </a:lnTo>
                    <a:lnTo>
                      <a:pt x="648" y="104"/>
                    </a:lnTo>
                    <a:lnTo>
                      <a:pt x="640" y="98"/>
                    </a:lnTo>
                    <a:lnTo>
                      <a:pt x="636" y="94"/>
                    </a:lnTo>
                    <a:lnTo>
                      <a:pt x="636" y="90"/>
                    </a:lnTo>
                    <a:lnTo>
                      <a:pt x="634" y="86"/>
                    </a:lnTo>
                    <a:lnTo>
                      <a:pt x="630" y="82"/>
                    </a:lnTo>
                    <a:lnTo>
                      <a:pt x="622" y="82"/>
                    </a:lnTo>
                    <a:lnTo>
                      <a:pt x="604" y="80"/>
                    </a:lnTo>
                    <a:lnTo>
                      <a:pt x="604" y="80"/>
                    </a:lnTo>
                    <a:lnTo>
                      <a:pt x="572" y="82"/>
                    </a:lnTo>
                    <a:lnTo>
                      <a:pt x="556" y="82"/>
                    </a:lnTo>
                    <a:lnTo>
                      <a:pt x="552" y="82"/>
                    </a:lnTo>
                    <a:lnTo>
                      <a:pt x="548" y="80"/>
                    </a:lnTo>
                    <a:lnTo>
                      <a:pt x="540" y="72"/>
                    </a:lnTo>
                    <a:lnTo>
                      <a:pt x="540" y="72"/>
                    </a:lnTo>
                    <a:lnTo>
                      <a:pt x="534" y="66"/>
                    </a:lnTo>
                    <a:lnTo>
                      <a:pt x="528" y="66"/>
                    </a:lnTo>
                    <a:lnTo>
                      <a:pt x="524" y="66"/>
                    </a:lnTo>
                    <a:lnTo>
                      <a:pt x="518" y="68"/>
                    </a:lnTo>
                    <a:lnTo>
                      <a:pt x="510" y="70"/>
                    </a:lnTo>
                    <a:lnTo>
                      <a:pt x="506" y="70"/>
                    </a:lnTo>
                    <a:lnTo>
                      <a:pt x="500" y="66"/>
                    </a:lnTo>
                    <a:lnTo>
                      <a:pt x="500" y="66"/>
                    </a:lnTo>
                    <a:lnTo>
                      <a:pt x="488" y="56"/>
                    </a:lnTo>
                    <a:lnTo>
                      <a:pt x="482" y="52"/>
                    </a:lnTo>
                    <a:lnTo>
                      <a:pt x="474" y="50"/>
                    </a:lnTo>
                    <a:lnTo>
                      <a:pt x="466" y="50"/>
                    </a:lnTo>
                    <a:lnTo>
                      <a:pt x="456" y="52"/>
                    </a:lnTo>
                    <a:lnTo>
                      <a:pt x="444" y="58"/>
                    </a:lnTo>
                    <a:lnTo>
                      <a:pt x="432" y="68"/>
                    </a:lnTo>
                    <a:lnTo>
                      <a:pt x="432" y="68"/>
                    </a:lnTo>
                    <a:lnTo>
                      <a:pt x="418" y="78"/>
                    </a:lnTo>
                    <a:lnTo>
                      <a:pt x="404" y="82"/>
                    </a:lnTo>
                    <a:lnTo>
                      <a:pt x="392" y="84"/>
                    </a:lnTo>
                    <a:lnTo>
                      <a:pt x="378" y="84"/>
                    </a:lnTo>
                    <a:lnTo>
                      <a:pt x="364" y="84"/>
                    </a:lnTo>
                    <a:lnTo>
                      <a:pt x="348" y="86"/>
                    </a:lnTo>
                    <a:lnTo>
                      <a:pt x="330" y="94"/>
                    </a:lnTo>
                    <a:lnTo>
                      <a:pt x="310" y="106"/>
                    </a:lnTo>
                    <a:lnTo>
                      <a:pt x="310" y="106"/>
                    </a:lnTo>
                    <a:lnTo>
                      <a:pt x="300" y="114"/>
                    </a:lnTo>
                    <a:lnTo>
                      <a:pt x="290" y="120"/>
                    </a:lnTo>
                    <a:lnTo>
                      <a:pt x="282" y="122"/>
                    </a:lnTo>
                    <a:lnTo>
                      <a:pt x="274" y="124"/>
                    </a:lnTo>
                    <a:lnTo>
                      <a:pt x="260" y="126"/>
                    </a:lnTo>
                    <a:lnTo>
                      <a:pt x="250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0" y="126"/>
                    </a:lnTo>
                    <a:lnTo>
                      <a:pt x="226" y="130"/>
                    </a:lnTo>
                    <a:lnTo>
                      <a:pt x="222" y="134"/>
                    </a:lnTo>
                    <a:lnTo>
                      <a:pt x="212" y="152"/>
                    </a:lnTo>
                    <a:lnTo>
                      <a:pt x="212" y="152"/>
                    </a:lnTo>
                    <a:lnTo>
                      <a:pt x="202" y="172"/>
                    </a:lnTo>
                    <a:lnTo>
                      <a:pt x="192" y="188"/>
                    </a:lnTo>
                    <a:lnTo>
                      <a:pt x="182" y="202"/>
                    </a:lnTo>
                    <a:lnTo>
                      <a:pt x="172" y="212"/>
                    </a:lnTo>
                    <a:lnTo>
                      <a:pt x="158" y="220"/>
                    </a:lnTo>
                    <a:lnTo>
                      <a:pt x="142" y="224"/>
                    </a:lnTo>
                    <a:lnTo>
                      <a:pt x="122" y="228"/>
                    </a:lnTo>
                    <a:lnTo>
                      <a:pt x="96" y="228"/>
                    </a:lnTo>
                    <a:lnTo>
                      <a:pt x="96" y="228"/>
                    </a:lnTo>
                    <a:lnTo>
                      <a:pt x="84" y="230"/>
                    </a:lnTo>
                    <a:lnTo>
                      <a:pt x="78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4" y="244"/>
                    </a:lnTo>
                    <a:lnTo>
                      <a:pt x="72" y="250"/>
                    </a:lnTo>
                    <a:lnTo>
                      <a:pt x="66" y="254"/>
                    </a:lnTo>
                    <a:lnTo>
                      <a:pt x="58" y="258"/>
                    </a:lnTo>
                    <a:lnTo>
                      <a:pt x="58" y="258"/>
                    </a:lnTo>
                    <a:lnTo>
                      <a:pt x="54" y="260"/>
                    </a:lnTo>
                    <a:lnTo>
                      <a:pt x="52" y="262"/>
                    </a:lnTo>
                    <a:lnTo>
                      <a:pt x="54" y="266"/>
                    </a:lnTo>
                    <a:lnTo>
                      <a:pt x="58" y="268"/>
                    </a:lnTo>
                    <a:lnTo>
                      <a:pt x="72" y="274"/>
                    </a:lnTo>
                    <a:lnTo>
                      <a:pt x="92" y="282"/>
                    </a:lnTo>
                    <a:lnTo>
                      <a:pt x="114" y="292"/>
                    </a:lnTo>
                    <a:lnTo>
                      <a:pt x="136" y="304"/>
                    </a:lnTo>
                    <a:lnTo>
                      <a:pt x="156" y="318"/>
                    </a:lnTo>
                    <a:lnTo>
                      <a:pt x="162" y="326"/>
                    </a:lnTo>
                    <a:lnTo>
                      <a:pt x="168" y="334"/>
                    </a:lnTo>
                    <a:lnTo>
                      <a:pt x="168" y="334"/>
                    </a:lnTo>
                    <a:lnTo>
                      <a:pt x="172" y="342"/>
                    </a:lnTo>
                    <a:lnTo>
                      <a:pt x="176" y="346"/>
                    </a:lnTo>
                    <a:lnTo>
                      <a:pt x="186" y="354"/>
                    </a:lnTo>
                    <a:lnTo>
                      <a:pt x="196" y="356"/>
                    </a:lnTo>
                    <a:lnTo>
                      <a:pt x="206" y="356"/>
                    </a:lnTo>
                    <a:lnTo>
                      <a:pt x="212" y="356"/>
                    </a:lnTo>
                    <a:lnTo>
                      <a:pt x="218" y="356"/>
                    </a:lnTo>
                    <a:lnTo>
                      <a:pt x="220" y="356"/>
                    </a:lnTo>
                    <a:lnTo>
                      <a:pt x="222" y="358"/>
                    </a:lnTo>
                    <a:lnTo>
                      <a:pt x="220" y="364"/>
                    </a:lnTo>
                    <a:lnTo>
                      <a:pt x="220" y="364"/>
                    </a:lnTo>
                    <a:lnTo>
                      <a:pt x="220" y="372"/>
                    </a:lnTo>
                    <a:lnTo>
                      <a:pt x="220" y="376"/>
                    </a:lnTo>
                    <a:lnTo>
                      <a:pt x="224" y="378"/>
                    </a:lnTo>
                    <a:lnTo>
                      <a:pt x="228" y="380"/>
                    </a:lnTo>
                    <a:lnTo>
                      <a:pt x="232" y="380"/>
                    </a:lnTo>
                    <a:lnTo>
                      <a:pt x="236" y="382"/>
                    </a:lnTo>
                    <a:lnTo>
                      <a:pt x="240" y="386"/>
                    </a:lnTo>
                    <a:lnTo>
                      <a:pt x="242" y="392"/>
                    </a:lnTo>
                    <a:lnTo>
                      <a:pt x="242" y="392"/>
                    </a:lnTo>
                    <a:lnTo>
                      <a:pt x="244" y="400"/>
                    </a:lnTo>
                    <a:lnTo>
                      <a:pt x="248" y="402"/>
                    </a:lnTo>
                    <a:lnTo>
                      <a:pt x="254" y="404"/>
                    </a:lnTo>
                    <a:lnTo>
                      <a:pt x="260" y="402"/>
                    </a:lnTo>
                    <a:lnTo>
                      <a:pt x="266" y="402"/>
                    </a:lnTo>
                    <a:lnTo>
                      <a:pt x="270" y="402"/>
                    </a:lnTo>
                    <a:lnTo>
                      <a:pt x="274" y="404"/>
                    </a:lnTo>
                    <a:lnTo>
                      <a:pt x="276" y="410"/>
                    </a:lnTo>
                    <a:lnTo>
                      <a:pt x="276" y="410"/>
                    </a:lnTo>
                    <a:lnTo>
                      <a:pt x="274" y="418"/>
                    </a:lnTo>
                    <a:lnTo>
                      <a:pt x="272" y="418"/>
                    </a:lnTo>
                    <a:lnTo>
                      <a:pt x="270" y="418"/>
                    </a:lnTo>
                    <a:lnTo>
                      <a:pt x="266" y="416"/>
                    </a:lnTo>
                    <a:lnTo>
                      <a:pt x="262" y="416"/>
                    </a:lnTo>
                    <a:lnTo>
                      <a:pt x="258" y="418"/>
                    </a:lnTo>
                    <a:lnTo>
                      <a:pt x="252" y="424"/>
                    </a:lnTo>
                    <a:lnTo>
                      <a:pt x="252" y="424"/>
                    </a:lnTo>
                    <a:lnTo>
                      <a:pt x="250" y="426"/>
                    </a:lnTo>
                    <a:lnTo>
                      <a:pt x="248" y="426"/>
                    </a:lnTo>
                    <a:lnTo>
                      <a:pt x="240" y="422"/>
                    </a:lnTo>
                    <a:lnTo>
                      <a:pt x="234" y="420"/>
                    </a:lnTo>
                    <a:lnTo>
                      <a:pt x="224" y="420"/>
                    </a:lnTo>
                    <a:lnTo>
                      <a:pt x="212" y="420"/>
                    </a:lnTo>
                    <a:lnTo>
                      <a:pt x="194" y="422"/>
                    </a:lnTo>
                    <a:lnTo>
                      <a:pt x="194" y="422"/>
                    </a:lnTo>
                    <a:lnTo>
                      <a:pt x="186" y="422"/>
                    </a:lnTo>
                    <a:lnTo>
                      <a:pt x="180" y="420"/>
                    </a:lnTo>
                    <a:lnTo>
                      <a:pt x="176" y="418"/>
                    </a:lnTo>
                    <a:lnTo>
                      <a:pt x="174" y="416"/>
                    </a:lnTo>
                    <a:lnTo>
                      <a:pt x="174" y="408"/>
                    </a:lnTo>
                    <a:lnTo>
                      <a:pt x="176" y="398"/>
                    </a:lnTo>
                    <a:lnTo>
                      <a:pt x="176" y="390"/>
                    </a:lnTo>
                    <a:lnTo>
                      <a:pt x="174" y="388"/>
                    </a:lnTo>
                    <a:lnTo>
                      <a:pt x="172" y="384"/>
                    </a:lnTo>
                    <a:lnTo>
                      <a:pt x="168" y="384"/>
                    </a:lnTo>
                    <a:lnTo>
                      <a:pt x="162" y="384"/>
                    </a:lnTo>
                    <a:lnTo>
                      <a:pt x="140" y="388"/>
                    </a:lnTo>
                    <a:lnTo>
                      <a:pt x="140" y="388"/>
                    </a:lnTo>
                    <a:lnTo>
                      <a:pt x="116" y="396"/>
                    </a:lnTo>
                    <a:lnTo>
                      <a:pt x="92" y="406"/>
                    </a:lnTo>
                    <a:lnTo>
                      <a:pt x="56" y="424"/>
                    </a:lnTo>
                    <a:lnTo>
                      <a:pt x="28" y="440"/>
                    </a:lnTo>
                    <a:lnTo>
                      <a:pt x="18" y="444"/>
                    </a:lnTo>
                    <a:lnTo>
                      <a:pt x="10" y="446"/>
                    </a:lnTo>
                    <a:lnTo>
                      <a:pt x="10" y="446"/>
                    </a:lnTo>
                    <a:lnTo>
                      <a:pt x="4" y="448"/>
                    </a:lnTo>
                    <a:lnTo>
                      <a:pt x="0" y="452"/>
                    </a:lnTo>
                    <a:lnTo>
                      <a:pt x="0" y="456"/>
                    </a:lnTo>
                    <a:lnTo>
                      <a:pt x="2" y="460"/>
                    </a:lnTo>
                    <a:lnTo>
                      <a:pt x="8" y="466"/>
                    </a:lnTo>
                    <a:lnTo>
                      <a:pt x="16" y="470"/>
                    </a:lnTo>
                    <a:lnTo>
                      <a:pt x="28" y="472"/>
                    </a:lnTo>
                    <a:lnTo>
                      <a:pt x="42" y="474"/>
                    </a:lnTo>
                    <a:lnTo>
                      <a:pt x="42" y="474"/>
                    </a:lnTo>
                    <a:lnTo>
                      <a:pt x="54" y="474"/>
                    </a:lnTo>
                    <a:lnTo>
                      <a:pt x="60" y="478"/>
                    </a:lnTo>
                    <a:lnTo>
                      <a:pt x="58" y="480"/>
                    </a:lnTo>
                    <a:lnTo>
                      <a:pt x="56" y="484"/>
                    </a:lnTo>
                    <a:lnTo>
                      <a:pt x="52" y="488"/>
                    </a:lnTo>
                    <a:lnTo>
                      <a:pt x="50" y="492"/>
                    </a:lnTo>
                    <a:lnTo>
                      <a:pt x="50" y="498"/>
                    </a:lnTo>
                    <a:lnTo>
                      <a:pt x="56" y="502"/>
                    </a:lnTo>
                    <a:lnTo>
                      <a:pt x="56" y="502"/>
                    </a:lnTo>
                    <a:lnTo>
                      <a:pt x="64" y="506"/>
                    </a:lnTo>
                    <a:lnTo>
                      <a:pt x="66" y="512"/>
                    </a:lnTo>
                    <a:lnTo>
                      <a:pt x="68" y="520"/>
                    </a:lnTo>
                    <a:lnTo>
                      <a:pt x="70" y="524"/>
                    </a:lnTo>
                    <a:lnTo>
                      <a:pt x="74" y="528"/>
                    </a:lnTo>
                    <a:lnTo>
                      <a:pt x="82" y="532"/>
                    </a:lnTo>
                    <a:lnTo>
                      <a:pt x="94" y="534"/>
                    </a:lnTo>
                    <a:lnTo>
                      <a:pt x="94" y="534"/>
                    </a:lnTo>
                    <a:lnTo>
                      <a:pt x="110" y="534"/>
                    </a:lnTo>
                    <a:lnTo>
                      <a:pt x="122" y="534"/>
                    </a:lnTo>
                    <a:lnTo>
                      <a:pt x="144" y="528"/>
                    </a:lnTo>
                    <a:lnTo>
                      <a:pt x="154" y="526"/>
                    </a:lnTo>
                    <a:lnTo>
                      <a:pt x="166" y="526"/>
                    </a:lnTo>
                    <a:lnTo>
                      <a:pt x="176" y="528"/>
                    </a:lnTo>
                    <a:lnTo>
                      <a:pt x="190" y="534"/>
                    </a:lnTo>
                    <a:lnTo>
                      <a:pt x="190" y="534"/>
                    </a:lnTo>
                    <a:lnTo>
                      <a:pt x="198" y="536"/>
                    </a:lnTo>
                    <a:lnTo>
                      <a:pt x="204" y="538"/>
                    </a:lnTo>
                    <a:lnTo>
                      <a:pt x="210" y="538"/>
                    </a:lnTo>
                    <a:lnTo>
                      <a:pt x="218" y="536"/>
                    </a:lnTo>
                    <a:lnTo>
                      <a:pt x="230" y="530"/>
                    </a:lnTo>
                    <a:lnTo>
                      <a:pt x="242" y="522"/>
                    </a:lnTo>
                    <a:lnTo>
                      <a:pt x="254" y="512"/>
                    </a:lnTo>
                    <a:lnTo>
                      <a:pt x="266" y="506"/>
                    </a:lnTo>
                    <a:lnTo>
                      <a:pt x="270" y="506"/>
                    </a:lnTo>
                    <a:lnTo>
                      <a:pt x="276" y="506"/>
                    </a:lnTo>
                    <a:lnTo>
                      <a:pt x="280" y="508"/>
                    </a:lnTo>
                    <a:lnTo>
                      <a:pt x="286" y="510"/>
                    </a:lnTo>
                    <a:lnTo>
                      <a:pt x="286" y="510"/>
                    </a:lnTo>
                    <a:lnTo>
                      <a:pt x="290" y="516"/>
                    </a:lnTo>
                    <a:lnTo>
                      <a:pt x="290" y="518"/>
                    </a:lnTo>
                    <a:lnTo>
                      <a:pt x="290" y="522"/>
                    </a:lnTo>
                    <a:lnTo>
                      <a:pt x="288" y="524"/>
                    </a:lnTo>
                    <a:lnTo>
                      <a:pt x="282" y="526"/>
                    </a:lnTo>
                    <a:lnTo>
                      <a:pt x="272" y="528"/>
                    </a:lnTo>
                    <a:lnTo>
                      <a:pt x="264" y="530"/>
                    </a:lnTo>
                    <a:lnTo>
                      <a:pt x="260" y="534"/>
                    </a:lnTo>
                    <a:lnTo>
                      <a:pt x="260" y="536"/>
                    </a:lnTo>
                    <a:lnTo>
                      <a:pt x="262" y="538"/>
                    </a:lnTo>
                    <a:lnTo>
                      <a:pt x="274" y="544"/>
                    </a:lnTo>
                    <a:lnTo>
                      <a:pt x="274" y="544"/>
                    </a:lnTo>
                    <a:lnTo>
                      <a:pt x="280" y="550"/>
                    </a:lnTo>
                    <a:lnTo>
                      <a:pt x="286" y="554"/>
                    </a:lnTo>
                    <a:lnTo>
                      <a:pt x="290" y="558"/>
                    </a:lnTo>
                    <a:lnTo>
                      <a:pt x="292" y="564"/>
                    </a:lnTo>
                    <a:lnTo>
                      <a:pt x="292" y="570"/>
                    </a:lnTo>
                    <a:lnTo>
                      <a:pt x="292" y="574"/>
                    </a:lnTo>
                    <a:lnTo>
                      <a:pt x="288" y="584"/>
                    </a:lnTo>
                    <a:lnTo>
                      <a:pt x="280" y="592"/>
                    </a:lnTo>
                    <a:lnTo>
                      <a:pt x="270" y="598"/>
                    </a:lnTo>
                    <a:lnTo>
                      <a:pt x="258" y="600"/>
                    </a:lnTo>
                    <a:lnTo>
                      <a:pt x="244" y="598"/>
                    </a:lnTo>
                    <a:lnTo>
                      <a:pt x="244" y="598"/>
                    </a:lnTo>
                    <a:lnTo>
                      <a:pt x="240" y="598"/>
                    </a:lnTo>
                    <a:lnTo>
                      <a:pt x="234" y="598"/>
                    </a:lnTo>
                    <a:lnTo>
                      <a:pt x="226" y="602"/>
                    </a:lnTo>
                    <a:lnTo>
                      <a:pt x="220" y="610"/>
                    </a:lnTo>
                    <a:lnTo>
                      <a:pt x="214" y="618"/>
                    </a:lnTo>
                    <a:lnTo>
                      <a:pt x="210" y="624"/>
                    </a:lnTo>
                    <a:lnTo>
                      <a:pt x="202" y="630"/>
                    </a:lnTo>
                    <a:lnTo>
                      <a:pt x="198" y="630"/>
                    </a:lnTo>
                    <a:lnTo>
                      <a:pt x="192" y="630"/>
                    </a:lnTo>
                    <a:lnTo>
                      <a:pt x="186" y="628"/>
                    </a:lnTo>
                    <a:lnTo>
                      <a:pt x="180" y="624"/>
                    </a:lnTo>
                    <a:lnTo>
                      <a:pt x="180" y="624"/>
                    </a:lnTo>
                    <a:lnTo>
                      <a:pt x="172" y="620"/>
                    </a:lnTo>
                    <a:lnTo>
                      <a:pt x="166" y="618"/>
                    </a:lnTo>
                    <a:lnTo>
                      <a:pt x="160" y="618"/>
                    </a:lnTo>
                    <a:lnTo>
                      <a:pt x="154" y="620"/>
                    </a:lnTo>
                    <a:lnTo>
                      <a:pt x="144" y="626"/>
                    </a:lnTo>
                    <a:lnTo>
                      <a:pt x="136" y="636"/>
                    </a:lnTo>
                    <a:lnTo>
                      <a:pt x="124" y="658"/>
                    </a:lnTo>
                    <a:lnTo>
                      <a:pt x="118" y="666"/>
                    </a:lnTo>
                    <a:lnTo>
                      <a:pt x="112" y="672"/>
                    </a:lnTo>
                    <a:lnTo>
                      <a:pt x="112" y="672"/>
                    </a:lnTo>
                    <a:lnTo>
                      <a:pt x="106" y="674"/>
                    </a:lnTo>
                    <a:lnTo>
                      <a:pt x="102" y="678"/>
                    </a:lnTo>
                    <a:lnTo>
                      <a:pt x="96" y="690"/>
                    </a:lnTo>
                    <a:lnTo>
                      <a:pt x="92" y="702"/>
                    </a:lnTo>
                    <a:lnTo>
                      <a:pt x="88" y="708"/>
                    </a:lnTo>
                    <a:lnTo>
                      <a:pt x="82" y="712"/>
                    </a:lnTo>
                    <a:lnTo>
                      <a:pt x="82" y="712"/>
                    </a:lnTo>
                    <a:lnTo>
                      <a:pt x="76" y="716"/>
                    </a:lnTo>
                    <a:lnTo>
                      <a:pt x="74" y="720"/>
                    </a:lnTo>
                    <a:lnTo>
                      <a:pt x="74" y="726"/>
                    </a:lnTo>
                    <a:lnTo>
                      <a:pt x="76" y="730"/>
                    </a:lnTo>
                    <a:lnTo>
                      <a:pt x="88" y="740"/>
                    </a:lnTo>
                    <a:lnTo>
                      <a:pt x="108" y="756"/>
                    </a:lnTo>
                    <a:lnTo>
                      <a:pt x="108" y="756"/>
                    </a:lnTo>
                    <a:lnTo>
                      <a:pt x="116" y="764"/>
                    </a:lnTo>
                    <a:lnTo>
                      <a:pt x="118" y="772"/>
                    </a:lnTo>
                    <a:lnTo>
                      <a:pt x="118" y="778"/>
                    </a:lnTo>
                    <a:lnTo>
                      <a:pt x="116" y="784"/>
                    </a:lnTo>
                    <a:lnTo>
                      <a:pt x="114" y="790"/>
                    </a:lnTo>
                    <a:lnTo>
                      <a:pt x="112" y="794"/>
                    </a:lnTo>
                    <a:lnTo>
                      <a:pt x="112" y="800"/>
                    </a:lnTo>
                    <a:lnTo>
                      <a:pt x="116" y="804"/>
                    </a:lnTo>
                    <a:lnTo>
                      <a:pt x="116" y="804"/>
                    </a:lnTo>
                    <a:lnTo>
                      <a:pt x="132" y="818"/>
                    </a:lnTo>
                    <a:lnTo>
                      <a:pt x="148" y="834"/>
                    </a:lnTo>
                    <a:lnTo>
                      <a:pt x="158" y="840"/>
                    </a:lnTo>
                    <a:lnTo>
                      <a:pt x="168" y="844"/>
                    </a:lnTo>
                    <a:lnTo>
                      <a:pt x="180" y="844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208" y="836"/>
                    </a:lnTo>
                    <a:lnTo>
                      <a:pt x="218" y="834"/>
                    </a:lnTo>
                    <a:lnTo>
                      <a:pt x="228" y="836"/>
                    </a:lnTo>
                    <a:lnTo>
                      <a:pt x="234" y="838"/>
                    </a:lnTo>
                    <a:lnTo>
                      <a:pt x="240" y="842"/>
                    </a:lnTo>
                    <a:lnTo>
                      <a:pt x="242" y="848"/>
                    </a:lnTo>
                    <a:lnTo>
                      <a:pt x="242" y="858"/>
                    </a:lnTo>
                    <a:lnTo>
                      <a:pt x="238" y="868"/>
                    </a:lnTo>
                    <a:lnTo>
                      <a:pt x="238" y="868"/>
                    </a:lnTo>
                    <a:lnTo>
                      <a:pt x="236" y="878"/>
                    </a:lnTo>
                    <a:lnTo>
                      <a:pt x="236" y="884"/>
                    </a:lnTo>
                    <a:lnTo>
                      <a:pt x="238" y="888"/>
                    </a:lnTo>
                    <a:lnTo>
                      <a:pt x="242" y="890"/>
                    </a:lnTo>
                    <a:lnTo>
                      <a:pt x="244" y="892"/>
                    </a:lnTo>
                    <a:lnTo>
                      <a:pt x="246" y="896"/>
                    </a:lnTo>
                    <a:lnTo>
                      <a:pt x="246" y="900"/>
                    </a:lnTo>
                    <a:lnTo>
                      <a:pt x="244" y="908"/>
                    </a:lnTo>
                    <a:lnTo>
                      <a:pt x="244" y="908"/>
                    </a:lnTo>
                    <a:lnTo>
                      <a:pt x="242" y="918"/>
                    </a:lnTo>
                    <a:lnTo>
                      <a:pt x="244" y="922"/>
                    </a:lnTo>
                    <a:lnTo>
                      <a:pt x="248" y="924"/>
                    </a:lnTo>
                    <a:lnTo>
                      <a:pt x="254" y="924"/>
                    </a:lnTo>
                    <a:lnTo>
                      <a:pt x="262" y="920"/>
                    </a:lnTo>
                    <a:lnTo>
                      <a:pt x="270" y="916"/>
                    </a:lnTo>
                    <a:lnTo>
                      <a:pt x="284" y="904"/>
                    </a:lnTo>
                    <a:lnTo>
                      <a:pt x="284" y="904"/>
                    </a:lnTo>
                    <a:lnTo>
                      <a:pt x="292" y="900"/>
                    </a:lnTo>
                    <a:lnTo>
                      <a:pt x="300" y="898"/>
                    </a:lnTo>
                    <a:lnTo>
                      <a:pt x="308" y="898"/>
                    </a:lnTo>
                    <a:lnTo>
                      <a:pt x="316" y="902"/>
                    </a:lnTo>
                    <a:lnTo>
                      <a:pt x="326" y="906"/>
                    </a:lnTo>
                    <a:lnTo>
                      <a:pt x="336" y="912"/>
                    </a:lnTo>
                    <a:lnTo>
                      <a:pt x="352" y="926"/>
                    </a:lnTo>
                    <a:lnTo>
                      <a:pt x="352" y="926"/>
                    </a:lnTo>
                    <a:lnTo>
                      <a:pt x="358" y="930"/>
                    </a:lnTo>
                    <a:lnTo>
                      <a:pt x="362" y="932"/>
                    </a:lnTo>
                    <a:lnTo>
                      <a:pt x="366" y="930"/>
                    </a:lnTo>
                    <a:lnTo>
                      <a:pt x="370" y="926"/>
                    </a:lnTo>
                    <a:lnTo>
                      <a:pt x="376" y="918"/>
                    </a:lnTo>
                    <a:lnTo>
                      <a:pt x="380" y="916"/>
                    </a:lnTo>
                    <a:lnTo>
                      <a:pt x="386" y="918"/>
                    </a:lnTo>
                    <a:lnTo>
                      <a:pt x="386" y="918"/>
                    </a:lnTo>
                    <a:lnTo>
                      <a:pt x="392" y="920"/>
                    </a:lnTo>
                    <a:lnTo>
                      <a:pt x="402" y="918"/>
                    </a:lnTo>
                    <a:lnTo>
                      <a:pt x="420" y="912"/>
                    </a:lnTo>
                    <a:lnTo>
                      <a:pt x="432" y="908"/>
                    </a:lnTo>
                    <a:lnTo>
                      <a:pt x="432" y="908"/>
                    </a:lnTo>
                    <a:lnTo>
                      <a:pt x="432" y="910"/>
                    </a:lnTo>
                    <a:lnTo>
                      <a:pt x="430" y="916"/>
                    </a:lnTo>
                    <a:lnTo>
                      <a:pt x="430" y="916"/>
                    </a:lnTo>
                    <a:lnTo>
                      <a:pt x="418" y="932"/>
                    </a:lnTo>
                    <a:lnTo>
                      <a:pt x="412" y="946"/>
                    </a:lnTo>
                    <a:lnTo>
                      <a:pt x="410" y="962"/>
                    </a:lnTo>
                    <a:lnTo>
                      <a:pt x="410" y="978"/>
                    </a:lnTo>
                    <a:lnTo>
                      <a:pt x="410" y="978"/>
                    </a:lnTo>
                    <a:lnTo>
                      <a:pt x="408" y="986"/>
                    </a:lnTo>
                    <a:lnTo>
                      <a:pt x="406" y="990"/>
                    </a:lnTo>
                    <a:lnTo>
                      <a:pt x="402" y="992"/>
                    </a:lnTo>
                    <a:lnTo>
                      <a:pt x="396" y="994"/>
                    </a:lnTo>
                    <a:lnTo>
                      <a:pt x="392" y="998"/>
                    </a:lnTo>
                    <a:lnTo>
                      <a:pt x="386" y="1000"/>
                    </a:lnTo>
                    <a:lnTo>
                      <a:pt x="380" y="1008"/>
                    </a:lnTo>
                    <a:lnTo>
                      <a:pt x="374" y="1018"/>
                    </a:lnTo>
                    <a:lnTo>
                      <a:pt x="374" y="1018"/>
                    </a:lnTo>
                    <a:lnTo>
                      <a:pt x="368" y="1028"/>
                    </a:lnTo>
                    <a:lnTo>
                      <a:pt x="360" y="1036"/>
                    </a:lnTo>
                    <a:lnTo>
                      <a:pt x="352" y="1040"/>
                    </a:lnTo>
                    <a:lnTo>
                      <a:pt x="342" y="1044"/>
                    </a:lnTo>
                    <a:lnTo>
                      <a:pt x="332" y="1048"/>
                    </a:lnTo>
                    <a:lnTo>
                      <a:pt x="324" y="1054"/>
                    </a:lnTo>
                    <a:lnTo>
                      <a:pt x="314" y="1060"/>
                    </a:lnTo>
                    <a:lnTo>
                      <a:pt x="306" y="1072"/>
                    </a:lnTo>
                    <a:lnTo>
                      <a:pt x="306" y="1072"/>
                    </a:lnTo>
                    <a:lnTo>
                      <a:pt x="300" y="1082"/>
                    </a:lnTo>
                    <a:lnTo>
                      <a:pt x="296" y="1088"/>
                    </a:lnTo>
                    <a:lnTo>
                      <a:pt x="292" y="1090"/>
                    </a:lnTo>
                    <a:lnTo>
                      <a:pt x="288" y="1088"/>
                    </a:lnTo>
                    <a:lnTo>
                      <a:pt x="276" y="1086"/>
                    </a:lnTo>
                    <a:lnTo>
                      <a:pt x="268" y="1088"/>
                    </a:lnTo>
                    <a:lnTo>
                      <a:pt x="254" y="1090"/>
                    </a:lnTo>
                    <a:lnTo>
                      <a:pt x="254" y="1090"/>
                    </a:lnTo>
                    <a:lnTo>
                      <a:pt x="244" y="1096"/>
                    </a:lnTo>
                    <a:lnTo>
                      <a:pt x="236" y="1100"/>
                    </a:lnTo>
                    <a:lnTo>
                      <a:pt x="232" y="1104"/>
                    </a:lnTo>
                    <a:lnTo>
                      <a:pt x="228" y="1110"/>
                    </a:lnTo>
                    <a:lnTo>
                      <a:pt x="222" y="1118"/>
                    </a:lnTo>
                    <a:lnTo>
                      <a:pt x="218" y="1124"/>
                    </a:lnTo>
                    <a:lnTo>
                      <a:pt x="210" y="1128"/>
                    </a:lnTo>
                    <a:lnTo>
                      <a:pt x="210" y="1128"/>
                    </a:lnTo>
                    <a:lnTo>
                      <a:pt x="200" y="1132"/>
                    </a:lnTo>
                    <a:lnTo>
                      <a:pt x="194" y="1138"/>
                    </a:lnTo>
                    <a:lnTo>
                      <a:pt x="188" y="1144"/>
                    </a:lnTo>
                    <a:lnTo>
                      <a:pt x="186" y="1148"/>
                    </a:lnTo>
                    <a:lnTo>
                      <a:pt x="188" y="1152"/>
                    </a:lnTo>
                    <a:lnTo>
                      <a:pt x="192" y="1154"/>
                    </a:lnTo>
                    <a:lnTo>
                      <a:pt x="200" y="1154"/>
                    </a:lnTo>
                    <a:lnTo>
                      <a:pt x="212" y="1150"/>
                    </a:lnTo>
                    <a:lnTo>
                      <a:pt x="212" y="1150"/>
                    </a:lnTo>
                    <a:lnTo>
                      <a:pt x="224" y="1144"/>
                    </a:lnTo>
                    <a:lnTo>
                      <a:pt x="234" y="1138"/>
                    </a:lnTo>
                    <a:lnTo>
                      <a:pt x="248" y="1124"/>
                    </a:lnTo>
                    <a:lnTo>
                      <a:pt x="256" y="1116"/>
                    </a:lnTo>
                    <a:lnTo>
                      <a:pt x="258" y="1116"/>
                    </a:lnTo>
                    <a:lnTo>
                      <a:pt x="262" y="1120"/>
                    </a:lnTo>
                    <a:lnTo>
                      <a:pt x="262" y="1120"/>
                    </a:lnTo>
                    <a:lnTo>
                      <a:pt x="266" y="1124"/>
                    </a:lnTo>
                    <a:lnTo>
                      <a:pt x="270" y="1124"/>
                    </a:lnTo>
                    <a:lnTo>
                      <a:pt x="278" y="1122"/>
                    </a:lnTo>
                    <a:lnTo>
                      <a:pt x="282" y="1120"/>
                    </a:lnTo>
                    <a:lnTo>
                      <a:pt x="284" y="1120"/>
                    </a:lnTo>
                    <a:lnTo>
                      <a:pt x="288" y="1124"/>
                    </a:lnTo>
                    <a:lnTo>
                      <a:pt x="290" y="1128"/>
                    </a:lnTo>
                    <a:lnTo>
                      <a:pt x="290" y="1128"/>
                    </a:lnTo>
                    <a:lnTo>
                      <a:pt x="292" y="1136"/>
                    </a:lnTo>
                    <a:lnTo>
                      <a:pt x="296" y="1138"/>
                    </a:lnTo>
                    <a:lnTo>
                      <a:pt x="298" y="1140"/>
                    </a:lnTo>
                    <a:lnTo>
                      <a:pt x="302" y="1138"/>
                    </a:lnTo>
                    <a:lnTo>
                      <a:pt x="306" y="1136"/>
                    </a:lnTo>
                    <a:lnTo>
                      <a:pt x="308" y="1130"/>
                    </a:lnTo>
                    <a:lnTo>
                      <a:pt x="308" y="1126"/>
                    </a:lnTo>
                    <a:lnTo>
                      <a:pt x="306" y="1120"/>
                    </a:lnTo>
                    <a:lnTo>
                      <a:pt x="306" y="1120"/>
                    </a:lnTo>
                    <a:lnTo>
                      <a:pt x="306" y="1114"/>
                    </a:lnTo>
                    <a:lnTo>
                      <a:pt x="308" y="1110"/>
                    </a:lnTo>
                    <a:lnTo>
                      <a:pt x="312" y="1106"/>
                    </a:lnTo>
                    <a:lnTo>
                      <a:pt x="316" y="1102"/>
                    </a:lnTo>
                    <a:lnTo>
                      <a:pt x="322" y="1100"/>
                    </a:lnTo>
                    <a:lnTo>
                      <a:pt x="328" y="1100"/>
                    </a:lnTo>
                    <a:lnTo>
                      <a:pt x="332" y="1102"/>
                    </a:lnTo>
                    <a:lnTo>
                      <a:pt x="334" y="1108"/>
                    </a:lnTo>
                    <a:lnTo>
                      <a:pt x="334" y="1108"/>
                    </a:lnTo>
                    <a:lnTo>
                      <a:pt x="334" y="1110"/>
                    </a:lnTo>
                    <a:lnTo>
                      <a:pt x="336" y="1110"/>
                    </a:lnTo>
                    <a:lnTo>
                      <a:pt x="340" y="1110"/>
                    </a:lnTo>
                    <a:lnTo>
                      <a:pt x="354" y="1100"/>
                    </a:lnTo>
                    <a:lnTo>
                      <a:pt x="372" y="1088"/>
                    </a:lnTo>
                    <a:lnTo>
                      <a:pt x="380" y="1084"/>
                    </a:lnTo>
                    <a:lnTo>
                      <a:pt x="388" y="1082"/>
                    </a:lnTo>
                    <a:lnTo>
                      <a:pt x="388" y="1082"/>
                    </a:lnTo>
                    <a:lnTo>
                      <a:pt x="394" y="1082"/>
                    </a:lnTo>
                    <a:lnTo>
                      <a:pt x="396" y="1080"/>
                    </a:lnTo>
                    <a:lnTo>
                      <a:pt x="394" y="1074"/>
                    </a:lnTo>
                    <a:lnTo>
                      <a:pt x="394" y="1068"/>
                    </a:lnTo>
                    <a:lnTo>
                      <a:pt x="398" y="1062"/>
                    </a:lnTo>
                    <a:lnTo>
                      <a:pt x="408" y="1052"/>
                    </a:lnTo>
                    <a:lnTo>
                      <a:pt x="424" y="1042"/>
                    </a:lnTo>
                    <a:lnTo>
                      <a:pt x="424" y="1042"/>
                    </a:lnTo>
                    <a:lnTo>
                      <a:pt x="440" y="1032"/>
                    </a:lnTo>
                    <a:lnTo>
                      <a:pt x="452" y="1024"/>
                    </a:lnTo>
                    <a:lnTo>
                      <a:pt x="462" y="1016"/>
                    </a:lnTo>
                    <a:lnTo>
                      <a:pt x="468" y="1010"/>
                    </a:lnTo>
                    <a:lnTo>
                      <a:pt x="478" y="998"/>
                    </a:lnTo>
                    <a:lnTo>
                      <a:pt x="484" y="994"/>
                    </a:lnTo>
                    <a:lnTo>
                      <a:pt x="492" y="988"/>
                    </a:lnTo>
                    <a:lnTo>
                      <a:pt x="492" y="988"/>
                    </a:lnTo>
                    <a:lnTo>
                      <a:pt x="516" y="976"/>
                    </a:lnTo>
                    <a:lnTo>
                      <a:pt x="538" y="964"/>
                    </a:lnTo>
                    <a:lnTo>
                      <a:pt x="548" y="956"/>
                    </a:lnTo>
                    <a:lnTo>
                      <a:pt x="556" y="950"/>
                    </a:lnTo>
                    <a:lnTo>
                      <a:pt x="562" y="942"/>
                    </a:lnTo>
                    <a:lnTo>
                      <a:pt x="566" y="934"/>
                    </a:lnTo>
                    <a:lnTo>
                      <a:pt x="566" y="934"/>
                    </a:lnTo>
                    <a:lnTo>
                      <a:pt x="568" y="928"/>
                    </a:lnTo>
                    <a:lnTo>
                      <a:pt x="572" y="922"/>
                    </a:lnTo>
                    <a:lnTo>
                      <a:pt x="580" y="916"/>
                    </a:lnTo>
                    <a:lnTo>
                      <a:pt x="588" y="912"/>
                    </a:lnTo>
                    <a:lnTo>
                      <a:pt x="592" y="906"/>
                    </a:lnTo>
                    <a:lnTo>
                      <a:pt x="592" y="900"/>
                    </a:lnTo>
                    <a:lnTo>
                      <a:pt x="592" y="900"/>
                    </a:lnTo>
                    <a:lnTo>
                      <a:pt x="592" y="898"/>
                    </a:lnTo>
                    <a:lnTo>
                      <a:pt x="590" y="896"/>
                    </a:lnTo>
                    <a:lnTo>
                      <a:pt x="582" y="892"/>
                    </a:lnTo>
                    <a:lnTo>
                      <a:pt x="564" y="892"/>
                    </a:lnTo>
                    <a:lnTo>
                      <a:pt x="556" y="890"/>
                    </a:lnTo>
                    <a:lnTo>
                      <a:pt x="554" y="890"/>
                    </a:lnTo>
                    <a:lnTo>
                      <a:pt x="554" y="888"/>
                    </a:lnTo>
                    <a:lnTo>
                      <a:pt x="554" y="886"/>
                    </a:lnTo>
                    <a:lnTo>
                      <a:pt x="556" y="882"/>
                    </a:lnTo>
                    <a:lnTo>
                      <a:pt x="570" y="870"/>
                    </a:lnTo>
                    <a:lnTo>
                      <a:pt x="570" y="870"/>
                    </a:lnTo>
                    <a:lnTo>
                      <a:pt x="598" y="846"/>
                    </a:lnTo>
                    <a:lnTo>
                      <a:pt x="616" y="828"/>
                    </a:lnTo>
                    <a:lnTo>
                      <a:pt x="630" y="810"/>
                    </a:lnTo>
                    <a:lnTo>
                      <a:pt x="644" y="786"/>
                    </a:lnTo>
                    <a:lnTo>
                      <a:pt x="644" y="786"/>
                    </a:lnTo>
                    <a:lnTo>
                      <a:pt x="654" y="774"/>
                    </a:lnTo>
                    <a:lnTo>
                      <a:pt x="666" y="764"/>
                    </a:lnTo>
                    <a:lnTo>
                      <a:pt x="680" y="756"/>
                    </a:lnTo>
                    <a:lnTo>
                      <a:pt x="694" y="750"/>
                    </a:lnTo>
                    <a:lnTo>
                      <a:pt x="710" y="750"/>
                    </a:lnTo>
                    <a:lnTo>
                      <a:pt x="726" y="752"/>
                    </a:lnTo>
                    <a:lnTo>
                      <a:pt x="742" y="758"/>
                    </a:lnTo>
                    <a:lnTo>
                      <a:pt x="750" y="764"/>
                    </a:lnTo>
                    <a:lnTo>
                      <a:pt x="758" y="770"/>
                    </a:lnTo>
                    <a:lnTo>
                      <a:pt x="758" y="770"/>
                    </a:lnTo>
                    <a:lnTo>
                      <a:pt x="768" y="782"/>
                    </a:lnTo>
                    <a:lnTo>
                      <a:pt x="770" y="784"/>
                    </a:lnTo>
                    <a:lnTo>
                      <a:pt x="770" y="784"/>
                    </a:lnTo>
                    <a:lnTo>
                      <a:pt x="752" y="776"/>
                    </a:lnTo>
                    <a:lnTo>
                      <a:pt x="738" y="768"/>
                    </a:lnTo>
                    <a:lnTo>
                      <a:pt x="720" y="764"/>
                    </a:lnTo>
                    <a:lnTo>
                      <a:pt x="712" y="762"/>
                    </a:lnTo>
                    <a:lnTo>
                      <a:pt x="704" y="762"/>
                    </a:lnTo>
                    <a:lnTo>
                      <a:pt x="696" y="764"/>
                    </a:lnTo>
                    <a:lnTo>
                      <a:pt x="690" y="768"/>
                    </a:lnTo>
                    <a:lnTo>
                      <a:pt x="690" y="768"/>
                    </a:lnTo>
                    <a:lnTo>
                      <a:pt x="680" y="776"/>
                    </a:lnTo>
                    <a:lnTo>
                      <a:pt x="674" y="784"/>
                    </a:lnTo>
                    <a:lnTo>
                      <a:pt x="672" y="790"/>
                    </a:lnTo>
                    <a:lnTo>
                      <a:pt x="672" y="796"/>
                    </a:lnTo>
                    <a:lnTo>
                      <a:pt x="672" y="802"/>
                    </a:lnTo>
                    <a:lnTo>
                      <a:pt x="670" y="810"/>
                    </a:lnTo>
                    <a:lnTo>
                      <a:pt x="666" y="818"/>
                    </a:lnTo>
                    <a:lnTo>
                      <a:pt x="658" y="828"/>
                    </a:lnTo>
                    <a:lnTo>
                      <a:pt x="658" y="828"/>
                    </a:lnTo>
                    <a:lnTo>
                      <a:pt x="652" y="836"/>
                    </a:lnTo>
                    <a:lnTo>
                      <a:pt x="650" y="844"/>
                    </a:lnTo>
                    <a:lnTo>
                      <a:pt x="652" y="848"/>
                    </a:lnTo>
                    <a:lnTo>
                      <a:pt x="656" y="852"/>
                    </a:lnTo>
                    <a:lnTo>
                      <a:pt x="660" y="856"/>
                    </a:lnTo>
                    <a:lnTo>
                      <a:pt x="662" y="858"/>
                    </a:lnTo>
                    <a:lnTo>
                      <a:pt x="662" y="862"/>
                    </a:lnTo>
                    <a:lnTo>
                      <a:pt x="656" y="866"/>
                    </a:lnTo>
                    <a:lnTo>
                      <a:pt x="656" y="866"/>
                    </a:lnTo>
                    <a:lnTo>
                      <a:pt x="646" y="874"/>
                    </a:lnTo>
                    <a:lnTo>
                      <a:pt x="644" y="876"/>
                    </a:lnTo>
                    <a:lnTo>
                      <a:pt x="644" y="878"/>
                    </a:lnTo>
                    <a:lnTo>
                      <a:pt x="646" y="880"/>
                    </a:lnTo>
                    <a:lnTo>
                      <a:pt x="648" y="882"/>
                    </a:lnTo>
                    <a:lnTo>
                      <a:pt x="658" y="884"/>
                    </a:lnTo>
                    <a:lnTo>
                      <a:pt x="670" y="884"/>
                    </a:lnTo>
                    <a:lnTo>
                      <a:pt x="684" y="882"/>
                    </a:lnTo>
                    <a:lnTo>
                      <a:pt x="698" y="876"/>
                    </a:lnTo>
                    <a:lnTo>
                      <a:pt x="712" y="866"/>
                    </a:lnTo>
                    <a:lnTo>
                      <a:pt x="712" y="866"/>
                    </a:lnTo>
                    <a:lnTo>
                      <a:pt x="732" y="850"/>
                    </a:lnTo>
                    <a:lnTo>
                      <a:pt x="748" y="840"/>
                    </a:lnTo>
                    <a:lnTo>
                      <a:pt x="762" y="834"/>
                    </a:lnTo>
                    <a:lnTo>
                      <a:pt x="778" y="834"/>
                    </a:lnTo>
                    <a:lnTo>
                      <a:pt x="778" y="834"/>
                    </a:lnTo>
                    <a:lnTo>
                      <a:pt x="786" y="832"/>
                    </a:lnTo>
                    <a:lnTo>
                      <a:pt x="790" y="830"/>
                    </a:lnTo>
                    <a:lnTo>
                      <a:pt x="790" y="828"/>
                    </a:lnTo>
                    <a:lnTo>
                      <a:pt x="790" y="824"/>
                    </a:lnTo>
                    <a:lnTo>
                      <a:pt x="790" y="820"/>
                    </a:lnTo>
                    <a:lnTo>
                      <a:pt x="790" y="818"/>
                    </a:lnTo>
                    <a:lnTo>
                      <a:pt x="794" y="814"/>
                    </a:lnTo>
                    <a:lnTo>
                      <a:pt x="800" y="810"/>
                    </a:lnTo>
                    <a:lnTo>
                      <a:pt x="800" y="810"/>
                    </a:lnTo>
                    <a:lnTo>
                      <a:pt x="804" y="806"/>
                    </a:lnTo>
                    <a:lnTo>
                      <a:pt x="806" y="802"/>
                    </a:lnTo>
                    <a:lnTo>
                      <a:pt x="804" y="796"/>
                    </a:lnTo>
                    <a:lnTo>
                      <a:pt x="802" y="790"/>
                    </a:lnTo>
                    <a:lnTo>
                      <a:pt x="800" y="784"/>
                    </a:lnTo>
                    <a:lnTo>
                      <a:pt x="800" y="780"/>
                    </a:lnTo>
                    <a:lnTo>
                      <a:pt x="804" y="776"/>
                    </a:lnTo>
                    <a:lnTo>
                      <a:pt x="812" y="774"/>
                    </a:lnTo>
                    <a:lnTo>
                      <a:pt x="812" y="774"/>
                    </a:lnTo>
                    <a:lnTo>
                      <a:pt x="824" y="772"/>
                    </a:lnTo>
                    <a:lnTo>
                      <a:pt x="834" y="770"/>
                    </a:lnTo>
                    <a:lnTo>
                      <a:pt x="850" y="764"/>
                    </a:lnTo>
                    <a:lnTo>
                      <a:pt x="856" y="764"/>
                    </a:lnTo>
                    <a:lnTo>
                      <a:pt x="860" y="764"/>
                    </a:lnTo>
                    <a:lnTo>
                      <a:pt x="862" y="768"/>
                    </a:lnTo>
                    <a:lnTo>
                      <a:pt x="862" y="774"/>
                    </a:lnTo>
                    <a:lnTo>
                      <a:pt x="862" y="774"/>
                    </a:lnTo>
                    <a:lnTo>
                      <a:pt x="862" y="780"/>
                    </a:lnTo>
                    <a:lnTo>
                      <a:pt x="866" y="784"/>
                    </a:lnTo>
                    <a:lnTo>
                      <a:pt x="870" y="788"/>
                    </a:lnTo>
                    <a:lnTo>
                      <a:pt x="874" y="790"/>
                    </a:lnTo>
                    <a:lnTo>
                      <a:pt x="888" y="794"/>
                    </a:lnTo>
                    <a:lnTo>
                      <a:pt x="896" y="798"/>
                    </a:lnTo>
                    <a:lnTo>
                      <a:pt x="906" y="802"/>
                    </a:lnTo>
                    <a:lnTo>
                      <a:pt x="906" y="802"/>
                    </a:lnTo>
                    <a:lnTo>
                      <a:pt x="912" y="806"/>
                    </a:lnTo>
                    <a:lnTo>
                      <a:pt x="918" y="806"/>
                    </a:lnTo>
                    <a:lnTo>
                      <a:pt x="922" y="804"/>
                    </a:lnTo>
                    <a:lnTo>
                      <a:pt x="924" y="802"/>
                    </a:lnTo>
                    <a:lnTo>
                      <a:pt x="926" y="800"/>
                    </a:lnTo>
                    <a:lnTo>
                      <a:pt x="930" y="800"/>
                    </a:lnTo>
                    <a:lnTo>
                      <a:pt x="934" y="804"/>
                    </a:lnTo>
                    <a:lnTo>
                      <a:pt x="940" y="810"/>
                    </a:lnTo>
                    <a:lnTo>
                      <a:pt x="940" y="810"/>
                    </a:lnTo>
                    <a:lnTo>
                      <a:pt x="948" y="820"/>
                    </a:lnTo>
                    <a:lnTo>
                      <a:pt x="958" y="824"/>
                    </a:lnTo>
                    <a:lnTo>
                      <a:pt x="968" y="828"/>
                    </a:lnTo>
                    <a:lnTo>
                      <a:pt x="978" y="828"/>
                    </a:lnTo>
                    <a:lnTo>
                      <a:pt x="1002" y="826"/>
                    </a:lnTo>
                    <a:lnTo>
                      <a:pt x="1024" y="824"/>
                    </a:lnTo>
                    <a:lnTo>
                      <a:pt x="1024" y="824"/>
                    </a:lnTo>
                    <a:lnTo>
                      <a:pt x="1036" y="826"/>
                    </a:lnTo>
                    <a:lnTo>
                      <a:pt x="1050" y="830"/>
                    </a:lnTo>
                    <a:lnTo>
                      <a:pt x="1076" y="842"/>
                    </a:lnTo>
                    <a:lnTo>
                      <a:pt x="1090" y="846"/>
                    </a:lnTo>
                    <a:lnTo>
                      <a:pt x="1104" y="850"/>
                    </a:lnTo>
                    <a:lnTo>
                      <a:pt x="1116" y="850"/>
                    </a:lnTo>
                    <a:lnTo>
                      <a:pt x="1122" y="848"/>
                    </a:lnTo>
                    <a:lnTo>
                      <a:pt x="1126" y="846"/>
                    </a:lnTo>
                    <a:lnTo>
                      <a:pt x="1126" y="846"/>
                    </a:lnTo>
                    <a:lnTo>
                      <a:pt x="1136" y="842"/>
                    </a:lnTo>
                    <a:lnTo>
                      <a:pt x="1142" y="840"/>
                    </a:lnTo>
                    <a:lnTo>
                      <a:pt x="1146" y="840"/>
                    </a:lnTo>
                    <a:lnTo>
                      <a:pt x="1150" y="842"/>
                    </a:lnTo>
                    <a:lnTo>
                      <a:pt x="1150" y="846"/>
                    </a:lnTo>
                    <a:lnTo>
                      <a:pt x="1150" y="850"/>
                    </a:lnTo>
                    <a:lnTo>
                      <a:pt x="1146" y="854"/>
                    </a:lnTo>
                    <a:lnTo>
                      <a:pt x="1142" y="858"/>
                    </a:lnTo>
                    <a:lnTo>
                      <a:pt x="1142" y="858"/>
                    </a:lnTo>
                    <a:lnTo>
                      <a:pt x="1138" y="860"/>
                    </a:lnTo>
                    <a:lnTo>
                      <a:pt x="1140" y="864"/>
                    </a:lnTo>
                    <a:lnTo>
                      <a:pt x="1146" y="868"/>
                    </a:lnTo>
                    <a:lnTo>
                      <a:pt x="1154" y="874"/>
                    </a:lnTo>
                    <a:lnTo>
                      <a:pt x="1174" y="882"/>
                    </a:lnTo>
                    <a:lnTo>
                      <a:pt x="1192" y="892"/>
                    </a:lnTo>
                    <a:lnTo>
                      <a:pt x="1192" y="892"/>
                    </a:lnTo>
                    <a:lnTo>
                      <a:pt x="1206" y="900"/>
                    </a:lnTo>
                    <a:lnTo>
                      <a:pt x="1216" y="912"/>
                    </a:lnTo>
                    <a:lnTo>
                      <a:pt x="1228" y="924"/>
                    </a:lnTo>
                    <a:lnTo>
                      <a:pt x="1244" y="934"/>
                    </a:lnTo>
                    <a:lnTo>
                      <a:pt x="1244" y="934"/>
                    </a:lnTo>
                    <a:lnTo>
                      <a:pt x="1254" y="938"/>
                    </a:lnTo>
                    <a:lnTo>
                      <a:pt x="1264" y="940"/>
                    </a:lnTo>
                    <a:lnTo>
                      <a:pt x="1272" y="940"/>
                    </a:lnTo>
                    <a:lnTo>
                      <a:pt x="1278" y="940"/>
                    </a:lnTo>
                    <a:lnTo>
                      <a:pt x="1282" y="938"/>
                    </a:lnTo>
                    <a:lnTo>
                      <a:pt x="1284" y="934"/>
                    </a:lnTo>
                    <a:lnTo>
                      <a:pt x="1284" y="930"/>
                    </a:lnTo>
                    <a:lnTo>
                      <a:pt x="1280" y="924"/>
                    </a:lnTo>
                    <a:lnTo>
                      <a:pt x="1280" y="924"/>
                    </a:lnTo>
                    <a:lnTo>
                      <a:pt x="1272" y="912"/>
                    </a:lnTo>
                    <a:lnTo>
                      <a:pt x="1268" y="904"/>
                    </a:lnTo>
                    <a:lnTo>
                      <a:pt x="1268" y="902"/>
                    </a:lnTo>
                    <a:lnTo>
                      <a:pt x="1270" y="902"/>
                    </a:lnTo>
                    <a:lnTo>
                      <a:pt x="1282" y="912"/>
                    </a:lnTo>
                    <a:lnTo>
                      <a:pt x="1282" y="912"/>
                    </a:lnTo>
                    <a:lnTo>
                      <a:pt x="1298" y="928"/>
                    </a:lnTo>
                    <a:lnTo>
                      <a:pt x="1314" y="938"/>
                    </a:lnTo>
                    <a:lnTo>
                      <a:pt x="1320" y="940"/>
                    </a:lnTo>
                    <a:lnTo>
                      <a:pt x="1324" y="940"/>
                    </a:lnTo>
                    <a:lnTo>
                      <a:pt x="1326" y="938"/>
                    </a:lnTo>
                    <a:lnTo>
                      <a:pt x="1326" y="930"/>
                    </a:lnTo>
                    <a:lnTo>
                      <a:pt x="1326" y="930"/>
                    </a:lnTo>
                    <a:lnTo>
                      <a:pt x="1322" y="916"/>
                    </a:lnTo>
                    <a:lnTo>
                      <a:pt x="1322" y="908"/>
                    </a:lnTo>
                    <a:lnTo>
                      <a:pt x="1322" y="906"/>
                    </a:lnTo>
                    <a:lnTo>
                      <a:pt x="1324" y="908"/>
                    </a:lnTo>
                    <a:lnTo>
                      <a:pt x="1332" y="922"/>
                    </a:lnTo>
                    <a:lnTo>
                      <a:pt x="1332" y="922"/>
                    </a:lnTo>
                    <a:lnTo>
                      <a:pt x="1338" y="930"/>
                    </a:lnTo>
                    <a:lnTo>
                      <a:pt x="1344" y="934"/>
                    </a:lnTo>
                    <a:lnTo>
                      <a:pt x="1348" y="936"/>
                    </a:lnTo>
                    <a:lnTo>
                      <a:pt x="1354" y="938"/>
                    </a:lnTo>
                    <a:lnTo>
                      <a:pt x="1358" y="938"/>
                    </a:lnTo>
                    <a:lnTo>
                      <a:pt x="1362" y="940"/>
                    </a:lnTo>
                    <a:lnTo>
                      <a:pt x="1368" y="942"/>
                    </a:lnTo>
                    <a:lnTo>
                      <a:pt x="1372" y="950"/>
                    </a:lnTo>
                    <a:lnTo>
                      <a:pt x="1372" y="950"/>
                    </a:lnTo>
                    <a:lnTo>
                      <a:pt x="1378" y="966"/>
                    </a:lnTo>
                    <a:lnTo>
                      <a:pt x="1382" y="976"/>
                    </a:lnTo>
                    <a:lnTo>
                      <a:pt x="1384" y="982"/>
                    </a:lnTo>
                    <a:lnTo>
                      <a:pt x="1390" y="988"/>
                    </a:lnTo>
                    <a:lnTo>
                      <a:pt x="1390" y="988"/>
                    </a:lnTo>
                    <a:lnTo>
                      <a:pt x="1394" y="992"/>
                    </a:lnTo>
                    <a:lnTo>
                      <a:pt x="1394" y="996"/>
                    </a:lnTo>
                    <a:lnTo>
                      <a:pt x="1390" y="1002"/>
                    </a:lnTo>
                    <a:lnTo>
                      <a:pt x="1388" y="1006"/>
                    </a:lnTo>
                    <a:lnTo>
                      <a:pt x="1388" y="1008"/>
                    </a:lnTo>
                    <a:lnTo>
                      <a:pt x="1392" y="1012"/>
                    </a:lnTo>
                    <a:lnTo>
                      <a:pt x="1398" y="1014"/>
                    </a:lnTo>
                    <a:lnTo>
                      <a:pt x="1398" y="1014"/>
                    </a:lnTo>
                    <a:lnTo>
                      <a:pt x="1412" y="1020"/>
                    </a:lnTo>
                    <a:lnTo>
                      <a:pt x="1414" y="1024"/>
                    </a:lnTo>
                    <a:lnTo>
                      <a:pt x="1416" y="1026"/>
                    </a:lnTo>
                    <a:lnTo>
                      <a:pt x="1422" y="1036"/>
                    </a:lnTo>
                    <a:lnTo>
                      <a:pt x="1426" y="1042"/>
                    </a:lnTo>
                    <a:lnTo>
                      <a:pt x="1434" y="1052"/>
                    </a:lnTo>
                    <a:lnTo>
                      <a:pt x="1434" y="1052"/>
                    </a:lnTo>
                    <a:lnTo>
                      <a:pt x="1452" y="1064"/>
                    </a:lnTo>
                    <a:lnTo>
                      <a:pt x="1464" y="1070"/>
                    </a:lnTo>
                    <a:lnTo>
                      <a:pt x="1466" y="1074"/>
                    </a:lnTo>
                    <a:lnTo>
                      <a:pt x="1460" y="1076"/>
                    </a:lnTo>
                    <a:lnTo>
                      <a:pt x="1460" y="1076"/>
                    </a:lnTo>
                    <a:lnTo>
                      <a:pt x="1452" y="1080"/>
                    </a:lnTo>
                    <a:lnTo>
                      <a:pt x="1450" y="1086"/>
                    </a:lnTo>
                    <a:lnTo>
                      <a:pt x="1448" y="1092"/>
                    </a:lnTo>
                    <a:lnTo>
                      <a:pt x="1442" y="1100"/>
                    </a:lnTo>
                    <a:lnTo>
                      <a:pt x="1442" y="1100"/>
                    </a:lnTo>
                    <a:lnTo>
                      <a:pt x="1440" y="1104"/>
                    </a:lnTo>
                    <a:lnTo>
                      <a:pt x="1440" y="1108"/>
                    </a:lnTo>
                    <a:lnTo>
                      <a:pt x="1440" y="1112"/>
                    </a:lnTo>
                    <a:lnTo>
                      <a:pt x="1442" y="1114"/>
                    </a:lnTo>
                    <a:lnTo>
                      <a:pt x="1446" y="1116"/>
                    </a:lnTo>
                    <a:lnTo>
                      <a:pt x="1450" y="1114"/>
                    </a:lnTo>
                    <a:lnTo>
                      <a:pt x="1452" y="1112"/>
                    </a:lnTo>
                    <a:lnTo>
                      <a:pt x="1456" y="1106"/>
                    </a:lnTo>
                    <a:lnTo>
                      <a:pt x="1456" y="1106"/>
                    </a:lnTo>
                    <a:lnTo>
                      <a:pt x="1462" y="1092"/>
                    </a:lnTo>
                    <a:lnTo>
                      <a:pt x="1466" y="1088"/>
                    </a:lnTo>
                    <a:lnTo>
                      <a:pt x="1470" y="1084"/>
                    </a:lnTo>
                    <a:lnTo>
                      <a:pt x="1474" y="1082"/>
                    </a:lnTo>
                    <a:lnTo>
                      <a:pt x="1478" y="1084"/>
                    </a:lnTo>
                    <a:lnTo>
                      <a:pt x="1484" y="1088"/>
                    </a:lnTo>
                    <a:lnTo>
                      <a:pt x="1488" y="1094"/>
                    </a:lnTo>
                    <a:lnTo>
                      <a:pt x="1488" y="1094"/>
                    </a:lnTo>
                    <a:lnTo>
                      <a:pt x="1492" y="1104"/>
                    </a:lnTo>
                    <a:lnTo>
                      <a:pt x="1494" y="1112"/>
                    </a:lnTo>
                    <a:lnTo>
                      <a:pt x="1494" y="1118"/>
                    </a:lnTo>
                    <a:lnTo>
                      <a:pt x="1492" y="1124"/>
                    </a:lnTo>
                    <a:lnTo>
                      <a:pt x="1488" y="1134"/>
                    </a:lnTo>
                    <a:lnTo>
                      <a:pt x="1488" y="1138"/>
                    </a:lnTo>
                    <a:lnTo>
                      <a:pt x="1488" y="1144"/>
                    </a:lnTo>
                    <a:lnTo>
                      <a:pt x="1488" y="1144"/>
                    </a:lnTo>
                    <a:lnTo>
                      <a:pt x="1492" y="1152"/>
                    </a:lnTo>
                    <a:lnTo>
                      <a:pt x="1494" y="1160"/>
                    </a:lnTo>
                    <a:lnTo>
                      <a:pt x="1496" y="1164"/>
                    </a:lnTo>
                    <a:lnTo>
                      <a:pt x="1498" y="1164"/>
                    </a:lnTo>
                    <a:lnTo>
                      <a:pt x="1502" y="1162"/>
                    </a:lnTo>
                    <a:lnTo>
                      <a:pt x="1508" y="1158"/>
                    </a:lnTo>
                    <a:lnTo>
                      <a:pt x="1508" y="1158"/>
                    </a:lnTo>
                    <a:lnTo>
                      <a:pt x="1516" y="1150"/>
                    </a:lnTo>
                    <a:lnTo>
                      <a:pt x="1524" y="1142"/>
                    </a:lnTo>
                    <a:lnTo>
                      <a:pt x="1526" y="1138"/>
                    </a:lnTo>
                    <a:lnTo>
                      <a:pt x="1526" y="1132"/>
                    </a:lnTo>
                    <a:lnTo>
                      <a:pt x="1524" y="1118"/>
                    </a:lnTo>
                    <a:lnTo>
                      <a:pt x="1524" y="1118"/>
                    </a:lnTo>
                    <a:lnTo>
                      <a:pt x="1522" y="1106"/>
                    </a:lnTo>
                    <a:lnTo>
                      <a:pt x="1524" y="1098"/>
                    </a:lnTo>
                    <a:lnTo>
                      <a:pt x="1528" y="1094"/>
                    </a:lnTo>
                    <a:lnTo>
                      <a:pt x="1530" y="1090"/>
                    </a:lnTo>
                    <a:lnTo>
                      <a:pt x="1530" y="1090"/>
                    </a:lnTo>
                    <a:lnTo>
                      <a:pt x="1528" y="1098"/>
                    </a:lnTo>
                    <a:lnTo>
                      <a:pt x="1530" y="1106"/>
                    </a:lnTo>
                    <a:lnTo>
                      <a:pt x="1532" y="1118"/>
                    </a:lnTo>
                    <a:lnTo>
                      <a:pt x="1534" y="1130"/>
                    </a:lnTo>
                    <a:lnTo>
                      <a:pt x="1532" y="1136"/>
                    </a:lnTo>
                    <a:lnTo>
                      <a:pt x="1530" y="1140"/>
                    </a:lnTo>
                    <a:lnTo>
                      <a:pt x="1530" y="1140"/>
                    </a:lnTo>
                    <a:lnTo>
                      <a:pt x="1526" y="1142"/>
                    </a:lnTo>
                    <a:lnTo>
                      <a:pt x="1526" y="1146"/>
                    </a:lnTo>
                    <a:lnTo>
                      <a:pt x="1526" y="1152"/>
                    </a:lnTo>
                    <a:lnTo>
                      <a:pt x="1526" y="1160"/>
                    </a:lnTo>
                    <a:lnTo>
                      <a:pt x="1524" y="1162"/>
                    </a:lnTo>
                    <a:lnTo>
                      <a:pt x="1522" y="1166"/>
                    </a:lnTo>
                    <a:lnTo>
                      <a:pt x="1522" y="1166"/>
                    </a:lnTo>
                    <a:lnTo>
                      <a:pt x="1516" y="1172"/>
                    </a:lnTo>
                    <a:lnTo>
                      <a:pt x="1512" y="1178"/>
                    </a:lnTo>
                    <a:lnTo>
                      <a:pt x="1512" y="1182"/>
                    </a:lnTo>
                    <a:lnTo>
                      <a:pt x="1512" y="1186"/>
                    </a:lnTo>
                    <a:lnTo>
                      <a:pt x="1518" y="1192"/>
                    </a:lnTo>
                    <a:lnTo>
                      <a:pt x="1520" y="1194"/>
                    </a:lnTo>
                    <a:lnTo>
                      <a:pt x="1524" y="1198"/>
                    </a:lnTo>
                    <a:lnTo>
                      <a:pt x="1524" y="1198"/>
                    </a:lnTo>
                    <a:lnTo>
                      <a:pt x="1528" y="1210"/>
                    </a:lnTo>
                    <a:lnTo>
                      <a:pt x="1534" y="1222"/>
                    </a:lnTo>
                    <a:lnTo>
                      <a:pt x="1542" y="1232"/>
                    </a:lnTo>
                    <a:lnTo>
                      <a:pt x="1554" y="1244"/>
                    </a:lnTo>
                    <a:lnTo>
                      <a:pt x="1554" y="1244"/>
                    </a:lnTo>
                    <a:lnTo>
                      <a:pt x="1558" y="1246"/>
                    </a:lnTo>
                    <a:lnTo>
                      <a:pt x="1560" y="1244"/>
                    </a:lnTo>
                    <a:lnTo>
                      <a:pt x="1562" y="1236"/>
                    </a:lnTo>
                    <a:lnTo>
                      <a:pt x="1564" y="1230"/>
                    </a:lnTo>
                    <a:lnTo>
                      <a:pt x="1566" y="1224"/>
                    </a:lnTo>
                    <a:lnTo>
                      <a:pt x="1574" y="1218"/>
                    </a:lnTo>
                    <a:lnTo>
                      <a:pt x="1584" y="1216"/>
                    </a:lnTo>
                    <a:lnTo>
                      <a:pt x="1584" y="1216"/>
                    </a:lnTo>
                    <a:lnTo>
                      <a:pt x="1592" y="1216"/>
                    </a:lnTo>
                    <a:lnTo>
                      <a:pt x="1594" y="1216"/>
                    </a:lnTo>
                    <a:lnTo>
                      <a:pt x="1586" y="1222"/>
                    </a:lnTo>
                    <a:lnTo>
                      <a:pt x="1582" y="1228"/>
                    </a:lnTo>
                    <a:lnTo>
                      <a:pt x="1578" y="1234"/>
                    </a:lnTo>
                    <a:lnTo>
                      <a:pt x="1574" y="1240"/>
                    </a:lnTo>
                    <a:lnTo>
                      <a:pt x="1576" y="1248"/>
                    </a:lnTo>
                    <a:lnTo>
                      <a:pt x="1576" y="1248"/>
                    </a:lnTo>
                    <a:lnTo>
                      <a:pt x="1582" y="1258"/>
                    </a:lnTo>
                    <a:lnTo>
                      <a:pt x="1586" y="1260"/>
                    </a:lnTo>
                    <a:lnTo>
                      <a:pt x="1588" y="1262"/>
                    </a:lnTo>
                    <a:lnTo>
                      <a:pt x="1590" y="1274"/>
                    </a:lnTo>
                    <a:lnTo>
                      <a:pt x="1590" y="1274"/>
                    </a:lnTo>
                    <a:lnTo>
                      <a:pt x="1592" y="1280"/>
                    </a:lnTo>
                    <a:lnTo>
                      <a:pt x="1596" y="1280"/>
                    </a:lnTo>
                    <a:lnTo>
                      <a:pt x="1600" y="1280"/>
                    </a:lnTo>
                    <a:lnTo>
                      <a:pt x="1604" y="1278"/>
                    </a:lnTo>
                    <a:lnTo>
                      <a:pt x="1608" y="1278"/>
                    </a:lnTo>
                    <a:lnTo>
                      <a:pt x="1610" y="1278"/>
                    </a:lnTo>
                    <a:lnTo>
                      <a:pt x="1610" y="1280"/>
                    </a:lnTo>
                    <a:lnTo>
                      <a:pt x="1606" y="1290"/>
                    </a:lnTo>
                    <a:lnTo>
                      <a:pt x="1606" y="1290"/>
                    </a:lnTo>
                    <a:lnTo>
                      <a:pt x="1598" y="1306"/>
                    </a:lnTo>
                    <a:lnTo>
                      <a:pt x="1596" y="1318"/>
                    </a:lnTo>
                    <a:lnTo>
                      <a:pt x="1598" y="1322"/>
                    </a:lnTo>
                    <a:lnTo>
                      <a:pt x="1600" y="1322"/>
                    </a:lnTo>
                    <a:lnTo>
                      <a:pt x="1600" y="1322"/>
                    </a:lnTo>
                    <a:lnTo>
                      <a:pt x="1602" y="1322"/>
                    </a:lnTo>
                    <a:lnTo>
                      <a:pt x="1602" y="1324"/>
                    </a:lnTo>
                    <a:lnTo>
                      <a:pt x="1602" y="1330"/>
                    </a:lnTo>
                    <a:lnTo>
                      <a:pt x="1602" y="1336"/>
                    </a:lnTo>
                    <a:lnTo>
                      <a:pt x="1604" y="1340"/>
                    </a:lnTo>
                    <a:lnTo>
                      <a:pt x="1608" y="1342"/>
                    </a:lnTo>
                    <a:lnTo>
                      <a:pt x="1608" y="1342"/>
                    </a:lnTo>
                    <a:lnTo>
                      <a:pt x="1610" y="1342"/>
                    </a:lnTo>
                    <a:lnTo>
                      <a:pt x="1612" y="1340"/>
                    </a:lnTo>
                    <a:lnTo>
                      <a:pt x="1614" y="1330"/>
                    </a:lnTo>
                    <a:lnTo>
                      <a:pt x="1616" y="1320"/>
                    </a:lnTo>
                    <a:lnTo>
                      <a:pt x="1618" y="1316"/>
                    </a:lnTo>
                    <a:lnTo>
                      <a:pt x="1622" y="1314"/>
                    </a:lnTo>
                    <a:lnTo>
                      <a:pt x="1622" y="1314"/>
                    </a:lnTo>
                    <a:lnTo>
                      <a:pt x="1630" y="1310"/>
                    </a:lnTo>
                    <a:lnTo>
                      <a:pt x="1636" y="1304"/>
                    </a:lnTo>
                    <a:lnTo>
                      <a:pt x="1642" y="1300"/>
                    </a:lnTo>
                    <a:lnTo>
                      <a:pt x="1642" y="1300"/>
                    </a:lnTo>
                    <a:lnTo>
                      <a:pt x="1644" y="1304"/>
                    </a:lnTo>
                    <a:lnTo>
                      <a:pt x="1644" y="1304"/>
                    </a:lnTo>
                    <a:lnTo>
                      <a:pt x="1646" y="1306"/>
                    </a:lnTo>
                    <a:lnTo>
                      <a:pt x="1648" y="1308"/>
                    </a:lnTo>
                    <a:lnTo>
                      <a:pt x="1654" y="1308"/>
                    </a:lnTo>
                    <a:lnTo>
                      <a:pt x="1660" y="1308"/>
                    </a:lnTo>
                    <a:lnTo>
                      <a:pt x="1660" y="1310"/>
                    </a:lnTo>
                    <a:lnTo>
                      <a:pt x="1660" y="1314"/>
                    </a:lnTo>
                    <a:lnTo>
                      <a:pt x="1660" y="1314"/>
                    </a:lnTo>
                    <a:lnTo>
                      <a:pt x="1660" y="1318"/>
                    </a:lnTo>
                    <a:lnTo>
                      <a:pt x="1658" y="1318"/>
                    </a:lnTo>
                    <a:lnTo>
                      <a:pt x="1656" y="1316"/>
                    </a:lnTo>
                    <a:lnTo>
                      <a:pt x="1652" y="1314"/>
                    </a:lnTo>
                    <a:lnTo>
                      <a:pt x="1648" y="1312"/>
                    </a:lnTo>
                    <a:lnTo>
                      <a:pt x="1642" y="1314"/>
                    </a:lnTo>
                    <a:lnTo>
                      <a:pt x="1634" y="1318"/>
                    </a:lnTo>
                    <a:lnTo>
                      <a:pt x="1634" y="1318"/>
                    </a:lnTo>
                    <a:lnTo>
                      <a:pt x="1622" y="1330"/>
                    </a:lnTo>
                    <a:lnTo>
                      <a:pt x="1618" y="1336"/>
                    </a:lnTo>
                    <a:lnTo>
                      <a:pt x="1618" y="1342"/>
                    </a:lnTo>
                    <a:lnTo>
                      <a:pt x="1618" y="1350"/>
                    </a:lnTo>
                    <a:lnTo>
                      <a:pt x="1618" y="1350"/>
                    </a:lnTo>
                    <a:lnTo>
                      <a:pt x="1620" y="1356"/>
                    </a:lnTo>
                    <a:lnTo>
                      <a:pt x="1622" y="1358"/>
                    </a:lnTo>
                    <a:lnTo>
                      <a:pt x="1626" y="1360"/>
                    </a:lnTo>
                    <a:lnTo>
                      <a:pt x="1628" y="1362"/>
                    </a:lnTo>
                    <a:lnTo>
                      <a:pt x="1624" y="1366"/>
                    </a:lnTo>
                    <a:lnTo>
                      <a:pt x="1624" y="1366"/>
                    </a:lnTo>
                    <a:lnTo>
                      <a:pt x="1622" y="1368"/>
                    </a:lnTo>
                    <a:lnTo>
                      <a:pt x="1622" y="1370"/>
                    </a:lnTo>
                    <a:lnTo>
                      <a:pt x="1624" y="1372"/>
                    </a:lnTo>
                    <a:lnTo>
                      <a:pt x="1626" y="1374"/>
                    </a:lnTo>
                    <a:lnTo>
                      <a:pt x="1624" y="1376"/>
                    </a:lnTo>
                    <a:lnTo>
                      <a:pt x="1624" y="1376"/>
                    </a:lnTo>
                    <a:lnTo>
                      <a:pt x="1620" y="1378"/>
                    </a:lnTo>
                    <a:lnTo>
                      <a:pt x="1620" y="1382"/>
                    </a:lnTo>
                    <a:lnTo>
                      <a:pt x="1620" y="1384"/>
                    </a:lnTo>
                    <a:lnTo>
                      <a:pt x="1622" y="1386"/>
                    </a:lnTo>
                    <a:lnTo>
                      <a:pt x="1630" y="1392"/>
                    </a:lnTo>
                    <a:lnTo>
                      <a:pt x="1642" y="1396"/>
                    </a:lnTo>
                    <a:lnTo>
                      <a:pt x="1642" y="1396"/>
                    </a:lnTo>
                    <a:lnTo>
                      <a:pt x="1650" y="1398"/>
                    </a:lnTo>
                    <a:lnTo>
                      <a:pt x="1656" y="1396"/>
                    </a:lnTo>
                    <a:lnTo>
                      <a:pt x="1662" y="1394"/>
                    </a:lnTo>
                    <a:lnTo>
                      <a:pt x="1670" y="1394"/>
                    </a:lnTo>
                    <a:lnTo>
                      <a:pt x="1670" y="1394"/>
                    </a:lnTo>
                    <a:lnTo>
                      <a:pt x="1676" y="1396"/>
                    </a:lnTo>
                    <a:lnTo>
                      <a:pt x="1676" y="1398"/>
                    </a:lnTo>
                    <a:lnTo>
                      <a:pt x="1676" y="1400"/>
                    </a:lnTo>
                    <a:lnTo>
                      <a:pt x="1682" y="1400"/>
                    </a:lnTo>
                    <a:lnTo>
                      <a:pt x="1682" y="1400"/>
                    </a:lnTo>
                    <a:lnTo>
                      <a:pt x="1688" y="1402"/>
                    </a:lnTo>
                    <a:lnTo>
                      <a:pt x="1688" y="1404"/>
                    </a:lnTo>
                    <a:lnTo>
                      <a:pt x="1686" y="1412"/>
                    </a:lnTo>
                    <a:lnTo>
                      <a:pt x="1686" y="1416"/>
                    </a:lnTo>
                    <a:lnTo>
                      <a:pt x="1686" y="1420"/>
                    </a:lnTo>
                    <a:lnTo>
                      <a:pt x="1688" y="1422"/>
                    </a:lnTo>
                    <a:lnTo>
                      <a:pt x="1694" y="1420"/>
                    </a:lnTo>
                    <a:lnTo>
                      <a:pt x="1694" y="1420"/>
                    </a:lnTo>
                    <a:lnTo>
                      <a:pt x="1700" y="1420"/>
                    </a:lnTo>
                    <a:lnTo>
                      <a:pt x="1702" y="1422"/>
                    </a:lnTo>
                    <a:lnTo>
                      <a:pt x="1706" y="1424"/>
                    </a:lnTo>
                    <a:lnTo>
                      <a:pt x="1714" y="1422"/>
                    </a:lnTo>
                    <a:lnTo>
                      <a:pt x="1714" y="1422"/>
                    </a:lnTo>
                    <a:lnTo>
                      <a:pt x="1718" y="1422"/>
                    </a:lnTo>
                    <a:lnTo>
                      <a:pt x="1722" y="1422"/>
                    </a:lnTo>
                    <a:lnTo>
                      <a:pt x="1730" y="1426"/>
                    </a:lnTo>
                    <a:lnTo>
                      <a:pt x="1736" y="1430"/>
                    </a:lnTo>
                    <a:lnTo>
                      <a:pt x="1738" y="1430"/>
                    </a:lnTo>
                    <a:lnTo>
                      <a:pt x="1742" y="1428"/>
                    </a:lnTo>
                    <a:lnTo>
                      <a:pt x="1742" y="1428"/>
                    </a:lnTo>
                    <a:lnTo>
                      <a:pt x="1744" y="1428"/>
                    </a:lnTo>
                    <a:lnTo>
                      <a:pt x="1748" y="1430"/>
                    </a:lnTo>
                    <a:lnTo>
                      <a:pt x="1750" y="1434"/>
                    </a:lnTo>
                    <a:lnTo>
                      <a:pt x="1750" y="1442"/>
                    </a:lnTo>
                    <a:lnTo>
                      <a:pt x="1748" y="1444"/>
                    </a:lnTo>
                    <a:lnTo>
                      <a:pt x="1744" y="1446"/>
                    </a:lnTo>
                    <a:lnTo>
                      <a:pt x="1744" y="1446"/>
                    </a:lnTo>
                    <a:lnTo>
                      <a:pt x="1742" y="1448"/>
                    </a:lnTo>
                    <a:lnTo>
                      <a:pt x="1742" y="1450"/>
                    </a:lnTo>
                    <a:lnTo>
                      <a:pt x="1748" y="1458"/>
                    </a:lnTo>
                    <a:lnTo>
                      <a:pt x="1758" y="1464"/>
                    </a:lnTo>
                    <a:lnTo>
                      <a:pt x="1764" y="1464"/>
                    </a:lnTo>
                    <a:lnTo>
                      <a:pt x="1768" y="1464"/>
                    </a:lnTo>
                    <a:lnTo>
                      <a:pt x="1768" y="1464"/>
                    </a:lnTo>
                    <a:lnTo>
                      <a:pt x="1774" y="1458"/>
                    </a:lnTo>
                    <a:lnTo>
                      <a:pt x="1778" y="1454"/>
                    </a:lnTo>
                    <a:lnTo>
                      <a:pt x="1778" y="1452"/>
                    </a:lnTo>
                    <a:lnTo>
                      <a:pt x="1778" y="1454"/>
                    </a:lnTo>
                    <a:lnTo>
                      <a:pt x="1780" y="1460"/>
                    </a:lnTo>
                    <a:lnTo>
                      <a:pt x="1780" y="1460"/>
                    </a:lnTo>
                    <a:lnTo>
                      <a:pt x="1780" y="1468"/>
                    </a:lnTo>
                    <a:lnTo>
                      <a:pt x="1784" y="1470"/>
                    </a:lnTo>
                    <a:lnTo>
                      <a:pt x="1786" y="1470"/>
                    </a:lnTo>
                    <a:lnTo>
                      <a:pt x="1786" y="1474"/>
                    </a:lnTo>
                    <a:lnTo>
                      <a:pt x="1786" y="1474"/>
                    </a:lnTo>
                    <a:lnTo>
                      <a:pt x="1784" y="1476"/>
                    </a:lnTo>
                    <a:lnTo>
                      <a:pt x="1782" y="1476"/>
                    </a:lnTo>
                    <a:lnTo>
                      <a:pt x="1780" y="1472"/>
                    </a:lnTo>
                    <a:lnTo>
                      <a:pt x="1776" y="1468"/>
                    </a:lnTo>
                    <a:lnTo>
                      <a:pt x="1774" y="1468"/>
                    </a:lnTo>
                    <a:lnTo>
                      <a:pt x="1772" y="1470"/>
                    </a:lnTo>
                    <a:lnTo>
                      <a:pt x="1772" y="1470"/>
                    </a:lnTo>
                    <a:lnTo>
                      <a:pt x="1770" y="1472"/>
                    </a:lnTo>
                    <a:lnTo>
                      <a:pt x="1772" y="1476"/>
                    </a:lnTo>
                    <a:lnTo>
                      <a:pt x="1780" y="1484"/>
                    </a:lnTo>
                    <a:lnTo>
                      <a:pt x="1790" y="1486"/>
                    </a:lnTo>
                    <a:lnTo>
                      <a:pt x="1794" y="1486"/>
                    </a:lnTo>
                    <a:lnTo>
                      <a:pt x="1794" y="1484"/>
                    </a:lnTo>
                    <a:lnTo>
                      <a:pt x="1794" y="1484"/>
                    </a:lnTo>
                    <a:lnTo>
                      <a:pt x="1796" y="1478"/>
                    </a:lnTo>
                    <a:lnTo>
                      <a:pt x="1800" y="1474"/>
                    </a:lnTo>
                    <a:lnTo>
                      <a:pt x="1804" y="1474"/>
                    </a:lnTo>
                    <a:lnTo>
                      <a:pt x="1804" y="1478"/>
                    </a:lnTo>
                    <a:lnTo>
                      <a:pt x="1804" y="1478"/>
                    </a:lnTo>
                    <a:lnTo>
                      <a:pt x="1804" y="1486"/>
                    </a:lnTo>
                    <a:lnTo>
                      <a:pt x="1806" y="1492"/>
                    </a:lnTo>
                    <a:lnTo>
                      <a:pt x="1808" y="1498"/>
                    </a:lnTo>
                    <a:lnTo>
                      <a:pt x="1808" y="1504"/>
                    </a:lnTo>
                    <a:lnTo>
                      <a:pt x="1808" y="1504"/>
                    </a:lnTo>
                    <a:lnTo>
                      <a:pt x="1808" y="1510"/>
                    </a:lnTo>
                    <a:lnTo>
                      <a:pt x="1810" y="1512"/>
                    </a:lnTo>
                    <a:lnTo>
                      <a:pt x="1812" y="1510"/>
                    </a:lnTo>
                    <a:lnTo>
                      <a:pt x="1816" y="1506"/>
                    </a:lnTo>
                    <a:lnTo>
                      <a:pt x="1816" y="1506"/>
                    </a:lnTo>
                    <a:lnTo>
                      <a:pt x="1818" y="1504"/>
                    </a:lnTo>
                    <a:lnTo>
                      <a:pt x="1820" y="1506"/>
                    </a:lnTo>
                    <a:lnTo>
                      <a:pt x="1822" y="1508"/>
                    </a:lnTo>
                    <a:lnTo>
                      <a:pt x="1822" y="1508"/>
                    </a:lnTo>
                    <a:lnTo>
                      <a:pt x="1822" y="1516"/>
                    </a:lnTo>
                    <a:lnTo>
                      <a:pt x="1824" y="1520"/>
                    </a:lnTo>
                    <a:lnTo>
                      <a:pt x="1828" y="1526"/>
                    </a:lnTo>
                    <a:lnTo>
                      <a:pt x="1832" y="1528"/>
                    </a:lnTo>
                    <a:lnTo>
                      <a:pt x="1832" y="1530"/>
                    </a:lnTo>
                    <a:lnTo>
                      <a:pt x="1832" y="1534"/>
                    </a:lnTo>
                    <a:lnTo>
                      <a:pt x="1832" y="1534"/>
                    </a:lnTo>
                    <a:lnTo>
                      <a:pt x="1832" y="1538"/>
                    </a:lnTo>
                    <a:lnTo>
                      <a:pt x="1830" y="1538"/>
                    </a:lnTo>
                    <a:lnTo>
                      <a:pt x="1826" y="1540"/>
                    </a:lnTo>
                    <a:lnTo>
                      <a:pt x="1824" y="1540"/>
                    </a:lnTo>
                    <a:lnTo>
                      <a:pt x="1824" y="1542"/>
                    </a:lnTo>
                    <a:lnTo>
                      <a:pt x="1830" y="1550"/>
                    </a:lnTo>
                    <a:lnTo>
                      <a:pt x="1830" y="1550"/>
                    </a:lnTo>
                    <a:lnTo>
                      <a:pt x="1836" y="1562"/>
                    </a:lnTo>
                    <a:lnTo>
                      <a:pt x="1840" y="1570"/>
                    </a:lnTo>
                    <a:lnTo>
                      <a:pt x="1840" y="1582"/>
                    </a:lnTo>
                    <a:lnTo>
                      <a:pt x="1840" y="1600"/>
                    </a:lnTo>
                    <a:lnTo>
                      <a:pt x="1840" y="1600"/>
                    </a:lnTo>
                    <a:lnTo>
                      <a:pt x="1838" y="1608"/>
                    </a:lnTo>
                    <a:lnTo>
                      <a:pt x="1836" y="1610"/>
                    </a:lnTo>
                    <a:lnTo>
                      <a:pt x="1834" y="1608"/>
                    </a:lnTo>
                    <a:lnTo>
                      <a:pt x="1834" y="1604"/>
                    </a:lnTo>
                    <a:lnTo>
                      <a:pt x="1828" y="1570"/>
                    </a:lnTo>
                    <a:lnTo>
                      <a:pt x="1828" y="1570"/>
                    </a:lnTo>
                    <a:lnTo>
                      <a:pt x="1824" y="1564"/>
                    </a:lnTo>
                    <a:lnTo>
                      <a:pt x="1816" y="1560"/>
                    </a:lnTo>
                    <a:lnTo>
                      <a:pt x="1808" y="1558"/>
                    </a:lnTo>
                    <a:lnTo>
                      <a:pt x="1798" y="1556"/>
                    </a:lnTo>
                    <a:lnTo>
                      <a:pt x="1776" y="1554"/>
                    </a:lnTo>
                    <a:lnTo>
                      <a:pt x="1766" y="1552"/>
                    </a:lnTo>
                    <a:lnTo>
                      <a:pt x="1758" y="1548"/>
                    </a:lnTo>
                    <a:lnTo>
                      <a:pt x="1758" y="1548"/>
                    </a:lnTo>
                    <a:lnTo>
                      <a:pt x="1752" y="1546"/>
                    </a:lnTo>
                    <a:lnTo>
                      <a:pt x="1746" y="1546"/>
                    </a:lnTo>
                    <a:lnTo>
                      <a:pt x="1744" y="1548"/>
                    </a:lnTo>
                    <a:lnTo>
                      <a:pt x="1742" y="1552"/>
                    </a:lnTo>
                    <a:lnTo>
                      <a:pt x="1744" y="1556"/>
                    </a:lnTo>
                    <a:lnTo>
                      <a:pt x="1746" y="1564"/>
                    </a:lnTo>
                    <a:lnTo>
                      <a:pt x="1754" y="1578"/>
                    </a:lnTo>
                    <a:lnTo>
                      <a:pt x="1754" y="1578"/>
                    </a:lnTo>
                    <a:lnTo>
                      <a:pt x="1758" y="1586"/>
                    </a:lnTo>
                    <a:lnTo>
                      <a:pt x="1764" y="1598"/>
                    </a:lnTo>
                    <a:lnTo>
                      <a:pt x="1770" y="1626"/>
                    </a:lnTo>
                    <a:lnTo>
                      <a:pt x="1774" y="1658"/>
                    </a:lnTo>
                    <a:lnTo>
                      <a:pt x="1774" y="1690"/>
                    </a:lnTo>
                    <a:lnTo>
                      <a:pt x="1774" y="1690"/>
                    </a:lnTo>
                    <a:lnTo>
                      <a:pt x="1774" y="1726"/>
                    </a:lnTo>
                    <a:lnTo>
                      <a:pt x="1770" y="1768"/>
                    </a:lnTo>
                    <a:lnTo>
                      <a:pt x="1766" y="1810"/>
                    </a:lnTo>
                    <a:lnTo>
                      <a:pt x="1762" y="1828"/>
                    </a:lnTo>
                    <a:lnTo>
                      <a:pt x="1756" y="1842"/>
                    </a:lnTo>
                    <a:lnTo>
                      <a:pt x="1756" y="1842"/>
                    </a:lnTo>
                    <a:lnTo>
                      <a:pt x="1754" y="1854"/>
                    </a:lnTo>
                    <a:lnTo>
                      <a:pt x="1754" y="1870"/>
                    </a:lnTo>
                    <a:lnTo>
                      <a:pt x="1756" y="1886"/>
                    </a:lnTo>
                    <a:lnTo>
                      <a:pt x="1760" y="1904"/>
                    </a:lnTo>
                    <a:lnTo>
                      <a:pt x="1764" y="1920"/>
                    </a:lnTo>
                    <a:lnTo>
                      <a:pt x="1766" y="1938"/>
                    </a:lnTo>
                    <a:lnTo>
                      <a:pt x="1766" y="1956"/>
                    </a:lnTo>
                    <a:lnTo>
                      <a:pt x="1762" y="1972"/>
                    </a:lnTo>
                    <a:lnTo>
                      <a:pt x="1762" y="1972"/>
                    </a:lnTo>
                    <a:lnTo>
                      <a:pt x="1760" y="1986"/>
                    </a:lnTo>
                    <a:lnTo>
                      <a:pt x="1758" y="1996"/>
                    </a:lnTo>
                    <a:lnTo>
                      <a:pt x="1762" y="2006"/>
                    </a:lnTo>
                    <a:lnTo>
                      <a:pt x="1766" y="2012"/>
                    </a:lnTo>
                    <a:lnTo>
                      <a:pt x="1774" y="2030"/>
                    </a:lnTo>
                    <a:lnTo>
                      <a:pt x="1778" y="2042"/>
                    </a:lnTo>
                    <a:lnTo>
                      <a:pt x="1780" y="2056"/>
                    </a:lnTo>
                    <a:lnTo>
                      <a:pt x="1780" y="2056"/>
                    </a:lnTo>
                    <a:lnTo>
                      <a:pt x="1784" y="2072"/>
                    </a:lnTo>
                    <a:lnTo>
                      <a:pt x="1786" y="2082"/>
                    </a:lnTo>
                    <a:lnTo>
                      <a:pt x="1792" y="2090"/>
                    </a:lnTo>
                    <a:lnTo>
                      <a:pt x="1798" y="2096"/>
                    </a:lnTo>
                    <a:lnTo>
                      <a:pt x="1808" y="2104"/>
                    </a:lnTo>
                    <a:lnTo>
                      <a:pt x="1812" y="2110"/>
                    </a:lnTo>
                    <a:lnTo>
                      <a:pt x="1814" y="2118"/>
                    </a:lnTo>
                    <a:lnTo>
                      <a:pt x="1814" y="2118"/>
                    </a:lnTo>
                    <a:lnTo>
                      <a:pt x="1816" y="2124"/>
                    </a:lnTo>
                    <a:lnTo>
                      <a:pt x="1818" y="2128"/>
                    </a:lnTo>
                    <a:lnTo>
                      <a:pt x="1824" y="2132"/>
                    </a:lnTo>
                    <a:lnTo>
                      <a:pt x="1828" y="2136"/>
                    </a:lnTo>
                    <a:lnTo>
                      <a:pt x="1832" y="2140"/>
                    </a:lnTo>
                    <a:lnTo>
                      <a:pt x="1834" y="2146"/>
                    </a:lnTo>
                    <a:lnTo>
                      <a:pt x="1836" y="2158"/>
                    </a:lnTo>
                    <a:lnTo>
                      <a:pt x="1836" y="2158"/>
                    </a:lnTo>
                    <a:lnTo>
                      <a:pt x="1838" y="2170"/>
                    </a:lnTo>
                    <a:lnTo>
                      <a:pt x="1842" y="2178"/>
                    </a:lnTo>
                    <a:lnTo>
                      <a:pt x="1846" y="2182"/>
                    </a:lnTo>
                    <a:lnTo>
                      <a:pt x="1852" y="2186"/>
                    </a:lnTo>
                    <a:lnTo>
                      <a:pt x="1856" y="2188"/>
                    </a:lnTo>
                    <a:lnTo>
                      <a:pt x="1860" y="2190"/>
                    </a:lnTo>
                    <a:lnTo>
                      <a:pt x="1862" y="2194"/>
                    </a:lnTo>
                    <a:lnTo>
                      <a:pt x="1860" y="2200"/>
                    </a:lnTo>
                    <a:lnTo>
                      <a:pt x="1860" y="2200"/>
                    </a:lnTo>
                    <a:lnTo>
                      <a:pt x="1858" y="2208"/>
                    </a:lnTo>
                    <a:lnTo>
                      <a:pt x="1858" y="2214"/>
                    </a:lnTo>
                    <a:lnTo>
                      <a:pt x="1860" y="2218"/>
                    </a:lnTo>
                    <a:lnTo>
                      <a:pt x="1862" y="2224"/>
                    </a:lnTo>
                    <a:lnTo>
                      <a:pt x="1872" y="2238"/>
                    </a:lnTo>
                    <a:lnTo>
                      <a:pt x="1890" y="2260"/>
                    </a:lnTo>
                    <a:lnTo>
                      <a:pt x="1890" y="2260"/>
                    </a:lnTo>
                    <a:lnTo>
                      <a:pt x="1900" y="2272"/>
                    </a:lnTo>
                    <a:lnTo>
                      <a:pt x="1904" y="2282"/>
                    </a:lnTo>
                    <a:lnTo>
                      <a:pt x="1908" y="2292"/>
                    </a:lnTo>
                    <a:lnTo>
                      <a:pt x="1908" y="2298"/>
                    </a:lnTo>
                    <a:lnTo>
                      <a:pt x="1910" y="2310"/>
                    </a:lnTo>
                    <a:lnTo>
                      <a:pt x="1912" y="2314"/>
                    </a:lnTo>
                    <a:lnTo>
                      <a:pt x="1916" y="2318"/>
                    </a:lnTo>
                    <a:lnTo>
                      <a:pt x="1916" y="2318"/>
                    </a:lnTo>
                    <a:lnTo>
                      <a:pt x="1920" y="2322"/>
                    </a:lnTo>
                    <a:lnTo>
                      <a:pt x="1926" y="2324"/>
                    </a:lnTo>
                    <a:lnTo>
                      <a:pt x="1940" y="2326"/>
                    </a:lnTo>
                    <a:lnTo>
                      <a:pt x="1948" y="2328"/>
                    </a:lnTo>
                    <a:lnTo>
                      <a:pt x="1958" y="2332"/>
                    </a:lnTo>
                    <a:lnTo>
                      <a:pt x="1968" y="2336"/>
                    </a:lnTo>
                    <a:lnTo>
                      <a:pt x="1978" y="2344"/>
                    </a:lnTo>
                    <a:lnTo>
                      <a:pt x="1978" y="2344"/>
                    </a:lnTo>
                    <a:lnTo>
                      <a:pt x="1986" y="2352"/>
                    </a:lnTo>
                    <a:lnTo>
                      <a:pt x="1994" y="2358"/>
                    </a:lnTo>
                    <a:lnTo>
                      <a:pt x="2006" y="2360"/>
                    </a:lnTo>
                    <a:lnTo>
                      <a:pt x="2016" y="2364"/>
                    </a:lnTo>
                    <a:lnTo>
                      <a:pt x="2022" y="2368"/>
                    </a:lnTo>
                    <a:lnTo>
                      <a:pt x="2030" y="2374"/>
                    </a:lnTo>
                    <a:lnTo>
                      <a:pt x="2030" y="2374"/>
                    </a:lnTo>
                    <a:lnTo>
                      <a:pt x="2036" y="2382"/>
                    </a:lnTo>
                    <a:lnTo>
                      <a:pt x="2040" y="2388"/>
                    </a:lnTo>
                    <a:lnTo>
                      <a:pt x="2046" y="2400"/>
                    </a:lnTo>
                    <a:lnTo>
                      <a:pt x="2048" y="2410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66" y="2454"/>
                    </a:lnTo>
                    <a:lnTo>
                      <a:pt x="2078" y="2480"/>
                    </a:lnTo>
                    <a:lnTo>
                      <a:pt x="2092" y="2520"/>
                    </a:lnTo>
                    <a:lnTo>
                      <a:pt x="2100" y="2548"/>
                    </a:lnTo>
                    <a:lnTo>
                      <a:pt x="2106" y="2560"/>
                    </a:lnTo>
                    <a:lnTo>
                      <a:pt x="2112" y="2568"/>
                    </a:lnTo>
                    <a:lnTo>
                      <a:pt x="2112" y="2568"/>
                    </a:lnTo>
                    <a:lnTo>
                      <a:pt x="2120" y="2578"/>
                    </a:lnTo>
                    <a:lnTo>
                      <a:pt x="2130" y="2586"/>
                    </a:lnTo>
                    <a:lnTo>
                      <a:pt x="2150" y="2604"/>
                    </a:lnTo>
                    <a:lnTo>
                      <a:pt x="2160" y="2614"/>
                    </a:lnTo>
                    <a:lnTo>
                      <a:pt x="2166" y="2624"/>
                    </a:lnTo>
                    <a:lnTo>
                      <a:pt x="2170" y="2636"/>
                    </a:lnTo>
                    <a:lnTo>
                      <a:pt x="2170" y="2650"/>
                    </a:lnTo>
                    <a:lnTo>
                      <a:pt x="2170" y="2650"/>
                    </a:lnTo>
                    <a:lnTo>
                      <a:pt x="2170" y="2656"/>
                    </a:lnTo>
                    <a:lnTo>
                      <a:pt x="2168" y="2662"/>
                    </a:lnTo>
                    <a:lnTo>
                      <a:pt x="2164" y="2664"/>
                    </a:lnTo>
                    <a:lnTo>
                      <a:pt x="2162" y="2668"/>
                    </a:lnTo>
                    <a:lnTo>
                      <a:pt x="2154" y="2668"/>
                    </a:lnTo>
                    <a:lnTo>
                      <a:pt x="2148" y="2668"/>
                    </a:lnTo>
                    <a:lnTo>
                      <a:pt x="2142" y="2668"/>
                    </a:lnTo>
                    <a:lnTo>
                      <a:pt x="2138" y="2668"/>
                    </a:lnTo>
                    <a:lnTo>
                      <a:pt x="2140" y="2672"/>
                    </a:lnTo>
                    <a:lnTo>
                      <a:pt x="2146" y="2682"/>
                    </a:lnTo>
                    <a:lnTo>
                      <a:pt x="2146" y="2682"/>
                    </a:lnTo>
                    <a:lnTo>
                      <a:pt x="2156" y="2692"/>
                    </a:lnTo>
                    <a:lnTo>
                      <a:pt x="2166" y="2700"/>
                    </a:lnTo>
                    <a:lnTo>
                      <a:pt x="2188" y="2716"/>
                    </a:lnTo>
                    <a:lnTo>
                      <a:pt x="2212" y="2730"/>
                    </a:lnTo>
                    <a:lnTo>
                      <a:pt x="2226" y="2738"/>
                    </a:lnTo>
                    <a:lnTo>
                      <a:pt x="2238" y="2748"/>
                    </a:lnTo>
                    <a:lnTo>
                      <a:pt x="2238" y="2748"/>
                    </a:lnTo>
                    <a:lnTo>
                      <a:pt x="2244" y="2754"/>
                    </a:lnTo>
                    <a:lnTo>
                      <a:pt x="2248" y="2758"/>
                    </a:lnTo>
                    <a:lnTo>
                      <a:pt x="2250" y="2764"/>
                    </a:lnTo>
                    <a:lnTo>
                      <a:pt x="2252" y="2770"/>
                    </a:lnTo>
                    <a:lnTo>
                      <a:pt x="2250" y="2782"/>
                    </a:lnTo>
                    <a:lnTo>
                      <a:pt x="2250" y="2794"/>
                    </a:lnTo>
                    <a:lnTo>
                      <a:pt x="2248" y="2808"/>
                    </a:lnTo>
                    <a:lnTo>
                      <a:pt x="2250" y="2814"/>
                    </a:lnTo>
                    <a:lnTo>
                      <a:pt x="2252" y="2820"/>
                    </a:lnTo>
                    <a:lnTo>
                      <a:pt x="2256" y="2828"/>
                    </a:lnTo>
                    <a:lnTo>
                      <a:pt x="2262" y="2834"/>
                    </a:lnTo>
                    <a:lnTo>
                      <a:pt x="2270" y="2842"/>
                    </a:lnTo>
                    <a:lnTo>
                      <a:pt x="2280" y="2850"/>
                    </a:lnTo>
                    <a:lnTo>
                      <a:pt x="2280" y="2850"/>
                    </a:lnTo>
                    <a:lnTo>
                      <a:pt x="2300" y="2866"/>
                    </a:lnTo>
                    <a:lnTo>
                      <a:pt x="2316" y="2882"/>
                    </a:lnTo>
                    <a:lnTo>
                      <a:pt x="2326" y="2894"/>
                    </a:lnTo>
                    <a:lnTo>
                      <a:pt x="2332" y="2906"/>
                    </a:lnTo>
                    <a:lnTo>
                      <a:pt x="2336" y="2914"/>
                    </a:lnTo>
                    <a:lnTo>
                      <a:pt x="2340" y="2918"/>
                    </a:lnTo>
                    <a:lnTo>
                      <a:pt x="2344" y="2920"/>
                    </a:lnTo>
                    <a:lnTo>
                      <a:pt x="2350" y="2916"/>
                    </a:lnTo>
                    <a:lnTo>
                      <a:pt x="2350" y="2916"/>
                    </a:lnTo>
                    <a:lnTo>
                      <a:pt x="2358" y="2910"/>
                    </a:lnTo>
                    <a:lnTo>
                      <a:pt x="2362" y="2906"/>
                    </a:lnTo>
                    <a:lnTo>
                      <a:pt x="2364" y="2900"/>
                    </a:lnTo>
                    <a:lnTo>
                      <a:pt x="2364" y="2896"/>
                    </a:lnTo>
                    <a:lnTo>
                      <a:pt x="2358" y="2884"/>
                    </a:lnTo>
                    <a:lnTo>
                      <a:pt x="2346" y="2864"/>
                    </a:lnTo>
                    <a:lnTo>
                      <a:pt x="2346" y="2864"/>
                    </a:lnTo>
                    <a:lnTo>
                      <a:pt x="2340" y="2856"/>
                    </a:lnTo>
                    <a:lnTo>
                      <a:pt x="2336" y="2850"/>
                    </a:lnTo>
                    <a:lnTo>
                      <a:pt x="2332" y="2850"/>
                    </a:lnTo>
                    <a:lnTo>
                      <a:pt x="2330" y="2850"/>
                    </a:lnTo>
                    <a:lnTo>
                      <a:pt x="2324" y="2854"/>
                    </a:lnTo>
                    <a:lnTo>
                      <a:pt x="2320" y="2854"/>
                    </a:lnTo>
                    <a:lnTo>
                      <a:pt x="2316" y="2850"/>
                    </a:lnTo>
                    <a:lnTo>
                      <a:pt x="2316" y="2850"/>
                    </a:lnTo>
                    <a:lnTo>
                      <a:pt x="2312" y="2846"/>
                    </a:lnTo>
                    <a:lnTo>
                      <a:pt x="2310" y="2842"/>
                    </a:lnTo>
                    <a:lnTo>
                      <a:pt x="2310" y="2832"/>
                    </a:lnTo>
                    <a:lnTo>
                      <a:pt x="2310" y="2826"/>
                    </a:lnTo>
                    <a:lnTo>
                      <a:pt x="2310" y="2820"/>
                    </a:lnTo>
                    <a:lnTo>
                      <a:pt x="2306" y="2810"/>
                    </a:lnTo>
                    <a:lnTo>
                      <a:pt x="2300" y="2798"/>
                    </a:lnTo>
                    <a:lnTo>
                      <a:pt x="2300" y="2798"/>
                    </a:lnTo>
                    <a:lnTo>
                      <a:pt x="2290" y="2776"/>
                    </a:lnTo>
                    <a:lnTo>
                      <a:pt x="2286" y="2762"/>
                    </a:lnTo>
                    <a:lnTo>
                      <a:pt x="2282" y="2748"/>
                    </a:lnTo>
                    <a:lnTo>
                      <a:pt x="2276" y="2730"/>
                    </a:lnTo>
                    <a:lnTo>
                      <a:pt x="2276" y="2730"/>
                    </a:lnTo>
                    <a:lnTo>
                      <a:pt x="2270" y="2718"/>
                    </a:lnTo>
                    <a:lnTo>
                      <a:pt x="2264" y="2708"/>
                    </a:lnTo>
                    <a:lnTo>
                      <a:pt x="2250" y="2690"/>
                    </a:lnTo>
                    <a:lnTo>
                      <a:pt x="2236" y="2672"/>
                    </a:lnTo>
                    <a:lnTo>
                      <a:pt x="2230" y="2662"/>
                    </a:lnTo>
                    <a:lnTo>
                      <a:pt x="2224" y="2648"/>
                    </a:lnTo>
                    <a:lnTo>
                      <a:pt x="2224" y="2648"/>
                    </a:lnTo>
                    <a:lnTo>
                      <a:pt x="2220" y="2636"/>
                    </a:lnTo>
                    <a:lnTo>
                      <a:pt x="2214" y="2624"/>
                    </a:lnTo>
                    <a:lnTo>
                      <a:pt x="2198" y="2604"/>
                    </a:lnTo>
                    <a:lnTo>
                      <a:pt x="2182" y="2584"/>
                    </a:lnTo>
                    <a:lnTo>
                      <a:pt x="2168" y="2564"/>
                    </a:lnTo>
                    <a:lnTo>
                      <a:pt x="2168" y="2564"/>
                    </a:lnTo>
                    <a:lnTo>
                      <a:pt x="2160" y="2550"/>
                    </a:lnTo>
                    <a:lnTo>
                      <a:pt x="2154" y="2534"/>
                    </a:lnTo>
                    <a:lnTo>
                      <a:pt x="2148" y="2516"/>
                    </a:lnTo>
                    <a:lnTo>
                      <a:pt x="2144" y="2498"/>
                    </a:lnTo>
                    <a:lnTo>
                      <a:pt x="2142" y="2482"/>
                    </a:lnTo>
                    <a:lnTo>
                      <a:pt x="2142" y="2470"/>
                    </a:lnTo>
                    <a:lnTo>
                      <a:pt x="2144" y="2466"/>
                    </a:lnTo>
                    <a:lnTo>
                      <a:pt x="2146" y="2464"/>
                    </a:lnTo>
                    <a:lnTo>
                      <a:pt x="2148" y="2464"/>
                    </a:lnTo>
                    <a:lnTo>
                      <a:pt x="2154" y="2466"/>
                    </a:lnTo>
                    <a:lnTo>
                      <a:pt x="2154" y="2466"/>
                    </a:lnTo>
                    <a:lnTo>
                      <a:pt x="2168" y="2474"/>
                    </a:lnTo>
                    <a:lnTo>
                      <a:pt x="2172" y="2476"/>
                    </a:lnTo>
                    <a:lnTo>
                      <a:pt x="2178" y="2474"/>
                    </a:lnTo>
                    <a:lnTo>
                      <a:pt x="2186" y="2478"/>
                    </a:lnTo>
                    <a:lnTo>
                      <a:pt x="2186" y="2478"/>
                    </a:lnTo>
                    <a:lnTo>
                      <a:pt x="2198" y="2484"/>
                    </a:lnTo>
                    <a:lnTo>
                      <a:pt x="2202" y="2488"/>
                    </a:lnTo>
                    <a:lnTo>
                      <a:pt x="2206" y="2492"/>
                    </a:lnTo>
                    <a:lnTo>
                      <a:pt x="2214" y="2508"/>
                    </a:lnTo>
                    <a:lnTo>
                      <a:pt x="2222" y="2536"/>
                    </a:lnTo>
                    <a:lnTo>
                      <a:pt x="2222" y="2536"/>
                    </a:lnTo>
                    <a:lnTo>
                      <a:pt x="2228" y="2556"/>
                    </a:lnTo>
                    <a:lnTo>
                      <a:pt x="2236" y="2574"/>
                    </a:lnTo>
                    <a:lnTo>
                      <a:pt x="2244" y="2594"/>
                    </a:lnTo>
                    <a:lnTo>
                      <a:pt x="2254" y="2612"/>
                    </a:lnTo>
                    <a:lnTo>
                      <a:pt x="2264" y="2628"/>
                    </a:lnTo>
                    <a:lnTo>
                      <a:pt x="2276" y="2642"/>
                    </a:lnTo>
                    <a:lnTo>
                      <a:pt x="2288" y="2654"/>
                    </a:lnTo>
                    <a:lnTo>
                      <a:pt x="2300" y="2664"/>
                    </a:lnTo>
                    <a:lnTo>
                      <a:pt x="2300" y="2664"/>
                    </a:lnTo>
                    <a:lnTo>
                      <a:pt x="2308" y="2672"/>
                    </a:lnTo>
                    <a:lnTo>
                      <a:pt x="2314" y="2678"/>
                    </a:lnTo>
                    <a:lnTo>
                      <a:pt x="2320" y="2694"/>
                    </a:lnTo>
                    <a:lnTo>
                      <a:pt x="2324" y="2700"/>
                    </a:lnTo>
                    <a:lnTo>
                      <a:pt x="2328" y="2706"/>
                    </a:lnTo>
                    <a:lnTo>
                      <a:pt x="2338" y="2714"/>
                    </a:lnTo>
                    <a:lnTo>
                      <a:pt x="2352" y="2722"/>
                    </a:lnTo>
                    <a:lnTo>
                      <a:pt x="2352" y="2722"/>
                    </a:lnTo>
                    <a:lnTo>
                      <a:pt x="2360" y="2724"/>
                    </a:lnTo>
                    <a:lnTo>
                      <a:pt x="2364" y="2728"/>
                    </a:lnTo>
                    <a:lnTo>
                      <a:pt x="2368" y="2732"/>
                    </a:lnTo>
                    <a:lnTo>
                      <a:pt x="2370" y="2736"/>
                    </a:lnTo>
                    <a:lnTo>
                      <a:pt x="2368" y="2746"/>
                    </a:lnTo>
                    <a:lnTo>
                      <a:pt x="2366" y="2754"/>
                    </a:lnTo>
                    <a:lnTo>
                      <a:pt x="2364" y="2764"/>
                    </a:lnTo>
                    <a:lnTo>
                      <a:pt x="2362" y="2772"/>
                    </a:lnTo>
                    <a:lnTo>
                      <a:pt x="2364" y="2776"/>
                    </a:lnTo>
                    <a:lnTo>
                      <a:pt x="2368" y="2782"/>
                    </a:lnTo>
                    <a:lnTo>
                      <a:pt x="2372" y="2786"/>
                    </a:lnTo>
                    <a:lnTo>
                      <a:pt x="2380" y="2790"/>
                    </a:lnTo>
                    <a:lnTo>
                      <a:pt x="2380" y="2790"/>
                    </a:lnTo>
                    <a:lnTo>
                      <a:pt x="2394" y="2798"/>
                    </a:lnTo>
                    <a:lnTo>
                      <a:pt x="2402" y="2804"/>
                    </a:lnTo>
                    <a:lnTo>
                      <a:pt x="2408" y="2810"/>
                    </a:lnTo>
                    <a:lnTo>
                      <a:pt x="2410" y="2816"/>
                    </a:lnTo>
                    <a:lnTo>
                      <a:pt x="2422" y="2834"/>
                    </a:lnTo>
                    <a:lnTo>
                      <a:pt x="2432" y="2848"/>
                    </a:lnTo>
                    <a:lnTo>
                      <a:pt x="2450" y="2864"/>
                    </a:lnTo>
                    <a:lnTo>
                      <a:pt x="2450" y="2864"/>
                    </a:lnTo>
                    <a:lnTo>
                      <a:pt x="2476" y="2890"/>
                    </a:lnTo>
                    <a:lnTo>
                      <a:pt x="2494" y="2912"/>
                    </a:lnTo>
                    <a:lnTo>
                      <a:pt x="2504" y="2928"/>
                    </a:lnTo>
                    <a:lnTo>
                      <a:pt x="2512" y="2942"/>
                    </a:lnTo>
                    <a:lnTo>
                      <a:pt x="2516" y="2954"/>
                    </a:lnTo>
                    <a:lnTo>
                      <a:pt x="2518" y="2964"/>
                    </a:lnTo>
                    <a:lnTo>
                      <a:pt x="2522" y="2976"/>
                    </a:lnTo>
                    <a:lnTo>
                      <a:pt x="2526" y="2988"/>
                    </a:lnTo>
                    <a:lnTo>
                      <a:pt x="2526" y="2988"/>
                    </a:lnTo>
                    <a:lnTo>
                      <a:pt x="2530" y="2998"/>
                    </a:lnTo>
                    <a:lnTo>
                      <a:pt x="2530" y="3010"/>
                    </a:lnTo>
                    <a:lnTo>
                      <a:pt x="2528" y="3020"/>
                    </a:lnTo>
                    <a:lnTo>
                      <a:pt x="2524" y="3028"/>
                    </a:lnTo>
                    <a:lnTo>
                      <a:pt x="2518" y="3038"/>
                    </a:lnTo>
                    <a:lnTo>
                      <a:pt x="2516" y="3050"/>
                    </a:lnTo>
                    <a:lnTo>
                      <a:pt x="2516" y="3060"/>
                    </a:lnTo>
                    <a:lnTo>
                      <a:pt x="2520" y="3072"/>
                    </a:lnTo>
                    <a:lnTo>
                      <a:pt x="2520" y="3072"/>
                    </a:lnTo>
                    <a:lnTo>
                      <a:pt x="2528" y="3084"/>
                    </a:lnTo>
                    <a:lnTo>
                      <a:pt x="2534" y="3094"/>
                    </a:lnTo>
                    <a:lnTo>
                      <a:pt x="2550" y="3106"/>
                    </a:lnTo>
                    <a:lnTo>
                      <a:pt x="2570" y="3120"/>
                    </a:lnTo>
                    <a:lnTo>
                      <a:pt x="2580" y="3130"/>
                    </a:lnTo>
                    <a:lnTo>
                      <a:pt x="2594" y="3140"/>
                    </a:lnTo>
                    <a:lnTo>
                      <a:pt x="2594" y="3140"/>
                    </a:lnTo>
                    <a:lnTo>
                      <a:pt x="2606" y="3152"/>
                    </a:lnTo>
                    <a:lnTo>
                      <a:pt x="2618" y="3158"/>
                    </a:lnTo>
                    <a:lnTo>
                      <a:pt x="2628" y="3162"/>
                    </a:lnTo>
                    <a:lnTo>
                      <a:pt x="2638" y="3164"/>
                    </a:lnTo>
                    <a:lnTo>
                      <a:pt x="2648" y="3168"/>
                    </a:lnTo>
                    <a:lnTo>
                      <a:pt x="2658" y="3170"/>
                    </a:lnTo>
                    <a:lnTo>
                      <a:pt x="2668" y="3176"/>
                    </a:lnTo>
                    <a:lnTo>
                      <a:pt x="2680" y="3186"/>
                    </a:lnTo>
                    <a:lnTo>
                      <a:pt x="2680" y="3186"/>
                    </a:lnTo>
                    <a:lnTo>
                      <a:pt x="2694" y="3198"/>
                    </a:lnTo>
                    <a:lnTo>
                      <a:pt x="2714" y="3210"/>
                    </a:lnTo>
                    <a:lnTo>
                      <a:pt x="2736" y="3224"/>
                    </a:lnTo>
                    <a:lnTo>
                      <a:pt x="2762" y="3236"/>
                    </a:lnTo>
                    <a:lnTo>
                      <a:pt x="2814" y="3260"/>
                    </a:lnTo>
                    <a:lnTo>
                      <a:pt x="2862" y="3278"/>
                    </a:lnTo>
                    <a:lnTo>
                      <a:pt x="2862" y="3278"/>
                    </a:lnTo>
                    <a:lnTo>
                      <a:pt x="2880" y="3282"/>
                    </a:lnTo>
                    <a:lnTo>
                      <a:pt x="2894" y="3282"/>
                    </a:lnTo>
                    <a:lnTo>
                      <a:pt x="2906" y="3278"/>
                    </a:lnTo>
                    <a:lnTo>
                      <a:pt x="2916" y="3272"/>
                    </a:lnTo>
                    <a:lnTo>
                      <a:pt x="2926" y="3266"/>
                    </a:lnTo>
                    <a:lnTo>
                      <a:pt x="2938" y="3260"/>
                    </a:lnTo>
                    <a:lnTo>
                      <a:pt x="2950" y="3258"/>
                    </a:lnTo>
                    <a:lnTo>
                      <a:pt x="2968" y="3260"/>
                    </a:lnTo>
                    <a:lnTo>
                      <a:pt x="2968" y="3260"/>
                    </a:lnTo>
                    <a:lnTo>
                      <a:pt x="2984" y="3264"/>
                    </a:lnTo>
                    <a:lnTo>
                      <a:pt x="2996" y="3272"/>
                    </a:lnTo>
                    <a:lnTo>
                      <a:pt x="3006" y="3280"/>
                    </a:lnTo>
                    <a:lnTo>
                      <a:pt x="3014" y="3290"/>
                    </a:lnTo>
                    <a:lnTo>
                      <a:pt x="3032" y="3314"/>
                    </a:lnTo>
                    <a:lnTo>
                      <a:pt x="3042" y="3326"/>
                    </a:lnTo>
                    <a:lnTo>
                      <a:pt x="3054" y="3338"/>
                    </a:lnTo>
                    <a:lnTo>
                      <a:pt x="3054" y="3338"/>
                    </a:lnTo>
                    <a:lnTo>
                      <a:pt x="3072" y="3356"/>
                    </a:lnTo>
                    <a:lnTo>
                      <a:pt x="3086" y="3364"/>
                    </a:lnTo>
                    <a:lnTo>
                      <a:pt x="3094" y="3368"/>
                    </a:lnTo>
                    <a:lnTo>
                      <a:pt x="3104" y="3368"/>
                    </a:lnTo>
                    <a:lnTo>
                      <a:pt x="3104" y="3368"/>
                    </a:lnTo>
                    <a:lnTo>
                      <a:pt x="3116" y="3368"/>
                    </a:lnTo>
                    <a:lnTo>
                      <a:pt x="3124" y="3370"/>
                    </a:lnTo>
                    <a:lnTo>
                      <a:pt x="3140" y="3376"/>
                    </a:lnTo>
                    <a:lnTo>
                      <a:pt x="3140" y="3376"/>
                    </a:lnTo>
                    <a:lnTo>
                      <a:pt x="3146" y="3382"/>
                    </a:lnTo>
                    <a:lnTo>
                      <a:pt x="3150" y="3386"/>
                    </a:lnTo>
                    <a:lnTo>
                      <a:pt x="3152" y="3388"/>
                    </a:lnTo>
                    <a:lnTo>
                      <a:pt x="3160" y="3390"/>
                    </a:lnTo>
                    <a:lnTo>
                      <a:pt x="3160" y="3390"/>
                    </a:lnTo>
                    <a:lnTo>
                      <a:pt x="3174" y="3392"/>
                    </a:lnTo>
                    <a:lnTo>
                      <a:pt x="3186" y="3398"/>
                    </a:lnTo>
                    <a:lnTo>
                      <a:pt x="3196" y="3404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4"/>
                    </a:lnTo>
                    <a:lnTo>
                      <a:pt x="3202" y="3402"/>
                    </a:lnTo>
                    <a:lnTo>
                      <a:pt x="3202" y="3400"/>
                    </a:lnTo>
                    <a:lnTo>
                      <a:pt x="3210" y="3404"/>
                    </a:lnTo>
                    <a:lnTo>
                      <a:pt x="3210" y="3404"/>
                    </a:lnTo>
                    <a:lnTo>
                      <a:pt x="3212" y="3406"/>
                    </a:lnTo>
                    <a:lnTo>
                      <a:pt x="3218" y="3406"/>
                    </a:lnTo>
                    <a:lnTo>
                      <a:pt x="3226" y="3406"/>
                    </a:lnTo>
                    <a:lnTo>
                      <a:pt x="3234" y="3404"/>
                    </a:lnTo>
                    <a:lnTo>
                      <a:pt x="3236" y="3402"/>
                    </a:lnTo>
                    <a:lnTo>
                      <a:pt x="3234" y="3400"/>
                    </a:lnTo>
                    <a:lnTo>
                      <a:pt x="3234" y="3400"/>
                    </a:lnTo>
                    <a:lnTo>
                      <a:pt x="3230" y="3398"/>
                    </a:lnTo>
                    <a:lnTo>
                      <a:pt x="3230" y="3396"/>
                    </a:lnTo>
                    <a:lnTo>
                      <a:pt x="3230" y="3394"/>
                    </a:lnTo>
                    <a:lnTo>
                      <a:pt x="3232" y="3394"/>
                    </a:lnTo>
                    <a:lnTo>
                      <a:pt x="3232" y="3394"/>
                    </a:lnTo>
                    <a:lnTo>
                      <a:pt x="3236" y="3396"/>
                    </a:lnTo>
                    <a:lnTo>
                      <a:pt x="3238" y="3396"/>
                    </a:lnTo>
                    <a:lnTo>
                      <a:pt x="3240" y="3392"/>
                    </a:lnTo>
                    <a:lnTo>
                      <a:pt x="3240" y="3392"/>
                    </a:lnTo>
                    <a:lnTo>
                      <a:pt x="3242" y="3398"/>
                    </a:lnTo>
                    <a:lnTo>
                      <a:pt x="3242" y="3398"/>
                    </a:lnTo>
                    <a:lnTo>
                      <a:pt x="3248" y="3406"/>
                    </a:lnTo>
                    <a:lnTo>
                      <a:pt x="3252" y="3410"/>
                    </a:lnTo>
                    <a:lnTo>
                      <a:pt x="3254" y="3412"/>
                    </a:lnTo>
                    <a:lnTo>
                      <a:pt x="3252" y="3416"/>
                    </a:lnTo>
                    <a:lnTo>
                      <a:pt x="3252" y="3416"/>
                    </a:lnTo>
                    <a:lnTo>
                      <a:pt x="3250" y="3418"/>
                    </a:lnTo>
                    <a:lnTo>
                      <a:pt x="3250" y="3418"/>
                    </a:lnTo>
                    <a:lnTo>
                      <a:pt x="3246" y="3416"/>
                    </a:lnTo>
                    <a:lnTo>
                      <a:pt x="3244" y="3412"/>
                    </a:lnTo>
                    <a:lnTo>
                      <a:pt x="3242" y="3412"/>
                    </a:lnTo>
                    <a:lnTo>
                      <a:pt x="3240" y="3414"/>
                    </a:lnTo>
                    <a:lnTo>
                      <a:pt x="3240" y="3414"/>
                    </a:lnTo>
                    <a:lnTo>
                      <a:pt x="3238" y="3418"/>
                    </a:lnTo>
                    <a:lnTo>
                      <a:pt x="3242" y="3422"/>
                    </a:lnTo>
                    <a:lnTo>
                      <a:pt x="3246" y="3426"/>
                    </a:lnTo>
                    <a:lnTo>
                      <a:pt x="3252" y="3434"/>
                    </a:lnTo>
                    <a:lnTo>
                      <a:pt x="3252" y="3434"/>
                    </a:lnTo>
                    <a:lnTo>
                      <a:pt x="3258" y="3442"/>
                    </a:lnTo>
                    <a:lnTo>
                      <a:pt x="3266" y="3448"/>
                    </a:lnTo>
                    <a:lnTo>
                      <a:pt x="3274" y="3454"/>
                    </a:lnTo>
                    <a:lnTo>
                      <a:pt x="3278" y="3460"/>
                    </a:lnTo>
                    <a:lnTo>
                      <a:pt x="3282" y="3466"/>
                    </a:lnTo>
                    <a:lnTo>
                      <a:pt x="3282" y="3466"/>
                    </a:lnTo>
                    <a:lnTo>
                      <a:pt x="3288" y="3478"/>
                    </a:lnTo>
                    <a:lnTo>
                      <a:pt x="3294" y="3486"/>
                    </a:lnTo>
                    <a:lnTo>
                      <a:pt x="3304" y="3494"/>
                    </a:lnTo>
                    <a:lnTo>
                      <a:pt x="3316" y="3506"/>
                    </a:lnTo>
                    <a:lnTo>
                      <a:pt x="3316" y="3506"/>
                    </a:lnTo>
                    <a:lnTo>
                      <a:pt x="3318" y="3510"/>
                    </a:lnTo>
                    <a:lnTo>
                      <a:pt x="3318" y="3512"/>
                    </a:lnTo>
                    <a:lnTo>
                      <a:pt x="3314" y="3514"/>
                    </a:lnTo>
                    <a:lnTo>
                      <a:pt x="3310" y="3518"/>
                    </a:lnTo>
                    <a:lnTo>
                      <a:pt x="3310" y="3518"/>
                    </a:lnTo>
                    <a:lnTo>
                      <a:pt x="3310" y="3520"/>
                    </a:lnTo>
                    <a:lnTo>
                      <a:pt x="3310" y="3520"/>
                    </a:lnTo>
                    <a:lnTo>
                      <a:pt x="3316" y="3522"/>
                    </a:lnTo>
                    <a:lnTo>
                      <a:pt x="3318" y="3522"/>
                    </a:lnTo>
                    <a:lnTo>
                      <a:pt x="3318" y="3522"/>
                    </a:lnTo>
                    <a:lnTo>
                      <a:pt x="3318" y="3528"/>
                    </a:lnTo>
                    <a:lnTo>
                      <a:pt x="3318" y="3528"/>
                    </a:lnTo>
                    <a:lnTo>
                      <a:pt x="3318" y="3534"/>
                    </a:lnTo>
                    <a:lnTo>
                      <a:pt x="3316" y="3534"/>
                    </a:lnTo>
                    <a:lnTo>
                      <a:pt x="3314" y="3536"/>
                    </a:lnTo>
                    <a:lnTo>
                      <a:pt x="3312" y="3540"/>
                    </a:lnTo>
                    <a:lnTo>
                      <a:pt x="3312" y="3540"/>
                    </a:lnTo>
                    <a:lnTo>
                      <a:pt x="3312" y="3550"/>
                    </a:lnTo>
                    <a:lnTo>
                      <a:pt x="3314" y="3558"/>
                    </a:lnTo>
                    <a:lnTo>
                      <a:pt x="3318" y="3564"/>
                    </a:lnTo>
                    <a:lnTo>
                      <a:pt x="3322" y="3566"/>
                    </a:lnTo>
                    <a:lnTo>
                      <a:pt x="3322" y="3566"/>
                    </a:lnTo>
                    <a:lnTo>
                      <a:pt x="3330" y="3570"/>
                    </a:lnTo>
                    <a:lnTo>
                      <a:pt x="3334" y="3574"/>
                    </a:lnTo>
                    <a:lnTo>
                      <a:pt x="3338" y="3578"/>
                    </a:lnTo>
                    <a:lnTo>
                      <a:pt x="3338" y="3578"/>
                    </a:lnTo>
                    <a:lnTo>
                      <a:pt x="3340" y="3582"/>
                    </a:lnTo>
                    <a:lnTo>
                      <a:pt x="3342" y="3580"/>
                    </a:lnTo>
                    <a:lnTo>
                      <a:pt x="3348" y="3574"/>
                    </a:lnTo>
                    <a:lnTo>
                      <a:pt x="3348" y="3574"/>
                    </a:lnTo>
                    <a:lnTo>
                      <a:pt x="3350" y="3572"/>
                    </a:lnTo>
                    <a:lnTo>
                      <a:pt x="3350" y="3570"/>
                    </a:lnTo>
                    <a:lnTo>
                      <a:pt x="3348" y="3566"/>
                    </a:lnTo>
                    <a:lnTo>
                      <a:pt x="3338" y="3558"/>
                    </a:lnTo>
                    <a:lnTo>
                      <a:pt x="3338" y="3558"/>
                    </a:lnTo>
                    <a:lnTo>
                      <a:pt x="3336" y="3554"/>
                    </a:lnTo>
                    <a:lnTo>
                      <a:pt x="3336" y="3552"/>
                    </a:lnTo>
                    <a:lnTo>
                      <a:pt x="3336" y="3550"/>
                    </a:lnTo>
                    <a:lnTo>
                      <a:pt x="3338" y="3552"/>
                    </a:lnTo>
                    <a:lnTo>
                      <a:pt x="3338" y="3552"/>
                    </a:lnTo>
                    <a:lnTo>
                      <a:pt x="3342" y="3554"/>
                    </a:lnTo>
                    <a:lnTo>
                      <a:pt x="3348" y="3558"/>
                    </a:lnTo>
                    <a:lnTo>
                      <a:pt x="3354" y="3562"/>
                    </a:lnTo>
                    <a:lnTo>
                      <a:pt x="3358" y="3566"/>
                    </a:lnTo>
                    <a:lnTo>
                      <a:pt x="3358" y="3566"/>
                    </a:lnTo>
                    <a:lnTo>
                      <a:pt x="3358" y="3576"/>
                    </a:lnTo>
                    <a:lnTo>
                      <a:pt x="3360" y="3578"/>
                    </a:lnTo>
                    <a:lnTo>
                      <a:pt x="3362" y="3582"/>
                    </a:lnTo>
                    <a:lnTo>
                      <a:pt x="3362" y="3582"/>
                    </a:lnTo>
                    <a:lnTo>
                      <a:pt x="3366" y="3584"/>
                    </a:lnTo>
                    <a:lnTo>
                      <a:pt x="3368" y="3586"/>
                    </a:lnTo>
                    <a:lnTo>
                      <a:pt x="3374" y="3586"/>
                    </a:lnTo>
                    <a:lnTo>
                      <a:pt x="3384" y="3592"/>
                    </a:lnTo>
                    <a:lnTo>
                      <a:pt x="3384" y="3592"/>
                    </a:lnTo>
                    <a:lnTo>
                      <a:pt x="3398" y="3604"/>
                    </a:lnTo>
                    <a:lnTo>
                      <a:pt x="3402" y="3608"/>
                    </a:lnTo>
                    <a:lnTo>
                      <a:pt x="3402" y="3612"/>
                    </a:lnTo>
                    <a:lnTo>
                      <a:pt x="3402" y="3612"/>
                    </a:lnTo>
                    <a:lnTo>
                      <a:pt x="3402" y="3620"/>
                    </a:lnTo>
                    <a:lnTo>
                      <a:pt x="3400" y="3624"/>
                    </a:lnTo>
                    <a:lnTo>
                      <a:pt x="3398" y="3626"/>
                    </a:lnTo>
                    <a:lnTo>
                      <a:pt x="3398" y="3626"/>
                    </a:lnTo>
                    <a:lnTo>
                      <a:pt x="3398" y="3628"/>
                    </a:lnTo>
                    <a:lnTo>
                      <a:pt x="3396" y="3630"/>
                    </a:lnTo>
                    <a:lnTo>
                      <a:pt x="3400" y="3634"/>
                    </a:lnTo>
                    <a:lnTo>
                      <a:pt x="3404" y="3636"/>
                    </a:lnTo>
                    <a:lnTo>
                      <a:pt x="3408" y="3638"/>
                    </a:lnTo>
                    <a:lnTo>
                      <a:pt x="3408" y="3638"/>
                    </a:lnTo>
                    <a:lnTo>
                      <a:pt x="3410" y="3640"/>
                    </a:lnTo>
                    <a:lnTo>
                      <a:pt x="3414" y="3640"/>
                    </a:lnTo>
                    <a:lnTo>
                      <a:pt x="3414" y="3642"/>
                    </a:lnTo>
                    <a:lnTo>
                      <a:pt x="3416" y="3640"/>
                    </a:lnTo>
                    <a:lnTo>
                      <a:pt x="3416" y="3640"/>
                    </a:lnTo>
                    <a:lnTo>
                      <a:pt x="3416" y="3636"/>
                    </a:lnTo>
                    <a:lnTo>
                      <a:pt x="3414" y="3634"/>
                    </a:lnTo>
                    <a:lnTo>
                      <a:pt x="3410" y="3630"/>
                    </a:lnTo>
                    <a:lnTo>
                      <a:pt x="3406" y="3626"/>
                    </a:lnTo>
                    <a:lnTo>
                      <a:pt x="3408" y="3626"/>
                    </a:lnTo>
                    <a:lnTo>
                      <a:pt x="3410" y="3624"/>
                    </a:lnTo>
                    <a:lnTo>
                      <a:pt x="3410" y="3624"/>
                    </a:lnTo>
                    <a:lnTo>
                      <a:pt x="3414" y="3622"/>
                    </a:lnTo>
                    <a:lnTo>
                      <a:pt x="3414" y="3624"/>
                    </a:lnTo>
                    <a:lnTo>
                      <a:pt x="3416" y="3628"/>
                    </a:lnTo>
                    <a:lnTo>
                      <a:pt x="3418" y="3630"/>
                    </a:lnTo>
                    <a:lnTo>
                      <a:pt x="3418" y="3630"/>
                    </a:lnTo>
                    <a:lnTo>
                      <a:pt x="3420" y="3630"/>
                    </a:lnTo>
                    <a:lnTo>
                      <a:pt x="3422" y="3632"/>
                    </a:lnTo>
                    <a:lnTo>
                      <a:pt x="3422" y="3636"/>
                    </a:lnTo>
                    <a:lnTo>
                      <a:pt x="3422" y="3642"/>
                    </a:lnTo>
                    <a:lnTo>
                      <a:pt x="3422" y="3646"/>
                    </a:lnTo>
                    <a:lnTo>
                      <a:pt x="3422" y="3646"/>
                    </a:lnTo>
                    <a:lnTo>
                      <a:pt x="3428" y="3654"/>
                    </a:lnTo>
                    <a:lnTo>
                      <a:pt x="3430" y="3656"/>
                    </a:lnTo>
                    <a:lnTo>
                      <a:pt x="3432" y="3656"/>
                    </a:lnTo>
                    <a:lnTo>
                      <a:pt x="3432" y="3656"/>
                    </a:lnTo>
                    <a:lnTo>
                      <a:pt x="3434" y="3648"/>
                    </a:lnTo>
                    <a:lnTo>
                      <a:pt x="3436" y="3646"/>
                    </a:lnTo>
                    <a:lnTo>
                      <a:pt x="3440" y="3644"/>
                    </a:lnTo>
                    <a:lnTo>
                      <a:pt x="3440" y="3644"/>
                    </a:lnTo>
                    <a:lnTo>
                      <a:pt x="3452" y="3646"/>
                    </a:lnTo>
                    <a:lnTo>
                      <a:pt x="3464" y="3650"/>
                    </a:lnTo>
                    <a:lnTo>
                      <a:pt x="3472" y="3652"/>
                    </a:lnTo>
                    <a:lnTo>
                      <a:pt x="3476" y="3654"/>
                    </a:lnTo>
                    <a:lnTo>
                      <a:pt x="3476" y="3654"/>
                    </a:lnTo>
                    <a:lnTo>
                      <a:pt x="3478" y="3652"/>
                    </a:lnTo>
                    <a:lnTo>
                      <a:pt x="3480" y="3654"/>
                    </a:lnTo>
                    <a:lnTo>
                      <a:pt x="3482" y="3662"/>
                    </a:lnTo>
                    <a:lnTo>
                      <a:pt x="3482" y="3662"/>
                    </a:lnTo>
                    <a:lnTo>
                      <a:pt x="3484" y="3666"/>
                    </a:lnTo>
                    <a:lnTo>
                      <a:pt x="3484" y="3670"/>
                    </a:lnTo>
                    <a:lnTo>
                      <a:pt x="3486" y="3672"/>
                    </a:lnTo>
                    <a:lnTo>
                      <a:pt x="3490" y="3676"/>
                    </a:lnTo>
                    <a:lnTo>
                      <a:pt x="3490" y="3676"/>
                    </a:lnTo>
                    <a:lnTo>
                      <a:pt x="3496" y="3678"/>
                    </a:lnTo>
                    <a:lnTo>
                      <a:pt x="3498" y="3678"/>
                    </a:lnTo>
                    <a:lnTo>
                      <a:pt x="3498" y="3674"/>
                    </a:lnTo>
                    <a:lnTo>
                      <a:pt x="3498" y="3674"/>
                    </a:lnTo>
                    <a:lnTo>
                      <a:pt x="3500" y="3668"/>
                    </a:lnTo>
                    <a:lnTo>
                      <a:pt x="3502" y="3666"/>
                    </a:lnTo>
                    <a:lnTo>
                      <a:pt x="3504" y="3666"/>
                    </a:lnTo>
                    <a:lnTo>
                      <a:pt x="3504" y="3668"/>
                    </a:lnTo>
                    <a:lnTo>
                      <a:pt x="3504" y="3668"/>
                    </a:lnTo>
                    <a:lnTo>
                      <a:pt x="3504" y="3672"/>
                    </a:lnTo>
                    <a:lnTo>
                      <a:pt x="3508" y="3680"/>
                    </a:lnTo>
                    <a:lnTo>
                      <a:pt x="3510" y="3686"/>
                    </a:lnTo>
                    <a:lnTo>
                      <a:pt x="3510" y="3694"/>
                    </a:lnTo>
                    <a:lnTo>
                      <a:pt x="3510" y="3694"/>
                    </a:lnTo>
                    <a:lnTo>
                      <a:pt x="3510" y="3696"/>
                    </a:lnTo>
                    <a:lnTo>
                      <a:pt x="3510" y="3698"/>
                    </a:lnTo>
                    <a:lnTo>
                      <a:pt x="3516" y="3698"/>
                    </a:lnTo>
                    <a:lnTo>
                      <a:pt x="3528" y="3696"/>
                    </a:lnTo>
                    <a:lnTo>
                      <a:pt x="3528" y="3696"/>
                    </a:lnTo>
                    <a:lnTo>
                      <a:pt x="3530" y="3696"/>
                    </a:lnTo>
                    <a:lnTo>
                      <a:pt x="3532" y="3696"/>
                    </a:lnTo>
                    <a:lnTo>
                      <a:pt x="3532" y="3692"/>
                    </a:lnTo>
                    <a:lnTo>
                      <a:pt x="3532" y="3690"/>
                    </a:lnTo>
                    <a:lnTo>
                      <a:pt x="3538" y="3688"/>
                    </a:lnTo>
                    <a:lnTo>
                      <a:pt x="3538" y="3688"/>
                    </a:lnTo>
                    <a:lnTo>
                      <a:pt x="3544" y="3688"/>
                    </a:lnTo>
                    <a:lnTo>
                      <a:pt x="3546" y="3686"/>
                    </a:lnTo>
                    <a:lnTo>
                      <a:pt x="3548" y="3684"/>
                    </a:lnTo>
                    <a:lnTo>
                      <a:pt x="3546" y="3680"/>
                    </a:lnTo>
                    <a:lnTo>
                      <a:pt x="3542" y="3672"/>
                    </a:lnTo>
                    <a:lnTo>
                      <a:pt x="3542" y="3672"/>
                    </a:lnTo>
                    <a:lnTo>
                      <a:pt x="3536" y="3664"/>
                    </a:lnTo>
                    <a:lnTo>
                      <a:pt x="3534" y="3660"/>
                    </a:lnTo>
                    <a:lnTo>
                      <a:pt x="3534" y="3658"/>
                    </a:lnTo>
                    <a:lnTo>
                      <a:pt x="3532" y="3658"/>
                    </a:lnTo>
                    <a:lnTo>
                      <a:pt x="3532" y="3658"/>
                    </a:lnTo>
                    <a:lnTo>
                      <a:pt x="3530" y="3658"/>
                    </a:lnTo>
                    <a:lnTo>
                      <a:pt x="3528" y="3656"/>
                    </a:lnTo>
                    <a:lnTo>
                      <a:pt x="3526" y="3652"/>
                    </a:lnTo>
                    <a:lnTo>
                      <a:pt x="3528" y="3648"/>
                    </a:lnTo>
                    <a:lnTo>
                      <a:pt x="3530" y="3646"/>
                    </a:lnTo>
                    <a:lnTo>
                      <a:pt x="3532" y="3646"/>
                    </a:lnTo>
                    <a:lnTo>
                      <a:pt x="3532" y="3646"/>
                    </a:lnTo>
                    <a:lnTo>
                      <a:pt x="3538" y="3644"/>
                    </a:lnTo>
                    <a:lnTo>
                      <a:pt x="3544" y="3642"/>
                    </a:lnTo>
                    <a:lnTo>
                      <a:pt x="3550" y="3636"/>
                    </a:lnTo>
                    <a:lnTo>
                      <a:pt x="3556" y="3628"/>
                    </a:lnTo>
                    <a:lnTo>
                      <a:pt x="3556" y="3628"/>
                    </a:lnTo>
                    <a:lnTo>
                      <a:pt x="3558" y="3624"/>
                    </a:lnTo>
                    <a:lnTo>
                      <a:pt x="3558" y="3622"/>
                    </a:lnTo>
                    <a:lnTo>
                      <a:pt x="3558" y="3618"/>
                    </a:lnTo>
                    <a:lnTo>
                      <a:pt x="3562" y="3616"/>
                    </a:lnTo>
                    <a:lnTo>
                      <a:pt x="3562" y="3616"/>
                    </a:lnTo>
                    <a:lnTo>
                      <a:pt x="3566" y="3614"/>
                    </a:lnTo>
                    <a:lnTo>
                      <a:pt x="3568" y="3612"/>
                    </a:lnTo>
                    <a:lnTo>
                      <a:pt x="3570" y="3610"/>
                    </a:lnTo>
                    <a:lnTo>
                      <a:pt x="3576" y="3610"/>
                    </a:lnTo>
                    <a:lnTo>
                      <a:pt x="3576" y="3610"/>
                    </a:lnTo>
                    <a:lnTo>
                      <a:pt x="3586" y="3612"/>
                    </a:lnTo>
                    <a:lnTo>
                      <a:pt x="3598" y="3620"/>
                    </a:lnTo>
                    <a:lnTo>
                      <a:pt x="3606" y="3626"/>
                    </a:lnTo>
                    <a:lnTo>
                      <a:pt x="3608" y="3630"/>
                    </a:lnTo>
                    <a:lnTo>
                      <a:pt x="3608" y="3632"/>
                    </a:lnTo>
                    <a:lnTo>
                      <a:pt x="3608" y="3632"/>
                    </a:lnTo>
                    <a:lnTo>
                      <a:pt x="3606" y="3636"/>
                    </a:lnTo>
                    <a:lnTo>
                      <a:pt x="3608" y="3638"/>
                    </a:lnTo>
                    <a:lnTo>
                      <a:pt x="3610" y="3640"/>
                    </a:lnTo>
                    <a:lnTo>
                      <a:pt x="3612" y="3640"/>
                    </a:lnTo>
                    <a:lnTo>
                      <a:pt x="3612" y="3640"/>
                    </a:lnTo>
                    <a:lnTo>
                      <a:pt x="3616" y="3638"/>
                    </a:lnTo>
                    <a:lnTo>
                      <a:pt x="3616" y="3638"/>
                    </a:lnTo>
                    <a:lnTo>
                      <a:pt x="3618" y="3638"/>
                    </a:lnTo>
                    <a:lnTo>
                      <a:pt x="3620" y="3638"/>
                    </a:lnTo>
                    <a:lnTo>
                      <a:pt x="3620" y="3638"/>
                    </a:lnTo>
                    <a:lnTo>
                      <a:pt x="3622" y="3638"/>
                    </a:lnTo>
                    <a:lnTo>
                      <a:pt x="3620" y="3640"/>
                    </a:lnTo>
                    <a:lnTo>
                      <a:pt x="3618" y="3648"/>
                    </a:lnTo>
                    <a:lnTo>
                      <a:pt x="3614" y="3658"/>
                    </a:lnTo>
                    <a:lnTo>
                      <a:pt x="3612" y="3662"/>
                    </a:lnTo>
                    <a:lnTo>
                      <a:pt x="3614" y="3666"/>
                    </a:lnTo>
                    <a:lnTo>
                      <a:pt x="3614" y="3666"/>
                    </a:lnTo>
                    <a:lnTo>
                      <a:pt x="3622" y="3682"/>
                    </a:lnTo>
                    <a:lnTo>
                      <a:pt x="3626" y="3690"/>
                    </a:lnTo>
                    <a:lnTo>
                      <a:pt x="3632" y="3696"/>
                    </a:lnTo>
                    <a:lnTo>
                      <a:pt x="3632" y="3696"/>
                    </a:lnTo>
                    <a:lnTo>
                      <a:pt x="3636" y="3700"/>
                    </a:lnTo>
                    <a:lnTo>
                      <a:pt x="3638" y="3702"/>
                    </a:lnTo>
                    <a:lnTo>
                      <a:pt x="3640" y="3704"/>
                    </a:lnTo>
                    <a:lnTo>
                      <a:pt x="3640" y="3708"/>
                    </a:lnTo>
                    <a:lnTo>
                      <a:pt x="3672" y="3654"/>
                    </a:lnTo>
                    <a:lnTo>
                      <a:pt x="3672" y="3654"/>
                    </a:lnTo>
                    <a:lnTo>
                      <a:pt x="3654" y="3626"/>
                    </a:lnTo>
                    <a:lnTo>
                      <a:pt x="3654" y="3626"/>
                    </a:lnTo>
                    <a:close/>
                    <a:moveTo>
                      <a:pt x="3590" y="1870"/>
                    </a:moveTo>
                    <a:lnTo>
                      <a:pt x="3590" y="1870"/>
                    </a:lnTo>
                    <a:lnTo>
                      <a:pt x="3570" y="1886"/>
                    </a:lnTo>
                    <a:lnTo>
                      <a:pt x="3558" y="1894"/>
                    </a:lnTo>
                    <a:lnTo>
                      <a:pt x="3546" y="1900"/>
                    </a:lnTo>
                    <a:lnTo>
                      <a:pt x="3546" y="1900"/>
                    </a:lnTo>
                    <a:lnTo>
                      <a:pt x="3536" y="1904"/>
                    </a:lnTo>
                    <a:lnTo>
                      <a:pt x="3524" y="1910"/>
                    </a:lnTo>
                    <a:lnTo>
                      <a:pt x="3508" y="1920"/>
                    </a:lnTo>
                    <a:lnTo>
                      <a:pt x="3488" y="1932"/>
                    </a:lnTo>
                    <a:lnTo>
                      <a:pt x="3488" y="1932"/>
                    </a:lnTo>
                    <a:lnTo>
                      <a:pt x="3466" y="1938"/>
                    </a:lnTo>
                    <a:lnTo>
                      <a:pt x="3448" y="1942"/>
                    </a:lnTo>
                    <a:lnTo>
                      <a:pt x="3434" y="1942"/>
                    </a:lnTo>
                    <a:lnTo>
                      <a:pt x="3426" y="1940"/>
                    </a:lnTo>
                    <a:lnTo>
                      <a:pt x="3426" y="1940"/>
                    </a:lnTo>
                    <a:lnTo>
                      <a:pt x="3424" y="1938"/>
                    </a:lnTo>
                    <a:lnTo>
                      <a:pt x="3424" y="1938"/>
                    </a:lnTo>
                    <a:lnTo>
                      <a:pt x="3430" y="1936"/>
                    </a:lnTo>
                    <a:lnTo>
                      <a:pt x="3434" y="1936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26" y="1932"/>
                    </a:lnTo>
                    <a:lnTo>
                      <a:pt x="3418" y="1930"/>
                    </a:lnTo>
                    <a:lnTo>
                      <a:pt x="3410" y="1930"/>
                    </a:lnTo>
                    <a:lnTo>
                      <a:pt x="3408" y="1928"/>
                    </a:lnTo>
                    <a:lnTo>
                      <a:pt x="3406" y="1926"/>
                    </a:lnTo>
                    <a:lnTo>
                      <a:pt x="3406" y="1926"/>
                    </a:lnTo>
                    <a:lnTo>
                      <a:pt x="3408" y="1922"/>
                    </a:lnTo>
                    <a:lnTo>
                      <a:pt x="3410" y="1916"/>
                    </a:lnTo>
                    <a:lnTo>
                      <a:pt x="3414" y="1910"/>
                    </a:lnTo>
                    <a:lnTo>
                      <a:pt x="3416" y="1900"/>
                    </a:lnTo>
                    <a:lnTo>
                      <a:pt x="3416" y="1900"/>
                    </a:lnTo>
                    <a:lnTo>
                      <a:pt x="3420" y="1892"/>
                    </a:lnTo>
                    <a:lnTo>
                      <a:pt x="3422" y="1890"/>
                    </a:lnTo>
                    <a:lnTo>
                      <a:pt x="3426" y="1886"/>
                    </a:lnTo>
                    <a:lnTo>
                      <a:pt x="3430" y="1880"/>
                    </a:lnTo>
                    <a:lnTo>
                      <a:pt x="3430" y="1880"/>
                    </a:lnTo>
                    <a:lnTo>
                      <a:pt x="3434" y="1872"/>
                    </a:lnTo>
                    <a:lnTo>
                      <a:pt x="3436" y="1870"/>
                    </a:lnTo>
                    <a:lnTo>
                      <a:pt x="3438" y="1872"/>
                    </a:lnTo>
                    <a:lnTo>
                      <a:pt x="3440" y="1880"/>
                    </a:lnTo>
                    <a:lnTo>
                      <a:pt x="3440" y="1880"/>
                    </a:lnTo>
                    <a:lnTo>
                      <a:pt x="3446" y="1882"/>
                    </a:lnTo>
                    <a:lnTo>
                      <a:pt x="3448" y="1884"/>
                    </a:lnTo>
                    <a:lnTo>
                      <a:pt x="3450" y="1886"/>
                    </a:lnTo>
                    <a:lnTo>
                      <a:pt x="3448" y="1888"/>
                    </a:lnTo>
                    <a:lnTo>
                      <a:pt x="3442" y="1892"/>
                    </a:lnTo>
                    <a:lnTo>
                      <a:pt x="3432" y="1894"/>
                    </a:lnTo>
                    <a:lnTo>
                      <a:pt x="3432" y="1894"/>
                    </a:lnTo>
                    <a:lnTo>
                      <a:pt x="3426" y="1894"/>
                    </a:lnTo>
                    <a:lnTo>
                      <a:pt x="3424" y="1896"/>
                    </a:lnTo>
                    <a:lnTo>
                      <a:pt x="3422" y="1898"/>
                    </a:lnTo>
                    <a:lnTo>
                      <a:pt x="3422" y="1902"/>
                    </a:lnTo>
                    <a:lnTo>
                      <a:pt x="3422" y="1904"/>
                    </a:lnTo>
                    <a:lnTo>
                      <a:pt x="3424" y="1906"/>
                    </a:lnTo>
                    <a:lnTo>
                      <a:pt x="3428" y="1908"/>
                    </a:lnTo>
                    <a:lnTo>
                      <a:pt x="3432" y="1908"/>
                    </a:lnTo>
                    <a:lnTo>
                      <a:pt x="3432" y="1908"/>
                    </a:lnTo>
                    <a:lnTo>
                      <a:pt x="3438" y="1908"/>
                    </a:lnTo>
                    <a:lnTo>
                      <a:pt x="3442" y="1910"/>
                    </a:lnTo>
                    <a:lnTo>
                      <a:pt x="3444" y="1912"/>
                    </a:lnTo>
                    <a:lnTo>
                      <a:pt x="3446" y="1910"/>
                    </a:lnTo>
                    <a:lnTo>
                      <a:pt x="3446" y="1910"/>
                    </a:lnTo>
                    <a:lnTo>
                      <a:pt x="3450" y="1904"/>
                    </a:lnTo>
                    <a:lnTo>
                      <a:pt x="3456" y="1900"/>
                    </a:lnTo>
                    <a:lnTo>
                      <a:pt x="3466" y="1896"/>
                    </a:lnTo>
                    <a:lnTo>
                      <a:pt x="3466" y="1896"/>
                    </a:lnTo>
                    <a:lnTo>
                      <a:pt x="3470" y="1892"/>
                    </a:lnTo>
                    <a:lnTo>
                      <a:pt x="3474" y="1888"/>
                    </a:lnTo>
                    <a:lnTo>
                      <a:pt x="3482" y="1880"/>
                    </a:lnTo>
                    <a:lnTo>
                      <a:pt x="3488" y="1876"/>
                    </a:lnTo>
                    <a:lnTo>
                      <a:pt x="3496" y="1874"/>
                    </a:lnTo>
                    <a:lnTo>
                      <a:pt x="3504" y="1874"/>
                    </a:lnTo>
                    <a:lnTo>
                      <a:pt x="3518" y="1876"/>
                    </a:lnTo>
                    <a:lnTo>
                      <a:pt x="3518" y="1876"/>
                    </a:lnTo>
                    <a:lnTo>
                      <a:pt x="3534" y="1880"/>
                    </a:lnTo>
                    <a:lnTo>
                      <a:pt x="3538" y="1880"/>
                    </a:lnTo>
                    <a:lnTo>
                      <a:pt x="3536" y="1878"/>
                    </a:lnTo>
                    <a:lnTo>
                      <a:pt x="3532" y="1876"/>
                    </a:lnTo>
                    <a:lnTo>
                      <a:pt x="3532" y="1872"/>
                    </a:lnTo>
                    <a:lnTo>
                      <a:pt x="3532" y="1870"/>
                    </a:lnTo>
                    <a:lnTo>
                      <a:pt x="3532" y="1870"/>
                    </a:lnTo>
                    <a:lnTo>
                      <a:pt x="3536" y="1866"/>
                    </a:lnTo>
                    <a:lnTo>
                      <a:pt x="3540" y="1864"/>
                    </a:lnTo>
                    <a:lnTo>
                      <a:pt x="3560" y="1862"/>
                    </a:lnTo>
                    <a:lnTo>
                      <a:pt x="3560" y="1862"/>
                    </a:lnTo>
                    <a:lnTo>
                      <a:pt x="3580" y="1860"/>
                    </a:lnTo>
                    <a:lnTo>
                      <a:pt x="3584" y="1860"/>
                    </a:lnTo>
                    <a:lnTo>
                      <a:pt x="3586" y="1858"/>
                    </a:lnTo>
                    <a:lnTo>
                      <a:pt x="3586" y="1858"/>
                    </a:lnTo>
                    <a:lnTo>
                      <a:pt x="3586" y="1854"/>
                    </a:lnTo>
                    <a:lnTo>
                      <a:pt x="3586" y="1852"/>
                    </a:lnTo>
                    <a:lnTo>
                      <a:pt x="3588" y="1850"/>
                    </a:lnTo>
                    <a:lnTo>
                      <a:pt x="3588" y="1850"/>
                    </a:lnTo>
                    <a:lnTo>
                      <a:pt x="3590" y="1850"/>
                    </a:lnTo>
                    <a:lnTo>
                      <a:pt x="3592" y="1852"/>
                    </a:lnTo>
                    <a:lnTo>
                      <a:pt x="3594" y="1858"/>
                    </a:lnTo>
                    <a:lnTo>
                      <a:pt x="3592" y="1864"/>
                    </a:lnTo>
                    <a:lnTo>
                      <a:pt x="3590" y="1870"/>
                    </a:lnTo>
                    <a:lnTo>
                      <a:pt x="3590" y="1870"/>
                    </a:lnTo>
                    <a:close/>
                    <a:moveTo>
                      <a:pt x="3578" y="1812"/>
                    </a:moveTo>
                    <a:lnTo>
                      <a:pt x="3578" y="1812"/>
                    </a:lnTo>
                    <a:lnTo>
                      <a:pt x="3586" y="1806"/>
                    </a:lnTo>
                    <a:lnTo>
                      <a:pt x="3596" y="1804"/>
                    </a:lnTo>
                    <a:lnTo>
                      <a:pt x="3624" y="1798"/>
                    </a:lnTo>
                    <a:lnTo>
                      <a:pt x="3624" y="1798"/>
                    </a:lnTo>
                    <a:lnTo>
                      <a:pt x="3636" y="1796"/>
                    </a:lnTo>
                    <a:lnTo>
                      <a:pt x="3642" y="1794"/>
                    </a:lnTo>
                    <a:lnTo>
                      <a:pt x="3656" y="1802"/>
                    </a:lnTo>
                    <a:lnTo>
                      <a:pt x="3656" y="1802"/>
                    </a:lnTo>
                    <a:lnTo>
                      <a:pt x="3662" y="1804"/>
                    </a:lnTo>
                    <a:lnTo>
                      <a:pt x="3664" y="1804"/>
                    </a:lnTo>
                    <a:lnTo>
                      <a:pt x="3668" y="1804"/>
                    </a:lnTo>
                    <a:lnTo>
                      <a:pt x="3668" y="1802"/>
                    </a:lnTo>
                    <a:lnTo>
                      <a:pt x="3672" y="1794"/>
                    </a:lnTo>
                    <a:lnTo>
                      <a:pt x="3674" y="1790"/>
                    </a:lnTo>
                    <a:lnTo>
                      <a:pt x="3678" y="1788"/>
                    </a:lnTo>
                    <a:lnTo>
                      <a:pt x="3678" y="1788"/>
                    </a:lnTo>
                    <a:lnTo>
                      <a:pt x="3686" y="1782"/>
                    </a:lnTo>
                    <a:lnTo>
                      <a:pt x="3696" y="1778"/>
                    </a:lnTo>
                    <a:lnTo>
                      <a:pt x="3706" y="1776"/>
                    </a:lnTo>
                    <a:lnTo>
                      <a:pt x="3716" y="1770"/>
                    </a:lnTo>
                    <a:lnTo>
                      <a:pt x="3716" y="1770"/>
                    </a:lnTo>
                    <a:lnTo>
                      <a:pt x="3714" y="1774"/>
                    </a:lnTo>
                    <a:lnTo>
                      <a:pt x="3712" y="1778"/>
                    </a:lnTo>
                    <a:lnTo>
                      <a:pt x="3708" y="1782"/>
                    </a:lnTo>
                    <a:lnTo>
                      <a:pt x="3702" y="1784"/>
                    </a:lnTo>
                    <a:lnTo>
                      <a:pt x="3702" y="1784"/>
                    </a:lnTo>
                    <a:lnTo>
                      <a:pt x="3698" y="1786"/>
                    </a:lnTo>
                    <a:lnTo>
                      <a:pt x="3694" y="1790"/>
                    </a:lnTo>
                    <a:lnTo>
                      <a:pt x="3696" y="1794"/>
                    </a:lnTo>
                    <a:lnTo>
                      <a:pt x="3698" y="1798"/>
                    </a:lnTo>
                    <a:lnTo>
                      <a:pt x="3698" y="1798"/>
                    </a:lnTo>
                    <a:lnTo>
                      <a:pt x="3702" y="1800"/>
                    </a:lnTo>
                    <a:lnTo>
                      <a:pt x="3702" y="1802"/>
                    </a:lnTo>
                    <a:lnTo>
                      <a:pt x="3700" y="1806"/>
                    </a:lnTo>
                    <a:lnTo>
                      <a:pt x="3700" y="1814"/>
                    </a:lnTo>
                    <a:lnTo>
                      <a:pt x="3700" y="1814"/>
                    </a:lnTo>
                    <a:lnTo>
                      <a:pt x="3700" y="1820"/>
                    </a:lnTo>
                    <a:lnTo>
                      <a:pt x="3696" y="1822"/>
                    </a:lnTo>
                    <a:lnTo>
                      <a:pt x="3690" y="1826"/>
                    </a:lnTo>
                    <a:lnTo>
                      <a:pt x="3684" y="1830"/>
                    </a:lnTo>
                    <a:lnTo>
                      <a:pt x="3684" y="1830"/>
                    </a:lnTo>
                    <a:lnTo>
                      <a:pt x="3680" y="1834"/>
                    </a:lnTo>
                    <a:lnTo>
                      <a:pt x="3676" y="1836"/>
                    </a:lnTo>
                    <a:lnTo>
                      <a:pt x="3662" y="1838"/>
                    </a:lnTo>
                    <a:lnTo>
                      <a:pt x="3648" y="1838"/>
                    </a:lnTo>
                    <a:lnTo>
                      <a:pt x="3638" y="1834"/>
                    </a:lnTo>
                    <a:lnTo>
                      <a:pt x="3638" y="1834"/>
                    </a:lnTo>
                    <a:lnTo>
                      <a:pt x="3628" y="1832"/>
                    </a:lnTo>
                    <a:lnTo>
                      <a:pt x="3616" y="1830"/>
                    </a:lnTo>
                    <a:lnTo>
                      <a:pt x="3604" y="1832"/>
                    </a:lnTo>
                    <a:lnTo>
                      <a:pt x="3594" y="1834"/>
                    </a:lnTo>
                    <a:lnTo>
                      <a:pt x="3594" y="1834"/>
                    </a:lnTo>
                    <a:lnTo>
                      <a:pt x="3588" y="1838"/>
                    </a:lnTo>
                    <a:lnTo>
                      <a:pt x="3582" y="1840"/>
                    </a:lnTo>
                    <a:lnTo>
                      <a:pt x="3574" y="1842"/>
                    </a:lnTo>
                    <a:lnTo>
                      <a:pt x="3574" y="1842"/>
                    </a:lnTo>
                    <a:lnTo>
                      <a:pt x="3568" y="1842"/>
                    </a:lnTo>
                    <a:lnTo>
                      <a:pt x="3562" y="1842"/>
                    </a:lnTo>
                    <a:lnTo>
                      <a:pt x="3560" y="1840"/>
                    </a:lnTo>
                    <a:lnTo>
                      <a:pt x="3558" y="1838"/>
                    </a:lnTo>
                    <a:lnTo>
                      <a:pt x="3558" y="1834"/>
                    </a:lnTo>
                    <a:lnTo>
                      <a:pt x="3560" y="1828"/>
                    </a:lnTo>
                    <a:lnTo>
                      <a:pt x="3560" y="1828"/>
                    </a:lnTo>
                    <a:lnTo>
                      <a:pt x="3564" y="1820"/>
                    </a:lnTo>
                    <a:lnTo>
                      <a:pt x="3570" y="1818"/>
                    </a:lnTo>
                    <a:lnTo>
                      <a:pt x="3574" y="1816"/>
                    </a:lnTo>
                    <a:lnTo>
                      <a:pt x="3578" y="1812"/>
                    </a:lnTo>
                    <a:lnTo>
                      <a:pt x="3578" y="1812"/>
                    </a:lnTo>
                    <a:close/>
                    <a:moveTo>
                      <a:pt x="3092" y="1606"/>
                    </a:moveTo>
                    <a:lnTo>
                      <a:pt x="3092" y="1606"/>
                    </a:lnTo>
                    <a:lnTo>
                      <a:pt x="3104" y="1594"/>
                    </a:lnTo>
                    <a:lnTo>
                      <a:pt x="3118" y="1586"/>
                    </a:lnTo>
                    <a:lnTo>
                      <a:pt x="3158" y="1566"/>
                    </a:lnTo>
                    <a:lnTo>
                      <a:pt x="3158" y="1566"/>
                    </a:lnTo>
                    <a:lnTo>
                      <a:pt x="3164" y="1564"/>
                    </a:lnTo>
                    <a:lnTo>
                      <a:pt x="3164" y="1564"/>
                    </a:lnTo>
                    <a:lnTo>
                      <a:pt x="3168" y="1560"/>
                    </a:lnTo>
                    <a:lnTo>
                      <a:pt x="3172" y="1556"/>
                    </a:lnTo>
                    <a:lnTo>
                      <a:pt x="3176" y="1544"/>
                    </a:lnTo>
                    <a:lnTo>
                      <a:pt x="3176" y="1544"/>
                    </a:lnTo>
                    <a:lnTo>
                      <a:pt x="3180" y="1538"/>
                    </a:lnTo>
                    <a:lnTo>
                      <a:pt x="3184" y="1534"/>
                    </a:lnTo>
                    <a:lnTo>
                      <a:pt x="3188" y="1534"/>
                    </a:lnTo>
                    <a:lnTo>
                      <a:pt x="3190" y="1536"/>
                    </a:lnTo>
                    <a:lnTo>
                      <a:pt x="3190" y="1538"/>
                    </a:lnTo>
                    <a:lnTo>
                      <a:pt x="3190" y="1542"/>
                    </a:lnTo>
                    <a:lnTo>
                      <a:pt x="3190" y="1542"/>
                    </a:lnTo>
                    <a:lnTo>
                      <a:pt x="3188" y="1548"/>
                    </a:lnTo>
                    <a:lnTo>
                      <a:pt x="3192" y="1544"/>
                    </a:lnTo>
                    <a:lnTo>
                      <a:pt x="3196" y="1536"/>
                    </a:lnTo>
                    <a:lnTo>
                      <a:pt x="3200" y="1524"/>
                    </a:lnTo>
                    <a:lnTo>
                      <a:pt x="3200" y="1524"/>
                    </a:lnTo>
                    <a:lnTo>
                      <a:pt x="3204" y="1516"/>
                    </a:lnTo>
                    <a:lnTo>
                      <a:pt x="3206" y="1516"/>
                    </a:lnTo>
                    <a:lnTo>
                      <a:pt x="3208" y="1516"/>
                    </a:lnTo>
                    <a:lnTo>
                      <a:pt x="3208" y="1522"/>
                    </a:lnTo>
                    <a:lnTo>
                      <a:pt x="3206" y="1532"/>
                    </a:lnTo>
                    <a:lnTo>
                      <a:pt x="3206" y="1532"/>
                    </a:lnTo>
                    <a:lnTo>
                      <a:pt x="3204" y="1538"/>
                    </a:lnTo>
                    <a:lnTo>
                      <a:pt x="3204" y="1540"/>
                    </a:lnTo>
                    <a:lnTo>
                      <a:pt x="3204" y="1540"/>
                    </a:lnTo>
                    <a:lnTo>
                      <a:pt x="3216" y="1532"/>
                    </a:lnTo>
                    <a:lnTo>
                      <a:pt x="3216" y="1532"/>
                    </a:lnTo>
                    <a:lnTo>
                      <a:pt x="3218" y="1530"/>
                    </a:lnTo>
                    <a:lnTo>
                      <a:pt x="3220" y="1526"/>
                    </a:lnTo>
                    <a:lnTo>
                      <a:pt x="3218" y="1520"/>
                    </a:lnTo>
                    <a:lnTo>
                      <a:pt x="3216" y="1514"/>
                    </a:lnTo>
                    <a:lnTo>
                      <a:pt x="3216" y="1512"/>
                    </a:lnTo>
                    <a:lnTo>
                      <a:pt x="3216" y="1510"/>
                    </a:lnTo>
                    <a:lnTo>
                      <a:pt x="3216" y="1510"/>
                    </a:lnTo>
                    <a:lnTo>
                      <a:pt x="3220" y="1508"/>
                    </a:lnTo>
                    <a:lnTo>
                      <a:pt x="3224" y="1510"/>
                    </a:lnTo>
                    <a:lnTo>
                      <a:pt x="3236" y="1514"/>
                    </a:lnTo>
                    <a:lnTo>
                      <a:pt x="3248" y="1520"/>
                    </a:lnTo>
                    <a:lnTo>
                      <a:pt x="3254" y="1522"/>
                    </a:lnTo>
                    <a:lnTo>
                      <a:pt x="3260" y="1522"/>
                    </a:lnTo>
                    <a:lnTo>
                      <a:pt x="3260" y="1522"/>
                    </a:lnTo>
                    <a:lnTo>
                      <a:pt x="3268" y="1522"/>
                    </a:lnTo>
                    <a:lnTo>
                      <a:pt x="3272" y="1522"/>
                    </a:lnTo>
                    <a:lnTo>
                      <a:pt x="3276" y="1522"/>
                    </a:lnTo>
                    <a:lnTo>
                      <a:pt x="3284" y="1522"/>
                    </a:lnTo>
                    <a:lnTo>
                      <a:pt x="3284" y="1522"/>
                    </a:lnTo>
                    <a:lnTo>
                      <a:pt x="3288" y="1524"/>
                    </a:lnTo>
                    <a:lnTo>
                      <a:pt x="3292" y="1528"/>
                    </a:lnTo>
                    <a:lnTo>
                      <a:pt x="3296" y="1542"/>
                    </a:lnTo>
                    <a:lnTo>
                      <a:pt x="3298" y="1550"/>
                    </a:lnTo>
                    <a:lnTo>
                      <a:pt x="3302" y="1558"/>
                    </a:lnTo>
                    <a:lnTo>
                      <a:pt x="3308" y="1566"/>
                    </a:lnTo>
                    <a:lnTo>
                      <a:pt x="3314" y="1570"/>
                    </a:lnTo>
                    <a:lnTo>
                      <a:pt x="3314" y="1570"/>
                    </a:lnTo>
                    <a:lnTo>
                      <a:pt x="3320" y="1572"/>
                    </a:lnTo>
                    <a:lnTo>
                      <a:pt x="3328" y="1572"/>
                    </a:lnTo>
                    <a:lnTo>
                      <a:pt x="3340" y="1570"/>
                    </a:lnTo>
                    <a:lnTo>
                      <a:pt x="3344" y="1570"/>
                    </a:lnTo>
                    <a:lnTo>
                      <a:pt x="3348" y="1570"/>
                    </a:lnTo>
                    <a:lnTo>
                      <a:pt x="3348" y="1574"/>
                    </a:lnTo>
                    <a:lnTo>
                      <a:pt x="3346" y="1580"/>
                    </a:lnTo>
                    <a:lnTo>
                      <a:pt x="3346" y="1580"/>
                    </a:lnTo>
                    <a:lnTo>
                      <a:pt x="3344" y="1588"/>
                    </a:lnTo>
                    <a:lnTo>
                      <a:pt x="3346" y="1594"/>
                    </a:lnTo>
                    <a:lnTo>
                      <a:pt x="3358" y="1604"/>
                    </a:lnTo>
                    <a:lnTo>
                      <a:pt x="3358" y="1604"/>
                    </a:lnTo>
                    <a:lnTo>
                      <a:pt x="3360" y="1606"/>
                    </a:lnTo>
                    <a:lnTo>
                      <a:pt x="3360" y="1610"/>
                    </a:lnTo>
                    <a:lnTo>
                      <a:pt x="3358" y="1618"/>
                    </a:lnTo>
                    <a:lnTo>
                      <a:pt x="3354" y="1624"/>
                    </a:lnTo>
                    <a:lnTo>
                      <a:pt x="3354" y="1626"/>
                    </a:lnTo>
                    <a:lnTo>
                      <a:pt x="3356" y="1630"/>
                    </a:lnTo>
                    <a:lnTo>
                      <a:pt x="3356" y="1630"/>
                    </a:lnTo>
                    <a:lnTo>
                      <a:pt x="3362" y="1630"/>
                    </a:lnTo>
                    <a:lnTo>
                      <a:pt x="3364" y="1630"/>
                    </a:lnTo>
                    <a:lnTo>
                      <a:pt x="3366" y="1630"/>
                    </a:lnTo>
                    <a:lnTo>
                      <a:pt x="3368" y="1632"/>
                    </a:lnTo>
                    <a:lnTo>
                      <a:pt x="3368" y="1632"/>
                    </a:lnTo>
                    <a:lnTo>
                      <a:pt x="3370" y="1634"/>
                    </a:lnTo>
                    <a:lnTo>
                      <a:pt x="3368" y="1636"/>
                    </a:lnTo>
                    <a:lnTo>
                      <a:pt x="3364" y="1640"/>
                    </a:lnTo>
                    <a:lnTo>
                      <a:pt x="3362" y="1642"/>
                    </a:lnTo>
                    <a:lnTo>
                      <a:pt x="3362" y="1648"/>
                    </a:lnTo>
                    <a:lnTo>
                      <a:pt x="3362" y="1648"/>
                    </a:lnTo>
                    <a:lnTo>
                      <a:pt x="3362" y="1652"/>
                    </a:lnTo>
                    <a:lnTo>
                      <a:pt x="3364" y="1654"/>
                    </a:lnTo>
                    <a:lnTo>
                      <a:pt x="3372" y="1652"/>
                    </a:lnTo>
                    <a:lnTo>
                      <a:pt x="3380" y="1652"/>
                    </a:lnTo>
                    <a:lnTo>
                      <a:pt x="3382" y="1652"/>
                    </a:lnTo>
                    <a:lnTo>
                      <a:pt x="3382" y="1656"/>
                    </a:lnTo>
                    <a:lnTo>
                      <a:pt x="3382" y="1656"/>
                    </a:lnTo>
                    <a:lnTo>
                      <a:pt x="3382" y="1662"/>
                    </a:lnTo>
                    <a:lnTo>
                      <a:pt x="3386" y="1664"/>
                    </a:lnTo>
                    <a:lnTo>
                      <a:pt x="3392" y="1666"/>
                    </a:lnTo>
                    <a:lnTo>
                      <a:pt x="3402" y="1668"/>
                    </a:lnTo>
                    <a:lnTo>
                      <a:pt x="3402" y="1668"/>
                    </a:lnTo>
                    <a:lnTo>
                      <a:pt x="3416" y="1672"/>
                    </a:lnTo>
                    <a:lnTo>
                      <a:pt x="3430" y="1674"/>
                    </a:lnTo>
                    <a:lnTo>
                      <a:pt x="3446" y="1674"/>
                    </a:lnTo>
                    <a:lnTo>
                      <a:pt x="3460" y="1676"/>
                    </a:lnTo>
                    <a:lnTo>
                      <a:pt x="3460" y="1676"/>
                    </a:lnTo>
                    <a:lnTo>
                      <a:pt x="3470" y="1676"/>
                    </a:lnTo>
                    <a:lnTo>
                      <a:pt x="3478" y="1676"/>
                    </a:lnTo>
                    <a:lnTo>
                      <a:pt x="3484" y="1678"/>
                    </a:lnTo>
                    <a:lnTo>
                      <a:pt x="3484" y="1678"/>
                    </a:lnTo>
                    <a:lnTo>
                      <a:pt x="3484" y="1680"/>
                    </a:lnTo>
                    <a:lnTo>
                      <a:pt x="3484" y="1680"/>
                    </a:lnTo>
                    <a:lnTo>
                      <a:pt x="3484" y="1682"/>
                    </a:lnTo>
                    <a:lnTo>
                      <a:pt x="3484" y="1684"/>
                    </a:lnTo>
                    <a:lnTo>
                      <a:pt x="3490" y="1686"/>
                    </a:lnTo>
                    <a:lnTo>
                      <a:pt x="3508" y="1686"/>
                    </a:lnTo>
                    <a:lnTo>
                      <a:pt x="3508" y="1686"/>
                    </a:lnTo>
                    <a:lnTo>
                      <a:pt x="3514" y="1688"/>
                    </a:lnTo>
                    <a:lnTo>
                      <a:pt x="3518" y="1692"/>
                    </a:lnTo>
                    <a:lnTo>
                      <a:pt x="3526" y="1704"/>
                    </a:lnTo>
                    <a:lnTo>
                      <a:pt x="3532" y="1716"/>
                    </a:lnTo>
                    <a:lnTo>
                      <a:pt x="3534" y="1718"/>
                    </a:lnTo>
                    <a:lnTo>
                      <a:pt x="3536" y="1718"/>
                    </a:lnTo>
                    <a:lnTo>
                      <a:pt x="3536" y="1718"/>
                    </a:lnTo>
                    <a:lnTo>
                      <a:pt x="3540" y="1716"/>
                    </a:lnTo>
                    <a:lnTo>
                      <a:pt x="3542" y="1716"/>
                    </a:lnTo>
                    <a:lnTo>
                      <a:pt x="3544" y="1720"/>
                    </a:lnTo>
                    <a:lnTo>
                      <a:pt x="3544" y="1726"/>
                    </a:lnTo>
                    <a:lnTo>
                      <a:pt x="3544" y="1726"/>
                    </a:lnTo>
                    <a:lnTo>
                      <a:pt x="3544" y="1730"/>
                    </a:lnTo>
                    <a:lnTo>
                      <a:pt x="3546" y="1734"/>
                    </a:lnTo>
                    <a:lnTo>
                      <a:pt x="3552" y="1742"/>
                    </a:lnTo>
                    <a:lnTo>
                      <a:pt x="3556" y="1748"/>
                    </a:lnTo>
                    <a:lnTo>
                      <a:pt x="3560" y="1756"/>
                    </a:lnTo>
                    <a:lnTo>
                      <a:pt x="3560" y="1756"/>
                    </a:lnTo>
                    <a:lnTo>
                      <a:pt x="3558" y="1758"/>
                    </a:lnTo>
                    <a:lnTo>
                      <a:pt x="3558" y="1758"/>
                    </a:lnTo>
                    <a:lnTo>
                      <a:pt x="3554" y="1754"/>
                    </a:lnTo>
                    <a:lnTo>
                      <a:pt x="3548" y="1750"/>
                    </a:lnTo>
                    <a:lnTo>
                      <a:pt x="3546" y="1750"/>
                    </a:lnTo>
                    <a:lnTo>
                      <a:pt x="3544" y="1750"/>
                    </a:lnTo>
                    <a:lnTo>
                      <a:pt x="3544" y="1750"/>
                    </a:lnTo>
                    <a:lnTo>
                      <a:pt x="3542" y="1752"/>
                    </a:lnTo>
                    <a:lnTo>
                      <a:pt x="3542" y="1754"/>
                    </a:lnTo>
                    <a:lnTo>
                      <a:pt x="3546" y="1760"/>
                    </a:lnTo>
                    <a:lnTo>
                      <a:pt x="3548" y="1766"/>
                    </a:lnTo>
                    <a:lnTo>
                      <a:pt x="3546" y="1768"/>
                    </a:lnTo>
                    <a:lnTo>
                      <a:pt x="3544" y="1770"/>
                    </a:lnTo>
                    <a:lnTo>
                      <a:pt x="3544" y="1770"/>
                    </a:lnTo>
                    <a:lnTo>
                      <a:pt x="3542" y="1772"/>
                    </a:lnTo>
                    <a:lnTo>
                      <a:pt x="3538" y="1770"/>
                    </a:lnTo>
                    <a:lnTo>
                      <a:pt x="3530" y="1764"/>
                    </a:lnTo>
                    <a:lnTo>
                      <a:pt x="3520" y="1760"/>
                    </a:lnTo>
                    <a:lnTo>
                      <a:pt x="3516" y="1758"/>
                    </a:lnTo>
                    <a:lnTo>
                      <a:pt x="3512" y="1760"/>
                    </a:lnTo>
                    <a:lnTo>
                      <a:pt x="3512" y="1760"/>
                    </a:lnTo>
                    <a:lnTo>
                      <a:pt x="3508" y="1762"/>
                    </a:lnTo>
                    <a:lnTo>
                      <a:pt x="3508" y="1758"/>
                    </a:lnTo>
                    <a:lnTo>
                      <a:pt x="3508" y="1754"/>
                    </a:lnTo>
                    <a:lnTo>
                      <a:pt x="3508" y="1754"/>
                    </a:lnTo>
                    <a:lnTo>
                      <a:pt x="3504" y="1754"/>
                    </a:lnTo>
                    <a:lnTo>
                      <a:pt x="3504" y="1754"/>
                    </a:lnTo>
                    <a:lnTo>
                      <a:pt x="3502" y="1754"/>
                    </a:lnTo>
                    <a:lnTo>
                      <a:pt x="3502" y="1754"/>
                    </a:lnTo>
                    <a:lnTo>
                      <a:pt x="3504" y="1750"/>
                    </a:lnTo>
                    <a:lnTo>
                      <a:pt x="3506" y="1746"/>
                    </a:lnTo>
                    <a:lnTo>
                      <a:pt x="3504" y="1744"/>
                    </a:lnTo>
                    <a:lnTo>
                      <a:pt x="3502" y="1742"/>
                    </a:lnTo>
                    <a:lnTo>
                      <a:pt x="3502" y="1742"/>
                    </a:lnTo>
                    <a:lnTo>
                      <a:pt x="3498" y="1742"/>
                    </a:lnTo>
                    <a:lnTo>
                      <a:pt x="3496" y="1740"/>
                    </a:lnTo>
                    <a:lnTo>
                      <a:pt x="3494" y="1734"/>
                    </a:lnTo>
                    <a:lnTo>
                      <a:pt x="3494" y="1728"/>
                    </a:lnTo>
                    <a:lnTo>
                      <a:pt x="3492" y="1728"/>
                    </a:lnTo>
                    <a:lnTo>
                      <a:pt x="3490" y="1726"/>
                    </a:lnTo>
                    <a:lnTo>
                      <a:pt x="3490" y="1726"/>
                    </a:lnTo>
                    <a:lnTo>
                      <a:pt x="3486" y="1726"/>
                    </a:lnTo>
                    <a:lnTo>
                      <a:pt x="3482" y="1726"/>
                    </a:lnTo>
                    <a:lnTo>
                      <a:pt x="3480" y="1724"/>
                    </a:lnTo>
                    <a:lnTo>
                      <a:pt x="3478" y="1726"/>
                    </a:lnTo>
                    <a:lnTo>
                      <a:pt x="3478" y="1726"/>
                    </a:lnTo>
                    <a:lnTo>
                      <a:pt x="3480" y="1730"/>
                    </a:lnTo>
                    <a:lnTo>
                      <a:pt x="3484" y="1736"/>
                    </a:lnTo>
                    <a:lnTo>
                      <a:pt x="3490" y="1744"/>
                    </a:lnTo>
                    <a:lnTo>
                      <a:pt x="3496" y="1756"/>
                    </a:lnTo>
                    <a:lnTo>
                      <a:pt x="3496" y="1756"/>
                    </a:lnTo>
                    <a:lnTo>
                      <a:pt x="3496" y="1762"/>
                    </a:lnTo>
                    <a:lnTo>
                      <a:pt x="3494" y="1766"/>
                    </a:lnTo>
                    <a:lnTo>
                      <a:pt x="3486" y="1776"/>
                    </a:lnTo>
                    <a:lnTo>
                      <a:pt x="3482" y="1782"/>
                    </a:lnTo>
                    <a:lnTo>
                      <a:pt x="3480" y="1788"/>
                    </a:lnTo>
                    <a:lnTo>
                      <a:pt x="3476" y="1796"/>
                    </a:lnTo>
                    <a:lnTo>
                      <a:pt x="3476" y="1806"/>
                    </a:lnTo>
                    <a:lnTo>
                      <a:pt x="3476" y="1806"/>
                    </a:lnTo>
                    <a:lnTo>
                      <a:pt x="3476" y="1826"/>
                    </a:lnTo>
                    <a:lnTo>
                      <a:pt x="3476" y="1832"/>
                    </a:lnTo>
                    <a:lnTo>
                      <a:pt x="3472" y="1838"/>
                    </a:lnTo>
                    <a:lnTo>
                      <a:pt x="3468" y="1842"/>
                    </a:lnTo>
                    <a:lnTo>
                      <a:pt x="3464" y="1844"/>
                    </a:lnTo>
                    <a:lnTo>
                      <a:pt x="3448" y="1852"/>
                    </a:lnTo>
                    <a:lnTo>
                      <a:pt x="3448" y="1852"/>
                    </a:lnTo>
                    <a:lnTo>
                      <a:pt x="3446" y="1846"/>
                    </a:lnTo>
                    <a:lnTo>
                      <a:pt x="3444" y="1838"/>
                    </a:lnTo>
                    <a:lnTo>
                      <a:pt x="3440" y="1818"/>
                    </a:lnTo>
                    <a:lnTo>
                      <a:pt x="3438" y="1808"/>
                    </a:lnTo>
                    <a:lnTo>
                      <a:pt x="3434" y="1802"/>
                    </a:lnTo>
                    <a:lnTo>
                      <a:pt x="3428" y="1796"/>
                    </a:lnTo>
                    <a:lnTo>
                      <a:pt x="3424" y="1796"/>
                    </a:lnTo>
                    <a:lnTo>
                      <a:pt x="3424" y="1796"/>
                    </a:lnTo>
                    <a:lnTo>
                      <a:pt x="3418" y="1798"/>
                    </a:lnTo>
                    <a:lnTo>
                      <a:pt x="3414" y="1800"/>
                    </a:lnTo>
                    <a:lnTo>
                      <a:pt x="3408" y="1808"/>
                    </a:lnTo>
                    <a:lnTo>
                      <a:pt x="3404" y="1816"/>
                    </a:lnTo>
                    <a:lnTo>
                      <a:pt x="3400" y="1818"/>
                    </a:lnTo>
                    <a:lnTo>
                      <a:pt x="3398" y="1820"/>
                    </a:lnTo>
                    <a:lnTo>
                      <a:pt x="3398" y="1820"/>
                    </a:lnTo>
                    <a:lnTo>
                      <a:pt x="3394" y="1818"/>
                    </a:lnTo>
                    <a:lnTo>
                      <a:pt x="3392" y="1816"/>
                    </a:lnTo>
                    <a:lnTo>
                      <a:pt x="3388" y="1810"/>
                    </a:lnTo>
                    <a:lnTo>
                      <a:pt x="3390" y="1802"/>
                    </a:lnTo>
                    <a:lnTo>
                      <a:pt x="3392" y="1798"/>
                    </a:lnTo>
                    <a:lnTo>
                      <a:pt x="3394" y="1796"/>
                    </a:lnTo>
                    <a:lnTo>
                      <a:pt x="3394" y="1796"/>
                    </a:lnTo>
                    <a:lnTo>
                      <a:pt x="3400" y="1790"/>
                    </a:lnTo>
                    <a:lnTo>
                      <a:pt x="3406" y="1784"/>
                    </a:lnTo>
                    <a:lnTo>
                      <a:pt x="3410" y="1776"/>
                    </a:lnTo>
                    <a:lnTo>
                      <a:pt x="3412" y="1764"/>
                    </a:lnTo>
                    <a:lnTo>
                      <a:pt x="3412" y="1764"/>
                    </a:lnTo>
                    <a:lnTo>
                      <a:pt x="3412" y="1758"/>
                    </a:lnTo>
                    <a:lnTo>
                      <a:pt x="3412" y="1754"/>
                    </a:lnTo>
                    <a:lnTo>
                      <a:pt x="3410" y="1746"/>
                    </a:lnTo>
                    <a:lnTo>
                      <a:pt x="3408" y="1740"/>
                    </a:lnTo>
                    <a:lnTo>
                      <a:pt x="3408" y="1738"/>
                    </a:lnTo>
                    <a:lnTo>
                      <a:pt x="3410" y="1738"/>
                    </a:lnTo>
                    <a:lnTo>
                      <a:pt x="3410" y="1738"/>
                    </a:lnTo>
                    <a:lnTo>
                      <a:pt x="3414" y="1736"/>
                    </a:lnTo>
                    <a:lnTo>
                      <a:pt x="3414" y="1734"/>
                    </a:lnTo>
                    <a:lnTo>
                      <a:pt x="3410" y="1728"/>
                    </a:lnTo>
                    <a:lnTo>
                      <a:pt x="3402" y="1722"/>
                    </a:lnTo>
                    <a:lnTo>
                      <a:pt x="3392" y="1716"/>
                    </a:lnTo>
                    <a:lnTo>
                      <a:pt x="3392" y="1716"/>
                    </a:lnTo>
                    <a:lnTo>
                      <a:pt x="3382" y="1712"/>
                    </a:lnTo>
                    <a:lnTo>
                      <a:pt x="3380" y="1708"/>
                    </a:lnTo>
                    <a:lnTo>
                      <a:pt x="3378" y="1706"/>
                    </a:lnTo>
                    <a:lnTo>
                      <a:pt x="3372" y="1704"/>
                    </a:lnTo>
                    <a:lnTo>
                      <a:pt x="3372" y="1704"/>
                    </a:lnTo>
                    <a:lnTo>
                      <a:pt x="3366" y="1702"/>
                    </a:lnTo>
                    <a:lnTo>
                      <a:pt x="3362" y="1698"/>
                    </a:lnTo>
                    <a:lnTo>
                      <a:pt x="3358" y="1696"/>
                    </a:lnTo>
                    <a:lnTo>
                      <a:pt x="3356" y="1696"/>
                    </a:lnTo>
                    <a:lnTo>
                      <a:pt x="3352" y="1698"/>
                    </a:lnTo>
                    <a:lnTo>
                      <a:pt x="3346" y="1702"/>
                    </a:lnTo>
                    <a:lnTo>
                      <a:pt x="3346" y="1702"/>
                    </a:lnTo>
                    <a:lnTo>
                      <a:pt x="3342" y="1706"/>
                    </a:lnTo>
                    <a:lnTo>
                      <a:pt x="3340" y="1710"/>
                    </a:lnTo>
                    <a:lnTo>
                      <a:pt x="3342" y="1712"/>
                    </a:lnTo>
                    <a:lnTo>
                      <a:pt x="3344" y="1714"/>
                    </a:lnTo>
                    <a:lnTo>
                      <a:pt x="3346" y="1718"/>
                    </a:lnTo>
                    <a:lnTo>
                      <a:pt x="3340" y="1720"/>
                    </a:lnTo>
                    <a:lnTo>
                      <a:pt x="3340" y="1720"/>
                    </a:lnTo>
                    <a:lnTo>
                      <a:pt x="3334" y="1722"/>
                    </a:lnTo>
                    <a:lnTo>
                      <a:pt x="3330" y="1726"/>
                    </a:lnTo>
                    <a:lnTo>
                      <a:pt x="3328" y="1732"/>
                    </a:lnTo>
                    <a:lnTo>
                      <a:pt x="3328" y="1738"/>
                    </a:lnTo>
                    <a:lnTo>
                      <a:pt x="3326" y="1748"/>
                    </a:lnTo>
                    <a:lnTo>
                      <a:pt x="3324" y="1752"/>
                    </a:lnTo>
                    <a:lnTo>
                      <a:pt x="3322" y="1752"/>
                    </a:lnTo>
                    <a:lnTo>
                      <a:pt x="3322" y="1752"/>
                    </a:lnTo>
                    <a:lnTo>
                      <a:pt x="3320" y="1752"/>
                    </a:lnTo>
                    <a:lnTo>
                      <a:pt x="3318" y="1748"/>
                    </a:lnTo>
                    <a:lnTo>
                      <a:pt x="3318" y="1738"/>
                    </a:lnTo>
                    <a:lnTo>
                      <a:pt x="3318" y="1734"/>
                    </a:lnTo>
                    <a:lnTo>
                      <a:pt x="3316" y="1734"/>
                    </a:lnTo>
                    <a:lnTo>
                      <a:pt x="3314" y="1736"/>
                    </a:lnTo>
                    <a:lnTo>
                      <a:pt x="3308" y="1744"/>
                    </a:lnTo>
                    <a:lnTo>
                      <a:pt x="3308" y="1744"/>
                    </a:lnTo>
                    <a:lnTo>
                      <a:pt x="3300" y="1752"/>
                    </a:lnTo>
                    <a:lnTo>
                      <a:pt x="3296" y="1754"/>
                    </a:lnTo>
                    <a:lnTo>
                      <a:pt x="3294" y="1756"/>
                    </a:lnTo>
                    <a:lnTo>
                      <a:pt x="3294" y="1766"/>
                    </a:lnTo>
                    <a:lnTo>
                      <a:pt x="3294" y="1766"/>
                    </a:lnTo>
                    <a:lnTo>
                      <a:pt x="3296" y="1772"/>
                    </a:lnTo>
                    <a:lnTo>
                      <a:pt x="3294" y="1778"/>
                    </a:lnTo>
                    <a:lnTo>
                      <a:pt x="3290" y="1786"/>
                    </a:lnTo>
                    <a:lnTo>
                      <a:pt x="3286" y="1792"/>
                    </a:lnTo>
                    <a:lnTo>
                      <a:pt x="3286" y="1796"/>
                    </a:lnTo>
                    <a:lnTo>
                      <a:pt x="3286" y="1800"/>
                    </a:lnTo>
                    <a:lnTo>
                      <a:pt x="3286" y="1800"/>
                    </a:lnTo>
                    <a:lnTo>
                      <a:pt x="3288" y="1808"/>
                    </a:lnTo>
                    <a:lnTo>
                      <a:pt x="3286" y="1812"/>
                    </a:lnTo>
                    <a:lnTo>
                      <a:pt x="3284" y="1818"/>
                    </a:lnTo>
                    <a:lnTo>
                      <a:pt x="3286" y="1828"/>
                    </a:lnTo>
                    <a:lnTo>
                      <a:pt x="3286" y="1828"/>
                    </a:lnTo>
                    <a:lnTo>
                      <a:pt x="3292" y="1840"/>
                    </a:lnTo>
                    <a:lnTo>
                      <a:pt x="3294" y="1852"/>
                    </a:lnTo>
                    <a:lnTo>
                      <a:pt x="3296" y="1862"/>
                    </a:lnTo>
                    <a:lnTo>
                      <a:pt x="3294" y="1872"/>
                    </a:lnTo>
                    <a:lnTo>
                      <a:pt x="3294" y="1880"/>
                    </a:lnTo>
                    <a:lnTo>
                      <a:pt x="3290" y="1890"/>
                    </a:lnTo>
                    <a:lnTo>
                      <a:pt x="3282" y="1908"/>
                    </a:lnTo>
                    <a:lnTo>
                      <a:pt x="3282" y="1908"/>
                    </a:lnTo>
                    <a:lnTo>
                      <a:pt x="3276" y="1916"/>
                    </a:lnTo>
                    <a:lnTo>
                      <a:pt x="3270" y="1922"/>
                    </a:lnTo>
                    <a:lnTo>
                      <a:pt x="3264" y="1928"/>
                    </a:lnTo>
                    <a:lnTo>
                      <a:pt x="3258" y="1930"/>
                    </a:lnTo>
                    <a:lnTo>
                      <a:pt x="3252" y="1930"/>
                    </a:lnTo>
                    <a:lnTo>
                      <a:pt x="3246" y="1926"/>
                    </a:lnTo>
                    <a:lnTo>
                      <a:pt x="3242" y="1922"/>
                    </a:lnTo>
                    <a:lnTo>
                      <a:pt x="3236" y="1914"/>
                    </a:lnTo>
                    <a:lnTo>
                      <a:pt x="3236" y="1914"/>
                    </a:lnTo>
                    <a:lnTo>
                      <a:pt x="3232" y="1904"/>
                    </a:lnTo>
                    <a:lnTo>
                      <a:pt x="3230" y="1898"/>
                    </a:lnTo>
                    <a:lnTo>
                      <a:pt x="3230" y="1884"/>
                    </a:lnTo>
                    <a:lnTo>
                      <a:pt x="3230" y="1872"/>
                    </a:lnTo>
                    <a:lnTo>
                      <a:pt x="3230" y="1864"/>
                    </a:lnTo>
                    <a:lnTo>
                      <a:pt x="3230" y="1856"/>
                    </a:lnTo>
                    <a:lnTo>
                      <a:pt x="3230" y="1856"/>
                    </a:lnTo>
                    <a:lnTo>
                      <a:pt x="3228" y="1842"/>
                    </a:lnTo>
                    <a:lnTo>
                      <a:pt x="3228" y="1834"/>
                    </a:lnTo>
                    <a:lnTo>
                      <a:pt x="3232" y="1824"/>
                    </a:lnTo>
                    <a:lnTo>
                      <a:pt x="3234" y="1810"/>
                    </a:lnTo>
                    <a:lnTo>
                      <a:pt x="3234" y="1810"/>
                    </a:lnTo>
                    <a:lnTo>
                      <a:pt x="3234" y="1802"/>
                    </a:lnTo>
                    <a:lnTo>
                      <a:pt x="3236" y="1796"/>
                    </a:lnTo>
                    <a:lnTo>
                      <a:pt x="3238" y="1792"/>
                    </a:lnTo>
                    <a:lnTo>
                      <a:pt x="3240" y="1792"/>
                    </a:lnTo>
                    <a:lnTo>
                      <a:pt x="3242" y="1790"/>
                    </a:lnTo>
                    <a:lnTo>
                      <a:pt x="3242" y="1784"/>
                    </a:lnTo>
                    <a:lnTo>
                      <a:pt x="3242" y="1784"/>
                    </a:lnTo>
                    <a:lnTo>
                      <a:pt x="3240" y="1780"/>
                    </a:lnTo>
                    <a:lnTo>
                      <a:pt x="3242" y="1776"/>
                    </a:lnTo>
                    <a:lnTo>
                      <a:pt x="3246" y="1764"/>
                    </a:lnTo>
                    <a:lnTo>
                      <a:pt x="3248" y="1754"/>
                    </a:lnTo>
                    <a:lnTo>
                      <a:pt x="3248" y="1752"/>
                    </a:lnTo>
                    <a:lnTo>
                      <a:pt x="3246" y="1748"/>
                    </a:lnTo>
                    <a:lnTo>
                      <a:pt x="3246" y="1748"/>
                    </a:lnTo>
                    <a:lnTo>
                      <a:pt x="3240" y="1748"/>
                    </a:lnTo>
                    <a:lnTo>
                      <a:pt x="3238" y="1752"/>
                    </a:lnTo>
                    <a:lnTo>
                      <a:pt x="3234" y="1758"/>
                    </a:lnTo>
                    <a:lnTo>
                      <a:pt x="3228" y="1764"/>
                    </a:lnTo>
                    <a:lnTo>
                      <a:pt x="3228" y="1764"/>
                    </a:lnTo>
                    <a:lnTo>
                      <a:pt x="3226" y="1766"/>
                    </a:lnTo>
                    <a:lnTo>
                      <a:pt x="3224" y="1766"/>
                    </a:lnTo>
                    <a:lnTo>
                      <a:pt x="3224" y="1758"/>
                    </a:lnTo>
                    <a:lnTo>
                      <a:pt x="3226" y="1750"/>
                    </a:lnTo>
                    <a:lnTo>
                      <a:pt x="3230" y="1746"/>
                    </a:lnTo>
                    <a:lnTo>
                      <a:pt x="3232" y="1742"/>
                    </a:lnTo>
                    <a:lnTo>
                      <a:pt x="3232" y="1742"/>
                    </a:lnTo>
                    <a:lnTo>
                      <a:pt x="3236" y="1740"/>
                    </a:lnTo>
                    <a:lnTo>
                      <a:pt x="3238" y="1736"/>
                    </a:lnTo>
                    <a:lnTo>
                      <a:pt x="3240" y="1732"/>
                    </a:lnTo>
                    <a:lnTo>
                      <a:pt x="3244" y="1726"/>
                    </a:lnTo>
                    <a:lnTo>
                      <a:pt x="3244" y="1726"/>
                    </a:lnTo>
                    <a:lnTo>
                      <a:pt x="3252" y="1714"/>
                    </a:lnTo>
                    <a:lnTo>
                      <a:pt x="3258" y="1700"/>
                    </a:lnTo>
                    <a:lnTo>
                      <a:pt x="3264" y="1692"/>
                    </a:lnTo>
                    <a:lnTo>
                      <a:pt x="3266" y="1690"/>
                    </a:lnTo>
                    <a:lnTo>
                      <a:pt x="3266" y="1692"/>
                    </a:lnTo>
                    <a:lnTo>
                      <a:pt x="3266" y="1692"/>
                    </a:lnTo>
                    <a:lnTo>
                      <a:pt x="3268" y="1696"/>
                    </a:lnTo>
                    <a:lnTo>
                      <a:pt x="3270" y="1696"/>
                    </a:lnTo>
                    <a:lnTo>
                      <a:pt x="3274" y="1694"/>
                    </a:lnTo>
                    <a:lnTo>
                      <a:pt x="3278" y="1692"/>
                    </a:lnTo>
                    <a:lnTo>
                      <a:pt x="3280" y="1692"/>
                    </a:lnTo>
                    <a:lnTo>
                      <a:pt x="3278" y="1698"/>
                    </a:lnTo>
                    <a:lnTo>
                      <a:pt x="3278" y="1698"/>
                    </a:lnTo>
                    <a:lnTo>
                      <a:pt x="3278" y="1702"/>
                    </a:lnTo>
                    <a:lnTo>
                      <a:pt x="3278" y="1702"/>
                    </a:lnTo>
                    <a:lnTo>
                      <a:pt x="3284" y="1696"/>
                    </a:lnTo>
                    <a:lnTo>
                      <a:pt x="3292" y="1688"/>
                    </a:lnTo>
                    <a:lnTo>
                      <a:pt x="3296" y="1686"/>
                    </a:lnTo>
                    <a:lnTo>
                      <a:pt x="3300" y="1684"/>
                    </a:lnTo>
                    <a:lnTo>
                      <a:pt x="3300" y="1684"/>
                    </a:lnTo>
                    <a:lnTo>
                      <a:pt x="3310" y="1684"/>
                    </a:lnTo>
                    <a:lnTo>
                      <a:pt x="3314" y="1684"/>
                    </a:lnTo>
                    <a:lnTo>
                      <a:pt x="3320" y="1678"/>
                    </a:lnTo>
                    <a:lnTo>
                      <a:pt x="3324" y="1676"/>
                    </a:lnTo>
                    <a:lnTo>
                      <a:pt x="3328" y="1678"/>
                    </a:lnTo>
                    <a:lnTo>
                      <a:pt x="3336" y="1680"/>
                    </a:lnTo>
                    <a:lnTo>
                      <a:pt x="3346" y="1686"/>
                    </a:lnTo>
                    <a:lnTo>
                      <a:pt x="3346" y="1686"/>
                    </a:lnTo>
                    <a:lnTo>
                      <a:pt x="3352" y="1690"/>
                    </a:lnTo>
                    <a:lnTo>
                      <a:pt x="3354" y="1690"/>
                    </a:lnTo>
                    <a:lnTo>
                      <a:pt x="3356" y="1688"/>
                    </a:lnTo>
                    <a:lnTo>
                      <a:pt x="3358" y="1686"/>
                    </a:lnTo>
                    <a:lnTo>
                      <a:pt x="3358" y="1682"/>
                    </a:lnTo>
                    <a:lnTo>
                      <a:pt x="3360" y="1680"/>
                    </a:lnTo>
                    <a:lnTo>
                      <a:pt x="3362" y="1680"/>
                    </a:lnTo>
                    <a:lnTo>
                      <a:pt x="3362" y="1680"/>
                    </a:lnTo>
                    <a:lnTo>
                      <a:pt x="3370" y="1684"/>
                    </a:lnTo>
                    <a:lnTo>
                      <a:pt x="3380" y="1686"/>
                    </a:lnTo>
                    <a:lnTo>
                      <a:pt x="3386" y="1684"/>
                    </a:lnTo>
                    <a:lnTo>
                      <a:pt x="3388" y="1682"/>
                    </a:lnTo>
                    <a:lnTo>
                      <a:pt x="3388" y="1678"/>
                    </a:lnTo>
                    <a:lnTo>
                      <a:pt x="3388" y="1678"/>
                    </a:lnTo>
                    <a:lnTo>
                      <a:pt x="3384" y="1674"/>
                    </a:lnTo>
                    <a:lnTo>
                      <a:pt x="3380" y="1672"/>
                    </a:lnTo>
                    <a:lnTo>
                      <a:pt x="3376" y="1670"/>
                    </a:lnTo>
                    <a:lnTo>
                      <a:pt x="3374" y="1662"/>
                    </a:lnTo>
                    <a:lnTo>
                      <a:pt x="3374" y="1662"/>
                    </a:lnTo>
                    <a:lnTo>
                      <a:pt x="3374" y="1658"/>
                    </a:lnTo>
                    <a:lnTo>
                      <a:pt x="3372" y="1658"/>
                    </a:lnTo>
                    <a:lnTo>
                      <a:pt x="3368" y="1658"/>
                    </a:lnTo>
                    <a:lnTo>
                      <a:pt x="3360" y="1658"/>
                    </a:lnTo>
                    <a:lnTo>
                      <a:pt x="3348" y="1654"/>
                    </a:lnTo>
                    <a:lnTo>
                      <a:pt x="3348" y="1654"/>
                    </a:lnTo>
                    <a:lnTo>
                      <a:pt x="3346" y="1652"/>
                    </a:lnTo>
                    <a:lnTo>
                      <a:pt x="3344" y="1650"/>
                    </a:lnTo>
                    <a:lnTo>
                      <a:pt x="3344" y="1644"/>
                    </a:lnTo>
                    <a:lnTo>
                      <a:pt x="3346" y="1638"/>
                    </a:lnTo>
                    <a:lnTo>
                      <a:pt x="3344" y="1638"/>
                    </a:lnTo>
                    <a:lnTo>
                      <a:pt x="3340" y="1640"/>
                    </a:lnTo>
                    <a:lnTo>
                      <a:pt x="3340" y="1640"/>
                    </a:lnTo>
                    <a:lnTo>
                      <a:pt x="3330" y="1642"/>
                    </a:lnTo>
                    <a:lnTo>
                      <a:pt x="3314" y="1644"/>
                    </a:lnTo>
                    <a:lnTo>
                      <a:pt x="3300" y="1646"/>
                    </a:lnTo>
                    <a:lnTo>
                      <a:pt x="3294" y="1648"/>
                    </a:lnTo>
                    <a:lnTo>
                      <a:pt x="3288" y="1652"/>
                    </a:lnTo>
                    <a:lnTo>
                      <a:pt x="3288" y="1652"/>
                    </a:lnTo>
                    <a:lnTo>
                      <a:pt x="3280" y="1656"/>
                    </a:lnTo>
                    <a:lnTo>
                      <a:pt x="3274" y="1656"/>
                    </a:lnTo>
                    <a:lnTo>
                      <a:pt x="3268" y="1656"/>
                    </a:lnTo>
                    <a:lnTo>
                      <a:pt x="3258" y="1654"/>
                    </a:lnTo>
                    <a:lnTo>
                      <a:pt x="3258" y="1654"/>
                    </a:lnTo>
                    <a:lnTo>
                      <a:pt x="3252" y="1654"/>
                    </a:lnTo>
                    <a:lnTo>
                      <a:pt x="3250" y="1652"/>
                    </a:lnTo>
                    <a:lnTo>
                      <a:pt x="3244" y="1646"/>
                    </a:lnTo>
                    <a:lnTo>
                      <a:pt x="3238" y="1636"/>
                    </a:lnTo>
                    <a:lnTo>
                      <a:pt x="3234" y="1632"/>
                    </a:lnTo>
                    <a:lnTo>
                      <a:pt x="3228" y="1630"/>
                    </a:lnTo>
                    <a:lnTo>
                      <a:pt x="3228" y="1630"/>
                    </a:lnTo>
                    <a:lnTo>
                      <a:pt x="3222" y="1628"/>
                    </a:lnTo>
                    <a:lnTo>
                      <a:pt x="3218" y="1628"/>
                    </a:lnTo>
                    <a:lnTo>
                      <a:pt x="3210" y="1632"/>
                    </a:lnTo>
                    <a:lnTo>
                      <a:pt x="3208" y="1634"/>
                    </a:lnTo>
                    <a:lnTo>
                      <a:pt x="3206" y="1634"/>
                    </a:lnTo>
                    <a:lnTo>
                      <a:pt x="3206" y="1632"/>
                    </a:lnTo>
                    <a:lnTo>
                      <a:pt x="3204" y="1628"/>
                    </a:lnTo>
                    <a:lnTo>
                      <a:pt x="3204" y="1628"/>
                    </a:lnTo>
                    <a:lnTo>
                      <a:pt x="3202" y="1618"/>
                    </a:lnTo>
                    <a:lnTo>
                      <a:pt x="3200" y="1616"/>
                    </a:lnTo>
                    <a:lnTo>
                      <a:pt x="3198" y="1614"/>
                    </a:lnTo>
                    <a:lnTo>
                      <a:pt x="3190" y="1618"/>
                    </a:lnTo>
                    <a:lnTo>
                      <a:pt x="3180" y="1628"/>
                    </a:lnTo>
                    <a:lnTo>
                      <a:pt x="3180" y="1628"/>
                    </a:lnTo>
                    <a:lnTo>
                      <a:pt x="3176" y="1632"/>
                    </a:lnTo>
                    <a:lnTo>
                      <a:pt x="3170" y="1634"/>
                    </a:lnTo>
                    <a:lnTo>
                      <a:pt x="3164" y="1636"/>
                    </a:lnTo>
                    <a:lnTo>
                      <a:pt x="3156" y="1636"/>
                    </a:lnTo>
                    <a:lnTo>
                      <a:pt x="3150" y="1638"/>
                    </a:lnTo>
                    <a:lnTo>
                      <a:pt x="3144" y="1642"/>
                    </a:lnTo>
                    <a:lnTo>
                      <a:pt x="3144" y="1642"/>
                    </a:lnTo>
                    <a:lnTo>
                      <a:pt x="3134" y="1648"/>
                    </a:lnTo>
                    <a:lnTo>
                      <a:pt x="3126" y="1650"/>
                    </a:lnTo>
                    <a:lnTo>
                      <a:pt x="3118" y="1648"/>
                    </a:lnTo>
                    <a:lnTo>
                      <a:pt x="3110" y="1648"/>
                    </a:lnTo>
                    <a:lnTo>
                      <a:pt x="3110" y="1648"/>
                    </a:lnTo>
                    <a:lnTo>
                      <a:pt x="3106" y="1650"/>
                    </a:lnTo>
                    <a:lnTo>
                      <a:pt x="3104" y="1648"/>
                    </a:lnTo>
                    <a:lnTo>
                      <a:pt x="3108" y="1640"/>
                    </a:lnTo>
                    <a:lnTo>
                      <a:pt x="3112" y="1632"/>
                    </a:lnTo>
                    <a:lnTo>
                      <a:pt x="3110" y="1630"/>
                    </a:lnTo>
                    <a:lnTo>
                      <a:pt x="3108" y="1628"/>
                    </a:lnTo>
                    <a:lnTo>
                      <a:pt x="3108" y="1628"/>
                    </a:lnTo>
                    <a:lnTo>
                      <a:pt x="3104" y="1628"/>
                    </a:lnTo>
                    <a:lnTo>
                      <a:pt x="3098" y="1630"/>
                    </a:lnTo>
                    <a:lnTo>
                      <a:pt x="3086" y="1636"/>
                    </a:lnTo>
                    <a:lnTo>
                      <a:pt x="3074" y="1642"/>
                    </a:lnTo>
                    <a:lnTo>
                      <a:pt x="3068" y="1642"/>
                    </a:lnTo>
                    <a:lnTo>
                      <a:pt x="3062" y="1642"/>
                    </a:lnTo>
                    <a:lnTo>
                      <a:pt x="3062" y="1642"/>
                    </a:lnTo>
                    <a:lnTo>
                      <a:pt x="3058" y="1640"/>
                    </a:lnTo>
                    <a:lnTo>
                      <a:pt x="3058" y="1638"/>
                    </a:lnTo>
                    <a:lnTo>
                      <a:pt x="3060" y="1636"/>
                    </a:lnTo>
                    <a:lnTo>
                      <a:pt x="3064" y="1632"/>
                    </a:lnTo>
                    <a:lnTo>
                      <a:pt x="3076" y="1620"/>
                    </a:lnTo>
                    <a:lnTo>
                      <a:pt x="3092" y="1606"/>
                    </a:lnTo>
                    <a:lnTo>
                      <a:pt x="3092" y="160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2" name="Freeform 6087">
                <a:extLst>
                  <a:ext uri="{FF2B5EF4-FFF2-40B4-BE49-F238E27FC236}">
                    <a16:creationId xmlns:a16="http://schemas.microsoft.com/office/drawing/2014/main" id="{F28CB7AD-FD35-403B-BA1D-CA1588D18B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7860" y="823913"/>
                <a:ext cx="304800" cy="171450"/>
              </a:xfrm>
              <a:custGeom>
                <a:avLst/>
                <a:gdLst/>
                <a:ahLst/>
                <a:cxnLst>
                  <a:cxn ang="0">
                    <a:pos x="78" y="174"/>
                  </a:cxn>
                  <a:cxn ang="0">
                    <a:pos x="110" y="166"/>
                  </a:cxn>
                  <a:cxn ang="0">
                    <a:pos x="110" y="174"/>
                  </a:cxn>
                  <a:cxn ang="0">
                    <a:pos x="176" y="164"/>
                  </a:cxn>
                  <a:cxn ang="0">
                    <a:pos x="174" y="172"/>
                  </a:cxn>
                  <a:cxn ang="0">
                    <a:pos x="118" y="192"/>
                  </a:cxn>
                  <a:cxn ang="0">
                    <a:pos x="108" y="204"/>
                  </a:cxn>
                  <a:cxn ang="0">
                    <a:pos x="148" y="238"/>
                  </a:cxn>
                  <a:cxn ang="0">
                    <a:pos x="224" y="268"/>
                  </a:cxn>
                  <a:cxn ang="0">
                    <a:pos x="260" y="262"/>
                  </a:cxn>
                  <a:cxn ang="0">
                    <a:pos x="268" y="252"/>
                  </a:cxn>
                  <a:cxn ang="0">
                    <a:pos x="288" y="260"/>
                  </a:cxn>
                  <a:cxn ang="0">
                    <a:pos x="282" y="242"/>
                  </a:cxn>
                  <a:cxn ang="0">
                    <a:pos x="296" y="246"/>
                  </a:cxn>
                  <a:cxn ang="0">
                    <a:pos x="322" y="266"/>
                  </a:cxn>
                  <a:cxn ang="0">
                    <a:pos x="328" y="246"/>
                  </a:cxn>
                  <a:cxn ang="0">
                    <a:pos x="340" y="234"/>
                  </a:cxn>
                  <a:cxn ang="0">
                    <a:pos x="364" y="230"/>
                  </a:cxn>
                  <a:cxn ang="0">
                    <a:pos x="426" y="192"/>
                  </a:cxn>
                  <a:cxn ang="0">
                    <a:pos x="480" y="174"/>
                  </a:cxn>
                  <a:cxn ang="0">
                    <a:pos x="472" y="166"/>
                  </a:cxn>
                  <a:cxn ang="0">
                    <a:pos x="438" y="146"/>
                  </a:cxn>
                  <a:cxn ang="0">
                    <a:pos x="400" y="146"/>
                  </a:cxn>
                  <a:cxn ang="0">
                    <a:pos x="390" y="142"/>
                  </a:cxn>
                  <a:cxn ang="0">
                    <a:pos x="400" y="122"/>
                  </a:cxn>
                  <a:cxn ang="0">
                    <a:pos x="382" y="108"/>
                  </a:cxn>
                  <a:cxn ang="0">
                    <a:pos x="376" y="86"/>
                  </a:cxn>
                  <a:cxn ang="0">
                    <a:pos x="352" y="78"/>
                  </a:cxn>
                  <a:cxn ang="0">
                    <a:pos x="328" y="90"/>
                  </a:cxn>
                  <a:cxn ang="0">
                    <a:pos x="326" y="102"/>
                  </a:cxn>
                  <a:cxn ang="0">
                    <a:pos x="306" y="92"/>
                  </a:cxn>
                  <a:cxn ang="0">
                    <a:pos x="306" y="74"/>
                  </a:cxn>
                  <a:cxn ang="0">
                    <a:pos x="274" y="68"/>
                  </a:cxn>
                  <a:cxn ang="0">
                    <a:pos x="192" y="20"/>
                  </a:cxn>
                  <a:cxn ang="0">
                    <a:pos x="134" y="0"/>
                  </a:cxn>
                  <a:cxn ang="0">
                    <a:pos x="100" y="4"/>
                  </a:cxn>
                  <a:cxn ang="0">
                    <a:pos x="112" y="20"/>
                  </a:cxn>
                  <a:cxn ang="0">
                    <a:pos x="98" y="28"/>
                  </a:cxn>
                  <a:cxn ang="0">
                    <a:pos x="66" y="32"/>
                  </a:cxn>
                  <a:cxn ang="0">
                    <a:pos x="54" y="54"/>
                  </a:cxn>
                  <a:cxn ang="0">
                    <a:pos x="26" y="76"/>
                  </a:cxn>
                  <a:cxn ang="0">
                    <a:pos x="18" y="92"/>
                  </a:cxn>
                  <a:cxn ang="0">
                    <a:pos x="50" y="100"/>
                  </a:cxn>
                  <a:cxn ang="0">
                    <a:pos x="90" y="104"/>
                  </a:cxn>
                  <a:cxn ang="0">
                    <a:pos x="72" y="112"/>
                  </a:cxn>
                  <a:cxn ang="0">
                    <a:pos x="4" y="106"/>
                  </a:cxn>
                  <a:cxn ang="0">
                    <a:pos x="2" y="116"/>
                  </a:cxn>
                  <a:cxn ang="0">
                    <a:pos x="32" y="148"/>
                  </a:cxn>
                </a:cxnLst>
                <a:rect l="0" t="0" r="r" b="b"/>
                <a:pathLst>
                  <a:path w="480" h="270">
                    <a:moveTo>
                      <a:pt x="54" y="164"/>
                    </a:moveTo>
                    <a:lnTo>
                      <a:pt x="54" y="164"/>
                    </a:lnTo>
                    <a:lnTo>
                      <a:pt x="66" y="172"/>
                    </a:lnTo>
                    <a:lnTo>
                      <a:pt x="78" y="174"/>
                    </a:lnTo>
                    <a:lnTo>
                      <a:pt x="88" y="172"/>
                    </a:lnTo>
                    <a:lnTo>
                      <a:pt x="98" y="170"/>
                    </a:lnTo>
                    <a:lnTo>
                      <a:pt x="108" y="164"/>
                    </a:lnTo>
                    <a:lnTo>
                      <a:pt x="110" y="166"/>
                    </a:lnTo>
                    <a:lnTo>
                      <a:pt x="108" y="170"/>
                    </a:lnTo>
                    <a:lnTo>
                      <a:pt x="108" y="170"/>
                    </a:lnTo>
                    <a:lnTo>
                      <a:pt x="108" y="172"/>
                    </a:lnTo>
                    <a:lnTo>
                      <a:pt x="110" y="174"/>
                    </a:lnTo>
                    <a:lnTo>
                      <a:pt x="116" y="176"/>
                    </a:lnTo>
                    <a:lnTo>
                      <a:pt x="142" y="168"/>
                    </a:lnTo>
                    <a:lnTo>
                      <a:pt x="168" y="162"/>
                    </a:lnTo>
                    <a:lnTo>
                      <a:pt x="176" y="164"/>
                    </a:lnTo>
                    <a:lnTo>
                      <a:pt x="176" y="164"/>
                    </a:lnTo>
                    <a:lnTo>
                      <a:pt x="176" y="168"/>
                    </a:lnTo>
                    <a:lnTo>
                      <a:pt x="176" y="168"/>
                    </a:lnTo>
                    <a:lnTo>
                      <a:pt x="174" y="172"/>
                    </a:lnTo>
                    <a:lnTo>
                      <a:pt x="170" y="174"/>
                    </a:lnTo>
                    <a:lnTo>
                      <a:pt x="158" y="180"/>
                    </a:lnTo>
                    <a:lnTo>
                      <a:pt x="130" y="188"/>
                    </a:lnTo>
                    <a:lnTo>
                      <a:pt x="118" y="192"/>
                    </a:lnTo>
                    <a:lnTo>
                      <a:pt x="108" y="196"/>
                    </a:lnTo>
                    <a:lnTo>
                      <a:pt x="104" y="200"/>
                    </a:lnTo>
                    <a:lnTo>
                      <a:pt x="106" y="202"/>
                    </a:lnTo>
                    <a:lnTo>
                      <a:pt x="108" y="204"/>
                    </a:lnTo>
                    <a:lnTo>
                      <a:pt x="108" y="204"/>
                    </a:lnTo>
                    <a:lnTo>
                      <a:pt x="122" y="214"/>
                    </a:lnTo>
                    <a:lnTo>
                      <a:pt x="134" y="226"/>
                    </a:lnTo>
                    <a:lnTo>
                      <a:pt x="148" y="238"/>
                    </a:lnTo>
                    <a:lnTo>
                      <a:pt x="166" y="250"/>
                    </a:lnTo>
                    <a:lnTo>
                      <a:pt x="166" y="250"/>
                    </a:lnTo>
                    <a:lnTo>
                      <a:pt x="194" y="260"/>
                    </a:lnTo>
                    <a:lnTo>
                      <a:pt x="224" y="268"/>
                    </a:lnTo>
                    <a:lnTo>
                      <a:pt x="238" y="270"/>
                    </a:lnTo>
                    <a:lnTo>
                      <a:pt x="250" y="270"/>
                    </a:lnTo>
                    <a:lnTo>
                      <a:pt x="258" y="266"/>
                    </a:lnTo>
                    <a:lnTo>
                      <a:pt x="260" y="262"/>
                    </a:lnTo>
                    <a:lnTo>
                      <a:pt x="262" y="260"/>
                    </a:lnTo>
                    <a:lnTo>
                      <a:pt x="262" y="260"/>
                    </a:lnTo>
                    <a:lnTo>
                      <a:pt x="262" y="254"/>
                    </a:lnTo>
                    <a:lnTo>
                      <a:pt x="268" y="252"/>
                    </a:lnTo>
                    <a:lnTo>
                      <a:pt x="274" y="254"/>
                    </a:lnTo>
                    <a:lnTo>
                      <a:pt x="280" y="256"/>
                    </a:lnTo>
                    <a:lnTo>
                      <a:pt x="284" y="258"/>
                    </a:lnTo>
                    <a:lnTo>
                      <a:pt x="288" y="260"/>
                    </a:lnTo>
                    <a:lnTo>
                      <a:pt x="290" y="258"/>
                    </a:lnTo>
                    <a:lnTo>
                      <a:pt x="286" y="250"/>
                    </a:lnTo>
                    <a:lnTo>
                      <a:pt x="286" y="250"/>
                    </a:lnTo>
                    <a:lnTo>
                      <a:pt x="282" y="242"/>
                    </a:lnTo>
                    <a:lnTo>
                      <a:pt x="280" y="236"/>
                    </a:lnTo>
                    <a:lnTo>
                      <a:pt x="282" y="236"/>
                    </a:lnTo>
                    <a:lnTo>
                      <a:pt x="284" y="236"/>
                    </a:lnTo>
                    <a:lnTo>
                      <a:pt x="296" y="246"/>
                    </a:lnTo>
                    <a:lnTo>
                      <a:pt x="314" y="260"/>
                    </a:lnTo>
                    <a:lnTo>
                      <a:pt x="314" y="260"/>
                    </a:lnTo>
                    <a:lnTo>
                      <a:pt x="320" y="266"/>
                    </a:lnTo>
                    <a:lnTo>
                      <a:pt x="322" y="266"/>
                    </a:lnTo>
                    <a:lnTo>
                      <a:pt x="324" y="266"/>
                    </a:lnTo>
                    <a:lnTo>
                      <a:pt x="326" y="262"/>
                    </a:lnTo>
                    <a:lnTo>
                      <a:pt x="328" y="254"/>
                    </a:lnTo>
                    <a:lnTo>
                      <a:pt x="328" y="246"/>
                    </a:lnTo>
                    <a:lnTo>
                      <a:pt x="330" y="240"/>
                    </a:lnTo>
                    <a:lnTo>
                      <a:pt x="334" y="236"/>
                    </a:lnTo>
                    <a:lnTo>
                      <a:pt x="336" y="234"/>
                    </a:lnTo>
                    <a:lnTo>
                      <a:pt x="340" y="234"/>
                    </a:lnTo>
                    <a:lnTo>
                      <a:pt x="340" y="234"/>
                    </a:lnTo>
                    <a:lnTo>
                      <a:pt x="348" y="236"/>
                    </a:lnTo>
                    <a:lnTo>
                      <a:pt x="356" y="234"/>
                    </a:lnTo>
                    <a:lnTo>
                      <a:pt x="364" y="230"/>
                    </a:lnTo>
                    <a:lnTo>
                      <a:pt x="374" y="226"/>
                    </a:lnTo>
                    <a:lnTo>
                      <a:pt x="414" y="198"/>
                    </a:lnTo>
                    <a:lnTo>
                      <a:pt x="414" y="198"/>
                    </a:lnTo>
                    <a:lnTo>
                      <a:pt x="426" y="192"/>
                    </a:lnTo>
                    <a:lnTo>
                      <a:pt x="440" y="186"/>
                    </a:lnTo>
                    <a:lnTo>
                      <a:pt x="466" y="180"/>
                    </a:lnTo>
                    <a:lnTo>
                      <a:pt x="474" y="176"/>
                    </a:lnTo>
                    <a:lnTo>
                      <a:pt x="480" y="174"/>
                    </a:lnTo>
                    <a:lnTo>
                      <a:pt x="480" y="172"/>
                    </a:lnTo>
                    <a:lnTo>
                      <a:pt x="480" y="170"/>
                    </a:lnTo>
                    <a:lnTo>
                      <a:pt x="472" y="166"/>
                    </a:lnTo>
                    <a:lnTo>
                      <a:pt x="472" y="166"/>
                    </a:lnTo>
                    <a:lnTo>
                      <a:pt x="464" y="162"/>
                    </a:lnTo>
                    <a:lnTo>
                      <a:pt x="456" y="156"/>
                    </a:lnTo>
                    <a:lnTo>
                      <a:pt x="444" y="148"/>
                    </a:lnTo>
                    <a:lnTo>
                      <a:pt x="438" y="146"/>
                    </a:lnTo>
                    <a:lnTo>
                      <a:pt x="430" y="144"/>
                    </a:lnTo>
                    <a:lnTo>
                      <a:pt x="418" y="144"/>
                    </a:lnTo>
                    <a:lnTo>
                      <a:pt x="400" y="146"/>
                    </a:lnTo>
                    <a:lnTo>
                      <a:pt x="400" y="146"/>
                    </a:lnTo>
                    <a:lnTo>
                      <a:pt x="388" y="148"/>
                    </a:lnTo>
                    <a:lnTo>
                      <a:pt x="384" y="148"/>
                    </a:lnTo>
                    <a:lnTo>
                      <a:pt x="386" y="146"/>
                    </a:lnTo>
                    <a:lnTo>
                      <a:pt x="390" y="142"/>
                    </a:lnTo>
                    <a:lnTo>
                      <a:pt x="396" y="136"/>
                    </a:lnTo>
                    <a:lnTo>
                      <a:pt x="400" y="130"/>
                    </a:lnTo>
                    <a:lnTo>
                      <a:pt x="400" y="126"/>
                    </a:lnTo>
                    <a:lnTo>
                      <a:pt x="400" y="122"/>
                    </a:lnTo>
                    <a:lnTo>
                      <a:pt x="396" y="118"/>
                    </a:lnTo>
                    <a:lnTo>
                      <a:pt x="392" y="114"/>
                    </a:lnTo>
                    <a:lnTo>
                      <a:pt x="392" y="114"/>
                    </a:lnTo>
                    <a:lnTo>
                      <a:pt x="382" y="108"/>
                    </a:lnTo>
                    <a:lnTo>
                      <a:pt x="376" y="100"/>
                    </a:lnTo>
                    <a:lnTo>
                      <a:pt x="376" y="96"/>
                    </a:lnTo>
                    <a:lnTo>
                      <a:pt x="376" y="90"/>
                    </a:lnTo>
                    <a:lnTo>
                      <a:pt x="376" y="86"/>
                    </a:lnTo>
                    <a:lnTo>
                      <a:pt x="372" y="82"/>
                    </a:lnTo>
                    <a:lnTo>
                      <a:pt x="366" y="80"/>
                    </a:lnTo>
                    <a:lnTo>
                      <a:pt x="352" y="78"/>
                    </a:lnTo>
                    <a:lnTo>
                      <a:pt x="352" y="78"/>
                    </a:lnTo>
                    <a:lnTo>
                      <a:pt x="338" y="76"/>
                    </a:lnTo>
                    <a:lnTo>
                      <a:pt x="330" y="80"/>
                    </a:lnTo>
                    <a:lnTo>
                      <a:pt x="328" y="84"/>
                    </a:lnTo>
                    <a:lnTo>
                      <a:pt x="328" y="90"/>
                    </a:lnTo>
                    <a:lnTo>
                      <a:pt x="330" y="96"/>
                    </a:lnTo>
                    <a:lnTo>
                      <a:pt x="328" y="100"/>
                    </a:lnTo>
                    <a:lnTo>
                      <a:pt x="328" y="102"/>
                    </a:lnTo>
                    <a:lnTo>
                      <a:pt x="326" y="102"/>
                    </a:lnTo>
                    <a:lnTo>
                      <a:pt x="318" y="100"/>
                    </a:lnTo>
                    <a:lnTo>
                      <a:pt x="318" y="100"/>
                    </a:lnTo>
                    <a:lnTo>
                      <a:pt x="310" y="96"/>
                    </a:lnTo>
                    <a:lnTo>
                      <a:pt x="306" y="92"/>
                    </a:lnTo>
                    <a:lnTo>
                      <a:pt x="306" y="86"/>
                    </a:lnTo>
                    <a:lnTo>
                      <a:pt x="308" y="82"/>
                    </a:lnTo>
                    <a:lnTo>
                      <a:pt x="308" y="78"/>
                    </a:lnTo>
                    <a:lnTo>
                      <a:pt x="306" y="74"/>
                    </a:lnTo>
                    <a:lnTo>
                      <a:pt x="298" y="70"/>
                    </a:lnTo>
                    <a:lnTo>
                      <a:pt x="284" y="70"/>
                    </a:lnTo>
                    <a:lnTo>
                      <a:pt x="284" y="70"/>
                    </a:lnTo>
                    <a:lnTo>
                      <a:pt x="274" y="68"/>
                    </a:lnTo>
                    <a:lnTo>
                      <a:pt x="266" y="66"/>
                    </a:lnTo>
                    <a:lnTo>
                      <a:pt x="248" y="56"/>
                    </a:lnTo>
                    <a:lnTo>
                      <a:pt x="212" y="32"/>
                    </a:lnTo>
                    <a:lnTo>
                      <a:pt x="192" y="20"/>
                    </a:lnTo>
                    <a:lnTo>
                      <a:pt x="170" y="10"/>
                    </a:lnTo>
                    <a:lnTo>
                      <a:pt x="158" y="6"/>
                    </a:lnTo>
                    <a:lnTo>
                      <a:pt x="146" y="2"/>
                    </a:lnTo>
                    <a:lnTo>
                      <a:pt x="134" y="0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04" y="2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2" y="10"/>
                    </a:lnTo>
                    <a:lnTo>
                      <a:pt x="108" y="14"/>
                    </a:lnTo>
                    <a:lnTo>
                      <a:pt x="112" y="20"/>
                    </a:lnTo>
                    <a:lnTo>
                      <a:pt x="114" y="24"/>
                    </a:lnTo>
                    <a:lnTo>
                      <a:pt x="114" y="24"/>
                    </a:lnTo>
                    <a:lnTo>
                      <a:pt x="110" y="26"/>
                    </a:lnTo>
                    <a:lnTo>
                      <a:pt x="98" y="28"/>
                    </a:lnTo>
                    <a:lnTo>
                      <a:pt x="98" y="28"/>
                    </a:lnTo>
                    <a:lnTo>
                      <a:pt x="82" y="28"/>
                    </a:lnTo>
                    <a:lnTo>
                      <a:pt x="70" y="30"/>
                    </a:lnTo>
                    <a:lnTo>
                      <a:pt x="66" y="32"/>
                    </a:lnTo>
                    <a:lnTo>
                      <a:pt x="64" y="36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4" y="54"/>
                    </a:lnTo>
                    <a:lnTo>
                      <a:pt x="52" y="58"/>
                    </a:lnTo>
                    <a:lnTo>
                      <a:pt x="42" y="64"/>
                    </a:lnTo>
                    <a:lnTo>
                      <a:pt x="32" y="72"/>
                    </a:lnTo>
                    <a:lnTo>
                      <a:pt x="26" y="76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18" y="88"/>
                    </a:lnTo>
                    <a:lnTo>
                      <a:pt x="18" y="92"/>
                    </a:lnTo>
                    <a:lnTo>
                      <a:pt x="20" y="94"/>
                    </a:lnTo>
                    <a:lnTo>
                      <a:pt x="24" y="96"/>
                    </a:lnTo>
                    <a:lnTo>
                      <a:pt x="34" y="98"/>
                    </a:lnTo>
                    <a:lnTo>
                      <a:pt x="50" y="100"/>
                    </a:lnTo>
                    <a:lnTo>
                      <a:pt x="78" y="102"/>
                    </a:lnTo>
                    <a:lnTo>
                      <a:pt x="86" y="102"/>
                    </a:lnTo>
                    <a:lnTo>
                      <a:pt x="88" y="102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6" y="108"/>
                    </a:lnTo>
                    <a:lnTo>
                      <a:pt x="82" y="110"/>
                    </a:lnTo>
                    <a:lnTo>
                      <a:pt x="72" y="112"/>
                    </a:lnTo>
                    <a:lnTo>
                      <a:pt x="58" y="112"/>
                    </a:lnTo>
                    <a:lnTo>
                      <a:pt x="42" y="110"/>
                    </a:lnTo>
                    <a:lnTo>
                      <a:pt x="14" y="106"/>
                    </a:lnTo>
                    <a:lnTo>
                      <a:pt x="4" y="106"/>
                    </a:lnTo>
                    <a:lnTo>
                      <a:pt x="2" y="108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2" y="116"/>
                    </a:lnTo>
                    <a:lnTo>
                      <a:pt x="4" y="122"/>
                    </a:lnTo>
                    <a:lnTo>
                      <a:pt x="8" y="128"/>
                    </a:lnTo>
                    <a:lnTo>
                      <a:pt x="14" y="134"/>
                    </a:lnTo>
                    <a:lnTo>
                      <a:pt x="32" y="148"/>
                    </a:lnTo>
                    <a:lnTo>
                      <a:pt x="54" y="164"/>
                    </a:lnTo>
                    <a:lnTo>
                      <a:pt x="54" y="1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3" name="Freeform 6088">
                <a:extLst>
                  <a:ext uri="{FF2B5EF4-FFF2-40B4-BE49-F238E27FC236}">
                    <a16:creationId xmlns:a16="http://schemas.microsoft.com/office/drawing/2014/main" id="{0BF443AB-CB22-40B7-9128-631D3D610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0580" y="1206183"/>
                <a:ext cx="734060" cy="539750"/>
              </a:xfrm>
              <a:custGeom>
                <a:avLst/>
                <a:gdLst/>
                <a:ahLst/>
                <a:cxnLst>
                  <a:cxn ang="0">
                    <a:pos x="1088" y="504"/>
                  </a:cxn>
                  <a:cxn ang="0">
                    <a:pos x="1060" y="480"/>
                  </a:cxn>
                  <a:cxn ang="0">
                    <a:pos x="960" y="426"/>
                  </a:cxn>
                  <a:cxn ang="0">
                    <a:pos x="890" y="396"/>
                  </a:cxn>
                  <a:cxn ang="0">
                    <a:pos x="890" y="348"/>
                  </a:cxn>
                  <a:cxn ang="0">
                    <a:pos x="926" y="328"/>
                  </a:cxn>
                  <a:cxn ang="0">
                    <a:pos x="926" y="298"/>
                  </a:cxn>
                  <a:cxn ang="0">
                    <a:pos x="846" y="276"/>
                  </a:cxn>
                  <a:cxn ang="0">
                    <a:pos x="844" y="232"/>
                  </a:cxn>
                  <a:cxn ang="0">
                    <a:pos x="782" y="204"/>
                  </a:cxn>
                  <a:cxn ang="0">
                    <a:pos x="706" y="174"/>
                  </a:cxn>
                  <a:cxn ang="0">
                    <a:pos x="642" y="134"/>
                  </a:cxn>
                  <a:cxn ang="0">
                    <a:pos x="560" y="98"/>
                  </a:cxn>
                  <a:cxn ang="0">
                    <a:pos x="462" y="112"/>
                  </a:cxn>
                  <a:cxn ang="0">
                    <a:pos x="404" y="110"/>
                  </a:cxn>
                  <a:cxn ang="0">
                    <a:pos x="388" y="90"/>
                  </a:cxn>
                  <a:cxn ang="0">
                    <a:pos x="352" y="18"/>
                  </a:cxn>
                  <a:cxn ang="0">
                    <a:pos x="200" y="50"/>
                  </a:cxn>
                  <a:cxn ang="0">
                    <a:pos x="174" y="84"/>
                  </a:cxn>
                  <a:cxn ang="0">
                    <a:pos x="168" y="138"/>
                  </a:cxn>
                  <a:cxn ang="0">
                    <a:pos x="222" y="180"/>
                  </a:cxn>
                  <a:cxn ang="0">
                    <a:pos x="150" y="122"/>
                  </a:cxn>
                  <a:cxn ang="0">
                    <a:pos x="188" y="26"/>
                  </a:cxn>
                  <a:cxn ang="0">
                    <a:pos x="116" y="8"/>
                  </a:cxn>
                  <a:cxn ang="0">
                    <a:pos x="18" y="90"/>
                  </a:cxn>
                  <a:cxn ang="0">
                    <a:pos x="58" y="196"/>
                  </a:cxn>
                  <a:cxn ang="0">
                    <a:pos x="40" y="216"/>
                  </a:cxn>
                  <a:cxn ang="0">
                    <a:pos x="118" y="270"/>
                  </a:cxn>
                  <a:cxn ang="0">
                    <a:pos x="234" y="288"/>
                  </a:cxn>
                  <a:cxn ang="0">
                    <a:pos x="336" y="290"/>
                  </a:cxn>
                  <a:cxn ang="0">
                    <a:pos x="358" y="284"/>
                  </a:cxn>
                  <a:cxn ang="0">
                    <a:pos x="462" y="284"/>
                  </a:cxn>
                  <a:cxn ang="0">
                    <a:pos x="498" y="274"/>
                  </a:cxn>
                  <a:cxn ang="0">
                    <a:pos x="580" y="338"/>
                  </a:cxn>
                  <a:cxn ang="0">
                    <a:pos x="538" y="376"/>
                  </a:cxn>
                  <a:cxn ang="0">
                    <a:pos x="654" y="402"/>
                  </a:cxn>
                  <a:cxn ang="0">
                    <a:pos x="712" y="474"/>
                  </a:cxn>
                  <a:cxn ang="0">
                    <a:pos x="640" y="558"/>
                  </a:cxn>
                  <a:cxn ang="0">
                    <a:pos x="628" y="608"/>
                  </a:cxn>
                  <a:cxn ang="0">
                    <a:pos x="510" y="624"/>
                  </a:cxn>
                  <a:cxn ang="0">
                    <a:pos x="514" y="688"/>
                  </a:cxn>
                  <a:cxn ang="0">
                    <a:pos x="616" y="688"/>
                  </a:cxn>
                  <a:cxn ang="0">
                    <a:pos x="656" y="674"/>
                  </a:cxn>
                  <a:cxn ang="0">
                    <a:pos x="736" y="724"/>
                  </a:cxn>
                  <a:cxn ang="0">
                    <a:pos x="732" y="752"/>
                  </a:cxn>
                  <a:cxn ang="0">
                    <a:pos x="854" y="818"/>
                  </a:cxn>
                  <a:cxn ang="0">
                    <a:pos x="966" y="822"/>
                  </a:cxn>
                  <a:cxn ang="0">
                    <a:pos x="854" y="724"/>
                  </a:cxn>
                  <a:cxn ang="0">
                    <a:pos x="908" y="744"/>
                  </a:cxn>
                  <a:cxn ang="0">
                    <a:pos x="1012" y="814"/>
                  </a:cxn>
                  <a:cxn ang="0">
                    <a:pos x="1018" y="766"/>
                  </a:cxn>
                  <a:cxn ang="0">
                    <a:pos x="1022" y="724"/>
                  </a:cxn>
                  <a:cxn ang="0">
                    <a:pos x="1000" y="694"/>
                  </a:cxn>
                  <a:cxn ang="0">
                    <a:pos x="942" y="632"/>
                  </a:cxn>
                  <a:cxn ang="0">
                    <a:pos x="890" y="586"/>
                  </a:cxn>
                  <a:cxn ang="0">
                    <a:pos x="902" y="544"/>
                  </a:cxn>
                  <a:cxn ang="0">
                    <a:pos x="942" y="544"/>
                  </a:cxn>
                  <a:cxn ang="0">
                    <a:pos x="990" y="580"/>
                  </a:cxn>
                  <a:cxn ang="0">
                    <a:pos x="1070" y="648"/>
                  </a:cxn>
                  <a:cxn ang="0">
                    <a:pos x="1102" y="596"/>
                  </a:cxn>
                  <a:cxn ang="0">
                    <a:pos x="1128" y="568"/>
                  </a:cxn>
                  <a:cxn ang="0">
                    <a:pos x="1148" y="514"/>
                  </a:cxn>
                </a:cxnLst>
                <a:rect l="0" t="0" r="r" b="b"/>
                <a:pathLst>
                  <a:path w="1156" h="850">
                    <a:moveTo>
                      <a:pt x="1148" y="514"/>
                    </a:moveTo>
                    <a:lnTo>
                      <a:pt x="1148" y="514"/>
                    </a:lnTo>
                    <a:lnTo>
                      <a:pt x="1144" y="506"/>
                    </a:lnTo>
                    <a:lnTo>
                      <a:pt x="1138" y="502"/>
                    </a:lnTo>
                    <a:lnTo>
                      <a:pt x="1134" y="500"/>
                    </a:lnTo>
                    <a:lnTo>
                      <a:pt x="1128" y="498"/>
                    </a:lnTo>
                    <a:lnTo>
                      <a:pt x="1116" y="498"/>
                    </a:lnTo>
                    <a:lnTo>
                      <a:pt x="1106" y="502"/>
                    </a:lnTo>
                    <a:lnTo>
                      <a:pt x="1096" y="506"/>
                    </a:lnTo>
                    <a:lnTo>
                      <a:pt x="1090" y="508"/>
                    </a:lnTo>
                    <a:lnTo>
                      <a:pt x="1088" y="506"/>
                    </a:lnTo>
                    <a:lnTo>
                      <a:pt x="1088" y="504"/>
                    </a:lnTo>
                    <a:lnTo>
                      <a:pt x="1090" y="496"/>
                    </a:lnTo>
                    <a:lnTo>
                      <a:pt x="1090" y="496"/>
                    </a:lnTo>
                    <a:lnTo>
                      <a:pt x="1092" y="486"/>
                    </a:lnTo>
                    <a:lnTo>
                      <a:pt x="1090" y="482"/>
                    </a:lnTo>
                    <a:lnTo>
                      <a:pt x="1088" y="480"/>
                    </a:lnTo>
                    <a:lnTo>
                      <a:pt x="1084" y="480"/>
                    </a:lnTo>
                    <a:lnTo>
                      <a:pt x="1076" y="482"/>
                    </a:lnTo>
                    <a:lnTo>
                      <a:pt x="1062" y="486"/>
                    </a:lnTo>
                    <a:lnTo>
                      <a:pt x="1060" y="486"/>
                    </a:lnTo>
                    <a:lnTo>
                      <a:pt x="1058" y="486"/>
                    </a:lnTo>
                    <a:lnTo>
                      <a:pt x="1060" y="480"/>
                    </a:lnTo>
                    <a:lnTo>
                      <a:pt x="1060" y="480"/>
                    </a:lnTo>
                    <a:lnTo>
                      <a:pt x="1062" y="472"/>
                    </a:lnTo>
                    <a:lnTo>
                      <a:pt x="1062" y="466"/>
                    </a:lnTo>
                    <a:lnTo>
                      <a:pt x="1060" y="462"/>
                    </a:lnTo>
                    <a:lnTo>
                      <a:pt x="1056" y="458"/>
                    </a:lnTo>
                    <a:lnTo>
                      <a:pt x="1042" y="450"/>
                    </a:lnTo>
                    <a:lnTo>
                      <a:pt x="1022" y="436"/>
                    </a:lnTo>
                    <a:lnTo>
                      <a:pt x="1022" y="436"/>
                    </a:lnTo>
                    <a:lnTo>
                      <a:pt x="1010" y="430"/>
                    </a:lnTo>
                    <a:lnTo>
                      <a:pt x="996" y="428"/>
                    </a:lnTo>
                    <a:lnTo>
                      <a:pt x="984" y="426"/>
                    </a:lnTo>
                    <a:lnTo>
                      <a:pt x="970" y="426"/>
                    </a:lnTo>
                    <a:lnTo>
                      <a:pt x="960" y="426"/>
                    </a:lnTo>
                    <a:lnTo>
                      <a:pt x="950" y="424"/>
                    </a:lnTo>
                    <a:lnTo>
                      <a:pt x="944" y="420"/>
                    </a:lnTo>
                    <a:lnTo>
                      <a:pt x="942" y="416"/>
                    </a:lnTo>
                    <a:lnTo>
                      <a:pt x="940" y="410"/>
                    </a:lnTo>
                    <a:lnTo>
                      <a:pt x="940" y="410"/>
                    </a:lnTo>
                    <a:lnTo>
                      <a:pt x="938" y="406"/>
                    </a:lnTo>
                    <a:lnTo>
                      <a:pt x="936" y="402"/>
                    </a:lnTo>
                    <a:lnTo>
                      <a:pt x="930" y="400"/>
                    </a:lnTo>
                    <a:lnTo>
                      <a:pt x="926" y="398"/>
                    </a:lnTo>
                    <a:lnTo>
                      <a:pt x="914" y="396"/>
                    </a:lnTo>
                    <a:lnTo>
                      <a:pt x="900" y="396"/>
                    </a:lnTo>
                    <a:lnTo>
                      <a:pt x="890" y="396"/>
                    </a:lnTo>
                    <a:lnTo>
                      <a:pt x="882" y="394"/>
                    </a:lnTo>
                    <a:lnTo>
                      <a:pt x="882" y="394"/>
                    </a:lnTo>
                    <a:lnTo>
                      <a:pt x="882" y="392"/>
                    </a:lnTo>
                    <a:lnTo>
                      <a:pt x="890" y="384"/>
                    </a:lnTo>
                    <a:lnTo>
                      <a:pt x="890" y="384"/>
                    </a:lnTo>
                    <a:lnTo>
                      <a:pt x="896" y="380"/>
                    </a:lnTo>
                    <a:lnTo>
                      <a:pt x="900" y="376"/>
                    </a:lnTo>
                    <a:lnTo>
                      <a:pt x="902" y="372"/>
                    </a:lnTo>
                    <a:lnTo>
                      <a:pt x="902" y="366"/>
                    </a:lnTo>
                    <a:lnTo>
                      <a:pt x="900" y="360"/>
                    </a:lnTo>
                    <a:lnTo>
                      <a:pt x="894" y="352"/>
                    </a:lnTo>
                    <a:lnTo>
                      <a:pt x="890" y="348"/>
                    </a:lnTo>
                    <a:lnTo>
                      <a:pt x="888" y="344"/>
                    </a:lnTo>
                    <a:lnTo>
                      <a:pt x="890" y="344"/>
                    </a:lnTo>
                    <a:lnTo>
                      <a:pt x="902" y="346"/>
                    </a:lnTo>
                    <a:lnTo>
                      <a:pt x="902" y="346"/>
                    </a:lnTo>
                    <a:lnTo>
                      <a:pt x="916" y="348"/>
                    </a:lnTo>
                    <a:lnTo>
                      <a:pt x="928" y="348"/>
                    </a:lnTo>
                    <a:lnTo>
                      <a:pt x="938" y="346"/>
                    </a:lnTo>
                    <a:lnTo>
                      <a:pt x="942" y="342"/>
                    </a:lnTo>
                    <a:lnTo>
                      <a:pt x="944" y="340"/>
                    </a:lnTo>
                    <a:lnTo>
                      <a:pt x="944" y="338"/>
                    </a:lnTo>
                    <a:lnTo>
                      <a:pt x="938" y="334"/>
                    </a:lnTo>
                    <a:lnTo>
                      <a:pt x="926" y="328"/>
                    </a:lnTo>
                    <a:lnTo>
                      <a:pt x="906" y="324"/>
                    </a:lnTo>
                    <a:lnTo>
                      <a:pt x="906" y="324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80" y="316"/>
                    </a:lnTo>
                    <a:lnTo>
                      <a:pt x="900" y="312"/>
                    </a:lnTo>
                    <a:lnTo>
                      <a:pt x="910" y="308"/>
                    </a:lnTo>
                    <a:lnTo>
                      <a:pt x="920" y="304"/>
                    </a:lnTo>
                    <a:lnTo>
                      <a:pt x="920" y="304"/>
                    </a:lnTo>
                    <a:lnTo>
                      <a:pt x="924" y="300"/>
                    </a:lnTo>
                    <a:lnTo>
                      <a:pt x="926" y="298"/>
                    </a:lnTo>
                    <a:lnTo>
                      <a:pt x="926" y="294"/>
                    </a:lnTo>
                    <a:lnTo>
                      <a:pt x="926" y="290"/>
                    </a:lnTo>
                    <a:lnTo>
                      <a:pt x="922" y="284"/>
                    </a:lnTo>
                    <a:lnTo>
                      <a:pt x="914" y="278"/>
                    </a:lnTo>
                    <a:lnTo>
                      <a:pt x="904" y="272"/>
                    </a:lnTo>
                    <a:lnTo>
                      <a:pt x="894" y="268"/>
                    </a:lnTo>
                    <a:lnTo>
                      <a:pt x="886" y="268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72" y="274"/>
                    </a:lnTo>
                    <a:lnTo>
                      <a:pt x="864" y="276"/>
                    </a:lnTo>
                    <a:lnTo>
                      <a:pt x="846" y="276"/>
                    </a:lnTo>
                    <a:lnTo>
                      <a:pt x="842" y="276"/>
                    </a:lnTo>
                    <a:lnTo>
                      <a:pt x="840" y="274"/>
                    </a:lnTo>
                    <a:lnTo>
                      <a:pt x="842" y="270"/>
                    </a:lnTo>
                    <a:lnTo>
                      <a:pt x="852" y="266"/>
                    </a:lnTo>
                    <a:lnTo>
                      <a:pt x="852" y="266"/>
                    </a:lnTo>
                    <a:lnTo>
                      <a:pt x="874" y="258"/>
                    </a:lnTo>
                    <a:lnTo>
                      <a:pt x="880" y="254"/>
                    </a:lnTo>
                    <a:lnTo>
                      <a:pt x="882" y="252"/>
                    </a:lnTo>
                    <a:lnTo>
                      <a:pt x="878" y="248"/>
                    </a:lnTo>
                    <a:lnTo>
                      <a:pt x="872" y="244"/>
                    </a:lnTo>
                    <a:lnTo>
                      <a:pt x="844" y="232"/>
                    </a:lnTo>
                    <a:lnTo>
                      <a:pt x="844" y="232"/>
                    </a:lnTo>
                    <a:lnTo>
                      <a:pt x="826" y="226"/>
                    </a:lnTo>
                    <a:lnTo>
                      <a:pt x="812" y="226"/>
                    </a:lnTo>
                    <a:lnTo>
                      <a:pt x="802" y="228"/>
                    </a:lnTo>
                    <a:lnTo>
                      <a:pt x="794" y="230"/>
                    </a:lnTo>
                    <a:lnTo>
                      <a:pt x="790" y="232"/>
                    </a:lnTo>
                    <a:lnTo>
                      <a:pt x="786" y="232"/>
                    </a:lnTo>
                    <a:lnTo>
                      <a:pt x="786" y="230"/>
                    </a:lnTo>
                    <a:lnTo>
                      <a:pt x="786" y="220"/>
                    </a:lnTo>
                    <a:lnTo>
                      <a:pt x="786" y="220"/>
                    </a:lnTo>
                    <a:lnTo>
                      <a:pt x="788" y="210"/>
                    </a:lnTo>
                    <a:lnTo>
                      <a:pt x="784" y="206"/>
                    </a:lnTo>
                    <a:lnTo>
                      <a:pt x="782" y="204"/>
                    </a:lnTo>
                    <a:lnTo>
                      <a:pt x="776" y="204"/>
                    </a:lnTo>
                    <a:lnTo>
                      <a:pt x="768" y="206"/>
                    </a:lnTo>
                    <a:lnTo>
                      <a:pt x="764" y="204"/>
                    </a:lnTo>
                    <a:lnTo>
                      <a:pt x="762" y="198"/>
                    </a:lnTo>
                    <a:lnTo>
                      <a:pt x="762" y="198"/>
                    </a:lnTo>
                    <a:lnTo>
                      <a:pt x="762" y="190"/>
                    </a:lnTo>
                    <a:lnTo>
                      <a:pt x="756" y="184"/>
                    </a:lnTo>
                    <a:lnTo>
                      <a:pt x="748" y="178"/>
                    </a:lnTo>
                    <a:lnTo>
                      <a:pt x="738" y="174"/>
                    </a:lnTo>
                    <a:lnTo>
                      <a:pt x="728" y="170"/>
                    </a:lnTo>
                    <a:lnTo>
                      <a:pt x="716" y="170"/>
                    </a:lnTo>
                    <a:lnTo>
                      <a:pt x="706" y="174"/>
                    </a:lnTo>
                    <a:lnTo>
                      <a:pt x="696" y="182"/>
                    </a:lnTo>
                    <a:lnTo>
                      <a:pt x="696" y="182"/>
                    </a:lnTo>
                    <a:lnTo>
                      <a:pt x="686" y="190"/>
                    </a:lnTo>
                    <a:lnTo>
                      <a:pt x="680" y="192"/>
                    </a:lnTo>
                    <a:lnTo>
                      <a:pt x="674" y="190"/>
                    </a:lnTo>
                    <a:lnTo>
                      <a:pt x="670" y="186"/>
                    </a:lnTo>
                    <a:lnTo>
                      <a:pt x="666" y="178"/>
                    </a:lnTo>
                    <a:lnTo>
                      <a:pt x="662" y="168"/>
                    </a:lnTo>
                    <a:lnTo>
                      <a:pt x="652" y="148"/>
                    </a:lnTo>
                    <a:lnTo>
                      <a:pt x="652" y="148"/>
                    </a:lnTo>
                    <a:lnTo>
                      <a:pt x="648" y="138"/>
                    </a:lnTo>
                    <a:lnTo>
                      <a:pt x="642" y="134"/>
                    </a:lnTo>
                    <a:lnTo>
                      <a:pt x="638" y="134"/>
                    </a:lnTo>
                    <a:lnTo>
                      <a:pt x="632" y="134"/>
                    </a:lnTo>
                    <a:lnTo>
                      <a:pt x="628" y="134"/>
                    </a:lnTo>
                    <a:lnTo>
                      <a:pt x="622" y="134"/>
                    </a:lnTo>
                    <a:lnTo>
                      <a:pt x="616" y="128"/>
                    </a:lnTo>
                    <a:lnTo>
                      <a:pt x="610" y="120"/>
                    </a:lnTo>
                    <a:lnTo>
                      <a:pt x="610" y="120"/>
                    </a:lnTo>
                    <a:lnTo>
                      <a:pt x="602" y="110"/>
                    </a:lnTo>
                    <a:lnTo>
                      <a:pt x="594" y="104"/>
                    </a:lnTo>
                    <a:lnTo>
                      <a:pt x="586" y="100"/>
                    </a:lnTo>
                    <a:lnTo>
                      <a:pt x="578" y="100"/>
                    </a:lnTo>
                    <a:lnTo>
                      <a:pt x="560" y="98"/>
                    </a:lnTo>
                    <a:lnTo>
                      <a:pt x="552" y="98"/>
                    </a:lnTo>
                    <a:lnTo>
                      <a:pt x="546" y="94"/>
                    </a:lnTo>
                    <a:lnTo>
                      <a:pt x="546" y="94"/>
                    </a:lnTo>
                    <a:lnTo>
                      <a:pt x="528" y="88"/>
                    </a:lnTo>
                    <a:lnTo>
                      <a:pt x="518" y="84"/>
                    </a:lnTo>
                    <a:lnTo>
                      <a:pt x="506" y="82"/>
                    </a:lnTo>
                    <a:lnTo>
                      <a:pt x="494" y="84"/>
                    </a:lnTo>
                    <a:lnTo>
                      <a:pt x="484" y="88"/>
                    </a:lnTo>
                    <a:lnTo>
                      <a:pt x="474" y="94"/>
                    </a:lnTo>
                    <a:lnTo>
                      <a:pt x="466" y="106"/>
                    </a:lnTo>
                    <a:lnTo>
                      <a:pt x="466" y="106"/>
                    </a:lnTo>
                    <a:lnTo>
                      <a:pt x="462" y="112"/>
                    </a:lnTo>
                    <a:lnTo>
                      <a:pt x="460" y="116"/>
                    </a:lnTo>
                    <a:lnTo>
                      <a:pt x="456" y="118"/>
                    </a:lnTo>
                    <a:lnTo>
                      <a:pt x="452" y="118"/>
                    </a:lnTo>
                    <a:lnTo>
                      <a:pt x="444" y="116"/>
                    </a:lnTo>
                    <a:lnTo>
                      <a:pt x="436" y="112"/>
                    </a:lnTo>
                    <a:lnTo>
                      <a:pt x="428" y="106"/>
                    </a:lnTo>
                    <a:lnTo>
                      <a:pt x="420" y="104"/>
                    </a:lnTo>
                    <a:lnTo>
                      <a:pt x="416" y="102"/>
                    </a:lnTo>
                    <a:lnTo>
                      <a:pt x="412" y="104"/>
                    </a:lnTo>
                    <a:lnTo>
                      <a:pt x="408" y="106"/>
                    </a:lnTo>
                    <a:lnTo>
                      <a:pt x="404" y="110"/>
                    </a:lnTo>
                    <a:lnTo>
                      <a:pt x="404" y="110"/>
                    </a:lnTo>
                    <a:lnTo>
                      <a:pt x="396" y="118"/>
                    </a:lnTo>
                    <a:lnTo>
                      <a:pt x="388" y="124"/>
                    </a:lnTo>
                    <a:lnTo>
                      <a:pt x="380" y="130"/>
                    </a:lnTo>
                    <a:lnTo>
                      <a:pt x="376" y="132"/>
                    </a:lnTo>
                    <a:lnTo>
                      <a:pt x="372" y="132"/>
                    </a:lnTo>
                    <a:lnTo>
                      <a:pt x="370" y="130"/>
                    </a:lnTo>
                    <a:lnTo>
                      <a:pt x="372" y="126"/>
                    </a:lnTo>
                    <a:lnTo>
                      <a:pt x="376" y="118"/>
                    </a:lnTo>
                    <a:lnTo>
                      <a:pt x="376" y="118"/>
                    </a:lnTo>
                    <a:lnTo>
                      <a:pt x="382" y="110"/>
                    </a:lnTo>
                    <a:lnTo>
                      <a:pt x="386" y="100"/>
                    </a:lnTo>
                    <a:lnTo>
                      <a:pt x="388" y="90"/>
                    </a:lnTo>
                    <a:lnTo>
                      <a:pt x="388" y="82"/>
                    </a:lnTo>
                    <a:lnTo>
                      <a:pt x="386" y="72"/>
                    </a:lnTo>
                    <a:lnTo>
                      <a:pt x="382" y="64"/>
                    </a:lnTo>
                    <a:lnTo>
                      <a:pt x="376" y="58"/>
                    </a:lnTo>
                    <a:lnTo>
                      <a:pt x="368" y="54"/>
                    </a:lnTo>
                    <a:lnTo>
                      <a:pt x="368" y="54"/>
                    </a:lnTo>
                    <a:lnTo>
                      <a:pt x="360" y="50"/>
                    </a:lnTo>
                    <a:lnTo>
                      <a:pt x="356" y="44"/>
                    </a:lnTo>
                    <a:lnTo>
                      <a:pt x="356" y="38"/>
                    </a:lnTo>
                    <a:lnTo>
                      <a:pt x="354" y="32"/>
                    </a:lnTo>
                    <a:lnTo>
                      <a:pt x="354" y="24"/>
                    </a:lnTo>
                    <a:lnTo>
                      <a:pt x="352" y="18"/>
                    </a:lnTo>
                    <a:lnTo>
                      <a:pt x="346" y="14"/>
                    </a:lnTo>
                    <a:lnTo>
                      <a:pt x="338" y="12"/>
                    </a:lnTo>
                    <a:lnTo>
                      <a:pt x="338" y="12"/>
                    </a:lnTo>
                    <a:lnTo>
                      <a:pt x="326" y="10"/>
                    </a:lnTo>
                    <a:lnTo>
                      <a:pt x="306" y="12"/>
                    </a:lnTo>
                    <a:lnTo>
                      <a:pt x="282" y="14"/>
                    </a:lnTo>
                    <a:lnTo>
                      <a:pt x="260" y="18"/>
                    </a:lnTo>
                    <a:lnTo>
                      <a:pt x="236" y="24"/>
                    </a:lnTo>
                    <a:lnTo>
                      <a:pt x="218" y="32"/>
                    </a:lnTo>
                    <a:lnTo>
                      <a:pt x="210" y="38"/>
                    </a:lnTo>
                    <a:lnTo>
                      <a:pt x="204" y="44"/>
                    </a:lnTo>
                    <a:lnTo>
                      <a:pt x="200" y="50"/>
                    </a:lnTo>
                    <a:lnTo>
                      <a:pt x="198" y="56"/>
                    </a:lnTo>
                    <a:lnTo>
                      <a:pt x="198" y="56"/>
                    </a:lnTo>
                    <a:lnTo>
                      <a:pt x="198" y="62"/>
                    </a:lnTo>
                    <a:lnTo>
                      <a:pt x="196" y="66"/>
                    </a:lnTo>
                    <a:lnTo>
                      <a:pt x="194" y="68"/>
                    </a:lnTo>
                    <a:lnTo>
                      <a:pt x="192" y="70"/>
                    </a:lnTo>
                    <a:lnTo>
                      <a:pt x="186" y="72"/>
                    </a:lnTo>
                    <a:lnTo>
                      <a:pt x="178" y="70"/>
                    </a:lnTo>
                    <a:lnTo>
                      <a:pt x="174" y="72"/>
                    </a:lnTo>
                    <a:lnTo>
                      <a:pt x="172" y="72"/>
                    </a:lnTo>
                    <a:lnTo>
                      <a:pt x="172" y="74"/>
                    </a:lnTo>
                    <a:lnTo>
                      <a:pt x="174" y="84"/>
                    </a:lnTo>
                    <a:lnTo>
                      <a:pt x="182" y="100"/>
                    </a:lnTo>
                    <a:lnTo>
                      <a:pt x="182" y="100"/>
                    </a:lnTo>
                    <a:lnTo>
                      <a:pt x="188" y="116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8" y="130"/>
                    </a:lnTo>
                    <a:lnTo>
                      <a:pt x="184" y="130"/>
                    </a:lnTo>
                    <a:lnTo>
                      <a:pt x="180" y="132"/>
                    </a:lnTo>
                    <a:lnTo>
                      <a:pt x="174" y="132"/>
                    </a:lnTo>
                    <a:lnTo>
                      <a:pt x="168" y="134"/>
                    </a:lnTo>
                    <a:lnTo>
                      <a:pt x="168" y="136"/>
                    </a:lnTo>
                    <a:lnTo>
                      <a:pt x="168" y="138"/>
                    </a:lnTo>
                    <a:lnTo>
                      <a:pt x="174" y="148"/>
                    </a:lnTo>
                    <a:lnTo>
                      <a:pt x="174" y="148"/>
                    </a:lnTo>
                    <a:lnTo>
                      <a:pt x="184" y="158"/>
                    </a:lnTo>
                    <a:lnTo>
                      <a:pt x="192" y="164"/>
                    </a:lnTo>
                    <a:lnTo>
                      <a:pt x="200" y="166"/>
                    </a:lnTo>
                    <a:lnTo>
                      <a:pt x="208" y="166"/>
                    </a:lnTo>
                    <a:lnTo>
                      <a:pt x="212" y="164"/>
                    </a:lnTo>
                    <a:lnTo>
                      <a:pt x="218" y="166"/>
                    </a:lnTo>
                    <a:lnTo>
                      <a:pt x="220" y="168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2" y="180"/>
                    </a:lnTo>
                    <a:lnTo>
                      <a:pt x="220" y="182"/>
                    </a:lnTo>
                    <a:lnTo>
                      <a:pt x="216" y="184"/>
                    </a:lnTo>
                    <a:lnTo>
                      <a:pt x="210" y="184"/>
                    </a:lnTo>
                    <a:lnTo>
                      <a:pt x="196" y="180"/>
                    </a:lnTo>
                    <a:lnTo>
                      <a:pt x="180" y="174"/>
                    </a:lnTo>
                    <a:lnTo>
                      <a:pt x="164" y="164"/>
                    </a:lnTo>
                    <a:lnTo>
                      <a:pt x="152" y="150"/>
                    </a:lnTo>
                    <a:lnTo>
                      <a:pt x="148" y="144"/>
                    </a:lnTo>
                    <a:lnTo>
                      <a:pt x="146" y="136"/>
                    </a:lnTo>
                    <a:lnTo>
                      <a:pt x="146" y="130"/>
                    </a:lnTo>
                    <a:lnTo>
                      <a:pt x="150" y="122"/>
                    </a:lnTo>
                    <a:lnTo>
                      <a:pt x="150" y="122"/>
                    </a:lnTo>
                    <a:lnTo>
                      <a:pt x="154" y="110"/>
                    </a:lnTo>
                    <a:lnTo>
                      <a:pt x="152" y="102"/>
                    </a:lnTo>
                    <a:lnTo>
                      <a:pt x="150" y="98"/>
                    </a:lnTo>
                    <a:lnTo>
                      <a:pt x="144" y="94"/>
                    </a:lnTo>
                    <a:lnTo>
                      <a:pt x="142" y="90"/>
                    </a:lnTo>
                    <a:lnTo>
                      <a:pt x="140" y="84"/>
                    </a:lnTo>
                    <a:lnTo>
                      <a:pt x="144" y="74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68" y="44"/>
                    </a:lnTo>
                    <a:lnTo>
                      <a:pt x="180" y="34"/>
                    </a:lnTo>
                    <a:lnTo>
                      <a:pt x="188" y="26"/>
                    </a:lnTo>
                    <a:lnTo>
                      <a:pt x="198" y="22"/>
                    </a:lnTo>
                    <a:lnTo>
                      <a:pt x="208" y="16"/>
                    </a:lnTo>
                    <a:lnTo>
                      <a:pt x="212" y="14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2" y="8"/>
                    </a:lnTo>
                    <a:lnTo>
                      <a:pt x="210" y="6"/>
                    </a:lnTo>
                    <a:lnTo>
                      <a:pt x="200" y="2"/>
                    </a:lnTo>
                    <a:lnTo>
                      <a:pt x="184" y="0"/>
                    </a:lnTo>
                    <a:lnTo>
                      <a:pt x="164" y="0"/>
                    </a:lnTo>
                    <a:lnTo>
                      <a:pt x="140" y="2"/>
                    </a:lnTo>
                    <a:lnTo>
                      <a:pt x="116" y="8"/>
                    </a:lnTo>
                    <a:lnTo>
                      <a:pt x="92" y="1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52" y="38"/>
                    </a:lnTo>
                    <a:lnTo>
                      <a:pt x="40" y="48"/>
                    </a:lnTo>
                    <a:lnTo>
                      <a:pt x="34" y="56"/>
                    </a:lnTo>
                    <a:lnTo>
                      <a:pt x="32" y="62"/>
                    </a:lnTo>
                    <a:lnTo>
                      <a:pt x="30" y="72"/>
                    </a:lnTo>
                    <a:lnTo>
                      <a:pt x="28" y="76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18" y="90"/>
                    </a:lnTo>
                    <a:lnTo>
                      <a:pt x="14" y="96"/>
                    </a:lnTo>
                    <a:lnTo>
                      <a:pt x="8" y="112"/>
                    </a:lnTo>
                    <a:lnTo>
                      <a:pt x="4" y="132"/>
                    </a:lnTo>
                    <a:lnTo>
                      <a:pt x="2" y="156"/>
                    </a:lnTo>
                    <a:lnTo>
                      <a:pt x="2" y="156"/>
                    </a:lnTo>
                    <a:lnTo>
                      <a:pt x="0" y="168"/>
                    </a:lnTo>
                    <a:lnTo>
                      <a:pt x="0" y="178"/>
                    </a:lnTo>
                    <a:lnTo>
                      <a:pt x="2" y="184"/>
                    </a:lnTo>
                    <a:lnTo>
                      <a:pt x="8" y="188"/>
                    </a:lnTo>
                    <a:lnTo>
                      <a:pt x="14" y="192"/>
                    </a:lnTo>
                    <a:lnTo>
                      <a:pt x="26" y="194"/>
                    </a:lnTo>
                    <a:lnTo>
                      <a:pt x="58" y="196"/>
                    </a:lnTo>
                    <a:lnTo>
                      <a:pt x="58" y="196"/>
                    </a:lnTo>
                    <a:lnTo>
                      <a:pt x="76" y="200"/>
                    </a:lnTo>
                    <a:lnTo>
                      <a:pt x="90" y="202"/>
                    </a:lnTo>
                    <a:lnTo>
                      <a:pt x="100" y="208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2" y="218"/>
                    </a:lnTo>
                    <a:lnTo>
                      <a:pt x="94" y="220"/>
                    </a:lnTo>
                    <a:lnTo>
                      <a:pt x="78" y="218"/>
                    </a:lnTo>
                    <a:lnTo>
                      <a:pt x="78" y="218"/>
                    </a:lnTo>
                    <a:lnTo>
                      <a:pt x="50" y="216"/>
                    </a:lnTo>
                    <a:lnTo>
                      <a:pt x="40" y="216"/>
                    </a:lnTo>
                    <a:lnTo>
                      <a:pt x="32" y="218"/>
                    </a:lnTo>
                    <a:lnTo>
                      <a:pt x="32" y="220"/>
                    </a:lnTo>
                    <a:lnTo>
                      <a:pt x="30" y="222"/>
                    </a:lnTo>
                    <a:lnTo>
                      <a:pt x="32" y="228"/>
                    </a:lnTo>
                    <a:lnTo>
                      <a:pt x="40" y="238"/>
                    </a:lnTo>
                    <a:lnTo>
                      <a:pt x="52" y="250"/>
                    </a:lnTo>
                    <a:lnTo>
                      <a:pt x="52" y="250"/>
                    </a:lnTo>
                    <a:lnTo>
                      <a:pt x="68" y="262"/>
                    </a:lnTo>
                    <a:lnTo>
                      <a:pt x="82" y="268"/>
                    </a:lnTo>
                    <a:lnTo>
                      <a:pt x="94" y="270"/>
                    </a:lnTo>
                    <a:lnTo>
                      <a:pt x="106" y="270"/>
                    </a:lnTo>
                    <a:lnTo>
                      <a:pt x="118" y="270"/>
                    </a:lnTo>
                    <a:lnTo>
                      <a:pt x="130" y="270"/>
                    </a:lnTo>
                    <a:lnTo>
                      <a:pt x="142" y="272"/>
                    </a:lnTo>
                    <a:lnTo>
                      <a:pt x="152" y="278"/>
                    </a:lnTo>
                    <a:lnTo>
                      <a:pt x="152" y="278"/>
                    </a:lnTo>
                    <a:lnTo>
                      <a:pt x="162" y="284"/>
                    </a:lnTo>
                    <a:lnTo>
                      <a:pt x="174" y="288"/>
                    </a:lnTo>
                    <a:lnTo>
                      <a:pt x="184" y="290"/>
                    </a:lnTo>
                    <a:lnTo>
                      <a:pt x="194" y="288"/>
                    </a:lnTo>
                    <a:lnTo>
                      <a:pt x="208" y="286"/>
                    </a:lnTo>
                    <a:lnTo>
                      <a:pt x="218" y="286"/>
                    </a:lnTo>
                    <a:lnTo>
                      <a:pt x="218" y="286"/>
                    </a:lnTo>
                    <a:lnTo>
                      <a:pt x="234" y="288"/>
                    </a:lnTo>
                    <a:lnTo>
                      <a:pt x="244" y="290"/>
                    </a:lnTo>
                    <a:lnTo>
                      <a:pt x="260" y="290"/>
                    </a:lnTo>
                    <a:lnTo>
                      <a:pt x="268" y="290"/>
                    </a:lnTo>
                    <a:lnTo>
                      <a:pt x="276" y="290"/>
                    </a:lnTo>
                    <a:lnTo>
                      <a:pt x="288" y="292"/>
                    </a:lnTo>
                    <a:lnTo>
                      <a:pt x="304" y="296"/>
                    </a:lnTo>
                    <a:lnTo>
                      <a:pt x="304" y="296"/>
                    </a:lnTo>
                    <a:lnTo>
                      <a:pt x="316" y="300"/>
                    </a:lnTo>
                    <a:lnTo>
                      <a:pt x="324" y="298"/>
                    </a:lnTo>
                    <a:lnTo>
                      <a:pt x="328" y="296"/>
                    </a:lnTo>
                    <a:lnTo>
                      <a:pt x="332" y="292"/>
                    </a:lnTo>
                    <a:lnTo>
                      <a:pt x="336" y="290"/>
                    </a:lnTo>
                    <a:lnTo>
                      <a:pt x="340" y="290"/>
                    </a:lnTo>
                    <a:lnTo>
                      <a:pt x="346" y="292"/>
                    </a:lnTo>
                    <a:lnTo>
                      <a:pt x="356" y="298"/>
                    </a:lnTo>
                    <a:lnTo>
                      <a:pt x="356" y="298"/>
                    </a:lnTo>
                    <a:lnTo>
                      <a:pt x="374" y="312"/>
                    </a:lnTo>
                    <a:lnTo>
                      <a:pt x="378" y="314"/>
                    </a:lnTo>
                    <a:lnTo>
                      <a:pt x="380" y="312"/>
                    </a:lnTo>
                    <a:lnTo>
                      <a:pt x="378" y="310"/>
                    </a:lnTo>
                    <a:lnTo>
                      <a:pt x="376" y="306"/>
                    </a:lnTo>
                    <a:lnTo>
                      <a:pt x="362" y="292"/>
                    </a:lnTo>
                    <a:lnTo>
                      <a:pt x="362" y="292"/>
                    </a:lnTo>
                    <a:lnTo>
                      <a:pt x="358" y="284"/>
                    </a:lnTo>
                    <a:lnTo>
                      <a:pt x="358" y="282"/>
                    </a:lnTo>
                    <a:lnTo>
                      <a:pt x="360" y="282"/>
                    </a:lnTo>
                    <a:lnTo>
                      <a:pt x="368" y="282"/>
                    </a:lnTo>
                    <a:lnTo>
                      <a:pt x="380" y="284"/>
                    </a:lnTo>
                    <a:lnTo>
                      <a:pt x="410" y="290"/>
                    </a:lnTo>
                    <a:lnTo>
                      <a:pt x="444" y="296"/>
                    </a:lnTo>
                    <a:lnTo>
                      <a:pt x="444" y="296"/>
                    </a:lnTo>
                    <a:lnTo>
                      <a:pt x="450" y="296"/>
                    </a:lnTo>
                    <a:lnTo>
                      <a:pt x="454" y="296"/>
                    </a:lnTo>
                    <a:lnTo>
                      <a:pt x="458" y="294"/>
                    </a:lnTo>
                    <a:lnTo>
                      <a:pt x="460" y="290"/>
                    </a:lnTo>
                    <a:lnTo>
                      <a:pt x="462" y="284"/>
                    </a:lnTo>
                    <a:lnTo>
                      <a:pt x="460" y="274"/>
                    </a:lnTo>
                    <a:lnTo>
                      <a:pt x="456" y="260"/>
                    </a:lnTo>
                    <a:lnTo>
                      <a:pt x="456" y="260"/>
                    </a:lnTo>
                    <a:lnTo>
                      <a:pt x="458" y="260"/>
                    </a:lnTo>
                    <a:lnTo>
                      <a:pt x="464" y="264"/>
                    </a:lnTo>
                    <a:lnTo>
                      <a:pt x="464" y="264"/>
                    </a:lnTo>
                    <a:lnTo>
                      <a:pt x="472" y="270"/>
                    </a:lnTo>
                    <a:lnTo>
                      <a:pt x="478" y="272"/>
                    </a:lnTo>
                    <a:lnTo>
                      <a:pt x="484" y="272"/>
                    </a:lnTo>
                    <a:lnTo>
                      <a:pt x="490" y="272"/>
                    </a:lnTo>
                    <a:lnTo>
                      <a:pt x="494" y="272"/>
                    </a:lnTo>
                    <a:lnTo>
                      <a:pt x="498" y="274"/>
                    </a:lnTo>
                    <a:lnTo>
                      <a:pt x="500" y="278"/>
                    </a:lnTo>
                    <a:lnTo>
                      <a:pt x="502" y="286"/>
                    </a:lnTo>
                    <a:lnTo>
                      <a:pt x="502" y="286"/>
                    </a:lnTo>
                    <a:lnTo>
                      <a:pt x="502" y="294"/>
                    </a:lnTo>
                    <a:lnTo>
                      <a:pt x="504" y="302"/>
                    </a:lnTo>
                    <a:lnTo>
                      <a:pt x="508" y="306"/>
                    </a:lnTo>
                    <a:lnTo>
                      <a:pt x="512" y="310"/>
                    </a:lnTo>
                    <a:lnTo>
                      <a:pt x="528" y="318"/>
                    </a:lnTo>
                    <a:lnTo>
                      <a:pt x="556" y="326"/>
                    </a:lnTo>
                    <a:lnTo>
                      <a:pt x="556" y="326"/>
                    </a:lnTo>
                    <a:lnTo>
                      <a:pt x="570" y="332"/>
                    </a:lnTo>
                    <a:lnTo>
                      <a:pt x="580" y="338"/>
                    </a:lnTo>
                    <a:lnTo>
                      <a:pt x="584" y="344"/>
                    </a:lnTo>
                    <a:lnTo>
                      <a:pt x="584" y="348"/>
                    </a:lnTo>
                    <a:lnTo>
                      <a:pt x="580" y="352"/>
                    </a:lnTo>
                    <a:lnTo>
                      <a:pt x="574" y="356"/>
                    </a:lnTo>
                    <a:lnTo>
                      <a:pt x="568" y="356"/>
                    </a:lnTo>
                    <a:lnTo>
                      <a:pt x="558" y="356"/>
                    </a:lnTo>
                    <a:lnTo>
                      <a:pt x="558" y="356"/>
                    </a:lnTo>
                    <a:lnTo>
                      <a:pt x="550" y="358"/>
                    </a:lnTo>
                    <a:lnTo>
                      <a:pt x="542" y="360"/>
                    </a:lnTo>
                    <a:lnTo>
                      <a:pt x="538" y="366"/>
                    </a:lnTo>
                    <a:lnTo>
                      <a:pt x="538" y="370"/>
                    </a:lnTo>
                    <a:lnTo>
                      <a:pt x="538" y="376"/>
                    </a:lnTo>
                    <a:lnTo>
                      <a:pt x="544" y="378"/>
                    </a:lnTo>
                    <a:lnTo>
                      <a:pt x="550" y="380"/>
                    </a:lnTo>
                    <a:lnTo>
                      <a:pt x="562" y="378"/>
                    </a:lnTo>
                    <a:lnTo>
                      <a:pt x="562" y="378"/>
                    </a:lnTo>
                    <a:lnTo>
                      <a:pt x="576" y="374"/>
                    </a:lnTo>
                    <a:lnTo>
                      <a:pt x="590" y="374"/>
                    </a:lnTo>
                    <a:lnTo>
                      <a:pt x="606" y="376"/>
                    </a:lnTo>
                    <a:lnTo>
                      <a:pt x="618" y="380"/>
                    </a:lnTo>
                    <a:lnTo>
                      <a:pt x="630" y="384"/>
                    </a:lnTo>
                    <a:lnTo>
                      <a:pt x="640" y="390"/>
                    </a:lnTo>
                    <a:lnTo>
                      <a:pt x="648" y="396"/>
                    </a:lnTo>
                    <a:lnTo>
                      <a:pt x="654" y="402"/>
                    </a:lnTo>
                    <a:lnTo>
                      <a:pt x="654" y="402"/>
                    </a:lnTo>
                    <a:lnTo>
                      <a:pt x="656" y="406"/>
                    </a:lnTo>
                    <a:lnTo>
                      <a:pt x="662" y="408"/>
                    </a:lnTo>
                    <a:lnTo>
                      <a:pt x="674" y="414"/>
                    </a:lnTo>
                    <a:lnTo>
                      <a:pt x="682" y="416"/>
                    </a:lnTo>
                    <a:lnTo>
                      <a:pt x="688" y="420"/>
                    </a:lnTo>
                    <a:lnTo>
                      <a:pt x="692" y="428"/>
                    </a:lnTo>
                    <a:lnTo>
                      <a:pt x="696" y="438"/>
                    </a:lnTo>
                    <a:lnTo>
                      <a:pt x="696" y="438"/>
                    </a:lnTo>
                    <a:lnTo>
                      <a:pt x="698" y="450"/>
                    </a:lnTo>
                    <a:lnTo>
                      <a:pt x="704" y="460"/>
                    </a:lnTo>
                    <a:lnTo>
                      <a:pt x="712" y="474"/>
                    </a:lnTo>
                    <a:lnTo>
                      <a:pt x="716" y="480"/>
                    </a:lnTo>
                    <a:lnTo>
                      <a:pt x="718" y="486"/>
                    </a:lnTo>
                    <a:lnTo>
                      <a:pt x="716" y="490"/>
                    </a:lnTo>
                    <a:lnTo>
                      <a:pt x="710" y="494"/>
                    </a:lnTo>
                    <a:lnTo>
                      <a:pt x="710" y="494"/>
                    </a:lnTo>
                    <a:lnTo>
                      <a:pt x="696" y="504"/>
                    </a:lnTo>
                    <a:lnTo>
                      <a:pt x="682" y="518"/>
                    </a:lnTo>
                    <a:lnTo>
                      <a:pt x="668" y="532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44" y="554"/>
                    </a:lnTo>
                    <a:lnTo>
                      <a:pt x="640" y="558"/>
                    </a:lnTo>
                    <a:lnTo>
                      <a:pt x="640" y="564"/>
                    </a:lnTo>
                    <a:lnTo>
                      <a:pt x="642" y="570"/>
                    </a:lnTo>
                    <a:lnTo>
                      <a:pt x="646" y="580"/>
                    </a:lnTo>
                    <a:lnTo>
                      <a:pt x="654" y="590"/>
                    </a:lnTo>
                    <a:lnTo>
                      <a:pt x="666" y="604"/>
                    </a:lnTo>
                    <a:lnTo>
                      <a:pt x="666" y="606"/>
                    </a:lnTo>
                    <a:lnTo>
                      <a:pt x="666" y="608"/>
                    </a:lnTo>
                    <a:lnTo>
                      <a:pt x="656" y="606"/>
                    </a:lnTo>
                    <a:lnTo>
                      <a:pt x="656" y="606"/>
                    </a:lnTo>
                    <a:lnTo>
                      <a:pt x="646" y="602"/>
                    </a:lnTo>
                    <a:lnTo>
                      <a:pt x="636" y="604"/>
                    </a:lnTo>
                    <a:lnTo>
                      <a:pt x="628" y="608"/>
                    </a:lnTo>
                    <a:lnTo>
                      <a:pt x="620" y="612"/>
                    </a:lnTo>
                    <a:lnTo>
                      <a:pt x="608" y="616"/>
                    </a:lnTo>
                    <a:lnTo>
                      <a:pt x="594" y="620"/>
                    </a:lnTo>
                    <a:lnTo>
                      <a:pt x="576" y="620"/>
                    </a:lnTo>
                    <a:lnTo>
                      <a:pt x="552" y="614"/>
                    </a:lnTo>
                    <a:lnTo>
                      <a:pt x="552" y="614"/>
                    </a:lnTo>
                    <a:lnTo>
                      <a:pt x="528" y="610"/>
                    </a:lnTo>
                    <a:lnTo>
                      <a:pt x="516" y="608"/>
                    </a:lnTo>
                    <a:lnTo>
                      <a:pt x="510" y="608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0" y="624"/>
                    </a:lnTo>
                    <a:lnTo>
                      <a:pt x="504" y="630"/>
                    </a:lnTo>
                    <a:lnTo>
                      <a:pt x="494" y="638"/>
                    </a:lnTo>
                    <a:lnTo>
                      <a:pt x="494" y="638"/>
                    </a:lnTo>
                    <a:lnTo>
                      <a:pt x="488" y="642"/>
                    </a:lnTo>
                    <a:lnTo>
                      <a:pt x="484" y="648"/>
                    </a:lnTo>
                    <a:lnTo>
                      <a:pt x="482" y="652"/>
                    </a:lnTo>
                    <a:lnTo>
                      <a:pt x="480" y="658"/>
                    </a:lnTo>
                    <a:lnTo>
                      <a:pt x="482" y="664"/>
                    </a:lnTo>
                    <a:lnTo>
                      <a:pt x="484" y="668"/>
                    </a:lnTo>
                    <a:lnTo>
                      <a:pt x="494" y="678"/>
                    </a:lnTo>
                    <a:lnTo>
                      <a:pt x="506" y="686"/>
                    </a:lnTo>
                    <a:lnTo>
                      <a:pt x="514" y="688"/>
                    </a:lnTo>
                    <a:lnTo>
                      <a:pt x="522" y="690"/>
                    </a:lnTo>
                    <a:lnTo>
                      <a:pt x="532" y="690"/>
                    </a:lnTo>
                    <a:lnTo>
                      <a:pt x="542" y="690"/>
                    </a:lnTo>
                    <a:lnTo>
                      <a:pt x="552" y="686"/>
                    </a:lnTo>
                    <a:lnTo>
                      <a:pt x="562" y="682"/>
                    </a:lnTo>
                    <a:lnTo>
                      <a:pt x="562" y="682"/>
                    </a:lnTo>
                    <a:lnTo>
                      <a:pt x="580" y="676"/>
                    </a:lnTo>
                    <a:lnTo>
                      <a:pt x="592" y="674"/>
                    </a:lnTo>
                    <a:lnTo>
                      <a:pt x="602" y="676"/>
                    </a:lnTo>
                    <a:lnTo>
                      <a:pt x="608" y="680"/>
                    </a:lnTo>
                    <a:lnTo>
                      <a:pt x="612" y="684"/>
                    </a:lnTo>
                    <a:lnTo>
                      <a:pt x="616" y="688"/>
                    </a:lnTo>
                    <a:lnTo>
                      <a:pt x="622" y="686"/>
                    </a:lnTo>
                    <a:lnTo>
                      <a:pt x="628" y="680"/>
                    </a:lnTo>
                    <a:lnTo>
                      <a:pt x="628" y="680"/>
                    </a:lnTo>
                    <a:lnTo>
                      <a:pt x="634" y="674"/>
                    </a:lnTo>
                    <a:lnTo>
                      <a:pt x="640" y="674"/>
                    </a:lnTo>
                    <a:lnTo>
                      <a:pt x="642" y="676"/>
                    </a:lnTo>
                    <a:lnTo>
                      <a:pt x="644" y="680"/>
                    </a:lnTo>
                    <a:lnTo>
                      <a:pt x="646" y="688"/>
                    </a:lnTo>
                    <a:lnTo>
                      <a:pt x="648" y="690"/>
                    </a:lnTo>
                    <a:lnTo>
                      <a:pt x="650" y="686"/>
                    </a:lnTo>
                    <a:lnTo>
                      <a:pt x="650" y="686"/>
                    </a:lnTo>
                    <a:lnTo>
                      <a:pt x="656" y="674"/>
                    </a:lnTo>
                    <a:lnTo>
                      <a:pt x="658" y="672"/>
                    </a:lnTo>
                    <a:lnTo>
                      <a:pt x="662" y="672"/>
                    </a:lnTo>
                    <a:lnTo>
                      <a:pt x="666" y="674"/>
                    </a:lnTo>
                    <a:lnTo>
                      <a:pt x="672" y="680"/>
                    </a:lnTo>
                    <a:lnTo>
                      <a:pt x="696" y="706"/>
                    </a:lnTo>
                    <a:lnTo>
                      <a:pt x="696" y="706"/>
                    </a:lnTo>
                    <a:lnTo>
                      <a:pt x="708" y="720"/>
                    </a:lnTo>
                    <a:lnTo>
                      <a:pt x="718" y="726"/>
                    </a:lnTo>
                    <a:lnTo>
                      <a:pt x="724" y="728"/>
                    </a:lnTo>
                    <a:lnTo>
                      <a:pt x="728" y="728"/>
                    </a:lnTo>
                    <a:lnTo>
                      <a:pt x="732" y="726"/>
                    </a:lnTo>
                    <a:lnTo>
                      <a:pt x="736" y="724"/>
                    </a:lnTo>
                    <a:lnTo>
                      <a:pt x="742" y="726"/>
                    </a:lnTo>
                    <a:lnTo>
                      <a:pt x="750" y="732"/>
                    </a:lnTo>
                    <a:lnTo>
                      <a:pt x="750" y="732"/>
                    </a:lnTo>
                    <a:lnTo>
                      <a:pt x="756" y="738"/>
                    </a:lnTo>
                    <a:lnTo>
                      <a:pt x="756" y="740"/>
                    </a:lnTo>
                    <a:lnTo>
                      <a:pt x="754" y="742"/>
                    </a:lnTo>
                    <a:lnTo>
                      <a:pt x="750" y="744"/>
                    </a:lnTo>
                    <a:lnTo>
                      <a:pt x="742" y="744"/>
                    </a:lnTo>
                    <a:lnTo>
                      <a:pt x="734" y="746"/>
                    </a:lnTo>
                    <a:lnTo>
                      <a:pt x="732" y="748"/>
                    </a:lnTo>
                    <a:lnTo>
                      <a:pt x="732" y="750"/>
                    </a:lnTo>
                    <a:lnTo>
                      <a:pt x="732" y="752"/>
                    </a:lnTo>
                    <a:lnTo>
                      <a:pt x="734" y="756"/>
                    </a:lnTo>
                    <a:lnTo>
                      <a:pt x="744" y="768"/>
                    </a:lnTo>
                    <a:lnTo>
                      <a:pt x="744" y="768"/>
                    </a:lnTo>
                    <a:lnTo>
                      <a:pt x="754" y="776"/>
                    </a:lnTo>
                    <a:lnTo>
                      <a:pt x="766" y="780"/>
                    </a:lnTo>
                    <a:lnTo>
                      <a:pt x="792" y="788"/>
                    </a:lnTo>
                    <a:lnTo>
                      <a:pt x="816" y="794"/>
                    </a:lnTo>
                    <a:lnTo>
                      <a:pt x="826" y="798"/>
                    </a:lnTo>
                    <a:lnTo>
                      <a:pt x="834" y="804"/>
                    </a:lnTo>
                    <a:lnTo>
                      <a:pt x="834" y="804"/>
                    </a:lnTo>
                    <a:lnTo>
                      <a:pt x="842" y="812"/>
                    </a:lnTo>
                    <a:lnTo>
                      <a:pt x="854" y="818"/>
                    </a:lnTo>
                    <a:lnTo>
                      <a:pt x="868" y="824"/>
                    </a:lnTo>
                    <a:lnTo>
                      <a:pt x="882" y="828"/>
                    </a:lnTo>
                    <a:lnTo>
                      <a:pt x="916" y="836"/>
                    </a:lnTo>
                    <a:lnTo>
                      <a:pt x="948" y="846"/>
                    </a:lnTo>
                    <a:lnTo>
                      <a:pt x="948" y="846"/>
                    </a:lnTo>
                    <a:lnTo>
                      <a:pt x="962" y="850"/>
                    </a:lnTo>
                    <a:lnTo>
                      <a:pt x="970" y="850"/>
                    </a:lnTo>
                    <a:lnTo>
                      <a:pt x="972" y="848"/>
                    </a:lnTo>
                    <a:lnTo>
                      <a:pt x="974" y="846"/>
                    </a:lnTo>
                    <a:lnTo>
                      <a:pt x="974" y="840"/>
                    </a:lnTo>
                    <a:lnTo>
                      <a:pt x="972" y="832"/>
                    </a:lnTo>
                    <a:lnTo>
                      <a:pt x="966" y="822"/>
                    </a:lnTo>
                    <a:lnTo>
                      <a:pt x="958" y="812"/>
                    </a:lnTo>
                    <a:lnTo>
                      <a:pt x="948" y="802"/>
                    </a:lnTo>
                    <a:lnTo>
                      <a:pt x="948" y="802"/>
                    </a:lnTo>
                    <a:lnTo>
                      <a:pt x="936" y="792"/>
                    </a:lnTo>
                    <a:lnTo>
                      <a:pt x="920" y="780"/>
                    </a:lnTo>
                    <a:lnTo>
                      <a:pt x="888" y="758"/>
                    </a:lnTo>
                    <a:lnTo>
                      <a:pt x="872" y="748"/>
                    </a:lnTo>
                    <a:lnTo>
                      <a:pt x="862" y="738"/>
                    </a:lnTo>
                    <a:lnTo>
                      <a:pt x="854" y="732"/>
                    </a:lnTo>
                    <a:lnTo>
                      <a:pt x="854" y="728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8" y="722"/>
                    </a:lnTo>
                    <a:lnTo>
                      <a:pt x="864" y="724"/>
                    </a:lnTo>
                    <a:lnTo>
                      <a:pt x="880" y="736"/>
                    </a:lnTo>
                    <a:lnTo>
                      <a:pt x="894" y="748"/>
                    </a:lnTo>
                    <a:lnTo>
                      <a:pt x="900" y="748"/>
                    </a:lnTo>
                    <a:lnTo>
                      <a:pt x="902" y="748"/>
                    </a:lnTo>
                    <a:lnTo>
                      <a:pt x="902" y="746"/>
                    </a:lnTo>
                    <a:lnTo>
                      <a:pt x="902" y="746"/>
                    </a:lnTo>
                    <a:lnTo>
                      <a:pt x="902" y="742"/>
                    </a:lnTo>
                    <a:lnTo>
                      <a:pt x="904" y="742"/>
                    </a:lnTo>
                    <a:lnTo>
                      <a:pt x="908" y="744"/>
                    </a:lnTo>
                    <a:lnTo>
                      <a:pt x="924" y="754"/>
                    </a:lnTo>
                    <a:lnTo>
                      <a:pt x="932" y="762"/>
                    </a:lnTo>
                    <a:lnTo>
                      <a:pt x="944" y="770"/>
                    </a:lnTo>
                    <a:lnTo>
                      <a:pt x="956" y="776"/>
                    </a:lnTo>
                    <a:lnTo>
                      <a:pt x="968" y="778"/>
                    </a:lnTo>
                    <a:lnTo>
                      <a:pt x="968" y="778"/>
                    </a:lnTo>
                    <a:lnTo>
                      <a:pt x="980" y="782"/>
                    </a:lnTo>
                    <a:lnTo>
                      <a:pt x="990" y="788"/>
                    </a:lnTo>
                    <a:lnTo>
                      <a:pt x="998" y="798"/>
                    </a:lnTo>
                    <a:lnTo>
                      <a:pt x="1004" y="806"/>
                    </a:lnTo>
                    <a:lnTo>
                      <a:pt x="1010" y="812"/>
                    </a:lnTo>
                    <a:lnTo>
                      <a:pt x="1012" y="814"/>
                    </a:lnTo>
                    <a:lnTo>
                      <a:pt x="1014" y="812"/>
                    </a:lnTo>
                    <a:lnTo>
                      <a:pt x="1012" y="802"/>
                    </a:lnTo>
                    <a:lnTo>
                      <a:pt x="1012" y="802"/>
                    </a:lnTo>
                    <a:lnTo>
                      <a:pt x="1012" y="792"/>
                    </a:lnTo>
                    <a:lnTo>
                      <a:pt x="1012" y="788"/>
                    </a:lnTo>
                    <a:lnTo>
                      <a:pt x="1014" y="788"/>
                    </a:lnTo>
                    <a:lnTo>
                      <a:pt x="1016" y="788"/>
                    </a:lnTo>
                    <a:lnTo>
                      <a:pt x="1018" y="788"/>
                    </a:lnTo>
                    <a:lnTo>
                      <a:pt x="1020" y="786"/>
                    </a:lnTo>
                    <a:lnTo>
                      <a:pt x="1020" y="780"/>
                    </a:lnTo>
                    <a:lnTo>
                      <a:pt x="1018" y="766"/>
                    </a:lnTo>
                    <a:lnTo>
                      <a:pt x="1018" y="766"/>
                    </a:lnTo>
                    <a:lnTo>
                      <a:pt x="1016" y="750"/>
                    </a:lnTo>
                    <a:lnTo>
                      <a:pt x="1018" y="752"/>
                    </a:lnTo>
                    <a:lnTo>
                      <a:pt x="1020" y="754"/>
                    </a:lnTo>
                    <a:lnTo>
                      <a:pt x="1022" y="758"/>
                    </a:lnTo>
                    <a:lnTo>
                      <a:pt x="1026" y="760"/>
                    </a:lnTo>
                    <a:lnTo>
                      <a:pt x="1028" y="756"/>
                    </a:lnTo>
                    <a:lnTo>
                      <a:pt x="1032" y="746"/>
                    </a:lnTo>
                    <a:lnTo>
                      <a:pt x="1032" y="746"/>
                    </a:lnTo>
                    <a:lnTo>
                      <a:pt x="1032" y="734"/>
                    </a:lnTo>
                    <a:lnTo>
                      <a:pt x="1030" y="728"/>
                    </a:lnTo>
                    <a:lnTo>
                      <a:pt x="1026" y="724"/>
                    </a:lnTo>
                    <a:lnTo>
                      <a:pt x="1022" y="724"/>
                    </a:lnTo>
                    <a:lnTo>
                      <a:pt x="1018" y="722"/>
                    </a:lnTo>
                    <a:lnTo>
                      <a:pt x="1014" y="722"/>
                    </a:lnTo>
                    <a:lnTo>
                      <a:pt x="1014" y="720"/>
                    </a:lnTo>
                    <a:lnTo>
                      <a:pt x="1018" y="714"/>
                    </a:lnTo>
                    <a:lnTo>
                      <a:pt x="1018" y="714"/>
                    </a:lnTo>
                    <a:lnTo>
                      <a:pt x="1022" y="708"/>
                    </a:lnTo>
                    <a:lnTo>
                      <a:pt x="1020" y="704"/>
                    </a:lnTo>
                    <a:lnTo>
                      <a:pt x="1016" y="702"/>
                    </a:lnTo>
                    <a:lnTo>
                      <a:pt x="1012" y="700"/>
                    </a:lnTo>
                    <a:lnTo>
                      <a:pt x="1006" y="700"/>
                    </a:lnTo>
                    <a:lnTo>
                      <a:pt x="1000" y="698"/>
                    </a:lnTo>
                    <a:lnTo>
                      <a:pt x="1000" y="694"/>
                    </a:lnTo>
                    <a:lnTo>
                      <a:pt x="1002" y="688"/>
                    </a:lnTo>
                    <a:lnTo>
                      <a:pt x="1002" y="688"/>
                    </a:lnTo>
                    <a:lnTo>
                      <a:pt x="1006" y="682"/>
                    </a:lnTo>
                    <a:lnTo>
                      <a:pt x="1010" y="676"/>
                    </a:lnTo>
                    <a:lnTo>
                      <a:pt x="1008" y="672"/>
                    </a:lnTo>
                    <a:lnTo>
                      <a:pt x="1006" y="668"/>
                    </a:lnTo>
                    <a:lnTo>
                      <a:pt x="1000" y="664"/>
                    </a:lnTo>
                    <a:lnTo>
                      <a:pt x="992" y="660"/>
                    </a:lnTo>
                    <a:lnTo>
                      <a:pt x="966" y="648"/>
                    </a:lnTo>
                    <a:lnTo>
                      <a:pt x="966" y="648"/>
                    </a:lnTo>
                    <a:lnTo>
                      <a:pt x="952" y="642"/>
                    </a:lnTo>
                    <a:lnTo>
                      <a:pt x="942" y="632"/>
                    </a:lnTo>
                    <a:lnTo>
                      <a:pt x="936" y="622"/>
                    </a:lnTo>
                    <a:lnTo>
                      <a:pt x="930" y="612"/>
                    </a:lnTo>
                    <a:lnTo>
                      <a:pt x="928" y="602"/>
                    </a:lnTo>
                    <a:lnTo>
                      <a:pt x="924" y="596"/>
                    </a:lnTo>
                    <a:lnTo>
                      <a:pt x="918" y="592"/>
                    </a:lnTo>
                    <a:lnTo>
                      <a:pt x="912" y="592"/>
                    </a:lnTo>
                    <a:lnTo>
                      <a:pt x="912" y="592"/>
                    </a:lnTo>
                    <a:lnTo>
                      <a:pt x="904" y="594"/>
                    </a:lnTo>
                    <a:lnTo>
                      <a:pt x="896" y="594"/>
                    </a:lnTo>
                    <a:lnTo>
                      <a:pt x="892" y="592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4" y="584"/>
                    </a:lnTo>
                    <a:lnTo>
                      <a:pt x="900" y="580"/>
                    </a:lnTo>
                    <a:lnTo>
                      <a:pt x="908" y="578"/>
                    </a:lnTo>
                    <a:lnTo>
                      <a:pt x="908" y="578"/>
                    </a:lnTo>
                    <a:lnTo>
                      <a:pt x="912" y="576"/>
                    </a:lnTo>
                    <a:lnTo>
                      <a:pt x="916" y="576"/>
                    </a:lnTo>
                    <a:lnTo>
                      <a:pt x="916" y="572"/>
                    </a:lnTo>
                    <a:lnTo>
                      <a:pt x="916" y="570"/>
                    </a:lnTo>
                    <a:lnTo>
                      <a:pt x="914" y="564"/>
                    </a:lnTo>
                    <a:lnTo>
                      <a:pt x="910" y="556"/>
                    </a:lnTo>
                    <a:lnTo>
                      <a:pt x="902" y="546"/>
                    </a:lnTo>
                    <a:lnTo>
                      <a:pt x="902" y="544"/>
                    </a:lnTo>
                    <a:lnTo>
                      <a:pt x="904" y="544"/>
                    </a:lnTo>
                    <a:lnTo>
                      <a:pt x="910" y="546"/>
                    </a:lnTo>
                    <a:lnTo>
                      <a:pt x="910" y="546"/>
                    </a:lnTo>
                    <a:lnTo>
                      <a:pt x="918" y="548"/>
                    </a:lnTo>
                    <a:lnTo>
                      <a:pt x="924" y="546"/>
                    </a:lnTo>
                    <a:lnTo>
                      <a:pt x="928" y="542"/>
                    </a:lnTo>
                    <a:lnTo>
                      <a:pt x="930" y="538"/>
                    </a:lnTo>
                    <a:lnTo>
                      <a:pt x="932" y="536"/>
                    </a:lnTo>
                    <a:lnTo>
                      <a:pt x="934" y="534"/>
                    </a:lnTo>
                    <a:lnTo>
                      <a:pt x="938" y="536"/>
                    </a:lnTo>
                    <a:lnTo>
                      <a:pt x="942" y="544"/>
                    </a:lnTo>
                    <a:lnTo>
                      <a:pt x="942" y="544"/>
                    </a:lnTo>
                    <a:lnTo>
                      <a:pt x="950" y="552"/>
                    </a:lnTo>
                    <a:lnTo>
                      <a:pt x="954" y="556"/>
                    </a:lnTo>
                    <a:lnTo>
                      <a:pt x="958" y="558"/>
                    </a:lnTo>
                    <a:lnTo>
                      <a:pt x="962" y="558"/>
                    </a:lnTo>
                    <a:lnTo>
                      <a:pt x="968" y="560"/>
                    </a:lnTo>
                    <a:lnTo>
                      <a:pt x="972" y="562"/>
                    </a:lnTo>
                    <a:lnTo>
                      <a:pt x="974" y="568"/>
                    </a:lnTo>
                    <a:lnTo>
                      <a:pt x="974" y="568"/>
                    </a:lnTo>
                    <a:lnTo>
                      <a:pt x="976" y="574"/>
                    </a:lnTo>
                    <a:lnTo>
                      <a:pt x="980" y="576"/>
                    </a:lnTo>
                    <a:lnTo>
                      <a:pt x="986" y="580"/>
                    </a:lnTo>
                    <a:lnTo>
                      <a:pt x="990" y="580"/>
                    </a:lnTo>
                    <a:lnTo>
                      <a:pt x="992" y="582"/>
                    </a:lnTo>
                    <a:lnTo>
                      <a:pt x="994" y="586"/>
                    </a:lnTo>
                    <a:lnTo>
                      <a:pt x="994" y="592"/>
                    </a:lnTo>
                    <a:lnTo>
                      <a:pt x="994" y="592"/>
                    </a:lnTo>
                    <a:lnTo>
                      <a:pt x="994" y="596"/>
                    </a:lnTo>
                    <a:lnTo>
                      <a:pt x="996" y="600"/>
                    </a:lnTo>
                    <a:lnTo>
                      <a:pt x="1008" y="614"/>
                    </a:lnTo>
                    <a:lnTo>
                      <a:pt x="1022" y="626"/>
                    </a:lnTo>
                    <a:lnTo>
                      <a:pt x="1040" y="638"/>
                    </a:lnTo>
                    <a:lnTo>
                      <a:pt x="1056" y="646"/>
                    </a:lnTo>
                    <a:lnTo>
                      <a:pt x="1064" y="648"/>
                    </a:lnTo>
                    <a:lnTo>
                      <a:pt x="1070" y="648"/>
                    </a:lnTo>
                    <a:lnTo>
                      <a:pt x="1074" y="646"/>
                    </a:lnTo>
                    <a:lnTo>
                      <a:pt x="1078" y="642"/>
                    </a:lnTo>
                    <a:lnTo>
                      <a:pt x="1080" y="636"/>
                    </a:lnTo>
                    <a:lnTo>
                      <a:pt x="1078" y="628"/>
                    </a:lnTo>
                    <a:lnTo>
                      <a:pt x="1078" y="628"/>
                    </a:lnTo>
                    <a:lnTo>
                      <a:pt x="1078" y="618"/>
                    </a:lnTo>
                    <a:lnTo>
                      <a:pt x="1078" y="612"/>
                    </a:lnTo>
                    <a:lnTo>
                      <a:pt x="1080" y="606"/>
                    </a:lnTo>
                    <a:lnTo>
                      <a:pt x="1082" y="602"/>
                    </a:lnTo>
                    <a:lnTo>
                      <a:pt x="1086" y="600"/>
                    </a:lnTo>
                    <a:lnTo>
                      <a:pt x="1092" y="598"/>
                    </a:lnTo>
                    <a:lnTo>
                      <a:pt x="1102" y="596"/>
                    </a:lnTo>
                    <a:lnTo>
                      <a:pt x="1118" y="598"/>
                    </a:lnTo>
                    <a:lnTo>
                      <a:pt x="1122" y="596"/>
                    </a:lnTo>
                    <a:lnTo>
                      <a:pt x="1122" y="596"/>
                    </a:lnTo>
                    <a:lnTo>
                      <a:pt x="1122" y="592"/>
                    </a:lnTo>
                    <a:lnTo>
                      <a:pt x="1122" y="588"/>
                    </a:lnTo>
                    <a:lnTo>
                      <a:pt x="1122" y="588"/>
                    </a:lnTo>
                    <a:lnTo>
                      <a:pt x="1118" y="582"/>
                    </a:lnTo>
                    <a:lnTo>
                      <a:pt x="1118" y="576"/>
                    </a:lnTo>
                    <a:lnTo>
                      <a:pt x="1120" y="574"/>
                    </a:lnTo>
                    <a:lnTo>
                      <a:pt x="1122" y="574"/>
                    </a:lnTo>
                    <a:lnTo>
                      <a:pt x="1128" y="570"/>
                    </a:lnTo>
                    <a:lnTo>
                      <a:pt x="1128" y="568"/>
                    </a:lnTo>
                    <a:lnTo>
                      <a:pt x="1126" y="564"/>
                    </a:lnTo>
                    <a:lnTo>
                      <a:pt x="1126" y="564"/>
                    </a:lnTo>
                    <a:lnTo>
                      <a:pt x="1126" y="560"/>
                    </a:lnTo>
                    <a:lnTo>
                      <a:pt x="1126" y="558"/>
                    </a:lnTo>
                    <a:lnTo>
                      <a:pt x="1130" y="554"/>
                    </a:lnTo>
                    <a:lnTo>
                      <a:pt x="1144" y="548"/>
                    </a:lnTo>
                    <a:lnTo>
                      <a:pt x="1150" y="544"/>
                    </a:lnTo>
                    <a:lnTo>
                      <a:pt x="1154" y="536"/>
                    </a:lnTo>
                    <a:lnTo>
                      <a:pt x="1156" y="532"/>
                    </a:lnTo>
                    <a:lnTo>
                      <a:pt x="1154" y="528"/>
                    </a:lnTo>
                    <a:lnTo>
                      <a:pt x="1148" y="514"/>
                    </a:lnTo>
                    <a:lnTo>
                      <a:pt x="1148" y="5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4" name="Freeform 6089">
                <a:extLst>
                  <a:ext uri="{FF2B5EF4-FFF2-40B4-BE49-F238E27FC236}">
                    <a16:creationId xmlns:a16="http://schemas.microsoft.com/office/drawing/2014/main" id="{36923DF5-2329-495E-95CC-CBAB6942BC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1770" y="1751013"/>
                <a:ext cx="20320" cy="1524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8" y="18"/>
                  </a:cxn>
                  <a:cxn ang="0">
                    <a:pos x="14" y="22"/>
                  </a:cxn>
                  <a:cxn ang="0">
                    <a:pos x="20" y="24"/>
                  </a:cxn>
                  <a:cxn ang="0">
                    <a:pos x="26" y="24"/>
                  </a:cxn>
                  <a:cxn ang="0">
                    <a:pos x="30" y="22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2" y="12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32" h="24">
                    <a:moveTo>
                      <a:pt x="6" y="0"/>
                    </a:move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8" y="18"/>
                    </a:lnTo>
                    <a:lnTo>
                      <a:pt x="14" y="22"/>
                    </a:lnTo>
                    <a:lnTo>
                      <a:pt x="20" y="24"/>
                    </a:lnTo>
                    <a:lnTo>
                      <a:pt x="26" y="24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2" y="12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5" name="Freeform 6091">
                <a:extLst>
                  <a:ext uri="{FF2B5EF4-FFF2-40B4-BE49-F238E27FC236}">
                    <a16:creationId xmlns:a16="http://schemas.microsoft.com/office/drawing/2014/main" id="{56E3DD82-ED37-4FFB-AD92-B87128687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6840" y="1799273"/>
                <a:ext cx="13970" cy="15240"/>
              </a:xfrm>
              <a:custGeom>
                <a:avLst/>
                <a:gdLst/>
                <a:ahLst/>
                <a:cxnLst>
                  <a:cxn ang="0">
                    <a:pos x="4" y="24"/>
                  </a:cxn>
                  <a:cxn ang="0">
                    <a:pos x="4" y="24"/>
                  </a:cxn>
                  <a:cxn ang="0">
                    <a:pos x="12" y="22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4" y="24"/>
                  </a:cxn>
                </a:cxnLst>
                <a:rect l="0" t="0" r="r" b="b"/>
                <a:pathLst>
                  <a:path w="22" h="24">
                    <a:moveTo>
                      <a:pt x="4" y="24"/>
                    </a:moveTo>
                    <a:lnTo>
                      <a:pt x="4" y="24"/>
                    </a:lnTo>
                    <a:lnTo>
                      <a:pt x="12" y="22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4" y="2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6" name="Freeform 6092">
                <a:extLst>
                  <a:ext uri="{FF2B5EF4-FFF2-40B4-BE49-F238E27FC236}">
                    <a16:creationId xmlns:a16="http://schemas.microsoft.com/office/drawing/2014/main" id="{F21B1FB5-13BC-4780-A86D-75859DCFDB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040" y="1724343"/>
                <a:ext cx="22860" cy="34290"/>
              </a:xfrm>
              <a:custGeom>
                <a:avLst/>
                <a:gdLst/>
                <a:ahLst/>
                <a:cxnLst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0"/>
                  </a:cxn>
                  <a:cxn ang="0">
                    <a:pos x="30" y="42"/>
                  </a:cxn>
                  <a:cxn ang="0">
                    <a:pos x="34" y="32"/>
                  </a:cxn>
                  <a:cxn ang="0">
                    <a:pos x="36" y="22"/>
                  </a:cxn>
                  <a:cxn ang="0">
                    <a:pos x="36" y="12"/>
                  </a:cxn>
                  <a:cxn ang="0">
                    <a:pos x="34" y="4"/>
                  </a:cxn>
                  <a:cxn ang="0">
                    <a:pos x="32" y="2"/>
                  </a:cxn>
                  <a:cxn ang="0">
                    <a:pos x="28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8" y="48"/>
                  </a:cxn>
                  <a:cxn ang="0">
                    <a:pos x="14" y="52"/>
                  </a:cxn>
                  <a:cxn ang="0">
                    <a:pos x="20" y="54"/>
                  </a:cxn>
                  <a:cxn ang="0">
                    <a:pos x="20" y="54"/>
                  </a:cxn>
                </a:cxnLst>
                <a:rect l="0" t="0" r="r" b="b"/>
                <a:pathLst>
                  <a:path w="36" h="54">
                    <a:moveTo>
                      <a:pt x="20" y="54"/>
                    </a:moveTo>
                    <a:lnTo>
                      <a:pt x="20" y="54"/>
                    </a:lnTo>
                    <a:lnTo>
                      <a:pt x="26" y="50"/>
                    </a:lnTo>
                    <a:lnTo>
                      <a:pt x="30" y="42"/>
                    </a:lnTo>
                    <a:lnTo>
                      <a:pt x="34" y="32"/>
                    </a:lnTo>
                    <a:lnTo>
                      <a:pt x="36" y="22"/>
                    </a:lnTo>
                    <a:lnTo>
                      <a:pt x="36" y="12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8" y="48"/>
                    </a:lnTo>
                    <a:lnTo>
                      <a:pt x="14" y="52"/>
                    </a:lnTo>
                    <a:lnTo>
                      <a:pt x="20" y="54"/>
                    </a:lnTo>
                    <a:lnTo>
                      <a:pt x="20" y="5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7" name="Freeform 6094">
                <a:extLst>
                  <a:ext uri="{FF2B5EF4-FFF2-40B4-BE49-F238E27FC236}">
                    <a16:creationId xmlns:a16="http://schemas.microsoft.com/office/drawing/2014/main" id="{03E88A3C-453F-4E28-8007-8B465EBF67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8240" y="1463993"/>
                <a:ext cx="59690" cy="48260"/>
              </a:xfrm>
              <a:custGeom>
                <a:avLst/>
                <a:gdLst/>
                <a:ahLst/>
                <a:cxnLst>
                  <a:cxn ang="0">
                    <a:pos x="8" y="26"/>
                  </a:cxn>
                  <a:cxn ang="0">
                    <a:pos x="8" y="26"/>
                  </a:cxn>
                  <a:cxn ang="0">
                    <a:pos x="4" y="36"/>
                  </a:cxn>
                  <a:cxn ang="0">
                    <a:pos x="0" y="46"/>
                  </a:cxn>
                  <a:cxn ang="0">
                    <a:pos x="0" y="56"/>
                  </a:cxn>
                  <a:cxn ang="0">
                    <a:pos x="2" y="64"/>
                  </a:cxn>
                  <a:cxn ang="0">
                    <a:pos x="8" y="70"/>
                  </a:cxn>
                  <a:cxn ang="0">
                    <a:pos x="18" y="74"/>
                  </a:cxn>
                  <a:cxn ang="0">
                    <a:pos x="34" y="76"/>
                  </a:cxn>
                  <a:cxn ang="0">
                    <a:pos x="54" y="76"/>
                  </a:cxn>
                  <a:cxn ang="0">
                    <a:pos x="54" y="76"/>
                  </a:cxn>
                  <a:cxn ang="0">
                    <a:pos x="72" y="74"/>
                  </a:cxn>
                  <a:cxn ang="0">
                    <a:pos x="84" y="70"/>
                  </a:cxn>
                  <a:cxn ang="0">
                    <a:pos x="90" y="64"/>
                  </a:cxn>
                  <a:cxn ang="0">
                    <a:pos x="94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92" y="22"/>
                  </a:cxn>
                  <a:cxn ang="0">
                    <a:pos x="92" y="22"/>
                  </a:cxn>
                  <a:cxn ang="0">
                    <a:pos x="92" y="18"/>
                  </a:cxn>
                  <a:cxn ang="0">
                    <a:pos x="90" y="14"/>
                  </a:cxn>
                  <a:cxn ang="0">
                    <a:pos x="88" y="10"/>
                  </a:cxn>
                  <a:cxn ang="0">
                    <a:pos x="84" y="6"/>
                  </a:cxn>
                  <a:cxn ang="0">
                    <a:pos x="74" y="2"/>
                  </a:cxn>
                  <a:cxn ang="0">
                    <a:pos x="60" y="0"/>
                  </a:cxn>
                  <a:cxn ang="0">
                    <a:pos x="46" y="2"/>
                  </a:cxn>
                  <a:cxn ang="0">
                    <a:pos x="32" y="6"/>
                  </a:cxn>
                  <a:cxn ang="0">
                    <a:pos x="18" y="14"/>
                  </a:cxn>
                  <a:cxn ang="0">
                    <a:pos x="14" y="20"/>
                  </a:cxn>
                  <a:cxn ang="0">
                    <a:pos x="8" y="26"/>
                  </a:cxn>
                  <a:cxn ang="0">
                    <a:pos x="8" y="26"/>
                  </a:cxn>
                </a:cxnLst>
                <a:rect l="0" t="0" r="r" b="b"/>
                <a:pathLst>
                  <a:path w="94" h="76">
                    <a:moveTo>
                      <a:pt x="8" y="26"/>
                    </a:moveTo>
                    <a:lnTo>
                      <a:pt x="8" y="26"/>
                    </a:lnTo>
                    <a:lnTo>
                      <a:pt x="4" y="36"/>
                    </a:lnTo>
                    <a:lnTo>
                      <a:pt x="0" y="46"/>
                    </a:lnTo>
                    <a:lnTo>
                      <a:pt x="0" y="56"/>
                    </a:lnTo>
                    <a:lnTo>
                      <a:pt x="2" y="64"/>
                    </a:lnTo>
                    <a:lnTo>
                      <a:pt x="8" y="70"/>
                    </a:lnTo>
                    <a:lnTo>
                      <a:pt x="18" y="74"/>
                    </a:lnTo>
                    <a:lnTo>
                      <a:pt x="34" y="76"/>
                    </a:lnTo>
                    <a:lnTo>
                      <a:pt x="54" y="76"/>
                    </a:lnTo>
                    <a:lnTo>
                      <a:pt x="54" y="76"/>
                    </a:lnTo>
                    <a:lnTo>
                      <a:pt x="72" y="74"/>
                    </a:lnTo>
                    <a:lnTo>
                      <a:pt x="84" y="70"/>
                    </a:lnTo>
                    <a:lnTo>
                      <a:pt x="90" y="64"/>
                    </a:lnTo>
                    <a:lnTo>
                      <a:pt x="94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18"/>
                    </a:lnTo>
                    <a:lnTo>
                      <a:pt x="90" y="14"/>
                    </a:lnTo>
                    <a:lnTo>
                      <a:pt x="88" y="10"/>
                    </a:lnTo>
                    <a:lnTo>
                      <a:pt x="84" y="6"/>
                    </a:lnTo>
                    <a:lnTo>
                      <a:pt x="74" y="2"/>
                    </a:lnTo>
                    <a:lnTo>
                      <a:pt x="60" y="0"/>
                    </a:lnTo>
                    <a:lnTo>
                      <a:pt x="46" y="2"/>
                    </a:lnTo>
                    <a:lnTo>
                      <a:pt x="32" y="6"/>
                    </a:lnTo>
                    <a:lnTo>
                      <a:pt x="18" y="14"/>
                    </a:lnTo>
                    <a:lnTo>
                      <a:pt x="14" y="20"/>
                    </a:lnTo>
                    <a:lnTo>
                      <a:pt x="8" y="26"/>
                    </a:lnTo>
                    <a:lnTo>
                      <a:pt x="8" y="2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8" name="Freeform 6098">
                <a:extLst>
                  <a:ext uri="{FF2B5EF4-FFF2-40B4-BE49-F238E27FC236}">
                    <a16:creationId xmlns:a16="http://schemas.microsoft.com/office/drawing/2014/main" id="{A38F622D-0125-49C9-9DA2-4BED2B7C8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8780" y="1211263"/>
                <a:ext cx="63500" cy="43180"/>
              </a:xfrm>
              <a:custGeom>
                <a:avLst/>
                <a:gdLst/>
                <a:ahLst/>
                <a:cxnLst>
                  <a:cxn ang="0">
                    <a:pos x="46" y="2"/>
                  </a:cxn>
                  <a:cxn ang="0">
                    <a:pos x="46" y="2"/>
                  </a:cxn>
                  <a:cxn ang="0">
                    <a:pos x="32" y="4"/>
                  </a:cxn>
                  <a:cxn ang="0">
                    <a:pos x="20" y="6"/>
                  </a:cxn>
                  <a:cxn ang="0">
                    <a:pos x="10" y="10"/>
                  </a:cxn>
                  <a:cxn ang="0">
                    <a:pos x="4" y="12"/>
                  </a:cxn>
                  <a:cxn ang="0">
                    <a:pos x="0" y="16"/>
                  </a:cxn>
                  <a:cxn ang="0">
                    <a:pos x="0" y="20"/>
                  </a:cxn>
                  <a:cxn ang="0">
                    <a:pos x="2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20" y="28"/>
                  </a:cxn>
                  <a:cxn ang="0">
                    <a:pos x="28" y="32"/>
                  </a:cxn>
                  <a:cxn ang="0">
                    <a:pos x="32" y="36"/>
                  </a:cxn>
                  <a:cxn ang="0">
                    <a:pos x="34" y="40"/>
                  </a:cxn>
                  <a:cxn ang="0">
                    <a:pos x="34" y="40"/>
                  </a:cxn>
                  <a:cxn ang="0">
                    <a:pos x="38" y="46"/>
                  </a:cxn>
                  <a:cxn ang="0">
                    <a:pos x="44" y="50"/>
                  </a:cxn>
                  <a:cxn ang="0">
                    <a:pos x="54" y="56"/>
                  </a:cxn>
                  <a:cxn ang="0">
                    <a:pos x="64" y="66"/>
                  </a:cxn>
                  <a:cxn ang="0">
                    <a:pos x="64" y="66"/>
                  </a:cxn>
                  <a:cxn ang="0">
                    <a:pos x="68" y="68"/>
                  </a:cxn>
                  <a:cxn ang="0">
                    <a:pos x="70" y="68"/>
                  </a:cxn>
                  <a:cxn ang="0">
                    <a:pos x="70" y="66"/>
                  </a:cxn>
                  <a:cxn ang="0">
                    <a:pos x="70" y="66"/>
                  </a:cxn>
                  <a:cxn ang="0">
                    <a:pos x="70" y="62"/>
                  </a:cxn>
                  <a:cxn ang="0">
                    <a:pos x="74" y="60"/>
                  </a:cxn>
                  <a:cxn ang="0">
                    <a:pos x="80" y="56"/>
                  </a:cxn>
                  <a:cxn ang="0">
                    <a:pos x="86" y="48"/>
                  </a:cxn>
                  <a:cxn ang="0">
                    <a:pos x="86" y="48"/>
                  </a:cxn>
                  <a:cxn ang="0">
                    <a:pos x="100" y="26"/>
                  </a:cxn>
                  <a:cxn ang="0">
                    <a:pos x="100" y="20"/>
                  </a:cxn>
                  <a:cxn ang="0">
                    <a:pos x="100" y="16"/>
                  </a:cxn>
                  <a:cxn ang="0">
                    <a:pos x="98" y="14"/>
                  </a:cxn>
                  <a:cxn ang="0">
                    <a:pos x="94" y="10"/>
                  </a:cxn>
                  <a:cxn ang="0">
                    <a:pos x="94" y="10"/>
                  </a:cxn>
                  <a:cxn ang="0">
                    <a:pos x="86" y="6"/>
                  </a:cxn>
                  <a:cxn ang="0">
                    <a:pos x="80" y="2"/>
                  </a:cxn>
                  <a:cxn ang="0">
                    <a:pos x="70" y="0"/>
                  </a:cxn>
                  <a:cxn ang="0">
                    <a:pos x="46" y="2"/>
                  </a:cxn>
                  <a:cxn ang="0">
                    <a:pos x="46" y="2"/>
                  </a:cxn>
                </a:cxnLst>
                <a:rect l="0" t="0" r="r" b="b"/>
                <a:pathLst>
                  <a:path w="100" h="68">
                    <a:moveTo>
                      <a:pt x="46" y="2"/>
                    </a:moveTo>
                    <a:lnTo>
                      <a:pt x="46" y="2"/>
                    </a:lnTo>
                    <a:lnTo>
                      <a:pt x="32" y="4"/>
                    </a:lnTo>
                    <a:lnTo>
                      <a:pt x="20" y="6"/>
                    </a:lnTo>
                    <a:lnTo>
                      <a:pt x="10" y="10"/>
                    </a:lnTo>
                    <a:lnTo>
                      <a:pt x="4" y="12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20" y="28"/>
                    </a:lnTo>
                    <a:lnTo>
                      <a:pt x="28" y="32"/>
                    </a:lnTo>
                    <a:lnTo>
                      <a:pt x="32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6"/>
                    </a:lnTo>
                    <a:lnTo>
                      <a:pt x="44" y="50"/>
                    </a:lnTo>
                    <a:lnTo>
                      <a:pt x="54" y="56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8" y="68"/>
                    </a:lnTo>
                    <a:lnTo>
                      <a:pt x="70" y="68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70" y="62"/>
                    </a:lnTo>
                    <a:lnTo>
                      <a:pt x="74" y="60"/>
                    </a:lnTo>
                    <a:lnTo>
                      <a:pt x="80" y="56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100" y="26"/>
                    </a:lnTo>
                    <a:lnTo>
                      <a:pt x="100" y="20"/>
                    </a:lnTo>
                    <a:lnTo>
                      <a:pt x="100" y="16"/>
                    </a:lnTo>
                    <a:lnTo>
                      <a:pt x="98" y="14"/>
                    </a:lnTo>
                    <a:lnTo>
                      <a:pt x="94" y="10"/>
                    </a:lnTo>
                    <a:lnTo>
                      <a:pt x="94" y="10"/>
                    </a:lnTo>
                    <a:lnTo>
                      <a:pt x="86" y="6"/>
                    </a:lnTo>
                    <a:lnTo>
                      <a:pt x="80" y="2"/>
                    </a:lnTo>
                    <a:lnTo>
                      <a:pt x="70" y="0"/>
                    </a:lnTo>
                    <a:lnTo>
                      <a:pt x="46" y="2"/>
                    </a:lnTo>
                    <a:lnTo>
                      <a:pt x="4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49" name="Freeform 6099">
                <a:extLst>
                  <a:ext uri="{FF2B5EF4-FFF2-40B4-BE49-F238E27FC236}">
                    <a16:creationId xmlns:a16="http://schemas.microsoft.com/office/drawing/2014/main" id="{FB4A4CF8-75CC-469B-842D-239AEFCAF3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3550" y="1088073"/>
                <a:ext cx="48260" cy="10160"/>
              </a:xfrm>
              <a:custGeom>
                <a:avLst/>
                <a:gdLst/>
                <a:ahLst/>
                <a:cxnLst>
                  <a:cxn ang="0">
                    <a:pos x="76" y="2"/>
                  </a:cxn>
                  <a:cxn ang="0">
                    <a:pos x="76" y="2"/>
                  </a:cxn>
                  <a:cxn ang="0">
                    <a:pos x="68" y="0"/>
                  </a:cxn>
                  <a:cxn ang="0">
                    <a:pos x="56" y="0"/>
                  </a:cxn>
                  <a:cxn ang="0">
                    <a:pos x="30" y="2"/>
                  </a:cxn>
                  <a:cxn ang="0">
                    <a:pos x="16" y="6"/>
                  </a:cxn>
                  <a:cxn ang="0">
                    <a:pos x="6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8" y="16"/>
                  </a:cxn>
                  <a:cxn ang="0">
                    <a:pos x="20" y="16"/>
                  </a:cxn>
                  <a:cxn ang="0">
                    <a:pos x="48" y="14"/>
                  </a:cxn>
                  <a:cxn ang="0">
                    <a:pos x="70" y="8"/>
                  </a:cxn>
                  <a:cxn ang="0">
                    <a:pos x="76" y="4"/>
                  </a:cxn>
                  <a:cxn ang="0">
                    <a:pos x="76" y="2"/>
                  </a:cxn>
                  <a:cxn ang="0">
                    <a:pos x="76" y="2"/>
                  </a:cxn>
                  <a:cxn ang="0">
                    <a:pos x="76" y="2"/>
                  </a:cxn>
                </a:cxnLst>
                <a:rect l="0" t="0" r="r" b="b"/>
                <a:pathLst>
                  <a:path w="76" h="16">
                    <a:moveTo>
                      <a:pt x="76" y="2"/>
                    </a:moveTo>
                    <a:lnTo>
                      <a:pt x="76" y="2"/>
                    </a:lnTo>
                    <a:lnTo>
                      <a:pt x="68" y="0"/>
                    </a:lnTo>
                    <a:lnTo>
                      <a:pt x="56" y="0"/>
                    </a:lnTo>
                    <a:lnTo>
                      <a:pt x="30" y="2"/>
                    </a:lnTo>
                    <a:lnTo>
                      <a:pt x="16" y="6"/>
                    </a:lnTo>
                    <a:lnTo>
                      <a:pt x="6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16"/>
                    </a:lnTo>
                    <a:lnTo>
                      <a:pt x="20" y="16"/>
                    </a:lnTo>
                    <a:lnTo>
                      <a:pt x="48" y="14"/>
                    </a:lnTo>
                    <a:lnTo>
                      <a:pt x="70" y="8"/>
                    </a:lnTo>
                    <a:lnTo>
                      <a:pt x="76" y="4"/>
                    </a:lnTo>
                    <a:lnTo>
                      <a:pt x="76" y="2"/>
                    </a:lnTo>
                    <a:lnTo>
                      <a:pt x="76" y="2"/>
                    </a:lnTo>
                    <a:lnTo>
                      <a:pt x="7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0" name="Freeform 6100">
                <a:extLst>
                  <a:ext uri="{FF2B5EF4-FFF2-40B4-BE49-F238E27FC236}">
                    <a16:creationId xmlns:a16="http://schemas.microsoft.com/office/drawing/2014/main" id="{7D48BE0B-5177-4F0F-A004-6626F76FB6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3390" y="1129983"/>
                <a:ext cx="30480" cy="2032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0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8" y="30"/>
                  </a:cxn>
                  <a:cxn ang="0">
                    <a:pos x="16" y="32"/>
                  </a:cxn>
                  <a:cxn ang="0">
                    <a:pos x="26" y="32"/>
                  </a:cxn>
                  <a:cxn ang="0">
                    <a:pos x="34" y="30"/>
                  </a:cxn>
                  <a:cxn ang="0">
                    <a:pos x="42" y="28"/>
                  </a:cxn>
                  <a:cxn ang="0">
                    <a:pos x="46" y="22"/>
                  </a:cxn>
                  <a:cxn ang="0">
                    <a:pos x="48" y="20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20"/>
                  </a:cxn>
                  <a:cxn ang="0">
                    <a:pos x="0" y="20"/>
                  </a:cxn>
                </a:cxnLst>
                <a:rect l="0" t="0" r="r" b="b"/>
                <a:pathLst>
                  <a:path w="48" h="32">
                    <a:moveTo>
                      <a:pt x="0" y="20"/>
                    </a:moveTo>
                    <a:lnTo>
                      <a:pt x="0" y="20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8" y="30"/>
                    </a:lnTo>
                    <a:lnTo>
                      <a:pt x="16" y="32"/>
                    </a:lnTo>
                    <a:lnTo>
                      <a:pt x="26" y="32"/>
                    </a:lnTo>
                    <a:lnTo>
                      <a:pt x="34" y="30"/>
                    </a:lnTo>
                    <a:lnTo>
                      <a:pt x="42" y="28"/>
                    </a:lnTo>
                    <a:lnTo>
                      <a:pt x="46" y="22"/>
                    </a:lnTo>
                    <a:lnTo>
                      <a:pt x="48" y="20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1" name="Freeform 6101">
                <a:extLst>
                  <a:ext uri="{FF2B5EF4-FFF2-40B4-BE49-F238E27FC236}">
                    <a16:creationId xmlns:a16="http://schemas.microsoft.com/office/drawing/2014/main" id="{6AE0505A-68D7-48D6-B88E-A4E0CFAE0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8470" y="1065213"/>
                <a:ext cx="44450" cy="21590"/>
              </a:xfrm>
              <a:custGeom>
                <a:avLst/>
                <a:gdLst/>
                <a:ahLst/>
                <a:cxnLst>
                  <a:cxn ang="0">
                    <a:pos x="62" y="18"/>
                  </a:cxn>
                  <a:cxn ang="0">
                    <a:pos x="62" y="18"/>
                  </a:cxn>
                  <a:cxn ang="0">
                    <a:pos x="52" y="16"/>
                  </a:cxn>
                  <a:cxn ang="0">
                    <a:pos x="44" y="14"/>
                  </a:cxn>
                  <a:cxn ang="0">
                    <a:pos x="34" y="6"/>
                  </a:cxn>
                  <a:cxn ang="0">
                    <a:pos x="30" y="2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26" y="34"/>
                  </a:cxn>
                  <a:cxn ang="0">
                    <a:pos x="40" y="32"/>
                  </a:cxn>
                  <a:cxn ang="0">
                    <a:pos x="52" y="30"/>
                  </a:cxn>
                  <a:cxn ang="0">
                    <a:pos x="62" y="28"/>
                  </a:cxn>
                  <a:cxn ang="0">
                    <a:pos x="68" y="24"/>
                  </a:cxn>
                  <a:cxn ang="0">
                    <a:pos x="70" y="22"/>
                  </a:cxn>
                  <a:cxn ang="0">
                    <a:pos x="70" y="20"/>
                  </a:cxn>
                  <a:cxn ang="0">
                    <a:pos x="62" y="18"/>
                  </a:cxn>
                  <a:cxn ang="0">
                    <a:pos x="62" y="18"/>
                  </a:cxn>
                </a:cxnLst>
                <a:rect l="0" t="0" r="r" b="b"/>
                <a:pathLst>
                  <a:path w="70" h="34">
                    <a:moveTo>
                      <a:pt x="62" y="18"/>
                    </a:moveTo>
                    <a:lnTo>
                      <a:pt x="62" y="18"/>
                    </a:lnTo>
                    <a:lnTo>
                      <a:pt x="52" y="16"/>
                    </a:lnTo>
                    <a:lnTo>
                      <a:pt x="44" y="14"/>
                    </a:lnTo>
                    <a:lnTo>
                      <a:pt x="34" y="6"/>
                    </a:lnTo>
                    <a:lnTo>
                      <a:pt x="30" y="2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26" y="34"/>
                    </a:lnTo>
                    <a:lnTo>
                      <a:pt x="40" y="32"/>
                    </a:lnTo>
                    <a:lnTo>
                      <a:pt x="52" y="30"/>
                    </a:lnTo>
                    <a:lnTo>
                      <a:pt x="62" y="28"/>
                    </a:lnTo>
                    <a:lnTo>
                      <a:pt x="68" y="24"/>
                    </a:lnTo>
                    <a:lnTo>
                      <a:pt x="70" y="22"/>
                    </a:lnTo>
                    <a:lnTo>
                      <a:pt x="70" y="20"/>
                    </a:lnTo>
                    <a:lnTo>
                      <a:pt x="62" y="18"/>
                    </a:lnTo>
                    <a:lnTo>
                      <a:pt x="6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2" name="Freeform 6102">
                <a:extLst>
                  <a:ext uri="{FF2B5EF4-FFF2-40B4-BE49-F238E27FC236}">
                    <a16:creationId xmlns:a16="http://schemas.microsoft.com/office/drawing/2014/main" id="{0F2A3ABB-062B-4636-9E6E-95378346A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2780" y="1048703"/>
                <a:ext cx="449580" cy="129540"/>
              </a:xfrm>
              <a:custGeom>
                <a:avLst/>
                <a:gdLst/>
                <a:ahLst/>
                <a:cxnLst>
                  <a:cxn ang="0">
                    <a:pos x="342" y="198"/>
                  </a:cxn>
                  <a:cxn ang="0">
                    <a:pos x="406" y="202"/>
                  </a:cxn>
                  <a:cxn ang="0">
                    <a:pos x="530" y="198"/>
                  </a:cxn>
                  <a:cxn ang="0">
                    <a:pos x="560" y="176"/>
                  </a:cxn>
                  <a:cxn ang="0">
                    <a:pos x="566" y="188"/>
                  </a:cxn>
                  <a:cxn ang="0">
                    <a:pos x="624" y="200"/>
                  </a:cxn>
                  <a:cxn ang="0">
                    <a:pos x="680" y="190"/>
                  </a:cxn>
                  <a:cxn ang="0">
                    <a:pos x="688" y="174"/>
                  </a:cxn>
                  <a:cxn ang="0">
                    <a:pos x="708" y="168"/>
                  </a:cxn>
                  <a:cxn ang="0">
                    <a:pos x="694" y="158"/>
                  </a:cxn>
                  <a:cxn ang="0">
                    <a:pos x="700" y="144"/>
                  </a:cxn>
                  <a:cxn ang="0">
                    <a:pos x="700" y="126"/>
                  </a:cxn>
                  <a:cxn ang="0">
                    <a:pos x="672" y="110"/>
                  </a:cxn>
                  <a:cxn ang="0">
                    <a:pos x="642" y="104"/>
                  </a:cxn>
                  <a:cxn ang="0">
                    <a:pos x="600" y="96"/>
                  </a:cxn>
                  <a:cxn ang="0">
                    <a:pos x="480" y="110"/>
                  </a:cxn>
                  <a:cxn ang="0">
                    <a:pos x="442" y="126"/>
                  </a:cxn>
                  <a:cxn ang="0">
                    <a:pos x="416" y="122"/>
                  </a:cxn>
                  <a:cxn ang="0">
                    <a:pos x="374" y="120"/>
                  </a:cxn>
                  <a:cxn ang="0">
                    <a:pos x="346" y="114"/>
                  </a:cxn>
                  <a:cxn ang="0">
                    <a:pos x="330" y="110"/>
                  </a:cxn>
                  <a:cxn ang="0">
                    <a:pos x="324" y="124"/>
                  </a:cxn>
                  <a:cxn ang="0">
                    <a:pos x="310" y="116"/>
                  </a:cxn>
                  <a:cxn ang="0">
                    <a:pos x="310" y="102"/>
                  </a:cxn>
                  <a:cxn ang="0">
                    <a:pos x="294" y="84"/>
                  </a:cxn>
                  <a:cxn ang="0">
                    <a:pos x="268" y="84"/>
                  </a:cxn>
                  <a:cxn ang="0">
                    <a:pos x="262" y="76"/>
                  </a:cxn>
                  <a:cxn ang="0">
                    <a:pos x="308" y="74"/>
                  </a:cxn>
                  <a:cxn ang="0">
                    <a:pos x="316" y="66"/>
                  </a:cxn>
                  <a:cxn ang="0">
                    <a:pos x="278" y="52"/>
                  </a:cxn>
                  <a:cxn ang="0">
                    <a:pos x="240" y="34"/>
                  </a:cxn>
                  <a:cxn ang="0">
                    <a:pos x="182" y="36"/>
                  </a:cxn>
                  <a:cxn ang="0">
                    <a:pos x="154" y="30"/>
                  </a:cxn>
                  <a:cxn ang="0">
                    <a:pos x="124" y="10"/>
                  </a:cxn>
                  <a:cxn ang="0">
                    <a:pos x="78" y="6"/>
                  </a:cxn>
                  <a:cxn ang="0">
                    <a:pos x="10" y="0"/>
                  </a:cxn>
                  <a:cxn ang="0">
                    <a:pos x="2" y="12"/>
                  </a:cxn>
                  <a:cxn ang="0">
                    <a:pos x="18" y="32"/>
                  </a:cxn>
                  <a:cxn ang="0">
                    <a:pos x="58" y="52"/>
                  </a:cxn>
                  <a:cxn ang="0">
                    <a:pos x="66" y="66"/>
                  </a:cxn>
                  <a:cxn ang="0">
                    <a:pos x="112" y="66"/>
                  </a:cxn>
                  <a:cxn ang="0">
                    <a:pos x="160" y="60"/>
                  </a:cxn>
                  <a:cxn ang="0">
                    <a:pos x="186" y="84"/>
                  </a:cxn>
                  <a:cxn ang="0">
                    <a:pos x="202" y="98"/>
                  </a:cxn>
                  <a:cxn ang="0">
                    <a:pos x="194" y="120"/>
                  </a:cxn>
                  <a:cxn ang="0">
                    <a:pos x="186" y="142"/>
                  </a:cxn>
                  <a:cxn ang="0">
                    <a:pos x="198" y="154"/>
                  </a:cxn>
                  <a:cxn ang="0">
                    <a:pos x="206" y="182"/>
                  </a:cxn>
                  <a:cxn ang="0">
                    <a:pos x="232" y="190"/>
                  </a:cxn>
                  <a:cxn ang="0">
                    <a:pos x="250" y="186"/>
                  </a:cxn>
                  <a:cxn ang="0">
                    <a:pos x="282" y="198"/>
                  </a:cxn>
                  <a:cxn ang="0">
                    <a:pos x="326" y="188"/>
                  </a:cxn>
                  <a:cxn ang="0">
                    <a:pos x="342" y="188"/>
                  </a:cxn>
                </a:cxnLst>
                <a:rect l="0" t="0" r="r" b="b"/>
                <a:pathLst>
                  <a:path w="708" h="204">
                    <a:moveTo>
                      <a:pt x="342" y="188"/>
                    </a:moveTo>
                    <a:lnTo>
                      <a:pt x="342" y="188"/>
                    </a:lnTo>
                    <a:lnTo>
                      <a:pt x="342" y="196"/>
                    </a:lnTo>
                    <a:lnTo>
                      <a:pt x="342" y="198"/>
                    </a:lnTo>
                    <a:lnTo>
                      <a:pt x="344" y="200"/>
                    </a:lnTo>
                    <a:lnTo>
                      <a:pt x="352" y="202"/>
                    </a:lnTo>
                    <a:lnTo>
                      <a:pt x="364" y="204"/>
                    </a:lnTo>
                    <a:lnTo>
                      <a:pt x="406" y="202"/>
                    </a:lnTo>
                    <a:lnTo>
                      <a:pt x="472" y="202"/>
                    </a:lnTo>
                    <a:lnTo>
                      <a:pt x="472" y="202"/>
                    </a:lnTo>
                    <a:lnTo>
                      <a:pt x="506" y="202"/>
                    </a:lnTo>
                    <a:lnTo>
                      <a:pt x="530" y="198"/>
                    </a:lnTo>
                    <a:lnTo>
                      <a:pt x="546" y="192"/>
                    </a:lnTo>
                    <a:lnTo>
                      <a:pt x="554" y="186"/>
                    </a:lnTo>
                    <a:lnTo>
                      <a:pt x="558" y="180"/>
                    </a:lnTo>
                    <a:lnTo>
                      <a:pt x="560" y="176"/>
                    </a:lnTo>
                    <a:lnTo>
                      <a:pt x="562" y="178"/>
                    </a:lnTo>
                    <a:lnTo>
                      <a:pt x="562" y="184"/>
                    </a:lnTo>
                    <a:lnTo>
                      <a:pt x="562" y="184"/>
                    </a:lnTo>
                    <a:lnTo>
                      <a:pt x="566" y="188"/>
                    </a:lnTo>
                    <a:lnTo>
                      <a:pt x="570" y="190"/>
                    </a:lnTo>
                    <a:lnTo>
                      <a:pt x="584" y="196"/>
                    </a:lnTo>
                    <a:lnTo>
                      <a:pt x="604" y="200"/>
                    </a:lnTo>
                    <a:lnTo>
                      <a:pt x="624" y="200"/>
                    </a:lnTo>
                    <a:lnTo>
                      <a:pt x="646" y="200"/>
                    </a:lnTo>
                    <a:lnTo>
                      <a:pt x="664" y="198"/>
                    </a:lnTo>
                    <a:lnTo>
                      <a:pt x="676" y="192"/>
                    </a:lnTo>
                    <a:lnTo>
                      <a:pt x="680" y="190"/>
                    </a:lnTo>
                    <a:lnTo>
                      <a:pt x="682" y="186"/>
                    </a:lnTo>
                    <a:lnTo>
                      <a:pt x="682" y="186"/>
                    </a:lnTo>
                    <a:lnTo>
                      <a:pt x="684" y="178"/>
                    </a:lnTo>
                    <a:lnTo>
                      <a:pt x="688" y="174"/>
                    </a:lnTo>
                    <a:lnTo>
                      <a:pt x="694" y="172"/>
                    </a:lnTo>
                    <a:lnTo>
                      <a:pt x="700" y="170"/>
                    </a:lnTo>
                    <a:lnTo>
                      <a:pt x="706" y="168"/>
                    </a:lnTo>
                    <a:lnTo>
                      <a:pt x="708" y="168"/>
                    </a:lnTo>
                    <a:lnTo>
                      <a:pt x="708" y="166"/>
                    </a:lnTo>
                    <a:lnTo>
                      <a:pt x="700" y="162"/>
                    </a:lnTo>
                    <a:lnTo>
                      <a:pt x="700" y="162"/>
                    </a:lnTo>
                    <a:lnTo>
                      <a:pt x="694" y="158"/>
                    </a:lnTo>
                    <a:lnTo>
                      <a:pt x="690" y="154"/>
                    </a:lnTo>
                    <a:lnTo>
                      <a:pt x="692" y="152"/>
                    </a:lnTo>
                    <a:lnTo>
                      <a:pt x="696" y="148"/>
                    </a:lnTo>
                    <a:lnTo>
                      <a:pt x="700" y="144"/>
                    </a:lnTo>
                    <a:lnTo>
                      <a:pt x="702" y="140"/>
                    </a:lnTo>
                    <a:lnTo>
                      <a:pt x="704" y="134"/>
                    </a:lnTo>
                    <a:lnTo>
                      <a:pt x="700" y="126"/>
                    </a:lnTo>
                    <a:lnTo>
                      <a:pt x="700" y="126"/>
                    </a:lnTo>
                    <a:lnTo>
                      <a:pt x="694" y="118"/>
                    </a:lnTo>
                    <a:lnTo>
                      <a:pt x="688" y="114"/>
                    </a:lnTo>
                    <a:lnTo>
                      <a:pt x="680" y="112"/>
                    </a:lnTo>
                    <a:lnTo>
                      <a:pt x="672" y="110"/>
                    </a:lnTo>
                    <a:lnTo>
                      <a:pt x="654" y="110"/>
                    </a:lnTo>
                    <a:lnTo>
                      <a:pt x="648" y="108"/>
                    </a:lnTo>
                    <a:lnTo>
                      <a:pt x="642" y="104"/>
                    </a:lnTo>
                    <a:lnTo>
                      <a:pt x="642" y="104"/>
                    </a:lnTo>
                    <a:lnTo>
                      <a:pt x="636" y="98"/>
                    </a:lnTo>
                    <a:lnTo>
                      <a:pt x="626" y="96"/>
                    </a:lnTo>
                    <a:lnTo>
                      <a:pt x="614" y="94"/>
                    </a:lnTo>
                    <a:lnTo>
                      <a:pt x="600" y="96"/>
                    </a:lnTo>
                    <a:lnTo>
                      <a:pt x="560" y="98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480" y="110"/>
                    </a:lnTo>
                    <a:lnTo>
                      <a:pt x="464" y="114"/>
                    </a:lnTo>
                    <a:lnTo>
                      <a:pt x="454" y="120"/>
                    </a:lnTo>
                    <a:lnTo>
                      <a:pt x="446" y="124"/>
                    </a:lnTo>
                    <a:lnTo>
                      <a:pt x="442" y="126"/>
                    </a:lnTo>
                    <a:lnTo>
                      <a:pt x="438" y="128"/>
                    </a:lnTo>
                    <a:lnTo>
                      <a:pt x="430" y="126"/>
                    </a:lnTo>
                    <a:lnTo>
                      <a:pt x="416" y="122"/>
                    </a:lnTo>
                    <a:lnTo>
                      <a:pt x="416" y="122"/>
                    </a:lnTo>
                    <a:lnTo>
                      <a:pt x="402" y="118"/>
                    </a:lnTo>
                    <a:lnTo>
                      <a:pt x="390" y="118"/>
                    </a:lnTo>
                    <a:lnTo>
                      <a:pt x="382" y="118"/>
                    </a:lnTo>
                    <a:lnTo>
                      <a:pt x="374" y="120"/>
                    </a:lnTo>
                    <a:lnTo>
                      <a:pt x="368" y="122"/>
                    </a:lnTo>
                    <a:lnTo>
                      <a:pt x="362" y="122"/>
                    </a:lnTo>
                    <a:lnTo>
                      <a:pt x="354" y="120"/>
                    </a:lnTo>
                    <a:lnTo>
                      <a:pt x="346" y="114"/>
                    </a:lnTo>
                    <a:lnTo>
                      <a:pt x="346" y="114"/>
                    </a:lnTo>
                    <a:lnTo>
                      <a:pt x="338" y="110"/>
                    </a:lnTo>
                    <a:lnTo>
                      <a:pt x="332" y="108"/>
                    </a:lnTo>
                    <a:lnTo>
                      <a:pt x="330" y="110"/>
                    </a:lnTo>
                    <a:lnTo>
                      <a:pt x="328" y="114"/>
                    </a:lnTo>
                    <a:lnTo>
                      <a:pt x="328" y="118"/>
                    </a:lnTo>
                    <a:lnTo>
                      <a:pt x="326" y="122"/>
                    </a:lnTo>
                    <a:lnTo>
                      <a:pt x="324" y="124"/>
                    </a:lnTo>
                    <a:lnTo>
                      <a:pt x="318" y="122"/>
                    </a:lnTo>
                    <a:lnTo>
                      <a:pt x="318" y="122"/>
                    </a:lnTo>
                    <a:lnTo>
                      <a:pt x="312" y="118"/>
                    </a:lnTo>
                    <a:lnTo>
                      <a:pt x="310" y="116"/>
                    </a:lnTo>
                    <a:lnTo>
                      <a:pt x="310" y="112"/>
                    </a:lnTo>
                    <a:lnTo>
                      <a:pt x="310" y="110"/>
                    </a:lnTo>
                    <a:lnTo>
                      <a:pt x="312" y="106"/>
                    </a:lnTo>
                    <a:lnTo>
                      <a:pt x="310" y="102"/>
                    </a:lnTo>
                    <a:lnTo>
                      <a:pt x="308" y="96"/>
                    </a:lnTo>
                    <a:lnTo>
                      <a:pt x="300" y="90"/>
                    </a:lnTo>
                    <a:lnTo>
                      <a:pt x="300" y="90"/>
                    </a:lnTo>
                    <a:lnTo>
                      <a:pt x="294" y="84"/>
                    </a:lnTo>
                    <a:lnTo>
                      <a:pt x="286" y="82"/>
                    </a:lnTo>
                    <a:lnTo>
                      <a:pt x="280" y="82"/>
                    </a:lnTo>
                    <a:lnTo>
                      <a:pt x="276" y="82"/>
                    </a:lnTo>
                    <a:lnTo>
                      <a:pt x="268" y="84"/>
                    </a:lnTo>
                    <a:lnTo>
                      <a:pt x="266" y="82"/>
                    </a:lnTo>
                    <a:lnTo>
                      <a:pt x="264" y="78"/>
                    </a:lnTo>
                    <a:lnTo>
                      <a:pt x="264" y="78"/>
                    </a:lnTo>
                    <a:lnTo>
                      <a:pt x="262" y="76"/>
                    </a:lnTo>
                    <a:lnTo>
                      <a:pt x="264" y="74"/>
                    </a:lnTo>
                    <a:lnTo>
                      <a:pt x="270" y="72"/>
                    </a:lnTo>
                    <a:lnTo>
                      <a:pt x="290" y="72"/>
                    </a:lnTo>
                    <a:lnTo>
                      <a:pt x="308" y="74"/>
                    </a:lnTo>
                    <a:lnTo>
                      <a:pt x="314" y="72"/>
                    </a:lnTo>
                    <a:lnTo>
                      <a:pt x="316" y="70"/>
                    </a:lnTo>
                    <a:lnTo>
                      <a:pt x="316" y="66"/>
                    </a:lnTo>
                    <a:lnTo>
                      <a:pt x="316" y="66"/>
                    </a:lnTo>
                    <a:lnTo>
                      <a:pt x="314" y="62"/>
                    </a:lnTo>
                    <a:lnTo>
                      <a:pt x="308" y="58"/>
                    </a:lnTo>
                    <a:lnTo>
                      <a:pt x="296" y="56"/>
                    </a:lnTo>
                    <a:lnTo>
                      <a:pt x="278" y="52"/>
                    </a:lnTo>
                    <a:lnTo>
                      <a:pt x="268" y="48"/>
                    </a:lnTo>
                    <a:lnTo>
                      <a:pt x="258" y="44"/>
                    </a:lnTo>
                    <a:lnTo>
                      <a:pt x="258" y="44"/>
                    </a:lnTo>
                    <a:lnTo>
                      <a:pt x="240" y="34"/>
                    </a:lnTo>
                    <a:lnTo>
                      <a:pt x="232" y="32"/>
                    </a:lnTo>
                    <a:lnTo>
                      <a:pt x="224" y="30"/>
                    </a:lnTo>
                    <a:lnTo>
                      <a:pt x="204" y="32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70" y="36"/>
                    </a:lnTo>
                    <a:lnTo>
                      <a:pt x="162" y="34"/>
                    </a:lnTo>
                    <a:lnTo>
                      <a:pt x="154" y="30"/>
                    </a:lnTo>
                    <a:lnTo>
                      <a:pt x="148" y="24"/>
                    </a:lnTo>
                    <a:lnTo>
                      <a:pt x="136" y="14"/>
                    </a:lnTo>
                    <a:lnTo>
                      <a:pt x="130" y="10"/>
                    </a:lnTo>
                    <a:lnTo>
                      <a:pt x="124" y="10"/>
                    </a:lnTo>
                    <a:lnTo>
                      <a:pt x="124" y="10"/>
                    </a:lnTo>
                    <a:lnTo>
                      <a:pt x="114" y="10"/>
                    </a:lnTo>
                    <a:lnTo>
                      <a:pt x="104" y="10"/>
                    </a:lnTo>
                    <a:lnTo>
                      <a:pt x="78" y="6"/>
                    </a:lnTo>
                    <a:lnTo>
                      <a:pt x="4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0" y="24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26" y="38"/>
                    </a:lnTo>
                    <a:lnTo>
                      <a:pt x="36" y="42"/>
                    </a:lnTo>
                    <a:lnTo>
                      <a:pt x="50" y="48"/>
                    </a:lnTo>
                    <a:lnTo>
                      <a:pt x="58" y="52"/>
                    </a:lnTo>
                    <a:lnTo>
                      <a:pt x="62" y="56"/>
                    </a:lnTo>
                    <a:lnTo>
                      <a:pt x="62" y="60"/>
                    </a:lnTo>
                    <a:lnTo>
                      <a:pt x="62" y="60"/>
                    </a:lnTo>
                    <a:lnTo>
                      <a:pt x="66" y="66"/>
                    </a:lnTo>
                    <a:lnTo>
                      <a:pt x="70" y="68"/>
                    </a:lnTo>
                    <a:lnTo>
                      <a:pt x="78" y="70"/>
                    </a:lnTo>
                    <a:lnTo>
                      <a:pt x="88" y="70"/>
                    </a:lnTo>
                    <a:lnTo>
                      <a:pt x="112" y="66"/>
                    </a:lnTo>
                    <a:lnTo>
                      <a:pt x="138" y="60"/>
                    </a:lnTo>
                    <a:lnTo>
                      <a:pt x="138" y="60"/>
                    </a:lnTo>
                    <a:lnTo>
                      <a:pt x="150" y="60"/>
                    </a:lnTo>
                    <a:lnTo>
                      <a:pt x="160" y="60"/>
                    </a:lnTo>
                    <a:lnTo>
                      <a:pt x="166" y="62"/>
                    </a:lnTo>
                    <a:lnTo>
                      <a:pt x="170" y="66"/>
                    </a:lnTo>
                    <a:lnTo>
                      <a:pt x="180" y="78"/>
                    </a:lnTo>
                    <a:lnTo>
                      <a:pt x="186" y="84"/>
                    </a:lnTo>
                    <a:lnTo>
                      <a:pt x="194" y="90"/>
                    </a:lnTo>
                    <a:lnTo>
                      <a:pt x="194" y="90"/>
                    </a:lnTo>
                    <a:lnTo>
                      <a:pt x="198" y="94"/>
                    </a:lnTo>
                    <a:lnTo>
                      <a:pt x="202" y="98"/>
                    </a:lnTo>
                    <a:lnTo>
                      <a:pt x="202" y="102"/>
                    </a:lnTo>
                    <a:lnTo>
                      <a:pt x="202" y="106"/>
                    </a:lnTo>
                    <a:lnTo>
                      <a:pt x="200" y="114"/>
                    </a:lnTo>
                    <a:lnTo>
                      <a:pt x="194" y="120"/>
                    </a:lnTo>
                    <a:lnTo>
                      <a:pt x="190" y="128"/>
                    </a:lnTo>
                    <a:lnTo>
                      <a:pt x="186" y="134"/>
                    </a:lnTo>
                    <a:lnTo>
                      <a:pt x="184" y="140"/>
                    </a:lnTo>
                    <a:lnTo>
                      <a:pt x="186" y="142"/>
                    </a:lnTo>
                    <a:lnTo>
                      <a:pt x="190" y="144"/>
                    </a:lnTo>
                    <a:lnTo>
                      <a:pt x="190" y="144"/>
                    </a:lnTo>
                    <a:lnTo>
                      <a:pt x="196" y="150"/>
                    </a:lnTo>
                    <a:lnTo>
                      <a:pt x="198" y="154"/>
                    </a:lnTo>
                    <a:lnTo>
                      <a:pt x="200" y="164"/>
                    </a:lnTo>
                    <a:lnTo>
                      <a:pt x="200" y="170"/>
                    </a:lnTo>
                    <a:lnTo>
                      <a:pt x="202" y="176"/>
                    </a:lnTo>
                    <a:lnTo>
                      <a:pt x="206" y="182"/>
                    </a:lnTo>
                    <a:lnTo>
                      <a:pt x="216" y="186"/>
                    </a:lnTo>
                    <a:lnTo>
                      <a:pt x="216" y="186"/>
                    </a:lnTo>
                    <a:lnTo>
                      <a:pt x="224" y="190"/>
                    </a:lnTo>
                    <a:lnTo>
                      <a:pt x="232" y="190"/>
                    </a:lnTo>
                    <a:lnTo>
                      <a:pt x="236" y="190"/>
                    </a:lnTo>
                    <a:lnTo>
                      <a:pt x="240" y="188"/>
                    </a:lnTo>
                    <a:lnTo>
                      <a:pt x="244" y="186"/>
                    </a:lnTo>
                    <a:lnTo>
                      <a:pt x="250" y="186"/>
                    </a:lnTo>
                    <a:lnTo>
                      <a:pt x="260" y="188"/>
                    </a:lnTo>
                    <a:lnTo>
                      <a:pt x="274" y="194"/>
                    </a:lnTo>
                    <a:lnTo>
                      <a:pt x="274" y="194"/>
                    </a:lnTo>
                    <a:lnTo>
                      <a:pt x="282" y="198"/>
                    </a:lnTo>
                    <a:lnTo>
                      <a:pt x="290" y="198"/>
                    </a:lnTo>
                    <a:lnTo>
                      <a:pt x="304" y="198"/>
                    </a:lnTo>
                    <a:lnTo>
                      <a:pt x="316" y="194"/>
                    </a:lnTo>
                    <a:lnTo>
                      <a:pt x="326" y="188"/>
                    </a:lnTo>
                    <a:lnTo>
                      <a:pt x="340" y="180"/>
                    </a:lnTo>
                    <a:lnTo>
                      <a:pt x="342" y="180"/>
                    </a:lnTo>
                    <a:lnTo>
                      <a:pt x="342" y="180"/>
                    </a:lnTo>
                    <a:lnTo>
                      <a:pt x="342" y="188"/>
                    </a:lnTo>
                    <a:lnTo>
                      <a:pt x="342" y="18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3" name="Freeform 6103">
                <a:extLst>
                  <a:ext uri="{FF2B5EF4-FFF2-40B4-BE49-F238E27FC236}">
                    <a16:creationId xmlns:a16="http://schemas.microsoft.com/office/drawing/2014/main" id="{1C45815A-AF3F-45D6-BBC4-ACD8D0A682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750" y="1119823"/>
                <a:ext cx="81280" cy="49530"/>
              </a:xfrm>
              <a:custGeom>
                <a:avLst/>
                <a:gdLst/>
                <a:ahLst/>
                <a:cxnLst>
                  <a:cxn ang="0">
                    <a:pos x="94" y="78"/>
                  </a:cxn>
                  <a:cxn ang="0">
                    <a:pos x="94" y="78"/>
                  </a:cxn>
                  <a:cxn ang="0">
                    <a:pos x="110" y="76"/>
                  </a:cxn>
                  <a:cxn ang="0">
                    <a:pos x="120" y="72"/>
                  </a:cxn>
                  <a:cxn ang="0">
                    <a:pos x="126" y="66"/>
                  </a:cxn>
                  <a:cxn ang="0">
                    <a:pos x="128" y="58"/>
                  </a:cxn>
                  <a:cxn ang="0">
                    <a:pos x="126" y="48"/>
                  </a:cxn>
                  <a:cxn ang="0">
                    <a:pos x="120" y="38"/>
                  </a:cxn>
                  <a:cxn ang="0">
                    <a:pos x="114" y="28"/>
                  </a:cxn>
                  <a:cxn ang="0">
                    <a:pos x="104" y="16"/>
                  </a:cxn>
                  <a:cxn ang="0">
                    <a:pos x="104" y="16"/>
                  </a:cxn>
                  <a:cxn ang="0">
                    <a:pos x="92" y="8"/>
                  </a:cxn>
                  <a:cxn ang="0">
                    <a:pos x="80" y="2"/>
                  </a:cxn>
                  <a:cxn ang="0">
                    <a:pos x="68" y="0"/>
                  </a:cxn>
                  <a:cxn ang="0">
                    <a:pos x="58" y="0"/>
                  </a:cxn>
                  <a:cxn ang="0">
                    <a:pos x="46" y="2"/>
                  </a:cxn>
                  <a:cxn ang="0">
                    <a:pos x="34" y="8"/>
                  </a:cxn>
                  <a:cxn ang="0">
                    <a:pos x="24" y="1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6" y="36"/>
                  </a:cxn>
                  <a:cxn ang="0">
                    <a:pos x="2" y="42"/>
                  </a:cxn>
                  <a:cxn ang="0">
                    <a:pos x="0" y="48"/>
                  </a:cxn>
                  <a:cxn ang="0">
                    <a:pos x="0" y="52"/>
                  </a:cxn>
                  <a:cxn ang="0">
                    <a:pos x="4" y="56"/>
                  </a:cxn>
                  <a:cxn ang="0">
                    <a:pos x="10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2" y="62"/>
                  </a:cxn>
                  <a:cxn ang="0">
                    <a:pos x="40" y="64"/>
                  </a:cxn>
                  <a:cxn ang="0">
                    <a:pos x="54" y="70"/>
                  </a:cxn>
                  <a:cxn ang="0">
                    <a:pos x="68" y="76"/>
                  </a:cxn>
                  <a:cxn ang="0">
                    <a:pos x="80" y="76"/>
                  </a:cxn>
                  <a:cxn ang="0">
                    <a:pos x="94" y="78"/>
                  </a:cxn>
                  <a:cxn ang="0">
                    <a:pos x="94" y="78"/>
                  </a:cxn>
                </a:cxnLst>
                <a:rect l="0" t="0" r="r" b="b"/>
                <a:pathLst>
                  <a:path w="128" h="78">
                    <a:moveTo>
                      <a:pt x="94" y="78"/>
                    </a:moveTo>
                    <a:lnTo>
                      <a:pt x="94" y="78"/>
                    </a:lnTo>
                    <a:lnTo>
                      <a:pt x="110" y="76"/>
                    </a:lnTo>
                    <a:lnTo>
                      <a:pt x="120" y="72"/>
                    </a:lnTo>
                    <a:lnTo>
                      <a:pt x="126" y="66"/>
                    </a:lnTo>
                    <a:lnTo>
                      <a:pt x="128" y="58"/>
                    </a:lnTo>
                    <a:lnTo>
                      <a:pt x="126" y="48"/>
                    </a:lnTo>
                    <a:lnTo>
                      <a:pt x="120" y="38"/>
                    </a:lnTo>
                    <a:lnTo>
                      <a:pt x="114" y="28"/>
                    </a:lnTo>
                    <a:lnTo>
                      <a:pt x="104" y="16"/>
                    </a:lnTo>
                    <a:lnTo>
                      <a:pt x="104" y="16"/>
                    </a:lnTo>
                    <a:lnTo>
                      <a:pt x="92" y="8"/>
                    </a:lnTo>
                    <a:lnTo>
                      <a:pt x="80" y="2"/>
                    </a:lnTo>
                    <a:lnTo>
                      <a:pt x="68" y="0"/>
                    </a:lnTo>
                    <a:lnTo>
                      <a:pt x="58" y="0"/>
                    </a:lnTo>
                    <a:lnTo>
                      <a:pt x="46" y="2"/>
                    </a:lnTo>
                    <a:lnTo>
                      <a:pt x="34" y="8"/>
                    </a:lnTo>
                    <a:lnTo>
                      <a:pt x="24" y="1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6" y="36"/>
                    </a:lnTo>
                    <a:lnTo>
                      <a:pt x="2" y="42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6"/>
                    </a:lnTo>
                    <a:lnTo>
                      <a:pt x="10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2" y="62"/>
                    </a:lnTo>
                    <a:lnTo>
                      <a:pt x="40" y="64"/>
                    </a:lnTo>
                    <a:lnTo>
                      <a:pt x="54" y="70"/>
                    </a:lnTo>
                    <a:lnTo>
                      <a:pt x="68" y="76"/>
                    </a:lnTo>
                    <a:lnTo>
                      <a:pt x="80" y="76"/>
                    </a:lnTo>
                    <a:lnTo>
                      <a:pt x="94" y="78"/>
                    </a:lnTo>
                    <a:lnTo>
                      <a:pt x="94" y="7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4" name="Freeform 6104">
                <a:extLst>
                  <a:ext uri="{FF2B5EF4-FFF2-40B4-BE49-F238E27FC236}">
                    <a16:creationId xmlns:a16="http://schemas.microsoft.com/office/drawing/2014/main" id="{624623ED-3264-4653-BA07-9F43DF33B6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0560" y="1010603"/>
                <a:ext cx="80010" cy="19050"/>
              </a:xfrm>
              <a:custGeom>
                <a:avLst/>
                <a:gdLst/>
                <a:ahLst/>
                <a:cxnLst>
                  <a:cxn ang="0">
                    <a:pos x="92" y="28"/>
                  </a:cxn>
                  <a:cxn ang="0">
                    <a:pos x="92" y="28"/>
                  </a:cxn>
                  <a:cxn ang="0">
                    <a:pos x="108" y="28"/>
                  </a:cxn>
                  <a:cxn ang="0">
                    <a:pos x="120" y="26"/>
                  </a:cxn>
                  <a:cxn ang="0">
                    <a:pos x="124" y="22"/>
                  </a:cxn>
                  <a:cxn ang="0">
                    <a:pos x="126" y="20"/>
                  </a:cxn>
                  <a:cxn ang="0">
                    <a:pos x="126" y="16"/>
                  </a:cxn>
                  <a:cxn ang="0">
                    <a:pos x="122" y="12"/>
                  </a:cxn>
                  <a:cxn ang="0">
                    <a:pos x="112" y="8"/>
                  </a:cxn>
                  <a:cxn ang="0">
                    <a:pos x="100" y="4"/>
                  </a:cxn>
                  <a:cxn ang="0">
                    <a:pos x="82" y="2"/>
                  </a:cxn>
                  <a:cxn ang="0">
                    <a:pos x="82" y="2"/>
                  </a:cxn>
                  <a:cxn ang="0">
                    <a:pos x="48" y="0"/>
                  </a:cxn>
                  <a:cxn ang="0">
                    <a:pos x="22" y="4"/>
                  </a:cxn>
                  <a:cxn ang="0">
                    <a:pos x="14" y="6"/>
                  </a:cxn>
                  <a:cxn ang="0">
                    <a:pos x="6" y="8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6" y="28"/>
                  </a:cxn>
                  <a:cxn ang="0">
                    <a:pos x="26" y="30"/>
                  </a:cxn>
                  <a:cxn ang="0">
                    <a:pos x="56" y="28"/>
                  </a:cxn>
                  <a:cxn ang="0">
                    <a:pos x="92" y="28"/>
                  </a:cxn>
                  <a:cxn ang="0">
                    <a:pos x="92" y="28"/>
                  </a:cxn>
                </a:cxnLst>
                <a:rect l="0" t="0" r="r" b="b"/>
                <a:pathLst>
                  <a:path w="126" h="30">
                    <a:moveTo>
                      <a:pt x="92" y="28"/>
                    </a:moveTo>
                    <a:lnTo>
                      <a:pt x="92" y="28"/>
                    </a:lnTo>
                    <a:lnTo>
                      <a:pt x="108" y="28"/>
                    </a:lnTo>
                    <a:lnTo>
                      <a:pt x="120" y="26"/>
                    </a:lnTo>
                    <a:lnTo>
                      <a:pt x="124" y="22"/>
                    </a:lnTo>
                    <a:lnTo>
                      <a:pt x="126" y="20"/>
                    </a:lnTo>
                    <a:lnTo>
                      <a:pt x="126" y="16"/>
                    </a:lnTo>
                    <a:lnTo>
                      <a:pt x="122" y="12"/>
                    </a:lnTo>
                    <a:lnTo>
                      <a:pt x="112" y="8"/>
                    </a:lnTo>
                    <a:lnTo>
                      <a:pt x="100" y="4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48" y="0"/>
                    </a:lnTo>
                    <a:lnTo>
                      <a:pt x="22" y="4"/>
                    </a:lnTo>
                    <a:lnTo>
                      <a:pt x="14" y="6"/>
                    </a:lnTo>
                    <a:lnTo>
                      <a:pt x="6" y="8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6" y="28"/>
                    </a:lnTo>
                    <a:lnTo>
                      <a:pt x="26" y="30"/>
                    </a:lnTo>
                    <a:lnTo>
                      <a:pt x="56" y="28"/>
                    </a:lnTo>
                    <a:lnTo>
                      <a:pt x="92" y="28"/>
                    </a:lnTo>
                    <a:lnTo>
                      <a:pt x="92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5" name="Freeform 6105">
                <a:extLst>
                  <a:ext uri="{FF2B5EF4-FFF2-40B4-BE49-F238E27FC236}">
                    <a16:creationId xmlns:a16="http://schemas.microsoft.com/office/drawing/2014/main" id="{BE3B61C2-16AA-4F77-A0ED-3A0170CD1F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4560" y="944563"/>
                <a:ext cx="34290" cy="12700"/>
              </a:xfrm>
              <a:custGeom>
                <a:avLst/>
                <a:gdLst/>
                <a:ahLst/>
                <a:cxnLst>
                  <a:cxn ang="0">
                    <a:pos x="54" y="4"/>
                  </a:cxn>
                  <a:cxn ang="0">
                    <a:pos x="54" y="4"/>
                  </a:cxn>
                  <a:cxn ang="0">
                    <a:pos x="54" y="2"/>
                  </a:cxn>
                  <a:cxn ang="0">
                    <a:pos x="50" y="0"/>
                  </a:cxn>
                  <a:cxn ang="0">
                    <a:pos x="36" y="0"/>
                  </a:cxn>
                  <a:cxn ang="0">
                    <a:pos x="18" y="6"/>
                  </a:cxn>
                  <a:cxn ang="0">
                    <a:pos x="8" y="10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20" y="18"/>
                  </a:cxn>
                  <a:cxn ang="0">
                    <a:pos x="42" y="12"/>
                  </a:cxn>
                  <a:cxn ang="0">
                    <a:pos x="50" y="8"/>
                  </a:cxn>
                  <a:cxn ang="0">
                    <a:pos x="54" y="4"/>
                  </a:cxn>
                  <a:cxn ang="0">
                    <a:pos x="54" y="4"/>
                  </a:cxn>
                </a:cxnLst>
                <a:rect l="0" t="0" r="r" b="b"/>
                <a:pathLst>
                  <a:path w="54" h="20">
                    <a:moveTo>
                      <a:pt x="54" y="4"/>
                    </a:moveTo>
                    <a:lnTo>
                      <a:pt x="54" y="4"/>
                    </a:lnTo>
                    <a:lnTo>
                      <a:pt x="54" y="2"/>
                    </a:lnTo>
                    <a:lnTo>
                      <a:pt x="50" y="0"/>
                    </a:lnTo>
                    <a:lnTo>
                      <a:pt x="36" y="0"/>
                    </a:lnTo>
                    <a:lnTo>
                      <a:pt x="18" y="6"/>
                    </a:lnTo>
                    <a:lnTo>
                      <a:pt x="8" y="1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20" y="18"/>
                    </a:lnTo>
                    <a:lnTo>
                      <a:pt x="42" y="12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6" name="Freeform 6106">
                <a:extLst>
                  <a:ext uri="{FF2B5EF4-FFF2-40B4-BE49-F238E27FC236}">
                    <a16:creationId xmlns:a16="http://schemas.microsoft.com/office/drawing/2014/main" id="{211588FE-50B6-4167-853C-946877EB7D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7400" y="727393"/>
                <a:ext cx="784860" cy="367030"/>
              </a:xfrm>
              <a:custGeom>
                <a:avLst/>
                <a:gdLst/>
                <a:ahLst/>
                <a:cxnLst>
                  <a:cxn ang="0">
                    <a:pos x="68" y="162"/>
                  </a:cxn>
                  <a:cxn ang="0">
                    <a:pos x="122" y="204"/>
                  </a:cxn>
                  <a:cxn ang="0">
                    <a:pos x="246" y="182"/>
                  </a:cxn>
                  <a:cxn ang="0">
                    <a:pos x="202" y="210"/>
                  </a:cxn>
                  <a:cxn ang="0">
                    <a:pos x="334" y="210"/>
                  </a:cxn>
                  <a:cxn ang="0">
                    <a:pos x="494" y="186"/>
                  </a:cxn>
                  <a:cxn ang="0">
                    <a:pos x="540" y="190"/>
                  </a:cxn>
                  <a:cxn ang="0">
                    <a:pos x="450" y="222"/>
                  </a:cxn>
                  <a:cxn ang="0">
                    <a:pos x="402" y="274"/>
                  </a:cxn>
                  <a:cxn ang="0">
                    <a:pos x="402" y="298"/>
                  </a:cxn>
                  <a:cxn ang="0">
                    <a:pos x="246" y="240"/>
                  </a:cxn>
                  <a:cxn ang="0">
                    <a:pos x="226" y="284"/>
                  </a:cxn>
                  <a:cxn ang="0">
                    <a:pos x="296" y="336"/>
                  </a:cxn>
                  <a:cxn ang="0">
                    <a:pos x="336" y="356"/>
                  </a:cxn>
                  <a:cxn ang="0">
                    <a:pos x="298" y="364"/>
                  </a:cxn>
                  <a:cxn ang="0">
                    <a:pos x="168" y="410"/>
                  </a:cxn>
                  <a:cxn ang="0">
                    <a:pos x="226" y="422"/>
                  </a:cxn>
                  <a:cxn ang="0">
                    <a:pos x="256" y="440"/>
                  </a:cxn>
                  <a:cxn ang="0">
                    <a:pos x="330" y="460"/>
                  </a:cxn>
                  <a:cxn ang="0">
                    <a:pos x="342" y="464"/>
                  </a:cxn>
                  <a:cxn ang="0">
                    <a:pos x="238" y="460"/>
                  </a:cxn>
                  <a:cxn ang="0">
                    <a:pos x="140" y="450"/>
                  </a:cxn>
                  <a:cxn ang="0">
                    <a:pos x="160" y="502"/>
                  </a:cxn>
                  <a:cxn ang="0">
                    <a:pos x="92" y="546"/>
                  </a:cxn>
                  <a:cxn ang="0">
                    <a:pos x="146" y="562"/>
                  </a:cxn>
                  <a:cxn ang="0">
                    <a:pos x="244" y="562"/>
                  </a:cxn>
                  <a:cxn ang="0">
                    <a:pos x="322" y="552"/>
                  </a:cxn>
                  <a:cxn ang="0">
                    <a:pos x="438" y="548"/>
                  </a:cxn>
                  <a:cxn ang="0">
                    <a:pos x="462" y="578"/>
                  </a:cxn>
                  <a:cxn ang="0">
                    <a:pos x="560" y="538"/>
                  </a:cxn>
                  <a:cxn ang="0">
                    <a:pos x="518" y="514"/>
                  </a:cxn>
                  <a:cxn ang="0">
                    <a:pos x="550" y="472"/>
                  </a:cxn>
                  <a:cxn ang="0">
                    <a:pos x="550" y="432"/>
                  </a:cxn>
                  <a:cxn ang="0">
                    <a:pos x="668" y="402"/>
                  </a:cxn>
                  <a:cxn ang="0">
                    <a:pos x="684" y="372"/>
                  </a:cxn>
                  <a:cxn ang="0">
                    <a:pos x="686" y="348"/>
                  </a:cxn>
                  <a:cxn ang="0">
                    <a:pos x="658" y="326"/>
                  </a:cxn>
                  <a:cxn ang="0">
                    <a:pos x="588" y="318"/>
                  </a:cxn>
                  <a:cxn ang="0">
                    <a:pos x="752" y="284"/>
                  </a:cxn>
                  <a:cxn ang="0">
                    <a:pos x="832" y="278"/>
                  </a:cxn>
                  <a:cxn ang="0">
                    <a:pos x="1076" y="154"/>
                  </a:cxn>
                  <a:cxn ang="0">
                    <a:pos x="1000" y="142"/>
                  </a:cxn>
                  <a:cxn ang="0">
                    <a:pos x="1232" y="76"/>
                  </a:cxn>
                  <a:cxn ang="0">
                    <a:pos x="1168" y="54"/>
                  </a:cxn>
                  <a:cxn ang="0">
                    <a:pos x="1094" y="20"/>
                  </a:cxn>
                  <a:cxn ang="0">
                    <a:pos x="962" y="40"/>
                  </a:cxn>
                  <a:cxn ang="0">
                    <a:pos x="1006" y="20"/>
                  </a:cxn>
                  <a:cxn ang="0">
                    <a:pos x="858" y="2"/>
                  </a:cxn>
                  <a:cxn ang="0">
                    <a:pos x="690" y="10"/>
                  </a:cxn>
                  <a:cxn ang="0">
                    <a:pos x="500" y="14"/>
                  </a:cxn>
                  <a:cxn ang="0">
                    <a:pos x="412" y="24"/>
                  </a:cxn>
                  <a:cxn ang="0">
                    <a:pos x="392" y="42"/>
                  </a:cxn>
                  <a:cxn ang="0">
                    <a:pos x="340" y="70"/>
                  </a:cxn>
                  <a:cxn ang="0">
                    <a:pos x="264" y="52"/>
                  </a:cxn>
                  <a:cxn ang="0">
                    <a:pos x="224" y="76"/>
                  </a:cxn>
                  <a:cxn ang="0">
                    <a:pos x="248" y="98"/>
                  </a:cxn>
                  <a:cxn ang="0">
                    <a:pos x="130" y="92"/>
                  </a:cxn>
                  <a:cxn ang="0">
                    <a:pos x="50" y="104"/>
                  </a:cxn>
                  <a:cxn ang="0">
                    <a:pos x="12" y="144"/>
                  </a:cxn>
                </a:cxnLst>
                <a:rect l="0" t="0" r="r" b="b"/>
                <a:pathLst>
                  <a:path w="1236" h="578">
                    <a:moveTo>
                      <a:pt x="44" y="148"/>
                    </a:moveTo>
                    <a:lnTo>
                      <a:pt x="44" y="148"/>
                    </a:lnTo>
                    <a:lnTo>
                      <a:pt x="50" y="150"/>
                    </a:lnTo>
                    <a:lnTo>
                      <a:pt x="58" y="152"/>
                    </a:lnTo>
                    <a:lnTo>
                      <a:pt x="74" y="150"/>
                    </a:lnTo>
                    <a:lnTo>
                      <a:pt x="80" y="150"/>
                    </a:lnTo>
                    <a:lnTo>
                      <a:pt x="80" y="152"/>
                    </a:lnTo>
                    <a:lnTo>
                      <a:pt x="74" y="156"/>
                    </a:lnTo>
                    <a:lnTo>
                      <a:pt x="74" y="156"/>
                    </a:lnTo>
                    <a:lnTo>
                      <a:pt x="68" y="162"/>
                    </a:lnTo>
                    <a:lnTo>
                      <a:pt x="62" y="168"/>
                    </a:lnTo>
                    <a:lnTo>
                      <a:pt x="62" y="172"/>
                    </a:lnTo>
                    <a:lnTo>
                      <a:pt x="62" y="178"/>
                    </a:lnTo>
                    <a:lnTo>
                      <a:pt x="66" y="182"/>
                    </a:lnTo>
                    <a:lnTo>
                      <a:pt x="72" y="186"/>
                    </a:lnTo>
                    <a:lnTo>
                      <a:pt x="82" y="190"/>
                    </a:lnTo>
                    <a:lnTo>
                      <a:pt x="94" y="194"/>
                    </a:lnTo>
                    <a:lnTo>
                      <a:pt x="94" y="194"/>
                    </a:lnTo>
                    <a:lnTo>
                      <a:pt x="108" y="200"/>
                    </a:lnTo>
                    <a:lnTo>
                      <a:pt x="122" y="204"/>
                    </a:lnTo>
                    <a:lnTo>
                      <a:pt x="144" y="212"/>
                    </a:lnTo>
                    <a:lnTo>
                      <a:pt x="156" y="216"/>
                    </a:lnTo>
                    <a:lnTo>
                      <a:pt x="166" y="214"/>
                    </a:lnTo>
                    <a:lnTo>
                      <a:pt x="178" y="212"/>
                    </a:lnTo>
                    <a:lnTo>
                      <a:pt x="192" y="204"/>
                    </a:lnTo>
                    <a:lnTo>
                      <a:pt x="192" y="204"/>
                    </a:lnTo>
                    <a:lnTo>
                      <a:pt x="206" y="194"/>
                    </a:lnTo>
                    <a:lnTo>
                      <a:pt x="222" y="188"/>
                    </a:lnTo>
                    <a:lnTo>
                      <a:pt x="234" y="184"/>
                    </a:lnTo>
                    <a:lnTo>
                      <a:pt x="246" y="182"/>
                    </a:lnTo>
                    <a:lnTo>
                      <a:pt x="254" y="182"/>
                    </a:lnTo>
                    <a:lnTo>
                      <a:pt x="258" y="182"/>
                    </a:lnTo>
                    <a:lnTo>
                      <a:pt x="256" y="184"/>
                    </a:lnTo>
                    <a:lnTo>
                      <a:pt x="250" y="186"/>
                    </a:lnTo>
                    <a:lnTo>
                      <a:pt x="250" y="186"/>
                    </a:lnTo>
                    <a:lnTo>
                      <a:pt x="224" y="194"/>
                    </a:lnTo>
                    <a:lnTo>
                      <a:pt x="212" y="200"/>
                    </a:lnTo>
                    <a:lnTo>
                      <a:pt x="204" y="206"/>
                    </a:lnTo>
                    <a:lnTo>
                      <a:pt x="202" y="208"/>
                    </a:lnTo>
                    <a:lnTo>
                      <a:pt x="202" y="210"/>
                    </a:lnTo>
                    <a:lnTo>
                      <a:pt x="204" y="214"/>
                    </a:lnTo>
                    <a:lnTo>
                      <a:pt x="208" y="216"/>
                    </a:lnTo>
                    <a:lnTo>
                      <a:pt x="224" y="220"/>
                    </a:lnTo>
                    <a:lnTo>
                      <a:pt x="254" y="224"/>
                    </a:lnTo>
                    <a:lnTo>
                      <a:pt x="254" y="224"/>
                    </a:lnTo>
                    <a:lnTo>
                      <a:pt x="284" y="224"/>
                    </a:lnTo>
                    <a:lnTo>
                      <a:pt x="304" y="224"/>
                    </a:lnTo>
                    <a:lnTo>
                      <a:pt x="318" y="220"/>
                    </a:lnTo>
                    <a:lnTo>
                      <a:pt x="326" y="216"/>
                    </a:lnTo>
                    <a:lnTo>
                      <a:pt x="334" y="210"/>
                    </a:lnTo>
                    <a:lnTo>
                      <a:pt x="338" y="210"/>
                    </a:lnTo>
                    <a:lnTo>
                      <a:pt x="346" y="214"/>
                    </a:lnTo>
                    <a:lnTo>
                      <a:pt x="346" y="214"/>
                    </a:lnTo>
                    <a:lnTo>
                      <a:pt x="358" y="218"/>
                    </a:lnTo>
                    <a:lnTo>
                      <a:pt x="374" y="218"/>
                    </a:lnTo>
                    <a:lnTo>
                      <a:pt x="394" y="216"/>
                    </a:lnTo>
                    <a:lnTo>
                      <a:pt x="418" y="212"/>
                    </a:lnTo>
                    <a:lnTo>
                      <a:pt x="442" y="206"/>
                    </a:lnTo>
                    <a:lnTo>
                      <a:pt x="468" y="196"/>
                    </a:lnTo>
                    <a:lnTo>
                      <a:pt x="494" y="186"/>
                    </a:lnTo>
                    <a:lnTo>
                      <a:pt x="520" y="174"/>
                    </a:lnTo>
                    <a:lnTo>
                      <a:pt x="520" y="174"/>
                    </a:lnTo>
                    <a:lnTo>
                      <a:pt x="546" y="160"/>
                    </a:lnTo>
                    <a:lnTo>
                      <a:pt x="544" y="162"/>
                    </a:lnTo>
                    <a:lnTo>
                      <a:pt x="540" y="168"/>
                    </a:lnTo>
                    <a:lnTo>
                      <a:pt x="536" y="176"/>
                    </a:lnTo>
                    <a:lnTo>
                      <a:pt x="534" y="180"/>
                    </a:lnTo>
                    <a:lnTo>
                      <a:pt x="534" y="184"/>
                    </a:lnTo>
                    <a:lnTo>
                      <a:pt x="536" y="186"/>
                    </a:lnTo>
                    <a:lnTo>
                      <a:pt x="540" y="190"/>
                    </a:lnTo>
                    <a:lnTo>
                      <a:pt x="548" y="192"/>
                    </a:lnTo>
                    <a:lnTo>
                      <a:pt x="558" y="192"/>
                    </a:lnTo>
                    <a:lnTo>
                      <a:pt x="558" y="192"/>
                    </a:lnTo>
                    <a:lnTo>
                      <a:pt x="576" y="194"/>
                    </a:lnTo>
                    <a:lnTo>
                      <a:pt x="584" y="196"/>
                    </a:lnTo>
                    <a:lnTo>
                      <a:pt x="584" y="196"/>
                    </a:lnTo>
                    <a:lnTo>
                      <a:pt x="580" y="198"/>
                    </a:lnTo>
                    <a:lnTo>
                      <a:pt x="570" y="200"/>
                    </a:lnTo>
                    <a:lnTo>
                      <a:pt x="524" y="208"/>
                    </a:lnTo>
                    <a:lnTo>
                      <a:pt x="450" y="222"/>
                    </a:lnTo>
                    <a:lnTo>
                      <a:pt x="450" y="222"/>
                    </a:lnTo>
                    <a:lnTo>
                      <a:pt x="388" y="236"/>
                    </a:lnTo>
                    <a:lnTo>
                      <a:pt x="370" y="238"/>
                    </a:lnTo>
                    <a:lnTo>
                      <a:pt x="360" y="242"/>
                    </a:lnTo>
                    <a:lnTo>
                      <a:pt x="358" y="242"/>
                    </a:lnTo>
                    <a:lnTo>
                      <a:pt x="358" y="244"/>
                    </a:lnTo>
                    <a:lnTo>
                      <a:pt x="362" y="248"/>
                    </a:lnTo>
                    <a:lnTo>
                      <a:pt x="386" y="264"/>
                    </a:lnTo>
                    <a:lnTo>
                      <a:pt x="386" y="264"/>
                    </a:lnTo>
                    <a:lnTo>
                      <a:pt x="402" y="274"/>
                    </a:lnTo>
                    <a:lnTo>
                      <a:pt x="418" y="282"/>
                    </a:lnTo>
                    <a:lnTo>
                      <a:pt x="442" y="292"/>
                    </a:lnTo>
                    <a:lnTo>
                      <a:pt x="450" y="296"/>
                    </a:lnTo>
                    <a:lnTo>
                      <a:pt x="452" y="298"/>
                    </a:lnTo>
                    <a:lnTo>
                      <a:pt x="448" y="302"/>
                    </a:lnTo>
                    <a:lnTo>
                      <a:pt x="436" y="304"/>
                    </a:lnTo>
                    <a:lnTo>
                      <a:pt x="436" y="304"/>
                    </a:lnTo>
                    <a:lnTo>
                      <a:pt x="422" y="304"/>
                    </a:lnTo>
                    <a:lnTo>
                      <a:pt x="410" y="302"/>
                    </a:lnTo>
                    <a:lnTo>
                      <a:pt x="402" y="298"/>
                    </a:lnTo>
                    <a:lnTo>
                      <a:pt x="394" y="292"/>
                    </a:lnTo>
                    <a:lnTo>
                      <a:pt x="378" y="276"/>
                    </a:lnTo>
                    <a:lnTo>
                      <a:pt x="368" y="268"/>
                    </a:lnTo>
                    <a:lnTo>
                      <a:pt x="356" y="260"/>
                    </a:lnTo>
                    <a:lnTo>
                      <a:pt x="356" y="260"/>
                    </a:lnTo>
                    <a:lnTo>
                      <a:pt x="338" y="254"/>
                    </a:lnTo>
                    <a:lnTo>
                      <a:pt x="316" y="248"/>
                    </a:lnTo>
                    <a:lnTo>
                      <a:pt x="292" y="244"/>
                    </a:lnTo>
                    <a:lnTo>
                      <a:pt x="268" y="242"/>
                    </a:lnTo>
                    <a:lnTo>
                      <a:pt x="246" y="240"/>
                    </a:lnTo>
                    <a:lnTo>
                      <a:pt x="228" y="242"/>
                    </a:lnTo>
                    <a:lnTo>
                      <a:pt x="220" y="244"/>
                    </a:lnTo>
                    <a:lnTo>
                      <a:pt x="216" y="246"/>
                    </a:lnTo>
                    <a:lnTo>
                      <a:pt x="212" y="250"/>
                    </a:lnTo>
                    <a:lnTo>
                      <a:pt x="210" y="254"/>
                    </a:lnTo>
                    <a:lnTo>
                      <a:pt x="210" y="254"/>
                    </a:lnTo>
                    <a:lnTo>
                      <a:pt x="210" y="270"/>
                    </a:lnTo>
                    <a:lnTo>
                      <a:pt x="212" y="274"/>
                    </a:lnTo>
                    <a:lnTo>
                      <a:pt x="214" y="278"/>
                    </a:lnTo>
                    <a:lnTo>
                      <a:pt x="226" y="284"/>
                    </a:lnTo>
                    <a:lnTo>
                      <a:pt x="250" y="292"/>
                    </a:lnTo>
                    <a:lnTo>
                      <a:pt x="250" y="292"/>
                    </a:lnTo>
                    <a:lnTo>
                      <a:pt x="262" y="298"/>
                    </a:lnTo>
                    <a:lnTo>
                      <a:pt x="276" y="304"/>
                    </a:lnTo>
                    <a:lnTo>
                      <a:pt x="294" y="318"/>
                    </a:lnTo>
                    <a:lnTo>
                      <a:pt x="300" y="326"/>
                    </a:lnTo>
                    <a:lnTo>
                      <a:pt x="302" y="330"/>
                    </a:lnTo>
                    <a:lnTo>
                      <a:pt x="302" y="334"/>
                    </a:lnTo>
                    <a:lnTo>
                      <a:pt x="296" y="336"/>
                    </a:lnTo>
                    <a:lnTo>
                      <a:pt x="296" y="336"/>
                    </a:lnTo>
                    <a:lnTo>
                      <a:pt x="290" y="338"/>
                    </a:lnTo>
                    <a:lnTo>
                      <a:pt x="286" y="340"/>
                    </a:lnTo>
                    <a:lnTo>
                      <a:pt x="284" y="344"/>
                    </a:lnTo>
                    <a:lnTo>
                      <a:pt x="286" y="346"/>
                    </a:lnTo>
                    <a:lnTo>
                      <a:pt x="290" y="348"/>
                    </a:lnTo>
                    <a:lnTo>
                      <a:pt x="296" y="352"/>
                    </a:lnTo>
                    <a:lnTo>
                      <a:pt x="308" y="354"/>
                    </a:lnTo>
                    <a:lnTo>
                      <a:pt x="320" y="356"/>
                    </a:lnTo>
                    <a:lnTo>
                      <a:pt x="320" y="356"/>
                    </a:lnTo>
                    <a:lnTo>
                      <a:pt x="336" y="356"/>
                    </a:lnTo>
                    <a:lnTo>
                      <a:pt x="348" y="360"/>
                    </a:lnTo>
                    <a:lnTo>
                      <a:pt x="356" y="362"/>
                    </a:lnTo>
                    <a:lnTo>
                      <a:pt x="362" y="366"/>
                    </a:lnTo>
                    <a:lnTo>
                      <a:pt x="364" y="368"/>
                    </a:lnTo>
                    <a:lnTo>
                      <a:pt x="360" y="368"/>
                    </a:lnTo>
                    <a:lnTo>
                      <a:pt x="352" y="368"/>
                    </a:lnTo>
                    <a:lnTo>
                      <a:pt x="340" y="368"/>
                    </a:lnTo>
                    <a:lnTo>
                      <a:pt x="340" y="368"/>
                    </a:lnTo>
                    <a:lnTo>
                      <a:pt x="320" y="366"/>
                    </a:lnTo>
                    <a:lnTo>
                      <a:pt x="298" y="364"/>
                    </a:lnTo>
                    <a:lnTo>
                      <a:pt x="250" y="366"/>
                    </a:lnTo>
                    <a:lnTo>
                      <a:pt x="228" y="368"/>
                    </a:lnTo>
                    <a:lnTo>
                      <a:pt x="208" y="372"/>
                    </a:lnTo>
                    <a:lnTo>
                      <a:pt x="192" y="376"/>
                    </a:lnTo>
                    <a:lnTo>
                      <a:pt x="182" y="382"/>
                    </a:lnTo>
                    <a:lnTo>
                      <a:pt x="182" y="382"/>
                    </a:lnTo>
                    <a:lnTo>
                      <a:pt x="176" y="388"/>
                    </a:lnTo>
                    <a:lnTo>
                      <a:pt x="172" y="394"/>
                    </a:lnTo>
                    <a:lnTo>
                      <a:pt x="170" y="402"/>
                    </a:lnTo>
                    <a:lnTo>
                      <a:pt x="168" y="410"/>
                    </a:lnTo>
                    <a:lnTo>
                      <a:pt x="170" y="416"/>
                    </a:lnTo>
                    <a:lnTo>
                      <a:pt x="176" y="420"/>
                    </a:lnTo>
                    <a:lnTo>
                      <a:pt x="184" y="422"/>
                    </a:lnTo>
                    <a:lnTo>
                      <a:pt x="196" y="420"/>
                    </a:lnTo>
                    <a:lnTo>
                      <a:pt x="196" y="420"/>
                    </a:lnTo>
                    <a:lnTo>
                      <a:pt x="208" y="418"/>
                    </a:lnTo>
                    <a:lnTo>
                      <a:pt x="216" y="418"/>
                    </a:lnTo>
                    <a:lnTo>
                      <a:pt x="220" y="418"/>
                    </a:lnTo>
                    <a:lnTo>
                      <a:pt x="224" y="420"/>
                    </a:lnTo>
                    <a:lnTo>
                      <a:pt x="226" y="422"/>
                    </a:lnTo>
                    <a:lnTo>
                      <a:pt x="230" y="424"/>
                    </a:lnTo>
                    <a:lnTo>
                      <a:pt x="236" y="424"/>
                    </a:lnTo>
                    <a:lnTo>
                      <a:pt x="246" y="424"/>
                    </a:lnTo>
                    <a:lnTo>
                      <a:pt x="246" y="424"/>
                    </a:lnTo>
                    <a:lnTo>
                      <a:pt x="256" y="422"/>
                    </a:lnTo>
                    <a:lnTo>
                      <a:pt x="260" y="422"/>
                    </a:lnTo>
                    <a:lnTo>
                      <a:pt x="260" y="424"/>
                    </a:lnTo>
                    <a:lnTo>
                      <a:pt x="260" y="428"/>
                    </a:lnTo>
                    <a:lnTo>
                      <a:pt x="258" y="434"/>
                    </a:lnTo>
                    <a:lnTo>
                      <a:pt x="256" y="440"/>
                    </a:lnTo>
                    <a:lnTo>
                      <a:pt x="258" y="450"/>
                    </a:lnTo>
                    <a:lnTo>
                      <a:pt x="266" y="460"/>
                    </a:lnTo>
                    <a:lnTo>
                      <a:pt x="266" y="460"/>
                    </a:lnTo>
                    <a:lnTo>
                      <a:pt x="270" y="464"/>
                    </a:lnTo>
                    <a:lnTo>
                      <a:pt x="276" y="468"/>
                    </a:lnTo>
                    <a:lnTo>
                      <a:pt x="282" y="470"/>
                    </a:lnTo>
                    <a:lnTo>
                      <a:pt x="288" y="472"/>
                    </a:lnTo>
                    <a:lnTo>
                      <a:pt x="302" y="470"/>
                    </a:lnTo>
                    <a:lnTo>
                      <a:pt x="316" y="466"/>
                    </a:lnTo>
                    <a:lnTo>
                      <a:pt x="330" y="460"/>
                    </a:lnTo>
                    <a:lnTo>
                      <a:pt x="342" y="450"/>
                    </a:lnTo>
                    <a:lnTo>
                      <a:pt x="354" y="442"/>
                    </a:lnTo>
                    <a:lnTo>
                      <a:pt x="366" y="432"/>
                    </a:lnTo>
                    <a:lnTo>
                      <a:pt x="366" y="432"/>
                    </a:lnTo>
                    <a:lnTo>
                      <a:pt x="372" y="426"/>
                    </a:lnTo>
                    <a:lnTo>
                      <a:pt x="372" y="428"/>
                    </a:lnTo>
                    <a:lnTo>
                      <a:pt x="372" y="430"/>
                    </a:lnTo>
                    <a:lnTo>
                      <a:pt x="366" y="440"/>
                    </a:lnTo>
                    <a:lnTo>
                      <a:pt x="356" y="452"/>
                    </a:lnTo>
                    <a:lnTo>
                      <a:pt x="342" y="464"/>
                    </a:lnTo>
                    <a:lnTo>
                      <a:pt x="326" y="476"/>
                    </a:lnTo>
                    <a:lnTo>
                      <a:pt x="316" y="482"/>
                    </a:lnTo>
                    <a:lnTo>
                      <a:pt x="306" y="484"/>
                    </a:lnTo>
                    <a:lnTo>
                      <a:pt x="296" y="486"/>
                    </a:lnTo>
                    <a:lnTo>
                      <a:pt x="286" y="486"/>
                    </a:lnTo>
                    <a:lnTo>
                      <a:pt x="286" y="486"/>
                    </a:lnTo>
                    <a:lnTo>
                      <a:pt x="270" y="482"/>
                    </a:lnTo>
                    <a:lnTo>
                      <a:pt x="256" y="476"/>
                    </a:lnTo>
                    <a:lnTo>
                      <a:pt x="246" y="468"/>
                    </a:lnTo>
                    <a:lnTo>
                      <a:pt x="238" y="460"/>
                    </a:lnTo>
                    <a:lnTo>
                      <a:pt x="228" y="452"/>
                    </a:lnTo>
                    <a:lnTo>
                      <a:pt x="218" y="446"/>
                    </a:lnTo>
                    <a:lnTo>
                      <a:pt x="206" y="440"/>
                    </a:lnTo>
                    <a:lnTo>
                      <a:pt x="190" y="438"/>
                    </a:lnTo>
                    <a:lnTo>
                      <a:pt x="190" y="438"/>
                    </a:lnTo>
                    <a:lnTo>
                      <a:pt x="160" y="440"/>
                    </a:lnTo>
                    <a:lnTo>
                      <a:pt x="150" y="440"/>
                    </a:lnTo>
                    <a:lnTo>
                      <a:pt x="144" y="444"/>
                    </a:lnTo>
                    <a:lnTo>
                      <a:pt x="140" y="446"/>
                    </a:lnTo>
                    <a:lnTo>
                      <a:pt x="140" y="450"/>
                    </a:lnTo>
                    <a:lnTo>
                      <a:pt x="144" y="456"/>
                    </a:lnTo>
                    <a:lnTo>
                      <a:pt x="150" y="462"/>
                    </a:lnTo>
                    <a:lnTo>
                      <a:pt x="150" y="462"/>
                    </a:lnTo>
                    <a:lnTo>
                      <a:pt x="166" y="476"/>
                    </a:lnTo>
                    <a:lnTo>
                      <a:pt x="182" y="490"/>
                    </a:lnTo>
                    <a:lnTo>
                      <a:pt x="184" y="494"/>
                    </a:lnTo>
                    <a:lnTo>
                      <a:pt x="184" y="496"/>
                    </a:lnTo>
                    <a:lnTo>
                      <a:pt x="182" y="498"/>
                    </a:lnTo>
                    <a:lnTo>
                      <a:pt x="174" y="500"/>
                    </a:lnTo>
                    <a:lnTo>
                      <a:pt x="160" y="502"/>
                    </a:lnTo>
                    <a:lnTo>
                      <a:pt x="160" y="502"/>
                    </a:lnTo>
                    <a:lnTo>
                      <a:pt x="142" y="502"/>
                    </a:lnTo>
                    <a:lnTo>
                      <a:pt x="124" y="506"/>
                    </a:lnTo>
                    <a:lnTo>
                      <a:pt x="110" y="512"/>
                    </a:lnTo>
                    <a:lnTo>
                      <a:pt x="98" y="518"/>
                    </a:lnTo>
                    <a:lnTo>
                      <a:pt x="90" y="526"/>
                    </a:lnTo>
                    <a:lnTo>
                      <a:pt x="88" y="534"/>
                    </a:lnTo>
                    <a:lnTo>
                      <a:pt x="88" y="538"/>
                    </a:lnTo>
                    <a:lnTo>
                      <a:pt x="88" y="542"/>
                    </a:lnTo>
                    <a:lnTo>
                      <a:pt x="92" y="546"/>
                    </a:lnTo>
                    <a:lnTo>
                      <a:pt x="96" y="550"/>
                    </a:lnTo>
                    <a:lnTo>
                      <a:pt x="96" y="550"/>
                    </a:lnTo>
                    <a:lnTo>
                      <a:pt x="100" y="552"/>
                    </a:lnTo>
                    <a:lnTo>
                      <a:pt x="104" y="552"/>
                    </a:lnTo>
                    <a:lnTo>
                      <a:pt x="114" y="552"/>
                    </a:lnTo>
                    <a:lnTo>
                      <a:pt x="124" y="552"/>
                    </a:lnTo>
                    <a:lnTo>
                      <a:pt x="130" y="554"/>
                    </a:lnTo>
                    <a:lnTo>
                      <a:pt x="138" y="558"/>
                    </a:lnTo>
                    <a:lnTo>
                      <a:pt x="138" y="558"/>
                    </a:lnTo>
                    <a:lnTo>
                      <a:pt x="146" y="562"/>
                    </a:lnTo>
                    <a:lnTo>
                      <a:pt x="154" y="566"/>
                    </a:lnTo>
                    <a:lnTo>
                      <a:pt x="162" y="566"/>
                    </a:lnTo>
                    <a:lnTo>
                      <a:pt x="170" y="564"/>
                    </a:lnTo>
                    <a:lnTo>
                      <a:pt x="186" y="560"/>
                    </a:lnTo>
                    <a:lnTo>
                      <a:pt x="200" y="552"/>
                    </a:lnTo>
                    <a:lnTo>
                      <a:pt x="200" y="552"/>
                    </a:lnTo>
                    <a:lnTo>
                      <a:pt x="206" y="552"/>
                    </a:lnTo>
                    <a:lnTo>
                      <a:pt x="212" y="552"/>
                    </a:lnTo>
                    <a:lnTo>
                      <a:pt x="226" y="556"/>
                    </a:lnTo>
                    <a:lnTo>
                      <a:pt x="244" y="562"/>
                    </a:lnTo>
                    <a:lnTo>
                      <a:pt x="256" y="566"/>
                    </a:lnTo>
                    <a:lnTo>
                      <a:pt x="272" y="566"/>
                    </a:lnTo>
                    <a:lnTo>
                      <a:pt x="272" y="566"/>
                    </a:lnTo>
                    <a:lnTo>
                      <a:pt x="286" y="566"/>
                    </a:lnTo>
                    <a:lnTo>
                      <a:pt x="294" y="564"/>
                    </a:lnTo>
                    <a:lnTo>
                      <a:pt x="298" y="560"/>
                    </a:lnTo>
                    <a:lnTo>
                      <a:pt x="302" y="556"/>
                    </a:lnTo>
                    <a:lnTo>
                      <a:pt x="306" y="554"/>
                    </a:lnTo>
                    <a:lnTo>
                      <a:pt x="312" y="552"/>
                    </a:lnTo>
                    <a:lnTo>
                      <a:pt x="322" y="552"/>
                    </a:lnTo>
                    <a:lnTo>
                      <a:pt x="336" y="558"/>
                    </a:lnTo>
                    <a:lnTo>
                      <a:pt x="336" y="558"/>
                    </a:lnTo>
                    <a:lnTo>
                      <a:pt x="346" y="560"/>
                    </a:lnTo>
                    <a:lnTo>
                      <a:pt x="356" y="560"/>
                    </a:lnTo>
                    <a:lnTo>
                      <a:pt x="376" y="560"/>
                    </a:lnTo>
                    <a:lnTo>
                      <a:pt x="394" y="556"/>
                    </a:lnTo>
                    <a:lnTo>
                      <a:pt x="412" y="552"/>
                    </a:lnTo>
                    <a:lnTo>
                      <a:pt x="426" y="548"/>
                    </a:lnTo>
                    <a:lnTo>
                      <a:pt x="436" y="548"/>
                    </a:lnTo>
                    <a:lnTo>
                      <a:pt x="438" y="548"/>
                    </a:lnTo>
                    <a:lnTo>
                      <a:pt x="440" y="550"/>
                    </a:lnTo>
                    <a:lnTo>
                      <a:pt x="442" y="554"/>
                    </a:lnTo>
                    <a:lnTo>
                      <a:pt x="440" y="560"/>
                    </a:lnTo>
                    <a:lnTo>
                      <a:pt x="440" y="560"/>
                    </a:lnTo>
                    <a:lnTo>
                      <a:pt x="438" y="564"/>
                    </a:lnTo>
                    <a:lnTo>
                      <a:pt x="438" y="570"/>
                    </a:lnTo>
                    <a:lnTo>
                      <a:pt x="440" y="572"/>
                    </a:lnTo>
                    <a:lnTo>
                      <a:pt x="442" y="576"/>
                    </a:lnTo>
                    <a:lnTo>
                      <a:pt x="450" y="578"/>
                    </a:lnTo>
                    <a:lnTo>
                      <a:pt x="462" y="578"/>
                    </a:lnTo>
                    <a:lnTo>
                      <a:pt x="474" y="574"/>
                    </a:lnTo>
                    <a:lnTo>
                      <a:pt x="486" y="570"/>
                    </a:lnTo>
                    <a:lnTo>
                      <a:pt x="510" y="558"/>
                    </a:lnTo>
                    <a:lnTo>
                      <a:pt x="510" y="558"/>
                    </a:lnTo>
                    <a:lnTo>
                      <a:pt x="518" y="552"/>
                    </a:lnTo>
                    <a:lnTo>
                      <a:pt x="528" y="552"/>
                    </a:lnTo>
                    <a:lnTo>
                      <a:pt x="544" y="550"/>
                    </a:lnTo>
                    <a:lnTo>
                      <a:pt x="550" y="550"/>
                    </a:lnTo>
                    <a:lnTo>
                      <a:pt x="556" y="546"/>
                    </a:lnTo>
                    <a:lnTo>
                      <a:pt x="560" y="538"/>
                    </a:lnTo>
                    <a:lnTo>
                      <a:pt x="562" y="526"/>
                    </a:lnTo>
                    <a:lnTo>
                      <a:pt x="562" y="526"/>
                    </a:lnTo>
                    <a:lnTo>
                      <a:pt x="562" y="520"/>
                    </a:lnTo>
                    <a:lnTo>
                      <a:pt x="560" y="518"/>
                    </a:lnTo>
                    <a:lnTo>
                      <a:pt x="558" y="514"/>
                    </a:lnTo>
                    <a:lnTo>
                      <a:pt x="556" y="514"/>
                    </a:lnTo>
                    <a:lnTo>
                      <a:pt x="546" y="512"/>
                    </a:lnTo>
                    <a:lnTo>
                      <a:pt x="536" y="512"/>
                    </a:lnTo>
                    <a:lnTo>
                      <a:pt x="526" y="514"/>
                    </a:lnTo>
                    <a:lnTo>
                      <a:pt x="518" y="514"/>
                    </a:lnTo>
                    <a:lnTo>
                      <a:pt x="512" y="512"/>
                    </a:lnTo>
                    <a:lnTo>
                      <a:pt x="510" y="510"/>
                    </a:lnTo>
                    <a:lnTo>
                      <a:pt x="508" y="506"/>
                    </a:lnTo>
                    <a:lnTo>
                      <a:pt x="508" y="506"/>
                    </a:lnTo>
                    <a:lnTo>
                      <a:pt x="510" y="500"/>
                    </a:lnTo>
                    <a:lnTo>
                      <a:pt x="512" y="494"/>
                    </a:lnTo>
                    <a:lnTo>
                      <a:pt x="514" y="490"/>
                    </a:lnTo>
                    <a:lnTo>
                      <a:pt x="520" y="488"/>
                    </a:lnTo>
                    <a:lnTo>
                      <a:pt x="532" y="482"/>
                    </a:lnTo>
                    <a:lnTo>
                      <a:pt x="550" y="472"/>
                    </a:lnTo>
                    <a:lnTo>
                      <a:pt x="550" y="472"/>
                    </a:lnTo>
                    <a:lnTo>
                      <a:pt x="554" y="468"/>
                    </a:lnTo>
                    <a:lnTo>
                      <a:pt x="556" y="464"/>
                    </a:lnTo>
                    <a:lnTo>
                      <a:pt x="556" y="460"/>
                    </a:lnTo>
                    <a:lnTo>
                      <a:pt x="556" y="456"/>
                    </a:lnTo>
                    <a:lnTo>
                      <a:pt x="552" y="448"/>
                    </a:lnTo>
                    <a:lnTo>
                      <a:pt x="548" y="442"/>
                    </a:lnTo>
                    <a:lnTo>
                      <a:pt x="546" y="436"/>
                    </a:lnTo>
                    <a:lnTo>
                      <a:pt x="548" y="434"/>
                    </a:lnTo>
                    <a:lnTo>
                      <a:pt x="550" y="432"/>
                    </a:lnTo>
                    <a:lnTo>
                      <a:pt x="560" y="430"/>
                    </a:lnTo>
                    <a:lnTo>
                      <a:pt x="582" y="434"/>
                    </a:lnTo>
                    <a:lnTo>
                      <a:pt x="582" y="434"/>
                    </a:lnTo>
                    <a:lnTo>
                      <a:pt x="602" y="436"/>
                    </a:lnTo>
                    <a:lnTo>
                      <a:pt x="620" y="434"/>
                    </a:lnTo>
                    <a:lnTo>
                      <a:pt x="636" y="430"/>
                    </a:lnTo>
                    <a:lnTo>
                      <a:pt x="650" y="424"/>
                    </a:lnTo>
                    <a:lnTo>
                      <a:pt x="660" y="418"/>
                    </a:lnTo>
                    <a:lnTo>
                      <a:pt x="666" y="410"/>
                    </a:lnTo>
                    <a:lnTo>
                      <a:pt x="668" y="402"/>
                    </a:lnTo>
                    <a:lnTo>
                      <a:pt x="668" y="400"/>
                    </a:lnTo>
                    <a:lnTo>
                      <a:pt x="666" y="396"/>
                    </a:lnTo>
                    <a:lnTo>
                      <a:pt x="666" y="396"/>
                    </a:lnTo>
                    <a:lnTo>
                      <a:pt x="664" y="394"/>
                    </a:lnTo>
                    <a:lnTo>
                      <a:pt x="664" y="392"/>
                    </a:lnTo>
                    <a:lnTo>
                      <a:pt x="666" y="388"/>
                    </a:lnTo>
                    <a:lnTo>
                      <a:pt x="680" y="382"/>
                    </a:lnTo>
                    <a:lnTo>
                      <a:pt x="684" y="378"/>
                    </a:lnTo>
                    <a:lnTo>
                      <a:pt x="684" y="376"/>
                    </a:lnTo>
                    <a:lnTo>
                      <a:pt x="684" y="372"/>
                    </a:lnTo>
                    <a:lnTo>
                      <a:pt x="678" y="366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48" y="350"/>
                    </a:lnTo>
                    <a:lnTo>
                      <a:pt x="644" y="348"/>
                    </a:lnTo>
                    <a:lnTo>
                      <a:pt x="644" y="346"/>
                    </a:lnTo>
                    <a:lnTo>
                      <a:pt x="650" y="346"/>
                    </a:lnTo>
                    <a:lnTo>
                      <a:pt x="662" y="348"/>
                    </a:lnTo>
                    <a:lnTo>
                      <a:pt x="674" y="348"/>
                    </a:lnTo>
                    <a:lnTo>
                      <a:pt x="686" y="348"/>
                    </a:lnTo>
                    <a:lnTo>
                      <a:pt x="690" y="348"/>
                    </a:lnTo>
                    <a:lnTo>
                      <a:pt x="694" y="346"/>
                    </a:lnTo>
                    <a:lnTo>
                      <a:pt x="696" y="344"/>
                    </a:lnTo>
                    <a:lnTo>
                      <a:pt x="694" y="340"/>
                    </a:lnTo>
                    <a:lnTo>
                      <a:pt x="694" y="340"/>
                    </a:lnTo>
                    <a:lnTo>
                      <a:pt x="690" y="332"/>
                    </a:lnTo>
                    <a:lnTo>
                      <a:pt x="684" y="328"/>
                    </a:lnTo>
                    <a:lnTo>
                      <a:pt x="680" y="324"/>
                    </a:lnTo>
                    <a:lnTo>
                      <a:pt x="674" y="324"/>
                    </a:lnTo>
                    <a:lnTo>
                      <a:pt x="658" y="326"/>
                    </a:lnTo>
                    <a:lnTo>
                      <a:pt x="638" y="328"/>
                    </a:lnTo>
                    <a:lnTo>
                      <a:pt x="638" y="328"/>
                    </a:lnTo>
                    <a:lnTo>
                      <a:pt x="614" y="328"/>
                    </a:lnTo>
                    <a:lnTo>
                      <a:pt x="592" y="328"/>
                    </a:lnTo>
                    <a:lnTo>
                      <a:pt x="584" y="328"/>
                    </a:lnTo>
                    <a:lnTo>
                      <a:pt x="578" y="326"/>
                    </a:lnTo>
                    <a:lnTo>
                      <a:pt x="576" y="324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8" y="318"/>
                    </a:lnTo>
                    <a:lnTo>
                      <a:pt x="602" y="314"/>
                    </a:lnTo>
                    <a:lnTo>
                      <a:pt x="644" y="312"/>
                    </a:lnTo>
                    <a:lnTo>
                      <a:pt x="692" y="310"/>
                    </a:lnTo>
                    <a:lnTo>
                      <a:pt x="730" y="306"/>
                    </a:lnTo>
                    <a:lnTo>
                      <a:pt x="730" y="306"/>
                    </a:lnTo>
                    <a:lnTo>
                      <a:pt x="742" y="304"/>
                    </a:lnTo>
                    <a:lnTo>
                      <a:pt x="750" y="300"/>
                    </a:lnTo>
                    <a:lnTo>
                      <a:pt x="752" y="296"/>
                    </a:lnTo>
                    <a:lnTo>
                      <a:pt x="752" y="290"/>
                    </a:lnTo>
                    <a:lnTo>
                      <a:pt x="752" y="284"/>
                    </a:lnTo>
                    <a:lnTo>
                      <a:pt x="754" y="284"/>
                    </a:lnTo>
                    <a:lnTo>
                      <a:pt x="762" y="286"/>
                    </a:lnTo>
                    <a:lnTo>
                      <a:pt x="762" y="286"/>
                    </a:lnTo>
                    <a:lnTo>
                      <a:pt x="770" y="290"/>
                    </a:lnTo>
                    <a:lnTo>
                      <a:pt x="780" y="292"/>
                    </a:lnTo>
                    <a:lnTo>
                      <a:pt x="790" y="294"/>
                    </a:lnTo>
                    <a:lnTo>
                      <a:pt x="800" y="292"/>
                    </a:lnTo>
                    <a:lnTo>
                      <a:pt x="812" y="290"/>
                    </a:lnTo>
                    <a:lnTo>
                      <a:pt x="822" y="286"/>
                    </a:lnTo>
                    <a:lnTo>
                      <a:pt x="832" y="278"/>
                    </a:lnTo>
                    <a:lnTo>
                      <a:pt x="842" y="270"/>
                    </a:lnTo>
                    <a:lnTo>
                      <a:pt x="842" y="270"/>
                    </a:lnTo>
                    <a:lnTo>
                      <a:pt x="852" y="260"/>
                    </a:lnTo>
                    <a:lnTo>
                      <a:pt x="866" y="248"/>
                    </a:lnTo>
                    <a:lnTo>
                      <a:pt x="882" y="238"/>
                    </a:lnTo>
                    <a:lnTo>
                      <a:pt x="902" y="228"/>
                    </a:lnTo>
                    <a:lnTo>
                      <a:pt x="954" y="204"/>
                    </a:lnTo>
                    <a:lnTo>
                      <a:pt x="1020" y="178"/>
                    </a:lnTo>
                    <a:lnTo>
                      <a:pt x="1020" y="178"/>
                    </a:lnTo>
                    <a:lnTo>
                      <a:pt x="1076" y="154"/>
                    </a:lnTo>
                    <a:lnTo>
                      <a:pt x="1092" y="146"/>
                    </a:lnTo>
                    <a:lnTo>
                      <a:pt x="1098" y="142"/>
                    </a:lnTo>
                    <a:lnTo>
                      <a:pt x="1098" y="140"/>
                    </a:lnTo>
                    <a:lnTo>
                      <a:pt x="1094" y="140"/>
                    </a:lnTo>
                    <a:lnTo>
                      <a:pt x="1084" y="140"/>
                    </a:lnTo>
                    <a:lnTo>
                      <a:pt x="1038" y="142"/>
                    </a:lnTo>
                    <a:lnTo>
                      <a:pt x="1038" y="142"/>
                    </a:lnTo>
                    <a:lnTo>
                      <a:pt x="1014" y="144"/>
                    </a:lnTo>
                    <a:lnTo>
                      <a:pt x="1002" y="144"/>
                    </a:lnTo>
                    <a:lnTo>
                      <a:pt x="1000" y="142"/>
                    </a:lnTo>
                    <a:lnTo>
                      <a:pt x="1000" y="142"/>
                    </a:lnTo>
                    <a:lnTo>
                      <a:pt x="1006" y="138"/>
                    </a:lnTo>
                    <a:lnTo>
                      <a:pt x="1034" y="130"/>
                    </a:lnTo>
                    <a:lnTo>
                      <a:pt x="1072" y="122"/>
                    </a:lnTo>
                    <a:lnTo>
                      <a:pt x="1072" y="122"/>
                    </a:lnTo>
                    <a:lnTo>
                      <a:pt x="1118" y="112"/>
                    </a:lnTo>
                    <a:lnTo>
                      <a:pt x="1172" y="100"/>
                    </a:lnTo>
                    <a:lnTo>
                      <a:pt x="1198" y="92"/>
                    </a:lnTo>
                    <a:lnTo>
                      <a:pt x="1218" y="84"/>
                    </a:lnTo>
                    <a:lnTo>
                      <a:pt x="1232" y="76"/>
                    </a:lnTo>
                    <a:lnTo>
                      <a:pt x="1236" y="72"/>
                    </a:lnTo>
                    <a:lnTo>
                      <a:pt x="1236" y="68"/>
                    </a:lnTo>
                    <a:lnTo>
                      <a:pt x="1236" y="68"/>
                    </a:lnTo>
                    <a:lnTo>
                      <a:pt x="1236" y="64"/>
                    </a:lnTo>
                    <a:lnTo>
                      <a:pt x="1234" y="62"/>
                    </a:lnTo>
                    <a:lnTo>
                      <a:pt x="1224" y="58"/>
                    </a:lnTo>
                    <a:lnTo>
                      <a:pt x="1210" y="58"/>
                    </a:lnTo>
                    <a:lnTo>
                      <a:pt x="1196" y="56"/>
                    </a:lnTo>
                    <a:lnTo>
                      <a:pt x="1182" y="56"/>
                    </a:lnTo>
                    <a:lnTo>
                      <a:pt x="1168" y="54"/>
                    </a:lnTo>
                    <a:lnTo>
                      <a:pt x="1160" y="50"/>
                    </a:lnTo>
                    <a:lnTo>
                      <a:pt x="1158" y="48"/>
                    </a:lnTo>
                    <a:lnTo>
                      <a:pt x="1156" y="44"/>
                    </a:lnTo>
                    <a:lnTo>
                      <a:pt x="1156" y="44"/>
                    </a:lnTo>
                    <a:lnTo>
                      <a:pt x="1156" y="40"/>
                    </a:lnTo>
                    <a:lnTo>
                      <a:pt x="1154" y="36"/>
                    </a:lnTo>
                    <a:lnTo>
                      <a:pt x="1146" y="30"/>
                    </a:lnTo>
                    <a:lnTo>
                      <a:pt x="1136" y="26"/>
                    </a:lnTo>
                    <a:lnTo>
                      <a:pt x="1122" y="24"/>
                    </a:lnTo>
                    <a:lnTo>
                      <a:pt x="1094" y="20"/>
                    </a:lnTo>
                    <a:lnTo>
                      <a:pt x="1078" y="20"/>
                    </a:lnTo>
                    <a:lnTo>
                      <a:pt x="1078" y="20"/>
                    </a:lnTo>
                    <a:lnTo>
                      <a:pt x="1062" y="22"/>
                    </a:lnTo>
                    <a:lnTo>
                      <a:pt x="1050" y="22"/>
                    </a:lnTo>
                    <a:lnTo>
                      <a:pt x="1038" y="22"/>
                    </a:lnTo>
                    <a:lnTo>
                      <a:pt x="1018" y="30"/>
                    </a:lnTo>
                    <a:lnTo>
                      <a:pt x="1018" y="30"/>
                    </a:lnTo>
                    <a:lnTo>
                      <a:pt x="1004" y="34"/>
                    </a:lnTo>
                    <a:lnTo>
                      <a:pt x="990" y="38"/>
                    </a:lnTo>
                    <a:lnTo>
                      <a:pt x="962" y="40"/>
                    </a:lnTo>
                    <a:lnTo>
                      <a:pt x="948" y="40"/>
                    </a:lnTo>
                    <a:lnTo>
                      <a:pt x="948" y="40"/>
                    </a:lnTo>
                    <a:lnTo>
                      <a:pt x="948" y="38"/>
                    </a:lnTo>
                    <a:lnTo>
                      <a:pt x="958" y="36"/>
                    </a:lnTo>
                    <a:lnTo>
                      <a:pt x="958" y="36"/>
                    </a:lnTo>
                    <a:lnTo>
                      <a:pt x="986" y="30"/>
                    </a:lnTo>
                    <a:lnTo>
                      <a:pt x="1004" y="24"/>
                    </a:lnTo>
                    <a:lnTo>
                      <a:pt x="1008" y="22"/>
                    </a:lnTo>
                    <a:lnTo>
                      <a:pt x="1008" y="20"/>
                    </a:lnTo>
                    <a:lnTo>
                      <a:pt x="1006" y="20"/>
                    </a:lnTo>
                    <a:lnTo>
                      <a:pt x="998" y="18"/>
                    </a:lnTo>
                    <a:lnTo>
                      <a:pt x="980" y="16"/>
                    </a:lnTo>
                    <a:lnTo>
                      <a:pt x="980" y="16"/>
                    </a:lnTo>
                    <a:lnTo>
                      <a:pt x="958" y="16"/>
                    </a:lnTo>
                    <a:lnTo>
                      <a:pt x="942" y="14"/>
                    </a:lnTo>
                    <a:lnTo>
                      <a:pt x="912" y="6"/>
                    </a:lnTo>
                    <a:lnTo>
                      <a:pt x="900" y="2"/>
                    </a:lnTo>
                    <a:lnTo>
                      <a:pt x="888" y="0"/>
                    </a:lnTo>
                    <a:lnTo>
                      <a:pt x="874" y="0"/>
                    </a:lnTo>
                    <a:lnTo>
                      <a:pt x="858" y="2"/>
                    </a:lnTo>
                    <a:lnTo>
                      <a:pt x="858" y="2"/>
                    </a:lnTo>
                    <a:lnTo>
                      <a:pt x="830" y="4"/>
                    </a:lnTo>
                    <a:lnTo>
                      <a:pt x="808" y="4"/>
                    </a:lnTo>
                    <a:lnTo>
                      <a:pt x="788" y="4"/>
                    </a:lnTo>
                    <a:lnTo>
                      <a:pt x="776" y="6"/>
                    </a:lnTo>
                    <a:lnTo>
                      <a:pt x="762" y="10"/>
                    </a:lnTo>
                    <a:lnTo>
                      <a:pt x="762" y="10"/>
                    </a:lnTo>
                    <a:lnTo>
                      <a:pt x="746" y="14"/>
                    </a:lnTo>
                    <a:lnTo>
                      <a:pt x="728" y="14"/>
                    </a:lnTo>
                    <a:lnTo>
                      <a:pt x="690" y="10"/>
                    </a:lnTo>
                    <a:lnTo>
                      <a:pt x="666" y="10"/>
                    </a:lnTo>
                    <a:lnTo>
                      <a:pt x="640" y="10"/>
                    </a:lnTo>
                    <a:lnTo>
                      <a:pt x="608" y="12"/>
                    </a:lnTo>
                    <a:lnTo>
                      <a:pt x="574" y="20"/>
                    </a:lnTo>
                    <a:lnTo>
                      <a:pt x="574" y="20"/>
                    </a:lnTo>
                    <a:lnTo>
                      <a:pt x="556" y="22"/>
                    </a:lnTo>
                    <a:lnTo>
                      <a:pt x="540" y="22"/>
                    </a:lnTo>
                    <a:lnTo>
                      <a:pt x="526" y="20"/>
                    </a:lnTo>
                    <a:lnTo>
                      <a:pt x="514" y="16"/>
                    </a:lnTo>
                    <a:lnTo>
                      <a:pt x="500" y="14"/>
                    </a:lnTo>
                    <a:lnTo>
                      <a:pt x="490" y="12"/>
                    </a:lnTo>
                    <a:lnTo>
                      <a:pt x="478" y="14"/>
                    </a:lnTo>
                    <a:lnTo>
                      <a:pt x="466" y="18"/>
                    </a:lnTo>
                    <a:lnTo>
                      <a:pt x="466" y="18"/>
                    </a:lnTo>
                    <a:lnTo>
                      <a:pt x="454" y="22"/>
                    </a:lnTo>
                    <a:lnTo>
                      <a:pt x="442" y="24"/>
                    </a:lnTo>
                    <a:lnTo>
                      <a:pt x="432" y="24"/>
                    </a:lnTo>
                    <a:lnTo>
                      <a:pt x="422" y="24"/>
                    </a:lnTo>
                    <a:lnTo>
                      <a:pt x="416" y="22"/>
                    </a:lnTo>
                    <a:lnTo>
                      <a:pt x="412" y="24"/>
                    </a:lnTo>
                    <a:lnTo>
                      <a:pt x="416" y="28"/>
                    </a:lnTo>
                    <a:lnTo>
                      <a:pt x="424" y="36"/>
                    </a:lnTo>
                    <a:lnTo>
                      <a:pt x="424" y="36"/>
                    </a:lnTo>
                    <a:lnTo>
                      <a:pt x="430" y="44"/>
                    </a:lnTo>
                    <a:lnTo>
                      <a:pt x="430" y="46"/>
                    </a:lnTo>
                    <a:lnTo>
                      <a:pt x="430" y="48"/>
                    </a:lnTo>
                    <a:lnTo>
                      <a:pt x="424" y="48"/>
                    </a:lnTo>
                    <a:lnTo>
                      <a:pt x="414" y="46"/>
                    </a:lnTo>
                    <a:lnTo>
                      <a:pt x="404" y="44"/>
                    </a:lnTo>
                    <a:lnTo>
                      <a:pt x="392" y="42"/>
                    </a:lnTo>
                    <a:lnTo>
                      <a:pt x="384" y="44"/>
                    </a:lnTo>
                    <a:lnTo>
                      <a:pt x="380" y="46"/>
                    </a:lnTo>
                    <a:lnTo>
                      <a:pt x="378" y="50"/>
                    </a:lnTo>
                    <a:lnTo>
                      <a:pt x="378" y="50"/>
                    </a:lnTo>
                    <a:lnTo>
                      <a:pt x="376" y="58"/>
                    </a:lnTo>
                    <a:lnTo>
                      <a:pt x="372" y="62"/>
                    </a:lnTo>
                    <a:lnTo>
                      <a:pt x="366" y="66"/>
                    </a:lnTo>
                    <a:lnTo>
                      <a:pt x="360" y="68"/>
                    </a:lnTo>
                    <a:lnTo>
                      <a:pt x="352" y="70"/>
                    </a:lnTo>
                    <a:lnTo>
                      <a:pt x="340" y="70"/>
                    </a:lnTo>
                    <a:lnTo>
                      <a:pt x="312" y="68"/>
                    </a:lnTo>
                    <a:lnTo>
                      <a:pt x="312" y="68"/>
                    </a:lnTo>
                    <a:lnTo>
                      <a:pt x="300" y="66"/>
                    </a:lnTo>
                    <a:lnTo>
                      <a:pt x="292" y="64"/>
                    </a:lnTo>
                    <a:lnTo>
                      <a:pt x="290" y="60"/>
                    </a:lnTo>
                    <a:lnTo>
                      <a:pt x="290" y="58"/>
                    </a:lnTo>
                    <a:lnTo>
                      <a:pt x="290" y="56"/>
                    </a:lnTo>
                    <a:lnTo>
                      <a:pt x="288" y="54"/>
                    </a:lnTo>
                    <a:lnTo>
                      <a:pt x="280" y="52"/>
                    </a:lnTo>
                    <a:lnTo>
                      <a:pt x="264" y="52"/>
                    </a:lnTo>
                    <a:lnTo>
                      <a:pt x="264" y="52"/>
                    </a:lnTo>
                    <a:lnTo>
                      <a:pt x="250" y="52"/>
                    </a:lnTo>
                    <a:lnTo>
                      <a:pt x="244" y="52"/>
                    </a:lnTo>
                    <a:lnTo>
                      <a:pt x="244" y="56"/>
                    </a:lnTo>
                    <a:lnTo>
                      <a:pt x="246" y="60"/>
                    </a:lnTo>
                    <a:lnTo>
                      <a:pt x="248" y="64"/>
                    </a:lnTo>
                    <a:lnTo>
                      <a:pt x="248" y="66"/>
                    </a:lnTo>
                    <a:lnTo>
                      <a:pt x="248" y="68"/>
                    </a:lnTo>
                    <a:lnTo>
                      <a:pt x="240" y="72"/>
                    </a:lnTo>
                    <a:lnTo>
                      <a:pt x="224" y="76"/>
                    </a:lnTo>
                    <a:lnTo>
                      <a:pt x="224" y="76"/>
                    </a:lnTo>
                    <a:lnTo>
                      <a:pt x="208" y="78"/>
                    </a:lnTo>
                    <a:lnTo>
                      <a:pt x="206" y="78"/>
                    </a:lnTo>
                    <a:lnTo>
                      <a:pt x="206" y="80"/>
                    </a:lnTo>
                    <a:lnTo>
                      <a:pt x="212" y="82"/>
                    </a:lnTo>
                    <a:lnTo>
                      <a:pt x="224" y="86"/>
                    </a:lnTo>
                    <a:lnTo>
                      <a:pt x="248" y="92"/>
                    </a:lnTo>
                    <a:lnTo>
                      <a:pt x="254" y="94"/>
                    </a:lnTo>
                    <a:lnTo>
                      <a:pt x="252" y="96"/>
                    </a:lnTo>
                    <a:lnTo>
                      <a:pt x="248" y="98"/>
                    </a:lnTo>
                    <a:lnTo>
                      <a:pt x="248" y="98"/>
                    </a:lnTo>
                    <a:lnTo>
                      <a:pt x="238" y="98"/>
                    </a:lnTo>
                    <a:lnTo>
                      <a:pt x="228" y="98"/>
                    </a:lnTo>
                    <a:lnTo>
                      <a:pt x="206" y="92"/>
                    </a:lnTo>
                    <a:lnTo>
                      <a:pt x="194" y="90"/>
                    </a:lnTo>
                    <a:lnTo>
                      <a:pt x="180" y="88"/>
                    </a:lnTo>
                    <a:lnTo>
                      <a:pt x="166" y="86"/>
                    </a:lnTo>
                    <a:lnTo>
                      <a:pt x="146" y="88"/>
                    </a:lnTo>
                    <a:lnTo>
                      <a:pt x="146" y="88"/>
                    </a:lnTo>
                    <a:lnTo>
                      <a:pt x="130" y="92"/>
                    </a:lnTo>
                    <a:lnTo>
                      <a:pt x="120" y="94"/>
                    </a:lnTo>
                    <a:lnTo>
                      <a:pt x="112" y="98"/>
                    </a:lnTo>
                    <a:lnTo>
                      <a:pt x="108" y="102"/>
                    </a:lnTo>
                    <a:lnTo>
                      <a:pt x="104" y="106"/>
                    </a:lnTo>
                    <a:lnTo>
                      <a:pt x="100" y="106"/>
                    </a:lnTo>
                    <a:lnTo>
                      <a:pt x="92" y="108"/>
                    </a:lnTo>
                    <a:lnTo>
                      <a:pt x="80" y="106"/>
                    </a:lnTo>
                    <a:lnTo>
                      <a:pt x="80" y="106"/>
                    </a:lnTo>
                    <a:lnTo>
                      <a:pt x="66" y="104"/>
                    </a:lnTo>
                    <a:lnTo>
                      <a:pt x="50" y="104"/>
                    </a:lnTo>
                    <a:lnTo>
                      <a:pt x="36" y="108"/>
                    </a:lnTo>
                    <a:lnTo>
                      <a:pt x="22" y="112"/>
                    </a:lnTo>
                    <a:lnTo>
                      <a:pt x="12" y="118"/>
                    </a:lnTo>
                    <a:lnTo>
                      <a:pt x="4" y="124"/>
                    </a:lnTo>
                    <a:lnTo>
                      <a:pt x="0" y="130"/>
                    </a:lnTo>
                    <a:lnTo>
                      <a:pt x="2" y="134"/>
                    </a:lnTo>
                    <a:lnTo>
                      <a:pt x="4" y="138"/>
                    </a:lnTo>
                    <a:lnTo>
                      <a:pt x="4" y="138"/>
                    </a:lnTo>
                    <a:lnTo>
                      <a:pt x="8" y="142"/>
                    </a:lnTo>
                    <a:lnTo>
                      <a:pt x="12" y="144"/>
                    </a:lnTo>
                    <a:lnTo>
                      <a:pt x="16" y="144"/>
                    </a:lnTo>
                    <a:lnTo>
                      <a:pt x="22" y="144"/>
                    </a:lnTo>
                    <a:lnTo>
                      <a:pt x="32" y="144"/>
                    </a:lnTo>
                    <a:lnTo>
                      <a:pt x="36" y="144"/>
                    </a:lnTo>
                    <a:lnTo>
                      <a:pt x="44" y="148"/>
                    </a:lnTo>
                    <a:lnTo>
                      <a:pt x="44" y="14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7" name="Freeform 6107">
                <a:extLst>
                  <a:ext uri="{FF2B5EF4-FFF2-40B4-BE49-F238E27FC236}">
                    <a16:creationId xmlns:a16="http://schemas.microsoft.com/office/drawing/2014/main" id="{165D7CC8-E490-4889-B516-468D89A49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5530" y="1211263"/>
                <a:ext cx="121920" cy="48260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42"/>
                  </a:cxn>
                  <a:cxn ang="0">
                    <a:pos x="26" y="46"/>
                  </a:cxn>
                  <a:cxn ang="0">
                    <a:pos x="26" y="52"/>
                  </a:cxn>
                  <a:cxn ang="0">
                    <a:pos x="28" y="56"/>
                  </a:cxn>
                  <a:cxn ang="0">
                    <a:pos x="30" y="62"/>
                  </a:cxn>
                  <a:cxn ang="0">
                    <a:pos x="36" y="66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6" y="76"/>
                  </a:cxn>
                  <a:cxn ang="0">
                    <a:pos x="66" y="76"/>
                  </a:cxn>
                  <a:cxn ang="0">
                    <a:pos x="72" y="76"/>
                  </a:cxn>
                  <a:cxn ang="0">
                    <a:pos x="80" y="74"/>
                  </a:cxn>
                  <a:cxn ang="0">
                    <a:pos x="94" y="68"/>
                  </a:cxn>
                  <a:cxn ang="0">
                    <a:pos x="104" y="66"/>
                  </a:cxn>
                  <a:cxn ang="0">
                    <a:pos x="118" y="68"/>
                  </a:cxn>
                  <a:cxn ang="0">
                    <a:pos x="118" y="68"/>
                  </a:cxn>
                  <a:cxn ang="0">
                    <a:pos x="148" y="70"/>
                  </a:cxn>
                  <a:cxn ang="0">
                    <a:pos x="176" y="72"/>
                  </a:cxn>
                  <a:cxn ang="0">
                    <a:pos x="184" y="70"/>
                  </a:cxn>
                  <a:cxn ang="0">
                    <a:pos x="192" y="68"/>
                  </a:cxn>
                  <a:cxn ang="0">
                    <a:pos x="192" y="66"/>
                  </a:cxn>
                  <a:cxn ang="0">
                    <a:pos x="192" y="62"/>
                  </a:cxn>
                  <a:cxn ang="0">
                    <a:pos x="188" y="58"/>
                  </a:cxn>
                  <a:cxn ang="0">
                    <a:pos x="188" y="58"/>
                  </a:cxn>
                  <a:cxn ang="0">
                    <a:pos x="174" y="42"/>
                  </a:cxn>
                  <a:cxn ang="0">
                    <a:pos x="166" y="34"/>
                  </a:cxn>
                  <a:cxn ang="0">
                    <a:pos x="156" y="26"/>
                  </a:cxn>
                  <a:cxn ang="0">
                    <a:pos x="144" y="18"/>
                  </a:cxn>
                  <a:cxn ang="0">
                    <a:pos x="130" y="12"/>
                  </a:cxn>
                  <a:cxn ang="0">
                    <a:pos x="114" y="10"/>
                  </a:cxn>
                  <a:cxn ang="0">
                    <a:pos x="96" y="10"/>
                  </a:cxn>
                  <a:cxn ang="0">
                    <a:pos x="96" y="10"/>
                  </a:cxn>
                  <a:cxn ang="0">
                    <a:pos x="76" y="8"/>
                  </a:cxn>
                  <a:cxn ang="0">
                    <a:pos x="58" y="6"/>
                  </a:cxn>
                  <a:cxn ang="0">
                    <a:pos x="30" y="2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8" y="4"/>
                  </a:cxn>
                  <a:cxn ang="0">
                    <a:pos x="4" y="6"/>
                  </a:cxn>
                  <a:cxn ang="0">
                    <a:pos x="2" y="16"/>
                  </a:cxn>
                  <a:cxn ang="0">
                    <a:pos x="2" y="16"/>
                  </a:cxn>
                </a:cxnLst>
                <a:rect l="0" t="0" r="r" b="b"/>
                <a:pathLst>
                  <a:path w="192" h="76">
                    <a:moveTo>
                      <a:pt x="2" y="16"/>
                    </a:moveTo>
                    <a:lnTo>
                      <a:pt x="2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42"/>
                    </a:lnTo>
                    <a:lnTo>
                      <a:pt x="26" y="46"/>
                    </a:lnTo>
                    <a:lnTo>
                      <a:pt x="26" y="52"/>
                    </a:lnTo>
                    <a:lnTo>
                      <a:pt x="28" y="56"/>
                    </a:lnTo>
                    <a:lnTo>
                      <a:pt x="30" y="62"/>
                    </a:lnTo>
                    <a:lnTo>
                      <a:pt x="36" y="66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6" y="76"/>
                    </a:lnTo>
                    <a:lnTo>
                      <a:pt x="66" y="76"/>
                    </a:lnTo>
                    <a:lnTo>
                      <a:pt x="72" y="76"/>
                    </a:lnTo>
                    <a:lnTo>
                      <a:pt x="80" y="74"/>
                    </a:lnTo>
                    <a:lnTo>
                      <a:pt x="94" y="68"/>
                    </a:lnTo>
                    <a:lnTo>
                      <a:pt x="104" y="66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48" y="70"/>
                    </a:lnTo>
                    <a:lnTo>
                      <a:pt x="176" y="72"/>
                    </a:lnTo>
                    <a:lnTo>
                      <a:pt x="184" y="70"/>
                    </a:lnTo>
                    <a:lnTo>
                      <a:pt x="192" y="68"/>
                    </a:lnTo>
                    <a:lnTo>
                      <a:pt x="192" y="66"/>
                    </a:lnTo>
                    <a:lnTo>
                      <a:pt x="192" y="62"/>
                    </a:lnTo>
                    <a:lnTo>
                      <a:pt x="188" y="58"/>
                    </a:lnTo>
                    <a:lnTo>
                      <a:pt x="188" y="58"/>
                    </a:lnTo>
                    <a:lnTo>
                      <a:pt x="174" y="42"/>
                    </a:lnTo>
                    <a:lnTo>
                      <a:pt x="166" y="34"/>
                    </a:lnTo>
                    <a:lnTo>
                      <a:pt x="156" y="26"/>
                    </a:lnTo>
                    <a:lnTo>
                      <a:pt x="144" y="18"/>
                    </a:lnTo>
                    <a:lnTo>
                      <a:pt x="130" y="12"/>
                    </a:lnTo>
                    <a:lnTo>
                      <a:pt x="114" y="10"/>
                    </a:lnTo>
                    <a:lnTo>
                      <a:pt x="96" y="10"/>
                    </a:lnTo>
                    <a:lnTo>
                      <a:pt x="96" y="10"/>
                    </a:lnTo>
                    <a:lnTo>
                      <a:pt x="76" y="8"/>
                    </a:lnTo>
                    <a:lnTo>
                      <a:pt x="58" y="6"/>
                    </a:lnTo>
                    <a:lnTo>
                      <a:pt x="30" y="2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2" y="16"/>
                    </a:lnTo>
                    <a:lnTo>
                      <a:pt x="2" y="1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8" name="Freeform 6108">
                <a:extLst>
                  <a:ext uri="{FF2B5EF4-FFF2-40B4-BE49-F238E27FC236}">
                    <a16:creationId xmlns:a16="http://schemas.microsoft.com/office/drawing/2014/main" id="{EF78F154-29E9-4C4C-BB77-0F3E6DDDFB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2760" y="1103313"/>
                <a:ext cx="29210" cy="11430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2" y="18"/>
                  </a:cxn>
                  <a:cxn ang="0">
                    <a:pos x="8" y="18"/>
                  </a:cxn>
                  <a:cxn ang="0">
                    <a:pos x="14" y="18"/>
                  </a:cxn>
                  <a:cxn ang="0">
                    <a:pos x="30" y="12"/>
                  </a:cxn>
                  <a:cxn ang="0">
                    <a:pos x="42" y="4"/>
                  </a:cxn>
                  <a:cxn ang="0">
                    <a:pos x="46" y="2"/>
                  </a:cxn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16" y="6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2" y="18"/>
                  </a:cxn>
                </a:cxnLst>
                <a:rect l="0" t="0" r="r" b="b"/>
                <a:pathLst>
                  <a:path w="46" h="18">
                    <a:moveTo>
                      <a:pt x="2" y="18"/>
                    </a:moveTo>
                    <a:lnTo>
                      <a:pt x="2" y="18"/>
                    </a:lnTo>
                    <a:lnTo>
                      <a:pt x="8" y="18"/>
                    </a:lnTo>
                    <a:lnTo>
                      <a:pt x="14" y="18"/>
                    </a:lnTo>
                    <a:lnTo>
                      <a:pt x="30" y="12"/>
                    </a:lnTo>
                    <a:lnTo>
                      <a:pt x="42" y="4"/>
                    </a:lnTo>
                    <a:lnTo>
                      <a:pt x="46" y="2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32" y="2"/>
                    </a:lnTo>
                    <a:lnTo>
                      <a:pt x="16" y="6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59" name="Freeform 6109">
                <a:extLst>
                  <a:ext uri="{FF2B5EF4-FFF2-40B4-BE49-F238E27FC236}">
                    <a16:creationId xmlns:a16="http://schemas.microsoft.com/office/drawing/2014/main" id="{016E3BF1-1536-480B-99C5-B8921301B2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4530" y="1190943"/>
                <a:ext cx="138430" cy="102870"/>
              </a:xfrm>
              <a:custGeom>
                <a:avLst/>
                <a:gdLst/>
                <a:ahLst/>
                <a:cxnLst>
                  <a:cxn ang="0">
                    <a:pos x="166" y="92"/>
                  </a:cxn>
                  <a:cxn ang="0">
                    <a:pos x="186" y="66"/>
                  </a:cxn>
                  <a:cxn ang="0">
                    <a:pos x="216" y="36"/>
                  </a:cxn>
                  <a:cxn ang="0">
                    <a:pos x="218" y="28"/>
                  </a:cxn>
                  <a:cxn ang="0">
                    <a:pos x="216" y="22"/>
                  </a:cxn>
                  <a:cxn ang="0">
                    <a:pos x="204" y="16"/>
                  </a:cxn>
                  <a:cxn ang="0">
                    <a:pos x="190" y="12"/>
                  </a:cxn>
                  <a:cxn ang="0">
                    <a:pos x="172" y="12"/>
                  </a:cxn>
                  <a:cxn ang="0">
                    <a:pos x="156" y="16"/>
                  </a:cxn>
                  <a:cxn ang="0">
                    <a:pos x="140" y="12"/>
                  </a:cxn>
                  <a:cxn ang="0">
                    <a:pos x="122" y="4"/>
                  </a:cxn>
                  <a:cxn ang="0">
                    <a:pos x="106" y="0"/>
                  </a:cxn>
                  <a:cxn ang="0">
                    <a:pos x="84" y="0"/>
                  </a:cxn>
                  <a:cxn ang="0">
                    <a:pos x="48" y="6"/>
                  </a:cxn>
                  <a:cxn ang="0">
                    <a:pos x="20" y="16"/>
                  </a:cxn>
                  <a:cxn ang="0">
                    <a:pos x="16" y="24"/>
                  </a:cxn>
                  <a:cxn ang="0">
                    <a:pos x="22" y="30"/>
                  </a:cxn>
                  <a:cxn ang="0">
                    <a:pos x="18" y="32"/>
                  </a:cxn>
                  <a:cxn ang="0">
                    <a:pos x="6" y="32"/>
                  </a:cxn>
                  <a:cxn ang="0">
                    <a:pos x="0" y="48"/>
                  </a:cxn>
                  <a:cxn ang="0">
                    <a:pos x="0" y="74"/>
                  </a:cxn>
                  <a:cxn ang="0">
                    <a:pos x="2" y="98"/>
                  </a:cxn>
                  <a:cxn ang="0">
                    <a:pos x="10" y="114"/>
                  </a:cxn>
                  <a:cxn ang="0">
                    <a:pos x="20" y="134"/>
                  </a:cxn>
                  <a:cxn ang="0">
                    <a:pos x="20" y="142"/>
                  </a:cxn>
                  <a:cxn ang="0">
                    <a:pos x="22" y="154"/>
                  </a:cxn>
                  <a:cxn ang="0">
                    <a:pos x="30" y="156"/>
                  </a:cxn>
                  <a:cxn ang="0">
                    <a:pos x="54" y="156"/>
                  </a:cxn>
                  <a:cxn ang="0">
                    <a:pos x="62" y="160"/>
                  </a:cxn>
                  <a:cxn ang="0">
                    <a:pos x="70" y="160"/>
                  </a:cxn>
                  <a:cxn ang="0">
                    <a:pos x="76" y="146"/>
                  </a:cxn>
                  <a:cxn ang="0">
                    <a:pos x="82" y="138"/>
                  </a:cxn>
                  <a:cxn ang="0">
                    <a:pos x="90" y="132"/>
                  </a:cxn>
                  <a:cxn ang="0">
                    <a:pos x="90" y="122"/>
                  </a:cxn>
                  <a:cxn ang="0">
                    <a:pos x="86" y="114"/>
                  </a:cxn>
                  <a:cxn ang="0">
                    <a:pos x="84" y="106"/>
                  </a:cxn>
                  <a:cxn ang="0">
                    <a:pos x="88" y="104"/>
                  </a:cxn>
                  <a:cxn ang="0">
                    <a:pos x="112" y="106"/>
                  </a:cxn>
                  <a:cxn ang="0">
                    <a:pos x="142" y="106"/>
                  </a:cxn>
                  <a:cxn ang="0">
                    <a:pos x="156" y="102"/>
                  </a:cxn>
                  <a:cxn ang="0">
                    <a:pos x="166" y="92"/>
                  </a:cxn>
                </a:cxnLst>
                <a:rect l="0" t="0" r="r" b="b"/>
                <a:pathLst>
                  <a:path w="218" h="162">
                    <a:moveTo>
                      <a:pt x="166" y="92"/>
                    </a:moveTo>
                    <a:lnTo>
                      <a:pt x="166" y="92"/>
                    </a:lnTo>
                    <a:lnTo>
                      <a:pt x="176" y="80"/>
                    </a:lnTo>
                    <a:lnTo>
                      <a:pt x="186" y="66"/>
                    </a:lnTo>
                    <a:lnTo>
                      <a:pt x="208" y="46"/>
                    </a:lnTo>
                    <a:lnTo>
                      <a:pt x="216" y="36"/>
                    </a:lnTo>
                    <a:lnTo>
                      <a:pt x="218" y="32"/>
                    </a:lnTo>
                    <a:lnTo>
                      <a:pt x="218" y="28"/>
                    </a:lnTo>
                    <a:lnTo>
                      <a:pt x="218" y="24"/>
                    </a:lnTo>
                    <a:lnTo>
                      <a:pt x="216" y="22"/>
                    </a:lnTo>
                    <a:lnTo>
                      <a:pt x="210" y="18"/>
                    </a:lnTo>
                    <a:lnTo>
                      <a:pt x="204" y="16"/>
                    </a:lnTo>
                    <a:lnTo>
                      <a:pt x="204" y="16"/>
                    </a:lnTo>
                    <a:lnTo>
                      <a:pt x="190" y="12"/>
                    </a:lnTo>
                    <a:lnTo>
                      <a:pt x="180" y="12"/>
                    </a:lnTo>
                    <a:lnTo>
                      <a:pt x="172" y="12"/>
                    </a:lnTo>
                    <a:lnTo>
                      <a:pt x="166" y="14"/>
                    </a:lnTo>
                    <a:lnTo>
                      <a:pt x="156" y="16"/>
                    </a:lnTo>
                    <a:lnTo>
                      <a:pt x="148" y="16"/>
                    </a:lnTo>
                    <a:lnTo>
                      <a:pt x="140" y="12"/>
                    </a:lnTo>
                    <a:lnTo>
                      <a:pt x="140" y="12"/>
                    </a:lnTo>
                    <a:lnTo>
                      <a:pt x="122" y="4"/>
                    </a:lnTo>
                    <a:lnTo>
                      <a:pt x="114" y="2"/>
                    </a:lnTo>
                    <a:lnTo>
                      <a:pt x="106" y="0"/>
                    </a:lnTo>
                    <a:lnTo>
                      <a:pt x="96" y="0"/>
                    </a:lnTo>
                    <a:lnTo>
                      <a:pt x="84" y="0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30" y="10"/>
                    </a:lnTo>
                    <a:lnTo>
                      <a:pt x="20" y="16"/>
                    </a:lnTo>
                    <a:lnTo>
                      <a:pt x="16" y="20"/>
                    </a:lnTo>
                    <a:lnTo>
                      <a:pt x="16" y="2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4" y="36"/>
                    </a:lnTo>
                    <a:lnTo>
                      <a:pt x="0" y="4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88"/>
                    </a:lnTo>
                    <a:lnTo>
                      <a:pt x="2" y="98"/>
                    </a:lnTo>
                    <a:lnTo>
                      <a:pt x="6" y="108"/>
                    </a:lnTo>
                    <a:lnTo>
                      <a:pt x="10" y="114"/>
                    </a:lnTo>
                    <a:lnTo>
                      <a:pt x="18" y="126"/>
                    </a:lnTo>
                    <a:lnTo>
                      <a:pt x="20" y="134"/>
                    </a:lnTo>
                    <a:lnTo>
                      <a:pt x="20" y="142"/>
                    </a:lnTo>
                    <a:lnTo>
                      <a:pt x="20" y="142"/>
                    </a:lnTo>
                    <a:lnTo>
                      <a:pt x="20" y="150"/>
                    </a:lnTo>
                    <a:lnTo>
                      <a:pt x="22" y="154"/>
                    </a:lnTo>
                    <a:lnTo>
                      <a:pt x="26" y="156"/>
                    </a:lnTo>
                    <a:lnTo>
                      <a:pt x="30" y="156"/>
                    </a:lnTo>
                    <a:lnTo>
                      <a:pt x="46" y="156"/>
                    </a:lnTo>
                    <a:lnTo>
                      <a:pt x="54" y="156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8" y="162"/>
                    </a:lnTo>
                    <a:lnTo>
                      <a:pt x="70" y="160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8" y="140"/>
                    </a:lnTo>
                    <a:lnTo>
                      <a:pt x="82" y="138"/>
                    </a:lnTo>
                    <a:lnTo>
                      <a:pt x="88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90" y="122"/>
                    </a:lnTo>
                    <a:lnTo>
                      <a:pt x="86" y="114"/>
                    </a:lnTo>
                    <a:lnTo>
                      <a:pt x="86" y="114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6" y="104"/>
                    </a:lnTo>
                    <a:lnTo>
                      <a:pt x="88" y="104"/>
                    </a:lnTo>
                    <a:lnTo>
                      <a:pt x="98" y="104"/>
                    </a:lnTo>
                    <a:lnTo>
                      <a:pt x="112" y="106"/>
                    </a:lnTo>
                    <a:lnTo>
                      <a:pt x="128" y="108"/>
                    </a:lnTo>
                    <a:lnTo>
                      <a:pt x="142" y="106"/>
                    </a:lnTo>
                    <a:lnTo>
                      <a:pt x="150" y="106"/>
                    </a:lnTo>
                    <a:lnTo>
                      <a:pt x="156" y="102"/>
                    </a:lnTo>
                    <a:lnTo>
                      <a:pt x="162" y="98"/>
                    </a:lnTo>
                    <a:lnTo>
                      <a:pt x="166" y="92"/>
                    </a:lnTo>
                    <a:lnTo>
                      <a:pt x="166" y="9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60" name="Freeform 6110">
                <a:extLst>
                  <a:ext uri="{FF2B5EF4-FFF2-40B4-BE49-F238E27FC236}">
                    <a16:creationId xmlns:a16="http://schemas.microsoft.com/office/drawing/2014/main" id="{CCAC0523-B456-451E-B398-5D7BE1D7D4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2970" y="1573213"/>
                <a:ext cx="176530" cy="121920"/>
              </a:xfrm>
              <a:custGeom>
                <a:avLst/>
                <a:gdLst/>
                <a:ahLst/>
                <a:cxnLst>
                  <a:cxn ang="0">
                    <a:pos x="272" y="132"/>
                  </a:cxn>
                  <a:cxn ang="0">
                    <a:pos x="258" y="122"/>
                  </a:cxn>
                  <a:cxn ang="0">
                    <a:pos x="250" y="126"/>
                  </a:cxn>
                  <a:cxn ang="0">
                    <a:pos x="236" y="124"/>
                  </a:cxn>
                  <a:cxn ang="0">
                    <a:pos x="228" y="120"/>
                  </a:cxn>
                  <a:cxn ang="0">
                    <a:pos x="220" y="102"/>
                  </a:cxn>
                  <a:cxn ang="0">
                    <a:pos x="212" y="88"/>
                  </a:cxn>
                  <a:cxn ang="0">
                    <a:pos x="192" y="78"/>
                  </a:cxn>
                  <a:cxn ang="0">
                    <a:pos x="178" y="72"/>
                  </a:cxn>
                  <a:cxn ang="0">
                    <a:pos x="140" y="46"/>
                  </a:cxn>
                  <a:cxn ang="0">
                    <a:pos x="122" y="34"/>
                  </a:cxn>
                  <a:cxn ang="0">
                    <a:pos x="110" y="34"/>
                  </a:cxn>
                  <a:cxn ang="0">
                    <a:pos x="106" y="36"/>
                  </a:cxn>
                  <a:cxn ang="0">
                    <a:pos x="100" y="40"/>
                  </a:cxn>
                  <a:cxn ang="0">
                    <a:pos x="96" y="38"/>
                  </a:cxn>
                  <a:cxn ang="0">
                    <a:pos x="86" y="24"/>
                  </a:cxn>
                  <a:cxn ang="0">
                    <a:pos x="76" y="8"/>
                  </a:cxn>
                  <a:cxn ang="0">
                    <a:pos x="66" y="0"/>
                  </a:cxn>
                  <a:cxn ang="0">
                    <a:pos x="62" y="2"/>
                  </a:cxn>
                  <a:cxn ang="0">
                    <a:pos x="54" y="6"/>
                  </a:cxn>
                  <a:cxn ang="0">
                    <a:pos x="42" y="26"/>
                  </a:cxn>
                  <a:cxn ang="0">
                    <a:pos x="36" y="58"/>
                  </a:cxn>
                  <a:cxn ang="0">
                    <a:pos x="34" y="90"/>
                  </a:cxn>
                  <a:cxn ang="0">
                    <a:pos x="38" y="106"/>
                  </a:cxn>
                  <a:cxn ang="0">
                    <a:pos x="38" y="116"/>
                  </a:cxn>
                  <a:cxn ang="0">
                    <a:pos x="34" y="124"/>
                  </a:cxn>
                  <a:cxn ang="0">
                    <a:pos x="18" y="134"/>
                  </a:cxn>
                  <a:cxn ang="0">
                    <a:pos x="4" y="142"/>
                  </a:cxn>
                  <a:cxn ang="0">
                    <a:pos x="0" y="150"/>
                  </a:cxn>
                  <a:cxn ang="0">
                    <a:pos x="4" y="158"/>
                  </a:cxn>
                  <a:cxn ang="0">
                    <a:pos x="4" y="160"/>
                  </a:cxn>
                  <a:cxn ang="0">
                    <a:pos x="16" y="162"/>
                  </a:cxn>
                  <a:cxn ang="0">
                    <a:pos x="50" y="156"/>
                  </a:cxn>
                  <a:cxn ang="0">
                    <a:pos x="64" y="156"/>
                  </a:cxn>
                  <a:cxn ang="0">
                    <a:pos x="66" y="162"/>
                  </a:cxn>
                  <a:cxn ang="0">
                    <a:pos x="66" y="166"/>
                  </a:cxn>
                  <a:cxn ang="0">
                    <a:pos x="70" y="182"/>
                  </a:cxn>
                  <a:cxn ang="0">
                    <a:pos x="82" y="190"/>
                  </a:cxn>
                  <a:cxn ang="0">
                    <a:pos x="96" y="190"/>
                  </a:cxn>
                  <a:cxn ang="0">
                    <a:pos x="110" y="176"/>
                  </a:cxn>
                  <a:cxn ang="0">
                    <a:pos x="114" y="166"/>
                  </a:cxn>
                  <a:cxn ang="0">
                    <a:pos x="124" y="160"/>
                  </a:cxn>
                  <a:cxn ang="0">
                    <a:pos x="134" y="158"/>
                  </a:cxn>
                  <a:cxn ang="0">
                    <a:pos x="142" y="150"/>
                  </a:cxn>
                  <a:cxn ang="0">
                    <a:pos x="144" y="142"/>
                  </a:cxn>
                  <a:cxn ang="0">
                    <a:pos x="154" y="128"/>
                  </a:cxn>
                  <a:cxn ang="0">
                    <a:pos x="170" y="124"/>
                  </a:cxn>
                  <a:cxn ang="0">
                    <a:pos x="184" y="130"/>
                  </a:cxn>
                  <a:cxn ang="0">
                    <a:pos x="192" y="142"/>
                  </a:cxn>
                  <a:cxn ang="0">
                    <a:pos x="194" y="148"/>
                  </a:cxn>
                  <a:cxn ang="0">
                    <a:pos x="198" y="154"/>
                  </a:cxn>
                  <a:cxn ang="0">
                    <a:pos x="214" y="156"/>
                  </a:cxn>
                  <a:cxn ang="0">
                    <a:pos x="232" y="160"/>
                  </a:cxn>
                  <a:cxn ang="0">
                    <a:pos x="254" y="162"/>
                  </a:cxn>
                  <a:cxn ang="0">
                    <a:pos x="272" y="158"/>
                  </a:cxn>
                  <a:cxn ang="0">
                    <a:pos x="278" y="148"/>
                  </a:cxn>
                  <a:cxn ang="0">
                    <a:pos x="272" y="132"/>
                  </a:cxn>
                </a:cxnLst>
                <a:rect l="0" t="0" r="r" b="b"/>
                <a:pathLst>
                  <a:path w="278" h="192">
                    <a:moveTo>
                      <a:pt x="272" y="132"/>
                    </a:moveTo>
                    <a:lnTo>
                      <a:pt x="272" y="132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6" y="122"/>
                    </a:lnTo>
                    <a:lnTo>
                      <a:pt x="250" y="126"/>
                    </a:lnTo>
                    <a:lnTo>
                      <a:pt x="244" y="126"/>
                    </a:lnTo>
                    <a:lnTo>
                      <a:pt x="236" y="124"/>
                    </a:lnTo>
                    <a:lnTo>
                      <a:pt x="236" y="124"/>
                    </a:lnTo>
                    <a:lnTo>
                      <a:pt x="228" y="120"/>
                    </a:lnTo>
                    <a:lnTo>
                      <a:pt x="224" y="114"/>
                    </a:lnTo>
                    <a:lnTo>
                      <a:pt x="220" y="102"/>
                    </a:lnTo>
                    <a:lnTo>
                      <a:pt x="218" y="96"/>
                    </a:lnTo>
                    <a:lnTo>
                      <a:pt x="212" y="88"/>
                    </a:lnTo>
                    <a:lnTo>
                      <a:pt x="204" y="82"/>
                    </a:lnTo>
                    <a:lnTo>
                      <a:pt x="192" y="78"/>
                    </a:lnTo>
                    <a:lnTo>
                      <a:pt x="192" y="78"/>
                    </a:lnTo>
                    <a:lnTo>
                      <a:pt x="178" y="72"/>
                    </a:lnTo>
                    <a:lnTo>
                      <a:pt x="164" y="64"/>
                    </a:lnTo>
                    <a:lnTo>
                      <a:pt x="140" y="46"/>
                    </a:lnTo>
                    <a:lnTo>
                      <a:pt x="130" y="38"/>
                    </a:lnTo>
                    <a:lnTo>
                      <a:pt x="122" y="34"/>
                    </a:lnTo>
                    <a:lnTo>
                      <a:pt x="114" y="32"/>
                    </a:lnTo>
                    <a:lnTo>
                      <a:pt x="110" y="34"/>
                    </a:lnTo>
                    <a:lnTo>
                      <a:pt x="106" y="36"/>
                    </a:lnTo>
                    <a:lnTo>
                      <a:pt x="106" y="36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6" y="38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70" y="2"/>
                    </a:lnTo>
                    <a:lnTo>
                      <a:pt x="66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58" y="2"/>
                    </a:lnTo>
                    <a:lnTo>
                      <a:pt x="54" y="6"/>
                    </a:lnTo>
                    <a:lnTo>
                      <a:pt x="48" y="14"/>
                    </a:lnTo>
                    <a:lnTo>
                      <a:pt x="42" y="26"/>
                    </a:lnTo>
                    <a:lnTo>
                      <a:pt x="38" y="42"/>
                    </a:lnTo>
                    <a:lnTo>
                      <a:pt x="36" y="58"/>
                    </a:lnTo>
                    <a:lnTo>
                      <a:pt x="34" y="74"/>
                    </a:lnTo>
                    <a:lnTo>
                      <a:pt x="34" y="90"/>
                    </a:lnTo>
                    <a:lnTo>
                      <a:pt x="38" y="106"/>
                    </a:lnTo>
                    <a:lnTo>
                      <a:pt x="38" y="106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36" y="122"/>
                    </a:lnTo>
                    <a:lnTo>
                      <a:pt x="34" y="124"/>
                    </a:lnTo>
                    <a:lnTo>
                      <a:pt x="26" y="130"/>
                    </a:lnTo>
                    <a:lnTo>
                      <a:pt x="18" y="134"/>
                    </a:lnTo>
                    <a:lnTo>
                      <a:pt x="10" y="138"/>
                    </a:lnTo>
                    <a:lnTo>
                      <a:pt x="4" y="142"/>
                    </a:lnTo>
                    <a:lnTo>
                      <a:pt x="2" y="146"/>
                    </a:lnTo>
                    <a:lnTo>
                      <a:pt x="0" y="150"/>
                    </a:lnTo>
                    <a:lnTo>
                      <a:pt x="2" y="154"/>
                    </a:lnTo>
                    <a:lnTo>
                      <a:pt x="4" y="158"/>
                    </a:lnTo>
                    <a:lnTo>
                      <a:pt x="4" y="158"/>
                    </a:lnTo>
                    <a:lnTo>
                      <a:pt x="4" y="160"/>
                    </a:lnTo>
                    <a:lnTo>
                      <a:pt x="8" y="162"/>
                    </a:lnTo>
                    <a:lnTo>
                      <a:pt x="16" y="162"/>
                    </a:lnTo>
                    <a:lnTo>
                      <a:pt x="38" y="158"/>
                    </a:lnTo>
                    <a:lnTo>
                      <a:pt x="50" y="156"/>
                    </a:lnTo>
                    <a:lnTo>
                      <a:pt x="60" y="156"/>
                    </a:lnTo>
                    <a:lnTo>
                      <a:pt x="64" y="156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6" y="166"/>
                    </a:lnTo>
                    <a:lnTo>
                      <a:pt x="66" y="166"/>
                    </a:lnTo>
                    <a:lnTo>
                      <a:pt x="66" y="174"/>
                    </a:lnTo>
                    <a:lnTo>
                      <a:pt x="70" y="182"/>
                    </a:lnTo>
                    <a:lnTo>
                      <a:pt x="74" y="188"/>
                    </a:lnTo>
                    <a:lnTo>
                      <a:pt x="82" y="190"/>
                    </a:lnTo>
                    <a:lnTo>
                      <a:pt x="88" y="192"/>
                    </a:lnTo>
                    <a:lnTo>
                      <a:pt x="96" y="190"/>
                    </a:lnTo>
                    <a:lnTo>
                      <a:pt x="104" y="184"/>
                    </a:lnTo>
                    <a:lnTo>
                      <a:pt x="110" y="176"/>
                    </a:lnTo>
                    <a:lnTo>
                      <a:pt x="110" y="176"/>
                    </a:lnTo>
                    <a:lnTo>
                      <a:pt x="114" y="166"/>
                    </a:lnTo>
                    <a:lnTo>
                      <a:pt x="120" y="162"/>
                    </a:lnTo>
                    <a:lnTo>
                      <a:pt x="124" y="160"/>
                    </a:lnTo>
                    <a:lnTo>
                      <a:pt x="130" y="158"/>
                    </a:lnTo>
                    <a:lnTo>
                      <a:pt x="134" y="158"/>
                    </a:lnTo>
                    <a:lnTo>
                      <a:pt x="138" y="156"/>
                    </a:lnTo>
                    <a:lnTo>
                      <a:pt x="142" y="150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8" y="134"/>
                    </a:lnTo>
                    <a:lnTo>
                      <a:pt x="154" y="128"/>
                    </a:lnTo>
                    <a:lnTo>
                      <a:pt x="162" y="124"/>
                    </a:lnTo>
                    <a:lnTo>
                      <a:pt x="170" y="124"/>
                    </a:lnTo>
                    <a:lnTo>
                      <a:pt x="178" y="126"/>
                    </a:lnTo>
                    <a:lnTo>
                      <a:pt x="184" y="130"/>
                    </a:lnTo>
                    <a:lnTo>
                      <a:pt x="190" y="136"/>
                    </a:lnTo>
                    <a:lnTo>
                      <a:pt x="192" y="142"/>
                    </a:lnTo>
                    <a:lnTo>
                      <a:pt x="192" y="142"/>
                    </a:lnTo>
                    <a:lnTo>
                      <a:pt x="194" y="148"/>
                    </a:lnTo>
                    <a:lnTo>
                      <a:pt x="196" y="152"/>
                    </a:lnTo>
                    <a:lnTo>
                      <a:pt x="198" y="154"/>
                    </a:lnTo>
                    <a:lnTo>
                      <a:pt x="202" y="156"/>
                    </a:lnTo>
                    <a:lnTo>
                      <a:pt x="214" y="156"/>
                    </a:lnTo>
                    <a:lnTo>
                      <a:pt x="232" y="160"/>
                    </a:lnTo>
                    <a:lnTo>
                      <a:pt x="232" y="160"/>
                    </a:lnTo>
                    <a:lnTo>
                      <a:pt x="244" y="162"/>
                    </a:lnTo>
                    <a:lnTo>
                      <a:pt x="254" y="162"/>
                    </a:lnTo>
                    <a:lnTo>
                      <a:pt x="264" y="160"/>
                    </a:lnTo>
                    <a:lnTo>
                      <a:pt x="272" y="158"/>
                    </a:lnTo>
                    <a:lnTo>
                      <a:pt x="276" y="154"/>
                    </a:lnTo>
                    <a:lnTo>
                      <a:pt x="278" y="148"/>
                    </a:lnTo>
                    <a:lnTo>
                      <a:pt x="278" y="140"/>
                    </a:lnTo>
                    <a:lnTo>
                      <a:pt x="272" y="132"/>
                    </a:lnTo>
                    <a:lnTo>
                      <a:pt x="272" y="1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61" name="Freeform 6111">
                <a:extLst>
                  <a:ext uri="{FF2B5EF4-FFF2-40B4-BE49-F238E27FC236}">
                    <a16:creationId xmlns:a16="http://schemas.microsoft.com/office/drawing/2014/main" id="{1877BE0A-6F56-481C-A27A-0A34E52510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8050" y="1465263"/>
                <a:ext cx="15240" cy="24130"/>
              </a:xfrm>
              <a:custGeom>
                <a:avLst/>
                <a:gdLst/>
                <a:ahLst/>
                <a:cxnLst>
                  <a:cxn ang="0">
                    <a:pos x="4" y="28"/>
                  </a:cxn>
                  <a:cxn ang="0">
                    <a:pos x="4" y="28"/>
                  </a:cxn>
                  <a:cxn ang="0">
                    <a:pos x="12" y="36"/>
                  </a:cxn>
                  <a:cxn ang="0">
                    <a:pos x="16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4" y="30"/>
                  </a:cxn>
                  <a:cxn ang="0">
                    <a:pos x="24" y="1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6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8"/>
                  </a:cxn>
                  <a:cxn ang="0">
                    <a:pos x="4" y="28"/>
                  </a:cxn>
                </a:cxnLst>
                <a:rect l="0" t="0" r="r" b="b"/>
                <a:pathLst>
                  <a:path w="24" h="38">
                    <a:moveTo>
                      <a:pt x="4" y="28"/>
                    </a:moveTo>
                    <a:lnTo>
                      <a:pt x="4" y="28"/>
                    </a:lnTo>
                    <a:lnTo>
                      <a:pt x="12" y="36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4" y="30"/>
                    </a:lnTo>
                    <a:lnTo>
                      <a:pt x="24" y="1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6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8"/>
                    </a:lnTo>
                    <a:lnTo>
                      <a:pt x="4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62" name="Freeform 6112">
                <a:extLst>
                  <a:ext uri="{FF2B5EF4-FFF2-40B4-BE49-F238E27FC236}">
                    <a16:creationId xmlns:a16="http://schemas.microsoft.com/office/drawing/2014/main" id="{38B7836B-BB22-444E-A126-690C4924DA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8060" y="1697673"/>
                <a:ext cx="52070" cy="36830"/>
              </a:xfrm>
              <a:custGeom>
                <a:avLst/>
                <a:gdLst/>
                <a:ahLst/>
                <a:cxnLst>
                  <a:cxn ang="0">
                    <a:pos x="78" y="4"/>
                  </a:cxn>
                  <a:cxn ang="0">
                    <a:pos x="78" y="4"/>
                  </a:cxn>
                  <a:cxn ang="0">
                    <a:pos x="72" y="2"/>
                  </a:cxn>
                  <a:cxn ang="0">
                    <a:pos x="68" y="0"/>
                  </a:cxn>
                  <a:cxn ang="0">
                    <a:pos x="54" y="2"/>
                  </a:cxn>
                  <a:cxn ang="0">
                    <a:pos x="38" y="6"/>
                  </a:cxn>
                  <a:cxn ang="0">
                    <a:pos x="24" y="14"/>
                  </a:cxn>
                  <a:cxn ang="0">
                    <a:pos x="12" y="22"/>
                  </a:cxn>
                  <a:cxn ang="0">
                    <a:pos x="4" y="32"/>
                  </a:cxn>
                  <a:cxn ang="0">
                    <a:pos x="0" y="38"/>
                  </a:cxn>
                  <a:cxn ang="0">
                    <a:pos x="0" y="42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6" y="58"/>
                  </a:cxn>
                  <a:cxn ang="0">
                    <a:pos x="22" y="58"/>
                  </a:cxn>
                  <a:cxn ang="0">
                    <a:pos x="28" y="56"/>
                  </a:cxn>
                  <a:cxn ang="0">
                    <a:pos x="42" y="50"/>
                  </a:cxn>
                  <a:cxn ang="0">
                    <a:pos x="58" y="42"/>
                  </a:cxn>
                  <a:cxn ang="0">
                    <a:pos x="70" y="32"/>
                  </a:cxn>
                  <a:cxn ang="0">
                    <a:pos x="78" y="20"/>
                  </a:cxn>
                  <a:cxn ang="0">
                    <a:pos x="80" y="16"/>
                  </a:cxn>
                  <a:cxn ang="0">
                    <a:pos x="82" y="10"/>
                  </a:cxn>
                  <a:cxn ang="0">
                    <a:pos x="80" y="6"/>
                  </a:cxn>
                  <a:cxn ang="0">
                    <a:pos x="78" y="4"/>
                  </a:cxn>
                  <a:cxn ang="0">
                    <a:pos x="78" y="4"/>
                  </a:cxn>
                </a:cxnLst>
                <a:rect l="0" t="0" r="r" b="b"/>
                <a:pathLst>
                  <a:path w="82" h="58">
                    <a:moveTo>
                      <a:pt x="78" y="4"/>
                    </a:moveTo>
                    <a:lnTo>
                      <a:pt x="78" y="4"/>
                    </a:lnTo>
                    <a:lnTo>
                      <a:pt x="72" y="2"/>
                    </a:lnTo>
                    <a:lnTo>
                      <a:pt x="68" y="0"/>
                    </a:lnTo>
                    <a:lnTo>
                      <a:pt x="54" y="2"/>
                    </a:lnTo>
                    <a:lnTo>
                      <a:pt x="38" y="6"/>
                    </a:lnTo>
                    <a:lnTo>
                      <a:pt x="24" y="14"/>
                    </a:lnTo>
                    <a:lnTo>
                      <a:pt x="12" y="22"/>
                    </a:lnTo>
                    <a:lnTo>
                      <a:pt x="4" y="3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6" y="58"/>
                    </a:lnTo>
                    <a:lnTo>
                      <a:pt x="22" y="58"/>
                    </a:lnTo>
                    <a:lnTo>
                      <a:pt x="28" y="56"/>
                    </a:lnTo>
                    <a:lnTo>
                      <a:pt x="42" y="50"/>
                    </a:lnTo>
                    <a:lnTo>
                      <a:pt x="58" y="42"/>
                    </a:lnTo>
                    <a:lnTo>
                      <a:pt x="70" y="32"/>
                    </a:lnTo>
                    <a:lnTo>
                      <a:pt x="78" y="20"/>
                    </a:lnTo>
                    <a:lnTo>
                      <a:pt x="80" y="16"/>
                    </a:lnTo>
                    <a:lnTo>
                      <a:pt x="82" y="10"/>
                    </a:lnTo>
                    <a:lnTo>
                      <a:pt x="80" y="6"/>
                    </a:lnTo>
                    <a:lnTo>
                      <a:pt x="78" y="4"/>
                    </a:lnTo>
                    <a:lnTo>
                      <a:pt x="78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63" name="Freeform 6113">
                <a:extLst>
                  <a:ext uri="{FF2B5EF4-FFF2-40B4-BE49-F238E27FC236}">
                    <a16:creationId xmlns:a16="http://schemas.microsoft.com/office/drawing/2014/main" id="{8C0038FA-A280-4E2C-BECF-8E5DAE9AD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7630" y="1230313"/>
                <a:ext cx="467360" cy="227330"/>
              </a:xfrm>
              <a:custGeom>
                <a:avLst/>
                <a:gdLst/>
                <a:ahLst/>
                <a:cxnLst>
                  <a:cxn ang="0">
                    <a:pos x="700" y="272"/>
                  </a:cxn>
                  <a:cxn ang="0">
                    <a:pos x="720" y="274"/>
                  </a:cxn>
                  <a:cxn ang="0">
                    <a:pos x="736" y="254"/>
                  </a:cxn>
                  <a:cxn ang="0">
                    <a:pos x="708" y="238"/>
                  </a:cxn>
                  <a:cxn ang="0">
                    <a:pos x="684" y="224"/>
                  </a:cxn>
                  <a:cxn ang="0">
                    <a:pos x="646" y="206"/>
                  </a:cxn>
                  <a:cxn ang="0">
                    <a:pos x="608" y="190"/>
                  </a:cxn>
                  <a:cxn ang="0">
                    <a:pos x="586" y="166"/>
                  </a:cxn>
                  <a:cxn ang="0">
                    <a:pos x="592" y="128"/>
                  </a:cxn>
                  <a:cxn ang="0">
                    <a:pos x="560" y="58"/>
                  </a:cxn>
                  <a:cxn ang="0">
                    <a:pos x="506" y="10"/>
                  </a:cxn>
                  <a:cxn ang="0">
                    <a:pos x="482" y="10"/>
                  </a:cxn>
                  <a:cxn ang="0">
                    <a:pos x="438" y="8"/>
                  </a:cxn>
                  <a:cxn ang="0">
                    <a:pos x="450" y="68"/>
                  </a:cxn>
                  <a:cxn ang="0">
                    <a:pos x="478" y="114"/>
                  </a:cxn>
                  <a:cxn ang="0">
                    <a:pos x="456" y="132"/>
                  </a:cxn>
                  <a:cxn ang="0">
                    <a:pos x="420" y="68"/>
                  </a:cxn>
                  <a:cxn ang="0">
                    <a:pos x="382" y="40"/>
                  </a:cxn>
                  <a:cxn ang="0">
                    <a:pos x="354" y="26"/>
                  </a:cxn>
                  <a:cxn ang="0">
                    <a:pos x="352" y="40"/>
                  </a:cxn>
                  <a:cxn ang="0">
                    <a:pos x="372" y="58"/>
                  </a:cxn>
                  <a:cxn ang="0">
                    <a:pos x="336" y="62"/>
                  </a:cxn>
                  <a:cxn ang="0">
                    <a:pos x="318" y="74"/>
                  </a:cxn>
                  <a:cxn ang="0">
                    <a:pos x="296" y="40"/>
                  </a:cxn>
                  <a:cxn ang="0">
                    <a:pos x="224" y="38"/>
                  </a:cxn>
                  <a:cxn ang="0">
                    <a:pos x="190" y="60"/>
                  </a:cxn>
                  <a:cxn ang="0">
                    <a:pos x="206" y="32"/>
                  </a:cxn>
                  <a:cxn ang="0">
                    <a:pos x="196" y="2"/>
                  </a:cxn>
                  <a:cxn ang="0">
                    <a:pos x="100" y="26"/>
                  </a:cxn>
                  <a:cxn ang="0">
                    <a:pos x="22" y="72"/>
                  </a:cxn>
                  <a:cxn ang="0">
                    <a:pos x="40" y="86"/>
                  </a:cxn>
                  <a:cxn ang="0">
                    <a:pos x="2" y="116"/>
                  </a:cxn>
                  <a:cxn ang="0">
                    <a:pos x="14" y="130"/>
                  </a:cxn>
                  <a:cxn ang="0">
                    <a:pos x="34" y="146"/>
                  </a:cxn>
                  <a:cxn ang="0">
                    <a:pos x="116" y="140"/>
                  </a:cxn>
                  <a:cxn ang="0">
                    <a:pos x="76" y="160"/>
                  </a:cxn>
                  <a:cxn ang="0">
                    <a:pos x="44" y="192"/>
                  </a:cxn>
                  <a:cxn ang="0">
                    <a:pos x="110" y="204"/>
                  </a:cxn>
                  <a:cxn ang="0">
                    <a:pos x="210" y="202"/>
                  </a:cxn>
                  <a:cxn ang="0">
                    <a:pos x="276" y="214"/>
                  </a:cxn>
                  <a:cxn ang="0">
                    <a:pos x="294" y="230"/>
                  </a:cxn>
                  <a:cxn ang="0">
                    <a:pos x="168" y="230"/>
                  </a:cxn>
                  <a:cxn ang="0">
                    <a:pos x="70" y="254"/>
                  </a:cxn>
                  <a:cxn ang="0">
                    <a:pos x="122" y="300"/>
                  </a:cxn>
                  <a:cxn ang="0">
                    <a:pos x="222" y="308"/>
                  </a:cxn>
                  <a:cxn ang="0">
                    <a:pos x="232" y="350"/>
                  </a:cxn>
                  <a:cxn ang="0">
                    <a:pos x="314" y="358"/>
                  </a:cxn>
                  <a:cxn ang="0">
                    <a:pos x="420" y="332"/>
                  </a:cxn>
                  <a:cxn ang="0">
                    <a:pos x="478" y="318"/>
                  </a:cxn>
                  <a:cxn ang="0">
                    <a:pos x="490" y="296"/>
                  </a:cxn>
                  <a:cxn ang="0">
                    <a:pos x="516" y="294"/>
                  </a:cxn>
                  <a:cxn ang="0">
                    <a:pos x="540" y="312"/>
                  </a:cxn>
                  <a:cxn ang="0">
                    <a:pos x="560" y="324"/>
                  </a:cxn>
                  <a:cxn ang="0">
                    <a:pos x="592" y="328"/>
                  </a:cxn>
                  <a:cxn ang="0">
                    <a:pos x="640" y="334"/>
                  </a:cxn>
                  <a:cxn ang="0">
                    <a:pos x="680" y="324"/>
                  </a:cxn>
                  <a:cxn ang="0">
                    <a:pos x="700" y="306"/>
                  </a:cxn>
                  <a:cxn ang="0">
                    <a:pos x="692" y="288"/>
                  </a:cxn>
                  <a:cxn ang="0">
                    <a:pos x="648" y="300"/>
                  </a:cxn>
                  <a:cxn ang="0">
                    <a:pos x="632" y="278"/>
                  </a:cxn>
                  <a:cxn ang="0">
                    <a:pos x="660" y="282"/>
                  </a:cxn>
                  <a:cxn ang="0">
                    <a:pos x="668" y="272"/>
                  </a:cxn>
                </a:cxnLst>
                <a:rect l="0" t="0" r="r" b="b"/>
                <a:pathLst>
                  <a:path w="736" h="358">
                    <a:moveTo>
                      <a:pt x="674" y="264"/>
                    </a:moveTo>
                    <a:lnTo>
                      <a:pt x="674" y="264"/>
                    </a:lnTo>
                    <a:lnTo>
                      <a:pt x="682" y="262"/>
                    </a:lnTo>
                    <a:lnTo>
                      <a:pt x="686" y="262"/>
                    </a:lnTo>
                    <a:lnTo>
                      <a:pt x="690" y="264"/>
                    </a:lnTo>
                    <a:lnTo>
                      <a:pt x="694" y="268"/>
                    </a:lnTo>
                    <a:lnTo>
                      <a:pt x="700" y="272"/>
                    </a:lnTo>
                    <a:lnTo>
                      <a:pt x="702" y="274"/>
                    </a:lnTo>
                    <a:lnTo>
                      <a:pt x="704" y="272"/>
                    </a:lnTo>
                    <a:lnTo>
                      <a:pt x="704" y="272"/>
                    </a:lnTo>
                    <a:lnTo>
                      <a:pt x="710" y="268"/>
                    </a:lnTo>
                    <a:lnTo>
                      <a:pt x="714" y="268"/>
                    </a:lnTo>
                    <a:lnTo>
                      <a:pt x="718" y="272"/>
                    </a:lnTo>
                    <a:lnTo>
                      <a:pt x="720" y="274"/>
                    </a:lnTo>
                    <a:lnTo>
                      <a:pt x="726" y="274"/>
                    </a:lnTo>
                    <a:lnTo>
                      <a:pt x="726" y="274"/>
                    </a:lnTo>
                    <a:lnTo>
                      <a:pt x="730" y="274"/>
                    </a:lnTo>
                    <a:lnTo>
                      <a:pt x="734" y="272"/>
                    </a:lnTo>
                    <a:lnTo>
                      <a:pt x="736" y="268"/>
                    </a:lnTo>
                    <a:lnTo>
                      <a:pt x="736" y="264"/>
                    </a:lnTo>
                    <a:lnTo>
                      <a:pt x="736" y="254"/>
                    </a:lnTo>
                    <a:lnTo>
                      <a:pt x="734" y="244"/>
                    </a:lnTo>
                    <a:lnTo>
                      <a:pt x="734" y="244"/>
                    </a:lnTo>
                    <a:lnTo>
                      <a:pt x="732" y="240"/>
                    </a:lnTo>
                    <a:lnTo>
                      <a:pt x="728" y="238"/>
                    </a:lnTo>
                    <a:lnTo>
                      <a:pt x="720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8" y="234"/>
                    </a:lnTo>
                    <a:lnTo>
                      <a:pt x="708" y="234"/>
                    </a:lnTo>
                    <a:lnTo>
                      <a:pt x="706" y="230"/>
                    </a:lnTo>
                    <a:lnTo>
                      <a:pt x="704" y="230"/>
                    </a:lnTo>
                    <a:lnTo>
                      <a:pt x="698" y="228"/>
                    </a:lnTo>
                    <a:lnTo>
                      <a:pt x="692" y="228"/>
                    </a:lnTo>
                    <a:lnTo>
                      <a:pt x="684" y="224"/>
                    </a:lnTo>
                    <a:lnTo>
                      <a:pt x="674" y="218"/>
                    </a:lnTo>
                    <a:lnTo>
                      <a:pt x="660" y="210"/>
                    </a:lnTo>
                    <a:lnTo>
                      <a:pt x="660" y="210"/>
                    </a:lnTo>
                    <a:lnTo>
                      <a:pt x="652" y="204"/>
                    </a:lnTo>
                    <a:lnTo>
                      <a:pt x="648" y="200"/>
                    </a:lnTo>
                    <a:lnTo>
                      <a:pt x="644" y="202"/>
                    </a:lnTo>
                    <a:lnTo>
                      <a:pt x="646" y="206"/>
                    </a:lnTo>
                    <a:lnTo>
                      <a:pt x="646" y="206"/>
                    </a:lnTo>
                    <a:lnTo>
                      <a:pt x="646" y="208"/>
                    </a:lnTo>
                    <a:lnTo>
                      <a:pt x="642" y="210"/>
                    </a:lnTo>
                    <a:lnTo>
                      <a:pt x="632" y="208"/>
                    </a:lnTo>
                    <a:lnTo>
                      <a:pt x="618" y="200"/>
                    </a:lnTo>
                    <a:lnTo>
                      <a:pt x="612" y="196"/>
                    </a:lnTo>
                    <a:lnTo>
                      <a:pt x="608" y="190"/>
                    </a:lnTo>
                    <a:lnTo>
                      <a:pt x="608" y="190"/>
                    </a:lnTo>
                    <a:lnTo>
                      <a:pt x="602" y="184"/>
                    </a:lnTo>
                    <a:lnTo>
                      <a:pt x="598" y="180"/>
                    </a:lnTo>
                    <a:lnTo>
                      <a:pt x="590" y="174"/>
                    </a:lnTo>
                    <a:lnTo>
                      <a:pt x="586" y="172"/>
                    </a:lnTo>
                    <a:lnTo>
                      <a:pt x="584" y="168"/>
                    </a:lnTo>
                    <a:lnTo>
                      <a:pt x="586" y="166"/>
                    </a:lnTo>
                    <a:lnTo>
                      <a:pt x="588" y="162"/>
                    </a:lnTo>
                    <a:lnTo>
                      <a:pt x="588" y="162"/>
                    </a:lnTo>
                    <a:lnTo>
                      <a:pt x="594" y="152"/>
                    </a:lnTo>
                    <a:lnTo>
                      <a:pt x="596" y="146"/>
                    </a:lnTo>
                    <a:lnTo>
                      <a:pt x="596" y="140"/>
                    </a:lnTo>
                    <a:lnTo>
                      <a:pt x="594" y="134"/>
                    </a:lnTo>
                    <a:lnTo>
                      <a:pt x="592" y="128"/>
                    </a:lnTo>
                    <a:lnTo>
                      <a:pt x="588" y="124"/>
                    </a:lnTo>
                    <a:lnTo>
                      <a:pt x="582" y="118"/>
                    </a:lnTo>
                    <a:lnTo>
                      <a:pt x="582" y="118"/>
                    </a:lnTo>
                    <a:lnTo>
                      <a:pt x="576" y="112"/>
                    </a:lnTo>
                    <a:lnTo>
                      <a:pt x="572" y="102"/>
                    </a:lnTo>
                    <a:lnTo>
                      <a:pt x="566" y="82"/>
                    </a:lnTo>
                    <a:lnTo>
                      <a:pt x="560" y="58"/>
                    </a:lnTo>
                    <a:lnTo>
                      <a:pt x="554" y="48"/>
                    </a:lnTo>
                    <a:lnTo>
                      <a:pt x="548" y="38"/>
                    </a:lnTo>
                    <a:lnTo>
                      <a:pt x="548" y="38"/>
                    </a:lnTo>
                    <a:lnTo>
                      <a:pt x="540" y="28"/>
                    </a:lnTo>
                    <a:lnTo>
                      <a:pt x="532" y="24"/>
                    </a:lnTo>
                    <a:lnTo>
                      <a:pt x="522" y="20"/>
                    </a:lnTo>
                    <a:lnTo>
                      <a:pt x="506" y="10"/>
                    </a:lnTo>
                    <a:lnTo>
                      <a:pt x="506" y="10"/>
                    </a:lnTo>
                    <a:lnTo>
                      <a:pt x="498" y="6"/>
                    </a:lnTo>
                    <a:lnTo>
                      <a:pt x="492" y="4"/>
                    </a:lnTo>
                    <a:lnTo>
                      <a:pt x="490" y="4"/>
                    </a:lnTo>
                    <a:lnTo>
                      <a:pt x="488" y="6"/>
                    </a:lnTo>
                    <a:lnTo>
                      <a:pt x="486" y="8"/>
                    </a:lnTo>
                    <a:lnTo>
                      <a:pt x="482" y="10"/>
                    </a:lnTo>
                    <a:lnTo>
                      <a:pt x="476" y="10"/>
                    </a:lnTo>
                    <a:lnTo>
                      <a:pt x="464" y="6"/>
                    </a:lnTo>
                    <a:lnTo>
                      <a:pt x="464" y="6"/>
                    </a:lnTo>
                    <a:lnTo>
                      <a:pt x="450" y="2"/>
                    </a:lnTo>
                    <a:lnTo>
                      <a:pt x="446" y="2"/>
                    </a:lnTo>
                    <a:lnTo>
                      <a:pt x="440" y="4"/>
                    </a:lnTo>
                    <a:lnTo>
                      <a:pt x="438" y="8"/>
                    </a:lnTo>
                    <a:lnTo>
                      <a:pt x="436" y="12"/>
                    </a:lnTo>
                    <a:lnTo>
                      <a:pt x="436" y="20"/>
                    </a:lnTo>
                    <a:lnTo>
                      <a:pt x="440" y="28"/>
                    </a:lnTo>
                    <a:lnTo>
                      <a:pt x="440" y="28"/>
                    </a:lnTo>
                    <a:lnTo>
                      <a:pt x="444" y="38"/>
                    </a:lnTo>
                    <a:lnTo>
                      <a:pt x="446" y="48"/>
                    </a:lnTo>
                    <a:lnTo>
                      <a:pt x="450" y="68"/>
                    </a:lnTo>
                    <a:lnTo>
                      <a:pt x="454" y="78"/>
                    </a:lnTo>
                    <a:lnTo>
                      <a:pt x="458" y="88"/>
                    </a:lnTo>
                    <a:lnTo>
                      <a:pt x="464" y="98"/>
                    </a:lnTo>
                    <a:lnTo>
                      <a:pt x="472" y="106"/>
                    </a:lnTo>
                    <a:lnTo>
                      <a:pt x="472" y="106"/>
                    </a:lnTo>
                    <a:lnTo>
                      <a:pt x="476" y="110"/>
                    </a:lnTo>
                    <a:lnTo>
                      <a:pt x="478" y="114"/>
                    </a:lnTo>
                    <a:lnTo>
                      <a:pt x="478" y="116"/>
                    </a:lnTo>
                    <a:lnTo>
                      <a:pt x="474" y="118"/>
                    </a:lnTo>
                    <a:lnTo>
                      <a:pt x="468" y="122"/>
                    </a:lnTo>
                    <a:lnTo>
                      <a:pt x="462" y="128"/>
                    </a:lnTo>
                    <a:lnTo>
                      <a:pt x="462" y="128"/>
                    </a:lnTo>
                    <a:lnTo>
                      <a:pt x="458" y="130"/>
                    </a:lnTo>
                    <a:lnTo>
                      <a:pt x="456" y="132"/>
                    </a:lnTo>
                    <a:lnTo>
                      <a:pt x="452" y="130"/>
                    </a:lnTo>
                    <a:lnTo>
                      <a:pt x="446" y="122"/>
                    </a:lnTo>
                    <a:lnTo>
                      <a:pt x="434" y="104"/>
                    </a:lnTo>
                    <a:lnTo>
                      <a:pt x="434" y="104"/>
                    </a:lnTo>
                    <a:lnTo>
                      <a:pt x="430" y="94"/>
                    </a:lnTo>
                    <a:lnTo>
                      <a:pt x="426" y="84"/>
                    </a:lnTo>
                    <a:lnTo>
                      <a:pt x="420" y="68"/>
                    </a:lnTo>
                    <a:lnTo>
                      <a:pt x="418" y="62"/>
                    </a:lnTo>
                    <a:lnTo>
                      <a:pt x="412" y="56"/>
                    </a:lnTo>
                    <a:lnTo>
                      <a:pt x="406" y="50"/>
                    </a:lnTo>
                    <a:lnTo>
                      <a:pt x="396" y="46"/>
                    </a:lnTo>
                    <a:lnTo>
                      <a:pt x="396" y="46"/>
                    </a:lnTo>
                    <a:lnTo>
                      <a:pt x="384" y="42"/>
                    </a:lnTo>
                    <a:lnTo>
                      <a:pt x="382" y="40"/>
                    </a:lnTo>
                    <a:lnTo>
                      <a:pt x="384" y="38"/>
                    </a:lnTo>
                    <a:lnTo>
                      <a:pt x="384" y="36"/>
                    </a:lnTo>
                    <a:lnTo>
                      <a:pt x="384" y="34"/>
                    </a:lnTo>
                    <a:lnTo>
                      <a:pt x="380" y="32"/>
                    </a:lnTo>
                    <a:lnTo>
                      <a:pt x="372" y="30"/>
                    </a:lnTo>
                    <a:lnTo>
                      <a:pt x="372" y="30"/>
                    </a:lnTo>
                    <a:lnTo>
                      <a:pt x="354" y="26"/>
                    </a:lnTo>
                    <a:lnTo>
                      <a:pt x="340" y="26"/>
                    </a:lnTo>
                    <a:lnTo>
                      <a:pt x="338" y="28"/>
                    </a:lnTo>
                    <a:lnTo>
                      <a:pt x="338" y="30"/>
                    </a:lnTo>
                    <a:lnTo>
                      <a:pt x="340" y="32"/>
                    </a:lnTo>
                    <a:lnTo>
                      <a:pt x="346" y="36"/>
                    </a:lnTo>
                    <a:lnTo>
                      <a:pt x="346" y="36"/>
                    </a:lnTo>
                    <a:lnTo>
                      <a:pt x="352" y="40"/>
                    </a:lnTo>
                    <a:lnTo>
                      <a:pt x="356" y="44"/>
                    </a:lnTo>
                    <a:lnTo>
                      <a:pt x="358" y="46"/>
                    </a:lnTo>
                    <a:lnTo>
                      <a:pt x="356" y="48"/>
                    </a:lnTo>
                    <a:lnTo>
                      <a:pt x="356" y="52"/>
                    </a:lnTo>
                    <a:lnTo>
                      <a:pt x="362" y="54"/>
                    </a:lnTo>
                    <a:lnTo>
                      <a:pt x="362" y="54"/>
                    </a:lnTo>
                    <a:lnTo>
                      <a:pt x="372" y="58"/>
                    </a:lnTo>
                    <a:lnTo>
                      <a:pt x="376" y="62"/>
                    </a:lnTo>
                    <a:lnTo>
                      <a:pt x="376" y="64"/>
                    </a:lnTo>
                    <a:lnTo>
                      <a:pt x="372" y="64"/>
                    </a:lnTo>
                    <a:lnTo>
                      <a:pt x="354" y="60"/>
                    </a:lnTo>
                    <a:lnTo>
                      <a:pt x="354" y="60"/>
                    </a:lnTo>
                    <a:lnTo>
                      <a:pt x="344" y="60"/>
                    </a:lnTo>
                    <a:lnTo>
                      <a:pt x="336" y="62"/>
                    </a:lnTo>
                    <a:lnTo>
                      <a:pt x="332" y="66"/>
                    </a:lnTo>
                    <a:lnTo>
                      <a:pt x="330" y="70"/>
                    </a:lnTo>
                    <a:lnTo>
                      <a:pt x="328" y="76"/>
                    </a:lnTo>
                    <a:lnTo>
                      <a:pt x="326" y="78"/>
                    </a:lnTo>
                    <a:lnTo>
                      <a:pt x="322" y="78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4" y="68"/>
                    </a:lnTo>
                    <a:lnTo>
                      <a:pt x="314" y="64"/>
                    </a:lnTo>
                    <a:lnTo>
                      <a:pt x="318" y="56"/>
                    </a:lnTo>
                    <a:lnTo>
                      <a:pt x="318" y="52"/>
                    </a:lnTo>
                    <a:lnTo>
                      <a:pt x="316" y="48"/>
                    </a:lnTo>
                    <a:lnTo>
                      <a:pt x="310" y="44"/>
                    </a:lnTo>
                    <a:lnTo>
                      <a:pt x="296" y="40"/>
                    </a:lnTo>
                    <a:lnTo>
                      <a:pt x="296" y="40"/>
                    </a:lnTo>
                    <a:lnTo>
                      <a:pt x="268" y="34"/>
                    </a:lnTo>
                    <a:lnTo>
                      <a:pt x="250" y="30"/>
                    </a:lnTo>
                    <a:lnTo>
                      <a:pt x="238" y="32"/>
                    </a:lnTo>
                    <a:lnTo>
                      <a:pt x="230" y="36"/>
                    </a:lnTo>
                    <a:lnTo>
                      <a:pt x="230" y="36"/>
                    </a:lnTo>
                    <a:lnTo>
                      <a:pt x="224" y="38"/>
                    </a:lnTo>
                    <a:lnTo>
                      <a:pt x="224" y="42"/>
                    </a:lnTo>
                    <a:lnTo>
                      <a:pt x="226" y="46"/>
                    </a:lnTo>
                    <a:lnTo>
                      <a:pt x="224" y="48"/>
                    </a:lnTo>
                    <a:lnTo>
                      <a:pt x="220" y="50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190" y="60"/>
                    </a:lnTo>
                    <a:lnTo>
                      <a:pt x="186" y="60"/>
                    </a:lnTo>
                    <a:lnTo>
                      <a:pt x="192" y="54"/>
                    </a:lnTo>
                    <a:lnTo>
                      <a:pt x="204" y="44"/>
                    </a:lnTo>
                    <a:lnTo>
                      <a:pt x="206" y="40"/>
                    </a:lnTo>
                    <a:lnTo>
                      <a:pt x="206" y="36"/>
                    </a:lnTo>
                    <a:lnTo>
                      <a:pt x="206" y="36"/>
                    </a:lnTo>
                    <a:lnTo>
                      <a:pt x="206" y="32"/>
                    </a:lnTo>
                    <a:lnTo>
                      <a:pt x="206" y="28"/>
                    </a:lnTo>
                    <a:lnTo>
                      <a:pt x="208" y="20"/>
                    </a:lnTo>
                    <a:lnTo>
                      <a:pt x="208" y="16"/>
                    </a:lnTo>
                    <a:lnTo>
                      <a:pt x="208" y="12"/>
                    </a:lnTo>
                    <a:lnTo>
                      <a:pt x="204" y="8"/>
                    </a:lnTo>
                    <a:lnTo>
                      <a:pt x="196" y="2"/>
                    </a:lnTo>
                    <a:lnTo>
                      <a:pt x="196" y="2"/>
                    </a:lnTo>
                    <a:lnTo>
                      <a:pt x="186" y="0"/>
                    </a:lnTo>
                    <a:lnTo>
                      <a:pt x="176" y="0"/>
                    </a:lnTo>
                    <a:lnTo>
                      <a:pt x="162" y="4"/>
                    </a:lnTo>
                    <a:lnTo>
                      <a:pt x="150" y="8"/>
                    </a:lnTo>
                    <a:lnTo>
                      <a:pt x="122" y="18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82" y="32"/>
                    </a:lnTo>
                    <a:lnTo>
                      <a:pt x="66" y="4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4" y="66"/>
                    </a:lnTo>
                    <a:lnTo>
                      <a:pt x="22" y="70"/>
                    </a:lnTo>
                    <a:lnTo>
                      <a:pt x="22" y="72"/>
                    </a:lnTo>
                    <a:lnTo>
                      <a:pt x="26" y="74"/>
                    </a:lnTo>
                    <a:lnTo>
                      <a:pt x="36" y="78"/>
                    </a:lnTo>
                    <a:lnTo>
                      <a:pt x="40" y="80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0" y="86"/>
                    </a:lnTo>
                    <a:lnTo>
                      <a:pt x="32" y="90"/>
                    </a:lnTo>
                    <a:lnTo>
                      <a:pt x="20" y="94"/>
                    </a:lnTo>
                    <a:lnTo>
                      <a:pt x="16" y="98"/>
                    </a:lnTo>
                    <a:lnTo>
                      <a:pt x="10" y="104"/>
                    </a:lnTo>
                    <a:lnTo>
                      <a:pt x="10" y="104"/>
                    </a:lnTo>
                    <a:lnTo>
                      <a:pt x="4" y="110"/>
                    </a:lnTo>
                    <a:lnTo>
                      <a:pt x="2" y="116"/>
                    </a:lnTo>
                    <a:lnTo>
                      <a:pt x="0" y="122"/>
                    </a:lnTo>
                    <a:lnTo>
                      <a:pt x="0" y="126"/>
                    </a:lnTo>
                    <a:lnTo>
                      <a:pt x="2" y="130"/>
                    </a:lnTo>
                    <a:lnTo>
                      <a:pt x="6" y="132"/>
                    </a:lnTo>
                    <a:lnTo>
                      <a:pt x="10" y="132"/>
                    </a:lnTo>
                    <a:lnTo>
                      <a:pt x="14" y="130"/>
                    </a:lnTo>
                    <a:lnTo>
                      <a:pt x="14" y="130"/>
                    </a:lnTo>
                    <a:lnTo>
                      <a:pt x="20" y="128"/>
                    </a:lnTo>
                    <a:lnTo>
                      <a:pt x="24" y="126"/>
                    </a:lnTo>
                    <a:lnTo>
                      <a:pt x="26" y="128"/>
                    </a:lnTo>
                    <a:lnTo>
                      <a:pt x="28" y="130"/>
                    </a:lnTo>
                    <a:lnTo>
                      <a:pt x="30" y="138"/>
                    </a:lnTo>
                    <a:lnTo>
                      <a:pt x="34" y="146"/>
                    </a:lnTo>
                    <a:lnTo>
                      <a:pt x="34" y="146"/>
                    </a:lnTo>
                    <a:lnTo>
                      <a:pt x="38" y="150"/>
                    </a:lnTo>
                    <a:lnTo>
                      <a:pt x="44" y="150"/>
                    </a:lnTo>
                    <a:lnTo>
                      <a:pt x="64" y="150"/>
                    </a:lnTo>
                    <a:lnTo>
                      <a:pt x="88" y="144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16" y="140"/>
                    </a:lnTo>
                    <a:lnTo>
                      <a:pt x="120" y="142"/>
                    </a:lnTo>
                    <a:lnTo>
                      <a:pt x="122" y="144"/>
                    </a:lnTo>
                    <a:lnTo>
                      <a:pt x="120" y="146"/>
                    </a:lnTo>
                    <a:lnTo>
                      <a:pt x="114" y="150"/>
                    </a:lnTo>
                    <a:lnTo>
                      <a:pt x="98" y="156"/>
                    </a:lnTo>
                    <a:lnTo>
                      <a:pt x="76" y="160"/>
                    </a:lnTo>
                    <a:lnTo>
                      <a:pt x="76" y="160"/>
                    </a:lnTo>
                    <a:lnTo>
                      <a:pt x="46" y="168"/>
                    </a:lnTo>
                    <a:lnTo>
                      <a:pt x="38" y="170"/>
                    </a:lnTo>
                    <a:lnTo>
                      <a:pt x="34" y="174"/>
                    </a:lnTo>
                    <a:lnTo>
                      <a:pt x="32" y="178"/>
                    </a:lnTo>
                    <a:lnTo>
                      <a:pt x="34" y="182"/>
                    </a:lnTo>
                    <a:lnTo>
                      <a:pt x="38" y="188"/>
                    </a:lnTo>
                    <a:lnTo>
                      <a:pt x="44" y="192"/>
                    </a:lnTo>
                    <a:lnTo>
                      <a:pt x="44" y="192"/>
                    </a:lnTo>
                    <a:lnTo>
                      <a:pt x="56" y="202"/>
                    </a:lnTo>
                    <a:lnTo>
                      <a:pt x="66" y="206"/>
                    </a:lnTo>
                    <a:lnTo>
                      <a:pt x="76" y="206"/>
                    </a:lnTo>
                    <a:lnTo>
                      <a:pt x="94" y="204"/>
                    </a:lnTo>
                    <a:lnTo>
                      <a:pt x="94" y="204"/>
                    </a:lnTo>
                    <a:lnTo>
                      <a:pt x="110" y="204"/>
                    </a:lnTo>
                    <a:lnTo>
                      <a:pt x="120" y="206"/>
                    </a:lnTo>
                    <a:lnTo>
                      <a:pt x="132" y="208"/>
                    </a:lnTo>
                    <a:lnTo>
                      <a:pt x="152" y="208"/>
                    </a:lnTo>
                    <a:lnTo>
                      <a:pt x="152" y="208"/>
                    </a:lnTo>
                    <a:lnTo>
                      <a:pt x="176" y="206"/>
                    </a:lnTo>
                    <a:lnTo>
                      <a:pt x="194" y="202"/>
                    </a:lnTo>
                    <a:lnTo>
                      <a:pt x="210" y="202"/>
                    </a:lnTo>
                    <a:lnTo>
                      <a:pt x="220" y="202"/>
                    </a:lnTo>
                    <a:lnTo>
                      <a:pt x="232" y="204"/>
                    </a:lnTo>
                    <a:lnTo>
                      <a:pt x="232" y="204"/>
                    </a:lnTo>
                    <a:lnTo>
                      <a:pt x="250" y="208"/>
                    </a:lnTo>
                    <a:lnTo>
                      <a:pt x="262" y="210"/>
                    </a:lnTo>
                    <a:lnTo>
                      <a:pt x="268" y="210"/>
                    </a:lnTo>
                    <a:lnTo>
                      <a:pt x="276" y="214"/>
                    </a:lnTo>
                    <a:lnTo>
                      <a:pt x="276" y="214"/>
                    </a:lnTo>
                    <a:lnTo>
                      <a:pt x="290" y="220"/>
                    </a:lnTo>
                    <a:lnTo>
                      <a:pt x="302" y="226"/>
                    </a:lnTo>
                    <a:lnTo>
                      <a:pt x="306" y="228"/>
                    </a:lnTo>
                    <a:lnTo>
                      <a:pt x="306" y="230"/>
                    </a:lnTo>
                    <a:lnTo>
                      <a:pt x="294" y="230"/>
                    </a:lnTo>
                    <a:lnTo>
                      <a:pt x="294" y="230"/>
                    </a:lnTo>
                    <a:lnTo>
                      <a:pt x="280" y="230"/>
                    </a:lnTo>
                    <a:lnTo>
                      <a:pt x="276" y="232"/>
                    </a:lnTo>
                    <a:lnTo>
                      <a:pt x="268" y="232"/>
                    </a:lnTo>
                    <a:lnTo>
                      <a:pt x="246" y="230"/>
                    </a:lnTo>
                    <a:lnTo>
                      <a:pt x="246" y="230"/>
                    </a:lnTo>
                    <a:lnTo>
                      <a:pt x="210" y="228"/>
                    </a:lnTo>
                    <a:lnTo>
                      <a:pt x="168" y="230"/>
                    </a:lnTo>
                    <a:lnTo>
                      <a:pt x="126" y="234"/>
                    </a:lnTo>
                    <a:lnTo>
                      <a:pt x="90" y="240"/>
                    </a:lnTo>
                    <a:lnTo>
                      <a:pt x="90" y="240"/>
                    </a:lnTo>
                    <a:lnTo>
                      <a:pt x="76" y="244"/>
                    </a:lnTo>
                    <a:lnTo>
                      <a:pt x="70" y="250"/>
                    </a:lnTo>
                    <a:lnTo>
                      <a:pt x="70" y="252"/>
                    </a:lnTo>
                    <a:lnTo>
                      <a:pt x="70" y="254"/>
                    </a:lnTo>
                    <a:lnTo>
                      <a:pt x="72" y="262"/>
                    </a:lnTo>
                    <a:lnTo>
                      <a:pt x="78" y="268"/>
                    </a:lnTo>
                    <a:lnTo>
                      <a:pt x="86" y="274"/>
                    </a:lnTo>
                    <a:lnTo>
                      <a:pt x="100" y="290"/>
                    </a:lnTo>
                    <a:lnTo>
                      <a:pt x="100" y="290"/>
                    </a:lnTo>
                    <a:lnTo>
                      <a:pt x="110" y="296"/>
                    </a:lnTo>
                    <a:lnTo>
                      <a:pt x="122" y="300"/>
                    </a:lnTo>
                    <a:lnTo>
                      <a:pt x="138" y="302"/>
                    </a:lnTo>
                    <a:lnTo>
                      <a:pt x="156" y="304"/>
                    </a:lnTo>
                    <a:lnTo>
                      <a:pt x="190" y="304"/>
                    </a:lnTo>
                    <a:lnTo>
                      <a:pt x="214" y="304"/>
                    </a:lnTo>
                    <a:lnTo>
                      <a:pt x="214" y="304"/>
                    </a:lnTo>
                    <a:lnTo>
                      <a:pt x="220" y="306"/>
                    </a:lnTo>
                    <a:lnTo>
                      <a:pt x="222" y="308"/>
                    </a:lnTo>
                    <a:lnTo>
                      <a:pt x="224" y="314"/>
                    </a:lnTo>
                    <a:lnTo>
                      <a:pt x="224" y="320"/>
                    </a:lnTo>
                    <a:lnTo>
                      <a:pt x="222" y="332"/>
                    </a:lnTo>
                    <a:lnTo>
                      <a:pt x="222" y="338"/>
                    </a:lnTo>
                    <a:lnTo>
                      <a:pt x="224" y="342"/>
                    </a:lnTo>
                    <a:lnTo>
                      <a:pt x="224" y="342"/>
                    </a:lnTo>
                    <a:lnTo>
                      <a:pt x="232" y="350"/>
                    </a:lnTo>
                    <a:lnTo>
                      <a:pt x="238" y="356"/>
                    </a:lnTo>
                    <a:lnTo>
                      <a:pt x="246" y="358"/>
                    </a:lnTo>
                    <a:lnTo>
                      <a:pt x="260" y="358"/>
                    </a:lnTo>
                    <a:lnTo>
                      <a:pt x="260" y="358"/>
                    </a:lnTo>
                    <a:lnTo>
                      <a:pt x="282" y="358"/>
                    </a:lnTo>
                    <a:lnTo>
                      <a:pt x="300" y="358"/>
                    </a:lnTo>
                    <a:lnTo>
                      <a:pt x="314" y="358"/>
                    </a:lnTo>
                    <a:lnTo>
                      <a:pt x="324" y="356"/>
                    </a:lnTo>
                    <a:lnTo>
                      <a:pt x="324" y="356"/>
                    </a:lnTo>
                    <a:lnTo>
                      <a:pt x="342" y="352"/>
                    </a:lnTo>
                    <a:lnTo>
                      <a:pt x="370" y="348"/>
                    </a:lnTo>
                    <a:lnTo>
                      <a:pt x="398" y="342"/>
                    </a:lnTo>
                    <a:lnTo>
                      <a:pt x="412" y="338"/>
                    </a:lnTo>
                    <a:lnTo>
                      <a:pt x="420" y="332"/>
                    </a:lnTo>
                    <a:lnTo>
                      <a:pt x="420" y="332"/>
                    </a:lnTo>
                    <a:lnTo>
                      <a:pt x="428" y="328"/>
                    </a:lnTo>
                    <a:lnTo>
                      <a:pt x="436" y="326"/>
                    </a:lnTo>
                    <a:lnTo>
                      <a:pt x="450" y="326"/>
                    </a:lnTo>
                    <a:lnTo>
                      <a:pt x="462" y="324"/>
                    </a:lnTo>
                    <a:lnTo>
                      <a:pt x="470" y="322"/>
                    </a:lnTo>
                    <a:lnTo>
                      <a:pt x="478" y="318"/>
                    </a:lnTo>
                    <a:lnTo>
                      <a:pt x="478" y="318"/>
                    </a:lnTo>
                    <a:lnTo>
                      <a:pt x="486" y="312"/>
                    </a:lnTo>
                    <a:lnTo>
                      <a:pt x="488" y="308"/>
                    </a:lnTo>
                    <a:lnTo>
                      <a:pt x="490" y="304"/>
                    </a:lnTo>
                    <a:lnTo>
                      <a:pt x="490" y="302"/>
                    </a:lnTo>
                    <a:lnTo>
                      <a:pt x="490" y="300"/>
                    </a:lnTo>
                    <a:lnTo>
                      <a:pt x="490" y="296"/>
                    </a:lnTo>
                    <a:lnTo>
                      <a:pt x="494" y="294"/>
                    </a:lnTo>
                    <a:lnTo>
                      <a:pt x="500" y="290"/>
                    </a:lnTo>
                    <a:lnTo>
                      <a:pt x="500" y="290"/>
                    </a:lnTo>
                    <a:lnTo>
                      <a:pt x="506" y="288"/>
                    </a:lnTo>
                    <a:lnTo>
                      <a:pt x="512" y="290"/>
                    </a:lnTo>
                    <a:lnTo>
                      <a:pt x="514" y="292"/>
                    </a:lnTo>
                    <a:lnTo>
                      <a:pt x="516" y="294"/>
                    </a:lnTo>
                    <a:lnTo>
                      <a:pt x="514" y="304"/>
                    </a:lnTo>
                    <a:lnTo>
                      <a:pt x="514" y="304"/>
                    </a:lnTo>
                    <a:lnTo>
                      <a:pt x="514" y="312"/>
                    </a:lnTo>
                    <a:lnTo>
                      <a:pt x="514" y="312"/>
                    </a:lnTo>
                    <a:lnTo>
                      <a:pt x="518" y="312"/>
                    </a:lnTo>
                    <a:lnTo>
                      <a:pt x="530" y="310"/>
                    </a:lnTo>
                    <a:lnTo>
                      <a:pt x="540" y="312"/>
                    </a:lnTo>
                    <a:lnTo>
                      <a:pt x="554" y="314"/>
                    </a:lnTo>
                    <a:lnTo>
                      <a:pt x="554" y="314"/>
                    </a:lnTo>
                    <a:lnTo>
                      <a:pt x="564" y="318"/>
                    </a:lnTo>
                    <a:lnTo>
                      <a:pt x="568" y="320"/>
                    </a:lnTo>
                    <a:lnTo>
                      <a:pt x="568" y="322"/>
                    </a:lnTo>
                    <a:lnTo>
                      <a:pt x="566" y="322"/>
                    </a:lnTo>
                    <a:lnTo>
                      <a:pt x="560" y="324"/>
                    </a:lnTo>
                    <a:lnTo>
                      <a:pt x="562" y="326"/>
                    </a:lnTo>
                    <a:lnTo>
                      <a:pt x="568" y="330"/>
                    </a:lnTo>
                    <a:lnTo>
                      <a:pt x="568" y="330"/>
                    </a:lnTo>
                    <a:lnTo>
                      <a:pt x="576" y="332"/>
                    </a:lnTo>
                    <a:lnTo>
                      <a:pt x="582" y="332"/>
                    </a:lnTo>
                    <a:lnTo>
                      <a:pt x="588" y="330"/>
                    </a:lnTo>
                    <a:lnTo>
                      <a:pt x="592" y="328"/>
                    </a:lnTo>
                    <a:lnTo>
                      <a:pt x="596" y="328"/>
                    </a:lnTo>
                    <a:lnTo>
                      <a:pt x="602" y="328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28" y="336"/>
                    </a:lnTo>
                    <a:lnTo>
                      <a:pt x="636" y="336"/>
                    </a:lnTo>
                    <a:lnTo>
                      <a:pt x="640" y="334"/>
                    </a:lnTo>
                    <a:lnTo>
                      <a:pt x="648" y="336"/>
                    </a:lnTo>
                    <a:lnTo>
                      <a:pt x="648" y="336"/>
                    </a:lnTo>
                    <a:lnTo>
                      <a:pt x="654" y="336"/>
                    </a:lnTo>
                    <a:lnTo>
                      <a:pt x="658" y="336"/>
                    </a:lnTo>
                    <a:lnTo>
                      <a:pt x="668" y="332"/>
                    </a:lnTo>
                    <a:lnTo>
                      <a:pt x="676" y="326"/>
                    </a:lnTo>
                    <a:lnTo>
                      <a:pt x="680" y="324"/>
                    </a:lnTo>
                    <a:lnTo>
                      <a:pt x="686" y="324"/>
                    </a:lnTo>
                    <a:lnTo>
                      <a:pt x="686" y="324"/>
                    </a:lnTo>
                    <a:lnTo>
                      <a:pt x="694" y="322"/>
                    </a:lnTo>
                    <a:lnTo>
                      <a:pt x="700" y="316"/>
                    </a:lnTo>
                    <a:lnTo>
                      <a:pt x="702" y="314"/>
                    </a:lnTo>
                    <a:lnTo>
                      <a:pt x="702" y="310"/>
                    </a:lnTo>
                    <a:lnTo>
                      <a:pt x="700" y="306"/>
                    </a:lnTo>
                    <a:lnTo>
                      <a:pt x="696" y="304"/>
                    </a:lnTo>
                    <a:lnTo>
                      <a:pt x="696" y="304"/>
                    </a:lnTo>
                    <a:lnTo>
                      <a:pt x="692" y="300"/>
                    </a:lnTo>
                    <a:lnTo>
                      <a:pt x="690" y="298"/>
                    </a:lnTo>
                    <a:lnTo>
                      <a:pt x="692" y="294"/>
                    </a:lnTo>
                    <a:lnTo>
                      <a:pt x="694" y="290"/>
                    </a:lnTo>
                    <a:lnTo>
                      <a:pt x="692" y="288"/>
                    </a:lnTo>
                    <a:lnTo>
                      <a:pt x="688" y="286"/>
                    </a:lnTo>
                    <a:lnTo>
                      <a:pt x="688" y="286"/>
                    </a:lnTo>
                    <a:lnTo>
                      <a:pt x="682" y="286"/>
                    </a:lnTo>
                    <a:lnTo>
                      <a:pt x="674" y="288"/>
                    </a:lnTo>
                    <a:lnTo>
                      <a:pt x="660" y="296"/>
                    </a:lnTo>
                    <a:lnTo>
                      <a:pt x="648" y="300"/>
                    </a:lnTo>
                    <a:lnTo>
                      <a:pt x="648" y="300"/>
                    </a:lnTo>
                    <a:lnTo>
                      <a:pt x="650" y="296"/>
                    </a:lnTo>
                    <a:lnTo>
                      <a:pt x="650" y="296"/>
                    </a:lnTo>
                    <a:lnTo>
                      <a:pt x="652" y="290"/>
                    </a:lnTo>
                    <a:lnTo>
                      <a:pt x="650" y="286"/>
                    </a:lnTo>
                    <a:lnTo>
                      <a:pt x="646" y="284"/>
                    </a:lnTo>
                    <a:lnTo>
                      <a:pt x="642" y="280"/>
                    </a:lnTo>
                    <a:lnTo>
                      <a:pt x="632" y="278"/>
                    </a:lnTo>
                    <a:lnTo>
                      <a:pt x="630" y="276"/>
                    </a:lnTo>
                    <a:lnTo>
                      <a:pt x="632" y="274"/>
                    </a:lnTo>
                    <a:lnTo>
                      <a:pt x="632" y="274"/>
                    </a:lnTo>
                    <a:lnTo>
                      <a:pt x="634" y="272"/>
                    </a:lnTo>
                    <a:lnTo>
                      <a:pt x="638" y="272"/>
                    </a:lnTo>
                    <a:lnTo>
                      <a:pt x="650" y="278"/>
                    </a:lnTo>
                    <a:lnTo>
                      <a:pt x="660" y="282"/>
                    </a:lnTo>
                    <a:lnTo>
                      <a:pt x="666" y="282"/>
                    </a:lnTo>
                    <a:lnTo>
                      <a:pt x="670" y="280"/>
                    </a:lnTo>
                    <a:lnTo>
                      <a:pt x="670" y="280"/>
                    </a:lnTo>
                    <a:lnTo>
                      <a:pt x="672" y="278"/>
                    </a:lnTo>
                    <a:lnTo>
                      <a:pt x="672" y="276"/>
                    </a:lnTo>
                    <a:lnTo>
                      <a:pt x="670" y="272"/>
                    </a:lnTo>
                    <a:lnTo>
                      <a:pt x="668" y="272"/>
                    </a:lnTo>
                    <a:lnTo>
                      <a:pt x="668" y="270"/>
                    </a:lnTo>
                    <a:lnTo>
                      <a:pt x="670" y="266"/>
                    </a:lnTo>
                    <a:lnTo>
                      <a:pt x="674" y="264"/>
                    </a:lnTo>
                    <a:lnTo>
                      <a:pt x="674" y="2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64" name="Freeform 6115">
                <a:extLst>
                  <a:ext uri="{FF2B5EF4-FFF2-40B4-BE49-F238E27FC236}">
                    <a16:creationId xmlns:a16="http://schemas.microsoft.com/office/drawing/2014/main" id="{F03141EB-4CB1-4BCF-A727-88619382F2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730" y="1203643"/>
                <a:ext cx="165100" cy="125730"/>
              </a:xfrm>
              <a:custGeom>
                <a:avLst/>
                <a:gdLst/>
                <a:ahLst/>
                <a:cxnLst>
                  <a:cxn ang="0">
                    <a:pos x="256" y="98"/>
                  </a:cxn>
                  <a:cxn ang="0">
                    <a:pos x="250" y="90"/>
                  </a:cxn>
                  <a:cxn ang="0">
                    <a:pos x="242" y="92"/>
                  </a:cxn>
                  <a:cxn ang="0">
                    <a:pos x="234" y="94"/>
                  </a:cxn>
                  <a:cxn ang="0">
                    <a:pos x="222" y="84"/>
                  </a:cxn>
                  <a:cxn ang="0">
                    <a:pos x="216" y="74"/>
                  </a:cxn>
                  <a:cxn ang="0">
                    <a:pos x="192" y="60"/>
                  </a:cxn>
                  <a:cxn ang="0">
                    <a:pos x="188" y="56"/>
                  </a:cxn>
                  <a:cxn ang="0">
                    <a:pos x="196" y="52"/>
                  </a:cxn>
                  <a:cxn ang="0">
                    <a:pos x="208" y="48"/>
                  </a:cxn>
                  <a:cxn ang="0">
                    <a:pos x="226" y="42"/>
                  </a:cxn>
                  <a:cxn ang="0">
                    <a:pos x="222" y="38"/>
                  </a:cxn>
                  <a:cxn ang="0">
                    <a:pos x="216" y="32"/>
                  </a:cxn>
                  <a:cxn ang="0">
                    <a:pos x="222" y="24"/>
                  </a:cxn>
                  <a:cxn ang="0">
                    <a:pos x="230" y="20"/>
                  </a:cxn>
                  <a:cxn ang="0">
                    <a:pos x="230" y="10"/>
                  </a:cxn>
                  <a:cxn ang="0">
                    <a:pos x="218" y="4"/>
                  </a:cxn>
                  <a:cxn ang="0">
                    <a:pos x="194" y="4"/>
                  </a:cxn>
                  <a:cxn ang="0">
                    <a:pos x="180" y="8"/>
                  </a:cxn>
                  <a:cxn ang="0">
                    <a:pos x="152" y="12"/>
                  </a:cxn>
                  <a:cxn ang="0">
                    <a:pos x="130" y="6"/>
                  </a:cxn>
                  <a:cxn ang="0">
                    <a:pos x="110" y="0"/>
                  </a:cxn>
                  <a:cxn ang="0">
                    <a:pos x="86" y="4"/>
                  </a:cxn>
                  <a:cxn ang="0">
                    <a:pos x="64" y="14"/>
                  </a:cxn>
                  <a:cxn ang="0">
                    <a:pos x="50" y="24"/>
                  </a:cxn>
                  <a:cxn ang="0">
                    <a:pos x="48" y="34"/>
                  </a:cxn>
                  <a:cxn ang="0">
                    <a:pos x="62" y="44"/>
                  </a:cxn>
                  <a:cxn ang="0">
                    <a:pos x="70" y="48"/>
                  </a:cxn>
                  <a:cxn ang="0">
                    <a:pos x="88" y="58"/>
                  </a:cxn>
                  <a:cxn ang="0">
                    <a:pos x="96" y="68"/>
                  </a:cxn>
                  <a:cxn ang="0">
                    <a:pos x="92" y="78"/>
                  </a:cxn>
                  <a:cxn ang="0">
                    <a:pos x="78" y="88"/>
                  </a:cxn>
                  <a:cxn ang="0">
                    <a:pos x="74" y="88"/>
                  </a:cxn>
                  <a:cxn ang="0">
                    <a:pos x="58" y="86"/>
                  </a:cxn>
                  <a:cxn ang="0">
                    <a:pos x="38" y="74"/>
                  </a:cxn>
                  <a:cxn ang="0">
                    <a:pos x="20" y="64"/>
                  </a:cxn>
                  <a:cxn ang="0">
                    <a:pos x="10" y="64"/>
                  </a:cxn>
                  <a:cxn ang="0">
                    <a:pos x="2" y="72"/>
                  </a:cxn>
                  <a:cxn ang="0">
                    <a:pos x="0" y="78"/>
                  </a:cxn>
                  <a:cxn ang="0">
                    <a:pos x="6" y="94"/>
                  </a:cxn>
                  <a:cxn ang="0">
                    <a:pos x="26" y="110"/>
                  </a:cxn>
                  <a:cxn ang="0">
                    <a:pos x="56" y="124"/>
                  </a:cxn>
                  <a:cxn ang="0">
                    <a:pos x="74" y="132"/>
                  </a:cxn>
                  <a:cxn ang="0">
                    <a:pos x="104" y="148"/>
                  </a:cxn>
                  <a:cxn ang="0">
                    <a:pos x="124" y="168"/>
                  </a:cxn>
                  <a:cxn ang="0">
                    <a:pos x="150" y="194"/>
                  </a:cxn>
                  <a:cxn ang="0">
                    <a:pos x="162" y="198"/>
                  </a:cxn>
                  <a:cxn ang="0">
                    <a:pos x="176" y="194"/>
                  </a:cxn>
                  <a:cxn ang="0">
                    <a:pos x="180" y="184"/>
                  </a:cxn>
                  <a:cxn ang="0">
                    <a:pos x="182" y="174"/>
                  </a:cxn>
                  <a:cxn ang="0">
                    <a:pos x="192" y="170"/>
                  </a:cxn>
                  <a:cxn ang="0">
                    <a:pos x="200" y="172"/>
                  </a:cxn>
                  <a:cxn ang="0">
                    <a:pos x="220" y="170"/>
                  </a:cxn>
                  <a:cxn ang="0">
                    <a:pos x="238" y="162"/>
                  </a:cxn>
                  <a:cxn ang="0">
                    <a:pos x="250" y="148"/>
                  </a:cxn>
                  <a:cxn ang="0">
                    <a:pos x="252" y="138"/>
                  </a:cxn>
                  <a:cxn ang="0">
                    <a:pos x="252" y="124"/>
                  </a:cxn>
                  <a:cxn ang="0">
                    <a:pos x="258" y="114"/>
                  </a:cxn>
                  <a:cxn ang="0">
                    <a:pos x="258" y="106"/>
                  </a:cxn>
                  <a:cxn ang="0">
                    <a:pos x="256" y="98"/>
                  </a:cxn>
                </a:cxnLst>
                <a:rect l="0" t="0" r="r" b="b"/>
                <a:pathLst>
                  <a:path w="260" h="198">
                    <a:moveTo>
                      <a:pt x="256" y="98"/>
                    </a:moveTo>
                    <a:lnTo>
                      <a:pt x="256" y="98"/>
                    </a:lnTo>
                    <a:lnTo>
                      <a:pt x="254" y="92"/>
                    </a:lnTo>
                    <a:lnTo>
                      <a:pt x="250" y="90"/>
                    </a:lnTo>
                    <a:lnTo>
                      <a:pt x="246" y="90"/>
                    </a:lnTo>
                    <a:lnTo>
                      <a:pt x="242" y="92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28" y="90"/>
                    </a:lnTo>
                    <a:lnTo>
                      <a:pt x="222" y="84"/>
                    </a:lnTo>
                    <a:lnTo>
                      <a:pt x="222" y="84"/>
                    </a:lnTo>
                    <a:lnTo>
                      <a:pt x="216" y="74"/>
                    </a:lnTo>
                    <a:lnTo>
                      <a:pt x="208" y="68"/>
                    </a:lnTo>
                    <a:lnTo>
                      <a:pt x="192" y="60"/>
                    </a:lnTo>
                    <a:lnTo>
                      <a:pt x="190" y="58"/>
                    </a:lnTo>
                    <a:lnTo>
                      <a:pt x="188" y="56"/>
                    </a:lnTo>
                    <a:lnTo>
                      <a:pt x="190" y="54"/>
                    </a:lnTo>
                    <a:lnTo>
                      <a:pt x="196" y="52"/>
                    </a:lnTo>
                    <a:lnTo>
                      <a:pt x="208" y="48"/>
                    </a:lnTo>
                    <a:lnTo>
                      <a:pt x="208" y="48"/>
                    </a:lnTo>
                    <a:lnTo>
                      <a:pt x="220" y="46"/>
                    </a:lnTo>
                    <a:lnTo>
                      <a:pt x="226" y="42"/>
                    </a:lnTo>
                    <a:lnTo>
                      <a:pt x="226" y="40"/>
                    </a:lnTo>
                    <a:lnTo>
                      <a:pt x="222" y="38"/>
                    </a:lnTo>
                    <a:lnTo>
                      <a:pt x="218" y="34"/>
                    </a:lnTo>
                    <a:lnTo>
                      <a:pt x="216" y="32"/>
                    </a:lnTo>
                    <a:lnTo>
                      <a:pt x="216" y="28"/>
                    </a:lnTo>
                    <a:lnTo>
                      <a:pt x="222" y="24"/>
                    </a:lnTo>
                    <a:lnTo>
                      <a:pt x="222" y="24"/>
                    </a:lnTo>
                    <a:lnTo>
                      <a:pt x="230" y="20"/>
                    </a:lnTo>
                    <a:lnTo>
                      <a:pt x="232" y="16"/>
                    </a:lnTo>
                    <a:lnTo>
                      <a:pt x="230" y="10"/>
                    </a:lnTo>
                    <a:lnTo>
                      <a:pt x="226" y="6"/>
                    </a:lnTo>
                    <a:lnTo>
                      <a:pt x="218" y="4"/>
                    </a:lnTo>
                    <a:lnTo>
                      <a:pt x="208" y="4"/>
                    </a:lnTo>
                    <a:lnTo>
                      <a:pt x="194" y="4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64" y="12"/>
                    </a:lnTo>
                    <a:lnTo>
                      <a:pt x="152" y="12"/>
                    </a:lnTo>
                    <a:lnTo>
                      <a:pt x="140" y="10"/>
                    </a:lnTo>
                    <a:lnTo>
                      <a:pt x="130" y="6"/>
                    </a:lnTo>
                    <a:lnTo>
                      <a:pt x="120" y="4"/>
                    </a:lnTo>
                    <a:lnTo>
                      <a:pt x="110" y="0"/>
                    </a:lnTo>
                    <a:lnTo>
                      <a:pt x="98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64" y="14"/>
                    </a:lnTo>
                    <a:lnTo>
                      <a:pt x="56" y="20"/>
                    </a:lnTo>
                    <a:lnTo>
                      <a:pt x="50" y="24"/>
                    </a:lnTo>
                    <a:lnTo>
                      <a:pt x="46" y="28"/>
                    </a:lnTo>
                    <a:lnTo>
                      <a:pt x="48" y="34"/>
                    </a:lnTo>
                    <a:lnTo>
                      <a:pt x="52" y="38"/>
                    </a:lnTo>
                    <a:lnTo>
                      <a:pt x="62" y="44"/>
                    </a:lnTo>
                    <a:lnTo>
                      <a:pt x="70" y="48"/>
                    </a:lnTo>
                    <a:lnTo>
                      <a:pt x="70" y="48"/>
                    </a:lnTo>
                    <a:lnTo>
                      <a:pt x="82" y="52"/>
                    </a:lnTo>
                    <a:lnTo>
                      <a:pt x="88" y="58"/>
                    </a:lnTo>
                    <a:lnTo>
                      <a:pt x="94" y="62"/>
                    </a:lnTo>
                    <a:lnTo>
                      <a:pt x="96" y="68"/>
                    </a:lnTo>
                    <a:lnTo>
                      <a:pt x="94" y="74"/>
                    </a:lnTo>
                    <a:lnTo>
                      <a:pt x="92" y="78"/>
                    </a:lnTo>
                    <a:lnTo>
                      <a:pt x="86" y="84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74" y="88"/>
                    </a:lnTo>
                    <a:lnTo>
                      <a:pt x="68" y="90"/>
                    </a:lnTo>
                    <a:lnTo>
                      <a:pt x="58" y="86"/>
                    </a:lnTo>
                    <a:lnTo>
                      <a:pt x="48" y="80"/>
                    </a:lnTo>
                    <a:lnTo>
                      <a:pt x="38" y="74"/>
                    </a:lnTo>
                    <a:lnTo>
                      <a:pt x="28" y="68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0" y="64"/>
                    </a:lnTo>
                    <a:lnTo>
                      <a:pt x="6" y="66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0" y="78"/>
                    </a:lnTo>
                    <a:lnTo>
                      <a:pt x="0" y="86"/>
                    </a:lnTo>
                    <a:lnTo>
                      <a:pt x="6" y="94"/>
                    </a:lnTo>
                    <a:lnTo>
                      <a:pt x="14" y="102"/>
                    </a:lnTo>
                    <a:lnTo>
                      <a:pt x="26" y="110"/>
                    </a:lnTo>
                    <a:lnTo>
                      <a:pt x="40" y="118"/>
                    </a:lnTo>
                    <a:lnTo>
                      <a:pt x="56" y="124"/>
                    </a:lnTo>
                    <a:lnTo>
                      <a:pt x="74" y="132"/>
                    </a:lnTo>
                    <a:lnTo>
                      <a:pt x="74" y="132"/>
                    </a:lnTo>
                    <a:lnTo>
                      <a:pt x="90" y="138"/>
                    </a:lnTo>
                    <a:lnTo>
                      <a:pt x="104" y="148"/>
                    </a:lnTo>
                    <a:lnTo>
                      <a:pt x="116" y="158"/>
                    </a:lnTo>
                    <a:lnTo>
                      <a:pt x="124" y="168"/>
                    </a:lnTo>
                    <a:lnTo>
                      <a:pt x="142" y="188"/>
                    </a:lnTo>
                    <a:lnTo>
                      <a:pt x="150" y="194"/>
                    </a:lnTo>
                    <a:lnTo>
                      <a:pt x="162" y="198"/>
                    </a:lnTo>
                    <a:lnTo>
                      <a:pt x="162" y="198"/>
                    </a:lnTo>
                    <a:lnTo>
                      <a:pt x="170" y="198"/>
                    </a:lnTo>
                    <a:lnTo>
                      <a:pt x="176" y="194"/>
                    </a:lnTo>
                    <a:lnTo>
                      <a:pt x="178" y="190"/>
                    </a:lnTo>
                    <a:lnTo>
                      <a:pt x="180" y="184"/>
                    </a:lnTo>
                    <a:lnTo>
                      <a:pt x="182" y="178"/>
                    </a:lnTo>
                    <a:lnTo>
                      <a:pt x="182" y="174"/>
                    </a:lnTo>
                    <a:lnTo>
                      <a:pt x="186" y="170"/>
                    </a:lnTo>
                    <a:lnTo>
                      <a:pt x="192" y="170"/>
                    </a:lnTo>
                    <a:lnTo>
                      <a:pt x="192" y="170"/>
                    </a:lnTo>
                    <a:lnTo>
                      <a:pt x="200" y="172"/>
                    </a:lnTo>
                    <a:lnTo>
                      <a:pt x="210" y="172"/>
                    </a:lnTo>
                    <a:lnTo>
                      <a:pt x="220" y="170"/>
                    </a:lnTo>
                    <a:lnTo>
                      <a:pt x="230" y="166"/>
                    </a:lnTo>
                    <a:lnTo>
                      <a:pt x="238" y="162"/>
                    </a:lnTo>
                    <a:lnTo>
                      <a:pt x="246" y="156"/>
                    </a:lnTo>
                    <a:lnTo>
                      <a:pt x="250" y="148"/>
                    </a:lnTo>
                    <a:lnTo>
                      <a:pt x="252" y="138"/>
                    </a:lnTo>
                    <a:lnTo>
                      <a:pt x="252" y="138"/>
                    </a:lnTo>
                    <a:lnTo>
                      <a:pt x="252" y="130"/>
                    </a:lnTo>
                    <a:lnTo>
                      <a:pt x="252" y="124"/>
                    </a:lnTo>
                    <a:lnTo>
                      <a:pt x="256" y="118"/>
                    </a:lnTo>
                    <a:lnTo>
                      <a:pt x="258" y="114"/>
                    </a:lnTo>
                    <a:lnTo>
                      <a:pt x="260" y="112"/>
                    </a:lnTo>
                    <a:lnTo>
                      <a:pt x="258" y="106"/>
                    </a:lnTo>
                    <a:lnTo>
                      <a:pt x="256" y="98"/>
                    </a:lnTo>
                    <a:lnTo>
                      <a:pt x="256" y="9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65" name="Freeform 6116">
                <a:extLst>
                  <a:ext uri="{FF2B5EF4-FFF2-40B4-BE49-F238E27FC236}">
                    <a16:creationId xmlns:a16="http://schemas.microsoft.com/office/drawing/2014/main" id="{170CA12A-DB47-4EEB-9B96-2238AF20A6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0060" y="1098233"/>
                <a:ext cx="34290" cy="8890"/>
              </a:xfrm>
              <a:custGeom>
                <a:avLst/>
                <a:gdLst/>
                <a:ahLst/>
                <a:cxnLst>
                  <a:cxn ang="0">
                    <a:pos x="2" y="14"/>
                  </a:cxn>
                  <a:cxn ang="0">
                    <a:pos x="2" y="14"/>
                  </a:cxn>
                  <a:cxn ang="0">
                    <a:pos x="8" y="14"/>
                  </a:cxn>
                  <a:cxn ang="0">
                    <a:pos x="16" y="14"/>
                  </a:cxn>
                  <a:cxn ang="0">
                    <a:pos x="36" y="10"/>
                  </a:cxn>
                  <a:cxn ang="0">
                    <a:pos x="50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18" y="4"/>
                  </a:cxn>
                  <a:cxn ang="0">
                    <a:pos x="2" y="10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</a:cxnLst>
                <a:rect l="0" t="0" r="r" b="b"/>
                <a:pathLst>
                  <a:path w="54" h="14">
                    <a:moveTo>
                      <a:pt x="2" y="14"/>
                    </a:moveTo>
                    <a:lnTo>
                      <a:pt x="2" y="14"/>
                    </a:lnTo>
                    <a:lnTo>
                      <a:pt x="8" y="14"/>
                    </a:lnTo>
                    <a:lnTo>
                      <a:pt x="16" y="14"/>
                    </a:lnTo>
                    <a:lnTo>
                      <a:pt x="36" y="10"/>
                    </a:lnTo>
                    <a:lnTo>
                      <a:pt x="50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48" y="0"/>
                    </a:lnTo>
                    <a:lnTo>
                      <a:pt x="38" y="0"/>
                    </a:lnTo>
                    <a:lnTo>
                      <a:pt x="18" y="4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66" name="Freeform 6117">
                <a:extLst>
                  <a:ext uri="{FF2B5EF4-FFF2-40B4-BE49-F238E27FC236}">
                    <a16:creationId xmlns:a16="http://schemas.microsoft.com/office/drawing/2014/main" id="{1DEC7AD3-BEE9-4DEA-BA20-1079ED2645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200" y="1394143"/>
                <a:ext cx="114300" cy="66040"/>
              </a:xfrm>
              <a:custGeom>
                <a:avLst/>
                <a:gdLst/>
                <a:ahLst/>
                <a:cxnLst>
                  <a:cxn ang="0">
                    <a:pos x="42" y="32"/>
                  </a:cxn>
                  <a:cxn ang="0">
                    <a:pos x="42" y="32"/>
                  </a:cxn>
                  <a:cxn ang="0">
                    <a:pos x="32" y="42"/>
                  </a:cxn>
                  <a:cxn ang="0">
                    <a:pos x="24" y="50"/>
                  </a:cxn>
                  <a:cxn ang="0">
                    <a:pos x="14" y="52"/>
                  </a:cxn>
                  <a:cxn ang="0">
                    <a:pos x="8" y="54"/>
                  </a:cxn>
                  <a:cxn ang="0">
                    <a:pos x="2" y="56"/>
                  </a:cxn>
                  <a:cxn ang="0">
                    <a:pos x="0" y="58"/>
                  </a:cxn>
                  <a:cxn ang="0">
                    <a:pos x="2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20" y="74"/>
                  </a:cxn>
                  <a:cxn ang="0">
                    <a:pos x="34" y="78"/>
                  </a:cxn>
                  <a:cxn ang="0">
                    <a:pos x="72" y="86"/>
                  </a:cxn>
                  <a:cxn ang="0">
                    <a:pos x="72" y="86"/>
                  </a:cxn>
                  <a:cxn ang="0">
                    <a:pos x="84" y="88"/>
                  </a:cxn>
                  <a:cxn ang="0">
                    <a:pos x="94" y="92"/>
                  </a:cxn>
                  <a:cxn ang="0">
                    <a:pos x="112" y="100"/>
                  </a:cxn>
                  <a:cxn ang="0">
                    <a:pos x="120" y="102"/>
                  </a:cxn>
                  <a:cxn ang="0">
                    <a:pos x="128" y="104"/>
                  </a:cxn>
                  <a:cxn ang="0">
                    <a:pos x="136" y="102"/>
                  </a:cxn>
                  <a:cxn ang="0">
                    <a:pos x="142" y="96"/>
                  </a:cxn>
                  <a:cxn ang="0">
                    <a:pos x="142" y="96"/>
                  </a:cxn>
                  <a:cxn ang="0">
                    <a:pos x="150" y="90"/>
                  </a:cxn>
                  <a:cxn ang="0">
                    <a:pos x="156" y="88"/>
                  </a:cxn>
                  <a:cxn ang="0">
                    <a:pos x="164" y="86"/>
                  </a:cxn>
                  <a:cxn ang="0">
                    <a:pos x="170" y="86"/>
                  </a:cxn>
                  <a:cxn ang="0">
                    <a:pos x="174" y="84"/>
                  </a:cxn>
                  <a:cxn ang="0">
                    <a:pos x="178" y="78"/>
                  </a:cxn>
                  <a:cxn ang="0">
                    <a:pos x="178" y="78"/>
                  </a:cxn>
                  <a:cxn ang="0">
                    <a:pos x="180" y="74"/>
                  </a:cxn>
                  <a:cxn ang="0">
                    <a:pos x="180" y="72"/>
                  </a:cxn>
                  <a:cxn ang="0">
                    <a:pos x="174" y="72"/>
                  </a:cxn>
                  <a:cxn ang="0">
                    <a:pos x="170" y="72"/>
                  </a:cxn>
                  <a:cxn ang="0">
                    <a:pos x="164" y="70"/>
                  </a:cxn>
                  <a:cxn ang="0">
                    <a:pos x="158" y="66"/>
                  </a:cxn>
                  <a:cxn ang="0">
                    <a:pos x="152" y="58"/>
                  </a:cxn>
                  <a:cxn ang="0">
                    <a:pos x="152" y="58"/>
                  </a:cxn>
                  <a:cxn ang="0">
                    <a:pos x="148" y="50"/>
                  </a:cxn>
                  <a:cxn ang="0">
                    <a:pos x="144" y="44"/>
                  </a:cxn>
                  <a:cxn ang="0">
                    <a:pos x="140" y="42"/>
                  </a:cxn>
                  <a:cxn ang="0">
                    <a:pos x="136" y="42"/>
                  </a:cxn>
                  <a:cxn ang="0">
                    <a:pos x="124" y="36"/>
                  </a:cxn>
                  <a:cxn ang="0">
                    <a:pos x="116" y="30"/>
                  </a:cxn>
                  <a:cxn ang="0">
                    <a:pos x="106" y="20"/>
                  </a:cxn>
                  <a:cxn ang="0">
                    <a:pos x="106" y="20"/>
                  </a:cxn>
                  <a:cxn ang="0">
                    <a:pos x="94" y="10"/>
                  </a:cxn>
                  <a:cxn ang="0">
                    <a:pos x="86" y="2"/>
                  </a:cxn>
                  <a:cxn ang="0">
                    <a:pos x="78" y="0"/>
                  </a:cxn>
                  <a:cxn ang="0">
                    <a:pos x="70" y="0"/>
                  </a:cxn>
                  <a:cxn ang="0">
                    <a:pos x="64" y="4"/>
                  </a:cxn>
                  <a:cxn ang="0">
                    <a:pos x="56" y="10"/>
                  </a:cxn>
                  <a:cxn ang="0">
                    <a:pos x="42" y="32"/>
                  </a:cxn>
                  <a:cxn ang="0">
                    <a:pos x="42" y="32"/>
                  </a:cxn>
                </a:cxnLst>
                <a:rect l="0" t="0" r="r" b="b"/>
                <a:pathLst>
                  <a:path w="180" h="104">
                    <a:moveTo>
                      <a:pt x="42" y="32"/>
                    </a:moveTo>
                    <a:lnTo>
                      <a:pt x="42" y="32"/>
                    </a:lnTo>
                    <a:lnTo>
                      <a:pt x="32" y="42"/>
                    </a:lnTo>
                    <a:lnTo>
                      <a:pt x="24" y="50"/>
                    </a:lnTo>
                    <a:lnTo>
                      <a:pt x="14" y="52"/>
                    </a:lnTo>
                    <a:lnTo>
                      <a:pt x="8" y="54"/>
                    </a:lnTo>
                    <a:lnTo>
                      <a:pt x="2" y="56"/>
                    </a:lnTo>
                    <a:lnTo>
                      <a:pt x="0" y="58"/>
                    </a:lnTo>
                    <a:lnTo>
                      <a:pt x="2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20" y="74"/>
                    </a:lnTo>
                    <a:lnTo>
                      <a:pt x="34" y="78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84" y="88"/>
                    </a:lnTo>
                    <a:lnTo>
                      <a:pt x="94" y="92"/>
                    </a:lnTo>
                    <a:lnTo>
                      <a:pt x="112" y="100"/>
                    </a:lnTo>
                    <a:lnTo>
                      <a:pt x="120" y="102"/>
                    </a:lnTo>
                    <a:lnTo>
                      <a:pt x="128" y="104"/>
                    </a:lnTo>
                    <a:lnTo>
                      <a:pt x="136" y="102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50" y="90"/>
                    </a:lnTo>
                    <a:lnTo>
                      <a:pt x="156" y="88"/>
                    </a:lnTo>
                    <a:lnTo>
                      <a:pt x="164" y="86"/>
                    </a:lnTo>
                    <a:lnTo>
                      <a:pt x="170" y="86"/>
                    </a:lnTo>
                    <a:lnTo>
                      <a:pt x="174" y="84"/>
                    </a:lnTo>
                    <a:lnTo>
                      <a:pt x="178" y="78"/>
                    </a:lnTo>
                    <a:lnTo>
                      <a:pt x="178" y="78"/>
                    </a:lnTo>
                    <a:lnTo>
                      <a:pt x="180" y="74"/>
                    </a:lnTo>
                    <a:lnTo>
                      <a:pt x="180" y="72"/>
                    </a:lnTo>
                    <a:lnTo>
                      <a:pt x="174" y="72"/>
                    </a:lnTo>
                    <a:lnTo>
                      <a:pt x="170" y="72"/>
                    </a:lnTo>
                    <a:lnTo>
                      <a:pt x="164" y="70"/>
                    </a:lnTo>
                    <a:lnTo>
                      <a:pt x="158" y="66"/>
                    </a:lnTo>
                    <a:lnTo>
                      <a:pt x="152" y="58"/>
                    </a:lnTo>
                    <a:lnTo>
                      <a:pt x="152" y="58"/>
                    </a:lnTo>
                    <a:lnTo>
                      <a:pt x="148" y="50"/>
                    </a:lnTo>
                    <a:lnTo>
                      <a:pt x="144" y="44"/>
                    </a:lnTo>
                    <a:lnTo>
                      <a:pt x="140" y="42"/>
                    </a:lnTo>
                    <a:lnTo>
                      <a:pt x="136" y="42"/>
                    </a:lnTo>
                    <a:lnTo>
                      <a:pt x="124" y="36"/>
                    </a:lnTo>
                    <a:lnTo>
                      <a:pt x="116" y="30"/>
                    </a:lnTo>
                    <a:lnTo>
                      <a:pt x="106" y="20"/>
                    </a:lnTo>
                    <a:lnTo>
                      <a:pt x="106" y="20"/>
                    </a:lnTo>
                    <a:lnTo>
                      <a:pt x="94" y="10"/>
                    </a:lnTo>
                    <a:lnTo>
                      <a:pt x="86" y="2"/>
                    </a:lnTo>
                    <a:lnTo>
                      <a:pt x="78" y="0"/>
                    </a:lnTo>
                    <a:lnTo>
                      <a:pt x="70" y="0"/>
                    </a:lnTo>
                    <a:lnTo>
                      <a:pt x="64" y="4"/>
                    </a:lnTo>
                    <a:lnTo>
                      <a:pt x="56" y="10"/>
                    </a:lnTo>
                    <a:lnTo>
                      <a:pt x="42" y="32"/>
                    </a:lnTo>
                    <a:lnTo>
                      <a:pt x="42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67" name="Freeform 6118">
                <a:extLst>
                  <a:ext uri="{FF2B5EF4-FFF2-40B4-BE49-F238E27FC236}">
                    <a16:creationId xmlns:a16="http://schemas.microsoft.com/office/drawing/2014/main" id="{B582EADF-956E-496C-92BD-43C5229770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9839" y="699453"/>
                <a:ext cx="1550670" cy="1127760"/>
              </a:xfrm>
              <a:custGeom>
                <a:avLst/>
                <a:gdLst/>
                <a:ahLst/>
                <a:cxnLst>
                  <a:cxn ang="0">
                    <a:pos x="220" y="296"/>
                  </a:cxn>
                  <a:cxn ang="0">
                    <a:pos x="150" y="400"/>
                  </a:cxn>
                  <a:cxn ang="0">
                    <a:pos x="96" y="502"/>
                  </a:cxn>
                  <a:cxn ang="0">
                    <a:pos x="62" y="558"/>
                  </a:cxn>
                  <a:cxn ang="0">
                    <a:pos x="228" y="618"/>
                  </a:cxn>
                  <a:cxn ang="0">
                    <a:pos x="350" y="620"/>
                  </a:cxn>
                  <a:cxn ang="0">
                    <a:pos x="584" y="666"/>
                  </a:cxn>
                  <a:cxn ang="0">
                    <a:pos x="674" y="786"/>
                  </a:cxn>
                  <a:cxn ang="0">
                    <a:pos x="706" y="902"/>
                  </a:cxn>
                  <a:cxn ang="0">
                    <a:pos x="744" y="990"/>
                  </a:cxn>
                  <a:cxn ang="0">
                    <a:pos x="836" y="1010"/>
                  </a:cxn>
                  <a:cxn ang="0">
                    <a:pos x="750" y="1050"/>
                  </a:cxn>
                  <a:cxn ang="0">
                    <a:pos x="890" y="1110"/>
                  </a:cxn>
                  <a:cxn ang="0">
                    <a:pos x="788" y="1212"/>
                  </a:cxn>
                  <a:cxn ang="0">
                    <a:pos x="782" y="1328"/>
                  </a:cxn>
                  <a:cxn ang="0">
                    <a:pos x="834" y="1452"/>
                  </a:cxn>
                  <a:cxn ang="0">
                    <a:pos x="922" y="1474"/>
                  </a:cxn>
                  <a:cxn ang="0">
                    <a:pos x="860" y="1502"/>
                  </a:cxn>
                  <a:cxn ang="0">
                    <a:pos x="908" y="1598"/>
                  </a:cxn>
                  <a:cxn ang="0">
                    <a:pos x="966" y="1678"/>
                  </a:cxn>
                  <a:cxn ang="0">
                    <a:pos x="1032" y="1712"/>
                  </a:cxn>
                  <a:cxn ang="0">
                    <a:pos x="1090" y="1738"/>
                  </a:cxn>
                  <a:cxn ang="0">
                    <a:pos x="1196" y="1768"/>
                  </a:cxn>
                  <a:cxn ang="0">
                    <a:pos x="1232" y="1622"/>
                  </a:cxn>
                  <a:cxn ang="0">
                    <a:pos x="1262" y="1566"/>
                  </a:cxn>
                  <a:cxn ang="0">
                    <a:pos x="1262" y="1486"/>
                  </a:cxn>
                  <a:cxn ang="0">
                    <a:pos x="1332" y="1420"/>
                  </a:cxn>
                  <a:cxn ang="0">
                    <a:pos x="1402" y="1376"/>
                  </a:cxn>
                  <a:cxn ang="0">
                    <a:pos x="1412" y="1372"/>
                  </a:cxn>
                  <a:cxn ang="0">
                    <a:pos x="1468" y="1372"/>
                  </a:cxn>
                  <a:cxn ang="0">
                    <a:pos x="1628" y="1238"/>
                  </a:cxn>
                  <a:cxn ang="0">
                    <a:pos x="1748" y="1208"/>
                  </a:cxn>
                  <a:cxn ang="0">
                    <a:pos x="2012" y="1102"/>
                  </a:cxn>
                  <a:cxn ang="0">
                    <a:pos x="1846" y="1076"/>
                  </a:cxn>
                  <a:cxn ang="0">
                    <a:pos x="1800" y="1058"/>
                  </a:cxn>
                  <a:cxn ang="0">
                    <a:pos x="1842" y="970"/>
                  </a:cxn>
                  <a:cxn ang="0">
                    <a:pos x="2060" y="1056"/>
                  </a:cxn>
                  <a:cxn ang="0">
                    <a:pos x="2054" y="956"/>
                  </a:cxn>
                  <a:cxn ang="0">
                    <a:pos x="1916" y="858"/>
                  </a:cxn>
                  <a:cxn ang="0">
                    <a:pos x="2100" y="830"/>
                  </a:cxn>
                  <a:cxn ang="0">
                    <a:pos x="2142" y="768"/>
                  </a:cxn>
                  <a:cxn ang="0">
                    <a:pos x="2154" y="698"/>
                  </a:cxn>
                  <a:cxn ang="0">
                    <a:pos x="2066" y="608"/>
                  </a:cxn>
                  <a:cxn ang="0">
                    <a:pos x="2144" y="562"/>
                  </a:cxn>
                  <a:cxn ang="0">
                    <a:pos x="2144" y="504"/>
                  </a:cxn>
                  <a:cxn ang="0">
                    <a:pos x="2096" y="408"/>
                  </a:cxn>
                  <a:cxn ang="0">
                    <a:pos x="2228" y="310"/>
                  </a:cxn>
                  <a:cxn ang="0">
                    <a:pos x="2278" y="276"/>
                  </a:cxn>
                  <a:cxn ang="0">
                    <a:pos x="2298" y="244"/>
                  </a:cxn>
                  <a:cxn ang="0">
                    <a:pos x="2322" y="150"/>
                  </a:cxn>
                  <a:cxn ang="0">
                    <a:pos x="2050" y="210"/>
                  </a:cxn>
                  <a:cxn ang="0">
                    <a:pos x="1962" y="152"/>
                  </a:cxn>
                  <a:cxn ang="0">
                    <a:pos x="1616" y="174"/>
                  </a:cxn>
                  <a:cxn ang="0">
                    <a:pos x="2034" y="78"/>
                  </a:cxn>
                  <a:cxn ang="0">
                    <a:pos x="1724" y="52"/>
                  </a:cxn>
                  <a:cxn ang="0">
                    <a:pos x="1618" y="2"/>
                  </a:cxn>
                  <a:cxn ang="0">
                    <a:pos x="1402" y="44"/>
                  </a:cxn>
                  <a:cxn ang="0">
                    <a:pos x="1048" y="56"/>
                  </a:cxn>
                  <a:cxn ang="0">
                    <a:pos x="1110" y="74"/>
                  </a:cxn>
                  <a:cxn ang="0">
                    <a:pos x="1108" y="158"/>
                  </a:cxn>
                  <a:cxn ang="0">
                    <a:pos x="900" y="148"/>
                  </a:cxn>
                  <a:cxn ang="0">
                    <a:pos x="756" y="114"/>
                  </a:cxn>
                </a:cxnLst>
                <a:rect l="0" t="0" r="r" b="b"/>
                <a:pathLst>
                  <a:path w="2442" h="1776">
                    <a:moveTo>
                      <a:pt x="470" y="176"/>
                    </a:moveTo>
                    <a:lnTo>
                      <a:pt x="470" y="176"/>
                    </a:lnTo>
                    <a:lnTo>
                      <a:pt x="476" y="186"/>
                    </a:lnTo>
                    <a:lnTo>
                      <a:pt x="478" y="194"/>
                    </a:lnTo>
                    <a:lnTo>
                      <a:pt x="480" y="202"/>
                    </a:lnTo>
                    <a:lnTo>
                      <a:pt x="478" y="210"/>
                    </a:lnTo>
                    <a:lnTo>
                      <a:pt x="474" y="216"/>
                    </a:lnTo>
                    <a:lnTo>
                      <a:pt x="466" y="218"/>
                    </a:lnTo>
                    <a:lnTo>
                      <a:pt x="458" y="220"/>
                    </a:lnTo>
                    <a:lnTo>
                      <a:pt x="446" y="218"/>
                    </a:lnTo>
                    <a:lnTo>
                      <a:pt x="446" y="218"/>
                    </a:lnTo>
                    <a:lnTo>
                      <a:pt x="426" y="212"/>
                    </a:lnTo>
                    <a:lnTo>
                      <a:pt x="406" y="210"/>
                    </a:lnTo>
                    <a:lnTo>
                      <a:pt x="386" y="210"/>
                    </a:lnTo>
                    <a:lnTo>
                      <a:pt x="368" y="212"/>
                    </a:lnTo>
                    <a:lnTo>
                      <a:pt x="350" y="216"/>
                    </a:lnTo>
                    <a:lnTo>
                      <a:pt x="334" y="222"/>
                    </a:lnTo>
                    <a:lnTo>
                      <a:pt x="318" y="230"/>
                    </a:lnTo>
                    <a:lnTo>
                      <a:pt x="304" y="238"/>
                    </a:lnTo>
                    <a:lnTo>
                      <a:pt x="304" y="238"/>
                    </a:lnTo>
                    <a:lnTo>
                      <a:pt x="272" y="256"/>
                    </a:lnTo>
                    <a:lnTo>
                      <a:pt x="244" y="270"/>
                    </a:lnTo>
                    <a:lnTo>
                      <a:pt x="232" y="276"/>
                    </a:lnTo>
                    <a:lnTo>
                      <a:pt x="222" y="284"/>
                    </a:lnTo>
                    <a:lnTo>
                      <a:pt x="218" y="290"/>
                    </a:lnTo>
                    <a:lnTo>
                      <a:pt x="218" y="292"/>
                    </a:lnTo>
                    <a:lnTo>
                      <a:pt x="220" y="296"/>
                    </a:lnTo>
                    <a:lnTo>
                      <a:pt x="220" y="296"/>
                    </a:lnTo>
                    <a:lnTo>
                      <a:pt x="226" y="300"/>
                    </a:lnTo>
                    <a:lnTo>
                      <a:pt x="234" y="304"/>
                    </a:lnTo>
                    <a:lnTo>
                      <a:pt x="244" y="308"/>
                    </a:lnTo>
                    <a:lnTo>
                      <a:pt x="256" y="308"/>
                    </a:lnTo>
                    <a:lnTo>
                      <a:pt x="280" y="308"/>
                    </a:lnTo>
                    <a:lnTo>
                      <a:pt x="302" y="306"/>
                    </a:lnTo>
                    <a:lnTo>
                      <a:pt x="302" y="306"/>
                    </a:lnTo>
                    <a:lnTo>
                      <a:pt x="310" y="306"/>
                    </a:lnTo>
                    <a:lnTo>
                      <a:pt x="316" y="310"/>
                    </a:lnTo>
                    <a:lnTo>
                      <a:pt x="318" y="318"/>
                    </a:lnTo>
                    <a:lnTo>
                      <a:pt x="320" y="326"/>
                    </a:lnTo>
                    <a:lnTo>
                      <a:pt x="318" y="338"/>
                    </a:lnTo>
                    <a:lnTo>
                      <a:pt x="314" y="348"/>
                    </a:lnTo>
                    <a:lnTo>
                      <a:pt x="308" y="360"/>
                    </a:lnTo>
                    <a:lnTo>
                      <a:pt x="300" y="370"/>
                    </a:lnTo>
                    <a:lnTo>
                      <a:pt x="300" y="370"/>
                    </a:lnTo>
                    <a:lnTo>
                      <a:pt x="290" y="380"/>
                    </a:lnTo>
                    <a:lnTo>
                      <a:pt x="280" y="384"/>
                    </a:lnTo>
                    <a:lnTo>
                      <a:pt x="268" y="386"/>
                    </a:lnTo>
                    <a:lnTo>
                      <a:pt x="254" y="386"/>
                    </a:lnTo>
                    <a:lnTo>
                      <a:pt x="224" y="382"/>
                    </a:lnTo>
                    <a:lnTo>
                      <a:pt x="206" y="382"/>
                    </a:lnTo>
                    <a:lnTo>
                      <a:pt x="188" y="384"/>
                    </a:lnTo>
                    <a:lnTo>
                      <a:pt x="188" y="384"/>
                    </a:lnTo>
                    <a:lnTo>
                      <a:pt x="172" y="388"/>
                    </a:lnTo>
                    <a:lnTo>
                      <a:pt x="162" y="392"/>
                    </a:lnTo>
                    <a:lnTo>
                      <a:pt x="154" y="396"/>
                    </a:lnTo>
                    <a:lnTo>
                      <a:pt x="150" y="400"/>
                    </a:lnTo>
                    <a:lnTo>
                      <a:pt x="142" y="404"/>
                    </a:lnTo>
                    <a:lnTo>
                      <a:pt x="130" y="408"/>
                    </a:lnTo>
                    <a:lnTo>
                      <a:pt x="112" y="412"/>
                    </a:lnTo>
                    <a:lnTo>
                      <a:pt x="84" y="418"/>
                    </a:lnTo>
                    <a:lnTo>
                      <a:pt x="84" y="418"/>
                    </a:lnTo>
                    <a:lnTo>
                      <a:pt x="54" y="422"/>
                    </a:lnTo>
                    <a:lnTo>
                      <a:pt x="32" y="428"/>
                    </a:lnTo>
                    <a:lnTo>
                      <a:pt x="16" y="434"/>
                    </a:lnTo>
                    <a:lnTo>
                      <a:pt x="4" y="440"/>
                    </a:lnTo>
                    <a:lnTo>
                      <a:pt x="0" y="448"/>
                    </a:lnTo>
                    <a:lnTo>
                      <a:pt x="0" y="456"/>
                    </a:lnTo>
                    <a:lnTo>
                      <a:pt x="4" y="464"/>
                    </a:lnTo>
                    <a:lnTo>
                      <a:pt x="12" y="472"/>
                    </a:lnTo>
                    <a:lnTo>
                      <a:pt x="12" y="472"/>
                    </a:lnTo>
                    <a:lnTo>
                      <a:pt x="20" y="478"/>
                    </a:lnTo>
                    <a:lnTo>
                      <a:pt x="28" y="482"/>
                    </a:lnTo>
                    <a:lnTo>
                      <a:pt x="38" y="484"/>
                    </a:lnTo>
                    <a:lnTo>
                      <a:pt x="48" y="484"/>
                    </a:lnTo>
                    <a:lnTo>
                      <a:pt x="52" y="486"/>
                    </a:lnTo>
                    <a:lnTo>
                      <a:pt x="56" y="490"/>
                    </a:lnTo>
                    <a:lnTo>
                      <a:pt x="56" y="490"/>
                    </a:lnTo>
                    <a:lnTo>
                      <a:pt x="62" y="494"/>
                    </a:lnTo>
                    <a:lnTo>
                      <a:pt x="68" y="496"/>
                    </a:lnTo>
                    <a:lnTo>
                      <a:pt x="78" y="496"/>
                    </a:lnTo>
                    <a:lnTo>
                      <a:pt x="88" y="496"/>
                    </a:lnTo>
                    <a:lnTo>
                      <a:pt x="92" y="498"/>
                    </a:lnTo>
                    <a:lnTo>
                      <a:pt x="96" y="502"/>
                    </a:lnTo>
                    <a:lnTo>
                      <a:pt x="96" y="502"/>
                    </a:lnTo>
                    <a:lnTo>
                      <a:pt x="102" y="506"/>
                    </a:lnTo>
                    <a:lnTo>
                      <a:pt x="108" y="510"/>
                    </a:lnTo>
                    <a:lnTo>
                      <a:pt x="116" y="514"/>
                    </a:lnTo>
                    <a:lnTo>
                      <a:pt x="124" y="514"/>
                    </a:lnTo>
                    <a:lnTo>
                      <a:pt x="144" y="516"/>
                    </a:lnTo>
                    <a:lnTo>
                      <a:pt x="174" y="516"/>
                    </a:lnTo>
                    <a:lnTo>
                      <a:pt x="174" y="516"/>
                    </a:lnTo>
                    <a:lnTo>
                      <a:pt x="192" y="516"/>
                    </a:lnTo>
                    <a:lnTo>
                      <a:pt x="208" y="514"/>
                    </a:lnTo>
                    <a:lnTo>
                      <a:pt x="238" y="508"/>
                    </a:lnTo>
                    <a:lnTo>
                      <a:pt x="250" y="506"/>
                    </a:lnTo>
                    <a:lnTo>
                      <a:pt x="260" y="506"/>
                    </a:lnTo>
                    <a:lnTo>
                      <a:pt x="268" y="506"/>
                    </a:lnTo>
                    <a:lnTo>
                      <a:pt x="272" y="512"/>
                    </a:lnTo>
                    <a:lnTo>
                      <a:pt x="272" y="512"/>
                    </a:lnTo>
                    <a:lnTo>
                      <a:pt x="272" y="516"/>
                    </a:lnTo>
                    <a:lnTo>
                      <a:pt x="268" y="520"/>
                    </a:lnTo>
                    <a:lnTo>
                      <a:pt x="260" y="524"/>
                    </a:lnTo>
                    <a:lnTo>
                      <a:pt x="248" y="524"/>
                    </a:lnTo>
                    <a:lnTo>
                      <a:pt x="174" y="528"/>
                    </a:lnTo>
                    <a:lnTo>
                      <a:pt x="174" y="528"/>
                    </a:lnTo>
                    <a:lnTo>
                      <a:pt x="128" y="534"/>
                    </a:lnTo>
                    <a:lnTo>
                      <a:pt x="106" y="538"/>
                    </a:lnTo>
                    <a:lnTo>
                      <a:pt x="86" y="542"/>
                    </a:lnTo>
                    <a:lnTo>
                      <a:pt x="72" y="546"/>
                    </a:lnTo>
                    <a:lnTo>
                      <a:pt x="62" y="552"/>
                    </a:lnTo>
                    <a:lnTo>
                      <a:pt x="60" y="554"/>
                    </a:lnTo>
                    <a:lnTo>
                      <a:pt x="62" y="558"/>
                    </a:lnTo>
                    <a:lnTo>
                      <a:pt x="64" y="562"/>
                    </a:lnTo>
                    <a:lnTo>
                      <a:pt x="68" y="564"/>
                    </a:lnTo>
                    <a:lnTo>
                      <a:pt x="68" y="564"/>
                    </a:lnTo>
                    <a:lnTo>
                      <a:pt x="84" y="570"/>
                    </a:lnTo>
                    <a:lnTo>
                      <a:pt x="102" y="574"/>
                    </a:lnTo>
                    <a:lnTo>
                      <a:pt x="140" y="580"/>
                    </a:lnTo>
                    <a:lnTo>
                      <a:pt x="154" y="584"/>
                    </a:lnTo>
                    <a:lnTo>
                      <a:pt x="162" y="586"/>
                    </a:lnTo>
                    <a:lnTo>
                      <a:pt x="162" y="588"/>
                    </a:lnTo>
                    <a:lnTo>
                      <a:pt x="160" y="590"/>
                    </a:lnTo>
                    <a:lnTo>
                      <a:pt x="148" y="594"/>
                    </a:lnTo>
                    <a:lnTo>
                      <a:pt x="148" y="594"/>
                    </a:lnTo>
                    <a:lnTo>
                      <a:pt x="136" y="598"/>
                    </a:lnTo>
                    <a:lnTo>
                      <a:pt x="132" y="602"/>
                    </a:lnTo>
                    <a:lnTo>
                      <a:pt x="132" y="604"/>
                    </a:lnTo>
                    <a:lnTo>
                      <a:pt x="132" y="606"/>
                    </a:lnTo>
                    <a:lnTo>
                      <a:pt x="136" y="608"/>
                    </a:lnTo>
                    <a:lnTo>
                      <a:pt x="146" y="614"/>
                    </a:lnTo>
                    <a:lnTo>
                      <a:pt x="182" y="624"/>
                    </a:lnTo>
                    <a:lnTo>
                      <a:pt x="224" y="636"/>
                    </a:lnTo>
                    <a:lnTo>
                      <a:pt x="224" y="636"/>
                    </a:lnTo>
                    <a:lnTo>
                      <a:pt x="242" y="642"/>
                    </a:lnTo>
                    <a:lnTo>
                      <a:pt x="248" y="642"/>
                    </a:lnTo>
                    <a:lnTo>
                      <a:pt x="248" y="642"/>
                    </a:lnTo>
                    <a:lnTo>
                      <a:pt x="248" y="640"/>
                    </a:lnTo>
                    <a:lnTo>
                      <a:pt x="242" y="634"/>
                    </a:lnTo>
                    <a:lnTo>
                      <a:pt x="230" y="622"/>
                    </a:lnTo>
                    <a:lnTo>
                      <a:pt x="228" y="618"/>
                    </a:lnTo>
                    <a:lnTo>
                      <a:pt x="228" y="616"/>
                    </a:lnTo>
                    <a:lnTo>
                      <a:pt x="232" y="614"/>
                    </a:lnTo>
                    <a:lnTo>
                      <a:pt x="232" y="614"/>
                    </a:lnTo>
                    <a:lnTo>
                      <a:pt x="238" y="612"/>
                    </a:lnTo>
                    <a:lnTo>
                      <a:pt x="242" y="614"/>
                    </a:lnTo>
                    <a:lnTo>
                      <a:pt x="246" y="620"/>
                    </a:lnTo>
                    <a:lnTo>
                      <a:pt x="250" y="622"/>
                    </a:lnTo>
                    <a:lnTo>
                      <a:pt x="254" y="622"/>
                    </a:lnTo>
                    <a:lnTo>
                      <a:pt x="262" y="622"/>
                    </a:lnTo>
                    <a:lnTo>
                      <a:pt x="272" y="618"/>
                    </a:lnTo>
                    <a:lnTo>
                      <a:pt x="272" y="618"/>
                    </a:lnTo>
                    <a:lnTo>
                      <a:pt x="282" y="614"/>
                    </a:lnTo>
                    <a:lnTo>
                      <a:pt x="286" y="614"/>
                    </a:lnTo>
                    <a:lnTo>
                      <a:pt x="286" y="616"/>
                    </a:lnTo>
                    <a:lnTo>
                      <a:pt x="286" y="618"/>
                    </a:lnTo>
                    <a:lnTo>
                      <a:pt x="284" y="622"/>
                    </a:lnTo>
                    <a:lnTo>
                      <a:pt x="286" y="626"/>
                    </a:lnTo>
                    <a:lnTo>
                      <a:pt x="290" y="630"/>
                    </a:lnTo>
                    <a:lnTo>
                      <a:pt x="300" y="630"/>
                    </a:lnTo>
                    <a:lnTo>
                      <a:pt x="300" y="630"/>
                    </a:lnTo>
                    <a:lnTo>
                      <a:pt x="312" y="630"/>
                    </a:lnTo>
                    <a:lnTo>
                      <a:pt x="320" y="626"/>
                    </a:lnTo>
                    <a:lnTo>
                      <a:pt x="326" y="622"/>
                    </a:lnTo>
                    <a:lnTo>
                      <a:pt x="330" y="618"/>
                    </a:lnTo>
                    <a:lnTo>
                      <a:pt x="334" y="616"/>
                    </a:lnTo>
                    <a:lnTo>
                      <a:pt x="338" y="614"/>
                    </a:lnTo>
                    <a:lnTo>
                      <a:pt x="344" y="614"/>
                    </a:lnTo>
                    <a:lnTo>
                      <a:pt x="350" y="620"/>
                    </a:lnTo>
                    <a:lnTo>
                      <a:pt x="350" y="620"/>
                    </a:lnTo>
                    <a:lnTo>
                      <a:pt x="358" y="624"/>
                    </a:lnTo>
                    <a:lnTo>
                      <a:pt x="364" y="624"/>
                    </a:lnTo>
                    <a:lnTo>
                      <a:pt x="368" y="622"/>
                    </a:lnTo>
                    <a:lnTo>
                      <a:pt x="370" y="618"/>
                    </a:lnTo>
                    <a:lnTo>
                      <a:pt x="374" y="614"/>
                    </a:lnTo>
                    <a:lnTo>
                      <a:pt x="380" y="610"/>
                    </a:lnTo>
                    <a:lnTo>
                      <a:pt x="386" y="610"/>
                    </a:lnTo>
                    <a:lnTo>
                      <a:pt x="396" y="612"/>
                    </a:lnTo>
                    <a:lnTo>
                      <a:pt x="396" y="612"/>
                    </a:lnTo>
                    <a:lnTo>
                      <a:pt x="408" y="616"/>
                    </a:lnTo>
                    <a:lnTo>
                      <a:pt x="420" y="618"/>
                    </a:lnTo>
                    <a:lnTo>
                      <a:pt x="446" y="618"/>
                    </a:lnTo>
                    <a:lnTo>
                      <a:pt x="468" y="620"/>
                    </a:lnTo>
                    <a:lnTo>
                      <a:pt x="476" y="622"/>
                    </a:lnTo>
                    <a:lnTo>
                      <a:pt x="484" y="628"/>
                    </a:lnTo>
                    <a:lnTo>
                      <a:pt x="484" y="628"/>
                    </a:lnTo>
                    <a:lnTo>
                      <a:pt x="488" y="632"/>
                    </a:lnTo>
                    <a:lnTo>
                      <a:pt x="492" y="634"/>
                    </a:lnTo>
                    <a:lnTo>
                      <a:pt x="500" y="634"/>
                    </a:lnTo>
                    <a:lnTo>
                      <a:pt x="506" y="634"/>
                    </a:lnTo>
                    <a:lnTo>
                      <a:pt x="512" y="634"/>
                    </a:lnTo>
                    <a:lnTo>
                      <a:pt x="522" y="638"/>
                    </a:lnTo>
                    <a:lnTo>
                      <a:pt x="534" y="642"/>
                    </a:lnTo>
                    <a:lnTo>
                      <a:pt x="534" y="642"/>
                    </a:lnTo>
                    <a:lnTo>
                      <a:pt x="560" y="654"/>
                    </a:lnTo>
                    <a:lnTo>
                      <a:pt x="578" y="664"/>
                    </a:lnTo>
                    <a:lnTo>
                      <a:pt x="584" y="666"/>
                    </a:lnTo>
                    <a:lnTo>
                      <a:pt x="584" y="670"/>
                    </a:lnTo>
                    <a:lnTo>
                      <a:pt x="584" y="674"/>
                    </a:lnTo>
                    <a:lnTo>
                      <a:pt x="578" y="680"/>
                    </a:lnTo>
                    <a:lnTo>
                      <a:pt x="578" y="680"/>
                    </a:lnTo>
                    <a:lnTo>
                      <a:pt x="576" y="684"/>
                    </a:lnTo>
                    <a:lnTo>
                      <a:pt x="576" y="688"/>
                    </a:lnTo>
                    <a:lnTo>
                      <a:pt x="578" y="692"/>
                    </a:lnTo>
                    <a:lnTo>
                      <a:pt x="582" y="696"/>
                    </a:lnTo>
                    <a:lnTo>
                      <a:pt x="596" y="704"/>
                    </a:lnTo>
                    <a:lnTo>
                      <a:pt x="612" y="714"/>
                    </a:lnTo>
                    <a:lnTo>
                      <a:pt x="642" y="734"/>
                    </a:lnTo>
                    <a:lnTo>
                      <a:pt x="652" y="742"/>
                    </a:lnTo>
                    <a:lnTo>
                      <a:pt x="654" y="746"/>
                    </a:lnTo>
                    <a:lnTo>
                      <a:pt x="654" y="750"/>
                    </a:lnTo>
                    <a:lnTo>
                      <a:pt x="654" y="750"/>
                    </a:lnTo>
                    <a:lnTo>
                      <a:pt x="650" y="756"/>
                    </a:lnTo>
                    <a:lnTo>
                      <a:pt x="644" y="764"/>
                    </a:lnTo>
                    <a:lnTo>
                      <a:pt x="632" y="776"/>
                    </a:lnTo>
                    <a:lnTo>
                      <a:pt x="628" y="780"/>
                    </a:lnTo>
                    <a:lnTo>
                      <a:pt x="628" y="782"/>
                    </a:lnTo>
                    <a:lnTo>
                      <a:pt x="632" y="784"/>
                    </a:lnTo>
                    <a:lnTo>
                      <a:pt x="642" y="780"/>
                    </a:lnTo>
                    <a:lnTo>
                      <a:pt x="642" y="780"/>
                    </a:lnTo>
                    <a:lnTo>
                      <a:pt x="660" y="776"/>
                    </a:lnTo>
                    <a:lnTo>
                      <a:pt x="666" y="776"/>
                    </a:lnTo>
                    <a:lnTo>
                      <a:pt x="668" y="776"/>
                    </a:lnTo>
                    <a:lnTo>
                      <a:pt x="670" y="782"/>
                    </a:lnTo>
                    <a:lnTo>
                      <a:pt x="674" y="786"/>
                    </a:lnTo>
                    <a:lnTo>
                      <a:pt x="678" y="790"/>
                    </a:lnTo>
                    <a:lnTo>
                      <a:pt x="678" y="790"/>
                    </a:lnTo>
                    <a:lnTo>
                      <a:pt x="684" y="794"/>
                    </a:lnTo>
                    <a:lnTo>
                      <a:pt x="686" y="798"/>
                    </a:lnTo>
                    <a:lnTo>
                      <a:pt x="684" y="802"/>
                    </a:lnTo>
                    <a:lnTo>
                      <a:pt x="682" y="806"/>
                    </a:lnTo>
                    <a:lnTo>
                      <a:pt x="680" y="810"/>
                    </a:lnTo>
                    <a:lnTo>
                      <a:pt x="680" y="814"/>
                    </a:lnTo>
                    <a:lnTo>
                      <a:pt x="686" y="818"/>
                    </a:lnTo>
                    <a:lnTo>
                      <a:pt x="696" y="824"/>
                    </a:lnTo>
                    <a:lnTo>
                      <a:pt x="696" y="824"/>
                    </a:lnTo>
                    <a:lnTo>
                      <a:pt x="704" y="828"/>
                    </a:lnTo>
                    <a:lnTo>
                      <a:pt x="708" y="834"/>
                    </a:lnTo>
                    <a:lnTo>
                      <a:pt x="706" y="838"/>
                    </a:lnTo>
                    <a:lnTo>
                      <a:pt x="702" y="844"/>
                    </a:lnTo>
                    <a:lnTo>
                      <a:pt x="700" y="850"/>
                    </a:lnTo>
                    <a:lnTo>
                      <a:pt x="698" y="854"/>
                    </a:lnTo>
                    <a:lnTo>
                      <a:pt x="702" y="858"/>
                    </a:lnTo>
                    <a:lnTo>
                      <a:pt x="710" y="862"/>
                    </a:lnTo>
                    <a:lnTo>
                      <a:pt x="710" y="862"/>
                    </a:lnTo>
                    <a:lnTo>
                      <a:pt x="720" y="864"/>
                    </a:lnTo>
                    <a:lnTo>
                      <a:pt x="726" y="870"/>
                    </a:lnTo>
                    <a:lnTo>
                      <a:pt x="730" y="876"/>
                    </a:lnTo>
                    <a:lnTo>
                      <a:pt x="730" y="882"/>
                    </a:lnTo>
                    <a:lnTo>
                      <a:pt x="728" y="888"/>
                    </a:lnTo>
                    <a:lnTo>
                      <a:pt x="722" y="894"/>
                    </a:lnTo>
                    <a:lnTo>
                      <a:pt x="716" y="898"/>
                    </a:lnTo>
                    <a:lnTo>
                      <a:pt x="706" y="902"/>
                    </a:lnTo>
                    <a:lnTo>
                      <a:pt x="706" y="902"/>
                    </a:lnTo>
                    <a:lnTo>
                      <a:pt x="698" y="904"/>
                    </a:lnTo>
                    <a:lnTo>
                      <a:pt x="694" y="906"/>
                    </a:lnTo>
                    <a:lnTo>
                      <a:pt x="690" y="910"/>
                    </a:lnTo>
                    <a:lnTo>
                      <a:pt x="690" y="916"/>
                    </a:lnTo>
                    <a:lnTo>
                      <a:pt x="690" y="922"/>
                    </a:lnTo>
                    <a:lnTo>
                      <a:pt x="694" y="928"/>
                    </a:lnTo>
                    <a:lnTo>
                      <a:pt x="704" y="942"/>
                    </a:lnTo>
                    <a:lnTo>
                      <a:pt x="704" y="942"/>
                    </a:lnTo>
                    <a:lnTo>
                      <a:pt x="708" y="948"/>
                    </a:lnTo>
                    <a:lnTo>
                      <a:pt x="708" y="952"/>
                    </a:lnTo>
                    <a:lnTo>
                      <a:pt x="704" y="956"/>
                    </a:lnTo>
                    <a:lnTo>
                      <a:pt x="698" y="956"/>
                    </a:lnTo>
                    <a:lnTo>
                      <a:pt x="686" y="960"/>
                    </a:lnTo>
                    <a:lnTo>
                      <a:pt x="682" y="960"/>
                    </a:lnTo>
                    <a:lnTo>
                      <a:pt x="684" y="964"/>
                    </a:lnTo>
                    <a:lnTo>
                      <a:pt x="684" y="964"/>
                    </a:lnTo>
                    <a:lnTo>
                      <a:pt x="690" y="972"/>
                    </a:lnTo>
                    <a:lnTo>
                      <a:pt x="696" y="980"/>
                    </a:lnTo>
                    <a:lnTo>
                      <a:pt x="698" y="984"/>
                    </a:lnTo>
                    <a:lnTo>
                      <a:pt x="702" y="986"/>
                    </a:lnTo>
                    <a:lnTo>
                      <a:pt x="706" y="986"/>
                    </a:lnTo>
                    <a:lnTo>
                      <a:pt x="710" y="984"/>
                    </a:lnTo>
                    <a:lnTo>
                      <a:pt x="710" y="984"/>
                    </a:lnTo>
                    <a:lnTo>
                      <a:pt x="716" y="984"/>
                    </a:lnTo>
                    <a:lnTo>
                      <a:pt x="722" y="984"/>
                    </a:lnTo>
                    <a:lnTo>
                      <a:pt x="738" y="988"/>
                    </a:lnTo>
                    <a:lnTo>
                      <a:pt x="744" y="990"/>
                    </a:lnTo>
                    <a:lnTo>
                      <a:pt x="752" y="988"/>
                    </a:lnTo>
                    <a:lnTo>
                      <a:pt x="758" y="984"/>
                    </a:lnTo>
                    <a:lnTo>
                      <a:pt x="764" y="974"/>
                    </a:lnTo>
                    <a:lnTo>
                      <a:pt x="764" y="974"/>
                    </a:lnTo>
                    <a:lnTo>
                      <a:pt x="768" y="970"/>
                    </a:lnTo>
                    <a:lnTo>
                      <a:pt x="770" y="966"/>
                    </a:lnTo>
                    <a:lnTo>
                      <a:pt x="780" y="960"/>
                    </a:lnTo>
                    <a:lnTo>
                      <a:pt x="790" y="960"/>
                    </a:lnTo>
                    <a:lnTo>
                      <a:pt x="800" y="960"/>
                    </a:lnTo>
                    <a:lnTo>
                      <a:pt x="808" y="962"/>
                    </a:lnTo>
                    <a:lnTo>
                      <a:pt x="816" y="966"/>
                    </a:lnTo>
                    <a:lnTo>
                      <a:pt x="818" y="970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2" y="978"/>
                    </a:lnTo>
                    <a:lnTo>
                      <a:pt x="810" y="980"/>
                    </a:lnTo>
                    <a:lnTo>
                      <a:pt x="812" y="982"/>
                    </a:lnTo>
                    <a:lnTo>
                      <a:pt x="818" y="982"/>
                    </a:lnTo>
                    <a:lnTo>
                      <a:pt x="822" y="984"/>
                    </a:lnTo>
                    <a:lnTo>
                      <a:pt x="828" y="986"/>
                    </a:lnTo>
                    <a:lnTo>
                      <a:pt x="828" y="990"/>
                    </a:lnTo>
                    <a:lnTo>
                      <a:pt x="826" y="994"/>
                    </a:lnTo>
                    <a:lnTo>
                      <a:pt x="826" y="994"/>
                    </a:lnTo>
                    <a:lnTo>
                      <a:pt x="824" y="998"/>
                    </a:lnTo>
                    <a:lnTo>
                      <a:pt x="824" y="1000"/>
                    </a:lnTo>
                    <a:lnTo>
                      <a:pt x="828" y="1006"/>
                    </a:lnTo>
                    <a:lnTo>
                      <a:pt x="836" y="1010"/>
                    </a:lnTo>
                    <a:lnTo>
                      <a:pt x="846" y="1014"/>
                    </a:lnTo>
                    <a:lnTo>
                      <a:pt x="866" y="1020"/>
                    </a:lnTo>
                    <a:lnTo>
                      <a:pt x="872" y="1022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68" y="1034"/>
                    </a:lnTo>
                    <a:lnTo>
                      <a:pt x="866" y="1040"/>
                    </a:lnTo>
                    <a:lnTo>
                      <a:pt x="868" y="1044"/>
                    </a:lnTo>
                    <a:lnTo>
                      <a:pt x="874" y="1050"/>
                    </a:lnTo>
                    <a:lnTo>
                      <a:pt x="874" y="1050"/>
                    </a:lnTo>
                    <a:lnTo>
                      <a:pt x="874" y="1052"/>
                    </a:lnTo>
                    <a:lnTo>
                      <a:pt x="872" y="1054"/>
                    </a:lnTo>
                    <a:lnTo>
                      <a:pt x="862" y="1052"/>
                    </a:lnTo>
                    <a:lnTo>
                      <a:pt x="848" y="1048"/>
                    </a:lnTo>
                    <a:lnTo>
                      <a:pt x="832" y="1040"/>
                    </a:lnTo>
                    <a:lnTo>
                      <a:pt x="832" y="1040"/>
                    </a:lnTo>
                    <a:lnTo>
                      <a:pt x="822" y="1036"/>
                    </a:lnTo>
                    <a:lnTo>
                      <a:pt x="810" y="1032"/>
                    </a:lnTo>
                    <a:lnTo>
                      <a:pt x="784" y="1028"/>
                    </a:lnTo>
                    <a:lnTo>
                      <a:pt x="758" y="1028"/>
                    </a:lnTo>
                    <a:lnTo>
                      <a:pt x="748" y="1030"/>
                    </a:lnTo>
                    <a:lnTo>
                      <a:pt x="742" y="1032"/>
                    </a:lnTo>
                    <a:lnTo>
                      <a:pt x="742" y="1032"/>
                    </a:lnTo>
                    <a:lnTo>
                      <a:pt x="738" y="1036"/>
                    </a:lnTo>
                    <a:lnTo>
                      <a:pt x="740" y="1042"/>
                    </a:lnTo>
                    <a:lnTo>
                      <a:pt x="744" y="1046"/>
                    </a:lnTo>
                    <a:lnTo>
                      <a:pt x="750" y="1050"/>
                    </a:lnTo>
                    <a:lnTo>
                      <a:pt x="764" y="1056"/>
                    </a:lnTo>
                    <a:lnTo>
                      <a:pt x="782" y="1060"/>
                    </a:lnTo>
                    <a:lnTo>
                      <a:pt x="782" y="1060"/>
                    </a:lnTo>
                    <a:lnTo>
                      <a:pt x="796" y="1060"/>
                    </a:lnTo>
                    <a:lnTo>
                      <a:pt x="804" y="1064"/>
                    </a:lnTo>
                    <a:lnTo>
                      <a:pt x="810" y="1068"/>
                    </a:lnTo>
                    <a:lnTo>
                      <a:pt x="816" y="1072"/>
                    </a:lnTo>
                    <a:lnTo>
                      <a:pt x="820" y="1078"/>
                    </a:lnTo>
                    <a:lnTo>
                      <a:pt x="824" y="1082"/>
                    </a:lnTo>
                    <a:lnTo>
                      <a:pt x="832" y="1086"/>
                    </a:lnTo>
                    <a:lnTo>
                      <a:pt x="844" y="1088"/>
                    </a:lnTo>
                    <a:lnTo>
                      <a:pt x="844" y="1088"/>
                    </a:lnTo>
                    <a:lnTo>
                      <a:pt x="856" y="1090"/>
                    </a:lnTo>
                    <a:lnTo>
                      <a:pt x="864" y="1092"/>
                    </a:lnTo>
                    <a:lnTo>
                      <a:pt x="868" y="1096"/>
                    </a:lnTo>
                    <a:lnTo>
                      <a:pt x="870" y="1098"/>
                    </a:lnTo>
                    <a:lnTo>
                      <a:pt x="866" y="1108"/>
                    </a:lnTo>
                    <a:lnTo>
                      <a:pt x="866" y="1112"/>
                    </a:lnTo>
                    <a:lnTo>
                      <a:pt x="868" y="1118"/>
                    </a:lnTo>
                    <a:lnTo>
                      <a:pt x="868" y="1118"/>
                    </a:lnTo>
                    <a:lnTo>
                      <a:pt x="872" y="1122"/>
                    </a:lnTo>
                    <a:lnTo>
                      <a:pt x="876" y="1120"/>
                    </a:lnTo>
                    <a:lnTo>
                      <a:pt x="880" y="1118"/>
                    </a:lnTo>
                    <a:lnTo>
                      <a:pt x="882" y="1114"/>
                    </a:lnTo>
                    <a:lnTo>
                      <a:pt x="888" y="1106"/>
                    </a:lnTo>
                    <a:lnTo>
                      <a:pt x="888" y="1106"/>
                    </a:lnTo>
                    <a:lnTo>
                      <a:pt x="890" y="1110"/>
                    </a:lnTo>
                    <a:lnTo>
                      <a:pt x="890" y="1110"/>
                    </a:lnTo>
                    <a:lnTo>
                      <a:pt x="888" y="1116"/>
                    </a:lnTo>
                    <a:lnTo>
                      <a:pt x="888" y="1122"/>
                    </a:lnTo>
                    <a:lnTo>
                      <a:pt x="882" y="1134"/>
                    </a:lnTo>
                    <a:lnTo>
                      <a:pt x="876" y="1148"/>
                    </a:lnTo>
                    <a:lnTo>
                      <a:pt x="872" y="1164"/>
                    </a:lnTo>
                    <a:lnTo>
                      <a:pt x="872" y="1164"/>
                    </a:lnTo>
                    <a:lnTo>
                      <a:pt x="870" y="1170"/>
                    </a:lnTo>
                    <a:lnTo>
                      <a:pt x="872" y="1176"/>
                    </a:lnTo>
                    <a:lnTo>
                      <a:pt x="876" y="1182"/>
                    </a:lnTo>
                    <a:lnTo>
                      <a:pt x="876" y="1184"/>
                    </a:lnTo>
                    <a:lnTo>
                      <a:pt x="876" y="1186"/>
                    </a:lnTo>
                    <a:lnTo>
                      <a:pt x="866" y="1192"/>
                    </a:lnTo>
                    <a:lnTo>
                      <a:pt x="866" y="1192"/>
                    </a:lnTo>
                    <a:lnTo>
                      <a:pt x="858" y="1194"/>
                    </a:lnTo>
                    <a:lnTo>
                      <a:pt x="850" y="1196"/>
                    </a:lnTo>
                    <a:lnTo>
                      <a:pt x="838" y="1192"/>
                    </a:lnTo>
                    <a:lnTo>
                      <a:pt x="828" y="1190"/>
                    </a:lnTo>
                    <a:lnTo>
                      <a:pt x="822" y="1190"/>
                    </a:lnTo>
                    <a:lnTo>
                      <a:pt x="818" y="1194"/>
                    </a:lnTo>
                    <a:lnTo>
                      <a:pt x="818" y="1194"/>
                    </a:lnTo>
                    <a:lnTo>
                      <a:pt x="812" y="1196"/>
                    </a:lnTo>
                    <a:lnTo>
                      <a:pt x="806" y="1198"/>
                    </a:lnTo>
                    <a:lnTo>
                      <a:pt x="796" y="1202"/>
                    </a:lnTo>
                    <a:lnTo>
                      <a:pt x="788" y="1204"/>
                    </a:lnTo>
                    <a:lnTo>
                      <a:pt x="786" y="1206"/>
                    </a:lnTo>
                    <a:lnTo>
                      <a:pt x="788" y="1210"/>
                    </a:lnTo>
                    <a:lnTo>
                      <a:pt x="788" y="1210"/>
                    </a:lnTo>
                    <a:lnTo>
                      <a:pt x="788" y="1212"/>
                    </a:lnTo>
                    <a:lnTo>
                      <a:pt x="788" y="1214"/>
                    </a:lnTo>
                    <a:lnTo>
                      <a:pt x="784" y="1214"/>
                    </a:lnTo>
                    <a:lnTo>
                      <a:pt x="784" y="1216"/>
                    </a:lnTo>
                    <a:lnTo>
                      <a:pt x="784" y="1216"/>
                    </a:lnTo>
                    <a:lnTo>
                      <a:pt x="790" y="1222"/>
                    </a:lnTo>
                    <a:lnTo>
                      <a:pt x="790" y="1222"/>
                    </a:lnTo>
                    <a:lnTo>
                      <a:pt x="794" y="1226"/>
                    </a:lnTo>
                    <a:lnTo>
                      <a:pt x="794" y="1228"/>
                    </a:lnTo>
                    <a:lnTo>
                      <a:pt x="792" y="1232"/>
                    </a:lnTo>
                    <a:lnTo>
                      <a:pt x="788" y="1234"/>
                    </a:lnTo>
                    <a:lnTo>
                      <a:pt x="778" y="1240"/>
                    </a:lnTo>
                    <a:lnTo>
                      <a:pt x="774" y="1242"/>
                    </a:lnTo>
                    <a:lnTo>
                      <a:pt x="774" y="1246"/>
                    </a:lnTo>
                    <a:lnTo>
                      <a:pt x="774" y="1246"/>
                    </a:lnTo>
                    <a:lnTo>
                      <a:pt x="774" y="1252"/>
                    </a:lnTo>
                    <a:lnTo>
                      <a:pt x="772" y="1260"/>
                    </a:lnTo>
                    <a:lnTo>
                      <a:pt x="762" y="1284"/>
                    </a:lnTo>
                    <a:lnTo>
                      <a:pt x="762" y="1284"/>
                    </a:lnTo>
                    <a:lnTo>
                      <a:pt x="762" y="1292"/>
                    </a:lnTo>
                    <a:lnTo>
                      <a:pt x="762" y="1296"/>
                    </a:lnTo>
                    <a:lnTo>
                      <a:pt x="766" y="1300"/>
                    </a:lnTo>
                    <a:lnTo>
                      <a:pt x="772" y="1302"/>
                    </a:lnTo>
                    <a:lnTo>
                      <a:pt x="788" y="1306"/>
                    </a:lnTo>
                    <a:lnTo>
                      <a:pt x="810" y="1306"/>
                    </a:lnTo>
                    <a:lnTo>
                      <a:pt x="810" y="1306"/>
                    </a:lnTo>
                    <a:lnTo>
                      <a:pt x="800" y="1312"/>
                    </a:lnTo>
                    <a:lnTo>
                      <a:pt x="790" y="1320"/>
                    </a:lnTo>
                    <a:lnTo>
                      <a:pt x="782" y="1328"/>
                    </a:lnTo>
                    <a:lnTo>
                      <a:pt x="776" y="1338"/>
                    </a:lnTo>
                    <a:lnTo>
                      <a:pt x="772" y="1346"/>
                    </a:lnTo>
                    <a:lnTo>
                      <a:pt x="772" y="1354"/>
                    </a:lnTo>
                    <a:lnTo>
                      <a:pt x="774" y="1362"/>
                    </a:lnTo>
                    <a:lnTo>
                      <a:pt x="780" y="1368"/>
                    </a:lnTo>
                    <a:lnTo>
                      <a:pt x="780" y="1368"/>
                    </a:lnTo>
                    <a:lnTo>
                      <a:pt x="786" y="1374"/>
                    </a:lnTo>
                    <a:lnTo>
                      <a:pt x="790" y="1378"/>
                    </a:lnTo>
                    <a:lnTo>
                      <a:pt x="792" y="1384"/>
                    </a:lnTo>
                    <a:lnTo>
                      <a:pt x="792" y="1390"/>
                    </a:lnTo>
                    <a:lnTo>
                      <a:pt x="792" y="1392"/>
                    </a:lnTo>
                    <a:lnTo>
                      <a:pt x="796" y="1392"/>
                    </a:lnTo>
                    <a:lnTo>
                      <a:pt x="796" y="1392"/>
                    </a:lnTo>
                    <a:lnTo>
                      <a:pt x="806" y="1394"/>
                    </a:lnTo>
                    <a:lnTo>
                      <a:pt x="812" y="1400"/>
                    </a:lnTo>
                    <a:lnTo>
                      <a:pt x="818" y="1406"/>
                    </a:lnTo>
                    <a:lnTo>
                      <a:pt x="818" y="1410"/>
                    </a:lnTo>
                    <a:lnTo>
                      <a:pt x="818" y="1414"/>
                    </a:lnTo>
                    <a:lnTo>
                      <a:pt x="818" y="1414"/>
                    </a:lnTo>
                    <a:lnTo>
                      <a:pt x="818" y="1420"/>
                    </a:lnTo>
                    <a:lnTo>
                      <a:pt x="818" y="1422"/>
                    </a:lnTo>
                    <a:lnTo>
                      <a:pt x="824" y="1426"/>
                    </a:lnTo>
                    <a:lnTo>
                      <a:pt x="828" y="1430"/>
                    </a:lnTo>
                    <a:lnTo>
                      <a:pt x="830" y="1434"/>
                    </a:lnTo>
                    <a:lnTo>
                      <a:pt x="830" y="1440"/>
                    </a:lnTo>
                    <a:lnTo>
                      <a:pt x="830" y="1440"/>
                    </a:lnTo>
                    <a:lnTo>
                      <a:pt x="830" y="1450"/>
                    </a:lnTo>
                    <a:lnTo>
                      <a:pt x="834" y="1452"/>
                    </a:lnTo>
                    <a:lnTo>
                      <a:pt x="836" y="1454"/>
                    </a:lnTo>
                    <a:lnTo>
                      <a:pt x="836" y="1462"/>
                    </a:lnTo>
                    <a:lnTo>
                      <a:pt x="836" y="1462"/>
                    </a:lnTo>
                    <a:lnTo>
                      <a:pt x="836" y="1476"/>
                    </a:lnTo>
                    <a:lnTo>
                      <a:pt x="836" y="1482"/>
                    </a:lnTo>
                    <a:lnTo>
                      <a:pt x="840" y="1488"/>
                    </a:lnTo>
                    <a:lnTo>
                      <a:pt x="842" y="1490"/>
                    </a:lnTo>
                    <a:lnTo>
                      <a:pt x="848" y="1488"/>
                    </a:lnTo>
                    <a:lnTo>
                      <a:pt x="852" y="1482"/>
                    </a:lnTo>
                    <a:lnTo>
                      <a:pt x="860" y="1470"/>
                    </a:lnTo>
                    <a:lnTo>
                      <a:pt x="860" y="1470"/>
                    </a:lnTo>
                    <a:lnTo>
                      <a:pt x="870" y="1454"/>
                    </a:lnTo>
                    <a:lnTo>
                      <a:pt x="872" y="1454"/>
                    </a:lnTo>
                    <a:lnTo>
                      <a:pt x="874" y="1456"/>
                    </a:lnTo>
                    <a:lnTo>
                      <a:pt x="876" y="1462"/>
                    </a:lnTo>
                    <a:lnTo>
                      <a:pt x="878" y="1462"/>
                    </a:lnTo>
                    <a:lnTo>
                      <a:pt x="882" y="1460"/>
                    </a:lnTo>
                    <a:lnTo>
                      <a:pt x="882" y="1460"/>
                    </a:lnTo>
                    <a:lnTo>
                      <a:pt x="888" y="1456"/>
                    </a:lnTo>
                    <a:lnTo>
                      <a:pt x="894" y="1454"/>
                    </a:lnTo>
                    <a:lnTo>
                      <a:pt x="900" y="1452"/>
                    </a:lnTo>
                    <a:lnTo>
                      <a:pt x="906" y="1454"/>
                    </a:lnTo>
                    <a:lnTo>
                      <a:pt x="912" y="1456"/>
                    </a:lnTo>
                    <a:lnTo>
                      <a:pt x="916" y="1458"/>
                    </a:lnTo>
                    <a:lnTo>
                      <a:pt x="918" y="1464"/>
                    </a:lnTo>
                    <a:lnTo>
                      <a:pt x="920" y="1470"/>
                    </a:lnTo>
                    <a:lnTo>
                      <a:pt x="920" y="1470"/>
                    </a:lnTo>
                    <a:lnTo>
                      <a:pt x="922" y="1474"/>
                    </a:lnTo>
                    <a:lnTo>
                      <a:pt x="920" y="1474"/>
                    </a:lnTo>
                    <a:lnTo>
                      <a:pt x="912" y="1470"/>
                    </a:lnTo>
                    <a:lnTo>
                      <a:pt x="902" y="1464"/>
                    </a:lnTo>
                    <a:lnTo>
                      <a:pt x="896" y="1462"/>
                    </a:lnTo>
                    <a:lnTo>
                      <a:pt x="890" y="1464"/>
                    </a:lnTo>
                    <a:lnTo>
                      <a:pt x="890" y="1464"/>
                    </a:lnTo>
                    <a:lnTo>
                      <a:pt x="888" y="1466"/>
                    </a:lnTo>
                    <a:lnTo>
                      <a:pt x="888" y="1468"/>
                    </a:lnTo>
                    <a:lnTo>
                      <a:pt x="894" y="1474"/>
                    </a:lnTo>
                    <a:lnTo>
                      <a:pt x="898" y="1474"/>
                    </a:lnTo>
                    <a:lnTo>
                      <a:pt x="898" y="1476"/>
                    </a:lnTo>
                    <a:lnTo>
                      <a:pt x="896" y="1478"/>
                    </a:lnTo>
                    <a:lnTo>
                      <a:pt x="890" y="1478"/>
                    </a:lnTo>
                    <a:lnTo>
                      <a:pt x="890" y="1478"/>
                    </a:lnTo>
                    <a:lnTo>
                      <a:pt x="884" y="1480"/>
                    </a:lnTo>
                    <a:lnTo>
                      <a:pt x="880" y="1480"/>
                    </a:lnTo>
                    <a:lnTo>
                      <a:pt x="880" y="1484"/>
                    </a:lnTo>
                    <a:lnTo>
                      <a:pt x="880" y="1486"/>
                    </a:lnTo>
                    <a:lnTo>
                      <a:pt x="880" y="1488"/>
                    </a:lnTo>
                    <a:lnTo>
                      <a:pt x="880" y="1490"/>
                    </a:lnTo>
                    <a:lnTo>
                      <a:pt x="876" y="1492"/>
                    </a:lnTo>
                    <a:lnTo>
                      <a:pt x="868" y="1492"/>
                    </a:lnTo>
                    <a:lnTo>
                      <a:pt x="868" y="1492"/>
                    </a:lnTo>
                    <a:lnTo>
                      <a:pt x="856" y="1494"/>
                    </a:lnTo>
                    <a:lnTo>
                      <a:pt x="856" y="1496"/>
                    </a:lnTo>
                    <a:lnTo>
                      <a:pt x="856" y="1496"/>
                    </a:lnTo>
                    <a:lnTo>
                      <a:pt x="860" y="1500"/>
                    </a:lnTo>
                    <a:lnTo>
                      <a:pt x="860" y="1502"/>
                    </a:lnTo>
                    <a:lnTo>
                      <a:pt x="858" y="1504"/>
                    </a:lnTo>
                    <a:lnTo>
                      <a:pt x="858" y="1504"/>
                    </a:lnTo>
                    <a:lnTo>
                      <a:pt x="854" y="1506"/>
                    </a:lnTo>
                    <a:lnTo>
                      <a:pt x="854" y="1506"/>
                    </a:lnTo>
                    <a:lnTo>
                      <a:pt x="856" y="1510"/>
                    </a:lnTo>
                    <a:lnTo>
                      <a:pt x="860" y="1514"/>
                    </a:lnTo>
                    <a:lnTo>
                      <a:pt x="862" y="1516"/>
                    </a:lnTo>
                    <a:lnTo>
                      <a:pt x="860" y="1518"/>
                    </a:lnTo>
                    <a:lnTo>
                      <a:pt x="860" y="1518"/>
                    </a:lnTo>
                    <a:lnTo>
                      <a:pt x="860" y="1522"/>
                    </a:lnTo>
                    <a:lnTo>
                      <a:pt x="860" y="1526"/>
                    </a:lnTo>
                    <a:lnTo>
                      <a:pt x="862" y="1534"/>
                    </a:lnTo>
                    <a:lnTo>
                      <a:pt x="874" y="1554"/>
                    </a:lnTo>
                    <a:lnTo>
                      <a:pt x="874" y="1554"/>
                    </a:lnTo>
                    <a:lnTo>
                      <a:pt x="878" y="1558"/>
                    </a:lnTo>
                    <a:lnTo>
                      <a:pt x="882" y="1560"/>
                    </a:lnTo>
                    <a:lnTo>
                      <a:pt x="890" y="1562"/>
                    </a:lnTo>
                    <a:lnTo>
                      <a:pt x="898" y="1562"/>
                    </a:lnTo>
                    <a:lnTo>
                      <a:pt x="898" y="1564"/>
                    </a:lnTo>
                    <a:lnTo>
                      <a:pt x="898" y="1568"/>
                    </a:lnTo>
                    <a:lnTo>
                      <a:pt x="898" y="1568"/>
                    </a:lnTo>
                    <a:lnTo>
                      <a:pt x="896" y="1572"/>
                    </a:lnTo>
                    <a:lnTo>
                      <a:pt x="898" y="1576"/>
                    </a:lnTo>
                    <a:lnTo>
                      <a:pt x="902" y="1582"/>
                    </a:lnTo>
                    <a:lnTo>
                      <a:pt x="906" y="1590"/>
                    </a:lnTo>
                    <a:lnTo>
                      <a:pt x="908" y="1594"/>
                    </a:lnTo>
                    <a:lnTo>
                      <a:pt x="908" y="1598"/>
                    </a:lnTo>
                    <a:lnTo>
                      <a:pt x="908" y="1598"/>
                    </a:lnTo>
                    <a:lnTo>
                      <a:pt x="908" y="1606"/>
                    </a:lnTo>
                    <a:lnTo>
                      <a:pt x="910" y="1610"/>
                    </a:lnTo>
                    <a:lnTo>
                      <a:pt x="914" y="1614"/>
                    </a:lnTo>
                    <a:lnTo>
                      <a:pt x="926" y="1618"/>
                    </a:lnTo>
                    <a:lnTo>
                      <a:pt x="926" y="1618"/>
                    </a:lnTo>
                    <a:lnTo>
                      <a:pt x="932" y="1622"/>
                    </a:lnTo>
                    <a:lnTo>
                      <a:pt x="934" y="1626"/>
                    </a:lnTo>
                    <a:lnTo>
                      <a:pt x="936" y="1630"/>
                    </a:lnTo>
                    <a:lnTo>
                      <a:pt x="934" y="1634"/>
                    </a:lnTo>
                    <a:lnTo>
                      <a:pt x="934" y="1640"/>
                    </a:lnTo>
                    <a:lnTo>
                      <a:pt x="934" y="1640"/>
                    </a:lnTo>
                    <a:lnTo>
                      <a:pt x="938" y="1640"/>
                    </a:lnTo>
                    <a:lnTo>
                      <a:pt x="938" y="1640"/>
                    </a:lnTo>
                    <a:lnTo>
                      <a:pt x="942" y="1640"/>
                    </a:lnTo>
                    <a:lnTo>
                      <a:pt x="944" y="1640"/>
                    </a:lnTo>
                    <a:lnTo>
                      <a:pt x="946" y="1648"/>
                    </a:lnTo>
                    <a:lnTo>
                      <a:pt x="946" y="1654"/>
                    </a:lnTo>
                    <a:lnTo>
                      <a:pt x="948" y="1656"/>
                    </a:lnTo>
                    <a:lnTo>
                      <a:pt x="950" y="1656"/>
                    </a:lnTo>
                    <a:lnTo>
                      <a:pt x="950" y="1656"/>
                    </a:lnTo>
                    <a:lnTo>
                      <a:pt x="956" y="1656"/>
                    </a:lnTo>
                    <a:lnTo>
                      <a:pt x="958" y="1656"/>
                    </a:lnTo>
                    <a:lnTo>
                      <a:pt x="958" y="1662"/>
                    </a:lnTo>
                    <a:lnTo>
                      <a:pt x="954" y="1672"/>
                    </a:lnTo>
                    <a:lnTo>
                      <a:pt x="954" y="1672"/>
                    </a:lnTo>
                    <a:lnTo>
                      <a:pt x="952" y="1676"/>
                    </a:lnTo>
                    <a:lnTo>
                      <a:pt x="956" y="1678"/>
                    </a:lnTo>
                    <a:lnTo>
                      <a:pt x="966" y="1678"/>
                    </a:lnTo>
                    <a:lnTo>
                      <a:pt x="978" y="1678"/>
                    </a:lnTo>
                    <a:lnTo>
                      <a:pt x="980" y="1680"/>
                    </a:lnTo>
                    <a:lnTo>
                      <a:pt x="980" y="1684"/>
                    </a:lnTo>
                    <a:lnTo>
                      <a:pt x="980" y="1684"/>
                    </a:lnTo>
                    <a:lnTo>
                      <a:pt x="978" y="1690"/>
                    </a:lnTo>
                    <a:lnTo>
                      <a:pt x="978" y="1692"/>
                    </a:lnTo>
                    <a:lnTo>
                      <a:pt x="980" y="1694"/>
                    </a:lnTo>
                    <a:lnTo>
                      <a:pt x="982" y="1694"/>
                    </a:lnTo>
                    <a:lnTo>
                      <a:pt x="990" y="1694"/>
                    </a:lnTo>
                    <a:lnTo>
                      <a:pt x="994" y="1696"/>
                    </a:lnTo>
                    <a:lnTo>
                      <a:pt x="996" y="1698"/>
                    </a:lnTo>
                    <a:lnTo>
                      <a:pt x="996" y="1698"/>
                    </a:lnTo>
                    <a:lnTo>
                      <a:pt x="998" y="1700"/>
                    </a:lnTo>
                    <a:lnTo>
                      <a:pt x="996" y="1702"/>
                    </a:lnTo>
                    <a:lnTo>
                      <a:pt x="994" y="1704"/>
                    </a:lnTo>
                    <a:lnTo>
                      <a:pt x="990" y="1706"/>
                    </a:lnTo>
                    <a:lnTo>
                      <a:pt x="990" y="1708"/>
                    </a:lnTo>
                    <a:lnTo>
                      <a:pt x="990" y="1712"/>
                    </a:lnTo>
                    <a:lnTo>
                      <a:pt x="990" y="1712"/>
                    </a:lnTo>
                    <a:lnTo>
                      <a:pt x="992" y="1722"/>
                    </a:lnTo>
                    <a:lnTo>
                      <a:pt x="996" y="1724"/>
                    </a:lnTo>
                    <a:lnTo>
                      <a:pt x="1000" y="1726"/>
                    </a:lnTo>
                    <a:lnTo>
                      <a:pt x="1004" y="1726"/>
                    </a:lnTo>
                    <a:lnTo>
                      <a:pt x="1010" y="1726"/>
                    </a:lnTo>
                    <a:lnTo>
                      <a:pt x="1016" y="1722"/>
                    </a:lnTo>
                    <a:lnTo>
                      <a:pt x="1024" y="1718"/>
                    </a:lnTo>
                    <a:lnTo>
                      <a:pt x="1024" y="1718"/>
                    </a:lnTo>
                    <a:lnTo>
                      <a:pt x="1032" y="1712"/>
                    </a:lnTo>
                    <a:lnTo>
                      <a:pt x="1038" y="1712"/>
                    </a:lnTo>
                    <a:lnTo>
                      <a:pt x="1040" y="1712"/>
                    </a:lnTo>
                    <a:lnTo>
                      <a:pt x="1044" y="1714"/>
                    </a:lnTo>
                    <a:lnTo>
                      <a:pt x="1048" y="1716"/>
                    </a:lnTo>
                    <a:lnTo>
                      <a:pt x="1050" y="1716"/>
                    </a:lnTo>
                    <a:lnTo>
                      <a:pt x="1054" y="1714"/>
                    </a:lnTo>
                    <a:lnTo>
                      <a:pt x="1054" y="1714"/>
                    </a:lnTo>
                    <a:lnTo>
                      <a:pt x="1064" y="1708"/>
                    </a:lnTo>
                    <a:lnTo>
                      <a:pt x="1072" y="1704"/>
                    </a:lnTo>
                    <a:lnTo>
                      <a:pt x="1080" y="1700"/>
                    </a:lnTo>
                    <a:lnTo>
                      <a:pt x="1080" y="1696"/>
                    </a:lnTo>
                    <a:lnTo>
                      <a:pt x="1080" y="1692"/>
                    </a:lnTo>
                    <a:lnTo>
                      <a:pt x="1080" y="1692"/>
                    </a:lnTo>
                    <a:lnTo>
                      <a:pt x="1080" y="1688"/>
                    </a:lnTo>
                    <a:lnTo>
                      <a:pt x="1082" y="1686"/>
                    </a:lnTo>
                    <a:lnTo>
                      <a:pt x="1084" y="1688"/>
                    </a:lnTo>
                    <a:lnTo>
                      <a:pt x="1086" y="1690"/>
                    </a:lnTo>
                    <a:lnTo>
                      <a:pt x="1088" y="1694"/>
                    </a:lnTo>
                    <a:lnTo>
                      <a:pt x="1090" y="1698"/>
                    </a:lnTo>
                    <a:lnTo>
                      <a:pt x="1090" y="1704"/>
                    </a:lnTo>
                    <a:lnTo>
                      <a:pt x="1086" y="1710"/>
                    </a:lnTo>
                    <a:lnTo>
                      <a:pt x="1086" y="1710"/>
                    </a:lnTo>
                    <a:lnTo>
                      <a:pt x="1078" y="1718"/>
                    </a:lnTo>
                    <a:lnTo>
                      <a:pt x="1076" y="1726"/>
                    </a:lnTo>
                    <a:lnTo>
                      <a:pt x="1076" y="1728"/>
                    </a:lnTo>
                    <a:lnTo>
                      <a:pt x="1078" y="1732"/>
                    </a:lnTo>
                    <a:lnTo>
                      <a:pt x="1090" y="1738"/>
                    </a:lnTo>
                    <a:lnTo>
                      <a:pt x="1090" y="1738"/>
                    </a:lnTo>
                    <a:lnTo>
                      <a:pt x="1098" y="1740"/>
                    </a:lnTo>
                    <a:lnTo>
                      <a:pt x="1106" y="1740"/>
                    </a:lnTo>
                    <a:lnTo>
                      <a:pt x="1120" y="1738"/>
                    </a:lnTo>
                    <a:lnTo>
                      <a:pt x="1124" y="1738"/>
                    </a:lnTo>
                    <a:lnTo>
                      <a:pt x="1126" y="1740"/>
                    </a:lnTo>
                    <a:lnTo>
                      <a:pt x="1126" y="1744"/>
                    </a:lnTo>
                    <a:lnTo>
                      <a:pt x="1120" y="1752"/>
                    </a:lnTo>
                    <a:lnTo>
                      <a:pt x="1120" y="1752"/>
                    </a:lnTo>
                    <a:lnTo>
                      <a:pt x="1116" y="1758"/>
                    </a:lnTo>
                    <a:lnTo>
                      <a:pt x="1116" y="1762"/>
                    </a:lnTo>
                    <a:lnTo>
                      <a:pt x="1118" y="1766"/>
                    </a:lnTo>
                    <a:lnTo>
                      <a:pt x="1122" y="1768"/>
                    </a:lnTo>
                    <a:lnTo>
                      <a:pt x="1126" y="1770"/>
                    </a:lnTo>
                    <a:lnTo>
                      <a:pt x="1132" y="1770"/>
                    </a:lnTo>
                    <a:lnTo>
                      <a:pt x="1136" y="1768"/>
                    </a:lnTo>
                    <a:lnTo>
                      <a:pt x="1140" y="1766"/>
                    </a:lnTo>
                    <a:lnTo>
                      <a:pt x="1140" y="1766"/>
                    </a:lnTo>
                    <a:lnTo>
                      <a:pt x="1150" y="1760"/>
                    </a:lnTo>
                    <a:lnTo>
                      <a:pt x="1154" y="1758"/>
                    </a:lnTo>
                    <a:lnTo>
                      <a:pt x="1156" y="1758"/>
                    </a:lnTo>
                    <a:lnTo>
                      <a:pt x="1162" y="1762"/>
                    </a:lnTo>
                    <a:lnTo>
                      <a:pt x="1170" y="1770"/>
                    </a:lnTo>
                    <a:lnTo>
                      <a:pt x="1170" y="1770"/>
                    </a:lnTo>
                    <a:lnTo>
                      <a:pt x="1182" y="1776"/>
                    </a:lnTo>
                    <a:lnTo>
                      <a:pt x="1186" y="1776"/>
                    </a:lnTo>
                    <a:lnTo>
                      <a:pt x="1190" y="1776"/>
                    </a:lnTo>
                    <a:lnTo>
                      <a:pt x="1194" y="1774"/>
                    </a:lnTo>
                    <a:lnTo>
                      <a:pt x="1196" y="1768"/>
                    </a:lnTo>
                    <a:lnTo>
                      <a:pt x="1198" y="1764"/>
                    </a:lnTo>
                    <a:lnTo>
                      <a:pt x="1200" y="1756"/>
                    </a:lnTo>
                    <a:lnTo>
                      <a:pt x="1200" y="1756"/>
                    </a:lnTo>
                    <a:lnTo>
                      <a:pt x="1200" y="1750"/>
                    </a:lnTo>
                    <a:lnTo>
                      <a:pt x="1198" y="1746"/>
                    </a:lnTo>
                    <a:lnTo>
                      <a:pt x="1194" y="1746"/>
                    </a:lnTo>
                    <a:lnTo>
                      <a:pt x="1192" y="1746"/>
                    </a:lnTo>
                    <a:lnTo>
                      <a:pt x="1186" y="1746"/>
                    </a:lnTo>
                    <a:lnTo>
                      <a:pt x="1186" y="1746"/>
                    </a:lnTo>
                    <a:lnTo>
                      <a:pt x="1186" y="1744"/>
                    </a:lnTo>
                    <a:lnTo>
                      <a:pt x="1186" y="1744"/>
                    </a:lnTo>
                    <a:lnTo>
                      <a:pt x="1190" y="1740"/>
                    </a:lnTo>
                    <a:lnTo>
                      <a:pt x="1194" y="1738"/>
                    </a:lnTo>
                    <a:lnTo>
                      <a:pt x="1204" y="1734"/>
                    </a:lnTo>
                    <a:lnTo>
                      <a:pt x="1208" y="1732"/>
                    </a:lnTo>
                    <a:lnTo>
                      <a:pt x="1210" y="1728"/>
                    </a:lnTo>
                    <a:lnTo>
                      <a:pt x="1212" y="1724"/>
                    </a:lnTo>
                    <a:lnTo>
                      <a:pt x="1212" y="1718"/>
                    </a:lnTo>
                    <a:lnTo>
                      <a:pt x="1212" y="1718"/>
                    </a:lnTo>
                    <a:lnTo>
                      <a:pt x="1210" y="1712"/>
                    </a:lnTo>
                    <a:lnTo>
                      <a:pt x="1214" y="1702"/>
                    </a:lnTo>
                    <a:lnTo>
                      <a:pt x="1224" y="1676"/>
                    </a:lnTo>
                    <a:lnTo>
                      <a:pt x="1234" y="1652"/>
                    </a:lnTo>
                    <a:lnTo>
                      <a:pt x="1236" y="1640"/>
                    </a:lnTo>
                    <a:lnTo>
                      <a:pt x="1236" y="1630"/>
                    </a:lnTo>
                    <a:lnTo>
                      <a:pt x="1236" y="1630"/>
                    </a:lnTo>
                    <a:lnTo>
                      <a:pt x="1234" y="1624"/>
                    </a:lnTo>
                    <a:lnTo>
                      <a:pt x="1232" y="1622"/>
                    </a:lnTo>
                    <a:lnTo>
                      <a:pt x="1230" y="1622"/>
                    </a:lnTo>
                    <a:lnTo>
                      <a:pt x="1228" y="1622"/>
                    </a:lnTo>
                    <a:lnTo>
                      <a:pt x="1226" y="1622"/>
                    </a:lnTo>
                    <a:lnTo>
                      <a:pt x="1222" y="1622"/>
                    </a:lnTo>
                    <a:lnTo>
                      <a:pt x="1220" y="1620"/>
                    </a:lnTo>
                    <a:lnTo>
                      <a:pt x="1214" y="1616"/>
                    </a:lnTo>
                    <a:lnTo>
                      <a:pt x="1214" y="1616"/>
                    </a:lnTo>
                    <a:lnTo>
                      <a:pt x="1212" y="1610"/>
                    </a:lnTo>
                    <a:lnTo>
                      <a:pt x="1212" y="1610"/>
                    </a:lnTo>
                    <a:lnTo>
                      <a:pt x="1222" y="1612"/>
                    </a:lnTo>
                    <a:lnTo>
                      <a:pt x="1232" y="1614"/>
                    </a:lnTo>
                    <a:lnTo>
                      <a:pt x="1236" y="1614"/>
                    </a:lnTo>
                    <a:lnTo>
                      <a:pt x="1236" y="1610"/>
                    </a:lnTo>
                    <a:lnTo>
                      <a:pt x="1236" y="1610"/>
                    </a:lnTo>
                    <a:lnTo>
                      <a:pt x="1234" y="1604"/>
                    </a:lnTo>
                    <a:lnTo>
                      <a:pt x="1232" y="1602"/>
                    </a:lnTo>
                    <a:lnTo>
                      <a:pt x="1226" y="1600"/>
                    </a:lnTo>
                    <a:lnTo>
                      <a:pt x="1220" y="1598"/>
                    </a:lnTo>
                    <a:lnTo>
                      <a:pt x="1220" y="1596"/>
                    </a:lnTo>
                    <a:lnTo>
                      <a:pt x="1222" y="1592"/>
                    </a:lnTo>
                    <a:lnTo>
                      <a:pt x="1222" y="1592"/>
                    </a:lnTo>
                    <a:lnTo>
                      <a:pt x="1226" y="1590"/>
                    </a:lnTo>
                    <a:lnTo>
                      <a:pt x="1230" y="1588"/>
                    </a:lnTo>
                    <a:lnTo>
                      <a:pt x="1244" y="1584"/>
                    </a:lnTo>
                    <a:lnTo>
                      <a:pt x="1250" y="1582"/>
                    </a:lnTo>
                    <a:lnTo>
                      <a:pt x="1256" y="1580"/>
                    </a:lnTo>
                    <a:lnTo>
                      <a:pt x="1260" y="1574"/>
                    </a:lnTo>
                    <a:lnTo>
                      <a:pt x="1262" y="1566"/>
                    </a:lnTo>
                    <a:lnTo>
                      <a:pt x="1262" y="1566"/>
                    </a:lnTo>
                    <a:lnTo>
                      <a:pt x="1264" y="1560"/>
                    </a:lnTo>
                    <a:lnTo>
                      <a:pt x="1266" y="1558"/>
                    </a:lnTo>
                    <a:lnTo>
                      <a:pt x="1268" y="1558"/>
                    </a:lnTo>
                    <a:lnTo>
                      <a:pt x="1272" y="1560"/>
                    </a:lnTo>
                    <a:lnTo>
                      <a:pt x="1278" y="1562"/>
                    </a:lnTo>
                    <a:lnTo>
                      <a:pt x="1280" y="1560"/>
                    </a:lnTo>
                    <a:lnTo>
                      <a:pt x="1280" y="1556"/>
                    </a:lnTo>
                    <a:lnTo>
                      <a:pt x="1280" y="1556"/>
                    </a:lnTo>
                    <a:lnTo>
                      <a:pt x="1282" y="1550"/>
                    </a:lnTo>
                    <a:lnTo>
                      <a:pt x="1284" y="1546"/>
                    </a:lnTo>
                    <a:lnTo>
                      <a:pt x="1294" y="1538"/>
                    </a:lnTo>
                    <a:lnTo>
                      <a:pt x="1300" y="1530"/>
                    </a:lnTo>
                    <a:lnTo>
                      <a:pt x="1302" y="1526"/>
                    </a:lnTo>
                    <a:lnTo>
                      <a:pt x="1302" y="1520"/>
                    </a:lnTo>
                    <a:lnTo>
                      <a:pt x="1302" y="1520"/>
                    </a:lnTo>
                    <a:lnTo>
                      <a:pt x="1300" y="1510"/>
                    </a:lnTo>
                    <a:lnTo>
                      <a:pt x="1300" y="1502"/>
                    </a:lnTo>
                    <a:lnTo>
                      <a:pt x="1300" y="1500"/>
                    </a:lnTo>
                    <a:lnTo>
                      <a:pt x="1298" y="1500"/>
                    </a:lnTo>
                    <a:lnTo>
                      <a:pt x="1286" y="1498"/>
                    </a:lnTo>
                    <a:lnTo>
                      <a:pt x="1286" y="1498"/>
                    </a:lnTo>
                    <a:lnTo>
                      <a:pt x="1278" y="1498"/>
                    </a:lnTo>
                    <a:lnTo>
                      <a:pt x="1270" y="1496"/>
                    </a:lnTo>
                    <a:lnTo>
                      <a:pt x="1266" y="1492"/>
                    </a:lnTo>
                    <a:lnTo>
                      <a:pt x="1262" y="1490"/>
                    </a:lnTo>
                    <a:lnTo>
                      <a:pt x="1260" y="1486"/>
                    </a:lnTo>
                    <a:lnTo>
                      <a:pt x="1262" y="1486"/>
                    </a:lnTo>
                    <a:lnTo>
                      <a:pt x="1264" y="1484"/>
                    </a:lnTo>
                    <a:lnTo>
                      <a:pt x="1270" y="1486"/>
                    </a:lnTo>
                    <a:lnTo>
                      <a:pt x="1270" y="1486"/>
                    </a:lnTo>
                    <a:lnTo>
                      <a:pt x="1276" y="1486"/>
                    </a:lnTo>
                    <a:lnTo>
                      <a:pt x="1280" y="1486"/>
                    </a:lnTo>
                    <a:lnTo>
                      <a:pt x="1288" y="1484"/>
                    </a:lnTo>
                    <a:lnTo>
                      <a:pt x="1294" y="1482"/>
                    </a:lnTo>
                    <a:lnTo>
                      <a:pt x="1300" y="1482"/>
                    </a:lnTo>
                    <a:lnTo>
                      <a:pt x="1300" y="1482"/>
                    </a:lnTo>
                    <a:lnTo>
                      <a:pt x="1308" y="1482"/>
                    </a:lnTo>
                    <a:lnTo>
                      <a:pt x="1308" y="1482"/>
                    </a:lnTo>
                    <a:lnTo>
                      <a:pt x="1308" y="1478"/>
                    </a:lnTo>
                    <a:lnTo>
                      <a:pt x="1302" y="1470"/>
                    </a:lnTo>
                    <a:lnTo>
                      <a:pt x="1290" y="1454"/>
                    </a:lnTo>
                    <a:lnTo>
                      <a:pt x="1290" y="1454"/>
                    </a:lnTo>
                    <a:lnTo>
                      <a:pt x="1282" y="1448"/>
                    </a:lnTo>
                    <a:lnTo>
                      <a:pt x="1280" y="1442"/>
                    </a:lnTo>
                    <a:lnTo>
                      <a:pt x="1280" y="1438"/>
                    </a:lnTo>
                    <a:lnTo>
                      <a:pt x="1284" y="1434"/>
                    </a:lnTo>
                    <a:lnTo>
                      <a:pt x="1288" y="1434"/>
                    </a:lnTo>
                    <a:lnTo>
                      <a:pt x="1296" y="1434"/>
                    </a:lnTo>
                    <a:lnTo>
                      <a:pt x="1310" y="1438"/>
                    </a:lnTo>
                    <a:lnTo>
                      <a:pt x="1310" y="1438"/>
                    </a:lnTo>
                    <a:lnTo>
                      <a:pt x="1316" y="1438"/>
                    </a:lnTo>
                    <a:lnTo>
                      <a:pt x="1320" y="1436"/>
                    </a:lnTo>
                    <a:lnTo>
                      <a:pt x="1324" y="1434"/>
                    </a:lnTo>
                    <a:lnTo>
                      <a:pt x="1326" y="1430"/>
                    </a:lnTo>
                    <a:lnTo>
                      <a:pt x="1332" y="1420"/>
                    </a:lnTo>
                    <a:lnTo>
                      <a:pt x="1334" y="1418"/>
                    </a:lnTo>
                    <a:lnTo>
                      <a:pt x="1338" y="1418"/>
                    </a:lnTo>
                    <a:lnTo>
                      <a:pt x="1338" y="1418"/>
                    </a:lnTo>
                    <a:lnTo>
                      <a:pt x="1344" y="1420"/>
                    </a:lnTo>
                    <a:lnTo>
                      <a:pt x="1346" y="1418"/>
                    </a:lnTo>
                    <a:lnTo>
                      <a:pt x="1344" y="1414"/>
                    </a:lnTo>
                    <a:lnTo>
                      <a:pt x="1334" y="1408"/>
                    </a:lnTo>
                    <a:lnTo>
                      <a:pt x="1334" y="1408"/>
                    </a:lnTo>
                    <a:lnTo>
                      <a:pt x="1326" y="1404"/>
                    </a:lnTo>
                    <a:lnTo>
                      <a:pt x="1324" y="1404"/>
                    </a:lnTo>
                    <a:lnTo>
                      <a:pt x="1326" y="1402"/>
                    </a:lnTo>
                    <a:lnTo>
                      <a:pt x="1330" y="1402"/>
                    </a:lnTo>
                    <a:lnTo>
                      <a:pt x="1338" y="1400"/>
                    </a:lnTo>
                    <a:lnTo>
                      <a:pt x="1338" y="1400"/>
                    </a:lnTo>
                    <a:lnTo>
                      <a:pt x="1344" y="1398"/>
                    </a:lnTo>
                    <a:lnTo>
                      <a:pt x="1352" y="1398"/>
                    </a:lnTo>
                    <a:lnTo>
                      <a:pt x="1360" y="1400"/>
                    </a:lnTo>
                    <a:lnTo>
                      <a:pt x="1370" y="1398"/>
                    </a:lnTo>
                    <a:lnTo>
                      <a:pt x="1370" y="1398"/>
                    </a:lnTo>
                    <a:lnTo>
                      <a:pt x="1380" y="1396"/>
                    </a:lnTo>
                    <a:lnTo>
                      <a:pt x="1388" y="1396"/>
                    </a:lnTo>
                    <a:lnTo>
                      <a:pt x="1394" y="1396"/>
                    </a:lnTo>
                    <a:lnTo>
                      <a:pt x="1398" y="1390"/>
                    </a:lnTo>
                    <a:lnTo>
                      <a:pt x="1398" y="1390"/>
                    </a:lnTo>
                    <a:lnTo>
                      <a:pt x="1400" y="1386"/>
                    </a:lnTo>
                    <a:lnTo>
                      <a:pt x="1398" y="1384"/>
                    </a:lnTo>
                    <a:lnTo>
                      <a:pt x="1396" y="1380"/>
                    </a:lnTo>
                    <a:lnTo>
                      <a:pt x="1402" y="1376"/>
                    </a:lnTo>
                    <a:lnTo>
                      <a:pt x="1402" y="1376"/>
                    </a:lnTo>
                    <a:lnTo>
                      <a:pt x="1404" y="1372"/>
                    </a:lnTo>
                    <a:lnTo>
                      <a:pt x="1404" y="1368"/>
                    </a:lnTo>
                    <a:lnTo>
                      <a:pt x="1404" y="1364"/>
                    </a:lnTo>
                    <a:lnTo>
                      <a:pt x="1410" y="1360"/>
                    </a:lnTo>
                    <a:lnTo>
                      <a:pt x="1410" y="1360"/>
                    </a:lnTo>
                    <a:lnTo>
                      <a:pt x="1414" y="1356"/>
                    </a:lnTo>
                    <a:lnTo>
                      <a:pt x="1416" y="1354"/>
                    </a:lnTo>
                    <a:lnTo>
                      <a:pt x="1414" y="1352"/>
                    </a:lnTo>
                    <a:lnTo>
                      <a:pt x="1412" y="1350"/>
                    </a:lnTo>
                    <a:lnTo>
                      <a:pt x="1406" y="1346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10" y="1342"/>
                    </a:lnTo>
                    <a:lnTo>
                      <a:pt x="1414" y="1344"/>
                    </a:lnTo>
                    <a:lnTo>
                      <a:pt x="1420" y="1344"/>
                    </a:lnTo>
                    <a:lnTo>
                      <a:pt x="1430" y="1344"/>
                    </a:lnTo>
                    <a:lnTo>
                      <a:pt x="1430" y="1344"/>
                    </a:lnTo>
                    <a:lnTo>
                      <a:pt x="1436" y="1344"/>
                    </a:lnTo>
                    <a:lnTo>
                      <a:pt x="1434" y="1348"/>
                    </a:lnTo>
                    <a:lnTo>
                      <a:pt x="1428" y="1352"/>
                    </a:lnTo>
                    <a:lnTo>
                      <a:pt x="1424" y="1358"/>
                    </a:lnTo>
                    <a:lnTo>
                      <a:pt x="1424" y="1358"/>
                    </a:lnTo>
                    <a:lnTo>
                      <a:pt x="1422" y="1362"/>
                    </a:lnTo>
                    <a:lnTo>
                      <a:pt x="1418" y="1364"/>
                    </a:lnTo>
                    <a:lnTo>
                      <a:pt x="1414" y="1368"/>
                    </a:lnTo>
                    <a:lnTo>
                      <a:pt x="1412" y="1372"/>
                    </a:lnTo>
                    <a:lnTo>
                      <a:pt x="1412" y="1372"/>
                    </a:lnTo>
                    <a:lnTo>
                      <a:pt x="1410" y="1378"/>
                    </a:lnTo>
                    <a:lnTo>
                      <a:pt x="1408" y="1386"/>
                    </a:lnTo>
                    <a:lnTo>
                      <a:pt x="1406" y="1392"/>
                    </a:lnTo>
                    <a:lnTo>
                      <a:pt x="1406" y="1394"/>
                    </a:lnTo>
                    <a:lnTo>
                      <a:pt x="1408" y="1396"/>
                    </a:lnTo>
                    <a:lnTo>
                      <a:pt x="1408" y="1396"/>
                    </a:lnTo>
                    <a:lnTo>
                      <a:pt x="1414" y="1398"/>
                    </a:lnTo>
                    <a:lnTo>
                      <a:pt x="1420" y="1398"/>
                    </a:lnTo>
                    <a:lnTo>
                      <a:pt x="1426" y="1396"/>
                    </a:lnTo>
                    <a:lnTo>
                      <a:pt x="1432" y="1390"/>
                    </a:lnTo>
                    <a:lnTo>
                      <a:pt x="1432" y="1390"/>
                    </a:lnTo>
                    <a:lnTo>
                      <a:pt x="1440" y="1380"/>
                    </a:lnTo>
                    <a:lnTo>
                      <a:pt x="1444" y="1380"/>
                    </a:lnTo>
                    <a:lnTo>
                      <a:pt x="1448" y="1384"/>
                    </a:lnTo>
                    <a:lnTo>
                      <a:pt x="1448" y="1384"/>
                    </a:lnTo>
                    <a:lnTo>
                      <a:pt x="1452" y="1386"/>
                    </a:lnTo>
                    <a:lnTo>
                      <a:pt x="1454" y="1384"/>
                    </a:lnTo>
                    <a:lnTo>
                      <a:pt x="1454" y="1382"/>
                    </a:lnTo>
                    <a:lnTo>
                      <a:pt x="1452" y="1378"/>
                    </a:lnTo>
                    <a:lnTo>
                      <a:pt x="1452" y="1378"/>
                    </a:lnTo>
                    <a:lnTo>
                      <a:pt x="1452" y="1376"/>
                    </a:lnTo>
                    <a:lnTo>
                      <a:pt x="1452" y="1374"/>
                    </a:lnTo>
                    <a:lnTo>
                      <a:pt x="1456" y="1372"/>
                    </a:lnTo>
                    <a:lnTo>
                      <a:pt x="1462" y="1370"/>
                    </a:lnTo>
                    <a:lnTo>
                      <a:pt x="1466" y="1370"/>
                    </a:lnTo>
                    <a:lnTo>
                      <a:pt x="1468" y="1372"/>
                    </a:lnTo>
                    <a:lnTo>
                      <a:pt x="1468" y="1372"/>
                    </a:lnTo>
                    <a:lnTo>
                      <a:pt x="1472" y="1372"/>
                    </a:lnTo>
                    <a:lnTo>
                      <a:pt x="1476" y="1372"/>
                    </a:lnTo>
                    <a:lnTo>
                      <a:pt x="1484" y="1370"/>
                    </a:lnTo>
                    <a:lnTo>
                      <a:pt x="1498" y="1362"/>
                    </a:lnTo>
                    <a:lnTo>
                      <a:pt x="1498" y="1362"/>
                    </a:lnTo>
                    <a:lnTo>
                      <a:pt x="1502" y="1360"/>
                    </a:lnTo>
                    <a:lnTo>
                      <a:pt x="1502" y="1354"/>
                    </a:lnTo>
                    <a:lnTo>
                      <a:pt x="1502" y="1350"/>
                    </a:lnTo>
                    <a:lnTo>
                      <a:pt x="1502" y="1350"/>
                    </a:lnTo>
                    <a:lnTo>
                      <a:pt x="1504" y="1350"/>
                    </a:lnTo>
                    <a:lnTo>
                      <a:pt x="1504" y="1350"/>
                    </a:lnTo>
                    <a:lnTo>
                      <a:pt x="1508" y="1350"/>
                    </a:lnTo>
                    <a:lnTo>
                      <a:pt x="1510" y="1352"/>
                    </a:lnTo>
                    <a:lnTo>
                      <a:pt x="1510" y="1354"/>
                    </a:lnTo>
                    <a:lnTo>
                      <a:pt x="1512" y="1354"/>
                    </a:lnTo>
                    <a:lnTo>
                      <a:pt x="1512" y="1354"/>
                    </a:lnTo>
                    <a:lnTo>
                      <a:pt x="1520" y="1350"/>
                    </a:lnTo>
                    <a:lnTo>
                      <a:pt x="1532" y="1344"/>
                    </a:lnTo>
                    <a:lnTo>
                      <a:pt x="1558" y="1324"/>
                    </a:lnTo>
                    <a:lnTo>
                      <a:pt x="1570" y="1314"/>
                    </a:lnTo>
                    <a:lnTo>
                      <a:pt x="1580" y="1302"/>
                    </a:lnTo>
                    <a:lnTo>
                      <a:pt x="1588" y="1290"/>
                    </a:lnTo>
                    <a:lnTo>
                      <a:pt x="1592" y="1280"/>
                    </a:lnTo>
                    <a:lnTo>
                      <a:pt x="1592" y="1280"/>
                    </a:lnTo>
                    <a:lnTo>
                      <a:pt x="1600" y="1264"/>
                    </a:lnTo>
                    <a:lnTo>
                      <a:pt x="1610" y="1250"/>
                    </a:lnTo>
                    <a:lnTo>
                      <a:pt x="1622" y="1242"/>
                    </a:lnTo>
                    <a:lnTo>
                      <a:pt x="1628" y="1238"/>
                    </a:lnTo>
                    <a:lnTo>
                      <a:pt x="1634" y="1238"/>
                    </a:lnTo>
                    <a:lnTo>
                      <a:pt x="1634" y="1238"/>
                    </a:lnTo>
                    <a:lnTo>
                      <a:pt x="1642" y="1236"/>
                    </a:lnTo>
                    <a:lnTo>
                      <a:pt x="1646" y="1234"/>
                    </a:lnTo>
                    <a:lnTo>
                      <a:pt x="1648" y="1232"/>
                    </a:lnTo>
                    <a:lnTo>
                      <a:pt x="1648" y="1228"/>
                    </a:lnTo>
                    <a:lnTo>
                      <a:pt x="1646" y="1222"/>
                    </a:lnTo>
                    <a:lnTo>
                      <a:pt x="1640" y="1214"/>
                    </a:lnTo>
                    <a:lnTo>
                      <a:pt x="1632" y="1204"/>
                    </a:lnTo>
                    <a:lnTo>
                      <a:pt x="1632" y="1204"/>
                    </a:lnTo>
                    <a:lnTo>
                      <a:pt x="1626" y="1198"/>
                    </a:lnTo>
                    <a:lnTo>
                      <a:pt x="1624" y="1194"/>
                    </a:lnTo>
                    <a:lnTo>
                      <a:pt x="1636" y="1200"/>
                    </a:lnTo>
                    <a:lnTo>
                      <a:pt x="1670" y="1222"/>
                    </a:lnTo>
                    <a:lnTo>
                      <a:pt x="1670" y="1222"/>
                    </a:lnTo>
                    <a:lnTo>
                      <a:pt x="1684" y="1226"/>
                    </a:lnTo>
                    <a:lnTo>
                      <a:pt x="1694" y="1228"/>
                    </a:lnTo>
                    <a:lnTo>
                      <a:pt x="1702" y="1228"/>
                    </a:lnTo>
                    <a:lnTo>
                      <a:pt x="1710" y="1226"/>
                    </a:lnTo>
                    <a:lnTo>
                      <a:pt x="1718" y="1224"/>
                    </a:lnTo>
                    <a:lnTo>
                      <a:pt x="1724" y="1218"/>
                    </a:lnTo>
                    <a:lnTo>
                      <a:pt x="1730" y="1212"/>
                    </a:lnTo>
                    <a:lnTo>
                      <a:pt x="1730" y="1212"/>
                    </a:lnTo>
                    <a:lnTo>
                      <a:pt x="1732" y="1206"/>
                    </a:lnTo>
                    <a:lnTo>
                      <a:pt x="1734" y="1204"/>
                    </a:lnTo>
                    <a:lnTo>
                      <a:pt x="1738" y="1204"/>
                    </a:lnTo>
                    <a:lnTo>
                      <a:pt x="1742" y="1206"/>
                    </a:lnTo>
                    <a:lnTo>
                      <a:pt x="1748" y="1208"/>
                    </a:lnTo>
                    <a:lnTo>
                      <a:pt x="1756" y="1208"/>
                    </a:lnTo>
                    <a:lnTo>
                      <a:pt x="1766" y="1208"/>
                    </a:lnTo>
                    <a:lnTo>
                      <a:pt x="1782" y="1202"/>
                    </a:lnTo>
                    <a:lnTo>
                      <a:pt x="1782" y="1202"/>
                    </a:lnTo>
                    <a:lnTo>
                      <a:pt x="1800" y="1196"/>
                    </a:lnTo>
                    <a:lnTo>
                      <a:pt x="1818" y="1190"/>
                    </a:lnTo>
                    <a:lnTo>
                      <a:pt x="1856" y="1184"/>
                    </a:lnTo>
                    <a:lnTo>
                      <a:pt x="1886" y="1178"/>
                    </a:lnTo>
                    <a:lnTo>
                      <a:pt x="1898" y="1172"/>
                    </a:lnTo>
                    <a:lnTo>
                      <a:pt x="1906" y="1166"/>
                    </a:lnTo>
                    <a:lnTo>
                      <a:pt x="1906" y="1166"/>
                    </a:lnTo>
                    <a:lnTo>
                      <a:pt x="1920" y="1154"/>
                    </a:lnTo>
                    <a:lnTo>
                      <a:pt x="1934" y="1142"/>
                    </a:lnTo>
                    <a:lnTo>
                      <a:pt x="1950" y="1132"/>
                    </a:lnTo>
                    <a:lnTo>
                      <a:pt x="1960" y="1128"/>
                    </a:lnTo>
                    <a:lnTo>
                      <a:pt x="1970" y="1128"/>
                    </a:lnTo>
                    <a:lnTo>
                      <a:pt x="1970" y="1128"/>
                    </a:lnTo>
                    <a:lnTo>
                      <a:pt x="1978" y="1126"/>
                    </a:lnTo>
                    <a:lnTo>
                      <a:pt x="1982" y="1122"/>
                    </a:lnTo>
                    <a:lnTo>
                      <a:pt x="1982" y="1120"/>
                    </a:lnTo>
                    <a:lnTo>
                      <a:pt x="1982" y="1116"/>
                    </a:lnTo>
                    <a:lnTo>
                      <a:pt x="1982" y="1112"/>
                    </a:lnTo>
                    <a:lnTo>
                      <a:pt x="1982" y="1108"/>
                    </a:lnTo>
                    <a:lnTo>
                      <a:pt x="1986" y="1106"/>
                    </a:lnTo>
                    <a:lnTo>
                      <a:pt x="1994" y="1106"/>
                    </a:lnTo>
                    <a:lnTo>
                      <a:pt x="1994" y="1106"/>
                    </a:lnTo>
                    <a:lnTo>
                      <a:pt x="2008" y="1104"/>
                    </a:lnTo>
                    <a:lnTo>
                      <a:pt x="2012" y="1102"/>
                    </a:lnTo>
                    <a:lnTo>
                      <a:pt x="2012" y="1102"/>
                    </a:lnTo>
                    <a:lnTo>
                      <a:pt x="2016" y="1096"/>
                    </a:lnTo>
                    <a:lnTo>
                      <a:pt x="2022" y="1092"/>
                    </a:lnTo>
                    <a:lnTo>
                      <a:pt x="2030" y="1088"/>
                    </a:lnTo>
                    <a:lnTo>
                      <a:pt x="2030" y="1088"/>
                    </a:lnTo>
                    <a:lnTo>
                      <a:pt x="2046" y="1080"/>
                    </a:lnTo>
                    <a:lnTo>
                      <a:pt x="2046" y="1078"/>
                    </a:lnTo>
                    <a:lnTo>
                      <a:pt x="2044" y="1076"/>
                    </a:lnTo>
                    <a:lnTo>
                      <a:pt x="2028" y="1076"/>
                    </a:lnTo>
                    <a:lnTo>
                      <a:pt x="2000" y="1080"/>
                    </a:lnTo>
                    <a:lnTo>
                      <a:pt x="2000" y="1080"/>
                    </a:lnTo>
                    <a:lnTo>
                      <a:pt x="1984" y="1080"/>
                    </a:lnTo>
                    <a:lnTo>
                      <a:pt x="1970" y="1076"/>
                    </a:lnTo>
                    <a:lnTo>
                      <a:pt x="1956" y="1070"/>
                    </a:lnTo>
                    <a:lnTo>
                      <a:pt x="1944" y="1064"/>
                    </a:lnTo>
                    <a:lnTo>
                      <a:pt x="1932" y="1058"/>
                    </a:lnTo>
                    <a:lnTo>
                      <a:pt x="1920" y="1056"/>
                    </a:lnTo>
                    <a:lnTo>
                      <a:pt x="1914" y="1056"/>
                    </a:lnTo>
                    <a:lnTo>
                      <a:pt x="1906" y="1058"/>
                    </a:lnTo>
                    <a:lnTo>
                      <a:pt x="1900" y="1060"/>
                    </a:lnTo>
                    <a:lnTo>
                      <a:pt x="1892" y="1064"/>
                    </a:lnTo>
                    <a:lnTo>
                      <a:pt x="1892" y="1064"/>
                    </a:lnTo>
                    <a:lnTo>
                      <a:pt x="1884" y="1068"/>
                    </a:lnTo>
                    <a:lnTo>
                      <a:pt x="1878" y="1070"/>
                    </a:lnTo>
                    <a:lnTo>
                      <a:pt x="1866" y="1070"/>
                    </a:lnTo>
                    <a:lnTo>
                      <a:pt x="1860" y="1070"/>
                    </a:lnTo>
                    <a:lnTo>
                      <a:pt x="1854" y="1072"/>
                    </a:lnTo>
                    <a:lnTo>
                      <a:pt x="1846" y="1076"/>
                    </a:lnTo>
                    <a:lnTo>
                      <a:pt x="1838" y="1082"/>
                    </a:lnTo>
                    <a:lnTo>
                      <a:pt x="1838" y="1082"/>
                    </a:lnTo>
                    <a:lnTo>
                      <a:pt x="1834" y="1086"/>
                    </a:lnTo>
                    <a:lnTo>
                      <a:pt x="1828" y="1090"/>
                    </a:lnTo>
                    <a:lnTo>
                      <a:pt x="1824" y="1090"/>
                    </a:lnTo>
                    <a:lnTo>
                      <a:pt x="1820" y="1090"/>
                    </a:lnTo>
                    <a:lnTo>
                      <a:pt x="1818" y="1088"/>
                    </a:lnTo>
                    <a:lnTo>
                      <a:pt x="1820" y="1084"/>
                    </a:lnTo>
                    <a:lnTo>
                      <a:pt x="1824" y="1078"/>
                    </a:lnTo>
                    <a:lnTo>
                      <a:pt x="1832" y="1070"/>
                    </a:lnTo>
                    <a:lnTo>
                      <a:pt x="1832" y="1070"/>
                    </a:lnTo>
                    <a:lnTo>
                      <a:pt x="1840" y="1064"/>
                    </a:lnTo>
                    <a:lnTo>
                      <a:pt x="1848" y="1062"/>
                    </a:lnTo>
                    <a:lnTo>
                      <a:pt x="1852" y="1062"/>
                    </a:lnTo>
                    <a:lnTo>
                      <a:pt x="1856" y="1062"/>
                    </a:lnTo>
                    <a:lnTo>
                      <a:pt x="1864" y="1064"/>
                    </a:lnTo>
                    <a:lnTo>
                      <a:pt x="1866" y="1064"/>
                    </a:lnTo>
                    <a:lnTo>
                      <a:pt x="1870" y="1062"/>
                    </a:lnTo>
                    <a:lnTo>
                      <a:pt x="1870" y="1062"/>
                    </a:lnTo>
                    <a:lnTo>
                      <a:pt x="1876" y="1058"/>
                    </a:lnTo>
                    <a:lnTo>
                      <a:pt x="1878" y="1056"/>
                    </a:lnTo>
                    <a:lnTo>
                      <a:pt x="1878" y="1054"/>
                    </a:lnTo>
                    <a:lnTo>
                      <a:pt x="1874" y="1052"/>
                    </a:lnTo>
                    <a:lnTo>
                      <a:pt x="1868" y="1052"/>
                    </a:lnTo>
                    <a:lnTo>
                      <a:pt x="1844" y="1054"/>
                    </a:lnTo>
                    <a:lnTo>
                      <a:pt x="1844" y="1054"/>
                    </a:lnTo>
                    <a:lnTo>
                      <a:pt x="1816" y="1058"/>
                    </a:lnTo>
                    <a:lnTo>
                      <a:pt x="1800" y="1058"/>
                    </a:lnTo>
                    <a:lnTo>
                      <a:pt x="1798" y="1056"/>
                    </a:lnTo>
                    <a:lnTo>
                      <a:pt x="1796" y="1052"/>
                    </a:lnTo>
                    <a:lnTo>
                      <a:pt x="1798" y="1046"/>
                    </a:lnTo>
                    <a:lnTo>
                      <a:pt x="1804" y="1038"/>
                    </a:lnTo>
                    <a:lnTo>
                      <a:pt x="1804" y="1038"/>
                    </a:lnTo>
                    <a:lnTo>
                      <a:pt x="1814" y="1022"/>
                    </a:lnTo>
                    <a:lnTo>
                      <a:pt x="1818" y="1014"/>
                    </a:lnTo>
                    <a:lnTo>
                      <a:pt x="1820" y="1012"/>
                    </a:lnTo>
                    <a:lnTo>
                      <a:pt x="1822" y="1010"/>
                    </a:lnTo>
                    <a:lnTo>
                      <a:pt x="1828" y="1016"/>
                    </a:lnTo>
                    <a:lnTo>
                      <a:pt x="1828" y="1016"/>
                    </a:lnTo>
                    <a:lnTo>
                      <a:pt x="1836" y="1022"/>
                    </a:lnTo>
                    <a:lnTo>
                      <a:pt x="1840" y="1022"/>
                    </a:lnTo>
                    <a:lnTo>
                      <a:pt x="1844" y="1022"/>
                    </a:lnTo>
                    <a:lnTo>
                      <a:pt x="1882" y="1010"/>
                    </a:lnTo>
                    <a:lnTo>
                      <a:pt x="1882" y="1010"/>
                    </a:lnTo>
                    <a:lnTo>
                      <a:pt x="1896" y="1006"/>
                    </a:lnTo>
                    <a:lnTo>
                      <a:pt x="1904" y="1000"/>
                    </a:lnTo>
                    <a:lnTo>
                      <a:pt x="1908" y="996"/>
                    </a:lnTo>
                    <a:lnTo>
                      <a:pt x="1910" y="992"/>
                    </a:lnTo>
                    <a:lnTo>
                      <a:pt x="1906" y="986"/>
                    </a:lnTo>
                    <a:lnTo>
                      <a:pt x="1898" y="984"/>
                    </a:lnTo>
                    <a:lnTo>
                      <a:pt x="1888" y="980"/>
                    </a:lnTo>
                    <a:lnTo>
                      <a:pt x="1874" y="978"/>
                    </a:lnTo>
                    <a:lnTo>
                      <a:pt x="1874" y="978"/>
                    </a:lnTo>
                    <a:lnTo>
                      <a:pt x="1850" y="974"/>
                    </a:lnTo>
                    <a:lnTo>
                      <a:pt x="1844" y="972"/>
                    </a:lnTo>
                    <a:lnTo>
                      <a:pt x="1842" y="970"/>
                    </a:lnTo>
                    <a:lnTo>
                      <a:pt x="1844" y="968"/>
                    </a:lnTo>
                    <a:lnTo>
                      <a:pt x="1850" y="966"/>
                    </a:lnTo>
                    <a:lnTo>
                      <a:pt x="1870" y="966"/>
                    </a:lnTo>
                    <a:lnTo>
                      <a:pt x="1870" y="966"/>
                    </a:lnTo>
                    <a:lnTo>
                      <a:pt x="1892" y="970"/>
                    </a:lnTo>
                    <a:lnTo>
                      <a:pt x="1906" y="976"/>
                    </a:lnTo>
                    <a:lnTo>
                      <a:pt x="1918" y="980"/>
                    </a:lnTo>
                    <a:lnTo>
                      <a:pt x="1932" y="986"/>
                    </a:lnTo>
                    <a:lnTo>
                      <a:pt x="1932" y="986"/>
                    </a:lnTo>
                    <a:lnTo>
                      <a:pt x="1946" y="992"/>
                    </a:lnTo>
                    <a:lnTo>
                      <a:pt x="1954" y="998"/>
                    </a:lnTo>
                    <a:lnTo>
                      <a:pt x="1958" y="1008"/>
                    </a:lnTo>
                    <a:lnTo>
                      <a:pt x="1960" y="1022"/>
                    </a:lnTo>
                    <a:lnTo>
                      <a:pt x="1960" y="1022"/>
                    </a:lnTo>
                    <a:lnTo>
                      <a:pt x="1964" y="1030"/>
                    </a:lnTo>
                    <a:lnTo>
                      <a:pt x="1970" y="1038"/>
                    </a:lnTo>
                    <a:lnTo>
                      <a:pt x="1978" y="1044"/>
                    </a:lnTo>
                    <a:lnTo>
                      <a:pt x="1988" y="1050"/>
                    </a:lnTo>
                    <a:lnTo>
                      <a:pt x="1998" y="1052"/>
                    </a:lnTo>
                    <a:lnTo>
                      <a:pt x="2008" y="1054"/>
                    </a:lnTo>
                    <a:lnTo>
                      <a:pt x="2016" y="1054"/>
                    </a:lnTo>
                    <a:lnTo>
                      <a:pt x="2022" y="1052"/>
                    </a:lnTo>
                    <a:lnTo>
                      <a:pt x="2022" y="1052"/>
                    </a:lnTo>
                    <a:lnTo>
                      <a:pt x="2030" y="1048"/>
                    </a:lnTo>
                    <a:lnTo>
                      <a:pt x="2036" y="1050"/>
                    </a:lnTo>
                    <a:lnTo>
                      <a:pt x="2046" y="1052"/>
                    </a:lnTo>
                    <a:lnTo>
                      <a:pt x="2060" y="1056"/>
                    </a:lnTo>
                    <a:lnTo>
                      <a:pt x="2060" y="1056"/>
                    </a:lnTo>
                    <a:lnTo>
                      <a:pt x="2068" y="1054"/>
                    </a:lnTo>
                    <a:lnTo>
                      <a:pt x="2070" y="1050"/>
                    </a:lnTo>
                    <a:lnTo>
                      <a:pt x="2072" y="1042"/>
                    </a:lnTo>
                    <a:lnTo>
                      <a:pt x="2070" y="1032"/>
                    </a:lnTo>
                    <a:lnTo>
                      <a:pt x="2066" y="1008"/>
                    </a:lnTo>
                    <a:lnTo>
                      <a:pt x="2064" y="996"/>
                    </a:lnTo>
                    <a:lnTo>
                      <a:pt x="2064" y="984"/>
                    </a:lnTo>
                    <a:lnTo>
                      <a:pt x="2064" y="984"/>
                    </a:lnTo>
                    <a:lnTo>
                      <a:pt x="2062" y="976"/>
                    </a:lnTo>
                    <a:lnTo>
                      <a:pt x="2062" y="974"/>
                    </a:lnTo>
                    <a:lnTo>
                      <a:pt x="2060" y="974"/>
                    </a:lnTo>
                    <a:lnTo>
                      <a:pt x="2056" y="976"/>
                    </a:lnTo>
                    <a:lnTo>
                      <a:pt x="2050" y="980"/>
                    </a:lnTo>
                    <a:lnTo>
                      <a:pt x="2044" y="986"/>
                    </a:lnTo>
                    <a:lnTo>
                      <a:pt x="2038" y="990"/>
                    </a:lnTo>
                    <a:lnTo>
                      <a:pt x="2032" y="990"/>
                    </a:lnTo>
                    <a:lnTo>
                      <a:pt x="2030" y="988"/>
                    </a:lnTo>
                    <a:lnTo>
                      <a:pt x="2030" y="986"/>
                    </a:lnTo>
                    <a:lnTo>
                      <a:pt x="2030" y="986"/>
                    </a:lnTo>
                    <a:lnTo>
                      <a:pt x="2028" y="976"/>
                    </a:lnTo>
                    <a:lnTo>
                      <a:pt x="2028" y="974"/>
                    </a:lnTo>
                    <a:lnTo>
                      <a:pt x="2032" y="974"/>
                    </a:lnTo>
                    <a:lnTo>
                      <a:pt x="2038" y="972"/>
                    </a:lnTo>
                    <a:lnTo>
                      <a:pt x="2044" y="968"/>
                    </a:lnTo>
                    <a:lnTo>
                      <a:pt x="2050" y="962"/>
                    </a:lnTo>
                    <a:lnTo>
                      <a:pt x="2050" y="962"/>
                    </a:lnTo>
                    <a:lnTo>
                      <a:pt x="2054" y="956"/>
                    </a:lnTo>
                    <a:lnTo>
                      <a:pt x="2054" y="956"/>
                    </a:lnTo>
                    <a:lnTo>
                      <a:pt x="2054" y="954"/>
                    </a:lnTo>
                    <a:lnTo>
                      <a:pt x="2044" y="958"/>
                    </a:lnTo>
                    <a:lnTo>
                      <a:pt x="2032" y="962"/>
                    </a:lnTo>
                    <a:lnTo>
                      <a:pt x="2030" y="960"/>
                    </a:lnTo>
                    <a:lnTo>
                      <a:pt x="2030" y="956"/>
                    </a:lnTo>
                    <a:lnTo>
                      <a:pt x="2030" y="956"/>
                    </a:lnTo>
                    <a:lnTo>
                      <a:pt x="2032" y="950"/>
                    </a:lnTo>
                    <a:lnTo>
                      <a:pt x="2030" y="944"/>
                    </a:lnTo>
                    <a:lnTo>
                      <a:pt x="2026" y="940"/>
                    </a:lnTo>
                    <a:lnTo>
                      <a:pt x="2020" y="938"/>
                    </a:lnTo>
                    <a:lnTo>
                      <a:pt x="2002" y="932"/>
                    </a:lnTo>
                    <a:lnTo>
                      <a:pt x="1980" y="926"/>
                    </a:lnTo>
                    <a:lnTo>
                      <a:pt x="1980" y="926"/>
                    </a:lnTo>
                    <a:lnTo>
                      <a:pt x="1960" y="918"/>
                    </a:lnTo>
                    <a:lnTo>
                      <a:pt x="1948" y="912"/>
                    </a:lnTo>
                    <a:lnTo>
                      <a:pt x="1944" y="908"/>
                    </a:lnTo>
                    <a:lnTo>
                      <a:pt x="1944" y="904"/>
                    </a:lnTo>
                    <a:lnTo>
                      <a:pt x="1944" y="900"/>
                    </a:lnTo>
                    <a:lnTo>
                      <a:pt x="1944" y="896"/>
                    </a:lnTo>
                    <a:lnTo>
                      <a:pt x="1942" y="892"/>
                    </a:lnTo>
                    <a:lnTo>
                      <a:pt x="1934" y="886"/>
                    </a:lnTo>
                    <a:lnTo>
                      <a:pt x="1934" y="886"/>
                    </a:lnTo>
                    <a:lnTo>
                      <a:pt x="1924" y="880"/>
                    </a:lnTo>
                    <a:lnTo>
                      <a:pt x="1922" y="874"/>
                    </a:lnTo>
                    <a:lnTo>
                      <a:pt x="1922" y="870"/>
                    </a:lnTo>
                    <a:lnTo>
                      <a:pt x="1924" y="866"/>
                    </a:lnTo>
                    <a:lnTo>
                      <a:pt x="1922" y="862"/>
                    </a:lnTo>
                    <a:lnTo>
                      <a:pt x="1916" y="858"/>
                    </a:lnTo>
                    <a:lnTo>
                      <a:pt x="1902" y="852"/>
                    </a:lnTo>
                    <a:lnTo>
                      <a:pt x="1878" y="846"/>
                    </a:lnTo>
                    <a:lnTo>
                      <a:pt x="1878" y="846"/>
                    </a:lnTo>
                    <a:lnTo>
                      <a:pt x="1888" y="846"/>
                    </a:lnTo>
                    <a:lnTo>
                      <a:pt x="1896" y="844"/>
                    </a:lnTo>
                    <a:lnTo>
                      <a:pt x="1904" y="842"/>
                    </a:lnTo>
                    <a:lnTo>
                      <a:pt x="1910" y="838"/>
                    </a:lnTo>
                    <a:lnTo>
                      <a:pt x="1926" y="828"/>
                    </a:lnTo>
                    <a:lnTo>
                      <a:pt x="1948" y="818"/>
                    </a:lnTo>
                    <a:lnTo>
                      <a:pt x="1948" y="818"/>
                    </a:lnTo>
                    <a:lnTo>
                      <a:pt x="1954" y="816"/>
                    </a:lnTo>
                    <a:lnTo>
                      <a:pt x="1960" y="816"/>
                    </a:lnTo>
                    <a:lnTo>
                      <a:pt x="1974" y="818"/>
                    </a:lnTo>
                    <a:lnTo>
                      <a:pt x="1988" y="824"/>
                    </a:lnTo>
                    <a:lnTo>
                      <a:pt x="2002" y="832"/>
                    </a:lnTo>
                    <a:lnTo>
                      <a:pt x="2016" y="838"/>
                    </a:lnTo>
                    <a:lnTo>
                      <a:pt x="2030" y="842"/>
                    </a:lnTo>
                    <a:lnTo>
                      <a:pt x="2038" y="844"/>
                    </a:lnTo>
                    <a:lnTo>
                      <a:pt x="2044" y="842"/>
                    </a:lnTo>
                    <a:lnTo>
                      <a:pt x="2052" y="840"/>
                    </a:lnTo>
                    <a:lnTo>
                      <a:pt x="2058" y="836"/>
                    </a:lnTo>
                    <a:lnTo>
                      <a:pt x="2058" y="836"/>
                    </a:lnTo>
                    <a:lnTo>
                      <a:pt x="2070" y="830"/>
                    </a:lnTo>
                    <a:lnTo>
                      <a:pt x="2078" y="826"/>
                    </a:lnTo>
                    <a:lnTo>
                      <a:pt x="2086" y="826"/>
                    </a:lnTo>
                    <a:lnTo>
                      <a:pt x="2092" y="828"/>
                    </a:lnTo>
                    <a:lnTo>
                      <a:pt x="2096" y="830"/>
                    </a:lnTo>
                    <a:lnTo>
                      <a:pt x="2100" y="830"/>
                    </a:lnTo>
                    <a:lnTo>
                      <a:pt x="2106" y="826"/>
                    </a:lnTo>
                    <a:lnTo>
                      <a:pt x="2112" y="818"/>
                    </a:lnTo>
                    <a:lnTo>
                      <a:pt x="2112" y="818"/>
                    </a:lnTo>
                    <a:lnTo>
                      <a:pt x="2118" y="810"/>
                    </a:lnTo>
                    <a:lnTo>
                      <a:pt x="2118" y="806"/>
                    </a:lnTo>
                    <a:lnTo>
                      <a:pt x="2116" y="802"/>
                    </a:lnTo>
                    <a:lnTo>
                      <a:pt x="2112" y="796"/>
                    </a:lnTo>
                    <a:lnTo>
                      <a:pt x="2104" y="792"/>
                    </a:lnTo>
                    <a:lnTo>
                      <a:pt x="2092" y="790"/>
                    </a:lnTo>
                    <a:lnTo>
                      <a:pt x="2080" y="788"/>
                    </a:lnTo>
                    <a:lnTo>
                      <a:pt x="2054" y="786"/>
                    </a:lnTo>
                    <a:lnTo>
                      <a:pt x="2054" y="786"/>
                    </a:lnTo>
                    <a:lnTo>
                      <a:pt x="2044" y="786"/>
                    </a:lnTo>
                    <a:lnTo>
                      <a:pt x="2040" y="784"/>
                    </a:lnTo>
                    <a:lnTo>
                      <a:pt x="2040" y="780"/>
                    </a:lnTo>
                    <a:lnTo>
                      <a:pt x="2040" y="776"/>
                    </a:lnTo>
                    <a:lnTo>
                      <a:pt x="2046" y="768"/>
                    </a:lnTo>
                    <a:lnTo>
                      <a:pt x="2054" y="762"/>
                    </a:lnTo>
                    <a:lnTo>
                      <a:pt x="2066" y="758"/>
                    </a:lnTo>
                    <a:lnTo>
                      <a:pt x="2078" y="754"/>
                    </a:lnTo>
                    <a:lnTo>
                      <a:pt x="2092" y="752"/>
                    </a:lnTo>
                    <a:lnTo>
                      <a:pt x="2092" y="752"/>
                    </a:lnTo>
                    <a:lnTo>
                      <a:pt x="2104" y="754"/>
                    </a:lnTo>
                    <a:lnTo>
                      <a:pt x="2112" y="758"/>
                    </a:lnTo>
                    <a:lnTo>
                      <a:pt x="2122" y="766"/>
                    </a:lnTo>
                    <a:lnTo>
                      <a:pt x="2128" y="768"/>
                    </a:lnTo>
                    <a:lnTo>
                      <a:pt x="2132" y="770"/>
                    </a:lnTo>
                    <a:lnTo>
                      <a:pt x="2142" y="768"/>
                    </a:lnTo>
                    <a:lnTo>
                      <a:pt x="2152" y="766"/>
                    </a:lnTo>
                    <a:lnTo>
                      <a:pt x="2152" y="766"/>
                    </a:lnTo>
                    <a:lnTo>
                      <a:pt x="2162" y="762"/>
                    </a:lnTo>
                    <a:lnTo>
                      <a:pt x="2164" y="758"/>
                    </a:lnTo>
                    <a:lnTo>
                      <a:pt x="2166" y="754"/>
                    </a:lnTo>
                    <a:lnTo>
                      <a:pt x="2162" y="750"/>
                    </a:lnTo>
                    <a:lnTo>
                      <a:pt x="2154" y="746"/>
                    </a:lnTo>
                    <a:lnTo>
                      <a:pt x="2146" y="742"/>
                    </a:lnTo>
                    <a:lnTo>
                      <a:pt x="2134" y="740"/>
                    </a:lnTo>
                    <a:lnTo>
                      <a:pt x="2120" y="738"/>
                    </a:lnTo>
                    <a:lnTo>
                      <a:pt x="2120" y="738"/>
                    </a:lnTo>
                    <a:lnTo>
                      <a:pt x="2112" y="738"/>
                    </a:lnTo>
                    <a:lnTo>
                      <a:pt x="2108" y="736"/>
                    </a:lnTo>
                    <a:lnTo>
                      <a:pt x="2104" y="732"/>
                    </a:lnTo>
                    <a:lnTo>
                      <a:pt x="2102" y="728"/>
                    </a:lnTo>
                    <a:lnTo>
                      <a:pt x="2100" y="718"/>
                    </a:lnTo>
                    <a:lnTo>
                      <a:pt x="2102" y="708"/>
                    </a:lnTo>
                    <a:lnTo>
                      <a:pt x="2108" y="700"/>
                    </a:lnTo>
                    <a:lnTo>
                      <a:pt x="2114" y="694"/>
                    </a:lnTo>
                    <a:lnTo>
                      <a:pt x="2118" y="692"/>
                    </a:lnTo>
                    <a:lnTo>
                      <a:pt x="2122" y="692"/>
                    </a:lnTo>
                    <a:lnTo>
                      <a:pt x="2124" y="692"/>
                    </a:lnTo>
                    <a:lnTo>
                      <a:pt x="2126" y="696"/>
                    </a:lnTo>
                    <a:lnTo>
                      <a:pt x="2126" y="696"/>
                    </a:lnTo>
                    <a:lnTo>
                      <a:pt x="2132" y="700"/>
                    </a:lnTo>
                    <a:lnTo>
                      <a:pt x="2140" y="702"/>
                    </a:lnTo>
                    <a:lnTo>
                      <a:pt x="2148" y="702"/>
                    </a:lnTo>
                    <a:lnTo>
                      <a:pt x="2154" y="698"/>
                    </a:lnTo>
                    <a:lnTo>
                      <a:pt x="2158" y="692"/>
                    </a:lnTo>
                    <a:lnTo>
                      <a:pt x="2162" y="686"/>
                    </a:lnTo>
                    <a:lnTo>
                      <a:pt x="2160" y="678"/>
                    </a:lnTo>
                    <a:lnTo>
                      <a:pt x="2156" y="670"/>
                    </a:lnTo>
                    <a:lnTo>
                      <a:pt x="2156" y="670"/>
                    </a:lnTo>
                    <a:lnTo>
                      <a:pt x="2150" y="662"/>
                    </a:lnTo>
                    <a:lnTo>
                      <a:pt x="2150" y="658"/>
                    </a:lnTo>
                    <a:lnTo>
                      <a:pt x="2154" y="656"/>
                    </a:lnTo>
                    <a:lnTo>
                      <a:pt x="2156" y="656"/>
                    </a:lnTo>
                    <a:lnTo>
                      <a:pt x="2160" y="656"/>
                    </a:lnTo>
                    <a:lnTo>
                      <a:pt x="2160" y="654"/>
                    </a:lnTo>
                    <a:lnTo>
                      <a:pt x="2144" y="646"/>
                    </a:lnTo>
                    <a:lnTo>
                      <a:pt x="2144" y="646"/>
                    </a:lnTo>
                    <a:lnTo>
                      <a:pt x="2132" y="640"/>
                    </a:lnTo>
                    <a:lnTo>
                      <a:pt x="2128" y="636"/>
                    </a:lnTo>
                    <a:lnTo>
                      <a:pt x="2128" y="634"/>
                    </a:lnTo>
                    <a:lnTo>
                      <a:pt x="2130" y="632"/>
                    </a:lnTo>
                    <a:lnTo>
                      <a:pt x="2140" y="628"/>
                    </a:lnTo>
                    <a:lnTo>
                      <a:pt x="2142" y="624"/>
                    </a:lnTo>
                    <a:lnTo>
                      <a:pt x="2142" y="620"/>
                    </a:lnTo>
                    <a:lnTo>
                      <a:pt x="2142" y="620"/>
                    </a:lnTo>
                    <a:lnTo>
                      <a:pt x="2140" y="616"/>
                    </a:lnTo>
                    <a:lnTo>
                      <a:pt x="2136" y="614"/>
                    </a:lnTo>
                    <a:lnTo>
                      <a:pt x="2126" y="612"/>
                    </a:lnTo>
                    <a:lnTo>
                      <a:pt x="2098" y="612"/>
                    </a:lnTo>
                    <a:lnTo>
                      <a:pt x="2084" y="612"/>
                    </a:lnTo>
                    <a:lnTo>
                      <a:pt x="2074" y="612"/>
                    </a:lnTo>
                    <a:lnTo>
                      <a:pt x="2066" y="608"/>
                    </a:lnTo>
                    <a:lnTo>
                      <a:pt x="2064" y="606"/>
                    </a:lnTo>
                    <a:lnTo>
                      <a:pt x="2062" y="602"/>
                    </a:lnTo>
                    <a:lnTo>
                      <a:pt x="2062" y="602"/>
                    </a:lnTo>
                    <a:lnTo>
                      <a:pt x="2062" y="598"/>
                    </a:lnTo>
                    <a:lnTo>
                      <a:pt x="2060" y="594"/>
                    </a:lnTo>
                    <a:lnTo>
                      <a:pt x="2056" y="590"/>
                    </a:lnTo>
                    <a:lnTo>
                      <a:pt x="2048" y="586"/>
                    </a:lnTo>
                    <a:lnTo>
                      <a:pt x="2040" y="582"/>
                    </a:lnTo>
                    <a:lnTo>
                      <a:pt x="2032" y="580"/>
                    </a:lnTo>
                    <a:lnTo>
                      <a:pt x="2028" y="578"/>
                    </a:lnTo>
                    <a:lnTo>
                      <a:pt x="2026" y="576"/>
                    </a:lnTo>
                    <a:lnTo>
                      <a:pt x="2028" y="574"/>
                    </a:lnTo>
                    <a:lnTo>
                      <a:pt x="2032" y="568"/>
                    </a:lnTo>
                    <a:lnTo>
                      <a:pt x="2032" y="568"/>
                    </a:lnTo>
                    <a:lnTo>
                      <a:pt x="2040" y="566"/>
                    </a:lnTo>
                    <a:lnTo>
                      <a:pt x="2046" y="566"/>
                    </a:lnTo>
                    <a:lnTo>
                      <a:pt x="2050" y="570"/>
                    </a:lnTo>
                    <a:lnTo>
                      <a:pt x="2054" y="574"/>
                    </a:lnTo>
                    <a:lnTo>
                      <a:pt x="2058" y="578"/>
                    </a:lnTo>
                    <a:lnTo>
                      <a:pt x="2064" y="580"/>
                    </a:lnTo>
                    <a:lnTo>
                      <a:pt x="2072" y="580"/>
                    </a:lnTo>
                    <a:lnTo>
                      <a:pt x="2082" y="574"/>
                    </a:lnTo>
                    <a:lnTo>
                      <a:pt x="2082" y="574"/>
                    </a:lnTo>
                    <a:lnTo>
                      <a:pt x="2094" y="566"/>
                    </a:lnTo>
                    <a:lnTo>
                      <a:pt x="2106" y="562"/>
                    </a:lnTo>
                    <a:lnTo>
                      <a:pt x="2120" y="560"/>
                    </a:lnTo>
                    <a:lnTo>
                      <a:pt x="2132" y="560"/>
                    </a:lnTo>
                    <a:lnTo>
                      <a:pt x="2144" y="562"/>
                    </a:lnTo>
                    <a:lnTo>
                      <a:pt x="2156" y="564"/>
                    </a:lnTo>
                    <a:lnTo>
                      <a:pt x="2178" y="574"/>
                    </a:lnTo>
                    <a:lnTo>
                      <a:pt x="2178" y="574"/>
                    </a:lnTo>
                    <a:lnTo>
                      <a:pt x="2188" y="576"/>
                    </a:lnTo>
                    <a:lnTo>
                      <a:pt x="2196" y="574"/>
                    </a:lnTo>
                    <a:lnTo>
                      <a:pt x="2202" y="570"/>
                    </a:lnTo>
                    <a:lnTo>
                      <a:pt x="2206" y="564"/>
                    </a:lnTo>
                    <a:lnTo>
                      <a:pt x="2208" y="556"/>
                    </a:lnTo>
                    <a:lnTo>
                      <a:pt x="2206" y="546"/>
                    </a:lnTo>
                    <a:lnTo>
                      <a:pt x="2202" y="536"/>
                    </a:lnTo>
                    <a:lnTo>
                      <a:pt x="2194" y="528"/>
                    </a:lnTo>
                    <a:lnTo>
                      <a:pt x="2194" y="528"/>
                    </a:lnTo>
                    <a:lnTo>
                      <a:pt x="2186" y="522"/>
                    </a:lnTo>
                    <a:lnTo>
                      <a:pt x="2180" y="522"/>
                    </a:lnTo>
                    <a:lnTo>
                      <a:pt x="2176" y="524"/>
                    </a:lnTo>
                    <a:lnTo>
                      <a:pt x="2172" y="528"/>
                    </a:lnTo>
                    <a:lnTo>
                      <a:pt x="2166" y="532"/>
                    </a:lnTo>
                    <a:lnTo>
                      <a:pt x="2158" y="534"/>
                    </a:lnTo>
                    <a:lnTo>
                      <a:pt x="2148" y="532"/>
                    </a:lnTo>
                    <a:lnTo>
                      <a:pt x="2132" y="524"/>
                    </a:lnTo>
                    <a:lnTo>
                      <a:pt x="2132" y="524"/>
                    </a:lnTo>
                    <a:lnTo>
                      <a:pt x="2106" y="506"/>
                    </a:lnTo>
                    <a:lnTo>
                      <a:pt x="2102" y="502"/>
                    </a:lnTo>
                    <a:lnTo>
                      <a:pt x="2102" y="500"/>
                    </a:lnTo>
                    <a:lnTo>
                      <a:pt x="2102" y="498"/>
                    </a:lnTo>
                    <a:lnTo>
                      <a:pt x="2106" y="498"/>
                    </a:lnTo>
                    <a:lnTo>
                      <a:pt x="2116" y="498"/>
                    </a:lnTo>
                    <a:lnTo>
                      <a:pt x="2144" y="504"/>
                    </a:lnTo>
                    <a:lnTo>
                      <a:pt x="2144" y="504"/>
                    </a:lnTo>
                    <a:lnTo>
                      <a:pt x="2170" y="508"/>
                    </a:lnTo>
                    <a:lnTo>
                      <a:pt x="2174" y="508"/>
                    </a:lnTo>
                    <a:lnTo>
                      <a:pt x="2174" y="506"/>
                    </a:lnTo>
                    <a:lnTo>
                      <a:pt x="2168" y="502"/>
                    </a:lnTo>
                    <a:lnTo>
                      <a:pt x="2156" y="496"/>
                    </a:lnTo>
                    <a:lnTo>
                      <a:pt x="2120" y="480"/>
                    </a:lnTo>
                    <a:lnTo>
                      <a:pt x="2120" y="480"/>
                    </a:lnTo>
                    <a:lnTo>
                      <a:pt x="2100" y="474"/>
                    </a:lnTo>
                    <a:lnTo>
                      <a:pt x="2086" y="474"/>
                    </a:lnTo>
                    <a:lnTo>
                      <a:pt x="2078" y="476"/>
                    </a:lnTo>
                    <a:lnTo>
                      <a:pt x="2074" y="482"/>
                    </a:lnTo>
                    <a:lnTo>
                      <a:pt x="2070" y="494"/>
                    </a:lnTo>
                    <a:lnTo>
                      <a:pt x="2066" y="500"/>
                    </a:lnTo>
                    <a:lnTo>
                      <a:pt x="2060" y="504"/>
                    </a:lnTo>
                    <a:lnTo>
                      <a:pt x="2060" y="504"/>
                    </a:lnTo>
                    <a:lnTo>
                      <a:pt x="2056" y="504"/>
                    </a:lnTo>
                    <a:lnTo>
                      <a:pt x="2054" y="502"/>
                    </a:lnTo>
                    <a:lnTo>
                      <a:pt x="2052" y="500"/>
                    </a:lnTo>
                    <a:lnTo>
                      <a:pt x="2052" y="498"/>
                    </a:lnTo>
                    <a:lnTo>
                      <a:pt x="2054" y="490"/>
                    </a:lnTo>
                    <a:lnTo>
                      <a:pt x="2060" y="478"/>
                    </a:lnTo>
                    <a:lnTo>
                      <a:pt x="2072" y="454"/>
                    </a:lnTo>
                    <a:lnTo>
                      <a:pt x="2080" y="440"/>
                    </a:lnTo>
                    <a:lnTo>
                      <a:pt x="2086" y="426"/>
                    </a:lnTo>
                    <a:lnTo>
                      <a:pt x="2086" y="426"/>
                    </a:lnTo>
                    <a:lnTo>
                      <a:pt x="2090" y="414"/>
                    </a:lnTo>
                    <a:lnTo>
                      <a:pt x="2096" y="408"/>
                    </a:lnTo>
                    <a:lnTo>
                      <a:pt x="2104" y="404"/>
                    </a:lnTo>
                    <a:lnTo>
                      <a:pt x="2110" y="404"/>
                    </a:lnTo>
                    <a:lnTo>
                      <a:pt x="2124" y="404"/>
                    </a:lnTo>
                    <a:lnTo>
                      <a:pt x="2130" y="404"/>
                    </a:lnTo>
                    <a:lnTo>
                      <a:pt x="2134" y="402"/>
                    </a:lnTo>
                    <a:lnTo>
                      <a:pt x="2134" y="402"/>
                    </a:lnTo>
                    <a:lnTo>
                      <a:pt x="2146" y="392"/>
                    </a:lnTo>
                    <a:lnTo>
                      <a:pt x="2160" y="382"/>
                    </a:lnTo>
                    <a:lnTo>
                      <a:pt x="2166" y="376"/>
                    </a:lnTo>
                    <a:lnTo>
                      <a:pt x="2168" y="372"/>
                    </a:lnTo>
                    <a:lnTo>
                      <a:pt x="2168" y="370"/>
                    </a:lnTo>
                    <a:lnTo>
                      <a:pt x="2166" y="368"/>
                    </a:lnTo>
                    <a:lnTo>
                      <a:pt x="2160" y="366"/>
                    </a:lnTo>
                    <a:lnTo>
                      <a:pt x="2160" y="366"/>
                    </a:lnTo>
                    <a:lnTo>
                      <a:pt x="2152" y="362"/>
                    </a:lnTo>
                    <a:lnTo>
                      <a:pt x="2146" y="358"/>
                    </a:lnTo>
                    <a:lnTo>
                      <a:pt x="2144" y="354"/>
                    </a:lnTo>
                    <a:lnTo>
                      <a:pt x="2144" y="348"/>
                    </a:lnTo>
                    <a:lnTo>
                      <a:pt x="2146" y="344"/>
                    </a:lnTo>
                    <a:lnTo>
                      <a:pt x="2150" y="338"/>
                    </a:lnTo>
                    <a:lnTo>
                      <a:pt x="2158" y="336"/>
                    </a:lnTo>
                    <a:lnTo>
                      <a:pt x="2168" y="334"/>
                    </a:lnTo>
                    <a:lnTo>
                      <a:pt x="2168" y="334"/>
                    </a:lnTo>
                    <a:lnTo>
                      <a:pt x="2190" y="334"/>
                    </a:lnTo>
                    <a:lnTo>
                      <a:pt x="2204" y="330"/>
                    </a:lnTo>
                    <a:lnTo>
                      <a:pt x="2216" y="322"/>
                    </a:lnTo>
                    <a:lnTo>
                      <a:pt x="2228" y="310"/>
                    </a:lnTo>
                    <a:lnTo>
                      <a:pt x="2228" y="310"/>
                    </a:lnTo>
                    <a:lnTo>
                      <a:pt x="2230" y="306"/>
                    </a:lnTo>
                    <a:lnTo>
                      <a:pt x="2230" y="304"/>
                    </a:lnTo>
                    <a:lnTo>
                      <a:pt x="2228" y="302"/>
                    </a:lnTo>
                    <a:lnTo>
                      <a:pt x="2226" y="300"/>
                    </a:lnTo>
                    <a:lnTo>
                      <a:pt x="2214" y="300"/>
                    </a:lnTo>
                    <a:lnTo>
                      <a:pt x="2200" y="300"/>
                    </a:lnTo>
                    <a:lnTo>
                      <a:pt x="2162" y="308"/>
                    </a:lnTo>
                    <a:lnTo>
                      <a:pt x="2142" y="312"/>
                    </a:lnTo>
                    <a:lnTo>
                      <a:pt x="2124" y="318"/>
                    </a:lnTo>
                    <a:lnTo>
                      <a:pt x="2124" y="318"/>
                    </a:lnTo>
                    <a:lnTo>
                      <a:pt x="2112" y="322"/>
                    </a:lnTo>
                    <a:lnTo>
                      <a:pt x="2108" y="320"/>
                    </a:lnTo>
                    <a:lnTo>
                      <a:pt x="2106" y="320"/>
                    </a:lnTo>
                    <a:lnTo>
                      <a:pt x="2106" y="316"/>
                    </a:lnTo>
                    <a:lnTo>
                      <a:pt x="2108" y="314"/>
                    </a:lnTo>
                    <a:lnTo>
                      <a:pt x="2114" y="306"/>
                    </a:lnTo>
                    <a:lnTo>
                      <a:pt x="2124" y="298"/>
                    </a:lnTo>
                    <a:lnTo>
                      <a:pt x="2138" y="292"/>
                    </a:lnTo>
                    <a:lnTo>
                      <a:pt x="2152" y="288"/>
                    </a:lnTo>
                    <a:lnTo>
                      <a:pt x="2160" y="288"/>
                    </a:lnTo>
                    <a:lnTo>
                      <a:pt x="2168" y="288"/>
                    </a:lnTo>
                    <a:lnTo>
                      <a:pt x="2168" y="288"/>
                    </a:lnTo>
                    <a:lnTo>
                      <a:pt x="2182" y="292"/>
                    </a:lnTo>
                    <a:lnTo>
                      <a:pt x="2198" y="292"/>
                    </a:lnTo>
                    <a:lnTo>
                      <a:pt x="2214" y="292"/>
                    </a:lnTo>
                    <a:lnTo>
                      <a:pt x="2228" y="290"/>
                    </a:lnTo>
                    <a:lnTo>
                      <a:pt x="2256" y="284"/>
                    </a:lnTo>
                    <a:lnTo>
                      <a:pt x="2278" y="276"/>
                    </a:lnTo>
                    <a:lnTo>
                      <a:pt x="2278" y="276"/>
                    </a:lnTo>
                    <a:lnTo>
                      <a:pt x="2284" y="270"/>
                    </a:lnTo>
                    <a:lnTo>
                      <a:pt x="2286" y="268"/>
                    </a:lnTo>
                    <a:lnTo>
                      <a:pt x="2284" y="268"/>
                    </a:lnTo>
                    <a:lnTo>
                      <a:pt x="2280" y="264"/>
                    </a:lnTo>
                    <a:lnTo>
                      <a:pt x="2270" y="262"/>
                    </a:lnTo>
                    <a:lnTo>
                      <a:pt x="2244" y="260"/>
                    </a:lnTo>
                    <a:lnTo>
                      <a:pt x="2232" y="260"/>
                    </a:lnTo>
                    <a:lnTo>
                      <a:pt x="2220" y="262"/>
                    </a:lnTo>
                    <a:lnTo>
                      <a:pt x="2220" y="262"/>
                    </a:lnTo>
                    <a:lnTo>
                      <a:pt x="2206" y="264"/>
                    </a:lnTo>
                    <a:lnTo>
                      <a:pt x="2188" y="264"/>
                    </a:lnTo>
                    <a:lnTo>
                      <a:pt x="2154" y="262"/>
                    </a:lnTo>
                    <a:lnTo>
                      <a:pt x="2134" y="258"/>
                    </a:lnTo>
                    <a:lnTo>
                      <a:pt x="2150" y="258"/>
                    </a:lnTo>
                    <a:lnTo>
                      <a:pt x="2150" y="258"/>
                    </a:lnTo>
                    <a:lnTo>
                      <a:pt x="2168" y="260"/>
                    </a:lnTo>
                    <a:lnTo>
                      <a:pt x="2182" y="258"/>
                    </a:lnTo>
                    <a:lnTo>
                      <a:pt x="2192" y="256"/>
                    </a:lnTo>
                    <a:lnTo>
                      <a:pt x="2200" y="252"/>
                    </a:lnTo>
                    <a:lnTo>
                      <a:pt x="2214" y="248"/>
                    </a:lnTo>
                    <a:lnTo>
                      <a:pt x="2222" y="246"/>
                    </a:lnTo>
                    <a:lnTo>
                      <a:pt x="2232" y="248"/>
                    </a:lnTo>
                    <a:lnTo>
                      <a:pt x="2232" y="248"/>
                    </a:lnTo>
                    <a:lnTo>
                      <a:pt x="2244" y="250"/>
                    </a:lnTo>
                    <a:lnTo>
                      <a:pt x="2254" y="250"/>
                    </a:lnTo>
                    <a:lnTo>
                      <a:pt x="2274" y="248"/>
                    </a:lnTo>
                    <a:lnTo>
                      <a:pt x="2298" y="244"/>
                    </a:lnTo>
                    <a:lnTo>
                      <a:pt x="2330" y="242"/>
                    </a:lnTo>
                    <a:lnTo>
                      <a:pt x="2330" y="242"/>
                    </a:lnTo>
                    <a:lnTo>
                      <a:pt x="2342" y="240"/>
                    </a:lnTo>
                    <a:lnTo>
                      <a:pt x="2344" y="238"/>
                    </a:lnTo>
                    <a:lnTo>
                      <a:pt x="2344" y="238"/>
                    </a:lnTo>
                    <a:lnTo>
                      <a:pt x="2342" y="232"/>
                    </a:lnTo>
                    <a:lnTo>
                      <a:pt x="2336" y="228"/>
                    </a:lnTo>
                    <a:lnTo>
                      <a:pt x="2330" y="224"/>
                    </a:lnTo>
                    <a:lnTo>
                      <a:pt x="2328" y="220"/>
                    </a:lnTo>
                    <a:lnTo>
                      <a:pt x="2330" y="220"/>
                    </a:lnTo>
                    <a:lnTo>
                      <a:pt x="2334" y="218"/>
                    </a:lnTo>
                    <a:lnTo>
                      <a:pt x="2348" y="218"/>
                    </a:lnTo>
                    <a:lnTo>
                      <a:pt x="2348" y="218"/>
                    </a:lnTo>
                    <a:lnTo>
                      <a:pt x="2360" y="216"/>
                    </a:lnTo>
                    <a:lnTo>
                      <a:pt x="2372" y="214"/>
                    </a:lnTo>
                    <a:lnTo>
                      <a:pt x="2382" y="212"/>
                    </a:lnTo>
                    <a:lnTo>
                      <a:pt x="2392" y="206"/>
                    </a:lnTo>
                    <a:lnTo>
                      <a:pt x="2412" y="196"/>
                    </a:lnTo>
                    <a:lnTo>
                      <a:pt x="2436" y="182"/>
                    </a:lnTo>
                    <a:lnTo>
                      <a:pt x="2436" y="182"/>
                    </a:lnTo>
                    <a:lnTo>
                      <a:pt x="2440" y="180"/>
                    </a:lnTo>
                    <a:lnTo>
                      <a:pt x="2442" y="176"/>
                    </a:lnTo>
                    <a:lnTo>
                      <a:pt x="2438" y="174"/>
                    </a:lnTo>
                    <a:lnTo>
                      <a:pt x="2434" y="170"/>
                    </a:lnTo>
                    <a:lnTo>
                      <a:pt x="2414" y="164"/>
                    </a:lnTo>
                    <a:lnTo>
                      <a:pt x="2388" y="158"/>
                    </a:lnTo>
                    <a:lnTo>
                      <a:pt x="2356" y="154"/>
                    </a:lnTo>
                    <a:lnTo>
                      <a:pt x="2322" y="150"/>
                    </a:lnTo>
                    <a:lnTo>
                      <a:pt x="2292" y="148"/>
                    </a:lnTo>
                    <a:lnTo>
                      <a:pt x="2264" y="150"/>
                    </a:lnTo>
                    <a:lnTo>
                      <a:pt x="2264" y="150"/>
                    </a:lnTo>
                    <a:lnTo>
                      <a:pt x="2244" y="152"/>
                    </a:lnTo>
                    <a:lnTo>
                      <a:pt x="2230" y="158"/>
                    </a:lnTo>
                    <a:lnTo>
                      <a:pt x="2220" y="164"/>
                    </a:lnTo>
                    <a:lnTo>
                      <a:pt x="2214" y="172"/>
                    </a:lnTo>
                    <a:lnTo>
                      <a:pt x="2210" y="180"/>
                    </a:lnTo>
                    <a:lnTo>
                      <a:pt x="2204" y="184"/>
                    </a:lnTo>
                    <a:lnTo>
                      <a:pt x="2198" y="186"/>
                    </a:lnTo>
                    <a:lnTo>
                      <a:pt x="2188" y="186"/>
                    </a:lnTo>
                    <a:lnTo>
                      <a:pt x="2188" y="186"/>
                    </a:lnTo>
                    <a:lnTo>
                      <a:pt x="2176" y="184"/>
                    </a:lnTo>
                    <a:lnTo>
                      <a:pt x="2162" y="182"/>
                    </a:lnTo>
                    <a:lnTo>
                      <a:pt x="2140" y="184"/>
                    </a:lnTo>
                    <a:lnTo>
                      <a:pt x="2126" y="184"/>
                    </a:lnTo>
                    <a:lnTo>
                      <a:pt x="2126" y="182"/>
                    </a:lnTo>
                    <a:lnTo>
                      <a:pt x="2126" y="182"/>
                    </a:lnTo>
                    <a:lnTo>
                      <a:pt x="2130" y="178"/>
                    </a:lnTo>
                    <a:lnTo>
                      <a:pt x="2130" y="178"/>
                    </a:lnTo>
                    <a:lnTo>
                      <a:pt x="2134" y="172"/>
                    </a:lnTo>
                    <a:lnTo>
                      <a:pt x="2134" y="170"/>
                    </a:lnTo>
                    <a:lnTo>
                      <a:pt x="2128" y="170"/>
                    </a:lnTo>
                    <a:lnTo>
                      <a:pt x="2120" y="172"/>
                    </a:lnTo>
                    <a:lnTo>
                      <a:pt x="2108" y="176"/>
                    </a:lnTo>
                    <a:lnTo>
                      <a:pt x="2092" y="184"/>
                    </a:lnTo>
                    <a:lnTo>
                      <a:pt x="2074" y="196"/>
                    </a:lnTo>
                    <a:lnTo>
                      <a:pt x="2050" y="210"/>
                    </a:lnTo>
                    <a:lnTo>
                      <a:pt x="2050" y="210"/>
                    </a:lnTo>
                    <a:lnTo>
                      <a:pt x="2028" y="224"/>
                    </a:lnTo>
                    <a:lnTo>
                      <a:pt x="2010" y="234"/>
                    </a:lnTo>
                    <a:lnTo>
                      <a:pt x="1996" y="242"/>
                    </a:lnTo>
                    <a:lnTo>
                      <a:pt x="1986" y="244"/>
                    </a:lnTo>
                    <a:lnTo>
                      <a:pt x="1984" y="244"/>
                    </a:lnTo>
                    <a:lnTo>
                      <a:pt x="1982" y="244"/>
                    </a:lnTo>
                    <a:lnTo>
                      <a:pt x="1984" y="238"/>
                    </a:lnTo>
                    <a:lnTo>
                      <a:pt x="1992" y="228"/>
                    </a:lnTo>
                    <a:lnTo>
                      <a:pt x="2008" y="216"/>
                    </a:lnTo>
                    <a:lnTo>
                      <a:pt x="2008" y="216"/>
                    </a:lnTo>
                    <a:lnTo>
                      <a:pt x="2026" y="200"/>
                    </a:lnTo>
                    <a:lnTo>
                      <a:pt x="2040" y="186"/>
                    </a:lnTo>
                    <a:lnTo>
                      <a:pt x="2050" y="172"/>
                    </a:lnTo>
                    <a:lnTo>
                      <a:pt x="2052" y="166"/>
                    </a:lnTo>
                    <a:lnTo>
                      <a:pt x="2052" y="160"/>
                    </a:lnTo>
                    <a:lnTo>
                      <a:pt x="2052" y="156"/>
                    </a:lnTo>
                    <a:lnTo>
                      <a:pt x="2050" y="150"/>
                    </a:lnTo>
                    <a:lnTo>
                      <a:pt x="2048" y="146"/>
                    </a:lnTo>
                    <a:lnTo>
                      <a:pt x="2042" y="144"/>
                    </a:lnTo>
                    <a:lnTo>
                      <a:pt x="2036" y="140"/>
                    </a:lnTo>
                    <a:lnTo>
                      <a:pt x="2028" y="138"/>
                    </a:lnTo>
                    <a:lnTo>
                      <a:pt x="2004" y="138"/>
                    </a:lnTo>
                    <a:lnTo>
                      <a:pt x="2004" y="138"/>
                    </a:lnTo>
                    <a:lnTo>
                      <a:pt x="1984" y="138"/>
                    </a:lnTo>
                    <a:lnTo>
                      <a:pt x="1972" y="142"/>
                    </a:lnTo>
                    <a:lnTo>
                      <a:pt x="1964" y="146"/>
                    </a:lnTo>
                    <a:lnTo>
                      <a:pt x="1962" y="152"/>
                    </a:lnTo>
                    <a:lnTo>
                      <a:pt x="1960" y="156"/>
                    </a:lnTo>
                    <a:lnTo>
                      <a:pt x="1958" y="162"/>
                    </a:lnTo>
                    <a:lnTo>
                      <a:pt x="1952" y="168"/>
                    </a:lnTo>
                    <a:lnTo>
                      <a:pt x="1940" y="172"/>
                    </a:lnTo>
                    <a:lnTo>
                      <a:pt x="1940" y="172"/>
                    </a:lnTo>
                    <a:lnTo>
                      <a:pt x="1910" y="178"/>
                    </a:lnTo>
                    <a:lnTo>
                      <a:pt x="1886" y="182"/>
                    </a:lnTo>
                    <a:lnTo>
                      <a:pt x="1878" y="182"/>
                    </a:lnTo>
                    <a:lnTo>
                      <a:pt x="1876" y="180"/>
                    </a:lnTo>
                    <a:lnTo>
                      <a:pt x="1880" y="176"/>
                    </a:lnTo>
                    <a:lnTo>
                      <a:pt x="1890" y="172"/>
                    </a:lnTo>
                    <a:lnTo>
                      <a:pt x="1890" y="172"/>
                    </a:lnTo>
                    <a:lnTo>
                      <a:pt x="1916" y="160"/>
                    </a:lnTo>
                    <a:lnTo>
                      <a:pt x="1922" y="154"/>
                    </a:lnTo>
                    <a:lnTo>
                      <a:pt x="1924" y="152"/>
                    </a:lnTo>
                    <a:lnTo>
                      <a:pt x="1924" y="150"/>
                    </a:lnTo>
                    <a:lnTo>
                      <a:pt x="1924" y="148"/>
                    </a:lnTo>
                    <a:lnTo>
                      <a:pt x="1920" y="148"/>
                    </a:lnTo>
                    <a:lnTo>
                      <a:pt x="1906" y="144"/>
                    </a:lnTo>
                    <a:lnTo>
                      <a:pt x="1884" y="142"/>
                    </a:lnTo>
                    <a:lnTo>
                      <a:pt x="1852" y="140"/>
                    </a:lnTo>
                    <a:lnTo>
                      <a:pt x="1852" y="140"/>
                    </a:lnTo>
                    <a:lnTo>
                      <a:pt x="1812" y="142"/>
                    </a:lnTo>
                    <a:lnTo>
                      <a:pt x="1770" y="146"/>
                    </a:lnTo>
                    <a:lnTo>
                      <a:pt x="1730" y="152"/>
                    </a:lnTo>
                    <a:lnTo>
                      <a:pt x="1694" y="160"/>
                    </a:lnTo>
                    <a:lnTo>
                      <a:pt x="1636" y="172"/>
                    </a:lnTo>
                    <a:lnTo>
                      <a:pt x="1616" y="174"/>
                    </a:lnTo>
                    <a:lnTo>
                      <a:pt x="1610" y="174"/>
                    </a:lnTo>
                    <a:lnTo>
                      <a:pt x="1608" y="174"/>
                    </a:lnTo>
                    <a:lnTo>
                      <a:pt x="1608" y="174"/>
                    </a:lnTo>
                    <a:lnTo>
                      <a:pt x="1604" y="170"/>
                    </a:lnTo>
                    <a:lnTo>
                      <a:pt x="1602" y="168"/>
                    </a:lnTo>
                    <a:lnTo>
                      <a:pt x="1604" y="164"/>
                    </a:lnTo>
                    <a:lnTo>
                      <a:pt x="1606" y="162"/>
                    </a:lnTo>
                    <a:lnTo>
                      <a:pt x="1618" y="156"/>
                    </a:lnTo>
                    <a:lnTo>
                      <a:pt x="1636" y="152"/>
                    </a:lnTo>
                    <a:lnTo>
                      <a:pt x="1686" y="142"/>
                    </a:lnTo>
                    <a:lnTo>
                      <a:pt x="1744" y="134"/>
                    </a:lnTo>
                    <a:lnTo>
                      <a:pt x="1744" y="134"/>
                    </a:lnTo>
                    <a:lnTo>
                      <a:pt x="1772" y="130"/>
                    </a:lnTo>
                    <a:lnTo>
                      <a:pt x="1802" y="130"/>
                    </a:lnTo>
                    <a:lnTo>
                      <a:pt x="1864" y="130"/>
                    </a:lnTo>
                    <a:lnTo>
                      <a:pt x="1926" y="130"/>
                    </a:lnTo>
                    <a:lnTo>
                      <a:pt x="1956" y="128"/>
                    </a:lnTo>
                    <a:lnTo>
                      <a:pt x="1984" y="124"/>
                    </a:lnTo>
                    <a:lnTo>
                      <a:pt x="1984" y="124"/>
                    </a:lnTo>
                    <a:lnTo>
                      <a:pt x="2020" y="114"/>
                    </a:lnTo>
                    <a:lnTo>
                      <a:pt x="2054" y="104"/>
                    </a:lnTo>
                    <a:lnTo>
                      <a:pt x="2066" y="98"/>
                    </a:lnTo>
                    <a:lnTo>
                      <a:pt x="2072" y="92"/>
                    </a:lnTo>
                    <a:lnTo>
                      <a:pt x="2072" y="90"/>
                    </a:lnTo>
                    <a:lnTo>
                      <a:pt x="2070" y="88"/>
                    </a:lnTo>
                    <a:lnTo>
                      <a:pt x="2062" y="84"/>
                    </a:lnTo>
                    <a:lnTo>
                      <a:pt x="2062" y="84"/>
                    </a:lnTo>
                    <a:lnTo>
                      <a:pt x="2034" y="78"/>
                    </a:lnTo>
                    <a:lnTo>
                      <a:pt x="2004" y="72"/>
                    </a:lnTo>
                    <a:lnTo>
                      <a:pt x="1988" y="70"/>
                    </a:lnTo>
                    <a:lnTo>
                      <a:pt x="1970" y="68"/>
                    </a:lnTo>
                    <a:lnTo>
                      <a:pt x="1952" y="70"/>
                    </a:lnTo>
                    <a:lnTo>
                      <a:pt x="1932" y="72"/>
                    </a:lnTo>
                    <a:lnTo>
                      <a:pt x="1932" y="72"/>
                    </a:lnTo>
                    <a:lnTo>
                      <a:pt x="1914" y="76"/>
                    </a:lnTo>
                    <a:lnTo>
                      <a:pt x="1916" y="74"/>
                    </a:lnTo>
                    <a:lnTo>
                      <a:pt x="1922" y="70"/>
                    </a:lnTo>
                    <a:lnTo>
                      <a:pt x="1930" y="64"/>
                    </a:lnTo>
                    <a:lnTo>
                      <a:pt x="1936" y="58"/>
                    </a:lnTo>
                    <a:lnTo>
                      <a:pt x="1938" y="56"/>
                    </a:lnTo>
                    <a:lnTo>
                      <a:pt x="1938" y="52"/>
                    </a:lnTo>
                    <a:lnTo>
                      <a:pt x="1936" y="50"/>
                    </a:lnTo>
                    <a:lnTo>
                      <a:pt x="1932" y="46"/>
                    </a:lnTo>
                    <a:lnTo>
                      <a:pt x="1932" y="46"/>
                    </a:lnTo>
                    <a:lnTo>
                      <a:pt x="1922" y="42"/>
                    </a:lnTo>
                    <a:lnTo>
                      <a:pt x="1912" y="42"/>
                    </a:lnTo>
                    <a:lnTo>
                      <a:pt x="1898" y="42"/>
                    </a:lnTo>
                    <a:lnTo>
                      <a:pt x="1884" y="46"/>
                    </a:lnTo>
                    <a:lnTo>
                      <a:pt x="1866" y="48"/>
                    </a:lnTo>
                    <a:lnTo>
                      <a:pt x="1846" y="50"/>
                    </a:lnTo>
                    <a:lnTo>
                      <a:pt x="1822" y="52"/>
                    </a:lnTo>
                    <a:lnTo>
                      <a:pt x="1794" y="50"/>
                    </a:lnTo>
                    <a:lnTo>
                      <a:pt x="1794" y="50"/>
                    </a:lnTo>
                    <a:lnTo>
                      <a:pt x="1766" y="48"/>
                    </a:lnTo>
                    <a:lnTo>
                      <a:pt x="1744" y="48"/>
                    </a:lnTo>
                    <a:lnTo>
                      <a:pt x="1724" y="52"/>
                    </a:lnTo>
                    <a:lnTo>
                      <a:pt x="1708" y="54"/>
                    </a:lnTo>
                    <a:lnTo>
                      <a:pt x="1678" y="60"/>
                    </a:lnTo>
                    <a:lnTo>
                      <a:pt x="1660" y="60"/>
                    </a:lnTo>
                    <a:lnTo>
                      <a:pt x="1638" y="60"/>
                    </a:lnTo>
                    <a:lnTo>
                      <a:pt x="1638" y="60"/>
                    </a:lnTo>
                    <a:lnTo>
                      <a:pt x="1622" y="58"/>
                    </a:lnTo>
                    <a:lnTo>
                      <a:pt x="1616" y="56"/>
                    </a:lnTo>
                    <a:lnTo>
                      <a:pt x="1618" y="54"/>
                    </a:lnTo>
                    <a:lnTo>
                      <a:pt x="1628" y="52"/>
                    </a:lnTo>
                    <a:lnTo>
                      <a:pt x="1692" y="46"/>
                    </a:lnTo>
                    <a:lnTo>
                      <a:pt x="1692" y="46"/>
                    </a:lnTo>
                    <a:lnTo>
                      <a:pt x="1734" y="44"/>
                    </a:lnTo>
                    <a:lnTo>
                      <a:pt x="1794" y="42"/>
                    </a:lnTo>
                    <a:lnTo>
                      <a:pt x="1852" y="38"/>
                    </a:lnTo>
                    <a:lnTo>
                      <a:pt x="1894" y="34"/>
                    </a:lnTo>
                    <a:lnTo>
                      <a:pt x="1894" y="34"/>
                    </a:lnTo>
                    <a:lnTo>
                      <a:pt x="1900" y="32"/>
                    </a:lnTo>
                    <a:lnTo>
                      <a:pt x="1902" y="32"/>
                    </a:lnTo>
                    <a:lnTo>
                      <a:pt x="1902" y="30"/>
                    </a:lnTo>
                    <a:lnTo>
                      <a:pt x="1898" y="28"/>
                    </a:lnTo>
                    <a:lnTo>
                      <a:pt x="1882" y="24"/>
                    </a:lnTo>
                    <a:lnTo>
                      <a:pt x="1858" y="20"/>
                    </a:lnTo>
                    <a:lnTo>
                      <a:pt x="1798" y="12"/>
                    </a:lnTo>
                    <a:lnTo>
                      <a:pt x="1732" y="6"/>
                    </a:lnTo>
                    <a:lnTo>
                      <a:pt x="1732" y="6"/>
                    </a:lnTo>
                    <a:lnTo>
                      <a:pt x="1686" y="2"/>
                    </a:lnTo>
                    <a:lnTo>
                      <a:pt x="1648" y="0"/>
                    </a:lnTo>
                    <a:lnTo>
                      <a:pt x="1618" y="2"/>
                    </a:lnTo>
                    <a:lnTo>
                      <a:pt x="1594" y="2"/>
                    </a:lnTo>
                    <a:lnTo>
                      <a:pt x="1552" y="6"/>
                    </a:lnTo>
                    <a:lnTo>
                      <a:pt x="1528" y="8"/>
                    </a:lnTo>
                    <a:lnTo>
                      <a:pt x="1504" y="6"/>
                    </a:lnTo>
                    <a:lnTo>
                      <a:pt x="1504" y="6"/>
                    </a:lnTo>
                    <a:lnTo>
                      <a:pt x="1480" y="6"/>
                    </a:lnTo>
                    <a:lnTo>
                      <a:pt x="1466" y="8"/>
                    </a:lnTo>
                    <a:lnTo>
                      <a:pt x="1460" y="10"/>
                    </a:lnTo>
                    <a:lnTo>
                      <a:pt x="1458" y="14"/>
                    </a:lnTo>
                    <a:lnTo>
                      <a:pt x="1458" y="16"/>
                    </a:lnTo>
                    <a:lnTo>
                      <a:pt x="1458" y="18"/>
                    </a:lnTo>
                    <a:lnTo>
                      <a:pt x="1452" y="18"/>
                    </a:lnTo>
                    <a:lnTo>
                      <a:pt x="1442" y="16"/>
                    </a:lnTo>
                    <a:lnTo>
                      <a:pt x="1442" y="16"/>
                    </a:lnTo>
                    <a:lnTo>
                      <a:pt x="1420" y="12"/>
                    </a:lnTo>
                    <a:lnTo>
                      <a:pt x="1410" y="14"/>
                    </a:lnTo>
                    <a:lnTo>
                      <a:pt x="1400" y="16"/>
                    </a:lnTo>
                    <a:lnTo>
                      <a:pt x="1384" y="18"/>
                    </a:lnTo>
                    <a:lnTo>
                      <a:pt x="1384" y="18"/>
                    </a:lnTo>
                    <a:lnTo>
                      <a:pt x="1374" y="18"/>
                    </a:lnTo>
                    <a:lnTo>
                      <a:pt x="1368" y="20"/>
                    </a:lnTo>
                    <a:lnTo>
                      <a:pt x="1366" y="24"/>
                    </a:lnTo>
                    <a:lnTo>
                      <a:pt x="1366" y="28"/>
                    </a:lnTo>
                    <a:lnTo>
                      <a:pt x="1370" y="32"/>
                    </a:lnTo>
                    <a:lnTo>
                      <a:pt x="1378" y="36"/>
                    </a:lnTo>
                    <a:lnTo>
                      <a:pt x="1388" y="40"/>
                    </a:lnTo>
                    <a:lnTo>
                      <a:pt x="1402" y="44"/>
                    </a:lnTo>
                    <a:lnTo>
                      <a:pt x="1402" y="44"/>
                    </a:lnTo>
                    <a:lnTo>
                      <a:pt x="1412" y="46"/>
                    </a:lnTo>
                    <a:lnTo>
                      <a:pt x="1416" y="46"/>
                    </a:lnTo>
                    <a:lnTo>
                      <a:pt x="1412" y="48"/>
                    </a:lnTo>
                    <a:lnTo>
                      <a:pt x="1406" y="50"/>
                    </a:lnTo>
                    <a:lnTo>
                      <a:pt x="1386" y="52"/>
                    </a:lnTo>
                    <a:lnTo>
                      <a:pt x="1378" y="54"/>
                    </a:lnTo>
                    <a:lnTo>
                      <a:pt x="1372" y="56"/>
                    </a:lnTo>
                    <a:lnTo>
                      <a:pt x="1372" y="56"/>
                    </a:lnTo>
                    <a:lnTo>
                      <a:pt x="1356" y="62"/>
                    </a:lnTo>
                    <a:lnTo>
                      <a:pt x="1332" y="64"/>
                    </a:lnTo>
                    <a:lnTo>
                      <a:pt x="1318" y="66"/>
                    </a:lnTo>
                    <a:lnTo>
                      <a:pt x="1304" y="64"/>
                    </a:lnTo>
                    <a:lnTo>
                      <a:pt x="1290" y="62"/>
                    </a:lnTo>
                    <a:lnTo>
                      <a:pt x="1278" y="56"/>
                    </a:lnTo>
                    <a:lnTo>
                      <a:pt x="1278" y="56"/>
                    </a:lnTo>
                    <a:lnTo>
                      <a:pt x="1254" y="46"/>
                    </a:lnTo>
                    <a:lnTo>
                      <a:pt x="1242" y="42"/>
                    </a:lnTo>
                    <a:lnTo>
                      <a:pt x="1228" y="38"/>
                    </a:lnTo>
                    <a:lnTo>
                      <a:pt x="1212" y="36"/>
                    </a:lnTo>
                    <a:lnTo>
                      <a:pt x="1194" y="34"/>
                    </a:lnTo>
                    <a:lnTo>
                      <a:pt x="1176" y="36"/>
                    </a:lnTo>
                    <a:lnTo>
                      <a:pt x="1154" y="38"/>
                    </a:lnTo>
                    <a:lnTo>
                      <a:pt x="1154" y="38"/>
                    </a:lnTo>
                    <a:lnTo>
                      <a:pt x="1114" y="44"/>
                    </a:lnTo>
                    <a:lnTo>
                      <a:pt x="1078" y="48"/>
                    </a:lnTo>
                    <a:lnTo>
                      <a:pt x="1064" y="50"/>
                    </a:lnTo>
                    <a:lnTo>
                      <a:pt x="1054" y="54"/>
                    </a:lnTo>
                    <a:lnTo>
                      <a:pt x="1048" y="56"/>
                    </a:lnTo>
                    <a:lnTo>
                      <a:pt x="1048" y="58"/>
                    </a:lnTo>
                    <a:lnTo>
                      <a:pt x="1048" y="60"/>
                    </a:lnTo>
                    <a:lnTo>
                      <a:pt x="1048" y="60"/>
                    </a:lnTo>
                    <a:lnTo>
                      <a:pt x="1054" y="64"/>
                    </a:lnTo>
                    <a:lnTo>
                      <a:pt x="1062" y="66"/>
                    </a:lnTo>
                    <a:lnTo>
                      <a:pt x="1092" y="68"/>
                    </a:lnTo>
                    <a:lnTo>
                      <a:pt x="1128" y="66"/>
                    </a:lnTo>
                    <a:lnTo>
                      <a:pt x="1170" y="66"/>
                    </a:lnTo>
                    <a:lnTo>
                      <a:pt x="1170" y="66"/>
                    </a:lnTo>
                    <a:lnTo>
                      <a:pt x="1208" y="68"/>
                    </a:lnTo>
                    <a:lnTo>
                      <a:pt x="1246" y="72"/>
                    </a:lnTo>
                    <a:lnTo>
                      <a:pt x="1280" y="76"/>
                    </a:lnTo>
                    <a:lnTo>
                      <a:pt x="1314" y="82"/>
                    </a:lnTo>
                    <a:lnTo>
                      <a:pt x="1314" y="82"/>
                    </a:lnTo>
                    <a:lnTo>
                      <a:pt x="1326" y="86"/>
                    </a:lnTo>
                    <a:lnTo>
                      <a:pt x="1332" y="88"/>
                    </a:lnTo>
                    <a:lnTo>
                      <a:pt x="1332" y="90"/>
                    </a:lnTo>
                    <a:lnTo>
                      <a:pt x="1332" y="90"/>
                    </a:lnTo>
                    <a:lnTo>
                      <a:pt x="1326" y="92"/>
                    </a:lnTo>
                    <a:lnTo>
                      <a:pt x="1308" y="92"/>
                    </a:lnTo>
                    <a:lnTo>
                      <a:pt x="1294" y="90"/>
                    </a:lnTo>
                    <a:lnTo>
                      <a:pt x="1282" y="88"/>
                    </a:lnTo>
                    <a:lnTo>
                      <a:pt x="1282" y="88"/>
                    </a:lnTo>
                    <a:lnTo>
                      <a:pt x="1268" y="84"/>
                    </a:lnTo>
                    <a:lnTo>
                      <a:pt x="1252" y="82"/>
                    </a:lnTo>
                    <a:lnTo>
                      <a:pt x="1214" y="78"/>
                    </a:lnTo>
                    <a:lnTo>
                      <a:pt x="1110" y="74"/>
                    </a:lnTo>
                    <a:lnTo>
                      <a:pt x="1110" y="74"/>
                    </a:lnTo>
                    <a:lnTo>
                      <a:pt x="1092" y="76"/>
                    </a:lnTo>
                    <a:lnTo>
                      <a:pt x="1090" y="76"/>
                    </a:lnTo>
                    <a:lnTo>
                      <a:pt x="1092" y="78"/>
                    </a:lnTo>
                    <a:lnTo>
                      <a:pt x="1106" y="84"/>
                    </a:lnTo>
                    <a:lnTo>
                      <a:pt x="1126" y="92"/>
                    </a:lnTo>
                    <a:lnTo>
                      <a:pt x="1148" y="100"/>
                    </a:lnTo>
                    <a:lnTo>
                      <a:pt x="1164" y="108"/>
                    </a:lnTo>
                    <a:lnTo>
                      <a:pt x="1168" y="110"/>
                    </a:lnTo>
                    <a:lnTo>
                      <a:pt x="1168" y="114"/>
                    </a:lnTo>
                    <a:lnTo>
                      <a:pt x="1164" y="116"/>
                    </a:lnTo>
                    <a:lnTo>
                      <a:pt x="1154" y="116"/>
                    </a:lnTo>
                    <a:lnTo>
                      <a:pt x="1154" y="116"/>
                    </a:lnTo>
                    <a:lnTo>
                      <a:pt x="1146" y="118"/>
                    </a:lnTo>
                    <a:lnTo>
                      <a:pt x="1142" y="120"/>
                    </a:lnTo>
                    <a:lnTo>
                      <a:pt x="1138" y="122"/>
                    </a:lnTo>
                    <a:lnTo>
                      <a:pt x="1138" y="126"/>
                    </a:lnTo>
                    <a:lnTo>
                      <a:pt x="1136" y="132"/>
                    </a:lnTo>
                    <a:lnTo>
                      <a:pt x="1138" y="140"/>
                    </a:lnTo>
                    <a:lnTo>
                      <a:pt x="1142" y="148"/>
                    </a:lnTo>
                    <a:lnTo>
                      <a:pt x="1142" y="156"/>
                    </a:lnTo>
                    <a:lnTo>
                      <a:pt x="1142" y="158"/>
                    </a:lnTo>
                    <a:lnTo>
                      <a:pt x="1140" y="160"/>
                    </a:lnTo>
                    <a:lnTo>
                      <a:pt x="1136" y="162"/>
                    </a:lnTo>
                    <a:lnTo>
                      <a:pt x="1132" y="164"/>
                    </a:lnTo>
                    <a:lnTo>
                      <a:pt x="1132" y="164"/>
                    </a:lnTo>
                    <a:lnTo>
                      <a:pt x="1122" y="164"/>
                    </a:lnTo>
                    <a:lnTo>
                      <a:pt x="1114" y="162"/>
                    </a:lnTo>
                    <a:lnTo>
                      <a:pt x="1108" y="158"/>
                    </a:lnTo>
                    <a:lnTo>
                      <a:pt x="1102" y="152"/>
                    </a:lnTo>
                    <a:lnTo>
                      <a:pt x="1094" y="146"/>
                    </a:lnTo>
                    <a:lnTo>
                      <a:pt x="1084" y="142"/>
                    </a:lnTo>
                    <a:lnTo>
                      <a:pt x="1070" y="136"/>
                    </a:lnTo>
                    <a:lnTo>
                      <a:pt x="1052" y="132"/>
                    </a:lnTo>
                    <a:lnTo>
                      <a:pt x="1052" y="132"/>
                    </a:lnTo>
                    <a:lnTo>
                      <a:pt x="1034" y="128"/>
                    </a:lnTo>
                    <a:lnTo>
                      <a:pt x="1016" y="124"/>
                    </a:lnTo>
                    <a:lnTo>
                      <a:pt x="986" y="114"/>
                    </a:lnTo>
                    <a:lnTo>
                      <a:pt x="954" y="104"/>
                    </a:lnTo>
                    <a:lnTo>
                      <a:pt x="936" y="100"/>
                    </a:lnTo>
                    <a:lnTo>
                      <a:pt x="916" y="98"/>
                    </a:lnTo>
                    <a:lnTo>
                      <a:pt x="916" y="98"/>
                    </a:lnTo>
                    <a:lnTo>
                      <a:pt x="896" y="98"/>
                    </a:lnTo>
                    <a:lnTo>
                      <a:pt x="884" y="100"/>
                    </a:lnTo>
                    <a:lnTo>
                      <a:pt x="876" y="102"/>
                    </a:lnTo>
                    <a:lnTo>
                      <a:pt x="874" y="104"/>
                    </a:lnTo>
                    <a:lnTo>
                      <a:pt x="874" y="106"/>
                    </a:lnTo>
                    <a:lnTo>
                      <a:pt x="876" y="112"/>
                    </a:lnTo>
                    <a:lnTo>
                      <a:pt x="884" y="118"/>
                    </a:lnTo>
                    <a:lnTo>
                      <a:pt x="914" y="138"/>
                    </a:lnTo>
                    <a:lnTo>
                      <a:pt x="914" y="138"/>
                    </a:lnTo>
                    <a:lnTo>
                      <a:pt x="926" y="146"/>
                    </a:lnTo>
                    <a:lnTo>
                      <a:pt x="928" y="148"/>
                    </a:lnTo>
                    <a:lnTo>
                      <a:pt x="928" y="150"/>
                    </a:lnTo>
                    <a:lnTo>
                      <a:pt x="922" y="150"/>
                    </a:lnTo>
                    <a:lnTo>
                      <a:pt x="912" y="148"/>
                    </a:lnTo>
                    <a:lnTo>
                      <a:pt x="900" y="148"/>
                    </a:lnTo>
                    <a:lnTo>
                      <a:pt x="888" y="148"/>
                    </a:lnTo>
                    <a:lnTo>
                      <a:pt x="884" y="148"/>
                    </a:lnTo>
                    <a:lnTo>
                      <a:pt x="882" y="150"/>
                    </a:lnTo>
                    <a:lnTo>
                      <a:pt x="882" y="154"/>
                    </a:lnTo>
                    <a:lnTo>
                      <a:pt x="884" y="158"/>
                    </a:lnTo>
                    <a:lnTo>
                      <a:pt x="884" y="158"/>
                    </a:lnTo>
                    <a:lnTo>
                      <a:pt x="886" y="160"/>
                    </a:lnTo>
                    <a:lnTo>
                      <a:pt x="886" y="162"/>
                    </a:lnTo>
                    <a:lnTo>
                      <a:pt x="878" y="160"/>
                    </a:lnTo>
                    <a:lnTo>
                      <a:pt x="866" y="156"/>
                    </a:lnTo>
                    <a:lnTo>
                      <a:pt x="850" y="150"/>
                    </a:lnTo>
                    <a:lnTo>
                      <a:pt x="834" y="148"/>
                    </a:lnTo>
                    <a:lnTo>
                      <a:pt x="824" y="148"/>
                    </a:lnTo>
                    <a:lnTo>
                      <a:pt x="814" y="148"/>
                    </a:lnTo>
                    <a:lnTo>
                      <a:pt x="806" y="152"/>
                    </a:lnTo>
                    <a:lnTo>
                      <a:pt x="796" y="156"/>
                    </a:lnTo>
                    <a:lnTo>
                      <a:pt x="788" y="164"/>
                    </a:lnTo>
                    <a:lnTo>
                      <a:pt x="782" y="172"/>
                    </a:lnTo>
                    <a:lnTo>
                      <a:pt x="782" y="172"/>
                    </a:lnTo>
                    <a:lnTo>
                      <a:pt x="770" y="190"/>
                    </a:lnTo>
                    <a:lnTo>
                      <a:pt x="772" y="180"/>
                    </a:lnTo>
                    <a:lnTo>
                      <a:pt x="776" y="168"/>
                    </a:lnTo>
                    <a:lnTo>
                      <a:pt x="776" y="154"/>
                    </a:lnTo>
                    <a:lnTo>
                      <a:pt x="774" y="138"/>
                    </a:lnTo>
                    <a:lnTo>
                      <a:pt x="772" y="132"/>
                    </a:lnTo>
                    <a:lnTo>
                      <a:pt x="766" y="124"/>
                    </a:lnTo>
                    <a:lnTo>
                      <a:pt x="766" y="124"/>
                    </a:lnTo>
                    <a:lnTo>
                      <a:pt x="756" y="114"/>
                    </a:lnTo>
                    <a:lnTo>
                      <a:pt x="746" y="108"/>
                    </a:lnTo>
                    <a:lnTo>
                      <a:pt x="732" y="108"/>
                    </a:lnTo>
                    <a:lnTo>
                      <a:pt x="716" y="110"/>
                    </a:lnTo>
                    <a:lnTo>
                      <a:pt x="672" y="120"/>
                    </a:lnTo>
                    <a:lnTo>
                      <a:pt x="640" y="126"/>
                    </a:lnTo>
                    <a:lnTo>
                      <a:pt x="598" y="130"/>
                    </a:lnTo>
                    <a:lnTo>
                      <a:pt x="598" y="130"/>
                    </a:lnTo>
                    <a:lnTo>
                      <a:pt x="558" y="136"/>
                    </a:lnTo>
                    <a:lnTo>
                      <a:pt x="526" y="140"/>
                    </a:lnTo>
                    <a:lnTo>
                      <a:pt x="502" y="146"/>
                    </a:lnTo>
                    <a:lnTo>
                      <a:pt x="484" y="152"/>
                    </a:lnTo>
                    <a:lnTo>
                      <a:pt x="472" y="156"/>
                    </a:lnTo>
                    <a:lnTo>
                      <a:pt x="466" y="164"/>
                    </a:lnTo>
                    <a:lnTo>
                      <a:pt x="466" y="166"/>
                    </a:lnTo>
                    <a:lnTo>
                      <a:pt x="466" y="170"/>
                    </a:lnTo>
                    <a:lnTo>
                      <a:pt x="470" y="176"/>
                    </a:lnTo>
                    <a:lnTo>
                      <a:pt x="470" y="17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</p:grpSp>
        <p:sp>
          <p:nvSpPr>
            <p:cNvPr id="17" name="Freeform 6134">
              <a:extLst>
                <a:ext uri="{FF2B5EF4-FFF2-40B4-BE49-F238E27FC236}">
                  <a16:creationId xmlns:a16="http://schemas.microsoft.com/office/drawing/2014/main" id="{A9DCC582-A1A0-4FB1-89DA-92B483934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9028" y="3600798"/>
              <a:ext cx="3810" cy="5079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2" y="8"/>
                </a:cxn>
                <a:cxn ang="0">
                  <a:pos x="4" y="8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2" y="8"/>
                </a:cxn>
              </a:cxnLst>
              <a:rect l="0" t="0" r="r" b="b"/>
              <a:pathLst>
                <a:path w="6" h="8">
                  <a:moveTo>
                    <a:pt x="2" y="8"/>
                  </a:moveTo>
                  <a:lnTo>
                    <a:pt x="2" y="8"/>
                  </a:lnTo>
                  <a:lnTo>
                    <a:pt x="4" y="8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8" name="Freeform 6135">
              <a:extLst>
                <a:ext uri="{FF2B5EF4-FFF2-40B4-BE49-F238E27FC236}">
                  <a16:creationId xmlns:a16="http://schemas.microsoft.com/office/drawing/2014/main" id="{F9DC916C-CBD5-458C-9970-CEB3ABBA7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4396" y="3592522"/>
              <a:ext cx="1587" cy="158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9" name="Freeform 6136">
              <a:extLst>
                <a:ext uri="{FF2B5EF4-FFF2-40B4-BE49-F238E27FC236}">
                  <a16:creationId xmlns:a16="http://schemas.microsoft.com/office/drawing/2014/main" id="{1BD91E4C-36AC-4448-8182-76F9AF81F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2678" y="3591909"/>
              <a:ext cx="3810" cy="5079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</a:cxnLst>
              <a:rect l="0" t="0" r="r" b="b"/>
              <a:pathLst>
                <a:path w="6" h="8">
                  <a:moveTo>
                    <a:pt x="6" y="2"/>
                  </a:moveTo>
                  <a:lnTo>
                    <a:pt x="6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20" name="Freeform 6138">
              <a:extLst>
                <a:ext uri="{FF2B5EF4-FFF2-40B4-BE49-F238E27FC236}">
                  <a16:creationId xmlns:a16="http://schemas.microsoft.com/office/drawing/2014/main" id="{E5271EC9-A99E-4B58-A4A3-9DD1534B25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3948" y="3604608"/>
              <a:ext cx="2540" cy="381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21" name="Freeform 6144">
              <a:extLst>
                <a:ext uri="{FF2B5EF4-FFF2-40B4-BE49-F238E27FC236}">
                  <a16:creationId xmlns:a16="http://schemas.microsoft.com/office/drawing/2014/main" id="{2114C6FB-0432-4C65-A5AC-32B440A7F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0139" y="3583020"/>
              <a:ext cx="5080" cy="3810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8" y="2"/>
                </a:cxn>
                <a:cxn ang="0">
                  <a:pos x="8" y="2"/>
                </a:cxn>
              </a:cxnLst>
              <a:rect l="0" t="0" r="r" b="b"/>
              <a:pathLst>
                <a:path w="8" h="6">
                  <a:moveTo>
                    <a:pt x="8" y="2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22" name="Freeform 6149">
              <a:extLst>
                <a:ext uri="{FF2B5EF4-FFF2-40B4-BE49-F238E27FC236}">
                  <a16:creationId xmlns:a16="http://schemas.microsoft.com/office/drawing/2014/main" id="{C9F02387-3E9D-4298-ABB1-2023C5002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3758" y="3592522"/>
              <a:ext cx="3175" cy="158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6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23" name="Freeform 6150">
              <a:extLst>
                <a:ext uri="{FF2B5EF4-FFF2-40B4-BE49-F238E27FC236}">
                  <a16:creationId xmlns:a16="http://schemas.microsoft.com/office/drawing/2014/main" id="{406A1CE4-1AB8-4314-8540-C0E55A353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329" y="3600798"/>
              <a:ext cx="3810" cy="254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</p:grpSp>
      <p:sp>
        <p:nvSpPr>
          <p:cNvPr id="144" name="Oval 143">
            <a:extLst>
              <a:ext uri="{FF2B5EF4-FFF2-40B4-BE49-F238E27FC236}">
                <a16:creationId xmlns:a16="http://schemas.microsoft.com/office/drawing/2014/main" id="{CDF3DA65-8AF6-4E2D-9ED4-901BCD313B9B}"/>
              </a:ext>
            </a:extLst>
          </p:cNvPr>
          <p:cNvSpPr/>
          <p:nvPr/>
        </p:nvSpPr>
        <p:spPr>
          <a:xfrm>
            <a:off x="9259079" y="4724523"/>
            <a:ext cx="1337660" cy="13376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25%</a:t>
            </a: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7EA37723-E961-45F9-8264-0CEB976D0869}"/>
              </a:ext>
            </a:extLst>
          </p:cNvPr>
          <p:cNvSpPr/>
          <p:nvPr/>
        </p:nvSpPr>
        <p:spPr>
          <a:xfrm>
            <a:off x="9996677" y="1496348"/>
            <a:ext cx="1337660" cy="13376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75%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C5E98B01-ED45-476F-984E-981036E1E8AF}"/>
              </a:ext>
            </a:extLst>
          </p:cNvPr>
          <p:cNvSpPr/>
          <p:nvPr/>
        </p:nvSpPr>
        <p:spPr>
          <a:xfrm>
            <a:off x="4598645" y="1230732"/>
            <a:ext cx="1337660" cy="13376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60%</a:t>
            </a: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B02DC289-05CC-405F-AA51-B255D1EA0BA8}"/>
              </a:ext>
            </a:extLst>
          </p:cNvPr>
          <p:cNvSpPr/>
          <p:nvPr/>
        </p:nvSpPr>
        <p:spPr>
          <a:xfrm>
            <a:off x="3552049" y="2982085"/>
            <a:ext cx="1337660" cy="13376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35%</a:t>
            </a: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41156230-1484-4F9D-BA2C-DB139044AA45}"/>
              </a:ext>
            </a:extLst>
          </p:cNvPr>
          <p:cNvSpPr/>
          <p:nvPr/>
        </p:nvSpPr>
        <p:spPr>
          <a:xfrm>
            <a:off x="4588964" y="4724523"/>
            <a:ext cx="1337660" cy="13376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80%</a:t>
            </a:r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FDA8D3E8-2186-4438-BFDB-AD17FC8E38CC}"/>
              </a:ext>
            </a:extLst>
          </p:cNvPr>
          <p:cNvSpPr/>
          <p:nvPr/>
        </p:nvSpPr>
        <p:spPr>
          <a:xfrm>
            <a:off x="7773868" y="1120959"/>
            <a:ext cx="1337660" cy="13376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50%</a:t>
            </a:r>
          </a:p>
        </p:txBody>
      </p:sp>
      <p:graphicFrame>
        <p:nvGraphicFramePr>
          <p:cNvPr id="145" name="Chart 144">
            <a:extLst>
              <a:ext uri="{FF2B5EF4-FFF2-40B4-BE49-F238E27FC236}">
                <a16:creationId xmlns:a16="http://schemas.microsoft.com/office/drawing/2014/main" id="{EA0B9EBD-4401-433C-AC75-B448AD2C0B9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11012266"/>
              </p:ext>
            </p:extLst>
          </p:nvPr>
        </p:nvGraphicFramePr>
        <p:xfrm>
          <a:off x="9192196" y="4672283"/>
          <a:ext cx="1471427" cy="1442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6" name="Chart 135">
            <a:extLst>
              <a:ext uri="{FF2B5EF4-FFF2-40B4-BE49-F238E27FC236}">
                <a16:creationId xmlns:a16="http://schemas.microsoft.com/office/drawing/2014/main" id="{4171B3C2-1025-4009-9B9C-E1A8B5E48A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4966200"/>
              </p:ext>
            </p:extLst>
          </p:nvPr>
        </p:nvGraphicFramePr>
        <p:xfrm>
          <a:off x="9929794" y="1444108"/>
          <a:ext cx="1471427" cy="1442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5" name="Chart 94">
            <a:extLst>
              <a:ext uri="{FF2B5EF4-FFF2-40B4-BE49-F238E27FC236}">
                <a16:creationId xmlns:a16="http://schemas.microsoft.com/office/drawing/2014/main" id="{B97982F3-FD5B-4AA9-8F7D-FC49B24BEF1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86619583"/>
              </p:ext>
            </p:extLst>
          </p:nvPr>
        </p:nvGraphicFramePr>
        <p:xfrm>
          <a:off x="4531761" y="1175077"/>
          <a:ext cx="1471427" cy="1442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3" name="Chart 122">
            <a:extLst>
              <a:ext uri="{FF2B5EF4-FFF2-40B4-BE49-F238E27FC236}">
                <a16:creationId xmlns:a16="http://schemas.microsoft.com/office/drawing/2014/main" id="{8729F048-5449-4CB0-9EF1-55A85FEA61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9229522"/>
              </p:ext>
            </p:extLst>
          </p:nvPr>
        </p:nvGraphicFramePr>
        <p:xfrm>
          <a:off x="4522081" y="4672283"/>
          <a:ext cx="1471427" cy="1442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4" name="Chart 123">
            <a:extLst>
              <a:ext uri="{FF2B5EF4-FFF2-40B4-BE49-F238E27FC236}">
                <a16:creationId xmlns:a16="http://schemas.microsoft.com/office/drawing/2014/main" id="{5075AD8F-CC94-4EFB-97D3-8B0BA81219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5104452"/>
              </p:ext>
            </p:extLst>
          </p:nvPr>
        </p:nvGraphicFramePr>
        <p:xfrm>
          <a:off x="3485166" y="2929845"/>
          <a:ext cx="1471427" cy="1442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32" name="Chart 131">
            <a:extLst>
              <a:ext uri="{FF2B5EF4-FFF2-40B4-BE49-F238E27FC236}">
                <a16:creationId xmlns:a16="http://schemas.microsoft.com/office/drawing/2014/main" id="{F5F30089-ACFB-4866-A02B-2E333F4D4A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8881192"/>
              </p:ext>
            </p:extLst>
          </p:nvPr>
        </p:nvGraphicFramePr>
        <p:xfrm>
          <a:off x="7706985" y="1068719"/>
          <a:ext cx="1471427" cy="1442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1" name="Oval 100">
            <a:extLst>
              <a:ext uri="{FF2B5EF4-FFF2-40B4-BE49-F238E27FC236}">
                <a16:creationId xmlns:a16="http://schemas.microsoft.com/office/drawing/2014/main" id="{5809B079-AEB2-40B6-B609-D902C26F09C4}"/>
              </a:ext>
            </a:extLst>
          </p:cNvPr>
          <p:cNvSpPr/>
          <p:nvPr/>
        </p:nvSpPr>
        <p:spPr>
          <a:xfrm>
            <a:off x="6584306" y="3410646"/>
            <a:ext cx="60545" cy="6054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BE93FF4A-5CAD-4F39-9C78-47240EFADF14}"/>
              </a:ext>
            </a:extLst>
          </p:cNvPr>
          <p:cNvCxnSpPr>
            <a:stCxn id="99" idx="6"/>
            <a:endCxn id="101" idx="2"/>
          </p:cNvCxnSpPr>
          <p:nvPr/>
        </p:nvCxnSpPr>
        <p:spPr>
          <a:xfrm>
            <a:off x="5936305" y="1899562"/>
            <a:ext cx="648001" cy="1541357"/>
          </a:xfrm>
          <a:prstGeom prst="bentConnector3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Oval 106">
            <a:extLst>
              <a:ext uri="{FF2B5EF4-FFF2-40B4-BE49-F238E27FC236}">
                <a16:creationId xmlns:a16="http://schemas.microsoft.com/office/drawing/2014/main" id="{DE60D79F-10DE-4E4C-938B-B462DA33B1C4}"/>
              </a:ext>
            </a:extLst>
          </p:cNvPr>
          <p:cNvSpPr/>
          <p:nvPr/>
        </p:nvSpPr>
        <p:spPr>
          <a:xfrm>
            <a:off x="6434359" y="4079476"/>
            <a:ext cx="60545" cy="6054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2" name="Connector: Elbow 111">
            <a:extLst>
              <a:ext uri="{FF2B5EF4-FFF2-40B4-BE49-F238E27FC236}">
                <a16:creationId xmlns:a16="http://schemas.microsoft.com/office/drawing/2014/main" id="{618398DE-F831-4AE0-A1BB-96E33637158A}"/>
              </a:ext>
            </a:extLst>
          </p:cNvPr>
          <p:cNvCxnSpPr>
            <a:cxnSpLocks/>
            <a:stCxn id="109" idx="6"/>
            <a:endCxn id="107" idx="2"/>
          </p:cNvCxnSpPr>
          <p:nvPr/>
        </p:nvCxnSpPr>
        <p:spPr>
          <a:xfrm>
            <a:off x="4889709" y="3650915"/>
            <a:ext cx="1544650" cy="458834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Oval 116">
            <a:extLst>
              <a:ext uri="{FF2B5EF4-FFF2-40B4-BE49-F238E27FC236}">
                <a16:creationId xmlns:a16="http://schemas.microsoft.com/office/drawing/2014/main" id="{4B9216BB-0192-40F6-803B-9633B470003A}"/>
              </a:ext>
            </a:extLst>
          </p:cNvPr>
          <p:cNvSpPr/>
          <p:nvPr/>
        </p:nvSpPr>
        <p:spPr>
          <a:xfrm>
            <a:off x="7096467" y="4965301"/>
            <a:ext cx="60545" cy="6054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0" name="Connector: Elbow 119">
            <a:extLst>
              <a:ext uri="{FF2B5EF4-FFF2-40B4-BE49-F238E27FC236}">
                <a16:creationId xmlns:a16="http://schemas.microsoft.com/office/drawing/2014/main" id="{D0D6FBDA-A032-4049-BC3C-16515957E912}"/>
              </a:ext>
            </a:extLst>
          </p:cNvPr>
          <p:cNvCxnSpPr>
            <a:cxnSpLocks/>
            <a:stCxn id="119" idx="6"/>
            <a:endCxn id="117" idx="2"/>
          </p:cNvCxnSpPr>
          <p:nvPr/>
        </p:nvCxnSpPr>
        <p:spPr>
          <a:xfrm flipV="1">
            <a:off x="5926624" y="4995574"/>
            <a:ext cx="1169843" cy="397779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Oval 127">
            <a:extLst>
              <a:ext uri="{FF2B5EF4-FFF2-40B4-BE49-F238E27FC236}">
                <a16:creationId xmlns:a16="http://schemas.microsoft.com/office/drawing/2014/main" id="{39CDCE49-8034-4A2A-A8E6-1CDC2028E8A9}"/>
              </a:ext>
            </a:extLst>
          </p:cNvPr>
          <p:cNvSpPr/>
          <p:nvPr/>
        </p:nvSpPr>
        <p:spPr>
          <a:xfrm>
            <a:off x="8891912" y="3327947"/>
            <a:ext cx="60545" cy="6054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9" name="Connector: Elbow 128">
            <a:extLst>
              <a:ext uri="{FF2B5EF4-FFF2-40B4-BE49-F238E27FC236}">
                <a16:creationId xmlns:a16="http://schemas.microsoft.com/office/drawing/2014/main" id="{6A1406FF-B45D-4250-ABCF-FA634B99B4FC}"/>
              </a:ext>
            </a:extLst>
          </p:cNvPr>
          <p:cNvCxnSpPr>
            <a:cxnSpLocks/>
            <a:stCxn id="126" idx="4"/>
            <a:endCxn id="128" idx="0"/>
          </p:cNvCxnSpPr>
          <p:nvPr/>
        </p:nvCxnSpPr>
        <p:spPr>
          <a:xfrm rot="16200000" flipH="1">
            <a:off x="8247777" y="2653539"/>
            <a:ext cx="869328" cy="479487"/>
          </a:xfrm>
          <a:prstGeom prst="bentConnector3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Oval 137">
            <a:extLst>
              <a:ext uri="{FF2B5EF4-FFF2-40B4-BE49-F238E27FC236}">
                <a16:creationId xmlns:a16="http://schemas.microsoft.com/office/drawing/2014/main" id="{3EFBFD41-E0E4-4060-945B-7F3F9595182C}"/>
              </a:ext>
            </a:extLst>
          </p:cNvPr>
          <p:cNvSpPr/>
          <p:nvPr/>
        </p:nvSpPr>
        <p:spPr>
          <a:xfrm>
            <a:off x="9085363" y="4079475"/>
            <a:ext cx="60545" cy="6054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9" name="Connector: Elbow 138">
            <a:extLst>
              <a:ext uri="{FF2B5EF4-FFF2-40B4-BE49-F238E27FC236}">
                <a16:creationId xmlns:a16="http://schemas.microsoft.com/office/drawing/2014/main" id="{E953362E-8700-476F-BC7A-13103171CD16}"/>
              </a:ext>
            </a:extLst>
          </p:cNvPr>
          <p:cNvCxnSpPr>
            <a:cxnSpLocks/>
            <a:stCxn id="136" idx="2"/>
            <a:endCxn id="138" idx="6"/>
          </p:cNvCxnSpPr>
          <p:nvPr/>
        </p:nvCxnSpPr>
        <p:spPr>
          <a:xfrm rot="5400000">
            <a:off x="9293959" y="2738199"/>
            <a:ext cx="1223499" cy="1519599"/>
          </a:xfrm>
          <a:prstGeom prst="bentConnector2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Oval 146">
            <a:extLst>
              <a:ext uri="{FF2B5EF4-FFF2-40B4-BE49-F238E27FC236}">
                <a16:creationId xmlns:a16="http://schemas.microsoft.com/office/drawing/2014/main" id="{83886C33-1C30-46E0-8E1C-54CD9FC4614E}"/>
              </a:ext>
            </a:extLst>
          </p:cNvPr>
          <p:cNvSpPr/>
          <p:nvPr/>
        </p:nvSpPr>
        <p:spPr>
          <a:xfrm>
            <a:off x="8549482" y="5363080"/>
            <a:ext cx="60545" cy="6054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8" name="Connector: Elbow 147">
            <a:extLst>
              <a:ext uri="{FF2B5EF4-FFF2-40B4-BE49-F238E27FC236}">
                <a16:creationId xmlns:a16="http://schemas.microsoft.com/office/drawing/2014/main" id="{979AC83A-568C-470E-976F-0225D5017AAA}"/>
              </a:ext>
            </a:extLst>
          </p:cNvPr>
          <p:cNvCxnSpPr>
            <a:cxnSpLocks/>
            <a:endCxn id="145" idx="0"/>
          </p:cNvCxnSpPr>
          <p:nvPr/>
        </p:nvCxnSpPr>
        <p:spPr>
          <a:xfrm flipV="1">
            <a:off x="8640716" y="4672283"/>
            <a:ext cx="1287193" cy="710360"/>
          </a:xfrm>
          <a:prstGeom prst="bentConnector4">
            <a:avLst>
              <a:gd name="adj1" fmla="val 21422"/>
              <a:gd name="adj2" fmla="val 132181"/>
            </a:avLst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DB0F8BC6-10AB-4197-8EC9-39E1202CFB0D}"/>
              </a:ext>
            </a:extLst>
          </p:cNvPr>
          <p:cNvGrpSpPr/>
          <p:nvPr/>
        </p:nvGrpSpPr>
        <p:grpSpPr>
          <a:xfrm>
            <a:off x="701303" y="1512037"/>
            <a:ext cx="2374730" cy="4217570"/>
            <a:chOff x="9234140" y="1432848"/>
            <a:chExt cx="2374730" cy="4217570"/>
          </a:xfrm>
        </p:grpSpPr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59D47B8E-1A4C-4511-96FA-39F2832D4878}"/>
                </a:ext>
              </a:extLst>
            </p:cNvPr>
            <p:cNvSpPr txBox="1"/>
            <p:nvPr/>
          </p:nvSpPr>
          <p:spPr>
            <a:xfrm>
              <a:off x="9234140" y="2418764"/>
              <a:ext cx="2374730" cy="323165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400" dirty="0"/>
                <a:t>“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Ut pulvinar, </a:t>
              </a:r>
              <a:r>
                <a:rPr lang="en-US" sz="1400" dirty="0" err="1"/>
                <a:t>lectus</a:t>
              </a:r>
              <a:r>
                <a:rPr lang="en-US" sz="1400" dirty="0"/>
                <a:t> </a:t>
              </a:r>
              <a:r>
                <a:rPr lang="en-US" sz="1400" dirty="0" err="1"/>
                <a:t>ut</a:t>
              </a:r>
              <a:r>
                <a:rPr lang="en-US" sz="1400" dirty="0"/>
                <a:t> </a:t>
              </a:r>
              <a:r>
                <a:rPr lang="en-US" sz="1400" dirty="0" err="1"/>
                <a:t>sodales</a:t>
              </a:r>
              <a:r>
                <a:rPr lang="en-US" sz="1400" dirty="0"/>
                <a:t> maximus, </a:t>
              </a:r>
              <a:r>
                <a:rPr lang="en-US" sz="1400" dirty="0" err="1"/>
                <a:t>quam</a:t>
              </a:r>
              <a:r>
                <a:rPr lang="en-US" sz="1400" dirty="0"/>
                <a:t> dolor vestibulum </a:t>
              </a:r>
              <a:r>
                <a:rPr lang="en-US" sz="1400" dirty="0" err="1"/>
                <a:t>justo</a:t>
              </a:r>
              <a:r>
                <a:rPr lang="en-US" sz="1400" dirty="0"/>
                <a:t>, vel </a:t>
              </a:r>
              <a:r>
                <a:rPr lang="en-US" sz="1400" dirty="0" err="1"/>
                <a:t>volutpat</a:t>
              </a:r>
              <a:r>
                <a:rPr lang="en-US" sz="1400" dirty="0"/>
                <a:t> </a:t>
              </a:r>
              <a:r>
                <a:rPr lang="en-US" sz="1400" dirty="0" err="1"/>
                <a:t>enim</a:t>
              </a:r>
              <a:r>
                <a:rPr lang="en-US" sz="1400" dirty="0"/>
                <a:t> lorem vitae </a:t>
              </a:r>
              <a:r>
                <a:rPr lang="en-US" sz="1400" dirty="0" err="1"/>
                <a:t>enim</a:t>
              </a:r>
              <a:r>
                <a:rPr lang="en-US" sz="1400" dirty="0"/>
                <a:t>. Integer </a:t>
              </a:r>
              <a:r>
                <a:rPr lang="en-US" sz="1400" dirty="0" err="1"/>
                <a:t>malesuada</a:t>
              </a:r>
              <a:r>
                <a:rPr lang="en-US" sz="1400" dirty="0"/>
                <a:t> </a:t>
              </a:r>
              <a:r>
                <a:rPr lang="en-US" sz="1400" dirty="0" err="1"/>
                <a:t>posuere</a:t>
              </a:r>
              <a:r>
                <a:rPr lang="en-US" sz="1400" dirty="0"/>
                <a:t> </a:t>
              </a:r>
              <a:r>
                <a:rPr lang="en-US" sz="1400" dirty="0" err="1"/>
                <a:t>commodo</a:t>
              </a:r>
              <a:r>
                <a:rPr lang="en-US" sz="1400" dirty="0"/>
                <a:t>. </a:t>
              </a:r>
              <a:r>
                <a:rPr lang="en-US" sz="1400" dirty="0" err="1"/>
                <a:t>Aenean</a:t>
              </a:r>
              <a:r>
                <a:rPr lang="en-US" sz="1400" dirty="0"/>
                <a:t> </a:t>
              </a:r>
              <a:r>
                <a:rPr lang="en-US" sz="1400" dirty="0" err="1"/>
                <a:t>lobortis</a:t>
              </a:r>
              <a:r>
                <a:rPr lang="en-US" sz="1400" dirty="0"/>
                <a:t> ac </a:t>
              </a:r>
              <a:r>
                <a:rPr lang="en-US" sz="1400" dirty="0" err="1"/>
                <a:t>neque</a:t>
              </a:r>
              <a:r>
                <a:rPr lang="en-US" sz="1400" dirty="0"/>
                <a:t> at </a:t>
              </a:r>
              <a:r>
                <a:rPr lang="en-US" sz="1400" dirty="0" err="1"/>
                <a:t>viverra</a:t>
              </a:r>
              <a:r>
                <a:rPr lang="en-US" sz="1400" dirty="0"/>
                <a:t>. Maecenas </a:t>
              </a:r>
              <a:r>
                <a:rPr lang="en-US" sz="1400" dirty="0" err="1"/>
                <a:t>eget</a:t>
              </a:r>
              <a:r>
                <a:rPr lang="en-US" sz="1400" dirty="0"/>
                <a:t> </a:t>
              </a:r>
              <a:r>
                <a:rPr lang="en-US" sz="1400" dirty="0" err="1"/>
                <a:t>egestas</a:t>
              </a:r>
              <a:r>
                <a:rPr lang="en-US" sz="1400" dirty="0"/>
                <a:t> </a:t>
              </a:r>
              <a:r>
                <a:rPr lang="en-US" sz="1400" dirty="0" err="1"/>
                <a:t>massa</a:t>
              </a:r>
              <a:r>
                <a:rPr lang="en-US" sz="1400" dirty="0"/>
                <a:t>, </a:t>
              </a:r>
              <a:r>
                <a:rPr lang="en-US" sz="1400" dirty="0" err="1"/>
                <a:t>eget</a:t>
              </a:r>
              <a:r>
                <a:rPr lang="en-US" sz="1400" dirty="0"/>
                <a:t> </a:t>
              </a:r>
              <a:r>
                <a:rPr lang="en-US" sz="1400" dirty="0" err="1"/>
                <a:t>consequat</a:t>
              </a:r>
              <a:r>
                <a:rPr lang="en-US" sz="1400" dirty="0"/>
                <a:t> ante. </a:t>
              </a:r>
              <a:r>
                <a:rPr lang="en-US" sz="1400" dirty="0" err="1"/>
                <a:t>Aliquam</a:t>
              </a:r>
              <a:r>
                <a:rPr lang="en-US" sz="1400" dirty="0"/>
                <a:t> </a:t>
              </a:r>
              <a:r>
                <a:rPr lang="en-US" sz="1400" dirty="0" err="1"/>
                <a:t>efficitur</a:t>
              </a:r>
              <a:r>
                <a:rPr lang="en-US" sz="1400" dirty="0"/>
                <a:t> </a:t>
              </a:r>
              <a:r>
                <a:rPr lang="en-US" sz="1400" dirty="0" err="1"/>
                <a:t>accumsan</a:t>
              </a:r>
              <a:r>
                <a:rPr lang="en-US" sz="1400" dirty="0"/>
                <a:t> </a:t>
              </a:r>
              <a:r>
                <a:rPr lang="en-US" sz="1400" dirty="0" err="1"/>
                <a:t>rutrum</a:t>
              </a:r>
              <a:r>
                <a:rPr lang="en-US" sz="1400" dirty="0"/>
                <a:t>. </a:t>
              </a:r>
              <a:r>
                <a:rPr lang="en-US" sz="1400" dirty="0" err="1"/>
                <a:t>Donec</a:t>
              </a:r>
              <a:r>
                <a:rPr lang="en-US" sz="1400" dirty="0"/>
                <a:t> at </a:t>
              </a:r>
              <a:r>
                <a:rPr lang="en-US" sz="1400" dirty="0" err="1"/>
                <a:t>lacus</a:t>
              </a:r>
              <a:r>
                <a:rPr lang="en-US" sz="1400" dirty="0"/>
                <a:t> id ligula </a:t>
              </a:r>
              <a:r>
                <a:rPr lang="en-US" sz="1400" dirty="0" err="1"/>
                <a:t>hendrerit</a:t>
              </a:r>
              <a:r>
                <a:rPr lang="en-US" sz="1400" dirty="0"/>
                <a:t> </a:t>
              </a:r>
              <a:r>
                <a:rPr lang="en-US" sz="1400" dirty="0" err="1"/>
                <a:t>scelerisque</a:t>
              </a:r>
              <a:r>
                <a:rPr lang="en-US" sz="1400" dirty="0"/>
                <a:t>. </a:t>
              </a:r>
              <a:r>
                <a:rPr lang="en-US" sz="1400" dirty="0" err="1"/>
                <a:t>Etiam</a:t>
              </a:r>
              <a:r>
                <a:rPr lang="en-US" sz="1400" dirty="0"/>
                <a:t> in </a:t>
              </a:r>
              <a:r>
                <a:rPr lang="en-US" sz="1400" dirty="0" err="1"/>
                <a:t>odio</a:t>
              </a:r>
              <a:r>
                <a:rPr lang="en-US" sz="1400" dirty="0"/>
                <a:t> </a:t>
              </a:r>
              <a:r>
                <a:rPr lang="en-US" sz="1400" dirty="0" err="1"/>
                <a:t>erat</a:t>
              </a:r>
              <a:r>
                <a:rPr lang="en-US" sz="1400" dirty="0"/>
                <a:t>. Maecenas vitae </a:t>
              </a:r>
              <a:r>
                <a:rPr lang="en-US" sz="1400" dirty="0" err="1"/>
                <a:t>sodales</a:t>
              </a:r>
              <a:r>
                <a:rPr lang="en-US" sz="1400" dirty="0"/>
                <a:t> nisi.”</a:t>
              </a:r>
            </a:p>
          </p:txBody>
        </p:sp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919A0050-678A-4B1E-8D76-D850D343365F}"/>
                </a:ext>
              </a:extLst>
            </p:cNvPr>
            <p:cNvSpPr/>
            <p:nvPr/>
          </p:nvSpPr>
          <p:spPr>
            <a:xfrm>
              <a:off x="10034155" y="1432848"/>
              <a:ext cx="774700" cy="7747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32AE2C29-5A87-443B-8960-7FE155F64BEA}"/>
                </a:ext>
              </a:extLst>
            </p:cNvPr>
            <p:cNvGrpSpPr/>
            <p:nvPr/>
          </p:nvGrpSpPr>
          <p:grpSpPr>
            <a:xfrm>
              <a:off x="10278630" y="1713042"/>
              <a:ext cx="285750" cy="214313"/>
              <a:chOff x="2614613" y="809625"/>
              <a:chExt cx="285750" cy="214313"/>
            </a:xfrm>
            <a:solidFill>
              <a:schemeClr val="bg1"/>
            </a:solidFill>
          </p:grpSpPr>
          <p:sp>
            <p:nvSpPr>
              <p:cNvPr id="154" name="Freeform 78">
                <a:extLst>
                  <a:ext uri="{FF2B5EF4-FFF2-40B4-BE49-F238E27FC236}">
                    <a16:creationId xmlns:a16="http://schemas.microsoft.com/office/drawing/2014/main" id="{61DCEDFE-CAF6-4120-A776-9E9C020C18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4613" y="809625"/>
                <a:ext cx="133350" cy="214313"/>
              </a:xfrm>
              <a:custGeom>
                <a:avLst/>
                <a:gdLst>
                  <a:gd name="T0" fmla="*/ 316 w 335"/>
                  <a:gd name="T1" fmla="*/ 47 h 540"/>
                  <a:gd name="T2" fmla="*/ 325 w 335"/>
                  <a:gd name="T3" fmla="*/ 43 h 540"/>
                  <a:gd name="T4" fmla="*/ 331 w 335"/>
                  <a:gd name="T5" fmla="*/ 37 h 540"/>
                  <a:gd name="T6" fmla="*/ 335 w 335"/>
                  <a:gd name="T7" fmla="*/ 28 h 540"/>
                  <a:gd name="T8" fmla="*/ 335 w 335"/>
                  <a:gd name="T9" fmla="*/ 19 h 540"/>
                  <a:gd name="T10" fmla="*/ 331 w 335"/>
                  <a:gd name="T11" fmla="*/ 10 h 540"/>
                  <a:gd name="T12" fmla="*/ 325 w 335"/>
                  <a:gd name="T13" fmla="*/ 4 h 540"/>
                  <a:gd name="T14" fmla="*/ 316 w 335"/>
                  <a:gd name="T15" fmla="*/ 0 h 540"/>
                  <a:gd name="T16" fmla="*/ 294 w 335"/>
                  <a:gd name="T17" fmla="*/ 0 h 540"/>
                  <a:gd name="T18" fmla="*/ 260 w 335"/>
                  <a:gd name="T19" fmla="*/ 3 h 540"/>
                  <a:gd name="T20" fmla="*/ 227 w 335"/>
                  <a:gd name="T21" fmla="*/ 10 h 540"/>
                  <a:gd name="T22" fmla="*/ 198 w 335"/>
                  <a:gd name="T23" fmla="*/ 20 h 540"/>
                  <a:gd name="T24" fmla="*/ 169 w 335"/>
                  <a:gd name="T25" fmla="*/ 33 h 540"/>
                  <a:gd name="T26" fmla="*/ 142 w 335"/>
                  <a:gd name="T27" fmla="*/ 49 h 540"/>
                  <a:gd name="T28" fmla="*/ 117 w 335"/>
                  <a:gd name="T29" fmla="*/ 68 h 540"/>
                  <a:gd name="T30" fmla="*/ 95 w 335"/>
                  <a:gd name="T31" fmla="*/ 89 h 540"/>
                  <a:gd name="T32" fmla="*/ 75 w 335"/>
                  <a:gd name="T33" fmla="*/ 113 h 540"/>
                  <a:gd name="T34" fmla="*/ 57 w 335"/>
                  <a:gd name="T35" fmla="*/ 141 h 540"/>
                  <a:gd name="T36" fmla="*/ 41 w 335"/>
                  <a:gd name="T37" fmla="*/ 170 h 540"/>
                  <a:gd name="T38" fmla="*/ 27 w 335"/>
                  <a:gd name="T39" fmla="*/ 202 h 540"/>
                  <a:gd name="T40" fmla="*/ 17 w 335"/>
                  <a:gd name="T41" fmla="*/ 236 h 540"/>
                  <a:gd name="T42" fmla="*/ 8 w 335"/>
                  <a:gd name="T43" fmla="*/ 272 h 540"/>
                  <a:gd name="T44" fmla="*/ 3 w 335"/>
                  <a:gd name="T45" fmla="*/ 310 h 540"/>
                  <a:gd name="T46" fmla="*/ 0 w 335"/>
                  <a:gd name="T47" fmla="*/ 351 h 540"/>
                  <a:gd name="T48" fmla="*/ 1 w 335"/>
                  <a:gd name="T49" fmla="*/ 390 h 540"/>
                  <a:gd name="T50" fmla="*/ 7 w 335"/>
                  <a:gd name="T51" fmla="*/ 422 h 540"/>
                  <a:gd name="T52" fmla="*/ 20 w 335"/>
                  <a:gd name="T53" fmla="*/ 452 h 540"/>
                  <a:gd name="T54" fmla="*/ 38 w 335"/>
                  <a:gd name="T55" fmla="*/ 478 h 540"/>
                  <a:gd name="T56" fmla="*/ 61 w 335"/>
                  <a:gd name="T57" fmla="*/ 502 h 540"/>
                  <a:gd name="T58" fmla="*/ 88 w 335"/>
                  <a:gd name="T59" fmla="*/ 520 h 540"/>
                  <a:gd name="T60" fmla="*/ 117 w 335"/>
                  <a:gd name="T61" fmla="*/ 532 h 540"/>
                  <a:gd name="T62" fmla="*/ 150 w 335"/>
                  <a:gd name="T63" fmla="*/ 539 h 540"/>
                  <a:gd name="T64" fmla="*/ 185 w 335"/>
                  <a:gd name="T65" fmla="*/ 539 h 540"/>
                  <a:gd name="T66" fmla="*/ 218 w 335"/>
                  <a:gd name="T67" fmla="*/ 532 h 540"/>
                  <a:gd name="T68" fmla="*/ 248 w 335"/>
                  <a:gd name="T69" fmla="*/ 520 h 540"/>
                  <a:gd name="T70" fmla="*/ 274 w 335"/>
                  <a:gd name="T71" fmla="*/ 502 h 540"/>
                  <a:gd name="T72" fmla="*/ 297 w 335"/>
                  <a:gd name="T73" fmla="*/ 478 h 540"/>
                  <a:gd name="T74" fmla="*/ 315 w 335"/>
                  <a:gd name="T75" fmla="*/ 452 h 540"/>
                  <a:gd name="T76" fmla="*/ 328 w 335"/>
                  <a:gd name="T77" fmla="*/ 422 h 540"/>
                  <a:gd name="T78" fmla="*/ 334 w 335"/>
                  <a:gd name="T79" fmla="*/ 390 h 540"/>
                  <a:gd name="T80" fmla="*/ 334 w 335"/>
                  <a:gd name="T81" fmla="*/ 355 h 540"/>
                  <a:gd name="T82" fmla="*/ 328 w 335"/>
                  <a:gd name="T83" fmla="*/ 322 h 540"/>
                  <a:gd name="T84" fmla="*/ 315 w 335"/>
                  <a:gd name="T85" fmla="*/ 292 h 540"/>
                  <a:gd name="T86" fmla="*/ 297 w 335"/>
                  <a:gd name="T87" fmla="*/ 265 h 540"/>
                  <a:gd name="T88" fmla="*/ 274 w 335"/>
                  <a:gd name="T89" fmla="*/ 242 h 540"/>
                  <a:gd name="T90" fmla="*/ 248 w 335"/>
                  <a:gd name="T91" fmla="*/ 224 h 540"/>
                  <a:gd name="T92" fmla="*/ 218 w 335"/>
                  <a:gd name="T93" fmla="*/ 212 h 540"/>
                  <a:gd name="T94" fmla="*/ 185 w 335"/>
                  <a:gd name="T95" fmla="*/ 204 h 540"/>
                  <a:gd name="T96" fmla="*/ 153 w 335"/>
                  <a:gd name="T97" fmla="*/ 204 h 540"/>
                  <a:gd name="T98" fmla="*/ 126 w 335"/>
                  <a:gd name="T99" fmla="*/ 209 h 540"/>
                  <a:gd name="T100" fmla="*/ 99 w 335"/>
                  <a:gd name="T101" fmla="*/ 218 h 540"/>
                  <a:gd name="T102" fmla="*/ 76 w 335"/>
                  <a:gd name="T103" fmla="*/ 232 h 540"/>
                  <a:gd name="T104" fmla="*/ 73 w 335"/>
                  <a:gd name="T105" fmla="*/ 214 h 540"/>
                  <a:gd name="T106" fmla="*/ 94 w 335"/>
                  <a:gd name="T107" fmla="*/ 170 h 540"/>
                  <a:gd name="T108" fmla="*/ 119 w 335"/>
                  <a:gd name="T109" fmla="*/ 133 h 540"/>
                  <a:gd name="T110" fmla="*/ 150 w 335"/>
                  <a:gd name="T111" fmla="*/ 104 h 540"/>
                  <a:gd name="T112" fmla="*/ 183 w 335"/>
                  <a:gd name="T113" fmla="*/ 80 h 540"/>
                  <a:gd name="T114" fmla="*/ 218 w 335"/>
                  <a:gd name="T115" fmla="*/ 64 h 540"/>
                  <a:gd name="T116" fmla="*/ 255 w 335"/>
                  <a:gd name="T117" fmla="*/ 54 h 540"/>
                  <a:gd name="T118" fmla="*/ 293 w 335"/>
                  <a:gd name="T119" fmla="*/ 49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35" h="540">
                    <a:moveTo>
                      <a:pt x="312" y="47"/>
                    </a:moveTo>
                    <a:lnTo>
                      <a:pt x="316" y="47"/>
                    </a:lnTo>
                    <a:lnTo>
                      <a:pt x="321" y="45"/>
                    </a:lnTo>
                    <a:lnTo>
                      <a:pt x="325" y="43"/>
                    </a:lnTo>
                    <a:lnTo>
                      <a:pt x="329" y="41"/>
                    </a:lnTo>
                    <a:lnTo>
                      <a:pt x="331" y="37"/>
                    </a:lnTo>
                    <a:lnTo>
                      <a:pt x="333" y="33"/>
                    </a:lnTo>
                    <a:lnTo>
                      <a:pt x="335" y="28"/>
                    </a:lnTo>
                    <a:lnTo>
                      <a:pt x="335" y="24"/>
                    </a:lnTo>
                    <a:lnTo>
                      <a:pt x="335" y="19"/>
                    </a:lnTo>
                    <a:lnTo>
                      <a:pt x="333" y="15"/>
                    </a:lnTo>
                    <a:lnTo>
                      <a:pt x="331" y="10"/>
                    </a:lnTo>
                    <a:lnTo>
                      <a:pt x="329" y="6"/>
                    </a:lnTo>
                    <a:lnTo>
                      <a:pt x="325" y="4"/>
                    </a:lnTo>
                    <a:lnTo>
                      <a:pt x="321" y="2"/>
                    </a:lnTo>
                    <a:lnTo>
                      <a:pt x="316" y="0"/>
                    </a:lnTo>
                    <a:lnTo>
                      <a:pt x="312" y="0"/>
                    </a:lnTo>
                    <a:lnTo>
                      <a:pt x="294" y="0"/>
                    </a:lnTo>
                    <a:lnTo>
                      <a:pt x="277" y="1"/>
                    </a:lnTo>
                    <a:lnTo>
                      <a:pt x="260" y="3"/>
                    </a:lnTo>
                    <a:lnTo>
                      <a:pt x="244" y="6"/>
                    </a:lnTo>
                    <a:lnTo>
                      <a:pt x="227" y="10"/>
                    </a:lnTo>
                    <a:lnTo>
                      <a:pt x="213" y="15"/>
                    </a:lnTo>
                    <a:lnTo>
                      <a:pt x="198" y="20"/>
                    </a:lnTo>
                    <a:lnTo>
                      <a:pt x="183" y="26"/>
                    </a:lnTo>
                    <a:lnTo>
                      <a:pt x="169" y="33"/>
                    </a:lnTo>
                    <a:lnTo>
                      <a:pt x="155" y="40"/>
                    </a:lnTo>
                    <a:lnTo>
                      <a:pt x="142" y="49"/>
                    </a:lnTo>
                    <a:lnTo>
                      <a:pt x="130" y="58"/>
                    </a:lnTo>
                    <a:lnTo>
                      <a:pt x="117" y="68"/>
                    </a:lnTo>
                    <a:lnTo>
                      <a:pt x="106" y="78"/>
                    </a:lnTo>
                    <a:lnTo>
                      <a:pt x="95" y="89"/>
                    </a:lnTo>
                    <a:lnTo>
                      <a:pt x="84" y="101"/>
                    </a:lnTo>
                    <a:lnTo>
                      <a:pt x="75" y="113"/>
                    </a:lnTo>
                    <a:lnTo>
                      <a:pt x="65" y="127"/>
                    </a:lnTo>
                    <a:lnTo>
                      <a:pt x="57" y="141"/>
                    </a:lnTo>
                    <a:lnTo>
                      <a:pt x="48" y="154"/>
                    </a:lnTo>
                    <a:lnTo>
                      <a:pt x="41" y="170"/>
                    </a:lnTo>
                    <a:lnTo>
                      <a:pt x="34" y="185"/>
                    </a:lnTo>
                    <a:lnTo>
                      <a:pt x="27" y="202"/>
                    </a:lnTo>
                    <a:lnTo>
                      <a:pt x="22" y="218"/>
                    </a:lnTo>
                    <a:lnTo>
                      <a:pt x="17" y="236"/>
                    </a:lnTo>
                    <a:lnTo>
                      <a:pt x="12" y="254"/>
                    </a:lnTo>
                    <a:lnTo>
                      <a:pt x="8" y="272"/>
                    </a:lnTo>
                    <a:lnTo>
                      <a:pt x="5" y="291"/>
                    </a:lnTo>
                    <a:lnTo>
                      <a:pt x="3" y="310"/>
                    </a:lnTo>
                    <a:lnTo>
                      <a:pt x="1" y="330"/>
                    </a:lnTo>
                    <a:lnTo>
                      <a:pt x="0" y="351"/>
                    </a:lnTo>
                    <a:lnTo>
                      <a:pt x="0" y="371"/>
                    </a:lnTo>
                    <a:lnTo>
                      <a:pt x="1" y="390"/>
                    </a:lnTo>
                    <a:lnTo>
                      <a:pt x="3" y="405"/>
                    </a:lnTo>
                    <a:lnTo>
                      <a:pt x="7" y="422"/>
                    </a:lnTo>
                    <a:lnTo>
                      <a:pt x="12" y="437"/>
                    </a:lnTo>
                    <a:lnTo>
                      <a:pt x="20" y="452"/>
                    </a:lnTo>
                    <a:lnTo>
                      <a:pt x="28" y="466"/>
                    </a:lnTo>
                    <a:lnTo>
                      <a:pt x="38" y="478"/>
                    </a:lnTo>
                    <a:lnTo>
                      <a:pt x="48" y="491"/>
                    </a:lnTo>
                    <a:lnTo>
                      <a:pt x="61" y="502"/>
                    </a:lnTo>
                    <a:lnTo>
                      <a:pt x="74" y="511"/>
                    </a:lnTo>
                    <a:lnTo>
                      <a:pt x="88" y="520"/>
                    </a:lnTo>
                    <a:lnTo>
                      <a:pt x="102" y="527"/>
                    </a:lnTo>
                    <a:lnTo>
                      <a:pt x="117" y="532"/>
                    </a:lnTo>
                    <a:lnTo>
                      <a:pt x="134" y="537"/>
                    </a:lnTo>
                    <a:lnTo>
                      <a:pt x="150" y="539"/>
                    </a:lnTo>
                    <a:lnTo>
                      <a:pt x="168" y="540"/>
                    </a:lnTo>
                    <a:lnTo>
                      <a:pt x="185" y="539"/>
                    </a:lnTo>
                    <a:lnTo>
                      <a:pt x="201" y="537"/>
                    </a:lnTo>
                    <a:lnTo>
                      <a:pt x="218" y="532"/>
                    </a:lnTo>
                    <a:lnTo>
                      <a:pt x="233" y="527"/>
                    </a:lnTo>
                    <a:lnTo>
                      <a:pt x="248" y="520"/>
                    </a:lnTo>
                    <a:lnTo>
                      <a:pt x="261" y="511"/>
                    </a:lnTo>
                    <a:lnTo>
                      <a:pt x="274" y="502"/>
                    </a:lnTo>
                    <a:lnTo>
                      <a:pt x="287" y="491"/>
                    </a:lnTo>
                    <a:lnTo>
                      <a:pt x="297" y="478"/>
                    </a:lnTo>
                    <a:lnTo>
                      <a:pt x="307" y="466"/>
                    </a:lnTo>
                    <a:lnTo>
                      <a:pt x="315" y="452"/>
                    </a:lnTo>
                    <a:lnTo>
                      <a:pt x="323" y="437"/>
                    </a:lnTo>
                    <a:lnTo>
                      <a:pt x="328" y="422"/>
                    </a:lnTo>
                    <a:lnTo>
                      <a:pt x="332" y="405"/>
                    </a:lnTo>
                    <a:lnTo>
                      <a:pt x="334" y="390"/>
                    </a:lnTo>
                    <a:lnTo>
                      <a:pt x="335" y="371"/>
                    </a:lnTo>
                    <a:lnTo>
                      <a:pt x="334" y="355"/>
                    </a:lnTo>
                    <a:lnTo>
                      <a:pt x="332" y="338"/>
                    </a:lnTo>
                    <a:lnTo>
                      <a:pt x="328" y="322"/>
                    </a:lnTo>
                    <a:lnTo>
                      <a:pt x="323" y="307"/>
                    </a:lnTo>
                    <a:lnTo>
                      <a:pt x="315" y="292"/>
                    </a:lnTo>
                    <a:lnTo>
                      <a:pt x="307" y="278"/>
                    </a:lnTo>
                    <a:lnTo>
                      <a:pt x="297" y="265"/>
                    </a:lnTo>
                    <a:lnTo>
                      <a:pt x="287" y="253"/>
                    </a:lnTo>
                    <a:lnTo>
                      <a:pt x="274" y="242"/>
                    </a:lnTo>
                    <a:lnTo>
                      <a:pt x="261" y="233"/>
                    </a:lnTo>
                    <a:lnTo>
                      <a:pt x="248" y="224"/>
                    </a:lnTo>
                    <a:lnTo>
                      <a:pt x="233" y="217"/>
                    </a:lnTo>
                    <a:lnTo>
                      <a:pt x="218" y="212"/>
                    </a:lnTo>
                    <a:lnTo>
                      <a:pt x="201" y="207"/>
                    </a:lnTo>
                    <a:lnTo>
                      <a:pt x="185" y="204"/>
                    </a:lnTo>
                    <a:lnTo>
                      <a:pt x="168" y="204"/>
                    </a:lnTo>
                    <a:lnTo>
                      <a:pt x="153" y="204"/>
                    </a:lnTo>
                    <a:lnTo>
                      <a:pt x="140" y="206"/>
                    </a:lnTo>
                    <a:lnTo>
                      <a:pt x="126" y="209"/>
                    </a:lnTo>
                    <a:lnTo>
                      <a:pt x="112" y="213"/>
                    </a:lnTo>
                    <a:lnTo>
                      <a:pt x="99" y="218"/>
                    </a:lnTo>
                    <a:lnTo>
                      <a:pt x="88" y="224"/>
                    </a:lnTo>
                    <a:lnTo>
                      <a:pt x="76" y="232"/>
                    </a:lnTo>
                    <a:lnTo>
                      <a:pt x="64" y="239"/>
                    </a:lnTo>
                    <a:lnTo>
                      <a:pt x="73" y="214"/>
                    </a:lnTo>
                    <a:lnTo>
                      <a:pt x="83" y="191"/>
                    </a:lnTo>
                    <a:lnTo>
                      <a:pt x="94" y="170"/>
                    </a:lnTo>
                    <a:lnTo>
                      <a:pt x="107" y="150"/>
                    </a:lnTo>
                    <a:lnTo>
                      <a:pt x="119" y="133"/>
                    </a:lnTo>
                    <a:lnTo>
                      <a:pt x="134" y="117"/>
                    </a:lnTo>
                    <a:lnTo>
                      <a:pt x="150" y="104"/>
                    </a:lnTo>
                    <a:lnTo>
                      <a:pt x="166" y="91"/>
                    </a:lnTo>
                    <a:lnTo>
                      <a:pt x="183" y="80"/>
                    </a:lnTo>
                    <a:lnTo>
                      <a:pt x="200" y="72"/>
                    </a:lnTo>
                    <a:lnTo>
                      <a:pt x="218" y="64"/>
                    </a:lnTo>
                    <a:lnTo>
                      <a:pt x="237" y="58"/>
                    </a:lnTo>
                    <a:lnTo>
                      <a:pt x="255" y="54"/>
                    </a:lnTo>
                    <a:lnTo>
                      <a:pt x="274" y="51"/>
                    </a:lnTo>
                    <a:lnTo>
                      <a:pt x="293" y="49"/>
                    </a:lnTo>
                    <a:lnTo>
                      <a:pt x="312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79">
                <a:extLst>
                  <a:ext uri="{FF2B5EF4-FFF2-40B4-BE49-F238E27FC236}">
                    <a16:creationId xmlns:a16="http://schemas.microsoft.com/office/drawing/2014/main" id="{705EE88C-2A19-458E-81CD-88EB52B3A5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7013" y="809625"/>
                <a:ext cx="133350" cy="214313"/>
              </a:xfrm>
              <a:custGeom>
                <a:avLst/>
                <a:gdLst>
                  <a:gd name="T0" fmla="*/ 154 w 336"/>
                  <a:gd name="T1" fmla="*/ 204 h 540"/>
                  <a:gd name="T2" fmla="*/ 126 w 336"/>
                  <a:gd name="T3" fmla="*/ 209 h 540"/>
                  <a:gd name="T4" fmla="*/ 100 w 336"/>
                  <a:gd name="T5" fmla="*/ 218 h 540"/>
                  <a:gd name="T6" fmla="*/ 76 w 336"/>
                  <a:gd name="T7" fmla="*/ 232 h 540"/>
                  <a:gd name="T8" fmla="*/ 73 w 336"/>
                  <a:gd name="T9" fmla="*/ 214 h 540"/>
                  <a:gd name="T10" fmla="*/ 94 w 336"/>
                  <a:gd name="T11" fmla="*/ 170 h 540"/>
                  <a:gd name="T12" fmla="*/ 120 w 336"/>
                  <a:gd name="T13" fmla="*/ 133 h 540"/>
                  <a:gd name="T14" fmla="*/ 150 w 336"/>
                  <a:gd name="T15" fmla="*/ 104 h 540"/>
                  <a:gd name="T16" fmla="*/ 183 w 336"/>
                  <a:gd name="T17" fmla="*/ 80 h 540"/>
                  <a:gd name="T18" fmla="*/ 218 w 336"/>
                  <a:gd name="T19" fmla="*/ 64 h 540"/>
                  <a:gd name="T20" fmla="*/ 255 w 336"/>
                  <a:gd name="T21" fmla="*/ 54 h 540"/>
                  <a:gd name="T22" fmla="*/ 294 w 336"/>
                  <a:gd name="T23" fmla="*/ 49 h 540"/>
                  <a:gd name="T24" fmla="*/ 317 w 336"/>
                  <a:gd name="T25" fmla="*/ 47 h 540"/>
                  <a:gd name="T26" fmla="*/ 325 w 336"/>
                  <a:gd name="T27" fmla="*/ 43 h 540"/>
                  <a:gd name="T28" fmla="*/ 332 w 336"/>
                  <a:gd name="T29" fmla="*/ 37 h 540"/>
                  <a:gd name="T30" fmla="*/ 336 w 336"/>
                  <a:gd name="T31" fmla="*/ 28 h 540"/>
                  <a:gd name="T32" fmla="*/ 336 w 336"/>
                  <a:gd name="T33" fmla="*/ 19 h 540"/>
                  <a:gd name="T34" fmla="*/ 332 w 336"/>
                  <a:gd name="T35" fmla="*/ 10 h 540"/>
                  <a:gd name="T36" fmla="*/ 325 w 336"/>
                  <a:gd name="T37" fmla="*/ 4 h 540"/>
                  <a:gd name="T38" fmla="*/ 317 w 336"/>
                  <a:gd name="T39" fmla="*/ 0 h 540"/>
                  <a:gd name="T40" fmla="*/ 295 w 336"/>
                  <a:gd name="T41" fmla="*/ 0 h 540"/>
                  <a:gd name="T42" fmla="*/ 261 w 336"/>
                  <a:gd name="T43" fmla="*/ 3 h 540"/>
                  <a:gd name="T44" fmla="*/ 228 w 336"/>
                  <a:gd name="T45" fmla="*/ 10 h 540"/>
                  <a:gd name="T46" fmla="*/ 198 w 336"/>
                  <a:gd name="T47" fmla="*/ 20 h 540"/>
                  <a:gd name="T48" fmla="*/ 170 w 336"/>
                  <a:gd name="T49" fmla="*/ 33 h 540"/>
                  <a:gd name="T50" fmla="*/ 142 w 336"/>
                  <a:gd name="T51" fmla="*/ 49 h 540"/>
                  <a:gd name="T52" fmla="*/ 118 w 336"/>
                  <a:gd name="T53" fmla="*/ 68 h 540"/>
                  <a:gd name="T54" fmla="*/ 96 w 336"/>
                  <a:gd name="T55" fmla="*/ 89 h 540"/>
                  <a:gd name="T56" fmla="*/ 75 w 336"/>
                  <a:gd name="T57" fmla="*/ 113 h 540"/>
                  <a:gd name="T58" fmla="*/ 56 w 336"/>
                  <a:gd name="T59" fmla="*/ 141 h 540"/>
                  <a:gd name="T60" fmla="*/ 42 w 336"/>
                  <a:gd name="T61" fmla="*/ 170 h 540"/>
                  <a:gd name="T62" fmla="*/ 28 w 336"/>
                  <a:gd name="T63" fmla="*/ 202 h 540"/>
                  <a:gd name="T64" fmla="*/ 17 w 336"/>
                  <a:gd name="T65" fmla="*/ 236 h 540"/>
                  <a:gd name="T66" fmla="*/ 9 w 336"/>
                  <a:gd name="T67" fmla="*/ 272 h 540"/>
                  <a:gd name="T68" fmla="*/ 3 w 336"/>
                  <a:gd name="T69" fmla="*/ 310 h 540"/>
                  <a:gd name="T70" fmla="*/ 0 w 336"/>
                  <a:gd name="T71" fmla="*/ 351 h 540"/>
                  <a:gd name="T72" fmla="*/ 0 w 336"/>
                  <a:gd name="T73" fmla="*/ 390 h 540"/>
                  <a:gd name="T74" fmla="*/ 8 w 336"/>
                  <a:gd name="T75" fmla="*/ 422 h 540"/>
                  <a:gd name="T76" fmla="*/ 20 w 336"/>
                  <a:gd name="T77" fmla="*/ 452 h 540"/>
                  <a:gd name="T78" fmla="*/ 38 w 336"/>
                  <a:gd name="T79" fmla="*/ 478 h 540"/>
                  <a:gd name="T80" fmla="*/ 61 w 336"/>
                  <a:gd name="T81" fmla="*/ 502 h 540"/>
                  <a:gd name="T82" fmla="*/ 88 w 336"/>
                  <a:gd name="T83" fmla="*/ 520 h 540"/>
                  <a:gd name="T84" fmla="*/ 118 w 336"/>
                  <a:gd name="T85" fmla="*/ 532 h 540"/>
                  <a:gd name="T86" fmla="*/ 151 w 336"/>
                  <a:gd name="T87" fmla="*/ 539 h 540"/>
                  <a:gd name="T88" fmla="*/ 186 w 336"/>
                  <a:gd name="T89" fmla="*/ 539 h 540"/>
                  <a:gd name="T90" fmla="*/ 218 w 336"/>
                  <a:gd name="T91" fmla="*/ 532 h 540"/>
                  <a:gd name="T92" fmla="*/ 248 w 336"/>
                  <a:gd name="T93" fmla="*/ 520 h 540"/>
                  <a:gd name="T94" fmla="*/ 275 w 336"/>
                  <a:gd name="T95" fmla="*/ 502 h 540"/>
                  <a:gd name="T96" fmla="*/ 298 w 336"/>
                  <a:gd name="T97" fmla="*/ 478 h 540"/>
                  <a:gd name="T98" fmla="*/ 316 w 336"/>
                  <a:gd name="T99" fmla="*/ 452 h 540"/>
                  <a:gd name="T100" fmla="*/ 329 w 336"/>
                  <a:gd name="T101" fmla="*/ 422 h 540"/>
                  <a:gd name="T102" fmla="*/ 335 w 336"/>
                  <a:gd name="T103" fmla="*/ 390 h 540"/>
                  <a:gd name="T104" fmla="*/ 335 w 336"/>
                  <a:gd name="T105" fmla="*/ 355 h 540"/>
                  <a:gd name="T106" fmla="*/ 329 w 336"/>
                  <a:gd name="T107" fmla="*/ 322 h 540"/>
                  <a:gd name="T108" fmla="*/ 316 w 336"/>
                  <a:gd name="T109" fmla="*/ 292 h 540"/>
                  <a:gd name="T110" fmla="*/ 298 w 336"/>
                  <a:gd name="T111" fmla="*/ 265 h 540"/>
                  <a:gd name="T112" fmla="*/ 275 w 336"/>
                  <a:gd name="T113" fmla="*/ 242 h 540"/>
                  <a:gd name="T114" fmla="*/ 248 w 336"/>
                  <a:gd name="T115" fmla="*/ 224 h 540"/>
                  <a:gd name="T116" fmla="*/ 218 w 336"/>
                  <a:gd name="T117" fmla="*/ 212 h 540"/>
                  <a:gd name="T118" fmla="*/ 186 w 336"/>
                  <a:gd name="T119" fmla="*/ 204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36" h="540">
                    <a:moveTo>
                      <a:pt x="168" y="204"/>
                    </a:moveTo>
                    <a:lnTo>
                      <a:pt x="154" y="204"/>
                    </a:lnTo>
                    <a:lnTo>
                      <a:pt x="140" y="206"/>
                    </a:lnTo>
                    <a:lnTo>
                      <a:pt x="126" y="209"/>
                    </a:lnTo>
                    <a:lnTo>
                      <a:pt x="112" y="213"/>
                    </a:lnTo>
                    <a:lnTo>
                      <a:pt x="100" y="218"/>
                    </a:lnTo>
                    <a:lnTo>
                      <a:pt x="88" y="224"/>
                    </a:lnTo>
                    <a:lnTo>
                      <a:pt x="76" y="232"/>
                    </a:lnTo>
                    <a:lnTo>
                      <a:pt x="65" y="239"/>
                    </a:lnTo>
                    <a:lnTo>
                      <a:pt x="73" y="214"/>
                    </a:lnTo>
                    <a:lnTo>
                      <a:pt x="83" y="191"/>
                    </a:lnTo>
                    <a:lnTo>
                      <a:pt x="94" y="170"/>
                    </a:lnTo>
                    <a:lnTo>
                      <a:pt x="107" y="150"/>
                    </a:lnTo>
                    <a:lnTo>
                      <a:pt x="120" y="133"/>
                    </a:lnTo>
                    <a:lnTo>
                      <a:pt x="135" y="117"/>
                    </a:lnTo>
                    <a:lnTo>
                      <a:pt x="150" y="104"/>
                    </a:lnTo>
                    <a:lnTo>
                      <a:pt x="167" y="91"/>
                    </a:lnTo>
                    <a:lnTo>
                      <a:pt x="183" y="80"/>
                    </a:lnTo>
                    <a:lnTo>
                      <a:pt x="200" y="72"/>
                    </a:lnTo>
                    <a:lnTo>
                      <a:pt x="218" y="64"/>
                    </a:lnTo>
                    <a:lnTo>
                      <a:pt x="236" y="58"/>
                    </a:lnTo>
                    <a:lnTo>
                      <a:pt x="255" y="54"/>
                    </a:lnTo>
                    <a:lnTo>
                      <a:pt x="275" y="51"/>
                    </a:lnTo>
                    <a:lnTo>
                      <a:pt x="294" y="49"/>
                    </a:lnTo>
                    <a:lnTo>
                      <a:pt x="313" y="47"/>
                    </a:lnTo>
                    <a:lnTo>
                      <a:pt x="317" y="47"/>
                    </a:lnTo>
                    <a:lnTo>
                      <a:pt x="321" y="45"/>
                    </a:lnTo>
                    <a:lnTo>
                      <a:pt x="325" y="43"/>
                    </a:lnTo>
                    <a:lnTo>
                      <a:pt x="330" y="41"/>
                    </a:lnTo>
                    <a:lnTo>
                      <a:pt x="332" y="37"/>
                    </a:lnTo>
                    <a:lnTo>
                      <a:pt x="334" y="33"/>
                    </a:lnTo>
                    <a:lnTo>
                      <a:pt x="336" y="28"/>
                    </a:lnTo>
                    <a:lnTo>
                      <a:pt x="336" y="24"/>
                    </a:lnTo>
                    <a:lnTo>
                      <a:pt x="336" y="19"/>
                    </a:lnTo>
                    <a:lnTo>
                      <a:pt x="334" y="15"/>
                    </a:lnTo>
                    <a:lnTo>
                      <a:pt x="332" y="10"/>
                    </a:lnTo>
                    <a:lnTo>
                      <a:pt x="330" y="6"/>
                    </a:lnTo>
                    <a:lnTo>
                      <a:pt x="325" y="4"/>
                    </a:lnTo>
                    <a:lnTo>
                      <a:pt x="321" y="2"/>
                    </a:lnTo>
                    <a:lnTo>
                      <a:pt x="317" y="0"/>
                    </a:lnTo>
                    <a:lnTo>
                      <a:pt x="313" y="0"/>
                    </a:lnTo>
                    <a:lnTo>
                      <a:pt x="295" y="0"/>
                    </a:lnTo>
                    <a:lnTo>
                      <a:pt x="278" y="1"/>
                    </a:lnTo>
                    <a:lnTo>
                      <a:pt x="261" y="3"/>
                    </a:lnTo>
                    <a:lnTo>
                      <a:pt x="244" y="6"/>
                    </a:lnTo>
                    <a:lnTo>
                      <a:pt x="228" y="10"/>
                    </a:lnTo>
                    <a:lnTo>
                      <a:pt x="213" y="15"/>
                    </a:lnTo>
                    <a:lnTo>
                      <a:pt x="198" y="20"/>
                    </a:lnTo>
                    <a:lnTo>
                      <a:pt x="183" y="26"/>
                    </a:lnTo>
                    <a:lnTo>
                      <a:pt x="170" y="33"/>
                    </a:lnTo>
                    <a:lnTo>
                      <a:pt x="156" y="40"/>
                    </a:lnTo>
                    <a:lnTo>
                      <a:pt x="142" y="49"/>
                    </a:lnTo>
                    <a:lnTo>
                      <a:pt x="131" y="58"/>
                    </a:lnTo>
                    <a:lnTo>
                      <a:pt x="118" y="68"/>
                    </a:lnTo>
                    <a:lnTo>
                      <a:pt x="106" y="78"/>
                    </a:lnTo>
                    <a:lnTo>
                      <a:pt x="96" y="89"/>
                    </a:lnTo>
                    <a:lnTo>
                      <a:pt x="85" y="101"/>
                    </a:lnTo>
                    <a:lnTo>
                      <a:pt x="75" y="113"/>
                    </a:lnTo>
                    <a:lnTo>
                      <a:pt x="66" y="127"/>
                    </a:lnTo>
                    <a:lnTo>
                      <a:pt x="56" y="141"/>
                    </a:lnTo>
                    <a:lnTo>
                      <a:pt x="49" y="154"/>
                    </a:lnTo>
                    <a:lnTo>
                      <a:pt x="42" y="170"/>
                    </a:lnTo>
                    <a:lnTo>
                      <a:pt x="34" y="185"/>
                    </a:lnTo>
                    <a:lnTo>
                      <a:pt x="28" y="202"/>
                    </a:lnTo>
                    <a:lnTo>
                      <a:pt x="22" y="218"/>
                    </a:lnTo>
                    <a:lnTo>
                      <a:pt x="17" y="236"/>
                    </a:lnTo>
                    <a:lnTo>
                      <a:pt x="13" y="254"/>
                    </a:lnTo>
                    <a:lnTo>
                      <a:pt x="9" y="272"/>
                    </a:lnTo>
                    <a:lnTo>
                      <a:pt x="6" y="291"/>
                    </a:lnTo>
                    <a:lnTo>
                      <a:pt x="3" y="310"/>
                    </a:lnTo>
                    <a:lnTo>
                      <a:pt x="1" y="330"/>
                    </a:lnTo>
                    <a:lnTo>
                      <a:pt x="0" y="351"/>
                    </a:lnTo>
                    <a:lnTo>
                      <a:pt x="0" y="371"/>
                    </a:lnTo>
                    <a:lnTo>
                      <a:pt x="0" y="390"/>
                    </a:lnTo>
                    <a:lnTo>
                      <a:pt x="3" y="405"/>
                    </a:lnTo>
                    <a:lnTo>
                      <a:pt x="8" y="422"/>
                    </a:lnTo>
                    <a:lnTo>
                      <a:pt x="13" y="437"/>
                    </a:lnTo>
                    <a:lnTo>
                      <a:pt x="20" y="452"/>
                    </a:lnTo>
                    <a:lnTo>
                      <a:pt x="29" y="466"/>
                    </a:lnTo>
                    <a:lnTo>
                      <a:pt x="38" y="478"/>
                    </a:lnTo>
                    <a:lnTo>
                      <a:pt x="49" y="491"/>
                    </a:lnTo>
                    <a:lnTo>
                      <a:pt x="61" y="502"/>
                    </a:lnTo>
                    <a:lnTo>
                      <a:pt x="74" y="511"/>
                    </a:lnTo>
                    <a:lnTo>
                      <a:pt x="88" y="520"/>
                    </a:lnTo>
                    <a:lnTo>
                      <a:pt x="103" y="527"/>
                    </a:lnTo>
                    <a:lnTo>
                      <a:pt x="118" y="532"/>
                    </a:lnTo>
                    <a:lnTo>
                      <a:pt x="134" y="537"/>
                    </a:lnTo>
                    <a:lnTo>
                      <a:pt x="151" y="539"/>
                    </a:lnTo>
                    <a:lnTo>
                      <a:pt x="168" y="540"/>
                    </a:lnTo>
                    <a:lnTo>
                      <a:pt x="186" y="539"/>
                    </a:lnTo>
                    <a:lnTo>
                      <a:pt x="201" y="537"/>
                    </a:lnTo>
                    <a:lnTo>
                      <a:pt x="218" y="532"/>
                    </a:lnTo>
                    <a:lnTo>
                      <a:pt x="233" y="527"/>
                    </a:lnTo>
                    <a:lnTo>
                      <a:pt x="248" y="520"/>
                    </a:lnTo>
                    <a:lnTo>
                      <a:pt x="262" y="511"/>
                    </a:lnTo>
                    <a:lnTo>
                      <a:pt x="275" y="502"/>
                    </a:lnTo>
                    <a:lnTo>
                      <a:pt x="287" y="491"/>
                    </a:lnTo>
                    <a:lnTo>
                      <a:pt x="298" y="478"/>
                    </a:lnTo>
                    <a:lnTo>
                      <a:pt x="307" y="466"/>
                    </a:lnTo>
                    <a:lnTo>
                      <a:pt x="316" y="452"/>
                    </a:lnTo>
                    <a:lnTo>
                      <a:pt x="323" y="437"/>
                    </a:lnTo>
                    <a:lnTo>
                      <a:pt x="329" y="422"/>
                    </a:lnTo>
                    <a:lnTo>
                      <a:pt x="333" y="405"/>
                    </a:lnTo>
                    <a:lnTo>
                      <a:pt x="335" y="390"/>
                    </a:lnTo>
                    <a:lnTo>
                      <a:pt x="336" y="371"/>
                    </a:lnTo>
                    <a:lnTo>
                      <a:pt x="335" y="355"/>
                    </a:lnTo>
                    <a:lnTo>
                      <a:pt x="333" y="338"/>
                    </a:lnTo>
                    <a:lnTo>
                      <a:pt x="329" y="322"/>
                    </a:lnTo>
                    <a:lnTo>
                      <a:pt x="323" y="307"/>
                    </a:lnTo>
                    <a:lnTo>
                      <a:pt x="316" y="292"/>
                    </a:lnTo>
                    <a:lnTo>
                      <a:pt x="307" y="278"/>
                    </a:lnTo>
                    <a:lnTo>
                      <a:pt x="298" y="265"/>
                    </a:lnTo>
                    <a:lnTo>
                      <a:pt x="287" y="253"/>
                    </a:lnTo>
                    <a:lnTo>
                      <a:pt x="275" y="242"/>
                    </a:lnTo>
                    <a:lnTo>
                      <a:pt x="262" y="233"/>
                    </a:lnTo>
                    <a:lnTo>
                      <a:pt x="248" y="224"/>
                    </a:lnTo>
                    <a:lnTo>
                      <a:pt x="233" y="217"/>
                    </a:lnTo>
                    <a:lnTo>
                      <a:pt x="218" y="212"/>
                    </a:lnTo>
                    <a:lnTo>
                      <a:pt x="201" y="207"/>
                    </a:lnTo>
                    <a:lnTo>
                      <a:pt x="186" y="204"/>
                    </a:lnTo>
                    <a:lnTo>
                      <a:pt x="168" y="20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579222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Oval 250">
            <a:extLst>
              <a:ext uri="{FF2B5EF4-FFF2-40B4-BE49-F238E27FC236}">
                <a16:creationId xmlns:a16="http://schemas.microsoft.com/office/drawing/2014/main" id="{B7040B08-3489-4D9E-A6D5-CD31246E3799}"/>
              </a:ext>
            </a:extLst>
          </p:cNvPr>
          <p:cNvSpPr/>
          <p:nvPr/>
        </p:nvSpPr>
        <p:spPr>
          <a:xfrm>
            <a:off x="-1322662" y="136527"/>
            <a:ext cx="6584948" cy="65849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3" name="Rectangle: Rounded Corners 232">
            <a:extLst>
              <a:ext uri="{FF2B5EF4-FFF2-40B4-BE49-F238E27FC236}">
                <a16:creationId xmlns:a16="http://schemas.microsoft.com/office/drawing/2014/main" id="{38BC1830-0828-45B0-8117-5E01FBBAF93B}"/>
              </a:ext>
            </a:extLst>
          </p:cNvPr>
          <p:cNvSpPr/>
          <p:nvPr/>
        </p:nvSpPr>
        <p:spPr>
          <a:xfrm>
            <a:off x="5061568" y="5023288"/>
            <a:ext cx="5930282" cy="907001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4" name="Rectangle: Rounded Corners 233">
            <a:extLst>
              <a:ext uri="{FF2B5EF4-FFF2-40B4-BE49-F238E27FC236}">
                <a16:creationId xmlns:a16="http://schemas.microsoft.com/office/drawing/2014/main" id="{E1FFB987-CEE0-4B84-8D88-BEC2C8F681F9}"/>
              </a:ext>
            </a:extLst>
          </p:cNvPr>
          <p:cNvSpPr/>
          <p:nvPr/>
        </p:nvSpPr>
        <p:spPr>
          <a:xfrm>
            <a:off x="5529835" y="2981395"/>
            <a:ext cx="5930282" cy="907001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2" name="Rectangle: Rounded Corners 231">
            <a:extLst>
              <a:ext uri="{FF2B5EF4-FFF2-40B4-BE49-F238E27FC236}">
                <a16:creationId xmlns:a16="http://schemas.microsoft.com/office/drawing/2014/main" id="{29A1ED7D-5033-48C6-8873-2F2C2AB23293}"/>
              </a:ext>
            </a:extLst>
          </p:cNvPr>
          <p:cNvSpPr/>
          <p:nvPr/>
        </p:nvSpPr>
        <p:spPr>
          <a:xfrm>
            <a:off x="5061568" y="925168"/>
            <a:ext cx="5930282" cy="907001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0" name="Oval 219">
            <a:extLst>
              <a:ext uri="{FF2B5EF4-FFF2-40B4-BE49-F238E27FC236}">
                <a16:creationId xmlns:a16="http://schemas.microsoft.com/office/drawing/2014/main" id="{3EB49829-0A41-487F-B974-500A2624368D}"/>
              </a:ext>
            </a:extLst>
          </p:cNvPr>
          <p:cNvSpPr/>
          <p:nvPr/>
        </p:nvSpPr>
        <p:spPr>
          <a:xfrm>
            <a:off x="-2054452" y="-595263"/>
            <a:ext cx="8048526" cy="8048526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4D9497-D6ED-4F5D-9AF8-723FC8208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t>3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5" name="Rectangle 70">
            <a:extLst>
              <a:ext uri="{FF2B5EF4-FFF2-40B4-BE49-F238E27FC236}">
                <a16:creationId xmlns:a16="http://schemas.microsoft.com/office/drawing/2014/main" id="{46EBEB8D-01EC-4B1A-B44A-BDF60EEB1BDB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2B65C3F7-A458-440E-B3D1-2B713CA2F3C1}"/>
              </a:ext>
            </a:extLst>
          </p:cNvPr>
          <p:cNvGrpSpPr/>
          <p:nvPr/>
        </p:nvGrpSpPr>
        <p:grpSpPr>
          <a:xfrm>
            <a:off x="-1067166" y="670560"/>
            <a:ext cx="6137378" cy="5593080"/>
            <a:chOff x="-884638" y="845220"/>
            <a:chExt cx="5749330" cy="5239443"/>
          </a:xfrm>
          <a:solidFill>
            <a:schemeClr val="tx2">
              <a:lumMod val="75000"/>
            </a:schemeClr>
          </a:solidFill>
        </p:grpSpPr>
        <p:sp>
          <p:nvSpPr>
            <p:cNvPr id="164" name="Freeform 67">
              <a:extLst>
                <a:ext uri="{FF2B5EF4-FFF2-40B4-BE49-F238E27FC236}">
                  <a16:creationId xmlns:a16="http://schemas.microsoft.com/office/drawing/2014/main" id="{2CB3DF14-DD7C-4581-9C36-738F2E313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0834" y="1214732"/>
              <a:ext cx="3395237" cy="4048915"/>
            </a:xfrm>
            <a:custGeom>
              <a:avLst/>
              <a:gdLst>
                <a:gd name="T0" fmla="*/ 1297 w 1608"/>
                <a:gd name="T1" fmla="*/ 89 h 1920"/>
                <a:gd name="T2" fmla="*/ 1198 w 1608"/>
                <a:gd name="T3" fmla="*/ 166 h 1920"/>
                <a:gd name="T4" fmla="*/ 1108 w 1608"/>
                <a:gd name="T5" fmla="*/ 125 h 1920"/>
                <a:gd name="T6" fmla="*/ 996 w 1608"/>
                <a:gd name="T7" fmla="*/ 107 h 1920"/>
                <a:gd name="T8" fmla="*/ 932 w 1608"/>
                <a:gd name="T9" fmla="*/ 40 h 1920"/>
                <a:gd name="T10" fmla="*/ 810 w 1608"/>
                <a:gd name="T11" fmla="*/ 128 h 1920"/>
                <a:gd name="T12" fmla="*/ 770 w 1608"/>
                <a:gd name="T13" fmla="*/ 172 h 1920"/>
                <a:gd name="T14" fmla="*/ 747 w 1608"/>
                <a:gd name="T15" fmla="*/ 271 h 1920"/>
                <a:gd name="T16" fmla="*/ 697 w 1608"/>
                <a:gd name="T17" fmla="*/ 143 h 1920"/>
                <a:gd name="T18" fmla="*/ 626 w 1608"/>
                <a:gd name="T19" fmla="*/ 247 h 1920"/>
                <a:gd name="T20" fmla="*/ 536 w 1608"/>
                <a:gd name="T21" fmla="*/ 291 h 1920"/>
                <a:gd name="T22" fmla="*/ 480 w 1608"/>
                <a:gd name="T23" fmla="*/ 305 h 1920"/>
                <a:gd name="T24" fmla="*/ 327 w 1608"/>
                <a:gd name="T25" fmla="*/ 249 h 1920"/>
                <a:gd name="T26" fmla="*/ 231 w 1608"/>
                <a:gd name="T27" fmla="*/ 395 h 1920"/>
                <a:gd name="T28" fmla="*/ 233 w 1608"/>
                <a:gd name="T29" fmla="*/ 514 h 1920"/>
                <a:gd name="T30" fmla="*/ 307 w 1608"/>
                <a:gd name="T31" fmla="*/ 491 h 1920"/>
                <a:gd name="T32" fmla="*/ 327 w 1608"/>
                <a:gd name="T33" fmla="*/ 410 h 1920"/>
                <a:gd name="T34" fmla="*/ 334 w 1608"/>
                <a:gd name="T35" fmla="*/ 536 h 1920"/>
                <a:gd name="T36" fmla="*/ 238 w 1608"/>
                <a:gd name="T37" fmla="*/ 544 h 1920"/>
                <a:gd name="T38" fmla="*/ 134 w 1608"/>
                <a:gd name="T39" fmla="*/ 701 h 1920"/>
                <a:gd name="T40" fmla="*/ 80 w 1608"/>
                <a:gd name="T41" fmla="*/ 870 h 1920"/>
                <a:gd name="T42" fmla="*/ 191 w 1608"/>
                <a:gd name="T43" fmla="*/ 808 h 1920"/>
                <a:gd name="T44" fmla="*/ 308 w 1608"/>
                <a:gd name="T45" fmla="*/ 886 h 1920"/>
                <a:gd name="T46" fmla="*/ 301 w 1608"/>
                <a:gd name="T47" fmla="*/ 796 h 1920"/>
                <a:gd name="T48" fmla="*/ 391 w 1608"/>
                <a:gd name="T49" fmla="*/ 835 h 1920"/>
                <a:gd name="T50" fmla="*/ 463 w 1608"/>
                <a:gd name="T51" fmla="*/ 729 h 1920"/>
                <a:gd name="T52" fmla="*/ 484 w 1608"/>
                <a:gd name="T53" fmla="*/ 817 h 1920"/>
                <a:gd name="T54" fmla="*/ 408 w 1608"/>
                <a:gd name="T55" fmla="*/ 911 h 1920"/>
                <a:gd name="T56" fmla="*/ 376 w 1608"/>
                <a:gd name="T57" fmla="*/ 966 h 1920"/>
                <a:gd name="T58" fmla="*/ 260 w 1608"/>
                <a:gd name="T59" fmla="*/ 922 h 1920"/>
                <a:gd name="T60" fmla="*/ 92 w 1608"/>
                <a:gd name="T61" fmla="*/ 967 h 1920"/>
                <a:gd name="T62" fmla="*/ 7 w 1608"/>
                <a:gd name="T63" fmla="*/ 1147 h 1920"/>
                <a:gd name="T64" fmla="*/ 58 w 1608"/>
                <a:gd name="T65" fmla="*/ 1352 h 1920"/>
                <a:gd name="T66" fmla="*/ 210 w 1608"/>
                <a:gd name="T67" fmla="*/ 1365 h 1920"/>
                <a:gd name="T68" fmla="*/ 275 w 1608"/>
                <a:gd name="T69" fmla="*/ 1499 h 1920"/>
                <a:gd name="T70" fmla="*/ 299 w 1608"/>
                <a:gd name="T71" fmla="*/ 1717 h 1920"/>
                <a:gd name="T72" fmla="*/ 349 w 1608"/>
                <a:gd name="T73" fmla="*/ 1916 h 1920"/>
                <a:gd name="T74" fmla="*/ 520 w 1608"/>
                <a:gd name="T75" fmla="*/ 1755 h 1920"/>
                <a:gd name="T76" fmla="*/ 560 w 1608"/>
                <a:gd name="T77" fmla="*/ 1476 h 1920"/>
                <a:gd name="T78" fmla="*/ 645 w 1608"/>
                <a:gd name="T79" fmla="*/ 1268 h 1920"/>
                <a:gd name="T80" fmla="*/ 528 w 1608"/>
                <a:gd name="T81" fmla="*/ 1207 h 1920"/>
                <a:gd name="T82" fmla="*/ 482 w 1608"/>
                <a:gd name="T83" fmla="*/ 1055 h 1920"/>
                <a:gd name="T84" fmla="*/ 588 w 1608"/>
                <a:gd name="T85" fmla="*/ 1248 h 1920"/>
                <a:gd name="T86" fmla="*/ 703 w 1608"/>
                <a:gd name="T87" fmla="*/ 1143 h 1920"/>
                <a:gd name="T88" fmla="*/ 611 w 1608"/>
                <a:gd name="T89" fmla="*/ 1041 h 1920"/>
                <a:gd name="T90" fmla="*/ 739 w 1608"/>
                <a:gd name="T91" fmla="*/ 1057 h 1920"/>
                <a:gd name="T92" fmla="*/ 839 w 1608"/>
                <a:gd name="T93" fmla="*/ 1169 h 1920"/>
                <a:gd name="T94" fmla="*/ 910 w 1608"/>
                <a:gd name="T95" fmla="*/ 1293 h 1920"/>
                <a:gd name="T96" fmla="*/ 1018 w 1608"/>
                <a:gd name="T97" fmla="*/ 1140 h 1920"/>
                <a:gd name="T98" fmla="*/ 1090 w 1608"/>
                <a:gd name="T99" fmla="*/ 1283 h 1920"/>
                <a:gd name="T100" fmla="*/ 1147 w 1608"/>
                <a:gd name="T101" fmla="*/ 1357 h 1920"/>
                <a:gd name="T102" fmla="*/ 1175 w 1608"/>
                <a:gd name="T103" fmla="*/ 1261 h 1920"/>
                <a:gd name="T104" fmla="*/ 1151 w 1608"/>
                <a:gd name="T105" fmla="*/ 1110 h 1920"/>
                <a:gd name="T106" fmla="*/ 1244 w 1608"/>
                <a:gd name="T107" fmla="*/ 1066 h 1920"/>
                <a:gd name="T108" fmla="*/ 1216 w 1608"/>
                <a:gd name="T109" fmla="*/ 861 h 1920"/>
                <a:gd name="T110" fmla="*/ 1276 w 1608"/>
                <a:gd name="T111" fmla="*/ 866 h 1920"/>
                <a:gd name="T112" fmla="*/ 1306 w 1608"/>
                <a:gd name="T113" fmla="*/ 794 h 1920"/>
                <a:gd name="T114" fmla="*/ 1363 w 1608"/>
                <a:gd name="T115" fmla="*/ 585 h 1920"/>
                <a:gd name="T116" fmla="*/ 1363 w 1608"/>
                <a:gd name="T117" fmla="*/ 469 h 1920"/>
                <a:gd name="T118" fmla="*/ 1491 w 1608"/>
                <a:gd name="T119" fmla="*/ 423 h 1920"/>
                <a:gd name="T120" fmla="*/ 1536 w 1608"/>
                <a:gd name="T121" fmla="*/ 451 h 1920"/>
                <a:gd name="T122" fmla="*/ 1514 w 1608"/>
                <a:gd name="T123" fmla="*/ 633 h 1920"/>
                <a:gd name="T124" fmla="*/ 1558 w 1608"/>
                <a:gd name="T125" fmla="*/ 473 h 1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8" h="1920">
                  <a:moveTo>
                    <a:pt x="1428" y="166"/>
                  </a:moveTo>
                  <a:cubicBezTo>
                    <a:pt x="1425" y="170"/>
                    <a:pt x="1419" y="168"/>
                    <a:pt x="1414" y="168"/>
                  </a:cubicBezTo>
                  <a:cubicBezTo>
                    <a:pt x="1412" y="168"/>
                    <a:pt x="1410" y="169"/>
                    <a:pt x="1407" y="168"/>
                  </a:cubicBezTo>
                  <a:cubicBezTo>
                    <a:pt x="1406" y="168"/>
                    <a:pt x="1406" y="167"/>
                    <a:pt x="1404" y="167"/>
                  </a:cubicBezTo>
                  <a:cubicBezTo>
                    <a:pt x="1403" y="166"/>
                    <a:pt x="1402" y="167"/>
                    <a:pt x="1401" y="166"/>
                  </a:cubicBezTo>
                  <a:cubicBezTo>
                    <a:pt x="1401" y="165"/>
                    <a:pt x="1401" y="164"/>
                    <a:pt x="1400" y="163"/>
                  </a:cubicBezTo>
                  <a:cubicBezTo>
                    <a:pt x="1398" y="163"/>
                    <a:pt x="1397" y="160"/>
                    <a:pt x="1395" y="159"/>
                  </a:cubicBezTo>
                  <a:cubicBezTo>
                    <a:pt x="1393" y="158"/>
                    <a:pt x="1393" y="158"/>
                    <a:pt x="1392" y="158"/>
                  </a:cubicBezTo>
                  <a:cubicBezTo>
                    <a:pt x="1390" y="158"/>
                    <a:pt x="1388" y="159"/>
                    <a:pt x="1387" y="157"/>
                  </a:cubicBezTo>
                  <a:cubicBezTo>
                    <a:pt x="1385" y="156"/>
                    <a:pt x="1384" y="152"/>
                    <a:pt x="1384" y="149"/>
                  </a:cubicBezTo>
                  <a:cubicBezTo>
                    <a:pt x="1384" y="145"/>
                    <a:pt x="1383" y="141"/>
                    <a:pt x="1383" y="137"/>
                  </a:cubicBezTo>
                  <a:cubicBezTo>
                    <a:pt x="1382" y="129"/>
                    <a:pt x="1374" y="128"/>
                    <a:pt x="1370" y="131"/>
                  </a:cubicBezTo>
                  <a:cubicBezTo>
                    <a:pt x="1369" y="132"/>
                    <a:pt x="1369" y="133"/>
                    <a:pt x="1368" y="133"/>
                  </a:cubicBezTo>
                  <a:cubicBezTo>
                    <a:pt x="1366" y="134"/>
                    <a:pt x="1364" y="133"/>
                    <a:pt x="1363" y="133"/>
                  </a:cubicBezTo>
                  <a:cubicBezTo>
                    <a:pt x="1360" y="134"/>
                    <a:pt x="1359" y="138"/>
                    <a:pt x="1359" y="142"/>
                  </a:cubicBezTo>
                  <a:cubicBezTo>
                    <a:pt x="1357" y="142"/>
                    <a:pt x="1354" y="143"/>
                    <a:pt x="1353" y="142"/>
                  </a:cubicBezTo>
                  <a:cubicBezTo>
                    <a:pt x="1352" y="141"/>
                    <a:pt x="1352" y="139"/>
                    <a:pt x="1352" y="138"/>
                  </a:cubicBezTo>
                  <a:cubicBezTo>
                    <a:pt x="1351" y="137"/>
                    <a:pt x="1350" y="137"/>
                    <a:pt x="1349" y="136"/>
                  </a:cubicBezTo>
                  <a:cubicBezTo>
                    <a:pt x="1349" y="135"/>
                    <a:pt x="1349" y="135"/>
                    <a:pt x="1349" y="134"/>
                  </a:cubicBezTo>
                  <a:cubicBezTo>
                    <a:pt x="1345" y="132"/>
                    <a:pt x="1339" y="136"/>
                    <a:pt x="1337" y="133"/>
                  </a:cubicBezTo>
                  <a:cubicBezTo>
                    <a:pt x="1334" y="131"/>
                    <a:pt x="1336" y="129"/>
                    <a:pt x="1335" y="127"/>
                  </a:cubicBezTo>
                  <a:cubicBezTo>
                    <a:pt x="1334" y="124"/>
                    <a:pt x="1332" y="124"/>
                    <a:pt x="1330" y="122"/>
                  </a:cubicBezTo>
                  <a:cubicBezTo>
                    <a:pt x="1330" y="121"/>
                    <a:pt x="1329" y="120"/>
                    <a:pt x="1329" y="120"/>
                  </a:cubicBezTo>
                  <a:cubicBezTo>
                    <a:pt x="1328" y="119"/>
                    <a:pt x="1328" y="117"/>
                    <a:pt x="1327" y="116"/>
                  </a:cubicBezTo>
                  <a:cubicBezTo>
                    <a:pt x="1326" y="114"/>
                    <a:pt x="1324" y="114"/>
                    <a:pt x="1323" y="112"/>
                  </a:cubicBezTo>
                  <a:cubicBezTo>
                    <a:pt x="1321" y="109"/>
                    <a:pt x="1322" y="108"/>
                    <a:pt x="1321" y="105"/>
                  </a:cubicBezTo>
                  <a:cubicBezTo>
                    <a:pt x="1321" y="103"/>
                    <a:pt x="1319" y="101"/>
                    <a:pt x="1317" y="100"/>
                  </a:cubicBezTo>
                  <a:cubicBezTo>
                    <a:pt x="1315" y="98"/>
                    <a:pt x="1314" y="99"/>
                    <a:pt x="1312" y="98"/>
                  </a:cubicBezTo>
                  <a:cubicBezTo>
                    <a:pt x="1309" y="98"/>
                    <a:pt x="1310" y="96"/>
                    <a:pt x="1308" y="93"/>
                  </a:cubicBezTo>
                  <a:cubicBezTo>
                    <a:pt x="1305" y="88"/>
                    <a:pt x="1301" y="91"/>
                    <a:pt x="1297" y="89"/>
                  </a:cubicBezTo>
                  <a:cubicBezTo>
                    <a:pt x="1296" y="88"/>
                    <a:pt x="1288" y="80"/>
                    <a:pt x="1287" y="86"/>
                  </a:cubicBezTo>
                  <a:cubicBezTo>
                    <a:pt x="1287" y="87"/>
                    <a:pt x="1287" y="88"/>
                    <a:pt x="1288" y="88"/>
                  </a:cubicBezTo>
                  <a:cubicBezTo>
                    <a:pt x="1288" y="90"/>
                    <a:pt x="1288" y="92"/>
                    <a:pt x="1288" y="93"/>
                  </a:cubicBezTo>
                  <a:cubicBezTo>
                    <a:pt x="1289" y="96"/>
                    <a:pt x="1290" y="97"/>
                    <a:pt x="1289" y="101"/>
                  </a:cubicBezTo>
                  <a:cubicBezTo>
                    <a:pt x="1289" y="102"/>
                    <a:pt x="1288" y="102"/>
                    <a:pt x="1287" y="102"/>
                  </a:cubicBezTo>
                  <a:cubicBezTo>
                    <a:pt x="1287" y="103"/>
                    <a:pt x="1286" y="105"/>
                    <a:pt x="1286" y="106"/>
                  </a:cubicBezTo>
                  <a:cubicBezTo>
                    <a:pt x="1286" y="109"/>
                    <a:pt x="1286" y="108"/>
                    <a:pt x="1287" y="110"/>
                  </a:cubicBezTo>
                  <a:cubicBezTo>
                    <a:pt x="1288" y="113"/>
                    <a:pt x="1289" y="118"/>
                    <a:pt x="1288" y="121"/>
                  </a:cubicBezTo>
                  <a:cubicBezTo>
                    <a:pt x="1288" y="124"/>
                    <a:pt x="1285" y="125"/>
                    <a:pt x="1284" y="128"/>
                  </a:cubicBezTo>
                  <a:cubicBezTo>
                    <a:pt x="1284" y="132"/>
                    <a:pt x="1285" y="135"/>
                    <a:pt x="1282" y="137"/>
                  </a:cubicBezTo>
                  <a:cubicBezTo>
                    <a:pt x="1280" y="139"/>
                    <a:pt x="1278" y="138"/>
                    <a:pt x="1277" y="142"/>
                  </a:cubicBezTo>
                  <a:cubicBezTo>
                    <a:pt x="1275" y="145"/>
                    <a:pt x="1277" y="149"/>
                    <a:pt x="1276" y="153"/>
                  </a:cubicBezTo>
                  <a:cubicBezTo>
                    <a:pt x="1275" y="156"/>
                    <a:pt x="1273" y="157"/>
                    <a:pt x="1271" y="158"/>
                  </a:cubicBezTo>
                  <a:cubicBezTo>
                    <a:pt x="1268" y="160"/>
                    <a:pt x="1268" y="158"/>
                    <a:pt x="1265" y="157"/>
                  </a:cubicBezTo>
                  <a:cubicBezTo>
                    <a:pt x="1264" y="157"/>
                    <a:pt x="1264" y="156"/>
                    <a:pt x="1264" y="155"/>
                  </a:cubicBezTo>
                  <a:cubicBezTo>
                    <a:pt x="1263" y="155"/>
                    <a:pt x="1262" y="153"/>
                    <a:pt x="1261" y="152"/>
                  </a:cubicBezTo>
                  <a:cubicBezTo>
                    <a:pt x="1259" y="152"/>
                    <a:pt x="1257" y="153"/>
                    <a:pt x="1256" y="153"/>
                  </a:cubicBezTo>
                  <a:cubicBezTo>
                    <a:pt x="1254" y="153"/>
                    <a:pt x="1254" y="154"/>
                    <a:pt x="1252" y="154"/>
                  </a:cubicBezTo>
                  <a:cubicBezTo>
                    <a:pt x="1250" y="154"/>
                    <a:pt x="1248" y="154"/>
                    <a:pt x="1245" y="154"/>
                  </a:cubicBezTo>
                  <a:cubicBezTo>
                    <a:pt x="1242" y="154"/>
                    <a:pt x="1238" y="154"/>
                    <a:pt x="1234" y="154"/>
                  </a:cubicBezTo>
                  <a:cubicBezTo>
                    <a:pt x="1231" y="155"/>
                    <a:pt x="1228" y="157"/>
                    <a:pt x="1224" y="156"/>
                  </a:cubicBezTo>
                  <a:cubicBezTo>
                    <a:pt x="1224" y="155"/>
                    <a:pt x="1224" y="154"/>
                    <a:pt x="1224" y="153"/>
                  </a:cubicBezTo>
                  <a:cubicBezTo>
                    <a:pt x="1220" y="153"/>
                    <a:pt x="1217" y="142"/>
                    <a:pt x="1212" y="149"/>
                  </a:cubicBezTo>
                  <a:cubicBezTo>
                    <a:pt x="1211" y="151"/>
                    <a:pt x="1211" y="155"/>
                    <a:pt x="1211" y="158"/>
                  </a:cubicBezTo>
                  <a:cubicBezTo>
                    <a:pt x="1211" y="159"/>
                    <a:pt x="1212" y="162"/>
                    <a:pt x="1211" y="163"/>
                  </a:cubicBezTo>
                  <a:cubicBezTo>
                    <a:pt x="1211" y="165"/>
                    <a:pt x="1210" y="166"/>
                    <a:pt x="1210" y="168"/>
                  </a:cubicBezTo>
                  <a:cubicBezTo>
                    <a:pt x="1209" y="168"/>
                    <a:pt x="1208" y="168"/>
                    <a:pt x="1206" y="169"/>
                  </a:cubicBezTo>
                  <a:cubicBezTo>
                    <a:pt x="1206" y="172"/>
                    <a:pt x="1207" y="178"/>
                    <a:pt x="1202" y="177"/>
                  </a:cubicBezTo>
                  <a:cubicBezTo>
                    <a:pt x="1199" y="176"/>
                    <a:pt x="1201" y="170"/>
                    <a:pt x="1200" y="167"/>
                  </a:cubicBezTo>
                  <a:cubicBezTo>
                    <a:pt x="1199" y="167"/>
                    <a:pt x="1198" y="166"/>
                    <a:pt x="1198" y="166"/>
                  </a:cubicBezTo>
                  <a:cubicBezTo>
                    <a:pt x="1197" y="163"/>
                    <a:pt x="1197" y="162"/>
                    <a:pt x="1196" y="160"/>
                  </a:cubicBezTo>
                  <a:cubicBezTo>
                    <a:pt x="1196" y="159"/>
                    <a:pt x="1195" y="157"/>
                    <a:pt x="1195" y="156"/>
                  </a:cubicBezTo>
                  <a:cubicBezTo>
                    <a:pt x="1194" y="154"/>
                    <a:pt x="1194" y="155"/>
                    <a:pt x="1193" y="154"/>
                  </a:cubicBezTo>
                  <a:cubicBezTo>
                    <a:pt x="1192" y="153"/>
                    <a:pt x="1190" y="151"/>
                    <a:pt x="1189" y="151"/>
                  </a:cubicBezTo>
                  <a:cubicBezTo>
                    <a:pt x="1187" y="150"/>
                    <a:pt x="1186" y="151"/>
                    <a:pt x="1185" y="150"/>
                  </a:cubicBezTo>
                  <a:cubicBezTo>
                    <a:pt x="1184" y="150"/>
                    <a:pt x="1184" y="148"/>
                    <a:pt x="1183" y="148"/>
                  </a:cubicBezTo>
                  <a:cubicBezTo>
                    <a:pt x="1183" y="147"/>
                    <a:pt x="1182" y="147"/>
                    <a:pt x="1181" y="147"/>
                  </a:cubicBezTo>
                  <a:cubicBezTo>
                    <a:pt x="1180" y="147"/>
                    <a:pt x="1179" y="146"/>
                    <a:pt x="1177" y="146"/>
                  </a:cubicBezTo>
                  <a:cubicBezTo>
                    <a:pt x="1175" y="145"/>
                    <a:pt x="1173" y="145"/>
                    <a:pt x="1171" y="143"/>
                  </a:cubicBezTo>
                  <a:cubicBezTo>
                    <a:pt x="1171" y="143"/>
                    <a:pt x="1170" y="141"/>
                    <a:pt x="1169" y="141"/>
                  </a:cubicBezTo>
                  <a:cubicBezTo>
                    <a:pt x="1169" y="140"/>
                    <a:pt x="1168" y="140"/>
                    <a:pt x="1167" y="139"/>
                  </a:cubicBezTo>
                  <a:cubicBezTo>
                    <a:pt x="1165" y="137"/>
                    <a:pt x="1166" y="132"/>
                    <a:pt x="1166" y="130"/>
                  </a:cubicBezTo>
                  <a:cubicBezTo>
                    <a:pt x="1166" y="125"/>
                    <a:pt x="1167" y="128"/>
                    <a:pt x="1170" y="126"/>
                  </a:cubicBezTo>
                  <a:cubicBezTo>
                    <a:pt x="1172" y="125"/>
                    <a:pt x="1172" y="123"/>
                    <a:pt x="1173" y="120"/>
                  </a:cubicBezTo>
                  <a:cubicBezTo>
                    <a:pt x="1173" y="117"/>
                    <a:pt x="1174" y="116"/>
                    <a:pt x="1176" y="116"/>
                  </a:cubicBezTo>
                  <a:cubicBezTo>
                    <a:pt x="1178" y="115"/>
                    <a:pt x="1182" y="116"/>
                    <a:pt x="1180" y="110"/>
                  </a:cubicBezTo>
                  <a:cubicBezTo>
                    <a:pt x="1178" y="106"/>
                    <a:pt x="1170" y="110"/>
                    <a:pt x="1167" y="109"/>
                  </a:cubicBezTo>
                  <a:cubicBezTo>
                    <a:pt x="1165" y="108"/>
                    <a:pt x="1165" y="105"/>
                    <a:pt x="1163" y="103"/>
                  </a:cubicBezTo>
                  <a:cubicBezTo>
                    <a:pt x="1161" y="101"/>
                    <a:pt x="1161" y="101"/>
                    <a:pt x="1161" y="97"/>
                  </a:cubicBezTo>
                  <a:cubicBezTo>
                    <a:pt x="1158" y="96"/>
                    <a:pt x="1155" y="96"/>
                    <a:pt x="1152" y="96"/>
                  </a:cubicBezTo>
                  <a:cubicBezTo>
                    <a:pt x="1151" y="96"/>
                    <a:pt x="1149" y="96"/>
                    <a:pt x="1147" y="97"/>
                  </a:cubicBezTo>
                  <a:cubicBezTo>
                    <a:pt x="1146" y="98"/>
                    <a:pt x="1146" y="99"/>
                    <a:pt x="1145" y="100"/>
                  </a:cubicBezTo>
                  <a:cubicBezTo>
                    <a:pt x="1143" y="101"/>
                    <a:pt x="1142" y="99"/>
                    <a:pt x="1140" y="99"/>
                  </a:cubicBezTo>
                  <a:cubicBezTo>
                    <a:pt x="1139" y="98"/>
                    <a:pt x="1137" y="98"/>
                    <a:pt x="1136" y="98"/>
                  </a:cubicBezTo>
                  <a:cubicBezTo>
                    <a:pt x="1135" y="97"/>
                    <a:pt x="1134" y="96"/>
                    <a:pt x="1132" y="96"/>
                  </a:cubicBezTo>
                  <a:cubicBezTo>
                    <a:pt x="1130" y="96"/>
                    <a:pt x="1129" y="96"/>
                    <a:pt x="1127" y="97"/>
                  </a:cubicBezTo>
                  <a:cubicBezTo>
                    <a:pt x="1127" y="99"/>
                    <a:pt x="1127" y="103"/>
                    <a:pt x="1125" y="105"/>
                  </a:cubicBezTo>
                  <a:cubicBezTo>
                    <a:pt x="1124" y="107"/>
                    <a:pt x="1121" y="106"/>
                    <a:pt x="1120" y="108"/>
                  </a:cubicBezTo>
                  <a:cubicBezTo>
                    <a:pt x="1117" y="112"/>
                    <a:pt x="1119" y="122"/>
                    <a:pt x="1116" y="125"/>
                  </a:cubicBezTo>
                  <a:cubicBezTo>
                    <a:pt x="1114" y="126"/>
                    <a:pt x="1110" y="125"/>
                    <a:pt x="1108" y="125"/>
                  </a:cubicBezTo>
                  <a:cubicBezTo>
                    <a:pt x="1105" y="125"/>
                    <a:pt x="1103" y="124"/>
                    <a:pt x="1100" y="125"/>
                  </a:cubicBezTo>
                  <a:cubicBezTo>
                    <a:pt x="1098" y="125"/>
                    <a:pt x="1096" y="125"/>
                    <a:pt x="1094" y="122"/>
                  </a:cubicBezTo>
                  <a:cubicBezTo>
                    <a:pt x="1093" y="120"/>
                    <a:pt x="1092" y="117"/>
                    <a:pt x="1091" y="114"/>
                  </a:cubicBezTo>
                  <a:cubicBezTo>
                    <a:pt x="1091" y="111"/>
                    <a:pt x="1092" y="112"/>
                    <a:pt x="1090" y="110"/>
                  </a:cubicBezTo>
                  <a:cubicBezTo>
                    <a:pt x="1090" y="110"/>
                    <a:pt x="1088" y="109"/>
                    <a:pt x="1088" y="109"/>
                  </a:cubicBezTo>
                  <a:cubicBezTo>
                    <a:pt x="1086" y="108"/>
                    <a:pt x="1082" y="109"/>
                    <a:pt x="1080" y="109"/>
                  </a:cubicBezTo>
                  <a:cubicBezTo>
                    <a:pt x="1075" y="109"/>
                    <a:pt x="1071" y="110"/>
                    <a:pt x="1065" y="110"/>
                  </a:cubicBezTo>
                  <a:cubicBezTo>
                    <a:pt x="1060" y="110"/>
                    <a:pt x="1056" y="109"/>
                    <a:pt x="1054" y="116"/>
                  </a:cubicBezTo>
                  <a:cubicBezTo>
                    <a:pt x="1053" y="120"/>
                    <a:pt x="1053" y="121"/>
                    <a:pt x="1050" y="121"/>
                  </a:cubicBezTo>
                  <a:cubicBezTo>
                    <a:pt x="1048" y="121"/>
                    <a:pt x="1043" y="122"/>
                    <a:pt x="1041" y="121"/>
                  </a:cubicBezTo>
                  <a:cubicBezTo>
                    <a:pt x="1037" y="119"/>
                    <a:pt x="1042" y="109"/>
                    <a:pt x="1038" y="105"/>
                  </a:cubicBezTo>
                  <a:cubicBezTo>
                    <a:pt x="1036" y="103"/>
                    <a:pt x="1033" y="103"/>
                    <a:pt x="1031" y="103"/>
                  </a:cubicBezTo>
                  <a:cubicBezTo>
                    <a:pt x="1028" y="104"/>
                    <a:pt x="1027" y="107"/>
                    <a:pt x="1025" y="107"/>
                  </a:cubicBezTo>
                  <a:cubicBezTo>
                    <a:pt x="1023" y="107"/>
                    <a:pt x="1022" y="106"/>
                    <a:pt x="1021" y="107"/>
                  </a:cubicBezTo>
                  <a:cubicBezTo>
                    <a:pt x="1020" y="107"/>
                    <a:pt x="1020" y="108"/>
                    <a:pt x="1018" y="109"/>
                  </a:cubicBezTo>
                  <a:cubicBezTo>
                    <a:pt x="1017" y="109"/>
                    <a:pt x="1016" y="108"/>
                    <a:pt x="1015" y="109"/>
                  </a:cubicBezTo>
                  <a:cubicBezTo>
                    <a:pt x="1014" y="110"/>
                    <a:pt x="1014" y="111"/>
                    <a:pt x="1013" y="112"/>
                  </a:cubicBezTo>
                  <a:cubicBezTo>
                    <a:pt x="1011" y="114"/>
                    <a:pt x="1010" y="112"/>
                    <a:pt x="1008" y="116"/>
                  </a:cubicBezTo>
                  <a:cubicBezTo>
                    <a:pt x="1007" y="118"/>
                    <a:pt x="1007" y="121"/>
                    <a:pt x="1005" y="123"/>
                  </a:cubicBezTo>
                  <a:cubicBezTo>
                    <a:pt x="1002" y="126"/>
                    <a:pt x="995" y="125"/>
                    <a:pt x="991" y="125"/>
                  </a:cubicBezTo>
                  <a:cubicBezTo>
                    <a:pt x="986" y="124"/>
                    <a:pt x="982" y="127"/>
                    <a:pt x="979" y="131"/>
                  </a:cubicBezTo>
                  <a:cubicBezTo>
                    <a:pt x="976" y="135"/>
                    <a:pt x="971" y="138"/>
                    <a:pt x="970" y="130"/>
                  </a:cubicBezTo>
                  <a:cubicBezTo>
                    <a:pt x="970" y="127"/>
                    <a:pt x="970" y="123"/>
                    <a:pt x="972" y="121"/>
                  </a:cubicBezTo>
                  <a:cubicBezTo>
                    <a:pt x="973" y="120"/>
                    <a:pt x="974" y="121"/>
                    <a:pt x="975" y="121"/>
                  </a:cubicBezTo>
                  <a:cubicBezTo>
                    <a:pt x="977" y="121"/>
                    <a:pt x="978" y="120"/>
                    <a:pt x="979" y="119"/>
                  </a:cubicBezTo>
                  <a:cubicBezTo>
                    <a:pt x="980" y="119"/>
                    <a:pt x="981" y="119"/>
                    <a:pt x="983" y="119"/>
                  </a:cubicBezTo>
                  <a:cubicBezTo>
                    <a:pt x="983" y="118"/>
                    <a:pt x="983" y="117"/>
                    <a:pt x="983" y="116"/>
                  </a:cubicBezTo>
                  <a:cubicBezTo>
                    <a:pt x="984" y="116"/>
                    <a:pt x="985" y="116"/>
                    <a:pt x="985" y="115"/>
                  </a:cubicBezTo>
                  <a:cubicBezTo>
                    <a:pt x="985" y="112"/>
                    <a:pt x="989" y="108"/>
                    <a:pt x="991" y="107"/>
                  </a:cubicBezTo>
                  <a:cubicBezTo>
                    <a:pt x="992" y="107"/>
                    <a:pt x="994" y="107"/>
                    <a:pt x="996" y="107"/>
                  </a:cubicBezTo>
                  <a:cubicBezTo>
                    <a:pt x="998" y="107"/>
                    <a:pt x="998" y="106"/>
                    <a:pt x="1000" y="105"/>
                  </a:cubicBezTo>
                  <a:cubicBezTo>
                    <a:pt x="1001" y="104"/>
                    <a:pt x="1003" y="103"/>
                    <a:pt x="1004" y="102"/>
                  </a:cubicBezTo>
                  <a:cubicBezTo>
                    <a:pt x="1005" y="101"/>
                    <a:pt x="1005" y="98"/>
                    <a:pt x="1006" y="97"/>
                  </a:cubicBezTo>
                  <a:cubicBezTo>
                    <a:pt x="1008" y="94"/>
                    <a:pt x="1012" y="96"/>
                    <a:pt x="1014" y="93"/>
                  </a:cubicBezTo>
                  <a:cubicBezTo>
                    <a:pt x="1017" y="88"/>
                    <a:pt x="1019" y="90"/>
                    <a:pt x="1023" y="89"/>
                  </a:cubicBezTo>
                  <a:cubicBezTo>
                    <a:pt x="1026" y="89"/>
                    <a:pt x="1029" y="87"/>
                    <a:pt x="1031" y="84"/>
                  </a:cubicBezTo>
                  <a:cubicBezTo>
                    <a:pt x="1033" y="80"/>
                    <a:pt x="1031" y="75"/>
                    <a:pt x="1032" y="70"/>
                  </a:cubicBezTo>
                  <a:cubicBezTo>
                    <a:pt x="1033" y="68"/>
                    <a:pt x="1034" y="68"/>
                    <a:pt x="1034" y="66"/>
                  </a:cubicBezTo>
                  <a:cubicBezTo>
                    <a:pt x="1036" y="64"/>
                    <a:pt x="1036" y="63"/>
                    <a:pt x="1036" y="60"/>
                  </a:cubicBezTo>
                  <a:cubicBezTo>
                    <a:pt x="1039" y="59"/>
                    <a:pt x="1040" y="60"/>
                    <a:pt x="1042" y="58"/>
                  </a:cubicBezTo>
                  <a:cubicBezTo>
                    <a:pt x="1045" y="55"/>
                    <a:pt x="1045" y="54"/>
                    <a:pt x="1045" y="49"/>
                  </a:cubicBezTo>
                  <a:cubicBezTo>
                    <a:pt x="1045" y="44"/>
                    <a:pt x="1045" y="42"/>
                    <a:pt x="1041" y="42"/>
                  </a:cubicBezTo>
                  <a:cubicBezTo>
                    <a:pt x="1038" y="42"/>
                    <a:pt x="1035" y="43"/>
                    <a:pt x="1032" y="42"/>
                  </a:cubicBezTo>
                  <a:cubicBezTo>
                    <a:pt x="1032" y="39"/>
                    <a:pt x="1032" y="34"/>
                    <a:pt x="1030" y="33"/>
                  </a:cubicBezTo>
                  <a:cubicBezTo>
                    <a:pt x="1028" y="32"/>
                    <a:pt x="1022" y="33"/>
                    <a:pt x="1020" y="33"/>
                  </a:cubicBezTo>
                  <a:cubicBezTo>
                    <a:pt x="1016" y="33"/>
                    <a:pt x="1013" y="33"/>
                    <a:pt x="1009" y="33"/>
                  </a:cubicBezTo>
                  <a:cubicBezTo>
                    <a:pt x="1007" y="34"/>
                    <a:pt x="1005" y="37"/>
                    <a:pt x="1002" y="38"/>
                  </a:cubicBezTo>
                  <a:cubicBezTo>
                    <a:pt x="999" y="40"/>
                    <a:pt x="997" y="41"/>
                    <a:pt x="994" y="39"/>
                  </a:cubicBezTo>
                  <a:cubicBezTo>
                    <a:pt x="992" y="38"/>
                    <a:pt x="990" y="34"/>
                    <a:pt x="988" y="33"/>
                  </a:cubicBezTo>
                  <a:cubicBezTo>
                    <a:pt x="985" y="32"/>
                    <a:pt x="981" y="33"/>
                    <a:pt x="978" y="33"/>
                  </a:cubicBezTo>
                  <a:cubicBezTo>
                    <a:pt x="974" y="33"/>
                    <a:pt x="973" y="32"/>
                    <a:pt x="969" y="31"/>
                  </a:cubicBezTo>
                  <a:cubicBezTo>
                    <a:pt x="969" y="28"/>
                    <a:pt x="968" y="28"/>
                    <a:pt x="967" y="26"/>
                  </a:cubicBezTo>
                  <a:cubicBezTo>
                    <a:pt x="966" y="24"/>
                    <a:pt x="965" y="21"/>
                    <a:pt x="964" y="19"/>
                  </a:cubicBezTo>
                  <a:cubicBezTo>
                    <a:pt x="963" y="14"/>
                    <a:pt x="960" y="11"/>
                    <a:pt x="960" y="5"/>
                  </a:cubicBezTo>
                  <a:cubicBezTo>
                    <a:pt x="960" y="1"/>
                    <a:pt x="961" y="1"/>
                    <a:pt x="958" y="0"/>
                  </a:cubicBezTo>
                  <a:cubicBezTo>
                    <a:pt x="956" y="0"/>
                    <a:pt x="953" y="0"/>
                    <a:pt x="950" y="0"/>
                  </a:cubicBezTo>
                  <a:cubicBezTo>
                    <a:pt x="947" y="2"/>
                    <a:pt x="945" y="9"/>
                    <a:pt x="945" y="14"/>
                  </a:cubicBezTo>
                  <a:cubicBezTo>
                    <a:pt x="944" y="14"/>
                    <a:pt x="944" y="14"/>
                    <a:pt x="943" y="14"/>
                  </a:cubicBezTo>
                  <a:cubicBezTo>
                    <a:pt x="943" y="16"/>
                    <a:pt x="943" y="17"/>
                    <a:pt x="942" y="19"/>
                  </a:cubicBezTo>
                  <a:cubicBezTo>
                    <a:pt x="933" y="21"/>
                    <a:pt x="937" y="33"/>
                    <a:pt x="932" y="40"/>
                  </a:cubicBezTo>
                  <a:cubicBezTo>
                    <a:pt x="932" y="40"/>
                    <a:pt x="931" y="40"/>
                    <a:pt x="930" y="41"/>
                  </a:cubicBezTo>
                  <a:cubicBezTo>
                    <a:pt x="930" y="42"/>
                    <a:pt x="930" y="43"/>
                    <a:pt x="930" y="43"/>
                  </a:cubicBezTo>
                  <a:cubicBezTo>
                    <a:pt x="928" y="46"/>
                    <a:pt x="927" y="45"/>
                    <a:pt x="925" y="46"/>
                  </a:cubicBezTo>
                  <a:cubicBezTo>
                    <a:pt x="922" y="46"/>
                    <a:pt x="919" y="50"/>
                    <a:pt x="917" y="52"/>
                  </a:cubicBezTo>
                  <a:cubicBezTo>
                    <a:pt x="914" y="55"/>
                    <a:pt x="913" y="57"/>
                    <a:pt x="910" y="58"/>
                  </a:cubicBezTo>
                  <a:cubicBezTo>
                    <a:pt x="906" y="59"/>
                    <a:pt x="901" y="58"/>
                    <a:pt x="897" y="58"/>
                  </a:cubicBezTo>
                  <a:cubicBezTo>
                    <a:pt x="894" y="58"/>
                    <a:pt x="889" y="57"/>
                    <a:pt x="886" y="58"/>
                  </a:cubicBezTo>
                  <a:cubicBezTo>
                    <a:pt x="884" y="58"/>
                    <a:pt x="882" y="59"/>
                    <a:pt x="881" y="60"/>
                  </a:cubicBezTo>
                  <a:cubicBezTo>
                    <a:pt x="880" y="62"/>
                    <a:pt x="879" y="64"/>
                    <a:pt x="877" y="63"/>
                  </a:cubicBezTo>
                  <a:cubicBezTo>
                    <a:pt x="878" y="69"/>
                    <a:pt x="867" y="65"/>
                    <a:pt x="864" y="65"/>
                  </a:cubicBezTo>
                  <a:cubicBezTo>
                    <a:pt x="863" y="65"/>
                    <a:pt x="862" y="64"/>
                    <a:pt x="861" y="65"/>
                  </a:cubicBezTo>
                  <a:cubicBezTo>
                    <a:pt x="859" y="65"/>
                    <a:pt x="859" y="66"/>
                    <a:pt x="858" y="67"/>
                  </a:cubicBezTo>
                  <a:cubicBezTo>
                    <a:pt x="857" y="67"/>
                    <a:pt x="856" y="67"/>
                    <a:pt x="855" y="67"/>
                  </a:cubicBezTo>
                  <a:cubicBezTo>
                    <a:pt x="854" y="67"/>
                    <a:pt x="852" y="69"/>
                    <a:pt x="851" y="70"/>
                  </a:cubicBezTo>
                  <a:cubicBezTo>
                    <a:pt x="849" y="71"/>
                    <a:pt x="848" y="70"/>
                    <a:pt x="845" y="72"/>
                  </a:cubicBezTo>
                  <a:cubicBezTo>
                    <a:pt x="843" y="73"/>
                    <a:pt x="842" y="75"/>
                    <a:pt x="840" y="77"/>
                  </a:cubicBezTo>
                  <a:cubicBezTo>
                    <a:pt x="839" y="78"/>
                    <a:pt x="839" y="78"/>
                    <a:pt x="838" y="79"/>
                  </a:cubicBezTo>
                  <a:cubicBezTo>
                    <a:pt x="837" y="80"/>
                    <a:pt x="837" y="82"/>
                    <a:pt x="836" y="83"/>
                  </a:cubicBezTo>
                  <a:cubicBezTo>
                    <a:pt x="833" y="85"/>
                    <a:pt x="831" y="86"/>
                    <a:pt x="828" y="86"/>
                  </a:cubicBezTo>
                  <a:cubicBezTo>
                    <a:pt x="828" y="87"/>
                    <a:pt x="828" y="88"/>
                    <a:pt x="828" y="89"/>
                  </a:cubicBezTo>
                  <a:cubicBezTo>
                    <a:pt x="824" y="90"/>
                    <a:pt x="823" y="96"/>
                    <a:pt x="823" y="100"/>
                  </a:cubicBezTo>
                  <a:cubicBezTo>
                    <a:pt x="823" y="102"/>
                    <a:pt x="822" y="106"/>
                    <a:pt x="823" y="108"/>
                  </a:cubicBezTo>
                  <a:cubicBezTo>
                    <a:pt x="824" y="111"/>
                    <a:pt x="825" y="111"/>
                    <a:pt x="826" y="114"/>
                  </a:cubicBezTo>
                  <a:cubicBezTo>
                    <a:pt x="826" y="114"/>
                    <a:pt x="827" y="114"/>
                    <a:pt x="828" y="114"/>
                  </a:cubicBezTo>
                  <a:cubicBezTo>
                    <a:pt x="828" y="119"/>
                    <a:pt x="829" y="119"/>
                    <a:pt x="831" y="122"/>
                  </a:cubicBezTo>
                  <a:cubicBezTo>
                    <a:pt x="831" y="124"/>
                    <a:pt x="833" y="131"/>
                    <a:pt x="831" y="133"/>
                  </a:cubicBezTo>
                  <a:cubicBezTo>
                    <a:pt x="830" y="135"/>
                    <a:pt x="825" y="133"/>
                    <a:pt x="824" y="132"/>
                  </a:cubicBezTo>
                  <a:cubicBezTo>
                    <a:pt x="822" y="131"/>
                    <a:pt x="820" y="130"/>
                    <a:pt x="818" y="128"/>
                  </a:cubicBezTo>
                  <a:cubicBezTo>
                    <a:pt x="816" y="127"/>
                    <a:pt x="814" y="123"/>
                    <a:pt x="811" y="124"/>
                  </a:cubicBezTo>
                  <a:cubicBezTo>
                    <a:pt x="810" y="125"/>
                    <a:pt x="811" y="126"/>
                    <a:pt x="810" y="128"/>
                  </a:cubicBezTo>
                  <a:cubicBezTo>
                    <a:pt x="809" y="129"/>
                    <a:pt x="808" y="129"/>
                    <a:pt x="807" y="130"/>
                  </a:cubicBezTo>
                  <a:cubicBezTo>
                    <a:pt x="804" y="132"/>
                    <a:pt x="802" y="131"/>
                    <a:pt x="799" y="131"/>
                  </a:cubicBezTo>
                  <a:cubicBezTo>
                    <a:pt x="798" y="132"/>
                    <a:pt x="797" y="133"/>
                    <a:pt x="796" y="133"/>
                  </a:cubicBezTo>
                  <a:cubicBezTo>
                    <a:pt x="794" y="134"/>
                    <a:pt x="793" y="134"/>
                    <a:pt x="791" y="135"/>
                  </a:cubicBezTo>
                  <a:cubicBezTo>
                    <a:pt x="786" y="137"/>
                    <a:pt x="781" y="136"/>
                    <a:pt x="776" y="139"/>
                  </a:cubicBezTo>
                  <a:cubicBezTo>
                    <a:pt x="773" y="141"/>
                    <a:pt x="768" y="150"/>
                    <a:pt x="774" y="152"/>
                  </a:cubicBezTo>
                  <a:cubicBezTo>
                    <a:pt x="776" y="153"/>
                    <a:pt x="779" y="153"/>
                    <a:pt x="780" y="156"/>
                  </a:cubicBezTo>
                  <a:cubicBezTo>
                    <a:pt x="782" y="158"/>
                    <a:pt x="782" y="162"/>
                    <a:pt x="784" y="164"/>
                  </a:cubicBezTo>
                  <a:cubicBezTo>
                    <a:pt x="785" y="167"/>
                    <a:pt x="787" y="168"/>
                    <a:pt x="789" y="170"/>
                  </a:cubicBezTo>
                  <a:cubicBezTo>
                    <a:pt x="791" y="172"/>
                    <a:pt x="794" y="172"/>
                    <a:pt x="794" y="177"/>
                  </a:cubicBezTo>
                  <a:cubicBezTo>
                    <a:pt x="795" y="177"/>
                    <a:pt x="795" y="177"/>
                    <a:pt x="796" y="177"/>
                  </a:cubicBezTo>
                  <a:cubicBezTo>
                    <a:pt x="796" y="183"/>
                    <a:pt x="801" y="184"/>
                    <a:pt x="804" y="184"/>
                  </a:cubicBezTo>
                  <a:cubicBezTo>
                    <a:pt x="806" y="184"/>
                    <a:pt x="806" y="185"/>
                    <a:pt x="808" y="187"/>
                  </a:cubicBezTo>
                  <a:cubicBezTo>
                    <a:pt x="810" y="189"/>
                    <a:pt x="810" y="189"/>
                    <a:pt x="812" y="190"/>
                  </a:cubicBezTo>
                  <a:cubicBezTo>
                    <a:pt x="813" y="194"/>
                    <a:pt x="813" y="199"/>
                    <a:pt x="813" y="203"/>
                  </a:cubicBezTo>
                  <a:cubicBezTo>
                    <a:pt x="813" y="212"/>
                    <a:pt x="810" y="206"/>
                    <a:pt x="807" y="209"/>
                  </a:cubicBezTo>
                  <a:cubicBezTo>
                    <a:pt x="806" y="210"/>
                    <a:pt x="805" y="212"/>
                    <a:pt x="804" y="213"/>
                  </a:cubicBezTo>
                  <a:cubicBezTo>
                    <a:pt x="803" y="214"/>
                    <a:pt x="801" y="213"/>
                    <a:pt x="800" y="214"/>
                  </a:cubicBezTo>
                  <a:cubicBezTo>
                    <a:pt x="799" y="215"/>
                    <a:pt x="799" y="218"/>
                    <a:pt x="799" y="219"/>
                  </a:cubicBezTo>
                  <a:cubicBezTo>
                    <a:pt x="797" y="220"/>
                    <a:pt x="794" y="219"/>
                    <a:pt x="793" y="219"/>
                  </a:cubicBezTo>
                  <a:cubicBezTo>
                    <a:pt x="792" y="215"/>
                    <a:pt x="791" y="212"/>
                    <a:pt x="791" y="207"/>
                  </a:cubicBezTo>
                  <a:cubicBezTo>
                    <a:pt x="792" y="207"/>
                    <a:pt x="793" y="207"/>
                    <a:pt x="794" y="207"/>
                  </a:cubicBezTo>
                  <a:cubicBezTo>
                    <a:pt x="794" y="203"/>
                    <a:pt x="794" y="199"/>
                    <a:pt x="792" y="197"/>
                  </a:cubicBezTo>
                  <a:cubicBezTo>
                    <a:pt x="792" y="197"/>
                    <a:pt x="791" y="196"/>
                    <a:pt x="790" y="196"/>
                  </a:cubicBezTo>
                  <a:cubicBezTo>
                    <a:pt x="790" y="195"/>
                    <a:pt x="790" y="194"/>
                    <a:pt x="790" y="193"/>
                  </a:cubicBezTo>
                  <a:cubicBezTo>
                    <a:pt x="789" y="192"/>
                    <a:pt x="788" y="191"/>
                    <a:pt x="786" y="191"/>
                  </a:cubicBezTo>
                  <a:cubicBezTo>
                    <a:pt x="786" y="190"/>
                    <a:pt x="786" y="189"/>
                    <a:pt x="786" y="188"/>
                  </a:cubicBezTo>
                  <a:cubicBezTo>
                    <a:pt x="783" y="187"/>
                    <a:pt x="780" y="189"/>
                    <a:pt x="778" y="187"/>
                  </a:cubicBezTo>
                  <a:cubicBezTo>
                    <a:pt x="775" y="186"/>
                    <a:pt x="775" y="182"/>
                    <a:pt x="775" y="179"/>
                  </a:cubicBezTo>
                  <a:cubicBezTo>
                    <a:pt x="770" y="178"/>
                    <a:pt x="771" y="177"/>
                    <a:pt x="770" y="172"/>
                  </a:cubicBezTo>
                  <a:cubicBezTo>
                    <a:pt x="770" y="171"/>
                    <a:pt x="769" y="168"/>
                    <a:pt x="769" y="167"/>
                  </a:cubicBezTo>
                  <a:cubicBezTo>
                    <a:pt x="768" y="165"/>
                    <a:pt x="768" y="163"/>
                    <a:pt x="767" y="161"/>
                  </a:cubicBezTo>
                  <a:cubicBezTo>
                    <a:pt x="766" y="158"/>
                    <a:pt x="768" y="159"/>
                    <a:pt x="765" y="157"/>
                  </a:cubicBezTo>
                  <a:cubicBezTo>
                    <a:pt x="764" y="156"/>
                    <a:pt x="763" y="155"/>
                    <a:pt x="761" y="156"/>
                  </a:cubicBezTo>
                  <a:cubicBezTo>
                    <a:pt x="760" y="156"/>
                    <a:pt x="758" y="158"/>
                    <a:pt x="757" y="158"/>
                  </a:cubicBezTo>
                  <a:cubicBezTo>
                    <a:pt x="755" y="160"/>
                    <a:pt x="755" y="160"/>
                    <a:pt x="754" y="163"/>
                  </a:cubicBezTo>
                  <a:cubicBezTo>
                    <a:pt x="753" y="165"/>
                    <a:pt x="754" y="166"/>
                    <a:pt x="753" y="168"/>
                  </a:cubicBezTo>
                  <a:cubicBezTo>
                    <a:pt x="753" y="171"/>
                    <a:pt x="752" y="171"/>
                    <a:pt x="752" y="173"/>
                  </a:cubicBezTo>
                  <a:cubicBezTo>
                    <a:pt x="752" y="176"/>
                    <a:pt x="753" y="178"/>
                    <a:pt x="751" y="179"/>
                  </a:cubicBezTo>
                  <a:cubicBezTo>
                    <a:pt x="750" y="180"/>
                    <a:pt x="746" y="179"/>
                    <a:pt x="745" y="179"/>
                  </a:cubicBezTo>
                  <a:cubicBezTo>
                    <a:pt x="740" y="178"/>
                    <a:pt x="742" y="175"/>
                    <a:pt x="741" y="170"/>
                  </a:cubicBezTo>
                  <a:cubicBezTo>
                    <a:pt x="741" y="168"/>
                    <a:pt x="740" y="166"/>
                    <a:pt x="739" y="165"/>
                  </a:cubicBezTo>
                  <a:cubicBezTo>
                    <a:pt x="739" y="162"/>
                    <a:pt x="739" y="161"/>
                    <a:pt x="737" y="159"/>
                  </a:cubicBezTo>
                  <a:cubicBezTo>
                    <a:pt x="733" y="156"/>
                    <a:pt x="732" y="160"/>
                    <a:pt x="732" y="164"/>
                  </a:cubicBezTo>
                  <a:cubicBezTo>
                    <a:pt x="731" y="166"/>
                    <a:pt x="731" y="167"/>
                    <a:pt x="731" y="170"/>
                  </a:cubicBezTo>
                  <a:cubicBezTo>
                    <a:pt x="731" y="172"/>
                    <a:pt x="731" y="176"/>
                    <a:pt x="731" y="177"/>
                  </a:cubicBezTo>
                  <a:cubicBezTo>
                    <a:pt x="730" y="179"/>
                    <a:pt x="729" y="179"/>
                    <a:pt x="728" y="180"/>
                  </a:cubicBezTo>
                  <a:cubicBezTo>
                    <a:pt x="726" y="182"/>
                    <a:pt x="726" y="181"/>
                    <a:pt x="725" y="184"/>
                  </a:cubicBezTo>
                  <a:cubicBezTo>
                    <a:pt x="724" y="188"/>
                    <a:pt x="722" y="190"/>
                    <a:pt x="725" y="194"/>
                  </a:cubicBezTo>
                  <a:cubicBezTo>
                    <a:pt x="726" y="197"/>
                    <a:pt x="729" y="199"/>
                    <a:pt x="730" y="202"/>
                  </a:cubicBezTo>
                  <a:cubicBezTo>
                    <a:pt x="731" y="204"/>
                    <a:pt x="730" y="207"/>
                    <a:pt x="731" y="209"/>
                  </a:cubicBezTo>
                  <a:cubicBezTo>
                    <a:pt x="731" y="211"/>
                    <a:pt x="731" y="213"/>
                    <a:pt x="732" y="216"/>
                  </a:cubicBezTo>
                  <a:cubicBezTo>
                    <a:pt x="733" y="220"/>
                    <a:pt x="734" y="223"/>
                    <a:pt x="732" y="227"/>
                  </a:cubicBezTo>
                  <a:cubicBezTo>
                    <a:pt x="731" y="231"/>
                    <a:pt x="730" y="235"/>
                    <a:pt x="731" y="240"/>
                  </a:cubicBezTo>
                  <a:cubicBezTo>
                    <a:pt x="734" y="240"/>
                    <a:pt x="735" y="242"/>
                    <a:pt x="737" y="244"/>
                  </a:cubicBezTo>
                  <a:cubicBezTo>
                    <a:pt x="740" y="246"/>
                    <a:pt x="743" y="245"/>
                    <a:pt x="746" y="245"/>
                  </a:cubicBezTo>
                  <a:cubicBezTo>
                    <a:pt x="748" y="245"/>
                    <a:pt x="752" y="244"/>
                    <a:pt x="754" y="247"/>
                  </a:cubicBezTo>
                  <a:cubicBezTo>
                    <a:pt x="755" y="249"/>
                    <a:pt x="757" y="255"/>
                    <a:pt x="756" y="257"/>
                  </a:cubicBezTo>
                  <a:cubicBezTo>
                    <a:pt x="755" y="259"/>
                    <a:pt x="751" y="260"/>
                    <a:pt x="750" y="261"/>
                  </a:cubicBezTo>
                  <a:cubicBezTo>
                    <a:pt x="747" y="264"/>
                    <a:pt x="749" y="268"/>
                    <a:pt x="747" y="271"/>
                  </a:cubicBezTo>
                  <a:cubicBezTo>
                    <a:pt x="745" y="273"/>
                    <a:pt x="745" y="272"/>
                    <a:pt x="743" y="273"/>
                  </a:cubicBezTo>
                  <a:cubicBezTo>
                    <a:pt x="743" y="274"/>
                    <a:pt x="740" y="275"/>
                    <a:pt x="740" y="276"/>
                  </a:cubicBezTo>
                  <a:cubicBezTo>
                    <a:pt x="738" y="278"/>
                    <a:pt x="740" y="286"/>
                    <a:pt x="739" y="289"/>
                  </a:cubicBezTo>
                  <a:cubicBezTo>
                    <a:pt x="738" y="289"/>
                    <a:pt x="737" y="290"/>
                    <a:pt x="735" y="291"/>
                  </a:cubicBezTo>
                  <a:cubicBezTo>
                    <a:pt x="734" y="291"/>
                    <a:pt x="734" y="293"/>
                    <a:pt x="732" y="293"/>
                  </a:cubicBezTo>
                  <a:cubicBezTo>
                    <a:pt x="732" y="298"/>
                    <a:pt x="731" y="298"/>
                    <a:pt x="729" y="301"/>
                  </a:cubicBezTo>
                  <a:cubicBezTo>
                    <a:pt x="728" y="304"/>
                    <a:pt x="727" y="308"/>
                    <a:pt x="727" y="312"/>
                  </a:cubicBezTo>
                  <a:cubicBezTo>
                    <a:pt x="725" y="312"/>
                    <a:pt x="723" y="312"/>
                    <a:pt x="722" y="312"/>
                  </a:cubicBezTo>
                  <a:cubicBezTo>
                    <a:pt x="719" y="312"/>
                    <a:pt x="718" y="313"/>
                    <a:pt x="718" y="309"/>
                  </a:cubicBezTo>
                  <a:cubicBezTo>
                    <a:pt x="717" y="302"/>
                    <a:pt x="719" y="300"/>
                    <a:pt x="721" y="295"/>
                  </a:cubicBezTo>
                  <a:cubicBezTo>
                    <a:pt x="723" y="290"/>
                    <a:pt x="726" y="291"/>
                    <a:pt x="726" y="284"/>
                  </a:cubicBezTo>
                  <a:cubicBezTo>
                    <a:pt x="726" y="279"/>
                    <a:pt x="726" y="272"/>
                    <a:pt x="725" y="267"/>
                  </a:cubicBezTo>
                  <a:cubicBezTo>
                    <a:pt x="725" y="267"/>
                    <a:pt x="724" y="266"/>
                    <a:pt x="723" y="266"/>
                  </a:cubicBezTo>
                  <a:cubicBezTo>
                    <a:pt x="723" y="263"/>
                    <a:pt x="723" y="259"/>
                    <a:pt x="723" y="256"/>
                  </a:cubicBezTo>
                  <a:cubicBezTo>
                    <a:pt x="723" y="254"/>
                    <a:pt x="723" y="252"/>
                    <a:pt x="723" y="251"/>
                  </a:cubicBezTo>
                  <a:cubicBezTo>
                    <a:pt x="723" y="249"/>
                    <a:pt x="722" y="248"/>
                    <a:pt x="722" y="246"/>
                  </a:cubicBezTo>
                  <a:cubicBezTo>
                    <a:pt x="721" y="246"/>
                    <a:pt x="720" y="245"/>
                    <a:pt x="720" y="245"/>
                  </a:cubicBezTo>
                  <a:cubicBezTo>
                    <a:pt x="719" y="243"/>
                    <a:pt x="719" y="242"/>
                    <a:pt x="718" y="240"/>
                  </a:cubicBezTo>
                  <a:cubicBezTo>
                    <a:pt x="718" y="239"/>
                    <a:pt x="718" y="239"/>
                    <a:pt x="717" y="238"/>
                  </a:cubicBezTo>
                  <a:cubicBezTo>
                    <a:pt x="717" y="237"/>
                    <a:pt x="717" y="236"/>
                    <a:pt x="717" y="235"/>
                  </a:cubicBezTo>
                  <a:cubicBezTo>
                    <a:pt x="715" y="231"/>
                    <a:pt x="713" y="230"/>
                    <a:pt x="715" y="225"/>
                  </a:cubicBezTo>
                  <a:cubicBezTo>
                    <a:pt x="715" y="224"/>
                    <a:pt x="716" y="222"/>
                    <a:pt x="716" y="221"/>
                  </a:cubicBezTo>
                  <a:cubicBezTo>
                    <a:pt x="717" y="218"/>
                    <a:pt x="717" y="216"/>
                    <a:pt x="717" y="214"/>
                  </a:cubicBezTo>
                  <a:cubicBezTo>
                    <a:pt x="717" y="210"/>
                    <a:pt x="716" y="207"/>
                    <a:pt x="714" y="203"/>
                  </a:cubicBezTo>
                  <a:cubicBezTo>
                    <a:pt x="712" y="197"/>
                    <a:pt x="708" y="191"/>
                    <a:pt x="710" y="184"/>
                  </a:cubicBezTo>
                  <a:cubicBezTo>
                    <a:pt x="712" y="179"/>
                    <a:pt x="712" y="177"/>
                    <a:pt x="712" y="172"/>
                  </a:cubicBezTo>
                  <a:cubicBezTo>
                    <a:pt x="712" y="170"/>
                    <a:pt x="712" y="166"/>
                    <a:pt x="712" y="165"/>
                  </a:cubicBezTo>
                  <a:cubicBezTo>
                    <a:pt x="711" y="164"/>
                    <a:pt x="708" y="165"/>
                    <a:pt x="707" y="165"/>
                  </a:cubicBezTo>
                  <a:cubicBezTo>
                    <a:pt x="706" y="159"/>
                    <a:pt x="704" y="157"/>
                    <a:pt x="703" y="153"/>
                  </a:cubicBezTo>
                  <a:cubicBezTo>
                    <a:pt x="701" y="149"/>
                    <a:pt x="700" y="145"/>
                    <a:pt x="697" y="143"/>
                  </a:cubicBezTo>
                  <a:cubicBezTo>
                    <a:pt x="693" y="141"/>
                    <a:pt x="691" y="144"/>
                    <a:pt x="691" y="149"/>
                  </a:cubicBezTo>
                  <a:cubicBezTo>
                    <a:pt x="690" y="150"/>
                    <a:pt x="690" y="151"/>
                    <a:pt x="690" y="153"/>
                  </a:cubicBezTo>
                  <a:cubicBezTo>
                    <a:pt x="690" y="155"/>
                    <a:pt x="689" y="155"/>
                    <a:pt x="688" y="156"/>
                  </a:cubicBezTo>
                  <a:cubicBezTo>
                    <a:pt x="687" y="158"/>
                    <a:pt x="686" y="162"/>
                    <a:pt x="686" y="165"/>
                  </a:cubicBezTo>
                  <a:cubicBezTo>
                    <a:pt x="679" y="165"/>
                    <a:pt x="680" y="174"/>
                    <a:pt x="680" y="182"/>
                  </a:cubicBezTo>
                  <a:cubicBezTo>
                    <a:pt x="680" y="186"/>
                    <a:pt x="681" y="192"/>
                    <a:pt x="679" y="195"/>
                  </a:cubicBezTo>
                  <a:cubicBezTo>
                    <a:pt x="678" y="198"/>
                    <a:pt x="675" y="198"/>
                    <a:pt x="674" y="201"/>
                  </a:cubicBezTo>
                  <a:cubicBezTo>
                    <a:pt x="672" y="204"/>
                    <a:pt x="670" y="207"/>
                    <a:pt x="670" y="210"/>
                  </a:cubicBezTo>
                  <a:cubicBezTo>
                    <a:pt x="670" y="213"/>
                    <a:pt x="670" y="215"/>
                    <a:pt x="670" y="217"/>
                  </a:cubicBezTo>
                  <a:cubicBezTo>
                    <a:pt x="671" y="217"/>
                    <a:pt x="671" y="218"/>
                    <a:pt x="671" y="219"/>
                  </a:cubicBezTo>
                  <a:cubicBezTo>
                    <a:pt x="671" y="220"/>
                    <a:pt x="671" y="222"/>
                    <a:pt x="671" y="223"/>
                  </a:cubicBezTo>
                  <a:cubicBezTo>
                    <a:pt x="672" y="225"/>
                    <a:pt x="672" y="225"/>
                    <a:pt x="673" y="228"/>
                  </a:cubicBezTo>
                  <a:cubicBezTo>
                    <a:pt x="673" y="230"/>
                    <a:pt x="673" y="233"/>
                    <a:pt x="673" y="235"/>
                  </a:cubicBezTo>
                  <a:cubicBezTo>
                    <a:pt x="673" y="239"/>
                    <a:pt x="672" y="245"/>
                    <a:pt x="673" y="249"/>
                  </a:cubicBezTo>
                  <a:cubicBezTo>
                    <a:pt x="675" y="249"/>
                    <a:pt x="676" y="249"/>
                    <a:pt x="678" y="251"/>
                  </a:cubicBezTo>
                  <a:cubicBezTo>
                    <a:pt x="679" y="252"/>
                    <a:pt x="682" y="252"/>
                    <a:pt x="682" y="253"/>
                  </a:cubicBezTo>
                  <a:cubicBezTo>
                    <a:pt x="683" y="254"/>
                    <a:pt x="685" y="258"/>
                    <a:pt x="685" y="259"/>
                  </a:cubicBezTo>
                  <a:cubicBezTo>
                    <a:pt x="686" y="261"/>
                    <a:pt x="686" y="269"/>
                    <a:pt x="685" y="270"/>
                  </a:cubicBezTo>
                  <a:cubicBezTo>
                    <a:pt x="684" y="271"/>
                    <a:pt x="680" y="270"/>
                    <a:pt x="679" y="270"/>
                  </a:cubicBezTo>
                  <a:cubicBezTo>
                    <a:pt x="676" y="270"/>
                    <a:pt x="675" y="270"/>
                    <a:pt x="673" y="268"/>
                  </a:cubicBezTo>
                  <a:cubicBezTo>
                    <a:pt x="671" y="267"/>
                    <a:pt x="670" y="266"/>
                    <a:pt x="670" y="263"/>
                  </a:cubicBezTo>
                  <a:cubicBezTo>
                    <a:pt x="670" y="261"/>
                    <a:pt x="670" y="256"/>
                    <a:pt x="669" y="255"/>
                  </a:cubicBezTo>
                  <a:cubicBezTo>
                    <a:pt x="667" y="253"/>
                    <a:pt x="664" y="255"/>
                    <a:pt x="662" y="254"/>
                  </a:cubicBezTo>
                  <a:cubicBezTo>
                    <a:pt x="661" y="254"/>
                    <a:pt x="661" y="253"/>
                    <a:pt x="660" y="252"/>
                  </a:cubicBezTo>
                  <a:cubicBezTo>
                    <a:pt x="659" y="252"/>
                    <a:pt x="657" y="253"/>
                    <a:pt x="656" y="253"/>
                  </a:cubicBezTo>
                  <a:cubicBezTo>
                    <a:pt x="655" y="252"/>
                    <a:pt x="653" y="251"/>
                    <a:pt x="651" y="250"/>
                  </a:cubicBezTo>
                  <a:cubicBezTo>
                    <a:pt x="650" y="250"/>
                    <a:pt x="650" y="249"/>
                    <a:pt x="649" y="249"/>
                  </a:cubicBezTo>
                  <a:cubicBezTo>
                    <a:pt x="647" y="249"/>
                    <a:pt x="646" y="249"/>
                    <a:pt x="645" y="249"/>
                  </a:cubicBezTo>
                  <a:cubicBezTo>
                    <a:pt x="640" y="249"/>
                    <a:pt x="635" y="250"/>
                    <a:pt x="631" y="249"/>
                  </a:cubicBezTo>
                  <a:cubicBezTo>
                    <a:pt x="629" y="249"/>
                    <a:pt x="627" y="248"/>
                    <a:pt x="626" y="247"/>
                  </a:cubicBezTo>
                  <a:cubicBezTo>
                    <a:pt x="625" y="247"/>
                    <a:pt x="624" y="246"/>
                    <a:pt x="623" y="245"/>
                  </a:cubicBezTo>
                  <a:cubicBezTo>
                    <a:pt x="622" y="245"/>
                    <a:pt x="621" y="246"/>
                    <a:pt x="620" y="245"/>
                  </a:cubicBezTo>
                  <a:cubicBezTo>
                    <a:pt x="620" y="244"/>
                    <a:pt x="620" y="242"/>
                    <a:pt x="619" y="241"/>
                  </a:cubicBezTo>
                  <a:cubicBezTo>
                    <a:pt x="616" y="240"/>
                    <a:pt x="617" y="238"/>
                    <a:pt x="616" y="235"/>
                  </a:cubicBezTo>
                  <a:cubicBezTo>
                    <a:pt x="615" y="234"/>
                    <a:pt x="611" y="233"/>
                    <a:pt x="609" y="233"/>
                  </a:cubicBezTo>
                  <a:cubicBezTo>
                    <a:pt x="607" y="234"/>
                    <a:pt x="607" y="237"/>
                    <a:pt x="607" y="240"/>
                  </a:cubicBezTo>
                  <a:cubicBezTo>
                    <a:pt x="607" y="240"/>
                    <a:pt x="606" y="243"/>
                    <a:pt x="606" y="243"/>
                  </a:cubicBezTo>
                  <a:cubicBezTo>
                    <a:pt x="605" y="245"/>
                    <a:pt x="604" y="243"/>
                    <a:pt x="603" y="245"/>
                  </a:cubicBezTo>
                  <a:cubicBezTo>
                    <a:pt x="605" y="246"/>
                    <a:pt x="607" y="245"/>
                    <a:pt x="609" y="247"/>
                  </a:cubicBezTo>
                  <a:cubicBezTo>
                    <a:pt x="610" y="247"/>
                    <a:pt x="610" y="249"/>
                    <a:pt x="611" y="249"/>
                  </a:cubicBezTo>
                  <a:cubicBezTo>
                    <a:pt x="612" y="250"/>
                    <a:pt x="613" y="249"/>
                    <a:pt x="614" y="249"/>
                  </a:cubicBezTo>
                  <a:cubicBezTo>
                    <a:pt x="615" y="255"/>
                    <a:pt x="616" y="256"/>
                    <a:pt x="619" y="256"/>
                  </a:cubicBezTo>
                  <a:cubicBezTo>
                    <a:pt x="620" y="258"/>
                    <a:pt x="619" y="260"/>
                    <a:pt x="620" y="261"/>
                  </a:cubicBezTo>
                  <a:cubicBezTo>
                    <a:pt x="621" y="262"/>
                    <a:pt x="622" y="263"/>
                    <a:pt x="622" y="265"/>
                  </a:cubicBezTo>
                  <a:cubicBezTo>
                    <a:pt x="622" y="270"/>
                    <a:pt x="617" y="268"/>
                    <a:pt x="615" y="268"/>
                  </a:cubicBezTo>
                  <a:cubicBezTo>
                    <a:pt x="612" y="268"/>
                    <a:pt x="607" y="270"/>
                    <a:pt x="604" y="268"/>
                  </a:cubicBezTo>
                  <a:cubicBezTo>
                    <a:pt x="603" y="268"/>
                    <a:pt x="603" y="266"/>
                    <a:pt x="602" y="265"/>
                  </a:cubicBezTo>
                  <a:cubicBezTo>
                    <a:pt x="600" y="264"/>
                    <a:pt x="599" y="265"/>
                    <a:pt x="597" y="264"/>
                  </a:cubicBezTo>
                  <a:cubicBezTo>
                    <a:pt x="596" y="264"/>
                    <a:pt x="596" y="263"/>
                    <a:pt x="594" y="263"/>
                  </a:cubicBezTo>
                  <a:cubicBezTo>
                    <a:pt x="593" y="263"/>
                    <a:pt x="591" y="263"/>
                    <a:pt x="589" y="263"/>
                  </a:cubicBezTo>
                  <a:cubicBezTo>
                    <a:pt x="586" y="263"/>
                    <a:pt x="584" y="265"/>
                    <a:pt x="581" y="265"/>
                  </a:cubicBezTo>
                  <a:cubicBezTo>
                    <a:pt x="579" y="265"/>
                    <a:pt x="577" y="265"/>
                    <a:pt x="575" y="265"/>
                  </a:cubicBezTo>
                  <a:cubicBezTo>
                    <a:pt x="574" y="264"/>
                    <a:pt x="573" y="263"/>
                    <a:pt x="572" y="263"/>
                  </a:cubicBezTo>
                  <a:cubicBezTo>
                    <a:pt x="570" y="263"/>
                    <a:pt x="568" y="263"/>
                    <a:pt x="567" y="263"/>
                  </a:cubicBezTo>
                  <a:cubicBezTo>
                    <a:pt x="565" y="263"/>
                    <a:pt x="565" y="265"/>
                    <a:pt x="563" y="265"/>
                  </a:cubicBezTo>
                  <a:cubicBezTo>
                    <a:pt x="563" y="267"/>
                    <a:pt x="563" y="269"/>
                    <a:pt x="562" y="270"/>
                  </a:cubicBezTo>
                  <a:cubicBezTo>
                    <a:pt x="561" y="274"/>
                    <a:pt x="561" y="274"/>
                    <a:pt x="558" y="274"/>
                  </a:cubicBezTo>
                  <a:cubicBezTo>
                    <a:pt x="551" y="273"/>
                    <a:pt x="547" y="280"/>
                    <a:pt x="542" y="284"/>
                  </a:cubicBezTo>
                  <a:cubicBezTo>
                    <a:pt x="540" y="285"/>
                    <a:pt x="539" y="284"/>
                    <a:pt x="538" y="286"/>
                  </a:cubicBezTo>
                  <a:cubicBezTo>
                    <a:pt x="536" y="288"/>
                    <a:pt x="537" y="289"/>
                    <a:pt x="536" y="291"/>
                  </a:cubicBezTo>
                  <a:cubicBezTo>
                    <a:pt x="535" y="296"/>
                    <a:pt x="532" y="298"/>
                    <a:pt x="528" y="298"/>
                  </a:cubicBezTo>
                  <a:cubicBezTo>
                    <a:pt x="528" y="301"/>
                    <a:pt x="526" y="301"/>
                    <a:pt x="525" y="303"/>
                  </a:cubicBezTo>
                  <a:cubicBezTo>
                    <a:pt x="525" y="304"/>
                    <a:pt x="524" y="307"/>
                    <a:pt x="524" y="308"/>
                  </a:cubicBezTo>
                  <a:cubicBezTo>
                    <a:pt x="523" y="311"/>
                    <a:pt x="523" y="313"/>
                    <a:pt x="521" y="315"/>
                  </a:cubicBezTo>
                  <a:cubicBezTo>
                    <a:pt x="520" y="317"/>
                    <a:pt x="518" y="316"/>
                    <a:pt x="517" y="318"/>
                  </a:cubicBezTo>
                  <a:cubicBezTo>
                    <a:pt x="518" y="313"/>
                    <a:pt x="517" y="311"/>
                    <a:pt x="514" y="309"/>
                  </a:cubicBezTo>
                  <a:cubicBezTo>
                    <a:pt x="512" y="308"/>
                    <a:pt x="511" y="309"/>
                    <a:pt x="510" y="306"/>
                  </a:cubicBezTo>
                  <a:cubicBezTo>
                    <a:pt x="509" y="302"/>
                    <a:pt x="512" y="304"/>
                    <a:pt x="514" y="303"/>
                  </a:cubicBezTo>
                  <a:cubicBezTo>
                    <a:pt x="517" y="302"/>
                    <a:pt x="517" y="296"/>
                    <a:pt x="517" y="293"/>
                  </a:cubicBezTo>
                  <a:cubicBezTo>
                    <a:pt x="518" y="291"/>
                    <a:pt x="518" y="290"/>
                    <a:pt x="519" y="288"/>
                  </a:cubicBezTo>
                  <a:cubicBezTo>
                    <a:pt x="519" y="284"/>
                    <a:pt x="519" y="282"/>
                    <a:pt x="516" y="280"/>
                  </a:cubicBezTo>
                  <a:cubicBezTo>
                    <a:pt x="513" y="277"/>
                    <a:pt x="511" y="280"/>
                    <a:pt x="507" y="281"/>
                  </a:cubicBezTo>
                  <a:cubicBezTo>
                    <a:pt x="506" y="281"/>
                    <a:pt x="504" y="281"/>
                    <a:pt x="502" y="281"/>
                  </a:cubicBezTo>
                  <a:cubicBezTo>
                    <a:pt x="501" y="281"/>
                    <a:pt x="501" y="281"/>
                    <a:pt x="500" y="281"/>
                  </a:cubicBezTo>
                  <a:cubicBezTo>
                    <a:pt x="499" y="280"/>
                    <a:pt x="498" y="279"/>
                    <a:pt x="497" y="279"/>
                  </a:cubicBezTo>
                  <a:cubicBezTo>
                    <a:pt x="494" y="278"/>
                    <a:pt x="489" y="278"/>
                    <a:pt x="486" y="279"/>
                  </a:cubicBezTo>
                  <a:cubicBezTo>
                    <a:pt x="484" y="279"/>
                    <a:pt x="483" y="279"/>
                    <a:pt x="483" y="282"/>
                  </a:cubicBezTo>
                  <a:cubicBezTo>
                    <a:pt x="483" y="286"/>
                    <a:pt x="484" y="286"/>
                    <a:pt x="486" y="288"/>
                  </a:cubicBezTo>
                  <a:cubicBezTo>
                    <a:pt x="489" y="290"/>
                    <a:pt x="492" y="288"/>
                    <a:pt x="494" y="292"/>
                  </a:cubicBezTo>
                  <a:cubicBezTo>
                    <a:pt x="495" y="295"/>
                    <a:pt x="494" y="296"/>
                    <a:pt x="495" y="298"/>
                  </a:cubicBezTo>
                  <a:cubicBezTo>
                    <a:pt x="495" y="299"/>
                    <a:pt x="495" y="300"/>
                    <a:pt x="496" y="300"/>
                  </a:cubicBezTo>
                  <a:cubicBezTo>
                    <a:pt x="496" y="302"/>
                    <a:pt x="496" y="304"/>
                    <a:pt x="496" y="305"/>
                  </a:cubicBezTo>
                  <a:cubicBezTo>
                    <a:pt x="496" y="307"/>
                    <a:pt x="498" y="307"/>
                    <a:pt x="498" y="309"/>
                  </a:cubicBezTo>
                  <a:cubicBezTo>
                    <a:pt x="499" y="311"/>
                    <a:pt x="498" y="315"/>
                    <a:pt x="499" y="317"/>
                  </a:cubicBezTo>
                  <a:cubicBezTo>
                    <a:pt x="499" y="320"/>
                    <a:pt x="498" y="321"/>
                    <a:pt x="498" y="323"/>
                  </a:cubicBezTo>
                  <a:cubicBezTo>
                    <a:pt x="496" y="327"/>
                    <a:pt x="497" y="326"/>
                    <a:pt x="493" y="326"/>
                  </a:cubicBezTo>
                  <a:cubicBezTo>
                    <a:pt x="490" y="327"/>
                    <a:pt x="488" y="330"/>
                    <a:pt x="485" y="330"/>
                  </a:cubicBezTo>
                  <a:cubicBezTo>
                    <a:pt x="482" y="329"/>
                    <a:pt x="483" y="329"/>
                    <a:pt x="482" y="327"/>
                  </a:cubicBezTo>
                  <a:cubicBezTo>
                    <a:pt x="480" y="324"/>
                    <a:pt x="480" y="324"/>
                    <a:pt x="480" y="321"/>
                  </a:cubicBezTo>
                  <a:cubicBezTo>
                    <a:pt x="479" y="316"/>
                    <a:pt x="480" y="310"/>
                    <a:pt x="480" y="305"/>
                  </a:cubicBezTo>
                  <a:cubicBezTo>
                    <a:pt x="480" y="302"/>
                    <a:pt x="480" y="300"/>
                    <a:pt x="479" y="298"/>
                  </a:cubicBezTo>
                  <a:cubicBezTo>
                    <a:pt x="477" y="295"/>
                    <a:pt x="475" y="297"/>
                    <a:pt x="474" y="296"/>
                  </a:cubicBezTo>
                  <a:cubicBezTo>
                    <a:pt x="473" y="295"/>
                    <a:pt x="473" y="294"/>
                    <a:pt x="473" y="293"/>
                  </a:cubicBezTo>
                  <a:cubicBezTo>
                    <a:pt x="471" y="292"/>
                    <a:pt x="468" y="294"/>
                    <a:pt x="466" y="292"/>
                  </a:cubicBezTo>
                  <a:cubicBezTo>
                    <a:pt x="464" y="291"/>
                    <a:pt x="464" y="286"/>
                    <a:pt x="461" y="288"/>
                  </a:cubicBezTo>
                  <a:cubicBezTo>
                    <a:pt x="460" y="288"/>
                    <a:pt x="458" y="286"/>
                    <a:pt x="457" y="286"/>
                  </a:cubicBezTo>
                  <a:cubicBezTo>
                    <a:pt x="455" y="285"/>
                    <a:pt x="456" y="284"/>
                    <a:pt x="455" y="283"/>
                  </a:cubicBezTo>
                  <a:cubicBezTo>
                    <a:pt x="453" y="280"/>
                    <a:pt x="452" y="281"/>
                    <a:pt x="449" y="281"/>
                  </a:cubicBezTo>
                  <a:cubicBezTo>
                    <a:pt x="447" y="281"/>
                    <a:pt x="444" y="280"/>
                    <a:pt x="442" y="281"/>
                  </a:cubicBezTo>
                  <a:cubicBezTo>
                    <a:pt x="439" y="281"/>
                    <a:pt x="438" y="279"/>
                    <a:pt x="436" y="278"/>
                  </a:cubicBezTo>
                  <a:cubicBezTo>
                    <a:pt x="435" y="277"/>
                    <a:pt x="435" y="277"/>
                    <a:pt x="435" y="276"/>
                  </a:cubicBezTo>
                  <a:cubicBezTo>
                    <a:pt x="434" y="275"/>
                    <a:pt x="432" y="276"/>
                    <a:pt x="430" y="275"/>
                  </a:cubicBezTo>
                  <a:cubicBezTo>
                    <a:pt x="429" y="275"/>
                    <a:pt x="428" y="274"/>
                    <a:pt x="427" y="273"/>
                  </a:cubicBezTo>
                  <a:cubicBezTo>
                    <a:pt x="423" y="272"/>
                    <a:pt x="419" y="275"/>
                    <a:pt x="415" y="272"/>
                  </a:cubicBezTo>
                  <a:cubicBezTo>
                    <a:pt x="412" y="270"/>
                    <a:pt x="410" y="269"/>
                    <a:pt x="408" y="267"/>
                  </a:cubicBezTo>
                  <a:cubicBezTo>
                    <a:pt x="405" y="264"/>
                    <a:pt x="403" y="263"/>
                    <a:pt x="402" y="258"/>
                  </a:cubicBezTo>
                  <a:cubicBezTo>
                    <a:pt x="402" y="258"/>
                    <a:pt x="401" y="257"/>
                    <a:pt x="400" y="258"/>
                  </a:cubicBezTo>
                  <a:cubicBezTo>
                    <a:pt x="399" y="257"/>
                    <a:pt x="399" y="256"/>
                    <a:pt x="398" y="256"/>
                  </a:cubicBezTo>
                  <a:cubicBezTo>
                    <a:pt x="396" y="254"/>
                    <a:pt x="394" y="255"/>
                    <a:pt x="393" y="253"/>
                  </a:cubicBezTo>
                  <a:cubicBezTo>
                    <a:pt x="391" y="250"/>
                    <a:pt x="392" y="248"/>
                    <a:pt x="391" y="245"/>
                  </a:cubicBezTo>
                  <a:cubicBezTo>
                    <a:pt x="391" y="243"/>
                    <a:pt x="389" y="241"/>
                    <a:pt x="388" y="240"/>
                  </a:cubicBezTo>
                  <a:cubicBezTo>
                    <a:pt x="384" y="238"/>
                    <a:pt x="379" y="238"/>
                    <a:pt x="375" y="238"/>
                  </a:cubicBezTo>
                  <a:cubicBezTo>
                    <a:pt x="372" y="239"/>
                    <a:pt x="371" y="238"/>
                    <a:pt x="369" y="236"/>
                  </a:cubicBezTo>
                  <a:cubicBezTo>
                    <a:pt x="367" y="235"/>
                    <a:pt x="365" y="235"/>
                    <a:pt x="362" y="235"/>
                  </a:cubicBezTo>
                  <a:cubicBezTo>
                    <a:pt x="358" y="235"/>
                    <a:pt x="353" y="235"/>
                    <a:pt x="348" y="235"/>
                  </a:cubicBezTo>
                  <a:cubicBezTo>
                    <a:pt x="344" y="235"/>
                    <a:pt x="340" y="233"/>
                    <a:pt x="338" y="240"/>
                  </a:cubicBezTo>
                  <a:cubicBezTo>
                    <a:pt x="337" y="242"/>
                    <a:pt x="337" y="244"/>
                    <a:pt x="335" y="245"/>
                  </a:cubicBezTo>
                  <a:cubicBezTo>
                    <a:pt x="335" y="246"/>
                    <a:pt x="334" y="246"/>
                    <a:pt x="333" y="247"/>
                  </a:cubicBezTo>
                  <a:cubicBezTo>
                    <a:pt x="332" y="248"/>
                    <a:pt x="332" y="249"/>
                    <a:pt x="331" y="249"/>
                  </a:cubicBezTo>
                  <a:cubicBezTo>
                    <a:pt x="330" y="249"/>
                    <a:pt x="328" y="249"/>
                    <a:pt x="327" y="249"/>
                  </a:cubicBezTo>
                  <a:cubicBezTo>
                    <a:pt x="327" y="249"/>
                    <a:pt x="325" y="251"/>
                    <a:pt x="324" y="251"/>
                  </a:cubicBezTo>
                  <a:cubicBezTo>
                    <a:pt x="322" y="252"/>
                    <a:pt x="320" y="252"/>
                    <a:pt x="318" y="253"/>
                  </a:cubicBezTo>
                  <a:cubicBezTo>
                    <a:pt x="318" y="260"/>
                    <a:pt x="311" y="260"/>
                    <a:pt x="307" y="260"/>
                  </a:cubicBezTo>
                  <a:cubicBezTo>
                    <a:pt x="302" y="259"/>
                    <a:pt x="298" y="263"/>
                    <a:pt x="298" y="270"/>
                  </a:cubicBezTo>
                  <a:cubicBezTo>
                    <a:pt x="294" y="270"/>
                    <a:pt x="292" y="279"/>
                    <a:pt x="291" y="284"/>
                  </a:cubicBezTo>
                  <a:cubicBezTo>
                    <a:pt x="289" y="284"/>
                    <a:pt x="288" y="286"/>
                    <a:pt x="287" y="288"/>
                  </a:cubicBezTo>
                  <a:cubicBezTo>
                    <a:pt x="284" y="289"/>
                    <a:pt x="283" y="289"/>
                    <a:pt x="281" y="290"/>
                  </a:cubicBezTo>
                  <a:cubicBezTo>
                    <a:pt x="275" y="292"/>
                    <a:pt x="279" y="302"/>
                    <a:pt x="277" y="307"/>
                  </a:cubicBezTo>
                  <a:cubicBezTo>
                    <a:pt x="276" y="309"/>
                    <a:pt x="274" y="311"/>
                    <a:pt x="273" y="313"/>
                  </a:cubicBezTo>
                  <a:cubicBezTo>
                    <a:pt x="272" y="314"/>
                    <a:pt x="272" y="314"/>
                    <a:pt x="271" y="316"/>
                  </a:cubicBezTo>
                  <a:cubicBezTo>
                    <a:pt x="272" y="317"/>
                    <a:pt x="271" y="318"/>
                    <a:pt x="271" y="319"/>
                  </a:cubicBezTo>
                  <a:cubicBezTo>
                    <a:pt x="271" y="319"/>
                    <a:pt x="270" y="320"/>
                    <a:pt x="270" y="320"/>
                  </a:cubicBezTo>
                  <a:cubicBezTo>
                    <a:pt x="269" y="323"/>
                    <a:pt x="268" y="324"/>
                    <a:pt x="266" y="326"/>
                  </a:cubicBezTo>
                  <a:cubicBezTo>
                    <a:pt x="265" y="327"/>
                    <a:pt x="264" y="326"/>
                    <a:pt x="264" y="328"/>
                  </a:cubicBezTo>
                  <a:cubicBezTo>
                    <a:pt x="263" y="330"/>
                    <a:pt x="264" y="333"/>
                    <a:pt x="264" y="335"/>
                  </a:cubicBezTo>
                  <a:cubicBezTo>
                    <a:pt x="263" y="335"/>
                    <a:pt x="263" y="335"/>
                    <a:pt x="263" y="335"/>
                  </a:cubicBezTo>
                  <a:cubicBezTo>
                    <a:pt x="262" y="335"/>
                    <a:pt x="258" y="337"/>
                    <a:pt x="258" y="337"/>
                  </a:cubicBezTo>
                  <a:cubicBezTo>
                    <a:pt x="257" y="339"/>
                    <a:pt x="258" y="341"/>
                    <a:pt x="257" y="343"/>
                  </a:cubicBezTo>
                  <a:cubicBezTo>
                    <a:pt x="257" y="344"/>
                    <a:pt x="256" y="344"/>
                    <a:pt x="256" y="345"/>
                  </a:cubicBezTo>
                  <a:cubicBezTo>
                    <a:pt x="256" y="347"/>
                    <a:pt x="257" y="349"/>
                    <a:pt x="256" y="350"/>
                  </a:cubicBezTo>
                  <a:cubicBezTo>
                    <a:pt x="256" y="351"/>
                    <a:pt x="254" y="351"/>
                    <a:pt x="253" y="353"/>
                  </a:cubicBezTo>
                  <a:cubicBezTo>
                    <a:pt x="252" y="354"/>
                    <a:pt x="252" y="357"/>
                    <a:pt x="251" y="359"/>
                  </a:cubicBezTo>
                  <a:cubicBezTo>
                    <a:pt x="250" y="360"/>
                    <a:pt x="250" y="362"/>
                    <a:pt x="249" y="363"/>
                  </a:cubicBezTo>
                  <a:cubicBezTo>
                    <a:pt x="248" y="366"/>
                    <a:pt x="246" y="365"/>
                    <a:pt x="245" y="367"/>
                  </a:cubicBezTo>
                  <a:cubicBezTo>
                    <a:pt x="243" y="370"/>
                    <a:pt x="242" y="374"/>
                    <a:pt x="242" y="379"/>
                  </a:cubicBezTo>
                  <a:cubicBezTo>
                    <a:pt x="242" y="381"/>
                    <a:pt x="242" y="383"/>
                    <a:pt x="242" y="386"/>
                  </a:cubicBezTo>
                  <a:cubicBezTo>
                    <a:pt x="242" y="391"/>
                    <a:pt x="243" y="390"/>
                    <a:pt x="240" y="391"/>
                  </a:cubicBezTo>
                  <a:cubicBezTo>
                    <a:pt x="239" y="391"/>
                    <a:pt x="237" y="393"/>
                    <a:pt x="236" y="393"/>
                  </a:cubicBezTo>
                  <a:cubicBezTo>
                    <a:pt x="235" y="393"/>
                    <a:pt x="234" y="393"/>
                    <a:pt x="234" y="393"/>
                  </a:cubicBezTo>
                  <a:cubicBezTo>
                    <a:pt x="232" y="393"/>
                    <a:pt x="232" y="394"/>
                    <a:pt x="231" y="395"/>
                  </a:cubicBezTo>
                  <a:cubicBezTo>
                    <a:pt x="230" y="396"/>
                    <a:pt x="229" y="396"/>
                    <a:pt x="228" y="397"/>
                  </a:cubicBezTo>
                  <a:cubicBezTo>
                    <a:pt x="227" y="397"/>
                    <a:pt x="227" y="398"/>
                    <a:pt x="226" y="398"/>
                  </a:cubicBezTo>
                  <a:cubicBezTo>
                    <a:pt x="225" y="398"/>
                    <a:pt x="224" y="397"/>
                    <a:pt x="222" y="398"/>
                  </a:cubicBezTo>
                  <a:cubicBezTo>
                    <a:pt x="219" y="401"/>
                    <a:pt x="222" y="408"/>
                    <a:pt x="221" y="412"/>
                  </a:cubicBezTo>
                  <a:cubicBezTo>
                    <a:pt x="219" y="412"/>
                    <a:pt x="214" y="414"/>
                    <a:pt x="212" y="416"/>
                  </a:cubicBezTo>
                  <a:cubicBezTo>
                    <a:pt x="211" y="417"/>
                    <a:pt x="211" y="421"/>
                    <a:pt x="211" y="422"/>
                  </a:cubicBezTo>
                  <a:cubicBezTo>
                    <a:pt x="210" y="423"/>
                    <a:pt x="210" y="423"/>
                    <a:pt x="209" y="424"/>
                  </a:cubicBezTo>
                  <a:cubicBezTo>
                    <a:pt x="209" y="425"/>
                    <a:pt x="208" y="427"/>
                    <a:pt x="208" y="427"/>
                  </a:cubicBezTo>
                  <a:cubicBezTo>
                    <a:pt x="207" y="428"/>
                    <a:pt x="207" y="428"/>
                    <a:pt x="206" y="428"/>
                  </a:cubicBezTo>
                  <a:cubicBezTo>
                    <a:pt x="205" y="429"/>
                    <a:pt x="205" y="430"/>
                    <a:pt x="204" y="431"/>
                  </a:cubicBezTo>
                  <a:cubicBezTo>
                    <a:pt x="203" y="432"/>
                    <a:pt x="200" y="430"/>
                    <a:pt x="198" y="432"/>
                  </a:cubicBezTo>
                  <a:cubicBezTo>
                    <a:pt x="198" y="432"/>
                    <a:pt x="197" y="437"/>
                    <a:pt x="197" y="438"/>
                  </a:cubicBezTo>
                  <a:cubicBezTo>
                    <a:pt x="197" y="441"/>
                    <a:pt x="197" y="443"/>
                    <a:pt x="199" y="445"/>
                  </a:cubicBezTo>
                  <a:cubicBezTo>
                    <a:pt x="199" y="445"/>
                    <a:pt x="200" y="445"/>
                    <a:pt x="201" y="446"/>
                  </a:cubicBezTo>
                  <a:cubicBezTo>
                    <a:pt x="201" y="447"/>
                    <a:pt x="201" y="449"/>
                    <a:pt x="201" y="451"/>
                  </a:cubicBezTo>
                  <a:cubicBezTo>
                    <a:pt x="201" y="453"/>
                    <a:pt x="201" y="457"/>
                    <a:pt x="201" y="459"/>
                  </a:cubicBezTo>
                  <a:cubicBezTo>
                    <a:pt x="201" y="460"/>
                    <a:pt x="200" y="461"/>
                    <a:pt x="200" y="462"/>
                  </a:cubicBezTo>
                  <a:cubicBezTo>
                    <a:pt x="200" y="463"/>
                    <a:pt x="200" y="465"/>
                    <a:pt x="200" y="466"/>
                  </a:cubicBezTo>
                  <a:cubicBezTo>
                    <a:pt x="199" y="469"/>
                    <a:pt x="198" y="470"/>
                    <a:pt x="198" y="473"/>
                  </a:cubicBezTo>
                  <a:cubicBezTo>
                    <a:pt x="198" y="479"/>
                    <a:pt x="202" y="482"/>
                    <a:pt x="202" y="487"/>
                  </a:cubicBezTo>
                  <a:cubicBezTo>
                    <a:pt x="203" y="493"/>
                    <a:pt x="201" y="499"/>
                    <a:pt x="202" y="505"/>
                  </a:cubicBezTo>
                  <a:cubicBezTo>
                    <a:pt x="203" y="505"/>
                    <a:pt x="204" y="505"/>
                    <a:pt x="204" y="505"/>
                  </a:cubicBezTo>
                  <a:cubicBezTo>
                    <a:pt x="206" y="511"/>
                    <a:pt x="202" y="521"/>
                    <a:pt x="206" y="526"/>
                  </a:cubicBezTo>
                  <a:cubicBezTo>
                    <a:pt x="207" y="527"/>
                    <a:pt x="210" y="528"/>
                    <a:pt x="211" y="529"/>
                  </a:cubicBezTo>
                  <a:cubicBezTo>
                    <a:pt x="214" y="531"/>
                    <a:pt x="215" y="532"/>
                    <a:pt x="218" y="530"/>
                  </a:cubicBezTo>
                  <a:cubicBezTo>
                    <a:pt x="218" y="529"/>
                    <a:pt x="218" y="528"/>
                    <a:pt x="220" y="528"/>
                  </a:cubicBezTo>
                  <a:cubicBezTo>
                    <a:pt x="221" y="527"/>
                    <a:pt x="222" y="528"/>
                    <a:pt x="224" y="528"/>
                  </a:cubicBezTo>
                  <a:cubicBezTo>
                    <a:pt x="226" y="527"/>
                    <a:pt x="227" y="526"/>
                    <a:pt x="229" y="523"/>
                  </a:cubicBezTo>
                  <a:cubicBezTo>
                    <a:pt x="229" y="522"/>
                    <a:pt x="229" y="520"/>
                    <a:pt x="229" y="519"/>
                  </a:cubicBezTo>
                  <a:cubicBezTo>
                    <a:pt x="230" y="516"/>
                    <a:pt x="231" y="515"/>
                    <a:pt x="233" y="514"/>
                  </a:cubicBezTo>
                  <a:cubicBezTo>
                    <a:pt x="235" y="512"/>
                    <a:pt x="237" y="510"/>
                    <a:pt x="240" y="510"/>
                  </a:cubicBezTo>
                  <a:cubicBezTo>
                    <a:pt x="240" y="508"/>
                    <a:pt x="241" y="507"/>
                    <a:pt x="241" y="505"/>
                  </a:cubicBezTo>
                  <a:cubicBezTo>
                    <a:pt x="242" y="503"/>
                    <a:pt x="241" y="500"/>
                    <a:pt x="244" y="501"/>
                  </a:cubicBezTo>
                  <a:cubicBezTo>
                    <a:pt x="246" y="502"/>
                    <a:pt x="244" y="504"/>
                    <a:pt x="245" y="507"/>
                  </a:cubicBezTo>
                  <a:cubicBezTo>
                    <a:pt x="246" y="510"/>
                    <a:pt x="247" y="509"/>
                    <a:pt x="249" y="510"/>
                  </a:cubicBezTo>
                  <a:cubicBezTo>
                    <a:pt x="251" y="511"/>
                    <a:pt x="254" y="513"/>
                    <a:pt x="255" y="517"/>
                  </a:cubicBezTo>
                  <a:cubicBezTo>
                    <a:pt x="256" y="522"/>
                    <a:pt x="254" y="528"/>
                    <a:pt x="255" y="533"/>
                  </a:cubicBezTo>
                  <a:cubicBezTo>
                    <a:pt x="256" y="533"/>
                    <a:pt x="257" y="533"/>
                    <a:pt x="259" y="533"/>
                  </a:cubicBezTo>
                  <a:cubicBezTo>
                    <a:pt x="259" y="534"/>
                    <a:pt x="259" y="535"/>
                    <a:pt x="259" y="536"/>
                  </a:cubicBezTo>
                  <a:cubicBezTo>
                    <a:pt x="259" y="537"/>
                    <a:pt x="261" y="539"/>
                    <a:pt x="261" y="540"/>
                  </a:cubicBezTo>
                  <a:cubicBezTo>
                    <a:pt x="262" y="543"/>
                    <a:pt x="261" y="545"/>
                    <a:pt x="262" y="547"/>
                  </a:cubicBezTo>
                  <a:cubicBezTo>
                    <a:pt x="265" y="547"/>
                    <a:pt x="267" y="548"/>
                    <a:pt x="268" y="552"/>
                  </a:cubicBezTo>
                  <a:cubicBezTo>
                    <a:pt x="268" y="559"/>
                    <a:pt x="267" y="561"/>
                    <a:pt x="263" y="561"/>
                  </a:cubicBezTo>
                  <a:cubicBezTo>
                    <a:pt x="263" y="566"/>
                    <a:pt x="259" y="569"/>
                    <a:pt x="264" y="570"/>
                  </a:cubicBezTo>
                  <a:cubicBezTo>
                    <a:pt x="268" y="571"/>
                    <a:pt x="270" y="568"/>
                    <a:pt x="273" y="573"/>
                  </a:cubicBezTo>
                  <a:cubicBezTo>
                    <a:pt x="274" y="572"/>
                    <a:pt x="275" y="571"/>
                    <a:pt x="276" y="571"/>
                  </a:cubicBezTo>
                  <a:cubicBezTo>
                    <a:pt x="276" y="570"/>
                    <a:pt x="276" y="568"/>
                    <a:pt x="277" y="567"/>
                  </a:cubicBezTo>
                  <a:cubicBezTo>
                    <a:pt x="278" y="564"/>
                    <a:pt x="279" y="566"/>
                    <a:pt x="280" y="565"/>
                  </a:cubicBezTo>
                  <a:cubicBezTo>
                    <a:pt x="282" y="564"/>
                    <a:pt x="282" y="563"/>
                    <a:pt x="283" y="561"/>
                  </a:cubicBezTo>
                  <a:cubicBezTo>
                    <a:pt x="284" y="560"/>
                    <a:pt x="286" y="560"/>
                    <a:pt x="286" y="559"/>
                  </a:cubicBezTo>
                  <a:cubicBezTo>
                    <a:pt x="287" y="558"/>
                    <a:pt x="287" y="556"/>
                    <a:pt x="288" y="554"/>
                  </a:cubicBezTo>
                  <a:cubicBezTo>
                    <a:pt x="289" y="553"/>
                    <a:pt x="292" y="554"/>
                    <a:pt x="293" y="554"/>
                  </a:cubicBezTo>
                  <a:cubicBezTo>
                    <a:pt x="297" y="554"/>
                    <a:pt x="297" y="553"/>
                    <a:pt x="299" y="548"/>
                  </a:cubicBezTo>
                  <a:cubicBezTo>
                    <a:pt x="300" y="545"/>
                    <a:pt x="301" y="542"/>
                    <a:pt x="301" y="538"/>
                  </a:cubicBezTo>
                  <a:cubicBezTo>
                    <a:pt x="300" y="536"/>
                    <a:pt x="299" y="536"/>
                    <a:pt x="298" y="534"/>
                  </a:cubicBezTo>
                  <a:cubicBezTo>
                    <a:pt x="297" y="533"/>
                    <a:pt x="298" y="530"/>
                    <a:pt x="298" y="528"/>
                  </a:cubicBezTo>
                  <a:cubicBezTo>
                    <a:pt x="298" y="521"/>
                    <a:pt x="297" y="509"/>
                    <a:pt x="304" y="508"/>
                  </a:cubicBezTo>
                  <a:cubicBezTo>
                    <a:pt x="304" y="507"/>
                    <a:pt x="304" y="506"/>
                    <a:pt x="304" y="505"/>
                  </a:cubicBezTo>
                  <a:cubicBezTo>
                    <a:pt x="305" y="505"/>
                    <a:pt x="306" y="505"/>
                    <a:pt x="307" y="505"/>
                  </a:cubicBezTo>
                  <a:cubicBezTo>
                    <a:pt x="307" y="500"/>
                    <a:pt x="306" y="495"/>
                    <a:pt x="307" y="491"/>
                  </a:cubicBezTo>
                  <a:cubicBezTo>
                    <a:pt x="307" y="487"/>
                    <a:pt x="307" y="488"/>
                    <a:pt x="309" y="487"/>
                  </a:cubicBezTo>
                  <a:cubicBezTo>
                    <a:pt x="310" y="486"/>
                    <a:pt x="312" y="486"/>
                    <a:pt x="313" y="485"/>
                  </a:cubicBezTo>
                  <a:cubicBezTo>
                    <a:pt x="315" y="483"/>
                    <a:pt x="315" y="477"/>
                    <a:pt x="314" y="474"/>
                  </a:cubicBezTo>
                  <a:cubicBezTo>
                    <a:pt x="313" y="470"/>
                    <a:pt x="311" y="468"/>
                    <a:pt x="308" y="466"/>
                  </a:cubicBezTo>
                  <a:cubicBezTo>
                    <a:pt x="306" y="465"/>
                    <a:pt x="303" y="465"/>
                    <a:pt x="301" y="462"/>
                  </a:cubicBezTo>
                  <a:cubicBezTo>
                    <a:pt x="300" y="460"/>
                    <a:pt x="300" y="457"/>
                    <a:pt x="300" y="455"/>
                  </a:cubicBezTo>
                  <a:cubicBezTo>
                    <a:pt x="298" y="452"/>
                    <a:pt x="298" y="453"/>
                    <a:pt x="298" y="449"/>
                  </a:cubicBezTo>
                  <a:cubicBezTo>
                    <a:pt x="298" y="441"/>
                    <a:pt x="295" y="428"/>
                    <a:pt x="302" y="425"/>
                  </a:cubicBezTo>
                  <a:cubicBezTo>
                    <a:pt x="305" y="423"/>
                    <a:pt x="306" y="423"/>
                    <a:pt x="309" y="420"/>
                  </a:cubicBezTo>
                  <a:cubicBezTo>
                    <a:pt x="312" y="417"/>
                    <a:pt x="312" y="414"/>
                    <a:pt x="313" y="408"/>
                  </a:cubicBezTo>
                  <a:cubicBezTo>
                    <a:pt x="314" y="407"/>
                    <a:pt x="315" y="404"/>
                    <a:pt x="316" y="403"/>
                  </a:cubicBezTo>
                  <a:cubicBezTo>
                    <a:pt x="317" y="401"/>
                    <a:pt x="317" y="402"/>
                    <a:pt x="319" y="402"/>
                  </a:cubicBezTo>
                  <a:cubicBezTo>
                    <a:pt x="321" y="401"/>
                    <a:pt x="321" y="400"/>
                    <a:pt x="323" y="400"/>
                  </a:cubicBezTo>
                  <a:cubicBezTo>
                    <a:pt x="324" y="400"/>
                    <a:pt x="325" y="400"/>
                    <a:pt x="326" y="400"/>
                  </a:cubicBezTo>
                  <a:cubicBezTo>
                    <a:pt x="328" y="399"/>
                    <a:pt x="326" y="399"/>
                    <a:pt x="327" y="396"/>
                  </a:cubicBezTo>
                  <a:cubicBezTo>
                    <a:pt x="328" y="393"/>
                    <a:pt x="328" y="389"/>
                    <a:pt x="329" y="385"/>
                  </a:cubicBezTo>
                  <a:cubicBezTo>
                    <a:pt x="331" y="381"/>
                    <a:pt x="332" y="379"/>
                    <a:pt x="332" y="373"/>
                  </a:cubicBezTo>
                  <a:cubicBezTo>
                    <a:pt x="332" y="372"/>
                    <a:pt x="331" y="368"/>
                    <a:pt x="332" y="367"/>
                  </a:cubicBezTo>
                  <a:cubicBezTo>
                    <a:pt x="333" y="365"/>
                    <a:pt x="334" y="365"/>
                    <a:pt x="335" y="364"/>
                  </a:cubicBezTo>
                  <a:cubicBezTo>
                    <a:pt x="337" y="363"/>
                    <a:pt x="337" y="362"/>
                    <a:pt x="338" y="361"/>
                  </a:cubicBezTo>
                  <a:cubicBezTo>
                    <a:pt x="340" y="360"/>
                    <a:pt x="342" y="362"/>
                    <a:pt x="344" y="361"/>
                  </a:cubicBezTo>
                  <a:cubicBezTo>
                    <a:pt x="345" y="359"/>
                    <a:pt x="345" y="358"/>
                    <a:pt x="345" y="356"/>
                  </a:cubicBezTo>
                  <a:cubicBezTo>
                    <a:pt x="348" y="356"/>
                    <a:pt x="356" y="350"/>
                    <a:pt x="357" y="358"/>
                  </a:cubicBezTo>
                  <a:cubicBezTo>
                    <a:pt x="359" y="364"/>
                    <a:pt x="354" y="370"/>
                    <a:pt x="353" y="375"/>
                  </a:cubicBezTo>
                  <a:cubicBezTo>
                    <a:pt x="353" y="379"/>
                    <a:pt x="353" y="380"/>
                    <a:pt x="351" y="383"/>
                  </a:cubicBezTo>
                  <a:cubicBezTo>
                    <a:pt x="349" y="386"/>
                    <a:pt x="348" y="385"/>
                    <a:pt x="345" y="386"/>
                  </a:cubicBezTo>
                  <a:cubicBezTo>
                    <a:pt x="344" y="387"/>
                    <a:pt x="340" y="389"/>
                    <a:pt x="339" y="390"/>
                  </a:cubicBezTo>
                  <a:cubicBezTo>
                    <a:pt x="337" y="393"/>
                    <a:pt x="338" y="396"/>
                    <a:pt x="336" y="398"/>
                  </a:cubicBezTo>
                  <a:cubicBezTo>
                    <a:pt x="334" y="400"/>
                    <a:pt x="333" y="402"/>
                    <a:pt x="331" y="403"/>
                  </a:cubicBezTo>
                  <a:cubicBezTo>
                    <a:pt x="328" y="406"/>
                    <a:pt x="327" y="405"/>
                    <a:pt x="327" y="410"/>
                  </a:cubicBezTo>
                  <a:cubicBezTo>
                    <a:pt x="327" y="412"/>
                    <a:pt x="327" y="414"/>
                    <a:pt x="327" y="416"/>
                  </a:cubicBezTo>
                  <a:cubicBezTo>
                    <a:pt x="327" y="418"/>
                    <a:pt x="328" y="419"/>
                    <a:pt x="328" y="421"/>
                  </a:cubicBezTo>
                  <a:cubicBezTo>
                    <a:pt x="329" y="424"/>
                    <a:pt x="328" y="429"/>
                    <a:pt x="328" y="433"/>
                  </a:cubicBezTo>
                  <a:cubicBezTo>
                    <a:pt x="328" y="437"/>
                    <a:pt x="328" y="439"/>
                    <a:pt x="327" y="442"/>
                  </a:cubicBezTo>
                  <a:cubicBezTo>
                    <a:pt x="326" y="446"/>
                    <a:pt x="325" y="447"/>
                    <a:pt x="327" y="451"/>
                  </a:cubicBezTo>
                  <a:cubicBezTo>
                    <a:pt x="330" y="456"/>
                    <a:pt x="333" y="459"/>
                    <a:pt x="333" y="466"/>
                  </a:cubicBezTo>
                  <a:cubicBezTo>
                    <a:pt x="334" y="466"/>
                    <a:pt x="335" y="466"/>
                    <a:pt x="336" y="467"/>
                  </a:cubicBezTo>
                  <a:cubicBezTo>
                    <a:pt x="336" y="468"/>
                    <a:pt x="336" y="470"/>
                    <a:pt x="336" y="471"/>
                  </a:cubicBezTo>
                  <a:cubicBezTo>
                    <a:pt x="339" y="472"/>
                    <a:pt x="341" y="471"/>
                    <a:pt x="343" y="468"/>
                  </a:cubicBezTo>
                  <a:cubicBezTo>
                    <a:pt x="345" y="465"/>
                    <a:pt x="347" y="464"/>
                    <a:pt x="349" y="462"/>
                  </a:cubicBezTo>
                  <a:cubicBezTo>
                    <a:pt x="352" y="460"/>
                    <a:pt x="354" y="459"/>
                    <a:pt x="357" y="459"/>
                  </a:cubicBezTo>
                  <a:cubicBezTo>
                    <a:pt x="358" y="459"/>
                    <a:pt x="360" y="460"/>
                    <a:pt x="361" y="459"/>
                  </a:cubicBezTo>
                  <a:cubicBezTo>
                    <a:pt x="362" y="459"/>
                    <a:pt x="363" y="457"/>
                    <a:pt x="365" y="457"/>
                  </a:cubicBezTo>
                  <a:cubicBezTo>
                    <a:pt x="365" y="456"/>
                    <a:pt x="365" y="455"/>
                    <a:pt x="365" y="454"/>
                  </a:cubicBezTo>
                  <a:cubicBezTo>
                    <a:pt x="369" y="453"/>
                    <a:pt x="373" y="454"/>
                    <a:pt x="376" y="457"/>
                  </a:cubicBezTo>
                  <a:cubicBezTo>
                    <a:pt x="377" y="458"/>
                    <a:pt x="377" y="458"/>
                    <a:pt x="378" y="459"/>
                  </a:cubicBezTo>
                  <a:cubicBezTo>
                    <a:pt x="379" y="460"/>
                    <a:pt x="381" y="459"/>
                    <a:pt x="383" y="459"/>
                  </a:cubicBezTo>
                  <a:cubicBezTo>
                    <a:pt x="385" y="459"/>
                    <a:pt x="386" y="460"/>
                    <a:pt x="387" y="463"/>
                  </a:cubicBezTo>
                  <a:cubicBezTo>
                    <a:pt x="388" y="466"/>
                    <a:pt x="387" y="469"/>
                    <a:pt x="387" y="472"/>
                  </a:cubicBezTo>
                  <a:cubicBezTo>
                    <a:pt x="388" y="477"/>
                    <a:pt x="387" y="477"/>
                    <a:pt x="384" y="477"/>
                  </a:cubicBezTo>
                  <a:cubicBezTo>
                    <a:pt x="381" y="477"/>
                    <a:pt x="380" y="477"/>
                    <a:pt x="379" y="479"/>
                  </a:cubicBezTo>
                  <a:cubicBezTo>
                    <a:pt x="377" y="481"/>
                    <a:pt x="376" y="484"/>
                    <a:pt x="374" y="484"/>
                  </a:cubicBezTo>
                  <a:cubicBezTo>
                    <a:pt x="374" y="485"/>
                    <a:pt x="374" y="486"/>
                    <a:pt x="373" y="487"/>
                  </a:cubicBezTo>
                  <a:cubicBezTo>
                    <a:pt x="371" y="488"/>
                    <a:pt x="367" y="488"/>
                    <a:pt x="365" y="487"/>
                  </a:cubicBezTo>
                  <a:cubicBezTo>
                    <a:pt x="362" y="487"/>
                    <a:pt x="359" y="485"/>
                    <a:pt x="356" y="486"/>
                  </a:cubicBezTo>
                  <a:cubicBezTo>
                    <a:pt x="350" y="487"/>
                    <a:pt x="350" y="498"/>
                    <a:pt x="351" y="505"/>
                  </a:cubicBezTo>
                  <a:cubicBezTo>
                    <a:pt x="355" y="505"/>
                    <a:pt x="356" y="506"/>
                    <a:pt x="356" y="512"/>
                  </a:cubicBezTo>
                  <a:cubicBezTo>
                    <a:pt x="356" y="516"/>
                    <a:pt x="357" y="522"/>
                    <a:pt x="352" y="523"/>
                  </a:cubicBezTo>
                  <a:cubicBezTo>
                    <a:pt x="351" y="533"/>
                    <a:pt x="346" y="531"/>
                    <a:pt x="340" y="531"/>
                  </a:cubicBezTo>
                  <a:cubicBezTo>
                    <a:pt x="335" y="531"/>
                    <a:pt x="336" y="532"/>
                    <a:pt x="334" y="536"/>
                  </a:cubicBezTo>
                  <a:cubicBezTo>
                    <a:pt x="333" y="539"/>
                    <a:pt x="330" y="540"/>
                    <a:pt x="329" y="543"/>
                  </a:cubicBezTo>
                  <a:cubicBezTo>
                    <a:pt x="329" y="545"/>
                    <a:pt x="329" y="548"/>
                    <a:pt x="329" y="549"/>
                  </a:cubicBezTo>
                  <a:cubicBezTo>
                    <a:pt x="330" y="551"/>
                    <a:pt x="331" y="552"/>
                    <a:pt x="331" y="554"/>
                  </a:cubicBezTo>
                  <a:cubicBezTo>
                    <a:pt x="331" y="556"/>
                    <a:pt x="329" y="563"/>
                    <a:pt x="328" y="564"/>
                  </a:cubicBezTo>
                  <a:cubicBezTo>
                    <a:pt x="327" y="565"/>
                    <a:pt x="326" y="565"/>
                    <a:pt x="325" y="566"/>
                  </a:cubicBezTo>
                  <a:cubicBezTo>
                    <a:pt x="324" y="568"/>
                    <a:pt x="325" y="569"/>
                    <a:pt x="324" y="572"/>
                  </a:cubicBezTo>
                  <a:cubicBezTo>
                    <a:pt x="324" y="577"/>
                    <a:pt x="323" y="579"/>
                    <a:pt x="319" y="579"/>
                  </a:cubicBezTo>
                  <a:cubicBezTo>
                    <a:pt x="316" y="578"/>
                    <a:pt x="314" y="579"/>
                    <a:pt x="312" y="580"/>
                  </a:cubicBezTo>
                  <a:cubicBezTo>
                    <a:pt x="311" y="581"/>
                    <a:pt x="309" y="582"/>
                    <a:pt x="308" y="582"/>
                  </a:cubicBezTo>
                  <a:cubicBezTo>
                    <a:pt x="307" y="584"/>
                    <a:pt x="307" y="586"/>
                    <a:pt x="306" y="587"/>
                  </a:cubicBezTo>
                  <a:cubicBezTo>
                    <a:pt x="305" y="589"/>
                    <a:pt x="302" y="590"/>
                    <a:pt x="301" y="591"/>
                  </a:cubicBezTo>
                  <a:cubicBezTo>
                    <a:pt x="297" y="592"/>
                    <a:pt x="294" y="589"/>
                    <a:pt x="292" y="593"/>
                  </a:cubicBezTo>
                  <a:cubicBezTo>
                    <a:pt x="290" y="594"/>
                    <a:pt x="289" y="598"/>
                    <a:pt x="288" y="600"/>
                  </a:cubicBezTo>
                  <a:cubicBezTo>
                    <a:pt x="286" y="601"/>
                    <a:pt x="286" y="601"/>
                    <a:pt x="284" y="601"/>
                  </a:cubicBezTo>
                  <a:cubicBezTo>
                    <a:pt x="282" y="601"/>
                    <a:pt x="281" y="601"/>
                    <a:pt x="279" y="601"/>
                  </a:cubicBezTo>
                  <a:cubicBezTo>
                    <a:pt x="276" y="601"/>
                    <a:pt x="273" y="602"/>
                    <a:pt x="270" y="600"/>
                  </a:cubicBezTo>
                  <a:cubicBezTo>
                    <a:pt x="268" y="598"/>
                    <a:pt x="266" y="596"/>
                    <a:pt x="263" y="596"/>
                  </a:cubicBezTo>
                  <a:cubicBezTo>
                    <a:pt x="263" y="595"/>
                    <a:pt x="263" y="595"/>
                    <a:pt x="263" y="594"/>
                  </a:cubicBezTo>
                  <a:cubicBezTo>
                    <a:pt x="260" y="594"/>
                    <a:pt x="256" y="593"/>
                    <a:pt x="254" y="592"/>
                  </a:cubicBezTo>
                  <a:cubicBezTo>
                    <a:pt x="254" y="591"/>
                    <a:pt x="254" y="589"/>
                    <a:pt x="254" y="588"/>
                  </a:cubicBezTo>
                  <a:cubicBezTo>
                    <a:pt x="252" y="587"/>
                    <a:pt x="251" y="587"/>
                    <a:pt x="250" y="587"/>
                  </a:cubicBezTo>
                  <a:cubicBezTo>
                    <a:pt x="250" y="586"/>
                    <a:pt x="250" y="583"/>
                    <a:pt x="250" y="582"/>
                  </a:cubicBezTo>
                  <a:cubicBezTo>
                    <a:pt x="249" y="580"/>
                    <a:pt x="248" y="581"/>
                    <a:pt x="247" y="579"/>
                  </a:cubicBezTo>
                  <a:cubicBezTo>
                    <a:pt x="245" y="577"/>
                    <a:pt x="246" y="570"/>
                    <a:pt x="246" y="567"/>
                  </a:cubicBezTo>
                  <a:cubicBezTo>
                    <a:pt x="248" y="566"/>
                    <a:pt x="249" y="566"/>
                    <a:pt x="250" y="566"/>
                  </a:cubicBezTo>
                  <a:cubicBezTo>
                    <a:pt x="250" y="564"/>
                    <a:pt x="250" y="563"/>
                    <a:pt x="250" y="561"/>
                  </a:cubicBezTo>
                  <a:cubicBezTo>
                    <a:pt x="249" y="557"/>
                    <a:pt x="250" y="559"/>
                    <a:pt x="247" y="558"/>
                  </a:cubicBezTo>
                  <a:cubicBezTo>
                    <a:pt x="245" y="556"/>
                    <a:pt x="245" y="558"/>
                    <a:pt x="245" y="554"/>
                  </a:cubicBezTo>
                  <a:cubicBezTo>
                    <a:pt x="245" y="552"/>
                    <a:pt x="245" y="549"/>
                    <a:pt x="245" y="547"/>
                  </a:cubicBezTo>
                  <a:cubicBezTo>
                    <a:pt x="244" y="543"/>
                    <a:pt x="240" y="543"/>
                    <a:pt x="238" y="544"/>
                  </a:cubicBezTo>
                  <a:cubicBezTo>
                    <a:pt x="235" y="545"/>
                    <a:pt x="233" y="549"/>
                    <a:pt x="233" y="552"/>
                  </a:cubicBezTo>
                  <a:cubicBezTo>
                    <a:pt x="230" y="553"/>
                    <a:pt x="228" y="554"/>
                    <a:pt x="227" y="559"/>
                  </a:cubicBezTo>
                  <a:cubicBezTo>
                    <a:pt x="227" y="561"/>
                    <a:pt x="227" y="566"/>
                    <a:pt x="227" y="568"/>
                  </a:cubicBezTo>
                  <a:cubicBezTo>
                    <a:pt x="228" y="572"/>
                    <a:pt x="228" y="570"/>
                    <a:pt x="230" y="573"/>
                  </a:cubicBezTo>
                  <a:cubicBezTo>
                    <a:pt x="233" y="576"/>
                    <a:pt x="232" y="581"/>
                    <a:pt x="232" y="586"/>
                  </a:cubicBezTo>
                  <a:cubicBezTo>
                    <a:pt x="232" y="588"/>
                    <a:pt x="233" y="592"/>
                    <a:pt x="232" y="594"/>
                  </a:cubicBezTo>
                  <a:cubicBezTo>
                    <a:pt x="232" y="597"/>
                    <a:pt x="230" y="597"/>
                    <a:pt x="229" y="599"/>
                  </a:cubicBezTo>
                  <a:cubicBezTo>
                    <a:pt x="229" y="601"/>
                    <a:pt x="229" y="603"/>
                    <a:pt x="228" y="605"/>
                  </a:cubicBezTo>
                  <a:cubicBezTo>
                    <a:pt x="228" y="605"/>
                    <a:pt x="227" y="606"/>
                    <a:pt x="227" y="606"/>
                  </a:cubicBezTo>
                  <a:cubicBezTo>
                    <a:pt x="227" y="607"/>
                    <a:pt x="226" y="610"/>
                    <a:pt x="226" y="610"/>
                  </a:cubicBezTo>
                  <a:cubicBezTo>
                    <a:pt x="223" y="613"/>
                    <a:pt x="217" y="609"/>
                    <a:pt x="213" y="610"/>
                  </a:cubicBezTo>
                  <a:cubicBezTo>
                    <a:pt x="212" y="610"/>
                    <a:pt x="210" y="613"/>
                    <a:pt x="210" y="614"/>
                  </a:cubicBezTo>
                  <a:cubicBezTo>
                    <a:pt x="209" y="615"/>
                    <a:pt x="208" y="617"/>
                    <a:pt x="207" y="618"/>
                  </a:cubicBezTo>
                  <a:cubicBezTo>
                    <a:pt x="205" y="621"/>
                    <a:pt x="201" y="624"/>
                    <a:pt x="198" y="624"/>
                  </a:cubicBezTo>
                  <a:cubicBezTo>
                    <a:pt x="198" y="626"/>
                    <a:pt x="197" y="628"/>
                    <a:pt x="197" y="630"/>
                  </a:cubicBezTo>
                  <a:cubicBezTo>
                    <a:pt x="197" y="632"/>
                    <a:pt x="197" y="634"/>
                    <a:pt x="197" y="636"/>
                  </a:cubicBezTo>
                  <a:cubicBezTo>
                    <a:pt x="196" y="636"/>
                    <a:pt x="195" y="637"/>
                    <a:pt x="195" y="637"/>
                  </a:cubicBezTo>
                  <a:cubicBezTo>
                    <a:pt x="194" y="644"/>
                    <a:pt x="188" y="643"/>
                    <a:pt x="185" y="648"/>
                  </a:cubicBezTo>
                  <a:cubicBezTo>
                    <a:pt x="185" y="649"/>
                    <a:pt x="184" y="650"/>
                    <a:pt x="184" y="652"/>
                  </a:cubicBezTo>
                  <a:cubicBezTo>
                    <a:pt x="184" y="653"/>
                    <a:pt x="183" y="656"/>
                    <a:pt x="183" y="657"/>
                  </a:cubicBezTo>
                  <a:cubicBezTo>
                    <a:pt x="182" y="659"/>
                    <a:pt x="181" y="658"/>
                    <a:pt x="179" y="659"/>
                  </a:cubicBezTo>
                  <a:cubicBezTo>
                    <a:pt x="178" y="660"/>
                    <a:pt x="177" y="661"/>
                    <a:pt x="176" y="661"/>
                  </a:cubicBezTo>
                  <a:cubicBezTo>
                    <a:pt x="176" y="662"/>
                    <a:pt x="175" y="663"/>
                    <a:pt x="175" y="664"/>
                  </a:cubicBezTo>
                  <a:cubicBezTo>
                    <a:pt x="172" y="664"/>
                    <a:pt x="170" y="669"/>
                    <a:pt x="169" y="673"/>
                  </a:cubicBezTo>
                  <a:cubicBezTo>
                    <a:pt x="168" y="677"/>
                    <a:pt x="167" y="683"/>
                    <a:pt x="164" y="686"/>
                  </a:cubicBezTo>
                  <a:cubicBezTo>
                    <a:pt x="161" y="688"/>
                    <a:pt x="156" y="687"/>
                    <a:pt x="152" y="687"/>
                  </a:cubicBezTo>
                  <a:cubicBezTo>
                    <a:pt x="148" y="687"/>
                    <a:pt x="144" y="689"/>
                    <a:pt x="141" y="692"/>
                  </a:cubicBezTo>
                  <a:cubicBezTo>
                    <a:pt x="140" y="693"/>
                    <a:pt x="139" y="695"/>
                    <a:pt x="138" y="696"/>
                  </a:cubicBezTo>
                  <a:cubicBezTo>
                    <a:pt x="137" y="698"/>
                    <a:pt x="138" y="698"/>
                    <a:pt x="136" y="700"/>
                  </a:cubicBezTo>
                  <a:cubicBezTo>
                    <a:pt x="136" y="700"/>
                    <a:pt x="135" y="701"/>
                    <a:pt x="134" y="701"/>
                  </a:cubicBezTo>
                  <a:cubicBezTo>
                    <a:pt x="133" y="702"/>
                    <a:pt x="131" y="703"/>
                    <a:pt x="130" y="705"/>
                  </a:cubicBezTo>
                  <a:cubicBezTo>
                    <a:pt x="129" y="708"/>
                    <a:pt x="130" y="711"/>
                    <a:pt x="129" y="713"/>
                  </a:cubicBezTo>
                  <a:cubicBezTo>
                    <a:pt x="128" y="716"/>
                    <a:pt x="126" y="715"/>
                    <a:pt x="126" y="719"/>
                  </a:cubicBezTo>
                  <a:cubicBezTo>
                    <a:pt x="127" y="723"/>
                    <a:pt x="129" y="722"/>
                    <a:pt x="131" y="722"/>
                  </a:cubicBezTo>
                  <a:cubicBezTo>
                    <a:pt x="135" y="722"/>
                    <a:pt x="138" y="726"/>
                    <a:pt x="141" y="730"/>
                  </a:cubicBezTo>
                  <a:cubicBezTo>
                    <a:pt x="142" y="732"/>
                    <a:pt x="144" y="732"/>
                    <a:pt x="145" y="733"/>
                  </a:cubicBezTo>
                  <a:cubicBezTo>
                    <a:pt x="145" y="734"/>
                    <a:pt x="146" y="734"/>
                    <a:pt x="146" y="735"/>
                  </a:cubicBezTo>
                  <a:cubicBezTo>
                    <a:pt x="147" y="736"/>
                    <a:pt x="148" y="736"/>
                    <a:pt x="149" y="737"/>
                  </a:cubicBezTo>
                  <a:cubicBezTo>
                    <a:pt x="151" y="739"/>
                    <a:pt x="151" y="739"/>
                    <a:pt x="153" y="740"/>
                  </a:cubicBezTo>
                  <a:cubicBezTo>
                    <a:pt x="156" y="741"/>
                    <a:pt x="156" y="741"/>
                    <a:pt x="157" y="745"/>
                  </a:cubicBezTo>
                  <a:cubicBezTo>
                    <a:pt x="157" y="751"/>
                    <a:pt x="158" y="756"/>
                    <a:pt x="158" y="763"/>
                  </a:cubicBezTo>
                  <a:cubicBezTo>
                    <a:pt x="158" y="765"/>
                    <a:pt x="159" y="769"/>
                    <a:pt x="158" y="771"/>
                  </a:cubicBezTo>
                  <a:cubicBezTo>
                    <a:pt x="157" y="772"/>
                    <a:pt x="156" y="772"/>
                    <a:pt x="155" y="773"/>
                  </a:cubicBezTo>
                  <a:cubicBezTo>
                    <a:pt x="154" y="774"/>
                    <a:pt x="154" y="776"/>
                    <a:pt x="153" y="776"/>
                  </a:cubicBezTo>
                  <a:cubicBezTo>
                    <a:pt x="151" y="778"/>
                    <a:pt x="148" y="775"/>
                    <a:pt x="147" y="777"/>
                  </a:cubicBezTo>
                  <a:cubicBezTo>
                    <a:pt x="145" y="778"/>
                    <a:pt x="146" y="783"/>
                    <a:pt x="145" y="785"/>
                  </a:cubicBezTo>
                  <a:cubicBezTo>
                    <a:pt x="143" y="789"/>
                    <a:pt x="136" y="787"/>
                    <a:pt x="133" y="787"/>
                  </a:cubicBezTo>
                  <a:cubicBezTo>
                    <a:pt x="131" y="787"/>
                    <a:pt x="128" y="786"/>
                    <a:pt x="128" y="789"/>
                  </a:cubicBezTo>
                  <a:cubicBezTo>
                    <a:pt x="127" y="792"/>
                    <a:pt x="129" y="795"/>
                    <a:pt x="126" y="797"/>
                  </a:cubicBezTo>
                  <a:cubicBezTo>
                    <a:pt x="123" y="800"/>
                    <a:pt x="116" y="798"/>
                    <a:pt x="112" y="798"/>
                  </a:cubicBezTo>
                  <a:cubicBezTo>
                    <a:pt x="111" y="798"/>
                    <a:pt x="106" y="792"/>
                    <a:pt x="105" y="792"/>
                  </a:cubicBezTo>
                  <a:cubicBezTo>
                    <a:pt x="103" y="793"/>
                    <a:pt x="102" y="795"/>
                    <a:pt x="101" y="796"/>
                  </a:cubicBezTo>
                  <a:cubicBezTo>
                    <a:pt x="97" y="797"/>
                    <a:pt x="93" y="795"/>
                    <a:pt x="90" y="796"/>
                  </a:cubicBezTo>
                  <a:cubicBezTo>
                    <a:pt x="90" y="801"/>
                    <a:pt x="87" y="803"/>
                    <a:pt x="87" y="808"/>
                  </a:cubicBezTo>
                  <a:cubicBezTo>
                    <a:pt x="87" y="813"/>
                    <a:pt x="87" y="819"/>
                    <a:pt x="87" y="824"/>
                  </a:cubicBezTo>
                  <a:cubicBezTo>
                    <a:pt x="87" y="827"/>
                    <a:pt x="87" y="828"/>
                    <a:pt x="86" y="830"/>
                  </a:cubicBezTo>
                  <a:cubicBezTo>
                    <a:pt x="86" y="831"/>
                    <a:pt x="84" y="833"/>
                    <a:pt x="84" y="835"/>
                  </a:cubicBezTo>
                  <a:cubicBezTo>
                    <a:pt x="83" y="840"/>
                    <a:pt x="83" y="845"/>
                    <a:pt x="82" y="850"/>
                  </a:cubicBezTo>
                  <a:cubicBezTo>
                    <a:pt x="81" y="850"/>
                    <a:pt x="81" y="850"/>
                    <a:pt x="80" y="851"/>
                  </a:cubicBezTo>
                  <a:cubicBezTo>
                    <a:pt x="79" y="855"/>
                    <a:pt x="79" y="866"/>
                    <a:pt x="80" y="870"/>
                  </a:cubicBezTo>
                  <a:cubicBezTo>
                    <a:pt x="80" y="873"/>
                    <a:pt x="82" y="873"/>
                    <a:pt x="82" y="877"/>
                  </a:cubicBezTo>
                  <a:cubicBezTo>
                    <a:pt x="82" y="880"/>
                    <a:pt x="82" y="884"/>
                    <a:pt x="82" y="887"/>
                  </a:cubicBezTo>
                  <a:cubicBezTo>
                    <a:pt x="82" y="891"/>
                    <a:pt x="82" y="893"/>
                    <a:pt x="84" y="896"/>
                  </a:cubicBezTo>
                  <a:cubicBezTo>
                    <a:pt x="85" y="899"/>
                    <a:pt x="86" y="903"/>
                    <a:pt x="88" y="904"/>
                  </a:cubicBezTo>
                  <a:cubicBezTo>
                    <a:pt x="91" y="905"/>
                    <a:pt x="93" y="904"/>
                    <a:pt x="95" y="906"/>
                  </a:cubicBezTo>
                  <a:cubicBezTo>
                    <a:pt x="97" y="907"/>
                    <a:pt x="98" y="909"/>
                    <a:pt x="100" y="911"/>
                  </a:cubicBezTo>
                  <a:cubicBezTo>
                    <a:pt x="102" y="914"/>
                    <a:pt x="107" y="918"/>
                    <a:pt x="110" y="919"/>
                  </a:cubicBezTo>
                  <a:cubicBezTo>
                    <a:pt x="113" y="920"/>
                    <a:pt x="113" y="919"/>
                    <a:pt x="115" y="922"/>
                  </a:cubicBezTo>
                  <a:cubicBezTo>
                    <a:pt x="117" y="924"/>
                    <a:pt x="118" y="925"/>
                    <a:pt x="120" y="926"/>
                  </a:cubicBezTo>
                  <a:cubicBezTo>
                    <a:pt x="124" y="926"/>
                    <a:pt x="123" y="925"/>
                    <a:pt x="125" y="922"/>
                  </a:cubicBezTo>
                  <a:cubicBezTo>
                    <a:pt x="126" y="919"/>
                    <a:pt x="128" y="917"/>
                    <a:pt x="130" y="917"/>
                  </a:cubicBezTo>
                  <a:cubicBezTo>
                    <a:pt x="135" y="916"/>
                    <a:pt x="140" y="919"/>
                    <a:pt x="140" y="910"/>
                  </a:cubicBezTo>
                  <a:cubicBezTo>
                    <a:pt x="141" y="910"/>
                    <a:pt x="143" y="910"/>
                    <a:pt x="144" y="910"/>
                  </a:cubicBezTo>
                  <a:cubicBezTo>
                    <a:pt x="145" y="909"/>
                    <a:pt x="145" y="907"/>
                    <a:pt x="146" y="906"/>
                  </a:cubicBezTo>
                  <a:cubicBezTo>
                    <a:pt x="150" y="905"/>
                    <a:pt x="152" y="907"/>
                    <a:pt x="155" y="905"/>
                  </a:cubicBezTo>
                  <a:cubicBezTo>
                    <a:pt x="158" y="903"/>
                    <a:pt x="159" y="902"/>
                    <a:pt x="160" y="899"/>
                  </a:cubicBezTo>
                  <a:cubicBezTo>
                    <a:pt x="162" y="897"/>
                    <a:pt x="162" y="891"/>
                    <a:pt x="165" y="892"/>
                  </a:cubicBezTo>
                  <a:cubicBezTo>
                    <a:pt x="168" y="893"/>
                    <a:pt x="172" y="887"/>
                    <a:pt x="170" y="882"/>
                  </a:cubicBezTo>
                  <a:cubicBezTo>
                    <a:pt x="170" y="881"/>
                    <a:pt x="169" y="881"/>
                    <a:pt x="168" y="880"/>
                  </a:cubicBezTo>
                  <a:cubicBezTo>
                    <a:pt x="168" y="879"/>
                    <a:pt x="167" y="875"/>
                    <a:pt x="167" y="874"/>
                  </a:cubicBezTo>
                  <a:cubicBezTo>
                    <a:pt x="166" y="871"/>
                    <a:pt x="167" y="867"/>
                    <a:pt x="166" y="863"/>
                  </a:cubicBezTo>
                  <a:cubicBezTo>
                    <a:pt x="166" y="862"/>
                    <a:pt x="166" y="861"/>
                    <a:pt x="165" y="859"/>
                  </a:cubicBezTo>
                  <a:cubicBezTo>
                    <a:pt x="165" y="857"/>
                    <a:pt x="165" y="854"/>
                    <a:pt x="166" y="852"/>
                  </a:cubicBezTo>
                  <a:cubicBezTo>
                    <a:pt x="168" y="852"/>
                    <a:pt x="173" y="851"/>
                    <a:pt x="175" y="847"/>
                  </a:cubicBezTo>
                  <a:cubicBezTo>
                    <a:pt x="176" y="845"/>
                    <a:pt x="176" y="844"/>
                    <a:pt x="178" y="843"/>
                  </a:cubicBezTo>
                  <a:cubicBezTo>
                    <a:pt x="179" y="842"/>
                    <a:pt x="181" y="841"/>
                    <a:pt x="182" y="839"/>
                  </a:cubicBezTo>
                  <a:cubicBezTo>
                    <a:pt x="183" y="836"/>
                    <a:pt x="184" y="830"/>
                    <a:pt x="185" y="827"/>
                  </a:cubicBezTo>
                  <a:cubicBezTo>
                    <a:pt x="186" y="825"/>
                    <a:pt x="186" y="823"/>
                    <a:pt x="187" y="821"/>
                  </a:cubicBezTo>
                  <a:cubicBezTo>
                    <a:pt x="188" y="817"/>
                    <a:pt x="188" y="817"/>
                    <a:pt x="189" y="815"/>
                  </a:cubicBezTo>
                  <a:cubicBezTo>
                    <a:pt x="190" y="813"/>
                    <a:pt x="190" y="810"/>
                    <a:pt x="191" y="808"/>
                  </a:cubicBezTo>
                  <a:cubicBezTo>
                    <a:pt x="192" y="805"/>
                    <a:pt x="191" y="805"/>
                    <a:pt x="194" y="805"/>
                  </a:cubicBezTo>
                  <a:cubicBezTo>
                    <a:pt x="197" y="805"/>
                    <a:pt x="197" y="805"/>
                    <a:pt x="199" y="802"/>
                  </a:cubicBezTo>
                  <a:cubicBezTo>
                    <a:pt x="199" y="800"/>
                    <a:pt x="200" y="798"/>
                    <a:pt x="200" y="796"/>
                  </a:cubicBezTo>
                  <a:cubicBezTo>
                    <a:pt x="201" y="793"/>
                    <a:pt x="202" y="791"/>
                    <a:pt x="205" y="792"/>
                  </a:cubicBezTo>
                  <a:cubicBezTo>
                    <a:pt x="207" y="794"/>
                    <a:pt x="205" y="797"/>
                    <a:pt x="207" y="799"/>
                  </a:cubicBezTo>
                  <a:cubicBezTo>
                    <a:pt x="209" y="801"/>
                    <a:pt x="217" y="800"/>
                    <a:pt x="219" y="798"/>
                  </a:cubicBezTo>
                  <a:cubicBezTo>
                    <a:pt x="220" y="797"/>
                    <a:pt x="220" y="795"/>
                    <a:pt x="221" y="793"/>
                  </a:cubicBezTo>
                  <a:cubicBezTo>
                    <a:pt x="222" y="791"/>
                    <a:pt x="223" y="790"/>
                    <a:pt x="224" y="789"/>
                  </a:cubicBezTo>
                  <a:cubicBezTo>
                    <a:pt x="227" y="784"/>
                    <a:pt x="229" y="783"/>
                    <a:pt x="234" y="784"/>
                  </a:cubicBezTo>
                  <a:cubicBezTo>
                    <a:pt x="236" y="784"/>
                    <a:pt x="237" y="785"/>
                    <a:pt x="239" y="785"/>
                  </a:cubicBezTo>
                  <a:cubicBezTo>
                    <a:pt x="241" y="786"/>
                    <a:pt x="242" y="785"/>
                    <a:pt x="244" y="787"/>
                  </a:cubicBezTo>
                  <a:cubicBezTo>
                    <a:pt x="246" y="790"/>
                    <a:pt x="246" y="796"/>
                    <a:pt x="249" y="799"/>
                  </a:cubicBezTo>
                  <a:cubicBezTo>
                    <a:pt x="251" y="801"/>
                    <a:pt x="252" y="800"/>
                    <a:pt x="254" y="802"/>
                  </a:cubicBezTo>
                  <a:cubicBezTo>
                    <a:pt x="255" y="803"/>
                    <a:pt x="255" y="805"/>
                    <a:pt x="256" y="807"/>
                  </a:cubicBezTo>
                  <a:cubicBezTo>
                    <a:pt x="257" y="807"/>
                    <a:pt x="258" y="807"/>
                    <a:pt x="258" y="808"/>
                  </a:cubicBezTo>
                  <a:cubicBezTo>
                    <a:pt x="259" y="809"/>
                    <a:pt x="258" y="810"/>
                    <a:pt x="259" y="812"/>
                  </a:cubicBezTo>
                  <a:cubicBezTo>
                    <a:pt x="260" y="815"/>
                    <a:pt x="261" y="814"/>
                    <a:pt x="262" y="816"/>
                  </a:cubicBezTo>
                  <a:cubicBezTo>
                    <a:pt x="264" y="817"/>
                    <a:pt x="264" y="818"/>
                    <a:pt x="266" y="819"/>
                  </a:cubicBezTo>
                  <a:cubicBezTo>
                    <a:pt x="266" y="820"/>
                    <a:pt x="267" y="820"/>
                    <a:pt x="268" y="821"/>
                  </a:cubicBezTo>
                  <a:cubicBezTo>
                    <a:pt x="269" y="821"/>
                    <a:pt x="270" y="820"/>
                    <a:pt x="272" y="820"/>
                  </a:cubicBezTo>
                  <a:cubicBezTo>
                    <a:pt x="274" y="822"/>
                    <a:pt x="275" y="829"/>
                    <a:pt x="275" y="832"/>
                  </a:cubicBezTo>
                  <a:cubicBezTo>
                    <a:pt x="276" y="833"/>
                    <a:pt x="277" y="833"/>
                    <a:pt x="277" y="833"/>
                  </a:cubicBezTo>
                  <a:cubicBezTo>
                    <a:pt x="278" y="839"/>
                    <a:pt x="283" y="840"/>
                    <a:pt x="286" y="840"/>
                  </a:cubicBezTo>
                  <a:cubicBezTo>
                    <a:pt x="287" y="845"/>
                    <a:pt x="286" y="850"/>
                    <a:pt x="289" y="853"/>
                  </a:cubicBezTo>
                  <a:cubicBezTo>
                    <a:pt x="292" y="856"/>
                    <a:pt x="298" y="854"/>
                    <a:pt x="299" y="857"/>
                  </a:cubicBezTo>
                  <a:cubicBezTo>
                    <a:pt x="300" y="859"/>
                    <a:pt x="299" y="864"/>
                    <a:pt x="299" y="866"/>
                  </a:cubicBezTo>
                  <a:cubicBezTo>
                    <a:pt x="299" y="869"/>
                    <a:pt x="300" y="870"/>
                    <a:pt x="300" y="873"/>
                  </a:cubicBezTo>
                  <a:cubicBezTo>
                    <a:pt x="301" y="876"/>
                    <a:pt x="300" y="879"/>
                    <a:pt x="301" y="882"/>
                  </a:cubicBezTo>
                  <a:cubicBezTo>
                    <a:pt x="302" y="884"/>
                    <a:pt x="304" y="884"/>
                    <a:pt x="303" y="887"/>
                  </a:cubicBezTo>
                  <a:cubicBezTo>
                    <a:pt x="305" y="888"/>
                    <a:pt x="307" y="888"/>
                    <a:pt x="308" y="886"/>
                  </a:cubicBezTo>
                  <a:cubicBezTo>
                    <a:pt x="310" y="883"/>
                    <a:pt x="310" y="882"/>
                    <a:pt x="312" y="880"/>
                  </a:cubicBezTo>
                  <a:cubicBezTo>
                    <a:pt x="312" y="878"/>
                    <a:pt x="314" y="876"/>
                    <a:pt x="314" y="874"/>
                  </a:cubicBezTo>
                  <a:cubicBezTo>
                    <a:pt x="315" y="870"/>
                    <a:pt x="314" y="869"/>
                    <a:pt x="313" y="866"/>
                  </a:cubicBezTo>
                  <a:cubicBezTo>
                    <a:pt x="312" y="862"/>
                    <a:pt x="313" y="855"/>
                    <a:pt x="315" y="852"/>
                  </a:cubicBezTo>
                  <a:cubicBezTo>
                    <a:pt x="316" y="850"/>
                    <a:pt x="318" y="850"/>
                    <a:pt x="319" y="849"/>
                  </a:cubicBezTo>
                  <a:cubicBezTo>
                    <a:pt x="321" y="847"/>
                    <a:pt x="321" y="844"/>
                    <a:pt x="320" y="840"/>
                  </a:cubicBezTo>
                  <a:cubicBezTo>
                    <a:pt x="320" y="840"/>
                    <a:pt x="319" y="840"/>
                    <a:pt x="318" y="839"/>
                  </a:cubicBezTo>
                  <a:cubicBezTo>
                    <a:pt x="318" y="839"/>
                    <a:pt x="318" y="838"/>
                    <a:pt x="318" y="837"/>
                  </a:cubicBezTo>
                  <a:cubicBezTo>
                    <a:pt x="315" y="836"/>
                    <a:pt x="312" y="834"/>
                    <a:pt x="310" y="832"/>
                  </a:cubicBezTo>
                  <a:cubicBezTo>
                    <a:pt x="308" y="831"/>
                    <a:pt x="307" y="831"/>
                    <a:pt x="306" y="828"/>
                  </a:cubicBezTo>
                  <a:cubicBezTo>
                    <a:pt x="305" y="825"/>
                    <a:pt x="305" y="825"/>
                    <a:pt x="303" y="824"/>
                  </a:cubicBezTo>
                  <a:cubicBezTo>
                    <a:pt x="301" y="821"/>
                    <a:pt x="298" y="821"/>
                    <a:pt x="295" y="819"/>
                  </a:cubicBezTo>
                  <a:cubicBezTo>
                    <a:pt x="292" y="817"/>
                    <a:pt x="290" y="813"/>
                    <a:pt x="287" y="811"/>
                  </a:cubicBezTo>
                  <a:cubicBezTo>
                    <a:pt x="286" y="810"/>
                    <a:pt x="285" y="810"/>
                    <a:pt x="283" y="810"/>
                  </a:cubicBezTo>
                  <a:cubicBezTo>
                    <a:pt x="281" y="809"/>
                    <a:pt x="281" y="806"/>
                    <a:pt x="279" y="805"/>
                  </a:cubicBezTo>
                  <a:cubicBezTo>
                    <a:pt x="278" y="805"/>
                    <a:pt x="277" y="805"/>
                    <a:pt x="276" y="805"/>
                  </a:cubicBezTo>
                  <a:cubicBezTo>
                    <a:pt x="274" y="803"/>
                    <a:pt x="276" y="804"/>
                    <a:pt x="275" y="801"/>
                  </a:cubicBezTo>
                  <a:cubicBezTo>
                    <a:pt x="275" y="799"/>
                    <a:pt x="275" y="796"/>
                    <a:pt x="274" y="794"/>
                  </a:cubicBezTo>
                  <a:cubicBezTo>
                    <a:pt x="274" y="793"/>
                    <a:pt x="274" y="792"/>
                    <a:pt x="274" y="791"/>
                  </a:cubicBezTo>
                  <a:cubicBezTo>
                    <a:pt x="273" y="790"/>
                    <a:pt x="272" y="790"/>
                    <a:pt x="271" y="789"/>
                  </a:cubicBezTo>
                  <a:cubicBezTo>
                    <a:pt x="270" y="788"/>
                    <a:pt x="269" y="786"/>
                    <a:pt x="269" y="784"/>
                  </a:cubicBezTo>
                  <a:cubicBezTo>
                    <a:pt x="266" y="779"/>
                    <a:pt x="266" y="776"/>
                    <a:pt x="266" y="770"/>
                  </a:cubicBezTo>
                  <a:cubicBezTo>
                    <a:pt x="266" y="766"/>
                    <a:pt x="265" y="755"/>
                    <a:pt x="270" y="759"/>
                  </a:cubicBezTo>
                  <a:cubicBezTo>
                    <a:pt x="272" y="761"/>
                    <a:pt x="272" y="764"/>
                    <a:pt x="273" y="766"/>
                  </a:cubicBezTo>
                  <a:cubicBezTo>
                    <a:pt x="273" y="768"/>
                    <a:pt x="274" y="770"/>
                    <a:pt x="276" y="771"/>
                  </a:cubicBezTo>
                  <a:cubicBezTo>
                    <a:pt x="278" y="774"/>
                    <a:pt x="282" y="774"/>
                    <a:pt x="285" y="777"/>
                  </a:cubicBezTo>
                  <a:cubicBezTo>
                    <a:pt x="287" y="779"/>
                    <a:pt x="290" y="783"/>
                    <a:pt x="291" y="786"/>
                  </a:cubicBezTo>
                  <a:cubicBezTo>
                    <a:pt x="292" y="787"/>
                    <a:pt x="292" y="789"/>
                    <a:pt x="293" y="790"/>
                  </a:cubicBezTo>
                  <a:cubicBezTo>
                    <a:pt x="294" y="792"/>
                    <a:pt x="296" y="791"/>
                    <a:pt x="298" y="792"/>
                  </a:cubicBezTo>
                  <a:cubicBezTo>
                    <a:pt x="299" y="794"/>
                    <a:pt x="300" y="795"/>
                    <a:pt x="301" y="796"/>
                  </a:cubicBezTo>
                  <a:cubicBezTo>
                    <a:pt x="302" y="798"/>
                    <a:pt x="303" y="800"/>
                    <a:pt x="304" y="802"/>
                  </a:cubicBezTo>
                  <a:cubicBezTo>
                    <a:pt x="305" y="803"/>
                    <a:pt x="307" y="806"/>
                    <a:pt x="308" y="806"/>
                  </a:cubicBezTo>
                  <a:cubicBezTo>
                    <a:pt x="309" y="807"/>
                    <a:pt x="310" y="807"/>
                    <a:pt x="311" y="806"/>
                  </a:cubicBezTo>
                  <a:cubicBezTo>
                    <a:pt x="312" y="807"/>
                    <a:pt x="312" y="808"/>
                    <a:pt x="313" y="808"/>
                  </a:cubicBezTo>
                  <a:cubicBezTo>
                    <a:pt x="316" y="809"/>
                    <a:pt x="322" y="806"/>
                    <a:pt x="322" y="813"/>
                  </a:cubicBezTo>
                  <a:cubicBezTo>
                    <a:pt x="324" y="814"/>
                    <a:pt x="325" y="813"/>
                    <a:pt x="327" y="816"/>
                  </a:cubicBezTo>
                  <a:cubicBezTo>
                    <a:pt x="328" y="818"/>
                    <a:pt x="328" y="819"/>
                    <a:pt x="329" y="821"/>
                  </a:cubicBezTo>
                  <a:cubicBezTo>
                    <a:pt x="332" y="823"/>
                    <a:pt x="333" y="828"/>
                    <a:pt x="334" y="833"/>
                  </a:cubicBezTo>
                  <a:cubicBezTo>
                    <a:pt x="335" y="838"/>
                    <a:pt x="334" y="845"/>
                    <a:pt x="334" y="850"/>
                  </a:cubicBezTo>
                  <a:cubicBezTo>
                    <a:pt x="335" y="854"/>
                    <a:pt x="336" y="861"/>
                    <a:pt x="339" y="861"/>
                  </a:cubicBezTo>
                  <a:cubicBezTo>
                    <a:pt x="339" y="862"/>
                    <a:pt x="340" y="863"/>
                    <a:pt x="340" y="864"/>
                  </a:cubicBezTo>
                  <a:cubicBezTo>
                    <a:pt x="341" y="865"/>
                    <a:pt x="343" y="864"/>
                    <a:pt x="344" y="865"/>
                  </a:cubicBezTo>
                  <a:cubicBezTo>
                    <a:pt x="345" y="865"/>
                    <a:pt x="347" y="866"/>
                    <a:pt x="348" y="866"/>
                  </a:cubicBezTo>
                  <a:cubicBezTo>
                    <a:pt x="348" y="867"/>
                    <a:pt x="349" y="868"/>
                    <a:pt x="350" y="868"/>
                  </a:cubicBezTo>
                  <a:cubicBezTo>
                    <a:pt x="350" y="868"/>
                    <a:pt x="351" y="868"/>
                    <a:pt x="352" y="868"/>
                  </a:cubicBezTo>
                  <a:cubicBezTo>
                    <a:pt x="354" y="868"/>
                    <a:pt x="354" y="870"/>
                    <a:pt x="356" y="870"/>
                  </a:cubicBezTo>
                  <a:cubicBezTo>
                    <a:pt x="356" y="875"/>
                    <a:pt x="358" y="878"/>
                    <a:pt x="361" y="880"/>
                  </a:cubicBezTo>
                  <a:cubicBezTo>
                    <a:pt x="364" y="881"/>
                    <a:pt x="370" y="884"/>
                    <a:pt x="374" y="882"/>
                  </a:cubicBezTo>
                  <a:cubicBezTo>
                    <a:pt x="376" y="881"/>
                    <a:pt x="375" y="879"/>
                    <a:pt x="373" y="877"/>
                  </a:cubicBezTo>
                  <a:cubicBezTo>
                    <a:pt x="373" y="876"/>
                    <a:pt x="372" y="876"/>
                    <a:pt x="371" y="875"/>
                  </a:cubicBezTo>
                  <a:cubicBezTo>
                    <a:pt x="371" y="874"/>
                    <a:pt x="370" y="872"/>
                    <a:pt x="370" y="871"/>
                  </a:cubicBezTo>
                  <a:cubicBezTo>
                    <a:pt x="369" y="868"/>
                    <a:pt x="370" y="867"/>
                    <a:pt x="369" y="864"/>
                  </a:cubicBezTo>
                  <a:cubicBezTo>
                    <a:pt x="369" y="863"/>
                    <a:pt x="368" y="861"/>
                    <a:pt x="368" y="860"/>
                  </a:cubicBezTo>
                  <a:cubicBezTo>
                    <a:pt x="367" y="859"/>
                    <a:pt x="368" y="857"/>
                    <a:pt x="367" y="855"/>
                  </a:cubicBezTo>
                  <a:cubicBezTo>
                    <a:pt x="367" y="854"/>
                    <a:pt x="366" y="852"/>
                    <a:pt x="365" y="850"/>
                  </a:cubicBezTo>
                  <a:cubicBezTo>
                    <a:pt x="364" y="848"/>
                    <a:pt x="363" y="846"/>
                    <a:pt x="364" y="843"/>
                  </a:cubicBezTo>
                  <a:cubicBezTo>
                    <a:pt x="364" y="839"/>
                    <a:pt x="364" y="840"/>
                    <a:pt x="367" y="840"/>
                  </a:cubicBezTo>
                  <a:cubicBezTo>
                    <a:pt x="370" y="840"/>
                    <a:pt x="372" y="840"/>
                    <a:pt x="375" y="840"/>
                  </a:cubicBezTo>
                  <a:cubicBezTo>
                    <a:pt x="380" y="840"/>
                    <a:pt x="380" y="834"/>
                    <a:pt x="385" y="835"/>
                  </a:cubicBezTo>
                  <a:cubicBezTo>
                    <a:pt x="387" y="835"/>
                    <a:pt x="389" y="835"/>
                    <a:pt x="391" y="835"/>
                  </a:cubicBezTo>
                  <a:cubicBezTo>
                    <a:pt x="394" y="834"/>
                    <a:pt x="395" y="833"/>
                    <a:pt x="397" y="833"/>
                  </a:cubicBezTo>
                  <a:cubicBezTo>
                    <a:pt x="398" y="829"/>
                    <a:pt x="397" y="825"/>
                    <a:pt x="400" y="824"/>
                  </a:cubicBezTo>
                  <a:cubicBezTo>
                    <a:pt x="402" y="823"/>
                    <a:pt x="404" y="824"/>
                    <a:pt x="405" y="824"/>
                  </a:cubicBezTo>
                  <a:cubicBezTo>
                    <a:pt x="408" y="824"/>
                    <a:pt x="407" y="824"/>
                    <a:pt x="408" y="821"/>
                  </a:cubicBezTo>
                  <a:cubicBezTo>
                    <a:pt x="408" y="817"/>
                    <a:pt x="408" y="812"/>
                    <a:pt x="407" y="809"/>
                  </a:cubicBezTo>
                  <a:cubicBezTo>
                    <a:pt x="406" y="804"/>
                    <a:pt x="402" y="806"/>
                    <a:pt x="401" y="801"/>
                  </a:cubicBezTo>
                  <a:cubicBezTo>
                    <a:pt x="401" y="799"/>
                    <a:pt x="401" y="791"/>
                    <a:pt x="402" y="789"/>
                  </a:cubicBezTo>
                  <a:cubicBezTo>
                    <a:pt x="402" y="788"/>
                    <a:pt x="404" y="787"/>
                    <a:pt x="404" y="786"/>
                  </a:cubicBezTo>
                  <a:cubicBezTo>
                    <a:pt x="405" y="786"/>
                    <a:pt x="406" y="785"/>
                    <a:pt x="406" y="785"/>
                  </a:cubicBezTo>
                  <a:cubicBezTo>
                    <a:pt x="406" y="784"/>
                    <a:pt x="407" y="783"/>
                    <a:pt x="407" y="782"/>
                  </a:cubicBezTo>
                  <a:cubicBezTo>
                    <a:pt x="408" y="779"/>
                    <a:pt x="410" y="777"/>
                    <a:pt x="411" y="774"/>
                  </a:cubicBezTo>
                  <a:cubicBezTo>
                    <a:pt x="412" y="770"/>
                    <a:pt x="412" y="767"/>
                    <a:pt x="413" y="763"/>
                  </a:cubicBezTo>
                  <a:cubicBezTo>
                    <a:pt x="414" y="760"/>
                    <a:pt x="414" y="758"/>
                    <a:pt x="416" y="755"/>
                  </a:cubicBezTo>
                  <a:cubicBezTo>
                    <a:pt x="418" y="753"/>
                    <a:pt x="417" y="753"/>
                    <a:pt x="418" y="750"/>
                  </a:cubicBezTo>
                  <a:cubicBezTo>
                    <a:pt x="418" y="749"/>
                    <a:pt x="419" y="747"/>
                    <a:pt x="419" y="745"/>
                  </a:cubicBezTo>
                  <a:cubicBezTo>
                    <a:pt x="420" y="741"/>
                    <a:pt x="418" y="737"/>
                    <a:pt x="420" y="735"/>
                  </a:cubicBezTo>
                  <a:cubicBezTo>
                    <a:pt x="422" y="732"/>
                    <a:pt x="426" y="733"/>
                    <a:pt x="429" y="733"/>
                  </a:cubicBezTo>
                  <a:cubicBezTo>
                    <a:pt x="436" y="733"/>
                    <a:pt x="435" y="743"/>
                    <a:pt x="435" y="750"/>
                  </a:cubicBezTo>
                  <a:cubicBezTo>
                    <a:pt x="435" y="752"/>
                    <a:pt x="435" y="756"/>
                    <a:pt x="436" y="757"/>
                  </a:cubicBezTo>
                  <a:cubicBezTo>
                    <a:pt x="436" y="758"/>
                    <a:pt x="438" y="759"/>
                    <a:pt x="439" y="760"/>
                  </a:cubicBezTo>
                  <a:cubicBezTo>
                    <a:pt x="442" y="763"/>
                    <a:pt x="440" y="767"/>
                    <a:pt x="441" y="771"/>
                  </a:cubicBezTo>
                  <a:cubicBezTo>
                    <a:pt x="443" y="771"/>
                    <a:pt x="447" y="775"/>
                    <a:pt x="449" y="773"/>
                  </a:cubicBezTo>
                  <a:cubicBezTo>
                    <a:pt x="451" y="772"/>
                    <a:pt x="451" y="770"/>
                    <a:pt x="451" y="768"/>
                  </a:cubicBezTo>
                  <a:cubicBezTo>
                    <a:pt x="451" y="765"/>
                    <a:pt x="451" y="764"/>
                    <a:pt x="452" y="761"/>
                  </a:cubicBezTo>
                  <a:cubicBezTo>
                    <a:pt x="451" y="755"/>
                    <a:pt x="458" y="752"/>
                    <a:pt x="460" y="753"/>
                  </a:cubicBezTo>
                  <a:cubicBezTo>
                    <a:pt x="462" y="753"/>
                    <a:pt x="462" y="756"/>
                    <a:pt x="463" y="752"/>
                  </a:cubicBezTo>
                  <a:cubicBezTo>
                    <a:pt x="464" y="751"/>
                    <a:pt x="464" y="745"/>
                    <a:pt x="463" y="744"/>
                  </a:cubicBezTo>
                  <a:cubicBezTo>
                    <a:pt x="463" y="743"/>
                    <a:pt x="460" y="742"/>
                    <a:pt x="459" y="742"/>
                  </a:cubicBezTo>
                  <a:cubicBezTo>
                    <a:pt x="458" y="741"/>
                    <a:pt x="457" y="739"/>
                    <a:pt x="457" y="736"/>
                  </a:cubicBezTo>
                  <a:cubicBezTo>
                    <a:pt x="456" y="729"/>
                    <a:pt x="460" y="730"/>
                    <a:pt x="463" y="729"/>
                  </a:cubicBezTo>
                  <a:cubicBezTo>
                    <a:pt x="463" y="728"/>
                    <a:pt x="463" y="727"/>
                    <a:pt x="463" y="726"/>
                  </a:cubicBezTo>
                  <a:cubicBezTo>
                    <a:pt x="467" y="726"/>
                    <a:pt x="466" y="720"/>
                    <a:pt x="469" y="719"/>
                  </a:cubicBezTo>
                  <a:cubicBezTo>
                    <a:pt x="470" y="719"/>
                    <a:pt x="471" y="719"/>
                    <a:pt x="472" y="719"/>
                  </a:cubicBezTo>
                  <a:cubicBezTo>
                    <a:pt x="473" y="719"/>
                    <a:pt x="474" y="717"/>
                    <a:pt x="475" y="717"/>
                  </a:cubicBezTo>
                  <a:cubicBezTo>
                    <a:pt x="476" y="717"/>
                    <a:pt x="477" y="721"/>
                    <a:pt x="477" y="722"/>
                  </a:cubicBezTo>
                  <a:cubicBezTo>
                    <a:pt x="477" y="723"/>
                    <a:pt x="477" y="725"/>
                    <a:pt x="477" y="726"/>
                  </a:cubicBezTo>
                  <a:cubicBezTo>
                    <a:pt x="477" y="728"/>
                    <a:pt x="478" y="728"/>
                    <a:pt x="478" y="729"/>
                  </a:cubicBezTo>
                  <a:cubicBezTo>
                    <a:pt x="479" y="732"/>
                    <a:pt x="478" y="735"/>
                    <a:pt x="477" y="737"/>
                  </a:cubicBezTo>
                  <a:cubicBezTo>
                    <a:pt x="477" y="739"/>
                    <a:pt x="476" y="741"/>
                    <a:pt x="476" y="743"/>
                  </a:cubicBezTo>
                  <a:cubicBezTo>
                    <a:pt x="475" y="745"/>
                    <a:pt x="474" y="748"/>
                    <a:pt x="474" y="750"/>
                  </a:cubicBezTo>
                  <a:cubicBezTo>
                    <a:pt x="474" y="750"/>
                    <a:pt x="473" y="751"/>
                    <a:pt x="472" y="751"/>
                  </a:cubicBezTo>
                  <a:cubicBezTo>
                    <a:pt x="472" y="753"/>
                    <a:pt x="471" y="758"/>
                    <a:pt x="473" y="759"/>
                  </a:cubicBezTo>
                  <a:cubicBezTo>
                    <a:pt x="474" y="760"/>
                    <a:pt x="476" y="758"/>
                    <a:pt x="477" y="759"/>
                  </a:cubicBezTo>
                  <a:cubicBezTo>
                    <a:pt x="477" y="760"/>
                    <a:pt x="478" y="764"/>
                    <a:pt x="478" y="764"/>
                  </a:cubicBezTo>
                  <a:cubicBezTo>
                    <a:pt x="479" y="765"/>
                    <a:pt x="479" y="767"/>
                    <a:pt x="480" y="768"/>
                  </a:cubicBezTo>
                  <a:cubicBezTo>
                    <a:pt x="480" y="770"/>
                    <a:pt x="479" y="772"/>
                    <a:pt x="481" y="773"/>
                  </a:cubicBezTo>
                  <a:cubicBezTo>
                    <a:pt x="481" y="774"/>
                    <a:pt x="483" y="773"/>
                    <a:pt x="484" y="774"/>
                  </a:cubicBezTo>
                  <a:cubicBezTo>
                    <a:pt x="485" y="774"/>
                    <a:pt x="487" y="775"/>
                    <a:pt x="488" y="775"/>
                  </a:cubicBezTo>
                  <a:cubicBezTo>
                    <a:pt x="488" y="776"/>
                    <a:pt x="488" y="777"/>
                    <a:pt x="489" y="778"/>
                  </a:cubicBezTo>
                  <a:cubicBezTo>
                    <a:pt x="491" y="779"/>
                    <a:pt x="495" y="778"/>
                    <a:pt x="497" y="778"/>
                  </a:cubicBezTo>
                  <a:cubicBezTo>
                    <a:pt x="497" y="785"/>
                    <a:pt x="499" y="789"/>
                    <a:pt x="504" y="792"/>
                  </a:cubicBezTo>
                  <a:cubicBezTo>
                    <a:pt x="504" y="792"/>
                    <a:pt x="506" y="794"/>
                    <a:pt x="506" y="794"/>
                  </a:cubicBezTo>
                  <a:cubicBezTo>
                    <a:pt x="507" y="794"/>
                    <a:pt x="509" y="794"/>
                    <a:pt x="510" y="794"/>
                  </a:cubicBezTo>
                  <a:cubicBezTo>
                    <a:pt x="512" y="795"/>
                    <a:pt x="512" y="800"/>
                    <a:pt x="513" y="803"/>
                  </a:cubicBezTo>
                  <a:cubicBezTo>
                    <a:pt x="513" y="803"/>
                    <a:pt x="514" y="803"/>
                    <a:pt x="515" y="803"/>
                  </a:cubicBezTo>
                  <a:cubicBezTo>
                    <a:pt x="516" y="807"/>
                    <a:pt x="516" y="813"/>
                    <a:pt x="512" y="815"/>
                  </a:cubicBezTo>
                  <a:cubicBezTo>
                    <a:pt x="511" y="816"/>
                    <a:pt x="509" y="815"/>
                    <a:pt x="507" y="815"/>
                  </a:cubicBezTo>
                  <a:cubicBezTo>
                    <a:pt x="505" y="815"/>
                    <a:pt x="504" y="814"/>
                    <a:pt x="502" y="813"/>
                  </a:cubicBezTo>
                  <a:cubicBezTo>
                    <a:pt x="500" y="812"/>
                    <a:pt x="495" y="813"/>
                    <a:pt x="493" y="815"/>
                  </a:cubicBezTo>
                  <a:cubicBezTo>
                    <a:pt x="490" y="817"/>
                    <a:pt x="487" y="819"/>
                    <a:pt x="484" y="817"/>
                  </a:cubicBezTo>
                  <a:cubicBezTo>
                    <a:pt x="481" y="815"/>
                    <a:pt x="480" y="810"/>
                    <a:pt x="477" y="809"/>
                  </a:cubicBezTo>
                  <a:cubicBezTo>
                    <a:pt x="475" y="808"/>
                    <a:pt x="474" y="809"/>
                    <a:pt x="472" y="808"/>
                  </a:cubicBezTo>
                  <a:cubicBezTo>
                    <a:pt x="470" y="808"/>
                    <a:pt x="469" y="806"/>
                    <a:pt x="467" y="806"/>
                  </a:cubicBezTo>
                  <a:cubicBezTo>
                    <a:pt x="464" y="806"/>
                    <a:pt x="462" y="808"/>
                    <a:pt x="458" y="808"/>
                  </a:cubicBezTo>
                  <a:cubicBezTo>
                    <a:pt x="454" y="808"/>
                    <a:pt x="451" y="808"/>
                    <a:pt x="447" y="808"/>
                  </a:cubicBezTo>
                  <a:cubicBezTo>
                    <a:pt x="445" y="808"/>
                    <a:pt x="444" y="808"/>
                    <a:pt x="443" y="810"/>
                  </a:cubicBezTo>
                  <a:cubicBezTo>
                    <a:pt x="442" y="810"/>
                    <a:pt x="441" y="810"/>
                    <a:pt x="441" y="810"/>
                  </a:cubicBezTo>
                  <a:cubicBezTo>
                    <a:pt x="441" y="811"/>
                    <a:pt x="440" y="812"/>
                    <a:pt x="440" y="813"/>
                  </a:cubicBezTo>
                  <a:cubicBezTo>
                    <a:pt x="439" y="814"/>
                    <a:pt x="438" y="815"/>
                    <a:pt x="438" y="817"/>
                  </a:cubicBezTo>
                  <a:cubicBezTo>
                    <a:pt x="437" y="819"/>
                    <a:pt x="437" y="821"/>
                    <a:pt x="436" y="823"/>
                  </a:cubicBezTo>
                  <a:cubicBezTo>
                    <a:pt x="432" y="830"/>
                    <a:pt x="425" y="828"/>
                    <a:pt x="420" y="831"/>
                  </a:cubicBezTo>
                  <a:cubicBezTo>
                    <a:pt x="415" y="834"/>
                    <a:pt x="414" y="842"/>
                    <a:pt x="409" y="845"/>
                  </a:cubicBezTo>
                  <a:cubicBezTo>
                    <a:pt x="408" y="846"/>
                    <a:pt x="406" y="846"/>
                    <a:pt x="405" y="847"/>
                  </a:cubicBezTo>
                  <a:cubicBezTo>
                    <a:pt x="404" y="848"/>
                    <a:pt x="403" y="848"/>
                    <a:pt x="402" y="849"/>
                  </a:cubicBezTo>
                  <a:cubicBezTo>
                    <a:pt x="400" y="850"/>
                    <a:pt x="399" y="850"/>
                    <a:pt x="398" y="851"/>
                  </a:cubicBezTo>
                  <a:cubicBezTo>
                    <a:pt x="398" y="852"/>
                    <a:pt x="397" y="852"/>
                    <a:pt x="396" y="852"/>
                  </a:cubicBezTo>
                  <a:cubicBezTo>
                    <a:pt x="395" y="853"/>
                    <a:pt x="394" y="852"/>
                    <a:pt x="393" y="852"/>
                  </a:cubicBezTo>
                  <a:cubicBezTo>
                    <a:pt x="393" y="853"/>
                    <a:pt x="392" y="854"/>
                    <a:pt x="392" y="855"/>
                  </a:cubicBezTo>
                  <a:cubicBezTo>
                    <a:pt x="388" y="856"/>
                    <a:pt x="388" y="863"/>
                    <a:pt x="389" y="868"/>
                  </a:cubicBezTo>
                  <a:cubicBezTo>
                    <a:pt x="389" y="870"/>
                    <a:pt x="391" y="871"/>
                    <a:pt x="391" y="873"/>
                  </a:cubicBezTo>
                  <a:cubicBezTo>
                    <a:pt x="392" y="876"/>
                    <a:pt x="391" y="878"/>
                    <a:pt x="393" y="881"/>
                  </a:cubicBezTo>
                  <a:cubicBezTo>
                    <a:pt x="393" y="882"/>
                    <a:pt x="394" y="882"/>
                    <a:pt x="394" y="884"/>
                  </a:cubicBezTo>
                  <a:cubicBezTo>
                    <a:pt x="394" y="885"/>
                    <a:pt x="393" y="887"/>
                    <a:pt x="394" y="889"/>
                  </a:cubicBezTo>
                  <a:cubicBezTo>
                    <a:pt x="395" y="891"/>
                    <a:pt x="396" y="891"/>
                    <a:pt x="396" y="894"/>
                  </a:cubicBezTo>
                  <a:cubicBezTo>
                    <a:pt x="396" y="895"/>
                    <a:pt x="396" y="897"/>
                    <a:pt x="396" y="898"/>
                  </a:cubicBezTo>
                  <a:cubicBezTo>
                    <a:pt x="397" y="900"/>
                    <a:pt x="397" y="898"/>
                    <a:pt x="399" y="900"/>
                  </a:cubicBezTo>
                  <a:cubicBezTo>
                    <a:pt x="400" y="901"/>
                    <a:pt x="400" y="903"/>
                    <a:pt x="402" y="903"/>
                  </a:cubicBezTo>
                  <a:cubicBezTo>
                    <a:pt x="403" y="904"/>
                    <a:pt x="403" y="905"/>
                    <a:pt x="403" y="906"/>
                  </a:cubicBezTo>
                  <a:cubicBezTo>
                    <a:pt x="405" y="906"/>
                    <a:pt x="406" y="908"/>
                    <a:pt x="407" y="909"/>
                  </a:cubicBezTo>
                  <a:cubicBezTo>
                    <a:pt x="408" y="909"/>
                    <a:pt x="408" y="910"/>
                    <a:pt x="408" y="911"/>
                  </a:cubicBezTo>
                  <a:cubicBezTo>
                    <a:pt x="411" y="912"/>
                    <a:pt x="419" y="920"/>
                    <a:pt x="419" y="910"/>
                  </a:cubicBezTo>
                  <a:cubicBezTo>
                    <a:pt x="421" y="910"/>
                    <a:pt x="423" y="910"/>
                    <a:pt x="424" y="908"/>
                  </a:cubicBezTo>
                  <a:cubicBezTo>
                    <a:pt x="427" y="905"/>
                    <a:pt x="427" y="905"/>
                    <a:pt x="430" y="905"/>
                  </a:cubicBezTo>
                  <a:cubicBezTo>
                    <a:pt x="435" y="905"/>
                    <a:pt x="438" y="906"/>
                    <a:pt x="438" y="913"/>
                  </a:cubicBezTo>
                  <a:cubicBezTo>
                    <a:pt x="439" y="914"/>
                    <a:pt x="440" y="914"/>
                    <a:pt x="441" y="913"/>
                  </a:cubicBezTo>
                  <a:cubicBezTo>
                    <a:pt x="441" y="914"/>
                    <a:pt x="442" y="915"/>
                    <a:pt x="443" y="915"/>
                  </a:cubicBezTo>
                  <a:cubicBezTo>
                    <a:pt x="444" y="915"/>
                    <a:pt x="448" y="914"/>
                    <a:pt x="449" y="913"/>
                  </a:cubicBezTo>
                  <a:cubicBezTo>
                    <a:pt x="449" y="912"/>
                    <a:pt x="450" y="912"/>
                    <a:pt x="451" y="912"/>
                  </a:cubicBezTo>
                  <a:cubicBezTo>
                    <a:pt x="452" y="911"/>
                    <a:pt x="453" y="912"/>
                    <a:pt x="454" y="912"/>
                  </a:cubicBezTo>
                  <a:cubicBezTo>
                    <a:pt x="457" y="912"/>
                    <a:pt x="461" y="913"/>
                    <a:pt x="463" y="911"/>
                  </a:cubicBezTo>
                  <a:cubicBezTo>
                    <a:pt x="463" y="910"/>
                    <a:pt x="463" y="909"/>
                    <a:pt x="463" y="908"/>
                  </a:cubicBezTo>
                  <a:cubicBezTo>
                    <a:pt x="466" y="907"/>
                    <a:pt x="468" y="910"/>
                    <a:pt x="471" y="910"/>
                  </a:cubicBezTo>
                  <a:cubicBezTo>
                    <a:pt x="471" y="914"/>
                    <a:pt x="471" y="920"/>
                    <a:pt x="471" y="924"/>
                  </a:cubicBezTo>
                  <a:cubicBezTo>
                    <a:pt x="471" y="928"/>
                    <a:pt x="471" y="934"/>
                    <a:pt x="471" y="938"/>
                  </a:cubicBezTo>
                  <a:cubicBezTo>
                    <a:pt x="468" y="938"/>
                    <a:pt x="463" y="940"/>
                    <a:pt x="463" y="945"/>
                  </a:cubicBezTo>
                  <a:cubicBezTo>
                    <a:pt x="462" y="945"/>
                    <a:pt x="462" y="945"/>
                    <a:pt x="461" y="945"/>
                  </a:cubicBezTo>
                  <a:cubicBezTo>
                    <a:pt x="460" y="950"/>
                    <a:pt x="462" y="954"/>
                    <a:pt x="464" y="959"/>
                  </a:cubicBezTo>
                  <a:cubicBezTo>
                    <a:pt x="465" y="963"/>
                    <a:pt x="465" y="970"/>
                    <a:pt x="464" y="974"/>
                  </a:cubicBezTo>
                  <a:cubicBezTo>
                    <a:pt x="464" y="975"/>
                    <a:pt x="464" y="975"/>
                    <a:pt x="463" y="975"/>
                  </a:cubicBezTo>
                  <a:cubicBezTo>
                    <a:pt x="463" y="977"/>
                    <a:pt x="464" y="983"/>
                    <a:pt x="463" y="985"/>
                  </a:cubicBezTo>
                  <a:cubicBezTo>
                    <a:pt x="462" y="986"/>
                    <a:pt x="459" y="985"/>
                    <a:pt x="458" y="985"/>
                  </a:cubicBezTo>
                  <a:cubicBezTo>
                    <a:pt x="455" y="985"/>
                    <a:pt x="455" y="985"/>
                    <a:pt x="453" y="983"/>
                  </a:cubicBezTo>
                  <a:cubicBezTo>
                    <a:pt x="448" y="979"/>
                    <a:pt x="442" y="976"/>
                    <a:pt x="436" y="979"/>
                  </a:cubicBezTo>
                  <a:cubicBezTo>
                    <a:pt x="430" y="981"/>
                    <a:pt x="426" y="987"/>
                    <a:pt x="420" y="987"/>
                  </a:cubicBezTo>
                  <a:cubicBezTo>
                    <a:pt x="414" y="987"/>
                    <a:pt x="405" y="989"/>
                    <a:pt x="399" y="987"/>
                  </a:cubicBezTo>
                  <a:cubicBezTo>
                    <a:pt x="399" y="983"/>
                    <a:pt x="398" y="981"/>
                    <a:pt x="396" y="978"/>
                  </a:cubicBezTo>
                  <a:cubicBezTo>
                    <a:pt x="396" y="977"/>
                    <a:pt x="395" y="975"/>
                    <a:pt x="394" y="974"/>
                  </a:cubicBezTo>
                  <a:cubicBezTo>
                    <a:pt x="393" y="973"/>
                    <a:pt x="392" y="973"/>
                    <a:pt x="390" y="973"/>
                  </a:cubicBezTo>
                  <a:cubicBezTo>
                    <a:pt x="388" y="971"/>
                    <a:pt x="387" y="969"/>
                    <a:pt x="384" y="970"/>
                  </a:cubicBezTo>
                  <a:cubicBezTo>
                    <a:pt x="380" y="970"/>
                    <a:pt x="379" y="968"/>
                    <a:pt x="376" y="966"/>
                  </a:cubicBezTo>
                  <a:cubicBezTo>
                    <a:pt x="371" y="962"/>
                    <a:pt x="363" y="964"/>
                    <a:pt x="357" y="964"/>
                  </a:cubicBezTo>
                  <a:cubicBezTo>
                    <a:pt x="356" y="964"/>
                    <a:pt x="354" y="964"/>
                    <a:pt x="352" y="964"/>
                  </a:cubicBezTo>
                  <a:cubicBezTo>
                    <a:pt x="351" y="965"/>
                    <a:pt x="350" y="966"/>
                    <a:pt x="348" y="966"/>
                  </a:cubicBezTo>
                  <a:cubicBezTo>
                    <a:pt x="347" y="966"/>
                    <a:pt x="345" y="966"/>
                    <a:pt x="344" y="966"/>
                  </a:cubicBezTo>
                  <a:cubicBezTo>
                    <a:pt x="343" y="967"/>
                    <a:pt x="341" y="968"/>
                    <a:pt x="340" y="968"/>
                  </a:cubicBezTo>
                  <a:cubicBezTo>
                    <a:pt x="340" y="969"/>
                    <a:pt x="339" y="970"/>
                    <a:pt x="339" y="971"/>
                  </a:cubicBezTo>
                  <a:cubicBezTo>
                    <a:pt x="339" y="971"/>
                    <a:pt x="338" y="971"/>
                    <a:pt x="337" y="972"/>
                  </a:cubicBezTo>
                  <a:cubicBezTo>
                    <a:pt x="337" y="974"/>
                    <a:pt x="337" y="977"/>
                    <a:pt x="337" y="980"/>
                  </a:cubicBezTo>
                  <a:cubicBezTo>
                    <a:pt x="337" y="981"/>
                    <a:pt x="335" y="984"/>
                    <a:pt x="335" y="986"/>
                  </a:cubicBezTo>
                  <a:cubicBezTo>
                    <a:pt x="334" y="989"/>
                    <a:pt x="331" y="994"/>
                    <a:pt x="328" y="994"/>
                  </a:cubicBezTo>
                  <a:cubicBezTo>
                    <a:pt x="328" y="995"/>
                    <a:pt x="328" y="996"/>
                    <a:pt x="328" y="997"/>
                  </a:cubicBezTo>
                  <a:cubicBezTo>
                    <a:pt x="326" y="998"/>
                    <a:pt x="323" y="998"/>
                    <a:pt x="321" y="998"/>
                  </a:cubicBezTo>
                  <a:cubicBezTo>
                    <a:pt x="317" y="997"/>
                    <a:pt x="318" y="994"/>
                    <a:pt x="317" y="991"/>
                  </a:cubicBezTo>
                  <a:cubicBezTo>
                    <a:pt x="316" y="988"/>
                    <a:pt x="315" y="987"/>
                    <a:pt x="314" y="984"/>
                  </a:cubicBezTo>
                  <a:cubicBezTo>
                    <a:pt x="312" y="979"/>
                    <a:pt x="312" y="981"/>
                    <a:pt x="308" y="980"/>
                  </a:cubicBezTo>
                  <a:cubicBezTo>
                    <a:pt x="308" y="979"/>
                    <a:pt x="308" y="978"/>
                    <a:pt x="308" y="977"/>
                  </a:cubicBezTo>
                  <a:cubicBezTo>
                    <a:pt x="305" y="976"/>
                    <a:pt x="304" y="975"/>
                    <a:pt x="302" y="975"/>
                  </a:cubicBezTo>
                  <a:cubicBezTo>
                    <a:pt x="299" y="974"/>
                    <a:pt x="296" y="976"/>
                    <a:pt x="294" y="975"/>
                  </a:cubicBezTo>
                  <a:cubicBezTo>
                    <a:pt x="292" y="974"/>
                    <a:pt x="290" y="973"/>
                    <a:pt x="289" y="972"/>
                  </a:cubicBezTo>
                  <a:cubicBezTo>
                    <a:pt x="288" y="971"/>
                    <a:pt x="287" y="970"/>
                    <a:pt x="287" y="969"/>
                  </a:cubicBezTo>
                  <a:cubicBezTo>
                    <a:pt x="286" y="969"/>
                    <a:pt x="285" y="969"/>
                    <a:pt x="284" y="968"/>
                  </a:cubicBezTo>
                  <a:cubicBezTo>
                    <a:pt x="282" y="967"/>
                    <a:pt x="281" y="965"/>
                    <a:pt x="279" y="964"/>
                  </a:cubicBezTo>
                  <a:cubicBezTo>
                    <a:pt x="277" y="963"/>
                    <a:pt x="273" y="966"/>
                    <a:pt x="271" y="964"/>
                  </a:cubicBezTo>
                  <a:cubicBezTo>
                    <a:pt x="269" y="963"/>
                    <a:pt x="270" y="960"/>
                    <a:pt x="269" y="957"/>
                  </a:cubicBezTo>
                  <a:cubicBezTo>
                    <a:pt x="268" y="955"/>
                    <a:pt x="267" y="952"/>
                    <a:pt x="267" y="950"/>
                  </a:cubicBezTo>
                  <a:cubicBezTo>
                    <a:pt x="266" y="947"/>
                    <a:pt x="265" y="945"/>
                    <a:pt x="265" y="941"/>
                  </a:cubicBezTo>
                  <a:cubicBezTo>
                    <a:pt x="265" y="939"/>
                    <a:pt x="265" y="939"/>
                    <a:pt x="264" y="937"/>
                  </a:cubicBezTo>
                  <a:cubicBezTo>
                    <a:pt x="263" y="936"/>
                    <a:pt x="262" y="937"/>
                    <a:pt x="262" y="936"/>
                  </a:cubicBezTo>
                  <a:cubicBezTo>
                    <a:pt x="260" y="934"/>
                    <a:pt x="260" y="930"/>
                    <a:pt x="260" y="927"/>
                  </a:cubicBezTo>
                  <a:cubicBezTo>
                    <a:pt x="260" y="926"/>
                    <a:pt x="260" y="924"/>
                    <a:pt x="260" y="922"/>
                  </a:cubicBezTo>
                  <a:cubicBezTo>
                    <a:pt x="260" y="920"/>
                    <a:pt x="259" y="920"/>
                    <a:pt x="259" y="918"/>
                  </a:cubicBezTo>
                  <a:cubicBezTo>
                    <a:pt x="259" y="917"/>
                    <a:pt x="259" y="915"/>
                    <a:pt x="259" y="914"/>
                  </a:cubicBezTo>
                  <a:cubicBezTo>
                    <a:pt x="258" y="913"/>
                    <a:pt x="257" y="912"/>
                    <a:pt x="257" y="911"/>
                  </a:cubicBezTo>
                  <a:cubicBezTo>
                    <a:pt x="255" y="909"/>
                    <a:pt x="257" y="906"/>
                    <a:pt x="255" y="903"/>
                  </a:cubicBezTo>
                  <a:cubicBezTo>
                    <a:pt x="253" y="899"/>
                    <a:pt x="248" y="896"/>
                    <a:pt x="244" y="898"/>
                  </a:cubicBezTo>
                  <a:cubicBezTo>
                    <a:pt x="244" y="899"/>
                    <a:pt x="244" y="900"/>
                    <a:pt x="243" y="901"/>
                  </a:cubicBezTo>
                  <a:cubicBezTo>
                    <a:pt x="239" y="902"/>
                    <a:pt x="234" y="901"/>
                    <a:pt x="230" y="901"/>
                  </a:cubicBezTo>
                  <a:cubicBezTo>
                    <a:pt x="225" y="901"/>
                    <a:pt x="218" y="899"/>
                    <a:pt x="213" y="899"/>
                  </a:cubicBezTo>
                  <a:cubicBezTo>
                    <a:pt x="209" y="899"/>
                    <a:pt x="207" y="899"/>
                    <a:pt x="204" y="902"/>
                  </a:cubicBezTo>
                  <a:cubicBezTo>
                    <a:pt x="201" y="907"/>
                    <a:pt x="200" y="906"/>
                    <a:pt x="196" y="906"/>
                  </a:cubicBezTo>
                  <a:cubicBezTo>
                    <a:pt x="192" y="906"/>
                    <a:pt x="188" y="906"/>
                    <a:pt x="184" y="906"/>
                  </a:cubicBezTo>
                  <a:cubicBezTo>
                    <a:pt x="181" y="907"/>
                    <a:pt x="179" y="909"/>
                    <a:pt x="177" y="912"/>
                  </a:cubicBezTo>
                  <a:cubicBezTo>
                    <a:pt x="175" y="913"/>
                    <a:pt x="174" y="913"/>
                    <a:pt x="173" y="913"/>
                  </a:cubicBezTo>
                  <a:cubicBezTo>
                    <a:pt x="171" y="914"/>
                    <a:pt x="170" y="915"/>
                    <a:pt x="168" y="915"/>
                  </a:cubicBezTo>
                  <a:cubicBezTo>
                    <a:pt x="165" y="916"/>
                    <a:pt x="162" y="916"/>
                    <a:pt x="160" y="920"/>
                  </a:cubicBezTo>
                  <a:cubicBezTo>
                    <a:pt x="160" y="922"/>
                    <a:pt x="160" y="924"/>
                    <a:pt x="159" y="925"/>
                  </a:cubicBezTo>
                  <a:cubicBezTo>
                    <a:pt x="158" y="927"/>
                    <a:pt x="156" y="928"/>
                    <a:pt x="156" y="931"/>
                  </a:cubicBezTo>
                  <a:cubicBezTo>
                    <a:pt x="153" y="931"/>
                    <a:pt x="151" y="933"/>
                    <a:pt x="148" y="933"/>
                  </a:cubicBezTo>
                  <a:cubicBezTo>
                    <a:pt x="144" y="933"/>
                    <a:pt x="143" y="936"/>
                    <a:pt x="140" y="936"/>
                  </a:cubicBezTo>
                  <a:cubicBezTo>
                    <a:pt x="137" y="937"/>
                    <a:pt x="134" y="935"/>
                    <a:pt x="130" y="937"/>
                  </a:cubicBezTo>
                  <a:cubicBezTo>
                    <a:pt x="130" y="937"/>
                    <a:pt x="128" y="939"/>
                    <a:pt x="127" y="939"/>
                  </a:cubicBezTo>
                  <a:cubicBezTo>
                    <a:pt x="125" y="940"/>
                    <a:pt x="123" y="939"/>
                    <a:pt x="121" y="940"/>
                  </a:cubicBezTo>
                  <a:cubicBezTo>
                    <a:pt x="120" y="940"/>
                    <a:pt x="116" y="943"/>
                    <a:pt x="115" y="944"/>
                  </a:cubicBezTo>
                  <a:cubicBezTo>
                    <a:pt x="114" y="946"/>
                    <a:pt x="114" y="948"/>
                    <a:pt x="113" y="949"/>
                  </a:cubicBezTo>
                  <a:cubicBezTo>
                    <a:pt x="112" y="950"/>
                    <a:pt x="111" y="951"/>
                    <a:pt x="110" y="952"/>
                  </a:cubicBezTo>
                  <a:cubicBezTo>
                    <a:pt x="108" y="952"/>
                    <a:pt x="107" y="953"/>
                    <a:pt x="106" y="954"/>
                  </a:cubicBezTo>
                  <a:cubicBezTo>
                    <a:pt x="105" y="954"/>
                    <a:pt x="103" y="955"/>
                    <a:pt x="102" y="956"/>
                  </a:cubicBezTo>
                  <a:cubicBezTo>
                    <a:pt x="101" y="956"/>
                    <a:pt x="100" y="955"/>
                    <a:pt x="98" y="957"/>
                  </a:cubicBezTo>
                  <a:cubicBezTo>
                    <a:pt x="96" y="958"/>
                    <a:pt x="97" y="961"/>
                    <a:pt x="94" y="961"/>
                  </a:cubicBezTo>
                  <a:cubicBezTo>
                    <a:pt x="94" y="964"/>
                    <a:pt x="94" y="965"/>
                    <a:pt x="92" y="967"/>
                  </a:cubicBezTo>
                  <a:cubicBezTo>
                    <a:pt x="91" y="968"/>
                    <a:pt x="91" y="968"/>
                    <a:pt x="90" y="968"/>
                  </a:cubicBezTo>
                  <a:cubicBezTo>
                    <a:pt x="89" y="969"/>
                    <a:pt x="89" y="971"/>
                    <a:pt x="88" y="973"/>
                  </a:cubicBezTo>
                  <a:cubicBezTo>
                    <a:pt x="86" y="977"/>
                    <a:pt x="82" y="979"/>
                    <a:pt x="79" y="981"/>
                  </a:cubicBezTo>
                  <a:cubicBezTo>
                    <a:pt x="76" y="983"/>
                    <a:pt x="74" y="986"/>
                    <a:pt x="73" y="991"/>
                  </a:cubicBezTo>
                  <a:cubicBezTo>
                    <a:pt x="73" y="993"/>
                    <a:pt x="73" y="997"/>
                    <a:pt x="73" y="999"/>
                  </a:cubicBezTo>
                  <a:cubicBezTo>
                    <a:pt x="73" y="1003"/>
                    <a:pt x="75" y="1005"/>
                    <a:pt x="76" y="1008"/>
                  </a:cubicBezTo>
                  <a:cubicBezTo>
                    <a:pt x="77" y="1012"/>
                    <a:pt x="76" y="1021"/>
                    <a:pt x="76" y="1026"/>
                  </a:cubicBezTo>
                  <a:cubicBezTo>
                    <a:pt x="76" y="1029"/>
                    <a:pt x="75" y="1029"/>
                    <a:pt x="73" y="1030"/>
                  </a:cubicBezTo>
                  <a:cubicBezTo>
                    <a:pt x="71" y="1032"/>
                    <a:pt x="71" y="1032"/>
                    <a:pt x="69" y="1034"/>
                  </a:cubicBezTo>
                  <a:cubicBezTo>
                    <a:pt x="67" y="1037"/>
                    <a:pt x="63" y="1036"/>
                    <a:pt x="60" y="1039"/>
                  </a:cubicBezTo>
                  <a:cubicBezTo>
                    <a:pt x="57" y="1042"/>
                    <a:pt x="57" y="1048"/>
                    <a:pt x="56" y="1052"/>
                  </a:cubicBezTo>
                  <a:cubicBezTo>
                    <a:pt x="55" y="1052"/>
                    <a:pt x="54" y="1051"/>
                    <a:pt x="53" y="1052"/>
                  </a:cubicBezTo>
                  <a:cubicBezTo>
                    <a:pt x="52" y="1054"/>
                    <a:pt x="52" y="1056"/>
                    <a:pt x="50" y="1059"/>
                  </a:cubicBezTo>
                  <a:cubicBezTo>
                    <a:pt x="49" y="1062"/>
                    <a:pt x="46" y="1066"/>
                    <a:pt x="45" y="1071"/>
                  </a:cubicBezTo>
                  <a:cubicBezTo>
                    <a:pt x="45" y="1071"/>
                    <a:pt x="44" y="1071"/>
                    <a:pt x="43" y="1072"/>
                  </a:cubicBezTo>
                  <a:cubicBezTo>
                    <a:pt x="43" y="1074"/>
                    <a:pt x="43" y="1075"/>
                    <a:pt x="42" y="1076"/>
                  </a:cubicBezTo>
                  <a:cubicBezTo>
                    <a:pt x="40" y="1078"/>
                    <a:pt x="39" y="1080"/>
                    <a:pt x="38" y="1082"/>
                  </a:cubicBezTo>
                  <a:cubicBezTo>
                    <a:pt x="37" y="1086"/>
                    <a:pt x="38" y="1084"/>
                    <a:pt x="35" y="1085"/>
                  </a:cubicBezTo>
                  <a:cubicBezTo>
                    <a:pt x="34" y="1086"/>
                    <a:pt x="32" y="1087"/>
                    <a:pt x="31" y="1087"/>
                  </a:cubicBezTo>
                  <a:cubicBezTo>
                    <a:pt x="31" y="1088"/>
                    <a:pt x="30" y="1089"/>
                    <a:pt x="30" y="1090"/>
                  </a:cubicBezTo>
                  <a:cubicBezTo>
                    <a:pt x="25" y="1091"/>
                    <a:pt x="25" y="1099"/>
                    <a:pt x="25" y="1105"/>
                  </a:cubicBezTo>
                  <a:cubicBezTo>
                    <a:pt x="25" y="1109"/>
                    <a:pt x="25" y="1109"/>
                    <a:pt x="23" y="1112"/>
                  </a:cubicBezTo>
                  <a:cubicBezTo>
                    <a:pt x="23" y="1113"/>
                    <a:pt x="23" y="1115"/>
                    <a:pt x="23" y="1116"/>
                  </a:cubicBezTo>
                  <a:cubicBezTo>
                    <a:pt x="22" y="1118"/>
                    <a:pt x="22" y="1120"/>
                    <a:pt x="21" y="1122"/>
                  </a:cubicBezTo>
                  <a:cubicBezTo>
                    <a:pt x="21" y="1123"/>
                    <a:pt x="21" y="1126"/>
                    <a:pt x="20" y="1127"/>
                  </a:cubicBezTo>
                  <a:cubicBezTo>
                    <a:pt x="20" y="1129"/>
                    <a:pt x="19" y="1129"/>
                    <a:pt x="19" y="1130"/>
                  </a:cubicBezTo>
                  <a:cubicBezTo>
                    <a:pt x="18" y="1133"/>
                    <a:pt x="17" y="1135"/>
                    <a:pt x="17" y="1138"/>
                  </a:cubicBezTo>
                  <a:cubicBezTo>
                    <a:pt x="16" y="1141"/>
                    <a:pt x="17" y="1139"/>
                    <a:pt x="15" y="1141"/>
                  </a:cubicBezTo>
                  <a:cubicBezTo>
                    <a:pt x="15" y="1141"/>
                    <a:pt x="13" y="1144"/>
                    <a:pt x="13" y="1144"/>
                  </a:cubicBezTo>
                  <a:cubicBezTo>
                    <a:pt x="11" y="1145"/>
                    <a:pt x="9" y="1145"/>
                    <a:pt x="7" y="1147"/>
                  </a:cubicBezTo>
                  <a:cubicBezTo>
                    <a:pt x="3" y="1151"/>
                    <a:pt x="0" y="1160"/>
                    <a:pt x="1" y="1166"/>
                  </a:cubicBezTo>
                  <a:cubicBezTo>
                    <a:pt x="3" y="1173"/>
                    <a:pt x="9" y="1173"/>
                    <a:pt x="13" y="1175"/>
                  </a:cubicBezTo>
                  <a:cubicBezTo>
                    <a:pt x="15" y="1177"/>
                    <a:pt x="16" y="1179"/>
                    <a:pt x="19" y="1180"/>
                  </a:cubicBezTo>
                  <a:cubicBezTo>
                    <a:pt x="22" y="1181"/>
                    <a:pt x="24" y="1178"/>
                    <a:pt x="24" y="1183"/>
                  </a:cubicBezTo>
                  <a:cubicBezTo>
                    <a:pt x="25" y="1191"/>
                    <a:pt x="24" y="1199"/>
                    <a:pt x="24" y="1206"/>
                  </a:cubicBezTo>
                  <a:cubicBezTo>
                    <a:pt x="24" y="1210"/>
                    <a:pt x="24" y="1212"/>
                    <a:pt x="23" y="1215"/>
                  </a:cubicBezTo>
                  <a:cubicBezTo>
                    <a:pt x="22" y="1219"/>
                    <a:pt x="20" y="1222"/>
                    <a:pt x="19" y="1225"/>
                  </a:cubicBezTo>
                  <a:cubicBezTo>
                    <a:pt x="19" y="1226"/>
                    <a:pt x="18" y="1227"/>
                    <a:pt x="18" y="1229"/>
                  </a:cubicBezTo>
                  <a:cubicBezTo>
                    <a:pt x="17" y="1229"/>
                    <a:pt x="17" y="1232"/>
                    <a:pt x="16" y="1232"/>
                  </a:cubicBezTo>
                  <a:cubicBezTo>
                    <a:pt x="16" y="1233"/>
                    <a:pt x="14" y="1233"/>
                    <a:pt x="14" y="1234"/>
                  </a:cubicBezTo>
                  <a:cubicBezTo>
                    <a:pt x="12" y="1236"/>
                    <a:pt x="13" y="1237"/>
                    <a:pt x="13" y="1240"/>
                  </a:cubicBezTo>
                  <a:cubicBezTo>
                    <a:pt x="13" y="1241"/>
                    <a:pt x="13" y="1243"/>
                    <a:pt x="13" y="1245"/>
                  </a:cubicBezTo>
                  <a:cubicBezTo>
                    <a:pt x="13" y="1246"/>
                    <a:pt x="12" y="1247"/>
                    <a:pt x="11" y="1248"/>
                  </a:cubicBezTo>
                  <a:cubicBezTo>
                    <a:pt x="11" y="1250"/>
                    <a:pt x="12" y="1252"/>
                    <a:pt x="12" y="1254"/>
                  </a:cubicBezTo>
                  <a:cubicBezTo>
                    <a:pt x="11" y="1255"/>
                    <a:pt x="11" y="1256"/>
                    <a:pt x="11" y="1257"/>
                  </a:cubicBezTo>
                  <a:cubicBezTo>
                    <a:pt x="10" y="1263"/>
                    <a:pt x="9" y="1274"/>
                    <a:pt x="12" y="1278"/>
                  </a:cubicBezTo>
                  <a:cubicBezTo>
                    <a:pt x="14" y="1280"/>
                    <a:pt x="15" y="1279"/>
                    <a:pt x="17" y="1281"/>
                  </a:cubicBezTo>
                  <a:cubicBezTo>
                    <a:pt x="18" y="1282"/>
                    <a:pt x="19" y="1285"/>
                    <a:pt x="21" y="1286"/>
                  </a:cubicBezTo>
                  <a:cubicBezTo>
                    <a:pt x="22" y="1287"/>
                    <a:pt x="23" y="1288"/>
                    <a:pt x="24" y="1289"/>
                  </a:cubicBezTo>
                  <a:cubicBezTo>
                    <a:pt x="25" y="1289"/>
                    <a:pt x="26" y="1291"/>
                    <a:pt x="27" y="1292"/>
                  </a:cubicBezTo>
                  <a:cubicBezTo>
                    <a:pt x="29" y="1294"/>
                    <a:pt x="30" y="1296"/>
                    <a:pt x="30" y="1299"/>
                  </a:cubicBezTo>
                  <a:cubicBezTo>
                    <a:pt x="31" y="1301"/>
                    <a:pt x="31" y="1301"/>
                    <a:pt x="31" y="1303"/>
                  </a:cubicBezTo>
                  <a:cubicBezTo>
                    <a:pt x="32" y="1304"/>
                    <a:pt x="33" y="1305"/>
                    <a:pt x="33" y="1306"/>
                  </a:cubicBezTo>
                  <a:cubicBezTo>
                    <a:pt x="34" y="1308"/>
                    <a:pt x="33" y="1313"/>
                    <a:pt x="34" y="1315"/>
                  </a:cubicBezTo>
                  <a:cubicBezTo>
                    <a:pt x="36" y="1317"/>
                    <a:pt x="39" y="1318"/>
                    <a:pt x="40" y="1320"/>
                  </a:cubicBezTo>
                  <a:cubicBezTo>
                    <a:pt x="42" y="1323"/>
                    <a:pt x="43" y="1327"/>
                    <a:pt x="46" y="1329"/>
                  </a:cubicBezTo>
                  <a:cubicBezTo>
                    <a:pt x="46" y="1329"/>
                    <a:pt x="47" y="1329"/>
                    <a:pt x="48" y="1329"/>
                  </a:cubicBezTo>
                  <a:cubicBezTo>
                    <a:pt x="49" y="1330"/>
                    <a:pt x="49" y="1332"/>
                    <a:pt x="50" y="1333"/>
                  </a:cubicBezTo>
                  <a:cubicBezTo>
                    <a:pt x="51" y="1336"/>
                    <a:pt x="53" y="1337"/>
                    <a:pt x="54" y="1339"/>
                  </a:cubicBezTo>
                  <a:cubicBezTo>
                    <a:pt x="56" y="1343"/>
                    <a:pt x="57" y="1348"/>
                    <a:pt x="58" y="1352"/>
                  </a:cubicBezTo>
                  <a:cubicBezTo>
                    <a:pt x="59" y="1354"/>
                    <a:pt x="60" y="1356"/>
                    <a:pt x="61" y="1359"/>
                  </a:cubicBezTo>
                  <a:cubicBezTo>
                    <a:pt x="62" y="1363"/>
                    <a:pt x="63" y="1368"/>
                    <a:pt x="65" y="1372"/>
                  </a:cubicBezTo>
                  <a:cubicBezTo>
                    <a:pt x="67" y="1375"/>
                    <a:pt x="68" y="1374"/>
                    <a:pt x="71" y="1375"/>
                  </a:cubicBezTo>
                  <a:cubicBezTo>
                    <a:pt x="71" y="1375"/>
                    <a:pt x="72" y="1376"/>
                    <a:pt x="73" y="1376"/>
                  </a:cubicBezTo>
                  <a:cubicBezTo>
                    <a:pt x="75" y="1377"/>
                    <a:pt x="76" y="1376"/>
                    <a:pt x="77" y="1377"/>
                  </a:cubicBezTo>
                  <a:cubicBezTo>
                    <a:pt x="77" y="1378"/>
                    <a:pt x="77" y="1380"/>
                    <a:pt x="77" y="1381"/>
                  </a:cubicBezTo>
                  <a:cubicBezTo>
                    <a:pt x="81" y="1381"/>
                    <a:pt x="84" y="1389"/>
                    <a:pt x="87" y="1390"/>
                  </a:cubicBezTo>
                  <a:cubicBezTo>
                    <a:pt x="88" y="1393"/>
                    <a:pt x="91" y="1394"/>
                    <a:pt x="91" y="1397"/>
                  </a:cubicBezTo>
                  <a:cubicBezTo>
                    <a:pt x="96" y="1398"/>
                    <a:pt x="99" y="1405"/>
                    <a:pt x="104" y="1401"/>
                  </a:cubicBezTo>
                  <a:cubicBezTo>
                    <a:pt x="105" y="1401"/>
                    <a:pt x="106" y="1400"/>
                    <a:pt x="106" y="1399"/>
                  </a:cubicBezTo>
                  <a:cubicBezTo>
                    <a:pt x="107" y="1398"/>
                    <a:pt x="109" y="1398"/>
                    <a:pt x="110" y="1397"/>
                  </a:cubicBezTo>
                  <a:cubicBezTo>
                    <a:pt x="112" y="1396"/>
                    <a:pt x="113" y="1393"/>
                    <a:pt x="115" y="1392"/>
                  </a:cubicBezTo>
                  <a:cubicBezTo>
                    <a:pt x="118" y="1391"/>
                    <a:pt x="120" y="1392"/>
                    <a:pt x="123" y="1390"/>
                  </a:cubicBezTo>
                  <a:cubicBezTo>
                    <a:pt x="125" y="1388"/>
                    <a:pt x="128" y="1387"/>
                    <a:pt x="130" y="1385"/>
                  </a:cubicBezTo>
                  <a:cubicBezTo>
                    <a:pt x="133" y="1383"/>
                    <a:pt x="135" y="1380"/>
                    <a:pt x="138" y="1381"/>
                  </a:cubicBezTo>
                  <a:cubicBezTo>
                    <a:pt x="140" y="1383"/>
                    <a:pt x="141" y="1387"/>
                    <a:pt x="144" y="1387"/>
                  </a:cubicBezTo>
                  <a:cubicBezTo>
                    <a:pt x="144" y="1388"/>
                    <a:pt x="144" y="1389"/>
                    <a:pt x="144" y="1390"/>
                  </a:cubicBezTo>
                  <a:cubicBezTo>
                    <a:pt x="148" y="1390"/>
                    <a:pt x="151" y="1394"/>
                    <a:pt x="154" y="1394"/>
                  </a:cubicBezTo>
                  <a:cubicBezTo>
                    <a:pt x="157" y="1394"/>
                    <a:pt x="160" y="1390"/>
                    <a:pt x="161" y="1385"/>
                  </a:cubicBezTo>
                  <a:cubicBezTo>
                    <a:pt x="163" y="1385"/>
                    <a:pt x="163" y="1384"/>
                    <a:pt x="165" y="1383"/>
                  </a:cubicBezTo>
                  <a:cubicBezTo>
                    <a:pt x="167" y="1381"/>
                    <a:pt x="169" y="1381"/>
                    <a:pt x="171" y="1380"/>
                  </a:cubicBezTo>
                  <a:cubicBezTo>
                    <a:pt x="174" y="1378"/>
                    <a:pt x="177" y="1377"/>
                    <a:pt x="181" y="1375"/>
                  </a:cubicBezTo>
                  <a:cubicBezTo>
                    <a:pt x="184" y="1372"/>
                    <a:pt x="183" y="1367"/>
                    <a:pt x="187" y="1364"/>
                  </a:cubicBezTo>
                  <a:cubicBezTo>
                    <a:pt x="188" y="1363"/>
                    <a:pt x="189" y="1363"/>
                    <a:pt x="190" y="1363"/>
                  </a:cubicBezTo>
                  <a:cubicBezTo>
                    <a:pt x="191" y="1362"/>
                    <a:pt x="191" y="1361"/>
                    <a:pt x="192" y="1360"/>
                  </a:cubicBezTo>
                  <a:cubicBezTo>
                    <a:pt x="194" y="1359"/>
                    <a:pt x="197" y="1361"/>
                    <a:pt x="199" y="1360"/>
                  </a:cubicBezTo>
                  <a:cubicBezTo>
                    <a:pt x="199" y="1359"/>
                    <a:pt x="200" y="1358"/>
                    <a:pt x="200" y="1357"/>
                  </a:cubicBezTo>
                  <a:cubicBezTo>
                    <a:pt x="201" y="1357"/>
                    <a:pt x="204" y="1357"/>
                    <a:pt x="206" y="1357"/>
                  </a:cubicBezTo>
                  <a:cubicBezTo>
                    <a:pt x="206" y="1358"/>
                    <a:pt x="206" y="1359"/>
                    <a:pt x="206" y="1360"/>
                  </a:cubicBezTo>
                  <a:cubicBezTo>
                    <a:pt x="209" y="1361"/>
                    <a:pt x="208" y="1363"/>
                    <a:pt x="210" y="1365"/>
                  </a:cubicBezTo>
                  <a:cubicBezTo>
                    <a:pt x="211" y="1367"/>
                    <a:pt x="214" y="1368"/>
                    <a:pt x="216" y="1369"/>
                  </a:cubicBezTo>
                  <a:cubicBezTo>
                    <a:pt x="218" y="1371"/>
                    <a:pt x="219" y="1373"/>
                    <a:pt x="221" y="1375"/>
                  </a:cubicBezTo>
                  <a:cubicBezTo>
                    <a:pt x="222" y="1378"/>
                    <a:pt x="222" y="1381"/>
                    <a:pt x="223" y="1384"/>
                  </a:cubicBezTo>
                  <a:cubicBezTo>
                    <a:pt x="230" y="1397"/>
                    <a:pt x="241" y="1387"/>
                    <a:pt x="250" y="1387"/>
                  </a:cubicBezTo>
                  <a:cubicBezTo>
                    <a:pt x="251" y="1387"/>
                    <a:pt x="253" y="1387"/>
                    <a:pt x="254" y="1387"/>
                  </a:cubicBezTo>
                  <a:cubicBezTo>
                    <a:pt x="256" y="1387"/>
                    <a:pt x="255" y="1387"/>
                    <a:pt x="256" y="1388"/>
                  </a:cubicBezTo>
                  <a:cubicBezTo>
                    <a:pt x="257" y="1389"/>
                    <a:pt x="257" y="1391"/>
                    <a:pt x="258" y="1392"/>
                  </a:cubicBezTo>
                  <a:cubicBezTo>
                    <a:pt x="259" y="1392"/>
                    <a:pt x="260" y="1394"/>
                    <a:pt x="261" y="1394"/>
                  </a:cubicBezTo>
                  <a:cubicBezTo>
                    <a:pt x="265" y="1397"/>
                    <a:pt x="265" y="1398"/>
                    <a:pt x="266" y="1403"/>
                  </a:cubicBezTo>
                  <a:cubicBezTo>
                    <a:pt x="267" y="1407"/>
                    <a:pt x="268" y="1409"/>
                    <a:pt x="268" y="1413"/>
                  </a:cubicBezTo>
                  <a:cubicBezTo>
                    <a:pt x="268" y="1417"/>
                    <a:pt x="266" y="1420"/>
                    <a:pt x="265" y="1424"/>
                  </a:cubicBezTo>
                  <a:cubicBezTo>
                    <a:pt x="265" y="1425"/>
                    <a:pt x="264" y="1428"/>
                    <a:pt x="264" y="1429"/>
                  </a:cubicBezTo>
                  <a:cubicBezTo>
                    <a:pt x="264" y="1431"/>
                    <a:pt x="264" y="1434"/>
                    <a:pt x="264" y="1436"/>
                  </a:cubicBezTo>
                  <a:cubicBezTo>
                    <a:pt x="263" y="1437"/>
                    <a:pt x="262" y="1438"/>
                    <a:pt x="261" y="1439"/>
                  </a:cubicBezTo>
                  <a:cubicBezTo>
                    <a:pt x="260" y="1441"/>
                    <a:pt x="260" y="1442"/>
                    <a:pt x="258" y="1443"/>
                  </a:cubicBezTo>
                  <a:cubicBezTo>
                    <a:pt x="256" y="1446"/>
                    <a:pt x="255" y="1446"/>
                    <a:pt x="251" y="1447"/>
                  </a:cubicBezTo>
                  <a:cubicBezTo>
                    <a:pt x="251" y="1452"/>
                    <a:pt x="249" y="1455"/>
                    <a:pt x="250" y="1460"/>
                  </a:cubicBezTo>
                  <a:cubicBezTo>
                    <a:pt x="251" y="1460"/>
                    <a:pt x="251" y="1461"/>
                    <a:pt x="251" y="1462"/>
                  </a:cubicBezTo>
                  <a:cubicBezTo>
                    <a:pt x="251" y="1463"/>
                    <a:pt x="251" y="1465"/>
                    <a:pt x="251" y="1466"/>
                  </a:cubicBezTo>
                  <a:cubicBezTo>
                    <a:pt x="252" y="1468"/>
                    <a:pt x="252" y="1470"/>
                    <a:pt x="253" y="1472"/>
                  </a:cubicBezTo>
                  <a:cubicBezTo>
                    <a:pt x="253" y="1473"/>
                    <a:pt x="254" y="1473"/>
                    <a:pt x="255" y="1473"/>
                  </a:cubicBezTo>
                  <a:cubicBezTo>
                    <a:pt x="255" y="1474"/>
                    <a:pt x="255" y="1475"/>
                    <a:pt x="255" y="1476"/>
                  </a:cubicBezTo>
                  <a:cubicBezTo>
                    <a:pt x="257" y="1476"/>
                    <a:pt x="258" y="1476"/>
                    <a:pt x="260" y="1478"/>
                  </a:cubicBezTo>
                  <a:cubicBezTo>
                    <a:pt x="261" y="1480"/>
                    <a:pt x="263" y="1481"/>
                    <a:pt x="264" y="1483"/>
                  </a:cubicBezTo>
                  <a:cubicBezTo>
                    <a:pt x="265" y="1483"/>
                    <a:pt x="265" y="1484"/>
                    <a:pt x="265" y="1485"/>
                  </a:cubicBezTo>
                  <a:cubicBezTo>
                    <a:pt x="266" y="1486"/>
                    <a:pt x="267" y="1487"/>
                    <a:pt x="267" y="1488"/>
                  </a:cubicBezTo>
                  <a:cubicBezTo>
                    <a:pt x="268" y="1490"/>
                    <a:pt x="267" y="1491"/>
                    <a:pt x="269" y="1492"/>
                  </a:cubicBezTo>
                  <a:cubicBezTo>
                    <a:pt x="270" y="1494"/>
                    <a:pt x="272" y="1493"/>
                    <a:pt x="272" y="1494"/>
                  </a:cubicBezTo>
                  <a:cubicBezTo>
                    <a:pt x="273" y="1495"/>
                    <a:pt x="273" y="1496"/>
                    <a:pt x="273" y="1497"/>
                  </a:cubicBezTo>
                  <a:cubicBezTo>
                    <a:pt x="274" y="1498"/>
                    <a:pt x="274" y="1498"/>
                    <a:pt x="275" y="1499"/>
                  </a:cubicBezTo>
                  <a:cubicBezTo>
                    <a:pt x="275" y="1500"/>
                    <a:pt x="276" y="1502"/>
                    <a:pt x="276" y="1503"/>
                  </a:cubicBezTo>
                  <a:cubicBezTo>
                    <a:pt x="277" y="1504"/>
                    <a:pt x="278" y="1504"/>
                    <a:pt x="279" y="1505"/>
                  </a:cubicBezTo>
                  <a:cubicBezTo>
                    <a:pt x="281" y="1507"/>
                    <a:pt x="282" y="1509"/>
                    <a:pt x="284" y="1511"/>
                  </a:cubicBezTo>
                  <a:cubicBezTo>
                    <a:pt x="286" y="1513"/>
                    <a:pt x="286" y="1514"/>
                    <a:pt x="287" y="1518"/>
                  </a:cubicBezTo>
                  <a:cubicBezTo>
                    <a:pt x="287" y="1518"/>
                    <a:pt x="288" y="1518"/>
                    <a:pt x="289" y="1519"/>
                  </a:cubicBezTo>
                  <a:cubicBezTo>
                    <a:pt x="289" y="1521"/>
                    <a:pt x="290" y="1522"/>
                    <a:pt x="291" y="1525"/>
                  </a:cubicBezTo>
                  <a:cubicBezTo>
                    <a:pt x="291" y="1525"/>
                    <a:pt x="292" y="1525"/>
                    <a:pt x="293" y="1526"/>
                  </a:cubicBezTo>
                  <a:cubicBezTo>
                    <a:pt x="293" y="1531"/>
                    <a:pt x="298" y="1529"/>
                    <a:pt x="298" y="1536"/>
                  </a:cubicBezTo>
                  <a:cubicBezTo>
                    <a:pt x="302" y="1536"/>
                    <a:pt x="303" y="1542"/>
                    <a:pt x="303" y="1546"/>
                  </a:cubicBezTo>
                  <a:cubicBezTo>
                    <a:pt x="302" y="1548"/>
                    <a:pt x="301" y="1550"/>
                    <a:pt x="302" y="1553"/>
                  </a:cubicBezTo>
                  <a:cubicBezTo>
                    <a:pt x="302" y="1556"/>
                    <a:pt x="304" y="1556"/>
                    <a:pt x="304" y="1559"/>
                  </a:cubicBezTo>
                  <a:cubicBezTo>
                    <a:pt x="305" y="1565"/>
                    <a:pt x="304" y="1570"/>
                    <a:pt x="304" y="1576"/>
                  </a:cubicBezTo>
                  <a:cubicBezTo>
                    <a:pt x="304" y="1579"/>
                    <a:pt x="304" y="1582"/>
                    <a:pt x="306" y="1584"/>
                  </a:cubicBezTo>
                  <a:cubicBezTo>
                    <a:pt x="307" y="1587"/>
                    <a:pt x="309" y="1589"/>
                    <a:pt x="309" y="1592"/>
                  </a:cubicBezTo>
                  <a:cubicBezTo>
                    <a:pt x="310" y="1598"/>
                    <a:pt x="309" y="1604"/>
                    <a:pt x="306" y="1608"/>
                  </a:cubicBezTo>
                  <a:cubicBezTo>
                    <a:pt x="304" y="1610"/>
                    <a:pt x="300" y="1617"/>
                    <a:pt x="297" y="1617"/>
                  </a:cubicBezTo>
                  <a:cubicBezTo>
                    <a:pt x="297" y="1618"/>
                    <a:pt x="297" y="1619"/>
                    <a:pt x="296" y="1620"/>
                  </a:cubicBezTo>
                  <a:cubicBezTo>
                    <a:pt x="294" y="1620"/>
                    <a:pt x="289" y="1624"/>
                    <a:pt x="287" y="1626"/>
                  </a:cubicBezTo>
                  <a:cubicBezTo>
                    <a:pt x="286" y="1630"/>
                    <a:pt x="287" y="1632"/>
                    <a:pt x="287" y="1636"/>
                  </a:cubicBezTo>
                  <a:cubicBezTo>
                    <a:pt x="286" y="1639"/>
                    <a:pt x="285" y="1641"/>
                    <a:pt x="285" y="1644"/>
                  </a:cubicBezTo>
                  <a:cubicBezTo>
                    <a:pt x="285" y="1650"/>
                    <a:pt x="283" y="1655"/>
                    <a:pt x="283" y="1660"/>
                  </a:cubicBezTo>
                  <a:cubicBezTo>
                    <a:pt x="282" y="1660"/>
                    <a:pt x="282" y="1663"/>
                    <a:pt x="282" y="1664"/>
                  </a:cubicBezTo>
                  <a:cubicBezTo>
                    <a:pt x="282" y="1664"/>
                    <a:pt x="282" y="1665"/>
                    <a:pt x="282" y="1666"/>
                  </a:cubicBezTo>
                  <a:cubicBezTo>
                    <a:pt x="281" y="1667"/>
                    <a:pt x="281" y="1668"/>
                    <a:pt x="280" y="1668"/>
                  </a:cubicBezTo>
                  <a:cubicBezTo>
                    <a:pt x="279" y="1672"/>
                    <a:pt x="279" y="1675"/>
                    <a:pt x="279" y="1680"/>
                  </a:cubicBezTo>
                  <a:cubicBezTo>
                    <a:pt x="279" y="1682"/>
                    <a:pt x="279" y="1685"/>
                    <a:pt x="279" y="1688"/>
                  </a:cubicBezTo>
                  <a:cubicBezTo>
                    <a:pt x="279" y="1693"/>
                    <a:pt x="279" y="1693"/>
                    <a:pt x="281" y="1697"/>
                  </a:cubicBezTo>
                  <a:cubicBezTo>
                    <a:pt x="283" y="1702"/>
                    <a:pt x="285" y="1704"/>
                    <a:pt x="289" y="1707"/>
                  </a:cubicBezTo>
                  <a:cubicBezTo>
                    <a:pt x="291" y="1709"/>
                    <a:pt x="293" y="1710"/>
                    <a:pt x="294" y="1712"/>
                  </a:cubicBezTo>
                  <a:cubicBezTo>
                    <a:pt x="296" y="1714"/>
                    <a:pt x="298" y="1715"/>
                    <a:pt x="299" y="1717"/>
                  </a:cubicBezTo>
                  <a:cubicBezTo>
                    <a:pt x="300" y="1719"/>
                    <a:pt x="300" y="1723"/>
                    <a:pt x="301" y="1725"/>
                  </a:cubicBezTo>
                  <a:cubicBezTo>
                    <a:pt x="301" y="1728"/>
                    <a:pt x="302" y="1731"/>
                    <a:pt x="303" y="1734"/>
                  </a:cubicBezTo>
                  <a:cubicBezTo>
                    <a:pt x="304" y="1738"/>
                    <a:pt x="304" y="1737"/>
                    <a:pt x="306" y="1739"/>
                  </a:cubicBezTo>
                  <a:cubicBezTo>
                    <a:pt x="307" y="1741"/>
                    <a:pt x="306" y="1740"/>
                    <a:pt x="307" y="1743"/>
                  </a:cubicBezTo>
                  <a:cubicBezTo>
                    <a:pt x="307" y="1744"/>
                    <a:pt x="307" y="1746"/>
                    <a:pt x="308" y="1748"/>
                  </a:cubicBezTo>
                  <a:cubicBezTo>
                    <a:pt x="310" y="1754"/>
                    <a:pt x="309" y="1761"/>
                    <a:pt x="309" y="1767"/>
                  </a:cubicBezTo>
                  <a:cubicBezTo>
                    <a:pt x="309" y="1770"/>
                    <a:pt x="309" y="1775"/>
                    <a:pt x="310" y="1777"/>
                  </a:cubicBezTo>
                  <a:cubicBezTo>
                    <a:pt x="310" y="1778"/>
                    <a:pt x="311" y="1779"/>
                    <a:pt x="312" y="1780"/>
                  </a:cubicBezTo>
                  <a:cubicBezTo>
                    <a:pt x="312" y="1782"/>
                    <a:pt x="311" y="1783"/>
                    <a:pt x="312" y="1785"/>
                  </a:cubicBezTo>
                  <a:cubicBezTo>
                    <a:pt x="312" y="1787"/>
                    <a:pt x="314" y="1789"/>
                    <a:pt x="315" y="1791"/>
                  </a:cubicBezTo>
                  <a:cubicBezTo>
                    <a:pt x="315" y="1793"/>
                    <a:pt x="315" y="1793"/>
                    <a:pt x="316" y="1795"/>
                  </a:cubicBezTo>
                  <a:cubicBezTo>
                    <a:pt x="316" y="1796"/>
                    <a:pt x="316" y="1799"/>
                    <a:pt x="317" y="1799"/>
                  </a:cubicBezTo>
                  <a:cubicBezTo>
                    <a:pt x="317" y="1802"/>
                    <a:pt x="317" y="1803"/>
                    <a:pt x="318" y="1805"/>
                  </a:cubicBezTo>
                  <a:cubicBezTo>
                    <a:pt x="319" y="1806"/>
                    <a:pt x="320" y="1806"/>
                    <a:pt x="321" y="1807"/>
                  </a:cubicBezTo>
                  <a:cubicBezTo>
                    <a:pt x="322" y="1809"/>
                    <a:pt x="321" y="1809"/>
                    <a:pt x="322" y="1811"/>
                  </a:cubicBezTo>
                  <a:cubicBezTo>
                    <a:pt x="323" y="1814"/>
                    <a:pt x="324" y="1815"/>
                    <a:pt x="324" y="1818"/>
                  </a:cubicBezTo>
                  <a:cubicBezTo>
                    <a:pt x="325" y="1820"/>
                    <a:pt x="325" y="1822"/>
                    <a:pt x="324" y="1823"/>
                  </a:cubicBezTo>
                  <a:cubicBezTo>
                    <a:pt x="324" y="1825"/>
                    <a:pt x="324" y="1826"/>
                    <a:pt x="323" y="1827"/>
                  </a:cubicBezTo>
                  <a:cubicBezTo>
                    <a:pt x="323" y="1830"/>
                    <a:pt x="322" y="1835"/>
                    <a:pt x="323" y="1837"/>
                  </a:cubicBezTo>
                  <a:cubicBezTo>
                    <a:pt x="324" y="1838"/>
                    <a:pt x="325" y="1839"/>
                    <a:pt x="325" y="1839"/>
                  </a:cubicBezTo>
                  <a:cubicBezTo>
                    <a:pt x="326" y="1841"/>
                    <a:pt x="326" y="1842"/>
                    <a:pt x="327" y="1843"/>
                  </a:cubicBezTo>
                  <a:cubicBezTo>
                    <a:pt x="328" y="1845"/>
                    <a:pt x="330" y="1844"/>
                    <a:pt x="332" y="1847"/>
                  </a:cubicBezTo>
                  <a:cubicBezTo>
                    <a:pt x="333" y="1848"/>
                    <a:pt x="334" y="1851"/>
                    <a:pt x="336" y="1851"/>
                  </a:cubicBezTo>
                  <a:cubicBezTo>
                    <a:pt x="335" y="1856"/>
                    <a:pt x="340" y="1867"/>
                    <a:pt x="343" y="1867"/>
                  </a:cubicBezTo>
                  <a:cubicBezTo>
                    <a:pt x="344" y="1873"/>
                    <a:pt x="346" y="1879"/>
                    <a:pt x="344" y="1886"/>
                  </a:cubicBezTo>
                  <a:cubicBezTo>
                    <a:pt x="344" y="1886"/>
                    <a:pt x="343" y="1887"/>
                    <a:pt x="342" y="1887"/>
                  </a:cubicBezTo>
                  <a:cubicBezTo>
                    <a:pt x="342" y="1892"/>
                    <a:pt x="340" y="1894"/>
                    <a:pt x="342" y="1899"/>
                  </a:cubicBezTo>
                  <a:cubicBezTo>
                    <a:pt x="343" y="1904"/>
                    <a:pt x="346" y="1905"/>
                    <a:pt x="346" y="1911"/>
                  </a:cubicBezTo>
                  <a:cubicBezTo>
                    <a:pt x="347" y="1911"/>
                    <a:pt x="347" y="1911"/>
                    <a:pt x="348" y="1911"/>
                  </a:cubicBezTo>
                  <a:cubicBezTo>
                    <a:pt x="348" y="1913"/>
                    <a:pt x="348" y="1914"/>
                    <a:pt x="349" y="1916"/>
                  </a:cubicBezTo>
                  <a:cubicBezTo>
                    <a:pt x="352" y="1916"/>
                    <a:pt x="353" y="1919"/>
                    <a:pt x="356" y="1920"/>
                  </a:cubicBezTo>
                  <a:cubicBezTo>
                    <a:pt x="360" y="1920"/>
                    <a:pt x="364" y="1920"/>
                    <a:pt x="367" y="1918"/>
                  </a:cubicBezTo>
                  <a:cubicBezTo>
                    <a:pt x="371" y="1917"/>
                    <a:pt x="375" y="1914"/>
                    <a:pt x="378" y="1913"/>
                  </a:cubicBezTo>
                  <a:cubicBezTo>
                    <a:pt x="379" y="1913"/>
                    <a:pt x="380" y="1913"/>
                    <a:pt x="382" y="1911"/>
                  </a:cubicBezTo>
                  <a:cubicBezTo>
                    <a:pt x="384" y="1910"/>
                    <a:pt x="384" y="1909"/>
                    <a:pt x="387" y="1909"/>
                  </a:cubicBezTo>
                  <a:cubicBezTo>
                    <a:pt x="394" y="1909"/>
                    <a:pt x="404" y="1912"/>
                    <a:pt x="411" y="1908"/>
                  </a:cubicBezTo>
                  <a:cubicBezTo>
                    <a:pt x="413" y="1906"/>
                    <a:pt x="416" y="1905"/>
                    <a:pt x="418" y="1904"/>
                  </a:cubicBezTo>
                  <a:cubicBezTo>
                    <a:pt x="419" y="1902"/>
                    <a:pt x="421" y="1901"/>
                    <a:pt x="423" y="1899"/>
                  </a:cubicBezTo>
                  <a:cubicBezTo>
                    <a:pt x="423" y="1897"/>
                    <a:pt x="423" y="1896"/>
                    <a:pt x="424" y="1895"/>
                  </a:cubicBezTo>
                  <a:cubicBezTo>
                    <a:pt x="425" y="1894"/>
                    <a:pt x="427" y="1896"/>
                    <a:pt x="428" y="1895"/>
                  </a:cubicBezTo>
                  <a:cubicBezTo>
                    <a:pt x="431" y="1895"/>
                    <a:pt x="434" y="1893"/>
                    <a:pt x="437" y="1892"/>
                  </a:cubicBezTo>
                  <a:cubicBezTo>
                    <a:pt x="440" y="1891"/>
                    <a:pt x="443" y="1890"/>
                    <a:pt x="445" y="1888"/>
                  </a:cubicBezTo>
                  <a:cubicBezTo>
                    <a:pt x="449" y="1884"/>
                    <a:pt x="451" y="1880"/>
                    <a:pt x="455" y="1876"/>
                  </a:cubicBezTo>
                  <a:cubicBezTo>
                    <a:pt x="457" y="1873"/>
                    <a:pt x="459" y="1873"/>
                    <a:pt x="460" y="1869"/>
                  </a:cubicBezTo>
                  <a:cubicBezTo>
                    <a:pt x="461" y="1866"/>
                    <a:pt x="461" y="1863"/>
                    <a:pt x="462" y="1860"/>
                  </a:cubicBezTo>
                  <a:cubicBezTo>
                    <a:pt x="464" y="1855"/>
                    <a:pt x="463" y="1852"/>
                    <a:pt x="465" y="1847"/>
                  </a:cubicBezTo>
                  <a:cubicBezTo>
                    <a:pt x="466" y="1846"/>
                    <a:pt x="467" y="1844"/>
                    <a:pt x="467" y="1843"/>
                  </a:cubicBezTo>
                  <a:cubicBezTo>
                    <a:pt x="468" y="1843"/>
                    <a:pt x="469" y="1842"/>
                    <a:pt x="469" y="1842"/>
                  </a:cubicBezTo>
                  <a:cubicBezTo>
                    <a:pt x="470" y="1841"/>
                    <a:pt x="470" y="1840"/>
                    <a:pt x="471" y="1839"/>
                  </a:cubicBezTo>
                  <a:cubicBezTo>
                    <a:pt x="474" y="1833"/>
                    <a:pt x="484" y="1834"/>
                    <a:pt x="485" y="1824"/>
                  </a:cubicBezTo>
                  <a:cubicBezTo>
                    <a:pt x="486" y="1823"/>
                    <a:pt x="486" y="1823"/>
                    <a:pt x="487" y="1823"/>
                  </a:cubicBezTo>
                  <a:cubicBezTo>
                    <a:pt x="487" y="1819"/>
                    <a:pt x="490" y="1816"/>
                    <a:pt x="491" y="1813"/>
                  </a:cubicBezTo>
                  <a:cubicBezTo>
                    <a:pt x="492" y="1809"/>
                    <a:pt x="492" y="1805"/>
                    <a:pt x="492" y="1801"/>
                  </a:cubicBezTo>
                  <a:cubicBezTo>
                    <a:pt x="492" y="1793"/>
                    <a:pt x="490" y="1782"/>
                    <a:pt x="496" y="1780"/>
                  </a:cubicBezTo>
                  <a:cubicBezTo>
                    <a:pt x="499" y="1779"/>
                    <a:pt x="501" y="1780"/>
                    <a:pt x="504" y="1778"/>
                  </a:cubicBezTo>
                  <a:cubicBezTo>
                    <a:pt x="504" y="1777"/>
                    <a:pt x="505" y="1775"/>
                    <a:pt x="506" y="1775"/>
                  </a:cubicBezTo>
                  <a:cubicBezTo>
                    <a:pt x="508" y="1773"/>
                    <a:pt x="509" y="1775"/>
                    <a:pt x="511" y="1774"/>
                  </a:cubicBezTo>
                  <a:cubicBezTo>
                    <a:pt x="514" y="1772"/>
                    <a:pt x="513" y="1765"/>
                    <a:pt x="515" y="1762"/>
                  </a:cubicBezTo>
                  <a:cubicBezTo>
                    <a:pt x="516" y="1761"/>
                    <a:pt x="517" y="1761"/>
                    <a:pt x="518" y="1760"/>
                  </a:cubicBezTo>
                  <a:cubicBezTo>
                    <a:pt x="519" y="1758"/>
                    <a:pt x="520" y="1757"/>
                    <a:pt x="520" y="1755"/>
                  </a:cubicBezTo>
                  <a:cubicBezTo>
                    <a:pt x="521" y="1755"/>
                    <a:pt x="522" y="1755"/>
                    <a:pt x="522" y="1755"/>
                  </a:cubicBezTo>
                  <a:cubicBezTo>
                    <a:pt x="523" y="1749"/>
                    <a:pt x="523" y="1742"/>
                    <a:pt x="522" y="1737"/>
                  </a:cubicBezTo>
                  <a:cubicBezTo>
                    <a:pt x="521" y="1735"/>
                    <a:pt x="521" y="1730"/>
                    <a:pt x="520" y="1729"/>
                  </a:cubicBezTo>
                  <a:cubicBezTo>
                    <a:pt x="518" y="1727"/>
                    <a:pt x="516" y="1728"/>
                    <a:pt x="516" y="1724"/>
                  </a:cubicBezTo>
                  <a:cubicBezTo>
                    <a:pt x="510" y="1724"/>
                    <a:pt x="510" y="1711"/>
                    <a:pt x="511" y="1705"/>
                  </a:cubicBezTo>
                  <a:cubicBezTo>
                    <a:pt x="513" y="1696"/>
                    <a:pt x="520" y="1693"/>
                    <a:pt x="525" y="1690"/>
                  </a:cubicBezTo>
                  <a:cubicBezTo>
                    <a:pt x="528" y="1688"/>
                    <a:pt x="530" y="1687"/>
                    <a:pt x="532" y="1684"/>
                  </a:cubicBezTo>
                  <a:cubicBezTo>
                    <a:pt x="535" y="1681"/>
                    <a:pt x="537" y="1678"/>
                    <a:pt x="540" y="1674"/>
                  </a:cubicBezTo>
                  <a:cubicBezTo>
                    <a:pt x="543" y="1668"/>
                    <a:pt x="549" y="1667"/>
                    <a:pt x="549" y="1659"/>
                  </a:cubicBezTo>
                  <a:cubicBezTo>
                    <a:pt x="551" y="1659"/>
                    <a:pt x="553" y="1658"/>
                    <a:pt x="555" y="1656"/>
                  </a:cubicBezTo>
                  <a:cubicBezTo>
                    <a:pt x="556" y="1656"/>
                    <a:pt x="556" y="1654"/>
                    <a:pt x="557" y="1654"/>
                  </a:cubicBezTo>
                  <a:cubicBezTo>
                    <a:pt x="558" y="1653"/>
                    <a:pt x="559" y="1653"/>
                    <a:pt x="560" y="1653"/>
                  </a:cubicBezTo>
                  <a:cubicBezTo>
                    <a:pt x="562" y="1652"/>
                    <a:pt x="563" y="1650"/>
                    <a:pt x="564" y="1648"/>
                  </a:cubicBezTo>
                  <a:cubicBezTo>
                    <a:pt x="566" y="1647"/>
                    <a:pt x="567" y="1648"/>
                    <a:pt x="568" y="1646"/>
                  </a:cubicBezTo>
                  <a:cubicBezTo>
                    <a:pt x="570" y="1644"/>
                    <a:pt x="572" y="1638"/>
                    <a:pt x="573" y="1634"/>
                  </a:cubicBezTo>
                  <a:cubicBezTo>
                    <a:pt x="575" y="1630"/>
                    <a:pt x="575" y="1619"/>
                    <a:pt x="573" y="1615"/>
                  </a:cubicBezTo>
                  <a:cubicBezTo>
                    <a:pt x="572" y="1612"/>
                    <a:pt x="570" y="1610"/>
                    <a:pt x="569" y="1608"/>
                  </a:cubicBezTo>
                  <a:cubicBezTo>
                    <a:pt x="568" y="1605"/>
                    <a:pt x="567" y="1601"/>
                    <a:pt x="567" y="1597"/>
                  </a:cubicBezTo>
                  <a:cubicBezTo>
                    <a:pt x="566" y="1590"/>
                    <a:pt x="567" y="1583"/>
                    <a:pt x="567" y="1576"/>
                  </a:cubicBezTo>
                  <a:cubicBezTo>
                    <a:pt x="567" y="1573"/>
                    <a:pt x="567" y="1569"/>
                    <a:pt x="567" y="1566"/>
                  </a:cubicBezTo>
                  <a:cubicBezTo>
                    <a:pt x="566" y="1563"/>
                    <a:pt x="566" y="1564"/>
                    <a:pt x="566" y="1562"/>
                  </a:cubicBezTo>
                  <a:cubicBezTo>
                    <a:pt x="565" y="1559"/>
                    <a:pt x="565" y="1560"/>
                    <a:pt x="563" y="1558"/>
                  </a:cubicBezTo>
                  <a:cubicBezTo>
                    <a:pt x="560" y="1555"/>
                    <a:pt x="556" y="1552"/>
                    <a:pt x="553" y="1549"/>
                  </a:cubicBezTo>
                  <a:cubicBezTo>
                    <a:pt x="551" y="1547"/>
                    <a:pt x="550" y="1546"/>
                    <a:pt x="549" y="1543"/>
                  </a:cubicBezTo>
                  <a:cubicBezTo>
                    <a:pt x="548" y="1540"/>
                    <a:pt x="548" y="1536"/>
                    <a:pt x="548" y="1532"/>
                  </a:cubicBezTo>
                  <a:cubicBezTo>
                    <a:pt x="548" y="1525"/>
                    <a:pt x="548" y="1518"/>
                    <a:pt x="548" y="1511"/>
                  </a:cubicBezTo>
                  <a:cubicBezTo>
                    <a:pt x="548" y="1507"/>
                    <a:pt x="549" y="1505"/>
                    <a:pt x="549" y="1501"/>
                  </a:cubicBezTo>
                  <a:cubicBezTo>
                    <a:pt x="550" y="1498"/>
                    <a:pt x="551" y="1494"/>
                    <a:pt x="552" y="1491"/>
                  </a:cubicBezTo>
                  <a:cubicBezTo>
                    <a:pt x="553" y="1488"/>
                    <a:pt x="554" y="1486"/>
                    <a:pt x="555" y="1484"/>
                  </a:cubicBezTo>
                  <a:cubicBezTo>
                    <a:pt x="557" y="1480"/>
                    <a:pt x="558" y="1478"/>
                    <a:pt x="560" y="1476"/>
                  </a:cubicBezTo>
                  <a:cubicBezTo>
                    <a:pt x="563" y="1473"/>
                    <a:pt x="567" y="1471"/>
                    <a:pt x="570" y="1467"/>
                  </a:cubicBezTo>
                  <a:cubicBezTo>
                    <a:pt x="571" y="1465"/>
                    <a:pt x="571" y="1465"/>
                    <a:pt x="572" y="1463"/>
                  </a:cubicBezTo>
                  <a:cubicBezTo>
                    <a:pt x="573" y="1460"/>
                    <a:pt x="572" y="1459"/>
                    <a:pt x="573" y="1457"/>
                  </a:cubicBezTo>
                  <a:cubicBezTo>
                    <a:pt x="573" y="1455"/>
                    <a:pt x="575" y="1454"/>
                    <a:pt x="575" y="1452"/>
                  </a:cubicBezTo>
                  <a:cubicBezTo>
                    <a:pt x="576" y="1449"/>
                    <a:pt x="577" y="1446"/>
                    <a:pt x="578" y="1443"/>
                  </a:cubicBezTo>
                  <a:cubicBezTo>
                    <a:pt x="580" y="1439"/>
                    <a:pt x="581" y="1435"/>
                    <a:pt x="583" y="1431"/>
                  </a:cubicBezTo>
                  <a:cubicBezTo>
                    <a:pt x="584" y="1428"/>
                    <a:pt x="585" y="1424"/>
                    <a:pt x="587" y="1422"/>
                  </a:cubicBezTo>
                  <a:cubicBezTo>
                    <a:pt x="589" y="1419"/>
                    <a:pt x="592" y="1419"/>
                    <a:pt x="593" y="1415"/>
                  </a:cubicBezTo>
                  <a:cubicBezTo>
                    <a:pt x="595" y="1409"/>
                    <a:pt x="599" y="1405"/>
                    <a:pt x="603" y="1403"/>
                  </a:cubicBezTo>
                  <a:cubicBezTo>
                    <a:pt x="604" y="1402"/>
                    <a:pt x="605" y="1402"/>
                    <a:pt x="606" y="1401"/>
                  </a:cubicBezTo>
                  <a:cubicBezTo>
                    <a:pt x="607" y="1401"/>
                    <a:pt x="607" y="1400"/>
                    <a:pt x="608" y="1399"/>
                  </a:cubicBezTo>
                  <a:cubicBezTo>
                    <a:pt x="609" y="1398"/>
                    <a:pt x="611" y="1398"/>
                    <a:pt x="612" y="1397"/>
                  </a:cubicBezTo>
                  <a:cubicBezTo>
                    <a:pt x="614" y="1395"/>
                    <a:pt x="614" y="1394"/>
                    <a:pt x="616" y="1392"/>
                  </a:cubicBezTo>
                  <a:cubicBezTo>
                    <a:pt x="619" y="1390"/>
                    <a:pt x="619" y="1384"/>
                    <a:pt x="622" y="1381"/>
                  </a:cubicBezTo>
                  <a:cubicBezTo>
                    <a:pt x="623" y="1381"/>
                    <a:pt x="624" y="1381"/>
                    <a:pt x="625" y="1380"/>
                  </a:cubicBezTo>
                  <a:cubicBezTo>
                    <a:pt x="627" y="1378"/>
                    <a:pt x="625" y="1379"/>
                    <a:pt x="626" y="1376"/>
                  </a:cubicBezTo>
                  <a:cubicBezTo>
                    <a:pt x="627" y="1374"/>
                    <a:pt x="627" y="1372"/>
                    <a:pt x="627" y="1370"/>
                  </a:cubicBezTo>
                  <a:cubicBezTo>
                    <a:pt x="628" y="1369"/>
                    <a:pt x="629" y="1369"/>
                    <a:pt x="630" y="1369"/>
                  </a:cubicBezTo>
                  <a:cubicBezTo>
                    <a:pt x="631" y="1370"/>
                    <a:pt x="630" y="1366"/>
                    <a:pt x="631" y="1365"/>
                  </a:cubicBezTo>
                  <a:cubicBezTo>
                    <a:pt x="631" y="1362"/>
                    <a:pt x="632" y="1360"/>
                    <a:pt x="632" y="1357"/>
                  </a:cubicBezTo>
                  <a:cubicBezTo>
                    <a:pt x="633" y="1353"/>
                    <a:pt x="632" y="1349"/>
                    <a:pt x="632" y="1345"/>
                  </a:cubicBezTo>
                  <a:cubicBezTo>
                    <a:pt x="634" y="1345"/>
                    <a:pt x="635" y="1345"/>
                    <a:pt x="636" y="1344"/>
                  </a:cubicBezTo>
                  <a:cubicBezTo>
                    <a:pt x="637" y="1340"/>
                    <a:pt x="635" y="1338"/>
                    <a:pt x="638" y="1335"/>
                  </a:cubicBezTo>
                  <a:cubicBezTo>
                    <a:pt x="640" y="1331"/>
                    <a:pt x="639" y="1330"/>
                    <a:pt x="640" y="1325"/>
                  </a:cubicBezTo>
                  <a:cubicBezTo>
                    <a:pt x="640" y="1322"/>
                    <a:pt x="642" y="1321"/>
                    <a:pt x="642" y="1317"/>
                  </a:cubicBezTo>
                  <a:cubicBezTo>
                    <a:pt x="643" y="1312"/>
                    <a:pt x="642" y="1307"/>
                    <a:pt x="642" y="1303"/>
                  </a:cubicBezTo>
                  <a:cubicBezTo>
                    <a:pt x="642" y="1301"/>
                    <a:pt x="642" y="1299"/>
                    <a:pt x="642" y="1297"/>
                  </a:cubicBezTo>
                  <a:cubicBezTo>
                    <a:pt x="643" y="1295"/>
                    <a:pt x="643" y="1294"/>
                    <a:pt x="644" y="1292"/>
                  </a:cubicBezTo>
                  <a:cubicBezTo>
                    <a:pt x="644" y="1288"/>
                    <a:pt x="644" y="1282"/>
                    <a:pt x="644" y="1278"/>
                  </a:cubicBezTo>
                  <a:cubicBezTo>
                    <a:pt x="644" y="1274"/>
                    <a:pt x="644" y="1272"/>
                    <a:pt x="645" y="1268"/>
                  </a:cubicBezTo>
                  <a:cubicBezTo>
                    <a:pt x="646" y="1265"/>
                    <a:pt x="648" y="1260"/>
                    <a:pt x="644" y="1259"/>
                  </a:cubicBezTo>
                  <a:cubicBezTo>
                    <a:pt x="642" y="1258"/>
                    <a:pt x="642" y="1260"/>
                    <a:pt x="641" y="1260"/>
                  </a:cubicBezTo>
                  <a:cubicBezTo>
                    <a:pt x="639" y="1261"/>
                    <a:pt x="637" y="1260"/>
                    <a:pt x="635" y="1261"/>
                  </a:cubicBezTo>
                  <a:cubicBezTo>
                    <a:pt x="634" y="1262"/>
                    <a:pt x="634" y="1263"/>
                    <a:pt x="632" y="1264"/>
                  </a:cubicBezTo>
                  <a:cubicBezTo>
                    <a:pt x="631" y="1264"/>
                    <a:pt x="631" y="1264"/>
                    <a:pt x="630" y="1264"/>
                  </a:cubicBezTo>
                  <a:cubicBezTo>
                    <a:pt x="629" y="1265"/>
                    <a:pt x="628" y="1266"/>
                    <a:pt x="627" y="1267"/>
                  </a:cubicBezTo>
                  <a:cubicBezTo>
                    <a:pt x="624" y="1270"/>
                    <a:pt x="622" y="1268"/>
                    <a:pt x="619" y="1269"/>
                  </a:cubicBezTo>
                  <a:cubicBezTo>
                    <a:pt x="617" y="1270"/>
                    <a:pt x="616" y="1271"/>
                    <a:pt x="615" y="1271"/>
                  </a:cubicBezTo>
                  <a:cubicBezTo>
                    <a:pt x="613" y="1272"/>
                    <a:pt x="611" y="1271"/>
                    <a:pt x="609" y="1271"/>
                  </a:cubicBezTo>
                  <a:cubicBezTo>
                    <a:pt x="608" y="1272"/>
                    <a:pt x="607" y="1273"/>
                    <a:pt x="606" y="1273"/>
                  </a:cubicBezTo>
                  <a:cubicBezTo>
                    <a:pt x="605" y="1274"/>
                    <a:pt x="604" y="1274"/>
                    <a:pt x="602" y="1275"/>
                  </a:cubicBezTo>
                  <a:cubicBezTo>
                    <a:pt x="599" y="1276"/>
                    <a:pt x="598" y="1280"/>
                    <a:pt x="594" y="1280"/>
                  </a:cubicBezTo>
                  <a:cubicBezTo>
                    <a:pt x="591" y="1280"/>
                    <a:pt x="589" y="1280"/>
                    <a:pt x="586" y="1280"/>
                  </a:cubicBezTo>
                  <a:cubicBezTo>
                    <a:pt x="582" y="1280"/>
                    <a:pt x="580" y="1278"/>
                    <a:pt x="577" y="1278"/>
                  </a:cubicBezTo>
                  <a:cubicBezTo>
                    <a:pt x="577" y="1276"/>
                    <a:pt x="576" y="1275"/>
                    <a:pt x="575" y="1273"/>
                  </a:cubicBezTo>
                  <a:cubicBezTo>
                    <a:pt x="575" y="1270"/>
                    <a:pt x="576" y="1267"/>
                    <a:pt x="575" y="1264"/>
                  </a:cubicBezTo>
                  <a:cubicBezTo>
                    <a:pt x="575" y="1264"/>
                    <a:pt x="574" y="1263"/>
                    <a:pt x="574" y="1262"/>
                  </a:cubicBezTo>
                  <a:cubicBezTo>
                    <a:pt x="574" y="1261"/>
                    <a:pt x="575" y="1259"/>
                    <a:pt x="574" y="1257"/>
                  </a:cubicBezTo>
                  <a:cubicBezTo>
                    <a:pt x="574" y="1257"/>
                    <a:pt x="570" y="1255"/>
                    <a:pt x="569" y="1255"/>
                  </a:cubicBezTo>
                  <a:cubicBezTo>
                    <a:pt x="569" y="1254"/>
                    <a:pt x="569" y="1253"/>
                    <a:pt x="569" y="1252"/>
                  </a:cubicBezTo>
                  <a:cubicBezTo>
                    <a:pt x="565" y="1252"/>
                    <a:pt x="563" y="1247"/>
                    <a:pt x="559" y="1246"/>
                  </a:cubicBezTo>
                  <a:cubicBezTo>
                    <a:pt x="557" y="1246"/>
                    <a:pt x="554" y="1247"/>
                    <a:pt x="551" y="1247"/>
                  </a:cubicBezTo>
                  <a:cubicBezTo>
                    <a:pt x="550" y="1246"/>
                    <a:pt x="548" y="1245"/>
                    <a:pt x="547" y="1244"/>
                  </a:cubicBezTo>
                  <a:cubicBezTo>
                    <a:pt x="548" y="1240"/>
                    <a:pt x="547" y="1236"/>
                    <a:pt x="546" y="1232"/>
                  </a:cubicBezTo>
                  <a:cubicBezTo>
                    <a:pt x="545" y="1231"/>
                    <a:pt x="543" y="1229"/>
                    <a:pt x="542" y="1228"/>
                  </a:cubicBezTo>
                  <a:cubicBezTo>
                    <a:pt x="541" y="1227"/>
                    <a:pt x="539" y="1226"/>
                    <a:pt x="538" y="1225"/>
                  </a:cubicBezTo>
                  <a:cubicBezTo>
                    <a:pt x="537" y="1224"/>
                    <a:pt x="537" y="1220"/>
                    <a:pt x="536" y="1219"/>
                  </a:cubicBezTo>
                  <a:cubicBezTo>
                    <a:pt x="535" y="1217"/>
                    <a:pt x="535" y="1215"/>
                    <a:pt x="534" y="1213"/>
                  </a:cubicBezTo>
                  <a:cubicBezTo>
                    <a:pt x="533" y="1212"/>
                    <a:pt x="532" y="1210"/>
                    <a:pt x="531" y="1208"/>
                  </a:cubicBezTo>
                  <a:cubicBezTo>
                    <a:pt x="530" y="1207"/>
                    <a:pt x="529" y="1208"/>
                    <a:pt x="528" y="1207"/>
                  </a:cubicBezTo>
                  <a:cubicBezTo>
                    <a:pt x="527" y="1205"/>
                    <a:pt x="528" y="1205"/>
                    <a:pt x="528" y="1203"/>
                  </a:cubicBezTo>
                  <a:cubicBezTo>
                    <a:pt x="526" y="1199"/>
                    <a:pt x="524" y="1195"/>
                    <a:pt x="524" y="1191"/>
                  </a:cubicBezTo>
                  <a:cubicBezTo>
                    <a:pt x="523" y="1187"/>
                    <a:pt x="524" y="1186"/>
                    <a:pt x="523" y="1183"/>
                  </a:cubicBezTo>
                  <a:cubicBezTo>
                    <a:pt x="522" y="1182"/>
                    <a:pt x="522" y="1182"/>
                    <a:pt x="521" y="1181"/>
                  </a:cubicBezTo>
                  <a:cubicBezTo>
                    <a:pt x="521" y="1180"/>
                    <a:pt x="521" y="1178"/>
                    <a:pt x="521" y="1177"/>
                  </a:cubicBezTo>
                  <a:cubicBezTo>
                    <a:pt x="520" y="1175"/>
                    <a:pt x="519" y="1172"/>
                    <a:pt x="519" y="1169"/>
                  </a:cubicBezTo>
                  <a:cubicBezTo>
                    <a:pt x="519" y="1168"/>
                    <a:pt x="519" y="1167"/>
                    <a:pt x="518" y="1166"/>
                  </a:cubicBezTo>
                  <a:cubicBezTo>
                    <a:pt x="518" y="1166"/>
                    <a:pt x="516" y="1165"/>
                    <a:pt x="516" y="1165"/>
                  </a:cubicBezTo>
                  <a:cubicBezTo>
                    <a:pt x="512" y="1161"/>
                    <a:pt x="512" y="1158"/>
                    <a:pt x="508" y="1157"/>
                  </a:cubicBezTo>
                  <a:cubicBezTo>
                    <a:pt x="507" y="1156"/>
                    <a:pt x="507" y="1155"/>
                    <a:pt x="507" y="1154"/>
                  </a:cubicBezTo>
                  <a:cubicBezTo>
                    <a:pt x="503" y="1154"/>
                    <a:pt x="502" y="1150"/>
                    <a:pt x="501" y="1145"/>
                  </a:cubicBezTo>
                  <a:cubicBezTo>
                    <a:pt x="500" y="1144"/>
                    <a:pt x="499" y="1142"/>
                    <a:pt x="499" y="1141"/>
                  </a:cubicBezTo>
                  <a:cubicBezTo>
                    <a:pt x="498" y="1138"/>
                    <a:pt x="499" y="1136"/>
                    <a:pt x="498" y="1133"/>
                  </a:cubicBezTo>
                  <a:cubicBezTo>
                    <a:pt x="498" y="1130"/>
                    <a:pt x="496" y="1125"/>
                    <a:pt x="494" y="1122"/>
                  </a:cubicBezTo>
                  <a:cubicBezTo>
                    <a:pt x="494" y="1121"/>
                    <a:pt x="493" y="1120"/>
                    <a:pt x="492" y="1119"/>
                  </a:cubicBezTo>
                  <a:cubicBezTo>
                    <a:pt x="491" y="1117"/>
                    <a:pt x="490" y="1115"/>
                    <a:pt x="490" y="1113"/>
                  </a:cubicBezTo>
                  <a:cubicBezTo>
                    <a:pt x="489" y="1111"/>
                    <a:pt x="489" y="1110"/>
                    <a:pt x="489" y="1108"/>
                  </a:cubicBezTo>
                  <a:cubicBezTo>
                    <a:pt x="488" y="1105"/>
                    <a:pt x="487" y="1104"/>
                    <a:pt x="486" y="1102"/>
                  </a:cubicBezTo>
                  <a:cubicBezTo>
                    <a:pt x="484" y="1099"/>
                    <a:pt x="485" y="1094"/>
                    <a:pt x="483" y="1091"/>
                  </a:cubicBezTo>
                  <a:cubicBezTo>
                    <a:pt x="482" y="1088"/>
                    <a:pt x="480" y="1084"/>
                    <a:pt x="478" y="1082"/>
                  </a:cubicBezTo>
                  <a:cubicBezTo>
                    <a:pt x="477" y="1080"/>
                    <a:pt x="475" y="1079"/>
                    <a:pt x="475" y="1077"/>
                  </a:cubicBezTo>
                  <a:cubicBezTo>
                    <a:pt x="475" y="1075"/>
                    <a:pt x="475" y="1074"/>
                    <a:pt x="474" y="1073"/>
                  </a:cubicBezTo>
                  <a:cubicBezTo>
                    <a:pt x="474" y="1072"/>
                    <a:pt x="473" y="1072"/>
                    <a:pt x="472" y="1071"/>
                  </a:cubicBezTo>
                  <a:cubicBezTo>
                    <a:pt x="470" y="1067"/>
                    <a:pt x="471" y="1063"/>
                    <a:pt x="469" y="1059"/>
                  </a:cubicBezTo>
                  <a:cubicBezTo>
                    <a:pt x="467" y="1056"/>
                    <a:pt x="466" y="1053"/>
                    <a:pt x="466" y="1048"/>
                  </a:cubicBezTo>
                  <a:cubicBezTo>
                    <a:pt x="465" y="1046"/>
                    <a:pt x="465" y="1034"/>
                    <a:pt x="467" y="1034"/>
                  </a:cubicBezTo>
                  <a:cubicBezTo>
                    <a:pt x="468" y="1034"/>
                    <a:pt x="470" y="1037"/>
                    <a:pt x="471" y="1038"/>
                  </a:cubicBezTo>
                  <a:cubicBezTo>
                    <a:pt x="472" y="1039"/>
                    <a:pt x="475" y="1039"/>
                    <a:pt x="476" y="1040"/>
                  </a:cubicBezTo>
                  <a:cubicBezTo>
                    <a:pt x="479" y="1042"/>
                    <a:pt x="481" y="1045"/>
                    <a:pt x="481" y="1050"/>
                  </a:cubicBezTo>
                  <a:cubicBezTo>
                    <a:pt x="481" y="1054"/>
                    <a:pt x="481" y="1054"/>
                    <a:pt x="482" y="1055"/>
                  </a:cubicBezTo>
                  <a:cubicBezTo>
                    <a:pt x="483" y="1057"/>
                    <a:pt x="485" y="1057"/>
                    <a:pt x="486" y="1058"/>
                  </a:cubicBezTo>
                  <a:cubicBezTo>
                    <a:pt x="487" y="1060"/>
                    <a:pt x="487" y="1062"/>
                    <a:pt x="488" y="1063"/>
                  </a:cubicBezTo>
                  <a:cubicBezTo>
                    <a:pt x="489" y="1065"/>
                    <a:pt x="490" y="1066"/>
                    <a:pt x="491" y="1068"/>
                  </a:cubicBezTo>
                  <a:cubicBezTo>
                    <a:pt x="492" y="1071"/>
                    <a:pt x="495" y="1076"/>
                    <a:pt x="495" y="1080"/>
                  </a:cubicBezTo>
                  <a:cubicBezTo>
                    <a:pt x="498" y="1080"/>
                    <a:pt x="499" y="1082"/>
                    <a:pt x="501" y="1085"/>
                  </a:cubicBezTo>
                  <a:cubicBezTo>
                    <a:pt x="504" y="1088"/>
                    <a:pt x="505" y="1094"/>
                    <a:pt x="508" y="1094"/>
                  </a:cubicBezTo>
                  <a:cubicBezTo>
                    <a:pt x="509" y="1097"/>
                    <a:pt x="509" y="1102"/>
                    <a:pt x="510" y="1104"/>
                  </a:cubicBezTo>
                  <a:cubicBezTo>
                    <a:pt x="511" y="1106"/>
                    <a:pt x="513" y="1106"/>
                    <a:pt x="513" y="1109"/>
                  </a:cubicBezTo>
                  <a:cubicBezTo>
                    <a:pt x="514" y="1110"/>
                    <a:pt x="515" y="1109"/>
                    <a:pt x="517" y="1111"/>
                  </a:cubicBezTo>
                  <a:cubicBezTo>
                    <a:pt x="517" y="1113"/>
                    <a:pt x="518" y="1116"/>
                    <a:pt x="518" y="1117"/>
                  </a:cubicBezTo>
                  <a:cubicBezTo>
                    <a:pt x="520" y="1121"/>
                    <a:pt x="524" y="1120"/>
                    <a:pt x="525" y="1124"/>
                  </a:cubicBezTo>
                  <a:cubicBezTo>
                    <a:pt x="526" y="1128"/>
                    <a:pt x="524" y="1134"/>
                    <a:pt x="525" y="1137"/>
                  </a:cubicBezTo>
                  <a:cubicBezTo>
                    <a:pt x="526" y="1140"/>
                    <a:pt x="529" y="1143"/>
                    <a:pt x="531" y="1143"/>
                  </a:cubicBezTo>
                  <a:cubicBezTo>
                    <a:pt x="532" y="1147"/>
                    <a:pt x="532" y="1149"/>
                    <a:pt x="534" y="1152"/>
                  </a:cubicBezTo>
                  <a:cubicBezTo>
                    <a:pt x="535" y="1155"/>
                    <a:pt x="535" y="1159"/>
                    <a:pt x="539" y="1159"/>
                  </a:cubicBezTo>
                  <a:cubicBezTo>
                    <a:pt x="539" y="1160"/>
                    <a:pt x="539" y="1161"/>
                    <a:pt x="539" y="1162"/>
                  </a:cubicBezTo>
                  <a:cubicBezTo>
                    <a:pt x="542" y="1163"/>
                    <a:pt x="545" y="1161"/>
                    <a:pt x="547" y="1165"/>
                  </a:cubicBezTo>
                  <a:cubicBezTo>
                    <a:pt x="548" y="1168"/>
                    <a:pt x="547" y="1168"/>
                    <a:pt x="548" y="1171"/>
                  </a:cubicBezTo>
                  <a:cubicBezTo>
                    <a:pt x="548" y="1174"/>
                    <a:pt x="549" y="1174"/>
                    <a:pt x="549" y="1176"/>
                  </a:cubicBezTo>
                  <a:cubicBezTo>
                    <a:pt x="549" y="1179"/>
                    <a:pt x="549" y="1180"/>
                    <a:pt x="550" y="1182"/>
                  </a:cubicBezTo>
                  <a:cubicBezTo>
                    <a:pt x="551" y="1184"/>
                    <a:pt x="552" y="1186"/>
                    <a:pt x="553" y="1187"/>
                  </a:cubicBezTo>
                  <a:cubicBezTo>
                    <a:pt x="555" y="1190"/>
                    <a:pt x="559" y="1190"/>
                    <a:pt x="559" y="1196"/>
                  </a:cubicBezTo>
                  <a:cubicBezTo>
                    <a:pt x="560" y="1205"/>
                    <a:pt x="559" y="1215"/>
                    <a:pt x="559" y="1224"/>
                  </a:cubicBezTo>
                  <a:cubicBezTo>
                    <a:pt x="559" y="1229"/>
                    <a:pt x="560" y="1230"/>
                    <a:pt x="563" y="1233"/>
                  </a:cubicBezTo>
                  <a:cubicBezTo>
                    <a:pt x="563" y="1234"/>
                    <a:pt x="564" y="1236"/>
                    <a:pt x="565" y="1236"/>
                  </a:cubicBezTo>
                  <a:cubicBezTo>
                    <a:pt x="567" y="1238"/>
                    <a:pt x="568" y="1237"/>
                    <a:pt x="570" y="1238"/>
                  </a:cubicBezTo>
                  <a:cubicBezTo>
                    <a:pt x="571" y="1242"/>
                    <a:pt x="571" y="1243"/>
                    <a:pt x="573" y="1245"/>
                  </a:cubicBezTo>
                  <a:cubicBezTo>
                    <a:pt x="575" y="1246"/>
                    <a:pt x="576" y="1249"/>
                    <a:pt x="578" y="1250"/>
                  </a:cubicBezTo>
                  <a:cubicBezTo>
                    <a:pt x="581" y="1251"/>
                    <a:pt x="582" y="1249"/>
                    <a:pt x="584" y="1248"/>
                  </a:cubicBezTo>
                  <a:cubicBezTo>
                    <a:pt x="585" y="1248"/>
                    <a:pt x="587" y="1248"/>
                    <a:pt x="588" y="1248"/>
                  </a:cubicBezTo>
                  <a:cubicBezTo>
                    <a:pt x="590" y="1248"/>
                    <a:pt x="591" y="1247"/>
                    <a:pt x="593" y="1247"/>
                  </a:cubicBezTo>
                  <a:cubicBezTo>
                    <a:pt x="595" y="1246"/>
                    <a:pt x="599" y="1248"/>
                    <a:pt x="600" y="1246"/>
                  </a:cubicBezTo>
                  <a:cubicBezTo>
                    <a:pt x="601" y="1246"/>
                    <a:pt x="602" y="1244"/>
                    <a:pt x="602" y="1243"/>
                  </a:cubicBezTo>
                  <a:cubicBezTo>
                    <a:pt x="603" y="1243"/>
                    <a:pt x="605" y="1243"/>
                    <a:pt x="606" y="1242"/>
                  </a:cubicBezTo>
                  <a:cubicBezTo>
                    <a:pt x="608" y="1240"/>
                    <a:pt x="609" y="1238"/>
                    <a:pt x="611" y="1236"/>
                  </a:cubicBezTo>
                  <a:cubicBezTo>
                    <a:pt x="614" y="1235"/>
                    <a:pt x="615" y="1232"/>
                    <a:pt x="618" y="1233"/>
                  </a:cubicBezTo>
                  <a:cubicBezTo>
                    <a:pt x="621" y="1233"/>
                    <a:pt x="622" y="1231"/>
                    <a:pt x="625" y="1231"/>
                  </a:cubicBezTo>
                  <a:cubicBezTo>
                    <a:pt x="627" y="1230"/>
                    <a:pt x="630" y="1231"/>
                    <a:pt x="632" y="1231"/>
                  </a:cubicBezTo>
                  <a:cubicBezTo>
                    <a:pt x="634" y="1231"/>
                    <a:pt x="637" y="1231"/>
                    <a:pt x="638" y="1229"/>
                  </a:cubicBezTo>
                  <a:cubicBezTo>
                    <a:pt x="639" y="1227"/>
                    <a:pt x="640" y="1223"/>
                    <a:pt x="641" y="1222"/>
                  </a:cubicBezTo>
                  <a:cubicBezTo>
                    <a:pt x="642" y="1218"/>
                    <a:pt x="642" y="1218"/>
                    <a:pt x="645" y="1216"/>
                  </a:cubicBezTo>
                  <a:cubicBezTo>
                    <a:pt x="645" y="1216"/>
                    <a:pt x="647" y="1215"/>
                    <a:pt x="647" y="1215"/>
                  </a:cubicBezTo>
                  <a:cubicBezTo>
                    <a:pt x="648" y="1214"/>
                    <a:pt x="649" y="1213"/>
                    <a:pt x="650" y="1213"/>
                  </a:cubicBezTo>
                  <a:cubicBezTo>
                    <a:pt x="654" y="1209"/>
                    <a:pt x="659" y="1215"/>
                    <a:pt x="660" y="1205"/>
                  </a:cubicBezTo>
                  <a:cubicBezTo>
                    <a:pt x="662" y="1205"/>
                    <a:pt x="665" y="1200"/>
                    <a:pt x="667" y="1198"/>
                  </a:cubicBezTo>
                  <a:cubicBezTo>
                    <a:pt x="667" y="1196"/>
                    <a:pt x="668" y="1195"/>
                    <a:pt x="668" y="1193"/>
                  </a:cubicBezTo>
                  <a:cubicBezTo>
                    <a:pt x="670" y="1192"/>
                    <a:pt x="671" y="1192"/>
                    <a:pt x="672" y="1190"/>
                  </a:cubicBezTo>
                  <a:cubicBezTo>
                    <a:pt x="673" y="1189"/>
                    <a:pt x="673" y="1187"/>
                    <a:pt x="674" y="1186"/>
                  </a:cubicBezTo>
                  <a:cubicBezTo>
                    <a:pt x="675" y="1185"/>
                    <a:pt x="676" y="1185"/>
                    <a:pt x="676" y="1185"/>
                  </a:cubicBezTo>
                  <a:cubicBezTo>
                    <a:pt x="678" y="1184"/>
                    <a:pt x="678" y="1183"/>
                    <a:pt x="679" y="1182"/>
                  </a:cubicBezTo>
                  <a:cubicBezTo>
                    <a:pt x="682" y="1180"/>
                    <a:pt x="686" y="1183"/>
                    <a:pt x="689" y="1180"/>
                  </a:cubicBezTo>
                  <a:cubicBezTo>
                    <a:pt x="692" y="1177"/>
                    <a:pt x="692" y="1175"/>
                    <a:pt x="694" y="1171"/>
                  </a:cubicBezTo>
                  <a:cubicBezTo>
                    <a:pt x="694" y="1170"/>
                    <a:pt x="694" y="1169"/>
                    <a:pt x="694" y="1168"/>
                  </a:cubicBezTo>
                  <a:cubicBezTo>
                    <a:pt x="695" y="1168"/>
                    <a:pt x="696" y="1167"/>
                    <a:pt x="696" y="1166"/>
                  </a:cubicBezTo>
                  <a:cubicBezTo>
                    <a:pt x="697" y="1165"/>
                    <a:pt x="697" y="1164"/>
                    <a:pt x="697" y="1162"/>
                  </a:cubicBezTo>
                  <a:cubicBezTo>
                    <a:pt x="697" y="1161"/>
                    <a:pt x="697" y="1160"/>
                    <a:pt x="698" y="1159"/>
                  </a:cubicBezTo>
                  <a:cubicBezTo>
                    <a:pt x="698" y="1157"/>
                    <a:pt x="699" y="1155"/>
                    <a:pt x="699" y="1154"/>
                  </a:cubicBezTo>
                  <a:cubicBezTo>
                    <a:pt x="699" y="1153"/>
                    <a:pt x="699" y="1151"/>
                    <a:pt x="699" y="1150"/>
                  </a:cubicBezTo>
                  <a:cubicBezTo>
                    <a:pt x="700" y="1149"/>
                    <a:pt x="701" y="1149"/>
                    <a:pt x="701" y="1148"/>
                  </a:cubicBezTo>
                  <a:cubicBezTo>
                    <a:pt x="702" y="1146"/>
                    <a:pt x="702" y="1145"/>
                    <a:pt x="703" y="1143"/>
                  </a:cubicBezTo>
                  <a:cubicBezTo>
                    <a:pt x="704" y="1143"/>
                    <a:pt x="707" y="1141"/>
                    <a:pt x="708" y="1141"/>
                  </a:cubicBezTo>
                  <a:cubicBezTo>
                    <a:pt x="708" y="1140"/>
                    <a:pt x="708" y="1139"/>
                    <a:pt x="708" y="1138"/>
                  </a:cubicBezTo>
                  <a:cubicBezTo>
                    <a:pt x="709" y="1138"/>
                    <a:pt x="710" y="1138"/>
                    <a:pt x="710" y="1137"/>
                  </a:cubicBezTo>
                  <a:cubicBezTo>
                    <a:pt x="710" y="1135"/>
                    <a:pt x="712" y="1132"/>
                    <a:pt x="712" y="1129"/>
                  </a:cubicBezTo>
                  <a:cubicBezTo>
                    <a:pt x="713" y="1129"/>
                    <a:pt x="713" y="1129"/>
                    <a:pt x="714" y="1129"/>
                  </a:cubicBezTo>
                  <a:cubicBezTo>
                    <a:pt x="715" y="1121"/>
                    <a:pt x="720" y="1111"/>
                    <a:pt x="713" y="1104"/>
                  </a:cubicBezTo>
                  <a:cubicBezTo>
                    <a:pt x="712" y="1103"/>
                    <a:pt x="711" y="1103"/>
                    <a:pt x="709" y="1102"/>
                  </a:cubicBezTo>
                  <a:cubicBezTo>
                    <a:pt x="708" y="1102"/>
                    <a:pt x="707" y="1100"/>
                    <a:pt x="705" y="1099"/>
                  </a:cubicBezTo>
                  <a:cubicBezTo>
                    <a:pt x="702" y="1097"/>
                    <a:pt x="699" y="1098"/>
                    <a:pt x="697" y="1094"/>
                  </a:cubicBezTo>
                  <a:cubicBezTo>
                    <a:pt x="696" y="1092"/>
                    <a:pt x="696" y="1090"/>
                    <a:pt x="694" y="1088"/>
                  </a:cubicBezTo>
                  <a:cubicBezTo>
                    <a:pt x="693" y="1087"/>
                    <a:pt x="692" y="1087"/>
                    <a:pt x="690" y="1085"/>
                  </a:cubicBezTo>
                  <a:cubicBezTo>
                    <a:pt x="690" y="1084"/>
                    <a:pt x="689" y="1083"/>
                    <a:pt x="689" y="1082"/>
                  </a:cubicBezTo>
                  <a:cubicBezTo>
                    <a:pt x="688" y="1081"/>
                    <a:pt x="687" y="1082"/>
                    <a:pt x="685" y="1081"/>
                  </a:cubicBezTo>
                  <a:cubicBezTo>
                    <a:pt x="684" y="1080"/>
                    <a:pt x="683" y="1078"/>
                    <a:pt x="683" y="1077"/>
                  </a:cubicBezTo>
                  <a:cubicBezTo>
                    <a:pt x="682" y="1075"/>
                    <a:pt x="682" y="1072"/>
                    <a:pt x="681" y="1070"/>
                  </a:cubicBezTo>
                  <a:cubicBezTo>
                    <a:pt x="680" y="1068"/>
                    <a:pt x="679" y="1067"/>
                    <a:pt x="678" y="1066"/>
                  </a:cubicBezTo>
                  <a:cubicBezTo>
                    <a:pt x="675" y="1062"/>
                    <a:pt x="671" y="1061"/>
                    <a:pt x="668" y="1063"/>
                  </a:cubicBezTo>
                  <a:cubicBezTo>
                    <a:pt x="668" y="1064"/>
                    <a:pt x="668" y="1066"/>
                    <a:pt x="667" y="1067"/>
                  </a:cubicBezTo>
                  <a:cubicBezTo>
                    <a:pt x="664" y="1068"/>
                    <a:pt x="661" y="1069"/>
                    <a:pt x="658" y="1072"/>
                  </a:cubicBezTo>
                  <a:cubicBezTo>
                    <a:pt x="657" y="1074"/>
                    <a:pt x="657" y="1075"/>
                    <a:pt x="656" y="1077"/>
                  </a:cubicBezTo>
                  <a:cubicBezTo>
                    <a:pt x="656" y="1077"/>
                    <a:pt x="654" y="1078"/>
                    <a:pt x="653" y="1079"/>
                  </a:cubicBezTo>
                  <a:cubicBezTo>
                    <a:pt x="653" y="1080"/>
                    <a:pt x="652" y="1080"/>
                    <a:pt x="652" y="1081"/>
                  </a:cubicBezTo>
                  <a:cubicBezTo>
                    <a:pt x="650" y="1082"/>
                    <a:pt x="649" y="1084"/>
                    <a:pt x="647" y="1085"/>
                  </a:cubicBezTo>
                  <a:cubicBezTo>
                    <a:pt x="646" y="1086"/>
                    <a:pt x="642" y="1086"/>
                    <a:pt x="640" y="1085"/>
                  </a:cubicBezTo>
                  <a:cubicBezTo>
                    <a:pt x="640" y="1081"/>
                    <a:pt x="639" y="1081"/>
                    <a:pt x="638" y="1078"/>
                  </a:cubicBezTo>
                  <a:cubicBezTo>
                    <a:pt x="636" y="1074"/>
                    <a:pt x="636" y="1070"/>
                    <a:pt x="636" y="1066"/>
                  </a:cubicBezTo>
                  <a:cubicBezTo>
                    <a:pt x="635" y="1058"/>
                    <a:pt x="629" y="1059"/>
                    <a:pt x="625" y="1059"/>
                  </a:cubicBezTo>
                  <a:cubicBezTo>
                    <a:pt x="621" y="1059"/>
                    <a:pt x="620" y="1060"/>
                    <a:pt x="618" y="1055"/>
                  </a:cubicBezTo>
                  <a:cubicBezTo>
                    <a:pt x="617" y="1052"/>
                    <a:pt x="617" y="1050"/>
                    <a:pt x="615" y="1048"/>
                  </a:cubicBezTo>
                  <a:cubicBezTo>
                    <a:pt x="612" y="1046"/>
                    <a:pt x="612" y="1044"/>
                    <a:pt x="611" y="1041"/>
                  </a:cubicBezTo>
                  <a:cubicBezTo>
                    <a:pt x="609" y="1039"/>
                    <a:pt x="607" y="1039"/>
                    <a:pt x="607" y="1035"/>
                  </a:cubicBezTo>
                  <a:cubicBezTo>
                    <a:pt x="606" y="1035"/>
                    <a:pt x="605" y="1034"/>
                    <a:pt x="605" y="1034"/>
                  </a:cubicBezTo>
                  <a:cubicBezTo>
                    <a:pt x="605" y="1033"/>
                    <a:pt x="604" y="1032"/>
                    <a:pt x="604" y="1031"/>
                  </a:cubicBezTo>
                  <a:cubicBezTo>
                    <a:pt x="599" y="1031"/>
                    <a:pt x="600" y="1022"/>
                    <a:pt x="600" y="1017"/>
                  </a:cubicBezTo>
                  <a:cubicBezTo>
                    <a:pt x="599" y="1015"/>
                    <a:pt x="598" y="1015"/>
                    <a:pt x="598" y="1013"/>
                  </a:cubicBezTo>
                  <a:cubicBezTo>
                    <a:pt x="598" y="1012"/>
                    <a:pt x="598" y="1010"/>
                    <a:pt x="598" y="1008"/>
                  </a:cubicBezTo>
                  <a:cubicBezTo>
                    <a:pt x="598" y="1005"/>
                    <a:pt x="598" y="1001"/>
                    <a:pt x="598" y="998"/>
                  </a:cubicBezTo>
                  <a:cubicBezTo>
                    <a:pt x="600" y="998"/>
                    <a:pt x="601" y="1002"/>
                    <a:pt x="602" y="1004"/>
                  </a:cubicBezTo>
                  <a:cubicBezTo>
                    <a:pt x="605" y="1009"/>
                    <a:pt x="607" y="1008"/>
                    <a:pt x="611" y="1008"/>
                  </a:cubicBezTo>
                  <a:cubicBezTo>
                    <a:pt x="616" y="1008"/>
                    <a:pt x="619" y="1017"/>
                    <a:pt x="624" y="1017"/>
                  </a:cubicBezTo>
                  <a:cubicBezTo>
                    <a:pt x="625" y="1018"/>
                    <a:pt x="625" y="1019"/>
                    <a:pt x="625" y="1020"/>
                  </a:cubicBezTo>
                  <a:cubicBezTo>
                    <a:pt x="628" y="1020"/>
                    <a:pt x="630" y="1025"/>
                    <a:pt x="630" y="1029"/>
                  </a:cubicBezTo>
                  <a:cubicBezTo>
                    <a:pt x="631" y="1029"/>
                    <a:pt x="633" y="1030"/>
                    <a:pt x="634" y="1031"/>
                  </a:cubicBezTo>
                  <a:cubicBezTo>
                    <a:pt x="637" y="1033"/>
                    <a:pt x="638" y="1032"/>
                    <a:pt x="641" y="1033"/>
                  </a:cubicBezTo>
                  <a:cubicBezTo>
                    <a:pt x="642" y="1033"/>
                    <a:pt x="644" y="1033"/>
                    <a:pt x="645" y="1034"/>
                  </a:cubicBezTo>
                  <a:cubicBezTo>
                    <a:pt x="647" y="1036"/>
                    <a:pt x="645" y="1036"/>
                    <a:pt x="646" y="1038"/>
                  </a:cubicBezTo>
                  <a:cubicBezTo>
                    <a:pt x="647" y="1040"/>
                    <a:pt x="648" y="1042"/>
                    <a:pt x="650" y="1044"/>
                  </a:cubicBezTo>
                  <a:cubicBezTo>
                    <a:pt x="657" y="1054"/>
                    <a:pt x="667" y="1045"/>
                    <a:pt x="676" y="1049"/>
                  </a:cubicBezTo>
                  <a:cubicBezTo>
                    <a:pt x="676" y="1050"/>
                    <a:pt x="676" y="1051"/>
                    <a:pt x="677" y="1052"/>
                  </a:cubicBezTo>
                  <a:cubicBezTo>
                    <a:pt x="678" y="1052"/>
                    <a:pt x="679" y="1053"/>
                    <a:pt x="680" y="1054"/>
                  </a:cubicBezTo>
                  <a:cubicBezTo>
                    <a:pt x="681" y="1055"/>
                    <a:pt x="681" y="1056"/>
                    <a:pt x="682" y="1058"/>
                  </a:cubicBezTo>
                  <a:cubicBezTo>
                    <a:pt x="684" y="1060"/>
                    <a:pt x="688" y="1061"/>
                    <a:pt x="691" y="1062"/>
                  </a:cubicBezTo>
                  <a:cubicBezTo>
                    <a:pt x="694" y="1064"/>
                    <a:pt x="696" y="1066"/>
                    <a:pt x="699" y="1066"/>
                  </a:cubicBezTo>
                  <a:cubicBezTo>
                    <a:pt x="702" y="1066"/>
                    <a:pt x="706" y="1065"/>
                    <a:pt x="709" y="1066"/>
                  </a:cubicBezTo>
                  <a:cubicBezTo>
                    <a:pt x="709" y="1067"/>
                    <a:pt x="709" y="1067"/>
                    <a:pt x="709" y="1068"/>
                  </a:cubicBezTo>
                  <a:cubicBezTo>
                    <a:pt x="713" y="1068"/>
                    <a:pt x="716" y="1065"/>
                    <a:pt x="719" y="1064"/>
                  </a:cubicBezTo>
                  <a:cubicBezTo>
                    <a:pt x="720" y="1063"/>
                    <a:pt x="724" y="1061"/>
                    <a:pt x="724" y="1060"/>
                  </a:cubicBezTo>
                  <a:cubicBezTo>
                    <a:pt x="724" y="1059"/>
                    <a:pt x="724" y="1059"/>
                    <a:pt x="725" y="1058"/>
                  </a:cubicBezTo>
                  <a:cubicBezTo>
                    <a:pt x="725" y="1056"/>
                    <a:pt x="726" y="1056"/>
                    <a:pt x="727" y="1055"/>
                  </a:cubicBezTo>
                  <a:cubicBezTo>
                    <a:pt x="731" y="1052"/>
                    <a:pt x="734" y="1055"/>
                    <a:pt x="739" y="1057"/>
                  </a:cubicBezTo>
                  <a:cubicBezTo>
                    <a:pt x="742" y="1058"/>
                    <a:pt x="747" y="1057"/>
                    <a:pt x="751" y="1057"/>
                  </a:cubicBezTo>
                  <a:cubicBezTo>
                    <a:pt x="752" y="1057"/>
                    <a:pt x="753" y="1057"/>
                    <a:pt x="753" y="1057"/>
                  </a:cubicBezTo>
                  <a:cubicBezTo>
                    <a:pt x="754" y="1057"/>
                    <a:pt x="755" y="1058"/>
                    <a:pt x="755" y="1059"/>
                  </a:cubicBezTo>
                  <a:cubicBezTo>
                    <a:pt x="756" y="1060"/>
                    <a:pt x="758" y="1061"/>
                    <a:pt x="760" y="1062"/>
                  </a:cubicBezTo>
                  <a:cubicBezTo>
                    <a:pt x="763" y="1065"/>
                    <a:pt x="765" y="1066"/>
                    <a:pt x="766" y="1071"/>
                  </a:cubicBezTo>
                  <a:cubicBezTo>
                    <a:pt x="767" y="1074"/>
                    <a:pt x="768" y="1073"/>
                    <a:pt x="770" y="1075"/>
                  </a:cubicBezTo>
                  <a:cubicBezTo>
                    <a:pt x="771" y="1076"/>
                    <a:pt x="773" y="1076"/>
                    <a:pt x="775" y="1077"/>
                  </a:cubicBezTo>
                  <a:cubicBezTo>
                    <a:pt x="779" y="1079"/>
                    <a:pt x="781" y="1078"/>
                    <a:pt x="781" y="1085"/>
                  </a:cubicBezTo>
                  <a:cubicBezTo>
                    <a:pt x="784" y="1085"/>
                    <a:pt x="786" y="1089"/>
                    <a:pt x="788" y="1092"/>
                  </a:cubicBezTo>
                  <a:cubicBezTo>
                    <a:pt x="790" y="1094"/>
                    <a:pt x="790" y="1093"/>
                    <a:pt x="793" y="1094"/>
                  </a:cubicBezTo>
                  <a:cubicBezTo>
                    <a:pt x="793" y="1094"/>
                    <a:pt x="795" y="1097"/>
                    <a:pt x="795" y="1099"/>
                  </a:cubicBezTo>
                  <a:cubicBezTo>
                    <a:pt x="796" y="1100"/>
                    <a:pt x="797" y="1103"/>
                    <a:pt x="797" y="1105"/>
                  </a:cubicBezTo>
                  <a:cubicBezTo>
                    <a:pt x="798" y="1107"/>
                    <a:pt x="797" y="1110"/>
                    <a:pt x="798" y="1112"/>
                  </a:cubicBezTo>
                  <a:cubicBezTo>
                    <a:pt x="799" y="1113"/>
                    <a:pt x="799" y="1113"/>
                    <a:pt x="800" y="1113"/>
                  </a:cubicBezTo>
                  <a:cubicBezTo>
                    <a:pt x="801" y="1114"/>
                    <a:pt x="801" y="1115"/>
                    <a:pt x="802" y="1116"/>
                  </a:cubicBezTo>
                  <a:cubicBezTo>
                    <a:pt x="803" y="1119"/>
                    <a:pt x="804" y="1118"/>
                    <a:pt x="806" y="1119"/>
                  </a:cubicBezTo>
                  <a:cubicBezTo>
                    <a:pt x="806" y="1120"/>
                    <a:pt x="806" y="1121"/>
                    <a:pt x="807" y="1122"/>
                  </a:cubicBezTo>
                  <a:cubicBezTo>
                    <a:pt x="808" y="1122"/>
                    <a:pt x="809" y="1123"/>
                    <a:pt x="810" y="1123"/>
                  </a:cubicBezTo>
                  <a:cubicBezTo>
                    <a:pt x="812" y="1124"/>
                    <a:pt x="813" y="1124"/>
                    <a:pt x="815" y="1124"/>
                  </a:cubicBezTo>
                  <a:cubicBezTo>
                    <a:pt x="815" y="1125"/>
                    <a:pt x="815" y="1126"/>
                    <a:pt x="815" y="1127"/>
                  </a:cubicBezTo>
                  <a:cubicBezTo>
                    <a:pt x="818" y="1127"/>
                    <a:pt x="818" y="1130"/>
                    <a:pt x="820" y="1131"/>
                  </a:cubicBezTo>
                  <a:cubicBezTo>
                    <a:pt x="822" y="1132"/>
                    <a:pt x="827" y="1129"/>
                    <a:pt x="829" y="1127"/>
                  </a:cubicBezTo>
                  <a:cubicBezTo>
                    <a:pt x="830" y="1127"/>
                    <a:pt x="830" y="1125"/>
                    <a:pt x="831" y="1124"/>
                  </a:cubicBezTo>
                  <a:cubicBezTo>
                    <a:pt x="831" y="1124"/>
                    <a:pt x="835" y="1122"/>
                    <a:pt x="835" y="1122"/>
                  </a:cubicBezTo>
                  <a:cubicBezTo>
                    <a:pt x="839" y="1122"/>
                    <a:pt x="838" y="1127"/>
                    <a:pt x="838" y="1131"/>
                  </a:cubicBezTo>
                  <a:cubicBezTo>
                    <a:pt x="838" y="1134"/>
                    <a:pt x="838" y="1138"/>
                    <a:pt x="838" y="1141"/>
                  </a:cubicBezTo>
                  <a:cubicBezTo>
                    <a:pt x="838" y="1143"/>
                    <a:pt x="837" y="1143"/>
                    <a:pt x="837" y="1145"/>
                  </a:cubicBezTo>
                  <a:cubicBezTo>
                    <a:pt x="836" y="1147"/>
                    <a:pt x="837" y="1149"/>
                    <a:pt x="836" y="1151"/>
                  </a:cubicBezTo>
                  <a:cubicBezTo>
                    <a:pt x="836" y="1154"/>
                    <a:pt x="834" y="1159"/>
                    <a:pt x="835" y="1163"/>
                  </a:cubicBezTo>
                  <a:cubicBezTo>
                    <a:pt x="836" y="1166"/>
                    <a:pt x="839" y="1164"/>
                    <a:pt x="839" y="1169"/>
                  </a:cubicBezTo>
                  <a:cubicBezTo>
                    <a:pt x="843" y="1170"/>
                    <a:pt x="843" y="1170"/>
                    <a:pt x="844" y="1175"/>
                  </a:cubicBezTo>
                  <a:cubicBezTo>
                    <a:pt x="845" y="1177"/>
                    <a:pt x="845" y="1178"/>
                    <a:pt x="845" y="1180"/>
                  </a:cubicBezTo>
                  <a:cubicBezTo>
                    <a:pt x="847" y="1183"/>
                    <a:pt x="847" y="1182"/>
                    <a:pt x="849" y="1184"/>
                  </a:cubicBezTo>
                  <a:cubicBezTo>
                    <a:pt x="852" y="1186"/>
                    <a:pt x="852" y="1187"/>
                    <a:pt x="852" y="1192"/>
                  </a:cubicBezTo>
                  <a:cubicBezTo>
                    <a:pt x="852" y="1197"/>
                    <a:pt x="852" y="1202"/>
                    <a:pt x="852" y="1206"/>
                  </a:cubicBezTo>
                  <a:cubicBezTo>
                    <a:pt x="852" y="1208"/>
                    <a:pt x="852" y="1210"/>
                    <a:pt x="852" y="1211"/>
                  </a:cubicBezTo>
                  <a:cubicBezTo>
                    <a:pt x="852" y="1215"/>
                    <a:pt x="852" y="1215"/>
                    <a:pt x="853" y="1217"/>
                  </a:cubicBezTo>
                  <a:cubicBezTo>
                    <a:pt x="854" y="1218"/>
                    <a:pt x="855" y="1219"/>
                    <a:pt x="856" y="1220"/>
                  </a:cubicBezTo>
                  <a:cubicBezTo>
                    <a:pt x="857" y="1222"/>
                    <a:pt x="857" y="1221"/>
                    <a:pt x="859" y="1222"/>
                  </a:cubicBezTo>
                  <a:cubicBezTo>
                    <a:pt x="864" y="1224"/>
                    <a:pt x="867" y="1234"/>
                    <a:pt x="867" y="1239"/>
                  </a:cubicBezTo>
                  <a:cubicBezTo>
                    <a:pt x="870" y="1239"/>
                    <a:pt x="870" y="1240"/>
                    <a:pt x="871" y="1243"/>
                  </a:cubicBezTo>
                  <a:cubicBezTo>
                    <a:pt x="871" y="1244"/>
                    <a:pt x="871" y="1245"/>
                    <a:pt x="871" y="1246"/>
                  </a:cubicBezTo>
                  <a:cubicBezTo>
                    <a:pt x="871" y="1247"/>
                    <a:pt x="873" y="1248"/>
                    <a:pt x="873" y="1249"/>
                  </a:cubicBezTo>
                  <a:cubicBezTo>
                    <a:pt x="875" y="1253"/>
                    <a:pt x="873" y="1261"/>
                    <a:pt x="873" y="1266"/>
                  </a:cubicBezTo>
                  <a:cubicBezTo>
                    <a:pt x="875" y="1266"/>
                    <a:pt x="876" y="1266"/>
                    <a:pt x="877" y="1266"/>
                  </a:cubicBezTo>
                  <a:cubicBezTo>
                    <a:pt x="877" y="1268"/>
                    <a:pt x="877" y="1269"/>
                    <a:pt x="877" y="1271"/>
                  </a:cubicBezTo>
                  <a:cubicBezTo>
                    <a:pt x="878" y="1271"/>
                    <a:pt x="879" y="1271"/>
                    <a:pt x="879" y="1271"/>
                  </a:cubicBezTo>
                  <a:cubicBezTo>
                    <a:pt x="879" y="1272"/>
                    <a:pt x="880" y="1273"/>
                    <a:pt x="880" y="1274"/>
                  </a:cubicBezTo>
                  <a:cubicBezTo>
                    <a:pt x="881" y="1275"/>
                    <a:pt x="882" y="1275"/>
                    <a:pt x="883" y="1275"/>
                  </a:cubicBezTo>
                  <a:cubicBezTo>
                    <a:pt x="884" y="1278"/>
                    <a:pt x="883" y="1280"/>
                    <a:pt x="884" y="1283"/>
                  </a:cubicBezTo>
                  <a:cubicBezTo>
                    <a:pt x="884" y="1283"/>
                    <a:pt x="885" y="1283"/>
                    <a:pt x="886" y="1284"/>
                  </a:cubicBezTo>
                  <a:cubicBezTo>
                    <a:pt x="886" y="1287"/>
                    <a:pt x="888" y="1288"/>
                    <a:pt x="887" y="1291"/>
                  </a:cubicBezTo>
                  <a:cubicBezTo>
                    <a:pt x="888" y="1292"/>
                    <a:pt x="888" y="1294"/>
                    <a:pt x="889" y="1295"/>
                  </a:cubicBezTo>
                  <a:cubicBezTo>
                    <a:pt x="890" y="1297"/>
                    <a:pt x="891" y="1298"/>
                    <a:pt x="891" y="1301"/>
                  </a:cubicBezTo>
                  <a:cubicBezTo>
                    <a:pt x="891" y="1301"/>
                    <a:pt x="892" y="1301"/>
                    <a:pt x="892" y="1301"/>
                  </a:cubicBezTo>
                  <a:cubicBezTo>
                    <a:pt x="892" y="1302"/>
                    <a:pt x="891" y="1301"/>
                    <a:pt x="891" y="1302"/>
                  </a:cubicBezTo>
                  <a:cubicBezTo>
                    <a:pt x="892" y="1303"/>
                    <a:pt x="892" y="1303"/>
                    <a:pt x="893" y="1303"/>
                  </a:cubicBezTo>
                  <a:cubicBezTo>
                    <a:pt x="893" y="1308"/>
                    <a:pt x="897" y="1309"/>
                    <a:pt x="900" y="1308"/>
                  </a:cubicBezTo>
                  <a:cubicBezTo>
                    <a:pt x="900" y="1301"/>
                    <a:pt x="903" y="1297"/>
                    <a:pt x="907" y="1294"/>
                  </a:cubicBezTo>
                  <a:cubicBezTo>
                    <a:pt x="908" y="1293"/>
                    <a:pt x="909" y="1294"/>
                    <a:pt x="910" y="1293"/>
                  </a:cubicBezTo>
                  <a:cubicBezTo>
                    <a:pt x="911" y="1292"/>
                    <a:pt x="911" y="1290"/>
                    <a:pt x="911" y="1289"/>
                  </a:cubicBezTo>
                  <a:cubicBezTo>
                    <a:pt x="914" y="1285"/>
                    <a:pt x="916" y="1287"/>
                    <a:pt x="916" y="1282"/>
                  </a:cubicBezTo>
                  <a:cubicBezTo>
                    <a:pt x="916" y="1275"/>
                    <a:pt x="916" y="1268"/>
                    <a:pt x="916" y="1261"/>
                  </a:cubicBezTo>
                  <a:cubicBezTo>
                    <a:pt x="916" y="1257"/>
                    <a:pt x="916" y="1253"/>
                    <a:pt x="916" y="1250"/>
                  </a:cubicBezTo>
                  <a:cubicBezTo>
                    <a:pt x="917" y="1247"/>
                    <a:pt x="918" y="1245"/>
                    <a:pt x="919" y="1241"/>
                  </a:cubicBezTo>
                  <a:cubicBezTo>
                    <a:pt x="919" y="1235"/>
                    <a:pt x="919" y="1227"/>
                    <a:pt x="919" y="1220"/>
                  </a:cubicBezTo>
                  <a:cubicBezTo>
                    <a:pt x="919" y="1215"/>
                    <a:pt x="917" y="1203"/>
                    <a:pt x="920" y="1200"/>
                  </a:cubicBezTo>
                  <a:cubicBezTo>
                    <a:pt x="922" y="1198"/>
                    <a:pt x="924" y="1198"/>
                    <a:pt x="925" y="1196"/>
                  </a:cubicBezTo>
                  <a:cubicBezTo>
                    <a:pt x="926" y="1194"/>
                    <a:pt x="926" y="1190"/>
                    <a:pt x="927" y="1188"/>
                  </a:cubicBezTo>
                  <a:cubicBezTo>
                    <a:pt x="929" y="1183"/>
                    <a:pt x="931" y="1177"/>
                    <a:pt x="934" y="1173"/>
                  </a:cubicBezTo>
                  <a:cubicBezTo>
                    <a:pt x="935" y="1170"/>
                    <a:pt x="937" y="1170"/>
                    <a:pt x="939" y="1168"/>
                  </a:cubicBezTo>
                  <a:cubicBezTo>
                    <a:pt x="941" y="1167"/>
                    <a:pt x="940" y="1167"/>
                    <a:pt x="941" y="1166"/>
                  </a:cubicBezTo>
                  <a:cubicBezTo>
                    <a:pt x="942" y="1165"/>
                    <a:pt x="943" y="1163"/>
                    <a:pt x="943" y="1162"/>
                  </a:cubicBezTo>
                  <a:cubicBezTo>
                    <a:pt x="945" y="1157"/>
                    <a:pt x="948" y="1153"/>
                    <a:pt x="950" y="1148"/>
                  </a:cubicBezTo>
                  <a:cubicBezTo>
                    <a:pt x="952" y="1144"/>
                    <a:pt x="952" y="1139"/>
                    <a:pt x="956" y="1135"/>
                  </a:cubicBezTo>
                  <a:cubicBezTo>
                    <a:pt x="957" y="1133"/>
                    <a:pt x="959" y="1132"/>
                    <a:pt x="960" y="1131"/>
                  </a:cubicBezTo>
                  <a:cubicBezTo>
                    <a:pt x="962" y="1129"/>
                    <a:pt x="963" y="1126"/>
                    <a:pt x="964" y="1124"/>
                  </a:cubicBezTo>
                  <a:cubicBezTo>
                    <a:pt x="964" y="1123"/>
                    <a:pt x="965" y="1121"/>
                    <a:pt x="965" y="1120"/>
                  </a:cubicBezTo>
                  <a:cubicBezTo>
                    <a:pt x="965" y="1119"/>
                    <a:pt x="966" y="1118"/>
                    <a:pt x="966" y="1116"/>
                  </a:cubicBezTo>
                  <a:cubicBezTo>
                    <a:pt x="967" y="1114"/>
                    <a:pt x="968" y="1112"/>
                    <a:pt x="969" y="1110"/>
                  </a:cubicBezTo>
                  <a:cubicBezTo>
                    <a:pt x="973" y="1106"/>
                    <a:pt x="979" y="1110"/>
                    <a:pt x="984" y="1108"/>
                  </a:cubicBezTo>
                  <a:cubicBezTo>
                    <a:pt x="986" y="1107"/>
                    <a:pt x="987" y="1104"/>
                    <a:pt x="988" y="1103"/>
                  </a:cubicBezTo>
                  <a:cubicBezTo>
                    <a:pt x="990" y="1102"/>
                    <a:pt x="994" y="1103"/>
                    <a:pt x="996" y="1103"/>
                  </a:cubicBezTo>
                  <a:cubicBezTo>
                    <a:pt x="999" y="1103"/>
                    <a:pt x="1000" y="1102"/>
                    <a:pt x="1002" y="1106"/>
                  </a:cubicBezTo>
                  <a:cubicBezTo>
                    <a:pt x="1003" y="1108"/>
                    <a:pt x="1002" y="1108"/>
                    <a:pt x="1003" y="1110"/>
                  </a:cubicBezTo>
                  <a:cubicBezTo>
                    <a:pt x="1004" y="1111"/>
                    <a:pt x="1004" y="1114"/>
                    <a:pt x="1004" y="1115"/>
                  </a:cubicBezTo>
                  <a:cubicBezTo>
                    <a:pt x="1005" y="1118"/>
                    <a:pt x="1007" y="1118"/>
                    <a:pt x="1008" y="1120"/>
                  </a:cubicBezTo>
                  <a:cubicBezTo>
                    <a:pt x="1010" y="1123"/>
                    <a:pt x="1010" y="1124"/>
                    <a:pt x="1013" y="1124"/>
                  </a:cubicBezTo>
                  <a:cubicBezTo>
                    <a:pt x="1014" y="1128"/>
                    <a:pt x="1014" y="1134"/>
                    <a:pt x="1015" y="1137"/>
                  </a:cubicBezTo>
                  <a:cubicBezTo>
                    <a:pt x="1016" y="1138"/>
                    <a:pt x="1017" y="1139"/>
                    <a:pt x="1018" y="1140"/>
                  </a:cubicBezTo>
                  <a:cubicBezTo>
                    <a:pt x="1019" y="1140"/>
                    <a:pt x="1021" y="1141"/>
                    <a:pt x="1022" y="1141"/>
                  </a:cubicBezTo>
                  <a:cubicBezTo>
                    <a:pt x="1023" y="1142"/>
                    <a:pt x="1024" y="1141"/>
                    <a:pt x="1026" y="1142"/>
                  </a:cubicBezTo>
                  <a:cubicBezTo>
                    <a:pt x="1027" y="1142"/>
                    <a:pt x="1027" y="1144"/>
                    <a:pt x="1028" y="1145"/>
                  </a:cubicBezTo>
                  <a:cubicBezTo>
                    <a:pt x="1029" y="1145"/>
                    <a:pt x="1032" y="1146"/>
                    <a:pt x="1032" y="1147"/>
                  </a:cubicBezTo>
                  <a:cubicBezTo>
                    <a:pt x="1033" y="1149"/>
                    <a:pt x="1032" y="1151"/>
                    <a:pt x="1032" y="1153"/>
                  </a:cubicBezTo>
                  <a:cubicBezTo>
                    <a:pt x="1033" y="1154"/>
                    <a:pt x="1034" y="1154"/>
                    <a:pt x="1035" y="1154"/>
                  </a:cubicBezTo>
                  <a:cubicBezTo>
                    <a:pt x="1036" y="1160"/>
                    <a:pt x="1034" y="1166"/>
                    <a:pt x="1036" y="1172"/>
                  </a:cubicBezTo>
                  <a:cubicBezTo>
                    <a:pt x="1036" y="1174"/>
                    <a:pt x="1037" y="1176"/>
                    <a:pt x="1037" y="1178"/>
                  </a:cubicBezTo>
                  <a:cubicBezTo>
                    <a:pt x="1038" y="1181"/>
                    <a:pt x="1037" y="1184"/>
                    <a:pt x="1037" y="1187"/>
                  </a:cubicBezTo>
                  <a:cubicBezTo>
                    <a:pt x="1039" y="1187"/>
                    <a:pt x="1040" y="1187"/>
                    <a:pt x="1041" y="1187"/>
                  </a:cubicBezTo>
                  <a:cubicBezTo>
                    <a:pt x="1041" y="1189"/>
                    <a:pt x="1041" y="1190"/>
                    <a:pt x="1041" y="1192"/>
                  </a:cubicBezTo>
                  <a:cubicBezTo>
                    <a:pt x="1043" y="1192"/>
                    <a:pt x="1045" y="1193"/>
                    <a:pt x="1046" y="1192"/>
                  </a:cubicBezTo>
                  <a:cubicBezTo>
                    <a:pt x="1048" y="1192"/>
                    <a:pt x="1049" y="1191"/>
                    <a:pt x="1050" y="1188"/>
                  </a:cubicBezTo>
                  <a:cubicBezTo>
                    <a:pt x="1050" y="1187"/>
                    <a:pt x="1051" y="1185"/>
                    <a:pt x="1051" y="1184"/>
                  </a:cubicBezTo>
                  <a:cubicBezTo>
                    <a:pt x="1052" y="1182"/>
                    <a:pt x="1052" y="1179"/>
                    <a:pt x="1053" y="1178"/>
                  </a:cubicBezTo>
                  <a:cubicBezTo>
                    <a:pt x="1055" y="1175"/>
                    <a:pt x="1061" y="1176"/>
                    <a:pt x="1064" y="1176"/>
                  </a:cubicBezTo>
                  <a:cubicBezTo>
                    <a:pt x="1069" y="1176"/>
                    <a:pt x="1071" y="1176"/>
                    <a:pt x="1072" y="1183"/>
                  </a:cubicBezTo>
                  <a:cubicBezTo>
                    <a:pt x="1072" y="1183"/>
                    <a:pt x="1073" y="1184"/>
                    <a:pt x="1074" y="1184"/>
                  </a:cubicBezTo>
                  <a:cubicBezTo>
                    <a:pt x="1074" y="1187"/>
                    <a:pt x="1073" y="1190"/>
                    <a:pt x="1073" y="1194"/>
                  </a:cubicBezTo>
                  <a:cubicBezTo>
                    <a:pt x="1072" y="1197"/>
                    <a:pt x="1073" y="1200"/>
                    <a:pt x="1073" y="1203"/>
                  </a:cubicBezTo>
                  <a:cubicBezTo>
                    <a:pt x="1073" y="1205"/>
                    <a:pt x="1072" y="1210"/>
                    <a:pt x="1072" y="1212"/>
                  </a:cubicBezTo>
                  <a:cubicBezTo>
                    <a:pt x="1073" y="1213"/>
                    <a:pt x="1075" y="1214"/>
                    <a:pt x="1076" y="1215"/>
                  </a:cubicBezTo>
                  <a:cubicBezTo>
                    <a:pt x="1076" y="1222"/>
                    <a:pt x="1079" y="1223"/>
                    <a:pt x="1084" y="1224"/>
                  </a:cubicBezTo>
                  <a:cubicBezTo>
                    <a:pt x="1084" y="1227"/>
                    <a:pt x="1085" y="1228"/>
                    <a:pt x="1085" y="1231"/>
                  </a:cubicBezTo>
                  <a:cubicBezTo>
                    <a:pt x="1086" y="1234"/>
                    <a:pt x="1085" y="1238"/>
                    <a:pt x="1085" y="1241"/>
                  </a:cubicBezTo>
                  <a:cubicBezTo>
                    <a:pt x="1085" y="1248"/>
                    <a:pt x="1085" y="1254"/>
                    <a:pt x="1085" y="1261"/>
                  </a:cubicBezTo>
                  <a:cubicBezTo>
                    <a:pt x="1085" y="1264"/>
                    <a:pt x="1085" y="1265"/>
                    <a:pt x="1087" y="1267"/>
                  </a:cubicBezTo>
                  <a:cubicBezTo>
                    <a:pt x="1088" y="1269"/>
                    <a:pt x="1088" y="1267"/>
                    <a:pt x="1089" y="1269"/>
                  </a:cubicBezTo>
                  <a:cubicBezTo>
                    <a:pt x="1089" y="1270"/>
                    <a:pt x="1089" y="1273"/>
                    <a:pt x="1089" y="1275"/>
                  </a:cubicBezTo>
                  <a:cubicBezTo>
                    <a:pt x="1089" y="1278"/>
                    <a:pt x="1090" y="1280"/>
                    <a:pt x="1090" y="1283"/>
                  </a:cubicBezTo>
                  <a:cubicBezTo>
                    <a:pt x="1090" y="1285"/>
                    <a:pt x="1090" y="1286"/>
                    <a:pt x="1091" y="1288"/>
                  </a:cubicBezTo>
                  <a:cubicBezTo>
                    <a:pt x="1091" y="1289"/>
                    <a:pt x="1092" y="1290"/>
                    <a:pt x="1092" y="1292"/>
                  </a:cubicBezTo>
                  <a:cubicBezTo>
                    <a:pt x="1092" y="1292"/>
                    <a:pt x="1093" y="1292"/>
                    <a:pt x="1094" y="1292"/>
                  </a:cubicBezTo>
                  <a:cubicBezTo>
                    <a:pt x="1094" y="1293"/>
                    <a:pt x="1094" y="1294"/>
                    <a:pt x="1094" y="1295"/>
                  </a:cubicBezTo>
                  <a:cubicBezTo>
                    <a:pt x="1095" y="1296"/>
                    <a:pt x="1096" y="1296"/>
                    <a:pt x="1098" y="1296"/>
                  </a:cubicBezTo>
                  <a:cubicBezTo>
                    <a:pt x="1098" y="1300"/>
                    <a:pt x="1099" y="1299"/>
                    <a:pt x="1101" y="1301"/>
                  </a:cubicBezTo>
                  <a:cubicBezTo>
                    <a:pt x="1103" y="1303"/>
                    <a:pt x="1104" y="1305"/>
                    <a:pt x="1104" y="1307"/>
                  </a:cubicBezTo>
                  <a:cubicBezTo>
                    <a:pt x="1105" y="1309"/>
                    <a:pt x="1105" y="1310"/>
                    <a:pt x="1106" y="1311"/>
                  </a:cubicBezTo>
                  <a:cubicBezTo>
                    <a:pt x="1106" y="1312"/>
                    <a:pt x="1106" y="1314"/>
                    <a:pt x="1107" y="1315"/>
                  </a:cubicBezTo>
                  <a:cubicBezTo>
                    <a:pt x="1107" y="1317"/>
                    <a:pt x="1109" y="1318"/>
                    <a:pt x="1110" y="1321"/>
                  </a:cubicBezTo>
                  <a:cubicBezTo>
                    <a:pt x="1111" y="1321"/>
                    <a:pt x="1111" y="1323"/>
                    <a:pt x="1111" y="1324"/>
                  </a:cubicBezTo>
                  <a:cubicBezTo>
                    <a:pt x="1112" y="1326"/>
                    <a:pt x="1113" y="1325"/>
                    <a:pt x="1113" y="1327"/>
                  </a:cubicBezTo>
                  <a:cubicBezTo>
                    <a:pt x="1114" y="1330"/>
                    <a:pt x="1113" y="1334"/>
                    <a:pt x="1113" y="1337"/>
                  </a:cubicBezTo>
                  <a:cubicBezTo>
                    <a:pt x="1113" y="1338"/>
                    <a:pt x="1115" y="1344"/>
                    <a:pt x="1116" y="1344"/>
                  </a:cubicBezTo>
                  <a:cubicBezTo>
                    <a:pt x="1117" y="1347"/>
                    <a:pt x="1119" y="1345"/>
                    <a:pt x="1119" y="1350"/>
                  </a:cubicBezTo>
                  <a:cubicBezTo>
                    <a:pt x="1124" y="1349"/>
                    <a:pt x="1121" y="1356"/>
                    <a:pt x="1123" y="1359"/>
                  </a:cubicBezTo>
                  <a:cubicBezTo>
                    <a:pt x="1124" y="1361"/>
                    <a:pt x="1125" y="1360"/>
                    <a:pt x="1127" y="1360"/>
                  </a:cubicBezTo>
                  <a:cubicBezTo>
                    <a:pt x="1128" y="1361"/>
                    <a:pt x="1129" y="1362"/>
                    <a:pt x="1130" y="1363"/>
                  </a:cubicBezTo>
                  <a:cubicBezTo>
                    <a:pt x="1131" y="1364"/>
                    <a:pt x="1131" y="1366"/>
                    <a:pt x="1131" y="1367"/>
                  </a:cubicBezTo>
                  <a:cubicBezTo>
                    <a:pt x="1132" y="1367"/>
                    <a:pt x="1133" y="1368"/>
                    <a:pt x="1134" y="1368"/>
                  </a:cubicBezTo>
                  <a:cubicBezTo>
                    <a:pt x="1135" y="1373"/>
                    <a:pt x="1135" y="1374"/>
                    <a:pt x="1139" y="1375"/>
                  </a:cubicBezTo>
                  <a:cubicBezTo>
                    <a:pt x="1139" y="1377"/>
                    <a:pt x="1140" y="1378"/>
                    <a:pt x="1140" y="1380"/>
                  </a:cubicBezTo>
                  <a:cubicBezTo>
                    <a:pt x="1141" y="1381"/>
                    <a:pt x="1141" y="1381"/>
                    <a:pt x="1142" y="1382"/>
                  </a:cubicBezTo>
                  <a:cubicBezTo>
                    <a:pt x="1142" y="1384"/>
                    <a:pt x="1142" y="1385"/>
                    <a:pt x="1142" y="1387"/>
                  </a:cubicBezTo>
                  <a:cubicBezTo>
                    <a:pt x="1142" y="1390"/>
                    <a:pt x="1144" y="1390"/>
                    <a:pt x="1146" y="1390"/>
                  </a:cubicBezTo>
                  <a:cubicBezTo>
                    <a:pt x="1149" y="1391"/>
                    <a:pt x="1149" y="1391"/>
                    <a:pt x="1150" y="1387"/>
                  </a:cubicBezTo>
                  <a:cubicBezTo>
                    <a:pt x="1150" y="1383"/>
                    <a:pt x="1150" y="1375"/>
                    <a:pt x="1150" y="1371"/>
                  </a:cubicBezTo>
                  <a:cubicBezTo>
                    <a:pt x="1150" y="1370"/>
                    <a:pt x="1149" y="1369"/>
                    <a:pt x="1149" y="1369"/>
                  </a:cubicBezTo>
                  <a:cubicBezTo>
                    <a:pt x="1148" y="1367"/>
                    <a:pt x="1148" y="1366"/>
                    <a:pt x="1148" y="1364"/>
                  </a:cubicBezTo>
                  <a:cubicBezTo>
                    <a:pt x="1148" y="1361"/>
                    <a:pt x="1147" y="1360"/>
                    <a:pt x="1147" y="1357"/>
                  </a:cubicBezTo>
                  <a:cubicBezTo>
                    <a:pt x="1146" y="1357"/>
                    <a:pt x="1145" y="1357"/>
                    <a:pt x="1145" y="1357"/>
                  </a:cubicBezTo>
                  <a:cubicBezTo>
                    <a:pt x="1143" y="1349"/>
                    <a:pt x="1146" y="1340"/>
                    <a:pt x="1144" y="1333"/>
                  </a:cubicBezTo>
                  <a:cubicBezTo>
                    <a:pt x="1144" y="1330"/>
                    <a:pt x="1141" y="1327"/>
                    <a:pt x="1140" y="1325"/>
                  </a:cubicBezTo>
                  <a:cubicBezTo>
                    <a:pt x="1138" y="1323"/>
                    <a:pt x="1136" y="1324"/>
                    <a:pt x="1133" y="1321"/>
                  </a:cubicBezTo>
                  <a:cubicBezTo>
                    <a:pt x="1132" y="1319"/>
                    <a:pt x="1130" y="1318"/>
                    <a:pt x="1129" y="1315"/>
                  </a:cubicBezTo>
                  <a:cubicBezTo>
                    <a:pt x="1129" y="1314"/>
                    <a:pt x="1129" y="1314"/>
                    <a:pt x="1129" y="1313"/>
                  </a:cubicBezTo>
                  <a:cubicBezTo>
                    <a:pt x="1129" y="1312"/>
                    <a:pt x="1129" y="1311"/>
                    <a:pt x="1128" y="1311"/>
                  </a:cubicBezTo>
                  <a:cubicBezTo>
                    <a:pt x="1127" y="1309"/>
                    <a:pt x="1126" y="1308"/>
                    <a:pt x="1124" y="1306"/>
                  </a:cubicBezTo>
                  <a:cubicBezTo>
                    <a:pt x="1122" y="1304"/>
                    <a:pt x="1121" y="1303"/>
                    <a:pt x="1119" y="1301"/>
                  </a:cubicBezTo>
                  <a:cubicBezTo>
                    <a:pt x="1117" y="1300"/>
                    <a:pt x="1116" y="1297"/>
                    <a:pt x="1113" y="1297"/>
                  </a:cubicBezTo>
                  <a:cubicBezTo>
                    <a:pt x="1113" y="1293"/>
                    <a:pt x="1112" y="1289"/>
                    <a:pt x="1110" y="1285"/>
                  </a:cubicBezTo>
                  <a:cubicBezTo>
                    <a:pt x="1109" y="1282"/>
                    <a:pt x="1108" y="1277"/>
                    <a:pt x="1106" y="1275"/>
                  </a:cubicBezTo>
                  <a:cubicBezTo>
                    <a:pt x="1105" y="1274"/>
                    <a:pt x="1104" y="1274"/>
                    <a:pt x="1103" y="1272"/>
                  </a:cubicBezTo>
                  <a:cubicBezTo>
                    <a:pt x="1102" y="1271"/>
                    <a:pt x="1103" y="1266"/>
                    <a:pt x="1103" y="1264"/>
                  </a:cubicBezTo>
                  <a:cubicBezTo>
                    <a:pt x="1103" y="1258"/>
                    <a:pt x="1103" y="1252"/>
                    <a:pt x="1103" y="1247"/>
                  </a:cubicBezTo>
                  <a:cubicBezTo>
                    <a:pt x="1103" y="1241"/>
                    <a:pt x="1103" y="1236"/>
                    <a:pt x="1103" y="1231"/>
                  </a:cubicBezTo>
                  <a:cubicBezTo>
                    <a:pt x="1103" y="1227"/>
                    <a:pt x="1103" y="1227"/>
                    <a:pt x="1105" y="1225"/>
                  </a:cubicBezTo>
                  <a:cubicBezTo>
                    <a:pt x="1107" y="1224"/>
                    <a:pt x="1109" y="1223"/>
                    <a:pt x="1110" y="1224"/>
                  </a:cubicBezTo>
                  <a:cubicBezTo>
                    <a:pt x="1113" y="1225"/>
                    <a:pt x="1114" y="1232"/>
                    <a:pt x="1115" y="1235"/>
                  </a:cubicBezTo>
                  <a:cubicBezTo>
                    <a:pt x="1116" y="1237"/>
                    <a:pt x="1116" y="1238"/>
                    <a:pt x="1118" y="1239"/>
                  </a:cubicBezTo>
                  <a:cubicBezTo>
                    <a:pt x="1120" y="1240"/>
                    <a:pt x="1122" y="1239"/>
                    <a:pt x="1124" y="1240"/>
                  </a:cubicBezTo>
                  <a:cubicBezTo>
                    <a:pt x="1124" y="1245"/>
                    <a:pt x="1126" y="1246"/>
                    <a:pt x="1128" y="1250"/>
                  </a:cubicBezTo>
                  <a:cubicBezTo>
                    <a:pt x="1130" y="1255"/>
                    <a:pt x="1130" y="1259"/>
                    <a:pt x="1134" y="1261"/>
                  </a:cubicBezTo>
                  <a:cubicBezTo>
                    <a:pt x="1137" y="1263"/>
                    <a:pt x="1140" y="1261"/>
                    <a:pt x="1142" y="1264"/>
                  </a:cubicBezTo>
                  <a:cubicBezTo>
                    <a:pt x="1144" y="1267"/>
                    <a:pt x="1144" y="1270"/>
                    <a:pt x="1145" y="1274"/>
                  </a:cubicBezTo>
                  <a:cubicBezTo>
                    <a:pt x="1145" y="1277"/>
                    <a:pt x="1147" y="1279"/>
                    <a:pt x="1149" y="1280"/>
                  </a:cubicBezTo>
                  <a:cubicBezTo>
                    <a:pt x="1153" y="1281"/>
                    <a:pt x="1154" y="1277"/>
                    <a:pt x="1155" y="1273"/>
                  </a:cubicBezTo>
                  <a:cubicBezTo>
                    <a:pt x="1156" y="1271"/>
                    <a:pt x="1157" y="1266"/>
                    <a:pt x="1158" y="1264"/>
                  </a:cubicBezTo>
                  <a:cubicBezTo>
                    <a:pt x="1160" y="1261"/>
                    <a:pt x="1164" y="1262"/>
                    <a:pt x="1167" y="1262"/>
                  </a:cubicBezTo>
                  <a:cubicBezTo>
                    <a:pt x="1170" y="1262"/>
                    <a:pt x="1173" y="1263"/>
                    <a:pt x="1175" y="1261"/>
                  </a:cubicBezTo>
                  <a:cubicBezTo>
                    <a:pt x="1177" y="1259"/>
                    <a:pt x="1178" y="1257"/>
                    <a:pt x="1181" y="1255"/>
                  </a:cubicBezTo>
                  <a:cubicBezTo>
                    <a:pt x="1183" y="1253"/>
                    <a:pt x="1185" y="1251"/>
                    <a:pt x="1187" y="1250"/>
                  </a:cubicBezTo>
                  <a:cubicBezTo>
                    <a:pt x="1190" y="1248"/>
                    <a:pt x="1192" y="1249"/>
                    <a:pt x="1193" y="1244"/>
                  </a:cubicBezTo>
                  <a:cubicBezTo>
                    <a:pt x="1195" y="1241"/>
                    <a:pt x="1195" y="1238"/>
                    <a:pt x="1195" y="1234"/>
                  </a:cubicBezTo>
                  <a:cubicBezTo>
                    <a:pt x="1195" y="1232"/>
                    <a:pt x="1195" y="1231"/>
                    <a:pt x="1193" y="1229"/>
                  </a:cubicBezTo>
                  <a:cubicBezTo>
                    <a:pt x="1193" y="1229"/>
                    <a:pt x="1192" y="1229"/>
                    <a:pt x="1191" y="1229"/>
                  </a:cubicBezTo>
                  <a:cubicBezTo>
                    <a:pt x="1191" y="1228"/>
                    <a:pt x="1191" y="1227"/>
                    <a:pt x="1191" y="1226"/>
                  </a:cubicBezTo>
                  <a:cubicBezTo>
                    <a:pt x="1189" y="1222"/>
                    <a:pt x="1191" y="1217"/>
                    <a:pt x="1190" y="1214"/>
                  </a:cubicBezTo>
                  <a:cubicBezTo>
                    <a:pt x="1189" y="1212"/>
                    <a:pt x="1188" y="1211"/>
                    <a:pt x="1187" y="1210"/>
                  </a:cubicBezTo>
                  <a:cubicBezTo>
                    <a:pt x="1187" y="1208"/>
                    <a:pt x="1188" y="1207"/>
                    <a:pt x="1186" y="1205"/>
                  </a:cubicBezTo>
                  <a:cubicBezTo>
                    <a:pt x="1186" y="1205"/>
                    <a:pt x="1186" y="1205"/>
                    <a:pt x="1186" y="1206"/>
                  </a:cubicBezTo>
                  <a:cubicBezTo>
                    <a:pt x="1186" y="1206"/>
                    <a:pt x="1186" y="1207"/>
                    <a:pt x="1186" y="1208"/>
                  </a:cubicBezTo>
                  <a:cubicBezTo>
                    <a:pt x="1186" y="1207"/>
                    <a:pt x="1186" y="1206"/>
                    <a:pt x="1186" y="1206"/>
                  </a:cubicBezTo>
                  <a:cubicBezTo>
                    <a:pt x="1186" y="1205"/>
                    <a:pt x="1186" y="1205"/>
                    <a:pt x="1186" y="1205"/>
                  </a:cubicBezTo>
                  <a:cubicBezTo>
                    <a:pt x="1186" y="1205"/>
                    <a:pt x="1186" y="1205"/>
                    <a:pt x="1186" y="1205"/>
                  </a:cubicBezTo>
                  <a:cubicBezTo>
                    <a:pt x="1186" y="1201"/>
                    <a:pt x="1187" y="1196"/>
                    <a:pt x="1186" y="1192"/>
                  </a:cubicBezTo>
                  <a:cubicBezTo>
                    <a:pt x="1186" y="1191"/>
                    <a:pt x="1184" y="1188"/>
                    <a:pt x="1184" y="1187"/>
                  </a:cubicBezTo>
                  <a:cubicBezTo>
                    <a:pt x="1182" y="1185"/>
                    <a:pt x="1181" y="1185"/>
                    <a:pt x="1179" y="1185"/>
                  </a:cubicBezTo>
                  <a:cubicBezTo>
                    <a:pt x="1174" y="1185"/>
                    <a:pt x="1171" y="1185"/>
                    <a:pt x="1168" y="1180"/>
                  </a:cubicBezTo>
                  <a:cubicBezTo>
                    <a:pt x="1167" y="1179"/>
                    <a:pt x="1167" y="1177"/>
                    <a:pt x="1166" y="1175"/>
                  </a:cubicBezTo>
                  <a:cubicBezTo>
                    <a:pt x="1165" y="1173"/>
                    <a:pt x="1164" y="1170"/>
                    <a:pt x="1164" y="1168"/>
                  </a:cubicBezTo>
                  <a:cubicBezTo>
                    <a:pt x="1161" y="1167"/>
                    <a:pt x="1160" y="1166"/>
                    <a:pt x="1157" y="1163"/>
                  </a:cubicBezTo>
                  <a:cubicBezTo>
                    <a:pt x="1154" y="1160"/>
                    <a:pt x="1151" y="1160"/>
                    <a:pt x="1149" y="1157"/>
                  </a:cubicBezTo>
                  <a:cubicBezTo>
                    <a:pt x="1148" y="1156"/>
                    <a:pt x="1147" y="1153"/>
                    <a:pt x="1147" y="1152"/>
                  </a:cubicBezTo>
                  <a:cubicBezTo>
                    <a:pt x="1146" y="1150"/>
                    <a:pt x="1146" y="1148"/>
                    <a:pt x="1146" y="1145"/>
                  </a:cubicBezTo>
                  <a:cubicBezTo>
                    <a:pt x="1146" y="1140"/>
                    <a:pt x="1147" y="1133"/>
                    <a:pt x="1145" y="1129"/>
                  </a:cubicBezTo>
                  <a:cubicBezTo>
                    <a:pt x="1144" y="1125"/>
                    <a:pt x="1140" y="1121"/>
                    <a:pt x="1142" y="1117"/>
                  </a:cubicBezTo>
                  <a:cubicBezTo>
                    <a:pt x="1143" y="1113"/>
                    <a:pt x="1145" y="1116"/>
                    <a:pt x="1147" y="1115"/>
                  </a:cubicBezTo>
                  <a:cubicBezTo>
                    <a:pt x="1147" y="1114"/>
                    <a:pt x="1148" y="1113"/>
                    <a:pt x="1148" y="1112"/>
                  </a:cubicBezTo>
                  <a:cubicBezTo>
                    <a:pt x="1149" y="1111"/>
                    <a:pt x="1150" y="1111"/>
                    <a:pt x="1151" y="1110"/>
                  </a:cubicBezTo>
                  <a:cubicBezTo>
                    <a:pt x="1154" y="1107"/>
                    <a:pt x="1154" y="1103"/>
                    <a:pt x="1156" y="1099"/>
                  </a:cubicBezTo>
                  <a:cubicBezTo>
                    <a:pt x="1158" y="1096"/>
                    <a:pt x="1159" y="1095"/>
                    <a:pt x="1162" y="1096"/>
                  </a:cubicBezTo>
                  <a:cubicBezTo>
                    <a:pt x="1164" y="1096"/>
                    <a:pt x="1165" y="1098"/>
                    <a:pt x="1167" y="1098"/>
                  </a:cubicBezTo>
                  <a:cubicBezTo>
                    <a:pt x="1167" y="1103"/>
                    <a:pt x="1168" y="1103"/>
                    <a:pt x="1171" y="1106"/>
                  </a:cubicBezTo>
                  <a:cubicBezTo>
                    <a:pt x="1173" y="1108"/>
                    <a:pt x="1173" y="1106"/>
                    <a:pt x="1174" y="1110"/>
                  </a:cubicBezTo>
                  <a:cubicBezTo>
                    <a:pt x="1174" y="1112"/>
                    <a:pt x="1174" y="1114"/>
                    <a:pt x="1173" y="1116"/>
                  </a:cubicBezTo>
                  <a:cubicBezTo>
                    <a:pt x="1173" y="1120"/>
                    <a:pt x="1170" y="1123"/>
                    <a:pt x="1170" y="1126"/>
                  </a:cubicBezTo>
                  <a:cubicBezTo>
                    <a:pt x="1170" y="1127"/>
                    <a:pt x="1169" y="1131"/>
                    <a:pt x="1170" y="1132"/>
                  </a:cubicBezTo>
                  <a:cubicBezTo>
                    <a:pt x="1171" y="1134"/>
                    <a:pt x="1174" y="1132"/>
                    <a:pt x="1176" y="1133"/>
                  </a:cubicBezTo>
                  <a:cubicBezTo>
                    <a:pt x="1176" y="1137"/>
                    <a:pt x="1177" y="1138"/>
                    <a:pt x="1178" y="1142"/>
                  </a:cubicBezTo>
                  <a:cubicBezTo>
                    <a:pt x="1180" y="1147"/>
                    <a:pt x="1180" y="1145"/>
                    <a:pt x="1184" y="1147"/>
                  </a:cubicBezTo>
                  <a:cubicBezTo>
                    <a:pt x="1186" y="1147"/>
                    <a:pt x="1188" y="1151"/>
                    <a:pt x="1189" y="1145"/>
                  </a:cubicBezTo>
                  <a:cubicBezTo>
                    <a:pt x="1189" y="1141"/>
                    <a:pt x="1189" y="1135"/>
                    <a:pt x="1188" y="1131"/>
                  </a:cubicBezTo>
                  <a:cubicBezTo>
                    <a:pt x="1187" y="1131"/>
                    <a:pt x="1186" y="1131"/>
                    <a:pt x="1185" y="1130"/>
                  </a:cubicBezTo>
                  <a:cubicBezTo>
                    <a:pt x="1184" y="1129"/>
                    <a:pt x="1181" y="1127"/>
                    <a:pt x="1181" y="1127"/>
                  </a:cubicBezTo>
                  <a:cubicBezTo>
                    <a:pt x="1180" y="1125"/>
                    <a:pt x="1180" y="1113"/>
                    <a:pt x="1181" y="1111"/>
                  </a:cubicBezTo>
                  <a:cubicBezTo>
                    <a:pt x="1182" y="1108"/>
                    <a:pt x="1188" y="1110"/>
                    <a:pt x="1190" y="1110"/>
                  </a:cubicBezTo>
                  <a:cubicBezTo>
                    <a:pt x="1194" y="1110"/>
                    <a:pt x="1196" y="1110"/>
                    <a:pt x="1199" y="1107"/>
                  </a:cubicBezTo>
                  <a:cubicBezTo>
                    <a:pt x="1201" y="1105"/>
                    <a:pt x="1202" y="1101"/>
                    <a:pt x="1203" y="1099"/>
                  </a:cubicBezTo>
                  <a:cubicBezTo>
                    <a:pt x="1206" y="1095"/>
                    <a:pt x="1206" y="1092"/>
                    <a:pt x="1210" y="1092"/>
                  </a:cubicBezTo>
                  <a:cubicBezTo>
                    <a:pt x="1213" y="1092"/>
                    <a:pt x="1217" y="1093"/>
                    <a:pt x="1220" y="1092"/>
                  </a:cubicBezTo>
                  <a:cubicBezTo>
                    <a:pt x="1222" y="1092"/>
                    <a:pt x="1223" y="1092"/>
                    <a:pt x="1224" y="1090"/>
                  </a:cubicBezTo>
                  <a:cubicBezTo>
                    <a:pt x="1224" y="1089"/>
                    <a:pt x="1224" y="1088"/>
                    <a:pt x="1224" y="1087"/>
                  </a:cubicBezTo>
                  <a:cubicBezTo>
                    <a:pt x="1224" y="1086"/>
                    <a:pt x="1225" y="1085"/>
                    <a:pt x="1226" y="1084"/>
                  </a:cubicBezTo>
                  <a:cubicBezTo>
                    <a:pt x="1226" y="1083"/>
                    <a:pt x="1227" y="1081"/>
                    <a:pt x="1227" y="1079"/>
                  </a:cubicBezTo>
                  <a:cubicBezTo>
                    <a:pt x="1229" y="1078"/>
                    <a:pt x="1230" y="1079"/>
                    <a:pt x="1231" y="1078"/>
                  </a:cubicBezTo>
                  <a:cubicBezTo>
                    <a:pt x="1232" y="1077"/>
                    <a:pt x="1233" y="1075"/>
                    <a:pt x="1234" y="1075"/>
                  </a:cubicBezTo>
                  <a:cubicBezTo>
                    <a:pt x="1235" y="1075"/>
                    <a:pt x="1236" y="1075"/>
                    <a:pt x="1237" y="1075"/>
                  </a:cubicBezTo>
                  <a:cubicBezTo>
                    <a:pt x="1238" y="1075"/>
                    <a:pt x="1238" y="1074"/>
                    <a:pt x="1239" y="1073"/>
                  </a:cubicBezTo>
                  <a:cubicBezTo>
                    <a:pt x="1244" y="1072"/>
                    <a:pt x="1243" y="1072"/>
                    <a:pt x="1244" y="1066"/>
                  </a:cubicBezTo>
                  <a:cubicBezTo>
                    <a:pt x="1245" y="1061"/>
                    <a:pt x="1248" y="1057"/>
                    <a:pt x="1248" y="1052"/>
                  </a:cubicBezTo>
                  <a:cubicBezTo>
                    <a:pt x="1248" y="1047"/>
                    <a:pt x="1249" y="1044"/>
                    <a:pt x="1250" y="1039"/>
                  </a:cubicBezTo>
                  <a:cubicBezTo>
                    <a:pt x="1251" y="1037"/>
                    <a:pt x="1251" y="1036"/>
                    <a:pt x="1251" y="1034"/>
                  </a:cubicBezTo>
                  <a:cubicBezTo>
                    <a:pt x="1252" y="1033"/>
                    <a:pt x="1252" y="1033"/>
                    <a:pt x="1253" y="1032"/>
                  </a:cubicBezTo>
                  <a:cubicBezTo>
                    <a:pt x="1253" y="1031"/>
                    <a:pt x="1253" y="1029"/>
                    <a:pt x="1253" y="1028"/>
                  </a:cubicBezTo>
                  <a:cubicBezTo>
                    <a:pt x="1255" y="1023"/>
                    <a:pt x="1263" y="1015"/>
                    <a:pt x="1267" y="1015"/>
                  </a:cubicBezTo>
                  <a:cubicBezTo>
                    <a:pt x="1267" y="1010"/>
                    <a:pt x="1268" y="1008"/>
                    <a:pt x="1268" y="1003"/>
                  </a:cubicBezTo>
                  <a:cubicBezTo>
                    <a:pt x="1268" y="998"/>
                    <a:pt x="1269" y="993"/>
                    <a:pt x="1268" y="989"/>
                  </a:cubicBezTo>
                  <a:cubicBezTo>
                    <a:pt x="1268" y="985"/>
                    <a:pt x="1268" y="987"/>
                    <a:pt x="1266" y="985"/>
                  </a:cubicBezTo>
                  <a:cubicBezTo>
                    <a:pt x="1265" y="984"/>
                    <a:pt x="1264" y="983"/>
                    <a:pt x="1263" y="981"/>
                  </a:cubicBezTo>
                  <a:cubicBezTo>
                    <a:pt x="1262" y="979"/>
                    <a:pt x="1261" y="974"/>
                    <a:pt x="1261" y="971"/>
                  </a:cubicBezTo>
                  <a:cubicBezTo>
                    <a:pt x="1260" y="963"/>
                    <a:pt x="1262" y="954"/>
                    <a:pt x="1258" y="946"/>
                  </a:cubicBezTo>
                  <a:cubicBezTo>
                    <a:pt x="1257" y="943"/>
                    <a:pt x="1255" y="942"/>
                    <a:pt x="1253" y="940"/>
                  </a:cubicBezTo>
                  <a:cubicBezTo>
                    <a:pt x="1250" y="938"/>
                    <a:pt x="1249" y="932"/>
                    <a:pt x="1246" y="932"/>
                  </a:cubicBezTo>
                  <a:cubicBezTo>
                    <a:pt x="1245" y="931"/>
                    <a:pt x="1245" y="930"/>
                    <a:pt x="1245" y="930"/>
                  </a:cubicBezTo>
                  <a:cubicBezTo>
                    <a:pt x="1243" y="929"/>
                    <a:pt x="1243" y="929"/>
                    <a:pt x="1241" y="927"/>
                  </a:cubicBezTo>
                  <a:cubicBezTo>
                    <a:pt x="1239" y="926"/>
                    <a:pt x="1237" y="925"/>
                    <a:pt x="1236" y="923"/>
                  </a:cubicBezTo>
                  <a:cubicBezTo>
                    <a:pt x="1234" y="918"/>
                    <a:pt x="1234" y="913"/>
                    <a:pt x="1234" y="906"/>
                  </a:cubicBezTo>
                  <a:cubicBezTo>
                    <a:pt x="1234" y="904"/>
                    <a:pt x="1234" y="901"/>
                    <a:pt x="1234" y="898"/>
                  </a:cubicBezTo>
                  <a:cubicBezTo>
                    <a:pt x="1233" y="896"/>
                    <a:pt x="1232" y="892"/>
                    <a:pt x="1233" y="889"/>
                  </a:cubicBezTo>
                  <a:cubicBezTo>
                    <a:pt x="1234" y="883"/>
                    <a:pt x="1242" y="886"/>
                    <a:pt x="1245" y="885"/>
                  </a:cubicBezTo>
                  <a:cubicBezTo>
                    <a:pt x="1245" y="883"/>
                    <a:pt x="1246" y="882"/>
                    <a:pt x="1246" y="880"/>
                  </a:cubicBezTo>
                  <a:cubicBezTo>
                    <a:pt x="1247" y="879"/>
                    <a:pt x="1248" y="876"/>
                    <a:pt x="1248" y="875"/>
                  </a:cubicBezTo>
                  <a:cubicBezTo>
                    <a:pt x="1249" y="874"/>
                    <a:pt x="1250" y="873"/>
                    <a:pt x="1250" y="871"/>
                  </a:cubicBezTo>
                  <a:cubicBezTo>
                    <a:pt x="1251" y="870"/>
                    <a:pt x="1251" y="868"/>
                    <a:pt x="1252" y="866"/>
                  </a:cubicBezTo>
                  <a:cubicBezTo>
                    <a:pt x="1250" y="866"/>
                    <a:pt x="1248" y="865"/>
                    <a:pt x="1247" y="864"/>
                  </a:cubicBezTo>
                  <a:cubicBezTo>
                    <a:pt x="1245" y="864"/>
                    <a:pt x="1242" y="864"/>
                    <a:pt x="1240" y="864"/>
                  </a:cubicBezTo>
                  <a:cubicBezTo>
                    <a:pt x="1236" y="864"/>
                    <a:pt x="1231" y="866"/>
                    <a:pt x="1226" y="864"/>
                  </a:cubicBezTo>
                  <a:cubicBezTo>
                    <a:pt x="1225" y="864"/>
                    <a:pt x="1224" y="862"/>
                    <a:pt x="1222" y="861"/>
                  </a:cubicBezTo>
                  <a:cubicBezTo>
                    <a:pt x="1220" y="860"/>
                    <a:pt x="1218" y="861"/>
                    <a:pt x="1216" y="861"/>
                  </a:cubicBezTo>
                  <a:cubicBezTo>
                    <a:pt x="1214" y="861"/>
                    <a:pt x="1213" y="860"/>
                    <a:pt x="1211" y="857"/>
                  </a:cubicBezTo>
                  <a:cubicBezTo>
                    <a:pt x="1210" y="855"/>
                    <a:pt x="1210" y="853"/>
                    <a:pt x="1208" y="852"/>
                  </a:cubicBezTo>
                  <a:cubicBezTo>
                    <a:pt x="1206" y="851"/>
                    <a:pt x="1204" y="853"/>
                    <a:pt x="1203" y="850"/>
                  </a:cubicBezTo>
                  <a:cubicBezTo>
                    <a:pt x="1202" y="848"/>
                    <a:pt x="1203" y="845"/>
                    <a:pt x="1204" y="844"/>
                  </a:cubicBezTo>
                  <a:cubicBezTo>
                    <a:pt x="1205" y="843"/>
                    <a:pt x="1206" y="843"/>
                    <a:pt x="1206" y="843"/>
                  </a:cubicBezTo>
                  <a:cubicBezTo>
                    <a:pt x="1207" y="843"/>
                    <a:pt x="1209" y="842"/>
                    <a:pt x="1209" y="842"/>
                  </a:cubicBezTo>
                  <a:cubicBezTo>
                    <a:pt x="1212" y="841"/>
                    <a:pt x="1213" y="842"/>
                    <a:pt x="1214" y="838"/>
                  </a:cubicBezTo>
                  <a:cubicBezTo>
                    <a:pt x="1215" y="836"/>
                    <a:pt x="1214" y="833"/>
                    <a:pt x="1215" y="831"/>
                  </a:cubicBezTo>
                  <a:cubicBezTo>
                    <a:pt x="1216" y="831"/>
                    <a:pt x="1216" y="830"/>
                    <a:pt x="1217" y="830"/>
                  </a:cubicBezTo>
                  <a:cubicBezTo>
                    <a:pt x="1217" y="828"/>
                    <a:pt x="1217" y="827"/>
                    <a:pt x="1218" y="826"/>
                  </a:cubicBezTo>
                  <a:cubicBezTo>
                    <a:pt x="1219" y="822"/>
                    <a:pt x="1220" y="815"/>
                    <a:pt x="1224" y="815"/>
                  </a:cubicBezTo>
                  <a:cubicBezTo>
                    <a:pt x="1224" y="814"/>
                    <a:pt x="1224" y="813"/>
                    <a:pt x="1224" y="812"/>
                  </a:cubicBezTo>
                  <a:cubicBezTo>
                    <a:pt x="1227" y="811"/>
                    <a:pt x="1229" y="811"/>
                    <a:pt x="1229" y="815"/>
                  </a:cubicBezTo>
                  <a:cubicBezTo>
                    <a:pt x="1229" y="817"/>
                    <a:pt x="1229" y="819"/>
                    <a:pt x="1229" y="821"/>
                  </a:cubicBezTo>
                  <a:cubicBezTo>
                    <a:pt x="1229" y="823"/>
                    <a:pt x="1230" y="824"/>
                    <a:pt x="1230" y="826"/>
                  </a:cubicBezTo>
                  <a:cubicBezTo>
                    <a:pt x="1230" y="828"/>
                    <a:pt x="1231" y="832"/>
                    <a:pt x="1232" y="834"/>
                  </a:cubicBezTo>
                  <a:cubicBezTo>
                    <a:pt x="1232" y="835"/>
                    <a:pt x="1234" y="835"/>
                    <a:pt x="1234" y="836"/>
                  </a:cubicBezTo>
                  <a:cubicBezTo>
                    <a:pt x="1236" y="837"/>
                    <a:pt x="1236" y="838"/>
                    <a:pt x="1238" y="838"/>
                  </a:cubicBezTo>
                  <a:cubicBezTo>
                    <a:pt x="1238" y="839"/>
                    <a:pt x="1238" y="840"/>
                    <a:pt x="1238" y="841"/>
                  </a:cubicBezTo>
                  <a:cubicBezTo>
                    <a:pt x="1240" y="841"/>
                    <a:pt x="1241" y="843"/>
                    <a:pt x="1243" y="843"/>
                  </a:cubicBezTo>
                  <a:cubicBezTo>
                    <a:pt x="1248" y="843"/>
                    <a:pt x="1243" y="840"/>
                    <a:pt x="1246" y="837"/>
                  </a:cubicBezTo>
                  <a:cubicBezTo>
                    <a:pt x="1247" y="835"/>
                    <a:pt x="1252" y="836"/>
                    <a:pt x="1253" y="836"/>
                  </a:cubicBezTo>
                  <a:cubicBezTo>
                    <a:pt x="1256" y="836"/>
                    <a:pt x="1257" y="838"/>
                    <a:pt x="1259" y="838"/>
                  </a:cubicBezTo>
                  <a:cubicBezTo>
                    <a:pt x="1259" y="839"/>
                    <a:pt x="1259" y="840"/>
                    <a:pt x="1259" y="841"/>
                  </a:cubicBezTo>
                  <a:cubicBezTo>
                    <a:pt x="1261" y="841"/>
                    <a:pt x="1262" y="842"/>
                    <a:pt x="1263" y="842"/>
                  </a:cubicBezTo>
                  <a:cubicBezTo>
                    <a:pt x="1263" y="844"/>
                    <a:pt x="1262" y="847"/>
                    <a:pt x="1263" y="849"/>
                  </a:cubicBezTo>
                  <a:cubicBezTo>
                    <a:pt x="1264" y="851"/>
                    <a:pt x="1265" y="851"/>
                    <a:pt x="1267" y="852"/>
                  </a:cubicBezTo>
                  <a:cubicBezTo>
                    <a:pt x="1268" y="853"/>
                    <a:pt x="1270" y="853"/>
                    <a:pt x="1270" y="854"/>
                  </a:cubicBezTo>
                  <a:cubicBezTo>
                    <a:pt x="1272" y="856"/>
                    <a:pt x="1272" y="858"/>
                    <a:pt x="1274" y="858"/>
                  </a:cubicBezTo>
                  <a:cubicBezTo>
                    <a:pt x="1274" y="860"/>
                    <a:pt x="1275" y="864"/>
                    <a:pt x="1276" y="866"/>
                  </a:cubicBezTo>
                  <a:cubicBezTo>
                    <a:pt x="1276" y="867"/>
                    <a:pt x="1276" y="869"/>
                    <a:pt x="1277" y="870"/>
                  </a:cubicBezTo>
                  <a:cubicBezTo>
                    <a:pt x="1278" y="871"/>
                    <a:pt x="1278" y="871"/>
                    <a:pt x="1279" y="872"/>
                  </a:cubicBezTo>
                  <a:cubicBezTo>
                    <a:pt x="1280" y="872"/>
                    <a:pt x="1280" y="874"/>
                    <a:pt x="1281" y="875"/>
                  </a:cubicBezTo>
                  <a:cubicBezTo>
                    <a:pt x="1282" y="875"/>
                    <a:pt x="1284" y="874"/>
                    <a:pt x="1285" y="875"/>
                  </a:cubicBezTo>
                  <a:cubicBezTo>
                    <a:pt x="1286" y="876"/>
                    <a:pt x="1287" y="879"/>
                    <a:pt x="1287" y="882"/>
                  </a:cubicBezTo>
                  <a:cubicBezTo>
                    <a:pt x="1288" y="889"/>
                    <a:pt x="1287" y="896"/>
                    <a:pt x="1287" y="903"/>
                  </a:cubicBezTo>
                  <a:cubicBezTo>
                    <a:pt x="1287" y="905"/>
                    <a:pt x="1287" y="906"/>
                    <a:pt x="1287" y="908"/>
                  </a:cubicBezTo>
                  <a:cubicBezTo>
                    <a:pt x="1287" y="909"/>
                    <a:pt x="1285" y="909"/>
                    <a:pt x="1286" y="912"/>
                  </a:cubicBezTo>
                  <a:cubicBezTo>
                    <a:pt x="1286" y="913"/>
                    <a:pt x="1290" y="917"/>
                    <a:pt x="1291" y="917"/>
                  </a:cubicBezTo>
                  <a:cubicBezTo>
                    <a:pt x="1292" y="918"/>
                    <a:pt x="1293" y="916"/>
                    <a:pt x="1294" y="917"/>
                  </a:cubicBezTo>
                  <a:cubicBezTo>
                    <a:pt x="1295" y="918"/>
                    <a:pt x="1295" y="920"/>
                    <a:pt x="1296" y="920"/>
                  </a:cubicBezTo>
                  <a:cubicBezTo>
                    <a:pt x="1299" y="921"/>
                    <a:pt x="1299" y="917"/>
                    <a:pt x="1301" y="915"/>
                  </a:cubicBezTo>
                  <a:cubicBezTo>
                    <a:pt x="1301" y="913"/>
                    <a:pt x="1302" y="910"/>
                    <a:pt x="1304" y="909"/>
                  </a:cubicBezTo>
                  <a:cubicBezTo>
                    <a:pt x="1305" y="907"/>
                    <a:pt x="1309" y="908"/>
                    <a:pt x="1311" y="908"/>
                  </a:cubicBezTo>
                  <a:cubicBezTo>
                    <a:pt x="1315" y="908"/>
                    <a:pt x="1314" y="908"/>
                    <a:pt x="1315" y="903"/>
                  </a:cubicBezTo>
                  <a:cubicBezTo>
                    <a:pt x="1315" y="901"/>
                    <a:pt x="1315" y="900"/>
                    <a:pt x="1316" y="899"/>
                  </a:cubicBezTo>
                  <a:cubicBezTo>
                    <a:pt x="1317" y="897"/>
                    <a:pt x="1318" y="899"/>
                    <a:pt x="1319" y="898"/>
                  </a:cubicBezTo>
                  <a:cubicBezTo>
                    <a:pt x="1322" y="895"/>
                    <a:pt x="1322" y="882"/>
                    <a:pt x="1321" y="877"/>
                  </a:cubicBezTo>
                  <a:cubicBezTo>
                    <a:pt x="1320" y="877"/>
                    <a:pt x="1320" y="877"/>
                    <a:pt x="1319" y="876"/>
                  </a:cubicBezTo>
                  <a:cubicBezTo>
                    <a:pt x="1318" y="869"/>
                    <a:pt x="1314" y="867"/>
                    <a:pt x="1310" y="864"/>
                  </a:cubicBezTo>
                  <a:cubicBezTo>
                    <a:pt x="1307" y="861"/>
                    <a:pt x="1305" y="860"/>
                    <a:pt x="1304" y="854"/>
                  </a:cubicBezTo>
                  <a:cubicBezTo>
                    <a:pt x="1303" y="854"/>
                    <a:pt x="1302" y="852"/>
                    <a:pt x="1301" y="852"/>
                  </a:cubicBezTo>
                  <a:cubicBezTo>
                    <a:pt x="1300" y="852"/>
                    <a:pt x="1299" y="852"/>
                    <a:pt x="1298" y="852"/>
                  </a:cubicBezTo>
                  <a:cubicBezTo>
                    <a:pt x="1298" y="852"/>
                    <a:pt x="1297" y="852"/>
                    <a:pt x="1297" y="851"/>
                  </a:cubicBezTo>
                  <a:cubicBezTo>
                    <a:pt x="1294" y="850"/>
                    <a:pt x="1292" y="849"/>
                    <a:pt x="1291" y="845"/>
                  </a:cubicBezTo>
                  <a:cubicBezTo>
                    <a:pt x="1290" y="842"/>
                    <a:pt x="1290" y="834"/>
                    <a:pt x="1292" y="832"/>
                  </a:cubicBezTo>
                  <a:cubicBezTo>
                    <a:pt x="1293" y="830"/>
                    <a:pt x="1297" y="829"/>
                    <a:pt x="1299" y="829"/>
                  </a:cubicBezTo>
                  <a:cubicBezTo>
                    <a:pt x="1300" y="826"/>
                    <a:pt x="1299" y="823"/>
                    <a:pt x="1301" y="820"/>
                  </a:cubicBezTo>
                  <a:cubicBezTo>
                    <a:pt x="1302" y="818"/>
                    <a:pt x="1304" y="818"/>
                    <a:pt x="1305" y="815"/>
                  </a:cubicBezTo>
                  <a:cubicBezTo>
                    <a:pt x="1307" y="809"/>
                    <a:pt x="1304" y="801"/>
                    <a:pt x="1306" y="794"/>
                  </a:cubicBezTo>
                  <a:cubicBezTo>
                    <a:pt x="1307" y="790"/>
                    <a:pt x="1313" y="787"/>
                    <a:pt x="1316" y="787"/>
                  </a:cubicBezTo>
                  <a:cubicBezTo>
                    <a:pt x="1319" y="787"/>
                    <a:pt x="1321" y="787"/>
                    <a:pt x="1324" y="787"/>
                  </a:cubicBezTo>
                  <a:cubicBezTo>
                    <a:pt x="1327" y="787"/>
                    <a:pt x="1328" y="789"/>
                    <a:pt x="1330" y="790"/>
                  </a:cubicBezTo>
                  <a:cubicBezTo>
                    <a:pt x="1333" y="792"/>
                    <a:pt x="1334" y="791"/>
                    <a:pt x="1335" y="788"/>
                  </a:cubicBezTo>
                  <a:cubicBezTo>
                    <a:pt x="1336" y="785"/>
                    <a:pt x="1337" y="783"/>
                    <a:pt x="1338" y="780"/>
                  </a:cubicBezTo>
                  <a:cubicBezTo>
                    <a:pt x="1339" y="777"/>
                    <a:pt x="1339" y="775"/>
                    <a:pt x="1341" y="773"/>
                  </a:cubicBezTo>
                  <a:cubicBezTo>
                    <a:pt x="1343" y="771"/>
                    <a:pt x="1344" y="769"/>
                    <a:pt x="1345" y="766"/>
                  </a:cubicBezTo>
                  <a:cubicBezTo>
                    <a:pt x="1346" y="764"/>
                    <a:pt x="1347" y="760"/>
                    <a:pt x="1348" y="758"/>
                  </a:cubicBezTo>
                  <a:cubicBezTo>
                    <a:pt x="1349" y="757"/>
                    <a:pt x="1350" y="756"/>
                    <a:pt x="1350" y="756"/>
                  </a:cubicBezTo>
                  <a:cubicBezTo>
                    <a:pt x="1351" y="754"/>
                    <a:pt x="1351" y="754"/>
                    <a:pt x="1352" y="753"/>
                  </a:cubicBezTo>
                  <a:cubicBezTo>
                    <a:pt x="1354" y="746"/>
                    <a:pt x="1356" y="740"/>
                    <a:pt x="1357" y="733"/>
                  </a:cubicBezTo>
                  <a:cubicBezTo>
                    <a:pt x="1358" y="728"/>
                    <a:pt x="1360" y="720"/>
                    <a:pt x="1364" y="717"/>
                  </a:cubicBezTo>
                  <a:cubicBezTo>
                    <a:pt x="1366" y="716"/>
                    <a:pt x="1368" y="716"/>
                    <a:pt x="1369" y="714"/>
                  </a:cubicBezTo>
                  <a:cubicBezTo>
                    <a:pt x="1370" y="711"/>
                    <a:pt x="1371" y="708"/>
                    <a:pt x="1372" y="705"/>
                  </a:cubicBezTo>
                  <a:cubicBezTo>
                    <a:pt x="1372" y="701"/>
                    <a:pt x="1371" y="699"/>
                    <a:pt x="1372" y="696"/>
                  </a:cubicBezTo>
                  <a:cubicBezTo>
                    <a:pt x="1373" y="693"/>
                    <a:pt x="1375" y="692"/>
                    <a:pt x="1375" y="689"/>
                  </a:cubicBezTo>
                  <a:cubicBezTo>
                    <a:pt x="1376" y="686"/>
                    <a:pt x="1375" y="682"/>
                    <a:pt x="1375" y="679"/>
                  </a:cubicBezTo>
                  <a:cubicBezTo>
                    <a:pt x="1375" y="675"/>
                    <a:pt x="1376" y="670"/>
                    <a:pt x="1375" y="667"/>
                  </a:cubicBezTo>
                  <a:cubicBezTo>
                    <a:pt x="1375" y="665"/>
                    <a:pt x="1373" y="660"/>
                    <a:pt x="1373" y="660"/>
                  </a:cubicBezTo>
                  <a:cubicBezTo>
                    <a:pt x="1371" y="658"/>
                    <a:pt x="1369" y="659"/>
                    <a:pt x="1368" y="656"/>
                  </a:cubicBezTo>
                  <a:cubicBezTo>
                    <a:pt x="1367" y="655"/>
                    <a:pt x="1368" y="652"/>
                    <a:pt x="1368" y="650"/>
                  </a:cubicBezTo>
                  <a:cubicBezTo>
                    <a:pt x="1368" y="649"/>
                    <a:pt x="1367" y="648"/>
                    <a:pt x="1367" y="647"/>
                  </a:cubicBezTo>
                  <a:cubicBezTo>
                    <a:pt x="1366" y="642"/>
                    <a:pt x="1367" y="639"/>
                    <a:pt x="1368" y="635"/>
                  </a:cubicBezTo>
                  <a:cubicBezTo>
                    <a:pt x="1368" y="632"/>
                    <a:pt x="1368" y="629"/>
                    <a:pt x="1369" y="626"/>
                  </a:cubicBezTo>
                  <a:cubicBezTo>
                    <a:pt x="1370" y="623"/>
                    <a:pt x="1370" y="621"/>
                    <a:pt x="1370" y="617"/>
                  </a:cubicBezTo>
                  <a:cubicBezTo>
                    <a:pt x="1370" y="615"/>
                    <a:pt x="1372" y="614"/>
                    <a:pt x="1372" y="612"/>
                  </a:cubicBezTo>
                  <a:cubicBezTo>
                    <a:pt x="1372" y="609"/>
                    <a:pt x="1371" y="610"/>
                    <a:pt x="1371" y="608"/>
                  </a:cubicBezTo>
                  <a:cubicBezTo>
                    <a:pt x="1370" y="605"/>
                    <a:pt x="1369" y="602"/>
                    <a:pt x="1368" y="599"/>
                  </a:cubicBezTo>
                  <a:cubicBezTo>
                    <a:pt x="1367" y="596"/>
                    <a:pt x="1365" y="594"/>
                    <a:pt x="1364" y="591"/>
                  </a:cubicBezTo>
                  <a:cubicBezTo>
                    <a:pt x="1363" y="589"/>
                    <a:pt x="1363" y="588"/>
                    <a:pt x="1363" y="585"/>
                  </a:cubicBezTo>
                  <a:cubicBezTo>
                    <a:pt x="1362" y="583"/>
                    <a:pt x="1362" y="582"/>
                    <a:pt x="1361" y="579"/>
                  </a:cubicBezTo>
                  <a:cubicBezTo>
                    <a:pt x="1357" y="579"/>
                    <a:pt x="1358" y="573"/>
                    <a:pt x="1356" y="570"/>
                  </a:cubicBezTo>
                  <a:cubicBezTo>
                    <a:pt x="1354" y="566"/>
                    <a:pt x="1351" y="566"/>
                    <a:pt x="1348" y="566"/>
                  </a:cubicBezTo>
                  <a:cubicBezTo>
                    <a:pt x="1345" y="567"/>
                    <a:pt x="1347" y="567"/>
                    <a:pt x="1345" y="569"/>
                  </a:cubicBezTo>
                  <a:cubicBezTo>
                    <a:pt x="1343" y="572"/>
                    <a:pt x="1342" y="571"/>
                    <a:pt x="1340" y="572"/>
                  </a:cubicBezTo>
                  <a:cubicBezTo>
                    <a:pt x="1337" y="573"/>
                    <a:pt x="1334" y="576"/>
                    <a:pt x="1330" y="575"/>
                  </a:cubicBezTo>
                  <a:cubicBezTo>
                    <a:pt x="1330" y="574"/>
                    <a:pt x="1330" y="573"/>
                    <a:pt x="1330" y="572"/>
                  </a:cubicBezTo>
                  <a:cubicBezTo>
                    <a:pt x="1328" y="572"/>
                    <a:pt x="1327" y="570"/>
                    <a:pt x="1326" y="568"/>
                  </a:cubicBezTo>
                  <a:cubicBezTo>
                    <a:pt x="1324" y="567"/>
                    <a:pt x="1322" y="566"/>
                    <a:pt x="1320" y="566"/>
                  </a:cubicBezTo>
                  <a:cubicBezTo>
                    <a:pt x="1318" y="566"/>
                    <a:pt x="1316" y="567"/>
                    <a:pt x="1314" y="566"/>
                  </a:cubicBezTo>
                  <a:cubicBezTo>
                    <a:pt x="1311" y="565"/>
                    <a:pt x="1312" y="562"/>
                    <a:pt x="1310" y="561"/>
                  </a:cubicBezTo>
                  <a:cubicBezTo>
                    <a:pt x="1311" y="557"/>
                    <a:pt x="1312" y="555"/>
                    <a:pt x="1314" y="552"/>
                  </a:cubicBezTo>
                  <a:cubicBezTo>
                    <a:pt x="1315" y="551"/>
                    <a:pt x="1317" y="548"/>
                    <a:pt x="1318" y="547"/>
                  </a:cubicBezTo>
                  <a:cubicBezTo>
                    <a:pt x="1318" y="547"/>
                    <a:pt x="1319" y="547"/>
                    <a:pt x="1320" y="547"/>
                  </a:cubicBezTo>
                  <a:cubicBezTo>
                    <a:pt x="1321" y="546"/>
                    <a:pt x="1321" y="545"/>
                    <a:pt x="1322" y="545"/>
                  </a:cubicBezTo>
                  <a:cubicBezTo>
                    <a:pt x="1325" y="542"/>
                    <a:pt x="1327" y="540"/>
                    <a:pt x="1328" y="534"/>
                  </a:cubicBezTo>
                  <a:cubicBezTo>
                    <a:pt x="1329" y="532"/>
                    <a:pt x="1328" y="529"/>
                    <a:pt x="1329" y="526"/>
                  </a:cubicBezTo>
                  <a:cubicBezTo>
                    <a:pt x="1329" y="523"/>
                    <a:pt x="1330" y="522"/>
                    <a:pt x="1330" y="519"/>
                  </a:cubicBezTo>
                  <a:cubicBezTo>
                    <a:pt x="1331" y="519"/>
                    <a:pt x="1332" y="519"/>
                    <a:pt x="1332" y="519"/>
                  </a:cubicBezTo>
                  <a:cubicBezTo>
                    <a:pt x="1332" y="517"/>
                    <a:pt x="1333" y="515"/>
                    <a:pt x="1334" y="514"/>
                  </a:cubicBezTo>
                  <a:cubicBezTo>
                    <a:pt x="1335" y="512"/>
                    <a:pt x="1337" y="512"/>
                    <a:pt x="1338" y="511"/>
                  </a:cubicBezTo>
                  <a:cubicBezTo>
                    <a:pt x="1339" y="510"/>
                    <a:pt x="1339" y="508"/>
                    <a:pt x="1340" y="506"/>
                  </a:cubicBezTo>
                  <a:cubicBezTo>
                    <a:pt x="1340" y="506"/>
                    <a:pt x="1341" y="505"/>
                    <a:pt x="1341" y="505"/>
                  </a:cubicBezTo>
                  <a:cubicBezTo>
                    <a:pt x="1342" y="503"/>
                    <a:pt x="1341" y="502"/>
                    <a:pt x="1342" y="500"/>
                  </a:cubicBezTo>
                  <a:cubicBezTo>
                    <a:pt x="1343" y="497"/>
                    <a:pt x="1345" y="494"/>
                    <a:pt x="1346" y="491"/>
                  </a:cubicBezTo>
                  <a:cubicBezTo>
                    <a:pt x="1347" y="490"/>
                    <a:pt x="1347" y="487"/>
                    <a:pt x="1348" y="486"/>
                  </a:cubicBezTo>
                  <a:cubicBezTo>
                    <a:pt x="1349" y="483"/>
                    <a:pt x="1349" y="482"/>
                    <a:pt x="1349" y="479"/>
                  </a:cubicBezTo>
                  <a:cubicBezTo>
                    <a:pt x="1351" y="479"/>
                    <a:pt x="1352" y="477"/>
                    <a:pt x="1354" y="477"/>
                  </a:cubicBezTo>
                  <a:cubicBezTo>
                    <a:pt x="1356" y="476"/>
                    <a:pt x="1358" y="478"/>
                    <a:pt x="1360" y="475"/>
                  </a:cubicBezTo>
                  <a:cubicBezTo>
                    <a:pt x="1362" y="473"/>
                    <a:pt x="1362" y="471"/>
                    <a:pt x="1363" y="469"/>
                  </a:cubicBezTo>
                  <a:cubicBezTo>
                    <a:pt x="1364" y="467"/>
                    <a:pt x="1365" y="463"/>
                    <a:pt x="1366" y="463"/>
                  </a:cubicBezTo>
                  <a:cubicBezTo>
                    <a:pt x="1370" y="460"/>
                    <a:pt x="1376" y="465"/>
                    <a:pt x="1379" y="466"/>
                  </a:cubicBezTo>
                  <a:cubicBezTo>
                    <a:pt x="1383" y="468"/>
                    <a:pt x="1386" y="470"/>
                    <a:pt x="1387" y="477"/>
                  </a:cubicBezTo>
                  <a:cubicBezTo>
                    <a:pt x="1392" y="478"/>
                    <a:pt x="1406" y="478"/>
                    <a:pt x="1406" y="468"/>
                  </a:cubicBezTo>
                  <a:cubicBezTo>
                    <a:pt x="1407" y="468"/>
                    <a:pt x="1409" y="467"/>
                    <a:pt x="1410" y="467"/>
                  </a:cubicBezTo>
                  <a:cubicBezTo>
                    <a:pt x="1412" y="466"/>
                    <a:pt x="1413" y="466"/>
                    <a:pt x="1415" y="465"/>
                  </a:cubicBezTo>
                  <a:cubicBezTo>
                    <a:pt x="1416" y="464"/>
                    <a:pt x="1416" y="463"/>
                    <a:pt x="1418" y="463"/>
                  </a:cubicBezTo>
                  <a:cubicBezTo>
                    <a:pt x="1420" y="463"/>
                    <a:pt x="1423" y="462"/>
                    <a:pt x="1425" y="463"/>
                  </a:cubicBezTo>
                  <a:cubicBezTo>
                    <a:pt x="1426" y="463"/>
                    <a:pt x="1427" y="464"/>
                    <a:pt x="1428" y="465"/>
                  </a:cubicBezTo>
                  <a:cubicBezTo>
                    <a:pt x="1430" y="466"/>
                    <a:pt x="1431" y="466"/>
                    <a:pt x="1433" y="466"/>
                  </a:cubicBezTo>
                  <a:cubicBezTo>
                    <a:pt x="1436" y="467"/>
                    <a:pt x="1436" y="467"/>
                    <a:pt x="1437" y="469"/>
                  </a:cubicBezTo>
                  <a:cubicBezTo>
                    <a:pt x="1439" y="472"/>
                    <a:pt x="1441" y="472"/>
                    <a:pt x="1443" y="472"/>
                  </a:cubicBezTo>
                  <a:cubicBezTo>
                    <a:pt x="1443" y="475"/>
                    <a:pt x="1444" y="481"/>
                    <a:pt x="1446" y="483"/>
                  </a:cubicBezTo>
                  <a:cubicBezTo>
                    <a:pt x="1447" y="484"/>
                    <a:pt x="1448" y="484"/>
                    <a:pt x="1450" y="484"/>
                  </a:cubicBezTo>
                  <a:cubicBezTo>
                    <a:pt x="1451" y="484"/>
                    <a:pt x="1452" y="484"/>
                    <a:pt x="1452" y="484"/>
                  </a:cubicBezTo>
                  <a:cubicBezTo>
                    <a:pt x="1454" y="483"/>
                    <a:pt x="1453" y="482"/>
                    <a:pt x="1454" y="481"/>
                  </a:cubicBezTo>
                  <a:cubicBezTo>
                    <a:pt x="1456" y="478"/>
                    <a:pt x="1457" y="476"/>
                    <a:pt x="1460" y="475"/>
                  </a:cubicBezTo>
                  <a:cubicBezTo>
                    <a:pt x="1464" y="474"/>
                    <a:pt x="1467" y="476"/>
                    <a:pt x="1470" y="477"/>
                  </a:cubicBezTo>
                  <a:cubicBezTo>
                    <a:pt x="1473" y="478"/>
                    <a:pt x="1475" y="474"/>
                    <a:pt x="1477" y="473"/>
                  </a:cubicBezTo>
                  <a:cubicBezTo>
                    <a:pt x="1478" y="473"/>
                    <a:pt x="1479" y="473"/>
                    <a:pt x="1480" y="474"/>
                  </a:cubicBezTo>
                  <a:cubicBezTo>
                    <a:pt x="1481" y="474"/>
                    <a:pt x="1481" y="473"/>
                    <a:pt x="1481" y="472"/>
                  </a:cubicBezTo>
                  <a:cubicBezTo>
                    <a:pt x="1482" y="471"/>
                    <a:pt x="1484" y="467"/>
                    <a:pt x="1484" y="466"/>
                  </a:cubicBezTo>
                  <a:cubicBezTo>
                    <a:pt x="1484" y="462"/>
                    <a:pt x="1479" y="461"/>
                    <a:pt x="1477" y="460"/>
                  </a:cubicBezTo>
                  <a:cubicBezTo>
                    <a:pt x="1474" y="458"/>
                    <a:pt x="1474" y="454"/>
                    <a:pt x="1473" y="449"/>
                  </a:cubicBezTo>
                  <a:cubicBezTo>
                    <a:pt x="1475" y="449"/>
                    <a:pt x="1476" y="448"/>
                    <a:pt x="1477" y="447"/>
                  </a:cubicBezTo>
                  <a:cubicBezTo>
                    <a:pt x="1479" y="446"/>
                    <a:pt x="1481" y="447"/>
                    <a:pt x="1483" y="445"/>
                  </a:cubicBezTo>
                  <a:cubicBezTo>
                    <a:pt x="1484" y="443"/>
                    <a:pt x="1484" y="442"/>
                    <a:pt x="1484" y="439"/>
                  </a:cubicBezTo>
                  <a:cubicBezTo>
                    <a:pt x="1485" y="438"/>
                    <a:pt x="1485" y="438"/>
                    <a:pt x="1485" y="437"/>
                  </a:cubicBezTo>
                  <a:cubicBezTo>
                    <a:pt x="1485" y="435"/>
                    <a:pt x="1485" y="433"/>
                    <a:pt x="1485" y="431"/>
                  </a:cubicBezTo>
                  <a:cubicBezTo>
                    <a:pt x="1486" y="426"/>
                    <a:pt x="1488" y="425"/>
                    <a:pt x="1491" y="423"/>
                  </a:cubicBezTo>
                  <a:cubicBezTo>
                    <a:pt x="1493" y="422"/>
                    <a:pt x="1494" y="420"/>
                    <a:pt x="1495" y="419"/>
                  </a:cubicBezTo>
                  <a:cubicBezTo>
                    <a:pt x="1496" y="418"/>
                    <a:pt x="1498" y="419"/>
                    <a:pt x="1499" y="419"/>
                  </a:cubicBezTo>
                  <a:cubicBezTo>
                    <a:pt x="1500" y="418"/>
                    <a:pt x="1500" y="417"/>
                    <a:pt x="1501" y="417"/>
                  </a:cubicBezTo>
                  <a:cubicBezTo>
                    <a:pt x="1501" y="416"/>
                    <a:pt x="1502" y="415"/>
                    <a:pt x="1502" y="414"/>
                  </a:cubicBezTo>
                  <a:cubicBezTo>
                    <a:pt x="1504" y="414"/>
                    <a:pt x="1506" y="411"/>
                    <a:pt x="1508" y="410"/>
                  </a:cubicBezTo>
                  <a:cubicBezTo>
                    <a:pt x="1509" y="410"/>
                    <a:pt x="1511" y="410"/>
                    <a:pt x="1512" y="410"/>
                  </a:cubicBezTo>
                  <a:cubicBezTo>
                    <a:pt x="1514" y="411"/>
                    <a:pt x="1513" y="410"/>
                    <a:pt x="1514" y="413"/>
                  </a:cubicBezTo>
                  <a:cubicBezTo>
                    <a:pt x="1516" y="417"/>
                    <a:pt x="1515" y="419"/>
                    <a:pt x="1514" y="422"/>
                  </a:cubicBezTo>
                  <a:cubicBezTo>
                    <a:pt x="1513" y="425"/>
                    <a:pt x="1512" y="430"/>
                    <a:pt x="1513" y="433"/>
                  </a:cubicBezTo>
                  <a:cubicBezTo>
                    <a:pt x="1514" y="435"/>
                    <a:pt x="1517" y="436"/>
                    <a:pt x="1518" y="438"/>
                  </a:cubicBezTo>
                  <a:cubicBezTo>
                    <a:pt x="1519" y="439"/>
                    <a:pt x="1519" y="440"/>
                    <a:pt x="1520" y="440"/>
                  </a:cubicBezTo>
                  <a:cubicBezTo>
                    <a:pt x="1522" y="441"/>
                    <a:pt x="1524" y="440"/>
                    <a:pt x="1526" y="440"/>
                  </a:cubicBezTo>
                  <a:cubicBezTo>
                    <a:pt x="1528" y="440"/>
                    <a:pt x="1529" y="438"/>
                    <a:pt x="1531" y="436"/>
                  </a:cubicBezTo>
                  <a:cubicBezTo>
                    <a:pt x="1534" y="434"/>
                    <a:pt x="1537" y="436"/>
                    <a:pt x="1540" y="435"/>
                  </a:cubicBezTo>
                  <a:cubicBezTo>
                    <a:pt x="1541" y="433"/>
                    <a:pt x="1540" y="431"/>
                    <a:pt x="1541" y="430"/>
                  </a:cubicBezTo>
                  <a:cubicBezTo>
                    <a:pt x="1541" y="429"/>
                    <a:pt x="1542" y="428"/>
                    <a:pt x="1543" y="427"/>
                  </a:cubicBezTo>
                  <a:cubicBezTo>
                    <a:pt x="1544" y="425"/>
                    <a:pt x="1544" y="421"/>
                    <a:pt x="1545" y="418"/>
                  </a:cubicBezTo>
                  <a:cubicBezTo>
                    <a:pt x="1545" y="415"/>
                    <a:pt x="1547" y="414"/>
                    <a:pt x="1549" y="412"/>
                  </a:cubicBezTo>
                  <a:cubicBezTo>
                    <a:pt x="1550" y="411"/>
                    <a:pt x="1552" y="409"/>
                    <a:pt x="1552" y="405"/>
                  </a:cubicBezTo>
                  <a:cubicBezTo>
                    <a:pt x="1553" y="405"/>
                    <a:pt x="1554" y="405"/>
                    <a:pt x="1554" y="405"/>
                  </a:cubicBezTo>
                  <a:cubicBezTo>
                    <a:pt x="1554" y="404"/>
                    <a:pt x="1555" y="403"/>
                    <a:pt x="1555" y="402"/>
                  </a:cubicBezTo>
                  <a:cubicBezTo>
                    <a:pt x="1556" y="401"/>
                    <a:pt x="1562" y="400"/>
                    <a:pt x="1563" y="402"/>
                  </a:cubicBezTo>
                  <a:cubicBezTo>
                    <a:pt x="1564" y="403"/>
                    <a:pt x="1564" y="412"/>
                    <a:pt x="1563" y="414"/>
                  </a:cubicBezTo>
                  <a:cubicBezTo>
                    <a:pt x="1563" y="419"/>
                    <a:pt x="1561" y="419"/>
                    <a:pt x="1558" y="423"/>
                  </a:cubicBezTo>
                  <a:cubicBezTo>
                    <a:pt x="1556" y="426"/>
                    <a:pt x="1556" y="430"/>
                    <a:pt x="1553" y="433"/>
                  </a:cubicBezTo>
                  <a:cubicBezTo>
                    <a:pt x="1551" y="435"/>
                    <a:pt x="1548" y="435"/>
                    <a:pt x="1545" y="438"/>
                  </a:cubicBezTo>
                  <a:cubicBezTo>
                    <a:pt x="1545" y="439"/>
                    <a:pt x="1544" y="440"/>
                    <a:pt x="1543" y="440"/>
                  </a:cubicBezTo>
                  <a:cubicBezTo>
                    <a:pt x="1543" y="442"/>
                    <a:pt x="1543" y="443"/>
                    <a:pt x="1542" y="443"/>
                  </a:cubicBezTo>
                  <a:cubicBezTo>
                    <a:pt x="1541" y="443"/>
                    <a:pt x="1540" y="444"/>
                    <a:pt x="1540" y="444"/>
                  </a:cubicBezTo>
                  <a:cubicBezTo>
                    <a:pt x="1538" y="446"/>
                    <a:pt x="1538" y="449"/>
                    <a:pt x="1536" y="451"/>
                  </a:cubicBezTo>
                  <a:cubicBezTo>
                    <a:pt x="1535" y="451"/>
                    <a:pt x="1533" y="452"/>
                    <a:pt x="1532" y="452"/>
                  </a:cubicBezTo>
                  <a:cubicBezTo>
                    <a:pt x="1531" y="453"/>
                    <a:pt x="1530" y="454"/>
                    <a:pt x="1528" y="454"/>
                  </a:cubicBezTo>
                  <a:cubicBezTo>
                    <a:pt x="1528" y="457"/>
                    <a:pt x="1527" y="457"/>
                    <a:pt x="1527" y="458"/>
                  </a:cubicBezTo>
                  <a:cubicBezTo>
                    <a:pt x="1526" y="461"/>
                    <a:pt x="1526" y="461"/>
                    <a:pt x="1526" y="465"/>
                  </a:cubicBezTo>
                  <a:cubicBezTo>
                    <a:pt x="1525" y="468"/>
                    <a:pt x="1524" y="471"/>
                    <a:pt x="1523" y="474"/>
                  </a:cubicBezTo>
                  <a:cubicBezTo>
                    <a:pt x="1522" y="476"/>
                    <a:pt x="1520" y="479"/>
                    <a:pt x="1518" y="480"/>
                  </a:cubicBezTo>
                  <a:cubicBezTo>
                    <a:pt x="1515" y="482"/>
                    <a:pt x="1513" y="481"/>
                    <a:pt x="1511" y="482"/>
                  </a:cubicBezTo>
                  <a:cubicBezTo>
                    <a:pt x="1510" y="483"/>
                    <a:pt x="1510" y="484"/>
                    <a:pt x="1510" y="485"/>
                  </a:cubicBezTo>
                  <a:cubicBezTo>
                    <a:pt x="1508" y="486"/>
                    <a:pt x="1508" y="487"/>
                    <a:pt x="1506" y="489"/>
                  </a:cubicBezTo>
                  <a:cubicBezTo>
                    <a:pt x="1505" y="491"/>
                    <a:pt x="1504" y="490"/>
                    <a:pt x="1503" y="493"/>
                  </a:cubicBezTo>
                  <a:cubicBezTo>
                    <a:pt x="1502" y="495"/>
                    <a:pt x="1502" y="497"/>
                    <a:pt x="1500" y="498"/>
                  </a:cubicBezTo>
                  <a:cubicBezTo>
                    <a:pt x="1500" y="499"/>
                    <a:pt x="1498" y="498"/>
                    <a:pt x="1497" y="498"/>
                  </a:cubicBezTo>
                  <a:cubicBezTo>
                    <a:pt x="1496" y="499"/>
                    <a:pt x="1495" y="500"/>
                    <a:pt x="1494" y="500"/>
                  </a:cubicBezTo>
                  <a:cubicBezTo>
                    <a:pt x="1494" y="503"/>
                    <a:pt x="1492" y="507"/>
                    <a:pt x="1493" y="510"/>
                  </a:cubicBezTo>
                  <a:cubicBezTo>
                    <a:pt x="1493" y="514"/>
                    <a:pt x="1495" y="517"/>
                    <a:pt x="1495" y="521"/>
                  </a:cubicBezTo>
                  <a:cubicBezTo>
                    <a:pt x="1496" y="524"/>
                    <a:pt x="1496" y="532"/>
                    <a:pt x="1495" y="534"/>
                  </a:cubicBezTo>
                  <a:cubicBezTo>
                    <a:pt x="1494" y="537"/>
                    <a:pt x="1491" y="538"/>
                    <a:pt x="1490" y="542"/>
                  </a:cubicBezTo>
                  <a:cubicBezTo>
                    <a:pt x="1489" y="545"/>
                    <a:pt x="1490" y="551"/>
                    <a:pt x="1490" y="554"/>
                  </a:cubicBezTo>
                  <a:cubicBezTo>
                    <a:pt x="1491" y="558"/>
                    <a:pt x="1492" y="561"/>
                    <a:pt x="1493" y="564"/>
                  </a:cubicBezTo>
                  <a:cubicBezTo>
                    <a:pt x="1493" y="567"/>
                    <a:pt x="1492" y="569"/>
                    <a:pt x="1493" y="571"/>
                  </a:cubicBezTo>
                  <a:cubicBezTo>
                    <a:pt x="1493" y="572"/>
                    <a:pt x="1495" y="574"/>
                    <a:pt x="1495" y="575"/>
                  </a:cubicBezTo>
                  <a:cubicBezTo>
                    <a:pt x="1497" y="579"/>
                    <a:pt x="1498" y="580"/>
                    <a:pt x="1501" y="581"/>
                  </a:cubicBezTo>
                  <a:cubicBezTo>
                    <a:pt x="1502" y="584"/>
                    <a:pt x="1503" y="586"/>
                    <a:pt x="1503" y="589"/>
                  </a:cubicBezTo>
                  <a:cubicBezTo>
                    <a:pt x="1504" y="589"/>
                    <a:pt x="1504" y="589"/>
                    <a:pt x="1505" y="589"/>
                  </a:cubicBezTo>
                  <a:cubicBezTo>
                    <a:pt x="1505" y="592"/>
                    <a:pt x="1506" y="593"/>
                    <a:pt x="1507" y="596"/>
                  </a:cubicBezTo>
                  <a:cubicBezTo>
                    <a:pt x="1507" y="600"/>
                    <a:pt x="1507" y="600"/>
                    <a:pt x="1508" y="603"/>
                  </a:cubicBezTo>
                  <a:cubicBezTo>
                    <a:pt x="1509" y="605"/>
                    <a:pt x="1510" y="609"/>
                    <a:pt x="1510" y="611"/>
                  </a:cubicBezTo>
                  <a:cubicBezTo>
                    <a:pt x="1511" y="613"/>
                    <a:pt x="1512" y="616"/>
                    <a:pt x="1512" y="619"/>
                  </a:cubicBezTo>
                  <a:cubicBezTo>
                    <a:pt x="1513" y="619"/>
                    <a:pt x="1513" y="619"/>
                    <a:pt x="1514" y="619"/>
                  </a:cubicBezTo>
                  <a:cubicBezTo>
                    <a:pt x="1515" y="623"/>
                    <a:pt x="1514" y="629"/>
                    <a:pt x="1514" y="633"/>
                  </a:cubicBezTo>
                  <a:cubicBezTo>
                    <a:pt x="1514" y="635"/>
                    <a:pt x="1514" y="638"/>
                    <a:pt x="1514" y="640"/>
                  </a:cubicBezTo>
                  <a:cubicBezTo>
                    <a:pt x="1514" y="643"/>
                    <a:pt x="1515" y="644"/>
                    <a:pt x="1516" y="647"/>
                  </a:cubicBezTo>
                  <a:cubicBezTo>
                    <a:pt x="1517" y="647"/>
                    <a:pt x="1518" y="647"/>
                    <a:pt x="1519" y="647"/>
                  </a:cubicBezTo>
                  <a:cubicBezTo>
                    <a:pt x="1522" y="647"/>
                    <a:pt x="1522" y="647"/>
                    <a:pt x="1523" y="645"/>
                  </a:cubicBezTo>
                  <a:cubicBezTo>
                    <a:pt x="1524" y="644"/>
                    <a:pt x="1526" y="640"/>
                    <a:pt x="1527" y="638"/>
                  </a:cubicBezTo>
                  <a:cubicBezTo>
                    <a:pt x="1528" y="635"/>
                    <a:pt x="1529" y="630"/>
                    <a:pt x="1531" y="626"/>
                  </a:cubicBezTo>
                  <a:cubicBezTo>
                    <a:pt x="1533" y="622"/>
                    <a:pt x="1535" y="621"/>
                    <a:pt x="1536" y="615"/>
                  </a:cubicBezTo>
                  <a:cubicBezTo>
                    <a:pt x="1536" y="610"/>
                    <a:pt x="1538" y="601"/>
                    <a:pt x="1542" y="597"/>
                  </a:cubicBezTo>
                  <a:cubicBezTo>
                    <a:pt x="1543" y="596"/>
                    <a:pt x="1545" y="594"/>
                    <a:pt x="1547" y="593"/>
                  </a:cubicBezTo>
                  <a:cubicBezTo>
                    <a:pt x="1549" y="591"/>
                    <a:pt x="1552" y="590"/>
                    <a:pt x="1553" y="587"/>
                  </a:cubicBezTo>
                  <a:cubicBezTo>
                    <a:pt x="1554" y="585"/>
                    <a:pt x="1553" y="583"/>
                    <a:pt x="1553" y="582"/>
                  </a:cubicBezTo>
                  <a:cubicBezTo>
                    <a:pt x="1554" y="580"/>
                    <a:pt x="1555" y="580"/>
                    <a:pt x="1556" y="579"/>
                  </a:cubicBezTo>
                  <a:cubicBezTo>
                    <a:pt x="1558" y="578"/>
                    <a:pt x="1560" y="577"/>
                    <a:pt x="1561" y="573"/>
                  </a:cubicBezTo>
                  <a:cubicBezTo>
                    <a:pt x="1561" y="572"/>
                    <a:pt x="1561" y="570"/>
                    <a:pt x="1561" y="568"/>
                  </a:cubicBezTo>
                  <a:cubicBezTo>
                    <a:pt x="1562" y="568"/>
                    <a:pt x="1562" y="567"/>
                    <a:pt x="1562" y="566"/>
                  </a:cubicBezTo>
                  <a:cubicBezTo>
                    <a:pt x="1562" y="565"/>
                    <a:pt x="1562" y="564"/>
                    <a:pt x="1562" y="563"/>
                  </a:cubicBezTo>
                  <a:cubicBezTo>
                    <a:pt x="1563" y="560"/>
                    <a:pt x="1565" y="557"/>
                    <a:pt x="1566" y="555"/>
                  </a:cubicBezTo>
                  <a:cubicBezTo>
                    <a:pt x="1567" y="552"/>
                    <a:pt x="1569" y="550"/>
                    <a:pt x="1570" y="547"/>
                  </a:cubicBezTo>
                  <a:cubicBezTo>
                    <a:pt x="1570" y="545"/>
                    <a:pt x="1572" y="539"/>
                    <a:pt x="1571" y="537"/>
                  </a:cubicBezTo>
                  <a:cubicBezTo>
                    <a:pt x="1570" y="536"/>
                    <a:pt x="1569" y="536"/>
                    <a:pt x="1568" y="535"/>
                  </a:cubicBezTo>
                  <a:cubicBezTo>
                    <a:pt x="1567" y="533"/>
                    <a:pt x="1567" y="531"/>
                    <a:pt x="1566" y="529"/>
                  </a:cubicBezTo>
                  <a:cubicBezTo>
                    <a:pt x="1565" y="527"/>
                    <a:pt x="1563" y="522"/>
                    <a:pt x="1560" y="522"/>
                  </a:cubicBezTo>
                  <a:cubicBezTo>
                    <a:pt x="1559" y="519"/>
                    <a:pt x="1559" y="516"/>
                    <a:pt x="1558" y="512"/>
                  </a:cubicBezTo>
                  <a:cubicBezTo>
                    <a:pt x="1557" y="508"/>
                    <a:pt x="1554" y="509"/>
                    <a:pt x="1553" y="505"/>
                  </a:cubicBezTo>
                  <a:cubicBezTo>
                    <a:pt x="1552" y="501"/>
                    <a:pt x="1554" y="497"/>
                    <a:pt x="1553" y="493"/>
                  </a:cubicBezTo>
                  <a:cubicBezTo>
                    <a:pt x="1553" y="491"/>
                    <a:pt x="1551" y="490"/>
                    <a:pt x="1552" y="487"/>
                  </a:cubicBezTo>
                  <a:cubicBezTo>
                    <a:pt x="1552" y="486"/>
                    <a:pt x="1553" y="483"/>
                    <a:pt x="1554" y="483"/>
                  </a:cubicBezTo>
                  <a:cubicBezTo>
                    <a:pt x="1554" y="482"/>
                    <a:pt x="1555" y="481"/>
                    <a:pt x="1556" y="480"/>
                  </a:cubicBezTo>
                  <a:cubicBezTo>
                    <a:pt x="1556" y="478"/>
                    <a:pt x="1556" y="476"/>
                    <a:pt x="1557" y="475"/>
                  </a:cubicBezTo>
                  <a:cubicBezTo>
                    <a:pt x="1557" y="474"/>
                    <a:pt x="1558" y="474"/>
                    <a:pt x="1558" y="473"/>
                  </a:cubicBezTo>
                  <a:cubicBezTo>
                    <a:pt x="1558" y="472"/>
                    <a:pt x="1558" y="471"/>
                    <a:pt x="1558" y="470"/>
                  </a:cubicBezTo>
                  <a:cubicBezTo>
                    <a:pt x="1559" y="468"/>
                    <a:pt x="1559" y="467"/>
                    <a:pt x="1561" y="466"/>
                  </a:cubicBezTo>
                  <a:cubicBezTo>
                    <a:pt x="1563" y="465"/>
                    <a:pt x="1568" y="466"/>
                    <a:pt x="1570" y="468"/>
                  </a:cubicBezTo>
                  <a:cubicBezTo>
                    <a:pt x="1573" y="469"/>
                    <a:pt x="1575" y="471"/>
                    <a:pt x="1578" y="469"/>
                  </a:cubicBezTo>
                  <a:cubicBezTo>
                    <a:pt x="1578" y="468"/>
                    <a:pt x="1579" y="467"/>
                    <a:pt x="1579" y="466"/>
                  </a:cubicBezTo>
                  <a:cubicBezTo>
                    <a:pt x="1581" y="463"/>
                    <a:pt x="1579" y="464"/>
                    <a:pt x="1582" y="463"/>
                  </a:cubicBezTo>
                  <a:cubicBezTo>
                    <a:pt x="1586" y="462"/>
                    <a:pt x="1588" y="465"/>
                    <a:pt x="1591" y="465"/>
                  </a:cubicBezTo>
                  <a:cubicBezTo>
                    <a:pt x="1593" y="464"/>
                    <a:pt x="1593" y="465"/>
                    <a:pt x="1594" y="463"/>
                  </a:cubicBezTo>
                  <a:cubicBezTo>
                    <a:pt x="1595" y="462"/>
                    <a:pt x="1594" y="460"/>
                    <a:pt x="1595" y="458"/>
                  </a:cubicBezTo>
                  <a:cubicBezTo>
                    <a:pt x="1597" y="455"/>
                    <a:pt x="1600" y="454"/>
                    <a:pt x="1602" y="454"/>
                  </a:cubicBezTo>
                  <a:cubicBezTo>
                    <a:pt x="1604" y="454"/>
                    <a:pt x="1606" y="454"/>
                    <a:pt x="1608" y="454"/>
                  </a:cubicBezTo>
                  <a:cubicBezTo>
                    <a:pt x="1561" y="350"/>
                    <a:pt x="1502" y="252"/>
                    <a:pt x="1432" y="163"/>
                  </a:cubicBezTo>
                  <a:cubicBezTo>
                    <a:pt x="1430" y="163"/>
                    <a:pt x="1430" y="164"/>
                    <a:pt x="1428" y="1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">
              <a:extLst>
                <a:ext uri="{FF2B5EF4-FFF2-40B4-BE49-F238E27FC236}">
                  <a16:creationId xmlns:a16="http://schemas.microsoft.com/office/drawing/2014/main" id="{F5F34BD7-3041-4382-9E15-6F755E6D2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61" y="6073429"/>
              <a:ext cx="6740" cy="2246"/>
            </a:xfrm>
            <a:custGeom>
              <a:avLst/>
              <a:gdLst>
                <a:gd name="T0" fmla="*/ 3 w 3"/>
                <a:gd name="T1" fmla="*/ 1 h 1"/>
                <a:gd name="T2" fmla="*/ 0 w 3"/>
                <a:gd name="T3" fmla="*/ 0 h 1"/>
                <a:gd name="T4" fmla="*/ 0 w 3"/>
                <a:gd name="T5" fmla="*/ 0 h 1"/>
                <a:gd name="T6" fmla="*/ 3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2" y="1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2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7">
              <a:extLst>
                <a:ext uri="{FF2B5EF4-FFF2-40B4-BE49-F238E27FC236}">
                  <a16:creationId xmlns:a16="http://schemas.microsoft.com/office/drawing/2014/main" id="{D6A428F0-CB99-42AC-8CAD-132CB9B4B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60" y="6054337"/>
              <a:ext cx="39309" cy="30326"/>
            </a:xfrm>
            <a:custGeom>
              <a:avLst/>
              <a:gdLst>
                <a:gd name="T0" fmla="*/ 14 w 19"/>
                <a:gd name="T1" fmla="*/ 9 h 14"/>
                <a:gd name="T2" fmla="*/ 14 w 19"/>
                <a:gd name="T3" fmla="*/ 9 h 14"/>
                <a:gd name="T4" fmla="*/ 0 w 19"/>
                <a:gd name="T5" fmla="*/ 0 h 14"/>
                <a:gd name="T6" fmla="*/ 0 w 19"/>
                <a:gd name="T7" fmla="*/ 2 h 14"/>
                <a:gd name="T8" fmla="*/ 3 w 19"/>
                <a:gd name="T9" fmla="*/ 5 h 14"/>
                <a:gd name="T10" fmla="*/ 6 w 19"/>
                <a:gd name="T11" fmla="*/ 7 h 14"/>
                <a:gd name="T12" fmla="*/ 9 w 19"/>
                <a:gd name="T13" fmla="*/ 11 h 14"/>
                <a:gd name="T14" fmla="*/ 17 w 19"/>
                <a:gd name="T15" fmla="*/ 14 h 14"/>
                <a:gd name="T16" fmla="*/ 19 w 19"/>
                <a:gd name="T17" fmla="*/ 11 h 14"/>
                <a:gd name="T18" fmla="*/ 17 w 19"/>
                <a:gd name="T19" fmla="*/ 10 h 14"/>
                <a:gd name="T20" fmla="*/ 14 w 19"/>
                <a:gd name="T21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4">
                  <a:moveTo>
                    <a:pt x="14" y="9"/>
                  </a:moveTo>
                  <a:cubicBezTo>
                    <a:pt x="14" y="9"/>
                    <a:pt x="14" y="9"/>
                    <a:pt x="14" y="9"/>
                  </a:cubicBezTo>
                  <a:cubicBezTo>
                    <a:pt x="9" y="6"/>
                    <a:pt x="4" y="3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5"/>
                    <a:pt x="3" y="5"/>
                  </a:cubicBezTo>
                  <a:cubicBezTo>
                    <a:pt x="5" y="6"/>
                    <a:pt x="5" y="5"/>
                    <a:pt x="6" y="7"/>
                  </a:cubicBezTo>
                  <a:cubicBezTo>
                    <a:pt x="7" y="8"/>
                    <a:pt x="7" y="10"/>
                    <a:pt x="9" y="11"/>
                  </a:cubicBezTo>
                  <a:cubicBezTo>
                    <a:pt x="12" y="12"/>
                    <a:pt x="14" y="9"/>
                    <a:pt x="17" y="14"/>
                  </a:cubicBezTo>
                  <a:cubicBezTo>
                    <a:pt x="18" y="14"/>
                    <a:pt x="18" y="13"/>
                    <a:pt x="19" y="11"/>
                  </a:cubicBezTo>
                  <a:cubicBezTo>
                    <a:pt x="18" y="11"/>
                    <a:pt x="17" y="11"/>
                    <a:pt x="17" y="10"/>
                  </a:cubicBezTo>
                  <a:cubicBezTo>
                    <a:pt x="16" y="10"/>
                    <a:pt x="15" y="10"/>
                    <a:pt x="14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8">
              <a:extLst>
                <a:ext uri="{FF2B5EF4-FFF2-40B4-BE49-F238E27FC236}">
                  <a16:creationId xmlns:a16="http://schemas.microsoft.com/office/drawing/2014/main" id="{EFE917E3-C90C-4823-8DA0-AD8F5AF51D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9471" y="1279873"/>
              <a:ext cx="21340" cy="21340"/>
            </a:xfrm>
            <a:custGeom>
              <a:avLst/>
              <a:gdLst>
                <a:gd name="T0" fmla="*/ 10 w 10"/>
                <a:gd name="T1" fmla="*/ 9 h 10"/>
                <a:gd name="T2" fmla="*/ 4 w 10"/>
                <a:gd name="T3" fmla="*/ 1 h 10"/>
                <a:gd name="T4" fmla="*/ 0 w 10"/>
                <a:gd name="T5" fmla="*/ 0 h 10"/>
                <a:gd name="T6" fmla="*/ 10 w 10"/>
                <a:gd name="T7" fmla="*/ 10 h 10"/>
                <a:gd name="T8" fmla="*/ 10 w 10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10" y="9"/>
                  </a:moveTo>
                  <a:cubicBezTo>
                    <a:pt x="10" y="4"/>
                    <a:pt x="7" y="0"/>
                    <a:pt x="4" y="1"/>
                  </a:cubicBezTo>
                  <a:cubicBezTo>
                    <a:pt x="3" y="1"/>
                    <a:pt x="1" y="1"/>
                    <a:pt x="0" y="0"/>
                  </a:cubicBezTo>
                  <a:cubicBezTo>
                    <a:pt x="3" y="3"/>
                    <a:pt x="6" y="7"/>
                    <a:pt x="10" y="10"/>
                  </a:cubicBezTo>
                  <a:cubicBezTo>
                    <a:pt x="10" y="9"/>
                    <a:pt x="10" y="9"/>
                    <a:pt x="1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10">
              <a:extLst>
                <a:ext uri="{FF2B5EF4-FFF2-40B4-BE49-F238E27FC236}">
                  <a16:creationId xmlns:a16="http://schemas.microsoft.com/office/drawing/2014/main" id="{DDE8BFA5-46FD-41E6-8203-64A736DFF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99" y="4167464"/>
              <a:ext cx="2246" cy="12354"/>
            </a:xfrm>
            <a:custGeom>
              <a:avLst/>
              <a:gdLst>
                <a:gd name="T0" fmla="*/ 0 w 1"/>
                <a:gd name="T1" fmla="*/ 4 h 6"/>
                <a:gd name="T2" fmla="*/ 0 w 1"/>
                <a:gd name="T3" fmla="*/ 6 h 6"/>
                <a:gd name="T4" fmla="*/ 1 w 1"/>
                <a:gd name="T5" fmla="*/ 4 h 6"/>
                <a:gd name="T6" fmla="*/ 1 w 1"/>
                <a:gd name="T7" fmla="*/ 0 h 6"/>
                <a:gd name="T8" fmla="*/ 0 w 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6">
                  <a:moveTo>
                    <a:pt x="0" y="4"/>
                  </a:moveTo>
                  <a:cubicBezTo>
                    <a:pt x="0" y="5"/>
                    <a:pt x="0" y="5"/>
                    <a:pt x="0" y="6"/>
                  </a:cubicBezTo>
                  <a:cubicBezTo>
                    <a:pt x="0" y="5"/>
                    <a:pt x="1" y="5"/>
                    <a:pt x="1" y="4"/>
                  </a:cubicBezTo>
                  <a:cubicBezTo>
                    <a:pt x="1" y="3"/>
                    <a:pt x="1" y="2"/>
                    <a:pt x="1" y="0"/>
                  </a:cubicBezTo>
                  <a:cubicBezTo>
                    <a:pt x="0" y="1"/>
                    <a:pt x="0" y="1"/>
                    <a:pt x="0" y="4"/>
                  </a:cubicBezTo>
                  <a:close/>
                </a:path>
              </a:pathLst>
            </a:custGeom>
            <a:grp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12">
              <a:extLst>
                <a:ext uri="{FF2B5EF4-FFF2-40B4-BE49-F238E27FC236}">
                  <a16:creationId xmlns:a16="http://schemas.microsoft.com/office/drawing/2014/main" id="{A503271D-81E6-4AF8-9094-DE33B8964F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00607" y="1444975"/>
              <a:ext cx="2246" cy="112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3">
              <a:extLst>
                <a:ext uri="{FF2B5EF4-FFF2-40B4-BE49-F238E27FC236}">
                  <a16:creationId xmlns:a16="http://schemas.microsoft.com/office/drawing/2014/main" id="{617A3534-1BAD-4378-A6B1-CB2C1AE5D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0241" y="1446097"/>
              <a:ext cx="448130" cy="354912"/>
            </a:xfrm>
            <a:custGeom>
              <a:avLst/>
              <a:gdLst>
                <a:gd name="T0" fmla="*/ 201 w 212"/>
                <a:gd name="T1" fmla="*/ 121 h 168"/>
                <a:gd name="T2" fmla="*/ 188 w 212"/>
                <a:gd name="T3" fmla="*/ 118 h 168"/>
                <a:gd name="T4" fmla="*/ 181 w 212"/>
                <a:gd name="T5" fmla="*/ 107 h 168"/>
                <a:gd name="T6" fmla="*/ 186 w 212"/>
                <a:gd name="T7" fmla="*/ 92 h 168"/>
                <a:gd name="T8" fmla="*/ 180 w 212"/>
                <a:gd name="T9" fmla="*/ 69 h 168"/>
                <a:gd name="T10" fmla="*/ 170 w 212"/>
                <a:gd name="T11" fmla="*/ 51 h 168"/>
                <a:gd name="T12" fmla="*/ 160 w 212"/>
                <a:gd name="T13" fmla="*/ 50 h 168"/>
                <a:gd name="T14" fmla="*/ 158 w 212"/>
                <a:gd name="T15" fmla="*/ 66 h 168"/>
                <a:gd name="T16" fmla="*/ 155 w 212"/>
                <a:gd name="T17" fmla="*/ 83 h 168"/>
                <a:gd name="T18" fmla="*/ 154 w 212"/>
                <a:gd name="T19" fmla="*/ 66 h 168"/>
                <a:gd name="T20" fmla="*/ 145 w 212"/>
                <a:gd name="T21" fmla="*/ 53 h 168"/>
                <a:gd name="T22" fmla="*/ 132 w 212"/>
                <a:gd name="T23" fmla="*/ 60 h 168"/>
                <a:gd name="T24" fmla="*/ 115 w 212"/>
                <a:gd name="T25" fmla="*/ 54 h 168"/>
                <a:gd name="T26" fmla="*/ 104 w 212"/>
                <a:gd name="T27" fmla="*/ 35 h 168"/>
                <a:gd name="T28" fmla="*/ 96 w 212"/>
                <a:gd name="T29" fmla="*/ 28 h 168"/>
                <a:gd name="T30" fmla="*/ 90 w 212"/>
                <a:gd name="T31" fmla="*/ 23 h 168"/>
                <a:gd name="T32" fmla="*/ 80 w 212"/>
                <a:gd name="T33" fmla="*/ 13 h 168"/>
                <a:gd name="T34" fmla="*/ 58 w 212"/>
                <a:gd name="T35" fmla="*/ 20 h 168"/>
                <a:gd name="T36" fmla="*/ 50 w 212"/>
                <a:gd name="T37" fmla="*/ 8 h 168"/>
                <a:gd name="T38" fmla="*/ 39 w 212"/>
                <a:gd name="T39" fmla="*/ 4 h 168"/>
                <a:gd name="T40" fmla="*/ 33 w 212"/>
                <a:gd name="T41" fmla="*/ 4 h 168"/>
                <a:gd name="T42" fmla="*/ 24 w 212"/>
                <a:gd name="T43" fmla="*/ 15 h 168"/>
                <a:gd name="T44" fmla="*/ 17 w 212"/>
                <a:gd name="T45" fmla="*/ 34 h 168"/>
                <a:gd name="T46" fmla="*/ 10 w 212"/>
                <a:gd name="T47" fmla="*/ 44 h 168"/>
                <a:gd name="T48" fmla="*/ 2 w 212"/>
                <a:gd name="T49" fmla="*/ 56 h 168"/>
                <a:gd name="T50" fmla="*/ 4 w 212"/>
                <a:gd name="T51" fmla="*/ 71 h 168"/>
                <a:gd name="T52" fmla="*/ 14 w 212"/>
                <a:gd name="T53" fmla="*/ 102 h 168"/>
                <a:gd name="T54" fmla="*/ 31 w 212"/>
                <a:gd name="T55" fmla="*/ 88 h 168"/>
                <a:gd name="T56" fmla="*/ 43 w 212"/>
                <a:gd name="T57" fmla="*/ 72 h 168"/>
                <a:gd name="T58" fmla="*/ 56 w 212"/>
                <a:gd name="T59" fmla="*/ 64 h 168"/>
                <a:gd name="T60" fmla="*/ 68 w 212"/>
                <a:gd name="T61" fmla="*/ 56 h 168"/>
                <a:gd name="T62" fmla="*/ 60 w 212"/>
                <a:gd name="T63" fmla="*/ 76 h 168"/>
                <a:gd name="T64" fmla="*/ 57 w 212"/>
                <a:gd name="T65" fmla="*/ 83 h 168"/>
                <a:gd name="T66" fmla="*/ 68 w 212"/>
                <a:gd name="T67" fmla="*/ 92 h 168"/>
                <a:gd name="T68" fmla="*/ 71 w 212"/>
                <a:gd name="T69" fmla="*/ 102 h 168"/>
                <a:gd name="T70" fmla="*/ 91 w 212"/>
                <a:gd name="T71" fmla="*/ 106 h 168"/>
                <a:gd name="T72" fmla="*/ 104 w 212"/>
                <a:gd name="T73" fmla="*/ 110 h 168"/>
                <a:gd name="T74" fmla="*/ 110 w 212"/>
                <a:gd name="T75" fmla="*/ 121 h 168"/>
                <a:gd name="T76" fmla="*/ 91 w 212"/>
                <a:gd name="T77" fmla="*/ 125 h 168"/>
                <a:gd name="T78" fmla="*/ 66 w 212"/>
                <a:gd name="T79" fmla="*/ 125 h 168"/>
                <a:gd name="T80" fmla="*/ 70 w 212"/>
                <a:gd name="T81" fmla="*/ 133 h 168"/>
                <a:gd name="T82" fmla="*/ 85 w 212"/>
                <a:gd name="T83" fmla="*/ 144 h 168"/>
                <a:gd name="T84" fmla="*/ 92 w 212"/>
                <a:gd name="T85" fmla="*/ 160 h 168"/>
                <a:gd name="T86" fmla="*/ 105 w 212"/>
                <a:gd name="T87" fmla="*/ 165 h 168"/>
                <a:gd name="T88" fmla="*/ 118 w 212"/>
                <a:gd name="T89" fmla="*/ 166 h 168"/>
                <a:gd name="T90" fmla="*/ 129 w 212"/>
                <a:gd name="T91" fmla="*/ 160 h 168"/>
                <a:gd name="T92" fmla="*/ 143 w 212"/>
                <a:gd name="T93" fmla="*/ 157 h 168"/>
                <a:gd name="T94" fmla="*/ 155 w 212"/>
                <a:gd name="T95" fmla="*/ 145 h 168"/>
                <a:gd name="T96" fmla="*/ 163 w 212"/>
                <a:gd name="T97" fmla="*/ 149 h 168"/>
                <a:gd name="T98" fmla="*/ 175 w 212"/>
                <a:gd name="T99" fmla="*/ 152 h 168"/>
                <a:gd name="T100" fmla="*/ 196 w 212"/>
                <a:gd name="T101" fmla="*/ 141 h 168"/>
                <a:gd name="T102" fmla="*/ 207 w 212"/>
                <a:gd name="T103" fmla="*/ 129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2" h="168">
                  <a:moveTo>
                    <a:pt x="207" y="129"/>
                  </a:moveTo>
                  <a:cubicBezTo>
                    <a:pt x="206" y="128"/>
                    <a:pt x="205" y="126"/>
                    <a:pt x="204" y="125"/>
                  </a:cubicBezTo>
                  <a:cubicBezTo>
                    <a:pt x="203" y="124"/>
                    <a:pt x="202" y="122"/>
                    <a:pt x="201" y="121"/>
                  </a:cubicBezTo>
                  <a:cubicBezTo>
                    <a:pt x="200" y="120"/>
                    <a:pt x="199" y="120"/>
                    <a:pt x="197" y="119"/>
                  </a:cubicBezTo>
                  <a:cubicBezTo>
                    <a:pt x="196" y="119"/>
                    <a:pt x="195" y="118"/>
                    <a:pt x="193" y="118"/>
                  </a:cubicBezTo>
                  <a:cubicBezTo>
                    <a:pt x="192" y="118"/>
                    <a:pt x="190" y="118"/>
                    <a:pt x="188" y="118"/>
                  </a:cubicBezTo>
                  <a:cubicBezTo>
                    <a:pt x="184" y="118"/>
                    <a:pt x="184" y="116"/>
                    <a:pt x="181" y="113"/>
                  </a:cubicBezTo>
                  <a:cubicBezTo>
                    <a:pt x="182" y="113"/>
                    <a:pt x="183" y="113"/>
                    <a:pt x="184" y="113"/>
                  </a:cubicBezTo>
                  <a:cubicBezTo>
                    <a:pt x="184" y="113"/>
                    <a:pt x="181" y="107"/>
                    <a:pt x="181" y="107"/>
                  </a:cubicBezTo>
                  <a:cubicBezTo>
                    <a:pt x="180" y="105"/>
                    <a:pt x="181" y="103"/>
                    <a:pt x="181" y="100"/>
                  </a:cubicBezTo>
                  <a:cubicBezTo>
                    <a:pt x="181" y="96"/>
                    <a:pt x="180" y="97"/>
                    <a:pt x="183" y="95"/>
                  </a:cubicBezTo>
                  <a:cubicBezTo>
                    <a:pt x="184" y="94"/>
                    <a:pt x="185" y="93"/>
                    <a:pt x="186" y="92"/>
                  </a:cubicBezTo>
                  <a:cubicBezTo>
                    <a:pt x="186" y="90"/>
                    <a:pt x="186" y="85"/>
                    <a:pt x="186" y="83"/>
                  </a:cubicBezTo>
                  <a:cubicBezTo>
                    <a:pt x="186" y="77"/>
                    <a:pt x="186" y="75"/>
                    <a:pt x="183" y="71"/>
                  </a:cubicBezTo>
                  <a:cubicBezTo>
                    <a:pt x="182" y="70"/>
                    <a:pt x="180" y="69"/>
                    <a:pt x="180" y="69"/>
                  </a:cubicBezTo>
                  <a:cubicBezTo>
                    <a:pt x="179" y="67"/>
                    <a:pt x="180" y="63"/>
                    <a:pt x="179" y="60"/>
                  </a:cubicBezTo>
                  <a:cubicBezTo>
                    <a:pt x="179" y="58"/>
                    <a:pt x="176" y="53"/>
                    <a:pt x="174" y="52"/>
                  </a:cubicBezTo>
                  <a:cubicBezTo>
                    <a:pt x="173" y="51"/>
                    <a:pt x="171" y="51"/>
                    <a:pt x="170" y="51"/>
                  </a:cubicBezTo>
                  <a:cubicBezTo>
                    <a:pt x="169" y="50"/>
                    <a:pt x="169" y="50"/>
                    <a:pt x="168" y="50"/>
                  </a:cubicBezTo>
                  <a:cubicBezTo>
                    <a:pt x="167" y="48"/>
                    <a:pt x="167" y="48"/>
                    <a:pt x="166" y="46"/>
                  </a:cubicBezTo>
                  <a:cubicBezTo>
                    <a:pt x="164" y="42"/>
                    <a:pt x="161" y="44"/>
                    <a:pt x="160" y="50"/>
                  </a:cubicBezTo>
                  <a:cubicBezTo>
                    <a:pt x="160" y="53"/>
                    <a:pt x="161" y="54"/>
                    <a:pt x="162" y="56"/>
                  </a:cubicBezTo>
                  <a:cubicBezTo>
                    <a:pt x="162" y="59"/>
                    <a:pt x="162" y="63"/>
                    <a:pt x="162" y="65"/>
                  </a:cubicBezTo>
                  <a:cubicBezTo>
                    <a:pt x="160" y="65"/>
                    <a:pt x="159" y="65"/>
                    <a:pt x="158" y="66"/>
                  </a:cubicBezTo>
                  <a:cubicBezTo>
                    <a:pt x="158" y="69"/>
                    <a:pt x="157" y="74"/>
                    <a:pt x="158" y="78"/>
                  </a:cubicBezTo>
                  <a:cubicBezTo>
                    <a:pt x="158" y="79"/>
                    <a:pt x="160" y="83"/>
                    <a:pt x="159" y="84"/>
                  </a:cubicBezTo>
                  <a:cubicBezTo>
                    <a:pt x="158" y="87"/>
                    <a:pt x="156" y="84"/>
                    <a:pt x="155" y="83"/>
                  </a:cubicBezTo>
                  <a:cubicBezTo>
                    <a:pt x="156" y="84"/>
                    <a:pt x="154" y="78"/>
                    <a:pt x="154" y="79"/>
                  </a:cubicBezTo>
                  <a:cubicBezTo>
                    <a:pt x="154" y="77"/>
                    <a:pt x="154" y="75"/>
                    <a:pt x="154" y="72"/>
                  </a:cubicBezTo>
                  <a:cubicBezTo>
                    <a:pt x="154" y="70"/>
                    <a:pt x="154" y="68"/>
                    <a:pt x="154" y="66"/>
                  </a:cubicBezTo>
                  <a:cubicBezTo>
                    <a:pt x="155" y="63"/>
                    <a:pt x="156" y="63"/>
                    <a:pt x="155" y="60"/>
                  </a:cubicBezTo>
                  <a:cubicBezTo>
                    <a:pt x="154" y="56"/>
                    <a:pt x="152" y="56"/>
                    <a:pt x="149" y="54"/>
                  </a:cubicBezTo>
                  <a:cubicBezTo>
                    <a:pt x="148" y="53"/>
                    <a:pt x="147" y="53"/>
                    <a:pt x="145" y="53"/>
                  </a:cubicBezTo>
                  <a:cubicBezTo>
                    <a:pt x="143" y="54"/>
                    <a:pt x="143" y="53"/>
                    <a:pt x="143" y="57"/>
                  </a:cubicBezTo>
                  <a:cubicBezTo>
                    <a:pt x="142" y="61"/>
                    <a:pt x="142" y="63"/>
                    <a:pt x="139" y="65"/>
                  </a:cubicBezTo>
                  <a:cubicBezTo>
                    <a:pt x="136" y="66"/>
                    <a:pt x="133" y="65"/>
                    <a:pt x="132" y="60"/>
                  </a:cubicBezTo>
                  <a:cubicBezTo>
                    <a:pt x="132" y="60"/>
                    <a:pt x="131" y="60"/>
                    <a:pt x="130" y="60"/>
                  </a:cubicBezTo>
                  <a:cubicBezTo>
                    <a:pt x="130" y="59"/>
                    <a:pt x="130" y="58"/>
                    <a:pt x="130" y="57"/>
                  </a:cubicBezTo>
                  <a:cubicBezTo>
                    <a:pt x="125" y="55"/>
                    <a:pt x="120" y="56"/>
                    <a:pt x="115" y="54"/>
                  </a:cubicBezTo>
                  <a:cubicBezTo>
                    <a:pt x="114" y="54"/>
                    <a:pt x="111" y="53"/>
                    <a:pt x="110" y="51"/>
                  </a:cubicBezTo>
                  <a:cubicBezTo>
                    <a:pt x="108" y="49"/>
                    <a:pt x="108" y="46"/>
                    <a:pt x="107" y="43"/>
                  </a:cubicBezTo>
                  <a:cubicBezTo>
                    <a:pt x="106" y="39"/>
                    <a:pt x="106" y="38"/>
                    <a:pt x="104" y="35"/>
                  </a:cubicBezTo>
                  <a:cubicBezTo>
                    <a:pt x="103" y="34"/>
                    <a:pt x="104" y="33"/>
                    <a:pt x="102" y="32"/>
                  </a:cubicBezTo>
                  <a:cubicBezTo>
                    <a:pt x="102" y="31"/>
                    <a:pt x="100" y="31"/>
                    <a:pt x="99" y="30"/>
                  </a:cubicBezTo>
                  <a:cubicBezTo>
                    <a:pt x="98" y="30"/>
                    <a:pt x="97" y="29"/>
                    <a:pt x="96" y="28"/>
                  </a:cubicBezTo>
                  <a:cubicBezTo>
                    <a:pt x="96" y="27"/>
                    <a:pt x="96" y="26"/>
                    <a:pt x="95" y="25"/>
                  </a:cubicBezTo>
                  <a:cubicBezTo>
                    <a:pt x="94" y="25"/>
                    <a:pt x="93" y="25"/>
                    <a:pt x="92" y="25"/>
                  </a:cubicBezTo>
                  <a:cubicBezTo>
                    <a:pt x="91" y="25"/>
                    <a:pt x="91" y="24"/>
                    <a:pt x="90" y="23"/>
                  </a:cubicBezTo>
                  <a:cubicBezTo>
                    <a:pt x="88" y="23"/>
                    <a:pt x="87" y="24"/>
                    <a:pt x="85" y="23"/>
                  </a:cubicBezTo>
                  <a:cubicBezTo>
                    <a:pt x="85" y="21"/>
                    <a:pt x="85" y="20"/>
                    <a:pt x="85" y="18"/>
                  </a:cubicBezTo>
                  <a:cubicBezTo>
                    <a:pt x="81" y="18"/>
                    <a:pt x="82" y="14"/>
                    <a:pt x="80" y="13"/>
                  </a:cubicBezTo>
                  <a:cubicBezTo>
                    <a:pt x="78" y="12"/>
                    <a:pt x="73" y="12"/>
                    <a:pt x="71" y="13"/>
                  </a:cubicBezTo>
                  <a:cubicBezTo>
                    <a:pt x="71" y="18"/>
                    <a:pt x="69" y="20"/>
                    <a:pt x="68" y="25"/>
                  </a:cubicBezTo>
                  <a:cubicBezTo>
                    <a:pt x="65" y="26"/>
                    <a:pt x="58" y="27"/>
                    <a:pt x="58" y="20"/>
                  </a:cubicBezTo>
                  <a:cubicBezTo>
                    <a:pt x="57" y="20"/>
                    <a:pt x="57" y="20"/>
                    <a:pt x="56" y="19"/>
                  </a:cubicBezTo>
                  <a:cubicBezTo>
                    <a:pt x="56" y="16"/>
                    <a:pt x="54" y="14"/>
                    <a:pt x="53" y="11"/>
                  </a:cubicBezTo>
                  <a:cubicBezTo>
                    <a:pt x="52" y="11"/>
                    <a:pt x="51" y="8"/>
                    <a:pt x="50" y="8"/>
                  </a:cubicBezTo>
                  <a:cubicBezTo>
                    <a:pt x="49" y="7"/>
                    <a:pt x="47" y="8"/>
                    <a:pt x="46" y="8"/>
                  </a:cubicBezTo>
                  <a:cubicBezTo>
                    <a:pt x="44" y="7"/>
                    <a:pt x="44" y="6"/>
                    <a:pt x="43" y="6"/>
                  </a:cubicBezTo>
                  <a:cubicBezTo>
                    <a:pt x="41" y="5"/>
                    <a:pt x="41" y="5"/>
                    <a:pt x="39" y="4"/>
                  </a:cubicBezTo>
                  <a:cubicBezTo>
                    <a:pt x="38" y="4"/>
                    <a:pt x="34" y="1"/>
                    <a:pt x="33" y="0"/>
                  </a:cubicBezTo>
                  <a:cubicBezTo>
                    <a:pt x="33" y="1"/>
                    <a:pt x="32" y="2"/>
                    <a:pt x="33" y="2"/>
                  </a:cubicBezTo>
                  <a:cubicBezTo>
                    <a:pt x="33" y="3"/>
                    <a:pt x="33" y="3"/>
                    <a:pt x="33" y="4"/>
                  </a:cubicBezTo>
                  <a:cubicBezTo>
                    <a:pt x="31" y="4"/>
                    <a:pt x="30" y="5"/>
                    <a:pt x="29" y="5"/>
                  </a:cubicBezTo>
                  <a:cubicBezTo>
                    <a:pt x="27" y="6"/>
                    <a:pt x="26" y="5"/>
                    <a:pt x="24" y="6"/>
                  </a:cubicBezTo>
                  <a:cubicBezTo>
                    <a:pt x="20" y="6"/>
                    <a:pt x="19" y="14"/>
                    <a:pt x="24" y="15"/>
                  </a:cubicBezTo>
                  <a:cubicBezTo>
                    <a:pt x="24" y="18"/>
                    <a:pt x="25" y="20"/>
                    <a:pt x="26" y="23"/>
                  </a:cubicBezTo>
                  <a:cubicBezTo>
                    <a:pt x="26" y="28"/>
                    <a:pt x="24" y="28"/>
                    <a:pt x="21" y="30"/>
                  </a:cubicBezTo>
                  <a:cubicBezTo>
                    <a:pt x="20" y="31"/>
                    <a:pt x="18" y="33"/>
                    <a:pt x="17" y="34"/>
                  </a:cubicBezTo>
                  <a:cubicBezTo>
                    <a:pt x="16" y="34"/>
                    <a:pt x="15" y="35"/>
                    <a:pt x="14" y="36"/>
                  </a:cubicBezTo>
                  <a:cubicBezTo>
                    <a:pt x="12" y="38"/>
                    <a:pt x="12" y="38"/>
                    <a:pt x="11" y="40"/>
                  </a:cubicBezTo>
                  <a:cubicBezTo>
                    <a:pt x="11" y="42"/>
                    <a:pt x="10" y="43"/>
                    <a:pt x="10" y="44"/>
                  </a:cubicBezTo>
                  <a:cubicBezTo>
                    <a:pt x="10" y="45"/>
                    <a:pt x="9" y="47"/>
                    <a:pt x="9" y="48"/>
                  </a:cubicBezTo>
                  <a:cubicBezTo>
                    <a:pt x="8" y="52"/>
                    <a:pt x="6" y="50"/>
                    <a:pt x="4" y="53"/>
                  </a:cubicBezTo>
                  <a:cubicBezTo>
                    <a:pt x="3" y="54"/>
                    <a:pt x="3" y="55"/>
                    <a:pt x="2" y="56"/>
                  </a:cubicBezTo>
                  <a:cubicBezTo>
                    <a:pt x="2" y="57"/>
                    <a:pt x="1" y="58"/>
                    <a:pt x="0" y="59"/>
                  </a:cubicBezTo>
                  <a:cubicBezTo>
                    <a:pt x="0" y="61"/>
                    <a:pt x="0" y="68"/>
                    <a:pt x="0" y="70"/>
                  </a:cubicBezTo>
                  <a:cubicBezTo>
                    <a:pt x="2" y="70"/>
                    <a:pt x="3" y="71"/>
                    <a:pt x="4" y="71"/>
                  </a:cubicBezTo>
                  <a:cubicBezTo>
                    <a:pt x="4" y="75"/>
                    <a:pt x="6" y="77"/>
                    <a:pt x="7" y="81"/>
                  </a:cubicBezTo>
                  <a:cubicBezTo>
                    <a:pt x="7" y="86"/>
                    <a:pt x="7" y="92"/>
                    <a:pt x="7" y="97"/>
                  </a:cubicBezTo>
                  <a:cubicBezTo>
                    <a:pt x="6" y="105"/>
                    <a:pt x="10" y="101"/>
                    <a:pt x="14" y="102"/>
                  </a:cubicBezTo>
                  <a:cubicBezTo>
                    <a:pt x="16" y="103"/>
                    <a:pt x="16" y="104"/>
                    <a:pt x="18" y="104"/>
                  </a:cubicBezTo>
                  <a:cubicBezTo>
                    <a:pt x="19" y="104"/>
                    <a:pt x="21" y="102"/>
                    <a:pt x="23" y="102"/>
                  </a:cubicBezTo>
                  <a:cubicBezTo>
                    <a:pt x="22" y="96"/>
                    <a:pt x="31" y="96"/>
                    <a:pt x="31" y="88"/>
                  </a:cubicBezTo>
                  <a:cubicBezTo>
                    <a:pt x="34" y="88"/>
                    <a:pt x="36" y="86"/>
                    <a:pt x="38" y="83"/>
                  </a:cubicBezTo>
                  <a:cubicBezTo>
                    <a:pt x="40" y="82"/>
                    <a:pt x="41" y="82"/>
                    <a:pt x="42" y="79"/>
                  </a:cubicBezTo>
                  <a:cubicBezTo>
                    <a:pt x="42" y="76"/>
                    <a:pt x="42" y="74"/>
                    <a:pt x="43" y="72"/>
                  </a:cubicBezTo>
                  <a:cubicBezTo>
                    <a:pt x="44" y="68"/>
                    <a:pt x="44" y="69"/>
                    <a:pt x="47" y="69"/>
                  </a:cubicBezTo>
                  <a:cubicBezTo>
                    <a:pt x="49" y="69"/>
                    <a:pt x="50" y="69"/>
                    <a:pt x="52" y="68"/>
                  </a:cubicBezTo>
                  <a:cubicBezTo>
                    <a:pt x="54" y="66"/>
                    <a:pt x="55" y="66"/>
                    <a:pt x="56" y="64"/>
                  </a:cubicBezTo>
                  <a:cubicBezTo>
                    <a:pt x="57" y="62"/>
                    <a:pt x="59" y="62"/>
                    <a:pt x="60" y="61"/>
                  </a:cubicBezTo>
                  <a:cubicBezTo>
                    <a:pt x="61" y="60"/>
                    <a:pt x="61" y="58"/>
                    <a:pt x="62" y="57"/>
                  </a:cubicBezTo>
                  <a:cubicBezTo>
                    <a:pt x="63" y="56"/>
                    <a:pt x="67" y="56"/>
                    <a:pt x="68" y="56"/>
                  </a:cubicBezTo>
                  <a:cubicBezTo>
                    <a:pt x="70" y="58"/>
                    <a:pt x="68" y="66"/>
                    <a:pt x="67" y="68"/>
                  </a:cubicBezTo>
                  <a:cubicBezTo>
                    <a:pt x="66" y="70"/>
                    <a:pt x="64" y="71"/>
                    <a:pt x="63" y="72"/>
                  </a:cubicBezTo>
                  <a:cubicBezTo>
                    <a:pt x="62" y="73"/>
                    <a:pt x="61" y="75"/>
                    <a:pt x="60" y="76"/>
                  </a:cubicBezTo>
                  <a:cubicBezTo>
                    <a:pt x="59" y="77"/>
                    <a:pt x="56" y="78"/>
                    <a:pt x="56" y="79"/>
                  </a:cubicBezTo>
                  <a:cubicBezTo>
                    <a:pt x="55" y="79"/>
                    <a:pt x="54" y="80"/>
                    <a:pt x="54" y="81"/>
                  </a:cubicBezTo>
                  <a:cubicBezTo>
                    <a:pt x="54" y="83"/>
                    <a:pt x="56" y="83"/>
                    <a:pt x="57" y="83"/>
                  </a:cubicBezTo>
                  <a:cubicBezTo>
                    <a:pt x="57" y="85"/>
                    <a:pt x="57" y="86"/>
                    <a:pt x="57" y="88"/>
                  </a:cubicBezTo>
                  <a:cubicBezTo>
                    <a:pt x="60" y="89"/>
                    <a:pt x="63" y="88"/>
                    <a:pt x="66" y="88"/>
                  </a:cubicBezTo>
                  <a:cubicBezTo>
                    <a:pt x="68" y="89"/>
                    <a:pt x="68" y="88"/>
                    <a:pt x="68" y="92"/>
                  </a:cubicBezTo>
                  <a:cubicBezTo>
                    <a:pt x="69" y="94"/>
                    <a:pt x="68" y="96"/>
                    <a:pt x="69" y="98"/>
                  </a:cubicBezTo>
                  <a:cubicBezTo>
                    <a:pt x="69" y="99"/>
                    <a:pt x="70" y="99"/>
                    <a:pt x="71" y="99"/>
                  </a:cubicBezTo>
                  <a:cubicBezTo>
                    <a:pt x="71" y="100"/>
                    <a:pt x="71" y="101"/>
                    <a:pt x="71" y="102"/>
                  </a:cubicBezTo>
                  <a:cubicBezTo>
                    <a:pt x="75" y="103"/>
                    <a:pt x="80" y="101"/>
                    <a:pt x="84" y="102"/>
                  </a:cubicBezTo>
                  <a:cubicBezTo>
                    <a:pt x="85" y="102"/>
                    <a:pt x="87" y="103"/>
                    <a:pt x="88" y="104"/>
                  </a:cubicBezTo>
                  <a:cubicBezTo>
                    <a:pt x="89" y="105"/>
                    <a:pt x="90" y="106"/>
                    <a:pt x="91" y="106"/>
                  </a:cubicBezTo>
                  <a:cubicBezTo>
                    <a:pt x="92" y="107"/>
                    <a:pt x="93" y="107"/>
                    <a:pt x="94" y="107"/>
                  </a:cubicBezTo>
                  <a:cubicBezTo>
                    <a:pt x="96" y="109"/>
                    <a:pt x="96" y="109"/>
                    <a:pt x="99" y="109"/>
                  </a:cubicBezTo>
                  <a:cubicBezTo>
                    <a:pt x="101" y="109"/>
                    <a:pt x="102" y="109"/>
                    <a:pt x="104" y="110"/>
                  </a:cubicBezTo>
                  <a:cubicBezTo>
                    <a:pt x="105" y="111"/>
                    <a:pt x="108" y="112"/>
                    <a:pt x="109" y="113"/>
                  </a:cubicBezTo>
                  <a:cubicBezTo>
                    <a:pt x="109" y="115"/>
                    <a:pt x="108" y="116"/>
                    <a:pt x="109" y="118"/>
                  </a:cubicBezTo>
                  <a:cubicBezTo>
                    <a:pt x="109" y="120"/>
                    <a:pt x="110" y="120"/>
                    <a:pt x="110" y="121"/>
                  </a:cubicBezTo>
                  <a:cubicBezTo>
                    <a:pt x="112" y="129"/>
                    <a:pt x="105" y="127"/>
                    <a:pt x="101" y="127"/>
                  </a:cubicBezTo>
                  <a:cubicBezTo>
                    <a:pt x="99" y="127"/>
                    <a:pt x="97" y="127"/>
                    <a:pt x="95" y="127"/>
                  </a:cubicBezTo>
                  <a:cubicBezTo>
                    <a:pt x="94" y="127"/>
                    <a:pt x="93" y="125"/>
                    <a:pt x="91" y="125"/>
                  </a:cubicBezTo>
                  <a:cubicBezTo>
                    <a:pt x="90" y="125"/>
                    <a:pt x="89" y="125"/>
                    <a:pt x="87" y="125"/>
                  </a:cubicBezTo>
                  <a:cubicBezTo>
                    <a:pt x="82" y="125"/>
                    <a:pt x="77" y="125"/>
                    <a:pt x="72" y="125"/>
                  </a:cubicBezTo>
                  <a:cubicBezTo>
                    <a:pt x="70" y="125"/>
                    <a:pt x="68" y="126"/>
                    <a:pt x="66" y="125"/>
                  </a:cubicBezTo>
                  <a:cubicBezTo>
                    <a:pt x="64" y="125"/>
                    <a:pt x="62" y="123"/>
                    <a:pt x="61" y="122"/>
                  </a:cubicBezTo>
                  <a:cubicBezTo>
                    <a:pt x="59" y="132"/>
                    <a:pt x="65" y="129"/>
                    <a:pt x="69" y="131"/>
                  </a:cubicBezTo>
                  <a:cubicBezTo>
                    <a:pt x="70" y="131"/>
                    <a:pt x="70" y="132"/>
                    <a:pt x="70" y="133"/>
                  </a:cubicBezTo>
                  <a:cubicBezTo>
                    <a:pt x="72" y="134"/>
                    <a:pt x="73" y="136"/>
                    <a:pt x="74" y="138"/>
                  </a:cubicBezTo>
                  <a:cubicBezTo>
                    <a:pt x="77" y="140"/>
                    <a:pt x="79" y="138"/>
                    <a:pt x="81" y="139"/>
                  </a:cubicBezTo>
                  <a:cubicBezTo>
                    <a:pt x="83" y="140"/>
                    <a:pt x="84" y="142"/>
                    <a:pt x="85" y="144"/>
                  </a:cubicBezTo>
                  <a:cubicBezTo>
                    <a:pt x="86" y="147"/>
                    <a:pt x="87" y="148"/>
                    <a:pt x="90" y="148"/>
                  </a:cubicBezTo>
                  <a:cubicBezTo>
                    <a:pt x="90" y="150"/>
                    <a:pt x="90" y="152"/>
                    <a:pt x="90" y="154"/>
                  </a:cubicBezTo>
                  <a:cubicBezTo>
                    <a:pt x="90" y="156"/>
                    <a:pt x="92" y="158"/>
                    <a:pt x="92" y="160"/>
                  </a:cubicBezTo>
                  <a:cubicBezTo>
                    <a:pt x="93" y="162"/>
                    <a:pt x="92" y="163"/>
                    <a:pt x="94" y="165"/>
                  </a:cubicBezTo>
                  <a:cubicBezTo>
                    <a:pt x="95" y="166"/>
                    <a:pt x="98" y="165"/>
                    <a:pt x="100" y="165"/>
                  </a:cubicBezTo>
                  <a:cubicBezTo>
                    <a:pt x="102" y="165"/>
                    <a:pt x="103" y="165"/>
                    <a:pt x="105" y="165"/>
                  </a:cubicBezTo>
                  <a:cubicBezTo>
                    <a:pt x="107" y="166"/>
                    <a:pt x="108" y="167"/>
                    <a:pt x="110" y="167"/>
                  </a:cubicBezTo>
                  <a:cubicBezTo>
                    <a:pt x="112" y="167"/>
                    <a:pt x="115" y="168"/>
                    <a:pt x="116" y="167"/>
                  </a:cubicBezTo>
                  <a:cubicBezTo>
                    <a:pt x="117" y="167"/>
                    <a:pt x="118" y="166"/>
                    <a:pt x="118" y="166"/>
                  </a:cubicBezTo>
                  <a:cubicBezTo>
                    <a:pt x="120" y="165"/>
                    <a:pt x="121" y="166"/>
                    <a:pt x="122" y="165"/>
                  </a:cubicBezTo>
                  <a:cubicBezTo>
                    <a:pt x="123" y="164"/>
                    <a:pt x="123" y="163"/>
                    <a:pt x="123" y="162"/>
                  </a:cubicBezTo>
                  <a:cubicBezTo>
                    <a:pt x="125" y="162"/>
                    <a:pt x="126" y="160"/>
                    <a:pt x="129" y="160"/>
                  </a:cubicBezTo>
                  <a:cubicBezTo>
                    <a:pt x="131" y="160"/>
                    <a:pt x="134" y="160"/>
                    <a:pt x="136" y="160"/>
                  </a:cubicBezTo>
                  <a:cubicBezTo>
                    <a:pt x="137" y="160"/>
                    <a:pt x="139" y="161"/>
                    <a:pt x="140" y="160"/>
                  </a:cubicBezTo>
                  <a:cubicBezTo>
                    <a:pt x="142" y="160"/>
                    <a:pt x="142" y="158"/>
                    <a:pt x="143" y="157"/>
                  </a:cubicBezTo>
                  <a:cubicBezTo>
                    <a:pt x="145" y="155"/>
                    <a:pt x="148" y="154"/>
                    <a:pt x="150" y="152"/>
                  </a:cubicBezTo>
                  <a:cubicBezTo>
                    <a:pt x="151" y="151"/>
                    <a:pt x="152" y="150"/>
                    <a:pt x="153" y="150"/>
                  </a:cubicBezTo>
                  <a:cubicBezTo>
                    <a:pt x="154" y="149"/>
                    <a:pt x="154" y="146"/>
                    <a:pt x="155" y="145"/>
                  </a:cubicBezTo>
                  <a:cubicBezTo>
                    <a:pt x="156" y="144"/>
                    <a:pt x="158" y="143"/>
                    <a:pt x="159" y="144"/>
                  </a:cubicBezTo>
                  <a:cubicBezTo>
                    <a:pt x="161" y="145"/>
                    <a:pt x="160" y="146"/>
                    <a:pt x="161" y="147"/>
                  </a:cubicBezTo>
                  <a:cubicBezTo>
                    <a:pt x="161" y="148"/>
                    <a:pt x="162" y="149"/>
                    <a:pt x="163" y="149"/>
                  </a:cubicBezTo>
                  <a:cubicBezTo>
                    <a:pt x="164" y="151"/>
                    <a:pt x="164" y="152"/>
                    <a:pt x="165" y="153"/>
                  </a:cubicBezTo>
                  <a:cubicBezTo>
                    <a:pt x="167" y="156"/>
                    <a:pt x="172" y="155"/>
                    <a:pt x="174" y="154"/>
                  </a:cubicBezTo>
                  <a:cubicBezTo>
                    <a:pt x="174" y="153"/>
                    <a:pt x="174" y="153"/>
                    <a:pt x="175" y="152"/>
                  </a:cubicBezTo>
                  <a:cubicBezTo>
                    <a:pt x="177" y="150"/>
                    <a:pt x="180" y="152"/>
                    <a:pt x="183" y="151"/>
                  </a:cubicBezTo>
                  <a:cubicBezTo>
                    <a:pt x="183" y="147"/>
                    <a:pt x="184" y="145"/>
                    <a:pt x="187" y="144"/>
                  </a:cubicBezTo>
                  <a:cubicBezTo>
                    <a:pt x="190" y="144"/>
                    <a:pt x="193" y="143"/>
                    <a:pt x="196" y="141"/>
                  </a:cubicBezTo>
                  <a:cubicBezTo>
                    <a:pt x="199" y="139"/>
                    <a:pt x="201" y="139"/>
                    <a:pt x="205" y="139"/>
                  </a:cubicBezTo>
                  <a:cubicBezTo>
                    <a:pt x="207" y="139"/>
                    <a:pt x="212" y="137"/>
                    <a:pt x="210" y="132"/>
                  </a:cubicBezTo>
                  <a:cubicBezTo>
                    <a:pt x="209" y="130"/>
                    <a:pt x="208" y="130"/>
                    <a:pt x="207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4">
              <a:extLst>
                <a:ext uri="{FF2B5EF4-FFF2-40B4-BE49-F238E27FC236}">
                  <a16:creationId xmlns:a16="http://schemas.microsoft.com/office/drawing/2014/main" id="{328865F0-8C1A-4C9D-855F-D38D85F79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3760" y="1267519"/>
              <a:ext cx="171839" cy="111190"/>
            </a:xfrm>
            <a:custGeom>
              <a:avLst/>
              <a:gdLst>
                <a:gd name="T0" fmla="*/ 12 w 81"/>
                <a:gd name="T1" fmla="*/ 47 h 53"/>
                <a:gd name="T2" fmla="*/ 13 w 81"/>
                <a:gd name="T3" fmla="*/ 49 h 53"/>
                <a:gd name="T4" fmla="*/ 16 w 81"/>
                <a:gd name="T5" fmla="*/ 50 h 53"/>
                <a:gd name="T6" fmla="*/ 21 w 81"/>
                <a:gd name="T7" fmla="*/ 52 h 53"/>
                <a:gd name="T8" fmla="*/ 26 w 81"/>
                <a:gd name="T9" fmla="*/ 50 h 53"/>
                <a:gd name="T10" fmla="*/ 29 w 81"/>
                <a:gd name="T11" fmla="*/ 46 h 53"/>
                <a:gd name="T12" fmla="*/ 39 w 81"/>
                <a:gd name="T13" fmla="*/ 39 h 53"/>
                <a:gd name="T14" fmla="*/ 50 w 81"/>
                <a:gd name="T15" fmla="*/ 36 h 53"/>
                <a:gd name="T16" fmla="*/ 54 w 81"/>
                <a:gd name="T17" fmla="*/ 31 h 53"/>
                <a:gd name="T18" fmla="*/ 59 w 81"/>
                <a:gd name="T19" fmla="*/ 29 h 53"/>
                <a:gd name="T20" fmla="*/ 64 w 81"/>
                <a:gd name="T21" fmla="*/ 28 h 53"/>
                <a:gd name="T22" fmla="*/ 68 w 81"/>
                <a:gd name="T23" fmla="*/ 25 h 53"/>
                <a:gd name="T24" fmla="*/ 73 w 81"/>
                <a:gd name="T25" fmla="*/ 22 h 53"/>
                <a:gd name="T26" fmla="*/ 78 w 81"/>
                <a:gd name="T27" fmla="*/ 20 h 53"/>
                <a:gd name="T28" fmla="*/ 78 w 81"/>
                <a:gd name="T29" fmla="*/ 17 h 53"/>
                <a:gd name="T30" fmla="*/ 80 w 81"/>
                <a:gd name="T31" fmla="*/ 17 h 53"/>
                <a:gd name="T32" fmla="*/ 80 w 81"/>
                <a:gd name="T33" fmla="*/ 8 h 53"/>
                <a:gd name="T34" fmla="*/ 76 w 81"/>
                <a:gd name="T35" fmla="*/ 5 h 53"/>
                <a:gd name="T36" fmla="*/ 77 w 81"/>
                <a:gd name="T37" fmla="*/ 5 h 53"/>
                <a:gd name="T38" fmla="*/ 75 w 81"/>
                <a:gd name="T39" fmla="*/ 3 h 53"/>
                <a:gd name="T40" fmla="*/ 59 w 81"/>
                <a:gd name="T41" fmla="*/ 10 h 53"/>
                <a:gd name="T42" fmla="*/ 50 w 81"/>
                <a:gd name="T43" fmla="*/ 12 h 53"/>
                <a:gd name="T44" fmla="*/ 41 w 81"/>
                <a:gd name="T45" fmla="*/ 12 h 53"/>
                <a:gd name="T46" fmla="*/ 37 w 81"/>
                <a:gd name="T47" fmla="*/ 12 h 53"/>
                <a:gd name="T48" fmla="*/ 35 w 81"/>
                <a:gd name="T49" fmla="*/ 15 h 53"/>
                <a:gd name="T50" fmla="*/ 31 w 81"/>
                <a:gd name="T51" fmla="*/ 24 h 53"/>
                <a:gd name="T52" fmla="*/ 27 w 81"/>
                <a:gd name="T53" fmla="*/ 25 h 53"/>
                <a:gd name="T54" fmla="*/ 21 w 81"/>
                <a:gd name="T55" fmla="*/ 26 h 53"/>
                <a:gd name="T56" fmla="*/ 18 w 81"/>
                <a:gd name="T57" fmla="*/ 28 h 53"/>
                <a:gd name="T58" fmla="*/ 16 w 81"/>
                <a:gd name="T59" fmla="*/ 29 h 53"/>
                <a:gd name="T60" fmla="*/ 12 w 81"/>
                <a:gd name="T61" fmla="*/ 29 h 53"/>
                <a:gd name="T62" fmla="*/ 7 w 81"/>
                <a:gd name="T63" fmla="*/ 29 h 53"/>
                <a:gd name="T64" fmla="*/ 3 w 81"/>
                <a:gd name="T65" fmla="*/ 33 h 53"/>
                <a:gd name="T66" fmla="*/ 1 w 81"/>
                <a:gd name="T67" fmla="*/ 40 h 53"/>
                <a:gd name="T68" fmla="*/ 0 w 81"/>
                <a:gd name="T69" fmla="*/ 47 h 53"/>
                <a:gd name="T70" fmla="*/ 12 w 81"/>
                <a:gd name="T71" fmla="*/ 4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53">
                  <a:moveTo>
                    <a:pt x="12" y="47"/>
                  </a:moveTo>
                  <a:cubicBezTo>
                    <a:pt x="12" y="48"/>
                    <a:pt x="13" y="48"/>
                    <a:pt x="13" y="49"/>
                  </a:cubicBezTo>
                  <a:cubicBezTo>
                    <a:pt x="14" y="50"/>
                    <a:pt x="15" y="50"/>
                    <a:pt x="16" y="50"/>
                  </a:cubicBezTo>
                  <a:cubicBezTo>
                    <a:pt x="18" y="52"/>
                    <a:pt x="19" y="52"/>
                    <a:pt x="21" y="52"/>
                  </a:cubicBezTo>
                  <a:cubicBezTo>
                    <a:pt x="24" y="52"/>
                    <a:pt x="25" y="53"/>
                    <a:pt x="26" y="50"/>
                  </a:cubicBezTo>
                  <a:cubicBezTo>
                    <a:pt x="27" y="49"/>
                    <a:pt x="28" y="47"/>
                    <a:pt x="29" y="46"/>
                  </a:cubicBezTo>
                  <a:cubicBezTo>
                    <a:pt x="31" y="42"/>
                    <a:pt x="35" y="40"/>
                    <a:pt x="39" y="39"/>
                  </a:cubicBezTo>
                  <a:cubicBezTo>
                    <a:pt x="43" y="37"/>
                    <a:pt x="47" y="40"/>
                    <a:pt x="50" y="36"/>
                  </a:cubicBezTo>
                  <a:cubicBezTo>
                    <a:pt x="51" y="34"/>
                    <a:pt x="52" y="32"/>
                    <a:pt x="54" y="31"/>
                  </a:cubicBezTo>
                  <a:cubicBezTo>
                    <a:pt x="55" y="29"/>
                    <a:pt x="57" y="29"/>
                    <a:pt x="59" y="29"/>
                  </a:cubicBezTo>
                  <a:cubicBezTo>
                    <a:pt x="61" y="29"/>
                    <a:pt x="62" y="29"/>
                    <a:pt x="64" y="28"/>
                  </a:cubicBezTo>
                  <a:cubicBezTo>
                    <a:pt x="66" y="27"/>
                    <a:pt x="67" y="25"/>
                    <a:pt x="68" y="25"/>
                  </a:cubicBezTo>
                  <a:cubicBezTo>
                    <a:pt x="70" y="23"/>
                    <a:pt x="71" y="23"/>
                    <a:pt x="73" y="22"/>
                  </a:cubicBezTo>
                  <a:cubicBezTo>
                    <a:pt x="74" y="22"/>
                    <a:pt x="76" y="20"/>
                    <a:pt x="78" y="20"/>
                  </a:cubicBezTo>
                  <a:cubicBezTo>
                    <a:pt x="78" y="19"/>
                    <a:pt x="78" y="18"/>
                    <a:pt x="78" y="17"/>
                  </a:cubicBezTo>
                  <a:cubicBezTo>
                    <a:pt x="79" y="17"/>
                    <a:pt x="79" y="17"/>
                    <a:pt x="80" y="17"/>
                  </a:cubicBezTo>
                  <a:cubicBezTo>
                    <a:pt x="80" y="15"/>
                    <a:pt x="81" y="10"/>
                    <a:pt x="80" y="8"/>
                  </a:cubicBezTo>
                  <a:cubicBezTo>
                    <a:pt x="80" y="7"/>
                    <a:pt x="77" y="4"/>
                    <a:pt x="76" y="5"/>
                  </a:cubicBezTo>
                  <a:cubicBezTo>
                    <a:pt x="76" y="5"/>
                    <a:pt x="77" y="5"/>
                    <a:pt x="77" y="5"/>
                  </a:cubicBezTo>
                  <a:cubicBezTo>
                    <a:pt x="77" y="5"/>
                    <a:pt x="75" y="3"/>
                    <a:pt x="75" y="3"/>
                  </a:cubicBezTo>
                  <a:cubicBezTo>
                    <a:pt x="71" y="3"/>
                    <a:pt x="59" y="0"/>
                    <a:pt x="59" y="10"/>
                  </a:cubicBezTo>
                  <a:cubicBezTo>
                    <a:pt x="56" y="10"/>
                    <a:pt x="53" y="12"/>
                    <a:pt x="50" y="12"/>
                  </a:cubicBezTo>
                  <a:cubicBezTo>
                    <a:pt x="47" y="12"/>
                    <a:pt x="44" y="12"/>
                    <a:pt x="41" y="12"/>
                  </a:cubicBezTo>
                  <a:cubicBezTo>
                    <a:pt x="40" y="12"/>
                    <a:pt x="39" y="12"/>
                    <a:pt x="37" y="12"/>
                  </a:cubicBezTo>
                  <a:cubicBezTo>
                    <a:pt x="34" y="12"/>
                    <a:pt x="36" y="12"/>
                    <a:pt x="35" y="15"/>
                  </a:cubicBezTo>
                  <a:cubicBezTo>
                    <a:pt x="33" y="18"/>
                    <a:pt x="31" y="20"/>
                    <a:pt x="31" y="24"/>
                  </a:cubicBezTo>
                  <a:cubicBezTo>
                    <a:pt x="30" y="24"/>
                    <a:pt x="28" y="25"/>
                    <a:pt x="27" y="25"/>
                  </a:cubicBezTo>
                  <a:cubicBezTo>
                    <a:pt x="25" y="26"/>
                    <a:pt x="23" y="26"/>
                    <a:pt x="21" y="26"/>
                  </a:cubicBezTo>
                  <a:cubicBezTo>
                    <a:pt x="20" y="27"/>
                    <a:pt x="19" y="28"/>
                    <a:pt x="18" y="28"/>
                  </a:cubicBezTo>
                  <a:cubicBezTo>
                    <a:pt x="17" y="29"/>
                    <a:pt x="17" y="29"/>
                    <a:pt x="16" y="29"/>
                  </a:cubicBezTo>
                  <a:cubicBezTo>
                    <a:pt x="15" y="30"/>
                    <a:pt x="13" y="29"/>
                    <a:pt x="12" y="29"/>
                  </a:cubicBezTo>
                  <a:cubicBezTo>
                    <a:pt x="11" y="29"/>
                    <a:pt x="9" y="29"/>
                    <a:pt x="7" y="29"/>
                  </a:cubicBezTo>
                  <a:cubicBezTo>
                    <a:pt x="5" y="30"/>
                    <a:pt x="5" y="31"/>
                    <a:pt x="3" y="33"/>
                  </a:cubicBezTo>
                  <a:cubicBezTo>
                    <a:pt x="1" y="36"/>
                    <a:pt x="1" y="36"/>
                    <a:pt x="1" y="40"/>
                  </a:cubicBezTo>
                  <a:cubicBezTo>
                    <a:pt x="1" y="43"/>
                    <a:pt x="1" y="44"/>
                    <a:pt x="0" y="47"/>
                  </a:cubicBezTo>
                  <a:cubicBezTo>
                    <a:pt x="3" y="48"/>
                    <a:pt x="9" y="45"/>
                    <a:pt x="12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5">
              <a:extLst>
                <a:ext uri="{FF2B5EF4-FFF2-40B4-BE49-F238E27FC236}">
                  <a16:creationId xmlns:a16="http://schemas.microsoft.com/office/drawing/2014/main" id="{6BCBBC24-DF6C-445A-ABC4-1A5B2723A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0905" y="1277627"/>
              <a:ext cx="2246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6">
              <a:extLst>
                <a:ext uri="{FF2B5EF4-FFF2-40B4-BE49-F238E27FC236}">
                  <a16:creationId xmlns:a16="http://schemas.microsoft.com/office/drawing/2014/main" id="{44DB490B-DDC2-482F-A836-BD8128B21B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733" y="1216978"/>
              <a:ext cx="84235" cy="81989"/>
            </a:xfrm>
            <a:custGeom>
              <a:avLst/>
              <a:gdLst>
                <a:gd name="T0" fmla="*/ 4 w 40"/>
                <a:gd name="T1" fmla="*/ 38 h 39"/>
                <a:gd name="T2" fmla="*/ 10 w 40"/>
                <a:gd name="T3" fmla="*/ 36 h 39"/>
                <a:gd name="T4" fmla="*/ 18 w 40"/>
                <a:gd name="T5" fmla="*/ 36 h 39"/>
                <a:gd name="T6" fmla="*/ 23 w 40"/>
                <a:gd name="T7" fmla="*/ 32 h 39"/>
                <a:gd name="T8" fmla="*/ 29 w 40"/>
                <a:gd name="T9" fmla="*/ 30 h 39"/>
                <a:gd name="T10" fmla="*/ 29 w 40"/>
                <a:gd name="T11" fmla="*/ 20 h 39"/>
                <a:gd name="T12" fmla="*/ 33 w 40"/>
                <a:gd name="T13" fmla="*/ 15 h 39"/>
                <a:gd name="T14" fmla="*/ 33 w 40"/>
                <a:gd name="T15" fmla="*/ 3 h 39"/>
                <a:gd name="T16" fmla="*/ 33 w 40"/>
                <a:gd name="T17" fmla="*/ 1 h 39"/>
                <a:gd name="T18" fmla="*/ 25 w 40"/>
                <a:gd name="T19" fmla="*/ 1 h 39"/>
                <a:gd name="T20" fmla="*/ 21 w 40"/>
                <a:gd name="T21" fmla="*/ 5 h 39"/>
                <a:gd name="T22" fmla="*/ 15 w 40"/>
                <a:gd name="T23" fmla="*/ 8 h 39"/>
                <a:gd name="T24" fmla="*/ 9 w 40"/>
                <a:gd name="T25" fmla="*/ 9 h 39"/>
                <a:gd name="T26" fmla="*/ 9 w 40"/>
                <a:gd name="T27" fmla="*/ 20 h 39"/>
                <a:gd name="T28" fmla="*/ 5 w 40"/>
                <a:gd name="T29" fmla="*/ 26 h 39"/>
                <a:gd name="T30" fmla="*/ 1 w 40"/>
                <a:gd name="T31" fmla="*/ 32 h 39"/>
                <a:gd name="T32" fmla="*/ 4 w 40"/>
                <a:gd name="T33" fmla="*/ 3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39">
                  <a:moveTo>
                    <a:pt x="4" y="38"/>
                  </a:moveTo>
                  <a:cubicBezTo>
                    <a:pt x="6" y="37"/>
                    <a:pt x="8" y="36"/>
                    <a:pt x="10" y="36"/>
                  </a:cubicBezTo>
                  <a:cubicBezTo>
                    <a:pt x="13" y="36"/>
                    <a:pt x="16" y="37"/>
                    <a:pt x="18" y="36"/>
                  </a:cubicBezTo>
                  <a:cubicBezTo>
                    <a:pt x="20" y="35"/>
                    <a:pt x="21" y="33"/>
                    <a:pt x="23" y="32"/>
                  </a:cubicBezTo>
                  <a:cubicBezTo>
                    <a:pt x="25" y="32"/>
                    <a:pt x="27" y="34"/>
                    <a:pt x="29" y="30"/>
                  </a:cubicBezTo>
                  <a:cubicBezTo>
                    <a:pt x="30" y="27"/>
                    <a:pt x="29" y="23"/>
                    <a:pt x="29" y="20"/>
                  </a:cubicBezTo>
                  <a:cubicBezTo>
                    <a:pt x="30" y="17"/>
                    <a:pt x="32" y="17"/>
                    <a:pt x="33" y="15"/>
                  </a:cubicBezTo>
                  <a:cubicBezTo>
                    <a:pt x="36" y="12"/>
                    <a:pt x="40" y="1"/>
                    <a:pt x="33" y="3"/>
                  </a:cubicBezTo>
                  <a:cubicBezTo>
                    <a:pt x="36" y="3"/>
                    <a:pt x="30" y="1"/>
                    <a:pt x="33" y="1"/>
                  </a:cubicBezTo>
                  <a:cubicBezTo>
                    <a:pt x="31" y="1"/>
                    <a:pt x="28" y="0"/>
                    <a:pt x="25" y="1"/>
                  </a:cubicBezTo>
                  <a:cubicBezTo>
                    <a:pt x="23" y="1"/>
                    <a:pt x="23" y="3"/>
                    <a:pt x="21" y="5"/>
                  </a:cubicBezTo>
                  <a:cubicBezTo>
                    <a:pt x="19" y="6"/>
                    <a:pt x="17" y="7"/>
                    <a:pt x="15" y="8"/>
                  </a:cubicBezTo>
                  <a:cubicBezTo>
                    <a:pt x="13" y="8"/>
                    <a:pt x="10" y="6"/>
                    <a:pt x="9" y="9"/>
                  </a:cubicBezTo>
                  <a:cubicBezTo>
                    <a:pt x="8" y="12"/>
                    <a:pt x="10" y="17"/>
                    <a:pt x="9" y="20"/>
                  </a:cubicBezTo>
                  <a:cubicBezTo>
                    <a:pt x="9" y="22"/>
                    <a:pt x="7" y="24"/>
                    <a:pt x="5" y="26"/>
                  </a:cubicBezTo>
                  <a:cubicBezTo>
                    <a:pt x="3" y="28"/>
                    <a:pt x="2" y="28"/>
                    <a:pt x="1" y="32"/>
                  </a:cubicBezTo>
                  <a:cubicBezTo>
                    <a:pt x="0" y="36"/>
                    <a:pt x="0" y="39"/>
                    <a:pt x="4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7">
              <a:extLst>
                <a:ext uri="{FF2B5EF4-FFF2-40B4-BE49-F238E27FC236}">
                  <a16:creationId xmlns:a16="http://schemas.microsoft.com/office/drawing/2014/main" id="{8A5135B8-389F-4E7E-B833-513E4B777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084" y="133266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8">
              <a:extLst>
                <a:ext uri="{FF2B5EF4-FFF2-40B4-BE49-F238E27FC236}">
                  <a16:creationId xmlns:a16="http://schemas.microsoft.com/office/drawing/2014/main" id="{401ADAEB-979A-49A4-933B-791AFFBF9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3691" y="1332662"/>
              <a:ext cx="217888" cy="137024"/>
            </a:xfrm>
            <a:custGeom>
              <a:avLst/>
              <a:gdLst>
                <a:gd name="T0" fmla="*/ 22 w 103"/>
                <a:gd name="T1" fmla="*/ 10 h 65"/>
                <a:gd name="T2" fmla="*/ 20 w 103"/>
                <a:gd name="T3" fmla="*/ 12 h 65"/>
                <a:gd name="T4" fmla="*/ 16 w 103"/>
                <a:gd name="T5" fmla="*/ 13 h 65"/>
                <a:gd name="T6" fmla="*/ 12 w 103"/>
                <a:gd name="T7" fmla="*/ 18 h 65"/>
                <a:gd name="T8" fmla="*/ 10 w 103"/>
                <a:gd name="T9" fmla="*/ 25 h 65"/>
                <a:gd name="T10" fmla="*/ 3 w 103"/>
                <a:gd name="T11" fmla="*/ 28 h 65"/>
                <a:gd name="T12" fmla="*/ 0 w 103"/>
                <a:gd name="T13" fmla="*/ 39 h 65"/>
                <a:gd name="T14" fmla="*/ 9 w 103"/>
                <a:gd name="T15" fmla="*/ 39 h 65"/>
                <a:gd name="T16" fmla="*/ 14 w 103"/>
                <a:gd name="T17" fmla="*/ 46 h 65"/>
                <a:gd name="T18" fmla="*/ 23 w 103"/>
                <a:gd name="T19" fmla="*/ 46 h 65"/>
                <a:gd name="T20" fmla="*/ 28 w 103"/>
                <a:gd name="T21" fmla="*/ 46 h 65"/>
                <a:gd name="T22" fmla="*/ 30 w 103"/>
                <a:gd name="T23" fmla="*/ 53 h 65"/>
                <a:gd name="T24" fmla="*/ 31 w 103"/>
                <a:gd name="T25" fmla="*/ 58 h 65"/>
                <a:gd name="T26" fmla="*/ 32 w 103"/>
                <a:gd name="T27" fmla="*/ 63 h 65"/>
                <a:gd name="T28" fmla="*/ 42 w 103"/>
                <a:gd name="T29" fmla="*/ 63 h 65"/>
                <a:gd name="T30" fmla="*/ 53 w 103"/>
                <a:gd name="T31" fmla="*/ 63 h 65"/>
                <a:gd name="T32" fmla="*/ 58 w 103"/>
                <a:gd name="T33" fmla="*/ 58 h 65"/>
                <a:gd name="T34" fmla="*/ 60 w 103"/>
                <a:gd name="T35" fmla="*/ 58 h 65"/>
                <a:gd name="T36" fmla="*/ 61 w 103"/>
                <a:gd name="T37" fmla="*/ 54 h 65"/>
                <a:gd name="T38" fmla="*/ 64 w 103"/>
                <a:gd name="T39" fmla="*/ 51 h 65"/>
                <a:gd name="T40" fmla="*/ 69 w 103"/>
                <a:gd name="T41" fmla="*/ 52 h 65"/>
                <a:gd name="T42" fmla="*/ 79 w 103"/>
                <a:gd name="T43" fmla="*/ 53 h 65"/>
                <a:gd name="T44" fmla="*/ 84 w 103"/>
                <a:gd name="T45" fmla="*/ 51 h 65"/>
                <a:gd name="T46" fmla="*/ 89 w 103"/>
                <a:gd name="T47" fmla="*/ 51 h 65"/>
                <a:gd name="T48" fmla="*/ 97 w 103"/>
                <a:gd name="T49" fmla="*/ 46 h 65"/>
                <a:gd name="T50" fmla="*/ 99 w 103"/>
                <a:gd name="T51" fmla="*/ 35 h 65"/>
                <a:gd name="T52" fmla="*/ 102 w 103"/>
                <a:gd name="T53" fmla="*/ 32 h 65"/>
                <a:gd name="T54" fmla="*/ 103 w 103"/>
                <a:gd name="T55" fmla="*/ 26 h 65"/>
                <a:gd name="T56" fmla="*/ 95 w 103"/>
                <a:gd name="T57" fmla="*/ 23 h 65"/>
                <a:gd name="T58" fmla="*/ 91 w 103"/>
                <a:gd name="T59" fmla="*/ 21 h 65"/>
                <a:gd name="T60" fmla="*/ 85 w 103"/>
                <a:gd name="T61" fmla="*/ 21 h 65"/>
                <a:gd name="T62" fmla="*/ 81 w 103"/>
                <a:gd name="T63" fmla="*/ 6 h 65"/>
                <a:gd name="T64" fmla="*/ 77 w 103"/>
                <a:gd name="T65" fmla="*/ 3 h 65"/>
                <a:gd name="T66" fmla="*/ 76 w 103"/>
                <a:gd name="T67" fmla="*/ 0 h 65"/>
                <a:gd name="T68" fmla="*/ 75 w 103"/>
                <a:gd name="T69" fmla="*/ 0 h 65"/>
                <a:gd name="T70" fmla="*/ 74 w 103"/>
                <a:gd name="T71" fmla="*/ 9 h 65"/>
                <a:gd name="T72" fmla="*/ 72 w 103"/>
                <a:gd name="T73" fmla="*/ 16 h 65"/>
                <a:gd name="T74" fmla="*/ 70 w 103"/>
                <a:gd name="T75" fmla="*/ 25 h 65"/>
                <a:gd name="T76" fmla="*/ 67 w 103"/>
                <a:gd name="T77" fmla="*/ 33 h 65"/>
                <a:gd name="T78" fmla="*/ 52 w 103"/>
                <a:gd name="T79" fmla="*/ 33 h 65"/>
                <a:gd name="T80" fmla="*/ 50 w 103"/>
                <a:gd name="T81" fmla="*/ 25 h 65"/>
                <a:gd name="T82" fmla="*/ 49 w 103"/>
                <a:gd name="T83" fmla="*/ 21 h 65"/>
                <a:gd name="T84" fmla="*/ 46 w 103"/>
                <a:gd name="T85" fmla="*/ 21 h 65"/>
                <a:gd name="T86" fmla="*/ 44 w 103"/>
                <a:gd name="T87" fmla="*/ 20 h 65"/>
                <a:gd name="T88" fmla="*/ 40 w 103"/>
                <a:gd name="T89" fmla="*/ 16 h 65"/>
                <a:gd name="T90" fmla="*/ 36 w 103"/>
                <a:gd name="T91" fmla="*/ 11 h 65"/>
                <a:gd name="T92" fmla="*/ 33 w 103"/>
                <a:gd name="T93" fmla="*/ 9 h 65"/>
                <a:gd name="T94" fmla="*/ 30 w 103"/>
                <a:gd name="T95" fmla="*/ 9 h 65"/>
                <a:gd name="T96" fmla="*/ 22 w 103"/>
                <a:gd name="T97" fmla="*/ 1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3" h="65">
                  <a:moveTo>
                    <a:pt x="22" y="10"/>
                  </a:moveTo>
                  <a:cubicBezTo>
                    <a:pt x="21" y="11"/>
                    <a:pt x="21" y="12"/>
                    <a:pt x="20" y="12"/>
                  </a:cubicBezTo>
                  <a:cubicBezTo>
                    <a:pt x="18" y="13"/>
                    <a:pt x="17" y="12"/>
                    <a:pt x="16" y="13"/>
                  </a:cubicBezTo>
                  <a:cubicBezTo>
                    <a:pt x="14" y="13"/>
                    <a:pt x="13" y="15"/>
                    <a:pt x="12" y="18"/>
                  </a:cubicBezTo>
                  <a:cubicBezTo>
                    <a:pt x="11" y="20"/>
                    <a:pt x="11" y="23"/>
                    <a:pt x="10" y="25"/>
                  </a:cubicBezTo>
                  <a:cubicBezTo>
                    <a:pt x="9" y="26"/>
                    <a:pt x="5" y="28"/>
                    <a:pt x="3" y="28"/>
                  </a:cubicBezTo>
                  <a:cubicBezTo>
                    <a:pt x="3" y="32"/>
                    <a:pt x="2" y="36"/>
                    <a:pt x="0" y="39"/>
                  </a:cubicBezTo>
                  <a:cubicBezTo>
                    <a:pt x="3" y="38"/>
                    <a:pt x="6" y="38"/>
                    <a:pt x="9" y="39"/>
                  </a:cubicBezTo>
                  <a:cubicBezTo>
                    <a:pt x="14" y="39"/>
                    <a:pt x="12" y="43"/>
                    <a:pt x="14" y="46"/>
                  </a:cubicBezTo>
                  <a:cubicBezTo>
                    <a:pt x="17" y="50"/>
                    <a:pt x="20" y="46"/>
                    <a:pt x="23" y="46"/>
                  </a:cubicBezTo>
                  <a:cubicBezTo>
                    <a:pt x="24" y="45"/>
                    <a:pt x="27" y="45"/>
                    <a:pt x="28" y="46"/>
                  </a:cubicBezTo>
                  <a:cubicBezTo>
                    <a:pt x="31" y="48"/>
                    <a:pt x="29" y="50"/>
                    <a:pt x="30" y="53"/>
                  </a:cubicBezTo>
                  <a:cubicBezTo>
                    <a:pt x="30" y="55"/>
                    <a:pt x="31" y="56"/>
                    <a:pt x="31" y="58"/>
                  </a:cubicBezTo>
                  <a:cubicBezTo>
                    <a:pt x="31" y="61"/>
                    <a:pt x="30" y="62"/>
                    <a:pt x="32" y="63"/>
                  </a:cubicBezTo>
                  <a:cubicBezTo>
                    <a:pt x="34" y="65"/>
                    <a:pt x="40" y="63"/>
                    <a:pt x="42" y="63"/>
                  </a:cubicBezTo>
                  <a:cubicBezTo>
                    <a:pt x="45" y="63"/>
                    <a:pt x="50" y="64"/>
                    <a:pt x="53" y="63"/>
                  </a:cubicBezTo>
                  <a:cubicBezTo>
                    <a:pt x="54" y="62"/>
                    <a:pt x="56" y="60"/>
                    <a:pt x="58" y="58"/>
                  </a:cubicBezTo>
                  <a:cubicBezTo>
                    <a:pt x="58" y="58"/>
                    <a:pt x="59" y="58"/>
                    <a:pt x="60" y="58"/>
                  </a:cubicBezTo>
                  <a:cubicBezTo>
                    <a:pt x="60" y="57"/>
                    <a:pt x="61" y="55"/>
                    <a:pt x="61" y="54"/>
                  </a:cubicBezTo>
                  <a:cubicBezTo>
                    <a:pt x="62" y="51"/>
                    <a:pt x="61" y="52"/>
                    <a:pt x="64" y="51"/>
                  </a:cubicBezTo>
                  <a:cubicBezTo>
                    <a:pt x="66" y="50"/>
                    <a:pt x="67" y="52"/>
                    <a:pt x="69" y="52"/>
                  </a:cubicBezTo>
                  <a:cubicBezTo>
                    <a:pt x="72" y="53"/>
                    <a:pt x="76" y="53"/>
                    <a:pt x="79" y="53"/>
                  </a:cubicBezTo>
                  <a:cubicBezTo>
                    <a:pt x="81" y="53"/>
                    <a:pt x="82" y="51"/>
                    <a:pt x="84" y="51"/>
                  </a:cubicBezTo>
                  <a:cubicBezTo>
                    <a:pt x="85" y="51"/>
                    <a:pt x="87" y="51"/>
                    <a:pt x="89" y="51"/>
                  </a:cubicBezTo>
                  <a:cubicBezTo>
                    <a:pt x="93" y="51"/>
                    <a:pt x="96" y="52"/>
                    <a:pt x="97" y="46"/>
                  </a:cubicBezTo>
                  <a:cubicBezTo>
                    <a:pt x="97" y="42"/>
                    <a:pt x="97" y="37"/>
                    <a:pt x="99" y="35"/>
                  </a:cubicBezTo>
                  <a:cubicBezTo>
                    <a:pt x="100" y="33"/>
                    <a:pt x="101" y="33"/>
                    <a:pt x="102" y="32"/>
                  </a:cubicBezTo>
                  <a:cubicBezTo>
                    <a:pt x="102" y="30"/>
                    <a:pt x="103" y="28"/>
                    <a:pt x="103" y="26"/>
                  </a:cubicBezTo>
                  <a:cubicBezTo>
                    <a:pt x="103" y="21"/>
                    <a:pt x="99" y="23"/>
                    <a:pt x="95" y="23"/>
                  </a:cubicBezTo>
                  <a:cubicBezTo>
                    <a:pt x="94" y="22"/>
                    <a:pt x="93" y="21"/>
                    <a:pt x="91" y="21"/>
                  </a:cubicBezTo>
                  <a:cubicBezTo>
                    <a:pt x="89" y="21"/>
                    <a:pt x="87" y="22"/>
                    <a:pt x="85" y="21"/>
                  </a:cubicBezTo>
                  <a:cubicBezTo>
                    <a:pt x="85" y="15"/>
                    <a:pt x="82" y="12"/>
                    <a:pt x="81" y="6"/>
                  </a:cubicBezTo>
                  <a:cubicBezTo>
                    <a:pt x="79" y="5"/>
                    <a:pt x="78" y="6"/>
                    <a:pt x="77" y="3"/>
                  </a:cubicBezTo>
                  <a:cubicBezTo>
                    <a:pt x="77" y="4"/>
                    <a:pt x="76" y="1"/>
                    <a:pt x="76" y="0"/>
                  </a:cubicBezTo>
                  <a:cubicBezTo>
                    <a:pt x="76" y="0"/>
                    <a:pt x="76" y="0"/>
                    <a:pt x="75" y="0"/>
                  </a:cubicBezTo>
                  <a:cubicBezTo>
                    <a:pt x="75" y="3"/>
                    <a:pt x="74" y="6"/>
                    <a:pt x="74" y="9"/>
                  </a:cubicBezTo>
                  <a:cubicBezTo>
                    <a:pt x="73" y="12"/>
                    <a:pt x="73" y="14"/>
                    <a:pt x="72" y="16"/>
                  </a:cubicBezTo>
                  <a:cubicBezTo>
                    <a:pt x="70" y="20"/>
                    <a:pt x="70" y="20"/>
                    <a:pt x="70" y="25"/>
                  </a:cubicBezTo>
                  <a:cubicBezTo>
                    <a:pt x="70" y="29"/>
                    <a:pt x="70" y="32"/>
                    <a:pt x="67" y="33"/>
                  </a:cubicBezTo>
                  <a:cubicBezTo>
                    <a:pt x="64" y="34"/>
                    <a:pt x="56" y="35"/>
                    <a:pt x="52" y="33"/>
                  </a:cubicBezTo>
                  <a:cubicBezTo>
                    <a:pt x="49" y="32"/>
                    <a:pt x="50" y="29"/>
                    <a:pt x="50" y="25"/>
                  </a:cubicBezTo>
                  <a:cubicBezTo>
                    <a:pt x="50" y="22"/>
                    <a:pt x="50" y="22"/>
                    <a:pt x="49" y="21"/>
                  </a:cubicBezTo>
                  <a:cubicBezTo>
                    <a:pt x="48" y="21"/>
                    <a:pt x="47" y="21"/>
                    <a:pt x="46" y="21"/>
                  </a:cubicBezTo>
                  <a:cubicBezTo>
                    <a:pt x="45" y="21"/>
                    <a:pt x="45" y="21"/>
                    <a:pt x="44" y="20"/>
                  </a:cubicBezTo>
                  <a:cubicBezTo>
                    <a:pt x="41" y="19"/>
                    <a:pt x="40" y="21"/>
                    <a:pt x="40" y="16"/>
                  </a:cubicBezTo>
                  <a:cubicBezTo>
                    <a:pt x="39" y="10"/>
                    <a:pt x="40" y="12"/>
                    <a:pt x="36" y="11"/>
                  </a:cubicBezTo>
                  <a:cubicBezTo>
                    <a:pt x="35" y="10"/>
                    <a:pt x="35" y="9"/>
                    <a:pt x="33" y="9"/>
                  </a:cubicBezTo>
                  <a:cubicBezTo>
                    <a:pt x="32" y="8"/>
                    <a:pt x="31" y="9"/>
                    <a:pt x="30" y="9"/>
                  </a:cubicBezTo>
                  <a:cubicBezTo>
                    <a:pt x="27" y="9"/>
                    <a:pt x="24" y="8"/>
                    <a:pt x="2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9">
              <a:extLst>
                <a:ext uri="{FF2B5EF4-FFF2-40B4-BE49-F238E27FC236}">
                  <a16:creationId xmlns:a16="http://schemas.microsoft.com/office/drawing/2014/main" id="{3D344BC2-EDEC-4750-8DB5-9049E93C3CA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97" y="1515732"/>
              <a:ext cx="103329" cy="148255"/>
            </a:xfrm>
            <a:custGeom>
              <a:avLst/>
              <a:gdLst>
                <a:gd name="T0" fmla="*/ 40 w 49"/>
                <a:gd name="T1" fmla="*/ 1 h 70"/>
                <a:gd name="T2" fmla="*/ 33 w 49"/>
                <a:gd name="T3" fmla="*/ 4 h 70"/>
                <a:gd name="T4" fmla="*/ 25 w 49"/>
                <a:gd name="T5" fmla="*/ 4 h 70"/>
                <a:gd name="T6" fmla="*/ 18 w 49"/>
                <a:gd name="T7" fmla="*/ 9 h 70"/>
                <a:gd name="T8" fmla="*/ 14 w 49"/>
                <a:gd name="T9" fmla="*/ 16 h 70"/>
                <a:gd name="T10" fmla="*/ 11 w 49"/>
                <a:gd name="T11" fmla="*/ 19 h 70"/>
                <a:gd name="T12" fmla="*/ 7 w 49"/>
                <a:gd name="T13" fmla="*/ 20 h 70"/>
                <a:gd name="T14" fmla="*/ 5 w 49"/>
                <a:gd name="T15" fmla="*/ 22 h 70"/>
                <a:gd name="T16" fmla="*/ 1 w 49"/>
                <a:gd name="T17" fmla="*/ 23 h 70"/>
                <a:gd name="T18" fmla="*/ 1 w 49"/>
                <a:gd name="T19" fmla="*/ 36 h 70"/>
                <a:gd name="T20" fmla="*/ 8 w 49"/>
                <a:gd name="T21" fmla="*/ 39 h 70"/>
                <a:gd name="T22" fmla="*/ 13 w 49"/>
                <a:gd name="T23" fmla="*/ 40 h 70"/>
                <a:gd name="T24" fmla="*/ 15 w 49"/>
                <a:gd name="T25" fmla="*/ 46 h 70"/>
                <a:gd name="T26" fmla="*/ 17 w 49"/>
                <a:gd name="T27" fmla="*/ 47 h 70"/>
                <a:gd name="T28" fmla="*/ 18 w 49"/>
                <a:gd name="T29" fmla="*/ 52 h 70"/>
                <a:gd name="T30" fmla="*/ 19 w 49"/>
                <a:gd name="T31" fmla="*/ 59 h 70"/>
                <a:gd name="T32" fmla="*/ 21 w 49"/>
                <a:gd name="T33" fmla="*/ 63 h 70"/>
                <a:gd name="T34" fmla="*/ 23 w 49"/>
                <a:gd name="T35" fmla="*/ 69 h 70"/>
                <a:gd name="T36" fmla="*/ 27 w 49"/>
                <a:gd name="T37" fmla="*/ 64 h 70"/>
                <a:gd name="T38" fmla="*/ 28 w 49"/>
                <a:gd name="T39" fmla="*/ 57 h 70"/>
                <a:gd name="T40" fmla="*/ 29 w 49"/>
                <a:gd name="T41" fmla="*/ 52 h 70"/>
                <a:gd name="T42" fmla="*/ 36 w 49"/>
                <a:gd name="T43" fmla="*/ 48 h 70"/>
                <a:gd name="T44" fmla="*/ 44 w 49"/>
                <a:gd name="T45" fmla="*/ 44 h 70"/>
                <a:gd name="T46" fmla="*/ 39 w 49"/>
                <a:gd name="T47" fmla="*/ 28 h 70"/>
                <a:gd name="T48" fmla="*/ 45 w 49"/>
                <a:gd name="T49" fmla="*/ 18 h 70"/>
                <a:gd name="T50" fmla="*/ 47 w 49"/>
                <a:gd name="T51" fmla="*/ 11 h 70"/>
                <a:gd name="T52" fmla="*/ 48 w 49"/>
                <a:gd name="T53" fmla="*/ 3 h 70"/>
                <a:gd name="T54" fmla="*/ 49 w 49"/>
                <a:gd name="T55" fmla="*/ 1 h 70"/>
                <a:gd name="T56" fmla="*/ 40 w 49"/>
                <a:gd name="T57" fmla="*/ 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9" h="70">
                  <a:moveTo>
                    <a:pt x="40" y="1"/>
                  </a:moveTo>
                  <a:cubicBezTo>
                    <a:pt x="38" y="1"/>
                    <a:pt x="36" y="3"/>
                    <a:pt x="33" y="4"/>
                  </a:cubicBezTo>
                  <a:cubicBezTo>
                    <a:pt x="31" y="5"/>
                    <a:pt x="28" y="4"/>
                    <a:pt x="25" y="4"/>
                  </a:cubicBezTo>
                  <a:cubicBezTo>
                    <a:pt x="21" y="4"/>
                    <a:pt x="21" y="6"/>
                    <a:pt x="18" y="9"/>
                  </a:cubicBezTo>
                  <a:cubicBezTo>
                    <a:pt x="17" y="11"/>
                    <a:pt x="15" y="14"/>
                    <a:pt x="14" y="16"/>
                  </a:cubicBezTo>
                  <a:cubicBezTo>
                    <a:pt x="13" y="17"/>
                    <a:pt x="12" y="18"/>
                    <a:pt x="11" y="19"/>
                  </a:cubicBezTo>
                  <a:cubicBezTo>
                    <a:pt x="10" y="20"/>
                    <a:pt x="9" y="19"/>
                    <a:pt x="7" y="20"/>
                  </a:cubicBezTo>
                  <a:cubicBezTo>
                    <a:pt x="6" y="20"/>
                    <a:pt x="6" y="22"/>
                    <a:pt x="5" y="22"/>
                  </a:cubicBezTo>
                  <a:cubicBezTo>
                    <a:pt x="3" y="23"/>
                    <a:pt x="2" y="20"/>
                    <a:pt x="1" y="23"/>
                  </a:cubicBezTo>
                  <a:cubicBezTo>
                    <a:pt x="0" y="26"/>
                    <a:pt x="1" y="33"/>
                    <a:pt x="1" y="36"/>
                  </a:cubicBezTo>
                  <a:cubicBezTo>
                    <a:pt x="4" y="36"/>
                    <a:pt x="5" y="39"/>
                    <a:pt x="8" y="39"/>
                  </a:cubicBezTo>
                  <a:cubicBezTo>
                    <a:pt x="10" y="40"/>
                    <a:pt x="12" y="38"/>
                    <a:pt x="13" y="40"/>
                  </a:cubicBezTo>
                  <a:cubicBezTo>
                    <a:pt x="14" y="40"/>
                    <a:pt x="15" y="45"/>
                    <a:pt x="15" y="46"/>
                  </a:cubicBezTo>
                  <a:cubicBezTo>
                    <a:pt x="16" y="46"/>
                    <a:pt x="16" y="47"/>
                    <a:pt x="17" y="47"/>
                  </a:cubicBezTo>
                  <a:cubicBezTo>
                    <a:pt x="17" y="49"/>
                    <a:pt x="18" y="51"/>
                    <a:pt x="18" y="52"/>
                  </a:cubicBezTo>
                  <a:cubicBezTo>
                    <a:pt x="19" y="54"/>
                    <a:pt x="18" y="57"/>
                    <a:pt x="19" y="59"/>
                  </a:cubicBezTo>
                  <a:cubicBezTo>
                    <a:pt x="19" y="61"/>
                    <a:pt x="20" y="61"/>
                    <a:pt x="21" y="63"/>
                  </a:cubicBezTo>
                  <a:cubicBezTo>
                    <a:pt x="22" y="65"/>
                    <a:pt x="22" y="66"/>
                    <a:pt x="23" y="69"/>
                  </a:cubicBezTo>
                  <a:cubicBezTo>
                    <a:pt x="27" y="70"/>
                    <a:pt x="27" y="69"/>
                    <a:pt x="27" y="64"/>
                  </a:cubicBezTo>
                  <a:cubicBezTo>
                    <a:pt x="27" y="62"/>
                    <a:pt x="27" y="59"/>
                    <a:pt x="28" y="57"/>
                  </a:cubicBezTo>
                  <a:cubicBezTo>
                    <a:pt x="28" y="57"/>
                    <a:pt x="29" y="52"/>
                    <a:pt x="29" y="52"/>
                  </a:cubicBezTo>
                  <a:cubicBezTo>
                    <a:pt x="31" y="49"/>
                    <a:pt x="34" y="49"/>
                    <a:pt x="36" y="48"/>
                  </a:cubicBezTo>
                  <a:cubicBezTo>
                    <a:pt x="39" y="47"/>
                    <a:pt x="41" y="45"/>
                    <a:pt x="44" y="44"/>
                  </a:cubicBezTo>
                  <a:cubicBezTo>
                    <a:pt x="45" y="37"/>
                    <a:pt x="42" y="33"/>
                    <a:pt x="39" y="28"/>
                  </a:cubicBezTo>
                  <a:cubicBezTo>
                    <a:pt x="35" y="22"/>
                    <a:pt x="41" y="19"/>
                    <a:pt x="45" y="18"/>
                  </a:cubicBezTo>
                  <a:cubicBezTo>
                    <a:pt x="45" y="16"/>
                    <a:pt x="46" y="13"/>
                    <a:pt x="47" y="11"/>
                  </a:cubicBezTo>
                  <a:cubicBezTo>
                    <a:pt x="49" y="7"/>
                    <a:pt x="49" y="7"/>
                    <a:pt x="48" y="3"/>
                  </a:cubicBezTo>
                  <a:cubicBezTo>
                    <a:pt x="48" y="3"/>
                    <a:pt x="48" y="1"/>
                    <a:pt x="49" y="1"/>
                  </a:cubicBezTo>
                  <a:cubicBezTo>
                    <a:pt x="46" y="1"/>
                    <a:pt x="43" y="0"/>
                    <a:pt x="4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0">
              <a:extLst>
                <a:ext uri="{FF2B5EF4-FFF2-40B4-BE49-F238E27FC236}">
                  <a16:creationId xmlns:a16="http://schemas.microsoft.com/office/drawing/2014/main" id="{3DFF7340-74F9-4779-9FE5-04DFEA030C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83" y="1735868"/>
              <a:ext cx="79743" cy="67389"/>
            </a:xfrm>
            <a:custGeom>
              <a:avLst/>
              <a:gdLst>
                <a:gd name="T0" fmla="*/ 28 w 38"/>
                <a:gd name="T1" fmla="*/ 9 h 32"/>
                <a:gd name="T2" fmla="*/ 24 w 38"/>
                <a:gd name="T3" fmla="*/ 0 h 32"/>
                <a:gd name="T4" fmla="*/ 24 w 38"/>
                <a:gd name="T5" fmla="*/ 0 h 32"/>
                <a:gd name="T6" fmla="*/ 22 w 38"/>
                <a:gd name="T7" fmla="*/ 0 h 32"/>
                <a:gd name="T8" fmla="*/ 18 w 38"/>
                <a:gd name="T9" fmla="*/ 2 h 32"/>
                <a:gd name="T10" fmla="*/ 17 w 38"/>
                <a:gd name="T11" fmla="*/ 5 h 32"/>
                <a:gd name="T12" fmla="*/ 12 w 38"/>
                <a:gd name="T13" fmla="*/ 5 h 32"/>
                <a:gd name="T14" fmla="*/ 6 w 38"/>
                <a:gd name="T15" fmla="*/ 9 h 32"/>
                <a:gd name="T16" fmla="*/ 5 w 38"/>
                <a:gd name="T17" fmla="*/ 15 h 32"/>
                <a:gd name="T18" fmla="*/ 1 w 38"/>
                <a:gd name="T19" fmla="*/ 16 h 32"/>
                <a:gd name="T20" fmla="*/ 0 w 38"/>
                <a:gd name="T21" fmla="*/ 21 h 32"/>
                <a:gd name="T22" fmla="*/ 4 w 38"/>
                <a:gd name="T23" fmla="*/ 23 h 32"/>
                <a:gd name="T24" fmla="*/ 10 w 38"/>
                <a:gd name="T25" fmla="*/ 25 h 32"/>
                <a:gd name="T26" fmla="*/ 16 w 38"/>
                <a:gd name="T27" fmla="*/ 25 h 32"/>
                <a:gd name="T28" fmla="*/ 21 w 38"/>
                <a:gd name="T29" fmla="*/ 28 h 32"/>
                <a:gd name="T30" fmla="*/ 26 w 38"/>
                <a:gd name="T31" fmla="*/ 31 h 32"/>
                <a:gd name="T32" fmla="*/ 31 w 38"/>
                <a:gd name="T33" fmla="*/ 30 h 32"/>
                <a:gd name="T34" fmla="*/ 36 w 38"/>
                <a:gd name="T35" fmla="*/ 27 h 32"/>
                <a:gd name="T36" fmla="*/ 38 w 38"/>
                <a:gd name="T37" fmla="*/ 19 h 32"/>
                <a:gd name="T38" fmla="*/ 32 w 38"/>
                <a:gd name="T39" fmla="*/ 17 h 32"/>
                <a:gd name="T40" fmla="*/ 28 w 38"/>
                <a:gd name="T41" fmla="*/ 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32">
                  <a:moveTo>
                    <a:pt x="28" y="9"/>
                  </a:moveTo>
                  <a:cubicBezTo>
                    <a:pt x="25" y="7"/>
                    <a:pt x="22" y="7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3" y="0"/>
                    <a:pt x="23" y="0"/>
                    <a:pt x="22" y="0"/>
                  </a:cubicBezTo>
                  <a:cubicBezTo>
                    <a:pt x="20" y="0"/>
                    <a:pt x="20" y="0"/>
                    <a:pt x="18" y="2"/>
                  </a:cubicBezTo>
                  <a:cubicBezTo>
                    <a:pt x="18" y="3"/>
                    <a:pt x="18" y="4"/>
                    <a:pt x="17" y="5"/>
                  </a:cubicBezTo>
                  <a:cubicBezTo>
                    <a:pt x="16" y="6"/>
                    <a:pt x="13" y="5"/>
                    <a:pt x="12" y="5"/>
                  </a:cubicBezTo>
                  <a:cubicBezTo>
                    <a:pt x="10" y="6"/>
                    <a:pt x="7" y="7"/>
                    <a:pt x="6" y="9"/>
                  </a:cubicBezTo>
                  <a:cubicBezTo>
                    <a:pt x="5" y="11"/>
                    <a:pt x="6" y="13"/>
                    <a:pt x="5" y="15"/>
                  </a:cubicBezTo>
                  <a:cubicBezTo>
                    <a:pt x="4" y="16"/>
                    <a:pt x="2" y="16"/>
                    <a:pt x="1" y="16"/>
                  </a:cubicBezTo>
                  <a:cubicBezTo>
                    <a:pt x="1" y="18"/>
                    <a:pt x="0" y="20"/>
                    <a:pt x="0" y="21"/>
                  </a:cubicBezTo>
                  <a:cubicBezTo>
                    <a:pt x="2" y="21"/>
                    <a:pt x="2" y="22"/>
                    <a:pt x="4" y="23"/>
                  </a:cubicBezTo>
                  <a:cubicBezTo>
                    <a:pt x="6" y="25"/>
                    <a:pt x="7" y="25"/>
                    <a:pt x="10" y="25"/>
                  </a:cubicBezTo>
                  <a:cubicBezTo>
                    <a:pt x="12" y="25"/>
                    <a:pt x="14" y="25"/>
                    <a:pt x="16" y="25"/>
                  </a:cubicBezTo>
                  <a:cubicBezTo>
                    <a:pt x="17" y="26"/>
                    <a:pt x="20" y="27"/>
                    <a:pt x="21" y="28"/>
                  </a:cubicBezTo>
                  <a:cubicBezTo>
                    <a:pt x="23" y="29"/>
                    <a:pt x="24" y="29"/>
                    <a:pt x="26" y="31"/>
                  </a:cubicBezTo>
                  <a:cubicBezTo>
                    <a:pt x="28" y="32"/>
                    <a:pt x="29" y="32"/>
                    <a:pt x="31" y="30"/>
                  </a:cubicBezTo>
                  <a:cubicBezTo>
                    <a:pt x="33" y="29"/>
                    <a:pt x="35" y="29"/>
                    <a:pt x="36" y="27"/>
                  </a:cubicBezTo>
                  <a:cubicBezTo>
                    <a:pt x="37" y="25"/>
                    <a:pt x="37" y="21"/>
                    <a:pt x="38" y="19"/>
                  </a:cubicBezTo>
                  <a:cubicBezTo>
                    <a:pt x="37" y="20"/>
                    <a:pt x="34" y="18"/>
                    <a:pt x="32" y="17"/>
                  </a:cubicBezTo>
                  <a:cubicBezTo>
                    <a:pt x="32" y="14"/>
                    <a:pt x="30" y="11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1">
              <a:extLst>
                <a:ext uri="{FF2B5EF4-FFF2-40B4-BE49-F238E27FC236}">
                  <a16:creationId xmlns:a16="http://schemas.microsoft.com/office/drawing/2014/main" id="{73BC5E09-05A8-466C-A176-26DFA64D2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24" y="1733622"/>
              <a:ext cx="4492" cy="2246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1" y="1"/>
                    <a:pt x="2" y="1"/>
                  </a:cubicBezTo>
                  <a:cubicBezTo>
                    <a:pt x="2" y="0"/>
                    <a:pt x="1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2">
              <a:extLst>
                <a:ext uri="{FF2B5EF4-FFF2-40B4-BE49-F238E27FC236}">
                  <a16:creationId xmlns:a16="http://schemas.microsoft.com/office/drawing/2014/main" id="{083F0152-534D-4782-BCC3-1A3175DA2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084" y="1497763"/>
              <a:ext cx="61772" cy="48295"/>
            </a:xfrm>
            <a:custGeom>
              <a:avLst/>
              <a:gdLst>
                <a:gd name="T0" fmla="*/ 29 w 29"/>
                <a:gd name="T1" fmla="*/ 12 h 23"/>
                <a:gd name="T2" fmla="*/ 21 w 29"/>
                <a:gd name="T3" fmla="*/ 8 h 23"/>
                <a:gd name="T4" fmla="*/ 14 w 29"/>
                <a:gd name="T5" fmla="*/ 1 h 23"/>
                <a:gd name="T6" fmla="*/ 3 w 29"/>
                <a:gd name="T7" fmla="*/ 1 h 23"/>
                <a:gd name="T8" fmla="*/ 0 w 29"/>
                <a:gd name="T9" fmla="*/ 5 h 23"/>
                <a:gd name="T10" fmla="*/ 4 w 29"/>
                <a:gd name="T11" fmla="*/ 8 h 23"/>
                <a:gd name="T12" fmla="*/ 4 w 29"/>
                <a:gd name="T13" fmla="*/ 11 h 23"/>
                <a:gd name="T14" fmla="*/ 9 w 29"/>
                <a:gd name="T15" fmla="*/ 14 h 23"/>
                <a:gd name="T16" fmla="*/ 9 w 29"/>
                <a:gd name="T17" fmla="*/ 17 h 23"/>
                <a:gd name="T18" fmla="*/ 19 w 29"/>
                <a:gd name="T19" fmla="*/ 21 h 23"/>
                <a:gd name="T20" fmla="*/ 24 w 29"/>
                <a:gd name="T21" fmla="*/ 22 h 23"/>
                <a:gd name="T22" fmla="*/ 29 w 29"/>
                <a:gd name="T2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23">
                  <a:moveTo>
                    <a:pt x="29" y="12"/>
                  </a:moveTo>
                  <a:cubicBezTo>
                    <a:pt x="26" y="11"/>
                    <a:pt x="24" y="11"/>
                    <a:pt x="21" y="8"/>
                  </a:cubicBezTo>
                  <a:cubicBezTo>
                    <a:pt x="18" y="5"/>
                    <a:pt x="17" y="2"/>
                    <a:pt x="14" y="1"/>
                  </a:cubicBezTo>
                  <a:cubicBezTo>
                    <a:pt x="11" y="0"/>
                    <a:pt x="6" y="0"/>
                    <a:pt x="3" y="1"/>
                  </a:cubicBezTo>
                  <a:cubicBezTo>
                    <a:pt x="1" y="1"/>
                    <a:pt x="0" y="1"/>
                    <a:pt x="0" y="5"/>
                  </a:cubicBezTo>
                  <a:cubicBezTo>
                    <a:pt x="1" y="7"/>
                    <a:pt x="2" y="8"/>
                    <a:pt x="4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6" y="11"/>
                    <a:pt x="7" y="13"/>
                    <a:pt x="9" y="14"/>
                  </a:cubicBezTo>
                  <a:cubicBezTo>
                    <a:pt x="9" y="15"/>
                    <a:pt x="9" y="16"/>
                    <a:pt x="9" y="17"/>
                  </a:cubicBezTo>
                  <a:cubicBezTo>
                    <a:pt x="13" y="17"/>
                    <a:pt x="16" y="19"/>
                    <a:pt x="19" y="21"/>
                  </a:cubicBezTo>
                  <a:cubicBezTo>
                    <a:pt x="20" y="22"/>
                    <a:pt x="22" y="23"/>
                    <a:pt x="24" y="22"/>
                  </a:cubicBezTo>
                  <a:cubicBezTo>
                    <a:pt x="26" y="20"/>
                    <a:pt x="29" y="14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23">
              <a:extLst>
                <a:ext uri="{FF2B5EF4-FFF2-40B4-BE49-F238E27FC236}">
                  <a16:creationId xmlns:a16="http://schemas.microsoft.com/office/drawing/2014/main" id="{C71CCEC6-728D-4E9E-9ED4-88483FC8F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11" y="1596599"/>
              <a:ext cx="31449" cy="43803"/>
            </a:xfrm>
            <a:custGeom>
              <a:avLst/>
              <a:gdLst>
                <a:gd name="T0" fmla="*/ 7 w 15"/>
                <a:gd name="T1" fmla="*/ 18 h 21"/>
                <a:gd name="T2" fmla="*/ 10 w 15"/>
                <a:gd name="T3" fmla="*/ 20 h 21"/>
                <a:gd name="T4" fmla="*/ 15 w 15"/>
                <a:gd name="T5" fmla="*/ 17 h 21"/>
                <a:gd name="T6" fmla="*/ 11 w 15"/>
                <a:gd name="T7" fmla="*/ 12 h 21"/>
                <a:gd name="T8" fmla="*/ 9 w 15"/>
                <a:gd name="T9" fmla="*/ 6 h 21"/>
                <a:gd name="T10" fmla="*/ 3 w 15"/>
                <a:gd name="T11" fmla="*/ 1 h 21"/>
                <a:gd name="T12" fmla="*/ 0 w 15"/>
                <a:gd name="T13" fmla="*/ 2 h 21"/>
                <a:gd name="T14" fmla="*/ 2 w 15"/>
                <a:gd name="T15" fmla="*/ 6 h 21"/>
                <a:gd name="T16" fmla="*/ 1 w 15"/>
                <a:gd name="T17" fmla="*/ 7 h 21"/>
                <a:gd name="T18" fmla="*/ 3 w 15"/>
                <a:gd name="T19" fmla="*/ 10 h 21"/>
                <a:gd name="T20" fmla="*/ 3 w 15"/>
                <a:gd name="T21" fmla="*/ 12 h 21"/>
                <a:gd name="T22" fmla="*/ 7 w 15"/>
                <a:gd name="T23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21">
                  <a:moveTo>
                    <a:pt x="7" y="18"/>
                  </a:moveTo>
                  <a:cubicBezTo>
                    <a:pt x="8" y="19"/>
                    <a:pt x="9" y="21"/>
                    <a:pt x="10" y="20"/>
                  </a:cubicBezTo>
                  <a:cubicBezTo>
                    <a:pt x="11" y="20"/>
                    <a:pt x="14" y="18"/>
                    <a:pt x="15" y="17"/>
                  </a:cubicBezTo>
                  <a:cubicBezTo>
                    <a:pt x="13" y="15"/>
                    <a:pt x="12" y="14"/>
                    <a:pt x="11" y="12"/>
                  </a:cubicBezTo>
                  <a:cubicBezTo>
                    <a:pt x="10" y="9"/>
                    <a:pt x="10" y="7"/>
                    <a:pt x="9" y="6"/>
                  </a:cubicBezTo>
                  <a:cubicBezTo>
                    <a:pt x="7" y="4"/>
                    <a:pt x="4" y="2"/>
                    <a:pt x="3" y="1"/>
                  </a:cubicBezTo>
                  <a:cubicBezTo>
                    <a:pt x="1" y="1"/>
                    <a:pt x="1" y="0"/>
                    <a:pt x="0" y="2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6"/>
                    <a:pt x="1" y="7"/>
                    <a:pt x="1" y="7"/>
                  </a:cubicBezTo>
                  <a:cubicBezTo>
                    <a:pt x="2" y="8"/>
                    <a:pt x="2" y="10"/>
                    <a:pt x="3" y="10"/>
                  </a:cubicBezTo>
                  <a:cubicBezTo>
                    <a:pt x="3" y="11"/>
                    <a:pt x="3" y="11"/>
                    <a:pt x="3" y="12"/>
                  </a:cubicBezTo>
                  <a:cubicBezTo>
                    <a:pt x="5" y="14"/>
                    <a:pt x="6" y="16"/>
                    <a:pt x="7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4">
              <a:extLst>
                <a:ext uri="{FF2B5EF4-FFF2-40B4-BE49-F238E27FC236}">
                  <a16:creationId xmlns:a16="http://schemas.microsoft.com/office/drawing/2014/main" id="{17FBD8BE-0A39-42ED-86B5-490AC4EB2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43" y="1411280"/>
              <a:ext cx="69635" cy="56157"/>
            </a:xfrm>
            <a:custGeom>
              <a:avLst/>
              <a:gdLst>
                <a:gd name="T0" fmla="*/ 25 w 33"/>
                <a:gd name="T1" fmla="*/ 16 h 27"/>
                <a:gd name="T2" fmla="*/ 27 w 33"/>
                <a:gd name="T3" fmla="*/ 14 h 27"/>
                <a:gd name="T4" fmla="*/ 30 w 33"/>
                <a:gd name="T5" fmla="*/ 14 h 27"/>
                <a:gd name="T6" fmla="*/ 28 w 33"/>
                <a:gd name="T7" fmla="*/ 7 h 27"/>
                <a:gd name="T8" fmla="*/ 21 w 33"/>
                <a:gd name="T9" fmla="*/ 0 h 27"/>
                <a:gd name="T10" fmla="*/ 17 w 33"/>
                <a:gd name="T11" fmla="*/ 1 h 27"/>
                <a:gd name="T12" fmla="*/ 15 w 33"/>
                <a:gd name="T13" fmla="*/ 2 h 27"/>
                <a:gd name="T14" fmla="*/ 14 w 33"/>
                <a:gd name="T15" fmla="*/ 3 h 27"/>
                <a:gd name="T16" fmla="*/ 9 w 33"/>
                <a:gd name="T17" fmla="*/ 5 h 27"/>
                <a:gd name="T18" fmla="*/ 5 w 33"/>
                <a:gd name="T19" fmla="*/ 7 h 27"/>
                <a:gd name="T20" fmla="*/ 3 w 33"/>
                <a:gd name="T21" fmla="*/ 10 h 27"/>
                <a:gd name="T22" fmla="*/ 0 w 33"/>
                <a:gd name="T23" fmla="*/ 14 h 27"/>
                <a:gd name="T24" fmla="*/ 10 w 33"/>
                <a:gd name="T25" fmla="*/ 19 h 27"/>
                <a:gd name="T26" fmla="*/ 12 w 33"/>
                <a:gd name="T27" fmla="*/ 26 h 27"/>
                <a:gd name="T28" fmla="*/ 19 w 33"/>
                <a:gd name="T29" fmla="*/ 26 h 27"/>
                <a:gd name="T30" fmla="*/ 22 w 33"/>
                <a:gd name="T31" fmla="*/ 21 h 27"/>
                <a:gd name="T32" fmla="*/ 22 w 33"/>
                <a:gd name="T33" fmla="*/ 17 h 27"/>
                <a:gd name="T34" fmla="*/ 25 w 33"/>
                <a:gd name="T35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27">
                  <a:moveTo>
                    <a:pt x="25" y="16"/>
                  </a:moveTo>
                  <a:cubicBezTo>
                    <a:pt x="26" y="16"/>
                    <a:pt x="27" y="15"/>
                    <a:pt x="27" y="14"/>
                  </a:cubicBezTo>
                  <a:cubicBezTo>
                    <a:pt x="28" y="14"/>
                    <a:pt x="30" y="14"/>
                    <a:pt x="30" y="14"/>
                  </a:cubicBezTo>
                  <a:cubicBezTo>
                    <a:pt x="33" y="9"/>
                    <a:pt x="29" y="7"/>
                    <a:pt x="28" y="7"/>
                  </a:cubicBezTo>
                  <a:cubicBezTo>
                    <a:pt x="28" y="1"/>
                    <a:pt x="25" y="0"/>
                    <a:pt x="21" y="0"/>
                  </a:cubicBezTo>
                  <a:cubicBezTo>
                    <a:pt x="20" y="0"/>
                    <a:pt x="19" y="1"/>
                    <a:pt x="17" y="1"/>
                  </a:cubicBezTo>
                  <a:cubicBezTo>
                    <a:pt x="17" y="2"/>
                    <a:pt x="16" y="2"/>
                    <a:pt x="15" y="2"/>
                  </a:cubicBezTo>
                  <a:cubicBezTo>
                    <a:pt x="14" y="2"/>
                    <a:pt x="14" y="2"/>
                    <a:pt x="14" y="3"/>
                  </a:cubicBezTo>
                  <a:cubicBezTo>
                    <a:pt x="12" y="5"/>
                    <a:pt x="11" y="5"/>
                    <a:pt x="9" y="5"/>
                  </a:cubicBezTo>
                  <a:cubicBezTo>
                    <a:pt x="7" y="5"/>
                    <a:pt x="7" y="6"/>
                    <a:pt x="5" y="7"/>
                  </a:cubicBezTo>
                  <a:cubicBezTo>
                    <a:pt x="4" y="9"/>
                    <a:pt x="3" y="9"/>
                    <a:pt x="3" y="10"/>
                  </a:cubicBezTo>
                  <a:cubicBezTo>
                    <a:pt x="2" y="11"/>
                    <a:pt x="2" y="13"/>
                    <a:pt x="0" y="14"/>
                  </a:cubicBezTo>
                  <a:cubicBezTo>
                    <a:pt x="5" y="14"/>
                    <a:pt x="8" y="13"/>
                    <a:pt x="10" y="19"/>
                  </a:cubicBezTo>
                  <a:cubicBezTo>
                    <a:pt x="11" y="21"/>
                    <a:pt x="11" y="25"/>
                    <a:pt x="12" y="26"/>
                  </a:cubicBezTo>
                  <a:cubicBezTo>
                    <a:pt x="12" y="27"/>
                    <a:pt x="18" y="27"/>
                    <a:pt x="19" y="26"/>
                  </a:cubicBezTo>
                  <a:cubicBezTo>
                    <a:pt x="20" y="26"/>
                    <a:pt x="21" y="23"/>
                    <a:pt x="22" y="21"/>
                  </a:cubicBezTo>
                  <a:cubicBezTo>
                    <a:pt x="22" y="19"/>
                    <a:pt x="21" y="19"/>
                    <a:pt x="22" y="17"/>
                  </a:cubicBezTo>
                  <a:cubicBezTo>
                    <a:pt x="24" y="15"/>
                    <a:pt x="24" y="17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25">
              <a:extLst>
                <a:ext uri="{FF2B5EF4-FFF2-40B4-BE49-F238E27FC236}">
                  <a16:creationId xmlns:a16="http://schemas.microsoft.com/office/drawing/2014/main" id="{7D1E399C-8794-4CBB-BC85-3ACAFF056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3" y="1286613"/>
              <a:ext cx="61772" cy="48295"/>
            </a:xfrm>
            <a:custGeom>
              <a:avLst/>
              <a:gdLst>
                <a:gd name="T0" fmla="*/ 11 w 29"/>
                <a:gd name="T1" fmla="*/ 19 h 23"/>
                <a:gd name="T2" fmla="*/ 14 w 29"/>
                <a:gd name="T3" fmla="*/ 19 h 23"/>
                <a:gd name="T4" fmla="*/ 17 w 29"/>
                <a:gd name="T5" fmla="*/ 22 h 23"/>
                <a:gd name="T6" fmla="*/ 24 w 29"/>
                <a:gd name="T7" fmla="*/ 20 h 23"/>
                <a:gd name="T8" fmla="*/ 28 w 29"/>
                <a:gd name="T9" fmla="*/ 12 h 23"/>
                <a:gd name="T10" fmla="*/ 17 w 29"/>
                <a:gd name="T11" fmla="*/ 1 h 23"/>
                <a:gd name="T12" fmla="*/ 8 w 29"/>
                <a:gd name="T13" fmla="*/ 1 h 23"/>
                <a:gd name="T14" fmla="*/ 8 w 29"/>
                <a:gd name="T15" fmla="*/ 3 h 23"/>
                <a:gd name="T16" fmla="*/ 6 w 29"/>
                <a:gd name="T17" fmla="*/ 5 h 23"/>
                <a:gd name="T18" fmla="*/ 3 w 29"/>
                <a:gd name="T19" fmla="*/ 10 h 23"/>
                <a:gd name="T20" fmla="*/ 11 w 29"/>
                <a:gd name="T2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23">
                  <a:moveTo>
                    <a:pt x="11" y="19"/>
                  </a:moveTo>
                  <a:cubicBezTo>
                    <a:pt x="12" y="19"/>
                    <a:pt x="13" y="18"/>
                    <a:pt x="14" y="19"/>
                  </a:cubicBezTo>
                  <a:cubicBezTo>
                    <a:pt x="15" y="20"/>
                    <a:pt x="15" y="22"/>
                    <a:pt x="17" y="22"/>
                  </a:cubicBezTo>
                  <a:cubicBezTo>
                    <a:pt x="19" y="23"/>
                    <a:pt x="22" y="20"/>
                    <a:pt x="24" y="20"/>
                  </a:cubicBezTo>
                  <a:cubicBezTo>
                    <a:pt x="24" y="17"/>
                    <a:pt x="26" y="12"/>
                    <a:pt x="28" y="12"/>
                  </a:cubicBezTo>
                  <a:cubicBezTo>
                    <a:pt x="29" y="7"/>
                    <a:pt x="19" y="2"/>
                    <a:pt x="17" y="1"/>
                  </a:cubicBezTo>
                  <a:cubicBezTo>
                    <a:pt x="15" y="0"/>
                    <a:pt x="10" y="0"/>
                    <a:pt x="8" y="1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7" y="4"/>
                    <a:pt x="7" y="5"/>
                    <a:pt x="6" y="5"/>
                  </a:cubicBezTo>
                  <a:cubicBezTo>
                    <a:pt x="4" y="6"/>
                    <a:pt x="4" y="7"/>
                    <a:pt x="3" y="10"/>
                  </a:cubicBezTo>
                  <a:cubicBezTo>
                    <a:pt x="0" y="19"/>
                    <a:pt x="5" y="19"/>
                    <a:pt x="11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6">
              <a:extLst>
                <a:ext uri="{FF2B5EF4-FFF2-40B4-BE49-F238E27FC236}">
                  <a16:creationId xmlns:a16="http://schemas.microsoft.com/office/drawing/2014/main" id="{AB47688F-3445-4DF1-9C3C-DC3519989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558" y="1275381"/>
              <a:ext cx="4492" cy="2246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1" y="1"/>
                    <a:pt x="2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7">
              <a:extLst>
                <a:ext uri="{FF2B5EF4-FFF2-40B4-BE49-F238E27FC236}">
                  <a16:creationId xmlns:a16="http://schemas.microsoft.com/office/drawing/2014/main" id="{0641E9AC-4B60-4FE0-B1B6-290103DAB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58" y="1202378"/>
              <a:ext cx="140393" cy="111190"/>
            </a:xfrm>
            <a:custGeom>
              <a:avLst/>
              <a:gdLst>
                <a:gd name="T0" fmla="*/ 8 w 66"/>
                <a:gd name="T1" fmla="*/ 15 h 53"/>
                <a:gd name="T2" fmla="*/ 8 w 66"/>
                <a:gd name="T3" fmla="*/ 20 h 53"/>
                <a:gd name="T4" fmla="*/ 14 w 66"/>
                <a:gd name="T5" fmla="*/ 22 h 53"/>
                <a:gd name="T6" fmla="*/ 19 w 66"/>
                <a:gd name="T7" fmla="*/ 28 h 53"/>
                <a:gd name="T8" fmla="*/ 34 w 66"/>
                <a:gd name="T9" fmla="*/ 27 h 53"/>
                <a:gd name="T10" fmla="*/ 34 w 66"/>
                <a:gd name="T11" fmla="*/ 32 h 53"/>
                <a:gd name="T12" fmla="*/ 41 w 66"/>
                <a:gd name="T13" fmla="*/ 43 h 53"/>
                <a:gd name="T14" fmla="*/ 41 w 66"/>
                <a:gd name="T15" fmla="*/ 46 h 53"/>
                <a:gd name="T16" fmla="*/ 43 w 66"/>
                <a:gd name="T17" fmla="*/ 48 h 53"/>
                <a:gd name="T18" fmla="*/ 44 w 66"/>
                <a:gd name="T19" fmla="*/ 52 h 53"/>
                <a:gd name="T20" fmla="*/ 48 w 66"/>
                <a:gd name="T21" fmla="*/ 52 h 53"/>
                <a:gd name="T22" fmla="*/ 59 w 66"/>
                <a:gd name="T23" fmla="*/ 48 h 53"/>
                <a:gd name="T24" fmla="*/ 61 w 66"/>
                <a:gd name="T25" fmla="*/ 37 h 53"/>
                <a:gd name="T26" fmla="*/ 64 w 66"/>
                <a:gd name="T27" fmla="*/ 36 h 53"/>
                <a:gd name="T28" fmla="*/ 60 w 66"/>
                <a:gd name="T29" fmla="*/ 33 h 53"/>
                <a:gd name="T30" fmla="*/ 57 w 66"/>
                <a:gd name="T31" fmla="*/ 31 h 53"/>
                <a:gd name="T32" fmla="*/ 56 w 66"/>
                <a:gd name="T33" fmla="*/ 27 h 53"/>
                <a:gd name="T34" fmla="*/ 50 w 66"/>
                <a:gd name="T35" fmla="*/ 13 h 53"/>
                <a:gd name="T36" fmla="*/ 48 w 66"/>
                <a:gd name="T37" fmla="*/ 13 h 53"/>
                <a:gd name="T38" fmla="*/ 48 w 66"/>
                <a:gd name="T39" fmla="*/ 8 h 53"/>
                <a:gd name="T40" fmla="*/ 42 w 66"/>
                <a:gd name="T41" fmla="*/ 6 h 53"/>
                <a:gd name="T42" fmla="*/ 34 w 66"/>
                <a:gd name="T43" fmla="*/ 6 h 53"/>
                <a:gd name="T44" fmla="*/ 31 w 66"/>
                <a:gd name="T45" fmla="*/ 6 h 53"/>
                <a:gd name="T46" fmla="*/ 30 w 66"/>
                <a:gd name="T47" fmla="*/ 2 h 53"/>
                <a:gd name="T48" fmla="*/ 22 w 66"/>
                <a:gd name="T49" fmla="*/ 1 h 53"/>
                <a:gd name="T50" fmla="*/ 8 w 66"/>
                <a:gd name="T51" fmla="*/ 5 h 53"/>
                <a:gd name="T52" fmla="*/ 3 w 66"/>
                <a:gd name="T53" fmla="*/ 9 h 53"/>
                <a:gd name="T54" fmla="*/ 8 w 66"/>
                <a:gd name="T55" fmla="*/ 1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6" h="53">
                  <a:moveTo>
                    <a:pt x="8" y="15"/>
                  </a:moveTo>
                  <a:cubicBezTo>
                    <a:pt x="8" y="17"/>
                    <a:pt x="8" y="18"/>
                    <a:pt x="8" y="20"/>
                  </a:cubicBezTo>
                  <a:cubicBezTo>
                    <a:pt x="11" y="21"/>
                    <a:pt x="12" y="20"/>
                    <a:pt x="14" y="22"/>
                  </a:cubicBezTo>
                  <a:cubicBezTo>
                    <a:pt x="16" y="25"/>
                    <a:pt x="16" y="26"/>
                    <a:pt x="19" y="28"/>
                  </a:cubicBezTo>
                  <a:cubicBezTo>
                    <a:pt x="24" y="31"/>
                    <a:pt x="28" y="25"/>
                    <a:pt x="34" y="27"/>
                  </a:cubicBezTo>
                  <a:cubicBezTo>
                    <a:pt x="34" y="29"/>
                    <a:pt x="34" y="30"/>
                    <a:pt x="34" y="32"/>
                  </a:cubicBezTo>
                  <a:cubicBezTo>
                    <a:pt x="39" y="32"/>
                    <a:pt x="39" y="39"/>
                    <a:pt x="41" y="43"/>
                  </a:cubicBezTo>
                  <a:cubicBezTo>
                    <a:pt x="40" y="44"/>
                    <a:pt x="40" y="45"/>
                    <a:pt x="41" y="46"/>
                  </a:cubicBezTo>
                  <a:cubicBezTo>
                    <a:pt x="41" y="47"/>
                    <a:pt x="42" y="48"/>
                    <a:pt x="43" y="48"/>
                  </a:cubicBezTo>
                  <a:cubicBezTo>
                    <a:pt x="44" y="50"/>
                    <a:pt x="42" y="51"/>
                    <a:pt x="44" y="52"/>
                  </a:cubicBezTo>
                  <a:cubicBezTo>
                    <a:pt x="45" y="52"/>
                    <a:pt x="47" y="52"/>
                    <a:pt x="48" y="52"/>
                  </a:cubicBezTo>
                  <a:cubicBezTo>
                    <a:pt x="52" y="52"/>
                    <a:pt x="56" y="53"/>
                    <a:pt x="59" y="48"/>
                  </a:cubicBezTo>
                  <a:cubicBezTo>
                    <a:pt x="60" y="47"/>
                    <a:pt x="66" y="36"/>
                    <a:pt x="61" y="37"/>
                  </a:cubicBezTo>
                  <a:cubicBezTo>
                    <a:pt x="62" y="38"/>
                    <a:pt x="63" y="36"/>
                    <a:pt x="64" y="36"/>
                  </a:cubicBezTo>
                  <a:cubicBezTo>
                    <a:pt x="63" y="36"/>
                    <a:pt x="62" y="35"/>
                    <a:pt x="60" y="33"/>
                  </a:cubicBezTo>
                  <a:cubicBezTo>
                    <a:pt x="59" y="32"/>
                    <a:pt x="58" y="32"/>
                    <a:pt x="57" y="31"/>
                  </a:cubicBezTo>
                  <a:cubicBezTo>
                    <a:pt x="55" y="29"/>
                    <a:pt x="57" y="29"/>
                    <a:pt x="56" y="27"/>
                  </a:cubicBezTo>
                  <a:cubicBezTo>
                    <a:pt x="54" y="23"/>
                    <a:pt x="51" y="18"/>
                    <a:pt x="50" y="13"/>
                  </a:cubicBezTo>
                  <a:cubicBezTo>
                    <a:pt x="50" y="13"/>
                    <a:pt x="49" y="13"/>
                    <a:pt x="48" y="13"/>
                  </a:cubicBezTo>
                  <a:cubicBezTo>
                    <a:pt x="48" y="11"/>
                    <a:pt x="48" y="10"/>
                    <a:pt x="48" y="8"/>
                  </a:cubicBezTo>
                  <a:cubicBezTo>
                    <a:pt x="45" y="8"/>
                    <a:pt x="44" y="6"/>
                    <a:pt x="42" y="6"/>
                  </a:cubicBezTo>
                  <a:cubicBezTo>
                    <a:pt x="39" y="6"/>
                    <a:pt x="37" y="6"/>
                    <a:pt x="34" y="6"/>
                  </a:cubicBezTo>
                  <a:cubicBezTo>
                    <a:pt x="33" y="6"/>
                    <a:pt x="32" y="7"/>
                    <a:pt x="31" y="6"/>
                  </a:cubicBezTo>
                  <a:cubicBezTo>
                    <a:pt x="30" y="5"/>
                    <a:pt x="30" y="3"/>
                    <a:pt x="30" y="2"/>
                  </a:cubicBezTo>
                  <a:cubicBezTo>
                    <a:pt x="28" y="0"/>
                    <a:pt x="24" y="1"/>
                    <a:pt x="22" y="1"/>
                  </a:cubicBezTo>
                  <a:cubicBezTo>
                    <a:pt x="16" y="1"/>
                    <a:pt x="12" y="1"/>
                    <a:pt x="8" y="5"/>
                  </a:cubicBezTo>
                  <a:cubicBezTo>
                    <a:pt x="6" y="6"/>
                    <a:pt x="3" y="7"/>
                    <a:pt x="3" y="9"/>
                  </a:cubicBezTo>
                  <a:cubicBezTo>
                    <a:pt x="0" y="16"/>
                    <a:pt x="5" y="14"/>
                    <a:pt x="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8">
              <a:extLst>
                <a:ext uri="{FF2B5EF4-FFF2-40B4-BE49-F238E27FC236}">
                  <a16:creationId xmlns:a16="http://schemas.microsoft.com/office/drawing/2014/main" id="{9B7FDEBE-ED11-468E-84E8-69F01EB12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898" y="1292228"/>
              <a:ext cx="112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9">
              <a:extLst>
                <a:ext uri="{FF2B5EF4-FFF2-40B4-BE49-F238E27FC236}">
                  <a16:creationId xmlns:a16="http://schemas.microsoft.com/office/drawing/2014/main" id="{6B4AC6AC-92AB-4DC2-B468-A7B1436DDE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050" y="1222593"/>
              <a:ext cx="73004" cy="80866"/>
            </a:xfrm>
            <a:custGeom>
              <a:avLst/>
              <a:gdLst>
                <a:gd name="T0" fmla="*/ 3 w 35"/>
                <a:gd name="T1" fmla="*/ 9 h 38"/>
                <a:gd name="T2" fmla="*/ 4 w 35"/>
                <a:gd name="T3" fmla="*/ 11 h 38"/>
                <a:gd name="T4" fmla="*/ 6 w 35"/>
                <a:gd name="T5" fmla="*/ 12 h 38"/>
                <a:gd name="T6" fmla="*/ 6 w 35"/>
                <a:gd name="T7" fmla="*/ 17 h 38"/>
                <a:gd name="T8" fmla="*/ 8 w 35"/>
                <a:gd name="T9" fmla="*/ 17 h 38"/>
                <a:gd name="T10" fmla="*/ 9 w 35"/>
                <a:gd name="T11" fmla="*/ 22 h 38"/>
                <a:gd name="T12" fmla="*/ 10 w 35"/>
                <a:gd name="T13" fmla="*/ 26 h 38"/>
                <a:gd name="T14" fmla="*/ 9 w 35"/>
                <a:gd name="T15" fmla="*/ 33 h 38"/>
                <a:gd name="T16" fmla="*/ 11 w 35"/>
                <a:gd name="T17" fmla="*/ 33 h 38"/>
                <a:gd name="T18" fmla="*/ 14 w 35"/>
                <a:gd name="T19" fmla="*/ 36 h 38"/>
                <a:gd name="T20" fmla="*/ 21 w 35"/>
                <a:gd name="T21" fmla="*/ 35 h 38"/>
                <a:gd name="T22" fmla="*/ 28 w 35"/>
                <a:gd name="T23" fmla="*/ 32 h 38"/>
                <a:gd name="T24" fmla="*/ 35 w 35"/>
                <a:gd name="T25" fmla="*/ 27 h 38"/>
                <a:gd name="T26" fmla="*/ 34 w 35"/>
                <a:gd name="T27" fmla="*/ 21 h 38"/>
                <a:gd name="T28" fmla="*/ 25 w 35"/>
                <a:gd name="T29" fmla="*/ 14 h 38"/>
                <a:gd name="T30" fmla="*/ 19 w 35"/>
                <a:gd name="T31" fmla="*/ 5 h 38"/>
                <a:gd name="T32" fmla="*/ 12 w 35"/>
                <a:gd name="T33" fmla="*/ 5 h 38"/>
                <a:gd name="T34" fmla="*/ 8 w 35"/>
                <a:gd name="T35" fmla="*/ 3 h 38"/>
                <a:gd name="T36" fmla="*/ 2 w 35"/>
                <a:gd name="T37" fmla="*/ 1 h 38"/>
                <a:gd name="T38" fmla="*/ 1 w 35"/>
                <a:gd name="T39" fmla="*/ 8 h 38"/>
                <a:gd name="T40" fmla="*/ 3 w 35"/>
                <a:gd name="T41" fmla="*/ 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38">
                  <a:moveTo>
                    <a:pt x="3" y="9"/>
                  </a:moveTo>
                  <a:cubicBezTo>
                    <a:pt x="3" y="10"/>
                    <a:pt x="4" y="11"/>
                    <a:pt x="4" y="11"/>
                  </a:cubicBezTo>
                  <a:cubicBezTo>
                    <a:pt x="4" y="12"/>
                    <a:pt x="5" y="12"/>
                    <a:pt x="6" y="12"/>
                  </a:cubicBezTo>
                  <a:cubicBezTo>
                    <a:pt x="6" y="14"/>
                    <a:pt x="6" y="15"/>
                    <a:pt x="6" y="17"/>
                  </a:cubicBezTo>
                  <a:cubicBezTo>
                    <a:pt x="7" y="17"/>
                    <a:pt x="8" y="17"/>
                    <a:pt x="8" y="17"/>
                  </a:cubicBezTo>
                  <a:cubicBezTo>
                    <a:pt x="9" y="19"/>
                    <a:pt x="8" y="21"/>
                    <a:pt x="9" y="22"/>
                  </a:cubicBezTo>
                  <a:cubicBezTo>
                    <a:pt x="9" y="24"/>
                    <a:pt x="10" y="24"/>
                    <a:pt x="10" y="26"/>
                  </a:cubicBezTo>
                  <a:cubicBezTo>
                    <a:pt x="10" y="28"/>
                    <a:pt x="10" y="32"/>
                    <a:pt x="9" y="33"/>
                  </a:cubicBezTo>
                  <a:cubicBezTo>
                    <a:pt x="10" y="33"/>
                    <a:pt x="11" y="33"/>
                    <a:pt x="11" y="33"/>
                  </a:cubicBezTo>
                  <a:cubicBezTo>
                    <a:pt x="13" y="33"/>
                    <a:pt x="13" y="35"/>
                    <a:pt x="14" y="36"/>
                  </a:cubicBezTo>
                  <a:cubicBezTo>
                    <a:pt x="16" y="38"/>
                    <a:pt x="19" y="35"/>
                    <a:pt x="21" y="35"/>
                  </a:cubicBezTo>
                  <a:cubicBezTo>
                    <a:pt x="24" y="34"/>
                    <a:pt x="26" y="35"/>
                    <a:pt x="28" y="32"/>
                  </a:cubicBezTo>
                  <a:cubicBezTo>
                    <a:pt x="31" y="30"/>
                    <a:pt x="31" y="28"/>
                    <a:pt x="35" y="27"/>
                  </a:cubicBezTo>
                  <a:cubicBezTo>
                    <a:pt x="34" y="25"/>
                    <a:pt x="34" y="24"/>
                    <a:pt x="34" y="21"/>
                  </a:cubicBezTo>
                  <a:cubicBezTo>
                    <a:pt x="31" y="22"/>
                    <a:pt x="26" y="16"/>
                    <a:pt x="25" y="14"/>
                  </a:cubicBezTo>
                  <a:cubicBezTo>
                    <a:pt x="23" y="10"/>
                    <a:pt x="23" y="5"/>
                    <a:pt x="19" y="5"/>
                  </a:cubicBezTo>
                  <a:cubicBezTo>
                    <a:pt x="17" y="4"/>
                    <a:pt x="14" y="6"/>
                    <a:pt x="12" y="5"/>
                  </a:cubicBezTo>
                  <a:cubicBezTo>
                    <a:pt x="11" y="4"/>
                    <a:pt x="9" y="3"/>
                    <a:pt x="8" y="3"/>
                  </a:cubicBezTo>
                  <a:cubicBezTo>
                    <a:pt x="6" y="2"/>
                    <a:pt x="4" y="0"/>
                    <a:pt x="2" y="1"/>
                  </a:cubicBezTo>
                  <a:cubicBezTo>
                    <a:pt x="0" y="2"/>
                    <a:pt x="1" y="5"/>
                    <a:pt x="1" y="8"/>
                  </a:cubicBezTo>
                  <a:cubicBezTo>
                    <a:pt x="2" y="8"/>
                    <a:pt x="3" y="8"/>
                    <a:pt x="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30">
              <a:extLst>
                <a:ext uri="{FF2B5EF4-FFF2-40B4-BE49-F238E27FC236}">
                  <a16:creationId xmlns:a16="http://schemas.microsoft.com/office/drawing/2014/main" id="{4FBA10F9-5635-47AB-AE97-4E4C803B11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958" y="1501132"/>
              <a:ext cx="122421" cy="134776"/>
            </a:xfrm>
            <a:custGeom>
              <a:avLst/>
              <a:gdLst>
                <a:gd name="T0" fmla="*/ 57 w 58"/>
                <a:gd name="T1" fmla="*/ 15 h 64"/>
                <a:gd name="T2" fmla="*/ 54 w 58"/>
                <a:gd name="T3" fmla="*/ 13 h 64"/>
                <a:gd name="T4" fmla="*/ 53 w 58"/>
                <a:gd name="T5" fmla="*/ 8 h 64"/>
                <a:gd name="T6" fmla="*/ 50 w 58"/>
                <a:gd name="T7" fmla="*/ 10 h 64"/>
                <a:gd name="T8" fmla="*/ 45 w 58"/>
                <a:gd name="T9" fmla="*/ 10 h 64"/>
                <a:gd name="T10" fmla="*/ 36 w 58"/>
                <a:gd name="T11" fmla="*/ 10 h 64"/>
                <a:gd name="T12" fmla="*/ 22 w 58"/>
                <a:gd name="T13" fmla="*/ 6 h 64"/>
                <a:gd name="T14" fmla="*/ 20 w 58"/>
                <a:gd name="T15" fmla="*/ 10 h 64"/>
                <a:gd name="T16" fmla="*/ 16 w 58"/>
                <a:gd name="T17" fmla="*/ 11 h 64"/>
                <a:gd name="T18" fmla="*/ 10 w 58"/>
                <a:gd name="T19" fmla="*/ 16 h 64"/>
                <a:gd name="T20" fmla="*/ 7 w 58"/>
                <a:gd name="T21" fmla="*/ 25 h 64"/>
                <a:gd name="T22" fmla="*/ 0 w 58"/>
                <a:gd name="T23" fmla="*/ 31 h 64"/>
                <a:gd name="T24" fmla="*/ 8 w 58"/>
                <a:gd name="T25" fmla="*/ 37 h 64"/>
                <a:gd name="T26" fmla="*/ 10 w 58"/>
                <a:gd name="T27" fmla="*/ 42 h 64"/>
                <a:gd name="T28" fmla="*/ 12 w 58"/>
                <a:gd name="T29" fmla="*/ 44 h 64"/>
                <a:gd name="T30" fmla="*/ 12 w 58"/>
                <a:gd name="T31" fmla="*/ 48 h 64"/>
                <a:gd name="T32" fmla="*/ 15 w 58"/>
                <a:gd name="T33" fmla="*/ 52 h 64"/>
                <a:gd name="T34" fmla="*/ 16 w 58"/>
                <a:gd name="T35" fmla="*/ 54 h 64"/>
                <a:gd name="T36" fmla="*/ 16 w 58"/>
                <a:gd name="T37" fmla="*/ 58 h 64"/>
                <a:gd name="T38" fmla="*/ 20 w 58"/>
                <a:gd name="T39" fmla="*/ 46 h 64"/>
                <a:gd name="T40" fmla="*/ 21 w 58"/>
                <a:gd name="T41" fmla="*/ 41 h 64"/>
                <a:gd name="T42" fmla="*/ 25 w 58"/>
                <a:gd name="T43" fmla="*/ 38 h 64"/>
                <a:gd name="T44" fmla="*/ 37 w 58"/>
                <a:gd name="T45" fmla="*/ 36 h 64"/>
                <a:gd name="T46" fmla="*/ 40 w 58"/>
                <a:gd name="T47" fmla="*/ 32 h 64"/>
                <a:gd name="T48" fmla="*/ 45 w 58"/>
                <a:gd name="T49" fmla="*/ 31 h 64"/>
                <a:gd name="T50" fmla="*/ 49 w 58"/>
                <a:gd name="T51" fmla="*/ 27 h 64"/>
                <a:gd name="T52" fmla="*/ 55 w 58"/>
                <a:gd name="T53" fmla="*/ 27 h 64"/>
                <a:gd name="T54" fmla="*/ 56 w 58"/>
                <a:gd name="T55" fmla="*/ 24 h 64"/>
                <a:gd name="T56" fmla="*/ 58 w 58"/>
                <a:gd name="T57" fmla="*/ 23 h 64"/>
                <a:gd name="T58" fmla="*/ 58 w 58"/>
                <a:gd name="T59" fmla="*/ 18 h 64"/>
                <a:gd name="T60" fmla="*/ 57 w 58"/>
                <a:gd name="T61" fmla="*/ 15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8" h="64">
                  <a:moveTo>
                    <a:pt x="57" y="15"/>
                  </a:moveTo>
                  <a:cubicBezTo>
                    <a:pt x="56" y="14"/>
                    <a:pt x="55" y="14"/>
                    <a:pt x="54" y="13"/>
                  </a:cubicBezTo>
                  <a:cubicBezTo>
                    <a:pt x="54" y="11"/>
                    <a:pt x="53" y="9"/>
                    <a:pt x="53" y="8"/>
                  </a:cubicBezTo>
                  <a:cubicBezTo>
                    <a:pt x="52" y="9"/>
                    <a:pt x="51" y="9"/>
                    <a:pt x="50" y="10"/>
                  </a:cubicBezTo>
                  <a:cubicBezTo>
                    <a:pt x="49" y="10"/>
                    <a:pt x="47" y="10"/>
                    <a:pt x="45" y="10"/>
                  </a:cubicBezTo>
                  <a:cubicBezTo>
                    <a:pt x="42" y="10"/>
                    <a:pt x="39" y="10"/>
                    <a:pt x="36" y="10"/>
                  </a:cubicBezTo>
                  <a:cubicBezTo>
                    <a:pt x="32" y="9"/>
                    <a:pt x="26" y="0"/>
                    <a:pt x="22" y="6"/>
                  </a:cubicBezTo>
                  <a:cubicBezTo>
                    <a:pt x="21" y="7"/>
                    <a:pt x="21" y="9"/>
                    <a:pt x="20" y="10"/>
                  </a:cubicBezTo>
                  <a:cubicBezTo>
                    <a:pt x="19" y="11"/>
                    <a:pt x="19" y="11"/>
                    <a:pt x="16" y="11"/>
                  </a:cubicBezTo>
                  <a:cubicBezTo>
                    <a:pt x="14" y="11"/>
                    <a:pt x="11" y="12"/>
                    <a:pt x="10" y="16"/>
                  </a:cubicBezTo>
                  <a:cubicBezTo>
                    <a:pt x="9" y="21"/>
                    <a:pt x="11" y="23"/>
                    <a:pt x="7" y="25"/>
                  </a:cubicBezTo>
                  <a:cubicBezTo>
                    <a:pt x="5" y="27"/>
                    <a:pt x="2" y="29"/>
                    <a:pt x="0" y="31"/>
                  </a:cubicBezTo>
                  <a:cubicBezTo>
                    <a:pt x="0" y="35"/>
                    <a:pt x="6" y="36"/>
                    <a:pt x="8" y="37"/>
                  </a:cubicBezTo>
                  <a:cubicBezTo>
                    <a:pt x="10" y="39"/>
                    <a:pt x="9" y="40"/>
                    <a:pt x="10" y="42"/>
                  </a:cubicBezTo>
                  <a:cubicBezTo>
                    <a:pt x="11" y="43"/>
                    <a:pt x="11" y="44"/>
                    <a:pt x="12" y="44"/>
                  </a:cubicBezTo>
                  <a:cubicBezTo>
                    <a:pt x="12" y="45"/>
                    <a:pt x="12" y="47"/>
                    <a:pt x="12" y="48"/>
                  </a:cubicBezTo>
                  <a:cubicBezTo>
                    <a:pt x="13" y="50"/>
                    <a:pt x="14" y="51"/>
                    <a:pt x="15" y="52"/>
                  </a:cubicBezTo>
                  <a:cubicBezTo>
                    <a:pt x="15" y="53"/>
                    <a:pt x="16" y="53"/>
                    <a:pt x="16" y="54"/>
                  </a:cubicBezTo>
                  <a:cubicBezTo>
                    <a:pt x="17" y="55"/>
                    <a:pt x="16" y="57"/>
                    <a:pt x="16" y="58"/>
                  </a:cubicBezTo>
                  <a:cubicBezTo>
                    <a:pt x="21" y="64"/>
                    <a:pt x="20" y="48"/>
                    <a:pt x="20" y="46"/>
                  </a:cubicBezTo>
                  <a:cubicBezTo>
                    <a:pt x="20" y="45"/>
                    <a:pt x="21" y="42"/>
                    <a:pt x="21" y="41"/>
                  </a:cubicBezTo>
                  <a:cubicBezTo>
                    <a:pt x="22" y="38"/>
                    <a:pt x="23" y="38"/>
                    <a:pt x="25" y="38"/>
                  </a:cubicBezTo>
                  <a:cubicBezTo>
                    <a:pt x="29" y="37"/>
                    <a:pt x="34" y="39"/>
                    <a:pt x="37" y="36"/>
                  </a:cubicBezTo>
                  <a:cubicBezTo>
                    <a:pt x="38" y="35"/>
                    <a:pt x="39" y="33"/>
                    <a:pt x="40" y="32"/>
                  </a:cubicBezTo>
                  <a:cubicBezTo>
                    <a:pt x="42" y="31"/>
                    <a:pt x="43" y="32"/>
                    <a:pt x="45" y="31"/>
                  </a:cubicBezTo>
                  <a:cubicBezTo>
                    <a:pt x="47" y="30"/>
                    <a:pt x="47" y="28"/>
                    <a:pt x="49" y="27"/>
                  </a:cubicBezTo>
                  <a:cubicBezTo>
                    <a:pt x="51" y="26"/>
                    <a:pt x="53" y="28"/>
                    <a:pt x="55" y="27"/>
                  </a:cubicBezTo>
                  <a:cubicBezTo>
                    <a:pt x="55" y="26"/>
                    <a:pt x="55" y="25"/>
                    <a:pt x="56" y="24"/>
                  </a:cubicBezTo>
                  <a:cubicBezTo>
                    <a:pt x="56" y="24"/>
                    <a:pt x="57" y="23"/>
                    <a:pt x="58" y="23"/>
                  </a:cubicBezTo>
                  <a:cubicBezTo>
                    <a:pt x="58" y="22"/>
                    <a:pt x="58" y="20"/>
                    <a:pt x="58" y="18"/>
                  </a:cubicBezTo>
                  <a:cubicBezTo>
                    <a:pt x="58" y="15"/>
                    <a:pt x="58" y="17"/>
                    <a:pt x="5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1">
              <a:extLst>
                <a:ext uri="{FF2B5EF4-FFF2-40B4-BE49-F238E27FC236}">
                  <a16:creationId xmlns:a16="http://schemas.microsoft.com/office/drawing/2014/main" id="{6456E104-272D-48CD-8A76-C10E5A0BD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148" y="1517980"/>
              <a:ext cx="2246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32">
              <a:extLst>
                <a:ext uri="{FF2B5EF4-FFF2-40B4-BE49-F238E27FC236}">
                  <a16:creationId xmlns:a16="http://schemas.microsoft.com/office/drawing/2014/main" id="{2B839D88-795B-44A0-AD5B-CA3B48A7F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141" y="1539318"/>
              <a:ext cx="75250" cy="61772"/>
            </a:xfrm>
            <a:custGeom>
              <a:avLst/>
              <a:gdLst>
                <a:gd name="T0" fmla="*/ 33 w 36"/>
                <a:gd name="T1" fmla="*/ 14 h 29"/>
                <a:gd name="T2" fmla="*/ 29 w 36"/>
                <a:gd name="T3" fmla="*/ 11 h 29"/>
                <a:gd name="T4" fmla="*/ 25 w 36"/>
                <a:gd name="T5" fmla="*/ 8 h 29"/>
                <a:gd name="T6" fmla="*/ 23 w 36"/>
                <a:gd name="T7" fmla="*/ 1 h 29"/>
                <a:gd name="T8" fmla="*/ 17 w 36"/>
                <a:gd name="T9" fmla="*/ 1 h 29"/>
                <a:gd name="T10" fmla="*/ 14 w 36"/>
                <a:gd name="T11" fmla="*/ 7 h 29"/>
                <a:gd name="T12" fmla="*/ 9 w 36"/>
                <a:gd name="T13" fmla="*/ 9 h 29"/>
                <a:gd name="T14" fmla="*/ 7 w 36"/>
                <a:gd name="T15" fmla="*/ 11 h 29"/>
                <a:gd name="T16" fmla="*/ 4 w 36"/>
                <a:gd name="T17" fmla="*/ 13 h 29"/>
                <a:gd name="T18" fmla="*/ 5 w 36"/>
                <a:gd name="T19" fmla="*/ 23 h 29"/>
                <a:gd name="T20" fmla="*/ 11 w 36"/>
                <a:gd name="T21" fmla="*/ 23 h 29"/>
                <a:gd name="T22" fmla="*/ 16 w 36"/>
                <a:gd name="T23" fmla="*/ 27 h 29"/>
                <a:gd name="T24" fmla="*/ 19 w 36"/>
                <a:gd name="T25" fmla="*/ 27 h 29"/>
                <a:gd name="T26" fmla="*/ 22 w 36"/>
                <a:gd name="T27" fmla="*/ 28 h 29"/>
                <a:gd name="T28" fmla="*/ 29 w 36"/>
                <a:gd name="T29" fmla="*/ 28 h 29"/>
                <a:gd name="T30" fmla="*/ 34 w 36"/>
                <a:gd name="T31" fmla="*/ 26 h 29"/>
                <a:gd name="T32" fmla="*/ 36 w 36"/>
                <a:gd name="T33" fmla="*/ 19 h 29"/>
                <a:gd name="T34" fmla="*/ 33 w 36"/>
                <a:gd name="T35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" h="29">
                  <a:moveTo>
                    <a:pt x="33" y="14"/>
                  </a:moveTo>
                  <a:cubicBezTo>
                    <a:pt x="32" y="11"/>
                    <a:pt x="31" y="12"/>
                    <a:pt x="29" y="11"/>
                  </a:cubicBezTo>
                  <a:cubicBezTo>
                    <a:pt x="28" y="10"/>
                    <a:pt x="26" y="9"/>
                    <a:pt x="25" y="8"/>
                  </a:cubicBezTo>
                  <a:cubicBezTo>
                    <a:pt x="23" y="6"/>
                    <a:pt x="25" y="3"/>
                    <a:pt x="23" y="1"/>
                  </a:cubicBezTo>
                  <a:cubicBezTo>
                    <a:pt x="22" y="0"/>
                    <a:pt x="18" y="0"/>
                    <a:pt x="17" y="1"/>
                  </a:cubicBezTo>
                  <a:cubicBezTo>
                    <a:pt x="15" y="2"/>
                    <a:pt x="16" y="6"/>
                    <a:pt x="14" y="7"/>
                  </a:cubicBezTo>
                  <a:cubicBezTo>
                    <a:pt x="12" y="9"/>
                    <a:pt x="11" y="7"/>
                    <a:pt x="9" y="9"/>
                  </a:cubicBezTo>
                  <a:cubicBezTo>
                    <a:pt x="8" y="9"/>
                    <a:pt x="7" y="11"/>
                    <a:pt x="7" y="11"/>
                  </a:cubicBezTo>
                  <a:cubicBezTo>
                    <a:pt x="6" y="12"/>
                    <a:pt x="5" y="12"/>
                    <a:pt x="4" y="13"/>
                  </a:cubicBezTo>
                  <a:cubicBezTo>
                    <a:pt x="0" y="17"/>
                    <a:pt x="0" y="22"/>
                    <a:pt x="5" y="23"/>
                  </a:cubicBezTo>
                  <a:cubicBezTo>
                    <a:pt x="7" y="24"/>
                    <a:pt x="9" y="23"/>
                    <a:pt x="11" y="23"/>
                  </a:cubicBezTo>
                  <a:cubicBezTo>
                    <a:pt x="14" y="23"/>
                    <a:pt x="14" y="26"/>
                    <a:pt x="16" y="27"/>
                  </a:cubicBezTo>
                  <a:cubicBezTo>
                    <a:pt x="17" y="27"/>
                    <a:pt x="18" y="27"/>
                    <a:pt x="19" y="27"/>
                  </a:cubicBezTo>
                  <a:cubicBezTo>
                    <a:pt x="20" y="27"/>
                    <a:pt x="21" y="28"/>
                    <a:pt x="22" y="28"/>
                  </a:cubicBezTo>
                  <a:cubicBezTo>
                    <a:pt x="24" y="29"/>
                    <a:pt x="27" y="29"/>
                    <a:pt x="29" y="28"/>
                  </a:cubicBezTo>
                  <a:cubicBezTo>
                    <a:pt x="30" y="28"/>
                    <a:pt x="33" y="28"/>
                    <a:pt x="34" y="26"/>
                  </a:cubicBezTo>
                  <a:cubicBezTo>
                    <a:pt x="35" y="24"/>
                    <a:pt x="34" y="20"/>
                    <a:pt x="36" y="19"/>
                  </a:cubicBezTo>
                  <a:cubicBezTo>
                    <a:pt x="34" y="19"/>
                    <a:pt x="34" y="16"/>
                    <a:pt x="3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33">
              <a:extLst>
                <a:ext uri="{FF2B5EF4-FFF2-40B4-BE49-F238E27FC236}">
                  <a16:creationId xmlns:a16="http://schemas.microsoft.com/office/drawing/2014/main" id="{1C0DD5AB-0AA3-4DBD-AB74-1D6560B6A2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90" y="1579752"/>
              <a:ext cx="2246" cy="2246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34">
              <a:extLst>
                <a:ext uri="{FF2B5EF4-FFF2-40B4-BE49-F238E27FC236}">
                  <a16:creationId xmlns:a16="http://schemas.microsoft.com/office/drawing/2014/main" id="{6236ED98-1CEB-4B91-917B-751D43836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38" y="1366356"/>
              <a:ext cx="78620" cy="90975"/>
            </a:xfrm>
            <a:custGeom>
              <a:avLst/>
              <a:gdLst>
                <a:gd name="T0" fmla="*/ 29 w 37"/>
                <a:gd name="T1" fmla="*/ 37 h 43"/>
                <a:gd name="T2" fmla="*/ 31 w 37"/>
                <a:gd name="T3" fmla="*/ 36 h 43"/>
                <a:gd name="T4" fmla="*/ 31 w 37"/>
                <a:gd name="T5" fmla="*/ 34 h 43"/>
                <a:gd name="T6" fmla="*/ 35 w 37"/>
                <a:gd name="T7" fmla="*/ 27 h 43"/>
                <a:gd name="T8" fmla="*/ 36 w 37"/>
                <a:gd name="T9" fmla="*/ 23 h 43"/>
                <a:gd name="T10" fmla="*/ 35 w 37"/>
                <a:gd name="T11" fmla="*/ 12 h 43"/>
                <a:gd name="T12" fmla="*/ 32 w 37"/>
                <a:gd name="T13" fmla="*/ 4 h 43"/>
                <a:gd name="T14" fmla="*/ 21 w 37"/>
                <a:gd name="T15" fmla="*/ 3 h 43"/>
                <a:gd name="T16" fmla="*/ 10 w 37"/>
                <a:gd name="T17" fmla="*/ 2 h 43"/>
                <a:gd name="T18" fmla="*/ 1 w 37"/>
                <a:gd name="T19" fmla="*/ 6 h 43"/>
                <a:gd name="T20" fmla="*/ 1 w 37"/>
                <a:gd name="T21" fmla="*/ 14 h 43"/>
                <a:gd name="T22" fmla="*/ 5 w 37"/>
                <a:gd name="T23" fmla="*/ 17 h 43"/>
                <a:gd name="T24" fmla="*/ 6 w 37"/>
                <a:gd name="T25" fmla="*/ 32 h 43"/>
                <a:gd name="T26" fmla="*/ 9 w 37"/>
                <a:gd name="T27" fmla="*/ 36 h 43"/>
                <a:gd name="T28" fmla="*/ 11 w 37"/>
                <a:gd name="T29" fmla="*/ 42 h 43"/>
                <a:gd name="T30" fmla="*/ 15 w 37"/>
                <a:gd name="T31" fmla="*/ 39 h 43"/>
                <a:gd name="T32" fmla="*/ 21 w 37"/>
                <a:gd name="T33" fmla="*/ 38 h 43"/>
                <a:gd name="T34" fmla="*/ 26 w 37"/>
                <a:gd name="T35" fmla="*/ 42 h 43"/>
                <a:gd name="T36" fmla="*/ 29 w 37"/>
                <a:gd name="T37" fmla="*/ 3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" h="43">
                  <a:moveTo>
                    <a:pt x="29" y="37"/>
                  </a:moveTo>
                  <a:cubicBezTo>
                    <a:pt x="30" y="37"/>
                    <a:pt x="30" y="37"/>
                    <a:pt x="31" y="36"/>
                  </a:cubicBezTo>
                  <a:cubicBezTo>
                    <a:pt x="31" y="35"/>
                    <a:pt x="31" y="35"/>
                    <a:pt x="31" y="34"/>
                  </a:cubicBezTo>
                  <a:cubicBezTo>
                    <a:pt x="35" y="33"/>
                    <a:pt x="35" y="30"/>
                    <a:pt x="35" y="27"/>
                  </a:cubicBezTo>
                  <a:cubicBezTo>
                    <a:pt x="36" y="26"/>
                    <a:pt x="36" y="23"/>
                    <a:pt x="36" y="23"/>
                  </a:cubicBezTo>
                  <a:cubicBezTo>
                    <a:pt x="36" y="19"/>
                    <a:pt x="37" y="16"/>
                    <a:pt x="35" y="12"/>
                  </a:cubicBezTo>
                  <a:cubicBezTo>
                    <a:pt x="33" y="9"/>
                    <a:pt x="33" y="8"/>
                    <a:pt x="32" y="4"/>
                  </a:cubicBezTo>
                  <a:cubicBezTo>
                    <a:pt x="29" y="2"/>
                    <a:pt x="25" y="3"/>
                    <a:pt x="21" y="3"/>
                  </a:cubicBezTo>
                  <a:cubicBezTo>
                    <a:pt x="17" y="3"/>
                    <a:pt x="14" y="2"/>
                    <a:pt x="10" y="2"/>
                  </a:cubicBezTo>
                  <a:cubicBezTo>
                    <a:pt x="6" y="2"/>
                    <a:pt x="2" y="0"/>
                    <a:pt x="1" y="6"/>
                  </a:cubicBezTo>
                  <a:cubicBezTo>
                    <a:pt x="1" y="8"/>
                    <a:pt x="0" y="12"/>
                    <a:pt x="1" y="14"/>
                  </a:cubicBezTo>
                  <a:cubicBezTo>
                    <a:pt x="2" y="16"/>
                    <a:pt x="4" y="16"/>
                    <a:pt x="5" y="17"/>
                  </a:cubicBezTo>
                  <a:cubicBezTo>
                    <a:pt x="7" y="22"/>
                    <a:pt x="5" y="27"/>
                    <a:pt x="6" y="32"/>
                  </a:cubicBezTo>
                  <a:cubicBezTo>
                    <a:pt x="6" y="34"/>
                    <a:pt x="8" y="35"/>
                    <a:pt x="9" y="36"/>
                  </a:cubicBezTo>
                  <a:cubicBezTo>
                    <a:pt x="9" y="37"/>
                    <a:pt x="11" y="42"/>
                    <a:pt x="11" y="42"/>
                  </a:cubicBezTo>
                  <a:cubicBezTo>
                    <a:pt x="13" y="43"/>
                    <a:pt x="14" y="40"/>
                    <a:pt x="15" y="39"/>
                  </a:cubicBezTo>
                  <a:cubicBezTo>
                    <a:pt x="16" y="38"/>
                    <a:pt x="20" y="38"/>
                    <a:pt x="21" y="38"/>
                  </a:cubicBezTo>
                  <a:cubicBezTo>
                    <a:pt x="23" y="39"/>
                    <a:pt x="24" y="42"/>
                    <a:pt x="26" y="42"/>
                  </a:cubicBezTo>
                  <a:cubicBezTo>
                    <a:pt x="29" y="43"/>
                    <a:pt x="29" y="40"/>
                    <a:pt x="2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5">
              <a:extLst>
                <a:ext uri="{FF2B5EF4-FFF2-40B4-BE49-F238E27FC236}">
                  <a16:creationId xmlns:a16="http://schemas.microsoft.com/office/drawing/2014/main" id="{5FAE8DCA-2101-4A73-8C57-8551BAEE7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64" y="1431497"/>
              <a:ext cx="65141" cy="47172"/>
            </a:xfrm>
            <a:custGeom>
              <a:avLst/>
              <a:gdLst>
                <a:gd name="T0" fmla="*/ 8 w 31"/>
                <a:gd name="T1" fmla="*/ 22 h 22"/>
                <a:gd name="T2" fmla="*/ 17 w 31"/>
                <a:gd name="T3" fmla="*/ 22 h 22"/>
                <a:gd name="T4" fmla="*/ 29 w 31"/>
                <a:gd name="T5" fmla="*/ 14 h 22"/>
                <a:gd name="T6" fmla="*/ 27 w 31"/>
                <a:gd name="T7" fmla="*/ 2 h 22"/>
                <a:gd name="T8" fmla="*/ 27 w 31"/>
                <a:gd name="T9" fmla="*/ 1 h 22"/>
                <a:gd name="T10" fmla="*/ 27 w 31"/>
                <a:gd name="T11" fmla="*/ 2 h 22"/>
                <a:gd name="T12" fmla="*/ 27 w 31"/>
                <a:gd name="T13" fmla="*/ 1 h 22"/>
                <a:gd name="T14" fmla="*/ 27 w 31"/>
                <a:gd name="T15" fmla="*/ 1 h 22"/>
                <a:gd name="T16" fmla="*/ 22 w 31"/>
                <a:gd name="T17" fmla="*/ 1 h 22"/>
                <a:gd name="T18" fmla="*/ 21 w 31"/>
                <a:gd name="T19" fmla="*/ 6 h 22"/>
                <a:gd name="T20" fmla="*/ 18 w 31"/>
                <a:gd name="T21" fmla="*/ 9 h 22"/>
                <a:gd name="T22" fmla="*/ 16 w 31"/>
                <a:gd name="T23" fmla="*/ 9 h 22"/>
                <a:gd name="T24" fmla="*/ 13 w 31"/>
                <a:gd name="T25" fmla="*/ 11 h 22"/>
                <a:gd name="T26" fmla="*/ 9 w 31"/>
                <a:gd name="T27" fmla="*/ 12 h 22"/>
                <a:gd name="T28" fmla="*/ 7 w 31"/>
                <a:gd name="T29" fmla="*/ 16 h 22"/>
                <a:gd name="T30" fmla="*/ 0 w 31"/>
                <a:gd name="T31" fmla="*/ 21 h 22"/>
                <a:gd name="T32" fmla="*/ 8 w 31"/>
                <a:gd name="T3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22">
                  <a:moveTo>
                    <a:pt x="8" y="22"/>
                  </a:moveTo>
                  <a:cubicBezTo>
                    <a:pt x="11" y="22"/>
                    <a:pt x="14" y="22"/>
                    <a:pt x="17" y="22"/>
                  </a:cubicBezTo>
                  <a:cubicBezTo>
                    <a:pt x="22" y="21"/>
                    <a:pt x="25" y="15"/>
                    <a:pt x="29" y="14"/>
                  </a:cubicBezTo>
                  <a:cubicBezTo>
                    <a:pt x="30" y="11"/>
                    <a:pt x="31" y="2"/>
                    <a:pt x="27" y="2"/>
                  </a:cubicBezTo>
                  <a:cubicBezTo>
                    <a:pt x="27" y="2"/>
                    <a:pt x="27" y="1"/>
                    <a:pt x="27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7" y="1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6" y="0"/>
                    <a:pt x="23" y="0"/>
                    <a:pt x="22" y="1"/>
                  </a:cubicBezTo>
                  <a:cubicBezTo>
                    <a:pt x="22" y="1"/>
                    <a:pt x="21" y="5"/>
                    <a:pt x="21" y="6"/>
                  </a:cubicBezTo>
                  <a:cubicBezTo>
                    <a:pt x="20" y="7"/>
                    <a:pt x="19" y="8"/>
                    <a:pt x="18" y="9"/>
                  </a:cubicBezTo>
                  <a:cubicBezTo>
                    <a:pt x="17" y="9"/>
                    <a:pt x="17" y="10"/>
                    <a:pt x="16" y="9"/>
                  </a:cubicBezTo>
                  <a:cubicBezTo>
                    <a:pt x="15" y="9"/>
                    <a:pt x="13" y="10"/>
                    <a:pt x="13" y="11"/>
                  </a:cubicBezTo>
                  <a:cubicBezTo>
                    <a:pt x="11" y="11"/>
                    <a:pt x="10" y="11"/>
                    <a:pt x="9" y="12"/>
                  </a:cubicBezTo>
                  <a:cubicBezTo>
                    <a:pt x="8" y="13"/>
                    <a:pt x="8" y="15"/>
                    <a:pt x="7" y="16"/>
                  </a:cubicBezTo>
                  <a:cubicBezTo>
                    <a:pt x="4" y="18"/>
                    <a:pt x="0" y="16"/>
                    <a:pt x="0" y="21"/>
                  </a:cubicBezTo>
                  <a:cubicBezTo>
                    <a:pt x="2" y="22"/>
                    <a:pt x="5" y="22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6">
              <a:extLst>
                <a:ext uri="{FF2B5EF4-FFF2-40B4-BE49-F238E27FC236}">
                  <a16:creationId xmlns:a16="http://schemas.microsoft.com/office/drawing/2014/main" id="{CE5A5F43-A697-4344-8E90-3776362DB4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499" y="1433743"/>
              <a:ext cx="2246" cy="2246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0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37">
              <a:extLst>
                <a:ext uri="{FF2B5EF4-FFF2-40B4-BE49-F238E27FC236}">
                  <a16:creationId xmlns:a16="http://schemas.microsoft.com/office/drawing/2014/main" id="{13E81FCA-4356-4AA9-9329-21C175F15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405" y="1332662"/>
              <a:ext cx="278537" cy="165101"/>
            </a:xfrm>
            <a:custGeom>
              <a:avLst/>
              <a:gdLst>
                <a:gd name="T0" fmla="*/ 117 w 132"/>
                <a:gd name="T1" fmla="*/ 74 h 78"/>
                <a:gd name="T2" fmla="*/ 121 w 132"/>
                <a:gd name="T3" fmla="*/ 74 h 78"/>
                <a:gd name="T4" fmla="*/ 126 w 132"/>
                <a:gd name="T5" fmla="*/ 76 h 78"/>
                <a:gd name="T6" fmla="*/ 130 w 132"/>
                <a:gd name="T7" fmla="*/ 76 h 78"/>
                <a:gd name="T8" fmla="*/ 131 w 132"/>
                <a:gd name="T9" fmla="*/ 67 h 78"/>
                <a:gd name="T10" fmla="*/ 127 w 132"/>
                <a:gd name="T11" fmla="*/ 66 h 78"/>
                <a:gd name="T12" fmla="*/ 126 w 132"/>
                <a:gd name="T13" fmla="*/ 60 h 78"/>
                <a:gd name="T14" fmla="*/ 120 w 132"/>
                <a:gd name="T15" fmla="*/ 54 h 78"/>
                <a:gd name="T16" fmla="*/ 115 w 132"/>
                <a:gd name="T17" fmla="*/ 44 h 78"/>
                <a:gd name="T18" fmla="*/ 102 w 132"/>
                <a:gd name="T19" fmla="*/ 42 h 78"/>
                <a:gd name="T20" fmla="*/ 99 w 132"/>
                <a:gd name="T21" fmla="*/ 47 h 78"/>
                <a:gd name="T22" fmla="*/ 95 w 132"/>
                <a:gd name="T23" fmla="*/ 49 h 78"/>
                <a:gd name="T24" fmla="*/ 92 w 132"/>
                <a:gd name="T25" fmla="*/ 50 h 78"/>
                <a:gd name="T26" fmla="*/ 88 w 132"/>
                <a:gd name="T27" fmla="*/ 53 h 78"/>
                <a:gd name="T28" fmla="*/ 81 w 132"/>
                <a:gd name="T29" fmla="*/ 53 h 78"/>
                <a:gd name="T30" fmla="*/ 76 w 132"/>
                <a:gd name="T31" fmla="*/ 54 h 78"/>
                <a:gd name="T32" fmla="*/ 69 w 132"/>
                <a:gd name="T33" fmla="*/ 54 h 78"/>
                <a:gd name="T34" fmla="*/ 55 w 132"/>
                <a:gd name="T35" fmla="*/ 55 h 78"/>
                <a:gd name="T36" fmla="*/ 53 w 132"/>
                <a:gd name="T37" fmla="*/ 40 h 78"/>
                <a:gd name="T38" fmla="*/ 41 w 132"/>
                <a:gd name="T39" fmla="*/ 38 h 78"/>
                <a:gd name="T40" fmla="*/ 39 w 132"/>
                <a:gd name="T41" fmla="*/ 29 h 78"/>
                <a:gd name="T42" fmla="*/ 43 w 132"/>
                <a:gd name="T43" fmla="*/ 19 h 78"/>
                <a:gd name="T44" fmla="*/ 27 w 132"/>
                <a:gd name="T45" fmla="*/ 14 h 78"/>
                <a:gd name="T46" fmla="*/ 22 w 132"/>
                <a:gd name="T47" fmla="*/ 10 h 78"/>
                <a:gd name="T48" fmla="*/ 16 w 132"/>
                <a:gd name="T49" fmla="*/ 7 h 78"/>
                <a:gd name="T50" fmla="*/ 13 w 132"/>
                <a:gd name="T51" fmla="*/ 5 h 78"/>
                <a:gd name="T52" fmla="*/ 10 w 132"/>
                <a:gd name="T53" fmla="*/ 4 h 78"/>
                <a:gd name="T54" fmla="*/ 4 w 132"/>
                <a:gd name="T55" fmla="*/ 0 h 78"/>
                <a:gd name="T56" fmla="*/ 0 w 132"/>
                <a:gd name="T57" fmla="*/ 5 h 78"/>
                <a:gd name="T58" fmla="*/ 3 w 132"/>
                <a:gd name="T59" fmla="*/ 14 h 78"/>
                <a:gd name="T60" fmla="*/ 14 w 132"/>
                <a:gd name="T61" fmla="*/ 23 h 78"/>
                <a:gd name="T62" fmla="*/ 16 w 132"/>
                <a:gd name="T63" fmla="*/ 30 h 78"/>
                <a:gd name="T64" fmla="*/ 23 w 132"/>
                <a:gd name="T65" fmla="*/ 35 h 78"/>
                <a:gd name="T66" fmla="*/ 29 w 132"/>
                <a:gd name="T67" fmla="*/ 39 h 78"/>
                <a:gd name="T68" fmla="*/ 32 w 132"/>
                <a:gd name="T69" fmla="*/ 40 h 78"/>
                <a:gd name="T70" fmla="*/ 32 w 132"/>
                <a:gd name="T71" fmla="*/ 47 h 78"/>
                <a:gd name="T72" fmla="*/ 33 w 132"/>
                <a:gd name="T73" fmla="*/ 51 h 78"/>
                <a:gd name="T74" fmla="*/ 33 w 132"/>
                <a:gd name="T75" fmla="*/ 56 h 78"/>
                <a:gd name="T76" fmla="*/ 34 w 132"/>
                <a:gd name="T77" fmla="*/ 60 h 78"/>
                <a:gd name="T78" fmla="*/ 34 w 132"/>
                <a:gd name="T79" fmla="*/ 67 h 78"/>
                <a:gd name="T80" fmla="*/ 50 w 132"/>
                <a:gd name="T81" fmla="*/ 69 h 78"/>
                <a:gd name="T82" fmla="*/ 51 w 132"/>
                <a:gd name="T83" fmla="*/ 72 h 78"/>
                <a:gd name="T84" fmla="*/ 55 w 132"/>
                <a:gd name="T85" fmla="*/ 74 h 78"/>
                <a:gd name="T86" fmla="*/ 62 w 132"/>
                <a:gd name="T87" fmla="*/ 74 h 78"/>
                <a:gd name="T88" fmla="*/ 68 w 132"/>
                <a:gd name="T89" fmla="*/ 74 h 78"/>
                <a:gd name="T90" fmla="*/ 72 w 132"/>
                <a:gd name="T91" fmla="*/ 77 h 78"/>
                <a:gd name="T92" fmla="*/ 85 w 132"/>
                <a:gd name="T93" fmla="*/ 77 h 78"/>
                <a:gd name="T94" fmla="*/ 86 w 132"/>
                <a:gd name="T95" fmla="*/ 76 h 78"/>
                <a:gd name="T96" fmla="*/ 90 w 132"/>
                <a:gd name="T97" fmla="*/ 76 h 78"/>
                <a:gd name="T98" fmla="*/ 92 w 132"/>
                <a:gd name="T99" fmla="*/ 73 h 78"/>
                <a:gd name="T100" fmla="*/ 95 w 132"/>
                <a:gd name="T101" fmla="*/ 72 h 78"/>
                <a:gd name="T102" fmla="*/ 98 w 132"/>
                <a:gd name="T103" fmla="*/ 68 h 78"/>
                <a:gd name="T104" fmla="*/ 105 w 132"/>
                <a:gd name="T105" fmla="*/ 68 h 78"/>
                <a:gd name="T106" fmla="*/ 110 w 132"/>
                <a:gd name="T107" fmla="*/ 71 h 78"/>
                <a:gd name="T108" fmla="*/ 116 w 132"/>
                <a:gd name="T109" fmla="*/ 72 h 78"/>
                <a:gd name="T110" fmla="*/ 117 w 132"/>
                <a:gd name="T111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2" h="78">
                  <a:moveTo>
                    <a:pt x="117" y="74"/>
                  </a:moveTo>
                  <a:cubicBezTo>
                    <a:pt x="118" y="74"/>
                    <a:pt x="120" y="74"/>
                    <a:pt x="121" y="74"/>
                  </a:cubicBezTo>
                  <a:cubicBezTo>
                    <a:pt x="123" y="74"/>
                    <a:pt x="124" y="74"/>
                    <a:pt x="126" y="76"/>
                  </a:cubicBezTo>
                  <a:cubicBezTo>
                    <a:pt x="128" y="77"/>
                    <a:pt x="129" y="78"/>
                    <a:pt x="130" y="76"/>
                  </a:cubicBezTo>
                  <a:cubicBezTo>
                    <a:pt x="132" y="74"/>
                    <a:pt x="132" y="70"/>
                    <a:pt x="131" y="67"/>
                  </a:cubicBezTo>
                  <a:cubicBezTo>
                    <a:pt x="130" y="67"/>
                    <a:pt x="128" y="67"/>
                    <a:pt x="127" y="66"/>
                  </a:cubicBezTo>
                  <a:cubicBezTo>
                    <a:pt x="126" y="63"/>
                    <a:pt x="127" y="62"/>
                    <a:pt x="126" y="60"/>
                  </a:cubicBezTo>
                  <a:cubicBezTo>
                    <a:pt x="125" y="56"/>
                    <a:pt x="123" y="55"/>
                    <a:pt x="120" y="54"/>
                  </a:cubicBezTo>
                  <a:cubicBezTo>
                    <a:pt x="120" y="51"/>
                    <a:pt x="116" y="46"/>
                    <a:pt x="115" y="44"/>
                  </a:cubicBezTo>
                  <a:cubicBezTo>
                    <a:pt x="112" y="42"/>
                    <a:pt x="105" y="40"/>
                    <a:pt x="102" y="42"/>
                  </a:cubicBezTo>
                  <a:cubicBezTo>
                    <a:pt x="101" y="43"/>
                    <a:pt x="101" y="45"/>
                    <a:pt x="99" y="47"/>
                  </a:cubicBezTo>
                  <a:cubicBezTo>
                    <a:pt x="98" y="48"/>
                    <a:pt x="96" y="49"/>
                    <a:pt x="95" y="49"/>
                  </a:cubicBezTo>
                  <a:cubicBezTo>
                    <a:pt x="94" y="49"/>
                    <a:pt x="93" y="49"/>
                    <a:pt x="92" y="50"/>
                  </a:cubicBezTo>
                  <a:cubicBezTo>
                    <a:pt x="90" y="50"/>
                    <a:pt x="90" y="52"/>
                    <a:pt x="88" y="53"/>
                  </a:cubicBezTo>
                  <a:cubicBezTo>
                    <a:pt x="86" y="54"/>
                    <a:pt x="83" y="52"/>
                    <a:pt x="81" y="53"/>
                  </a:cubicBezTo>
                  <a:cubicBezTo>
                    <a:pt x="79" y="53"/>
                    <a:pt x="78" y="55"/>
                    <a:pt x="76" y="54"/>
                  </a:cubicBezTo>
                  <a:cubicBezTo>
                    <a:pt x="74" y="54"/>
                    <a:pt x="72" y="54"/>
                    <a:pt x="69" y="54"/>
                  </a:cubicBezTo>
                  <a:cubicBezTo>
                    <a:pt x="65" y="54"/>
                    <a:pt x="59" y="56"/>
                    <a:pt x="55" y="55"/>
                  </a:cubicBezTo>
                  <a:cubicBezTo>
                    <a:pt x="51" y="53"/>
                    <a:pt x="54" y="45"/>
                    <a:pt x="53" y="40"/>
                  </a:cubicBezTo>
                  <a:cubicBezTo>
                    <a:pt x="52" y="36"/>
                    <a:pt x="44" y="39"/>
                    <a:pt x="41" y="38"/>
                  </a:cubicBezTo>
                  <a:cubicBezTo>
                    <a:pt x="40" y="35"/>
                    <a:pt x="38" y="32"/>
                    <a:pt x="39" y="29"/>
                  </a:cubicBezTo>
                  <a:cubicBezTo>
                    <a:pt x="41" y="25"/>
                    <a:pt x="44" y="25"/>
                    <a:pt x="43" y="19"/>
                  </a:cubicBezTo>
                  <a:cubicBezTo>
                    <a:pt x="41" y="11"/>
                    <a:pt x="31" y="14"/>
                    <a:pt x="27" y="14"/>
                  </a:cubicBezTo>
                  <a:cubicBezTo>
                    <a:pt x="26" y="10"/>
                    <a:pt x="24" y="11"/>
                    <a:pt x="22" y="10"/>
                  </a:cubicBezTo>
                  <a:cubicBezTo>
                    <a:pt x="20" y="10"/>
                    <a:pt x="17" y="8"/>
                    <a:pt x="16" y="7"/>
                  </a:cubicBezTo>
                  <a:cubicBezTo>
                    <a:pt x="15" y="6"/>
                    <a:pt x="14" y="6"/>
                    <a:pt x="13" y="5"/>
                  </a:cubicBezTo>
                  <a:cubicBezTo>
                    <a:pt x="12" y="5"/>
                    <a:pt x="10" y="4"/>
                    <a:pt x="10" y="4"/>
                  </a:cubicBezTo>
                  <a:cubicBezTo>
                    <a:pt x="7" y="2"/>
                    <a:pt x="7" y="0"/>
                    <a:pt x="4" y="0"/>
                  </a:cubicBezTo>
                  <a:cubicBezTo>
                    <a:pt x="0" y="0"/>
                    <a:pt x="0" y="0"/>
                    <a:pt x="0" y="5"/>
                  </a:cubicBezTo>
                  <a:cubicBezTo>
                    <a:pt x="0" y="10"/>
                    <a:pt x="0" y="12"/>
                    <a:pt x="3" y="14"/>
                  </a:cubicBezTo>
                  <a:cubicBezTo>
                    <a:pt x="7" y="17"/>
                    <a:pt x="11" y="18"/>
                    <a:pt x="14" y="23"/>
                  </a:cubicBezTo>
                  <a:cubicBezTo>
                    <a:pt x="15" y="25"/>
                    <a:pt x="15" y="28"/>
                    <a:pt x="16" y="30"/>
                  </a:cubicBezTo>
                  <a:cubicBezTo>
                    <a:pt x="18" y="33"/>
                    <a:pt x="20" y="34"/>
                    <a:pt x="23" y="35"/>
                  </a:cubicBezTo>
                  <a:cubicBezTo>
                    <a:pt x="25" y="36"/>
                    <a:pt x="27" y="38"/>
                    <a:pt x="29" y="39"/>
                  </a:cubicBezTo>
                  <a:cubicBezTo>
                    <a:pt x="31" y="40"/>
                    <a:pt x="31" y="38"/>
                    <a:pt x="32" y="40"/>
                  </a:cubicBezTo>
                  <a:cubicBezTo>
                    <a:pt x="32" y="42"/>
                    <a:pt x="32" y="45"/>
                    <a:pt x="32" y="47"/>
                  </a:cubicBezTo>
                  <a:cubicBezTo>
                    <a:pt x="32" y="48"/>
                    <a:pt x="33" y="49"/>
                    <a:pt x="33" y="51"/>
                  </a:cubicBezTo>
                  <a:cubicBezTo>
                    <a:pt x="33" y="53"/>
                    <a:pt x="33" y="55"/>
                    <a:pt x="33" y="56"/>
                  </a:cubicBezTo>
                  <a:cubicBezTo>
                    <a:pt x="33" y="58"/>
                    <a:pt x="34" y="59"/>
                    <a:pt x="34" y="60"/>
                  </a:cubicBezTo>
                  <a:cubicBezTo>
                    <a:pt x="34" y="62"/>
                    <a:pt x="34" y="65"/>
                    <a:pt x="34" y="67"/>
                  </a:cubicBezTo>
                  <a:cubicBezTo>
                    <a:pt x="35" y="71"/>
                    <a:pt x="47" y="67"/>
                    <a:pt x="50" y="69"/>
                  </a:cubicBezTo>
                  <a:cubicBezTo>
                    <a:pt x="50" y="70"/>
                    <a:pt x="51" y="71"/>
                    <a:pt x="51" y="72"/>
                  </a:cubicBezTo>
                  <a:cubicBezTo>
                    <a:pt x="53" y="72"/>
                    <a:pt x="54" y="73"/>
                    <a:pt x="55" y="74"/>
                  </a:cubicBezTo>
                  <a:cubicBezTo>
                    <a:pt x="57" y="74"/>
                    <a:pt x="60" y="74"/>
                    <a:pt x="62" y="74"/>
                  </a:cubicBezTo>
                  <a:cubicBezTo>
                    <a:pt x="64" y="74"/>
                    <a:pt x="66" y="73"/>
                    <a:pt x="68" y="74"/>
                  </a:cubicBezTo>
                  <a:cubicBezTo>
                    <a:pt x="70" y="74"/>
                    <a:pt x="71" y="76"/>
                    <a:pt x="72" y="77"/>
                  </a:cubicBezTo>
                  <a:cubicBezTo>
                    <a:pt x="75" y="78"/>
                    <a:pt x="82" y="78"/>
                    <a:pt x="85" y="77"/>
                  </a:cubicBezTo>
                  <a:cubicBezTo>
                    <a:pt x="85" y="77"/>
                    <a:pt x="86" y="77"/>
                    <a:pt x="86" y="76"/>
                  </a:cubicBezTo>
                  <a:cubicBezTo>
                    <a:pt x="87" y="76"/>
                    <a:pt x="89" y="76"/>
                    <a:pt x="90" y="76"/>
                  </a:cubicBezTo>
                  <a:cubicBezTo>
                    <a:pt x="91" y="75"/>
                    <a:pt x="91" y="74"/>
                    <a:pt x="92" y="73"/>
                  </a:cubicBezTo>
                  <a:cubicBezTo>
                    <a:pt x="93" y="73"/>
                    <a:pt x="94" y="73"/>
                    <a:pt x="95" y="72"/>
                  </a:cubicBezTo>
                  <a:cubicBezTo>
                    <a:pt x="96" y="71"/>
                    <a:pt x="97" y="69"/>
                    <a:pt x="98" y="68"/>
                  </a:cubicBezTo>
                  <a:cubicBezTo>
                    <a:pt x="100" y="68"/>
                    <a:pt x="103" y="68"/>
                    <a:pt x="105" y="68"/>
                  </a:cubicBezTo>
                  <a:cubicBezTo>
                    <a:pt x="107" y="69"/>
                    <a:pt x="108" y="70"/>
                    <a:pt x="110" y="71"/>
                  </a:cubicBezTo>
                  <a:cubicBezTo>
                    <a:pt x="112" y="72"/>
                    <a:pt x="114" y="72"/>
                    <a:pt x="116" y="72"/>
                  </a:cubicBezTo>
                  <a:cubicBezTo>
                    <a:pt x="116" y="73"/>
                    <a:pt x="117" y="74"/>
                    <a:pt x="117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38">
              <a:extLst>
                <a:ext uri="{FF2B5EF4-FFF2-40B4-BE49-F238E27FC236}">
                  <a16:creationId xmlns:a16="http://schemas.microsoft.com/office/drawing/2014/main" id="{A522140C-3482-47AE-945A-77C4BDCA0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039" y="1973973"/>
              <a:ext cx="124667" cy="115684"/>
            </a:xfrm>
            <a:custGeom>
              <a:avLst/>
              <a:gdLst>
                <a:gd name="T0" fmla="*/ 50 w 59"/>
                <a:gd name="T1" fmla="*/ 41 h 55"/>
                <a:gd name="T2" fmla="*/ 52 w 59"/>
                <a:gd name="T3" fmla="*/ 43 h 55"/>
                <a:gd name="T4" fmla="*/ 56 w 59"/>
                <a:gd name="T5" fmla="*/ 43 h 55"/>
                <a:gd name="T6" fmla="*/ 59 w 59"/>
                <a:gd name="T7" fmla="*/ 37 h 55"/>
                <a:gd name="T8" fmla="*/ 53 w 59"/>
                <a:gd name="T9" fmla="*/ 31 h 55"/>
                <a:gd name="T10" fmla="*/ 49 w 59"/>
                <a:gd name="T11" fmla="*/ 29 h 55"/>
                <a:gd name="T12" fmla="*/ 44 w 59"/>
                <a:gd name="T13" fmla="*/ 27 h 55"/>
                <a:gd name="T14" fmla="*/ 41 w 59"/>
                <a:gd name="T15" fmla="*/ 17 h 55"/>
                <a:gd name="T16" fmla="*/ 35 w 59"/>
                <a:gd name="T17" fmla="*/ 12 h 55"/>
                <a:gd name="T18" fmla="*/ 22 w 59"/>
                <a:gd name="T19" fmla="*/ 0 h 55"/>
                <a:gd name="T20" fmla="*/ 19 w 59"/>
                <a:gd name="T21" fmla="*/ 1 h 55"/>
                <a:gd name="T22" fmla="*/ 19 w 59"/>
                <a:gd name="T23" fmla="*/ 2 h 55"/>
                <a:gd name="T24" fmla="*/ 19 w 59"/>
                <a:gd name="T25" fmla="*/ 1 h 55"/>
                <a:gd name="T26" fmla="*/ 19 w 59"/>
                <a:gd name="T27" fmla="*/ 1 h 55"/>
                <a:gd name="T28" fmla="*/ 13 w 59"/>
                <a:gd name="T29" fmla="*/ 3 h 55"/>
                <a:gd name="T30" fmla="*/ 13 w 59"/>
                <a:gd name="T31" fmla="*/ 8 h 55"/>
                <a:gd name="T32" fmla="*/ 11 w 59"/>
                <a:gd name="T33" fmla="*/ 13 h 55"/>
                <a:gd name="T34" fmla="*/ 6 w 59"/>
                <a:gd name="T35" fmla="*/ 19 h 55"/>
                <a:gd name="T36" fmla="*/ 1 w 59"/>
                <a:gd name="T37" fmla="*/ 24 h 55"/>
                <a:gd name="T38" fmla="*/ 1 w 59"/>
                <a:gd name="T39" fmla="*/ 36 h 55"/>
                <a:gd name="T40" fmla="*/ 0 w 59"/>
                <a:gd name="T41" fmla="*/ 40 h 55"/>
                <a:gd name="T42" fmla="*/ 0 w 59"/>
                <a:gd name="T43" fmla="*/ 47 h 55"/>
                <a:gd name="T44" fmla="*/ 5 w 59"/>
                <a:gd name="T45" fmla="*/ 52 h 55"/>
                <a:gd name="T46" fmla="*/ 8 w 59"/>
                <a:gd name="T47" fmla="*/ 53 h 55"/>
                <a:gd name="T48" fmla="*/ 9 w 59"/>
                <a:gd name="T49" fmla="*/ 47 h 55"/>
                <a:gd name="T50" fmla="*/ 13 w 59"/>
                <a:gd name="T51" fmla="*/ 40 h 55"/>
                <a:gd name="T52" fmla="*/ 15 w 59"/>
                <a:gd name="T53" fmla="*/ 38 h 55"/>
                <a:gd name="T54" fmla="*/ 18 w 59"/>
                <a:gd name="T55" fmla="*/ 38 h 55"/>
                <a:gd name="T56" fmla="*/ 19 w 59"/>
                <a:gd name="T57" fmla="*/ 37 h 55"/>
                <a:gd name="T58" fmla="*/ 25 w 59"/>
                <a:gd name="T59" fmla="*/ 33 h 55"/>
                <a:gd name="T60" fmla="*/ 34 w 59"/>
                <a:gd name="T61" fmla="*/ 31 h 55"/>
                <a:gd name="T62" fmla="*/ 35 w 59"/>
                <a:gd name="T63" fmla="*/ 34 h 55"/>
                <a:gd name="T64" fmla="*/ 37 w 59"/>
                <a:gd name="T65" fmla="*/ 35 h 55"/>
                <a:gd name="T66" fmla="*/ 38 w 59"/>
                <a:gd name="T67" fmla="*/ 38 h 55"/>
                <a:gd name="T68" fmla="*/ 39 w 59"/>
                <a:gd name="T69" fmla="*/ 41 h 55"/>
                <a:gd name="T70" fmla="*/ 41 w 59"/>
                <a:gd name="T71" fmla="*/ 45 h 55"/>
                <a:gd name="T72" fmla="*/ 49 w 59"/>
                <a:gd name="T73" fmla="*/ 43 h 55"/>
                <a:gd name="T74" fmla="*/ 50 w 59"/>
                <a:gd name="T75" fmla="*/ 41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9" h="55">
                  <a:moveTo>
                    <a:pt x="50" y="41"/>
                  </a:moveTo>
                  <a:cubicBezTo>
                    <a:pt x="51" y="41"/>
                    <a:pt x="52" y="42"/>
                    <a:pt x="52" y="43"/>
                  </a:cubicBezTo>
                  <a:cubicBezTo>
                    <a:pt x="53" y="43"/>
                    <a:pt x="55" y="44"/>
                    <a:pt x="56" y="43"/>
                  </a:cubicBezTo>
                  <a:cubicBezTo>
                    <a:pt x="56" y="39"/>
                    <a:pt x="59" y="40"/>
                    <a:pt x="59" y="37"/>
                  </a:cubicBezTo>
                  <a:cubicBezTo>
                    <a:pt x="55" y="36"/>
                    <a:pt x="55" y="34"/>
                    <a:pt x="53" y="31"/>
                  </a:cubicBezTo>
                  <a:cubicBezTo>
                    <a:pt x="51" y="29"/>
                    <a:pt x="51" y="30"/>
                    <a:pt x="49" y="29"/>
                  </a:cubicBezTo>
                  <a:cubicBezTo>
                    <a:pt x="47" y="29"/>
                    <a:pt x="46" y="28"/>
                    <a:pt x="44" y="27"/>
                  </a:cubicBezTo>
                  <a:cubicBezTo>
                    <a:pt x="44" y="24"/>
                    <a:pt x="43" y="20"/>
                    <a:pt x="41" y="17"/>
                  </a:cubicBezTo>
                  <a:cubicBezTo>
                    <a:pt x="39" y="14"/>
                    <a:pt x="39" y="12"/>
                    <a:pt x="35" y="12"/>
                  </a:cubicBezTo>
                  <a:cubicBezTo>
                    <a:pt x="28" y="12"/>
                    <a:pt x="26" y="6"/>
                    <a:pt x="22" y="0"/>
                  </a:cubicBezTo>
                  <a:cubicBezTo>
                    <a:pt x="21" y="0"/>
                    <a:pt x="20" y="1"/>
                    <a:pt x="19" y="1"/>
                  </a:cubicBezTo>
                  <a:cubicBezTo>
                    <a:pt x="19" y="2"/>
                    <a:pt x="19" y="3"/>
                    <a:pt x="19" y="2"/>
                  </a:cubicBezTo>
                  <a:cubicBezTo>
                    <a:pt x="19" y="2"/>
                    <a:pt x="19" y="1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1"/>
                    <a:pt x="14" y="0"/>
                    <a:pt x="13" y="3"/>
                  </a:cubicBezTo>
                  <a:cubicBezTo>
                    <a:pt x="12" y="5"/>
                    <a:pt x="13" y="7"/>
                    <a:pt x="13" y="8"/>
                  </a:cubicBezTo>
                  <a:cubicBezTo>
                    <a:pt x="12" y="10"/>
                    <a:pt x="11" y="12"/>
                    <a:pt x="11" y="13"/>
                  </a:cubicBezTo>
                  <a:cubicBezTo>
                    <a:pt x="10" y="17"/>
                    <a:pt x="9" y="17"/>
                    <a:pt x="6" y="19"/>
                  </a:cubicBezTo>
                  <a:cubicBezTo>
                    <a:pt x="5" y="20"/>
                    <a:pt x="2" y="22"/>
                    <a:pt x="1" y="24"/>
                  </a:cubicBezTo>
                  <a:cubicBezTo>
                    <a:pt x="0" y="27"/>
                    <a:pt x="1" y="32"/>
                    <a:pt x="1" y="36"/>
                  </a:cubicBezTo>
                  <a:cubicBezTo>
                    <a:pt x="1" y="37"/>
                    <a:pt x="0" y="38"/>
                    <a:pt x="0" y="40"/>
                  </a:cubicBezTo>
                  <a:cubicBezTo>
                    <a:pt x="0" y="42"/>
                    <a:pt x="0" y="44"/>
                    <a:pt x="0" y="47"/>
                  </a:cubicBezTo>
                  <a:cubicBezTo>
                    <a:pt x="0" y="53"/>
                    <a:pt x="1" y="52"/>
                    <a:pt x="5" y="52"/>
                  </a:cubicBezTo>
                  <a:cubicBezTo>
                    <a:pt x="6" y="53"/>
                    <a:pt x="6" y="55"/>
                    <a:pt x="8" y="53"/>
                  </a:cubicBezTo>
                  <a:cubicBezTo>
                    <a:pt x="9" y="51"/>
                    <a:pt x="8" y="49"/>
                    <a:pt x="9" y="47"/>
                  </a:cubicBezTo>
                  <a:cubicBezTo>
                    <a:pt x="10" y="45"/>
                    <a:pt x="11" y="42"/>
                    <a:pt x="13" y="40"/>
                  </a:cubicBezTo>
                  <a:cubicBezTo>
                    <a:pt x="14" y="39"/>
                    <a:pt x="14" y="38"/>
                    <a:pt x="15" y="38"/>
                  </a:cubicBezTo>
                  <a:cubicBezTo>
                    <a:pt x="16" y="38"/>
                    <a:pt x="17" y="38"/>
                    <a:pt x="18" y="38"/>
                  </a:cubicBezTo>
                  <a:cubicBezTo>
                    <a:pt x="18" y="38"/>
                    <a:pt x="19" y="37"/>
                    <a:pt x="19" y="37"/>
                  </a:cubicBezTo>
                  <a:cubicBezTo>
                    <a:pt x="22" y="36"/>
                    <a:pt x="23" y="35"/>
                    <a:pt x="25" y="33"/>
                  </a:cubicBezTo>
                  <a:cubicBezTo>
                    <a:pt x="27" y="31"/>
                    <a:pt x="31" y="30"/>
                    <a:pt x="34" y="31"/>
                  </a:cubicBezTo>
                  <a:cubicBezTo>
                    <a:pt x="34" y="32"/>
                    <a:pt x="35" y="33"/>
                    <a:pt x="35" y="34"/>
                  </a:cubicBezTo>
                  <a:cubicBezTo>
                    <a:pt x="36" y="34"/>
                    <a:pt x="37" y="35"/>
                    <a:pt x="37" y="35"/>
                  </a:cubicBezTo>
                  <a:cubicBezTo>
                    <a:pt x="38" y="36"/>
                    <a:pt x="38" y="37"/>
                    <a:pt x="38" y="38"/>
                  </a:cubicBezTo>
                  <a:cubicBezTo>
                    <a:pt x="39" y="39"/>
                    <a:pt x="39" y="40"/>
                    <a:pt x="39" y="41"/>
                  </a:cubicBezTo>
                  <a:cubicBezTo>
                    <a:pt x="40" y="45"/>
                    <a:pt x="38" y="44"/>
                    <a:pt x="41" y="45"/>
                  </a:cubicBezTo>
                  <a:cubicBezTo>
                    <a:pt x="44" y="46"/>
                    <a:pt x="46" y="44"/>
                    <a:pt x="49" y="43"/>
                  </a:cubicBezTo>
                  <a:cubicBezTo>
                    <a:pt x="49" y="42"/>
                    <a:pt x="50" y="41"/>
                    <a:pt x="50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39">
              <a:extLst>
                <a:ext uri="{FF2B5EF4-FFF2-40B4-BE49-F238E27FC236}">
                  <a16:creationId xmlns:a16="http://schemas.microsoft.com/office/drawing/2014/main" id="{4D034BFD-4FA1-49DB-A6A6-F73D0A177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72" y="1976219"/>
              <a:ext cx="0" cy="4492"/>
            </a:xfrm>
            <a:custGeom>
              <a:avLst/>
              <a:gdLst>
                <a:gd name="T0" fmla="*/ 0 h 2"/>
                <a:gd name="T1" fmla="*/ 1 h 2"/>
                <a:gd name="T2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40">
              <a:extLst>
                <a:ext uri="{FF2B5EF4-FFF2-40B4-BE49-F238E27FC236}">
                  <a16:creationId xmlns:a16="http://schemas.microsoft.com/office/drawing/2014/main" id="{4F9BBE43-C3BE-42AA-98C7-260542106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72" y="1976219"/>
              <a:ext cx="1123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41">
              <a:extLst>
                <a:ext uri="{FF2B5EF4-FFF2-40B4-BE49-F238E27FC236}">
                  <a16:creationId xmlns:a16="http://schemas.microsoft.com/office/drawing/2014/main" id="{B39835E1-FC2F-4009-840F-D1C0D6DB8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247" y="1832458"/>
              <a:ext cx="59526" cy="52787"/>
            </a:xfrm>
            <a:custGeom>
              <a:avLst/>
              <a:gdLst>
                <a:gd name="T0" fmla="*/ 9 w 28"/>
                <a:gd name="T1" fmla="*/ 23 h 25"/>
                <a:gd name="T2" fmla="*/ 15 w 28"/>
                <a:gd name="T3" fmla="*/ 23 h 25"/>
                <a:gd name="T4" fmla="*/ 21 w 28"/>
                <a:gd name="T5" fmla="*/ 24 h 25"/>
                <a:gd name="T6" fmla="*/ 24 w 28"/>
                <a:gd name="T7" fmla="*/ 17 h 25"/>
                <a:gd name="T8" fmla="*/ 28 w 28"/>
                <a:gd name="T9" fmla="*/ 9 h 25"/>
                <a:gd name="T10" fmla="*/ 23 w 28"/>
                <a:gd name="T11" fmla="*/ 1 h 25"/>
                <a:gd name="T12" fmla="*/ 14 w 28"/>
                <a:gd name="T13" fmla="*/ 5 h 25"/>
                <a:gd name="T14" fmla="*/ 5 w 28"/>
                <a:gd name="T15" fmla="*/ 5 h 25"/>
                <a:gd name="T16" fmla="*/ 0 w 28"/>
                <a:gd name="T17" fmla="*/ 12 h 25"/>
                <a:gd name="T18" fmla="*/ 2 w 28"/>
                <a:gd name="T19" fmla="*/ 12 h 25"/>
                <a:gd name="T20" fmla="*/ 9 w 28"/>
                <a:gd name="T21" fmla="*/ 2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5">
                  <a:moveTo>
                    <a:pt x="9" y="23"/>
                  </a:moveTo>
                  <a:cubicBezTo>
                    <a:pt x="11" y="23"/>
                    <a:pt x="13" y="22"/>
                    <a:pt x="15" y="23"/>
                  </a:cubicBezTo>
                  <a:cubicBezTo>
                    <a:pt x="17" y="24"/>
                    <a:pt x="19" y="25"/>
                    <a:pt x="21" y="24"/>
                  </a:cubicBezTo>
                  <a:cubicBezTo>
                    <a:pt x="22" y="20"/>
                    <a:pt x="22" y="19"/>
                    <a:pt x="24" y="17"/>
                  </a:cubicBezTo>
                  <a:cubicBezTo>
                    <a:pt x="25" y="15"/>
                    <a:pt x="28" y="12"/>
                    <a:pt x="28" y="9"/>
                  </a:cubicBezTo>
                  <a:cubicBezTo>
                    <a:pt x="28" y="6"/>
                    <a:pt x="24" y="2"/>
                    <a:pt x="23" y="1"/>
                  </a:cubicBezTo>
                  <a:cubicBezTo>
                    <a:pt x="19" y="0"/>
                    <a:pt x="17" y="4"/>
                    <a:pt x="14" y="5"/>
                  </a:cubicBezTo>
                  <a:cubicBezTo>
                    <a:pt x="11" y="6"/>
                    <a:pt x="8" y="5"/>
                    <a:pt x="5" y="5"/>
                  </a:cubicBezTo>
                  <a:cubicBezTo>
                    <a:pt x="2" y="6"/>
                    <a:pt x="1" y="8"/>
                    <a:pt x="0" y="12"/>
                  </a:cubicBezTo>
                  <a:cubicBezTo>
                    <a:pt x="1" y="12"/>
                    <a:pt x="2" y="12"/>
                    <a:pt x="2" y="12"/>
                  </a:cubicBezTo>
                  <a:cubicBezTo>
                    <a:pt x="3" y="17"/>
                    <a:pt x="5" y="21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42">
              <a:extLst>
                <a:ext uri="{FF2B5EF4-FFF2-40B4-BE49-F238E27FC236}">
                  <a16:creationId xmlns:a16="http://schemas.microsoft.com/office/drawing/2014/main" id="{C4A91177-E4E4-4453-9E85-24D78ADA9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240" y="2100888"/>
              <a:ext cx="44926" cy="56157"/>
            </a:xfrm>
            <a:custGeom>
              <a:avLst/>
              <a:gdLst>
                <a:gd name="T0" fmla="*/ 17 w 21"/>
                <a:gd name="T1" fmla="*/ 1 h 27"/>
                <a:gd name="T2" fmla="*/ 14 w 21"/>
                <a:gd name="T3" fmla="*/ 3 h 27"/>
                <a:gd name="T4" fmla="*/ 12 w 21"/>
                <a:gd name="T5" fmla="*/ 5 h 27"/>
                <a:gd name="T6" fmla="*/ 9 w 21"/>
                <a:gd name="T7" fmla="*/ 8 h 27"/>
                <a:gd name="T8" fmla="*/ 7 w 21"/>
                <a:gd name="T9" fmla="*/ 9 h 27"/>
                <a:gd name="T10" fmla="*/ 4 w 21"/>
                <a:gd name="T11" fmla="*/ 11 h 27"/>
                <a:gd name="T12" fmla="*/ 1 w 21"/>
                <a:gd name="T13" fmla="*/ 16 h 27"/>
                <a:gd name="T14" fmla="*/ 2 w 21"/>
                <a:gd name="T15" fmla="*/ 20 h 27"/>
                <a:gd name="T16" fmla="*/ 4 w 21"/>
                <a:gd name="T17" fmla="*/ 23 h 27"/>
                <a:gd name="T18" fmla="*/ 6 w 21"/>
                <a:gd name="T19" fmla="*/ 23 h 27"/>
                <a:gd name="T20" fmla="*/ 11 w 21"/>
                <a:gd name="T21" fmla="*/ 25 h 27"/>
                <a:gd name="T22" fmla="*/ 12 w 21"/>
                <a:gd name="T23" fmla="*/ 19 h 27"/>
                <a:gd name="T24" fmla="*/ 17 w 21"/>
                <a:gd name="T25" fmla="*/ 18 h 27"/>
                <a:gd name="T26" fmla="*/ 18 w 21"/>
                <a:gd name="T27" fmla="*/ 15 h 27"/>
                <a:gd name="T28" fmla="*/ 19 w 21"/>
                <a:gd name="T29" fmla="*/ 14 h 27"/>
                <a:gd name="T30" fmla="*/ 21 w 21"/>
                <a:gd name="T31" fmla="*/ 8 h 27"/>
                <a:gd name="T32" fmla="*/ 17 w 21"/>
                <a:gd name="T33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27">
                  <a:moveTo>
                    <a:pt x="17" y="1"/>
                  </a:moveTo>
                  <a:cubicBezTo>
                    <a:pt x="15" y="0"/>
                    <a:pt x="15" y="1"/>
                    <a:pt x="14" y="3"/>
                  </a:cubicBezTo>
                  <a:cubicBezTo>
                    <a:pt x="14" y="3"/>
                    <a:pt x="13" y="4"/>
                    <a:pt x="12" y="5"/>
                  </a:cubicBezTo>
                  <a:cubicBezTo>
                    <a:pt x="11" y="6"/>
                    <a:pt x="10" y="7"/>
                    <a:pt x="9" y="8"/>
                  </a:cubicBezTo>
                  <a:cubicBezTo>
                    <a:pt x="8" y="8"/>
                    <a:pt x="8" y="8"/>
                    <a:pt x="7" y="9"/>
                  </a:cubicBezTo>
                  <a:cubicBezTo>
                    <a:pt x="6" y="10"/>
                    <a:pt x="5" y="11"/>
                    <a:pt x="4" y="11"/>
                  </a:cubicBezTo>
                  <a:cubicBezTo>
                    <a:pt x="2" y="12"/>
                    <a:pt x="1" y="11"/>
                    <a:pt x="1" y="16"/>
                  </a:cubicBezTo>
                  <a:cubicBezTo>
                    <a:pt x="0" y="21"/>
                    <a:pt x="0" y="18"/>
                    <a:pt x="2" y="20"/>
                  </a:cubicBezTo>
                  <a:cubicBezTo>
                    <a:pt x="3" y="21"/>
                    <a:pt x="3" y="23"/>
                    <a:pt x="4" y="23"/>
                  </a:cubicBezTo>
                  <a:cubicBezTo>
                    <a:pt x="4" y="24"/>
                    <a:pt x="5" y="23"/>
                    <a:pt x="6" y="23"/>
                  </a:cubicBezTo>
                  <a:cubicBezTo>
                    <a:pt x="8" y="24"/>
                    <a:pt x="9" y="27"/>
                    <a:pt x="11" y="25"/>
                  </a:cubicBezTo>
                  <a:cubicBezTo>
                    <a:pt x="12" y="24"/>
                    <a:pt x="12" y="22"/>
                    <a:pt x="12" y="19"/>
                  </a:cubicBezTo>
                  <a:cubicBezTo>
                    <a:pt x="14" y="18"/>
                    <a:pt x="16" y="19"/>
                    <a:pt x="17" y="18"/>
                  </a:cubicBezTo>
                  <a:cubicBezTo>
                    <a:pt x="18" y="17"/>
                    <a:pt x="18" y="16"/>
                    <a:pt x="18" y="15"/>
                  </a:cubicBezTo>
                  <a:cubicBezTo>
                    <a:pt x="18" y="15"/>
                    <a:pt x="19" y="15"/>
                    <a:pt x="19" y="14"/>
                  </a:cubicBezTo>
                  <a:cubicBezTo>
                    <a:pt x="19" y="11"/>
                    <a:pt x="21" y="11"/>
                    <a:pt x="21" y="8"/>
                  </a:cubicBezTo>
                  <a:cubicBezTo>
                    <a:pt x="20" y="8"/>
                    <a:pt x="18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43">
              <a:extLst>
                <a:ext uri="{FF2B5EF4-FFF2-40B4-BE49-F238E27FC236}">
                  <a16:creationId xmlns:a16="http://schemas.microsoft.com/office/drawing/2014/main" id="{29E486F3-2E17-42B6-8F46-5F32084E9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629" y="2104257"/>
              <a:ext cx="28078" cy="55034"/>
            </a:xfrm>
            <a:custGeom>
              <a:avLst/>
              <a:gdLst>
                <a:gd name="T0" fmla="*/ 9 w 13"/>
                <a:gd name="T1" fmla="*/ 5 h 26"/>
                <a:gd name="T2" fmla="*/ 7 w 13"/>
                <a:gd name="T3" fmla="*/ 7 h 26"/>
                <a:gd name="T4" fmla="*/ 6 w 13"/>
                <a:gd name="T5" fmla="*/ 12 h 26"/>
                <a:gd name="T6" fmla="*/ 4 w 13"/>
                <a:gd name="T7" fmla="*/ 15 h 26"/>
                <a:gd name="T8" fmla="*/ 3 w 13"/>
                <a:gd name="T9" fmla="*/ 16 h 26"/>
                <a:gd name="T10" fmla="*/ 2 w 13"/>
                <a:gd name="T11" fmla="*/ 17 h 26"/>
                <a:gd name="T12" fmla="*/ 2 w 13"/>
                <a:gd name="T13" fmla="*/ 19 h 26"/>
                <a:gd name="T14" fmla="*/ 1 w 13"/>
                <a:gd name="T15" fmla="*/ 20 h 26"/>
                <a:gd name="T16" fmla="*/ 0 w 13"/>
                <a:gd name="T17" fmla="*/ 24 h 26"/>
                <a:gd name="T18" fmla="*/ 3 w 13"/>
                <a:gd name="T19" fmla="*/ 25 h 26"/>
                <a:gd name="T20" fmla="*/ 5 w 13"/>
                <a:gd name="T21" fmla="*/ 24 h 26"/>
                <a:gd name="T22" fmla="*/ 8 w 13"/>
                <a:gd name="T23" fmla="*/ 20 h 26"/>
                <a:gd name="T24" fmla="*/ 9 w 13"/>
                <a:gd name="T25" fmla="*/ 16 h 26"/>
                <a:gd name="T26" fmla="*/ 11 w 13"/>
                <a:gd name="T27" fmla="*/ 14 h 26"/>
                <a:gd name="T28" fmla="*/ 12 w 13"/>
                <a:gd name="T29" fmla="*/ 11 h 26"/>
                <a:gd name="T30" fmla="*/ 11 w 13"/>
                <a:gd name="T31" fmla="*/ 3 h 26"/>
                <a:gd name="T32" fmla="*/ 13 w 13"/>
                <a:gd name="T33" fmla="*/ 1 h 26"/>
                <a:gd name="T34" fmla="*/ 9 w 13"/>
                <a:gd name="T35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" h="26">
                  <a:moveTo>
                    <a:pt x="9" y="5"/>
                  </a:moveTo>
                  <a:cubicBezTo>
                    <a:pt x="8" y="6"/>
                    <a:pt x="8" y="7"/>
                    <a:pt x="7" y="7"/>
                  </a:cubicBezTo>
                  <a:cubicBezTo>
                    <a:pt x="6" y="9"/>
                    <a:pt x="6" y="9"/>
                    <a:pt x="6" y="12"/>
                  </a:cubicBezTo>
                  <a:cubicBezTo>
                    <a:pt x="5" y="14"/>
                    <a:pt x="5" y="14"/>
                    <a:pt x="4" y="15"/>
                  </a:cubicBezTo>
                  <a:cubicBezTo>
                    <a:pt x="4" y="15"/>
                    <a:pt x="4" y="16"/>
                    <a:pt x="3" y="16"/>
                  </a:cubicBezTo>
                  <a:cubicBezTo>
                    <a:pt x="3" y="17"/>
                    <a:pt x="2" y="17"/>
                    <a:pt x="2" y="17"/>
                  </a:cubicBezTo>
                  <a:cubicBezTo>
                    <a:pt x="2" y="18"/>
                    <a:pt x="2" y="18"/>
                    <a:pt x="2" y="19"/>
                  </a:cubicBezTo>
                  <a:cubicBezTo>
                    <a:pt x="2" y="19"/>
                    <a:pt x="1" y="20"/>
                    <a:pt x="1" y="20"/>
                  </a:cubicBezTo>
                  <a:cubicBezTo>
                    <a:pt x="1" y="21"/>
                    <a:pt x="0" y="23"/>
                    <a:pt x="0" y="24"/>
                  </a:cubicBezTo>
                  <a:cubicBezTo>
                    <a:pt x="0" y="26"/>
                    <a:pt x="2" y="25"/>
                    <a:pt x="3" y="25"/>
                  </a:cubicBezTo>
                  <a:cubicBezTo>
                    <a:pt x="4" y="25"/>
                    <a:pt x="4" y="25"/>
                    <a:pt x="5" y="24"/>
                  </a:cubicBezTo>
                  <a:cubicBezTo>
                    <a:pt x="6" y="23"/>
                    <a:pt x="8" y="22"/>
                    <a:pt x="8" y="20"/>
                  </a:cubicBezTo>
                  <a:cubicBezTo>
                    <a:pt x="9" y="19"/>
                    <a:pt x="9" y="18"/>
                    <a:pt x="9" y="16"/>
                  </a:cubicBezTo>
                  <a:cubicBezTo>
                    <a:pt x="9" y="15"/>
                    <a:pt x="10" y="14"/>
                    <a:pt x="11" y="14"/>
                  </a:cubicBezTo>
                  <a:cubicBezTo>
                    <a:pt x="11" y="12"/>
                    <a:pt x="12" y="13"/>
                    <a:pt x="12" y="11"/>
                  </a:cubicBezTo>
                  <a:cubicBezTo>
                    <a:pt x="13" y="9"/>
                    <a:pt x="13" y="2"/>
                    <a:pt x="11" y="3"/>
                  </a:cubicBezTo>
                  <a:cubicBezTo>
                    <a:pt x="11" y="3"/>
                    <a:pt x="13" y="0"/>
                    <a:pt x="13" y="1"/>
                  </a:cubicBezTo>
                  <a:cubicBezTo>
                    <a:pt x="12" y="0"/>
                    <a:pt x="10" y="4"/>
                    <a:pt x="9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44">
              <a:extLst>
                <a:ext uri="{FF2B5EF4-FFF2-40B4-BE49-F238E27FC236}">
                  <a16:creationId xmlns:a16="http://schemas.microsoft.com/office/drawing/2014/main" id="{9E763756-C16F-45BC-849D-CADB863C2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4827" y="2511958"/>
              <a:ext cx="38186" cy="56157"/>
            </a:xfrm>
            <a:custGeom>
              <a:avLst/>
              <a:gdLst>
                <a:gd name="T0" fmla="*/ 13 w 18"/>
                <a:gd name="T1" fmla="*/ 3 h 27"/>
                <a:gd name="T2" fmla="*/ 14 w 18"/>
                <a:gd name="T3" fmla="*/ 0 h 27"/>
                <a:gd name="T4" fmla="*/ 10 w 18"/>
                <a:gd name="T5" fmla="*/ 0 h 27"/>
                <a:gd name="T6" fmla="*/ 8 w 18"/>
                <a:gd name="T7" fmla="*/ 2 h 27"/>
                <a:gd name="T8" fmla="*/ 6 w 18"/>
                <a:gd name="T9" fmla="*/ 5 h 27"/>
                <a:gd name="T10" fmla="*/ 5 w 18"/>
                <a:gd name="T11" fmla="*/ 8 h 27"/>
                <a:gd name="T12" fmla="*/ 1 w 18"/>
                <a:gd name="T13" fmla="*/ 13 h 27"/>
                <a:gd name="T14" fmla="*/ 5 w 18"/>
                <a:gd name="T15" fmla="*/ 18 h 27"/>
                <a:gd name="T16" fmla="*/ 6 w 18"/>
                <a:gd name="T17" fmla="*/ 20 h 27"/>
                <a:gd name="T18" fmla="*/ 14 w 18"/>
                <a:gd name="T19" fmla="*/ 27 h 27"/>
                <a:gd name="T20" fmla="*/ 14 w 18"/>
                <a:gd name="T21" fmla="*/ 16 h 27"/>
                <a:gd name="T22" fmla="*/ 18 w 18"/>
                <a:gd name="T23" fmla="*/ 15 h 27"/>
                <a:gd name="T24" fmla="*/ 18 w 18"/>
                <a:gd name="T25" fmla="*/ 8 h 27"/>
                <a:gd name="T26" fmla="*/ 13 w 18"/>
                <a:gd name="T27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27">
                  <a:moveTo>
                    <a:pt x="13" y="3"/>
                  </a:moveTo>
                  <a:cubicBezTo>
                    <a:pt x="14" y="3"/>
                    <a:pt x="14" y="0"/>
                    <a:pt x="14" y="0"/>
                  </a:cubicBezTo>
                  <a:cubicBezTo>
                    <a:pt x="13" y="0"/>
                    <a:pt x="12" y="0"/>
                    <a:pt x="10" y="0"/>
                  </a:cubicBezTo>
                  <a:cubicBezTo>
                    <a:pt x="8" y="1"/>
                    <a:pt x="9" y="0"/>
                    <a:pt x="8" y="2"/>
                  </a:cubicBezTo>
                  <a:cubicBezTo>
                    <a:pt x="7" y="3"/>
                    <a:pt x="7" y="4"/>
                    <a:pt x="6" y="5"/>
                  </a:cubicBezTo>
                  <a:cubicBezTo>
                    <a:pt x="6" y="6"/>
                    <a:pt x="6" y="7"/>
                    <a:pt x="5" y="8"/>
                  </a:cubicBezTo>
                  <a:cubicBezTo>
                    <a:pt x="4" y="10"/>
                    <a:pt x="1" y="11"/>
                    <a:pt x="1" y="13"/>
                  </a:cubicBezTo>
                  <a:cubicBezTo>
                    <a:pt x="0" y="17"/>
                    <a:pt x="2" y="18"/>
                    <a:pt x="5" y="18"/>
                  </a:cubicBezTo>
                  <a:cubicBezTo>
                    <a:pt x="5" y="19"/>
                    <a:pt x="5" y="19"/>
                    <a:pt x="6" y="20"/>
                  </a:cubicBezTo>
                  <a:cubicBezTo>
                    <a:pt x="10" y="20"/>
                    <a:pt x="10" y="27"/>
                    <a:pt x="14" y="27"/>
                  </a:cubicBezTo>
                  <a:cubicBezTo>
                    <a:pt x="15" y="23"/>
                    <a:pt x="13" y="19"/>
                    <a:pt x="14" y="16"/>
                  </a:cubicBezTo>
                  <a:cubicBezTo>
                    <a:pt x="16" y="16"/>
                    <a:pt x="17" y="15"/>
                    <a:pt x="18" y="15"/>
                  </a:cubicBezTo>
                  <a:cubicBezTo>
                    <a:pt x="18" y="13"/>
                    <a:pt x="18" y="10"/>
                    <a:pt x="18" y="8"/>
                  </a:cubicBezTo>
                  <a:cubicBezTo>
                    <a:pt x="17" y="6"/>
                    <a:pt x="15" y="2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45">
              <a:extLst>
                <a:ext uri="{FF2B5EF4-FFF2-40B4-BE49-F238E27FC236}">
                  <a16:creationId xmlns:a16="http://schemas.microsoft.com/office/drawing/2014/main" id="{530B497A-3F9E-4E3D-9CCE-32CE01A9E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4178" y="2665828"/>
              <a:ext cx="97713" cy="88729"/>
            </a:xfrm>
            <a:custGeom>
              <a:avLst/>
              <a:gdLst>
                <a:gd name="T0" fmla="*/ 34 w 46"/>
                <a:gd name="T1" fmla="*/ 41 h 42"/>
                <a:gd name="T2" fmla="*/ 39 w 46"/>
                <a:gd name="T3" fmla="*/ 40 h 42"/>
                <a:gd name="T4" fmla="*/ 46 w 46"/>
                <a:gd name="T5" fmla="*/ 39 h 42"/>
                <a:gd name="T6" fmla="*/ 40 w 46"/>
                <a:gd name="T7" fmla="*/ 31 h 42"/>
                <a:gd name="T8" fmla="*/ 33 w 46"/>
                <a:gd name="T9" fmla="*/ 29 h 42"/>
                <a:gd name="T10" fmla="*/ 31 w 46"/>
                <a:gd name="T11" fmla="*/ 22 h 42"/>
                <a:gd name="T12" fmla="*/ 24 w 46"/>
                <a:gd name="T13" fmla="*/ 19 h 42"/>
                <a:gd name="T14" fmla="*/ 22 w 46"/>
                <a:gd name="T15" fmla="*/ 17 h 42"/>
                <a:gd name="T16" fmla="*/ 19 w 46"/>
                <a:gd name="T17" fmla="*/ 13 h 42"/>
                <a:gd name="T18" fmla="*/ 16 w 46"/>
                <a:gd name="T19" fmla="*/ 12 h 42"/>
                <a:gd name="T20" fmla="*/ 15 w 46"/>
                <a:gd name="T21" fmla="*/ 7 h 42"/>
                <a:gd name="T22" fmla="*/ 11 w 46"/>
                <a:gd name="T23" fmla="*/ 4 h 42"/>
                <a:gd name="T24" fmla="*/ 12 w 46"/>
                <a:gd name="T25" fmla="*/ 3 h 42"/>
                <a:gd name="T26" fmla="*/ 4 w 46"/>
                <a:gd name="T27" fmla="*/ 3 h 42"/>
                <a:gd name="T28" fmla="*/ 0 w 46"/>
                <a:gd name="T29" fmla="*/ 10 h 42"/>
                <a:gd name="T30" fmla="*/ 4 w 46"/>
                <a:gd name="T31" fmla="*/ 17 h 42"/>
                <a:gd name="T32" fmla="*/ 11 w 46"/>
                <a:gd name="T33" fmla="*/ 19 h 42"/>
                <a:gd name="T34" fmla="*/ 16 w 46"/>
                <a:gd name="T35" fmla="*/ 29 h 42"/>
                <a:gd name="T36" fmla="*/ 17 w 46"/>
                <a:gd name="T37" fmla="*/ 32 h 42"/>
                <a:gd name="T38" fmla="*/ 22 w 46"/>
                <a:gd name="T39" fmla="*/ 32 h 42"/>
                <a:gd name="T40" fmla="*/ 23 w 46"/>
                <a:gd name="T41" fmla="*/ 39 h 42"/>
                <a:gd name="T42" fmla="*/ 34 w 46"/>
                <a:gd name="T43" fmla="*/ 4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42">
                  <a:moveTo>
                    <a:pt x="34" y="41"/>
                  </a:moveTo>
                  <a:cubicBezTo>
                    <a:pt x="36" y="41"/>
                    <a:pt x="37" y="40"/>
                    <a:pt x="39" y="40"/>
                  </a:cubicBezTo>
                  <a:cubicBezTo>
                    <a:pt x="41" y="39"/>
                    <a:pt x="44" y="40"/>
                    <a:pt x="46" y="39"/>
                  </a:cubicBezTo>
                  <a:cubicBezTo>
                    <a:pt x="45" y="35"/>
                    <a:pt x="41" y="36"/>
                    <a:pt x="40" y="31"/>
                  </a:cubicBezTo>
                  <a:cubicBezTo>
                    <a:pt x="38" y="31"/>
                    <a:pt x="36" y="29"/>
                    <a:pt x="33" y="29"/>
                  </a:cubicBezTo>
                  <a:cubicBezTo>
                    <a:pt x="33" y="25"/>
                    <a:pt x="33" y="24"/>
                    <a:pt x="31" y="22"/>
                  </a:cubicBezTo>
                  <a:cubicBezTo>
                    <a:pt x="28" y="18"/>
                    <a:pt x="28" y="19"/>
                    <a:pt x="24" y="19"/>
                  </a:cubicBezTo>
                  <a:cubicBezTo>
                    <a:pt x="22" y="18"/>
                    <a:pt x="23" y="19"/>
                    <a:pt x="22" y="17"/>
                  </a:cubicBezTo>
                  <a:cubicBezTo>
                    <a:pt x="21" y="15"/>
                    <a:pt x="21" y="14"/>
                    <a:pt x="19" y="13"/>
                  </a:cubicBezTo>
                  <a:cubicBezTo>
                    <a:pt x="18" y="12"/>
                    <a:pt x="18" y="14"/>
                    <a:pt x="16" y="12"/>
                  </a:cubicBezTo>
                  <a:cubicBezTo>
                    <a:pt x="15" y="10"/>
                    <a:pt x="15" y="9"/>
                    <a:pt x="15" y="7"/>
                  </a:cubicBezTo>
                  <a:cubicBezTo>
                    <a:pt x="13" y="6"/>
                    <a:pt x="13" y="4"/>
                    <a:pt x="11" y="4"/>
                  </a:cubicBezTo>
                  <a:cubicBezTo>
                    <a:pt x="12" y="4"/>
                    <a:pt x="12" y="0"/>
                    <a:pt x="12" y="3"/>
                  </a:cubicBezTo>
                  <a:cubicBezTo>
                    <a:pt x="9" y="3"/>
                    <a:pt x="6" y="2"/>
                    <a:pt x="4" y="3"/>
                  </a:cubicBezTo>
                  <a:cubicBezTo>
                    <a:pt x="1" y="4"/>
                    <a:pt x="0" y="6"/>
                    <a:pt x="0" y="10"/>
                  </a:cubicBezTo>
                  <a:cubicBezTo>
                    <a:pt x="0" y="15"/>
                    <a:pt x="1" y="15"/>
                    <a:pt x="4" y="17"/>
                  </a:cubicBezTo>
                  <a:cubicBezTo>
                    <a:pt x="6" y="18"/>
                    <a:pt x="9" y="18"/>
                    <a:pt x="11" y="19"/>
                  </a:cubicBezTo>
                  <a:cubicBezTo>
                    <a:pt x="12" y="23"/>
                    <a:pt x="13" y="29"/>
                    <a:pt x="16" y="29"/>
                  </a:cubicBezTo>
                  <a:cubicBezTo>
                    <a:pt x="17" y="30"/>
                    <a:pt x="17" y="31"/>
                    <a:pt x="17" y="32"/>
                  </a:cubicBezTo>
                  <a:cubicBezTo>
                    <a:pt x="18" y="33"/>
                    <a:pt x="21" y="32"/>
                    <a:pt x="22" y="32"/>
                  </a:cubicBezTo>
                  <a:cubicBezTo>
                    <a:pt x="24" y="34"/>
                    <a:pt x="23" y="37"/>
                    <a:pt x="23" y="39"/>
                  </a:cubicBezTo>
                  <a:cubicBezTo>
                    <a:pt x="27" y="40"/>
                    <a:pt x="30" y="42"/>
                    <a:pt x="3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46">
              <a:extLst>
                <a:ext uri="{FF2B5EF4-FFF2-40B4-BE49-F238E27FC236}">
                  <a16:creationId xmlns:a16="http://schemas.microsoft.com/office/drawing/2014/main" id="{55EA2DF0-2757-4E47-8CCE-43B868258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591" y="1111403"/>
              <a:ext cx="178579" cy="170716"/>
            </a:xfrm>
            <a:custGeom>
              <a:avLst/>
              <a:gdLst>
                <a:gd name="T0" fmla="*/ 4 w 85"/>
                <a:gd name="T1" fmla="*/ 37 h 81"/>
                <a:gd name="T2" fmla="*/ 11 w 85"/>
                <a:gd name="T3" fmla="*/ 45 h 81"/>
                <a:gd name="T4" fmla="*/ 16 w 85"/>
                <a:gd name="T5" fmla="*/ 52 h 81"/>
                <a:gd name="T6" fmla="*/ 17 w 85"/>
                <a:gd name="T7" fmla="*/ 54 h 81"/>
                <a:gd name="T8" fmla="*/ 17 w 85"/>
                <a:gd name="T9" fmla="*/ 58 h 81"/>
                <a:gd name="T10" fmla="*/ 20 w 85"/>
                <a:gd name="T11" fmla="*/ 62 h 81"/>
                <a:gd name="T12" fmla="*/ 26 w 85"/>
                <a:gd name="T13" fmla="*/ 64 h 81"/>
                <a:gd name="T14" fmla="*/ 31 w 85"/>
                <a:gd name="T15" fmla="*/ 67 h 81"/>
                <a:gd name="T16" fmla="*/ 32 w 85"/>
                <a:gd name="T17" fmla="*/ 72 h 81"/>
                <a:gd name="T18" fmla="*/ 39 w 85"/>
                <a:gd name="T19" fmla="*/ 75 h 81"/>
                <a:gd name="T20" fmla="*/ 41 w 85"/>
                <a:gd name="T21" fmla="*/ 81 h 81"/>
                <a:gd name="T22" fmla="*/ 46 w 85"/>
                <a:gd name="T23" fmla="*/ 77 h 81"/>
                <a:gd name="T24" fmla="*/ 48 w 85"/>
                <a:gd name="T25" fmla="*/ 75 h 81"/>
                <a:gd name="T26" fmla="*/ 50 w 85"/>
                <a:gd name="T27" fmla="*/ 75 h 81"/>
                <a:gd name="T28" fmla="*/ 54 w 85"/>
                <a:gd name="T29" fmla="*/ 73 h 81"/>
                <a:gd name="T30" fmla="*/ 57 w 85"/>
                <a:gd name="T31" fmla="*/ 63 h 81"/>
                <a:gd name="T32" fmla="*/ 63 w 85"/>
                <a:gd name="T33" fmla="*/ 61 h 81"/>
                <a:gd name="T34" fmla="*/ 72 w 85"/>
                <a:gd name="T35" fmla="*/ 61 h 81"/>
                <a:gd name="T36" fmla="*/ 83 w 85"/>
                <a:gd name="T37" fmla="*/ 53 h 81"/>
                <a:gd name="T38" fmla="*/ 85 w 85"/>
                <a:gd name="T39" fmla="*/ 52 h 81"/>
                <a:gd name="T40" fmla="*/ 83 w 85"/>
                <a:gd name="T41" fmla="*/ 51 h 81"/>
                <a:gd name="T42" fmla="*/ 82 w 85"/>
                <a:gd name="T43" fmla="*/ 51 h 81"/>
                <a:gd name="T44" fmla="*/ 74 w 85"/>
                <a:gd name="T45" fmla="*/ 47 h 81"/>
                <a:gd name="T46" fmla="*/ 74 w 85"/>
                <a:gd name="T47" fmla="*/ 35 h 81"/>
                <a:gd name="T48" fmla="*/ 70 w 85"/>
                <a:gd name="T49" fmla="*/ 34 h 81"/>
                <a:gd name="T50" fmla="*/ 65 w 85"/>
                <a:gd name="T51" fmla="*/ 32 h 81"/>
                <a:gd name="T52" fmla="*/ 63 w 85"/>
                <a:gd name="T53" fmla="*/ 28 h 81"/>
                <a:gd name="T54" fmla="*/ 60 w 85"/>
                <a:gd name="T55" fmla="*/ 28 h 81"/>
                <a:gd name="T56" fmla="*/ 57 w 85"/>
                <a:gd name="T57" fmla="*/ 27 h 81"/>
                <a:gd name="T58" fmla="*/ 50 w 85"/>
                <a:gd name="T59" fmla="*/ 21 h 81"/>
                <a:gd name="T60" fmla="*/ 46 w 85"/>
                <a:gd name="T61" fmla="*/ 11 h 81"/>
                <a:gd name="T62" fmla="*/ 39 w 85"/>
                <a:gd name="T63" fmla="*/ 7 h 81"/>
                <a:gd name="T64" fmla="*/ 30 w 85"/>
                <a:gd name="T65" fmla="*/ 2 h 81"/>
                <a:gd name="T66" fmla="*/ 19 w 85"/>
                <a:gd name="T67" fmla="*/ 2 h 81"/>
                <a:gd name="T68" fmla="*/ 16 w 85"/>
                <a:gd name="T69" fmla="*/ 6 h 81"/>
                <a:gd name="T70" fmla="*/ 15 w 85"/>
                <a:gd name="T71" fmla="*/ 14 h 81"/>
                <a:gd name="T72" fmla="*/ 11 w 85"/>
                <a:gd name="T73" fmla="*/ 23 h 81"/>
                <a:gd name="T74" fmla="*/ 8 w 85"/>
                <a:gd name="T75" fmla="*/ 25 h 81"/>
                <a:gd name="T76" fmla="*/ 6 w 85"/>
                <a:gd name="T77" fmla="*/ 26 h 81"/>
                <a:gd name="T78" fmla="*/ 2 w 85"/>
                <a:gd name="T79" fmla="*/ 27 h 81"/>
                <a:gd name="T80" fmla="*/ 1 w 85"/>
                <a:gd name="T81" fmla="*/ 31 h 81"/>
                <a:gd name="T82" fmla="*/ 4 w 85"/>
                <a:gd name="T83" fmla="*/ 3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5" h="81">
                  <a:moveTo>
                    <a:pt x="4" y="37"/>
                  </a:moveTo>
                  <a:cubicBezTo>
                    <a:pt x="6" y="38"/>
                    <a:pt x="11" y="39"/>
                    <a:pt x="11" y="45"/>
                  </a:cubicBezTo>
                  <a:cubicBezTo>
                    <a:pt x="15" y="46"/>
                    <a:pt x="16" y="47"/>
                    <a:pt x="16" y="52"/>
                  </a:cubicBezTo>
                  <a:cubicBezTo>
                    <a:pt x="17" y="53"/>
                    <a:pt x="17" y="53"/>
                    <a:pt x="17" y="54"/>
                  </a:cubicBezTo>
                  <a:cubicBezTo>
                    <a:pt x="17" y="55"/>
                    <a:pt x="17" y="57"/>
                    <a:pt x="17" y="58"/>
                  </a:cubicBezTo>
                  <a:cubicBezTo>
                    <a:pt x="18" y="61"/>
                    <a:pt x="17" y="60"/>
                    <a:pt x="20" y="62"/>
                  </a:cubicBezTo>
                  <a:cubicBezTo>
                    <a:pt x="22" y="63"/>
                    <a:pt x="24" y="63"/>
                    <a:pt x="26" y="64"/>
                  </a:cubicBezTo>
                  <a:cubicBezTo>
                    <a:pt x="28" y="65"/>
                    <a:pt x="30" y="66"/>
                    <a:pt x="31" y="67"/>
                  </a:cubicBezTo>
                  <a:cubicBezTo>
                    <a:pt x="32" y="68"/>
                    <a:pt x="32" y="71"/>
                    <a:pt x="32" y="72"/>
                  </a:cubicBezTo>
                  <a:cubicBezTo>
                    <a:pt x="34" y="75"/>
                    <a:pt x="37" y="72"/>
                    <a:pt x="39" y="75"/>
                  </a:cubicBezTo>
                  <a:cubicBezTo>
                    <a:pt x="40" y="77"/>
                    <a:pt x="39" y="80"/>
                    <a:pt x="41" y="81"/>
                  </a:cubicBezTo>
                  <a:cubicBezTo>
                    <a:pt x="43" y="81"/>
                    <a:pt x="45" y="78"/>
                    <a:pt x="46" y="77"/>
                  </a:cubicBezTo>
                  <a:cubicBezTo>
                    <a:pt x="46" y="76"/>
                    <a:pt x="47" y="75"/>
                    <a:pt x="48" y="75"/>
                  </a:cubicBezTo>
                  <a:cubicBezTo>
                    <a:pt x="48" y="75"/>
                    <a:pt x="49" y="75"/>
                    <a:pt x="50" y="75"/>
                  </a:cubicBezTo>
                  <a:cubicBezTo>
                    <a:pt x="51" y="75"/>
                    <a:pt x="53" y="74"/>
                    <a:pt x="54" y="73"/>
                  </a:cubicBezTo>
                  <a:cubicBezTo>
                    <a:pt x="56" y="71"/>
                    <a:pt x="56" y="67"/>
                    <a:pt x="57" y="63"/>
                  </a:cubicBezTo>
                  <a:cubicBezTo>
                    <a:pt x="59" y="63"/>
                    <a:pt x="60" y="61"/>
                    <a:pt x="63" y="61"/>
                  </a:cubicBezTo>
                  <a:cubicBezTo>
                    <a:pt x="66" y="61"/>
                    <a:pt x="69" y="61"/>
                    <a:pt x="72" y="61"/>
                  </a:cubicBezTo>
                  <a:cubicBezTo>
                    <a:pt x="78" y="61"/>
                    <a:pt x="82" y="62"/>
                    <a:pt x="83" y="53"/>
                  </a:cubicBezTo>
                  <a:cubicBezTo>
                    <a:pt x="84" y="53"/>
                    <a:pt x="85" y="52"/>
                    <a:pt x="85" y="52"/>
                  </a:cubicBezTo>
                  <a:cubicBezTo>
                    <a:pt x="85" y="51"/>
                    <a:pt x="84" y="50"/>
                    <a:pt x="83" y="51"/>
                  </a:cubicBezTo>
                  <a:cubicBezTo>
                    <a:pt x="85" y="50"/>
                    <a:pt x="81" y="49"/>
                    <a:pt x="82" y="51"/>
                  </a:cubicBezTo>
                  <a:cubicBezTo>
                    <a:pt x="79" y="51"/>
                    <a:pt x="75" y="52"/>
                    <a:pt x="74" y="47"/>
                  </a:cubicBezTo>
                  <a:cubicBezTo>
                    <a:pt x="73" y="43"/>
                    <a:pt x="75" y="39"/>
                    <a:pt x="74" y="35"/>
                  </a:cubicBezTo>
                  <a:cubicBezTo>
                    <a:pt x="72" y="35"/>
                    <a:pt x="71" y="34"/>
                    <a:pt x="70" y="34"/>
                  </a:cubicBezTo>
                  <a:cubicBezTo>
                    <a:pt x="68" y="33"/>
                    <a:pt x="66" y="34"/>
                    <a:pt x="65" y="32"/>
                  </a:cubicBezTo>
                  <a:cubicBezTo>
                    <a:pt x="64" y="30"/>
                    <a:pt x="64" y="29"/>
                    <a:pt x="63" y="28"/>
                  </a:cubicBezTo>
                  <a:cubicBezTo>
                    <a:pt x="62" y="28"/>
                    <a:pt x="61" y="28"/>
                    <a:pt x="60" y="28"/>
                  </a:cubicBezTo>
                  <a:cubicBezTo>
                    <a:pt x="59" y="28"/>
                    <a:pt x="59" y="27"/>
                    <a:pt x="57" y="27"/>
                  </a:cubicBezTo>
                  <a:cubicBezTo>
                    <a:pt x="55" y="25"/>
                    <a:pt x="52" y="23"/>
                    <a:pt x="50" y="21"/>
                  </a:cubicBezTo>
                  <a:cubicBezTo>
                    <a:pt x="49" y="19"/>
                    <a:pt x="46" y="14"/>
                    <a:pt x="46" y="11"/>
                  </a:cubicBezTo>
                  <a:cubicBezTo>
                    <a:pt x="43" y="10"/>
                    <a:pt x="42" y="8"/>
                    <a:pt x="39" y="7"/>
                  </a:cubicBezTo>
                  <a:cubicBezTo>
                    <a:pt x="36" y="5"/>
                    <a:pt x="33" y="2"/>
                    <a:pt x="30" y="2"/>
                  </a:cubicBezTo>
                  <a:cubicBezTo>
                    <a:pt x="28" y="1"/>
                    <a:pt x="21" y="0"/>
                    <a:pt x="19" y="2"/>
                  </a:cubicBezTo>
                  <a:cubicBezTo>
                    <a:pt x="18" y="2"/>
                    <a:pt x="17" y="4"/>
                    <a:pt x="16" y="6"/>
                  </a:cubicBezTo>
                  <a:cubicBezTo>
                    <a:pt x="15" y="9"/>
                    <a:pt x="15" y="10"/>
                    <a:pt x="15" y="14"/>
                  </a:cubicBezTo>
                  <a:cubicBezTo>
                    <a:pt x="15" y="19"/>
                    <a:pt x="15" y="21"/>
                    <a:pt x="11" y="23"/>
                  </a:cubicBezTo>
                  <a:cubicBezTo>
                    <a:pt x="10" y="24"/>
                    <a:pt x="9" y="24"/>
                    <a:pt x="8" y="25"/>
                  </a:cubicBezTo>
                  <a:cubicBezTo>
                    <a:pt x="7" y="26"/>
                    <a:pt x="7" y="26"/>
                    <a:pt x="6" y="26"/>
                  </a:cubicBezTo>
                  <a:cubicBezTo>
                    <a:pt x="5" y="27"/>
                    <a:pt x="4" y="26"/>
                    <a:pt x="2" y="27"/>
                  </a:cubicBezTo>
                  <a:cubicBezTo>
                    <a:pt x="1" y="28"/>
                    <a:pt x="1" y="29"/>
                    <a:pt x="1" y="31"/>
                  </a:cubicBezTo>
                  <a:cubicBezTo>
                    <a:pt x="0" y="36"/>
                    <a:pt x="1" y="35"/>
                    <a:pt x="4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47">
              <a:extLst>
                <a:ext uri="{FF2B5EF4-FFF2-40B4-BE49-F238E27FC236}">
                  <a16:creationId xmlns:a16="http://schemas.microsoft.com/office/drawing/2014/main" id="{6456F39F-492E-4585-8143-07B66F909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842" y="1039522"/>
              <a:ext cx="507657" cy="369512"/>
            </a:xfrm>
            <a:custGeom>
              <a:avLst/>
              <a:gdLst>
                <a:gd name="T0" fmla="*/ 166 w 240"/>
                <a:gd name="T1" fmla="*/ 74 h 175"/>
                <a:gd name="T2" fmla="*/ 178 w 240"/>
                <a:gd name="T3" fmla="*/ 71 h 175"/>
                <a:gd name="T4" fmla="*/ 190 w 240"/>
                <a:gd name="T5" fmla="*/ 60 h 175"/>
                <a:gd name="T6" fmla="*/ 219 w 240"/>
                <a:gd name="T7" fmla="*/ 43 h 175"/>
                <a:gd name="T8" fmla="*/ 231 w 240"/>
                <a:gd name="T9" fmla="*/ 37 h 175"/>
                <a:gd name="T10" fmla="*/ 240 w 240"/>
                <a:gd name="T11" fmla="*/ 25 h 175"/>
                <a:gd name="T12" fmla="*/ 220 w 240"/>
                <a:gd name="T13" fmla="*/ 19 h 175"/>
                <a:gd name="T14" fmla="*/ 183 w 240"/>
                <a:gd name="T15" fmla="*/ 8 h 175"/>
                <a:gd name="T16" fmla="*/ 157 w 240"/>
                <a:gd name="T17" fmla="*/ 1 h 175"/>
                <a:gd name="T18" fmla="*/ 139 w 240"/>
                <a:gd name="T19" fmla="*/ 7 h 175"/>
                <a:gd name="T20" fmla="*/ 114 w 240"/>
                <a:gd name="T21" fmla="*/ 15 h 175"/>
                <a:gd name="T22" fmla="*/ 102 w 240"/>
                <a:gd name="T23" fmla="*/ 20 h 175"/>
                <a:gd name="T24" fmla="*/ 84 w 240"/>
                <a:gd name="T25" fmla="*/ 16 h 175"/>
                <a:gd name="T26" fmla="*/ 65 w 240"/>
                <a:gd name="T27" fmla="*/ 15 h 175"/>
                <a:gd name="T28" fmla="*/ 53 w 240"/>
                <a:gd name="T29" fmla="*/ 25 h 175"/>
                <a:gd name="T30" fmla="*/ 34 w 240"/>
                <a:gd name="T31" fmla="*/ 20 h 175"/>
                <a:gd name="T32" fmla="*/ 25 w 240"/>
                <a:gd name="T33" fmla="*/ 31 h 175"/>
                <a:gd name="T34" fmla="*/ 41 w 240"/>
                <a:gd name="T35" fmla="*/ 48 h 175"/>
                <a:gd name="T36" fmla="*/ 51 w 240"/>
                <a:gd name="T37" fmla="*/ 51 h 175"/>
                <a:gd name="T38" fmla="*/ 68 w 240"/>
                <a:gd name="T39" fmla="*/ 58 h 175"/>
                <a:gd name="T40" fmla="*/ 81 w 240"/>
                <a:gd name="T41" fmla="*/ 66 h 175"/>
                <a:gd name="T42" fmla="*/ 91 w 240"/>
                <a:gd name="T43" fmla="*/ 50 h 175"/>
                <a:gd name="T44" fmla="*/ 111 w 240"/>
                <a:gd name="T45" fmla="*/ 43 h 175"/>
                <a:gd name="T46" fmla="*/ 111 w 240"/>
                <a:gd name="T47" fmla="*/ 62 h 175"/>
                <a:gd name="T48" fmla="*/ 102 w 240"/>
                <a:gd name="T49" fmla="*/ 69 h 175"/>
                <a:gd name="T50" fmla="*/ 95 w 240"/>
                <a:gd name="T51" fmla="*/ 76 h 175"/>
                <a:gd name="T52" fmla="*/ 85 w 240"/>
                <a:gd name="T53" fmla="*/ 92 h 175"/>
                <a:gd name="T54" fmla="*/ 72 w 240"/>
                <a:gd name="T55" fmla="*/ 75 h 175"/>
                <a:gd name="T56" fmla="*/ 57 w 240"/>
                <a:gd name="T57" fmla="*/ 76 h 175"/>
                <a:gd name="T58" fmla="*/ 60 w 240"/>
                <a:gd name="T59" fmla="*/ 99 h 175"/>
                <a:gd name="T60" fmla="*/ 48 w 240"/>
                <a:gd name="T61" fmla="*/ 104 h 175"/>
                <a:gd name="T62" fmla="*/ 46 w 240"/>
                <a:gd name="T63" fmla="*/ 115 h 175"/>
                <a:gd name="T64" fmla="*/ 58 w 240"/>
                <a:gd name="T65" fmla="*/ 127 h 175"/>
                <a:gd name="T66" fmla="*/ 73 w 240"/>
                <a:gd name="T67" fmla="*/ 141 h 175"/>
                <a:gd name="T68" fmla="*/ 60 w 240"/>
                <a:gd name="T69" fmla="*/ 143 h 175"/>
                <a:gd name="T70" fmla="*/ 47 w 240"/>
                <a:gd name="T71" fmla="*/ 139 h 175"/>
                <a:gd name="T72" fmla="*/ 38 w 240"/>
                <a:gd name="T73" fmla="*/ 128 h 175"/>
                <a:gd name="T74" fmla="*/ 27 w 240"/>
                <a:gd name="T75" fmla="*/ 120 h 175"/>
                <a:gd name="T76" fmla="*/ 17 w 240"/>
                <a:gd name="T77" fmla="*/ 136 h 175"/>
                <a:gd name="T78" fmla="*/ 5 w 240"/>
                <a:gd name="T79" fmla="*/ 157 h 175"/>
                <a:gd name="T80" fmla="*/ 24 w 240"/>
                <a:gd name="T81" fmla="*/ 161 h 175"/>
                <a:gd name="T82" fmla="*/ 43 w 240"/>
                <a:gd name="T83" fmla="*/ 165 h 175"/>
                <a:gd name="T84" fmla="*/ 58 w 240"/>
                <a:gd name="T85" fmla="*/ 164 h 175"/>
                <a:gd name="T86" fmla="*/ 81 w 240"/>
                <a:gd name="T87" fmla="*/ 171 h 175"/>
                <a:gd name="T88" fmla="*/ 96 w 240"/>
                <a:gd name="T89" fmla="*/ 172 h 175"/>
                <a:gd name="T90" fmla="*/ 87 w 240"/>
                <a:gd name="T91" fmla="*/ 155 h 175"/>
                <a:gd name="T92" fmla="*/ 92 w 240"/>
                <a:gd name="T93" fmla="*/ 143 h 175"/>
                <a:gd name="T94" fmla="*/ 106 w 240"/>
                <a:gd name="T95" fmla="*/ 129 h 175"/>
                <a:gd name="T96" fmla="*/ 115 w 240"/>
                <a:gd name="T97" fmla="*/ 127 h 175"/>
                <a:gd name="T98" fmla="*/ 125 w 240"/>
                <a:gd name="T99" fmla="*/ 122 h 175"/>
                <a:gd name="T100" fmla="*/ 133 w 240"/>
                <a:gd name="T101" fmla="*/ 118 h 175"/>
                <a:gd name="T102" fmla="*/ 116 w 240"/>
                <a:gd name="T103" fmla="*/ 99 h 175"/>
                <a:gd name="T104" fmla="*/ 137 w 240"/>
                <a:gd name="T105" fmla="*/ 95 h 175"/>
                <a:gd name="T106" fmla="*/ 160 w 240"/>
                <a:gd name="T107" fmla="*/ 8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0" h="175">
                  <a:moveTo>
                    <a:pt x="160" y="88"/>
                  </a:moveTo>
                  <a:cubicBezTo>
                    <a:pt x="162" y="86"/>
                    <a:pt x="162" y="84"/>
                    <a:pt x="163" y="81"/>
                  </a:cubicBezTo>
                  <a:cubicBezTo>
                    <a:pt x="164" y="79"/>
                    <a:pt x="165" y="76"/>
                    <a:pt x="166" y="74"/>
                  </a:cubicBezTo>
                  <a:cubicBezTo>
                    <a:pt x="167" y="71"/>
                    <a:pt x="169" y="74"/>
                    <a:pt x="172" y="73"/>
                  </a:cubicBezTo>
                  <a:cubicBezTo>
                    <a:pt x="173" y="72"/>
                    <a:pt x="173" y="71"/>
                    <a:pt x="174" y="71"/>
                  </a:cubicBezTo>
                  <a:cubicBezTo>
                    <a:pt x="176" y="70"/>
                    <a:pt x="177" y="71"/>
                    <a:pt x="178" y="71"/>
                  </a:cubicBezTo>
                  <a:cubicBezTo>
                    <a:pt x="181" y="70"/>
                    <a:pt x="182" y="67"/>
                    <a:pt x="184" y="67"/>
                  </a:cubicBezTo>
                  <a:cubicBezTo>
                    <a:pt x="184" y="66"/>
                    <a:pt x="185" y="65"/>
                    <a:pt x="185" y="64"/>
                  </a:cubicBezTo>
                  <a:cubicBezTo>
                    <a:pt x="188" y="63"/>
                    <a:pt x="189" y="66"/>
                    <a:pt x="190" y="60"/>
                  </a:cubicBezTo>
                  <a:cubicBezTo>
                    <a:pt x="190" y="57"/>
                    <a:pt x="188" y="51"/>
                    <a:pt x="189" y="48"/>
                  </a:cubicBezTo>
                  <a:cubicBezTo>
                    <a:pt x="191" y="42"/>
                    <a:pt x="200" y="44"/>
                    <a:pt x="203" y="44"/>
                  </a:cubicBezTo>
                  <a:cubicBezTo>
                    <a:pt x="209" y="44"/>
                    <a:pt x="214" y="45"/>
                    <a:pt x="219" y="43"/>
                  </a:cubicBezTo>
                  <a:cubicBezTo>
                    <a:pt x="219" y="42"/>
                    <a:pt x="221" y="42"/>
                    <a:pt x="221" y="41"/>
                  </a:cubicBezTo>
                  <a:cubicBezTo>
                    <a:pt x="222" y="41"/>
                    <a:pt x="223" y="40"/>
                    <a:pt x="224" y="40"/>
                  </a:cubicBezTo>
                  <a:cubicBezTo>
                    <a:pt x="226" y="38"/>
                    <a:pt x="229" y="37"/>
                    <a:pt x="231" y="37"/>
                  </a:cubicBezTo>
                  <a:cubicBezTo>
                    <a:pt x="231" y="34"/>
                    <a:pt x="231" y="33"/>
                    <a:pt x="233" y="31"/>
                  </a:cubicBezTo>
                  <a:cubicBezTo>
                    <a:pt x="234" y="28"/>
                    <a:pt x="235" y="28"/>
                    <a:pt x="237" y="27"/>
                  </a:cubicBezTo>
                  <a:cubicBezTo>
                    <a:pt x="239" y="26"/>
                    <a:pt x="239" y="28"/>
                    <a:pt x="240" y="25"/>
                  </a:cubicBezTo>
                  <a:cubicBezTo>
                    <a:pt x="240" y="24"/>
                    <a:pt x="240" y="21"/>
                    <a:pt x="240" y="20"/>
                  </a:cubicBezTo>
                  <a:cubicBezTo>
                    <a:pt x="239" y="18"/>
                    <a:pt x="235" y="18"/>
                    <a:pt x="234" y="18"/>
                  </a:cubicBezTo>
                  <a:cubicBezTo>
                    <a:pt x="229" y="18"/>
                    <a:pt x="224" y="17"/>
                    <a:pt x="220" y="19"/>
                  </a:cubicBezTo>
                  <a:cubicBezTo>
                    <a:pt x="215" y="20"/>
                    <a:pt x="210" y="20"/>
                    <a:pt x="205" y="20"/>
                  </a:cubicBezTo>
                  <a:cubicBezTo>
                    <a:pt x="200" y="20"/>
                    <a:pt x="198" y="19"/>
                    <a:pt x="194" y="16"/>
                  </a:cubicBezTo>
                  <a:cubicBezTo>
                    <a:pt x="190" y="14"/>
                    <a:pt x="187" y="9"/>
                    <a:pt x="183" y="8"/>
                  </a:cubicBezTo>
                  <a:cubicBezTo>
                    <a:pt x="179" y="6"/>
                    <a:pt x="174" y="8"/>
                    <a:pt x="169" y="8"/>
                  </a:cubicBezTo>
                  <a:cubicBezTo>
                    <a:pt x="165" y="8"/>
                    <a:pt x="161" y="5"/>
                    <a:pt x="157" y="4"/>
                  </a:cubicBezTo>
                  <a:cubicBezTo>
                    <a:pt x="157" y="3"/>
                    <a:pt x="157" y="2"/>
                    <a:pt x="157" y="1"/>
                  </a:cubicBezTo>
                  <a:cubicBezTo>
                    <a:pt x="154" y="0"/>
                    <a:pt x="152" y="1"/>
                    <a:pt x="149" y="1"/>
                  </a:cubicBezTo>
                  <a:cubicBezTo>
                    <a:pt x="146" y="1"/>
                    <a:pt x="146" y="1"/>
                    <a:pt x="144" y="4"/>
                  </a:cubicBezTo>
                  <a:cubicBezTo>
                    <a:pt x="142" y="6"/>
                    <a:pt x="141" y="6"/>
                    <a:pt x="139" y="7"/>
                  </a:cubicBezTo>
                  <a:cubicBezTo>
                    <a:pt x="137" y="8"/>
                    <a:pt x="135" y="10"/>
                    <a:pt x="134" y="11"/>
                  </a:cubicBezTo>
                  <a:cubicBezTo>
                    <a:pt x="129" y="13"/>
                    <a:pt x="123" y="11"/>
                    <a:pt x="119" y="11"/>
                  </a:cubicBezTo>
                  <a:cubicBezTo>
                    <a:pt x="116" y="11"/>
                    <a:pt x="115" y="11"/>
                    <a:pt x="114" y="15"/>
                  </a:cubicBezTo>
                  <a:cubicBezTo>
                    <a:pt x="112" y="18"/>
                    <a:pt x="112" y="18"/>
                    <a:pt x="109" y="18"/>
                  </a:cubicBezTo>
                  <a:cubicBezTo>
                    <a:pt x="108" y="18"/>
                    <a:pt x="107" y="19"/>
                    <a:pt x="106" y="20"/>
                  </a:cubicBezTo>
                  <a:cubicBezTo>
                    <a:pt x="105" y="20"/>
                    <a:pt x="104" y="19"/>
                    <a:pt x="102" y="20"/>
                  </a:cubicBezTo>
                  <a:cubicBezTo>
                    <a:pt x="100" y="21"/>
                    <a:pt x="99" y="23"/>
                    <a:pt x="96" y="22"/>
                  </a:cubicBezTo>
                  <a:cubicBezTo>
                    <a:pt x="94" y="21"/>
                    <a:pt x="92" y="19"/>
                    <a:pt x="90" y="18"/>
                  </a:cubicBezTo>
                  <a:cubicBezTo>
                    <a:pt x="88" y="17"/>
                    <a:pt x="85" y="17"/>
                    <a:pt x="84" y="16"/>
                  </a:cubicBezTo>
                  <a:cubicBezTo>
                    <a:pt x="81" y="14"/>
                    <a:pt x="82" y="13"/>
                    <a:pt x="79" y="13"/>
                  </a:cubicBezTo>
                  <a:cubicBezTo>
                    <a:pt x="76" y="13"/>
                    <a:pt x="73" y="12"/>
                    <a:pt x="71" y="13"/>
                  </a:cubicBezTo>
                  <a:cubicBezTo>
                    <a:pt x="68" y="13"/>
                    <a:pt x="67" y="15"/>
                    <a:pt x="65" y="15"/>
                  </a:cubicBezTo>
                  <a:cubicBezTo>
                    <a:pt x="61" y="15"/>
                    <a:pt x="61" y="16"/>
                    <a:pt x="59" y="19"/>
                  </a:cubicBezTo>
                  <a:cubicBezTo>
                    <a:pt x="59" y="20"/>
                    <a:pt x="61" y="23"/>
                    <a:pt x="59" y="25"/>
                  </a:cubicBezTo>
                  <a:cubicBezTo>
                    <a:pt x="59" y="26"/>
                    <a:pt x="54" y="25"/>
                    <a:pt x="53" y="25"/>
                  </a:cubicBezTo>
                  <a:cubicBezTo>
                    <a:pt x="49" y="25"/>
                    <a:pt x="45" y="25"/>
                    <a:pt x="42" y="22"/>
                  </a:cubicBezTo>
                  <a:cubicBezTo>
                    <a:pt x="40" y="21"/>
                    <a:pt x="40" y="20"/>
                    <a:pt x="37" y="20"/>
                  </a:cubicBezTo>
                  <a:cubicBezTo>
                    <a:pt x="36" y="20"/>
                    <a:pt x="35" y="20"/>
                    <a:pt x="34" y="20"/>
                  </a:cubicBezTo>
                  <a:cubicBezTo>
                    <a:pt x="33" y="20"/>
                    <a:pt x="33" y="22"/>
                    <a:pt x="32" y="23"/>
                  </a:cubicBezTo>
                  <a:cubicBezTo>
                    <a:pt x="28" y="26"/>
                    <a:pt x="21" y="19"/>
                    <a:pt x="23" y="30"/>
                  </a:cubicBezTo>
                  <a:cubicBezTo>
                    <a:pt x="24" y="30"/>
                    <a:pt x="25" y="31"/>
                    <a:pt x="25" y="31"/>
                  </a:cubicBezTo>
                  <a:cubicBezTo>
                    <a:pt x="25" y="32"/>
                    <a:pt x="26" y="34"/>
                    <a:pt x="26" y="35"/>
                  </a:cubicBezTo>
                  <a:cubicBezTo>
                    <a:pt x="29" y="36"/>
                    <a:pt x="33" y="42"/>
                    <a:pt x="36" y="44"/>
                  </a:cubicBezTo>
                  <a:cubicBezTo>
                    <a:pt x="37" y="45"/>
                    <a:pt x="39" y="47"/>
                    <a:pt x="41" y="48"/>
                  </a:cubicBezTo>
                  <a:cubicBezTo>
                    <a:pt x="42" y="48"/>
                    <a:pt x="43" y="48"/>
                    <a:pt x="44" y="48"/>
                  </a:cubicBezTo>
                  <a:cubicBezTo>
                    <a:pt x="46" y="48"/>
                    <a:pt x="47" y="49"/>
                    <a:pt x="48" y="50"/>
                  </a:cubicBezTo>
                  <a:cubicBezTo>
                    <a:pt x="49" y="50"/>
                    <a:pt x="50" y="50"/>
                    <a:pt x="51" y="51"/>
                  </a:cubicBezTo>
                  <a:cubicBezTo>
                    <a:pt x="52" y="52"/>
                    <a:pt x="52" y="53"/>
                    <a:pt x="53" y="53"/>
                  </a:cubicBezTo>
                  <a:cubicBezTo>
                    <a:pt x="55" y="55"/>
                    <a:pt x="58" y="56"/>
                    <a:pt x="61" y="57"/>
                  </a:cubicBezTo>
                  <a:cubicBezTo>
                    <a:pt x="63" y="59"/>
                    <a:pt x="65" y="59"/>
                    <a:pt x="68" y="58"/>
                  </a:cubicBezTo>
                  <a:cubicBezTo>
                    <a:pt x="71" y="58"/>
                    <a:pt x="73" y="60"/>
                    <a:pt x="76" y="60"/>
                  </a:cubicBezTo>
                  <a:cubicBezTo>
                    <a:pt x="76" y="62"/>
                    <a:pt x="76" y="64"/>
                    <a:pt x="76" y="65"/>
                  </a:cubicBezTo>
                  <a:cubicBezTo>
                    <a:pt x="78" y="66"/>
                    <a:pt x="79" y="66"/>
                    <a:pt x="81" y="66"/>
                  </a:cubicBezTo>
                  <a:cubicBezTo>
                    <a:pt x="84" y="65"/>
                    <a:pt x="84" y="64"/>
                    <a:pt x="86" y="62"/>
                  </a:cubicBezTo>
                  <a:cubicBezTo>
                    <a:pt x="87" y="59"/>
                    <a:pt x="88" y="58"/>
                    <a:pt x="89" y="55"/>
                  </a:cubicBezTo>
                  <a:cubicBezTo>
                    <a:pt x="89" y="54"/>
                    <a:pt x="90" y="51"/>
                    <a:pt x="91" y="50"/>
                  </a:cubicBezTo>
                  <a:cubicBezTo>
                    <a:pt x="94" y="47"/>
                    <a:pt x="100" y="51"/>
                    <a:pt x="103" y="48"/>
                  </a:cubicBezTo>
                  <a:cubicBezTo>
                    <a:pt x="104" y="47"/>
                    <a:pt x="105" y="45"/>
                    <a:pt x="106" y="44"/>
                  </a:cubicBezTo>
                  <a:cubicBezTo>
                    <a:pt x="108" y="42"/>
                    <a:pt x="109" y="43"/>
                    <a:pt x="111" y="43"/>
                  </a:cubicBezTo>
                  <a:cubicBezTo>
                    <a:pt x="116" y="43"/>
                    <a:pt x="116" y="45"/>
                    <a:pt x="116" y="51"/>
                  </a:cubicBezTo>
                  <a:cubicBezTo>
                    <a:pt x="116" y="54"/>
                    <a:pt x="117" y="58"/>
                    <a:pt x="116" y="60"/>
                  </a:cubicBezTo>
                  <a:cubicBezTo>
                    <a:pt x="115" y="61"/>
                    <a:pt x="112" y="62"/>
                    <a:pt x="111" y="62"/>
                  </a:cubicBezTo>
                  <a:cubicBezTo>
                    <a:pt x="110" y="63"/>
                    <a:pt x="109" y="63"/>
                    <a:pt x="108" y="64"/>
                  </a:cubicBezTo>
                  <a:cubicBezTo>
                    <a:pt x="107" y="65"/>
                    <a:pt x="105" y="67"/>
                    <a:pt x="104" y="68"/>
                  </a:cubicBezTo>
                  <a:cubicBezTo>
                    <a:pt x="104" y="69"/>
                    <a:pt x="103" y="69"/>
                    <a:pt x="102" y="69"/>
                  </a:cubicBezTo>
                  <a:cubicBezTo>
                    <a:pt x="102" y="70"/>
                    <a:pt x="101" y="71"/>
                    <a:pt x="100" y="73"/>
                  </a:cubicBezTo>
                  <a:cubicBezTo>
                    <a:pt x="99" y="75"/>
                    <a:pt x="97" y="74"/>
                    <a:pt x="95" y="75"/>
                  </a:cubicBezTo>
                  <a:cubicBezTo>
                    <a:pt x="95" y="75"/>
                    <a:pt x="95" y="76"/>
                    <a:pt x="95" y="76"/>
                  </a:cubicBezTo>
                  <a:cubicBezTo>
                    <a:pt x="94" y="79"/>
                    <a:pt x="94" y="83"/>
                    <a:pt x="93" y="86"/>
                  </a:cubicBezTo>
                  <a:cubicBezTo>
                    <a:pt x="91" y="87"/>
                    <a:pt x="90" y="87"/>
                    <a:pt x="89" y="88"/>
                  </a:cubicBezTo>
                  <a:cubicBezTo>
                    <a:pt x="87" y="89"/>
                    <a:pt x="86" y="91"/>
                    <a:pt x="85" y="92"/>
                  </a:cubicBezTo>
                  <a:cubicBezTo>
                    <a:pt x="83" y="92"/>
                    <a:pt x="80" y="92"/>
                    <a:pt x="78" y="92"/>
                  </a:cubicBezTo>
                  <a:cubicBezTo>
                    <a:pt x="76" y="91"/>
                    <a:pt x="77" y="91"/>
                    <a:pt x="75" y="88"/>
                  </a:cubicBezTo>
                  <a:cubicBezTo>
                    <a:pt x="78" y="85"/>
                    <a:pt x="75" y="76"/>
                    <a:pt x="72" y="75"/>
                  </a:cubicBezTo>
                  <a:cubicBezTo>
                    <a:pt x="70" y="74"/>
                    <a:pt x="67" y="74"/>
                    <a:pt x="65" y="75"/>
                  </a:cubicBezTo>
                  <a:cubicBezTo>
                    <a:pt x="64" y="75"/>
                    <a:pt x="63" y="76"/>
                    <a:pt x="62" y="76"/>
                  </a:cubicBezTo>
                  <a:cubicBezTo>
                    <a:pt x="61" y="76"/>
                    <a:pt x="59" y="75"/>
                    <a:pt x="57" y="76"/>
                  </a:cubicBezTo>
                  <a:cubicBezTo>
                    <a:pt x="55" y="79"/>
                    <a:pt x="56" y="80"/>
                    <a:pt x="57" y="83"/>
                  </a:cubicBezTo>
                  <a:cubicBezTo>
                    <a:pt x="59" y="86"/>
                    <a:pt x="59" y="88"/>
                    <a:pt x="60" y="92"/>
                  </a:cubicBezTo>
                  <a:cubicBezTo>
                    <a:pt x="60" y="94"/>
                    <a:pt x="62" y="98"/>
                    <a:pt x="60" y="99"/>
                  </a:cubicBezTo>
                  <a:cubicBezTo>
                    <a:pt x="59" y="99"/>
                    <a:pt x="58" y="97"/>
                    <a:pt x="57" y="97"/>
                  </a:cubicBezTo>
                  <a:cubicBezTo>
                    <a:pt x="56" y="96"/>
                    <a:pt x="54" y="97"/>
                    <a:pt x="52" y="97"/>
                  </a:cubicBezTo>
                  <a:cubicBezTo>
                    <a:pt x="52" y="100"/>
                    <a:pt x="50" y="102"/>
                    <a:pt x="48" y="104"/>
                  </a:cubicBezTo>
                  <a:cubicBezTo>
                    <a:pt x="46" y="106"/>
                    <a:pt x="43" y="103"/>
                    <a:pt x="42" y="107"/>
                  </a:cubicBezTo>
                  <a:cubicBezTo>
                    <a:pt x="40" y="111"/>
                    <a:pt x="41" y="110"/>
                    <a:pt x="44" y="112"/>
                  </a:cubicBezTo>
                  <a:cubicBezTo>
                    <a:pt x="45" y="113"/>
                    <a:pt x="44" y="114"/>
                    <a:pt x="46" y="115"/>
                  </a:cubicBezTo>
                  <a:cubicBezTo>
                    <a:pt x="47" y="115"/>
                    <a:pt x="49" y="114"/>
                    <a:pt x="51" y="114"/>
                  </a:cubicBezTo>
                  <a:cubicBezTo>
                    <a:pt x="52" y="115"/>
                    <a:pt x="52" y="120"/>
                    <a:pt x="53" y="122"/>
                  </a:cubicBezTo>
                  <a:cubicBezTo>
                    <a:pt x="54" y="126"/>
                    <a:pt x="55" y="128"/>
                    <a:pt x="58" y="127"/>
                  </a:cubicBezTo>
                  <a:cubicBezTo>
                    <a:pt x="61" y="126"/>
                    <a:pt x="62" y="125"/>
                    <a:pt x="65" y="125"/>
                  </a:cubicBezTo>
                  <a:cubicBezTo>
                    <a:pt x="68" y="125"/>
                    <a:pt x="72" y="130"/>
                    <a:pt x="75" y="129"/>
                  </a:cubicBezTo>
                  <a:cubicBezTo>
                    <a:pt x="75" y="132"/>
                    <a:pt x="76" y="138"/>
                    <a:pt x="73" y="141"/>
                  </a:cubicBezTo>
                  <a:cubicBezTo>
                    <a:pt x="72" y="142"/>
                    <a:pt x="70" y="141"/>
                    <a:pt x="69" y="141"/>
                  </a:cubicBezTo>
                  <a:cubicBezTo>
                    <a:pt x="67" y="142"/>
                    <a:pt x="67" y="143"/>
                    <a:pt x="65" y="143"/>
                  </a:cubicBezTo>
                  <a:cubicBezTo>
                    <a:pt x="63" y="143"/>
                    <a:pt x="61" y="143"/>
                    <a:pt x="60" y="143"/>
                  </a:cubicBezTo>
                  <a:cubicBezTo>
                    <a:pt x="58" y="143"/>
                    <a:pt x="57" y="142"/>
                    <a:pt x="56" y="141"/>
                  </a:cubicBezTo>
                  <a:cubicBezTo>
                    <a:pt x="54" y="141"/>
                    <a:pt x="53" y="141"/>
                    <a:pt x="51" y="140"/>
                  </a:cubicBezTo>
                  <a:cubicBezTo>
                    <a:pt x="50" y="140"/>
                    <a:pt x="49" y="139"/>
                    <a:pt x="47" y="139"/>
                  </a:cubicBezTo>
                  <a:cubicBezTo>
                    <a:pt x="47" y="137"/>
                    <a:pt x="48" y="134"/>
                    <a:pt x="47" y="132"/>
                  </a:cubicBezTo>
                  <a:cubicBezTo>
                    <a:pt x="46" y="131"/>
                    <a:pt x="43" y="133"/>
                    <a:pt x="42" y="132"/>
                  </a:cubicBezTo>
                  <a:cubicBezTo>
                    <a:pt x="40" y="132"/>
                    <a:pt x="40" y="130"/>
                    <a:pt x="38" y="128"/>
                  </a:cubicBezTo>
                  <a:cubicBezTo>
                    <a:pt x="37" y="127"/>
                    <a:pt x="36" y="127"/>
                    <a:pt x="35" y="127"/>
                  </a:cubicBezTo>
                  <a:cubicBezTo>
                    <a:pt x="34" y="126"/>
                    <a:pt x="34" y="125"/>
                    <a:pt x="34" y="124"/>
                  </a:cubicBezTo>
                  <a:cubicBezTo>
                    <a:pt x="32" y="124"/>
                    <a:pt x="29" y="121"/>
                    <a:pt x="27" y="120"/>
                  </a:cubicBezTo>
                  <a:cubicBezTo>
                    <a:pt x="27" y="125"/>
                    <a:pt x="24" y="124"/>
                    <a:pt x="22" y="125"/>
                  </a:cubicBezTo>
                  <a:cubicBezTo>
                    <a:pt x="19" y="127"/>
                    <a:pt x="20" y="129"/>
                    <a:pt x="18" y="133"/>
                  </a:cubicBezTo>
                  <a:cubicBezTo>
                    <a:pt x="18" y="134"/>
                    <a:pt x="17" y="134"/>
                    <a:pt x="17" y="136"/>
                  </a:cubicBezTo>
                  <a:cubicBezTo>
                    <a:pt x="16" y="138"/>
                    <a:pt x="17" y="140"/>
                    <a:pt x="16" y="142"/>
                  </a:cubicBezTo>
                  <a:cubicBezTo>
                    <a:pt x="15" y="145"/>
                    <a:pt x="12" y="145"/>
                    <a:pt x="10" y="146"/>
                  </a:cubicBezTo>
                  <a:cubicBezTo>
                    <a:pt x="8" y="147"/>
                    <a:pt x="0" y="155"/>
                    <a:pt x="5" y="157"/>
                  </a:cubicBezTo>
                  <a:cubicBezTo>
                    <a:pt x="8" y="158"/>
                    <a:pt x="11" y="156"/>
                    <a:pt x="14" y="157"/>
                  </a:cubicBezTo>
                  <a:cubicBezTo>
                    <a:pt x="16" y="157"/>
                    <a:pt x="18" y="160"/>
                    <a:pt x="20" y="160"/>
                  </a:cubicBezTo>
                  <a:cubicBezTo>
                    <a:pt x="22" y="161"/>
                    <a:pt x="23" y="160"/>
                    <a:pt x="24" y="161"/>
                  </a:cubicBezTo>
                  <a:cubicBezTo>
                    <a:pt x="25" y="161"/>
                    <a:pt x="27" y="163"/>
                    <a:pt x="28" y="164"/>
                  </a:cubicBezTo>
                  <a:cubicBezTo>
                    <a:pt x="30" y="165"/>
                    <a:pt x="32" y="167"/>
                    <a:pt x="34" y="167"/>
                  </a:cubicBezTo>
                  <a:cubicBezTo>
                    <a:pt x="37" y="168"/>
                    <a:pt x="41" y="167"/>
                    <a:pt x="43" y="165"/>
                  </a:cubicBezTo>
                  <a:cubicBezTo>
                    <a:pt x="44" y="165"/>
                    <a:pt x="45" y="165"/>
                    <a:pt x="46" y="164"/>
                  </a:cubicBezTo>
                  <a:cubicBezTo>
                    <a:pt x="47" y="163"/>
                    <a:pt x="48" y="162"/>
                    <a:pt x="49" y="162"/>
                  </a:cubicBezTo>
                  <a:cubicBezTo>
                    <a:pt x="53" y="161"/>
                    <a:pt x="55" y="163"/>
                    <a:pt x="58" y="164"/>
                  </a:cubicBezTo>
                  <a:cubicBezTo>
                    <a:pt x="61" y="164"/>
                    <a:pt x="63" y="163"/>
                    <a:pt x="66" y="166"/>
                  </a:cubicBezTo>
                  <a:cubicBezTo>
                    <a:pt x="68" y="168"/>
                    <a:pt x="68" y="170"/>
                    <a:pt x="71" y="171"/>
                  </a:cubicBezTo>
                  <a:cubicBezTo>
                    <a:pt x="74" y="171"/>
                    <a:pt x="78" y="170"/>
                    <a:pt x="81" y="171"/>
                  </a:cubicBezTo>
                  <a:cubicBezTo>
                    <a:pt x="81" y="172"/>
                    <a:pt x="81" y="173"/>
                    <a:pt x="81" y="174"/>
                  </a:cubicBezTo>
                  <a:cubicBezTo>
                    <a:pt x="83" y="175"/>
                    <a:pt x="85" y="174"/>
                    <a:pt x="87" y="174"/>
                  </a:cubicBezTo>
                  <a:cubicBezTo>
                    <a:pt x="90" y="174"/>
                    <a:pt x="94" y="175"/>
                    <a:pt x="96" y="172"/>
                  </a:cubicBezTo>
                  <a:cubicBezTo>
                    <a:pt x="98" y="168"/>
                    <a:pt x="95" y="165"/>
                    <a:pt x="98" y="162"/>
                  </a:cubicBezTo>
                  <a:cubicBezTo>
                    <a:pt x="97" y="161"/>
                    <a:pt x="95" y="159"/>
                    <a:pt x="94" y="158"/>
                  </a:cubicBezTo>
                  <a:cubicBezTo>
                    <a:pt x="92" y="156"/>
                    <a:pt x="89" y="158"/>
                    <a:pt x="87" y="155"/>
                  </a:cubicBezTo>
                  <a:cubicBezTo>
                    <a:pt x="86" y="153"/>
                    <a:pt x="86" y="149"/>
                    <a:pt x="86" y="146"/>
                  </a:cubicBezTo>
                  <a:cubicBezTo>
                    <a:pt x="86" y="144"/>
                    <a:pt x="86" y="144"/>
                    <a:pt x="87" y="143"/>
                  </a:cubicBezTo>
                  <a:cubicBezTo>
                    <a:pt x="88" y="142"/>
                    <a:pt x="91" y="143"/>
                    <a:pt x="92" y="143"/>
                  </a:cubicBezTo>
                  <a:cubicBezTo>
                    <a:pt x="96" y="143"/>
                    <a:pt x="102" y="141"/>
                    <a:pt x="104" y="136"/>
                  </a:cubicBezTo>
                  <a:cubicBezTo>
                    <a:pt x="104" y="135"/>
                    <a:pt x="104" y="134"/>
                    <a:pt x="104" y="133"/>
                  </a:cubicBezTo>
                  <a:cubicBezTo>
                    <a:pt x="105" y="131"/>
                    <a:pt x="106" y="130"/>
                    <a:pt x="106" y="129"/>
                  </a:cubicBezTo>
                  <a:cubicBezTo>
                    <a:pt x="107" y="126"/>
                    <a:pt x="108" y="125"/>
                    <a:pt x="110" y="125"/>
                  </a:cubicBezTo>
                  <a:cubicBezTo>
                    <a:pt x="111" y="125"/>
                    <a:pt x="111" y="126"/>
                    <a:pt x="112" y="126"/>
                  </a:cubicBezTo>
                  <a:cubicBezTo>
                    <a:pt x="113" y="127"/>
                    <a:pt x="114" y="126"/>
                    <a:pt x="115" y="127"/>
                  </a:cubicBezTo>
                  <a:cubicBezTo>
                    <a:pt x="117" y="127"/>
                    <a:pt x="118" y="128"/>
                    <a:pt x="120" y="129"/>
                  </a:cubicBezTo>
                  <a:cubicBezTo>
                    <a:pt x="121" y="129"/>
                    <a:pt x="124" y="132"/>
                    <a:pt x="125" y="130"/>
                  </a:cubicBezTo>
                  <a:cubicBezTo>
                    <a:pt x="126" y="129"/>
                    <a:pt x="125" y="124"/>
                    <a:pt x="125" y="122"/>
                  </a:cubicBezTo>
                  <a:cubicBezTo>
                    <a:pt x="126" y="122"/>
                    <a:pt x="127" y="122"/>
                    <a:pt x="127" y="121"/>
                  </a:cubicBezTo>
                  <a:cubicBezTo>
                    <a:pt x="128" y="120"/>
                    <a:pt x="128" y="119"/>
                    <a:pt x="128" y="118"/>
                  </a:cubicBezTo>
                  <a:cubicBezTo>
                    <a:pt x="130" y="118"/>
                    <a:pt x="131" y="118"/>
                    <a:pt x="133" y="118"/>
                  </a:cubicBezTo>
                  <a:cubicBezTo>
                    <a:pt x="132" y="113"/>
                    <a:pt x="125" y="113"/>
                    <a:pt x="123" y="111"/>
                  </a:cubicBezTo>
                  <a:cubicBezTo>
                    <a:pt x="121" y="109"/>
                    <a:pt x="120" y="107"/>
                    <a:pt x="119" y="106"/>
                  </a:cubicBezTo>
                  <a:cubicBezTo>
                    <a:pt x="117" y="104"/>
                    <a:pt x="116" y="103"/>
                    <a:pt x="116" y="99"/>
                  </a:cubicBezTo>
                  <a:cubicBezTo>
                    <a:pt x="117" y="94"/>
                    <a:pt x="118" y="95"/>
                    <a:pt x="121" y="95"/>
                  </a:cubicBezTo>
                  <a:cubicBezTo>
                    <a:pt x="124" y="95"/>
                    <a:pt x="126" y="95"/>
                    <a:pt x="129" y="95"/>
                  </a:cubicBezTo>
                  <a:cubicBezTo>
                    <a:pt x="131" y="95"/>
                    <a:pt x="134" y="96"/>
                    <a:pt x="137" y="95"/>
                  </a:cubicBezTo>
                  <a:cubicBezTo>
                    <a:pt x="139" y="95"/>
                    <a:pt x="140" y="94"/>
                    <a:pt x="141" y="91"/>
                  </a:cubicBezTo>
                  <a:cubicBezTo>
                    <a:pt x="144" y="87"/>
                    <a:pt x="148" y="85"/>
                    <a:pt x="153" y="87"/>
                  </a:cubicBezTo>
                  <a:cubicBezTo>
                    <a:pt x="155" y="88"/>
                    <a:pt x="158" y="90"/>
                    <a:pt x="160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48">
              <a:extLst>
                <a:ext uri="{FF2B5EF4-FFF2-40B4-BE49-F238E27FC236}">
                  <a16:creationId xmlns:a16="http://schemas.microsoft.com/office/drawing/2014/main" id="{A9F162A7-C2B0-4A79-927A-7F2B237DE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675" y="115183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9">
              <a:extLst>
                <a:ext uri="{FF2B5EF4-FFF2-40B4-BE49-F238E27FC236}">
                  <a16:creationId xmlns:a16="http://schemas.microsoft.com/office/drawing/2014/main" id="{0BDD3950-9EE4-462B-BFAE-B4585E8E0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980" y="845220"/>
              <a:ext cx="804165" cy="856956"/>
            </a:xfrm>
            <a:custGeom>
              <a:avLst/>
              <a:gdLst>
                <a:gd name="T0" fmla="*/ 243 w 381"/>
                <a:gd name="T1" fmla="*/ 289 h 406"/>
                <a:gd name="T2" fmla="*/ 233 w 381"/>
                <a:gd name="T3" fmla="*/ 270 h 406"/>
                <a:gd name="T4" fmla="*/ 231 w 381"/>
                <a:gd name="T5" fmla="*/ 256 h 406"/>
                <a:gd name="T6" fmla="*/ 252 w 381"/>
                <a:gd name="T7" fmla="*/ 272 h 406"/>
                <a:gd name="T8" fmla="*/ 268 w 381"/>
                <a:gd name="T9" fmla="*/ 255 h 406"/>
                <a:gd name="T10" fmla="*/ 253 w 381"/>
                <a:gd name="T11" fmla="*/ 235 h 406"/>
                <a:gd name="T12" fmla="*/ 258 w 381"/>
                <a:gd name="T13" fmla="*/ 218 h 406"/>
                <a:gd name="T14" fmla="*/ 267 w 381"/>
                <a:gd name="T15" fmla="*/ 227 h 406"/>
                <a:gd name="T16" fmla="*/ 281 w 381"/>
                <a:gd name="T17" fmla="*/ 230 h 406"/>
                <a:gd name="T18" fmla="*/ 298 w 381"/>
                <a:gd name="T19" fmla="*/ 214 h 406"/>
                <a:gd name="T20" fmla="*/ 300 w 381"/>
                <a:gd name="T21" fmla="*/ 192 h 406"/>
                <a:gd name="T22" fmla="*/ 305 w 381"/>
                <a:gd name="T23" fmla="*/ 173 h 406"/>
                <a:gd name="T24" fmla="*/ 322 w 381"/>
                <a:gd name="T25" fmla="*/ 162 h 406"/>
                <a:gd name="T26" fmla="*/ 316 w 381"/>
                <a:gd name="T27" fmla="*/ 129 h 406"/>
                <a:gd name="T28" fmla="*/ 342 w 381"/>
                <a:gd name="T29" fmla="*/ 110 h 406"/>
                <a:gd name="T30" fmla="*/ 380 w 381"/>
                <a:gd name="T31" fmla="*/ 91 h 406"/>
                <a:gd name="T32" fmla="*/ 362 w 381"/>
                <a:gd name="T33" fmla="*/ 80 h 406"/>
                <a:gd name="T34" fmla="*/ 336 w 381"/>
                <a:gd name="T35" fmla="*/ 87 h 406"/>
                <a:gd name="T36" fmla="*/ 323 w 381"/>
                <a:gd name="T37" fmla="*/ 84 h 406"/>
                <a:gd name="T38" fmla="*/ 310 w 381"/>
                <a:gd name="T39" fmla="*/ 86 h 406"/>
                <a:gd name="T40" fmla="*/ 320 w 381"/>
                <a:gd name="T41" fmla="*/ 58 h 406"/>
                <a:gd name="T42" fmla="*/ 315 w 381"/>
                <a:gd name="T43" fmla="*/ 34 h 406"/>
                <a:gd name="T44" fmla="*/ 278 w 381"/>
                <a:gd name="T45" fmla="*/ 19 h 406"/>
                <a:gd name="T46" fmla="*/ 244 w 381"/>
                <a:gd name="T47" fmla="*/ 8 h 406"/>
                <a:gd name="T48" fmla="*/ 229 w 381"/>
                <a:gd name="T49" fmla="*/ 24 h 406"/>
                <a:gd name="T50" fmla="*/ 202 w 381"/>
                <a:gd name="T51" fmla="*/ 6 h 406"/>
                <a:gd name="T52" fmla="*/ 199 w 381"/>
                <a:gd name="T53" fmla="*/ 19 h 406"/>
                <a:gd name="T54" fmla="*/ 185 w 381"/>
                <a:gd name="T55" fmla="*/ 37 h 406"/>
                <a:gd name="T56" fmla="*/ 172 w 381"/>
                <a:gd name="T57" fmla="*/ 18 h 406"/>
                <a:gd name="T58" fmla="*/ 159 w 381"/>
                <a:gd name="T59" fmla="*/ 18 h 406"/>
                <a:gd name="T60" fmla="*/ 135 w 381"/>
                <a:gd name="T61" fmla="*/ 17 h 406"/>
                <a:gd name="T62" fmla="*/ 119 w 381"/>
                <a:gd name="T63" fmla="*/ 4 h 406"/>
                <a:gd name="T64" fmla="*/ 90 w 381"/>
                <a:gd name="T65" fmla="*/ 7 h 406"/>
                <a:gd name="T66" fmla="*/ 60 w 381"/>
                <a:gd name="T67" fmla="*/ 11 h 406"/>
                <a:gd name="T68" fmla="*/ 41 w 381"/>
                <a:gd name="T69" fmla="*/ 26 h 406"/>
                <a:gd name="T70" fmla="*/ 40 w 381"/>
                <a:gd name="T71" fmla="*/ 34 h 406"/>
                <a:gd name="T72" fmla="*/ 22 w 381"/>
                <a:gd name="T73" fmla="*/ 39 h 406"/>
                <a:gd name="T74" fmla="*/ 3 w 381"/>
                <a:gd name="T75" fmla="*/ 40 h 406"/>
                <a:gd name="T76" fmla="*/ 15 w 381"/>
                <a:gd name="T77" fmla="*/ 66 h 406"/>
                <a:gd name="T78" fmla="*/ 1 w 381"/>
                <a:gd name="T79" fmla="*/ 79 h 406"/>
                <a:gd name="T80" fmla="*/ 10 w 381"/>
                <a:gd name="T81" fmla="*/ 106 h 406"/>
                <a:gd name="T82" fmla="*/ 35 w 381"/>
                <a:gd name="T83" fmla="*/ 98 h 406"/>
                <a:gd name="T84" fmla="*/ 51 w 381"/>
                <a:gd name="T85" fmla="*/ 113 h 406"/>
                <a:gd name="T86" fmla="*/ 63 w 381"/>
                <a:gd name="T87" fmla="*/ 147 h 406"/>
                <a:gd name="T88" fmla="*/ 64 w 381"/>
                <a:gd name="T89" fmla="*/ 170 h 406"/>
                <a:gd name="T90" fmla="*/ 60 w 381"/>
                <a:gd name="T91" fmla="*/ 199 h 406"/>
                <a:gd name="T92" fmla="*/ 63 w 381"/>
                <a:gd name="T93" fmla="*/ 215 h 406"/>
                <a:gd name="T94" fmla="*/ 66 w 381"/>
                <a:gd name="T95" fmla="*/ 238 h 406"/>
                <a:gd name="T96" fmla="*/ 50 w 381"/>
                <a:gd name="T97" fmla="*/ 258 h 406"/>
                <a:gd name="T98" fmla="*/ 31 w 381"/>
                <a:gd name="T99" fmla="*/ 288 h 406"/>
                <a:gd name="T100" fmla="*/ 30 w 381"/>
                <a:gd name="T101" fmla="*/ 345 h 406"/>
                <a:gd name="T102" fmla="*/ 50 w 381"/>
                <a:gd name="T103" fmla="*/ 387 h 406"/>
                <a:gd name="T104" fmla="*/ 58 w 381"/>
                <a:gd name="T105" fmla="*/ 400 h 406"/>
                <a:gd name="T106" fmla="*/ 73 w 381"/>
                <a:gd name="T107" fmla="*/ 394 h 406"/>
                <a:gd name="T108" fmla="*/ 92 w 381"/>
                <a:gd name="T109" fmla="*/ 375 h 406"/>
                <a:gd name="T110" fmla="*/ 111 w 381"/>
                <a:gd name="T111" fmla="*/ 346 h 406"/>
                <a:gd name="T112" fmla="*/ 123 w 381"/>
                <a:gd name="T113" fmla="*/ 332 h 406"/>
                <a:gd name="T114" fmla="*/ 158 w 381"/>
                <a:gd name="T115" fmla="*/ 329 h 406"/>
                <a:gd name="T116" fmla="*/ 182 w 381"/>
                <a:gd name="T117" fmla="*/ 303 h 406"/>
                <a:gd name="T118" fmla="*/ 215 w 381"/>
                <a:gd name="T119" fmla="*/ 304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81" h="406">
                  <a:moveTo>
                    <a:pt x="226" y="298"/>
                  </a:moveTo>
                  <a:cubicBezTo>
                    <a:pt x="228" y="297"/>
                    <a:pt x="230" y="299"/>
                    <a:pt x="232" y="298"/>
                  </a:cubicBezTo>
                  <a:cubicBezTo>
                    <a:pt x="234" y="298"/>
                    <a:pt x="235" y="296"/>
                    <a:pt x="236" y="294"/>
                  </a:cubicBezTo>
                  <a:cubicBezTo>
                    <a:pt x="236" y="293"/>
                    <a:pt x="236" y="293"/>
                    <a:pt x="237" y="291"/>
                  </a:cubicBezTo>
                  <a:cubicBezTo>
                    <a:pt x="237" y="291"/>
                    <a:pt x="240" y="288"/>
                    <a:pt x="240" y="288"/>
                  </a:cubicBezTo>
                  <a:cubicBezTo>
                    <a:pt x="241" y="288"/>
                    <a:pt x="242" y="289"/>
                    <a:pt x="243" y="289"/>
                  </a:cubicBezTo>
                  <a:cubicBezTo>
                    <a:pt x="244" y="289"/>
                    <a:pt x="243" y="288"/>
                    <a:pt x="244" y="287"/>
                  </a:cubicBezTo>
                  <a:cubicBezTo>
                    <a:pt x="246" y="285"/>
                    <a:pt x="246" y="283"/>
                    <a:pt x="247" y="280"/>
                  </a:cubicBezTo>
                  <a:cubicBezTo>
                    <a:pt x="247" y="277"/>
                    <a:pt x="246" y="278"/>
                    <a:pt x="243" y="277"/>
                  </a:cubicBezTo>
                  <a:cubicBezTo>
                    <a:pt x="241" y="276"/>
                    <a:pt x="238" y="276"/>
                    <a:pt x="236" y="275"/>
                  </a:cubicBezTo>
                  <a:cubicBezTo>
                    <a:pt x="234" y="274"/>
                    <a:pt x="235" y="275"/>
                    <a:pt x="234" y="273"/>
                  </a:cubicBezTo>
                  <a:cubicBezTo>
                    <a:pt x="233" y="272"/>
                    <a:pt x="234" y="271"/>
                    <a:pt x="233" y="270"/>
                  </a:cubicBezTo>
                  <a:cubicBezTo>
                    <a:pt x="232" y="270"/>
                    <a:pt x="232" y="269"/>
                    <a:pt x="231" y="268"/>
                  </a:cubicBezTo>
                  <a:cubicBezTo>
                    <a:pt x="230" y="268"/>
                    <a:pt x="229" y="268"/>
                    <a:pt x="229" y="268"/>
                  </a:cubicBezTo>
                  <a:cubicBezTo>
                    <a:pt x="228" y="268"/>
                    <a:pt x="228" y="267"/>
                    <a:pt x="228" y="267"/>
                  </a:cubicBezTo>
                  <a:cubicBezTo>
                    <a:pt x="227" y="264"/>
                    <a:pt x="227" y="262"/>
                    <a:pt x="227" y="260"/>
                  </a:cubicBezTo>
                  <a:cubicBezTo>
                    <a:pt x="227" y="259"/>
                    <a:pt x="226" y="258"/>
                    <a:pt x="227" y="257"/>
                  </a:cubicBezTo>
                  <a:cubicBezTo>
                    <a:pt x="228" y="255"/>
                    <a:pt x="229" y="256"/>
                    <a:pt x="231" y="256"/>
                  </a:cubicBezTo>
                  <a:cubicBezTo>
                    <a:pt x="233" y="257"/>
                    <a:pt x="234" y="258"/>
                    <a:pt x="236" y="259"/>
                  </a:cubicBezTo>
                  <a:cubicBezTo>
                    <a:pt x="239" y="260"/>
                    <a:pt x="241" y="260"/>
                    <a:pt x="243" y="261"/>
                  </a:cubicBezTo>
                  <a:cubicBezTo>
                    <a:pt x="245" y="262"/>
                    <a:pt x="245" y="265"/>
                    <a:pt x="247" y="267"/>
                  </a:cubicBezTo>
                  <a:cubicBezTo>
                    <a:pt x="246" y="266"/>
                    <a:pt x="249" y="269"/>
                    <a:pt x="249" y="268"/>
                  </a:cubicBezTo>
                  <a:cubicBezTo>
                    <a:pt x="250" y="269"/>
                    <a:pt x="251" y="269"/>
                    <a:pt x="252" y="270"/>
                  </a:cubicBezTo>
                  <a:cubicBezTo>
                    <a:pt x="252" y="271"/>
                    <a:pt x="252" y="271"/>
                    <a:pt x="252" y="272"/>
                  </a:cubicBezTo>
                  <a:cubicBezTo>
                    <a:pt x="254" y="274"/>
                    <a:pt x="260" y="275"/>
                    <a:pt x="263" y="275"/>
                  </a:cubicBezTo>
                  <a:cubicBezTo>
                    <a:pt x="264" y="275"/>
                    <a:pt x="265" y="273"/>
                    <a:pt x="266" y="273"/>
                  </a:cubicBezTo>
                  <a:cubicBezTo>
                    <a:pt x="268" y="273"/>
                    <a:pt x="269" y="276"/>
                    <a:pt x="270" y="275"/>
                  </a:cubicBezTo>
                  <a:cubicBezTo>
                    <a:pt x="272" y="274"/>
                    <a:pt x="272" y="264"/>
                    <a:pt x="272" y="262"/>
                  </a:cubicBezTo>
                  <a:cubicBezTo>
                    <a:pt x="272" y="260"/>
                    <a:pt x="273" y="259"/>
                    <a:pt x="271" y="257"/>
                  </a:cubicBezTo>
                  <a:cubicBezTo>
                    <a:pt x="270" y="256"/>
                    <a:pt x="269" y="256"/>
                    <a:pt x="268" y="255"/>
                  </a:cubicBezTo>
                  <a:cubicBezTo>
                    <a:pt x="268" y="254"/>
                    <a:pt x="267" y="251"/>
                    <a:pt x="267" y="250"/>
                  </a:cubicBezTo>
                  <a:cubicBezTo>
                    <a:pt x="266" y="248"/>
                    <a:pt x="267" y="248"/>
                    <a:pt x="265" y="247"/>
                  </a:cubicBezTo>
                  <a:cubicBezTo>
                    <a:pt x="264" y="246"/>
                    <a:pt x="263" y="244"/>
                    <a:pt x="262" y="244"/>
                  </a:cubicBezTo>
                  <a:cubicBezTo>
                    <a:pt x="261" y="243"/>
                    <a:pt x="261" y="243"/>
                    <a:pt x="260" y="243"/>
                  </a:cubicBezTo>
                  <a:cubicBezTo>
                    <a:pt x="260" y="242"/>
                    <a:pt x="259" y="241"/>
                    <a:pt x="259" y="241"/>
                  </a:cubicBezTo>
                  <a:cubicBezTo>
                    <a:pt x="257" y="239"/>
                    <a:pt x="255" y="238"/>
                    <a:pt x="253" y="235"/>
                  </a:cubicBezTo>
                  <a:cubicBezTo>
                    <a:pt x="253" y="234"/>
                    <a:pt x="253" y="234"/>
                    <a:pt x="252" y="233"/>
                  </a:cubicBezTo>
                  <a:cubicBezTo>
                    <a:pt x="252" y="232"/>
                    <a:pt x="252" y="231"/>
                    <a:pt x="252" y="230"/>
                  </a:cubicBezTo>
                  <a:cubicBezTo>
                    <a:pt x="252" y="228"/>
                    <a:pt x="250" y="228"/>
                    <a:pt x="250" y="226"/>
                  </a:cubicBezTo>
                  <a:cubicBezTo>
                    <a:pt x="249" y="225"/>
                    <a:pt x="249" y="221"/>
                    <a:pt x="250" y="220"/>
                  </a:cubicBezTo>
                  <a:cubicBezTo>
                    <a:pt x="251" y="218"/>
                    <a:pt x="253" y="220"/>
                    <a:pt x="255" y="220"/>
                  </a:cubicBezTo>
                  <a:cubicBezTo>
                    <a:pt x="257" y="220"/>
                    <a:pt x="257" y="220"/>
                    <a:pt x="258" y="218"/>
                  </a:cubicBezTo>
                  <a:cubicBezTo>
                    <a:pt x="258" y="217"/>
                    <a:pt x="259" y="216"/>
                    <a:pt x="259" y="216"/>
                  </a:cubicBezTo>
                  <a:cubicBezTo>
                    <a:pt x="260" y="215"/>
                    <a:pt x="261" y="215"/>
                    <a:pt x="261" y="214"/>
                  </a:cubicBezTo>
                  <a:cubicBezTo>
                    <a:pt x="262" y="214"/>
                    <a:pt x="262" y="213"/>
                    <a:pt x="262" y="212"/>
                  </a:cubicBezTo>
                  <a:cubicBezTo>
                    <a:pt x="263" y="212"/>
                    <a:pt x="264" y="213"/>
                    <a:pt x="265" y="213"/>
                  </a:cubicBezTo>
                  <a:cubicBezTo>
                    <a:pt x="266" y="213"/>
                    <a:pt x="270" y="213"/>
                    <a:pt x="270" y="214"/>
                  </a:cubicBezTo>
                  <a:cubicBezTo>
                    <a:pt x="271" y="217"/>
                    <a:pt x="267" y="224"/>
                    <a:pt x="267" y="227"/>
                  </a:cubicBezTo>
                  <a:cubicBezTo>
                    <a:pt x="267" y="228"/>
                    <a:pt x="268" y="231"/>
                    <a:pt x="268" y="231"/>
                  </a:cubicBezTo>
                  <a:cubicBezTo>
                    <a:pt x="270" y="233"/>
                    <a:pt x="271" y="231"/>
                    <a:pt x="272" y="234"/>
                  </a:cubicBezTo>
                  <a:cubicBezTo>
                    <a:pt x="272" y="235"/>
                    <a:pt x="272" y="235"/>
                    <a:pt x="272" y="236"/>
                  </a:cubicBezTo>
                  <a:cubicBezTo>
                    <a:pt x="272" y="237"/>
                    <a:pt x="274" y="237"/>
                    <a:pt x="275" y="237"/>
                  </a:cubicBezTo>
                  <a:cubicBezTo>
                    <a:pt x="278" y="237"/>
                    <a:pt x="277" y="237"/>
                    <a:pt x="278" y="234"/>
                  </a:cubicBezTo>
                  <a:cubicBezTo>
                    <a:pt x="279" y="231"/>
                    <a:pt x="279" y="231"/>
                    <a:pt x="281" y="230"/>
                  </a:cubicBezTo>
                  <a:cubicBezTo>
                    <a:pt x="281" y="229"/>
                    <a:pt x="281" y="229"/>
                    <a:pt x="282" y="228"/>
                  </a:cubicBezTo>
                  <a:cubicBezTo>
                    <a:pt x="283" y="227"/>
                    <a:pt x="284" y="228"/>
                    <a:pt x="285" y="228"/>
                  </a:cubicBezTo>
                  <a:cubicBezTo>
                    <a:pt x="286" y="229"/>
                    <a:pt x="287" y="228"/>
                    <a:pt x="289" y="228"/>
                  </a:cubicBezTo>
                  <a:cubicBezTo>
                    <a:pt x="291" y="227"/>
                    <a:pt x="292" y="228"/>
                    <a:pt x="295" y="228"/>
                  </a:cubicBezTo>
                  <a:cubicBezTo>
                    <a:pt x="297" y="229"/>
                    <a:pt x="299" y="224"/>
                    <a:pt x="299" y="221"/>
                  </a:cubicBezTo>
                  <a:cubicBezTo>
                    <a:pt x="297" y="220"/>
                    <a:pt x="299" y="217"/>
                    <a:pt x="298" y="214"/>
                  </a:cubicBezTo>
                  <a:cubicBezTo>
                    <a:pt x="297" y="213"/>
                    <a:pt x="296" y="213"/>
                    <a:pt x="295" y="212"/>
                  </a:cubicBezTo>
                  <a:cubicBezTo>
                    <a:pt x="295" y="211"/>
                    <a:pt x="296" y="208"/>
                    <a:pt x="296" y="207"/>
                  </a:cubicBezTo>
                  <a:cubicBezTo>
                    <a:pt x="296" y="205"/>
                    <a:pt x="296" y="204"/>
                    <a:pt x="296" y="203"/>
                  </a:cubicBezTo>
                  <a:cubicBezTo>
                    <a:pt x="297" y="201"/>
                    <a:pt x="298" y="201"/>
                    <a:pt x="299" y="200"/>
                  </a:cubicBezTo>
                  <a:cubicBezTo>
                    <a:pt x="299" y="200"/>
                    <a:pt x="301" y="196"/>
                    <a:pt x="301" y="196"/>
                  </a:cubicBezTo>
                  <a:cubicBezTo>
                    <a:pt x="302" y="194"/>
                    <a:pt x="302" y="193"/>
                    <a:pt x="300" y="192"/>
                  </a:cubicBezTo>
                  <a:cubicBezTo>
                    <a:pt x="300" y="191"/>
                    <a:pt x="300" y="189"/>
                    <a:pt x="300" y="187"/>
                  </a:cubicBezTo>
                  <a:cubicBezTo>
                    <a:pt x="300" y="184"/>
                    <a:pt x="302" y="183"/>
                    <a:pt x="301" y="181"/>
                  </a:cubicBezTo>
                  <a:cubicBezTo>
                    <a:pt x="300" y="179"/>
                    <a:pt x="298" y="180"/>
                    <a:pt x="297" y="178"/>
                  </a:cubicBezTo>
                  <a:cubicBezTo>
                    <a:pt x="295" y="177"/>
                    <a:pt x="295" y="174"/>
                    <a:pt x="296" y="173"/>
                  </a:cubicBezTo>
                  <a:cubicBezTo>
                    <a:pt x="296" y="170"/>
                    <a:pt x="297" y="170"/>
                    <a:pt x="300" y="171"/>
                  </a:cubicBezTo>
                  <a:cubicBezTo>
                    <a:pt x="302" y="171"/>
                    <a:pt x="304" y="172"/>
                    <a:pt x="305" y="173"/>
                  </a:cubicBezTo>
                  <a:cubicBezTo>
                    <a:pt x="306" y="173"/>
                    <a:pt x="306" y="174"/>
                    <a:pt x="306" y="174"/>
                  </a:cubicBezTo>
                  <a:cubicBezTo>
                    <a:pt x="307" y="174"/>
                    <a:pt x="309" y="174"/>
                    <a:pt x="310" y="175"/>
                  </a:cubicBezTo>
                  <a:cubicBezTo>
                    <a:pt x="312" y="175"/>
                    <a:pt x="312" y="177"/>
                    <a:pt x="315" y="177"/>
                  </a:cubicBezTo>
                  <a:cubicBezTo>
                    <a:pt x="317" y="178"/>
                    <a:pt x="318" y="178"/>
                    <a:pt x="319" y="176"/>
                  </a:cubicBezTo>
                  <a:cubicBezTo>
                    <a:pt x="321" y="173"/>
                    <a:pt x="320" y="172"/>
                    <a:pt x="323" y="171"/>
                  </a:cubicBezTo>
                  <a:cubicBezTo>
                    <a:pt x="327" y="167"/>
                    <a:pt x="324" y="165"/>
                    <a:pt x="322" y="162"/>
                  </a:cubicBezTo>
                  <a:cubicBezTo>
                    <a:pt x="322" y="161"/>
                    <a:pt x="321" y="159"/>
                    <a:pt x="321" y="157"/>
                  </a:cubicBezTo>
                  <a:cubicBezTo>
                    <a:pt x="321" y="155"/>
                    <a:pt x="322" y="153"/>
                    <a:pt x="322" y="151"/>
                  </a:cubicBezTo>
                  <a:cubicBezTo>
                    <a:pt x="322" y="151"/>
                    <a:pt x="321" y="147"/>
                    <a:pt x="321" y="148"/>
                  </a:cubicBezTo>
                  <a:cubicBezTo>
                    <a:pt x="321" y="146"/>
                    <a:pt x="320" y="147"/>
                    <a:pt x="319" y="146"/>
                  </a:cubicBezTo>
                  <a:cubicBezTo>
                    <a:pt x="317" y="144"/>
                    <a:pt x="317" y="142"/>
                    <a:pt x="317" y="140"/>
                  </a:cubicBezTo>
                  <a:cubicBezTo>
                    <a:pt x="316" y="136"/>
                    <a:pt x="314" y="133"/>
                    <a:pt x="316" y="129"/>
                  </a:cubicBezTo>
                  <a:cubicBezTo>
                    <a:pt x="318" y="124"/>
                    <a:pt x="323" y="127"/>
                    <a:pt x="326" y="127"/>
                  </a:cubicBezTo>
                  <a:cubicBezTo>
                    <a:pt x="327" y="127"/>
                    <a:pt x="329" y="126"/>
                    <a:pt x="330" y="125"/>
                  </a:cubicBezTo>
                  <a:cubicBezTo>
                    <a:pt x="333" y="125"/>
                    <a:pt x="333" y="122"/>
                    <a:pt x="335" y="120"/>
                  </a:cubicBezTo>
                  <a:cubicBezTo>
                    <a:pt x="336" y="119"/>
                    <a:pt x="336" y="118"/>
                    <a:pt x="337" y="118"/>
                  </a:cubicBezTo>
                  <a:cubicBezTo>
                    <a:pt x="338" y="117"/>
                    <a:pt x="338" y="116"/>
                    <a:pt x="338" y="115"/>
                  </a:cubicBezTo>
                  <a:cubicBezTo>
                    <a:pt x="339" y="113"/>
                    <a:pt x="340" y="112"/>
                    <a:pt x="342" y="110"/>
                  </a:cubicBezTo>
                  <a:cubicBezTo>
                    <a:pt x="345" y="106"/>
                    <a:pt x="348" y="111"/>
                    <a:pt x="352" y="110"/>
                  </a:cubicBezTo>
                  <a:cubicBezTo>
                    <a:pt x="355" y="110"/>
                    <a:pt x="356" y="104"/>
                    <a:pt x="359" y="103"/>
                  </a:cubicBezTo>
                  <a:cubicBezTo>
                    <a:pt x="361" y="103"/>
                    <a:pt x="361" y="105"/>
                    <a:pt x="363" y="103"/>
                  </a:cubicBezTo>
                  <a:cubicBezTo>
                    <a:pt x="365" y="102"/>
                    <a:pt x="365" y="100"/>
                    <a:pt x="367" y="99"/>
                  </a:cubicBezTo>
                  <a:cubicBezTo>
                    <a:pt x="369" y="95"/>
                    <a:pt x="372" y="95"/>
                    <a:pt x="376" y="95"/>
                  </a:cubicBezTo>
                  <a:cubicBezTo>
                    <a:pt x="377" y="93"/>
                    <a:pt x="379" y="93"/>
                    <a:pt x="380" y="91"/>
                  </a:cubicBezTo>
                  <a:cubicBezTo>
                    <a:pt x="381" y="89"/>
                    <a:pt x="378" y="86"/>
                    <a:pt x="376" y="86"/>
                  </a:cubicBezTo>
                  <a:cubicBezTo>
                    <a:pt x="376" y="85"/>
                    <a:pt x="377" y="84"/>
                    <a:pt x="377" y="84"/>
                  </a:cubicBezTo>
                  <a:cubicBezTo>
                    <a:pt x="375" y="83"/>
                    <a:pt x="374" y="83"/>
                    <a:pt x="373" y="81"/>
                  </a:cubicBezTo>
                  <a:cubicBezTo>
                    <a:pt x="372" y="80"/>
                    <a:pt x="372" y="79"/>
                    <a:pt x="370" y="79"/>
                  </a:cubicBezTo>
                  <a:cubicBezTo>
                    <a:pt x="370" y="79"/>
                    <a:pt x="367" y="79"/>
                    <a:pt x="367" y="80"/>
                  </a:cubicBezTo>
                  <a:cubicBezTo>
                    <a:pt x="365" y="80"/>
                    <a:pt x="364" y="80"/>
                    <a:pt x="362" y="80"/>
                  </a:cubicBezTo>
                  <a:cubicBezTo>
                    <a:pt x="359" y="79"/>
                    <a:pt x="356" y="78"/>
                    <a:pt x="353" y="78"/>
                  </a:cubicBezTo>
                  <a:cubicBezTo>
                    <a:pt x="351" y="77"/>
                    <a:pt x="351" y="77"/>
                    <a:pt x="349" y="78"/>
                  </a:cubicBezTo>
                  <a:cubicBezTo>
                    <a:pt x="349" y="78"/>
                    <a:pt x="348" y="79"/>
                    <a:pt x="348" y="79"/>
                  </a:cubicBezTo>
                  <a:cubicBezTo>
                    <a:pt x="347" y="80"/>
                    <a:pt x="345" y="79"/>
                    <a:pt x="344" y="80"/>
                  </a:cubicBezTo>
                  <a:cubicBezTo>
                    <a:pt x="342" y="81"/>
                    <a:pt x="343" y="85"/>
                    <a:pt x="340" y="87"/>
                  </a:cubicBezTo>
                  <a:cubicBezTo>
                    <a:pt x="339" y="87"/>
                    <a:pt x="337" y="88"/>
                    <a:pt x="336" y="87"/>
                  </a:cubicBezTo>
                  <a:cubicBezTo>
                    <a:pt x="336" y="86"/>
                    <a:pt x="336" y="86"/>
                    <a:pt x="336" y="85"/>
                  </a:cubicBezTo>
                  <a:cubicBezTo>
                    <a:pt x="336" y="84"/>
                    <a:pt x="336" y="84"/>
                    <a:pt x="335" y="83"/>
                  </a:cubicBezTo>
                  <a:cubicBezTo>
                    <a:pt x="333" y="81"/>
                    <a:pt x="333" y="76"/>
                    <a:pt x="330" y="79"/>
                  </a:cubicBezTo>
                  <a:cubicBezTo>
                    <a:pt x="329" y="79"/>
                    <a:pt x="329" y="80"/>
                    <a:pt x="328" y="81"/>
                  </a:cubicBezTo>
                  <a:cubicBezTo>
                    <a:pt x="326" y="82"/>
                    <a:pt x="325" y="82"/>
                    <a:pt x="324" y="84"/>
                  </a:cubicBezTo>
                  <a:cubicBezTo>
                    <a:pt x="324" y="84"/>
                    <a:pt x="323" y="84"/>
                    <a:pt x="323" y="84"/>
                  </a:cubicBezTo>
                  <a:cubicBezTo>
                    <a:pt x="322" y="85"/>
                    <a:pt x="322" y="86"/>
                    <a:pt x="322" y="86"/>
                  </a:cubicBezTo>
                  <a:cubicBezTo>
                    <a:pt x="320" y="86"/>
                    <a:pt x="319" y="86"/>
                    <a:pt x="317" y="88"/>
                  </a:cubicBezTo>
                  <a:cubicBezTo>
                    <a:pt x="317" y="88"/>
                    <a:pt x="316" y="90"/>
                    <a:pt x="315" y="90"/>
                  </a:cubicBezTo>
                  <a:cubicBezTo>
                    <a:pt x="314" y="91"/>
                    <a:pt x="312" y="90"/>
                    <a:pt x="311" y="90"/>
                  </a:cubicBezTo>
                  <a:cubicBezTo>
                    <a:pt x="311" y="90"/>
                    <a:pt x="310" y="92"/>
                    <a:pt x="309" y="90"/>
                  </a:cubicBezTo>
                  <a:cubicBezTo>
                    <a:pt x="309" y="89"/>
                    <a:pt x="310" y="87"/>
                    <a:pt x="310" y="86"/>
                  </a:cubicBezTo>
                  <a:cubicBezTo>
                    <a:pt x="310" y="84"/>
                    <a:pt x="310" y="81"/>
                    <a:pt x="313" y="80"/>
                  </a:cubicBezTo>
                  <a:cubicBezTo>
                    <a:pt x="312" y="78"/>
                    <a:pt x="315" y="74"/>
                    <a:pt x="316" y="73"/>
                  </a:cubicBezTo>
                  <a:cubicBezTo>
                    <a:pt x="318" y="73"/>
                    <a:pt x="320" y="73"/>
                    <a:pt x="321" y="73"/>
                  </a:cubicBezTo>
                  <a:cubicBezTo>
                    <a:pt x="323" y="71"/>
                    <a:pt x="323" y="69"/>
                    <a:pt x="323" y="67"/>
                  </a:cubicBezTo>
                  <a:cubicBezTo>
                    <a:pt x="321" y="66"/>
                    <a:pt x="319" y="65"/>
                    <a:pt x="319" y="63"/>
                  </a:cubicBezTo>
                  <a:cubicBezTo>
                    <a:pt x="319" y="61"/>
                    <a:pt x="320" y="59"/>
                    <a:pt x="320" y="58"/>
                  </a:cubicBezTo>
                  <a:cubicBezTo>
                    <a:pt x="320" y="57"/>
                    <a:pt x="319" y="55"/>
                    <a:pt x="320" y="54"/>
                  </a:cubicBezTo>
                  <a:cubicBezTo>
                    <a:pt x="319" y="53"/>
                    <a:pt x="319" y="53"/>
                    <a:pt x="318" y="53"/>
                  </a:cubicBezTo>
                  <a:cubicBezTo>
                    <a:pt x="318" y="50"/>
                    <a:pt x="318" y="50"/>
                    <a:pt x="317" y="49"/>
                  </a:cubicBezTo>
                  <a:cubicBezTo>
                    <a:pt x="315" y="47"/>
                    <a:pt x="316" y="47"/>
                    <a:pt x="315" y="44"/>
                  </a:cubicBezTo>
                  <a:cubicBezTo>
                    <a:pt x="315" y="42"/>
                    <a:pt x="316" y="41"/>
                    <a:pt x="316" y="39"/>
                  </a:cubicBezTo>
                  <a:cubicBezTo>
                    <a:pt x="316" y="38"/>
                    <a:pt x="315" y="35"/>
                    <a:pt x="315" y="34"/>
                  </a:cubicBezTo>
                  <a:cubicBezTo>
                    <a:pt x="312" y="32"/>
                    <a:pt x="307" y="33"/>
                    <a:pt x="304" y="32"/>
                  </a:cubicBezTo>
                  <a:cubicBezTo>
                    <a:pt x="303" y="32"/>
                    <a:pt x="301" y="31"/>
                    <a:pt x="300" y="30"/>
                  </a:cubicBezTo>
                  <a:cubicBezTo>
                    <a:pt x="299" y="28"/>
                    <a:pt x="300" y="27"/>
                    <a:pt x="298" y="26"/>
                  </a:cubicBezTo>
                  <a:cubicBezTo>
                    <a:pt x="298" y="26"/>
                    <a:pt x="298" y="25"/>
                    <a:pt x="298" y="24"/>
                  </a:cubicBezTo>
                  <a:cubicBezTo>
                    <a:pt x="294" y="21"/>
                    <a:pt x="287" y="21"/>
                    <a:pt x="283" y="20"/>
                  </a:cubicBezTo>
                  <a:cubicBezTo>
                    <a:pt x="281" y="20"/>
                    <a:pt x="280" y="19"/>
                    <a:pt x="278" y="19"/>
                  </a:cubicBezTo>
                  <a:cubicBezTo>
                    <a:pt x="277" y="19"/>
                    <a:pt x="276" y="20"/>
                    <a:pt x="275" y="20"/>
                  </a:cubicBezTo>
                  <a:cubicBezTo>
                    <a:pt x="272" y="20"/>
                    <a:pt x="269" y="18"/>
                    <a:pt x="267" y="18"/>
                  </a:cubicBezTo>
                  <a:cubicBezTo>
                    <a:pt x="263" y="17"/>
                    <a:pt x="261" y="16"/>
                    <a:pt x="258" y="15"/>
                  </a:cubicBezTo>
                  <a:cubicBezTo>
                    <a:pt x="257" y="14"/>
                    <a:pt x="256" y="14"/>
                    <a:pt x="255" y="13"/>
                  </a:cubicBezTo>
                  <a:cubicBezTo>
                    <a:pt x="255" y="12"/>
                    <a:pt x="254" y="11"/>
                    <a:pt x="253" y="10"/>
                  </a:cubicBezTo>
                  <a:cubicBezTo>
                    <a:pt x="251" y="9"/>
                    <a:pt x="247" y="8"/>
                    <a:pt x="244" y="8"/>
                  </a:cubicBezTo>
                  <a:cubicBezTo>
                    <a:pt x="242" y="8"/>
                    <a:pt x="240" y="10"/>
                    <a:pt x="238" y="10"/>
                  </a:cubicBezTo>
                  <a:cubicBezTo>
                    <a:pt x="237" y="11"/>
                    <a:pt x="237" y="12"/>
                    <a:pt x="235" y="13"/>
                  </a:cubicBezTo>
                  <a:cubicBezTo>
                    <a:pt x="235" y="13"/>
                    <a:pt x="234" y="13"/>
                    <a:pt x="234" y="13"/>
                  </a:cubicBezTo>
                  <a:cubicBezTo>
                    <a:pt x="233" y="13"/>
                    <a:pt x="232" y="15"/>
                    <a:pt x="232" y="15"/>
                  </a:cubicBezTo>
                  <a:cubicBezTo>
                    <a:pt x="231" y="17"/>
                    <a:pt x="230" y="17"/>
                    <a:pt x="230" y="20"/>
                  </a:cubicBezTo>
                  <a:cubicBezTo>
                    <a:pt x="229" y="22"/>
                    <a:pt x="231" y="22"/>
                    <a:pt x="229" y="24"/>
                  </a:cubicBezTo>
                  <a:cubicBezTo>
                    <a:pt x="224" y="27"/>
                    <a:pt x="215" y="20"/>
                    <a:pt x="216" y="14"/>
                  </a:cubicBezTo>
                  <a:cubicBezTo>
                    <a:pt x="215" y="14"/>
                    <a:pt x="215" y="13"/>
                    <a:pt x="214" y="13"/>
                  </a:cubicBezTo>
                  <a:cubicBezTo>
                    <a:pt x="214" y="11"/>
                    <a:pt x="213" y="8"/>
                    <a:pt x="212" y="6"/>
                  </a:cubicBezTo>
                  <a:cubicBezTo>
                    <a:pt x="213" y="6"/>
                    <a:pt x="213" y="6"/>
                    <a:pt x="213" y="6"/>
                  </a:cubicBezTo>
                  <a:cubicBezTo>
                    <a:pt x="211" y="6"/>
                    <a:pt x="207" y="0"/>
                    <a:pt x="205" y="2"/>
                  </a:cubicBezTo>
                  <a:cubicBezTo>
                    <a:pt x="204" y="3"/>
                    <a:pt x="203" y="5"/>
                    <a:pt x="202" y="6"/>
                  </a:cubicBezTo>
                  <a:cubicBezTo>
                    <a:pt x="200" y="7"/>
                    <a:pt x="198" y="6"/>
                    <a:pt x="196" y="6"/>
                  </a:cubicBezTo>
                  <a:cubicBezTo>
                    <a:pt x="195" y="7"/>
                    <a:pt x="193" y="6"/>
                    <a:pt x="191" y="7"/>
                  </a:cubicBezTo>
                  <a:cubicBezTo>
                    <a:pt x="189" y="9"/>
                    <a:pt x="190" y="11"/>
                    <a:pt x="192" y="12"/>
                  </a:cubicBezTo>
                  <a:cubicBezTo>
                    <a:pt x="193" y="12"/>
                    <a:pt x="194" y="12"/>
                    <a:pt x="195" y="13"/>
                  </a:cubicBezTo>
                  <a:cubicBezTo>
                    <a:pt x="196" y="13"/>
                    <a:pt x="196" y="14"/>
                    <a:pt x="196" y="15"/>
                  </a:cubicBezTo>
                  <a:cubicBezTo>
                    <a:pt x="197" y="16"/>
                    <a:pt x="198" y="17"/>
                    <a:pt x="199" y="19"/>
                  </a:cubicBezTo>
                  <a:cubicBezTo>
                    <a:pt x="200" y="21"/>
                    <a:pt x="201" y="21"/>
                    <a:pt x="203" y="22"/>
                  </a:cubicBezTo>
                  <a:cubicBezTo>
                    <a:pt x="203" y="23"/>
                    <a:pt x="203" y="23"/>
                    <a:pt x="203" y="24"/>
                  </a:cubicBezTo>
                  <a:cubicBezTo>
                    <a:pt x="204" y="24"/>
                    <a:pt x="204" y="25"/>
                    <a:pt x="205" y="25"/>
                  </a:cubicBezTo>
                  <a:cubicBezTo>
                    <a:pt x="204" y="28"/>
                    <a:pt x="199" y="27"/>
                    <a:pt x="197" y="28"/>
                  </a:cubicBezTo>
                  <a:cubicBezTo>
                    <a:pt x="193" y="30"/>
                    <a:pt x="194" y="33"/>
                    <a:pt x="192" y="37"/>
                  </a:cubicBezTo>
                  <a:cubicBezTo>
                    <a:pt x="189" y="40"/>
                    <a:pt x="187" y="41"/>
                    <a:pt x="185" y="37"/>
                  </a:cubicBezTo>
                  <a:cubicBezTo>
                    <a:pt x="184" y="36"/>
                    <a:pt x="184" y="33"/>
                    <a:pt x="183" y="32"/>
                  </a:cubicBezTo>
                  <a:cubicBezTo>
                    <a:pt x="183" y="31"/>
                    <a:pt x="181" y="30"/>
                    <a:pt x="181" y="29"/>
                  </a:cubicBezTo>
                  <a:cubicBezTo>
                    <a:pt x="180" y="28"/>
                    <a:pt x="180" y="28"/>
                    <a:pt x="180" y="27"/>
                  </a:cubicBezTo>
                  <a:cubicBezTo>
                    <a:pt x="180" y="25"/>
                    <a:pt x="180" y="25"/>
                    <a:pt x="179" y="24"/>
                  </a:cubicBezTo>
                  <a:cubicBezTo>
                    <a:pt x="178" y="23"/>
                    <a:pt x="177" y="21"/>
                    <a:pt x="176" y="20"/>
                  </a:cubicBezTo>
                  <a:cubicBezTo>
                    <a:pt x="175" y="20"/>
                    <a:pt x="174" y="19"/>
                    <a:pt x="172" y="18"/>
                  </a:cubicBezTo>
                  <a:cubicBezTo>
                    <a:pt x="171" y="17"/>
                    <a:pt x="171" y="17"/>
                    <a:pt x="170" y="15"/>
                  </a:cubicBezTo>
                  <a:cubicBezTo>
                    <a:pt x="168" y="12"/>
                    <a:pt x="165" y="11"/>
                    <a:pt x="162" y="10"/>
                  </a:cubicBezTo>
                  <a:cubicBezTo>
                    <a:pt x="161" y="10"/>
                    <a:pt x="159" y="9"/>
                    <a:pt x="157" y="9"/>
                  </a:cubicBezTo>
                  <a:cubicBezTo>
                    <a:pt x="155" y="9"/>
                    <a:pt x="155" y="10"/>
                    <a:pt x="153" y="12"/>
                  </a:cubicBezTo>
                  <a:cubicBezTo>
                    <a:pt x="155" y="12"/>
                    <a:pt x="155" y="14"/>
                    <a:pt x="157" y="15"/>
                  </a:cubicBezTo>
                  <a:cubicBezTo>
                    <a:pt x="159" y="15"/>
                    <a:pt x="160" y="14"/>
                    <a:pt x="159" y="18"/>
                  </a:cubicBezTo>
                  <a:cubicBezTo>
                    <a:pt x="159" y="19"/>
                    <a:pt x="158" y="23"/>
                    <a:pt x="158" y="24"/>
                  </a:cubicBezTo>
                  <a:cubicBezTo>
                    <a:pt x="157" y="25"/>
                    <a:pt x="154" y="23"/>
                    <a:pt x="153" y="23"/>
                  </a:cubicBezTo>
                  <a:cubicBezTo>
                    <a:pt x="151" y="23"/>
                    <a:pt x="149" y="22"/>
                    <a:pt x="147" y="22"/>
                  </a:cubicBezTo>
                  <a:cubicBezTo>
                    <a:pt x="145" y="22"/>
                    <a:pt x="145" y="23"/>
                    <a:pt x="143" y="22"/>
                  </a:cubicBezTo>
                  <a:cubicBezTo>
                    <a:pt x="141" y="21"/>
                    <a:pt x="136" y="18"/>
                    <a:pt x="137" y="16"/>
                  </a:cubicBezTo>
                  <a:cubicBezTo>
                    <a:pt x="137" y="16"/>
                    <a:pt x="135" y="17"/>
                    <a:pt x="135" y="17"/>
                  </a:cubicBezTo>
                  <a:cubicBezTo>
                    <a:pt x="135" y="17"/>
                    <a:pt x="135" y="17"/>
                    <a:pt x="135" y="17"/>
                  </a:cubicBezTo>
                  <a:cubicBezTo>
                    <a:pt x="135" y="17"/>
                    <a:pt x="135" y="17"/>
                    <a:pt x="135" y="17"/>
                  </a:cubicBezTo>
                  <a:cubicBezTo>
                    <a:pt x="135" y="17"/>
                    <a:pt x="135" y="17"/>
                    <a:pt x="135" y="16"/>
                  </a:cubicBezTo>
                  <a:cubicBezTo>
                    <a:pt x="133" y="15"/>
                    <a:pt x="133" y="14"/>
                    <a:pt x="131" y="12"/>
                  </a:cubicBezTo>
                  <a:cubicBezTo>
                    <a:pt x="129" y="11"/>
                    <a:pt x="127" y="10"/>
                    <a:pt x="125" y="8"/>
                  </a:cubicBezTo>
                  <a:cubicBezTo>
                    <a:pt x="124" y="7"/>
                    <a:pt x="122" y="5"/>
                    <a:pt x="119" y="4"/>
                  </a:cubicBezTo>
                  <a:cubicBezTo>
                    <a:pt x="117" y="3"/>
                    <a:pt x="114" y="5"/>
                    <a:pt x="112" y="5"/>
                  </a:cubicBezTo>
                  <a:cubicBezTo>
                    <a:pt x="109" y="5"/>
                    <a:pt x="106" y="4"/>
                    <a:pt x="103" y="3"/>
                  </a:cubicBezTo>
                  <a:cubicBezTo>
                    <a:pt x="101" y="2"/>
                    <a:pt x="97" y="1"/>
                    <a:pt x="95" y="1"/>
                  </a:cubicBezTo>
                  <a:cubicBezTo>
                    <a:pt x="95" y="1"/>
                    <a:pt x="92" y="3"/>
                    <a:pt x="92" y="3"/>
                  </a:cubicBezTo>
                  <a:cubicBezTo>
                    <a:pt x="91" y="3"/>
                    <a:pt x="91" y="3"/>
                    <a:pt x="91" y="4"/>
                  </a:cubicBezTo>
                  <a:cubicBezTo>
                    <a:pt x="91" y="5"/>
                    <a:pt x="90" y="6"/>
                    <a:pt x="90" y="7"/>
                  </a:cubicBezTo>
                  <a:cubicBezTo>
                    <a:pt x="89" y="11"/>
                    <a:pt x="87" y="10"/>
                    <a:pt x="84" y="9"/>
                  </a:cubicBezTo>
                  <a:cubicBezTo>
                    <a:pt x="82" y="8"/>
                    <a:pt x="81" y="7"/>
                    <a:pt x="80" y="8"/>
                  </a:cubicBezTo>
                  <a:cubicBezTo>
                    <a:pt x="78" y="9"/>
                    <a:pt x="77" y="9"/>
                    <a:pt x="76" y="10"/>
                  </a:cubicBezTo>
                  <a:cubicBezTo>
                    <a:pt x="73" y="11"/>
                    <a:pt x="71" y="12"/>
                    <a:pt x="68" y="11"/>
                  </a:cubicBezTo>
                  <a:cubicBezTo>
                    <a:pt x="67" y="11"/>
                    <a:pt x="65" y="10"/>
                    <a:pt x="64" y="10"/>
                  </a:cubicBezTo>
                  <a:cubicBezTo>
                    <a:pt x="62" y="9"/>
                    <a:pt x="62" y="10"/>
                    <a:pt x="60" y="11"/>
                  </a:cubicBezTo>
                  <a:cubicBezTo>
                    <a:pt x="57" y="12"/>
                    <a:pt x="53" y="14"/>
                    <a:pt x="50" y="14"/>
                  </a:cubicBezTo>
                  <a:cubicBezTo>
                    <a:pt x="50" y="14"/>
                    <a:pt x="49" y="15"/>
                    <a:pt x="49" y="16"/>
                  </a:cubicBezTo>
                  <a:cubicBezTo>
                    <a:pt x="48" y="15"/>
                    <a:pt x="47" y="16"/>
                    <a:pt x="47" y="16"/>
                  </a:cubicBezTo>
                  <a:cubicBezTo>
                    <a:pt x="46" y="16"/>
                    <a:pt x="45" y="16"/>
                    <a:pt x="44" y="16"/>
                  </a:cubicBezTo>
                  <a:cubicBezTo>
                    <a:pt x="41" y="16"/>
                    <a:pt x="41" y="18"/>
                    <a:pt x="40" y="21"/>
                  </a:cubicBezTo>
                  <a:cubicBezTo>
                    <a:pt x="40" y="23"/>
                    <a:pt x="38" y="26"/>
                    <a:pt x="41" y="26"/>
                  </a:cubicBezTo>
                  <a:cubicBezTo>
                    <a:pt x="43" y="26"/>
                    <a:pt x="44" y="24"/>
                    <a:pt x="45" y="23"/>
                  </a:cubicBezTo>
                  <a:cubicBezTo>
                    <a:pt x="48" y="23"/>
                    <a:pt x="55" y="25"/>
                    <a:pt x="57" y="27"/>
                  </a:cubicBezTo>
                  <a:cubicBezTo>
                    <a:pt x="58" y="29"/>
                    <a:pt x="59" y="39"/>
                    <a:pt x="56" y="39"/>
                  </a:cubicBezTo>
                  <a:cubicBezTo>
                    <a:pt x="54" y="40"/>
                    <a:pt x="51" y="38"/>
                    <a:pt x="49" y="38"/>
                  </a:cubicBezTo>
                  <a:cubicBezTo>
                    <a:pt x="48" y="38"/>
                    <a:pt x="46" y="39"/>
                    <a:pt x="44" y="38"/>
                  </a:cubicBezTo>
                  <a:cubicBezTo>
                    <a:pt x="43" y="37"/>
                    <a:pt x="41" y="35"/>
                    <a:pt x="40" y="34"/>
                  </a:cubicBezTo>
                  <a:cubicBezTo>
                    <a:pt x="39" y="33"/>
                    <a:pt x="38" y="32"/>
                    <a:pt x="36" y="32"/>
                  </a:cubicBezTo>
                  <a:cubicBezTo>
                    <a:pt x="33" y="31"/>
                    <a:pt x="32" y="31"/>
                    <a:pt x="30" y="31"/>
                  </a:cubicBezTo>
                  <a:cubicBezTo>
                    <a:pt x="28" y="32"/>
                    <a:pt x="29" y="31"/>
                    <a:pt x="28" y="32"/>
                  </a:cubicBezTo>
                  <a:cubicBezTo>
                    <a:pt x="27" y="33"/>
                    <a:pt x="26" y="34"/>
                    <a:pt x="26" y="35"/>
                  </a:cubicBezTo>
                  <a:cubicBezTo>
                    <a:pt x="25" y="35"/>
                    <a:pt x="25" y="36"/>
                    <a:pt x="24" y="37"/>
                  </a:cubicBezTo>
                  <a:cubicBezTo>
                    <a:pt x="24" y="37"/>
                    <a:pt x="23" y="39"/>
                    <a:pt x="22" y="39"/>
                  </a:cubicBezTo>
                  <a:cubicBezTo>
                    <a:pt x="21" y="40"/>
                    <a:pt x="18" y="38"/>
                    <a:pt x="17" y="38"/>
                  </a:cubicBezTo>
                  <a:cubicBezTo>
                    <a:pt x="17" y="37"/>
                    <a:pt x="17" y="36"/>
                    <a:pt x="17" y="36"/>
                  </a:cubicBezTo>
                  <a:cubicBezTo>
                    <a:pt x="15" y="34"/>
                    <a:pt x="10" y="33"/>
                    <a:pt x="8" y="33"/>
                  </a:cubicBezTo>
                  <a:cubicBezTo>
                    <a:pt x="7" y="34"/>
                    <a:pt x="5" y="35"/>
                    <a:pt x="5" y="35"/>
                  </a:cubicBezTo>
                  <a:cubicBezTo>
                    <a:pt x="4" y="35"/>
                    <a:pt x="4" y="35"/>
                    <a:pt x="3" y="36"/>
                  </a:cubicBezTo>
                  <a:cubicBezTo>
                    <a:pt x="3" y="37"/>
                    <a:pt x="3" y="39"/>
                    <a:pt x="3" y="40"/>
                  </a:cubicBezTo>
                  <a:cubicBezTo>
                    <a:pt x="3" y="40"/>
                    <a:pt x="5" y="42"/>
                    <a:pt x="5" y="42"/>
                  </a:cubicBezTo>
                  <a:cubicBezTo>
                    <a:pt x="6" y="44"/>
                    <a:pt x="7" y="44"/>
                    <a:pt x="8" y="46"/>
                  </a:cubicBezTo>
                  <a:cubicBezTo>
                    <a:pt x="9" y="48"/>
                    <a:pt x="10" y="50"/>
                    <a:pt x="13" y="51"/>
                  </a:cubicBezTo>
                  <a:cubicBezTo>
                    <a:pt x="12" y="54"/>
                    <a:pt x="14" y="56"/>
                    <a:pt x="16" y="57"/>
                  </a:cubicBezTo>
                  <a:cubicBezTo>
                    <a:pt x="19" y="58"/>
                    <a:pt x="20" y="58"/>
                    <a:pt x="18" y="62"/>
                  </a:cubicBezTo>
                  <a:cubicBezTo>
                    <a:pt x="18" y="63"/>
                    <a:pt x="17" y="66"/>
                    <a:pt x="15" y="66"/>
                  </a:cubicBezTo>
                  <a:cubicBezTo>
                    <a:pt x="14" y="67"/>
                    <a:pt x="10" y="65"/>
                    <a:pt x="9" y="65"/>
                  </a:cubicBezTo>
                  <a:cubicBezTo>
                    <a:pt x="8" y="64"/>
                    <a:pt x="6" y="64"/>
                    <a:pt x="6" y="64"/>
                  </a:cubicBezTo>
                  <a:cubicBezTo>
                    <a:pt x="4" y="64"/>
                    <a:pt x="5" y="65"/>
                    <a:pt x="4" y="66"/>
                  </a:cubicBezTo>
                  <a:cubicBezTo>
                    <a:pt x="3" y="68"/>
                    <a:pt x="2" y="70"/>
                    <a:pt x="1" y="72"/>
                  </a:cubicBezTo>
                  <a:cubicBezTo>
                    <a:pt x="1" y="73"/>
                    <a:pt x="0" y="75"/>
                    <a:pt x="0" y="76"/>
                  </a:cubicBezTo>
                  <a:cubicBezTo>
                    <a:pt x="0" y="78"/>
                    <a:pt x="1" y="78"/>
                    <a:pt x="1" y="79"/>
                  </a:cubicBezTo>
                  <a:cubicBezTo>
                    <a:pt x="2" y="80"/>
                    <a:pt x="2" y="84"/>
                    <a:pt x="2" y="86"/>
                  </a:cubicBezTo>
                  <a:cubicBezTo>
                    <a:pt x="2" y="86"/>
                    <a:pt x="2" y="86"/>
                    <a:pt x="3" y="86"/>
                  </a:cubicBezTo>
                  <a:cubicBezTo>
                    <a:pt x="1" y="89"/>
                    <a:pt x="3" y="92"/>
                    <a:pt x="5" y="93"/>
                  </a:cubicBezTo>
                  <a:cubicBezTo>
                    <a:pt x="5" y="95"/>
                    <a:pt x="5" y="97"/>
                    <a:pt x="6" y="99"/>
                  </a:cubicBezTo>
                  <a:cubicBezTo>
                    <a:pt x="7" y="100"/>
                    <a:pt x="8" y="100"/>
                    <a:pt x="8" y="101"/>
                  </a:cubicBezTo>
                  <a:cubicBezTo>
                    <a:pt x="9" y="102"/>
                    <a:pt x="9" y="105"/>
                    <a:pt x="10" y="106"/>
                  </a:cubicBezTo>
                  <a:cubicBezTo>
                    <a:pt x="11" y="106"/>
                    <a:pt x="14" y="104"/>
                    <a:pt x="15" y="102"/>
                  </a:cubicBezTo>
                  <a:cubicBezTo>
                    <a:pt x="17" y="100"/>
                    <a:pt x="17" y="99"/>
                    <a:pt x="20" y="100"/>
                  </a:cubicBezTo>
                  <a:cubicBezTo>
                    <a:pt x="23" y="101"/>
                    <a:pt x="25" y="102"/>
                    <a:pt x="27" y="101"/>
                  </a:cubicBezTo>
                  <a:cubicBezTo>
                    <a:pt x="28" y="100"/>
                    <a:pt x="28" y="99"/>
                    <a:pt x="29" y="99"/>
                  </a:cubicBezTo>
                  <a:cubicBezTo>
                    <a:pt x="30" y="98"/>
                    <a:pt x="31" y="99"/>
                    <a:pt x="33" y="99"/>
                  </a:cubicBezTo>
                  <a:cubicBezTo>
                    <a:pt x="33" y="98"/>
                    <a:pt x="34" y="98"/>
                    <a:pt x="35" y="98"/>
                  </a:cubicBezTo>
                  <a:cubicBezTo>
                    <a:pt x="36" y="98"/>
                    <a:pt x="38" y="99"/>
                    <a:pt x="39" y="99"/>
                  </a:cubicBezTo>
                  <a:cubicBezTo>
                    <a:pt x="41" y="100"/>
                    <a:pt x="42" y="100"/>
                    <a:pt x="43" y="101"/>
                  </a:cubicBezTo>
                  <a:cubicBezTo>
                    <a:pt x="43" y="102"/>
                    <a:pt x="43" y="103"/>
                    <a:pt x="44" y="103"/>
                  </a:cubicBezTo>
                  <a:cubicBezTo>
                    <a:pt x="45" y="103"/>
                    <a:pt x="45" y="103"/>
                    <a:pt x="46" y="104"/>
                  </a:cubicBezTo>
                  <a:cubicBezTo>
                    <a:pt x="46" y="105"/>
                    <a:pt x="45" y="106"/>
                    <a:pt x="45" y="107"/>
                  </a:cubicBezTo>
                  <a:cubicBezTo>
                    <a:pt x="48" y="108"/>
                    <a:pt x="50" y="111"/>
                    <a:pt x="51" y="113"/>
                  </a:cubicBezTo>
                  <a:cubicBezTo>
                    <a:pt x="53" y="114"/>
                    <a:pt x="54" y="115"/>
                    <a:pt x="56" y="115"/>
                  </a:cubicBezTo>
                  <a:cubicBezTo>
                    <a:pt x="58" y="116"/>
                    <a:pt x="59" y="117"/>
                    <a:pt x="61" y="118"/>
                  </a:cubicBezTo>
                  <a:cubicBezTo>
                    <a:pt x="65" y="119"/>
                    <a:pt x="65" y="124"/>
                    <a:pt x="64" y="128"/>
                  </a:cubicBezTo>
                  <a:cubicBezTo>
                    <a:pt x="63" y="133"/>
                    <a:pt x="59" y="136"/>
                    <a:pt x="59" y="142"/>
                  </a:cubicBezTo>
                  <a:cubicBezTo>
                    <a:pt x="61" y="142"/>
                    <a:pt x="62" y="142"/>
                    <a:pt x="62" y="144"/>
                  </a:cubicBezTo>
                  <a:cubicBezTo>
                    <a:pt x="63" y="146"/>
                    <a:pt x="62" y="146"/>
                    <a:pt x="63" y="147"/>
                  </a:cubicBezTo>
                  <a:cubicBezTo>
                    <a:pt x="64" y="148"/>
                    <a:pt x="65" y="147"/>
                    <a:pt x="66" y="148"/>
                  </a:cubicBezTo>
                  <a:cubicBezTo>
                    <a:pt x="66" y="149"/>
                    <a:pt x="66" y="150"/>
                    <a:pt x="66" y="151"/>
                  </a:cubicBezTo>
                  <a:cubicBezTo>
                    <a:pt x="67" y="152"/>
                    <a:pt x="67" y="152"/>
                    <a:pt x="68" y="152"/>
                  </a:cubicBezTo>
                  <a:cubicBezTo>
                    <a:pt x="68" y="157"/>
                    <a:pt x="65" y="159"/>
                    <a:pt x="63" y="162"/>
                  </a:cubicBezTo>
                  <a:cubicBezTo>
                    <a:pt x="62" y="163"/>
                    <a:pt x="60" y="165"/>
                    <a:pt x="61" y="167"/>
                  </a:cubicBezTo>
                  <a:cubicBezTo>
                    <a:pt x="62" y="168"/>
                    <a:pt x="65" y="167"/>
                    <a:pt x="64" y="170"/>
                  </a:cubicBezTo>
                  <a:cubicBezTo>
                    <a:pt x="62" y="171"/>
                    <a:pt x="62" y="173"/>
                    <a:pt x="62" y="175"/>
                  </a:cubicBezTo>
                  <a:cubicBezTo>
                    <a:pt x="61" y="178"/>
                    <a:pt x="60" y="179"/>
                    <a:pt x="59" y="181"/>
                  </a:cubicBezTo>
                  <a:cubicBezTo>
                    <a:pt x="57" y="180"/>
                    <a:pt x="55" y="184"/>
                    <a:pt x="57" y="185"/>
                  </a:cubicBezTo>
                  <a:cubicBezTo>
                    <a:pt x="57" y="187"/>
                    <a:pt x="54" y="193"/>
                    <a:pt x="55" y="195"/>
                  </a:cubicBezTo>
                  <a:cubicBezTo>
                    <a:pt x="56" y="196"/>
                    <a:pt x="57" y="196"/>
                    <a:pt x="58" y="196"/>
                  </a:cubicBezTo>
                  <a:cubicBezTo>
                    <a:pt x="58" y="197"/>
                    <a:pt x="59" y="198"/>
                    <a:pt x="60" y="199"/>
                  </a:cubicBezTo>
                  <a:cubicBezTo>
                    <a:pt x="61" y="200"/>
                    <a:pt x="62" y="202"/>
                    <a:pt x="64" y="203"/>
                  </a:cubicBezTo>
                  <a:cubicBezTo>
                    <a:pt x="67" y="204"/>
                    <a:pt x="69" y="203"/>
                    <a:pt x="70" y="206"/>
                  </a:cubicBezTo>
                  <a:cubicBezTo>
                    <a:pt x="70" y="206"/>
                    <a:pt x="71" y="208"/>
                    <a:pt x="71" y="208"/>
                  </a:cubicBezTo>
                  <a:cubicBezTo>
                    <a:pt x="70" y="211"/>
                    <a:pt x="70" y="211"/>
                    <a:pt x="71" y="213"/>
                  </a:cubicBezTo>
                  <a:cubicBezTo>
                    <a:pt x="72" y="215"/>
                    <a:pt x="74" y="217"/>
                    <a:pt x="70" y="216"/>
                  </a:cubicBezTo>
                  <a:cubicBezTo>
                    <a:pt x="68" y="216"/>
                    <a:pt x="65" y="214"/>
                    <a:pt x="63" y="215"/>
                  </a:cubicBezTo>
                  <a:cubicBezTo>
                    <a:pt x="62" y="215"/>
                    <a:pt x="57" y="218"/>
                    <a:pt x="57" y="219"/>
                  </a:cubicBezTo>
                  <a:cubicBezTo>
                    <a:pt x="59" y="220"/>
                    <a:pt x="61" y="219"/>
                    <a:pt x="62" y="221"/>
                  </a:cubicBezTo>
                  <a:cubicBezTo>
                    <a:pt x="63" y="223"/>
                    <a:pt x="63" y="224"/>
                    <a:pt x="64" y="226"/>
                  </a:cubicBezTo>
                  <a:cubicBezTo>
                    <a:pt x="65" y="231"/>
                    <a:pt x="71" y="228"/>
                    <a:pt x="73" y="233"/>
                  </a:cubicBezTo>
                  <a:cubicBezTo>
                    <a:pt x="73" y="234"/>
                    <a:pt x="73" y="239"/>
                    <a:pt x="72" y="240"/>
                  </a:cubicBezTo>
                  <a:cubicBezTo>
                    <a:pt x="70" y="241"/>
                    <a:pt x="67" y="238"/>
                    <a:pt x="66" y="238"/>
                  </a:cubicBezTo>
                  <a:cubicBezTo>
                    <a:pt x="63" y="239"/>
                    <a:pt x="64" y="242"/>
                    <a:pt x="63" y="244"/>
                  </a:cubicBezTo>
                  <a:cubicBezTo>
                    <a:pt x="62" y="244"/>
                    <a:pt x="60" y="244"/>
                    <a:pt x="60" y="244"/>
                  </a:cubicBezTo>
                  <a:cubicBezTo>
                    <a:pt x="59" y="246"/>
                    <a:pt x="60" y="247"/>
                    <a:pt x="61" y="247"/>
                  </a:cubicBezTo>
                  <a:cubicBezTo>
                    <a:pt x="61" y="249"/>
                    <a:pt x="61" y="249"/>
                    <a:pt x="60" y="251"/>
                  </a:cubicBezTo>
                  <a:cubicBezTo>
                    <a:pt x="60" y="253"/>
                    <a:pt x="59" y="253"/>
                    <a:pt x="57" y="254"/>
                  </a:cubicBezTo>
                  <a:cubicBezTo>
                    <a:pt x="55" y="256"/>
                    <a:pt x="53" y="257"/>
                    <a:pt x="50" y="258"/>
                  </a:cubicBezTo>
                  <a:cubicBezTo>
                    <a:pt x="47" y="259"/>
                    <a:pt x="46" y="260"/>
                    <a:pt x="44" y="263"/>
                  </a:cubicBezTo>
                  <a:cubicBezTo>
                    <a:pt x="43" y="264"/>
                    <a:pt x="42" y="265"/>
                    <a:pt x="41" y="267"/>
                  </a:cubicBezTo>
                  <a:cubicBezTo>
                    <a:pt x="40" y="269"/>
                    <a:pt x="40" y="271"/>
                    <a:pt x="40" y="273"/>
                  </a:cubicBezTo>
                  <a:cubicBezTo>
                    <a:pt x="38" y="277"/>
                    <a:pt x="36" y="276"/>
                    <a:pt x="34" y="279"/>
                  </a:cubicBezTo>
                  <a:cubicBezTo>
                    <a:pt x="33" y="280"/>
                    <a:pt x="33" y="282"/>
                    <a:pt x="33" y="283"/>
                  </a:cubicBezTo>
                  <a:cubicBezTo>
                    <a:pt x="32" y="285"/>
                    <a:pt x="31" y="286"/>
                    <a:pt x="31" y="288"/>
                  </a:cubicBezTo>
                  <a:cubicBezTo>
                    <a:pt x="31" y="291"/>
                    <a:pt x="31" y="296"/>
                    <a:pt x="33" y="297"/>
                  </a:cubicBezTo>
                  <a:cubicBezTo>
                    <a:pt x="34" y="298"/>
                    <a:pt x="36" y="297"/>
                    <a:pt x="37" y="299"/>
                  </a:cubicBezTo>
                  <a:cubicBezTo>
                    <a:pt x="38" y="302"/>
                    <a:pt x="36" y="304"/>
                    <a:pt x="36" y="306"/>
                  </a:cubicBezTo>
                  <a:cubicBezTo>
                    <a:pt x="37" y="306"/>
                    <a:pt x="37" y="306"/>
                    <a:pt x="37" y="306"/>
                  </a:cubicBezTo>
                  <a:cubicBezTo>
                    <a:pt x="34" y="319"/>
                    <a:pt x="31" y="332"/>
                    <a:pt x="29" y="345"/>
                  </a:cubicBezTo>
                  <a:cubicBezTo>
                    <a:pt x="29" y="345"/>
                    <a:pt x="30" y="345"/>
                    <a:pt x="30" y="345"/>
                  </a:cubicBezTo>
                  <a:cubicBezTo>
                    <a:pt x="31" y="348"/>
                    <a:pt x="31" y="350"/>
                    <a:pt x="32" y="352"/>
                  </a:cubicBezTo>
                  <a:cubicBezTo>
                    <a:pt x="33" y="355"/>
                    <a:pt x="34" y="357"/>
                    <a:pt x="34" y="359"/>
                  </a:cubicBezTo>
                  <a:cubicBezTo>
                    <a:pt x="35" y="364"/>
                    <a:pt x="36" y="371"/>
                    <a:pt x="39" y="373"/>
                  </a:cubicBezTo>
                  <a:cubicBezTo>
                    <a:pt x="42" y="375"/>
                    <a:pt x="45" y="376"/>
                    <a:pt x="46" y="379"/>
                  </a:cubicBezTo>
                  <a:cubicBezTo>
                    <a:pt x="47" y="380"/>
                    <a:pt x="46" y="382"/>
                    <a:pt x="47" y="383"/>
                  </a:cubicBezTo>
                  <a:cubicBezTo>
                    <a:pt x="47" y="384"/>
                    <a:pt x="49" y="386"/>
                    <a:pt x="50" y="387"/>
                  </a:cubicBezTo>
                  <a:cubicBezTo>
                    <a:pt x="51" y="387"/>
                    <a:pt x="51" y="387"/>
                    <a:pt x="52" y="387"/>
                  </a:cubicBezTo>
                  <a:cubicBezTo>
                    <a:pt x="53" y="388"/>
                    <a:pt x="53" y="388"/>
                    <a:pt x="53" y="389"/>
                  </a:cubicBezTo>
                  <a:cubicBezTo>
                    <a:pt x="53" y="390"/>
                    <a:pt x="54" y="391"/>
                    <a:pt x="55" y="391"/>
                  </a:cubicBezTo>
                  <a:cubicBezTo>
                    <a:pt x="55" y="391"/>
                    <a:pt x="56" y="391"/>
                    <a:pt x="56" y="391"/>
                  </a:cubicBezTo>
                  <a:cubicBezTo>
                    <a:pt x="57" y="393"/>
                    <a:pt x="55" y="395"/>
                    <a:pt x="55" y="396"/>
                  </a:cubicBezTo>
                  <a:cubicBezTo>
                    <a:pt x="56" y="398"/>
                    <a:pt x="57" y="399"/>
                    <a:pt x="58" y="400"/>
                  </a:cubicBezTo>
                  <a:cubicBezTo>
                    <a:pt x="58" y="400"/>
                    <a:pt x="58" y="401"/>
                    <a:pt x="58" y="401"/>
                  </a:cubicBezTo>
                  <a:cubicBezTo>
                    <a:pt x="58" y="402"/>
                    <a:pt x="58" y="403"/>
                    <a:pt x="58" y="404"/>
                  </a:cubicBezTo>
                  <a:cubicBezTo>
                    <a:pt x="60" y="405"/>
                    <a:pt x="65" y="406"/>
                    <a:pt x="66" y="404"/>
                  </a:cubicBezTo>
                  <a:cubicBezTo>
                    <a:pt x="67" y="402"/>
                    <a:pt x="66" y="395"/>
                    <a:pt x="69" y="394"/>
                  </a:cubicBezTo>
                  <a:cubicBezTo>
                    <a:pt x="70" y="394"/>
                    <a:pt x="71" y="395"/>
                    <a:pt x="71" y="395"/>
                  </a:cubicBezTo>
                  <a:cubicBezTo>
                    <a:pt x="72" y="395"/>
                    <a:pt x="73" y="395"/>
                    <a:pt x="73" y="394"/>
                  </a:cubicBezTo>
                  <a:cubicBezTo>
                    <a:pt x="73" y="394"/>
                    <a:pt x="75" y="392"/>
                    <a:pt x="75" y="391"/>
                  </a:cubicBezTo>
                  <a:cubicBezTo>
                    <a:pt x="76" y="390"/>
                    <a:pt x="76" y="388"/>
                    <a:pt x="77" y="386"/>
                  </a:cubicBezTo>
                  <a:cubicBezTo>
                    <a:pt x="77" y="385"/>
                    <a:pt x="78" y="383"/>
                    <a:pt x="79" y="382"/>
                  </a:cubicBezTo>
                  <a:cubicBezTo>
                    <a:pt x="81" y="379"/>
                    <a:pt x="82" y="379"/>
                    <a:pt x="85" y="379"/>
                  </a:cubicBezTo>
                  <a:cubicBezTo>
                    <a:pt x="86" y="379"/>
                    <a:pt x="88" y="380"/>
                    <a:pt x="89" y="380"/>
                  </a:cubicBezTo>
                  <a:cubicBezTo>
                    <a:pt x="90" y="379"/>
                    <a:pt x="91" y="376"/>
                    <a:pt x="92" y="375"/>
                  </a:cubicBezTo>
                  <a:cubicBezTo>
                    <a:pt x="92" y="375"/>
                    <a:pt x="93" y="373"/>
                    <a:pt x="94" y="373"/>
                  </a:cubicBezTo>
                  <a:cubicBezTo>
                    <a:pt x="96" y="371"/>
                    <a:pt x="96" y="371"/>
                    <a:pt x="96" y="368"/>
                  </a:cubicBezTo>
                  <a:cubicBezTo>
                    <a:pt x="97" y="365"/>
                    <a:pt x="100" y="363"/>
                    <a:pt x="101" y="360"/>
                  </a:cubicBezTo>
                  <a:cubicBezTo>
                    <a:pt x="102" y="360"/>
                    <a:pt x="105" y="360"/>
                    <a:pt x="106" y="359"/>
                  </a:cubicBezTo>
                  <a:cubicBezTo>
                    <a:pt x="108" y="358"/>
                    <a:pt x="108" y="356"/>
                    <a:pt x="109" y="353"/>
                  </a:cubicBezTo>
                  <a:cubicBezTo>
                    <a:pt x="109" y="351"/>
                    <a:pt x="110" y="348"/>
                    <a:pt x="111" y="346"/>
                  </a:cubicBezTo>
                  <a:cubicBezTo>
                    <a:pt x="111" y="344"/>
                    <a:pt x="111" y="343"/>
                    <a:pt x="112" y="342"/>
                  </a:cubicBezTo>
                  <a:cubicBezTo>
                    <a:pt x="113" y="342"/>
                    <a:pt x="113" y="341"/>
                    <a:pt x="113" y="340"/>
                  </a:cubicBezTo>
                  <a:cubicBezTo>
                    <a:pt x="113" y="339"/>
                    <a:pt x="114" y="338"/>
                    <a:pt x="114" y="337"/>
                  </a:cubicBezTo>
                  <a:cubicBezTo>
                    <a:pt x="115" y="335"/>
                    <a:pt x="117" y="335"/>
                    <a:pt x="118" y="334"/>
                  </a:cubicBezTo>
                  <a:cubicBezTo>
                    <a:pt x="119" y="332"/>
                    <a:pt x="118" y="332"/>
                    <a:pt x="120" y="331"/>
                  </a:cubicBezTo>
                  <a:cubicBezTo>
                    <a:pt x="120" y="331"/>
                    <a:pt x="122" y="332"/>
                    <a:pt x="123" y="332"/>
                  </a:cubicBezTo>
                  <a:cubicBezTo>
                    <a:pt x="123" y="332"/>
                    <a:pt x="124" y="331"/>
                    <a:pt x="125" y="331"/>
                  </a:cubicBezTo>
                  <a:cubicBezTo>
                    <a:pt x="126" y="332"/>
                    <a:pt x="127" y="332"/>
                    <a:pt x="128" y="332"/>
                  </a:cubicBezTo>
                  <a:cubicBezTo>
                    <a:pt x="131" y="333"/>
                    <a:pt x="135" y="334"/>
                    <a:pt x="138" y="335"/>
                  </a:cubicBezTo>
                  <a:cubicBezTo>
                    <a:pt x="140" y="335"/>
                    <a:pt x="141" y="336"/>
                    <a:pt x="143" y="334"/>
                  </a:cubicBezTo>
                  <a:cubicBezTo>
                    <a:pt x="144" y="333"/>
                    <a:pt x="146" y="332"/>
                    <a:pt x="147" y="331"/>
                  </a:cubicBezTo>
                  <a:cubicBezTo>
                    <a:pt x="151" y="328"/>
                    <a:pt x="154" y="332"/>
                    <a:pt x="158" y="329"/>
                  </a:cubicBezTo>
                  <a:cubicBezTo>
                    <a:pt x="160" y="327"/>
                    <a:pt x="160" y="325"/>
                    <a:pt x="161" y="323"/>
                  </a:cubicBezTo>
                  <a:cubicBezTo>
                    <a:pt x="161" y="321"/>
                    <a:pt x="163" y="319"/>
                    <a:pt x="164" y="318"/>
                  </a:cubicBezTo>
                  <a:cubicBezTo>
                    <a:pt x="165" y="316"/>
                    <a:pt x="167" y="315"/>
                    <a:pt x="168" y="313"/>
                  </a:cubicBezTo>
                  <a:cubicBezTo>
                    <a:pt x="169" y="312"/>
                    <a:pt x="168" y="310"/>
                    <a:pt x="169" y="309"/>
                  </a:cubicBezTo>
                  <a:cubicBezTo>
                    <a:pt x="170" y="308"/>
                    <a:pt x="171" y="308"/>
                    <a:pt x="172" y="307"/>
                  </a:cubicBezTo>
                  <a:cubicBezTo>
                    <a:pt x="176" y="304"/>
                    <a:pt x="178" y="303"/>
                    <a:pt x="182" y="303"/>
                  </a:cubicBezTo>
                  <a:cubicBezTo>
                    <a:pt x="183" y="302"/>
                    <a:pt x="185" y="302"/>
                    <a:pt x="187" y="301"/>
                  </a:cubicBezTo>
                  <a:cubicBezTo>
                    <a:pt x="190" y="301"/>
                    <a:pt x="192" y="301"/>
                    <a:pt x="194" y="302"/>
                  </a:cubicBezTo>
                  <a:cubicBezTo>
                    <a:pt x="197" y="302"/>
                    <a:pt x="198" y="303"/>
                    <a:pt x="200" y="305"/>
                  </a:cubicBezTo>
                  <a:cubicBezTo>
                    <a:pt x="202" y="306"/>
                    <a:pt x="204" y="308"/>
                    <a:pt x="207" y="307"/>
                  </a:cubicBezTo>
                  <a:cubicBezTo>
                    <a:pt x="208" y="307"/>
                    <a:pt x="210" y="306"/>
                    <a:pt x="212" y="305"/>
                  </a:cubicBezTo>
                  <a:cubicBezTo>
                    <a:pt x="213" y="305"/>
                    <a:pt x="214" y="304"/>
                    <a:pt x="215" y="304"/>
                  </a:cubicBezTo>
                  <a:cubicBezTo>
                    <a:pt x="216" y="304"/>
                    <a:pt x="216" y="303"/>
                    <a:pt x="217" y="302"/>
                  </a:cubicBezTo>
                  <a:cubicBezTo>
                    <a:pt x="219" y="302"/>
                    <a:pt x="221" y="302"/>
                    <a:pt x="222" y="301"/>
                  </a:cubicBezTo>
                  <a:cubicBezTo>
                    <a:pt x="224" y="300"/>
                    <a:pt x="224" y="298"/>
                    <a:pt x="226" y="2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50">
              <a:extLst>
                <a:ext uri="{FF2B5EF4-FFF2-40B4-BE49-F238E27FC236}">
                  <a16:creationId xmlns:a16="http://schemas.microsoft.com/office/drawing/2014/main" id="{E25D7939-5D1A-4B96-89E1-91010618B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921" y="114509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51">
              <a:extLst>
                <a:ext uri="{FF2B5EF4-FFF2-40B4-BE49-F238E27FC236}">
                  <a16:creationId xmlns:a16="http://schemas.microsoft.com/office/drawing/2014/main" id="{C32E9251-9A48-4767-A64F-9E909A7B8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253" y="1765069"/>
              <a:ext cx="55034" cy="71881"/>
            </a:xfrm>
            <a:custGeom>
              <a:avLst/>
              <a:gdLst>
                <a:gd name="T0" fmla="*/ 23 w 26"/>
                <a:gd name="T1" fmla="*/ 20 h 34"/>
                <a:gd name="T2" fmla="*/ 26 w 26"/>
                <a:gd name="T3" fmla="*/ 9 h 34"/>
                <a:gd name="T4" fmla="*/ 24 w 26"/>
                <a:gd name="T5" fmla="*/ 9 h 34"/>
                <a:gd name="T6" fmla="*/ 23 w 26"/>
                <a:gd name="T7" fmla="*/ 7 h 34"/>
                <a:gd name="T8" fmla="*/ 22 w 26"/>
                <a:gd name="T9" fmla="*/ 6 h 34"/>
                <a:gd name="T10" fmla="*/ 20 w 26"/>
                <a:gd name="T11" fmla="*/ 5 h 34"/>
                <a:gd name="T12" fmla="*/ 20 w 26"/>
                <a:gd name="T13" fmla="*/ 2 h 34"/>
                <a:gd name="T14" fmla="*/ 16 w 26"/>
                <a:gd name="T15" fmla="*/ 2 h 34"/>
                <a:gd name="T16" fmla="*/ 12 w 26"/>
                <a:gd name="T17" fmla="*/ 0 h 34"/>
                <a:gd name="T18" fmla="*/ 8 w 26"/>
                <a:gd name="T19" fmla="*/ 2 h 34"/>
                <a:gd name="T20" fmla="*/ 3 w 26"/>
                <a:gd name="T21" fmla="*/ 4 h 34"/>
                <a:gd name="T22" fmla="*/ 2 w 26"/>
                <a:gd name="T23" fmla="*/ 9 h 34"/>
                <a:gd name="T24" fmla="*/ 1 w 26"/>
                <a:gd name="T25" fmla="*/ 14 h 34"/>
                <a:gd name="T26" fmla="*/ 1 w 26"/>
                <a:gd name="T27" fmla="*/ 28 h 34"/>
                <a:gd name="T28" fmla="*/ 6 w 26"/>
                <a:gd name="T29" fmla="*/ 23 h 34"/>
                <a:gd name="T30" fmla="*/ 13 w 26"/>
                <a:gd name="T31" fmla="*/ 20 h 34"/>
                <a:gd name="T32" fmla="*/ 23 w 26"/>
                <a:gd name="T33" fmla="*/ 2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34">
                  <a:moveTo>
                    <a:pt x="23" y="20"/>
                  </a:moveTo>
                  <a:cubicBezTo>
                    <a:pt x="26" y="18"/>
                    <a:pt x="25" y="13"/>
                    <a:pt x="26" y="9"/>
                  </a:cubicBezTo>
                  <a:cubicBezTo>
                    <a:pt x="25" y="9"/>
                    <a:pt x="25" y="9"/>
                    <a:pt x="24" y="9"/>
                  </a:cubicBezTo>
                  <a:cubicBezTo>
                    <a:pt x="24" y="8"/>
                    <a:pt x="23" y="8"/>
                    <a:pt x="23" y="7"/>
                  </a:cubicBezTo>
                  <a:cubicBezTo>
                    <a:pt x="23" y="7"/>
                    <a:pt x="22" y="6"/>
                    <a:pt x="22" y="6"/>
                  </a:cubicBezTo>
                  <a:cubicBezTo>
                    <a:pt x="22" y="6"/>
                    <a:pt x="21" y="5"/>
                    <a:pt x="20" y="5"/>
                  </a:cubicBezTo>
                  <a:cubicBezTo>
                    <a:pt x="20" y="4"/>
                    <a:pt x="20" y="3"/>
                    <a:pt x="20" y="2"/>
                  </a:cubicBezTo>
                  <a:cubicBezTo>
                    <a:pt x="19" y="2"/>
                    <a:pt x="17" y="2"/>
                    <a:pt x="16" y="2"/>
                  </a:cubicBezTo>
                  <a:cubicBezTo>
                    <a:pt x="14" y="1"/>
                    <a:pt x="14" y="0"/>
                    <a:pt x="12" y="0"/>
                  </a:cubicBezTo>
                  <a:cubicBezTo>
                    <a:pt x="10" y="1"/>
                    <a:pt x="10" y="1"/>
                    <a:pt x="8" y="2"/>
                  </a:cubicBezTo>
                  <a:cubicBezTo>
                    <a:pt x="7" y="4"/>
                    <a:pt x="5" y="3"/>
                    <a:pt x="3" y="4"/>
                  </a:cubicBezTo>
                  <a:cubicBezTo>
                    <a:pt x="2" y="5"/>
                    <a:pt x="3" y="6"/>
                    <a:pt x="2" y="9"/>
                  </a:cubicBezTo>
                  <a:cubicBezTo>
                    <a:pt x="2" y="12"/>
                    <a:pt x="1" y="12"/>
                    <a:pt x="1" y="14"/>
                  </a:cubicBezTo>
                  <a:cubicBezTo>
                    <a:pt x="1" y="17"/>
                    <a:pt x="0" y="26"/>
                    <a:pt x="1" y="28"/>
                  </a:cubicBezTo>
                  <a:cubicBezTo>
                    <a:pt x="3" y="34"/>
                    <a:pt x="4" y="25"/>
                    <a:pt x="6" y="23"/>
                  </a:cubicBezTo>
                  <a:cubicBezTo>
                    <a:pt x="8" y="19"/>
                    <a:pt x="10" y="20"/>
                    <a:pt x="13" y="20"/>
                  </a:cubicBezTo>
                  <a:cubicBezTo>
                    <a:pt x="16" y="20"/>
                    <a:pt x="20" y="21"/>
                    <a:pt x="2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52">
              <a:extLst>
                <a:ext uri="{FF2B5EF4-FFF2-40B4-BE49-F238E27FC236}">
                  <a16:creationId xmlns:a16="http://schemas.microsoft.com/office/drawing/2014/main" id="{32CF9006-1078-45AE-ACD9-96C25DFAE8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0794" y="1961619"/>
              <a:ext cx="1123" cy="2246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1" y="0"/>
                    <a:pt x="1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53">
              <a:extLst>
                <a:ext uri="{FF2B5EF4-FFF2-40B4-BE49-F238E27FC236}">
                  <a16:creationId xmlns:a16="http://schemas.microsoft.com/office/drawing/2014/main" id="{528680D0-B9CA-446B-9A90-CB599FDABA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2433" y="1947018"/>
              <a:ext cx="178579" cy="174087"/>
            </a:xfrm>
            <a:custGeom>
              <a:avLst/>
              <a:gdLst>
                <a:gd name="T0" fmla="*/ 34 w 85"/>
                <a:gd name="T1" fmla="*/ 83 h 83"/>
                <a:gd name="T2" fmla="*/ 46 w 85"/>
                <a:gd name="T3" fmla="*/ 80 h 83"/>
                <a:gd name="T4" fmla="*/ 55 w 85"/>
                <a:gd name="T5" fmla="*/ 72 h 83"/>
                <a:gd name="T6" fmla="*/ 60 w 85"/>
                <a:gd name="T7" fmla="*/ 72 h 83"/>
                <a:gd name="T8" fmla="*/ 63 w 85"/>
                <a:gd name="T9" fmla="*/ 74 h 83"/>
                <a:gd name="T10" fmla="*/ 69 w 85"/>
                <a:gd name="T11" fmla="*/ 67 h 83"/>
                <a:gd name="T12" fmla="*/ 71 w 85"/>
                <a:gd name="T13" fmla="*/ 66 h 83"/>
                <a:gd name="T14" fmla="*/ 73 w 85"/>
                <a:gd name="T15" fmla="*/ 57 h 83"/>
                <a:gd name="T16" fmla="*/ 78 w 85"/>
                <a:gd name="T17" fmla="*/ 53 h 83"/>
                <a:gd name="T18" fmla="*/ 81 w 85"/>
                <a:gd name="T19" fmla="*/ 53 h 83"/>
                <a:gd name="T20" fmla="*/ 83 w 85"/>
                <a:gd name="T21" fmla="*/ 50 h 83"/>
                <a:gd name="T22" fmla="*/ 85 w 85"/>
                <a:gd name="T23" fmla="*/ 42 h 83"/>
                <a:gd name="T24" fmla="*/ 85 w 85"/>
                <a:gd name="T25" fmla="*/ 32 h 83"/>
                <a:gd name="T26" fmla="*/ 83 w 85"/>
                <a:gd name="T27" fmla="*/ 31 h 83"/>
                <a:gd name="T28" fmla="*/ 81 w 85"/>
                <a:gd name="T29" fmla="*/ 25 h 83"/>
                <a:gd name="T30" fmla="*/ 81 w 85"/>
                <a:gd name="T31" fmla="*/ 16 h 83"/>
                <a:gd name="T32" fmla="*/ 79 w 85"/>
                <a:gd name="T33" fmla="*/ 10 h 83"/>
                <a:gd name="T34" fmla="*/ 74 w 85"/>
                <a:gd name="T35" fmla="*/ 7 h 83"/>
                <a:gd name="T36" fmla="*/ 75 w 85"/>
                <a:gd name="T37" fmla="*/ 7 h 83"/>
                <a:gd name="T38" fmla="*/ 72 w 85"/>
                <a:gd name="T39" fmla="*/ 5 h 83"/>
                <a:gd name="T40" fmla="*/ 62 w 85"/>
                <a:gd name="T41" fmla="*/ 2 h 83"/>
                <a:gd name="T42" fmla="*/ 57 w 85"/>
                <a:gd name="T43" fmla="*/ 0 h 83"/>
                <a:gd name="T44" fmla="*/ 54 w 85"/>
                <a:gd name="T45" fmla="*/ 5 h 83"/>
                <a:gd name="T46" fmla="*/ 53 w 85"/>
                <a:gd name="T47" fmla="*/ 7 h 83"/>
                <a:gd name="T48" fmla="*/ 53 w 85"/>
                <a:gd name="T49" fmla="*/ 11 h 83"/>
                <a:gd name="T50" fmla="*/ 52 w 85"/>
                <a:gd name="T51" fmla="*/ 13 h 83"/>
                <a:gd name="T52" fmla="*/ 52 w 85"/>
                <a:gd name="T53" fmla="*/ 17 h 83"/>
                <a:gd name="T54" fmla="*/ 47 w 85"/>
                <a:gd name="T55" fmla="*/ 19 h 83"/>
                <a:gd name="T56" fmla="*/ 45 w 85"/>
                <a:gd name="T57" fmla="*/ 20 h 83"/>
                <a:gd name="T58" fmla="*/ 42 w 85"/>
                <a:gd name="T59" fmla="*/ 16 h 83"/>
                <a:gd name="T60" fmla="*/ 37 w 85"/>
                <a:gd name="T61" fmla="*/ 16 h 83"/>
                <a:gd name="T62" fmla="*/ 34 w 85"/>
                <a:gd name="T63" fmla="*/ 17 h 83"/>
                <a:gd name="T64" fmla="*/ 33 w 85"/>
                <a:gd name="T65" fmla="*/ 21 h 83"/>
                <a:gd name="T66" fmla="*/ 27 w 85"/>
                <a:gd name="T67" fmla="*/ 14 h 83"/>
                <a:gd name="T68" fmla="*/ 17 w 85"/>
                <a:gd name="T69" fmla="*/ 12 h 83"/>
                <a:gd name="T70" fmla="*/ 10 w 85"/>
                <a:gd name="T71" fmla="*/ 12 h 83"/>
                <a:gd name="T72" fmla="*/ 6 w 85"/>
                <a:gd name="T73" fmla="*/ 14 h 83"/>
                <a:gd name="T74" fmla="*/ 4 w 85"/>
                <a:gd name="T75" fmla="*/ 21 h 83"/>
                <a:gd name="T76" fmla="*/ 3 w 85"/>
                <a:gd name="T77" fmla="*/ 28 h 83"/>
                <a:gd name="T78" fmla="*/ 1 w 85"/>
                <a:gd name="T79" fmla="*/ 29 h 83"/>
                <a:gd name="T80" fmla="*/ 1 w 85"/>
                <a:gd name="T81" fmla="*/ 44 h 83"/>
                <a:gd name="T82" fmla="*/ 4 w 85"/>
                <a:gd name="T83" fmla="*/ 50 h 83"/>
                <a:gd name="T84" fmla="*/ 8 w 85"/>
                <a:gd name="T85" fmla="*/ 52 h 83"/>
                <a:gd name="T86" fmla="*/ 9 w 85"/>
                <a:gd name="T87" fmla="*/ 58 h 83"/>
                <a:gd name="T88" fmla="*/ 13 w 85"/>
                <a:gd name="T89" fmla="*/ 61 h 83"/>
                <a:gd name="T90" fmla="*/ 17 w 85"/>
                <a:gd name="T91" fmla="*/ 67 h 83"/>
                <a:gd name="T92" fmla="*/ 22 w 85"/>
                <a:gd name="T93" fmla="*/ 68 h 83"/>
                <a:gd name="T94" fmla="*/ 25 w 85"/>
                <a:gd name="T95" fmla="*/ 71 h 83"/>
                <a:gd name="T96" fmla="*/ 27 w 85"/>
                <a:gd name="T97" fmla="*/ 77 h 83"/>
                <a:gd name="T98" fmla="*/ 30 w 85"/>
                <a:gd name="T99" fmla="*/ 80 h 83"/>
                <a:gd name="T100" fmla="*/ 34 w 85"/>
                <a:gd name="T10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5" h="83">
                  <a:moveTo>
                    <a:pt x="34" y="83"/>
                  </a:moveTo>
                  <a:cubicBezTo>
                    <a:pt x="39" y="82"/>
                    <a:pt x="42" y="82"/>
                    <a:pt x="46" y="80"/>
                  </a:cubicBezTo>
                  <a:cubicBezTo>
                    <a:pt x="51" y="78"/>
                    <a:pt x="54" y="80"/>
                    <a:pt x="55" y="72"/>
                  </a:cubicBezTo>
                  <a:cubicBezTo>
                    <a:pt x="56" y="72"/>
                    <a:pt x="58" y="72"/>
                    <a:pt x="60" y="72"/>
                  </a:cubicBezTo>
                  <a:cubicBezTo>
                    <a:pt x="61" y="72"/>
                    <a:pt x="62" y="74"/>
                    <a:pt x="63" y="74"/>
                  </a:cubicBezTo>
                  <a:cubicBezTo>
                    <a:pt x="66" y="74"/>
                    <a:pt x="69" y="70"/>
                    <a:pt x="69" y="67"/>
                  </a:cubicBezTo>
                  <a:cubicBezTo>
                    <a:pt x="69" y="67"/>
                    <a:pt x="70" y="67"/>
                    <a:pt x="71" y="66"/>
                  </a:cubicBezTo>
                  <a:cubicBezTo>
                    <a:pt x="71" y="63"/>
                    <a:pt x="72" y="60"/>
                    <a:pt x="73" y="57"/>
                  </a:cubicBezTo>
                  <a:cubicBezTo>
                    <a:pt x="75" y="56"/>
                    <a:pt x="76" y="54"/>
                    <a:pt x="78" y="53"/>
                  </a:cubicBezTo>
                  <a:cubicBezTo>
                    <a:pt x="79" y="53"/>
                    <a:pt x="80" y="53"/>
                    <a:pt x="81" y="53"/>
                  </a:cubicBezTo>
                  <a:cubicBezTo>
                    <a:pt x="83" y="52"/>
                    <a:pt x="82" y="51"/>
                    <a:pt x="83" y="50"/>
                  </a:cubicBezTo>
                  <a:cubicBezTo>
                    <a:pt x="85" y="47"/>
                    <a:pt x="85" y="47"/>
                    <a:pt x="85" y="42"/>
                  </a:cubicBezTo>
                  <a:cubicBezTo>
                    <a:pt x="85" y="39"/>
                    <a:pt x="85" y="35"/>
                    <a:pt x="85" y="32"/>
                  </a:cubicBezTo>
                  <a:cubicBezTo>
                    <a:pt x="84" y="32"/>
                    <a:pt x="83" y="32"/>
                    <a:pt x="83" y="31"/>
                  </a:cubicBezTo>
                  <a:cubicBezTo>
                    <a:pt x="82" y="29"/>
                    <a:pt x="82" y="27"/>
                    <a:pt x="81" y="25"/>
                  </a:cubicBezTo>
                  <a:cubicBezTo>
                    <a:pt x="81" y="22"/>
                    <a:pt x="81" y="19"/>
                    <a:pt x="81" y="16"/>
                  </a:cubicBezTo>
                  <a:cubicBezTo>
                    <a:pt x="81" y="12"/>
                    <a:pt x="81" y="12"/>
                    <a:pt x="79" y="10"/>
                  </a:cubicBezTo>
                  <a:cubicBezTo>
                    <a:pt x="78" y="9"/>
                    <a:pt x="76" y="7"/>
                    <a:pt x="74" y="7"/>
                  </a:cubicBezTo>
                  <a:cubicBezTo>
                    <a:pt x="74" y="7"/>
                    <a:pt x="75" y="7"/>
                    <a:pt x="75" y="7"/>
                  </a:cubicBezTo>
                  <a:cubicBezTo>
                    <a:pt x="74" y="6"/>
                    <a:pt x="72" y="5"/>
                    <a:pt x="72" y="5"/>
                  </a:cubicBezTo>
                  <a:cubicBezTo>
                    <a:pt x="69" y="6"/>
                    <a:pt x="66" y="3"/>
                    <a:pt x="62" y="2"/>
                  </a:cubicBezTo>
                  <a:cubicBezTo>
                    <a:pt x="61" y="1"/>
                    <a:pt x="59" y="0"/>
                    <a:pt x="57" y="0"/>
                  </a:cubicBezTo>
                  <a:cubicBezTo>
                    <a:pt x="54" y="0"/>
                    <a:pt x="55" y="2"/>
                    <a:pt x="54" y="5"/>
                  </a:cubicBezTo>
                  <a:cubicBezTo>
                    <a:pt x="54" y="5"/>
                    <a:pt x="53" y="6"/>
                    <a:pt x="53" y="7"/>
                  </a:cubicBezTo>
                  <a:cubicBezTo>
                    <a:pt x="53" y="8"/>
                    <a:pt x="53" y="10"/>
                    <a:pt x="53" y="11"/>
                  </a:cubicBezTo>
                  <a:cubicBezTo>
                    <a:pt x="53" y="12"/>
                    <a:pt x="53" y="12"/>
                    <a:pt x="52" y="13"/>
                  </a:cubicBezTo>
                  <a:cubicBezTo>
                    <a:pt x="52" y="14"/>
                    <a:pt x="52" y="16"/>
                    <a:pt x="52" y="17"/>
                  </a:cubicBezTo>
                  <a:cubicBezTo>
                    <a:pt x="51" y="20"/>
                    <a:pt x="49" y="19"/>
                    <a:pt x="47" y="19"/>
                  </a:cubicBezTo>
                  <a:cubicBezTo>
                    <a:pt x="46" y="19"/>
                    <a:pt x="45" y="19"/>
                    <a:pt x="45" y="20"/>
                  </a:cubicBezTo>
                  <a:cubicBezTo>
                    <a:pt x="43" y="19"/>
                    <a:pt x="43" y="17"/>
                    <a:pt x="42" y="16"/>
                  </a:cubicBezTo>
                  <a:cubicBezTo>
                    <a:pt x="41" y="15"/>
                    <a:pt x="38" y="16"/>
                    <a:pt x="37" y="16"/>
                  </a:cubicBezTo>
                  <a:cubicBezTo>
                    <a:pt x="36" y="16"/>
                    <a:pt x="35" y="16"/>
                    <a:pt x="34" y="17"/>
                  </a:cubicBezTo>
                  <a:cubicBezTo>
                    <a:pt x="34" y="18"/>
                    <a:pt x="33" y="21"/>
                    <a:pt x="33" y="21"/>
                  </a:cubicBezTo>
                  <a:cubicBezTo>
                    <a:pt x="29" y="24"/>
                    <a:pt x="28" y="17"/>
                    <a:pt x="27" y="14"/>
                  </a:cubicBezTo>
                  <a:cubicBezTo>
                    <a:pt x="25" y="11"/>
                    <a:pt x="20" y="12"/>
                    <a:pt x="17" y="12"/>
                  </a:cubicBezTo>
                  <a:cubicBezTo>
                    <a:pt x="15" y="12"/>
                    <a:pt x="12" y="12"/>
                    <a:pt x="10" y="12"/>
                  </a:cubicBezTo>
                  <a:cubicBezTo>
                    <a:pt x="9" y="13"/>
                    <a:pt x="8" y="14"/>
                    <a:pt x="6" y="14"/>
                  </a:cubicBezTo>
                  <a:cubicBezTo>
                    <a:pt x="6" y="16"/>
                    <a:pt x="5" y="20"/>
                    <a:pt x="4" y="21"/>
                  </a:cubicBezTo>
                  <a:cubicBezTo>
                    <a:pt x="4" y="23"/>
                    <a:pt x="3" y="26"/>
                    <a:pt x="3" y="28"/>
                  </a:cubicBezTo>
                  <a:cubicBezTo>
                    <a:pt x="2" y="28"/>
                    <a:pt x="1" y="28"/>
                    <a:pt x="1" y="29"/>
                  </a:cubicBezTo>
                  <a:cubicBezTo>
                    <a:pt x="0" y="32"/>
                    <a:pt x="0" y="40"/>
                    <a:pt x="1" y="44"/>
                  </a:cubicBezTo>
                  <a:cubicBezTo>
                    <a:pt x="1" y="45"/>
                    <a:pt x="3" y="49"/>
                    <a:pt x="4" y="50"/>
                  </a:cubicBezTo>
                  <a:cubicBezTo>
                    <a:pt x="5" y="51"/>
                    <a:pt x="7" y="50"/>
                    <a:pt x="8" y="52"/>
                  </a:cubicBezTo>
                  <a:cubicBezTo>
                    <a:pt x="10" y="54"/>
                    <a:pt x="9" y="56"/>
                    <a:pt x="9" y="58"/>
                  </a:cubicBezTo>
                  <a:cubicBezTo>
                    <a:pt x="11" y="60"/>
                    <a:pt x="12" y="60"/>
                    <a:pt x="13" y="61"/>
                  </a:cubicBezTo>
                  <a:cubicBezTo>
                    <a:pt x="15" y="64"/>
                    <a:pt x="14" y="66"/>
                    <a:pt x="17" y="67"/>
                  </a:cubicBezTo>
                  <a:cubicBezTo>
                    <a:pt x="19" y="68"/>
                    <a:pt x="20" y="67"/>
                    <a:pt x="22" y="68"/>
                  </a:cubicBezTo>
                  <a:cubicBezTo>
                    <a:pt x="24" y="69"/>
                    <a:pt x="24" y="69"/>
                    <a:pt x="25" y="71"/>
                  </a:cubicBezTo>
                  <a:cubicBezTo>
                    <a:pt x="27" y="73"/>
                    <a:pt x="26" y="74"/>
                    <a:pt x="27" y="77"/>
                  </a:cubicBezTo>
                  <a:cubicBezTo>
                    <a:pt x="27" y="79"/>
                    <a:pt x="29" y="79"/>
                    <a:pt x="30" y="80"/>
                  </a:cubicBezTo>
                  <a:cubicBezTo>
                    <a:pt x="32" y="82"/>
                    <a:pt x="32" y="83"/>
                    <a:pt x="34" y="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54">
              <a:extLst>
                <a:ext uri="{FF2B5EF4-FFF2-40B4-BE49-F238E27FC236}">
                  <a16:creationId xmlns:a16="http://schemas.microsoft.com/office/drawing/2014/main" id="{8C4CF6E9-3019-4371-A42C-99D0DE9E5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0480" y="1049631"/>
              <a:ext cx="147130" cy="156116"/>
            </a:xfrm>
            <a:custGeom>
              <a:avLst/>
              <a:gdLst>
                <a:gd name="T0" fmla="*/ 9 w 70"/>
                <a:gd name="T1" fmla="*/ 23 h 74"/>
                <a:gd name="T2" fmla="*/ 13 w 70"/>
                <a:gd name="T3" fmla="*/ 31 h 74"/>
                <a:gd name="T4" fmla="*/ 16 w 70"/>
                <a:gd name="T5" fmla="*/ 40 h 74"/>
                <a:gd name="T6" fmla="*/ 22 w 70"/>
                <a:gd name="T7" fmla="*/ 35 h 74"/>
                <a:gd name="T8" fmla="*/ 23 w 70"/>
                <a:gd name="T9" fmla="*/ 30 h 74"/>
                <a:gd name="T10" fmla="*/ 27 w 70"/>
                <a:gd name="T11" fmla="*/ 28 h 74"/>
                <a:gd name="T12" fmla="*/ 35 w 70"/>
                <a:gd name="T13" fmla="*/ 26 h 74"/>
                <a:gd name="T14" fmla="*/ 41 w 70"/>
                <a:gd name="T15" fmla="*/ 23 h 74"/>
                <a:gd name="T16" fmla="*/ 45 w 70"/>
                <a:gd name="T17" fmla="*/ 23 h 74"/>
                <a:gd name="T18" fmla="*/ 47 w 70"/>
                <a:gd name="T19" fmla="*/ 26 h 74"/>
                <a:gd name="T20" fmla="*/ 46 w 70"/>
                <a:gd name="T21" fmla="*/ 31 h 74"/>
                <a:gd name="T22" fmla="*/ 44 w 70"/>
                <a:gd name="T23" fmla="*/ 36 h 74"/>
                <a:gd name="T24" fmla="*/ 31 w 70"/>
                <a:gd name="T25" fmla="*/ 49 h 74"/>
                <a:gd name="T26" fmla="*/ 27 w 70"/>
                <a:gd name="T27" fmla="*/ 49 h 74"/>
                <a:gd name="T28" fmla="*/ 27 w 70"/>
                <a:gd name="T29" fmla="*/ 61 h 74"/>
                <a:gd name="T30" fmla="*/ 28 w 70"/>
                <a:gd name="T31" fmla="*/ 61 h 74"/>
                <a:gd name="T32" fmla="*/ 27 w 70"/>
                <a:gd name="T33" fmla="*/ 66 h 74"/>
                <a:gd name="T34" fmla="*/ 32 w 70"/>
                <a:gd name="T35" fmla="*/ 67 h 74"/>
                <a:gd name="T36" fmla="*/ 32 w 70"/>
                <a:gd name="T37" fmla="*/ 70 h 74"/>
                <a:gd name="T38" fmla="*/ 41 w 70"/>
                <a:gd name="T39" fmla="*/ 71 h 74"/>
                <a:gd name="T40" fmla="*/ 42 w 70"/>
                <a:gd name="T41" fmla="*/ 58 h 74"/>
                <a:gd name="T42" fmla="*/ 49 w 70"/>
                <a:gd name="T43" fmla="*/ 52 h 74"/>
                <a:gd name="T44" fmla="*/ 53 w 70"/>
                <a:gd name="T45" fmla="*/ 49 h 74"/>
                <a:gd name="T46" fmla="*/ 58 w 70"/>
                <a:gd name="T47" fmla="*/ 47 h 74"/>
                <a:gd name="T48" fmla="*/ 60 w 70"/>
                <a:gd name="T49" fmla="*/ 40 h 74"/>
                <a:gd name="T50" fmla="*/ 61 w 70"/>
                <a:gd name="T51" fmla="*/ 36 h 74"/>
                <a:gd name="T52" fmla="*/ 62 w 70"/>
                <a:gd name="T53" fmla="*/ 33 h 74"/>
                <a:gd name="T54" fmla="*/ 63 w 70"/>
                <a:gd name="T55" fmla="*/ 30 h 74"/>
                <a:gd name="T56" fmla="*/ 65 w 70"/>
                <a:gd name="T57" fmla="*/ 28 h 74"/>
                <a:gd name="T58" fmla="*/ 66 w 70"/>
                <a:gd name="T59" fmla="*/ 24 h 74"/>
                <a:gd name="T60" fmla="*/ 70 w 70"/>
                <a:gd name="T61" fmla="*/ 24 h 74"/>
                <a:gd name="T62" fmla="*/ 66 w 70"/>
                <a:gd name="T63" fmla="*/ 15 h 74"/>
                <a:gd name="T64" fmla="*/ 64 w 70"/>
                <a:gd name="T65" fmla="*/ 12 h 74"/>
                <a:gd name="T66" fmla="*/ 61 w 70"/>
                <a:gd name="T67" fmla="*/ 9 h 74"/>
                <a:gd name="T68" fmla="*/ 56 w 70"/>
                <a:gd name="T69" fmla="*/ 8 h 74"/>
                <a:gd name="T70" fmla="*/ 53 w 70"/>
                <a:gd name="T71" fmla="*/ 5 h 74"/>
                <a:gd name="T72" fmla="*/ 50 w 70"/>
                <a:gd name="T73" fmla="*/ 3 h 74"/>
                <a:gd name="T74" fmla="*/ 46 w 70"/>
                <a:gd name="T75" fmla="*/ 0 h 74"/>
                <a:gd name="T76" fmla="*/ 45 w 70"/>
                <a:gd name="T77" fmla="*/ 2 h 74"/>
                <a:gd name="T78" fmla="*/ 37 w 70"/>
                <a:gd name="T79" fmla="*/ 4 h 74"/>
                <a:gd name="T80" fmla="*/ 32 w 70"/>
                <a:gd name="T81" fmla="*/ 9 h 74"/>
                <a:gd name="T82" fmla="*/ 25 w 70"/>
                <a:gd name="T83" fmla="*/ 11 h 74"/>
                <a:gd name="T84" fmla="*/ 24 w 70"/>
                <a:gd name="T85" fmla="*/ 9 h 74"/>
                <a:gd name="T86" fmla="*/ 22 w 70"/>
                <a:gd name="T87" fmla="*/ 9 h 74"/>
                <a:gd name="T88" fmla="*/ 18 w 70"/>
                <a:gd name="T89" fmla="*/ 7 h 74"/>
                <a:gd name="T90" fmla="*/ 9 w 70"/>
                <a:gd name="T91" fmla="*/ 7 h 74"/>
                <a:gd name="T92" fmla="*/ 2 w 70"/>
                <a:gd name="T93" fmla="*/ 9 h 74"/>
                <a:gd name="T94" fmla="*/ 2 w 70"/>
                <a:gd name="T95" fmla="*/ 17 h 74"/>
                <a:gd name="T96" fmla="*/ 9 w 70"/>
                <a:gd name="T97" fmla="*/ 23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0" h="74">
                  <a:moveTo>
                    <a:pt x="9" y="23"/>
                  </a:moveTo>
                  <a:cubicBezTo>
                    <a:pt x="11" y="25"/>
                    <a:pt x="13" y="29"/>
                    <a:pt x="13" y="31"/>
                  </a:cubicBezTo>
                  <a:cubicBezTo>
                    <a:pt x="14" y="36"/>
                    <a:pt x="11" y="40"/>
                    <a:pt x="16" y="40"/>
                  </a:cubicBezTo>
                  <a:cubicBezTo>
                    <a:pt x="18" y="40"/>
                    <a:pt x="21" y="37"/>
                    <a:pt x="22" y="35"/>
                  </a:cubicBezTo>
                  <a:cubicBezTo>
                    <a:pt x="23" y="34"/>
                    <a:pt x="23" y="31"/>
                    <a:pt x="23" y="30"/>
                  </a:cubicBezTo>
                  <a:cubicBezTo>
                    <a:pt x="25" y="28"/>
                    <a:pt x="25" y="29"/>
                    <a:pt x="27" y="28"/>
                  </a:cubicBezTo>
                  <a:cubicBezTo>
                    <a:pt x="30" y="26"/>
                    <a:pt x="31" y="26"/>
                    <a:pt x="35" y="26"/>
                  </a:cubicBezTo>
                  <a:cubicBezTo>
                    <a:pt x="38" y="26"/>
                    <a:pt x="38" y="24"/>
                    <a:pt x="41" y="23"/>
                  </a:cubicBezTo>
                  <a:cubicBezTo>
                    <a:pt x="42" y="23"/>
                    <a:pt x="43" y="22"/>
                    <a:pt x="45" y="23"/>
                  </a:cubicBezTo>
                  <a:cubicBezTo>
                    <a:pt x="47" y="23"/>
                    <a:pt x="47" y="22"/>
                    <a:pt x="47" y="26"/>
                  </a:cubicBezTo>
                  <a:cubicBezTo>
                    <a:pt x="47" y="26"/>
                    <a:pt x="46" y="30"/>
                    <a:pt x="46" y="31"/>
                  </a:cubicBezTo>
                  <a:cubicBezTo>
                    <a:pt x="45" y="33"/>
                    <a:pt x="45" y="34"/>
                    <a:pt x="44" y="36"/>
                  </a:cubicBezTo>
                  <a:cubicBezTo>
                    <a:pt x="40" y="37"/>
                    <a:pt x="31" y="40"/>
                    <a:pt x="31" y="49"/>
                  </a:cubicBezTo>
                  <a:cubicBezTo>
                    <a:pt x="29" y="49"/>
                    <a:pt x="28" y="49"/>
                    <a:pt x="27" y="49"/>
                  </a:cubicBezTo>
                  <a:cubicBezTo>
                    <a:pt x="27" y="52"/>
                    <a:pt x="27" y="58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2"/>
                    <a:pt x="27" y="66"/>
                    <a:pt x="27" y="66"/>
                  </a:cubicBezTo>
                  <a:cubicBezTo>
                    <a:pt x="29" y="67"/>
                    <a:pt x="30" y="66"/>
                    <a:pt x="32" y="67"/>
                  </a:cubicBezTo>
                  <a:cubicBezTo>
                    <a:pt x="32" y="68"/>
                    <a:pt x="32" y="69"/>
                    <a:pt x="32" y="70"/>
                  </a:cubicBezTo>
                  <a:cubicBezTo>
                    <a:pt x="34" y="70"/>
                    <a:pt x="39" y="74"/>
                    <a:pt x="41" y="71"/>
                  </a:cubicBezTo>
                  <a:cubicBezTo>
                    <a:pt x="43" y="68"/>
                    <a:pt x="39" y="61"/>
                    <a:pt x="42" y="58"/>
                  </a:cubicBezTo>
                  <a:cubicBezTo>
                    <a:pt x="44" y="55"/>
                    <a:pt x="47" y="55"/>
                    <a:pt x="49" y="52"/>
                  </a:cubicBezTo>
                  <a:cubicBezTo>
                    <a:pt x="51" y="49"/>
                    <a:pt x="51" y="50"/>
                    <a:pt x="53" y="49"/>
                  </a:cubicBezTo>
                  <a:cubicBezTo>
                    <a:pt x="55" y="49"/>
                    <a:pt x="57" y="47"/>
                    <a:pt x="58" y="47"/>
                  </a:cubicBezTo>
                  <a:cubicBezTo>
                    <a:pt x="59" y="44"/>
                    <a:pt x="59" y="43"/>
                    <a:pt x="60" y="40"/>
                  </a:cubicBezTo>
                  <a:cubicBezTo>
                    <a:pt x="60" y="39"/>
                    <a:pt x="60" y="38"/>
                    <a:pt x="61" y="36"/>
                  </a:cubicBezTo>
                  <a:cubicBezTo>
                    <a:pt x="61" y="35"/>
                    <a:pt x="62" y="34"/>
                    <a:pt x="62" y="33"/>
                  </a:cubicBezTo>
                  <a:cubicBezTo>
                    <a:pt x="62" y="32"/>
                    <a:pt x="62" y="31"/>
                    <a:pt x="63" y="30"/>
                  </a:cubicBezTo>
                  <a:cubicBezTo>
                    <a:pt x="63" y="29"/>
                    <a:pt x="64" y="28"/>
                    <a:pt x="65" y="28"/>
                  </a:cubicBezTo>
                  <a:cubicBezTo>
                    <a:pt x="66" y="26"/>
                    <a:pt x="64" y="25"/>
                    <a:pt x="66" y="24"/>
                  </a:cubicBezTo>
                  <a:cubicBezTo>
                    <a:pt x="67" y="24"/>
                    <a:pt x="69" y="25"/>
                    <a:pt x="70" y="24"/>
                  </a:cubicBezTo>
                  <a:cubicBezTo>
                    <a:pt x="69" y="21"/>
                    <a:pt x="68" y="18"/>
                    <a:pt x="66" y="15"/>
                  </a:cubicBezTo>
                  <a:cubicBezTo>
                    <a:pt x="65" y="12"/>
                    <a:pt x="66" y="13"/>
                    <a:pt x="64" y="12"/>
                  </a:cubicBezTo>
                  <a:cubicBezTo>
                    <a:pt x="63" y="11"/>
                    <a:pt x="62" y="9"/>
                    <a:pt x="61" y="9"/>
                  </a:cubicBezTo>
                  <a:cubicBezTo>
                    <a:pt x="59" y="8"/>
                    <a:pt x="58" y="9"/>
                    <a:pt x="56" y="8"/>
                  </a:cubicBezTo>
                  <a:cubicBezTo>
                    <a:pt x="55" y="8"/>
                    <a:pt x="54" y="6"/>
                    <a:pt x="53" y="5"/>
                  </a:cubicBezTo>
                  <a:cubicBezTo>
                    <a:pt x="52" y="4"/>
                    <a:pt x="51" y="4"/>
                    <a:pt x="50" y="3"/>
                  </a:cubicBezTo>
                  <a:cubicBezTo>
                    <a:pt x="48" y="2"/>
                    <a:pt x="48" y="0"/>
                    <a:pt x="46" y="0"/>
                  </a:cubicBezTo>
                  <a:cubicBezTo>
                    <a:pt x="47" y="0"/>
                    <a:pt x="44" y="2"/>
                    <a:pt x="45" y="2"/>
                  </a:cubicBezTo>
                  <a:cubicBezTo>
                    <a:pt x="42" y="2"/>
                    <a:pt x="39" y="2"/>
                    <a:pt x="37" y="4"/>
                  </a:cubicBezTo>
                  <a:cubicBezTo>
                    <a:pt x="35" y="6"/>
                    <a:pt x="35" y="8"/>
                    <a:pt x="32" y="9"/>
                  </a:cubicBezTo>
                  <a:cubicBezTo>
                    <a:pt x="30" y="11"/>
                    <a:pt x="28" y="13"/>
                    <a:pt x="25" y="11"/>
                  </a:cubicBezTo>
                  <a:cubicBezTo>
                    <a:pt x="25" y="10"/>
                    <a:pt x="25" y="10"/>
                    <a:pt x="24" y="9"/>
                  </a:cubicBezTo>
                  <a:cubicBezTo>
                    <a:pt x="23" y="8"/>
                    <a:pt x="23" y="8"/>
                    <a:pt x="22" y="9"/>
                  </a:cubicBezTo>
                  <a:cubicBezTo>
                    <a:pt x="21" y="8"/>
                    <a:pt x="19" y="7"/>
                    <a:pt x="18" y="7"/>
                  </a:cubicBezTo>
                  <a:cubicBezTo>
                    <a:pt x="16" y="6"/>
                    <a:pt x="12" y="7"/>
                    <a:pt x="9" y="7"/>
                  </a:cubicBezTo>
                  <a:cubicBezTo>
                    <a:pt x="6" y="7"/>
                    <a:pt x="3" y="6"/>
                    <a:pt x="2" y="9"/>
                  </a:cubicBezTo>
                  <a:cubicBezTo>
                    <a:pt x="0" y="11"/>
                    <a:pt x="0" y="15"/>
                    <a:pt x="2" y="17"/>
                  </a:cubicBezTo>
                  <a:cubicBezTo>
                    <a:pt x="4" y="20"/>
                    <a:pt x="7" y="19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55">
              <a:extLst>
                <a:ext uri="{FF2B5EF4-FFF2-40B4-BE49-F238E27FC236}">
                  <a16:creationId xmlns:a16="http://schemas.microsoft.com/office/drawing/2014/main" id="{974D3368-0450-41D1-8456-EA23CC5A7F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1672" y="986736"/>
              <a:ext cx="141516" cy="86481"/>
            </a:xfrm>
            <a:custGeom>
              <a:avLst/>
              <a:gdLst>
                <a:gd name="T0" fmla="*/ 2 w 67"/>
                <a:gd name="T1" fmla="*/ 25 h 41"/>
                <a:gd name="T2" fmla="*/ 5 w 67"/>
                <a:gd name="T3" fmla="*/ 26 h 41"/>
                <a:gd name="T4" fmla="*/ 10 w 67"/>
                <a:gd name="T5" fmla="*/ 28 h 41"/>
                <a:gd name="T6" fmla="*/ 12 w 67"/>
                <a:gd name="T7" fmla="*/ 32 h 41"/>
                <a:gd name="T8" fmla="*/ 16 w 67"/>
                <a:gd name="T9" fmla="*/ 33 h 41"/>
                <a:gd name="T10" fmla="*/ 26 w 67"/>
                <a:gd name="T11" fmla="*/ 40 h 41"/>
                <a:gd name="T12" fmla="*/ 32 w 67"/>
                <a:gd name="T13" fmla="*/ 38 h 41"/>
                <a:gd name="T14" fmla="*/ 38 w 67"/>
                <a:gd name="T15" fmla="*/ 37 h 41"/>
                <a:gd name="T16" fmla="*/ 46 w 67"/>
                <a:gd name="T17" fmla="*/ 37 h 41"/>
                <a:gd name="T18" fmla="*/ 50 w 67"/>
                <a:gd name="T19" fmla="*/ 37 h 41"/>
                <a:gd name="T20" fmla="*/ 52 w 67"/>
                <a:gd name="T21" fmla="*/ 35 h 41"/>
                <a:gd name="T22" fmla="*/ 59 w 67"/>
                <a:gd name="T23" fmla="*/ 33 h 41"/>
                <a:gd name="T24" fmla="*/ 60 w 67"/>
                <a:gd name="T25" fmla="*/ 30 h 41"/>
                <a:gd name="T26" fmla="*/ 63 w 67"/>
                <a:gd name="T27" fmla="*/ 29 h 41"/>
                <a:gd name="T28" fmla="*/ 66 w 67"/>
                <a:gd name="T29" fmla="*/ 23 h 41"/>
                <a:gd name="T30" fmla="*/ 63 w 67"/>
                <a:gd name="T31" fmla="*/ 17 h 41"/>
                <a:gd name="T32" fmla="*/ 57 w 67"/>
                <a:gd name="T33" fmla="*/ 14 h 41"/>
                <a:gd name="T34" fmla="*/ 55 w 67"/>
                <a:gd name="T35" fmla="*/ 4 h 41"/>
                <a:gd name="T36" fmla="*/ 51 w 67"/>
                <a:gd name="T37" fmla="*/ 2 h 41"/>
                <a:gd name="T38" fmla="*/ 45 w 67"/>
                <a:gd name="T39" fmla="*/ 2 h 41"/>
                <a:gd name="T40" fmla="*/ 39 w 67"/>
                <a:gd name="T41" fmla="*/ 2 h 41"/>
                <a:gd name="T42" fmla="*/ 35 w 67"/>
                <a:gd name="T43" fmla="*/ 8 h 41"/>
                <a:gd name="T44" fmla="*/ 29 w 67"/>
                <a:gd name="T45" fmla="*/ 9 h 41"/>
                <a:gd name="T46" fmla="*/ 27 w 67"/>
                <a:gd name="T47" fmla="*/ 9 h 41"/>
                <a:gd name="T48" fmla="*/ 25 w 67"/>
                <a:gd name="T49" fmla="*/ 6 h 41"/>
                <a:gd name="T50" fmla="*/ 21 w 67"/>
                <a:gd name="T51" fmla="*/ 3 h 41"/>
                <a:gd name="T52" fmla="*/ 17 w 67"/>
                <a:gd name="T53" fmla="*/ 0 h 41"/>
                <a:gd name="T54" fmla="*/ 15 w 67"/>
                <a:gd name="T55" fmla="*/ 9 h 41"/>
                <a:gd name="T56" fmla="*/ 12 w 67"/>
                <a:gd name="T57" fmla="*/ 9 h 41"/>
                <a:gd name="T58" fmla="*/ 10 w 67"/>
                <a:gd name="T59" fmla="*/ 14 h 41"/>
                <a:gd name="T60" fmla="*/ 5 w 67"/>
                <a:gd name="T61" fmla="*/ 18 h 41"/>
                <a:gd name="T62" fmla="*/ 1 w 67"/>
                <a:gd name="T63" fmla="*/ 21 h 41"/>
                <a:gd name="T64" fmla="*/ 2 w 67"/>
                <a:gd name="T65" fmla="*/ 2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" h="41">
                  <a:moveTo>
                    <a:pt x="2" y="25"/>
                  </a:moveTo>
                  <a:cubicBezTo>
                    <a:pt x="1" y="24"/>
                    <a:pt x="5" y="26"/>
                    <a:pt x="5" y="26"/>
                  </a:cubicBezTo>
                  <a:cubicBezTo>
                    <a:pt x="7" y="27"/>
                    <a:pt x="8" y="26"/>
                    <a:pt x="10" y="28"/>
                  </a:cubicBezTo>
                  <a:cubicBezTo>
                    <a:pt x="11" y="30"/>
                    <a:pt x="10" y="31"/>
                    <a:pt x="12" y="32"/>
                  </a:cubicBezTo>
                  <a:cubicBezTo>
                    <a:pt x="12" y="32"/>
                    <a:pt x="15" y="32"/>
                    <a:pt x="16" y="33"/>
                  </a:cubicBezTo>
                  <a:cubicBezTo>
                    <a:pt x="19" y="35"/>
                    <a:pt x="22" y="39"/>
                    <a:pt x="26" y="40"/>
                  </a:cubicBezTo>
                  <a:cubicBezTo>
                    <a:pt x="28" y="41"/>
                    <a:pt x="30" y="39"/>
                    <a:pt x="32" y="38"/>
                  </a:cubicBezTo>
                  <a:cubicBezTo>
                    <a:pt x="34" y="37"/>
                    <a:pt x="36" y="37"/>
                    <a:pt x="38" y="37"/>
                  </a:cubicBezTo>
                  <a:cubicBezTo>
                    <a:pt x="41" y="37"/>
                    <a:pt x="43" y="37"/>
                    <a:pt x="46" y="37"/>
                  </a:cubicBezTo>
                  <a:cubicBezTo>
                    <a:pt x="47" y="37"/>
                    <a:pt x="49" y="37"/>
                    <a:pt x="50" y="37"/>
                  </a:cubicBezTo>
                  <a:cubicBezTo>
                    <a:pt x="51" y="37"/>
                    <a:pt x="51" y="35"/>
                    <a:pt x="52" y="35"/>
                  </a:cubicBezTo>
                  <a:cubicBezTo>
                    <a:pt x="55" y="34"/>
                    <a:pt x="56" y="36"/>
                    <a:pt x="59" y="33"/>
                  </a:cubicBezTo>
                  <a:cubicBezTo>
                    <a:pt x="59" y="33"/>
                    <a:pt x="59" y="31"/>
                    <a:pt x="60" y="30"/>
                  </a:cubicBezTo>
                  <a:cubicBezTo>
                    <a:pt x="61" y="29"/>
                    <a:pt x="62" y="30"/>
                    <a:pt x="63" y="29"/>
                  </a:cubicBezTo>
                  <a:cubicBezTo>
                    <a:pt x="66" y="28"/>
                    <a:pt x="67" y="26"/>
                    <a:pt x="66" y="23"/>
                  </a:cubicBezTo>
                  <a:cubicBezTo>
                    <a:pt x="66" y="20"/>
                    <a:pt x="64" y="18"/>
                    <a:pt x="63" y="17"/>
                  </a:cubicBezTo>
                  <a:cubicBezTo>
                    <a:pt x="61" y="16"/>
                    <a:pt x="59" y="16"/>
                    <a:pt x="57" y="14"/>
                  </a:cubicBezTo>
                  <a:cubicBezTo>
                    <a:pt x="55" y="11"/>
                    <a:pt x="55" y="7"/>
                    <a:pt x="55" y="4"/>
                  </a:cubicBezTo>
                  <a:cubicBezTo>
                    <a:pt x="53" y="4"/>
                    <a:pt x="52" y="2"/>
                    <a:pt x="51" y="2"/>
                  </a:cubicBezTo>
                  <a:cubicBezTo>
                    <a:pt x="49" y="2"/>
                    <a:pt x="47" y="2"/>
                    <a:pt x="45" y="2"/>
                  </a:cubicBezTo>
                  <a:cubicBezTo>
                    <a:pt x="43" y="2"/>
                    <a:pt x="40" y="1"/>
                    <a:pt x="39" y="2"/>
                  </a:cubicBezTo>
                  <a:cubicBezTo>
                    <a:pt x="37" y="3"/>
                    <a:pt x="36" y="6"/>
                    <a:pt x="35" y="8"/>
                  </a:cubicBezTo>
                  <a:cubicBezTo>
                    <a:pt x="33" y="9"/>
                    <a:pt x="31" y="9"/>
                    <a:pt x="29" y="9"/>
                  </a:cubicBezTo>
                  <a:cubicBezTo>
                    <a:pt x="29" y="9"/>
                    <a:pt x="28" y="9"/>
                    <a:pt x="27" y="9"/>
                  </a:cubicBezTo>
                  <a:cubicBezTo>
                    <a:pt x="25" y="8"/>
                    <a:pt x="26" y="7"/>
                    <a:pt x="25" y="6"/>
                  </a:cubicBezTo>
                  <a:cubicBezTo>
                    <a:pt x="24" y="3"/>
                    <a:pt x="23" y="4"/>
                    <a:pt x="21" y="3"/>
                  </a:cubicBezTo>
                  <a:cubicBezTo>
                    <a:pt x="20" y="3"/>
                    <a:pt x="18" y="1"/>
                    <a:pt x="17" y="0"/>
                  </a:cubicBezTo>
                  <a:cubicBezTo>
                    <a:pt x="15" y="3"/>
                    <a:pt x="16" y="5"/>
                    <a:pt x="15" y="9"/>
                  </a:cubicBezTo>
                  <a:cubicBezTo>
                    <a:pt x="14" y="9"/>
                    <a:pt x="13" y="9"/>
                    <a:pt x="12" y="9"/>
                  </a:cubicBezTo>
                  <a:cubicBezTo>
                    <a:pt x="12" y="12"/>
                    <a:pt x="11" y="12"/>
                    <a:pt x="10" y="14"/>
                  </a:cubicBezTo>
                  <a:cubicBezTo>
                    <a:pt x="9" y="15"/>
                    <a:pt x="6" y="16"/>
                    <a:pt x="5" y="18"/>
                  </a:cubicBezTo>
                  <a:cubicBezTo>
                    <a:pt x="4" y="17"/>
                    <a:pt x="1" y="19"/>
                    <a:pt x="1" y="21"/>
                  </a:cubicBezTo>
                  <a:cubicBezTo>
                    <a:pt x="0" y="24"/>
                    <a:pt x="1" y="23"/>
                    <a:pt x="2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56">
              <a:extLst>
                <a:ext uri="{FF2B5EF4-FFF2-40B4-BE49-F238E27FC236}">
                  <a16:creationId xmlns:a16="http://schemas.microsoft.com/office/drawing/2014/main" id="{6E31A827-C3AD-4E32-B8A9-5F2D16C75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1996" y="1128251"/>
              <a:ext cx="60649" cy="29201"/>
            </a:xfrm>
            <a:custGeom>
              <a:avLst/>
              <a:gdLst>
                <a:gd name="T0" fmla="*/ 23 w 29"/>
                <a:gd name="T1" fmla="*/ 0 h 14"/>
                <a:gd name="T2" fmla="*/ 18 w 29"/>
                <a:gd name="T3" fmla="*/ 0 h 14"/>
                <a:gd name="T4" fmla="*/ 9 w 29"/>
                <a:gd name="T5" fmla="*/ 0 h 14"/>
                <a:gd name="T6" fmla="*/ 5 w 29"/>
                <a:gd name="T7" fmla="*/ 1 h 14"/>
                <a:gd name="T8" fmla="*/ 1 w 29"/>
                <a:gd name="T9" fmla="*/ 2 h 14"/>
                <a:gd name="T10" fmla="*/ 4 w 29"/>
                <a:gd name="T11" fmla="*/ 8 h 14"/>
                <a:gd name="T12" fmla="*/ 9 w 29"/>
                <a:gd name="T13" fmla="*/ 12 h 14"/>
                <a:gd name="T14" fmla="*/ 28 w 29"/>
                <a:gd name="T15" fmla="*/ 9 h 14"/>
                <a:gd name="T16" fmla="*/ 28 w 29"/>
                <a:gd name="T17" fmla="*/ 1 h 14"/>
                <a:gd name="T18" fmla="*/ 23 w 29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14">
                  <a:moveTo>
                    <a:pt x="23" y="0"/>
                  </a:moveTo>
                  <a:cubicBezTo>
                    <a:pt x="21" y="0"/>
                    <a:pt x="20" y="0"/>
                    <a:pt x="18" y="0"/>
                  </a:cubicBezTo>
                  <a:cubicBezTo>
                    <a:pt x="15" y="0"/>
                    <a:pt x="12" y="0"/>
                    <a:pt x="9" y="0"/>
                  </a:cubicBezTo>
                  <a:cubicBezTo>
                    <a:pt x="7" y="0"/>
                    <a:pt x="7" y="1"/>
                    <a:pt x="5" y="1"/>
                  </a:cubicBezTo>
                  <a:cubicBezTo>
                    <a:pt x="3" y="2"/>
                    <a:pt x="2" y="0"/>
                    <a:pt x="1" y="2"/>
                  </a:cubicBezTo>
                  <a:cubicBezTo>
                    <a:pt x="0" y="4"/>
                    <a:pt x="3" y="6"/>
                    <a:pt x="4" y="8"/>
                  </a:cubicBezTo>
                  <a:cubicBezTo>
                    <a:pt x="5" y="10"/>
                    <a:pt x="6" y="11"/>
                    <a:pt x="9" y="12"/>
                  </a:cubicBezTo>
                  <a:cubicBezTo>
                    <a:pt x="12" y="13"/>
                    <a:pt x="28" y="14"/>
                    <a:pt x="28" y="9"/>
                  </a:cubicBezTo>
                  <a:cubicBezTo>
                    <a:pt x="28" y="7"/>
                    <a:pt x="29" y="3"/>
                    <a:pt x="28" y="1"/>
                  </a:cubicBezTo>
                  <a:cubicBezTo>
                    <a:pt x="28" y="1"/>
                    <a:pt x="24" y="0"/>
                    <a:pt x="2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57">
              <a:extLst>
                <a:ext uri="{FF2B5EF4-FFF2-40B4-BE49-F238E27FC236}">
                  <a16:creationId xmlns:a16="http://schemas.microsoft.com/office/drawing/2014/main" id="{23591AF2-B3E6-4D94-8365-B3B5A1392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2954" y="940687"/>
              <a:ext cx="77495" cy="90975"/>
            </a:xfrm>
            <a:custGeom>
              <a:avLst/>
              <a:gdLst>
                <a:gd name="T0" fmla="*/ 8 w 37"/>
                <a:gd name="T1" fmla="*/ 41 h 43"/>
                <a:gd name="T2" fmla="*/ 16 w 37"/>
                <a:gd name="T3" fmla="*/ 34 h 43"/>
                <a:gd name="T4" fmla="*/ 17 w 37"/>
                <a:gd name="T5" fmla="*/ 29 h 43"/>
                <a:gd name="T6" fmla="*/ 22 w 37"/>
                <a:gd name="T7" fmla="*/ 29 h 43"/>
                <a:gd name="T8" fmla="*/ 26 w 37"/>
                <a:gd name="T9" fmla="*/ 27 h 43"/>
                <a:gd name="T10" fmla="*/ 28 w 37"/>
                <a:gd name="T11" fmla="*/ 22 h 43"/>
                <a:gd name="T12" fmla="*/ 37 w 37"/>
                <a:gd name="T13" fmla="*/ 10 h 43"/>
                <a:gd name="T14" fmla="*/ 35 w 37"/>
                <a:gd name="T15" fmla="*/ 3 h 43"/>
                <a:gd name="T16" fmla="*/ 28 w 37"/>
                <a:gd name="T17" fmla="*/ 1 h 43"/>
                <a:gd name="T18" fmla="*/ 23 w 37"/>
                <a:gd name="T19" fmla="*/ 6 h 43"/>
                <a:gd name="T20" fmla="*/ 16 w 37"/>
                <a:gd name="T21" fmla="*/ 10 h 43"/>
                <a:gd name="T22" fmla="*/ 13 w 37"/>
                <a:gd name="T23" fmla="*/ 20 h 43"/>
                <a:gd name="T24" fmla="*/ 4 w 37"/>
                <a:gd name="T25" fmla="*/ 29 h 43"/>
                <a:gd name="T26" fmla="*/ 1 w 37"/>
                <a:gd name="T27" fmla="*/ 38 h 43"/>
                <a:gd name="T28" fmla="*/ 8 w 37"/>
                <a:gd name="T29" fmla="*/ 4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7" h="43">
                  <a:moveTo>
                    <a:pt x="8" y="41"/>
                  </a:moveTo>
                  <a:cubicBezTo>
                    <a:pt x="12" y="41"/>
                    <a:pt x="14" y="39"/>
                    <a:pt x="16" y="34"/>
                  </a:cubicBezTo>
                  <a:cubicBezTo>
                    <a:pt x="16" y="34"/>
                    <a:pt x="17" y="30"/>
                    <a:pt x="17" y="29"/>
                  </a:cubicBezTo>
                  <a:cubicBezTo>
                    <a:pt x="19" y="28"/>
                    <a:pt x="21" y="30"/>
                    <a:pt x="22" y="29"/>
                  </a:cubicBezTo>
                  <a:cubicBezTo>
                    <a:pt x="23" y="29"/>
                    <a:pt x="25" y="27"/>
                    <a:pt x="26" y="27"/>
                  </a:cubicBezTo>
                  <a:cubicBezTo>
                    <a:pt x="27" y="25"/>
                    <a:pt x="27" y="24"/>
                    <a:pt x="28" y="22"/>
                  </a:cubicBezTo>
                  <a:cubicBezTo>
                    <a:pt x="29" y="20"/>
                    <a:pt x="35" y="11"/>
                    <a:pt x="37" y="10"/>
                  </a:cubicBezTo>
                  <a:cubicBezTo>
                    <a:pt x="37" y="6"/>
                    <a:pt x="37" y="5"/>
                    <a:pt x="35" y="3"/>
                  </a:cubicBezTo>
                  <a:cubicBezTo>
                    <a:pt x="33" y="1"/>
                    <a:pt x="30" y="0"/>
                    <a:pt x="28" y="1"/>
                  </a:cubicBezTo>
                  <a:cubicBezTo>
                    <a:pt x="26" y="3"/>
                    <a:pt x="25" y="5"/>
                    <a:pt x="23" y="6"/>
                  </a:cubicBezTo>
                  <a:cubicBezTo>
                    <a:pt x="21" y="7"/>
                    <a:pt x="19" y="10"/>
                    <a:pt x="16" y="10"/>
                  </a:cubicBezTo>
                  <a:cubicBezTo>
                    <a:pt x="16" y="14"/>
                    <a:pt x="15" y="17"/>
                    <a:pt x="13" y="20"/>
                  </a:cubicBezTo>
                  <a:cubicBezTo>
                    <a:pt x="10" y="24"/>
                    <a:pt x="7" y="25"/>
                    <a:pt x="4" y="29"/>
                  </a:cubicBezTo>
                  <a:cubicBezTo>
                    <a:pt x="3" y="31"/>
                    <a:pt x="0" y="35"/>
                    <a:pt x="1" y="38"/>
                  </a:cubicBezTo>
                  <a:cubicBezTo>
                    <a:pt x="1" y="43"/>
                    <a:pt x="6" y="42"/>
                    <a:pt x="8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58">
              <a:extLst>
                <a:ext uri="{FF2B5EF4-FFF2-40B4-BE49-F238E27FC236}">
                  <a16:creationId xmlns:a16="http://schemas.microsoft.com/office/drawing/2014/main" id="{807FFB5F-396C-437B-9A67-C2549439D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0452" y="967641"/>
              <a:ext cx="66266" cy="65143"/>
            </a:xfrm>
            <a:custGeom>
              <a:avLst/>
              <a:gdLst>
                <a:gd name="T0" fmla="*/ 2 w 31"/>
                <a:gd name="T1" fmla="*/ 23 h 31"/>
                <a:gd name="T2" fmla="*/ 2 w 31"/>
                <a:gd name="T3" fmla="*/ 28 h 31"/>
                <a:gd name="T4" fmla="*/ 10 w 31"/>
                <a:gd name="T5" fmla="*/ 26 h 31"/>
                <a:gd name="T6" fmla="*/ 19 w 31"/>
                <a:gd name="T7" fmla="*/ 27 h 31"/>
                <a:gd name="T8" fmla="*/ 27 w 31"/>
                <a:gd name="T9" fmla="*/ 25 h 31"/>
                <a:gd name="T10" fmla="*/ 30 w 31"/>
                <a:gd name="T11" fmla="*/ 23 h 31"/>
                <a:gd name="T12" fmla="*/ 29 w 31"/>
                <a:gd name="T13" fmla="*/ 18 h 31"/>
                <a:gd name="T14" fmla="*/ 27 w 31"/>
                <a:gd name="T15" fmla="*/ 16 h 31"/>
                <a:gd name="T16" fmla="*/ 23 w 31"/>
                <a:gd name="T17" fmla="*/ 16 h 31"/>
                <a:gd name="T18" fmla="*/ 18 w 31"/>
                <a:gd name="T19" fmla="*/ 14 h 31"/>
                <a:gd name="T20" fmla="*/ 17 w 31"/>
                <a:gd name="T21" fmla="*/ 4 h 31"/>
                <a:gd name="T22" fmla="*/ 11 w 31"/>
                <a:gd name="T23" fmla="*/ 0 h 31"/>
                <a:gd name="T24" fmla="*/ 7 w 31"/>
                <a:gd name="T25" fmla="*/ 1 h 31"/>
                <a:gd name="T26" fmla="*/ 6 w 31"/>
                <a:gd name="T27" fmla="*/ 7 h 31"/>
                <a:gd name="T28" fmla="*/ 1 w 31"/>
                <a:gd name="T29" fmla="*/ 16 h 31"/>
                <a:gd name="T30" fmla="*/ 1 w 31"/>
                <a:gd name="T31" fmla="*/ 21 h 31"/>
                <a:gd name="T32" fmla="*/ 2 w 31"/>
                <a:gd name="T33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31">
                  <a:moveTo>
                    <a:pt x="2" y="23"/>
                  </a:moveTo>
                  <a:cubicBezTo>
                    <a:pt x="2" y="24"/>
                    <a:pt x="1" y="27"/>
                    <a:pt x="2" y="28"/>
                  </a:cubicBezTo>
                  <a:cubicBezTo>
                    <a:pt x="3" y="31"/>
                    <a:pt x="8" y="27"/>
                    <a:pt x="10" y="26"/>
                  </a:cubicBezTo>
                  <a:cubicBezTo>
                    <a:pt x="12" y="25"/>
                    <a:pt x="16" y="27"/>
                    <a:pt x="19" y="27"/>
                  </a:cubicBezTo>
                  <a:cubicBezTo>
                    <a:pt x="22" y="27"/>
                    <a:pt x="25" y="27"/>
                    <a:pt x="27" y="25"/>
                  </a:cubicBezTo>
                  <a:cubicBezTo>
                    <a:pt x="28" y="24"/>
                    <a:pt x="30" y="23"/>
                    <a:pt x="30" y="23"/>
                  </a:cubicBezTo>
                  <a:cubicBezTo>
                    <a:pt x="31" y="21"/>
                    <a:pt x="30" y="17"/>
                    <a:pt x="29" y="18"/>
                  </a:cubicBezTo>
                  <a:cubicBezTo>
                    <a:pt x="29" y="18"/>
                    <a:pt x="27" y="16"/>
                    <a:pt x="27" y="16"/>
                  </a:cubicBezTo>
                  <a:cubicBezTo>
                    <a:pt x="26" y="16"/>
                    <a:pt x="24" y="16"/>
                    <a:pt x="23" y="16"/>
                  </a:cubicBezTo>
                  <a:cubicBezTo>
                    <a:pt x="21" y="16"/>
                    <a:pt x="20" y="14"/>
                    <a:pt x="18" y="14"/>
                  </a:cubicBezTo>
                  <a:cubicBezTo>
                    <a:pt x="18" y="10"/>
                    <a:pt x="17" y="8"/>
                    <a:pt x="17" y="4"/>
                  </a:cubicBezTo>
                  <a:cubicBezTo>
                    <a:pt x="15" y="4"/>
                    <a:pt x="13" y="1"/>
                    <a:pt x="11" y="0"/>
                  </a:cubicBezTo>
                  <a:cubicBezTo>
                    <a:pt x="10" y="0"/>
                    <a:pt x="8" y="0"/>
                    <a:pt x="7" y="1"/>
                  </a:cubicBezTo>
                  <a:cubicBezTo>
                    <a:pt x="5" y="3"/>
                    <a:pt x="6" y="5"/>
                    <a:pt x="6" y="7"/>
                  </a:cubicBezTo>
                  <a:cubicBezTo>
                    <a:pt x="5" y="11"/>
                    <a:pt x="2" y="13"/>
                    <a:pt x="1" y="16"/>
                  </a:cubicBezTo>
                  <a:cubicBezTo>
                    <a:pt x="0" y="18"/>
                    <a:pt x="0" y="18"/>
                    <a:pt x="1" y="21"/>
                  </a:cubicBezTo>
                  <a:cubicBezTo>
                    <a:pt x="1" y="21"/>
                    <a:pt x="1" y="22"/>
                    <a:pt x="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59">
              <a:extLst>
                <a:ext uri="{FF2B5EF4-FFF2-40B4-BE49-F238E27FC236}">
                  <a16:creationId xmlns:a16="http://schemas.microsoft.com/office/drawing/2014/main" id="{CF217CBB-7FFE-4C0C-B2E6-85E690AD6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9869" y="900253"/>
              <a:ext cx="60649" cy="61772"/>
            </a:xfrm>
            <a:custGeom>
              <a:avLst/>
              <a:gdLst>
                <a:gd name="T0" fmla="*/ 6 w 29"/>
                <a:gd name="T1" fmla="*/ 24 h 29"/>
                <a:gd name="T2" fmla="*/ 8 w 29"/>
                <a:gd name="T3" fmla="*/ 29 h 29"/>
                <a:gd name="T4" fmla="*/ 11 w 29"/>
                <a:gd name="T5" fmla="*/ 23 h 29"/>
                <a:gd name="T6" fmla="*/ 13 w 29"/>
                <a:gd name="T7" fmla="*/ 18 h 29"/>
                <a:gd name="T8" fmla="*/ 14 w 29"/>
                <a:gd name="T9" fmla="*/ 17 h 29"/>
                <a:gd name="T10" fmla="*/ 18 w 29"/>
                <a:gd name="T11" fmla="*/ 13 h 29"/>
                <a:gd name="T12" fmla="*/ 23 w 29"/>
                <a:gd name="T13" fmla="*/ 13 h 29"/>
                <a:gd name="T14" fmla="*/ 28 w 29"/>
                <a:gd name="T15" fmla="*/ 11 h 29"/>
                <a:gd name="T16" fmla="*/ 27 w 29"/>
                <a:gd name="T17" fmla="*/ 6 h 29"/>
                <a:gd name="T18" fmla="*/ 23 w 29"/>
                <a:gd name="T19" fmla="*/ 2 h 29"/>
                <a:gd name="T20" fmla="*/ 23 w 29"/>
                <a:gd name="T21" fmla="*/ 1 h 29"/>
                <a:gd name="T22" fmla="*/ 13 w 29"/>
                <a:gd name="T23" fmla="*/ 3 h 29"/>
                <a:gd name="T24" fmla="*/ 3 w 29"/>
                <a:gd name="T25" fmla="*/ 4 h 29"/>
                <a:gd name="T26" fmla="*/ 0 w 29"/>
                <a:gd name="T27" fmla="*/ 8 h 29"/>
                <a:gd name="T28" fmla="*/ 0 w 29"/>
                <a:gd name="T29" fmla="*/ 17 h 29"/>
                <a:gd name="T30" fmla="*/ 6 w 29"/>
                <a:gd name="T31" fmla="*/ 2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29">
                  <a:moveTo>
                    <a:pt x="6" y="24"/>
                  </a:moveTo>
                  <a:cubicBezTo>
                    <a:pt x="7" y="25"/>
                    <a:pt x="6" y="29"/>
                    <a:pt x="8" y="29"/>
                  </a:cubicBezTo>
                  <a:cubicBezTo>
                    <a:pt x="9" y="29"/>
                    <a:pt x="11" y="24"/>
                    <a:pt x="11" y="23"/>
                  </a:cubicBezTo>
                  <a:cubicBezTo>
                    <a:pt x="11" y="21"/>
                    <a:pt x="12" y="20"/>
                    <a:pt x="13" y="18"/>
                  </a:cubicBezTo>
                  <a:cubicBezTo>
                    <a:pt x="13" y="18"/>
                    <a:pt x="14" y="18"/>
                    <a:pt x="14" y="17"/>
                  </a:cubicBezTo>
                  <a:cubicBezTo>
                    <a:pt x="16" y="14"/>
                    <a:pt x="15" y="14"/>
                    <a:pt x="18" y="13"/>
                  </a:cubicBezTo>
                  <a:cubicBezTo>
                    <a:pt x="19" y="13"/>
                    <a:pt x="21" y="14"/>
                    <a:pt x="23" y="13"/>
                  </a:cubicBezTo>
                  <a:cubicBezTo>
                    <a:pt x="23" y="13"/>
                    <a:pt x="28" y="11"/>
                    <a:pt x="28" y="11"/>
                  </a:cubicBezTo>
                  <a:cubicBezTo>
                    <a:pt x="29" y="9"/>
                    <a:pt x="27" y="7"/>
                    <a:pt x="27" y="6"/>
                  </a:cubicBezTo>
                  <a:cubicBezTo>
                    <a:pt x="26" y="3"/>
                    <a:pt x="26" y="2"/>
                    <a:pt x="23" y="2"/>
                  </a:cubicBezTo>
                  <a:cubicBezTo>
                    <a:pt x="24" y="2"/>
                    <a:pt x="23" y="1"/>
                    <a:pt x="23" y="1"/>
                  </a:cubicBezTo>
                  <a:cubicBezTo>
                    <a:pt x="19" y="1"/>
                    <a:pt x="16" y="0"/>
                    <a:pt x="13" y="3"/>
                  </a:cubicBezTo>
                  <a:cubicBezTo>
                    <a:pt x="10" y="4"/>
                    <a:pt x="6" y="3"/>
                    <a:pt x="3" y="4"/>
                  </a:cubicBezTo>
                  <a:cubicBezTo>
                    <a:pt x="0" y="5"/>
                    <a:pt x="0" y="4"/>
                    <a:pt x="0" y="8"/>
                  </a:cubicBezTo>
                  <a:cubicBezTo>
                    <a:pt x="0" y="10"/>
                    <a:pt x="0" y="15"/>
                    <a:pt x="0" y="17"/>
                  </a:cubicBezTo>
                  <a:cubicBezTo>
                    <a:pt x="1" y="21"/>
                    <a:pt x="5" y="20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60">
              <a:extLst>
                <a:ext uri="{FF2B5EF4-FFF2-40B4-BE49-F238E27FC236}">
                  <a16:creationId xmlns:a16="http://schemas.microsoft.com/office/drawing/2014/main" id="{DCCBC182-3350-4573-9028-1A48FC510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8813" y="849712"/>
              <a:ext cx="44926" cy="57280"/>
            </a:xfrm>
            <a:custGeom>
              <a:avLst/>
              <a:gdLst>
                <a:gd name="T0" fmla="*/ 2 w 21"/>
                <a:gd name="T1" fmla="*/ 27 h 27"/>
                <a:gd name="T2" fmla="*/ 2 w 21"/>
                <a:gd name="T3" fmla="*/ 20 h 27"/>
                <a:gd name="T4" fmla="*/ 5 w 21"/>
                <a:gd name="T5" fmla="*/ 19 h 27"/>
                <a:gd name="T6" fmla="*/ 10 w 21"/>
                <a:gd name="T7" fmla="*/ 14 h 27"/>
                <a:gd name="T8" fmla="*/ 12 w 21"/>
                <a:gd name="T9" fmla="*/ 13 h 27"/>
                <a:gd name="T10" fmla="*/ 15 w 21"/>
                <a:gd name="T11" fmla="*/ 13 h 27"/>
                <a:gd name="T12" fmla="*/ 21 w 21"/>
                <a:gd name="T13" fmla="*/ 10 h 27"/>
                <a:gd name="T14" fmla="*/ 20 w 21"/>
                <a:gd name="T15" fmla="*/ 1 h 27"/>
                <a:gd name="T16" fmla="*/ 14 w 21"/>
                <a:gd name="T17" fmla="*/ 1 h 27"/>
                <a:gd name="T18" fmla="*/ 12 w 21"/>
                <a:gd name="T19" fmla="*/ 7 h 27"/>
                <a:gd name="T20" fmla="*/ 10 w 21"/>
                <a:gd name="T21" fmla="*/ 9 h 27"/>
                <a:gd name="T22" fmla="*/ 6 w 21"/>
                <a:gd name="T23" fmla="*/ 9 h 27"/>
                <a:gd name="T24" fmla="*/ 1 w 21"/>
                <a:gd name="T25" fmla="*/ 14 h 27"/>
                <a:gd name="T26" fmla="*/ 2 w 21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27">
                  <a:moveTo>
                    <a:pt x="2" y="27"/>
                  </a:moveTo>
                  <a:cubicBezTo>
                    <a:pt x="2" y="25"/>
                    <a:pt x="2" y="22"/>
                    <a:pt x="2" y="20"/>
                  </a:cubicBezTo>
                  <a:cubicBezTo>
                    <a:pt x="3" y="18"/>
                    <a:pt x="4" y="19"/>
                    <a:pt x="5" y="19"/>
                  </a:cubicBezTo>
                  <a:cubicBezTo>
                    <a:pt x="7" y="19"/>
                    <a:pt x="10" y="19"/>
                    <a:pt x="10" y="14"/>
                  </a:cubicBezTo>
                  <a:cubicBezTo>
                    <a:pt x="11" y="14"/>
                    <a:pt x="11" y="13"/>
                    <a:pt x="12" y="13"/>
                  </a:cubicBezTo>
                  <a:cubicBezTo>
                    <a:pt x="13" y="13"/>
                    <a:pt x="14" y="13"/>
                    <a:pt x="15" y="13"/>
                  </a:cubicBezTo>
                  <a:cubicBezTo>
                    <a:pt x="17" y="13"/>
                    <a:pt x="18" y="10"/>
                    <a:pt x="21" y="10"/>
                  </a:cubicBezTo>
                  <a:cubicBezTo>
                    <a:pt x="21" y="8"/>
                    <a:pt x="21" y="3"/>
                    <a:pt x="20" y="1"/>
                  </a:cubicBezTo>
                  <a:cubicBezTo>
                    <a:pt x="19" y="1"/>
                    <a:pt x="15" y="0"/>
                    <a:pt x="14" y="1"/>
                  </a:cubicBezTo>
                  <a:cubicBezTo>
                    <a:pt x="13" y="2"/>
                    <a:pt x="13" y="6"/>
                    <a:pt x="12" y="7"/>
                  </a:cubicBezTo>
                  <a:cubicBezTo>
                    <a:pt x="11" y="8"/>
                    <a:pt x="10" y="9"/>
                    <a:pt x="10" y="9"/>
                  </a:cubicBezTo>
                  <a:cubicBezTo>
                    <a:pt x="9" y="9"/>
                    <a:pt x="7" y="9"/>
                    <a:pt x="6" y="9"/>
                  </a:cubicBezTo>
                  <a:cubicBezTo>
                    <a:pt x="4" y="9"/>
                    <a:pt x="2" y="8"/>
                    <a:pt x="1" y="14"/>
                  </a:cubicBezTo>
                  <a:cubicBezTo>
                    <a:pt x="1" y="17"/>
                    <a:pt x="0" y="26"/>
                    <a:pt x="2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61">
              <a:extLst>
                <a:ext uri="{FF2B5EF4-FFF2-40B4-BE49-F238E27FC236}">
                  <a16:creationId xmlns:a16="http://schemas.microsoft.com/office/drawing/2014/main" id="{7375E602-6194-4DF8-9F8E-0833BAB3B2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0519" y="895761"/>
              <a:ext cx="59526" cy="78620"/>
            </a:xfrm>
            <a:custGeom>
              <a:avLst/>
              <a:gdLst>
                <a:gd name="T0" fmla="*/ 3 w 28"/>
                <a:gd name="T1" fmla="*/ 28 h 37"/>
                <a:gd name="T2" fmla="*/ 6 w 28"/>
                <a:gd name="T3" fmla="*/ 28 h 37"/>
                <a:gd name="T4" fmla="*/ 9 w 28"/>
                <a:gd name="T5" fmla="*/ 29 h 37"/>
                <a:gd name="T6" fmla="*/ 10 w 28"/>
                <a:gd name="T7" fmla="*/ 34 h 37"/>
                <a:gd name="T8" fmla="*/ 12 w 28"/>
                <a:gd name="T9" fmla="*/ 37 h 37"/>
                <a:gd name="T10" fmla="*/ 14 w 28"/>
                <a:gd name="T11" fmla="*/ 36 h 37"/>
                <a:gd name="T12" fmla="*/ 15 w 28"/>
                <a:gd name="T13" fmla="*/ 33 h 37"/>
                <a:gd name="T14" fmla="*/ 18 w 28"/>
                <a:gd name="T15" fmla="*/ 31 h 37"/>
                <a:gd name="T16" fmla="*/ 22 w 28"/>
                <a:gd name="T17" fmla="*/ 25 h 37"/>
                <a:gd name="T18" fmla="*/ 24 w 28"/>
                <a:gd name="T19" fmla="*/ 25 h 37"/>
                <a:gd name="T20" fmla="*/ 28 w 28"/>
                <a:gd name="T21" fmla="*/ 18 h 37"/>
                <a:gd name="T22" fmla="*/ 22 w 28"/>
                <a:gd name="T23" fmla="*/ 13 h 37"/>
                <a:gd name="T24" fmla="*/ 23 w 28"/>
                <a:gd name="T25" fmla="*/ 15 h 37"/>
                <a:gd name="T26" fmla="*/ 23 w 28"/>
                <a:gd name="T27" fmla="*/ 15 h 37"/>
                <a:gd name="T28" fmla="*/ 23 w 28"/>
                <a:gd name="T29" fmla="*/ 15 h 37"/>
                <a:gd name="T30" fmla="*/ 19 w 28"/>
                <a:gd name="T31" fmla="*/ 10 h 37"/>
                <a:gd name="T32" fmla="*/ 17 w 28"/>
                <a:gd name="T33" fmla="*/ 2 h 37"/>
                <a:gd name="T34" fmla="*/ 10 w 28"/>
                <a:gd name="T35" fmla="*/ 2 h 37"/>
                <a:gd name="T36" fmla="*/ 9 w 28"/>
                <a:gd name="T37" fmla="*/ 13 h 37"/>
                <a:gd name="T38" fmla="*/ 1 w 28"/>
                <a:gd name="T39" fmla="*/ 22 h 37"/>
                <a:gd name="T40" fmla="*/ 1 w 28"/>
                <a:gd name="T41" fmla="*/ 24 h 37"/>
                <a:gd name="T42" fmla="*/ 3 w 28"/>
                <a:gd name="T43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8" h="37">
                  <a:moveTo>
                    <a:pt x="3" y="28"/>
                  </a:moveTo>
                  <a:cubicBezTo>
                    <a:pt x="3" y="28"/>
                    <a:pt x="5" y="27"/>
                    <a:pt x="6" y="28"/>
                  </a:cubicBezTo>
                  <a:cubicBezTo>
                    <a:pt x="7" y="28"/>
                    <a:pt x="8" y="29"/>
                    <a:pt x="9" y="29"/>
                  </a:cubicBezTo>
                  <a:cubicBezTo>
                    <a:pt x="9" y="31"/>
                    <a:pt x="10" y="32"/>
                    <a:pt x="10" y="34"/>
                  </a:cubicBezTo>
                  <a:cubicBezTo>
                    <a:pt x="11" y="35"/>
                    <a:pt x="12" y="35"/>
                    <a:pt x="12" y="37"/>
                  </a:cubicBezTo>
                  <a:cubicBezTo>
                    <a:pt x="13" y="37"/>
                    <a:pt x="13" y="37"/>
                    <a:pt x="14" y="36"/>
                  </a:cubicBezTo>
                  <a:cubicBezTo>
                    <a:pt x="14" y="35"/>
                    <a:pt x="15" y="34"/>
                    <a:pt x="15" y="33"/>
                  </a:cubicBezTo>
                  <a:cubicBezTo>
                    <a:pt x="16" y="32"/>
                    <a:pt x="17" y="32"/>
                    <a:pt x="18" y="31"/>
                  </a:cubicBezTo>
                  <a:cubicBezTo>
                    <a:pt x="20" y="30"/>
                    <a:pt x="22" y="28"/>
                    <a:pt x="22" y="25"/>
                  </a:cubicBezTo>
                  <a:cubicBezTo>
                    <a:pt x="23" y="25"/>
                    <a:pt x="23" y="25"/>
                    <a:pt x="24" y="25"/>
                  </a:cubicBezTo>
                  <a:cubicBezTo>
                    <a:pt x="24" y="22"/>
                    <a:pt x="27" y="21"/>
                    <a:pt x="28" y="18"/>
                  </a:cubicBezTo>
                  <a:cubicBezTo>
                    <a:pt x="25" y="16"/>
                    <a:pt x="26" y="13"/>
                    <a:pt x="22" y="13"/>
                  </a:cubicBezTo>
                  <a:cubicBezTo>
                    <a:pt x="23" y="14"/>
                    <a:pt x="23" y="14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1" y="14"/>
                    <a:pt x="19" y="13"/>
                    <a:pt x="19" y="10"/>
                  </a:cubicBezTo>
                  <a:cubicBezTo>
                    <a:pt x="18" y="8"/>
                    <a:pt x="18" y="4"/>
                    <a:pt x="17" y="2"/>
                  </a:cubicBezTo>
                  <a:cubicBezTo>
                    <a:pt x="15" y="0"/>
                    <a:pt x="12" y="0"/>
                    <a:pt x="10" y="2"/>
                  </a:cubicBezTo>
                  <a:cubicBezTo>
                    <a:pt x="8" y="5"/>
                    <a:pt x="10" y="10"/>
                    <a:pt x="9" y="13"/>
                  </a:cubicBezTo>
                  <a:cubicBezTo>
                    <a:pt x="6" y="14"/>
                    <a:pt x="3" y="17"/>
                    <a:pt x="1" y="22"/>
                  </a:cubicBezTo>
                  <a:cubicBezTo>
                    <a:pt x="1" y="23"/>
                    <a:pt x="0" y="23"/>
                    <a:pt x="1" y="24"/>
                  </a:cubicBezTo>
                  <a:cubicBezTo>
                    <a:pt x="1" y="25"/>
                    <a:pt x="2" y="27"/>
                    <a:pt x="3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62">
              <a:extLst>
                <a:ext uri="{FF2B5EF4-FFF2-40B4-BE49-F238E27FC236}">
                  <a16:creationId xmlns:a16="http://schemas.microsoft.com/office/drawing/2014/main" id="{C93C1A72-2507-4E33-866C-0940579EC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8813" y="92833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63">
              <a:extLst>
                <a:ext uri="{FF2B5EF4-FFF2-40B4-BE49-F238E27FC236}">
                  <a16:creationId xmlns:a16="http://schemas.microsoft.com/office/drawing/2014/main" id="{FA052AD6-66D1-40E9-B159-0E729D5C4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4645" y="906992"/>
              <a:ext cx="38186" cy="39309"/>
            </a:xfrm>
            <a:custGeom>
              <a:avLst/>
              <a:gdLst>
                <a:gd name="T0" fmla="*/ 8 w 18"/>
                <a:gd name="T1" fmla="*/ 3 h 19"/>
                <a:gd name="T2" fmla="*/ 5 w 18"/>
                <a:gd name="T3" fmla="*/ 3 h 19"/>
                <a:gd name="T4" fmla="*/ 2 w 18"/>
                <a:gd name="T5" fmla="*/ 4 h 19"/>
                <a:gd name="T6" fmla="*/ 2 w 18"/>
                <a:gd name="T7" fmla="*/ 7 h 19"/>
                <a:gd name="T8" fmla="*/ 1 w 18"/>
                <a:gd name="T9" fmla="*/ 9 h 19"/>
                <a:gd name="T10" fmla="*/ 3 w 18"/>
                <a:gd name="T11" fmla="*/ 18 h 19"/>
                <a:gd name="T12" fmla="*/ 7 w 18"/>
                <a:gd name="T13" fmla="*/ 10 h 19"/>
                <a:gd name="T14" fmla="*/ 11 w 18"/>
                <a:gd name="T15" fmla="*/ 8 h 19"/>
                <a:gd name="T16" fmla="*/ 14 w 18"/>
                <a:gd name="T17" fmla="*/ 9 h 19"/>
                <a:gd name="T18" fmla="*/ 15 w 18"/>
                <a:gd name="T19" fmla="*/ 7 h 19"/>
                <a:gd name="T20" fmla="*/ 17 w 18"/>
                <a:gd name="T21" fmla="*/ 3 h 19"/>
                <a:gd name="T22" fmla="*/ 14 w 18"/>
                <a:gd name="T23" fmla="*/ 0 h 19"/>
                <a:gd name="T24" fmla="*/ 10 w 18"/>
                <a:gd name="T25" fmla="*/ 1 h 19"/>
                <a:gd name="T26" fmla="*/ 8 w 18"/>
                <a:gd name="T27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19">
                  <a:moveTo>
                    <a:pt x="8" y="3"/>
                  </a:moveTo>
                  <a:cubicBezTo>
                    <a:pt x="7" y="3"/>
                    <a:pt x="6" y="3"/>
                    <a:pt x="5" y="3"/>
                  </a:cubicBezTo>
                  <a:cubicBezTo>
                    <a:pt x="4" y="3"/>
                    <a:pt x="3" y="2"/>
                    <a:pt x="2" y="4"/>
                  </a:cubicBezTo>
                  <a:cubicBezTo>
                    <a:pt x="2" y="5"/>
                    <a:pt x="2" y="6"/>
                    <a:pt x="2" y="7"/>
                  </a:cubicBezTo>
                  <a:cubicBezTo>
                    <a:pt x="2" y="8"/>
                    <a:pt x="1" y="8"/>
                    <a:pt x="1" y="9"/>
                  </a:cubicBezTo>
                  <a:cubicBezTo>
                    <a:pt x="0" y="11"/>
                    <a:pt x="0" y="19"/>
                    <a:pt x="3" y="18"/>
                  </a:cubicBezTo>
                  <a:cubicBezTo>
                    <a:pt x="4" y="17"/>
                    <a:pt x="7" y="12"/>
                    <a:pt x="7" y="10"/>
                  </a:cubicBezTo>
                  <a:cubicBezTo>
                    <a:pt x="9" y="10"/>
                    <a:pt x="10" y="9"/>
                    <a:pt x="11" y="8"/>
                  </a:cubicBezTo>
                  <a:cubicBezTo>
                    <a:pt x="12" y="8"/>
                    <a:pt x="13" y="9"/>
                    <a:pt x="14" y="9"/>
                  </a:cubicBezTo>
                  <a:cubicBezTo>
                    <a:pt x="15" y="8"/>
                    <a:pt x="15" y="7"/>
                    <a:pt x="15" y="7"/>
                  </a:cubicBezTo>
                  <a:cubicBezTo>
                    <a:pt x="16" y="6"/>
                    <a:pt x="18" y="5"/>
                    <a:pt x="17" y="3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13" y="0"/>
                    <a:pt x="11" y="0"/>
                    <a:pt x="10" y="1"/>
                  </a:cubicBezTo>
                  <a:cubicBezTo>
                    <a:pt x="9" y="1"/>
                    <a:pt x="9" y="2"/>
                    <a:pt x="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64">
              <a:extLst>
                <a:ext uri="{FF2B5EF4-FFF2-40B4-BE49-F238E27FC236}">
                  <a16:creationId xmlns:a16="http://schemas.microsoft.com/office/drawing/2014/main" id="{9D65E007-8A0D-434C-B9B2-BA931B889E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78" y="3990008"/>
              <a:ext cx="918724" cy="2083421"/>
            </a:xfrm>
            <a:custGeom>
              <a:avLst/>
              <a:gdLst>
                <a:gd name="T0" fmla="*/ 123 w 435"/>
                <a:gd name="T1" fmla="*/ 954 h 988"/>
                <a:gd name="T2" fmla="*/ 126 w 435"/>
                <a:gd name="T3" fmla="*/ 909 h 988"/>
                <a:gd name="T4" fmla="*/ 150 w 435"/>
                <a:gd name="T5" fmla="*/ 866 h 988"/>
                <a:gd name="T6" fmla="*/ 148 w 435"/>
                <a:gd name="T7" fmla="*/ 829 h 988"/>
                <a:gd name="T8" fmla="*/ 161 w 435"/>
                <a:gd name="T9" fmla="*/ 800 h 988"/>
                <a:gd name="T10" fmla="*/ 168 w 435"/>
                <a:gd name="T11" fmla="*/ 770 h 988"/>
                <a:gd name="T12" fmla="*/ 192 w 435"/>
                <a:gd name="T13" fmla="*/ 731 h 988"/>
                <a:gd name="T14" fmla="*/ 227 w 435"/>
                <a:gd name="T15" fmla="*/ 710 h 988"/>
                <a:gd name="T16" fmla="*/ 230 w 435"/>
                <a:gd name="T17" fmla="*/ 683 h 988"/>
                <a:gd name="T18" fmla="*/ 250 w 435"/>
                <a:gd name="T19" fmla="*/ 653 h 988"/>
                <a:gd name="T20" fmla="*/ 276 w 435"/>
                <a:gd name="T21" fmla="*/ 609 h 988"/>
                <a:gd name="T22" fmla="*/ 299 w 435"/>
                <a:gd name="T23" fmla="*/ 556 h 988"/>
                <a:gd name="T24" fmla="*/ 326 w 435"/>
                <a:gd name="T25" fmla="*/ 502 h 988"/>
                <a:gd name="T26" fmla="*/ 356 w 435"/>
                <a:gd name="T27" fmla="*/ 485 h 988"/>
                <a:gd name="T28" fmla="*/ 384 w 435"/>
                <a:gd name="T29" fmla="*/ 448 h 988"/>
                <a:gd name="T30" fmla="*/ 393 w 435"/>
                <a:gd name="T31" fmla="*/ 408 h 988"/>
                <a:gd name="T32" fmla="*/ 390 w 435"/>
                <a:gd name="T33" fmla="*/ 334 h 988"/>
                <a:gd name="T34" fmla="*/ 421 w 435"/>
                <a:gd name="T35" fmla="*/ 302 h 988"/>
                <a:gd name="T36" fmla="*/ 429 w 435"/>
                <a:gd name="T37" fmla="*/ 258 h 988"/>
                <a:gd name="T38" fmla="*/ 408 w 435"/>
                <a:gd name="T39" fmla="*/ 237 h 988"/>
                <a:gd name="T40" fmla="*/ 373 w 435"/>
                <a:gd name="T41" fmla="*/ 206 h 988"/>
                <a:gd name="T42" fmla="*/ 330 w 435"/>
                <a:gd name="T43" fmla="*/ 190 h 988"/>
                <a:gd name="T44" fmla="*/ 309 w 435"/>
                <a:gd name="T45" fmla="*/ 173 h 988"/>
                <a:gd name="T46" fmla="*/ 287 w 435"/>
                <a:gd name="T47" fmla="*/ 148 h 988"/>
                <a:gd name="T48" fmla="*/ 286 w 435"/>
                <a:gd name="T49" fmla="*/ 122 h 988"/>
                <a:gd name="T50" fmla="*/ 247 w 435"/>
                <a:gd name="T51" fmla="*/ 92 h 988"/>
                <a:gd name="T52" fmla="*/ 208 w 435"/>
                <a:gd name="T53" fmla="*/ 69 h 988"/>
                <a:gd name="T54" fmla="*/ 185 w 435"/>
                <a:gd name="T55" fmla="*/ 32 h 988"/>
                <a:gd name="T56" fmla="*/ 150 w 435"/>
                <a:gd name="T57" fmla="*/ 39 h 988"/>
                <a:gd name="T58" fmla="*/ 125 w 435"/>
                <a:gd name="T59" fmla="*/ 17 h 988"/>
                <a:gd name="T60" fmla="*/ 106 w 435"/>
                <a:gd name="T61" fmla="*/ 27 h 988"/>
                <a:gd name="T62" fmla="*/ 98 w 435"/>
                <a:gd name="T63" fmla="*/ 22 h 988"/>
                <a:gd name="T64" fmla="*/ 90 w 435"/>
                <a:gd name="T65" fmla="*/ 16 h 988"/>
                <a:gd name="T66" fmla="*/ 61 w 435"/>
                <a:gd name="T67" fmla="*/ 59 h 988"/>
                <a:gd name="T68" fmla="*/ 52 w 435"/>
                <a:gd name="T69" fmla="*/ 88 h 988"/>
                <a:gd name="T70" fmla="*/ 41 w 435"/>
                <a:gd name="T71" fmla="*/ 125 h 988"/>
                <a:gd name="T72" fmla="*/ 34 w 435"/>
                <a:gd name="T73" fmla="*/ 160 h 988"/>
                <a:gd name="T74" fmla="*/ 8 w 435"/>
                <a:gd name="T75" fmla="*/ 199 h 988"/>
                <a:gd name="T76" fmla="*/ 7 w 435"/>
                <a:gd name="T77" fmla="*/ 246 h 988"/>
                <a:gd name="T78" fmla="*/ 13 w 435"/>
                <a:gd name="T79" fmla="*/ 301 h 988"/>
                <a:gd name="T80" fmla="*/ 22 w 435"/>
                <a:gd name="T81" fmla="*/ 353 h 988"/>
                <a:gd name="T82" fmla="*/ 48 w 435"/>
                <a:gd name="T83" fmla="*/ 399 h 988"/>
                <a:gd name="T84" fmla="*/ 70 w 435"/>
                <a:gd name="T85" fmla="*/ 430 h 988"/>
                <a:gd name="T86" fmla="*/ 90 w 435"/>
                <a:gd name="T87" fmla="*/ 444 h 988"/>
                <a:gd name="T88" fmla="*/ 104 w 435"/>
                <a:gd name="T89" fmla="*/ 486 h 988"/>
                <a:gd name="T90" fmla="*/ 89 w 435"/>
                <a:gd name="T91" fmla="*/ 537 h 988"/>
                <a:gd name="T92" fmla="*/ 91 w 435"/>
                <a:gd name="T93" fmla="*/ 605 h 988"/>
                <a:gd name="T94" fmla="*/ 84 w 435"/>
                <a:gd name="T95" fmla="*/ 678 h 988"/>
                <a:gd name="T96" fmla="*/ 76 w 435"/>
                <a:gd name="T97" fmla="*/ 723 h 988"/>
                <a:gd name="T98" fmla="*/ 80 w 435"/>
                <a:gd name="T99" fmla="*/ 797 h 988"/>
                <a:gd name="T100" fmla="*/ 64 w 435"/>
                <a:gd name="T101" fmla="*/ 861 h 988"/>
                <a:gd name="T102" fmla="*/ 70 w 435"/>
                <a:gd name="T103" fmla="*/ 900 h 988"/>
                <a:gd name="T104" fmla="*/ 72 w 435"/>
                <a:gd name="T105" fmla="*/ 932 h 988"/>
                <a:gd name="T106" fmla="*/ 91 w 435"/>
                <a:gd name="T107" fmla="*/ 958 h 988"/>
                <a:gd name="T108" fmla="*/ 119 w 435"/>
                <a:gd name="T109" fmla="*/ 988 h 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5" h="988">
                  <a:moveTo>
                    <a:pt x="118" y="979"/>
                  </a:moveTo>
                  <a:cubicBezTo>
                    <a:pt x="118" y="969"/>
                    <a:pt x="123" y="974"/>
                    <a:pt x="128" y="972"/>
                  </a:cubicBezTo>
                  <a:cubicBezTo>
                    <a:pt x="129" y="971"/>
                    <a:pt x="130" y="969"/>
                    <a:pt x="131" y="968"/>
                  </a:cubicBezTo>
                  <a:cubicBezTo>
                    <a:pt x="132" y="966"/>
                    <a:pt x="135" y="965"/>
                    <a:pt x="135" y="963"/>
                  </a:cubicBezTo>
                  <a:cubicBezTo>
                    <a:pt x="137" y="958"/>
                    <a:pt x="132" y="960"/>
                    <a:pt x="130" y="960"/>
                  </a:cubicBezTo>
                  <a:cubicBezTo>
                    <a:pt x="128" y="959"/>
                    <a:pt x="127" y="958"/>
                    <a:pt x="124" y="958"/>
                  </a:cubicBezTo>
                  <a:cubicBezTo>
                    <a:pt x="124" y="956"/>
                    <a:pt x="124" y="955"/>
                    <a:pt x="123" y="954"/>
                  </a:cubicBezTo>
                  <a:cubicBezTo>
                    <a:pt x="123" y="953"/>
                    <a:pt x="122" y="953"/>
                    <a:pt x="122" y="952"/>
                  </a:cubicBezTo>
                  <a:cubicBezTo>
                    <a:pt x="121" y="951"/>
                    <a:pt x="121" y="950"/>
                    <a:pt x="121" y="949"/>
                  </a:cubicBezTo>
                  <a:cubicBezTo>
                    <a:pt x="121" y="946"/>
                    <a:pt x="119" y="943"/>
                    <a:pt x="118" y="940"/>
                  </a:cubicBezTo>
                  <a:cubicBezTo>
                    <a:pt x="117" y="937"/>
                    <a:pt x="117" y="929"/>
                    <a:pt x="118" y="926"/>
                  </a:cubicBezTo>
                  <a:cubicBezTo>
                    <a:pt x="118" y="924"/>
                    <a:pt x="119" y="924"/>
                    <a:pt x="120" y="922"/>
                  </a:cubicBezTo>
                  <a:cubicBezTo>
                    <a:pt x="121" y="921"/>
                    <a:pt x="120" y="919"/>
                    <a:pt x="121" y="917"/>
                  </a:cubicBezTo>
                  <a:cubicBezTo>
                    <a:pt x="123" y="914"/>
                    <a:pt x="124" y="912"/>
                    <a:pt x="126" y="909"/>
                  </a:cubicBezTo>
                  <a:cubicBezTo>
                    <a:pt x="126" y="906"/>
                    <a:pt x="126" y="904"/>
                    <a:pt x="126" y="902"/>
                  </a:cubicBezTo>
                  <a:cubicBezTo>
                    <a:pt x="127" y="899"/>
                    <a:pt x="128" y="900"/>
                    <a:pt x="130" y="900"/>
                  </a:cubicBezTo>
                  <a:cubicBezTo>
                    <a:pt x="134" y="900"/>
                    <a:pt x="135" y="899"/>
                    <a:pt x="137" y="895"/>
                  </a:cubicBezTo>
                  <a:cubicBezTo>
                    <a:pt x="137" y="893"/>
                    <a:pt x="137" y="891"/>
                    <a:pt x="138" y="889"/>
                  </a:cubicBezTo>
                  <a:cubicBezTo>
                    <a:pt x="138" y="888"/>
                    <a:pt x="139" y="887"/>
                    <a:pt x="139" y="885"/>
                  </a:cubicBezTo>
                  <a:cubicBezTo>
                    <a:pt x="140" y="884"/>
                    <a:pt x="141" y="884"/>
                    <a:pt x="141" y="884"/>
                  </a:cubicBezTo>
                  <a:cubicBezTo>
                    <a:pt x="142" y="876"/>
                    <a:pt x="153" y="875"/>
                    <a:pt x="150" y="866"/>
                  </a:cubicBezTo>
                  <a:cubicBezTo>
                    <a:pt x="149" y="864"/>
                    <a:pt x="148" y="864"/>
                    <a:pt x="148" y="862"/>
                  </a:cubicBezTo>
                  <a:cubicBezTo>
                    <a:pt x="148" y="858"/>
                    <a:pt x="148" y="857"/>
                    <a:pt x="146" y="855"/>
                  </a:cubicBezTo>
                  <a:cubicBezTo>
                    <a:pt x="144" y="852"/>
                    <a:pt x="140" y="853"/>
                    <a:pt x="139" y="848"/>
                  </a:cubicBezTo>
                  <a:cubicBezTo>
                    <a:pt x="138" y="843"/>
                    <a:pt x="139" y="838"/>
                    <a:pt x="141" y="835"/>
                  </a:cubicBezTo>
                  <a:cubicBezTo>
                    <a:pt x="142" y="834"/>
                    <a:pt x="142" y="833"/>
                    <a:pt x="143" y="832"/>
                  </a:cubicBezTo>
                  <a:cubicBezTo>
                    <a:pt x="144" y="831"/>
                    <a:pt x="145" y="832"/>
                    <a:pt x="146" y="831"/>
                  </a:cubicBezTo>
                  <a:cubicBezTo>
                    <a:pt x="147" y="831"/>
                    <a:pt x="147" y="830"/>
                    <a:pt x="148" y="829"/>
                  </a:cubicBezTo>
                  <a:cubicBezTo>
                    <a:pt x="148" y="829"/>
                    <a:pt x="150" y="828"/>
                    <a:pt x="150" y="828"/>
                  </a:cubicBezTo>
                  <a:cubicBezTo>
                    <a:pt x="151" y="827"/>
                    <a:pt x="151" y="824"/>
                    <a:pt x="152" y="823"/>
                  </a:cubicBezTo>
                  <a:cubicBezTo>
                    <a:pt x="152" y="821"/>
                    <a:pt x="154" y="819"/>
                    <a:pt x="154" y="817"/>
                  </a:cubicBezTo>
                  <a:cubicBezTo>
                    <a:pt x="155" y="815"/>
                    <a:pt x="155" y="813"/>
                    <a:pt x="156" y="811"/>
                  </a:cubicBezTo>
                  <a:cubicBezTo>
                    <a:pt x="156" y="809"/>
                    <a:pt x="157" y="805"/>
                    <a:pt x="157" y="804"/>
                  </a:cubicBezTo>
                  <a:cubicBezTo>
                    <a:pt x="158" y="804"/>
                    <a:pt x="159" y="804"/>
                    <a:pt x="160" y="803"/>
                  </a:cubicBezTo>
                  <a:cubicBezTo>
                    <a:pt x="160" y="802"/>
                    <a:pt x="161" y="801"/>
                    <a:pt x="161" y="800"/>
                  </a:cubicBezTo>
                  <a:cubicBezTo>
                    <a:pt x="165" y="800"/>
                    <a:pt x="165" y="792"/>
                    <a:pt x="161" y="791"/>
                  </a:cubicBezTo>
                  <a:cubicBezTo>
                    <a:pt x="161" y="790"/>
                    <a:pt x="160" y="789"/>
                    <a:pt x="160" y="788"/>
                  </a:cubicBezTo>
                  <a:cubicBezTo>
                    <a:pt x="160" y="788"/>
                    <a:pt x="159" y="788"/>
                    <a:pt x="158" y="788"/>
                  </a:cubicBezTo>
                  <a:cubicBezTo>
                    <a:pt x="158" y="784"/>
                    <a:pt x="158" y="781"/>
                    <a:pt x="158" y="777"/>
                  </a:cubicBezTo>
                  <a:cubicBezTo>
                    <a:pt x="158" y="776"/>
                    <a:pt x="158" y="774"/>
                    <a:pt x="158" y="772"/>
                  </a:cubicBezTo>
                  <a:cubicBezTo>
                    <a:pt x="158" y="768"/>
                    <a:pt x="158" y="769"/>
                    <a:pt x="160" y="769"/>
                  </a:cubicBezTo>
                  <a:cubicBezTo>
                    <a:pt x="163" y="768"/>
                    <a:pt x="165" y="770"/>
                    <a:pt x="168" y="770"/>
                  </a:cubicBezTo>
                  <a:cubicBezTo>
                    <a:pt x="171" y="770"/>
                    <a:pt x="173" y="771"/>
                    <a:pt x="176" y="769"/>
                  </a:cubicBezTo>
                  <a:cubicBezTo>
                    <a:pt x="180" y="767"/>
                    <a:pt x="186" y="766"/>
                    <a:pt x="185" y="758"/>
                  </a:cubicBezTo>
                  <a:cubicBezTo>
                    <a:pt x="184" y="756"/>
                    <a:pt x="183" y="755"/>
                    <a:pt x="183" y="753"/>
                  </a:cubicBezTo>
                  <a:cubicBezTo>
                    <a:pt x="183" y="751"/>
                    <a:pt x="183" y="748"/>
                    <a:pt x="183" y="746"/>
                  </a:cubicBezTo>
                  <a:cubicBezTo>
                    <a:pt x="183" y="742"/>
                    <a:pt x="184" y="739"/>
                    <a:pt x="185" y="736"/>
                  </a:cubicBezTo>
                  <a:cubicBezTo>
                    <a:pt x="187" y="735"/>
                    <a:pt x="187" y="734"/>
                    <a:pt x="188" y="733"/>
                  </a:cubicBezTo>
                  <a:cubicBezTo>
                    <a:pt x="189" y="732"/>
                    <a:pt x="190" y="732"/>
                    <a:pt x="192" y="731"/>
                  </a:cubicBezTo>
                  <a:cubicBezTo>
                    <a:pt x="193" y="731"/>
                    <a:pt x="194" y="730"/>
                    <a:pt x="196" y="730"/>
                  </a:cubicBezTo>
                  <a:cubicBezTo>
                    <a:pt x="197" y="730"/>
                    <a:pt x="199" y="730"/>
                    <a:pt x="201" y="730"/>
                  </a:cubicBezTo>
                  <a:cubicBezTo>
                    <a:pt x="203" y="730"/>
                    <a:pt x="207" y="726"/>
                    <a:pt x="209" y="723"/>
                  </a:cubicBezTo>
                  <a:cubicBezTo>
                    <a:pt x="210" y="722"/>
                    <a:pt x="210" y="721"/>
                    <a:pt x="211" y="719"/>
                  </a:cubicBezTo>
                  <a:cubicBezTo>
                    <a:pt x="213" y="718"/>
                    <a:pt x="215" y="719"/>
                    <a:pt x="215" y="714"/>
                  </a:cubicBezTo>
                  <a:cubicBezTo>
                    <a:pt x="218" y="714"/>
                    <a:pt x="222" y="712"/>
                    <a:pt x="225" y="711"/>
                  </a:cubicBezTo>
                  <a:cubicBezTo>
                    <a:pt x="226" y="711"/>
                    <a:pt x="226" y="711"/>
                    <a:pt x="227" y="710"/>
                  </a:cubicBezTo>
                  <a:cubicBezTo>
                    <a:pt x="227" y="710"/>
                    <a:pt x="228" y="707"/>
                    <a:pt x="228" y="707"/>
                  </a:cubicBezTo>
                  <a:cubicBezTo>
                    <a:pt x="230" y="704"/>
                    <a:pt x="231" y="704"/>
                    <a:pt x="231" y="700"/>
                  </a:cubicBezTo>
                  <a:cubicBezTo>
                    <a:pt x="233" y="700"/>
                    <a:pt x="234" y="700"/>
                    <a:pt x="235" y="700"/>
                  </a:cubicBezTo>
                  <a:cubicBezTo>
                    <a:pt x="235" y="698"/>
                    <a:pt x="236" y="695"/>
                    <a:pt x="236" y="694"/>
                  </a:cubicBezTo>
                  <a:cubicBezTo>
                    <a:pt x="236" y="690"/>
                    <a:pt x="236" y="693"/>
                    <a:pt x="234" y="691"/>
                  </a:cubicBezTo>
                  <a:cubicBezTo>
                    <a:pt x="233" y="691"/>
                    <a:pt x="230" y="690"/>
                    <a:pt x="230" y="689"/>
                  </a:cubicBezTo>
                  <a:cubicBezTo>
                    <a:pt x="229" y="688"/>
                    <a:pt x="230" y="685"/>
                    <a:pt x="230" y="683"/>
                  </a:cubicBezTo>
                  <a:cubicBezTo>
                    <a:pt x="230" y="680"/>
                    <a:pt x="228" y="675"/>
                    <a:pt x="227" y="673"/>
                  </a:cubicBezTo>
                  <a:cubicBezTo>
                    <a:pt x="226" y="670"/>
                    <a:pt x="223" y="667"/>
                    <a:pt x="226" y="664"/>
                  </a:cubicBezTo>
                  <a:cubicBezTo>
                    <a:pt x="227" y="663"/>
                    <a:pt x="230" y="662"/>
                    <a:pt x="231" y="662"/>
                  </a:cubicBezTo>
                  <a:cubicBezTo>
                    <a:pt x="232" y="662"/>
                    <a:pt x="233" y="662"/>
                    <a:pt x="234" y="662"/>
                  </a:cubicBezTo>
                  <a:cubicBezTo>
                    <a:pt x="234" y="662"/>
                    <a:pt x="235" y="661"/>
                    <a:pt x="235" y="660"/>
                  </a:cubicBezTo>
                  <a:cubicBezTo>
                    <a:pt x="238" y="659"/>
                    <a:pt x="242" y="660"/>
                    <a:pt x="245" y="660"/>
                  </a:cubicBezTo>
                  <a:cubicBezTo>
                    <a:pt x="249" y="659"/>
                    <a:pt x="249" y="657"/>
                    <a:pt x="250" y="653"/>
                  </a:cubicBezTo>
                  <a:cubicBezTo>
                    <a:pt x="252" y="651"/>
                    <a:pt x="254" y="648"/>
                    <a:pt x="254" y="644"/>
                  </a:cubicBezTo>
                  <a:cubicBezTo>
                    <a:pt x="256" y="644"/>
                    <a:pt x="257" y="643"/>
                    <a:pt x="258" y="643"/>
                  </a:cubicBezTo>
                  <a:cubicBezTo>
                    <a:pt x="259" y="642"/>
                    <a:pt x="261" y="643"/>
                    <a:pt x="262" y="642"/>
                  </a:cubicBezTo>
                  <a:cubicBezTo>
                    <a:pt x="265" y="640"/>
                    <a:pt x="266" y="636"/>
                    <a:pt x="267" y="633"/>
                  </a:cubicBezTo>
                  <a:cubicBezTo>
                    <a:pt x="269" y="630"/>
                    <a:pt x="270" y="627"/>
                    <a:pt x="270" y="623"/>
                  </a:cubicBezTo>
                  <a:cubicBezTo>
                    <a:pt x="271" y="619"/>
                    <a:pt x="271" y="614"/>
                    <a:pt x="275" y="614"/>
                  </a:cubicBezTo>
                  <a:cubicBezTo>
                    <a:pt x="275" y="612"/>
                    <a:pt x="275" y="611"/>
                    <a:pt x="276" y="609"/>
                  </a:cubicBezTo>
                  <a:cubicBezTo>
                    <a:pt x="278" y="609"/>
                    <a:pt x="279" y="608"/>
                    <a:pt x="282" y="607"/>
                  </a:cubicBezTo>
                  <a:cubicBezTo>
                    <a:pt x="284" y="607"/>
                    <a:pt x="286" y="606"/>
                    <a:pt x="289" y="605"/>
                  </a:cubicBezTo>
                  <a:cubicBezTo>
                    <a:pt x="289" y="599"/>
                    <a:pt x="294" y="593"/>
                    <a:pt x="294" y="587"/>
                  </a:cubicBezTo>
                  <a:cubicBezTo>
                    <a:pt x="295" y="586"/>
                    <a:pt x="296" y="586"/>
                    <a:pt x="297" y="586"/>
                  </a:cubicBezTo>
                  <a:cubicBezTo>
                    <a:pt x="297" y="580"/>
                    <a:pt x="300" y="583"/>
                    <a:pt x="302" y="580"/>
                  </a:cubicBezTo>
                  <a:cubicBezTo>
                    <a:pt x="304" y="577"/>
                    <a:pt x="303" y="570"/>
                    <a:pt x="302" y="567"/>
                  </a:cubicBezTo>
                  <a:cubicBezTo>
                    <a:pt x="301" y="563"/>
                    <a:pt x="299" y="561"/>
                    <a:pt x="299" y="556"/>
                  </a:cubicBezTo>
                  <a:cubicBezTo>
                    <a:pt x="299" y="551"/>
                    <a:pt x="297" y="549"/>
                    <a:pt x="297" y="544"/>
                  </a:cubicBezTo>
                  <a:cubicBezTo>
                    <a:pt x="296" y="540"/>
                    <a:pt x="297" y="535"/>
                    <a:pt x="298" y="531"/>
                  </a:cubicBezTo>
                  <a:cubicBezTo>
                    <a:pt x="299" y="527"/>
                    <a:pt x="301" y="527"/>
                    <a:pt x="303" y="524"/>
                  </a:cubicBezTo>
                  <a:cubicBezTo>
                    <a:pt x="304" y="522"/>
                    <a:pt x="305" y="521"/>
                    <a:pt x="306" y="520"/>
                  </a:cubicBezTo>
                  <a:cubicBezTo>
                    <a:pt x="307" y="516"/>
                    <a:pt x="307" y="518"/>
                    <a:pt x="309" y="516"/>
                  </a:cubicBezTo>
                  <a:cubicBezTo>
                    <a:pt x="312" y="514"/>
                    <a:pt x="312" y="509"/>
                    <a:pt x="315" y="509"/>
                  </a:cubicBezTo>
                  <a:cubicBezTo>
                    <a:pt x="316" y="500"/>
                    <a:pt x="320" y="502"/>
                    <a:pt x="326" y="502"/>
                  </a:cubicBezTo>
                  <a:cubicBezTo>
                    <a:pt x="329" y="502"/>
                    <a:pt x="335" y="497"/>
                    <a:pt x="335" y="492"/>
                  </a:cubicBezTo>
                  <a:cubicBezTo>
                    <a:pt x="336" y="492"/>
                    <a:pt x="336" y="491"/>
                    <a:pt x="337" y="491"/>
                  </a:cubicBezTo>
                  <a:cubicBezTo>
                    <a:pt x="337" y="488"/>
                    <a:pt x="339" y="484"/>
                    <a:pt x="341" y="482"/>
                  </a:cubicBezTo>
                  <a:cubicBezTo>
                    <a:pt x="342" y="481"/>
                    <a:pt x="343" y="481"/>
                    <a:pt x="345" y="481"/>
                  </a:cubicBezTo>
                  <a:cubicBezTo>
                    <a:pt x="347" y="481"/>
                    <a:pt x="348" y="482"/>
                    <a:pt x="350" y="483"/>
                  </a:cubicBezTo>
                  <a:cubicBezTo>
                    <a:pt x="351" y="483"/>
                    <a:pt x="353" y="483"/>
                    <a:pt x="355" y="483"/>
                  </a:cubicBezTo>
                  <a:cubicBezTo>
                    <a:pt x="355" y="484"/>
                    <a:pt x="355" y="485"/>
                    <a:pt x="356" y="485"/>
                  </a:cubicBezTo>
                  <a:cubicBezTo>
                    <a:pt x="357" y="485"/>
                    <a:pt x="359" y="485"/>
                    <a:pt x="360" y="485"/>
                  </a:cubicBezTo>
                  <a:cubicBezTo>
                    <a:pt x="362" y="485"/>
                    <a:pt x="363" y="484"/>
                    <a:pt x="364" y="483"/>
                  </a:cubicBezTo>
                  <a:cubicBezTo>
                    <a:pt x="366" y="483"/>
                    <a:pt x="368" y="483"/>
                    <a:pt x="370" y="483"/>
                  </a:cubicBezTo>
                  <a:cubicBezTo>
                    <a:pt x="370" y="479"/>
                    <a:pt x="371" y="477"/>
                    <a:pt x="372" y="474"/>
                  </a:cubicBezTo>
                  <a:cubicBezTo>
                    <a:pt x="373" y="472"/>
                    <a:pt x="373" y="469"/>
                    <a:pt x="373" y="468"/>
                  </a:cubicBezTo>
                  <a:cubicBezTo>
                    <a:pt x="374" y="466"/>
                    <a:pt x="373" y="464"/>
                    <a:pt x="374" y="462"/>
                  </a:cubicBezTo>
                  <a:cubicBezTo>
                    <a:pt x="375" y="453"/>
                    <a:pt x="384" y="457"/>
                    <a:pt x="384" y="448"/>
                  </a:cubicBezTo>
                  <a:cubicBezTo>
                    <a:pt x="385" y="448"/>
                    <a:pt x="385" y="448"/>
                    <a:pt x="386" y="447"/>
                  </a:cubicBezTo>
                  <a:cubicBezTo>
                    <a:pt x="386" y="445"/>
                    <a:pt x="387" y="444"/>
                    <a:pt x="387" y="442"/>
                  </a:cubicBezTo>
                  <a:cubicBezTo>
                    <a:pt x="388" y="439"/>
                    <a:pt x="388" y="437"/>
                    <a:pt x="388" y="434"/>
                  </a:cubicBezTo>
                  <a:cubicBezTo>
                    <a:pt x="388" y="429"/>
                    <a:pt x="387" y="421"/>
                    <a:pt x="388" y="416"/>
                  </a:cubicBezTo>
                  <a:cubicBezTo>
                    <a:pt x="388" y="415"/>
                    <a:pt x="389" y="413"/>
                    <a:pt x="390" y="412"/>
                  </a:cubicBezTo>
                  <a:cubicBezTo>
                    <a:pt x="390" y="411"/>
                    <a:pt x="391" y="411"/>
                    <a:pt x="391" y="411"/>
                  </a:cubicBezTo>
                  <a:cubicBezTo>
                    <a:pt x="392" y="410"/>
                    <a:pt x="392" y="409"/>
                    <a:pt x="393" y="408"/>
                  </a:cubicBezTo>
                  <a:cubicBezTo>
                    <a:pt x="394" y="405"/>
                    <a:pt x="395" y="406"/>
                    <a:pt x="395" y="403"/>
                  </a:cubicBezTo>
                  <a:cubicBezTo>
                    <a:pt x="394" y="402"/>
                    <a:pt x="394" y="401"/>
                    <a:pt x="394" y="400"/>
                  </a:cubicBezTo>
                  <a:cubicBezTo>
                    <a:pt x="394" y="399"/>
                    <a:pt x="394" y="397"/>
                    <a:pt x="394" y="395"/>
                  </a:cubicBezTo>
                  <a:cubicBezTo>
                    <a:pt x="394" y="389"/>
                    <a:pt x="393" y="377"/>
                    <a:pt x="391" y="372"/>
                  </a:cubicBezTo>
                  <a:cubicBezTo>
                    <a:pt x="390" y="368"/>
                    <a:pt x="389" y="364"/>
                    <a:pt x="389" y="358"/>
                  </a:cubicBezTo>
                  <a:cubicBezTo>
                    <a:pt x="389" y="352"/>
                    <a:pt x="390" y="348"/>
                    <a:pt x="390" y="343"/>
                  </a:cubicBezTo>
                  <a:cubicBezTo>
                    <a:pt x="390" y="340"/>
                    <a:pt x="389" y="336"/>
                    <a:pt x="390" y="334"/>
                  </a:cubicBezTo>
                  <a:cubicBezTo>
                    <a:pt x="392" y="332"/>
                    <a:pt x="395" y="332"/>
                    <a:pt x="396" y="332"/>
                  </a:cubicBezTo>
                  <a:cubicBezTo>
                    <a:pt x="396" y="328"/>
                    <a:pt x="399" y="327"/>
                    <a:pt x="401" y="326"/>
                  </a:cubicBezTo>
                  <a:cubicBezTo>
                    <a:pt x="401" y="325"/>
                    <a:pt x="402" y="324"/>
                    <a:pt x="402" y="324"/>
                  </a:cubicBezTo>
                  <a:cubicBezTo>
                    <a:pt x="407" y="323"/>
                    <a:pt x="411" y="315"/>
                    <a:pt x="415" y="310"/>
                  </a:cubicBezTo>
                  <a:cubicBezTo>
                    <a:pt x="416" y="309"/>
                    <a:pt x="418" y="309"/>
                    <a:pt x="419" y="308"/>
                  </a:cubicBezTo>
                  <a:cubicBezTo>
                    <a:pt x="419" y="306"/>
                    <a:pt x="419" y="305"/>
                    <a:pt x="419" y="304"/>
                  </a:cubicBezTo>
                  <a:cubicBezTo>
                    <a:pt x="420" y="303"/>
                    <a:pt x="421" y="302"/>
                    <a:pt x="421" y="302"/>
                  </a:cubicBezTo>
                  <a:cubicBezTo>
                    <a:pt x="424" y="298"/>
                    <a:pt x="423" y="297"/>
                    <a:pt x="424" y="292"/>
                  </a:cubicBezTo>
                  <a:cubicBezTo>
                    <a:pt x="425" y="292"/>
                    <a:pt x="426" y="292"/>
                    <a:pt x="426" y="291"/>
                  </a:cubicBezTo>
                  <a:cubicBezTo>
                    <a:pt x="427" y="287"/>
                    <a:pt x="429" y="284"/>
                    <a:pt x="429" y="280"/>
                  </a:cubicBezTo>
                  <a:cubicBezTo>
                    <a:pt x="432" y="280"/>
                    <a:pt x="433" y="278"/>
                    <a:pt x="433" y="274"/>
                  </a:cubicBezTo>
                  <a:cubicBezTo>
                    <a:pt x="433" y="271"/>
                    <a:pt x="433" y="270"/>
                    <a:pt x="434" y="267"/>
                  </a:cubicBezTo>
                  <a:cubicBezTo>
                    <a:pt x="435" y="264"/>
                    <a:pt x="434" y="263"/>
                    <a:pt x="433" y="261"/>
                  </a:cubicBezTo>
                  <a:cubicBezTo>
                    <a:pt x="432" y="260"/>
                    <a:pt x="430" y="259"/>
                    <a:pt x="429" y="258"/>
                  </a:cubicBezTo>
                  <a:cubicBezTo>
                    <a:pt x="428" y="255"/>
                    <a:pt x="430" y="246"/>
                    <a:pt x="429" y="243"/>
                  </a:cubicBezTo>
                  <a:cubicBezTo>
                    <a:pt x="429" y="239"/>
                    <a:pt x="427" y="237"/>
                    <a:pt x="427" y="232"/>
                  </a:cubicBezTo>
                  <a:cubicBezTo>
                    <a:pt x="425" y="232"/>
                    <a:pt x="423" y="232"/>
                    <a:pt x="421" y="232"/>
                  </a:cubicBezTo>
                  <a:cubicBezTo>
                    <a:pt x="420" y="233"/>
                    <a:pt x="420" y="234"/>
                    <a:pt x="419" y="234"/>
                  </a:cubicBezTo>
                  <a:cubicBezTo>
                    <a:pt x="418" y="234"/>
                    <a:pt x="417" y="234"/>
                    <a:pt x="417" y="234"/>
                  </a:cubicBezTo>
                  <a:cubicBezTo>
                    <a:pt x="415" y="234"/>
                    <a:pt x="415" y="237"/>
                    <a:pt x="413" y="237"/>
                  </a:cubicBezTo>
                  <a:cubicBezTo>
                    <a:pt x="412" y="238"/>
                    <a:pt x="409" y="238"/>
                    <a:pt x="408" y="237"/>
                  </a:cubicBezTo>
                  <a:cubicBezTo>
                    <a:pt x="406" y="237"/>
                    <a:pt x="405" y="235"/>
                    <a:pt x="404" y="234"/>
                  </a:cubicBezTo>
                  <a:cubicBezTo>
                    <a:pt x="402" y="234"/>
                    <a:pt x="401" y="234"/>
                    <a:pt x="400" y="233"/>
                  </a:cubicBezTo>
                  <a:cubicBezTo>
                    <a:pt x="398" y="230"/>
                    <a:pt x="399" y="224"/>
                    <a:pt x="397" y="220"/>
                  </a:cubicBezTo>
                  <a:cubicBezTo>
                    <a:pt x="395" y="216"/>
                    <a:pt x="391" y="219"/>
                    <a:pt x="388" y="218"/>
                  </a:cubicBezTo>
                  <a:cubicBezTo>
                    <a:pt x="386" y="218"/>
                    <a:pt x="384" y="217"/>
                    <a:pt x="383" y="216"/>
                  </a:cubicBezTo>
                  <a:cubicBezTo>
                    <a:pt x="381" y="216"/>
                    <a:pt x="380" y="216"/>
                    <a:pt x="379" y="215"/>
                  </a:cubicBezTo>
                  <a:cubicBezTo>
                    <a:pt x="376" y="212"/>
                    <a:pt x="376" y="208"/>
                    <a:pt x="373" y="206"/>
                  </a:cubicBezTo>
                  <a:cubicBezTo>
                    <a:pt x="371" y="204"/>
                    <a:pt x="364" y="207"/>
                    <a:pt x="361" y="208"/>
                  </a:cubicBezTo>
                  <a:cubicBezTo>
                    <a:pt x="358" y="208"/>
                    <a:pt x="356" y="209"/>
                    <a:pt x="354" y="209"/>
                  </a:cubicBezTo>
                  <a:cubicBezTo>
                    <a:pt x="351" y="210"/>
                    <a:pt x="349" y="208"/>
                    <a:pt x="346" y="207"/>
                  </a:cubicBezTo>
                  <a:cubicBezTo>
                    <a:pt x="342" y="207"/>
                    <a:pt x="341" y="207"/>
                    <a:pt x="338" y="204"/>
                  </a:cubicBezTo>
                  <a:cubicBezTo>
                    <a:pt x="337" y="202"/>
                    <a:pt x="336" y="199"/>
                    <a:pt x="335" y="197"/>
                  </a:cubicBezTo>
                  <a:cubicBezTo>
                    <a:pt x="334" y="195"/>
                    <a:pt x="334" y="192"/>
                    <a:pt x="333" y="191"/>
                  </a:cubicBezTo>
                  <a:cubicBezTo>
                    <a:pt x="332" y="189"/>
                    <a:pt x="331" y="191"/>
                    <a:pt x="330" y="190"/>
                  </a:cubicBezTo>
                  <a:cubicBezTo>
                    <a:pt x="328" y="190"/>
                    <a:pt x="328" y="189"/>
                    <a:pt x="326" y="188"/>
                  </a:cubicBezTo>
                  <a:cubicBezTo>
                    <a:pt x="325" y="188"/>
                    <a:pt x="323" y="188"/>
                    <a:pt x="322" y="188"/>
                  </a:cubicBezTo>
                  <a:cubicBezTo>
                    <a:pt x="320" y="188"/>
                    <a:pt x="319" y="187"/>
                    <a:pt x="318" y="187"/>
                  </a:cubicBezTo>
                  <a:cubicBezTo>
                    <a:pt x="317" y="187"/>
                    <a:pt x="315" y="187"/>
                    <a:pt x="314" y="187"/>
                  </a:cubicBezTo>
                  <a:cubicBezTo>
                    <a:pt x="311" y="185"/>
                    <a:pt x="312" y="181"/>
                    <a:pt x="312" y="178"/>
                  </a:cubicBezTo>
                  <a:cubicBezTo>
                    <a:pt x="311" y="178"/>
                    <a:pt x="310" y="178"/>
                    <a:pt x="310" y="177"/>
                  </a:cubicBezTo>
                  <a:cubicBezTo>
                    <a:pt x="309" y="176"/>
                    <a:pt x="309" y="174"/>
                    <a:pt x="309" y="173"/>
                  </a:cubicBezTo>
                  <a:cubicBezTo>
                    <a:pt x="307" y="172"/>
                    <a:pt x="304" y="173"/>
                    <a:pt x="302" y="173"/>
                  </a:cubicBezTo>
                  <a:cubicBezTo>
                    <a:pt x="301" y="172"/>
                    <a:pt x="301" y="171"/>
                    <a:pt x="299" y="171"/>
                  </a:cubicBezTo>
                  <a:cubicBezTo>
                    <a:pt x="298" y="170"/>
                    <a:pt x="297" y="172"/>
                    <a:pt x="296" y="170"/>
                  </a:cubicBezTo>
                  <a:cubicBezTo>
                    <a:pt x="295" y="170"/>
                    <a:pt x="295" y="168"/>
                    <a:pt x="295" y="167"/>
                  </a:cubicBezTo>
                  <a:cubicBezTo>
                    <a:pt x="294" y="165"/>
                    <a:pt x="293" y="166"/>
                    <a:pt x="292" y="165"/>
                  </a:cubicBezTo>
                  <a:cubicBezTo>
                    <a:pt x="290" y="165"/>
                    <a:pt x="287" y="167"/>
                    <a:pt x="285" y="164"/>
                  </a:cubicBezTo>
                  <a:cubicBezTo>
                    <a:pt x="282" y="160"/>
                    <a:pt x="284" y="151"/>
                    <a:pt x="287" y="148"/>
                  </a:cubicBezTo>
                  <a:cubicBezTo>
                    <a:pt x="288" y="146"/>
                    <a:pt x="287" y="147"/>
                    <a:pt x="289" y="146"/>
                  </a:cubicBezTo>
                  <a:cubicBezTo>
                    <a:pt x="291" y="145"/>
                    <a:pt x="291" y="146"/>
                    <a:pt x="292" y="145"/>
                  </a:cubicBezTo>
                  <a:cubicBezTo>
                    <a:pt x="294" y="143"/>
                    <a:pt x="294" y="141"/>
                    <a:pt x="297" y="141"/>
                  </a:cubicBezTo>
                  <a:cubicBezTo>
                    <a:pt x="296" y="139"/>
                    <a:pt x="296" y="136"/>
                    <a:pt x="295" y="134"/>
                  </a:cubicBezTo>
                  <a:cubicBezTo>
                    <a:pt x="294" y="132"/>
                    <a:pt x="293" y="132"/>
                    <a:pt x="291" y="131"/>
                  </a:cubicBezTo>
                  <a:cubicBezTo>
                    <a:pt x="290" y="130"/>
                    <a:pt x="288" y="129"/>
                    <a:pt x="288" y="127"/>
                  </a:cubicBezTo>
                  <a:cubicBezTo>
                    <a:pt x="286" y="126"/>
                    <a:pt x="286" y="123"/>
                    <a:pt x="286" y="122"/>
                  </a:cubicBezTo>
                  <a:cubicBezTo>
                    <a:pt x="285" y="120"/>
                    <a:pt x="284" y="117"/>
                    <a:pt x="283" y="116"/>
                  </a:cubicBezTo>
                  <a:cubicBezTo>
                    <a:pt x="282" y="115"/>
                    <a:pt x="280" y="115"/>
                    <a:pt x="279" y="114"/>
                  </a:cubicBezTo>
                  <a:cubicBezTo>
                    <a:pt x="278" y="112"/>
                    <a:pt x="277" y="106"/>
                    <a:pt x="276" y="103"/>
                  </a:cubicBezTo>
                  <a:cubicBezTo>
                    <a:pt x="274" y="103"/>
                    <a:pt x="274" y="100"/>
                    <a:pt x="273" y="99"/>
                  </a:cubicBezTo>
                  <a:cubicBezTo>
                    <a:pt x="271" y="98"/>
                    <a:pt x="268" y="99"/>
                    <a:pt x="266" y="99"/>
                  </a:cubicBezTo>
                  <a:cubicBezTo>
                    <a:pt x="263" y="99"/>
                    <a:pt x="259" y="98"/>
                    <a:pt x="256" y="95"/>
                  </a:cubicBezTo>
                  <a:cubicBezTo>
                    <a:pt x="252" y="90"/>
                    <a:pt x="251" y="89"/>
                    <a:pt x="247" y="92"/>
                  </a:cubicBezTo>
                  <a:cubicBezTo>
                    <a:pt x="243" y="94"/>
                    <a:pt x="238" y="95"/>
                    <a:pt x="234" y="95"/>
                  </a:cubicBezTo>
                  <a:cubicBezTo>
                    <a:pt x="227" y="96"/>
                    <a:pt x="224" y="88"/>
                    <a:pt x="222" y="82"/>
                  </a:cubicBezTo>
                  <a:cubicBezTo>
                    <a:pt x="220" y="77"/>
                    <a:pt x="219" y="78"/>
                    <a:pt x="216" y="76"/>
                  </a:cubicBezTo>
                  <a:cubicBezTo>
                    <a:pt x="215" y="76"/>
                    <a:pt x="214" y="76"/>
                    <a:pt x="214" y="76"/>
                  </a:cubicBezTo>
                  <a:cubicBezTo>
                    <a:pt x="213" y="75"/>
                    <a:pt x="213" y="74"/>
                    <a:pt x="212" y="73"/>
                  </a:cubicBezTo>
                  <a:cubicBezTo>
                    <a:pt x="212" y="72"/>
                    <a:pt x="210" y="72"/>
                    <a:pt x="209" y="71"/>
                  </a:cubicBezTo>
                  <a:cubicBezTo>
                    <a:pt x="209" y="71"/>
                    <a:pt x="209" y="70"/>
                    <a:pt x="208" y="69"/>
                  </a:cubicBezTo>
                  <a:cubicBezTo>
                    <a:pt x="207" y="69"/>
                    <a:pt x="207" y="69"/>
                    <a:pt x="206" y="69"/>
                  </a:cubicBezTo>
                  <a:cubicBezTo>
                    <a:pt x="204" y="68"/>
                    <a:pt x="204" y="68"/>
                    <a:pt x="203" y="66"/>
                  </a:cubicBezTo>
                  <a:cubicBezTo>
                    <a:pt x="202" y="62"/>
                    <a:pt x="202" y="58"/>
                    <a:pt x="201" y="55"/>
                  </a:cubicBezTo>
                  <a:cubicBezTo>
                    <a:pt x="200" y="52"/>
                    <a:pt x="197" y="48"/>
                    <a:pt x="195" y="48"/>
                  </a:cubicBezTo>
                  <a:cubicBezTo>
                    <a:pt x="192" y="47"/>
                    <a:pt x="190" y="46"/>
                    <a:pt x="187" y="46"/>
                  </a:cubicBezTo>
                  <a:cubicBezTo>
                    <a:pt x="187" y="43"/>
                    <a:pt x="186" y="42"/>
                    <a:pt x="186" y="39"/>
                  </a:cubicBezTo>
                  <a:cubicBezTo>
                    <a:pt x="185" y="36"/>
                    <a:pt x="187" y="34"/>
                    <a:pt x="185" y="32"/>
                  </a:cubicBezTo>
                  <a:cubicBezTo>
                    <a:pt x="184" y="31"/>
                    <a:pt x="182" y="29"/>
                    <a:pt x="181" y="28"/>
                  </a:cubicBezTo>
                  <a:cubicBezTo>
                    <a:pt x="180" y="27"/>
                    <a:pt x="178" y="26"/>
                    <a:pt x="177" y="25"/>
                  </a:cubicBezTo>
                  <a:cubicBezTo>
                    <a:pt x="173" y="24"/>
                    <a:pt x="169" y="25"/>
                    <a:pt x="166" y="29"/>
                  </a:cubicBezTo>
                  <a:cubicBezTo>
                    <a:pt x="164" y="32"/>
                    <a:pt x="165" y="32"/>
                    <a:pt x="164" y="36"/>
                  </a:cubicBezTo>
                  <a:cubicBezTo>
                    <a:pt x="164" y="38"/>
                    <a:pt x="163" y="40"/>
                    <a:pt x="163" y="42"/>
                  </a:cubicBezTo>
                  <a:cubicBezTo>
                    <a:pt x="160" y="44"/>
                    <a:pt x="157" y="43"/>
                    <a:pt x="154" y="41"/>
                  </a:cubicBezTo>
                  <a:cubicBezTo>
                    <a:pt x="153" y="40"/>
                    <a:pt x="152" y="40"/>
                    <a:pt x="150" y="39"/>
                  </a:cubicBezTo>
                  <a:cubicBezTo>
                    <a:pt x="150" y="39"/>
                    <a:pt x="149" y="39"/>
                    <a:pt x="148" y="39"/>
                  </a:cubicBezTo>
                  <a:cubicBezTo>
                    <a:pt x="148" y="38"/>
                    <a:pt x="147" y="38"/>
                    <a:pt x="147" y="37"/>
                  </a:cubicBezTo>
                  <a:cubicBezTo>
                    <a:pt x="142" y="33"/>
                    <a:pt x="134" y="38"/>
                    <a:pt x="128" y="35"/>
                  </a:cubicBezTo>
                  <a:cubicBezTo>
                    <a:pt x="128" y="32"/>
                    <a:pt x="127" y="31"/>
                    <a:pt x="126" y="29"/>
                  </a:cubicBezTo>
                  <a:cubicBezTo>
                    <a:pt x="126" y="27"/>
                    <a:pt x="126" y="26"/>
                    <a:pt x="126" y="25"/>
                  </a:cubicBezTo>
                  <a:cubicBezTo>
                    <a:pt x="125" y="24"/>
                    <a:pt x="125" y="24"/>
                    <a:pt x="124" y="23"/>
                  </a:cubicBezTo>
                  <a:cubicBezTo>
                    <a:pt x="123" y="20"/>
                    <a:pt x="125" y="19"/>
                    <a:pt x="125" y="17"/>
                  </a:cubicBezTo>
                  <a:cubicBezTo>
                    <a:pt x="126" y="14"/>
                    <a:pt x="125" y="10"/>
                    <a:pt x="125" y="8"/>
                  </a:cubicBezTo>
                  <a:cubicBezTo>
                    <a:pt x="124" y="7"/>
                    <a:pt x="119" y="7"/>
                    <a:pt x="118" y="8"/>
                  </a:cubicBezTo>
                  <a:cubicBezTo>
                    <a:pt x="117" y="9"/>
                    <a:pt x="116" y="13"/>
                    <a:pt x="116" y="15"/>
                  </a:cubicBezTo>
                  <a:cubicBezTo>
                    <a:pt x="116" y="16"/>
                    <a:pt x="117" y="18"/>
                    <a:pt x="116" y="20"/>
                  </a:cubicBezTo>
                  <a:cubicBezTo>
                    <a:pt x="115" y="20"/>
                    <a:pt x="115" y="20"/>
                    <a:pt x="114" y="20"/>
                  </a:cubicBezTo>
                  <a:cubicBezTo>
                    <a:pt x="113" y="22"/>
                    <a:pt x="113" y="23"/>
                    <a:pt x="111" y="24"/>
                  </a:cubicBezTo>
                  <a:cubicBezTo>
                    <a:pt x="109" y="25"/>
                    <a:pt x="107" y="22"/>
                    <a:pt x="106" y="27"/>
                  </a:cubicBezTo>
                  <a:cubicBezTo>
                    <a:pt x="106" y="29"/>
                    <a:pt x="106" y="32"/>
                    <a:pt x="106" y="34"/>
                  </a:cubicBezTo>
                  <a:cubicBezTo>
                    <a:pt x="106" y="39"/>
                    <a:pt x="107" y="45"/>
                    <a:pt x="105" y="50"/>
                  </a:cubicBezTo>
                  <a:cubicBezTo>
                    <a:pt x="104" y="53"/>
                    <a:pt x="103" y="58"/>
                    <a:pt x="100" y="58"/>
                  </a:cubicBezTo>
                  <a:cubicBezTo>
                    <a:pt x="96" y="58"/>
                    <a:pt x="98" y="51"/>
                    <a:pt x="97" y="47"/>
                  </a:cubicBezTo>
                  <a:cubicBezTo>
                    <a:pt x="97" y="45"/>
                    <a:pt x="95" y="42"/>
                    <a:pt x="95" y="41"/>
                  </a:cubicBezTo>
                  <a:cubicBezTo>
                    <a:pt x="95" y="38"/>
                    <a:pt x="95" y="36"/>
                    <a:pt x="95" y="34"/>
                  </a:cubicBezTo>
                  <a:cubicBezTo>
                    <a:pt x="95" y="29"/>
                    <a:pt x="97" y="27"/>
                    <a:pt x="98" y="22"/>
                  </a:cubicBezTo>
                  <a:cubicBezTo>
                    <a:pt x="98" y="22"/>
                    <a:pt x="99" y="22"/>
                    <a:pt x="100" y="21"/>
                  </a:cubicBezTo>
                  <a:cubicBezTo>
                    <a:pt x="100" y="19"/>
                    <a:pt x="101" y="17"/>
                    <a:pt x="101" y="15"/>
                  </a:cubicBezTo>
                  <a:cubicBezTo>
                    <a:pt x="101" y="12"/>
                    <a:pt x="101" y="10"/>
                    <a:pt x="101" y="8"/>
                  </a:cubicBezTo>
                  <a:cubicBezTo>
                    <a:pt x="104" y="8"/>
                    <a:pt x="105" y="4"/>
                    <a:pt x="103" y="2"/>
                  </a:cubicBezTo>
                  <a:cubicBezTo>
                    <a:pt x="101" y="0"/>
                    <a:pt x="100" y="6"/>
                    <a:pt x="97" y="6"/>
                  </a:cubicBezTo>
                  <a:cubicBezTo>
                    <a:pt x="97" y="8"/>
                    <a:pt x="96" y="10"/>
                    <a:pt x="95" y="12"/>
                  </a:cubicBezTo>
                  <a:cubicBezTo>
                    <a:pt x="94" y="14"/>
                    <a:pt x="92" y="14"/>
                    <a:pt x="90" y="16"/>
                  </a:cubicBezTo>
                  <a:cubicBezTo>
                    <a:pt x="90" y="17"/>
                    <a:pt x="89" y="18"/>
                    <a:pt x="89" y="19"/>
                  </a:cubicBezTo>
                  <a:cubicBezTo>
                    <a:pt x="88" y="20"/>
                    <a:pt x="87" y="19"/>
                    <a:pt x="86" y="20"/>
                  </a:cubicBezTo>
                  <a:cubicBezTo>
                    <a:pt x="84" y="21"/>
                    <a:pt x="83" y="24"/>
                    <a:pt x="81" y="25"/>
                  </a:cubicBezTo>
                  <a:cubicBezTo>
                    <a:pt x="79" y="26"/>
                    <a:pt x="78" y="25"/>
                    <a:pt x="76" y="27"/>
                  </a:cubicBezTo>
                  <a:cubicBezTo>
                    <a:pt x="75" y="29"/>
                    <a:pt x="75" y="32"/>
                    <a:pt x="74" y="34"/>
                  </a:cubicBezTo>
                  <a:cubicBezTo>
                    <a:pt x="71" y="37"/>
                    <a:pt x="67" y="38"/>
                    <a:pt x="67" y="44"/>
                  </a:cubicBezTo>
                  <a:cubicBezTo>
                    <a:pt x="60" y="45"/>
                    <a:pt x="63" y="52"/>
                    <a:pt x="61" y="59"/>
                  </a:cubicBezTo>
                  <a:cubicBezTo>
                    <a:pt x="60" y="61"/>
                    <a:pt x="59" y="64"/>
                    <a:pt x="58" y="67"/>
                  </a:cubicBezTo>
                  <a:cubicBezTo>
                    <a:pt x="58" y="69"/>
                    <a:pt x="59" y="70"/>
                    <a:pt x="58" y="72"/>
                  </a:cubicBezTo>
                  <a:cubicBezTo>
                    <a:pt x="58" y="73"/>
                    <a:pt x="56" y="74"/>
                    <a:pt x="55" y="76"/>
                  </a:cubicBezTo>
                  <a:cubicBezTo>
                    <a:pt x="55" y="77"/>
                    <a:pt x="54" y="78"/>
                    <a:pt x="54" y="80"/>
                  </a:cubicBezTo>
                  <a:cubicBezTo>
                    <a:pt x="54" y="81"/>
                    <a:pt x="54" y="82"/>
                    <a:pt x="53" y="83"/>
                  </a:cubicBezTo>
                  <a:cubicBezTo>
                    <a:pt x="53" y="84"/>
                    <a:pt x="52" y="84"/>
                    <a:pt x="52" y="84"/>
                  </a:cubicBezTo>
                  <a:cubicBezTo>
                    <a:pt x="52" y="86"/>
                    <a:pt x="52" y="87"/>
                    <a:pt x="52" y="88"/>
                  </a:cubicBezTo>
                  <a:cubicBezTo>
                    <a:pt x="52" y="89"/>
                    <a:pt x="51" y="89"/>
                    <a:pt x="51" y="90"/>
                  </a:cubicBezTo>
                  <a:cubicBezTo>
                    <a:pt x="51" y="92"/>
                    <a:pt x="51" y="94"/>
                    <a:pt x="50" y="95"/>
                  </a:cubicBezTo>
                  <a:cubicBezTo>
                    <a:pt x="49" y="97"/>
                    <a:pt x="50" y="100"/>
                    <a:pt x="48" y="102"/>
                  </a:cubicBezTo>
                  <a:cubicBezTo>
                    <a:pt x="47" y="103"/>
                    <a:pt x="46" y="103"/>
                    <a:pt x="45" y="104"/>
                  </a:cubicBezTo>
                  <a:cubicBezTo>
                    <a:pt x="44" y="105"/>
                    <a:pt x="44" y="106"/>
                    <a:pt x="42" y="106"/>
                  </a:cubicBezTo>
                  <a:cubicBezTo>
                    <a:pt x="42" y="109"/>
                    <a:pt x="41" y="111"/>
                    <a:pt x="41" y="115"/>
                  </a:cubicBezTo>
                  <a:cubicBezTo>
                    <a:pt x="40" y="118"/>
                    <a:pt x="41" y="122"/>
                    <a:pt x="41" y="125"/>
                  </a:cubicBezTo>
                  <a:cubicBezTo>
                    <a:pt x="41" y="127"/>
                    <a:pt x="40" y="129"/>
                    <a:pt x="41" y="130"/>
                  </a:cubicBezTo>
                  <a:cubicBezTo>
                    <a:pt x="41" y="132"/>
                    <a:pt x="42" y="132"/>
                    <a:pt x="42" y="134"/>
                  </a:cubicBezTo>
                  <a:cubicBezTo>
                    <a:pt x="43" y="137"/>
                    <a:pt x="41" y="140"/>
                    <a:pt x="41" y="143"/>
                  </a:cubicBezTo>
                  <a:cubicBezTo>
                    <a:pt x="40" y="146"/>
                    <a:pt x="40" y="149"/>
                    <a:pt x="39" y="151"/>
                  </a:cubicBezTo>
                  <a:cubicBezTo>
                    <a:pt x="39" y="154"/>
                    <a:pt x="40" y="153"/>
                    <a:pt x="38" y="155"/>
                  </a:cubicBezTo>
                  <a:cubicBezTo>
                    <a:pt x="38" y="156"/>
                    <a:pt x="37" y="156"/>
                    <a:pt x="36" y="157"/>
                  </a:cubicBezTo>
                  <a:cubicBezTo>
                    <a:pt x="35" y="158"/>
                    <a:pt x="35" y="159"/>
                    <a:pt x="34" y="160"/>
                  </a:cubicBezTo>
                  <a:cubicBezTo>
                    <a:pt x="34" y="161"/>
                    <a:pt x="32" y="161"/>
                    <a:pt x="32" y="162"/>
                  </a:cubicBezTo>
                  <a:cubicBezTo>
                    <a:pt x="30" y="164"/>
                    <a:pt x="30" y="167"/>
                    <a:pt x="27" y="168"/>
                  </a:cubicBezTo>
                  <a:cubicBezTo>
                    <a:pt x="27" y="171"/>
                    <a:pt x="26" y="174"/>
                    <a:pt x="25" y="177"/>
                  </a:cubicBezTo>
                  <a:cubicBezTo>
                    <a:pt x="23" y="178"/>
                    <a:pt x="23" y="179"/>
                    <a:pt x="21" y="181"/>
                  </a:cubicBezTo>
                  <a:cubicBezTo>
                    <a:pt x="20" y="183"/>
                    <a:pt x="17" y="184"/>
                    <a:pt x="16" y="187"/>
                  </a:cubicBezTo>
                  <a:cubicBezTo>
                    <a:pt x="14" y="190"/>
                    <a:pt x="14" y="192"/>
                    <a:pt x="12" y="194"/>
                  </a:cubicBezTo>
                  <a:cubicBezTo>
                    <a:pt x="11" y="196"/>
                    <a:pt x="9" y="197"/>
                    <a:pt x="8" y="199"/>
                  </a:cubicBezTo>
                  <a:cubicBezTo>
                    <a:pt x="6" y="201"/>
                    <a:pt x="7" y="204"/>
                    <a:pt x="6" y="207"/>
                  </a:cubicBezTo>
                  <a:cubicBezTo>
                    <a:pt x="6" y="208"/>
                    <a:pt x="5" y="209"/>
                    <a:pt x="5" y="211"/>
                  </a:cubicBezTo>
                  <a:cubicBezTo>
                    <a:pt x="5" y="212"/>
                    <a:pt x="5" y="215"/>
                    <a:pt x="5" y="216"/>
                  </a:cubicBezTo>
                  <a:cubicBezTo>
                    <a:pt x="6" y="222"/>
                    <a:pt x="8" y="226"/>
                    <a:pt x="9" y="232"/>
                  </a:cubicBezTo>
                  <a:cubicBezTo>
                    <a:pt x="10" y="233"/>
                    <a:pt x="10" y="234"/>
                    <a:pt x="10" y="236"/>
                  </a:cubicBezTo>
                  <a:cubicBezTo>
                    <a:pt x="11" y="237"/>
                    <a:pt x="11" y="239"/>
                    <a:pt x="10" y="241"/>
                  </a:cubicBezTo>
                  <a:cubicBezTo>
                    <a:pt x="10" y="245"/>
                    <a:pt x="9" y="243"/>
                    <a:pt x="7" y="246"/>
                  </a:cubicBezTo>
                  <a:cubicBezTo>
                    <a:pt x="5" y="249"/>
                    <a:pt x="5" y="254"/>
                    <a:pt x="4" y="257"/>
                  </a:cubicBezTo>
                  <a:cubicBezTo>
                    <a:pt x="3" y="259"/>
                    <a:pt x="2" y="262"/>
                    <a:pt x="2" y="264"/>
                  </a:cubicBezTo>
                  <a:cubicBezTo>
                    <a:pt x="0" y="271"/>
                    <a:pt x="0" y="276"/>
                    <a:pt x="2" y="283"/>
                  </a:cubicBezTo>
                  <a:cubicBezTo>
                    <a:pt x="2" y="285"/>
                    <a:pt x="1" y="285"/>
                    <a:pt x="2" y="287"/>
                  </a:cubicBezTo>
                  <a:cubicBezTo>
                    <a:pt x="4" y="289"/>
                    <a:pt x="4" y="287"/>
                    <a:pt x="5" y="288"/>
                  </a:cubicBezTo>
                  <a:cubicBezTo>
                    <a:pt x="8" y="290"/>
                    <a:pt x="8" y="291"/>
                    <a:pt x="8" y="295"/>
                  </a:cubicBezTo>
                  <a:cubicBezTo>
                    <a:pt x="8" y="299"/>
                    <a:pt x="11" y="299"/>
                    <a:pt x="13" y="301"/>
                  </a:cubicBezTo>
                  <a:cubicBezTo>
                    <a:pt x="13" y="302"/>
                    <a:pt x="14" y="306"/>
                    <a:pt x="14" y="307"/>
                  </a:cubicBezTo>
                  <a:cubicBezTo>
                    <a:pt x="15" y="307"/>
                    <a:pt x="16" y="308"/>
                    <a:pt x="16" y="308"/>
                  </a:cubicBezTo>
                  <a:cubicBezTo>
                    <a:pt x="17" y="313"/>
                    <a:pt x="18" y="315"/>
                    <a:pt x="21" y="318"/>
                  </a:cubicBezTo>
                  <a:cubicBezTo>
                    <a:pt x="22" y="318"/>
                    <a:pt x="25" y="319"/>
                    <a:pt x="25" y="320"/>
                  </a:cubicBezTo>
                  <a:cubicBezTo>
                    <a:pt x="26" y="322"/>
                    <a:pt x="26" y="327"/>
                    <a:pt x="26" y="329"/>
                  </a:cubicBezTo>
                  <a:cubicBezTo>
                    <a:pt x="25" y="333"/>
                    <a:pt x="24" y="337"/>
                    <a:pt x="23" y="341"/>
                  </a:cubicBezTo>
                  <a:cubicBezTo>
                    <a:pt x="22" y="345"/>
                    <a:pt x="19" y="350"/>
                    <a:pt x="22" y="353"/>
                  </a:cubicBezTo>
                  <a:cubicBezTo>
                    <a:pt x="24" y="356"/>
                    <a:pt x="27" y="355"/>
                    <a:pt x="30" y="357"/>
                  </a:cubicBezTo>
                  <a:cubicBezTo>
                    <a:pt x="32" y="358"/>
                    <a:pt x="38" y="361"/>
                    <a:pt x="39" y="364"/>
                  </a:cubicBezTo>
                  <a:cubicBezTo>
                    <a:pt x="41" y="367"/>
                    <a:pt x="39" y="376"/>
                    <a:pt x="39" y="379"/>
                  </a:cubicBezTo>
                  <a:cubicBezTo>
                    <a:pt x="39" y="386"/>
                    <a:pt x="39" y="389"/>
                    <a:pt x="44" y="390"/>
                  </a:cubicBezTo>
                  <a:cubicBezTo>
                    <a:pt x="44" y="391"/>
                    <a:pt x="45" y="392"/>
                    <a:pt x="45" y="393"/>
                  </a:cubicBezTo>
                  <a:cubicBezTo>
                    <a:pt x="45" y="393"/>
                    <a:pt x="46" y="393"/>
                    <a:pt x="47" y="394"/>
                  </a:cubicBezTo>
                  <a:cubicBezTo>
                    <a:pt x="47" y="396"/>
                    <a:pt x="48" y="397"/>
                    <a:pt x="48" y="399"/>
                  </a:cubicBezTo>
                  <a:cubicBezTo>
                    <a:pt x="49" y="401"/>
                    <a:pt x="49" y="404"/>
                    <a:pt x="49" y="406"/>
                  </a:cubicBezTo>
                  <a:cubicBezTo>
                    <a:pt x="51" y="409"/>
                    <a:pt x="52" y="413"/>
                    <a:pt x="53" y="417"/>
                  </a:cubicBezTo>
                  <a:cubicBezTo>
                    <a:pt x="53" y="418"/>
                    <a:pt x="55" y="422"/>
                    <a:pt x="56" y="423"/>
                  </a:cubicBezTo>
                  <a:cubicBezTo>
                    <a:pt x="58" y="424"/>
                    <a:pt x="60" y="422"/>
                    <a:pt x="62" y="423"/>
                  </a:cubicBezTo>
                  <a:cubicBezTo>
                    <a:pt x="63" y="423"/>
                    <a:pt x="63" y="424"/>
                    <a:pt x="64" y="425"/>
                  </a:cubicBezTo>
                  <a:cubicBezTo>
                    <a:pt x="65" y="425"/>
                    <a:pt x="66" y="425"/>
                    <a:pt x="67" y="425"/>
                  </a:cubicBezTo>
                  <a:cubicBezTo>
                    <a:pt x="68" y="426"/>
                    <a:pt x="69" y="429"/>
                    <a:pt x="70" y="430"/>
                  </a:cubicBezTo>
                  <a:cubicBezTo>
                    <a:pt x="71" y="430"/>
                    <a:pt x="71" y="430"/>
                    <a:pt x="72" y="431"/>
                  </a:cubicBezTo>
                  <a:cubicBezTo>
                    <a:pt x="72" y="432"/>
                    <a:pt x="73" y="433"/>
                    <a:pt x="73" y="433"/>
                  </a:cubicBezTo>
                  <a:cubicBezTo>
                    <a:pt x="75" y="435"/>
                    <a:pt x="77" y="433"/>
                    <a:pt x="78" y="436"/>
                  </a:cubicBezTo>
                  <a:cubicBezTo>
                    <a:pt x="79" y="437"/>
                    <a:pt x="79" y="439"/>
                    <a:pt x="80" y="440"/>
                  </a:cubicBezTo>
                  <a:cubicBezTo>
                    <a:pt x="81" y="441"/>
                    <a:pt x="82" y="441"/>
                    <a:pt x="82" y="441"/>
                  </a:cubicBezTo>
                  <a:cubicBezTo>
                    <a:pt x="83" y="441"/>
                    <a:pt x="84" y="442"/>
                    <a:pt x="85" y="443"/>
                  </a:cubicBezTo>
                  <a:cubicBezTo>
                    <a:pt x="87" y="443"/>
                    <a:pt x="88" y="443"/>
                    <a:pt x="90" y="444"/>
                  </a:cubicBezTo>
                  <a:cubicBezTo>
                    <a:pt x="90" y="445"/>
                    <a:pt x="90" y="446"/>
                    <a:pt x="91" y="446"/>
                  </a:cubicBezTo>
                  <a:cubicBezTo>
                    <a:pt x="92" y="447"/>
                    <a:pt x="95" y="446"/>
                    <a:pt x="96" y="446"/>
                  </a:cubicBezTo>
                  <a:cubicBezTo>
                    <a:pt x="99" y="446"/>
                    <a:pt x="100" y="445"/>
                    <a:pt x="100" y="449"/>
                  </a:cubicBezTo>
                  <a:cubicBezTo>
                    <a:pt x="100" y="452"/>
                    <a:pt x="100" y="455"/>
                    <a:pt x="100" y="458"/>
                  </a:cubicBezTo>
                  <a:cubicBezTo>
                    <a:pt x="101" y="458"/>
                    <a:pt x="102" y="458"/>
                    <a:pt x="102" y="459"/>
                  </a:cubicBezTo>
                  <a:cubicBezTo>
                    <a:pt x="103" y="464"/>
                    <a:pt x="103" y="472"/>
                    <a:pt x="102" y="478"/>
                  </a:cubicBezTo>
                  <a:cubicBezTo>
                    <a:pt x="102" y="481"/>
                    <a:pt x="103" y="483"/>
                    <a:pt x="104" y="486"/>
                  </a:cubicBezTo>
                  <a:cubicBezTo>
                    <a:pt x="104" y="490"/>
                    <a:pt x="104" y="494"/>
                    <a:pt x="102" y="497"/>
                  </a:cubicBezTo>
                  <a:cubicBezTo>
                    <a:pt x="102" y="499"/>
                    <a:pt x="102" y="501"/>
                    <a:pt x="101" y="503"/>
                  </a:cubicBezTo>
                  <a:cubicBezTo>
                    <a:pt x="100" y="507"/>
                    <a:pt x="98" y="507"/>
                    <a:pt x="97" y="511"/>
                  </a:cubicBezTo>
                  <a:cubicBezTo>
                    <a:pt x="97" y="514"/>
                    <a:pt x="97" y="518"/>
                    <a:pt x="96" y="521"/>
                  </a:cubicBezTo>
                  <a:cubicBezTo>
                    <a:pt x="95" y="522"/>
                    <a:pt x="94" y="523"/>
                    <a:pt x="94" y="525"/>
                  </a:cubicBezTo>
                  <a:cubicBezTo>
                    <a:pt x="93" y="526"/>
                    <a:pt x="93" y="527"/>
                    <a:pt x="92" y="528"/>
                  </a:cubicBezTo>
                  <a:cubicBezTo>
                    <a:pt x="92" y="530"/>
                    <a:pt x="89" y="535"/>
                    <a:pt x="89" y="537"/>
                  </a:cubicBezTo>
                  <a:cubicBezTo>
                    <a:pt x="89" y="541"/>
                    <a:pt x="89" y="541"/>
                    <a:pt x="91" y="544"/>
                  </a:cubicBezTo>
                  <a:cubicBezTo>
                    <a:pt x="93" y="548"/>
                    <a:pt x="92" y="555"/>
                    <a:pt x="92" y="560"/>
                  </a:cubicBezTo>
                  <a:cubicBezTo>
                    <a:pt x="92" y="566"/>
                    <a:pt x="94" y="570"/>
                    <a:pt x="94" y="576"/>
                  </a:cubicBezTo>
                  <a:cubicBezTo>
                    <a:pt x="93" y="579"/>
                    <a:pt x="93" y="580"/>
                    <a:pt x="92" y="583"/>
                  </a:cubicBezTo>
                  <a:cubicBezTo>
                    <a:pt x="92" y="586"/>
                    <a:pt x="93" y="588"/>
                    <a:pt x="92" y="591"/>
                  </a:cubicBezTo>
                  <a:cubicBezTo>
                    <a:pt x="92" y="593"/>
                    <a:pt x="91" y="594"/>
                    <a:pt x="91" y="597"/>
                  </a:cubicBezTo>
                  <a:cubicBezTo>
                    <a:pt x="91" y="600"/>
                    <a:pt x="91" y="603"/>
                    <a:pt x="91" y="605"/>
                  </a:cubicBezTo>
                  <a:cubicBezTo>
                    <a:pt x="91" y="608"/>
                    <a:pt x="92" y="612"/>
                    <a:pt x="91" y="614"/>
                  </a:cubicBezTo>
                  <a:cubicBezTo>
                    <a:pt x="90" y="617"/>
                    <a:pt x="89" y="618"/>
                    <a:pt x="89" y="621"/>
                  </a:cubicBezTo>
                  <a:cubicBezTo>
                    <a:pt x="88" y="627"/>
                    <a:pt x="89" y="633"/>
                    <a:pt x="89" y="639"/>
                  </a:cubicBezTo>
                  <a:cubicBezTo>
                    <a:pt x="89" y="642"/>
                    <a:pt x="88" y="643"/>
                    <a:pt x="87" y="646"/>
                  </a:cubicBezTo>
                  <a:cubicBezTo>
                    <a:pt x="87" y="647"/>
                    <a:pt x="86" y="651"/>
                    <a:pt x="86" y="653"/>
                  </a:cubicBezTo>
                  <a:cubicBezTo>
                    <a:pt x="87" y="660"/>
                    <a:pt x="87" y="670"/>
                    <a:pt x="86" y="677"/>
                  </a:cubicBezTo>
                  <a:cubicBezTo>
                    <a:pt x="85" y="677"/>
                    <a:pt x="84" y="677"/>
                    <a:pt x="84" y="678"/>
                  </a:cubicBezTo>
                  <a:cubicBezTo>
                    <a:pt x="84" y="679"/>
                    <a:pt x="84" y="681"/>
                    <a:pt x="83" y="682"/>
                  </a:cubicBezTo>
                  <a:cubicBezTo>
                    <a:pt x="83" y="684"/>
                    <a:pt x="81" y="684"/>
                    <a:pt x="81" y="686"/>
                  </a:cubicBezTo>
                  <a:cubicBezTo>
                    <a:pt x="80" y="690"/>
                    <a:pt x="81" y="695"/>
                    <a:pt x="81" y="698"/>
                  </a:cubicBezTo>
                  <a:cubicBezTo>
                    <a:pt x="81" y="702"/>
                    <a:pt x="79" y="705"/>
                    <a:pt x="79" y="708"/>
                  </a:cubicBezTo>
                  <a:cubicBezTo>
                    <a:pt x="79" y="709"/>
                    <a:pt x="79" y="712"/>
                    <a:pt x="78" y="714"/>
                  </a:cubicBezTo>
                  <a:cubicBezTo>
                    <a:pt x="78" y="715"/>
                    <a:pt x="76" y="716"/>
                    <a:pt x="76" y="718"/>
                  </a:cubicBezTo>
                  <a:cubicBezTo>
                    <a:pt x="76" y="719"/>
                    <a:pt x="76" y="721"/>
                    <a:pt x="76" y="723"/>
                  </a:cubicBezTo>
                  <a:cubicBezTo>
                    <a:pt x="76" y="725"/>
                    <a:pt x="75" y="726"/>
                    <a:pt x="75" y="728"/>
                  </a:cubicBezTo>
                  <a:cubicBezTo>
                    <a:pt x="74" y="732"/>
                    <a:pt x="75" y="737"/>
                    <a:pt x="75" y="740"/>
                  </a:cubicBezTo>
                  <a:cubicBezTo>
                    <a:pt x="75" y="745"/>
                    <a:pt x="75" y="749"/>
                    <a:pt x="75" y="753"/>
                  </a:cubicBezTo>
                  <a:cubicBezTo>
                    <a:pt x="75" y="758"/>
                    <a:pt x="77" y="759"/>
                    <a:pt x="77" y="763"/>
                  </a:cubicBezTo>
                  <a:cubicBezTo>
                    <a:pt x="78" y="767"/>
                    <a:pt x="77" y="772"/>
                    <a:pt x="77" y="776"/>
                  </a:cubicBezTo>
                  <a:cubicBezTo>
                    <a:pt x="78" y="779"/>
                    <a:pt x="79" y="781"/>
                    <a:pt x="80" y="784"/>
                  </a:cubicBezTo>
                  <a:cubicBezTo>
                    <a:pt x="80" y="788"/>
                    <a:pt x="80" y="793"/>
                    <a:pt x="80" y="797"/>
                  </a:cubicBezTo>
                  <a:cubicBezTo>
                    <a:pt x="80" y="801"/>
                    <a:pt x="78" y="804"/>
                    <a:pt x="79" y="809"/>
                  </a:cubicBezTo>
                  <a:cubicBezTo>
                    <a:pt x="79" y="813"/>
                    <a:pt x="79" y="817"/>
                    <a:pt x="78" y="821"/>
                  </a:cubicBezTo>
                  <a:cubicBezTo>
                    <a:pt x="78" y="824"/>
                    <a:pt x="75" y="826"/>
                    <a:pt x="74" y="829"/>
                  </a:cubicBezTo>
                  <a:cubicBezTo>
                    <a:pt x="73" y="831"/>
                    <a:pt x="72" y="834"/>
                    <a:pt x="71" y="837"/>
                  </a:cubicBezTo>
                  <a:cubicBezTo>
                    <a:pt x="69" y="842"/>
                    <a:pt x="71" y="844"/>
                    <a:pt x="66" y="844"/>
                  </a:cubicBezTo>
                  <a:cubicBezTo>
                    <a:pt x="66" y="844"/>
                    <a:pt x="64" y="846"/>
                    <a:pt x="64" y="846"/>
                  </a:cubicBezTo>
                  <a:cubicBezTo>
                    <a:pt x="63" y="850"/>
                    <a:pt x="63" y="857"/>
                    <a:pt x="64" y="861"/>
                  </a:cubicBezTo>
                  <a:cubicBezTo>
                    <a:pt x="66" y="862"/>
                    <a:pt x="68" y="862"/>
                    <a:pt x="69" y="866"/>
                  </a:cubicBezTo>
                  <a:cubicBezTo>
                    <a:pt x="69" y="867"/>
                    <a:pt x="70" y="867"/>
                    <a:pt x="71" y="867"/>
                  </a:cubicBezTo>
                  <a:cubicBezTo>
                    <a:pt x="71" y="869"/>
                    <a:pt x="72" y="875"/>
                    <a:pt x="71" y="877"/>
                  </a:cubicBezTo>
                  <a:cubicBezTo>
                    <a:pt x="70" y="881"/>
                    <a:pt x="68" y="881"/>
                    <a:pt x="66" y="881"/>
                  </a:cubicBezTo>
                  <a:cubicBezTo>
                    <a:pt x="65" y="885"/>
                    <a:pt x="67" y="890"/>
                    <a:pt x="66" y="894"/>
                  </a:cubicBezTo>
                  <a:cubicBezTo>
                    <a:pt x="63" y="894"/>
                    <a:pt x="63" y="897"/>
                    <a:pt x="64" y="899"/>
                  </a:cubicBezTo>
                  <a:cubicBezTo>
                    <a:pt x="66" y="901"/>
                    <a:pt x="68" y="900"/>
                    <a:pt x="70" y="900"/>
                  </a:cubicBezTo>
                  <a:cubicBezTo>
                    <a:pt x="73" y="901"/>
                    <a:pt x="71" y="901"/>
                    <a:pt x="73" y="904"/>
                  </a:cubicBezTo>
                  <a:cubicBezTo>
                    <a:pt x="75" y="906"/>
                    <a:pt x="77" y="905"/>
                    <a:pt x="76" y="909"/>
                  </a:cubicBezTo>
                  <a:cubicBezTo>
                    <a:pt x="76" y="910"/>
                    <a:pt x="74" y="913"/>
                    <a:pt x="73" y="914"/>
                  </a:cubicBezTo>
                  <a:cubicBezTo>
                    <a:pt x="73" y="916"/>
                    <a:pt x="71" y="917"/>
                    <a:pt x="71" y="919"/>
                  </a:cubicBezTo>
                  <a:cubicBezTo>
                    <a:pt x="70" y="920"/>
                    <a:pt x="69" y="923"/>
                    <a:pt x="69" y="925"/>
                  </a:cubicBezTo>
                  <a:cubicBezTo>
                    <a:pt x="68" y="927"/>
                    <a:pt x="69" y="930"/>
                    <a:pt x="68" y="932"/>
                  </a:cubicBezTo>
                  <a:cubicBezTo>
                    <a:pt x="69" y="932"/>
                    <a:pt x="71" y="931"/>
                    <a:pt x="72" y="932"/>
                  </a:cubicBezTo>
                  <a:cubicBezTo>
                    <a:pt x="72" y="933"/>
                    <a:pt x="72" y="934"/>
                    <a:pt x="72" y="935"/>
                  </a:cubicBezTo>
                  <a:cubicBezTo>
                    <a:pt x="73" y="935"/>
                    <a:pt x="74" y="935"/>
                    <a:pt x="75" y="935"/>
                  </a:cubicBezTo>
                  <a:cubicBezTo>
                    <a:pt x="75" y="936"/>
                    <a:pt x="75" y="937"/>
                    <a:pt x="75" y="939"/>
                  </a:cubicBezTo>
                  <a:cubicBezTo>
                    <a:pt x="77" y="940"/>
                    <a:pt x="82" y="944"/>
                    <a:pt x="83" y="946"/>
                  </a:cubicBezTo>
                  <a:cubicBezTo>
                    <a:pt x="84" y="947"/>
                    <a:pt x="84" y="950"/>
                    <a:pt x="85" y="951"/>
                  </a:cubicBezTo>
                  <a:cubicBezTo>
                    <a:pt x="87" y="953"/>
                    <a:pt x="88" y="951"/>
                    <a:pt x="90" y="953"/>
                  </a:cubicBezTo>
                  <a:cubicBezTo>
                    <a:pt x="91" y="955"/>
                    <a:pt x="90" y="956"/>
                    <a:pt x="91" y="958"/>
                  </a:cubicBezTo>
                  <a:cubicBezTo>
                    <a:pt x="92" y="960"/>
                    <a:pt x="92" y="960"/>
                    <a:pt x="94" y="961"/>
                  </a:cubicBezTo>
                  <a:cubicBezTo>
                    <a:pt x="95" y="963"/>
                    <a:pt x="96" y="963"/>
                    <a:pt x="96" y="965"/>
                  </a:cubicBezTo>
                  <a:cubicBezTo>
                    <a:pt x="97" y="967"/>
                    <a:pt x="95" y="970"/>
                    <a:pt x="96" y="972"/>
                  </a:cubicBezTo>
                  <a:cubicBezTo>
                    <a:pt x="97" y="973"/>
                    <a:pt x="100" y="972"/>
                    <a:pt x="101" y="972"/>
                  </a:cubicBezTo>
                  <a:cubicBezTo>
                    <a:pt x="104" y="972"/>
                    <a:pt x="103" y="972"/>
                    <a:pt x="104" y="975"/>
                  </a:cubicBezTo>
                  <a:cubicBezTo>
                    <a:pt x="105" y="977"/>
                    <a:pt x="105" y="978"/>
                    <a:pt x="105" y="979"/>
                  </a:cubicBezTo>
                  <a:cubicBezTo>
                    <a:pt x="109" y="982"/>
                    <a:pt x="114" y="985"/>
                    <a:pt x="119" y="988"/>
                  </a:cubicBezTo>
                  <a:cubicBezTo>
                    <a:pt x="117" y="985"/>
                    <a:pt x="118" y="982"/>
                    <a:pt x="118" y="9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65">
              <a:extLst>
                <a:ext uri="{FF2B5EF4-FFF2-40B4-BE49-F238E27FC236}">
                  <a16:creationId xmlns:a16="http://schemas.microsoft.com/office/drawing/2014/main" id="{7B983485-7B90-4DB0-8D5C-E3D4D194C3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201" y="6075677"/>
              <a:ext cx="3369" cy="2246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2 w 2"/>
                <a:gd name="T5" fmla="*/ 1 h 1"/>
                <a:gd name="T6" fmla="*/ 0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68">
              <a:extLst>
                <a:ext uri="{FF2B5EF4-FFF2-40B4-BE49-F238E27FC236}">
                  <a16:creationId xmlns:a16="http://schemas.microsoft.com/office/drawing/2014/main" id="{C255D97A-9E75-421A-BB23-D0B2D182BB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8724" y="2281713"/>
              <a:ext cx="160608" cy="372883"/>
            </a:xfrm>
            <a:custGeom>
              <a:avLst/>
              <a:gdLst>
                <a:gd name="T0" fmla="*/ 2 w 76"/>
                <a:gd name="T1" fmla="*/ 51 h 177"/>
                <a:gd name="T2" fmla="*/ 8 w 76"/>
                <a:gd name="T3" fmla="*/ 67 h 177"/>
                <a:gd name="T4" fmla="*/ 28 w 76"/>
                <a:gd name="T5" fmla="*/ 78 h 177"/>
                <a:gd name="T6" fmla="*/ 30 w 76"/>
                <a:gd name="T7" fmla="*/ 90 h 177"/>
                <a:gd name="T8" fmla="*/ 33 w 76"/>
                <a:gd name="T9" fmla="*/ 106 h 177"/>
                <a:gd name="T10" fmla="*/ 24 w 76"/>
                <a:gd name="T11" fmla="*/ 117 h 177"/>
                <a:gd name="T12" fmla="*/ 18 w 76"/>
                <a:gd name="T13" fmla="*/ 127 h 177"/>
                <a:gd name="T14" fmla="*/ 19 w 76"/>
                <a:gd name="T15" fmla="*/ 132 h 177"/>
                <a:gd name="T16" fmla="*/ 25 w 76"/>
                <a:gd name="T17" fmla="*/ 141 h 177"/>
                <a:gd name="T18" fmla="*/ 30 w 76"/>
                <a:gd name="T19" fmla="*/ 149 h 177"/>
                <a:gd name="T20" fmla="*/ 17 w 76"/>
                <a:gd name="T21" fmla="*/ 160 h 177"/>
                <a:gd name="T22" fmla="*/ 8 w 76"/>
                <a:gd name="T23" fmla="*/ 173 h 177"/>
                <a:gd name="T24" fmla="*/ 14 w 76"/>
                <a:gd name="T25" fmla="*/ 176 h 177"/>
                <a:gd name="T26" fmla="*/ 20 w 76"/>
                <a:gd name="T27" fmla="*/ 171 h 177"/>
                <a:gd name="T28" fmla="*/ 34 w 76"/>
                <a:gd name="T29" fmla="*/ 167 h 177"/>
                <a:gd name="T30" fmla="*/ 40 w 76"/>
                <a:gd name="T31" fmla="*/ 164 h 177"/>
                <a:gd name="T32" fmla="*/ 45 w 76"/>
                <a:gd name="T33" fmla="*/ 159 h 177"/>
                <a:gd name="T34" fmla="*/ 59 w 76"/>
                <a:gd name="T35" fmla="*/ 151 h 177"/>
                <a:gd name="T36" fmla="*/ 65 w 76"/>
                <a:gd name="T37" fmla="*/ 139 h 177"/>
                <a:gd name="T38" fmla="*/ 73 w 76"/>
                <a:gd name="T39" fmla="*/ 129 h 177"/>
                <a:gd name="T40" fmla="*/ 70 w 76"/>
                <a:gd name="T41" fmla="*/ 116 h 177"/>
                <a:gd name="T42" fmla="*/ 61 w 76"/>
                <a:gd name="T43" fmla="*/ 106 h 177"/>
                <a:gd name="T44" fmla="*/ 55 w 76"/>
                <a:gd name="T45" fmla="*/ 97 h 177"/>
                <a:gd name="T46" fmla="*/ 51 w 76"/>
                <a:gd name="T47" fmla="*/ 87 h 177"/>
                <a:gd name="T48" fmla="*/ 44 w 76"/>
                <a:gd name="T49" fmla="*/ 74 h 177"/>
                <a:gd name="T50" fmla="*/ 39 w 76"/>
                <a:gd name="T51" fmla="*/ 56 h 177"/>
                <a:gd name="T52" fmla="*/ 47 w 76"/>
                <a:gd name="T53" fmla="*/ 38 h 177"/>
                <a:gd name="T54" fmla="*/ 42 w 76"/>
                <a:gd name="T55" fmla="*/ 24 h 177"/>
                <a:gd name="T56" fmla="*/ 37 w 76"/>
                <a:gd name="T57" fmla="*/ 20 h 177"/>
                <a:gd name="T58" fmla="*/ 37 w 76"/>
                <a:gd name="T59" fmla="*/ 4 h 177"/>
                <a:gd name="T60" fmla="*/ 29 w 76"/>
                <a:gd name="T61" fmla="*/ 0 h 177"/>
                <a:gd name="T62" fmla="*/ 17 w 76"/>
                <a:gd name="T63" fmla="*/ 5 h 177"/>
                <a:gd name="T64" fmla="*/ 12 w 76"/>
                <a:gd name="T65" fmla="*/ 16 h 177"/>
                <a:gd name="T66" fmla="*/ 11 w 76"/>
                <a:gd name="T67" fmla="*/ 25 h 177"/>
                <a:gd name="T68" fmla="*/ 2 w 76"/>
                <a:gd name="T69" fmla="*/ 31 h 177"/>
                <a:gd name="T70" fmla="*/ 1 w 76"/>
                <a:gd name="T71" fmla="*/ 43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6" h="177">
                  <a:moveTo>
                    <a:pt x="1" y="43"/>
                  </a:moveTo>
                  <a:cubicBezTo>
                    <a:pt x="1" y="46"/>
                    <a:pt x="2" y="48"/>
                    <a:pt x="2" y="51"/>
                  </a:cubicBezTo>
                  <a:cubicBezTo>
                    <a:pt x="3" y="51"/>
                    <a:pt x="7" y="52"/>
                    <a:pt x="8" y="54"/>
                  </a:cubicBezTo>
                  <a:cubicBezTo>
                    <a:pt x="10" y="57"/>
                    <a:pt x="8" y="64"/>
                    <a:pt x="8" y="67"/>
                  </a:cubicBezTo>
                  <a:cubicBezTo>
                    <a:pt x="14" y="69"/>
                    <a:pt x="20" y="66"/>
                    <a:pt x="26" y="67"/>
                  </a:cubicBezTo>
                  <a:cubicBezTo>
                    <a:pt x="30" y="68"/>
                    <a:pt x="28" y="74"/>
                    <a:pt x="28" y="78"/>
                  </a:cubicBezTo>
                  <a:cubicBezTo>
                    <a:pt x="28" y="80"/>
                    <a:pt x="28" y="83"/>
                    <a:pt x="28" y="85"/>
                  </a:cubicBezTo>
                  <a:cubicBezTo>
                    <a:pt x="29" y="87"/>
                    <a:pt x="30" y="88"/>
                    <a:pt x="30" y="90"/>
                  </a:cubicBezTo>
                  <a:cubicBezTo>
                    <a:pt x="31" y="90"/>
                    <a:pt x="32" y="90"/>
                    <a:pt x="33" y="90"/>
                  </a:cubicBezTo>
                  <a:cubicBezTo>
                    <a:pt x="35" y="95"/>
                    <a:pt x="33" y="101"/>
                    <a:pt x="33" y="106"/>
                  </a:cubicBezTo>
                  <a:cubicBezTo>
                    <a:pt x="34" y="109"/>
                    <a:pt x="36" y="113"/>
                    <a:pt x="33" y="116"/>
                  </a:cubicBezTo>
                  <a:cubicBezTo>
                    <a:pt x="31" y="118"/>
                    <a:pt x="26" y="115"/>
                    <a:pt x="24" y="117"/>
                  </a:cubicBezTo>
                  <a:cubicBezTo>
                    <a:pt x="22" y="118"/>
                    <a:pt x="19" y="123"/>
                    <a:pt x="19" y="127"/>
                  </a:cubicBezTo>
                  <a:cubicBezTo>
                    <a:pt x="19" y="127"/>
                    <a:pt x="19" y="127"/>
                    <a:pt x="18" y="127"/>
                  </a:cubicBezTo>
                  <a:cubicBezTo>
                    <a:pt x="18" y="130"/>
                    <a:pt x="17" y="129"/>
                    <a:pt x="17" y="132"/>
                  </a:cubicBezTo>
                  <a:cubicBezTo>
                    <a:pt x="18" y="132"/>
                    <a:pt x="19" y="132"/>
                    <a:pt x="19" y="132"/>
                  </a:cubicBezTo>
                  <a:cubicBezTo>
                    <a:pt x="20" y="135"/>
                    <a:pt x="20" y="136"/>
                    <a:pt x="21" y="138"/>
                  </a:cubicBezTo>
                  <a:cubicBezTo>
                    <a:pt x="22" y="142"/>
                    <a:pt x="22" y="140"/>
                    <a:pt x="25" y="141"/>
                  </a:cubicBezTo>
                  <a:cubicBezTo>
                    <a:pt x="27" y="141"/>
                    <a:pt x="26" y="141"/>
                    <a:pt x="27" y="144"/>
                  </a:cubicBezTo>
                  <a:cubicBezTo>
                    <a:pt x="28" y="146"/>
                    <a:pt x="29" y="148"/>
                    <a:pt x="30" y="149"/>
                  </a:cubicBezTo>
                  <a:cubicBezTo>
                    <a:pt x="27" y="151"/>
                    <a:pt x="25" y="148"/>
                    <a:pt x="22" y="152"/>
                  </a:cubicBezTo>
                  <a:cubicBezTo>
                    <a:pt x="20" y="156"/>
                    <a:pt x="22" y="160"/>
                    <a:pt x="17" y="160"/>
                  </a:cubicBezTo>
                  <a:cubicBezTo>
                    <a:pt x="14" y="160"/>
                    <a:pt x="13" y="161"/>
                    <a:pt x="11" y="164"/>
                  </a:cubicBezTo>
                  <a:cubicBezTo>
                    <a:pt x="9" y="166"/>
                    <a:pt x="8" y="169"/>
                    <a:pt x="8" y="173"/>
                  </a:cubicBezTo>
                  <a:cubicBezTo>
                    <a:pt x="8" y="175"/>
                    <a:pt x="8" y="175"/>
                    <a:pt x="9" y="176"/>
                  </a:cubicBezTo>
                  <a:cubicBezTo>
                    <a:pt x="10" y="177"/>
                    <a:pt x="13" y="176"/>
                    <a:pt x="14" y="176"/>
                  </a:cubicBezTo>
                  <a:cubicBezTo>
                    <a:pt x="16" y="176"/>
                    <a:pt x="17" y="177"/>
                    <a:pt x="18" y="176"/>
                  </a:cubicBezTo>
                  <a:cubicBezTo>
                    <a:pt x="19" y="174"/>
                    <a:pt x="19" y="173"/>
                    <a:pt x="20" y="171"/>
                  </a:cubicBezTo>
                  <a:cubicBezTo>
                    <a:pt x="21" y="169"/>
                    <a:pt x="24" y="168"/>
                    <a:pt x="26" y="167"/>
                  </a:cubicBezTo>
                  <a:cubicBezTo>
                    <a:pt x="29" y="166"/>
                    <a:pt x="32" y="168"/>
                    <a:pt x="34" y="167"/>
                  </a:cubicBezTo>
                  <a:cubicBezTo>
                    <a:pt x="35" y="166"/>
                    <a:pt x="35" y="165"/>
                    <a:pt x="35" y="164"/>
                  </a:cubicBezTo>
                  <a:cubicBezTo>
                    <a:pt x="37" y="163"/>
                    <a:pt x="38" y="164"/>
                    <a:pt x="40" y="164"/>
                  </a:cubicBezTo>
                  <a:cubicBezTo>
                    <a:pt x="42" y="163"/>
                    <a:pt x="43" y="162"/>
                    <a:pt x="45" y="162"/>
                  </a:cubicBezTo>
                  <a:cubicBezTo>
                    <a:pt x="45" y="161"/>
                    <a:pt x="45" y="160"/>
                    <a:pt x="45" y="159"/>
                  </a:cubicBezTo>
                  <a:cubicBezTo>
                    <a:pt x="49" y="157"/>
                    <a:pt x="53" y="160"/>
                    <a:pt x="56" y="157"/>
                  </a:cubicBezTo>
                  <a:cubicBezTo>
                    <a:pt x="58" y="155"/>
                    <a:pt x="58" y="155"/>
                    <a:pt x="59" y="151"/>
                  </a:cubicBezTo>
                  <a:cubicBezTo>
                    <a:pt x="59" y="149"/>
                    <a:pt x="60" y="146"/>
                    <a:pt x="60" y="143"/>
                  </a:cubicBezTo>
                  <a:cubicBezTo>
                    <a:pt x="62" y="143"/>
                    <a:pt x="63" y="140"/>
                    <a:pt x="65" y="139"/>
                  </a:cubicBezTo>
                  <a:cubicBezTo>
                    <a:pt x="67" y="138"/>
                    <a:pt x="68" y="138"/>
                    <a:pt x="70" y="135"/>
                  </a:cubicBezTo>
                  <a:cubicBezTo>
                    <a:pt x="71" y="133"/>
                    <a:pt x="72" y="131"/>
                    <a:pt x="73" y="129"/>
                  </a:cubicBezTo>
                  <a:cubicBezTo>
                    <a:pt x="73" y="127"/>
                    <a:pt x="76" y="122"/>
                    <a:pt x="75" y="120"/>
                  </a:cubicBezTo>
                  <a:cubicBezTo>
                    <a:pt x="75" y="118"/>
                    <a:pt x="71" y="117"/>
                    <a:pt x="70" y="116"/>
                  </a:cubicBezTo>
                  <a:cubicBezTo>
                    <a:pt x="68" y="116"/>
                    <a:pt x="64" y="117"/>
                    <a:pt x="63" y="114"/>
                  </a:cubicBezTo>
                  <a:cubicBezTo>
                    <a:pt x="61" y="112"/>
                    <a:pt x="63" y="109"/>
                    <a:pt x="61" y="106"/>
                  </a:cubicBezTo>
                  <a:cubicBezTo>
                    <a:pt x="59" y="104"/>
                    <a:pt x="57" y="106"/>
                    <a:pt x="55" y="102"/>
                  </a:cubicBezTo>
                  <a:cubicBezTo>
                    <a:pt x="55" y="100"/>
                    <a:pt x="55" y="99"/>
                    <a:pt x="55" y="97"/>
                  </a:cubicBezTo>
                  <a:cubicBezTo>
                    <a:pt x="55" y="95"/>
                    <a:pt x="54" y="95"/>
                    <a:pt x="54" y="93"/>
                  </a:cubicBezTo>
                  <a:cubicBezTo>
                    <a:pt x="53" y="90"/>
                    <a:pt x="52" y="89"/>
                    <a:pt x="51" y="87"/>
                  </a:cubicBezTo>
                  <a:cubicBezTo>
                    <a:pt x="49" y="85"/>
                    <a:pt x="48" y="84"/>
                    <a:pt x="46" y="83"/>
                  </a:cubicBezTo>
                  <a:cubicBezTo>
                    <a:pt x="43" y="81"/>
                    <a:pt x="44" y="79"/>
                    <a:pt x="44" y="74"/>
                  </a:cubicBezTo>
                  <a:cubicBezTo>
                    <a:pt x="44" y="71"/>
                    <a:pt x="44" y="67"/>
                    <a:pt x="43" y="64"/>
                  </a:cubicBezTo>
                  <a:cubicBezTo>
                    <a:pt x="42" y="61"/>
                    <a:pt x="40" y="59"/>
                    <a:pt x="39" y="56"/>
                  </a:cubicBezTo>
                  <a:cubicBezTo>
                    <a:pt x="36" y="49"/>
                    <a:pt x="42" y="45"/>
                    <a:pt x="46" y="44"/>
                  </a:cubicBezTo>
                  <a:cubicBezTo>
                    <a:pt x="46" y="42"/>
                    <a:pt x="47" y="40"/>
                    <a:pt x="47" y="38"/>
                  </a:cubicBezTo>
                  <a:cubicBezTo>
                    <a:pt x="48" y="35"/>
                    <a:pt x="48" y="29"/>
                    <a:pt x="47" y="27"/>
                  </a:cubicBezTo>
                  <a:cubicBezTo>
                    <a:pt x="47" y="24"/>
                    <a:pt x="44" y="26"/>
                    <a:pt x="42" y="24"/>
                  </a:cubicBezTo>
                  <a:cubicBezTo>
                    <a:pt x="41" y="23"/>
                    <a:pt x="41" y="22"/>
                    <a:pt x="40" y="21"/>
                  </a:cubicBezTo>
                  <a:cubicBezTo>
                    <a:pt x="40" y="21"/>
                    <a:pt x="38" y="20"/>
                    <a:pt x="37" y="20"/>
                  </a:cubicBezTo>
                  <a:cubicBezTo>
                    <a:pt x="36" y="18"/>
                    <a:pt x="37" y="12"/>
                    <a:pt x="37" y="9"/>
                  </a:cubicBezTo>
                  <a:cubicBezTo>
                    <a:pt x="37" y="8"/>
                    <a:pt x="38" y="5"/>
                    <a:pt x="37" y="4"/>
                  </a:cubicBezTo>
                  <a:cubicBezTo>
                    <a:pt x="37" y="2"/>
                    <a:pt x="36" y="3"/>
                    <a:pt x="35" y="2"/>
                  </a:cubicBezTo>
                  <a:cubicBezTo>
                    <a:pt x="33" y="1"/>
                    <a:pt x="31" y="1"/>
                    <a:pt x="29" y="0"/>
                  </a:cubicBezTo>
                  <a:cubicBezTo>
                    <a:pt x="27" y="0"/>
                    <a:pt x="24" y="3"/>
                    <a:pt x="22" y="2"/>
                  </a:cubicBezTo>
                  <a:cubicBezTo>
                    <a:pt x="19" y="2"/>
                    <a:pt x="19" y="3"/>
                    <a:pt x="17" y="5"/>
                  </a:cubicBezTo>
                  <a:cubicBezTo>
                    <a:pt x="15" y="6"/>
                    <a:pt x="14" y="6"/>
                    <a:pt x="13" y="9"/>
                  </a:cubicBezTo>
                  <a:cubicBezTo>
                    <a:pt x="13" y="11"/>
                    <a:pt x="12" y="14"/>
                    <a:pt x="12" y="16"/>
                  </a:cubicBezTo>
                  <a:cubicBezTo>
                    <a:pt x="11" y="18"/>
                    <a:pt x="11" y="18"/>
                    <a:pt x="11" y="20"/>
                  </a:cubicBezTo>
                  <a:cubicBezTo>
                    <a:pt x="11" y="21"/>
                    <a:pt x="11" y="24"/>
                    <a:pt x="11" y="25"/>
                  </a:cubicBezTo>
                  <a:cubicBezTo>
                    <a:pt x="10" y="28"/>
                    <a:pt x="8" y="27"/>
                    <a:pt x="6" y="28"/>
                  </a:cubicBezTo>
                  <a:cubicBezTo>
                    <a:pt x="5" y="29"/>
                    <a:pt x="3" y="30"/>
                    <a:pt x="2" y="31"/>
                  </a:cubicBezTo>
                  <a:cubicBezTo>
                    <a:pt x="1" y="32"/>
                    <a:pt x="2" y="34"/>
                    <a:pt x="2" y="36"/>
                  </a:cubicBezTo>
                  <a:cubicBezTo>
                    <a:pt x="2" y="39"/>
                    <a:pt x="0" y="39"/>
                    <a:pt x="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69">
              <a:extLst>
                <a:ext uri="{FF2B5EF4-FFF2-40B4-BE49-F238E27FC236}">
                  <a16:creationId xmlns:a16="http://schemas.microsoft.com/office/drawing/2014/main" id="{CC86FAA8-570E-423F-9007-52FE03565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0104" y="2429968"/>
              <a:ext cx="102204" cy="151624"/>
            </a:xfrm>
            <a:custGeom>
              <a:avLst/>
              <a:gdLst>
                <a:gd name="T0" fmla="*/ 29 w 48"/>
                <a:gd name="T1" fmla="*/ 7 h 72"/>
                <a:gd name="T2" fmla="*/ 25 w 48"/>
                <a:gd name="T3" fmla="*/ 11 h 72"/>
                <a:gd name="T4" fmla="*/ 18 w 48"/>
                <a:gd name="T5" fmla="*/ 18 h 72"/>
                <a:gd name="T6" fmla="*/ 15 w 48"/>
                <a:gd name="T7" fmla="*/ 19 h 72"/>
                <a:gd name="T8" fmla="*/ 12 w 48"/>
                <a:gd name="T9" fmla="*/ 22 h 72"/>
                <a:gd name="T10" fmla="*/ 6 w 48"/>
                <a:gd name="T11" fmla="*/ 24 h 72"/>
                <a:gd name="T12" fmla="*/ 10 w 48"/>
                <a:gd name="T13" fmla="*/ 29 h 72"/>
                <a:gd name="T14" fmla="*/ 15 w 48"/>
                <a:gd name="T15" fmla="*/ 34 h 72"/>
                <a:gd name="T16" fmla="*/ 15 w 48"/>
                <a:gd name="T17" fmla="*/ 44 h 72"/>
                <a:gd name="T18" fmla="*/ 8 w 48"/>
                <a:gd name="T19" fmla="*/ 46 h 72"/>
                <a:gd name="T20" fmla="*/ 0 w 48"/>
                <a:gd name="T21" fmla="*/ 60 h 72"/>
                <a:gd name="T22" fmla="*/ 6 w 48"/>
                <a:gd name="T23" fmla="*/ 66 h 72"/>
                <a:gd name="T24" fmla="*/ 6 w 48"/>
                <a:gd name="T25" fmla="*/ 71 h 72"/>
                <a:gd name="T26" fmla="*/ 10 w 48"/>
                <a:gd name="T27" fmla="*/ 70 h 72"/>
                <a:gd name="T28" fmla="*/ 14 w 48"/>
                <a:gd name="T29" fmla="*/ 63 h 72"/>
                <a:gd name="T30" fmla="*/ 18 w 48"/>
                <a:gd name="T31" fmla="*/ 63 h 72"/>
                <a:gd name="T32" fmla="*/ 21 w 48"/>
                <a:gd name="T33" fmla="*/ 66 h 72"/>
                <a:gd name="T34" fmla="*/ 25 w 48"/>
                <a:gd name="T35" fmla="*/ 66 h 72"/>
                <a:gd name="T36" fmla="*/ 27 w 48"/>
                <a:gd name="T37" fmla="*/ 62 h 72"/>
                <a:gd name="T38" fmla="*/ 34 w 48"/>
                <a:gd name="T39" fmla="*/ 59 h 72"/>
                <a:gd name="T40" fmla="*/ 41 w 48"/>
                <a:gd name="T41" fmla="*/ 56 h 72"/>
                <a:gd name="T42" fmla="*/ 42 w 48"/>
                <a:gd name="T43" fmla="*/ 43 h 72"/>
                <a:gd name="T44" fmla="*/ 44 w 48"/>
                <a:gd name="T45" fmla="*/ 43 h 72"/>
                <a:gd name="T46" fmla="*/ 44 w 48"/>
                <a:gd name="T47" fmla="*/ 40 h 72"/>
                <a:gd name="T48" fmla="*/ 46 w 48"/>
                <a:gd name="T49" fmla="*/ 39 h 72"/>
                <a:gd name="T50" fmla="*/ 46 w 48"/>
                <a:gd name="T51" fmla="*/ 34 h 72"/>
                <a:gd name="T52" fmla="*/ 45 w 48"/>
                <a:gd name="T53" fmla="*/ 29 h 72"/>
                <a:gd name="T54" fmla="*/ 48 w 48"/>
                <a:gd name="T55" fmla="*/ 23 h 72"/>
                <a:gd name="T56" fmla="*/ 47 w 48"/>
                <a:gd name="T57" fmla="*/ 11 h 72"/>
                <a:gd name="T58" fmla="*/ 43 w 48"/>
                <a:gd name="T59" fmla="*/ 8 h 72"/>
                <a:gd name="T60" fmla="*/ 38 w 48"/>
                <a:gd name="T61" fmla="*/ 6 h 72"/>
                <a:gd name="T62" fmla="*/ 37 w 48"/>
                <a:gd name="T63" fmla="*/ 3 h 72"/>
                <a:gd name="T64" fmla="*/ 30 w 48"/>
                <a:gd name="T65" fmla="*/ 1 h 72"/>
                <a:gd name="T66" fmla="*/ 29 w 48"/>
                <a:gd name="T67" fmla="*/ 1 h 72"/>
                <a:gd name="T68" fmla="*/ 29 w 48"/>
                <a:gd name="T69" fmla="*/ 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8" h="72">
                  <a:moveTo>
                    <a:pt x="29" y="7"/>
                  </a:moveTo>
                  <a:cubicBezTo>
                    <a:pt x="28" y="9"/>
                    <a:pt x="26" y="10"/>
                    <a:pt x="25" y="11"/>
                  </a:cubicBezTo>
                  <a:cubicBezTo>
                    <a:pt x="22" y="13"/>
                    <a:pt x="19" y="12"/>
                    <a:pt x="18" y="18"/>
                  </a:cubicBezTo>
                  <a:cubicBezTo>
                    <a:pt x="17" y="18"/>
                    <a:pt x="16" y="18"/>
                    <a:pt x="15" y="19"/>
                  </a:cubicBezTo>
                  <a:cubicBezTo>
                    <a:pt x="14" y="19"/>
                    <a:pt x="14" y="21"/>
                    <a:pt x="12" y="22"/>
                  </a:cubicBezTo>
                  <a:cubicBezTo>
                    <a:pt x="11" y="22"/>
                    <a:pt x="7" y="22"/>
                    <a:pt x="6" y="24"/>
                  </a:cubicBezTo>
                  <a:cubicBezTo>
                    <a:pt x="5" y="28"/>
                    <a:pt x="8" y="29"/>
                    <a:pt x="10" y="29"/>
                  </a:cubicBezTo>
                  <a:cubicBezTo>
                    <a:pt x="14" y="30"/>
                    <a:pt x="15" y="27"/>
                    <a:pt x="15" y="34"/>
                  </a:cubicBezTo>
                  <a:cubicBezTo>
                    <a:pt x="15" y="36"/>
                    <a:pt x="16" y="43"/>
                    <a:pt x="15" y="44"/>
                  </a:cubicBezTo>
                  <a:cubicBezTo>
                    <a:pt x="13" y="46"/>
                    <a:pt x="10" y="44"/>
                    <a:pt x="8" y="46"/>
                  </a:cubicBezTo>
                  <a:cubicBezTo>
                    <a:pt x="5" y="49"/>
                    <a:pt x="2" y="55"/>
                    <a:pt x="0" y="60"/>
                  </a:cubicBezTo>
                  <a:cubicBezTo>
                    <a:pt x="2" y="60"/>
                    <a:pt x="5" y="63"/>
                    <a:pt x="6" y="66"/>
                  </a:cubicBezTo>
                  <a:cubicBezTo>
                    <a:pt x="6" y="67"/>
                    <a:pt x="6" y="70"/>
                    <a:pt x="6" y="71"/>
                  </a:cubicBezTo>
                  <a:cubicBezTo>
                    <a:pt x="8" y="72"/>
                    <a:pt x="9" y="71"/>
                    <a:pt x="10" y="70"/>
                  </a:cubicBezTo>
                  <a:cubicBezTo>
                    <a:pt x="12" y="68"/>
                    <a:pt x="12" y="64"/>
                    <a:pt x="14" y="63"/>
                  </a:cubicBezTo>
                  <a:cubicBezTo>
                    <a:pt x="16" y="61"/>
                    <a:pt x="17" y="62"/>
                    <a:pt x="18" y="63"/>
                  </a:cubicBezTo>
                  <a:cubicBezTo>
                    <a:pt x="19" y="65"/>
                    <a:pt x="19" y="65"/>
                    <a:pt x="21" y="66"/>
                  </a:cubicBezTo>
                  <a:cubicBezTo>
                    <a:pt x="22" y="66"/>
                    <a:pt x="25" y="66"/>
                    <a:pt x="25" y="66"/>
                  </a:cubicBezTo>
                  <a:cubicBezTo>
                    <a:pt x="27" y="65"/>
                    <a:pt x="26" y="63"/>
                    <a:pt x="27" y="62"/>
                  </a:cubicBezTo>
                  <a:cubicBezTo>
                    <a:pt x="29" y="60"/>
                    <a:pt x="32" y="60"/>
                    <a:pt x="34" y="59"/>
                  </a:cubicBezTo>
                  <a:cubicBezTo>
                    <a:pt x="36" y="58"/>
                    <a:pt x="39" y="58"/>
                    <a:pt x="41" y="56"/>
                  </a:cubicBezTo>
                  <a:cubicBezTo>
                    <a:pt x="43" y="53"/>
                    <a:pt x="41" y="47"/>
                    <a:pt x="42" y="43"/>
                  </a:cubicBezTo>
                  <a:cubicBezTo>
                    <a:pt x="42" y="43"/>
                    <a:pt x="43" y="43"/>
                    <a:pt x="44" y="43"/>
                  </a:cubicBezTo>
                  <a:cubicBezTo>
                    <a:pt x="44" y="42"/>
                    <a:pt x="44" y="41"/>
                    <a:pt x="44" y="40"/>
                  </a:cubicBezTo>
                  <a:cubicBezTo>
                    <a:pt x="45" y="39"/>
                    <a:pt x="46" y="39"/>
                    <a:pt x="46" y="39"/>
                  </a:cubicBezTo>
                  <a:cubicBezTo>
                    <a:pt x="47" y="38"/>
                    <a:pt x="47" y="36"/>
                    <a:pt x="46" y="34"/>
                  </a:cubicBezTo>
                  <a:cubicBezTo>
                    <a:pt x="46" y="31"/>
                    <a:pt x="46" y="32"/>
                    <a:pt x="45" y="29"/>
                  </a:cubicBezTo>
                  <a:cubicBezTo>
                    <a:pt x="43" y="25"/>
                    <a:pt x="44" y="24"/>
                    <a:pt x="48" y="23"/>
                  </a:cubicBezTo>
                  <a:cubicBezTo>
                    <a:pt x="48" y="20"/>
                    <a:pt x="48" y="14"/>
                    <a:pt x="47" y="11"/>
                  </a:cubicBezTo>
                  <a:cubicBezTo>
                    <a:pt x="46" y="8"/>
                    <a:pt x="45" y="8"/>
                    <a:pt x="43" y="8"/>
                  </a:cubicBezTo>
                  <a:cubicBezTo>
                    <a:pt x="41" y="7"/>
                    <a:pt x="40" y="6"/>
                    <a:pt x="38" y="6"/>
                  </a:cubicBezTo>
                  <a:cubicBezTo>
                    <a:pt x="38" y="5"/>
                    <a:pt x="38" y="4"/>
                    <a:pt x="37" y="3"/>
                  </a:cubicBezTo>
                  <a:cubicBezTo>
                    <a:pt x="35" y="2"/>
                    <a:pt x="32" y="0"/>
                    <a:pt x="30" y="1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9" y="3"/>
                    <a:pt x="29" y="6"/>
                    <a:pt x="2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70">
              <a:extLst>
                <a:ext uri="{FF2B5EF4-FFF2-40B4-BE49-F238E27FC236}">
                  <a16:creationId xmlns:a16="http://schemas.microsoft.com/office/drawing/2014/main" id="{B73C6200-613E-460B-B9F1-A1517E776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2767" y="2315408"/>
              <a:ext cx="14600" cy="33694"/>
            </a:xfrm>
            <a:custGeom>
              <a:avLst/>
              <a:gdLst>
                <a:gd name="T0" fmla="*/ 2 w 7"/>
                <a:gd name="T1" fmla="*/ 14 h 16"/>
                <a:gd name="T2" fmla="*/ 5 w 7"/>
                <a:gd name="T3" fmla="*/ 8 h 16"/>
                <a:gd name="T4" fmla="*/ 7 w 7"/>
                <a:gd name="T5" fmla="*/ 6 h 16"/>
                <a:gd name="T6" fmla="*/ 7 w 7"/>
                <a:gd name="T7" fmla="*/ 3 h 16"/>
                <a:gd name="T8" fmla="*/ 7 w 7"/>
                <a:gd name="T9" fmla="*/ 0 h 16"/>
                <a:gd name="T10" fmla="*/ 4 w 7"/>
                <a:gd name="T11" fmla="*/ 1 h 16"/>
                <a:gd name="T12" fmla="*/ 4 w 7"/>
                <a:gd name="T13" fmla="*/ 3 h 16"/>
                <a:gd name="T14" fmla="*/ 4 w 7"/>
                <a:gd name="T15" fmla="*/ 5 h 16"/>
                <a:gd name="T16" fmla="*/ 3 w 7"/>
                <a:gd name="T17" fmla="*/ 6 h 16"/>
                <a:gd name="T18" fmla="*/ 2 w 7"/>
                <a:gd name="T19" fmla="*/ 7 h 16"/>
                <a:gd name="T20" fmla="*/ 1 w 7"/>
                <a:gd name="T21" fmla="*/ 10 h 16"/>
                <a:gd name="T22" fmla="*/ 0 w 7"/>
                <a:gd name="T23" fmla="*/ 14 h 16"/>
                <a:gd name="T24" fmla="*/ 2 w 7"/>
                <a:gd name="T25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" h="16">
                  <a:moveTo>
                    <a:pt x="2" y="14"/>
                  </a:moveTo>
                  <a:cubicBezTo>
                    <a:pt x="3" y="12"/>
                    <a:pt x="4" y="11"/>
                    <a:pt x="5" y="8"/>
                  </a:cubicBezTo>
                  <a:cubicBezTo>
                    <a:pt x="6" y="8"/>
                    <a:pt x="7" y="9"/>
                    <a:pt x="7" y="6"/>
                  </a:cubicBezTo>
                  <a:cubicBezTo>
                    <a:pt x="7" y="6"/>
                    <a:pt x="7" y="4"/>
                    <a:pt x="7" y="3"/>
                  </a:cubicBezTo>
                  <a:cubicBezTo>
                    <a:pt x="7" y="2"/>
                    <a:pt x="7" y="2"/>
                    <a:pt x="7" y="0"/>
                  </a:cubicBezTo>
                  <a:cubicBezTo>
                    <a:pt x="6" y="0"/>
                    <a:pt x="5" y="0"/>
                    <a:pt x="4" y="1"/>
                  </a:cubicBezTo>
                  <a:cubicBezTo>
                    <a:pt x="4" y="1"/>
                    <a:pt x="4" y="3"/>
                    <a:pt x="4" y="3"/>
                  </a:cubicBezTo>
                  <a:cubicBezTo>
                    <a:pt x="4" y="3"/>
                    <a:pt x="4" y="5"/>
                    <a:pt x="4" y="5"/>
                  </a:cubicBezTo>
                  <a:cubicBezTo>
                    <a:pt x="4" y="5"/>
                    <a:pt x="4" y="6"/>
                    <a:pt x="3" y="6"/>
                  </a:cubicBezTo>
                  <a:cubicBezTo>
                    <a:pt x="3" y="7"/>
                    <a:pt x="2" y="7"/>
                    <a:pt x="2" y="7"/>
                  </a:cubicBezTo>
                  <a:cubicBezTo>
                    <a:pt x="1" y="8"/>
                    <a:pt x="1" y="9"/>
                    <a:pt x="1" y="10"/>
                  </a:cubicBezTo>
                  <a:cubicBezTo>
                    <a:pt x="0" y="11"/>
                    <a:pt x="0" y="13"/>
                    <a:pt x="0" y="14"/>
                  </a:cubicBezTo>
                  <a:cubicBezTo>
                    <a:pt x="1" y="16"/>
                    <a:pt x="1" y="14"/>
                    <a:pt x="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71">
              <a:extLst>
                <a:ext uri="{FF2B5EF4-FFF2-40B4-BE49-F238E27FC236}">
                  <a16:creationId xmlns:a16="http://schemas.microsoft.com/office/drawing/2014/main" id="{D17D2F63-9C99-479D-9461-BF678F567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013" y="2985922"/>
              <a:ext cx="23586" cy="61772"/>
            </a:xfrm>
            <a:custGeom>
              <a:avLst/>
              <a:gdLst>
                <a:gd name="T0" fmla="*/ 9 w 11"/>
                <a:gd name="T1" fmla="*/ 2 h 29"/>
                <a:gd name="T2" fmla="*/ 8 w 11"/>
                <a:gd name="T3" fmla="*/ 0 h 29"/>
                <a:gd name="T4" fmla="*/ 6 w 11"/>
                <a:gd name="T5" fmla="*/ 0 h 29"/>
                <a:gd name="T6" fmla="*/ 6 w 11"/>
                <a:gd name="T7" fmla="*/ 6 h 29"/>
                <a:gd name="T8" fmla="*/ 2 w 11"/>
                <a:gd name="T9" fmla="*/ 6 h 29"/>
                <a:gd name="T10" fmla="*/ 0 w 11"/>
                <a:gd name="T11" fmla="*/ 11 h 29"/>
                <a:gd name="T12" fmla="*/ 0 w 11"/>
                <a:gd name="T13" fmla="*/ 17 h 29"/>
                <a:gd name="T14" fmla="*/ 1 w 11"/>
                <a:gd name="T15" fmla="*/ 22 h 29"/>
                <a:gd name="T16" fmla="*/ 5 w 11"/>
                <a:gd name="T17" fmla="*/ 23 h 29"/>
                <a:gd name="T18" fmla="*/ 5 w 11"/>
                <a:gd name="T19" fmla="*/ 26 h 29"/>
                <a:gd name="T20" fmla="*/ 7 w 11"/>
                <a:gd name="T21" fmla="*/ 27 h 29"/>
                <a:gd name="T22" fmla="*/ 8 w 11"/>
                <a:gd name="T23" fmla="*/ 27 h 29"/>
                <a:gd name="T24" fmla="*/ 9 w 11"/>
                <a:gd name="T25" fmla="*/ 29 h 29"/>
                <a:gd name="T26" fmla="*/ 9 w 11"/>
                <a:gd name="T27" fmla="*/ 17 h 29"/>
                <a:gd name="T28" fmla="*/ 9 w 11"/>
                <a:gd name="T29" fmla="*/ 10 h 29"/>
                <a:gd name="T30" fmla="*/ 11 w 11"/>
                <a:gd name="T31" fmla="*/ 4 h 29"/>
                <a:gd name="T32" fmla="*/ 9 w 11"/>
                <a:gd name="T33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29">
                  <a:moveTo>
                    <a:pt x="9" y="2"/>
                  </a:moveTo>
                  <a:cubicBezTo>
                    <a:pt x="9" y="1"/>
                    <a:pt x="8" y="1"/>
                    <a:pt x="8" y="0"/>
                  </a:cubicBezTo>
                  <a:cubicBezTo>
                    <a:pt x="8" y="0"/>
                    <a:pt x="6" y="0"/>
                    <a:pt x="6" y="0"/>
                  </a:cubicBezTo>
                  <a:cubicBezTo>
                    <a:pt x="6" y="1"/>
                    <a:pt x="6" y="5"/>
                    <a:pt x="6" y="6"/>
                  </a:cubicBezTo>
                  <a:cubicBezTo>
                    <a:pt x="5" y="7"/>
                    <a:pt x="3" y="5"/>
                    <a:pt x="2" y="6"/>
                  </a:cubicBezTo>
                  <a:cubicBezTo>
                    <a:pt x="1" y="7"/>
                    <a:pt x="1" y="10"/>
                    <a:pt x="0" y="11"/>
                  </a:cubicBezTo>
                  <a:cubicBezTo>
                    <a:pt x="0" y="13"/>
                    <a:pt x="0" y="15"/>
                    <a:pt x="0" y="17"/>
                  </a:cubicBezTo>
                  <a:cubicBezTo>
                    <a:pt x="0" y="19"/>
                    <a:pt x="0" y="21"/>
                    <a:pt x="1" y="22"/>
                  </a:cubicBezTo>
                  <a:cubicBezTo>
                    <a:pt x="3" y="23"/>
                    <a:pt x="4" y="21"/>
                    <a:pt x="5" y="23"/>
                  </a:cubicBezTo>
                  <a:cubicBezTo>
                    <a:pt x="5" y="24"/>
                    <a:pt x="5" y="25"/>
                    <a:pt x="5" y="26"/>
                  </a:cubicBezTo>
                  <a:cubicBezTo>
                    <a:pt x="5" y="28"/>
                    <a:pt x="6" y="26"/>
                    <a:pt x="7" y="27"/>
                  </a:cubicBezTo>
                  <a:cubicBezTo>
                    <a:pt x="7" y="27"/>
                    <a:pt x="8" y="27"/>
                    <a:pt x="8" y="27"/>
                  </a:cubicBezTo>
                  <a:cubicBezTo>
                    <a:pt x="9" y="28"/>
                    <a:pt x="8" y="29"/>
                    <a:pt x="9" y="29"/>
                  </a:cubicBezTo>
                  <a:cubicBezTo>
                    <a:pt x="10" y="26"/>
                    <a:pt x="9" y="21"/>
                    <a:pt x="9" y="17"/>
                  </a:cubicBezTo>
                  <a:cubicBezTo>
                    <a:pt x="9" y="15"/>
                    <a:pt x="9" y="12"/>
                    <a:pt x="9" y="10"/>
                  </a:cubicBezTo>
                  <a:cubicBezTo>
                    <a:pt x="10" y="9"/>
                    <a:pt x="10" y="5"/>
                    <a:pt x="11" y="4"/>
                  </a:cubicBezTo>
                  <a:cubicBezTo>
                    <a:pt x="11" y="3"/>
                    <a:pt x="10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72">
              <a:extLst>
                <a:ext uri="{FF2B5EF4-FFF2-40B4-BE49-F238E27FC236}">
                  <a16:creationId xmlns:a16="http://schemas.microsoft.com/office/drawing/2014/main" id="{CBF3AAE6-7952-4B3F-B313-4E053347B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2767" y="2935381"/>
              <a:ext cx="35940" cy="31449"/>
            </a:xfrm>
            <a:custGeom>
              <a:avLst/>
              <a:gdLst>
                <a:gd name="T0" fmla="*/ 2 w 17"/>
                <a:gd name="T1" fmla="*/ 11 h 15"/>
                <a:gd name="T2" fmla="*/ 3 w 17"/>
                <a:gd name="T3" fmla="*/ 14 h 15"/>
                <a:gd name="T4" fmla="*/ 6 w 17"/>
                <a:gd name="T5" fmla="*/ 13 h 15"/>
                <a:gd name="T6" fmla="*/ 8 w 17"/>
                <a:gd name="T7" fmla="*/ 15 h 15"/>
                <a:gd name="T8" fmla="*/ 9 w 17"/>
                <a:gd name="T9" fmla="*/ 11 h 15"/>
                <a:gd name="T10" fmla="*/ 10 w 17"/>
                <a:gd name="T11" fmla="*/ 10 h 15"/>
                <a:gd name="T12" fmla="*/ 11 w 17"/>
                <a:gd name="T13" fmla="*/ 9 h 15"/>
                <a:gd name="T14" fmla="*/ 13 w 17"/>
                <a:gd name="T15" fmla="*/ 8 h 15"/>
                <a:gd name="T16" fmla="*/ 15 w 17"/>
                <a:gd name="T17" fmla="*/ 8 h 15"/>
                <a:gd name="T18" fmla="*/ 16 w 17"/>
                <a:gd name="T19" fmla="*/ 4 h 15"/>
                <a:gd name="T20" fmla="*/ 14 w 17"/>
                <a:gd name="T21" fmla="*/ 2 h 15"/>
                <a:gd name="T22" fmla="*/ 13 w 17"/>
                <a:gd name="T23" fmla="*/ 1 h 15"/>
                <a:gd name="T24" fmla="*/ 12 w 17"/>
                <a:gd name="T25" fmla="*/ 3 h 15"/>
                <a:gd name="T26" fmla="*/ 11 w 17"/>
                <a:gd name="T27" fmla="*/ 5 h 15"/>
                <a:gd name="T28" fmla="*/ 10 w 17"/>
                <a:gd name="T29" fmla="*/ 7 h 15"/>
                <a:gd name="T30" fmla="*/ 5 w 17"/>
                <a:gd name="T31" fmla="*/ 6 h 15"/>
                <a:gd name="T32" fmla="*/ 4 w 17"/>
                <a:gd name="T33" fmla="*/ 6 h 15"/>
                <a:gd name="T34" fmla="*/ 2 w 17"/>
                <a:gd name="T35" fmla="*/ 6 h 15"/>
                <a:gd name="T36" fmla="*/ 2 w 17"/>
                <a:gd name="T37" fmla="*/ 8 h 15"/>
                <a:gd name="T38" fmla="*/ 0 w 17"/>
                <a:gd name="T39" fmla="*/ 9 h 15"/>
                <a:gd name="T40" fmla="*/ 2 w 17"/>
                <a:gd name="T41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15">
                  <a:moveTo>
                    <a:pt x="2" y="11"/>
                  </a:moveTo>
                  <a:cubicBezTo>
                    <a:pt x="2" y="13"/>
                    <a:pt x="3" y="14"/>
                    <a:pt x="3" y="14"/>
                  </a:cubicBezTo>
                  <a:cubicBezTo>
                    <a:pt x="4" y="14"/>
                    <a:pt x="5" y="14"/>
                    <a:pt x="6" y="13"/>
                  </a:cubicBezTo>
                  <a:cubicBezTo>
                    <a:pt x="7" y="13"/>
                    <a:pt x="8" y="14"/>
                    <a:pt x="8" y="15"/>
                  </a:cubicBezTo>
                  <a:cubicBezTo>
                    <a:pt x="8" y="14"/>
                    <a:pt x="8" y="12"/>
                    <a:pt x="9" y="11"/>
                  </a:cubicBezTo>
                  <a:cubicBezTo>
                    <a:pt x="9" y="11"/>
                    <a:pt x="10" y="10"/>
                    <a:pt x="10" y="10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2" y="9"/>
                    <a:pt x="12" y="9"/>
                    <a:pt x="13" y="8"/>
                  </a:cubicBezTo>
                  <a:cubicBezTo>
                    <a:pt x="13" y="8"/>
                    <a:pt x="14" y="8"/>
                    <a:pt x="15" y="8"/>
                  </a:cubicBezTo>
                  <a:cubicBezTo>
                    <a:pt x="16" y="7"/>
                    <a:pt x="17" y="6"/>
                    <a:pt x="16" y="4"/>
                  </a:cubicBezTo>
                  <a:cubicBezTo>
                    <a:pt x="16" y="1"/>
                    <a:pt x="15" y="3"/>
                    <a:pt x="14" y="2"/>
                  </a:cubicBezTo>
                  <a:cubicBezTo>
                    <a:pt x="14" y="1"/>
                    <a:pt x="14" y="0"/>
                    <a:pt x="13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4"/>
                    <a:pt x="12" y="5"/>
                    <a:pt x="11" y="5"/>
                  </a:cubicBezTo>
                  <a:cubicBezTo>
                    <a:pt x="11" y="6"/>
                    <a:pt x="11" y="7"/>
                    <a:pt x="10" y="7"/>
                  </a:cubicBezTo>
                  <a:cubicBezTo>
                    <a:pt x="9" y="8"/>
                    <a:pt x="7" y="6"/>
                    <a:pt x="5" y="6"/>
                  </a:cubicBezTo>
                  <a:cubicBezTo>
                    <a:pt x="5" y="6"/>
                    <a:pt x="4" y="6"/>
                    <a:pt x="4" y="6"/>
                  </a:cubicBezTo>
                  <a:cubicBezTo>
                    <a:pt x="3" y="6"/>
                    <a:pt x="3" y="6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1" y="8"/>
                    <a:pt x="0" y="9"/>
                    <a:pt x="0" y="9"/>
                  </a:cubicBezTo>
                  <a:cubicBezTo>
                    <a:pt x="2" y="10"/>
                    <a:pt x="1" y="10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73">
              <a:extLst>
                <a:ext uri="{FF2B5EF4-FFF2-40B4-BE49-F238E27FC236}">
                  <a16:creationId xmlns:a16="http://schemas.microsoft.com/office/drawing/2014/main" id="{40B892E4-9BB2-4634-B5E9-17EBFB8F8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003" y="3067911"/>
              <a:ext cx="40432" cy="40432"/>
            </a:xfrm>
            <a:custGeom>
              <a:avLst/>
              <a:gdLst>
                <a:gd name="T0" fmla="*/ 3 w 19"/>
                <a:gd name="T1" fmla="*/ 8 h 19"/>
                <a:gd name="T2" fmla="*/ 6 w 19"/>
                <a:gd name="T3" fmla="*/ 9 h 19"/>
                <a:gd name="T4" fmla="*/ 8 w 19"/>
                <a:gd name="T5" fmla="*/ 13 h 19"/>
                <a:gd name="T6" fmla="*/ 15 w 19"/>
                <a:gd name="T7" fmla="*/ 17 h 19"/>
                <a:gd name="T8" fmla="*/ 16 w 19"/>
                <a:gd name="T9" fmla="*/ 19 h 19"/>
                <a:gd name="T10" fmla="*/ 19 w 19"/>
                <a:gd name="T11" fmla="*/ 16 h 19"/>
                <a:gd name="T12" fmla="*/ 19 w 19"/>
                <a:gd name="T13" fmla="*/ 11 h 19"/>
                <a:gd name="T14" fmla="*/ 18 w 19"/>
                <a:gd name="T15" fmla="*/ 10 h 19"/>
                <a:gd name="T16" fmla="*/ 18 w 19"/>
                <a:gd name="T17" fmla="*/ 10 h 19"/>
                <a:gd name="T18" fmla="*/ 18 w 19"/>
                <a:gd name="T19" fmla="*/ 6 h 19"/>
                <a:gd name="T20" fmla="*/ 18 w 19"/>
                <a:gd name="T21" fmla="*/ 9 h 19"/>
                <a:gd name="T22" fmla="*/ 18 w 19"/>
                <a:gd name="T23" fmla="*/ 10 h 19"/>
                <a:gd name="T24" fmla="*/ 18 w 19"/>
                <a:gd name="T25" fmla="*/ 6 h 19"/>
                <a:gd name="T26" fmla="*/ 15 w 19"/>
                <a:gd name="T27" fmla="*/ 5 h 19"/>
                <a:gd name="T28" fmla="*/ 11 w 19"/>
                <a:gd name="T29" fmla="*/ 5 h 19"/>
                <a:gd name="T30" fmla="*/ 8 w 19"/>
                <a:gd name="T31" fmla="*/ 2 h 19"/>
                <a:gd name="T32" fmla="*/ 1 w 19"/>
                <a:gd name="T33" fmla="*/ 1 h 19"/>
                <a:gd name="T34" fmla="*/ 1 w 19"/>
                <a:gd name="T35" fmla="*/ 5 h 19"/>
                <a:gd name="T36" fmla="*/ 3 w 19"/>
                <a:gd name="T37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" h="19">
                  <a:moveTo>
                    <a:pt x="3" y="8"/>
                  </a:moveTo>
                  <a:cubicBezTo>
                    <a:pt x="4" y="9"/>
                    <a:pt x="5" y="7"/>
                    <a:pt x="6" y="9"/>
                  </a:cubicBezTo>
                  <a:cubicBezTo>
                    <a:pt x="7" y="11"/>
                    <a:pt x="7" y="12"/>
                    <a:pt x="8" y="13"/>
                  </a:cubicBezTo>
                  <a:cubicBezTo>
                    <a:pt x="10" y="14"/>
                    <a:pt x="13" y="14"/>
                    <a:pt x="15" y="17"/>
                  </a:cubicBezTo>
                  <a:cubicBezTo>
                    <a:pt x="16" y="18"/>
                    <a:pt x="14" y="18"/>
                    <a:pt x="16" y="19"/>
                  </a:cubicBezTo>
                  <a:cubicBezTo>
                    <a:pt x="18" y="19"/>
                    <a:pt x="19" y="19"/>
                    <a:pt x="19" y="16"/>
                  </a:cubicBezTo>
                  <a:cubicBezTo>
                    <a:pt x="19" y="15"/>
                    <a:pt x="19" y="12"/>
                    <a:pt x="19" y="11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6"/>
                    <a:pt x="18" y="6"/>
                  </a:cubicBezTo>
                  <a:cubicBezTo>
                    <a:pt x="18" y="7"/>
                    <a:pt x="18" y="8"/>
                    <a:pt x="18" y="9"/>
                  </a:cubicBezTo>
                  <a:cubicBezTo>
                    <a:pt x="18" y="9"/>
                    <a:pt x="18" y="10"/>
                    <a:pt x="18" y="10"/>
                  </a:cubicBezTo>
                  <a:cubicBezTo>
                    <a:pt x="18" y="8"/>
                    <a:pt x="18" y="7"/>
                    <a:pt x="18" y="6"/>
                  </a:cubicBezTo>
                  <a:cubicBezTo>
                    <a:pt x="18" y="4"/>
                    <a:pt x="16" y="5"/>
                    <a:pt x="15" y="5"/>
                  </a:cubicBezTo>
                  <a:cubicBezTo>
                    <a:pt x="14" y="5"/>
                    <a:pt x="12" y="5"/>
                    <a:pt x="11" y="5"/>
                  </a:cubicBezTo>
                  <a:cubicBezTo>
                    <a:pt x="10" y="4"/>
                    <a:pt x="9" y="3"/>
                    <a:pt x="8" y="2"/>
                  </a:cubicBezTo>
                  <a:cubicBezTo>
                    <a:pt x="7" y="1"/>
                    <a:pt x="3" y="0"/>
                    <a:pt x="1" y="1"/>
                  </a:cubicBezTo>
                  <a:cubicBezTo>
                    <a:pt x="0" y="2"/>
                    <a:pt x="1" y="3"/>
                    <a:pt x="1" y="5"/>
                  </a:cubicBezTo>
                  <a:cubicBezTo>
                    <a:pt x="2" y="6"/>
                    <a:pt x="2" y="8"/>
                    <a:pt x="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74">
              <a:extLst>
                <a:ext uri="{FF2B5EF4-FFF2-40B4-BE49-F238E27FC236}">
                  <a16:creationId xmlns:a16="http://schemas.microsoft.com/office/drawing/2014/main" id="{9C48CBEC-CEF0-43BE-AC05-4869C938EA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2943" y="3081388"/>
              <a:ext cx="2246" cy="7863"/>
            </a:xfrm>
            <a:custGeom>
              <a:avLst/>
              <a:gdLst>
                <a:gd name="T0" fmla="*/ 1 w 1"/>
                <a:gd name="T1" fmla="*/ 0 h 4"/>
                <a:gd name="T2" fmla="*/ 1 w 1"/>
                <a:gd name="T3" fmla="*/ 4 h 4"/>
                <a:gd name="T4" fmla="*/ 1 w 1"/>
                <a:gd name="T5" fmla="*/ 4 h 4"/>
                <a:gd name="T6" fmla="*/ 1 w 1"/>
                <a:gd name="T7" fmla="*/ 3 h 4"/>
                <a:gd name="T8" fmla="*/ 1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cubicBezTo>
                    <a:pt x="0" y="0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2"/>
                    <a:pt x="1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75">
              <a:extLst>
                <a:ext uri="{FF2B5EF4-FFF2-40B4-BE49-F238E27FC236}">
                  <a16:creationId xmlns:a16="http://schemas.microsoft.com/office/drawing/2014/main" id="{699A0E3C-1971-4C4B-B07F-9F0C98F6A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5364" y="3100483"/>
              <a:ext cx="34817" cy="24709"/>
            </a:xfrm>
            <a:custGeom>
              <a:avLst/>
              <a:gdLst>
                <a:gd name="T0" fmla="*/ 3 w 16"/>
                <a:gd name="T1" fmla="*/ 5 h 12"/>
                <a:gd name="T2" fmla="*/ 5 w 16"/>
                <a:gd name="T3" fmla="*/ 6 h 12"/>
                <a:gd name="T4" fmla="*/ 7 w 16"/>
                <a:gd name="T5" fmla="*/ 7 h 12"/>
                <a:gd name="T6" fmla="*/ 7 w 16"/>
                <a:gd name="T7" fmla="*/ 10 h 12"/>
                <a:gd name="T8" fmla="*/ 9 w 16"/>
                <a:gd name="T9" fmla="*/ 11 h 12"/>
                <a:gd name="T10" fmla="*/ 10 w 16"/>
                <a:gd name="T11" fmla="*/ 12 h 12"/>
                <a:gd name="T12" fmla="*/ 11 w 16"/>
                <a:gd name="T13" fmla="*/ 11 h 12"/>
                <a:gd name="T14" fmla="*/ 14 w 16"/>
                <a:gd name="T15" fmla="*/ 11 h 12"/>
                <a:gd name="T16" fmla="*/ 15 w 16"/>
                <a:gd name="T17" fmla="*/ 7 h 12"/>
                <a:gd name="T18" fmla="*/ 15 w 16"/>
                <a:gd name="T19" fmla="*/ 7 h 12"/>
                <a:gd name="T20" fmla="*/ 12 w 16"/>
                <a:gd name="T21" fmla="*/ 4 h 12"/>
                <a:gd name="T22" fmla="*/ 11 w 16"/>
                <a:gd name="T23" fmla="*/ 1 h 12"/>
                <a:gd name="T24" fmla="*/ 8 w 16"/>
                <a:gd name="T25" fmla="*/ 1 h 12"/>
                <a:gd name="T26" fmla="*/ 3 w 16"/>
                <a:gd name="T27" fmla="*/ 1 h 12"/>
                <a:gd name="T28" fmla="*/ 1 w 16"/>
                <a:gd name="T29" fmla="*/ 1 h 12"/>
                <a:gd name="T30" fmla="*/ 1 w 16"/>
                <a:gd name="T31" fmla="*/ 5 h 12"/>
                <a:gd name="T32" fmla="*/ 3 w 16"/>
                <a:gd name="T33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12">
                  <a:moveTo>
                    <a:pt x="3" y="5"/>
                  </a:moveTo>
                  <a:cubicBezTo>
                    <a:pt x="4" y="5"/>
                    <a:pt x="4" y="6"/>
                    <a:pt x="5" y="6"/>
                  </a:cubicBezTo>
                  <a:cubicBezTo>
                    <a:pt x="6" y="6"/>
                    <a:pt x="6" y="5"/>
                    <a:pt x="7" y="7"/>
                  </a:cubicBezTo>
                  <a:cubicBezTo>
                    <a:pt x="7" y="8"/>
                    <a:pt x="6" y="9"/>
                    <a:pt x="7" y="10"/>
                  </a:cubicBezTo>
                  <a:cubicBezTo>
                    <a:pt x="8" y="11"/>
                    <a:pt x="8" y="11"/>
                    <a:pt x="9" y="11"/>
                  </a:cubicBezTo>
                  <a:cubicBezTo>
                    <a:pt x="9" y="12"/>
                    <a:pt x="9" y="12"/>
                    <a:pt x="10" y="12"/>
                  </a:cubicBezTo>
                  <a:cubicBezTo>
                    <a:pt x="10" y="12"/>
                    <a:pt x="10" y="11"/>
                    <a:pt x="11" y="11"/>
                  </a:cubicBezTo>
                  <a:cubicBezTo>
                    <a:pt x="12" y="11"/>
                    <a:pt x="13" y="11"/>
                    <a:pt x="14" y="11"/>
                  </a:cubicBezTo>
                  <a:cubicBezTo>
                    <a:pt x="15" y="11"/>
                    <a:pt x="16" y="10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3" y="5"/>
                    <a:pt x="12" y="4"/>
                  </a:cubicBezTo>
                  <a:cubicBezTo>
                    <a:pt x="11" y="3"/>
                    <a:pt x="12" y="2"/>
                    <a:pt x="11" y="1"/>
                  </a:cubicBezTo>
                  <a:cubicBezTo>
                    <a:pt x="10" y="0"/>
                    <a:pt x="9" y="1"/>
                    <a:pt x="8" y="1"/>
                  </a:cubicBezTo>
                  <a:cubicBezTo>
                    <a:pt x="6" y="1"/>
                    <a:pt x="5" y="1"/>
                    <a:pt x="3" y="1"/>
                  </a:cubicBezTo>
                  <a:cubicBezTo>
                    <a:pt x="2" y="1"/>
                    <a:pt x="2" y="0"/>
                    <a:pt x="1" y="1"/>
                  </a:cubicBezTo>
                  <a:cubicBezTo>
                    <a:pt x="0" y="2"/>
                    <a:pt x="0" y="4"/>
                    <a:pt x="1" y="5"/>
                  </a:cubicBezTo>
                  <a:cubicBezTo>
                    <a:pt x="1" y="5"/>
                    <a:pt x="2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76">
              <a:extLst>
                <a:ext uri="{FF2B5EF4-FFF2-40B4-BE49-F238E27FC236}">
                  <a16:creationId xmlns:a16="http://schemas.microsoft.com/office/drawing/2014/main" id="{AA076223-69B4-4235-B2A0-5FB682ECA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269" y="4561685"/>
              <a:ext cx="159485" cy="389729"/>
            </a:xfrm>
            <a:custGeom>
              <a:avLst/>
              <a:gdLst>
                <a:gd name="T0" fmla="*/ 73 w 76"/>
                <a:gd name="T1" fmla="*/ 32 h 185"/>
                <a:gd name="T2" fmla="*/ 69 w 76"/>
                <a:gd name="T3" fmla="*/ 24 h 185"/>
                <a:gd name="T4" fmla="*/ 68 w 76"/>
                <a:gd name="T5" fmla="*/ 19 h 185"/>
                <a:gd name="T6" fmla="*/ 68 w 76"/>
                <a:gd name="T7" fmla="*/ 13 h 185"/>
                <a:gd name="T8" fmla="*/ 67 w 76"/>
                <a:gd name="T9" fmla="*/ 7 h 185"/>
                <a:gd name="T10" fmla="*/ 66 w 76"/>
                <a:gd name="T11" fmla="*/ 2 h 185"/>
                <a:gd name="T12" fmla="*/ 63 w 76"/>
                <a:gd name="T13" fmla="*/ 0 h 185"/>
                <a:gd name="T14" fmla="*/ 52 w 76"/>
                <a:gd name="T15" fmla="*/ 24 h 185"/>
                <a:gd name="T16" fmla="*/ 50 w 76"/>
                <a:gd name="T17" fmla="*/ 25 h 185"/>
                <a:gd name="T18" fmla="*/ 41 w 76"/>
                <a:gd name="T19" fmla="*/ 31 h 185"/>
                <a:gd name="T20" fmla="*/ 37 w 76"/>
                <a:gd name="T21" fmla="*/ 39 h 185"/>
                <a:gd name="T22" fmla="*/ 32 w 76"/>
                <a:gd name="T23" fmla="*/ 46 h 185"/>
                <a:gd name="T24" fmla="*/ 28 w 76"/>
                <a:gd name="T25" fmla="*/ 54 h 185"/>
                <a:gd name="T26" fmla="*/ 23 w 76"/>
                <a:gd name="T27" fmla="*/ 56 h 185"/>
                <a:gd name="T28" fmla="*/ 20 w 76"/>
                <a:gd name="T29" fmla="*/ 57 h 185"/>
                <a:gd name="T30" fmla="*/ 17 w 76"/>
                <a:gd name="T31" fmla="*/ 60 h 185"/>
                <a:gd name="T32" fmla="*/ 7 w 76"/>
                <a:gd name="T33" fmla="*/ 68 h 185"/>
                <a:gd name="T34" fmla="*/ 7 w 76"/>
                <a:gd name="T35" fmla="*/ 72 h 185"/>
                <a:gd name="T36" fmla="*/ 5 w 76"/>
                <a:gd name="T37" fmla="*/ 75 h 185"/>
                <a:gd name="T38" fmla="*/ 9 w 76"/>
                <a:gd name="T39" fmla="*/ 80 h 185"/>
                <a:gd name="T40" fmla="*/ 13 w 76"/>
                <a:gd name="T41" fmla="*/ 82 h 185"/>
                <a:gd name="T42" fmla="*/ 12 w 76"/>
                <a:gd name="T43" fmla="*/ 86 h 185"/>
                <a:gd name="T44" fmla="*/ 13 w 76"/>
                <a:gd name="T45" fmla="*/ 94 h 185"/>
                <a:gd name="T46" fmla="*/ 13 w 76"/>
                <a:gd name="T47" fmla="*/ 100 h 185"/>
                <a:gd name="T48" fmla="*/ 14 w 76"/>
                <a:gd name="T49" fmla="*/ 103 h 185"/>
                <a:gd name="T50" fmla="*/ 14 w 76"/>
                <a:gd name="T51" fmla="*/ 115 h 185"/>
                <a:gd name="T52" fmla="*/ 12 w 76"/>
                <a:gd name="T53" fmla="*/ 117 h 185"/>
                <a:gd name="T54" fmla="*/ 11 w 76"/>
                <a:gd name="T55" fmla="*/ 121 h 185"/>
                <a:gd name="T56" fmla="*/ 6 w 76"/>
                <a:gd name="T57" fmla="*/ 124 h 185"/>
                <a:gd name="T58" fmla="*/ 5 w 76"/>
                <a:gd name="T59" fmla="*/ 127 h 185"/>
                <a:gd name="T60" fmla="*/ 2 w 76"/>
                <a:gd name="T61" fmla="*/ 133 h 185"/>
                <a:gd name="T62" fmla="*/ 0 w 76"/>
                <a:gd name="T63" fmla="*/ 140 h 185"/>
                <a:gd name="T64" fmla="*/ 3 w 76"/>
                <a:gd name="T65" fmla="*/ 146 h 185"/>
                <a:gd name="T66" fmla="*/ 5 w 76"/>
                <a:gd name="T67" fmla="*/ 152 h 185"/>
                <a:gd name="T68" fmla="*/ 6 w 76"/>
                <a:gd name="T69" fmla="*/ 161 h 185"/>
                <a:gd name="T70" fmla="*/ 9 w 76"/>
                <a:gd name="T71" fmla="*/ 166 h 185"/>
                <a:gd name="T72" fmla="*/ 12 w 76"/>
                <a:gd name="T73" fmla="*/ 168 h 185"/>
                <a:gd name="T74" fmla="*/ 12 w 76"/>
                <a:gd name="T75" fmla="*/ 173 h 185"/>
                <a:gd name="T76" fmla="*/ 18 w 76"/>
                <a:gd name="T77" fmla="*/ 177 h 185"/>
                <a:gd name="T78" fmla="*/ 19 w 76"/>
                <a:gd name="T79" fmla="*/ 182 h 185"/>
                <a:gd name="T80" fmla="*/ 24 w 76"/>
                <a:gd name="T81" fmla="*/ 183 h 185"/>
                <a:gd name="T82" fmla="*/ 27 w 76"/>
                <a:gd name="T83" fmla="*/ 173 h 185"/>
                <a:gd name="T84" fmla="*/ 39 w 76"/>
                <a:gd name="T85" fmla="*/ 173 h 185"/>
                <a:gd name="T86" fmla="*/ 45 w 76"/>
                <a:gd name="T87" fmla="*/ 161 h 185"/>
                <a:gd name="T88" fmla="*/ 47 w 76"/>
                <a:gd name="T89" fmla="*/ 161 h 185"/>
                <a:gd name="T90" fmla="*/ 47 w 76"/>
                <a:gd name="T91" fmla="*/ 149 h 185"/>
                <a:gd name="T92" fmla="*/ 49 w 76"/>
                <a:gd name="T93" fmla="*/ 137 h 185"/>
                <a:gd name="T94" fmla="*/ 52 w 76"/>
                <a:gd name="T95" fmla="*/ 129 h 185"/>
                <a:gd name="T96" fmla="*/ 56 w 76"/>
                <a:gd name="T97" fmla="*/ 121 h 185"/>
                <a:gd name="T98" fmla="*/ 58 w 76"/>
                <a:gd name="T99" fmla="*/ 98 h 185"/>
                <a:gd name="T100" fmla="*/ 59 w 76"/>
                <a:gd name="T101" fmla="*/ 93 h 185"/>
                <a:gd name="T102" fmla="*/ 61 w 76"/>
                <a:gd name="T103" fmla="*/ 89 h 185"/>
                <a:gd name="T104" fmla="*/ 61 w 76"/>
                <a:gd name="T105" fmla="*/ 82 h 185"/>
                <a:gd name="T106" fmla="*/ 62 w 76"/>
                <a:gd name="T107" fmla="*/ 77 h 185"/>
                <a:gd name="T108" fmla="*/ 62 w 76"/>
                <a:gd name="T109" fmla="*/ 71 h 185"/>
                <a:gd name="T110" fmla="*/ 63 w 76"/>
                <a:gd name="T111" fmla="*/ 66 h 185"/>
                <a:gd name="T112" fmla="*/ 68 w 76"/>
                <a:gd name="T113" fmla="*/ 58 h 185"/>
                <a:gd name="T114" fmla="*/ 73 w 76"/>
                <a:gd name="T115" fmla="*/ 54 h 185"/>
                <a:gd name="T116" fmla="*/ 75 w 76"/>
                <a:gd name="T117" fmla="*/ 42 h 185"/>
                <a:gd name="T118" fmla="*/ 73 w 76"/>
                <a:gd name="T119" fmla="*/ 32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185">
                  <a:moveTo>
                    <a:pt x="73" y="32"/>
                  </a:moveTo>
                  <a:cubicBezTo>
                    <a:pt x="72" y="29"/>
                    <a:pt x="70" y="27"/>
                    <a:pt x="69" y="24"/>
                  </a:cubicBezTo>
                  <a:cubicBezTo>
                    <a:pt x="68" y="22"/>
                    <a:pt x="68" y="20"/>
                    <a:pt x="68" y="19"/>
                  </a:cubicBezTo>
                  <a:cubicBezTo>
                    <a:pt x="69" y="16"/>
                    <a:pt x="68" y="15"/>
                    <a:pt x="68" y="13"/>
                  </a:cubicBezTo>
                  <a:cubicBezTo>
                    <a:pt x="67" y="11"/>
                    <a:pt x="68" y="9"/>
                    <a:pt x="67" y="7"/>
                  </a:cubicBezTo>
                  <a:cubicBezTo>
                    <a:pt x="67" y="5"/>
                    <a:pt x="66" y="4"/>
                    <a:pt x="66" y="2"/>
                  </a:cubicBezTo>
                  <a:cubicBezTo>
                    <a:pt x="65" y="2"/>
                    <a:pt x="64" y="0"/>
                    <a:pt x="63" y="0"/>
                  </a:cubicBezTo>
                  <a:cubicBezTo>
                    <a:pt x="57" y="4"/>
                    <a:pt x="53" y="14"/>
                    <a:pt x="52" y="24"/>
                  </a:cubicBezTo>
                  <a:cubicBezTo>
                    <a:pt x="51" y="24"/>
                    <a:pt x="50" y="24"/>
                    <a:pt x="50" y="25"/>
                  </a:cubicBezTo>
                  <a:cubicBezTo>
                    <a:pt x="49" y="30"/>
                    <a:pt x="44" y="31"/>
                    <a:pt x="41" y="31"/>
                  </a:cubicBezTo>
                  <a:cubicBezTo>
                    <a:pt x="41" y="35"/>
                    <a:pt x="40" y="38"/>
                    <a:pt x="37" y="39"/>
                  </a:cubicBezTo>
                  <a:cubicBezTo>
                    <a:pt x="37" y="43"/>
                    <a:pt x="34" y="44"/>
                    <a:pt x="32" y="46"/>
                  </a:cubicBezTo>
                  <a:cubicBezTo>
                    <a:pt x="29" y="48"/>
                    <a:pt x="28" y="48"/>
                    <a:pt x="28" y="54"/>
                  </a:cubicBezTo>
                  <a:cubicBezTo>
                    <a:pt x="26" y="54"/>
                    <a:pt x="25" y="55"/>
                    <a:pt x="23" y="56"/>
                  </a:cubicBezTo>
                  <a:cubicBezTo>
                    <a:pt x="22" y="57"/>
                    <a:pt x="21" y="57"/>
                    <a:pt x="20" y="57"/>
                  </a:cubicBezTo>
                  <a:cubicBezTo>
                    <a:pt x="18" y="58"/>
                    <a:pt x="18" y="59"/>
                    <a:pt x="17" y="60"/>
                  </a:cubicBezTo>
                  <a:cubicBezTo>
                    <a:pt x="14" y="62"/>
                    <a:pt x="11" y="68"/>
                    <a:pt x="7" y="68"/>
                  </a:cubicBezTo>
                  <a:cubicBezTo>
                    <a:pt x="7" y="69"/>
                    <a:pt x="6" y="70"/>
                    <a:pt x="7" y="72"/>
                  </a:cubicBezTo>
                  <a:cubicBezTo>
                    <a:pt x="6" y="72"/>
                    <a:pt x="5" y="74"/>
                    <a:pt x="5" y="75"/>
                  </a:cubicBezTo>
                  <a:cubicBezTo>
                    <a:pt x="5" y="76"/>
                    <a:pt x="8" y="79"/>
                    <a:pt x="9" y="80"/>
                  </a:cubicBezTo>
                  <a:cubicBezTo>
                    <a:pt x="10" y="81"/>
                    <a:pt x="12" y="81"/>
                    <a:pt x="13" y="82"/>
                  </a:cubicBezTo>
                  <a:cubicBezTo>
                    <a:pt x="14" y="85"/>
                    <a:pt x="12" y="84"/>
                    <a:pt x="12" y="86"/>
                  </a:cubicBezTo>
                  <a:cubicBezTo>
                    <a:pt x="11" y="90"/>
                    <a:pt x="12" y="91"/>
                    <a:pt x="13" y="94"/>
                  </a:cubicBezTo>
                  <a:cubicBezTo>
                    <a:pt x="13" y="96"/>
                    <a:pt x="13" y="98"/>
                    <a:pt x="13" y="100"/>
                  </a:cubicBezTo>
                  <a:cubicBezTo>
                    <a:pt x="13" y="101"/>
                    <a:pt x="14" y="102"/>
                    <a:pt x="14" y="103"/>
                  </a:cubicBezTo>
                  <a:cubicBezTo>
                    <a:pt x="14" y="106"/>
                    <a:pt x="15" y="112"/>
                    <a:pt x="14" y="115"/>
                  </a:cubicBezTo>
                  <a:cubicBezTo>
                    <a:pt x="13" y="116"/>
                    <a:pt x="13" y="116"/>
                    <a:pt x="12" y="117"/>
                  </a:cubicBezTo>
                  <a:cubicBezTo>
                    <a:pt x="11" y="119"/>
                    <a:pt x="12" y="120"/>
                    <a:pt x="11" y="121"/>
                  </a:cubicBezTo>
                  <a:cubicBezTo>
                    <a:pt x="10" y="122"/>
                    <a:pt x="7" y="124"/>
                    <a:pt x="6" y="124"/>
                  </a:cubicBezTo>
                  <a:cubicBezTo>
                    <a:pt x="5" y="125"/>
                    <a:pt x="5" y="126"/>
                    <a:pt x="5" y="127"/>
                  </a:cubicBezTo>
                  <a:cubicBezTo>
                    <a:pt x="2" y="127"/>
                    <a:pt x="2" y="129"/>
                    <a:pt x="2" y="133"/>
                  </a:cubicBezTo>
                  <a:cubicBezTo>
                    <a:pt x="1" y="136"/>
                    <a:pt x="1" y="137"/>
                    <a:pt x="0" y="140"/>
                  </a:cubicBezTo>
                  <a:cubicBezTo>
                    <a:pt x="0" y="145"/>
                    <a:pt x="1" y="144"/>
                    <a:pt x="3" y="146"/>
                  </a:cubicBezTo>
                  <a:cubicBezTo>
                    <a:pt x="4" y="148"/>
                    <a:pt x="5" y="150"/>
                    <a:pt x="5" y="152"/>
                  </a:cubicBezTo>
                  <a:cubicBezTo>
                    <a:pt x="5" y="154"/>
                    <a:pt x="5" y="159"/>
                    <a:pt x="6" y="161"/>
                  </a:cubicBezTo>
                  <a:cubicBezTo>
                    <a:pt x="6" y="163"/>
                    <a:pt x="8" y="164"/>
                    <a:pt x="9" y="166"/>
                  </a:cubicBezTo>
                  <a:cubicBezTo>
                    <a:pt x="11" y="167"/>
                    <a:pt x="11" y="166"/>
                    <a:pt x="12" y="168"/>
                  </a:cubicBezTo>
                  <a:cubicBezTo>
                    <a:pt x="12" y="169"/>
                    <a:pt x="12" y="172"/>
                    <a:pt x="12" y="173"/>
                  </a:cubicBezTo>
                  <a:cubicBezTo>
                    <a:pt x="12" y="179"/>
                    <a:pt x="14" y="176"/>
                    <a:pt x="18" y="177"/>
                  </a:cubicBezTo>
                  <a:cubicBezTo>
                    <a:pt x="18" y="180"/>
                    <a:pt x="18" y="181"/>
                    <a:pt x="19" y="182"/>
                  </a:cubicBezTo>
                  <a:cubicBezTo>
                    <a:pt x="20" y="184"/>
                    <a:pt x="23" y="185"/>
                    <a:pt x="24" y="183"/>
                  </a:cubicBezTo>
                  <a:cubicBezTo>
                    <a:pt x="26" y="182"/>
                    <a:pt x="27" y="176"/>
                    <a:pt x="27" y="173"/>
                  </a:cubicBezTo>
                  <a:cubicBezTo>
                    <a:pt x="31" y="172"/>
                    <a:pt x="35" y="174"/>
                    <a:pt x="39" y="173"/>
                  </a:cubicBezTo>
                  <a:cubicBezTo>
                    <a:pt x="44" y="173"/>
                    <a:pt x="44" y="166"/>
                    <a:pt x="45" y="161"/>
                  </a:cubicBezTo>
                  <a:cubicBezTo>
                    <a:pt x="45" y="161"/>
                    <a:pt x="46" y="161"/>
                    <a:pt x="47" y="161"/>
                  </a:cubicBezTo>
                  <a:cubicBezTo>
                    <a:pt x="48" y="157"/>
                    <a:pt x="47" y="152"/>
                    <a:pt x="47" y="149"/>
                  </a:cubicBezTo>
                  <a:cubicBezTo>
                    <a:pt x="47" y="144"/>
                    <a:pt x="47" y="141"/>
                    <a:pt x="49" y="137"/>
                  </a:cubicBezTo>
                  <a:cubicBezTo>
                    <a:pt x="50" y="134"/>
                    <a:pt x="50" y="132"/>
                    <a:pt x="52" y="129"/>
                  </a:cubicBezTo>
                  <a:cubicBezTo>
                    <a:pt x="53" y="126"/>
                    <a:pt x="54" y="124"/>
                    <a:pt x="56" y="121"/>
                  </a:cubicBezTo>
                  <a:cubicBezTo>
                    <a:pt x="60" y="116"/>
                    <a:pt x="58" y="105"/>
                    <a:pt x="58" y="98"/>
                  </a:cubicBezTo>
                  <a:cubicBezTo>
                    <a:pt x="58" y="96"/>
                    <a:pt x="58" y="94"/>
                    <a:pt x="59" y="93"/>
                  </a:cubicBezTo>
                  <a:cubicBezTo>
                    <a:pt x="59" y="91"/>
                    <a:pt x="61" y="91"/>
                    <a:pt x="61" y="89"/>
                  </a:cubicBezTo>
                  <a:cubicBezTo>
                    <a:pt x="61" y="87"/>
                    <a:pt x="61" y="84"/>
                    <a:pt x="61" y="82"/>
                  </a:cubicBezTo>
                  <a:cubicBezTo>
                    <a:pt x="61" y="80"/>
                    <a:pt x="62" y="79"/>
                    <a:pt x="62" y="77"/>
                  </a:cubicBezTo>
                  <a:cubicBezTo>
                    <a:pt x="63" y="75"/>
                    <a:pt x="62" y="73"/>
                    <a:pt x="62" y="71"/>
                  </a:cubicBezTo>
                  <a:cubicBezTo>
                    <a:pt x="62" y="70"/>
                    <a:pt x="63" y="68"/>
                    <a:pt x="63" y="66"/>
                  </a:cubicBezTo>
                  <a:cubicBezTo>
                    <a:pt x="64" y="63"/>
                    <a:pt x="65" y="60"/>
                    <a:pt x="68" y="58"/>
                  </a:cubicBezTo>
                  <a:cubicBezTo>
                    <a:pt x="69" y="56"/>
                    <a:pt x="72" y="55"/>
                    <a:pt x="73" y="54"/>
                  </a:cubicBezTo>
                  <a:cubicBezTo>
                    <a:pt x="76" y="51"/>
                    <a:pt x="75" y="46"/>
                    <a:pt x="75" y="42"/>
                  </a:cubicBezTo>
                  <a:cubicBezTo>
                    <a:pt x="75" y="38"/>
                    <a:pt x="75" y="35"/>
                    <a:pt x="73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77">
              <a:extLst>
                <a:ext uri="{FF2B5EF4-FFF2-40B4-BE49-F238E27FC236}">
                  <a16:creationId xmlns:a16="http://schemas.microsoft.com/office/drawing/2014/main" id="{D624C633-315C-4260-8762-F3B52598E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683" y="1115895"/>
              <a:ext cx="324586" cy="358281"/>
            </a:xfrm>
            <a:custGeom>
              <a:avLst/>
              <a:gdLst>
                <a:gd name="T0" fmla="*/ 90 w 154"/>
                <a:gd name="T1" fmla="*/ 21 h 170"/>
                <a:gd name="T2" fmla="*/ 79 w 154"/>
                <a:gd name="T3" fmla="*/ 27 h 170"/>
                <a:gd name="T4" fmla="*/ 69 w 154"/>
                <a:gd name="T5" fmla="*/ 30 h 170"/>
                <a:gd name="T6" fmla="*/ 64 w 154"/>
                <a:gd name="T7" fmla="*/ 36 h 170"/>
                <a:gd name="T8" fmla="*/ 58 w 154"/>
                <a:gd name="T9" fmla="*/ 46 h 170"/>
                <a:gd name="T10" fmla="*/ 45 w 154"/>
                <a:gd name="T11" fmla="*/ 53 h 170"/>
                <a:gd name="T12" fmla="*/ 40 w 154"/>
                <a:gd name="T13" fmla="*/ 59 h 170"/>
                <a:gd name="T14" fmla="*/ 35 w 154"/>
                <a:gd name="T15" fmla="*/ 67 h 170"/>
                <a:gd name="T16" fmla="*/ 31 w 154"/>
                <a:gd name="T17" fmla="*/ 74 h 170"/>
                <a:gd name="T18" fmla="*/ 28 w 154"/>
                <a:gd name="T19" fmla="*/ 83 h 170"/>
                <a:gd name="T20" fmla="*/ 27 w 154"/>
                <a:gd name="T21" fmla="*/ 104 h 170"/>
                <a:gd name="T22" fmla="*/ 19 w 154"/>
                <a:gd name="T23" fmla="*/ 109 h 170"/>
                <a:gd name="T24" fmla="*/ 13 w 154"/>
                <a:gd name="T25" fmla="*/ 130 h 170"/>
                <a:gd name="T26" fmla="*/ 4 w 154"/>
                <a:gd name="T27" fmla="*/ 139 h 170"/>
                <a:gd name="T28" fmla="*/ 3 w 154"/>
                <a:gd name="T29" fmla="*/ 147 h 170"/>
                <a:gd name="T30" fmla="*/ 13 w 154"/>
                <a:gd name="T31" fmla="*/ 151 h 170"/>
                <a:gd name="T32" fmla="*/ 18 w 154"/>
                <a:gd name="T33" fmla="*/ 161 h 170"/>
                <a:gd name="T34" fmla="*/ 21 w 154"/>
                <a:gd name="T35" fmla="*/ 165 h 170"/>
                <a:gd name="T36" fmla="*/ 42 w 154"/>
                <a:gd name="T37" fmla="*/ 169 h 170"/>
                <a:gd name="T38" fmla="*/ 37 w 154"/>
                <a:gd name="T39" fmla="*/ 157 h 170"/>
                <a:gd name="T40" fmla="*/ 32 w 154"/>
                <a:gd name="T41" fmla="*/ 144 h 170"/>
                <a:gd name="T42" fmla="*/ 36 w 154"/>
                <a:gd name="T43" fmla="*/ 121 h 170"/>
                <a:gd name="T44" fmla="*/ 41 w 154"/>
                <a:gd name="T45" fmla="*/ 113 h 170"/>
                <a:gd name="T46" fmla="*/ 42 w 154"/>
                <a:gd name="T47" fmla="*/ 101 h 170"/>
                <a:gd name="T48" fmla="*/ 50 w 154"/>
                <a:gd name="T49" fmla="*/ 92 h 170"/>
                <a:gd name="T50" fmla="*/ 54 w 154"/>
                <a:gd name="T51" fmla="*/ 89 h 170"/>
                <a:gd name="T52" fmla="*/ 64 w 154"/>
                <a:gd name="T53" fmla="*/ 73 h 170"/>
                <a:gd name="T54" fmla="*/ 76 w 154"/>
                <a:gd name="T55" fmla="*/ 62 h 170"/>
                <a:gd name="T56" fmla="*/ 80 w 154"/>
                <a:gd name="T57" fmla="*/ 53 h 170"/>
                <a:gd name="T58" fmla="*/ 89 w 154"/>
                <a:gd name="T59" fmla="*/ 49 h 170"/>
                <a:gd name="T60" fmla="*/ 101 w 154"/>
                <a:gd name="T61" fmla="*/ 48 h 170"/>
                <a:gd name="T62" fmla="*/ 105 w 154"/>
                <a:gd name="T63" fmla="*/ 39 h 170"/>
                <a:gd name="T64" fmla="*/ 112 w 154"/>
                <a:gd name="T65" fmla="*/ 34 h 170"/>
                <a:gd name="T66" fmla="*/ 125 w 154"/>
                <a:gd name="T67" fmla="*/ 33 h 170"/>
                <a:gd name="T68" fmla="*/ 133 w 154"/>
                <a:gd name="T69" fmla="*/ 23 h 170"/>
                <a:gd name="T70" fmla="*/ 144 w 154"/>
                <a:gd name="T71" fmla="*/ 18 h 170"/>
                <a:gd name="T72" fmla="*/ 151 w 154"/>
                <a:gd name="T73" fmla="*/ 4 h 170"/>
                <a:gd name="T74" fmla="*/ 139 w 154"/>
                <a:gd name="T75" fmla="*/ 0 h 170"/>
                <a:gd name="T76" fmla="*/ 130 w 154"/>
                <a:gd name="T77" fmla="*/ 2 h 170"/>
                <a:gd name="T78" fmla="*/ 105 w 154"/>
                <a:gd name="T79" fmla="*/ 18 h 170"/>
                <a:gd name="T80" fmla="*/ 95 w 154"/>
                <a:gd name="T81" fmla="*/ 1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4" h="170">
                  <a:moveTo>
                    <a:pt x="95" y="19"/>
                  </a:moveTo>
                  <a:cubicBezTo>
                    <a:pt x="93" y="20"/>
                    <a:pt x="92" y="21"/>
                    <a:pt x="90" y="21"/>
                  </a:cubicBezTo>
                  <a:cubicBezTo>
                    <a:pt x="88" y="22"/>
                    <a:pt x="85" y="24"/>
                    <a:pt x="83" y="25"/>
                  </a:cubicBezTo>
                  <a:cubicBezTo>
                    <a:pt x="81" y="26"/>
                    <a:pt x="81" y="26"/>
                    <a:pt x="79" y="27"/>
                  </a:cubicBezTo>
                  <a:cubicBezTo>
                    <a:pt x="77" y="27"/>
                    <a:pt x="75" y="26"/>
                    <a:pt x="73" y="27"/>
                  </a:cubicBezTo>
                  <a:cubicBezTo>
                    <a:pt x="71" y="28"/>
                    <a:pt x="70" y="29"/>
                    <a:pt x="69" y="30"/>
                  </a:cubicBezTo>
                  <a:cubicBezTo>
                    <a:pt x="67" y="31"/>
                    <a:pt x="66" y="31"/>
                    <a:pt x="65" y="32"/>
                  </a:cubicBezTo>
                  <a:cubicBezTo>
                    <a:pt x="65" y="32"/>
                    <a:pt x="64" y="36"/>
                    <a:pt x="64" y="36"/>
                  </a:cubicBezTo>
                  <a:cubicBezTo>
                    <a:pt x="63" y="37"/>
                    <a:pt x="63" y="39"/>
                    <a:pt x="62" y="40"/>
                  </a:cubicBezTo>
                  <a:cubicBezTo>
                    <a:pt x="61" y="42"/>
                    <a:pt x="59" y="45"/>
                    <a:pt x="58" y="46"/>
                  </a:cubicBezTo>
                  <a:cubicBezTo>
                    <a:pt x="55" y="49"/>
                    <a:pt x="52" y="48"/>
                    <a:pt x="50" y="49"/>
                  </a:cubicBezTo>
                  <a:cubicBezTo>
                    <a:pt x="48" y="51"/>
                    <a:pt x="46" y="52"/>
                    <a:pt x="45" y="53"/>
                  </a:cubicBezTo>
                  <a:cubicBezTo>
                    <a:pt x="44" y="54"/>
                    <a:pt x="44" y="55"/>
                    <a:pt x="43" y="56"/>
                  </a:cubicBezTo>
                  <a:cubicBezTo>
                    <a:pt x="42" y="57"/>
                    <a:pt x="41" y="58"/>
                    <a:pt x="40" y="59"/>
                  </a:cubicBezTo>
                  <a:cubicBezTo>
                    <a:pt x="38" y="60"/>
                    <a:pt x="38" y="63"/>
                    <a:pt x="37" y="65"/>
                  </a:cubicBezTo>
                  <a:cubicBezTo>
                    <a:pt x="36" y="66"/>
                    <a:pt x="35" y="66"/>
                    <a:pt x="35" y="67"/>
                  </a:cubicBezTo>
                  <a:cubicBezTo>
                    <a:pt x="34" y="69"/>
                    <a:pt x="35" y="72"/>
                    <a:pt x="34" y="74"/>
                  </a:cubicBezTo>
                  <a:cubicBezTo>
                    <a:pt x="33" y="74"/>
                    <a:pt x="32" y="74"/>
                    <a:pt x="31" y="74"/>
                  </a:cubicBezTo>
                  <a:cubicBezTo>
                    <a:pt x="31" y="78"/>
                    <a:pt x="29" y="77"/>
                    <a:pt x="28" y="79"/>
                  </a:cubicBezTo>
                  <a:cubicBezTo>
                    <a:pt x="28" y="80"/>
                    <a:pt x="28" y="82"/>
                    <a:pt x="28" y="83"/>
                  </a:cubicBezTo>
                  <a:cubicBezTo>
                    <a:pt x="28" y="84"/>
                    <a:pt x="27" y="86"/>
                    <a:pt x="27" y="87"/>
                  </a:cubicBezTo>
                  <a:cubicBezTo>
                    <a:pt x="26" y="92"/>
                    <a:pt x="28" y="98"/>
                    <a:pt x="27" y="104"/>
                  </a:cubicBezTo>
                  <a:cubicBezTo>
                    <a:pt x="27" y="107"/>
                    <a:pt x="27" y="107"/>
                    <a:pt x="24" y="107"/>
                  </a:cubicBezTo>
                  <a:cubicBezTo>
                    <a:pt x="23" y="108"/>
                    <a:pt x="21" y="107"/>
                    <a:pt x="19" y="109"/>
                  </a:cubicBezTo>
                  <a:cubicBezTo>
                    <a:pt x="17" y="112"/>
                    <a:pt x="18" y="119"/>
                    <a:pt x="19" y="123"/>
                  </a:cubicBezTo>
                  <a:cubicBezTo>
                    <a:pt x="17" y="125"/>
                    <a:pt x="15" y="128"/>
                    <a:pt x="13" y="130"/>
                  </a:cubicBezTo>
                  <a:cubicBezTo>
                    <a:pt x="12" y="132"/>
                    <a:pt x="11" y="133"/>
                    <a:pt x="9" y="134"/>
                  </a:cubicBezTo>
                  <a:cubicBezTo>
                    <a:pt x="7" y="136"/>
                    <a:pt x="6" y="138"/>
                    <a:pt x="4" y="139"/>
                  </a:cubicBezTo>
                  <a:cubicBezTo>
                    <a:pt x="3" y="140"/>
                    <a:pt x="1" y="139"/>
                    <a:pt x="0" y="142"/>
                  </a:cubicBezTo>
                  <a:cubicBezTo>
                    <a:pt x="0" y="146"/>
                    <a:pt x="2" y="146"/>
                    <a:pt x="3" y="147"/>
                  </a:cubicBezTo>
                  <a:cubicBezTo>
                    <a:pt x="5" y="148"/>
                    <a:pt x="6" y="149"/>
                    <a:pt x="8" y="150"/>
                  </a:cubicBezTo>
                  <a:cubicBezTo>
                    <a:pt x="10" y="151"/>
                    <a:pt x="11" y="151"/>
                    <a:pt x="13" y="151"/>
                  </a:cubicBezTo>
                  <a:cubicBezTo>
                    <a:pt x="13" y="153"/>
                    <a:pt x="13" y="155"/>
                    <a:pt x="13" y="156"/>
                  </a:cubicBezTo>
                  <a:cubicBezTo>
                    <a:pt x="16" y="157"/>
                    <a:pt x="18" y="157"/>
                    <a:pt x="18" y="161"/>
                  </a:cubicBezTo>
                  <a:cubicBezTo>
                    <a:pt x="19" y="162"/>
                    <a:pt x="20" y="162"/>
                    <a:pt x="20" y="162"/>
                  </a:cubicBezTo>
                  <a:cubicBezTo>
                    <a:pt x="21" y="163"/>
                    <a:pt x="21" y="164"/>
                    <a:pt x="21" y="165"/>
                  </a:cubicBezTo>
                  <a:cubicBezTo>
                    <a:pt x="24" y="166"/>
                    <a:pt x="27" y="164"/>
                    <a:pt x="31" y="167"/>
                  </a:cubicBezTo>
                  <a:cubicBezTo>
                    <a:pt x="34" y="170"/>
                    <a:pt x="38" y="168"/>
                    <a:pt x="42" y="169"/>
                  </a:cubicBezTo>
                  <a:cubicBezTo>
                    <a:pt x="41" y="167"/>
                    <a:pt x="40" y="165"/>
                    <a:pt x="40" y="163"/>
                  </a:cubicBezTo>
                  <a:cubicBezTo>
                    <a:pt x="39" y="161"/>
                    <a:pt x="38" y="159"/>
                    <a:pt x="37" y="157"/>
                  </a:cubicBezTo>
                  <a:cubicBezTo>
                    <a:pt x="36" y="155"/>
                    <a:pt x="35" y="153"/>
                    <a:pt x="35" y="151"/>
                  </a:cubicBezTo>
                  <a:cubicBezTo>
                    <a:pt x="34" y="148"/>
                    <a:pt x="33" y="146"/>
                    <a:pt x="32" y="144"/>
                  </a:cubicBezTo>
                  <a:cubicBezTo>
                    <a:pt x="31" y="140"/>
                    <a:pt x="31" y="130"/>
                    <a:pt x="32" y="127"/>
                  </a:cubicBezTo>
                  <a:cubicBezTo>
                    <a:pt x="32" y="125"/>
                    <a:pt x="35" y="122"/>
                    <a:pt x="36" y="121"/>
                  </a:cubicBezTo>
                  <a:cubicBezTo>
                    <a:pt x="38" y="119"/>
                    <a:pt x="38" y="118"/>
                    <a:pt x="40" y="115"/>
                  </a:cubicBezTo>
                  <a:cubicBezTo>
                    <a:pt x="40" y="115"/>
                    <a:pt x="41" y="114"/>
                    <a:pt x="41" y="113"/>
                  </a:cubicBezTo>
                  <a:cubicBezTo>
                    <a:pt x="41" y="111"/>
                    <a:pt x="41" y="109"/>
                    <a:pt x="41" y="107"/>
                  </a:cubicBezTo>
                  <a:cubicBezTo>
                    <a:pt x="41" y="104"/>
                    <a:pt x="41" y="104"/>
                    <a:pt x="42" y="101"/>
                  </a:cubicBezTo>
                  <a:cubicBezTo>
                    <a:pt x="43" y="99"/>
                    <a:pt x="43" y="96"/>
                    <a:pt x="44" y="95"/>
                  </a:cubicBezTo>
                  <a:cubicBezTo>
                    <a:pt x="46" y="92"/>
                    <a:pt x="48" y="94"/>
                    <a:pt x="50" y="92"/>
                  </a:cubicBezTo>
                  <a:cubicBezTo>
                    <a:pt x="50" y="91"/>
                    <a:pt x="51" y="91"/>
                    <a:pt x="51" y="90"/>
                  </a:cubicBezTo>
                  <a:cubicBezTo>
                    <a:pt x="52" y="89"/>
                    <a:pt x="53" y="90"/>
                    <a:pt x="54" y="89"/>
                  </a:cubicBezTo>
                  <a:cubicBezTo>
                    <a:pt x="56" y="88"/>
                    <a:pt x="57" y="86"/>
                    <a:pt x="58" y="84"/>
                  </a:cubicBezTo>
                  <a:cubicBezTo>
                    <a:pt x="61" y="81"/>
                    <a:pt x="64" y="77"/>
                    <a:pt x="64" y="73"/>
                  </a:cubicBezTo>
                  <a:cubicBezTo>
                    <a:pt x="67" y="72"/>
                    <a:pt x="68" y="71"/>
                    <a:pt x="70" y="69"/>
                  </a:cubicBezTo>
                  <a:cubicBezTo>
                    <a:pt x="71" y="67"/>
                    <a:pt x="76" y="64"/>
                    <a:pt x="76" y="62"/>
                  </a:cubicBezTo>
                  <a:cubicBezTo>
                    <a:pt x="77" y="60"/>
                    <a:pt x="76" y="58"/>
                    <a:pt x="77" y="56"/>
                  </a:cubicBezTo>
                  <a:cubicBezTo>
                    <a:pt x="78" y="55"/>
                    <a:pt x="79" y="54"/>
                    <a:pt x="80" y="53"/>
                  </a:cubicBezTo>
                  <a:cubicBezTo>
                    <a:pt x="81" y="52"/>
                    <a:pt x="83" y="52"/>
                    <a:pt x="84" y="51"/>
                  </a:cubicBezTo>
                  <a:cubicBezTo>
                    <a:pt x="85" y="50"/>
                    <a:pt x="87" y="50"/>
                    <a:pt x="89" y="49"/>
                  </a:cubicBezTo>
                  <a:cubicBezTo>
                    <a:pt x="92" y="49"/>
                    <a:pt x="95" y="50"/>
                    <a:pt x="98" y="50"/>
                  </a:cubicBezTo>
                  <a:cubicBezTo>
                    <a:pt x="99" y="49"/>
                    <a:pt x="100" y="49"/>
                    <a:pt x="101" y="48"/>
                  </a:cubicBezTo>
                  <a:cubicBezTo>
                    <a:pt x="103" y="46"/>
                    <a:pt x="102" y="46"/>
                    <a:pt x="103" y="42"/>
                  </a:cubicBezTo>
                  <a:cubicBezTo>
                    <a:pt x="103" y="40"/>
                    <a:pt x="104" y="40"/>
                    <a:pt x="105" y="39"/>
                  </a:cubicBezTo>
                  <a:cubicBezTo>
                    <a:pt x="106" y="38"/>
                    <a:pt x="107" y="36"/>
                    <a:pt x="108" y="36"/>
                  </a:cubicBezTo>
                  <a:cubicBezTo>
                    <a:pt x="109" y="35"/>
                    <a:pt x="111" y="34"/>
                    <a:pt x="112" y="34"/>
                  </a:cubicBezTo>
                  <a:cubicBezTo>
                    <a:pt x="113" y="34"/>
                    <a:pt x="115" y="34"/>
                    <a:pt x="117" y="34"/>
                  </a:cubicBezTo>
                  <a:cubicBezTo>
                    <a:pt x="119" y="34"/>
                    <a:pt x="123" y="35"/>
                    <a:pt x="125" y="33"/>
                  </a:cubicBezTo>
                  <a:cubicBezTo>
                    <a:pt x="128" y="31"/>
                    <a:pt x="125" y="26"/>
                    <a:pt x="128" y="24"/>
                  </a:cubicBezTo>
                  <a:cubicBezTo>
                    <a:pt x="130" y="22"/>
                    <a:pt x="131" y="24"/>
                    <a:pt x="133" y="23"/>
                  </a:cubicBezTo>
                  <a:cubicBezTo>
                    <a:pt x="134" y="23"/>
                    <a:pt x="136" y="22"/>
                    <a:pt x="137" y="21"/>
                  </a:cubicBezTo>
                  <a:cubicBezTo>
                    <a:pt x="139" y="20"/>
                    <a:pt x="142" y="20"/>
                    <a:pt x="144" y="18"/>
                  </a:cubicBezTo>
                  <a:cubicBezTo>
                    <a:pt x="146" y="16"/>
                    <a:pt x="147" y="14"/>
                    <a:pt x="148" y="11"/>
                  </a:cubicBezTo>
                  <a:cubicBezTo>
                    <a:pt x="150" y="9"/>
                    <a:pt x="154" y="8"/>
                    <a:pt x="151" y="4"/>
                  </a:cubicBezTo>
                  <a:cubicBezTo>
                    <a:pt x="150" y="3"/>
                    <a:pt x="146" y="1"/>
                    <a:pt x="144" y="1"/>
                  </a:cubicBezTo>
                  <a:cubicBezTo>
                    <a:pt x="143" y="0"/>
                    <a:pt x="141" y="0"/>
                    <a:pt x="139" y="0"/>
                  </a:cubicBezTo>
                  <a:cubicBezTo>
                    <a:pt x="136" y="1"/>
                    <a:pt x="134" y="2"/>
                    <a:pt x="131" y="2"/>
                  </a:cubicBezTo>
                  <a:cubicBezTo>
                    <a:pt x="131" y="3"/>
                    <a:pt x="130" y="2"/>
                    <a:pt x="130" y="2"/>
                  </a:cubicBezTo>
                  <a:cubicBezTo>
                    <a:pt x="126" y="2"/>
                    <a:pt x="119" y="0"/>
                    <a:pt x="117" y="4"/>
                  </a:cubicBezTo>
                  <a:cubicBezTo>
                    <a:pt x="113" y="8"/>
                    <a:pt x="111" y="17"/>
                    <a:pt x="105" y="18"/>
                  </a:cubicBezTo>
                  <a:cubicBezTo>
                    <a:pt x="103" y="19"/>
                    <a:pt x="100" y="17"/>
                    <a:pt x="98" y="18"/>
                  </a:cubicBezTo>
                  <a:cubicBezTo>
                    <a:pt x="96" y="18"/>
                    <a:pt x="96" y="18"/>
                    <a:pt x="9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78">
              <a:extLst>
                <a:ext uri="{FF2B5EF4-FFF2-40B4-BE49-F238E27FC236}">
                  <a16:creationId xmlns:a16="http://schemas.microsoft.com/office/drawing/2014/main" id="{470DE926-0D9D-4E90-9E1E-3DADB0697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5729" y="111926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79">
              <a:extLst>
                <a:ext uri="{FF2B5EF4-FFF2-40B4-BE49-F238E27FC236}">
                  <a16:creationId xmlns:a16="http://schemas.microsoft.com/office/drawing/2014/main" id="{AA12F282-C761-4067-B391-D215C8963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1505" y="1119265"/>
              <a:ext cx="1123" cy="6740"/>
            </a:xfrm>
            <a:custGeom>
              <a:avLst/>
              <a:gdLst>
                <a:gd name="T0" fmla="*/ 1 w 1"/>
                <a:gd name="T1" fmla="*/ 3 h 3"/>
                <a:gd name="T2" fmla="*/ 0 w 1"/>
                <a:gd name="T3" fmla="*/ 3 h 3"/>
                <a:gd name="T4" fmla="*/ 1 w 1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0"/>
                    <a:pt x="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80">
              <a:extLst>
                <a:ext uri="{FF2B5EF4-FFF2-40B4-BE49-F238E27FC236}">
                  <a16:creationId xmlns:a16="http://schemas.microsoft.com/office/drawing/2014/main" id="{0E002B29-4448-4869-BB47-EA2D5A565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3358" y="1084448"/>
              <a:ext cx="138145" cy="108944"/>
            </a:xfrm>
            <a:custGeom>
              <a:avLst/>
              <a:gdLst>
                <a:gd name="T0" fmla="*/ 9 w 65"/>
                <a:gd name="T1" fmla="*/ 22 h 52"/>
                <a:gd name="T2" fmla="*/ 12 w 65"/>
                <a:gd name="T3" fmla="*/ 22 h 52"/>
                <a:gd name="T4" fmla="*/ 13 w 65"/>
                <a:gd name="T5" fmla="*/ 23 h 52"/>
                <a:gd name="T6" fmla="*/ 17 w 65"/>
                <a:gd name="T7" fmla="*/ 25 h 52"/>
                <a:gd name="T8" fmla="*/ 19 w 65"/>
                <a:gd name="T9" fmla="*/ 29 h 52"/>
                <a:gd name="T10" fmla="*/ 20 w 65"/>
                <a:gd name="T11" fmla="*/ 43 h 52"/>
                <a:gd name="T12" fmla="*/ 24 w 65"/>
                <a:gd name="T13" fmla="*/ 52 h 52"/>
                <a:gd name="T14" fmla="*/ 28 w 65"/>
                <a:gd name="T15" fmla="*/ 49 h 52"/>
                <a:gd name="T16" fmla="*/ 33 w 65"/>
                <a:gd name="T17" fmla="*/ 48 h 52"/>
                <a:gd name="T18" fmla="*/ 43 w 65"/>
                <a:gd name="T19" fmla="*/ 48 h 52"/>
                <a:gd name="T20" fmla="*/ 46 w 65"/>
                <a:gd name="T21" fmla="*/ 48 h 52"/>
                <a:gd name="T22" fmla="*/ 47 w 65"/>
                <a:gd name="T23" fmla="*/ 46 h 52"/>
                <a:gd name="T24" fmla="*/ 50 w 65"/>
                <a:gd name="T25" fmla="*/ 39 h 52"/>
                <a:gd name="T26" fmla="*/ 54 w 65"/>
                <a:gd name="T27" fmla="*/ 40 h 52"/>
                <a:gd name="T28" fmla="*/ 56 w 65"/>
                <a:gd name="T29" fmla="*/ 41 h 52"/>
                <a:gd name="T30" fmla="*/ 58 w 65"/>
                <a:gd name="T31" fmla="*/ 41 h 52"/>
                <a:gd name="T32" fmla="*/ 62 w 65"/>
                <a:gd name="T33" fmla="*/ 43 h 52"/>
                <a:gd name="T34" fmla="*/ 65 w 65"/>
                <a:gd name="T35" fmla="*/ 38 h 52"/>
                <a:gd name="T36" fmla="*/ 65 w 65"/>
                <a:gd name="T37" fmla="*/ 30 h 52"/>
                <a:gd name="T38" fmla="*/ 63 w 65"/>
                <a:gd name="T39" fmla="*/ 23 h 52"/>
                <a:gd name="T40" fmla="*/ 65 w 65"/>
                <a:gd name="T41" fmla="*/ 20 h 52"/>
                <a:gd name="T42" fmla="*/ 65 w 65"/>
                <a:gd name="T43" fmla="*/ 20 h 52"/>
                <a:gd name="T44" fmla="*/ 58 w 65"/>
                <a:gd name="T45" fmla="*/ 13 h 52"/>
                <a:gd name="T46" fmla="*/ 48 w 65"/>
                <a:gd name="T47" fmla="*/ 13 h 52"/>
                <a:gd name="T48" fmla="*/ 41 w 65"/>
                <a:gd name="T49" fmla="*/ 8 h 52"/>
                <a:gd name="T50" fmla="*/ 38 w 65"/>
                <a:gd name="T51" fmla="*/ 7 h 52"/>
                <a:gd name="T52" fmla="*/ 37 w 65"/>
                <a:gd name="T53" fmla="*/ 5 h 52"/>
                <a:gd name="T54" fmla="*/ 33 w 65"/>
                <a:gd name="T55" fmla="*/ 4 h 52"/>
                <a:gd name="T56" fmla="*/ 25 w 65"/>
                <a:gd name="T57" fmla="*/ 1 h 52"/>
                <a:gd name="T58" fmla="*/ 19 w 65"/>
                <a:gd name="T59" fmla="*/ 6 h 52"/>
                <a:gd name="T60" fmla="*/ 10 w 65"/>
                <a:gd name="T61" fmla="*/ 8 h 52"/>
                <a:gd name="T62" fmla="*/ 0 w 65"/>
                <a:gd name="T63" fmla="*/ 12 h 52"/>
                <a:gd name="T64" fmla="*/ 6 w 65"/>
                <a:gd name="T65" fmla="*/ 20 h 52"/>
                <a:gd name="T66" fmla="*/ 9 w 65"/>
                <a:gd name="T67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5" h="52">
                  <a:moveTo>
                    <a:pt x="9" y="22"/>
                  </a:moveTo>
                  <a:cubicBezTo>
                    <a:pt x="10" y="22"/>
                    <a:pt x="11" y="22"/>
                    <a:pt x="12" y="22"/>
                  </a:cubicBezTo>
                  <a:cubicBezTo>
                    <a:pt x="12" y="22"/>
                    <a:pt x="13" y="22"/>
                    <a:pt x="13" y="23"/>
                  </a:cubicBezTo>
                  <a:cubicBezTo>
                    <a:pt x="15" y="24"/>
                    <a:pt x="16" y="24"/>
                    <a:pt x="17" y="25"/>
                  </a:cubicBezTo>
                  <a:cubicBezTo>
                    <a:pt x="19" y="26"/>
                    <a:pt x="19" y="25"/>
                    <a:pt x="19" y="29"/>
                  </a:cubicBezTo>
                  <a:cubicBezTo>
                    <a:pt x="20" y="34"/>
                    <a:pt x="19" y="38"/>
                    <a:pt x="20" y="43"/>
                  </a:cubicBezTo>
                  <a:cubicBezTo>
                    <a:pt x="21" y="46"/>
                    <a:pt x="22" y="51"/>
                    <a:pt x="24" y="52"/>
                  </a:cubicBezTo>
                  <a:cubicBezTo>
                    <a:pt x="26" y="52"/>
                    <a:pt x="26" y="50"/>
                    <a:pt x="28" y="49"/>
                  </a:cubicBezTo>
                  <a:cubicBezTo>
                    <a:pt x="30" y="48"/>
                    <a:pt x="30" y="48"/>
                    <a:pt x="33" y="48"/>
                  </a:cubicBezTo>
                  <a:cubicBezTo>
                    <a:pt x="36" y="48"/>
                    <a:pt x="40" y="48"/>
                    <a:pt x="43" y="48"/>
                  </a:cubicBezTo>
                  <a:cubicBezTo>
                    <a:pt x="44" y="48"/>
                    <a:pt x="45" y="48"/>
                    <a:pt x="46" y="48"/>
                  </a:cubicBezTo>
                  <a:cubicBezTo>
                    <a:pt x="47" y="48"/>
                    <a:pt x="47" y="48"/>
                    <a:pt x="47" y="46"/>
                  </a:cubicBezTo>
                  <a:cubicBezTo>
                    <a:pt x="49" y="44"/>
                    <a:pt x="50" y="43"/>
                    <a:pt x="50" y="39"/>
                  </a:cubicBezTo>
                  <a:cubicBezTo>
                    <a:pt x="51" y="39"/>
                    <a:pt x="53" y="39"/>
                    <a:pt x="54" y="40"/>
                  </a:cubicBezTo>
                  <a:cubicBezTo>
                    <a:pt x="55" y="40"/>
                    <a:pt x="55" y="41"/>
                    <a:pt x="56" y="41"/>
                  </a:cubicBezTo>
                  <a:cubicBezTo>
                    <a:pt x="57" y="41"/>
                    <a:pt x="57" y="41"/>
                    <a:pt x="58" y="41"/>
                  </a:cubicBezTo>
                  <a:cubicBezTo>
                    <a:pt x="60" y="41"/>
                    <a:pt x="60" y="44"/>
                    <a:pt x="62" y="43"/>
                  </a:cubicBezTo>
                  <a:cubicBezTo>
                    <a:pt x="63" y="42"/>
                    <a:pt x="64" y="39"/>
                    <a:pt x="65" y="38"/>
                  </a:cubicBezTo>
                  <a:cubicBezTo>
                    <a:pt x="65" y="36"/>
                    <a:pt x="65" y="32"/>
                    <a:pt x="65" y="30"/>
                  </a:cubicBezTo>
                  <a:cubicBezTo>
                    <a:pt x="64" y="28"/>
                    <a:pt x="63" y="26"/>
                    <a:pt x="63" y="23"/>
                  </a:cubicBezTo>
                  <a:cubicBezTo>
                    <a:pt x="63" y="22"/>
                    <a:pt x="64" y="21"/>
                    <a:pt x="65" y="20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63" y="16"/>
                    <a:pt x="62" y="14"/>
                    <a:pt x="58" y="13"/>
                  </a:cubicBezTo>
                  <a:cubicBezTo>
                    <a:pt x="55" y="12"/>
                    <a:pt x="51" y="14"/>
                    <a:pt x="48" y="13"/>
                  </a:cubicBezTo>
                  <a:cubicBezTo>
                    <a:pt x="46" y="12"/>
                    <a:pt x="43" y="9"/>
                    <a:pt x="41" y="8"/>
                  </a:cubicBezTo>
                  <a:cubicBezTo>
                    <a:pt x="40" y="8"/>
                    <a:pt x="39" y="8"/>
                    <a:pt x="38" y="7"/>
                  </a:cubicBezTo>
                  <a:cubicBezTo>
                    <a:pt x="38" y="7"/>
                    <a:pt x="38" y="6"/>
                    <a:pt x="37" y="5"/>
                  </a:cubicBezTo>
                  <a:cubicBezTo>
                    <a:pt x="36" y="4"/>
                    <a:pt x="35" y="4"/>
                    <a:pt x="33" y="4"/>
                  </a:cubicBezTo>
                  <a:cubicBezTo>
                    <a:pt x="30" y="2"/>
                    <a:pt x="29" y="0"/>
                    <a:pt x="25" y="1"/>
                  </a:cubicBezTo>
                  <a:cubicBezTo>
                    <a:pt x="23" y="1"/>
                    <a:pt x="21" y="4"/>
                    <a:pt x="19" y="6"/>
                  </a:cubicBezTo>
                  <a:cubicBezTo>
                    <a:pt x="16" y="8"/>
                    <a:pt x="14" y="8"/>
                    <a:pt x="10" y="8"/>
                  </a:cubicBezTo>
                  <a:cubicBezTo>
                    <a:pt x="8" y="8"/>
                    <a:pt x="1" y="8"/>
                    <a:pt x="0" y="12"/>
                  </a:cubicBezTo>
                  <a:cubicBezTo>
                    <a:pt x="0" y="13"/>
                    <a:pt x="5" y="18"/>
                    <a:pt x="6" y="20"/>
                  </a:cubicBezTo>
                  <a:cubicBezTo>
                    <a:pt x="7" y="21"/>
                    <a:pt x="7" y="21"/>
                    <a:pt x="9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81">
              <a:extLst>
                <a:ext uri="{FF2B5EF4-FFF2-40B4-BE49-F238E27FC236}">
                  <a16:creationId xmlns:a16="http://schemas.microsoft.com/office/drawing/2014/main" id="{3F668E5D-D089-4746-917B-DEB8E0D03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6213" y="1138358"/>
              <a:ext cx="86481" cy="86481"/>
            </a:xfrm>
            <a:custGeom>
              <a:avLst/>
              <a:gdLst>
                <a:gd name="T0" fmla="*/ 5 w 41"/>
                <a:gd name="T1" fmla="*/ 33 h 41"/>
                <a:gd name="T2" fmla="*/ 8 w 41"/>
                <a:gd name="T3" fmla="*/ 32 h 41"/>
                <a:gd name="T4" fmla="*/ 8 w 41"/>
                <a:gd name="T5" fmla="*/ 28 h 41"/>
                <a:gd name="T6" fmla="*/ 15 w 41"/>
                <a:gd name="T7" fmla="*/ 27 h 41"/>
                <a:gd name="T8" fmla="*/ 23 w 41"/>
                <a:gd name="T9" fmla="*/ 25 h 41"/>
                <a:gd name="T10" fmla="*/ 25 w 41"/>
                <a:gd name="T11" fmla="*/ 27 h 41"/>
                <a:gd name="T12" fmla="*/ 29 w 41"/>
                <a:gd name="T13" fmla="*/ 27 h 41"/>
                <a:gd name="T14" fmla="*/ 37 w 41"/>
                <a:gd name="T15" fmla="*/ 27 h 41"/>
                <a:gd name="T16" fmla="*/ 41 w 41"/>
                <a:gd name="T17" fmla="*/ 24 h 41"/>
                <a:gd name="T18" fmla="*/ 41 w 41"/>
                <a:gd name="T19" fmla="*/ 18 h 41"/>
                <a:gd name="T20" fmla="*/ 38 w 41"/>
                <a:gd name="T21" fmla="*/ 17 h 41"/>
                <a:gd name="T22" fmla="*/ 35 w 41"/>
                <a:gd name="T23" fmla="*/ 15 h 41"/>
                <a:gd name="T24" fmla="*/ 32 w 41"/>
                <a:gd name="T25" fmla="*/ 15 h 41"/>
                <a:gd name="T26" fmla="*/ 29 w 41"/>
                <a:gd name="T27" fmla="*/ 12 h 41"/>
                <a:gd name="T28" fmla="*/ 25 w 41"/>
                <a:gd name="T29" fmla="*/ 11 h 41"/>
                <a:gd name="T30" fmla="*/ 22 w 41"/>
                <a:gd name="T31" fmla="*/ 4 h 41"/>
                <a:gd name="T32" fmla="*/ 14 w 41"/>
                <a:gd name="T33" fmla="*/ 3 h 41"/>
                <a:gd name="T34" fmla="*/ 6 w 41"/>
                <a:gd name="T35" fmla="*/ 1 h 41"/>
                <a:gd name="T36" fmla="*/ 4 w 41"/>
                <a:gd name="T37" fmla="*/ 3 h 41"/>
                <a:gd name="T38" fmla="*/ 2 w 41"/>
                <a:gd name="T39" fmla="*/ 8 h 41"/>
                <a:gd name="T40" fmla="*/ 3 w 41"/>
                <a:gd name="T41" fmla="*/ 17 h 41"/>
                <a:gd name="T42" fmla="*/ 0 w 41"/>
                <a:gd name="T43" fmla="*/ 25 h 41"/>
                <a:gd name="T44" fmla="*/ 1 w 41"/>
                <a:gd name="T45" fmla="*/ 37 h 41"/>
                <a:gd name="T46" fmla="*/ 5 w 41"/>
                <a:gd name="T47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1" h="41">
                  <a:moveTo>
                    <a:pt x="5" y="33"/>
                  </a:moveTo>
                  <a:cubicBezTo>
                    <a:pt x="6" y="33"/>
                    <a:pt x="7" y="32"/>
                    <a:pt x="8" y="32"/>
                  </a:cubicBezTo>
                  <a:cubicBezTo>
                    <a:pt x="8" y="31"/>
                    <a:pt x="8" y="29"/>
                    <a:pt x="8" y="28"/>
                  </a:cubicBezTo>
                  <a:cubicBezTo>
                    <a:pt x="10" y="27"/>
                    <a:pt x="13" y="28"/>
                    <a:pt x="15" y="27"/>
                  </a:cubicBezTo>
                  <a:cubicBezTo>
                    <a:pt x="18" y="26"/>
                    <a:pt x="20" y="25"/>
                    <a:pt x="23" y="25"/>
                  </a:cubicBezTo>
                  <a:cubicBezTo>
                    <a:pt x="24" y="26"/>
                    <a:pt x="24" y="27"/>
                    <a:pt x="25" y="27"/>
                  </a:cubicBezTo>
                  <a:cubicBezTo>
                    <a:pt x="26" y="28"/>
                    <a:pt x="28" y="27"/>
                    <a:pt x="29" y="27"/>
                  </a:cubicBezTo>
                  <a:cubicBezTo>
                    <a:pt x="32" y="27"/>
                    <a:pt x="34" y="27"/>
                    <a:pt x="37" y="27"/>
                  </a:cubicBezTo>
                  <a:cubicBezTo>
                    <a:pt x="40" y="27"/>
                    <a:pt x="40" y="28"/>
                    <a:pt x="41" y="24"/>
                  </a:cubicBezTo>
                  <a:cubicBezTo>
                    <a:pt x="41" y="23"/>
                    <a:pt x="41" y="19"/>
                    <a:pt x="41" y="18"/>
                  </a:cubicBezTo>
                  <a:cubicBezTo>
                    <a:pt x="40" y="16"/>
                    <a:pt x="40" y="18"/>
                    <a:pt x="38" y="17"/>
                  </a:cubicBezTo>
                  <a:cubicBezTo>
                    <a:pt x="38" y="17"/>
                    <a:pt x="35" y="15"/>
                    <a:pt x="35" y="15"/>
                  </a:cubicBezTo>
                  <a:cubicBezTo>
                    <a:pt x="34" y="15"/>
                    <a:pt x="33" y="16"/>
                    <a:pt x="32" y="15"/>
                  </a:cubicBezTo>
                  <a:cubicBezTo>
                    <a:pt x="30" y="14"/>
                    <a:pt x="31" y="13"/>
                    <a:pt x="29" y="12"/>
                  </a:cubicBezTo>
                  <a:cubicBezTo>
                    <a:pt x="28" y="11"/>
                    <a:pt x="27" y="11"/>
                    <a:pt x="25" y="11"/>
                  </a:cubicBezTo>
                  <a:cubicBezTo>
                    <a:pt x="25" y="7"/>
                    <a:pt x="25" y="5"/>
                    <a:pt x="22" y="4"/>
                  </a:cubicBezTo>
                  <a:cubicBezTo>
                    <a:pt x="19" y="4"/>
                    <a:pt x="16" y="5"/>
                    <a:pt x="14" y="3"/>
                  </a:cubicBezTo>
                  <a:cubicBezTo>
                    <a:pt x="11" y="2"/>
                    <a:pt x="9" y="0"/>
                    <a:pt x="6" y="1"/>
                  </a:cubicBezTo>
                  <a:cubicBezTo>
                    <a:pt x="5" y="1"/>
                    <a:pt x="5" y="1"/>
                    <a:pt x="4" y="3"/>
                  </a:cubicBezTo>
                  <a:cubicBezTo>
                    <a:pt x="3" y="3"/>
                    <a:pt x="2" y="8"/>
                    <a:pt x="2" y="8"/>
                  </a:cubicBezTo>
                  <a:cubicBezTo>
                    <a:pt x="2" y="11"/>
                    <a:pt x="3" y="13"/>
                    <a:pt x="3" y="17"/>
                  </a:cubicBezTo>
                  <a:cubicBezTo>
                    <a:pt x="2" y="20"/>
                    <a:pt x="1" y="22"/>
                    <a:pt x="0" y="25"/>
                  </a:cubicBezTo>
                  <a:cubicBezTo>
                    <a:pt x="0" y="28"/>
                    <a:pt x="0" y="34"/>
                    <a:pt x="1" y="37"/>
                  </a:cubicBezTo>
                  <a:cubicBezTo>
                    <a:pt x="4" y="41"/>
                    <a:pt x="5" y="36"/>
                    <a:pt x="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82">
              <a:extLst>
                <a:ext uri="{FF2B5EF4-FFF2-40B4-BE49-F238E27FC236}">
                  <a16:creationId xmlns:a16="http://schemas.microsoft.com/office/drawing/2014/main" id="{3662368E-6BB8-4BBF-B519-D89C34596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2015" y="1252918"/>
              <a:ext cx="198796" cy="117930"/>
            </a:xfrm>
            <a:custGeom>
              <a:avLst/>
              <a:gdLst>
                <a:gd name="T0" fmla="*/ 69 w 94"/>
                <a:gd name="T1" fmla="*/ 10 h 56"/>
                <a:gd name="T2" fmla="*/ 60 w 94"/>
                <a:gd name="T3" fmla="*/ 2 h 56"/>
                <a:gd name="T4" fmla="*/ 50 w 94"/>
                <a:gd name="T5" fmla="*/ 3 h 56"/>
                <a:gd name="T6" fmla="*/ 44 w 94"/>
                <a:gd name="T7" fmla="*/ 8 h 56"/>
                <a:gd name="T8" fmla="*/ 45 w 94"/>
                <a:gd name="T9" fmla="*/ 17 h 56"/>
                <a:gd name="T10" fmla="*/ 42 w 94"/>
                <a:gd name="T11" fmla="*/ 19 h 56"/>
                <a:gd name="T12" fmla="*/ 39 w 94"/>
                <a:gd name="T13" fmla="*/ 21 h 56"/>
                <a:gd name="T14" fmla="*/ 31 w 94"/>
                <a:gd name="T15" fmla="*/ 21 h 56"/>
                <a:gd name="T16" fmla="*/ 28 w 94"/>
                <a:gd name="T17" fmla="*/ 19 h 56"/>
                <a:gd name="T18" fmla="*/ 23 w 94"/>
                <a:gd name="T19" fmla="*/ 19 h 56"/>
                <a:gd name="T20" fmla="*/ 21 w 94"/>
                <a:gd name="T21" fmla="*/ 17 h 56"/>
                <a:gd name="T22" fmla="*/ 16 w 94"/>
                <a:gd name="T23" fmla="*/ 17 h 56"/>
                <a:gd name="T24" fmla="*/ 10 w 94"/>
                <a:gd name="T25" fmla="*/ 21 h 56"/>
                <a:gd name="T26" fmla="*/ 9 w 94"/>
                <a:gd name="T27" fmla="*/ 24 h 56"/>
                <a:gd name="T28" fmla="*/ 1 w 94"/>
                <a:gd name="T29" fmla="*/ 28 h 56"/>
                <a:gd name="T30" fmla="*/ 5 w 94"/>
                <a:gd name="T31" fmla="*/ 35 h 56"/>
                <a:gd name="T32" fmla="*/ 8 w 94"/>
                <a:gd name="T33" fmla="*/ 35 h 56"/>
                <a:gd name="T34" fmla="*/ 12 w 94"/>
                <a:gd name="T35" fmla="*/ 37 h 56"/>
                <a:gd name="T36" fmla="*/ 16 w 94"/>
                <a:gd name="T37" fmla="*/ 47 h 56"/>
                <a:gd name="T38" fmla="*/ 22 w 94"/>
                <a:gd name="T39" fmla="*/ 49 h 56"/>
                <a:gd name="T40" fmla="*/ 25 w 94"/>
                <a:gd name="T41" fmla="*/ 52 h 56"/>
                <a:gd name="T42" fmla="*/ 32 w 94"/>
                <a:gd name="T43" fmla="*/ 56 h 56"/>
                <a:gd name="T44" fmla="*/ 41 w 94"/>
                <a:gd name="T45" fmla="*/ 49 h 56"/>
                <a:gd name="T46" fmla="*/ 59 w 94"/>
                <a:gd name="T47" fmla="*/ 45 h 56"/>
                <a:gd name="T48" fmla="*/ 67 w 94"/>
                <a:gd name="T49" fmla="*/ 42 h 56"/>
                <a:gd name="T50" fmla="*/ 75 w 94"/>
                <a:gd name="T51" fmla="*/ 40 h 56"/>
                <a:gd name="T52" fmla="*/ 81 w 94"/>
                <a:gd name="T53" fmla="*/ 32 h 56"/>
                <a:gd name="T54" fmla="*/ 89 w 94"/>
                <a:gd name="T55" fmla="*/ 30 h 56"/>
                <a:gd name="T56" fmla="*/ 93 w 94"/>
                <a:gd name="T57" fmla="*/ 27 h 56"/>
                <a:gd name="T58" fmla="*/ 94 w 94"/>
                <a:gd name="T59" fmla="*/ 23 h 56"/>
                <a:gd name="T60" fmla="*/ 84 w 94"/>
                <a:gd name="T61" fmla="*/ 13 h 56"/>
                <a:gd name="T62" fmla="*/ 78 w 94"/>
                <a:gd name="T63" fmla="*/ 10 h 56"/>
                <a:gd name="T64" fmla="*/ 69 w 94"/>
                <a:gd name="T65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4" h="56">
                  <a:moveTo>
                    <a:pt x="69" y="10"/>
                  </a:moveTo>
                  <a:cubicBezTo>
                    <a:pt x="64" y="10"/>
                    <a:pt x="60" y="9"/>
                    <a:pt x="60" y="2"/>
                  </a:cubicBezTo>
                  <a:cubicBezTo>
                    <a:pt x="57" y="0"/>
                    <a:pt x="53" y="2"/>
                    <a:pt x="50" y="3"/>
                  </a:cubicBezTo>
                  <a:cubicBezTo>
                    <a:pt x="46" y="4"/>
                    <a:pt x="43" y="1"/>
                    <a:pt x="44" y="8"/>
                  </a:cubicBezTo>
                  <a:cubicBezTo>
                    <a:pt x="44" y="11"/>
                    <a:pt x="46" y="15"/>
                    <a:pt x="45" y="17"/>
                  </a:cubicBezTo>
                  <a:cubicBezTo>
                    <a:pt x="44" y="20"/>
                    <a:pt x="44" y="18"/>
                    <a:pt x="42" y="19"/>
                  </a:cubicBezTo>
                  <a:cubicBezTo>
                    <a:pt x="42" y="19"/>
                    <a:pt x="40" y="20"/>
                    <a:pt x="39" y="21"/>
                  </a:cubicBezTo>
                  <a:cubicBezTo>
                    <a:pt x="37" y="21"/>
                    <a:pt x="33" y="21"/>
                    <a:pt x="31" y="21"/>
                  </a:cubicBezTo>
                  <a:cubicBezTo>
                    <a:pt x="30" y="20"/>
                    <a:pt x="29" y="19"/>
                    <a:pt x="28" y="19"/>
                  </a:cubicBezTo>
                  <a:cubicBezTo>
                    <a:pt x="27" y="19"/>
                    <a:pt x="25" y="19"/>
                    <a:pt x="23" y="19"/>
                  </a:cubicBezTo>
                  <a:cubicBezTo>
                    <a:pt x="22" y="19"/>
                    <a:pt x="22" y="17"/>
                    <a:pt x="21" y="17"/>
                  </a:cubicBezTo>
                  <a:cubicBezTo>
                    <a:pt x="20" y="17"/>
                    <a:pt x="18" y="17"/>
                    <a:pt x="16" y="17"/>
                  </a:cubicBezTo>
                  <a:cubicBezTo>
                    <a:pt x="14" y="18"/>
                    <a:pt x="12" y="21"/>
                    <a:pt x="10" y="21"/>
                  </a:cubicBezTo>
                  <a:cubicBezTo>
                    <a:pt x="10" y="22"/>
                    <a:pt x="10" y="23"/>
                    <a:pt x="9" y="24"/>
                  </a:cubicBezTo>
                  <a:cubicBezTo>
                    <a:pt x="6" y="24"/>
                    <a:pt x="4" y="27"/>
                    <a:pt x="1" y="28"/>
                  </a:cubicBezTo>
                  <a:cubicBezTo>
                    <a:pt x="0" y="32"/>
                    <a:pt x="2" y="34"/>
                    <a:pt x="5" y="35"/>
                  </a:cubicBezTo>
                  <a:cubicBezTo>
                    <a:pt x="6" y="35"/>
                    <a:pt x="7" y="35"/>
                    <a:pt x="8" y="35"/>
                  </a:cubicBezTo>
                  <a:cubicBezTo>
                    <a:pt x="9" y="35"/>
                    <a:pt x="11" y="36"/>
                    <a:pt x="12" y="37"/>
                  </a:cubicBezTo>
                  <a:cubicBezTo>
                    <a:pt x="12" y="40"/>
                    <a:pt x="14" y="45"/>
                    <a:pt x="16" y="47"/>
                  </a:cubicBezTo>
                  <a:cubicBezTo>
                    <a:pt x="18" y="49"/>
                    <a:pt x="20" y="48"/>
                    <a:pt x="22" y="49"/>
                  </a:cubicBezTo>
                  <a:cubicBezTo>
                    <a:pt x="23" y="49"/>
                    <a:pt x="24" y="51"/>
                    <a:pt x="25" y="52"/>
                  </a:cubicBezTo>
                  <a:cubicBezTo>
                    <a:pt x="28" y="53"/>
                    <a:pt x="30" y="55"/>
                    <a:pt x="32" y="56"/>
                  </a:cubicBezTo>
                  <a:cubicBezTo>
                    <a:pt x="37" y="56"/>
                    <a:pt x="38" y="52"/>
                    <a:pt x="41" y="49"/>
                  </a:cubicBezTo>
                  <a:cubicBezTo>
                    <a:pt x="46" y="45"/>
                    <a:pt x="53" y="45"/>
                    <a:pt x="59" y="45"/>
                  </a:cubicBezTo>
                  <a:cubicBezTo>
                    <a:pt x="62" y="45"/>
                    <a:pt x="64" y="44"/>
                    <a:pt x="67" y="42"/>
                  </a:cubicBezTo>
                  <a:cubicBezTo>
                    <a:pt x="71" y="40"/>
                    <a:pt x="71" y="37"/>
                    <a:pt x="75" y="40"/>
                  </a:cubicBezTo>
                  <a:cubicBezTo>
                    <a:pt x="76" y="37"/>
                    <a:pt x="79" y="34"/>
                    <a:pt x="81" y="32"/>
                  </a:cubicBezTo>
                  <a:cubicBezTo>
                    <a:pt x="84" y="30"/>
                    <a:pt x="87" y="31"/>
                    <a:pt x="89" y="30"/>
                  </a:cubicBezTo>
                  <a:cubicBezTo>
                    <a:pt x="91" y="29"/>
                    <a:pt x="92" y="29"/>
                    <a:pt x="93" y="27"/>
                  </a:cubicBezTo>
                  <a:cubicBezTo>
                    <a:pt x="93" y="27"/>
                    <a:pt x="93" y="25"/>
                    <a:pt x="94" y="23"/>
                  </a:cubicBezTo>
                  <a:cubicBezTo>
                    <a:pt x="90" y="20"/>
                    <a:pt x="87" y="16"/>
                    <a:pt x="84" y="13"/>
                  </a:cubicBezTo>
                  <a:cubicBezTo>
                    <a:pt x="82" y="12"/>
                    <a:pt x="80" y="11"/>
                    <a:pt x="78" y="10"/>
                  </a:cubicBezTo>
                  <a:cubicBezTo>
                    <a:pt x="75" y="10"/>
                    <a:pt x="72" y="10"/>
                    <a:pt x="6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83">
              <a:extLst>
                <a:ext uri="{FF2B5EF4-FFF2-40B4-BE49-F238E27FC236}">
                  <a16:creationId xmlns:a16="http://schemas.microsoft.com/office/drawing/2014/main" id="{991A70AC-38A2-4C6E-9A8B-03E51C575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4397" y="1325922"/>
              <a:ext cx="10109" cy="11231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0 w 5"/>
                <a:gd name="T5" fmla="*/ 2 h 5"/>
                <a:gd name="T6" fmla="*/ 5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cubicBezTo>
                    <a:pt x="3" y="3"/>
                    <a:pt x="2" y="1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1" y="3"/>
                    <a:pt x="3" y="4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85">
              <a:extLst>
                <a:ext uri="{FF2B5EF4-FFF2-40B4-BE49-F238E27FC236}">
                  <a16:creationId xmlns:a16="http://schemas.microsoft.com/office/drawing/2014/main" id="{1FC93D1F-0DCB-4EA8-B20A-E07065DE1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9262" y="1765069"/>
              <a:ext cx="46049" cy="33694"/>
            </a:xfrm>
            <a:custGeom>
              <a:avLst/>
              <a:gdLst>
                <a:gd name="T0" fmla="*/ 17 w 22"/>
                <a:gd name="T1" fmla="*/ 1 h 16"/>
                <a:gd name="T2" fmla="*/ 15 w 22"/>
                <a:gd name="T3" fmla="*/ 0 h 16"/>
                <a:gd name="T4" fmla="*/ 13 w 22"/>
                <a:gd name="T5" fmla="*/ 0 h 16"/>
                <a:gd name="T6" fmla="*/ 12 w 22"/>
                <a:gd name="T7" fmla="*/ 2 h 16"/>
                <a:gd name="T8" fmla="*/ 8 w 22"/>
                <a:gd name="T9" fmla="*/ 6 h 16"/>
                <a:gd name="T10" fmla="*/ 8 w 22"/>
                <a:gd name="T11" fmla="*/ 5 h 16"/>
                <a:gd name="T12" fmla="*/ 6 w 22"/>
                <a:gd name="T13" fmla="*/ 5 h 16"/>
                <a:gd name="T14" fmla="*/ 5 w 22"/>
                <a:gd name="T15" fmla="*/ 4 h 16"/>
                <a:gd name="T16" fmla="*/ 3 w 22"/>
                <a:gd name="T17" fmla="*/ 4 h 16"/>
                <a:gd name="T18" fmla="*/ 0 w 22"/>
                <a:gd name="T19" fmla="*/ 8 h 16"/>
                <a:gd name="T20" fmla="*/ 1 w 22"/>
                <a:gd name="T21" fmla="*/ 8 h 16"/>
                <a:gd name="T22" fmla="*/ 2 w 22"/>
                <a:gd name="T23" fmla="*/ 11 h 16"/>
                <a:gd name="T24" fmla="*/ 3 w 22"/>
                <a:gd name="T25" fmla="*/ 14 h 16"/>
                <a:gd name="T26" fmla="*/ 5 w 22"/>
                <a:gd name="T27" fmla="*/ 16 h 16"/>
                <a:gd name="T28" fmla="*/ 7 w 22"/>
                <a:gd name="T29" fmla="*/ 14 h 16"/>
                <a:gd name="T30" fmla="*/ 11 w 22"/>
                <a:gd name="T31" fmla="*/ 10 h 16"/>
                <a:gd name="T32" fmla="*/ 13 w 22"/>
                <a:gd name="T33" fmla="*/ 8 h 16"/>
                <a:gd name="T34" fmla="*/ 15 w 22"/>
                <a:gd name="T35" fmla="*/ 6 h 16"/>
                <a:gd name="T36" fmla="*/ 18 w 22"/>
                <a:gd name="T37" fmla="*/ 6 h 16"/>
                <a:gd name="T38" fmla="*/ 20 w 22"/>
                <a:gd name="T39" fmla="*/ 5 h 16"/>
                <a:gd name="T40" fmla="*/ 21 w 22"/>
                <a:gd name="T41" fmla="*/ 3 h 16"/>
                <a:gd name="T42" fmla="*/ 17 w 22"/>
                <a:gd name="T43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16">
                  <a:moveTo>
                    <a:pt x="17" y="1"/>
                  </a:moveTo>
                  <a:cubicBezTo>
                    <a:pt x="17" y="0"/>
                    <a:pt x="16" y="0"/>
                    <a:pt x="15" y="0"/>
                  </a:cubicBezTo>
                  <a:cubicBezTo>
                    <a:pt x="14" y="0"/>
                    <a:pt x="14" y="0"/>
                    <a:pt x="13" y="0"/>
                  </a:cubicBezTo>
                  <a:cubicBezTo>
                    <a:pt x="12" y="1"/>
                    <a:pt x="13" y="1"/>
                    <a:pt x="12" y="2"/>
                  </a:cubicBezTo>
                  <a:cubicBezTo>
                    <a:pt x="11" y="3"/>
                    <a:pt x="9" y="7"/>
                    <a:pt x="8" y="6"/>
                  </a:cubicBezTo>
                  <a:cubicBezTo>
                    <a:pt x="8" y="6"/>
                    <a:pt x="8" y="6"/>
                    <a:pt x="8" y="5"/>
                  </a:cubicBezTo>
                  <a:cubicBezTo>
                    <a:pt x="7" y="5"/>
                    <a:pt x="7" y="5"/>
                    <a:pt x="6" y="5"/>
                  </a:cubicBezTo>
                  <a:cubicBezTo>
                    <a:pt x="5" y="5"/>
                    <a:pt x="5" y="4"/>
                    <a:pt x="5" y="4"/>
                  </a:cubicBezTo>
                  <a:cubicBezTo>
                    <a:pt x="5" y="4"/>
                    <a:pt x="4" y="4"/>
                    <a:pt x="3" y="4"/>
                  </a:cubicBezTo>
                  <a:cubicBezTo>
                    <a:pt x="2" y="4"/>
                    <a:pt x="0" y="5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2" y="10"/>
                    <a:pt x="2" y="11"/>
                  </a:cubicBezTo>
                  <a:cubicBezTo>
                    <a:pt x="3" y="13"/>
                    <a:pt x="2" y="13"/>
                    <a:pt x="3" y="14"/>
                  </a:cubicBezTo>
                  <a:cubicBezTo>
                    <a:pt x="3" y="15"/>
                    <a:pt x="4" y="16"/>
                    <a:pt x="5" y="16"/>
                  </a:cubicBezTo>
                  <a:cubicBezTo>
                    <a:pt x="7" y="16"/>
                    <a:pt x="6" y="15"/>
                    <a:pt x="7" y="14"/>
                  </a:cubicBezTo>
                  <a:cubicBezTo>
                    <a:pt x="8" y="12"/>
                    <a:pt x="10" y="11"/>
                    <a:pt x="11" y="10"/>
                  </a:cubicBezTo>
                  <a:cubicBezTo>
                    <a:pt x="12" y="10"/>
                    <a:pt x="12" y="10"/>
                    <a:pt x="13" y="8"/>
                  </a:cubicBezTo>
                  <a:cubicBezTo>
                    <a:pt x="13" y="7"/>
                    <a:pt x="14" y="6"/>
                    <a:pt x="15" y="6"/>
                  </a:cubicBezTo>
                  <a:cubicBezTo>
                    <a:pt x="16" y="6"/>
                    <a:pt x="17" y="6"/>
                    <a:pt x="18" y="6"/>
                  </a:cubicBezTo>
                  <a:cubicBezTo>
                    <a:pt x="19" y="6"/>
                    <a:pt x="19" y="6"/>
                    <a:pt x="20" y="5"/>
                  </a:cubicBezTo>
                  <a:cubicBezTo>
                    <a:pt x="21" y="4"/>
                    <a:pt x="22" y="5"/>
                    <a:pt x="21" y="3"/>
                  </a:cubicBezTo>
                  <a:cubicBezTo>
                    <a:pt x="21" y="1"/>
                    <a:pt x="18" y="1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86">
              <a:extLst>
                <a:ext uri="{FF2B5EF4-FFF2-40B4-BE49-F238E27FC236}">
                  <a16:creationId xmlns:a16="http://schemas.microsoft.com/office/drawing/2014/main" id="{6C237CF8-9BF1-4E31-BEBA-189EB6FAE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878" y="2401889"/>
              <a:ext cx="96590" cy="384114"/>
            </a:xfrm>
            <a:custGeom>
              <a:avLst/>
              <a:gdLst>
                <a:gd name="T0" fmla="*/ 1 w 46"/>
                <a:gd name="T1" fmla="*/ 37 h 182"/>
                <a:gd name="T2" fmla="*/ 5 w 46"/>
                <a:gd name="T3" fmla="*/ 42 h 182"/>
                <a:gd name="T4" fmla="*/ 5 w 46"/>
                <a:gd name="T5" fmla="*/ 45 h 182"/>
                <a:gd name="T6" fmla="*/ 6 w 46"/>
                <a:gd name="T7" fmla="*/ 49 h 182"/>
                <a:gd name="T8" fmla="*/ 10 w 46"/>
                <a:gd name="T9" fmla="*/ 56 h 182"/>
                <a:gd name="T10" fmla="*/ 10 w 46"/>
                <a:gd name="T11" fmla="*/ 59 h 182"/>
                <a:gd name="T12" fmla="*/ 14 w 46"/>
                <a:gd name="T13" fmla="*/ 60 h 182"/>
                <a:gd name="T14" fmla="*/ 15 w 46"/>
                <a:gd name="T15" fmla="*/ 74 h 182"/>
                <a:gd name="T16" fmla="*/ 16 w 46"/>
                <a:gd name="T17" fmla="*/ 79 h 182"/>
                <a:gd name="T18" fmla="*/ 13 w 46"/>
                <a:gd name="T19" fmla="*/ 85 h 182"/>
                <a:gd name="T20" fmla="*/ 12 w 46"/>
                <a:gd name="T21" fmla="*/ 91 h 182"/>
                <a:gd name="T22" fmla="*/ 12 w 46"/>
                <a:gd name="T23" fmla="*/ 97 h 182"/>
                <a:gd name="T24" fmla="*/ 11 w 46"/>
                <a:gd name="T25" fmla="*/ 112 h 182"/>
                <a:gd name="T26" fmla="*/ 14 w 46"/>
                <a:gd name="T27" fmla="*/ 112 h 182"/>
                <a:gd name="T28" fmla="*/ 14 w 46"/>
                <a:gd name="T29" fmla="*/ 115 h 182"/>
                <a:gd name="T30" fmla="*/ 17 w 46"/>
                <a:gd name="T31" fmla="*/ 128 h 182"/>
                <a:gd name="T32" fmla="*/ 19 w 46"/>
                <a:gd name="T33" fmla="*/ 135 h 182"/>
                <a:gd name="T34" fmla="*/ 19 w 46"/>
                <a:gd name="T35" fmla="*/ 144 h 182"/>
                <a:gd name="T36" fmla="*/ 19 w 46"/>
                <a:gd name="T37" fmla="*/ 152 h 182"/>
                <a:gd name="T38" fmla="*/ 25 w 46"/>
                <a:gd name="T39" fmla="*/ 152 h 182"/>
                <a:gd name="T40" fmla="*/ 30 w 46"/>
                <a:gd name="T41" fmla="*/ 166 h 182"/>
                <a:gd name="T42" fmla="*/ 31 w 46"/>
                <a:gd name="T43" fmla="*/ 171 h 182"/>
                <a:gd name="T44" fmla="*/ 35 w 46"/>
                <a:gd name="T45" fmla="*/ 172 h 182"/>
                <a:gd name="T46" fmla="*/ 42 w 46"/>
                <a:gd name="T47" fmla="*/ 182 h 182"/>
                <a:gd name="T48" fmla="*/ 45 w 46"/>
                <a:gd name="T49" fmla="*/ 179 h 182"/>
                <a:gd name="T50" fmla="*/ 44 w 46"/>
                <a:gd name="T51" fmla="*/ 172 h 182"/>
                <a:gd name="T52" fmla="*/ 42 w 46"/>
                <a:gd name="T53" fmla="*/ 172 h 182"/>
                <a:gd name="T54" fmla="*/ 39 w 46"/>
                <a:gd name="T55" fmla="*/ 170 h 182"/>
                <a:gd name="T56" fmla="*/ 36 w 46"/>
                <a:gd name="T57" fmla="*/ 165 h 182"/>
                <a:gd name="T58" fmla="*/ 35 w 46"/>
                <a:gd name="T59" fmla="*/ 158 h 182"/>
                <a:gd name="T60" fmla="*/ 34 w 46"/>
                <a:gd name="T61" fmla="*/ 149 h 182"/>
                <a:gd name="T62" fmla="*/ 32 w 46"/>
                <a:gd name="T63" fmla="*/ 149 h 182"/>
                <a:gd name="T64" fmla="*/ 30 w 46"/>
                <a:gd name="T65" fmla="*/ 143 h 182"/>
                <a:gd name="T66" fmla="*/ 30 w 46"/>
                <a:gd name="T67" fmla="*/ 135 h 182"/>
                <a:gd name="T68" fmla="*/ 28 w 46"/>
                <a:gd name="T69" fmla="*/ 134 h 182"/>
                <a:gd name="T70" fmla="*/ 25 w 46"/>
                <a:gd name="T71" fmla="*/ 128 h 182"/>
                <a:gd name="T72" fmla="*/ 24 w 46"/>
                <a:gd name="T73" fmla="*/ 117 h 182"/>
                <a:gd name="T74" fmla="*/ 28 w 46"/>
                <a:gd name="T75" fmla="*/ 112 h 182"/>
                <a:gd name="T76" fmla="*/ 31 w 46"/>
                <a:gd name="T77" fmla="*/ 105 h 182"/>
                <a:gd name="T78" fmla="*/ 33 w 46"/>
                <a:gd name="T79" fmla="*/ 96 h 182"/>
                <a:gd name="T80" fmla="*/ 28 w 46"/>
                <a:gd name="T81" fmla="*/ 87 h 182"/>
                <a:gd name="T82" fmla="*/ 24 w 46"/>
                <a:gd name="T83" fmla="*/ 80 h 182"/>
                <a:gd name="T84" fmla="*/ 24 w 46"/>
                <a:gd name="T85" fmla="*/ 75 h 182"/>
                <a:gd name="T86" fmla="*/ 23 w 46"/>
                <a:gd name="T87" fmla="*/ 70 h 182"/>
                <a:gd name="T88" fmla="*/ 23 w 46"/>
                <a:gd name="T89" fmla="*/ 65 h 182"/>
                <a:gd name="T90" fmla="*/ 22 w 46"/>
                <a:gd name="T91" fmla="*/ 61 h 182"/>
                <a:gd name="T92" fmla="*/ 21 w 46"/>
                <a:gd name="T93" fmla="*/ 56 h 182"/>
                <a:gd name="T94" fmla="*/ 18 w 46"/>
                <a:gd name="T95" fmla="*/ 54 h 182"/>
                <a:gd name="T96" fmla="*/ 15 w 46"/>
                <a:gd name="T97" fmla="*/ 47 h 182"/>
                <a:gd name="T98" fmla="*/ 14 w 46"/>
                <a:gd name="T99" fmla="*/ 44 h 182"/>
                <a:gd name="T100" fmla="*/ 14 w 46"/>
                <a:gd name="T101" fmla="*/ 37 h 182"/>
                <a:gd name="T102" fmla="*/ 12 w 46"/>
                <a:gd name="T103" fmla="*/ 29 h 182"/>
                <a:gd name="T104" fmla="*/ 11 w 46"/>
                <a:gd name="T105" fmla="*/ 25 h 182"/>
                <a:gd name="T106" fmla="*/ 9 w 46"/>
                <a:gd name="T107" fmla="*/ 20 h 182"/>
                <a:gd name="T108" fmla="*/ 8 w 46"/>
                <a:gd name="T109" fmla="*/ 10 h 182"/>
                <a:gd name="T110" fmla="*/ 4 w 46"/>
                <a:gd name="T111" fmla="*/ 0 h 182"/>
                <a:gd name="T112" fmla="*/ 1 w 46"/>
                <a:gd name="T113" fmla="*/ 5 h 182"/>
                <a:gd name="T114" fmla="*/ 1 w 46"/>
                <a:gd name="T115" fmla="*/ 14 h 182"/>
                <a:gd name="T116" fmla="*/ 0 w 46"/>
                <a:gd name="T117" fmla="*/ 21 h 182"/>
                <a:gd name="T118" fmla="*/ 0 w 46"/>
                <a:gd name="T119" fmla="*/ 30 h 182"/>
                <a:gd name="T120" fmla="*/ 1 w 46"/>
                <a:gd name="T121" fmla="*/ 37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6" h="182">
                  <a:moveTo>
                    <a:pt x="1" y="37"/>
                  </a:moveTo>
                  <a:cubicBezTo>
                    <a:pt x="2" y="39"/>
                    <a:pt x="4" y="40"/>
                    <a:pt x="5" y="42"/>
                  </a:cubicBezTo>
                  <a:cubicBezTo>
                    <a:pt x="5" y="43"/>
                    <a:pt x="5" y="44"/>
                    <a:pt x="5" y="45"/>
                  </a:cubicBezTo>
                  <a:cubicBezTo>
                    <a:pt x="5" y="46"/>
                    <a:pt x="6" y="48"/>
                    <a:pt x="6" y="49"/>
                  </a:cubicBezTo>
                  <a:cubicBezTo>
                    <a:pt x="7" y="52"/>
                    <a:pt x="7" y="56"/>
                    <a:pt x="10" y="56"/>
                  </a:cubicBezTo>
                  <a:cubicBezTo>
                    <a:pt x="10" y="57"/>
                    <a:pt x="10" y="58"/>
                    <a:pt x="10" y="59"/>
                  </a:cubicBezTo>
                  <a:cubicBezTo>
                    <a:pt x="11" y="59"/>
                    <a:pt x="12" y="60"/>
                    <a:pt x="14" y="60"/>
                  </a:cubicBezTo>
                  <a:cubicBezTo>
                    <a:pt x="14" y="64"/>
                    <a:pt x="13" y="69"/>
                    <a:pt x="15" y="74"/>
                  </a:cubicBezTo>
                  <a:cubicBezTo>
                    <a:pt x="16" y="76"/>
                    <a:pt x="16" y="76"/>
                    <a:pt x="16" y="79"/>
                  </a:cubicBezTo>
                  <a:cubicBezTo>
                    <a:pt x="16" y="81"/>
                    <a:pt x="14" y="83"/>
                    <a:pt x="13" y="85"/>
                  </a:cubicBezTo>
                  <a:cubicBezTo>
                    <a:pt x="13" y="87"/>
                    <a:pt x="12" y="88"/>
                    <a:pt x="12" y="91"/>
                  </a:cubicBezTo>
                  <a:cubicBezTo>
                    <a:pt x="13" y="94"/>
                    <a:pt x="12" y="95"/>
                    <a:pt x="12" y="97"/>
                  </a:cubicBezTo>
                  <a:cubicBezTo>
                    <a:pt x="11" y="101"/>
                    <a:pt x="11" y="108"/>
                    <a:pt x="11" y="112"/>
                  </a:cubicBezTo>
                  <a:cubicBezTo>
                    <a:pt x="12" y="112"/>
                    <a:pt x="13" y="112"/>
                    <a:pt x="14" y="112"/>
                  </a:cubicBezTo>
                  <a:cubicBezTo>
                    <a:pt x="14" y="113"/>
                    <a:pt x="14" y="114"/>
                    <a:pt x="14" y="115"/>
                  </a:cubicBezTo>
                  <a:cubicBezTo>
                    <a:pt x="19" y="116"/>
                    <a:pt x="17" y="123"/>
                    <a:pt x="17" y="128"/>
                  </a:cubicBezTo>
                  <a:cubicBezTo>
                    <a:pt x="18" y="131"/>
                    <a:pt x="19" y="131"/>
                    <a:pt x="19" y="135"/>
                  </a:cubicBezTo>
                  <a:cubicBezTo>
                    <a:pt x="19" y="138"/>
                    <a:pt x="19" y="141"/>
                    <a:pt x="19" y="144"/>
                  </a:cubicBezTo>
                  <a:cubicBezTo>
                    <a:pt x="19" y="145"/>
                    <a:pt x="18" y="151"/>
                    <a:pt x="19" y="152"/>
                  </a:cubicBezTo>
                  <a:cubicBezTo>
                    <a:pt x="20" y="154"/>
                    <a:pt x="24" y="152"/>
                    <a:pt x="25" y="152"/>
                  </a:cubicBezTo>
                  <a:cubicBezTo>
                    <a:pt x="29" y="153"/>
                    <a:pt x="30" y="161"/>
                    <a:pt x="30" y="166"/>
                  </a:cubicBezTo>
                  <a:cubicBezTo>
                    <a:pt x="30" y="168"/>
                    <a:pt x="30" y="170"/>
                    <a:pt x="31" y="171"/>
                  </a:cubicBezTo>
                  <a:cubicBezTo>
                    <a:pt x="32" y="172"/>
                    <a:pt x="34" y="171"/>
                    <a:pt x="35" y="172"/>
                  </a:cubicBezTo>
                  <a:cubicBezTo>
                    <a:pt x="37" y="174"/>
                    <a:pt x="38" y="182"/>
                    <a:pt x="42" y="182"/>
                  </a:cubicBezTo>
                  <a:cubicBezTo>
                    <a:pt x="42" y="182"/>
                    <a:pt x="45" y="180"/>
                    <a:pt x="45" y="179"/>
                  </a:cubicBezTo>
                  <a:cubicBezTo>
                    <a:pt x="46" y="178"/>
                    <a:pt x="44" y="172"/>
                    <a:pt x="44" y="172"/>
                  </a:cubicBezTo>
                  <a:cubicBezTo>
                    <a:pt x="43" y="171"/>
                    <a:pt x="42" y="171"/>
                    <a:pt x="42" y="172"/>
                  </a:cubicBezTo>
                  <a:cubicBezTo>
                    <a:pt x="40" y="170"/>
                    <a:pt x="40" y="172"/>
                    <a:pt x="39" y="170"/>
                  </a:cubicBezTo>
                  <a:cubicBezTo>
                    <a:pt x="38" y="169"/>
                    <a:pt x="37" y="166"/>
                    <a:pt x="36" y="165"/>
                  </a:cubicBezTo>
                  <a:cubicBezTo>
                    <a:pt x="35" y="162"/>
                    <a:pt x="36" y="161"/>
                    <a:pt x="35" y="158"/>
                  </a:cubicBezTo>
                  <a:cubicBezTo>
                    <a:pt x="35" y="154"/>
                    <a:pt x="34" y="152"/>
                    <a:pt x="34" y="149"/>
                  </a:cubicBezTo>
                  <a:cubicBezTo>
                    <a:pt x="33" y="149"/>
                    <a:pt x="32" y="149"/>
                    <a:pt x="32" y="149"/>
                  </a:cubicBezTo>
                  <a:cubicBezTo>
                    <a:pt x="31" y="147"/>
                    <a:pt x="31" y="145"/>
                    <a:pt x="30" y="143"/>
                  </a:cubicBezTo>
                  <a:cubicBezTo>
                    <a:pt x="30" y="141"/>
                    <a:pt x="31" y="138"/>
                    <a:pt x="30" y="135"/>
                  </a:cubicBezTo>
                  <a:cubicBezTo>
                    <a:pt x="29" y="135"/>
                    <a:pt x="29" y="135"/>
                    <a:pt x="28" y="134"/>
                  </a:cubicBezTo>
                  <a:cubicBezTo>
                    <a:pt x="28" y="131"/>
                    <a:pt x="26" y="131"/>
                    <a:pt x="25" y="128"/>
                  </a:cubicBezTo>
                  <a:cubicBezTo>
                    <a:pt x="23" y="125"/>
                    <a:pt x="24" y="121"/>
                    <a:pt x="24" y="117"/>
                  </a:cubicBezTo>
                  <a:cubicBezTo>
                    <a:pt x="24" y="112"/>
                    <a:pt x="24" y="112"/>
                    <a:pt x="28" y="112"/>
                  </a:cubicBezTo>
                  <a:cubicBezTo>
                    <a:pt x="33" y="112"/>
                    <a:pt x="30" y="110"/>
                    <a:pt x="31" y="105"/>
                  </a:cubicBezTo>
                  <a:cubicBezTo>
                    <a:pt x="32" y="102"/>
                    <a:pt x="33" y="100"/>
                    <a:pt x="33" y="96"/>
                  </a:cubicBezTo>
                  <a:cubicBezTo>
                    <a:pt x="32" y="92"/>
                    <a:pt x="30" y="90"/>
                    <a:pt x="28" y="87"/>
                  </a:cubicBezTo>
                  <a:cubicBezTo>
                    <a:pt x="26" y="85"/>
                    <a:pt x="25" y="82"/>
                    <a:pt x="24" y="80"/>
                  </a:cubicBezTo>
                  <a:cubicBezTo>
                    <a:pt x="24" y="78"/>
                    <a:pt x="24" y="77"/>
                    <a:pt x="24" y="75"/>
                  </a:cubicBezTo>
                  <a:cubicBezTo>
                    <a:pt x="24" y="73"/>
                    <a:pt x="23" y="72"/>
                    <a:pt x="23" y="70"/>
                  </a:cubicBezTo>
                  <a:cubicBezTo>
                    <a:pt x="22" y="68"/>
                    <a:pt x="23" y="66"/>
                    <a:pt x="23" y="65"/>
                  </a:cubicBezTo>
                  <a:cubicBezTo>
                    <a:pt x="22" y="63"/>
                    <a:pt x="22" y="62"/>
                    <a:pt x="22" y="61"/>
                  </a:cubicBezTo>
                  <a:cubicBezTo>
                    <a:pt x="21" y="59"/>
                    <a:pt x="22" y="57"/>
                    <a:pt x="21" y="56"/>
                  </a:cubicBezTo>
                  <a:cubicBezTo>
                    <a:pt x="20" y="54"/>
                    <a:pt x="19" y="55"/>
                    <a:pt x="18" y="54"/>
                  </a:cubicBezTo>
                  <a:cubicBezTo>
                    <a:pt x="17" y="52"/>
                    <a:pt x="16" y="48"/>
                    <a:pt x="15" y="47"/>
                  </a:cubicBezTo>
                  <a:cubicBezTo>
                    <a:pt x="15" y="45"/>
                    <a:pt x="14" y="45"/>
                    <a:pt x="14" y="44"/>
                  </a:cubicBezTo>
                  <a:cubicBezTo>
                    <a:pt x="13" y="42"/>
                    <a:pt x="14" y="39"/>
                    <a:pt x="14" y="37"/>
                  </a:cubicBezTo>
                  <a:cubicBezTo>
                    <a:pt x="14" y="33"/>
                    <a:pt x="12" y="32"/>
                    <a:pt x="12" y="29"/>
                  </a:cubicBezTo>
                  <a:cubicBezTo>
                    <a:pt x="11" y="28"/>
                    <a:pt x="11" y="26"/>
                    <a:pt x="11" y="25"/>
                  </a:cubicBezTo>
                  <a:cubicBezTo>
                    <a:pt x="11" y="23"/>
                    <a:pt x="9" y="22"/>
                    <a:pt x="9" y="20"/>
                  </a:cubicBezTo>
                  <a:cubicBezTo>
                    <a:pt x="8" y="17"/>
                    <a:pt x="9" y="13"/>
                    <a:pt x="8" y="10"/>
                  </a:cubicBezTo>
                  <a:cubicBezTo>
                    <a:pt x="7" y="7"/>
                    <a:pt x="3" y="3"/>
                    <a:pt x="4" y="0"/>
                  </a:cubicBezTo>
                  <a:cubicBezTo>
                    <a:pt x="3" y="1"/>
                    <a:pt x="2" y="4"/>
                    <a:pt x="1" y="5"/>
                  </a:cubicBezTo>
                  <a:cubicBezTo>
                    <a:pt x="1" y="8"/>
                    <a:pt x="1" y="11"/>
                    <a:pt x="1" y="14"/>
                  </a:cubicBezTo>
                  <a:cubicBezTo>
                    <a:pt x="1" y="17"/>
                    <a:pt x="0" y="18"/>
                    <a:pt x="0" y="21"/>
                  </a:cubicBezTo>
                  <a:cubicBezTo>
                    <a:pt x="0" y="23"/>
                    <a:pt x="0" y="27"/>
                    <a:pt x="0" y="30"/>
                  </a:cubicBezTo>
                  <a:cubicBezTo>
                    <a:pt x="0" y="32"/>
                    <a:pt x="1" y="35"/>
                    <a:pt x="1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87">
              <a:extLst>
                <a:ext uri="{FF2B5EF4-FFF2-40B4-BE49-F238E27FC236}">
                  <a16:creationId xmlns:a16="http://schemas.microsoft.com/office/drawing/2014/main" id="{E6DE84CC-4A53-4096-997C-949B5623B1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972" y="2783757"/>
              <a:ext cx="149376" cy="137024"/>
            </a:xfrm>
            <a:custGeom>
              <a:avLst/>
              <a:gdLst>
                <a:gd name="T0" fmla="*/ 27 w 71"/>
                <a:gd name="T1" fmla="*/ 15 h 65"/>
                <a:gd name="T2" fmla="*/ 25 w 71"/>
                <a:gd name="T3" fmla="*/ 15 h 65"/>
                <a:gd name="T4" fmla="*/ 24 w 71"/>
                <a:gd name="T5" fmla="*/ 8 h 65"/>
                <a:gd name="T6" fmla="*/ 20 w 71"/>
                <a:gd name="T7" fmla="*/ 3 h 65"/>
                <a:gd name="T8" fmla="*/ 14 w 71"/>
                <a:gd name="T9" fmla="*/ 1 h 65"/>
                <a:gd name="T10" fmla="*/ 11 w 71"/>
                <a:gd name="T11" fmla="*/ 8 h 65"/>
                <a:gd name="T12" fmla="*/ 15 w 71"/>
                <a:gd name="T13" fmla="*/ 9 h 65"/>
                <a:gd name="T14" fmla="*/ 17 w 71"/>
                <a:gd name="T15" fmla="*/ 13 h 65"/>
                <a:gd name="T16" fmla="*/ 17 w 71"/>
                <a:gd name="T17" fmla="*/ 26 h 65"/>
                <a:gd name="T18" fmla="*/ 12 w 71"/>
                <a:gd name="T19" fmla="*/ 32 h 65"/>
                <a:gd name="T20" fmla="*/ 11 w 71"/>
                <a:gd name="T21" fmla="*/ 35 h 65"/>
                <a:gd name="T22" fmla="*/ 9 w 71"/>
                <a:gd name="T23" fmla="*/ 38 h 65"/>
                <a:gd name="T24" fmla="*/ 5 w 71"/>
                <a:gd name="T25" fmla="*/ 42 h 65"/>
                <a:gd name="T26" fmla="*/ 4 w 71"/>
                <a:gd name="T27" fmla="*/ 49 h 65"/>
                <a:gd name="T28" fmla="*/ 2 w 71"/>
                <a:gd name="T29" fmla="*/ 59 h 65"/>
                <a:gd name="T30" fmla="*/ 0 w 71"/>
                <a:gd name="T31" fmla="*/ 60 h 65"/>
                <a:gd name="T32" fmla="*/ 9 w 71"/>
                <a:gd name="T33" fmla="*/ 59 h 65"/>
                <a:gd name="T34" fmla="*/ 11 w 71"/>
                <a:gd name="T35" fmla="*/ 53 h 65"/>
                <a:gd name="T36" fmla="*/ 16 w 71"/>
                <a:gd name="T37" fmla="*/ 50 h 65"/>
                <a:gd name="T38" fmla="*/ 19 w 71"/>
                <a:gd name="T39" fmla="*/ 45 h 65"/>
                <a:gd name="T40" fmla="*/ 22 w 71"/>
                <a:gd name="T41" fmla="*/ 51 h 65"/>
                <a:gd name="T42" fmla="*/ 25 w 71"/>
                <a:gd name="T43" fmla="*/ 56 h 65"/>
                <a:gd name="T44" fmla="*/ 28 w 71"/>
                <a:gd name="T45" fmla="*/ 57 h 65"/>
                <a:gd name="T46" fmla="*/ 30 w 71"/>
                <a:gd name="T47" fmla="*/ 60 h 65"/>
                <a:gd name="T48" fmla="*/ 33 w 71"/>
                <a:gd name="T49" fmla="*/ 56 h 65"/>
                <a:gd name="T50" fmla="*/ 38 w 71"/>
                <a:gd name="T51" fmla="*/ 52 h 65"/>
                <a:gd name="T52" fmla="*/ 40 w 71"/>
                <a:gd name="T53" fmla="*/ 52 h 65"/>
                <a:gd name="T54" fmla="*/ 43 w 71"/>
                <a:gd name="T55" fmla="*/ 50 h 65"/>
                <a:gd name="T56" fmla="*/ 47 w 71"/>
                <a:gd name="T57" fmla="*/ 46 h 65"/>
                <a:gd name="T58" fmla="*/ 50 w 71"/>
                <a:gd name="T59" fmla="*/ 42 h 65"/>
                <a:gd name="T60" fmla="*/ 56 w 71"/>
                <a:gd name="T61" fmla="*/ 40 h 65"/>
                <a:gd name="T62" fmla="*/ 68 w 71"/>
                <a:gd name="T63" fmla="*/ 36 h 65"/>
                <a:gd name="T64" fmla="*/ 70 w 71"/>
                <a:gd name="T65" fmla="*/ 29 h 65"/>
                <a:gd name="T66" fmla="*/ 69 w 71"/>
                <a:gd name="T67" fmla="*/ 26 h 65"/>
                <a:gd name="T68" fmla="*/ 65 w 71"/>
                <a:gd name="T69" fmla="*/ 24 h 65"/>
                <a:gd name="T70" fmla="*/ 62 w 71"/>
                <a:gd name="T71" fmla="*/ 24 h 65"/>
                <a:gd name="T72" fmla="*/ 58 w 71"/>
                <a:gd name="T73" fmla="*/ 22 h 65"/>
                <a:gd name="T74" fmla="*/ 50 w 71"/>
                <a:gd name="T75" fmla="*/ 22 h 65"/>
                <a:gd name="T76" fmla="*/ 45 w 71"/>
                <a:gd name="T77" fmla="*/ 24 h 65"/>
                <a:gd name="T78" fmla="*/ 38 w 71"/>
                <a:gd name="T79" fmla="*/ 24 h 65"/>
                <a:gd name="T80" fmla="*/ 27 w 71"/>
                <a:gd name="T81" fmla="*/ 1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1" h="65">
                  <a:moveTo>
                    <a:pt x="27" y="15"/>
                  </a:moveTo>
                  <a:cubicBezTo>
                    <a:pt x="27" y="15"/>
                    <a:pt x="26" y="15"/>
                    <a:pt x="25" y="15"/>
                  </a:cubicBezTo>
                  <a:cubicBezTo>
                    <a:pt x="25" y="13"/>
                    <a:pt x="24" y="9"/>
                    <a:pt x="24" y="8"/>
                  </a:cubicBezTo>
                  <a:cubicBezTo>
                    <a:pt x="23" y="5"/>
                    <a:pt x="21" y="5"/>
                    <a:pt x="20" y="3"/>
                  </a:cubicBezTo>
                  <a:cubicBezTo>
                    <a:pt x="17" y="2"/>
                    <a:pt x="17" y="0"/>
                    <a:pt x="14" y="1"/>
                  </a:cubicBezTo>
                  <a:cubicBezTo>
                    <a:pt x="11" y="2"/>
                    <a:pt x="11" y="3"/>
                    <a:pt x="11" y="8"/>
                  </a:cubicBezTo>
                  <a:cubicBezTo>
                    <a:pt x="13" y="8"/>
                    <a:pt x="14" y="9"/>
                    <a:pt x="15" y="9"/>
                  </a:cubicBezTo>
                  <a:cubicBezTo>
                    <a:pt x="18" y="11"/>
                    <a:pt x="16" y="10"/>
                    <a:pt x="17" y="13"/>
                  </a:cubicBezTo>
                  <a:cubicBezTo>
                    <a:pt x="18" y="17"/>
                    <a:pt x="20" y="22"/>
                    <a:pt x="17" y="26"/>
                  </a:cubicBezTo>
                  <a:cubicBezTo>
                    <a:pt x="16" y="28"/>
                    <a:pt x="13" y="30"/>
                    <a:pt x="12" y="32"/>
                  </a:cubicBezTo>
                  <a:cubicBezTo>
                    <a:pt x="11" y="33"/>
                    <a:pt x="11" y="34"/>
                    <a:pt x="11" y="35"/>
                  </a:cubicBezTo>
                  <a:cubicBezTo>
                    <a:pt x="11" y="37"/>
                    <a:pt x="10" y="38"/>
                    <a:pt x="9" y="38"/>
                  </a:cubicBezTo>
                  <a:cubicBezTo>
                    <a:pt x="8" y="39"/>
                    <a:pt x="7" y="41"/>
                    <a:pt x="5" y="42"/>
                  </a:cubicBezTo>
                  <a:cubicBezTo>
                    <a:pt x="7" y="46"/>
                    <a:pt x="5" y="46"/>
                    <a:pt x="4" y="49"/>
                  </a:cubicBezTo>
                  <a:cubicBezTo>
                    <a:pt x="2" y="52"/>
                    <a:pt x="2" y="55"/>
                    <a:pt x="2" y="59"/>
                  </a:cubicBezTo>
                  <a:cubicBezTo>
                    <a:pt x="2" y="59"/>
                    <a:pt x="0" y="60"/>
                    <a:pt x="0" y="60"/>
                  </a:cubicBezTo>
                  <a:cubicBezTo>
                    <a:pt x="4" y="61"/>
                    <a:pt x="6" y="65"/>
                    <a:pt x="9" y="59"/>
                  </a:cubicBezTo>
                  <a:cubicBezTo>
                    <a:pt x="9" y="57"/>
                    <a:pt x="10" y="55"/>
                    <a:pt x="11" y="53"/>
                  </a:cubicBezTo>
                  <a:cubicBezTo>
                    <a:pt x="13" y="50"/>
                    <a:pt x="14" y="52"/>
                    <a:pt x="16" y="50"/>
                  </a:cubicBezTo>
                  <a:cubicBezTo>
                    <a:pt x="18" y="49"/>
                    <a:pt x="17" y="46"/>
                    <a:pt x="19" y="45"/>
                  </a:cubicBezTo>
                  <a:cubicBezTo>
                    <a:pt x="22" y="44"/>
                    <a:pt x="21" y="48"/>
                    <a:pt x="22" y="51"/>
                  </a:cubicBezTo>
                  <a:cubicBezTo>
                    <a:pt x="23" y="52"/>
                    <a:pt x="24" y="55"/>
                    <a:pt x="25" y="56"/>
                  </a:cubicBezTo>
                  <a:cubicBezTo>
                    <a:pt x="26" y="57"/>
                    <a:pt x="26" y="56"/>
                    <a:pt x="28" y="57"/>
                  </a:cubicBezTo>
                  <a:cubicBezTo>
                    <a:pt x="29" y="58"/>
                    <a:pt x="29" y="60"/>
                    <a:pt x="30" y="60"/>
                  </a:cubicBezTo>
                  <a:cubicBezTo>
                    <a:pt x="33" y="63"/>
                    <a:pt x="32" y="58"/>
                    <a:pt x="33" y="56"/>
                  </a:cubicBezTo>
                  <a:cubicBezTo>
                    <a:pt x="34" y="53"/>
                    <a:pt x="36" y="52"/>
                    <a:pt x="38" y="52"/>
                  </a:cubicBezTo>
                  <a:cubicBezTo>
                    <a:pt x="38" y="52"/>
                    <a:pt x="39" y="52"/>
                    <a:pt x="40" y="52"/>
                  </a:cubicBezTo>
                  <a:cubicBezTo>
                    <a:pt x="41" y="52"/>
                    <a:pt x="41" y="50"/>
                    <a:pt x="43" y="50"/>
                  </a:cubicBezTo>
                  <a:cubicBezTo>
                    <a:pt x="46" y="49"/>
                    <a:pt x="46" y="51"/>
                    <a:pt x="47" y="46"/>
                  </a:cubicBezTo>
                  <a:cubicBezTo>
                    <a:pt x="48" y="44"/>
                    <a:pt x="48" y="43"/>
                    <a:pt x="50" y="42"/>
                  </a:cubicBezTo>
                  <a:cubicBezTo>
                    <a:pt x="53" y="40"/>
                    <a:pt x="54" y="40"/>
                    <a:pt x="56" y="40"/>
                  </a:cubicBezTo>
                  <a:cubicBezTo>
                    <a:pt x="61" y="40"/>
                    <a:pt x="63" y="37"/>
                    <a:pt x="68" y="36"/>
                  </a:cubicBezTo>
                  <a:cubicBezTo>
                    <a:pt x="68" y="32"/>
                    <a:pt x="70" y="32"/>
                    <a:pt x="70" y="29"/>
                  </a:cubicBezTo>
                  <a:cubicBezTo>
                    <a:pt x="71" y="26"/>
                    <a:pt x="70" y="27"/>
                    <a:pt x="69" y="26"/>
                  </a:cubicBezTo>
                  <a:cubicBezTo>
                    <a:pt x="69" y="26"/>
                    <a:pt x="66" y="24"/>
                    <a:pt x="65" y="24"/>
                  </a:cubicBezTo>
                  <a:cubicBezTo>
                    <a:pt x="64" y="23"/>
                    <a:pt x="63" y="24"/>
                    <a:pt x="62" y="24"/>
                  </a:cubicBezTo>
                  <a:cubicBezTo>
                    <a:pt x="59" y="24"/>
                    <a:pt x="60" y="23"/>
                    <a:pt x="58" y="22"/>
                  </a:cubicBezTo>
                  <a:cubicBezTo>
                    <a:pt x="56" y="20"/>
                    <a:pt x="53" y="22"/>
                    <a:pt x="50" y="22"/>
                  </a:cubicBezTo>
                  <a:cubicBezTo>
                    <a:pt x="48" y="22"/>
                    <a:pt x="47" y="23"/>
                    <a:pt x="45" y="24"/>
                  </a:cubicBezTo>
                  <a:cubicBezTo>
                    <a:pt x="43" y="25"/>
                    <a:pt x="40" y="24"/>
                    <a:pt x="38" y="24"/>
                  </a:cubicBezTo>
                  <a:cubicBezTo>
                    <a:pt x="33" y="24"/>
                    <a:pt x="28" y="23"/>
                    <a:pt x="2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88">
              <a:extLst>
                <a:ext uri="{FF2B5EF4-FFF2-40B4-BE49-F238E27FC236}">
                  <a16:creationId xmlns:a16="http://schemas.microsoft.com/office/drawing/2014/main" id="{CDBA20D5-0052-46AB-A2FD-A8494D4A7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3965" y="2947736"/>
              <a:ext cx="234734" cy="329080"/>
            </a:xfrm>
            <a:custGeom>
              <a:avLst/>
              <a:gdLst>
                <a:gd name="T0" fmla="*/ 7 w 111"/>
                <a:gd name="T1" fmla="*/ 119 h 156"/>
                <a:gd name="T2" fmla="*/ 13 w 111"/>
                <a:gd name="T3" fmla="*/ 123 h 156"/>
                <a:gd name="T4" fmla="*/ 17 w 111"/>
                <a:gd name="T5" fmla="*/ 129 h 156"/>
                <a:gd name="T6" fmla="*/ 19 w 111"/>
                <a:gd name="T7" fmla="*/ 137 h 156"/>
                <a:gd name="T8" fmla="*/ 18 w 111"/>
                <a:gd name="T9" fmla="*/ 146 h 156"/>
                <a:gd name="T10" fmla="*/ 25 w 111"/>
                <a:gd name="T11" fmla="*/ 151 h 156"/>
                <a:gd name="T12" fmla="*/ 27 w 111"/>
                <a:gd name="T13" fmla="*/ 132 h 156"/>
                <a:gd name="T14" fmla="*/ 23 w 111"/>
                <a:gd name="T15" fmla="*/ 116 h 156"/>
                <a:gd name="T16" fmla="*/ 24 w 111"/>
                <a:gd name="T17" fmla="*/ 102 h 156"/>
                <a:gd name="T18" fmla="*/ 38 w 111"/>
                <a:gd name="T19" fmla="*/ 93 h 156"/>
                <a:gd name="T20" fmla="*/ 44 w 111"/>
                <a:gd name="T21" fmla="*/ 93 h 156"/>
                <a:gd name="T22" fmla="*/ 58 w 111"/>
                <a:gd name="T23" fmla="*/ 93 h 156"/>
                <a:gd name="T24" fmla="*/ 47 w 111"/>
                <a:gd name="T25" fmla="*/ 110 h 156"/>
                <a:gd name="T26" fmla="*/ 40 w 111"/>
                <a:gd name="T27" fmla="*/ 122 h 156"/>
                <a:gd name="T28" fmla="*/ 40 w 111"/>
                <a:gd name="T29" fmla="*/ 134 h 156"/>
                <a:gd name="T30" fmla="*/ 42 w 111"/>
                <a:gd name="T31" fmla="*/ 134 h 156"/>
                <a:gd name="T32" fmla="*/ 51 w 111"/>
                <a:gd name="T33" fmla="*/ 118 h 156"/>
                <a:gd name="T34" fmla="*/ 70 w 111"/>
                <a:gd name="T35" fmla="*/ 111 h 156"/>
                <a:gd name="T36" fmla="*/ 76 w 111"/>
                <a:gd name="T37" fmla="*/ 109 h 156"/>
                <a:gd name="T38" fmla="*/ 86 w 111"/>
                <a:gd name="T39" fmla="*/ 98 h 156"/>
                <a:gd name="T40" fmla="*/ 108 w 111"/>
                <a:gd name="T41" fmla="*/ 85 h 156"/>
                <a:gd name="T42" fmla="*/ 106 w 111"/>
                <a:gd name="T43" fmla="*/ 77 h 156"/>
                <a:gd name="T44" fmla="*/ 101 w 111"/>
                <a:gd name="T45" fmla="*/ 76 h 156"/>
                <a:gd name="T46" fmla="*/ 99 w 111"/>
                <a:gd name="T47" fmla="*/ 69 h 156"/>
                <a:gd name="T48" fmla="*/ 98 w 111"/>
                <a:gd name="T49" fmla="*/ 53 h 156"/>
                <a:gd name="T50" fmla="*/ 106 w 111"/>
                <a:gd name="T51" fmla="*/ 38 h 156"/>
                <a:gd name="T52" fmla="*/ 109 w 111"/>
                <a:gd name="T53" fmla="*/ 29 h 156"/>
                <a:gd name="T54" fmla="*/ 106 w 111"/>
                <a:gd name="T55" fmla="*/ 20 h 156"/>
                <a:gd name="T56" fmla="*/ 95 w 111"/>
                <a:gd name="T57" fmla="*/ 10 h 156"/>
                <a:gd name="T58" fmla="*/ 92 w 111"/>
                <a:gd name="T59" fmla="*/ 3 h 156"/>
                <a:gd name="T60" fmla="*/ 87 w 111"/>
                <a:gd name="T61" fmla="*/ 1 h 156"/>
                <a:gd name="T62" fmla="*/ 80 w 111"/>
                <a:gd name="T63" fmla="*/ 23 h 156"/>
                <a:gd name="T64" fmla="*/ 81 w 111"/>
                <a:gd name="T65" fmla="*/ 42 h 156"/>
                <a:gd name="T66" fmla="*/ 75 w 111"/>
                <a:gd name="T67" fmla="*/ 48 h 156"/>
                <a:gd name="T68" fmla="*/ 59 w 111"/>
                <a:gd name="T69" fmla="*/ 62 h 156"/>
                <a:gd name="T70" fmla="*/ 43 w 111"/>
                <a:gd name="T71" fmla="*/ 77 h 156"/>
                <a:gd name="T72" fmla="*/ 36 w 111"/>
                <a:gd name="T73" fmla="*/ 84 h 156"/>
                <a:gd name="T74" fmla="*/ 30 w 111"/>
                <a:gd name="T75" fmla="*/ 86 h 156"/>
                <a:gd name="T76" fmla="*/ 24 w 111"/>
                <a:gd name="T77" fmla="*/ 92 h 156"/>
                <a:gd name="T78" fmla="*/ 18 w 111"/>
                <a:gd name="T79" fmla="*/ 102 h 156"/>
                <a:gd name="T80" fmla="*/ 10 w 111"/>
                <a:gd name="T81" fmla="*/ 109 h 156"/>
                <a:gd name="T82" fmla="*/ 4 w 111"/>
                <a:gd name="T83" fmla="*/ 111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1" h="156">
                  <a:moveTo>
                    <a:pt x="3" y="120"/>
                  </a:moveTo>
                  <a:cubicBezTo>
                    <a:pt x="4" y="120"/>
                    <a:pt x="6" y="119"/>
                    <a:pt x="7" y="119"/>
                  </a:cubicBezTo>
                  <a:cubicBezTo>
                    <a:pt x="8" y="120"/>
                    <a:pt x="10" y="121"/>
                    <a:pt x="11" y="121"/>
                  </a:cubicBezTo>
                  <a:cubicBezTo>
                    <a:pt x="13" y="122"/>
                    <a:pt x="12" y="121"/>
                    <a:pt x="13" y="123"/>
                  </a:cubicBezTo>
                  <a:cubicBezTo>
                    <a:pt x="14" y="124"/>
                    <a:pt x="15" y="126"/>
                    <a:pt x="15" y="128"/>
                  </a:cubicBezTo>
                  <a:cubicBezTo>
                    <a:pt x="15" y="128"/>
                    <a:pt x="16" y="128"/>
                    <a:pt x="17" y="129"/>
                  </a:cubicBezTo>
                  <a:cubicBezTo>
                    <a:pt x="17" y="131"/>
                    <a:pt x="17" y="134"/>
                    <a:pt x="17" y="137"/>
                  </a:cubicBezTo>
                  <a:cubicBezTo>
                    <a:pt x="18" y="137"/>
                    <a:pt x="19" y="137"/>
                    <a:pt x="19" y="137"/>
                  </a:cubicBezTo>
                  <a:cubicBezTo>
                    <a:pt x="20" y="140"/>
                    <a:pt x="20" y="143"/>
                    <a:pt x="19" y="145"/>
                  </a:cubicBezTo>
                  <a:cubicBezTo>
                    <a:pt x="19" y="146"/>
                    <a:pt x="19" y="146"/>
                    <a:pt x="18" y="146"/>
                  </a:cubicBezTo>
                  <a:cubicBezTo>
                    <a:pt x="17" y="149"/>
                    <a:pt x="19" y="152"/>
                    <a:pt x="21" y="153"/>
                  </a:cubicBezTo>
                  <a:cubicBezTo>
                    <a:pt x="23" y="155"/>
                    <a:pt x="24" y="156"/>
                    <a:pt x="25" y="151"/>
                  </a:cubicBezTo>
                  <a:cubicBezTo>
                    <a:pt x="25" y="148"/>
                    <a:pt x="24" y="144"/>
                    <a:pt x="25" y="141"/>
                  </a:cubicBezTo>
                  <a:cubicBezTo>
                    <a:pt x="26" y="137"/>
                    <a:pt x="27" y="136"/>
                    <a:pt x="27" y="132"/>
                  </a:cubicBezTo>
                  <a:cubicBezTo>
                    <a:pt x="27" y="129"/>
                    <a:pt x="28" y="123"/>
                    <a:pt x="27" y="121"/>
                  </a:cubicBezTo>
                  <a:cubicBezTo>
                    <a:pt x="26" y="119"/>
                    <a:pt x="24" y="119"/>
                    <a:pt x="23" y="116"/>
                  </a:cubicBezTo>
                  <a:cubicBezTo>
                    <a:pt x="23" y="114"/>
                    <a:pt x="23" y="108"/>
                    <a:pt x="23" y="105"/>
                  </a:cubicBezTo>
                  <a:cubicBezTo>
                    <a:pt x="24" y="103"/>
                    <a:pt x="23" y="103"/>
                    <a:pt x="24" y="102"/>
                  </a:cubicBezTo>
                  <a:cubicBezTo>
                    <a:pt x="26" y="101"/>
                    <a:pt x="28" y="102"/>
                    <a:pt x="30" y="102"/>
                  </a:cubicBezTo>
                  <a:cubicBezTo>
                    <a:pt x="34" y="101"/>
                    <a:pt x="36" y="96"/>
                    <a:pt x="38" y="93"/>
                  </a:cubicBezTo>
                  <a:cubicBezTo>
                    <a:pt x="39" y="93"/>
                    <a:pt x="41" y="91"/>
                    <a:pt x="41" y="91"/>
                  </a:cubicBezTo>
                  <a:cubicBezTo>
                    <a:pt x="43" y="91"/>
                    <a:pt x="43" y="92"/>
                    <a:pt x="44" y="93"/>
                  </a:cubicBezTo>
                  <a:cubicBezTo>
                    <a:pt x="46" y="93"/>
                    <a:pt x="50" y="94"/>
                    <a:pt x="52" y="93"/>
                  </a:cubicBezTo>
                  <a:cubicBezTo>
                    <a:pt x="54" y="93"/>
                    <a:pt x="57" y="89"/>
                    <a:pt x="58" y="93"/>
                  </a:cubicBezTo>
                  <a:cubicBezTo>
                    <a:pt x="60" y="96"/>
                    <a:pt x="58" y="99"/>
                    <a:pt x="57" y="102"/>
                  </a:cubicBezTo>
                  <a:cubicBezTo>
                    <a:pt x="54" y="106"/>
                    <a:pt x="50" y="107"/>
                    <a:pt x="47" y="110"/>
                  </a:cubicBezTo>
                  <a:cubicBezTo>
                    <a:pt x="46" y="111"/>
                    <a:pt x="43" y="113"/>
                    <a:pt x="42" y="114"/>
                  </a:cubicBezTo>
                  <a:cubicBezTo>
                    <a:pt x="41" y="116"/>
                    <a:pt x="41" y="119"/>
                    <a:pt x="40" y="122"/>
                  </a:cubicBezTo>
                  <a:cubicBezTo>
                    <a:pt x="39" y="125"/>
                    <a:pt x="38" y="126"/>
                    <a:pt x="38" y="130"/>
                  </a:cubicBezTo>
                  <a:cubicBezTo>
                    <a:pt x="38" y="131"/>
                    <a:pt x="39" y="133"/>
                    <a:pt x="40" y="134"/>
                  </a:cubicBezTo>
                  <a:cubicBezTo>
                    <a:pt x="40" y="135"/>
                    <a:pt x="40" y="135"/>
                    <a:pt x="41" y="136"/>
                  </a:cubicBezTo>
                  <a:cubicBezTo>
                    <a:pt x="42" y="136"/>
                    <a:pt x="42" y="135"/>
                    <a:pt x="42" y="134"/>
                  </a:cubicBezTo>
                  <a:cubicBezTo>
                    <a:pt x="44" y="132"/>
                    <a:pt x="46" y="128"/>
                    <a:pt x="48" y="125"/>
                  </a:cubicBezTo>
                  <a:cubicBezTo>
                    <a:pt x="49" y="123"/>
                    <a:pt x="50" y="120"/>
                    <a:pt x="51" y="118"/>
                  </a:cubicBezTo>
                  <a:cubicBezTo>
                    <a:pt x="55" y="112"/>
                    <a:pt x="62" y="119"/>
                    <a:pt x="66" y="116"/>
                  </a:cubicBezTo>
                  <a:cubicBezTo>
                    <a:pt x="67" y="115"/>
                    <a:pt x="69" y="112"/>
                    <a:pt x="70" y="111"/>
                  </a:cubicBezTo>
                  <a:cubicBezTo>
                    <a:pt x="71" y="110"/>
                    <a:pt x="71" y="109"/>
                    <a:pt x="72" y="109"/>
                  </a:cubicBezTo>
                  <a:cubicBezTo>
                    <a:pt x="73" y="108"/>
                    <a:pt x="75" y="109"/>
                    <a:pt x="76" y="109"/>
                  </a:cubicBezTo>
                  <a:cubicBezTo>
                    <a:pt x="78" y="108"/>
                    <a:pt x="80" y="107"/>
                    <a:pt x="81" y="105"/>
                  </a:cubicBezTo>
                  <a:cubicBezTo>
                    <a:pt x="84" y="103"/>
                    <a:pt x="85" y="103"/>
                    <a:pt x="86" y="98"/>
                  </a:cubicBezTo>
                  <a:cubicBezTo>
                    <a:pt x="88" y="93"/>
                    <a:pt x="91" y="90"/>
                    <a:pt x="95" y="90"/>
                  </a:cubicBezTo>
                  <a:cubicBezTo>
                    <a:pt x="100" y="90"/>
                    <a:pt x="105" y="91"/>
                    <a:pt x="108" y="85"/>
                  </a:cubicBezTo>
                  <a:cubicBezTo>
                    <a:pt x="109" y="83"/>
                    <a:pt x="109" y="81"/>
                    <a:pt x="109" y="78"/>
                  </a:cubicBezTo>
                  <a:cubicBezTo>
                    <a:pt x="108" y="78"/>
                    <a:pt x="107" y="77"/>
                    <a:pt x="106" y="77"/>
                  </a:cubicBezTo>
                  <a:cubicBezTo>
                    <a:pt x="105" y="76"/>
                    <a:pt x="105" y="76"/>
                    <a:pt x="104" y="76"/>
                  </a:cubicBezTo>
                  <a:cubicBezTo>
                    <a:pt x="103" y="76"/>
                    <a:pt x="102" y="76"/>
                    <a:pt x="101" y="76"/>
                  </a:cubicBezTo>
                  <a:cubicBezTo>
                    <a:pt x="100" y="75"/>
                    <a:pt x="99" y="74"/>
                    <a:pt x="99" y="72"/>
                  </a:cubicBezTo>
                  <a:cubicBezTo>
                    <a:pt x="99" y="71"/>
                    <a:pt x="99" y="70"/>
                    <a:pt x="99" y="69"/>
                  </a:cubicBezTo>
                  <a:cubicBezTo>
                    <a:pt x="99" y="68"/>
                    <a:pt x="99" y="67"/>
                    <a:pt x="98" y="66"/>
                  </a:cubicBezTo>
                  <a:cubicBezTo>
                    <a:pt x="97" y="63"/>
                    <a:pt x="97" y="57"/>
                    <a:pt x="98" y="53"/>
                  </a:cubicBezTo>
                  <a:cubicBezTo>
                    <a:pt x="98" y="50"/>
                    <a:pt x="99" y="44"/>
                    <a:pt x="101" y="43"/>
                  </a:cubicBezTo>
                  <a:cubicBezTo>
                    <a:pt x="102" y="41"/>
                    <a:pt x="105" y="42"/>
                    <a:pt x="106" y="38"/>
                  </a:cubicBezTo>
                  <a:cubicBezTo>
                    <a:pt x="107" y="36"/>
                    <a:pt x="106" y="34"/>
                    <a:pt x="107" y="32"/>
                  </a:cubicBezTo>
                  <a:cubicBezTo>
                    <a:pt x="107" y="31"/>
                    <a:pt x="109" y="30"/>
                    <a:pt x="109" y="29"/>
                  </a:cubicBezTo>
                  <a:cubicBezTo>
                    <a:pt x="111" y="26"/>
                    <a:pt x="110" y="27"/>
                    <a:pt x="109" y="25"/>
                  </a:cubicBezTo>
                  <a:cubicBezTo>
                    <a:pt x="108" y="23"/>
                    <a:pt x="107" y="21"/>
                    <a:pt x="106" y="20"/>
                  </a:cubicBezTo>
                  <a:cubicBezTo>
                    <a:pt x="104" y="16"/>
                    <a:pt x="100" y="15"/>
                    <a:pt x="97" y="14"/>
                  </a:cubicBezTo>
                  <a:cubicBezTo>
                    <a:pt x="97" y="11"/>
                    <a:pt x="96" y="11"/>
                    <a:pt x="95" y="10"/>
                  </a:cubicBezTo>
                  <a:cubicBezTo>
                    <a:pt x="94" y="8"/>
                    <a:pt x="94" y="6"/>
                    <a:pt x="94" y="4"/>
                  </a:cubicBezTo>
                  <a:cubicBezTo>
                    <a:pt x="93" y="4"/>
                    <a:pt x="92" y="4"/>
                    <a:pt x="92" y="3"/>
                  </a:cubicBezTo>
                  <a:cubicBezTo>
                    <a:pt x="92" y="3"/>
                    <a:pt x="90" y="1"/>
                    <a:pt x="90" y="0"/>
                  </a:cubicBezTo>
                  <a:cubicBezTo>
                    <a:pt x="89" y="0"/>
                    <a:pt x="88" y="0"/>
                    <a:pt x="87" y="1"/>
                  </a:cubicBezTo>
                  <a:cubicBezTo>
                    <a:pt x="87" y="4"/>
                    <a:pt x="85" y="6"/>
                    <a:pt x="83" y="6"/>
                  </a:cubicBezTo>
                  <a:cubicBezTo>
                    <a:pt x="82" y="12"/>
                    <a:pt x="80" y="17"/>
                    <a:pt x="80" y="23"/>
                  </a:cubicBezTo>
                  <a:cubicBezTo>
                    <a:pt x="80" y="26"/>
                    <a:pt x="79" y="31"/>
                    <a:pt x="80" y="34"/>
                  </a:cubicBezTo>
                  <a:cubicBezTo>
                    <a:pt x="81" y="37"/>
                    <a:pt x="82" y="38"/>
                    <a:pt x="81" y="42"/>
                  </a:cubicBezTo>
                  <a:cubicBezTo>
                    <a:pt x="80" y="42"/>
                    <a:pt x="78" y="42"/>
                    <a:pt x="78" y="43"/>
                  </a:cubicBezTo>
                  <a:cubicBezTo>
                    <a:pt x="77" y="44"/>
                    <a:pt x="76" y="46"/>
                    <a:pt x="75" y="48"/>
                  </a:cubicBezTo>
                  <a:cubicBezTo>
                    <a:pt x="73" y="49"/>
                    <a:pt x="71" y="50"/>
                    <a:pt x="69" y="52"/>
                  </a:cubicBezTo>
                  <a:cubicBezTo>
                    <a:pt x="65" y="54"/>
                    <a:pt x="58" y="52"/>
                    <a:pt x="59" y="62"/>
                  </a:cubicBezTo>
                  <a:cubicBezTo>
                    <a:pt x="59" y="68"/>
                    <a:pt x="55" y="73"/>
                    <a:pt x="51" y="76"/>
                  </a:cubicBezTo>
                  <a:cubicBezTo>
                    <a:pt x="49" y="79"/>
                    <a:pt x="46" y="76"/>
                    <a:pt x="43" y="77"/>
                  </a:cubicBezTo>
                  <a:cubicBezTo>
                    <a:pt x="41" y="78"/>
                    <a:pt x="39" y="81"/>
                    <a:pt x="36" y="81"/>
                  </a:cubicBezTo>
                  <a:cubicBezTo>
                    <a:pt x="36" y="82"/>
                    <a:pt x="36" y="83"/>
                    <a:pt x="36" y="84"/>
                  </a:cubicBezTo>
                  <a:cubicBezTo>
                    <a:pt x="35" y="84"/>
                    <a:pt x="34" y="85"/>
                    <a:pt x="33" y="86"/>
                  </a:cubicBezTo>
                  <a:cubicBezTo>
                    <a:pt x="32" y="86"/>
                    <a:pt x="31" y="86"/>
                    <a:pt x="30" y="86"/>
                  </a:cubicBezTo>
                  <a:cubicBezTo>
                    <a:pt x="27" y="86"/>
                    <a:pt x="26" y="87"/>
                    <a:pt x="26" y="91"/>
                  </a:cubicBezTo>
                  <a:cubicBezTo>
                    <a:pt x="25" y="91"/>
                    <a:pt x="24" y="92"/>
                    <a:pt x="24" y="92"/>
                  </a:cubicBezTo>
                  <a:cubicBezTo>
                    <a:pt x="23" y="93"/>
                    <a:pt x="23" y="95"/>
                    <a:pt x="23" y="96"/>
                  </a:cubicBezTo>
                  <a:cubicBezTo>
                    <a:pt x="20" y="97"/>
                    <a:pt x="20" y="100"/>
                    <a:pt x="18" y="102"/>
                  </a:cubicBezTo>
                  <a:cubicBezTo>
                    <a:pt x="17" y="103"/>
                    <a:pt x="13" y="106"/>
                    <a:pt x="11" y="106"/>
                  </a:cubicBezTo>
                  <a:cubicBezTo>
                    <a:pt x="11" y="107"/>
                    <a:pt x="11" y="108"/>
                    <a:pt x="10" y="109"/>
                  </a:cubicBezTo>
                  <a:cubicBezTo>
                    <a:pt x="9" y="109"/>
                    <a:pt x="9" y="110"/>
                    <a:pt x="8" y="110"/>
                  </a:cubicBezTo>
                  <a:cubicBezTo>
                    <a:pt x="7" y="111"/>
                    <a:pt x="5" y="110"/>
                    <a:pt x="4" y="111"/>
                  </a:cubicBezTo>
                  <a:cubicBezTo>
                    <a:pt x="2" y="112"/>
                    <a:pt x="0" y="118"/>
                    <a:pt x="3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89">
              <a:extLst>
                <a:ext uri="{FF2B5EF4-FFF2-40B4-BE49-F238E27FC236}">
                  <a16:creationId xmlns:a16="http://schemas.microsoft.com/office/drawing/2014/main" id="{4BB048D9-123A-454C-9463-D18D91C88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9295" y="3418331"/>
              <a:ext cx="38186" cy="103329"/>
            </a:xfrm>
            <a:custGeom>
              <a:avLst/>
              <a:gdLst>
                <a:gd name="T0" fmla="*/ 9 w 18"/>
                <a:gd name="T1" fmla="*/ 35 h 49"/>
                <a:gd name="T2" fmla="*/ 9 w 18"/>
                <a:gd name="T3" fmla="*/ 47 h 49"/>
                <a:gd name="T4" fmla="*/ 12 w 18"/>
                <a:gd name="T5" fmla="*/ 49 h 49"/>
                <a:gd name="T6" fmla="*/ 14 w 18"/>
                <a:gd name="T7" fmla="*/ 46 h 49"/>
                <a:gd name="T8" fmla="*/ 12 w 18"/>
                <a:gd name="T9" fmla="*/ 28 h 49"/>
                <a:gd name="T10" fmla="*/ 12 w 18"/>
                <a:gd name="T11" fmla="*/ 21 h 49"/>
                <a:gd name="T12" fmla="*/ 14 w 18"/>
                <a:gd name="T13" fmla="*/ 21 h 49"/>
                <a:gd name="T14" fmla="*/ 14 w 18"/>
                <a:gd name="T15" fmla="*/ 16 h 49"/>
                <a:gd name="T16" fmla="*/ 15 w 18"/>
                <a:gd name="T17" fmla="*/ 10 h 49"/>
                <a:gd name="T18" fmla="*/ 16 w 18"/>
                <a:gd name="T19" fmla="*/ 7 h 49"/>
                <a:gd name="T20" fmla="*/ 15 w 18"/>
                <a:gd name="T21" fmla="*/ 0 h 49"/>
                <a:gd name="T22" fmla="*/ 15 w 18"/>
                <a:gd name="T23" fmla="*/ 1 h 49"/>
                <a:gd name="T24" fmla="*/ 9 w 18"/>
                <a:gd name="T25" fmla="*/ 6 h 49"/>
                <a:gd name="T26" fmla="*/ 7 w 18"/>
                <a:gd name="T27" fmla="*/ 7 h 49"/>
                <a:gd name="T28" fmla="*/ 5 w 18"/>
                <a:gd name="T29" fmla="*/ 12 h 49"/>
                <a:gd name="T30" fmla="*/ 1 w 18"/>
                <a:gd name="T31" fmla="*/ 19 h 49"/>
                <a:gd name="T32" fmla="*/ 0 w 18"/>
                <a:gd name="T33" fmla="*/ 31 h 49"/>
                <a:gd name="T34" fmla="*/ 9 w 18"/>
                <a:gd name="T35" fmla="*/ 3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" h="49">
                  <a:moveTo>
                    <a:pt x="9" y="35"/>
                  </a:moveTo>
                  <a:cubicBezTo>
                    <a:pt x="10" y="39"/>
                    <a:pt x="8" y="44"/>
                    <a:pt x="9" y="47"/>
                  </a:cubicBezTo>
                  <a:cubicBezTo>
                    <a:pt x="10" y="49"/>
                    <a:pt x="10" y="49"/>
                    <a:pt x="12" y="49"/>
                  </a:cubicBezTo>
                  <a:cubicBezTo>
                    <a:pt x="14" y="49"/>
                    <a:pt x="14" y="49"/>
                    <a:pt x="14" y="46"/>
                  </a:cubicBezTo>
                  <a:cubicBezTo>
                    <a:pt x="16" y="42"/>
                    <a:pt x="17" y="28"/>
                    <a:pt x="12" y="28"/>
                  </a:cubicBezTo>
                  <a:cubicBezTo>
                    <a:pt x="11" y="26"/>
                    <a:pt x="11" y="23"/>
                    <a:pt x="12" y="21"/>
                  </a:cubicBezTo>
                  <a:cubicBezTo>
                    <a:pt x="13" y="21"/>
                    <a:pt x="13" y="21"/>
                    <a:pt x="14" y="21"/>
                  </a:cubicBezTo>
                  <a:cubicBezTo>
                    <a:pt x="14" y="19"/>
                    <a:pt x="14" y="17"/>
                    <a:pt x="14" y="16"/>
                  </a:cubicBezTo>
                  <a:cubicBezTo>
                    <a:pt x="14" y="13"/>
                    <a:pt x="15" y="13"/>
                    <a:pt x="15" y="10"/>
                  </a:cubicBezTo>
                  <a:cubicBezTo>
                    <a:pt x="15" y="11"/>
                    <a:pt x="16" y="6"/>
                    <a:pt x="16" y="7"/>
                  </a:cubicBezTo>
                  <a:cubicBezTo>
                    <a:pt x="17" y="4"/>
                    <a:pt x="18" y="0"/>
                    <a:pt x="15" y="0"/>
                  </a:cubicBezTo>
                  <a:cubicBezTo>
                    <a:pt x="15" y="0"/>
                    <a:pt x="15" y="1"/>
                    <a:pt x="15" y="1"/>
                  </a:cubicBezTo>
                  <a:cubicBezTo>
                    <a:pt x="12" y="2"/>
                    <a:pt x="12" y="3"/>
                    <a:pt x="9" y="6"/>
                  </a:cubicBezTo>
                  <a:cubicBezTo>
                    <a:pt x="9" y="6"/>
                    <a:pt x="7" y="7"/>
                    <a:pt x="7" y="7"/>
                  </a:cubicBezTo>
                  <a:cubicBezTo>
                    <a:pt x="6" y="8"/>
                    <a:pt x="6" y="11"/>
                    <a:pt x="5" y="12"/>
                  </a:cubicBezTo>
                  <a:cubicBezTo>
                    <a:pt x="4" y="15"/>
                    <a:pt x="2" y="15"/>
                    <a:pt x="1" y="19"/>
                  </a:cubicBezTo>
                  <a:cubicBezTo>
                    <a:pt x="0" y="22"/>
                    <a:pt x="0" y="27"/>
                    <a:pt x="0" y="31"/>
                  </a:cubicBezTo>
                  <a:cubicBezTo>
                    <a:pt x="4" y="32"/>
                    <a:pt x="5" y="35"/>
                    <a:pt x="9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90">
              <a:extLst>
                <a:ext uri="{FF2B5EF4-FFF2-40B4-BE49-F238E27FC236}">
                  <a16:creationId xmlns:a16="http://schemas.microsoft.com/office/drawing/2014/main" id="{787B335F-FB4E-48FB-954F-A52891F31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9836" y="3619373"/>
              <a:ext cx="50541" cy="142638"/>
            </a:xfrm>
            <a:custGeom>
              <a:avLst/>
              <a:gdLst>
                <a:gd name="T0" fmla="*/ 18 w 24"/>
                <a:gd name="T1" fmla="*/ 32 h 68"/>
                <a:gd name="T2" fmla="*/ 22 w 24"/>
                <a:gd name="T3" fmla="*/ 28 h 68"/>
                <a:gd name="T4" fmla="*/ 23 w 24"/>
                <a:gd name="T5" fmla="*/ 24 h 68"/>
                <a:gd name="T6" fmla="*/ 21 w 24"/>
                <a:gd name="T7" fmla="*/ 22 h 68"/>
                <a:gd name="T8" fmla="*/ 19 w 24"/>
                <a:gd name="T9" fmla="*/ 11 h 68"/>
                <a:gd name="T10" fmla="*/ 15 w 24"/>
                <a:gd name="T11" fmla="*/ 5 h 68"/>
                <a:gd name="T12" fmla="*/ 15 w 24"/>
                <a:gd name="T13" fmla="*/ 3 h 68"/>
                <a:gd name="T14" fmla="*/ 6 w 24"/>
                <a:gd name="T15" fmla="*/ 1 h 68"/>
                <a:gd name="T16" fmla="*/ 5 w 24"/>
                <a:gd name="T17" fmla="*/ 7 h 68"/>
                <a:gd name="T18" fmla="*/ 4 w 24"/>
                <a:gd name="T19" fmla="*/ 12 h 68"/>
                <a:gd name="T20" fmla="*/ 2 w 24"/>
                <a:gd name="T21" fmla="*/ 12 h 68"/>
                <a:gd name="T22" fmla="*/ 1 w 24"/>
                <a:gd name="T23" fmla="*/ 20 h 68"/>
                <a:gd name="T24" fmla="*/ 0 w 24"/>
                <a:gd name="T25" fmla="*/ 22 h 68"/>
                <a:gd name="T26" fmla="*/ 0 w 24"/>
                <a:gd name="T27" fmla="*/ 28 h 68"/>
                <a:gd name="T28" fmla="*/ 4 w 24"/>
                <a:gd name="T29" fmla="*/ 41 h 68"/>
                <a:gd name="T30" fmla="*/ 8 w 24"/>
                <a:gd name="T31" fmla="*/ 45 h 68"/>
                <a:gd name="T32" fmla="*/ 8 w 24"/>
                <a:gd name="T33" fmla="*/ 49 h 68"/>
                <a:gd name="T34" fmla="*/ 9 w 24"/>
                <a:gd name="T35" fmla="*/ 53 h 68"/>
                <a:gd name="T36" fmla="*/ 10 w 24"/>
                <a:gd name="T37" fmla="*/ 60 h 68"/>
                <a:gd name="T38" fmla="*/ 12 w 24"/>
                <a:gd name="T39" fmla="*/ 68 h 68"/>
                <a:gd name="T40" fmla="*/ 17 w 24"/>
                <a:gd name="T41" fmla="*/ 67 h 68"/>
                <a:gd name="T42" fmla="*/ 19 w 24"/>
                <a:gd name="T43" fmla="*/ 59 h 68"/>
                <a:gd name="T44" fmla="*/ 21 w 24"/>
                <a:gd name="T45" fmla="*/ 52 h 68"/>
                <a:gd name="T46" fmla="*/ 18 w 24"/>
                <a:gd name="T47" fmla="*/ 50 h 68"/>
                <a:gd name="T48" fmla="*/ 16 w 24"/>
                <a:gd name="T49" fmla="*/ 46 h 68"/>
                <a:gd name="T50" fmla="*/ 15 w 24"/>
                <a:gd name="T51" fmla="*/ 38 h 68"/>
                <a:gd name="T52" fmla="*/ 18 w 24"/>
                <a:gd name="T53" fmla="*/ 3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" h="68">
                  <a:moveTo>
                    <a:pt x="18" y="32"/>
                  </a:moveTo>
                  <a:cubicBezTo>
                    <a:pt x="19" y="31"/>
                    <a:pt x="21" y="29"/>
                    <a:pt x="22" y="28"/>
                  </a:cubicBezTo>
                  <a:cubicBezTo>
                    <a:pt x="23" y="27"/>
                    <a:pt x="24" y="27"/>
                    <a:pt x="23" y="24"/>
                  </a:cubicBezTo>
                  <a:cubicBezTo>
                    <a:pt x="23" y="23"/>
                    <a:pt x="22" y="22"/>
                    <a:pt x="21" y="22"/>
                  </a:cubicBezTo>
                  <a:cubicBezTo>
                    <a:pt x="20" y="18"/>
                    <a:pt x="20" y="15"/>
                    <a:pt x="19" y="11"/>
                  </a:cubicBezTo>
                  <a:cubicBezTo>
                    <a:pt x="17" y="6"/>
                    <a:pt x="19" y="5"/>
                    <a:pt x="15" y="5"/>
                  </a:cubicBezTo>
                  <a:cubicBezTo>
                    <a:pt x="15" y="4"/>
                    <a:pt x="15" y="4"/>
                    <a:pt x="15" y="3"/>
                  </a:cubicBezTo>
                  <a:cubicBezTo>
                    <a:pt x="13" y="3"/>
                    <a:pt x="9" y="0"/>
                    <a:pt x="6" y="1"/>
                  </a:cubicBezTo>
                  <a:cubicBezTo>
                    <a:pt x="4" y="3"/>
                    <a:pt x="6" y="4"/>
                    <a:pt x="5" y="7"/>
                  </a:cubicBezTo>
                  <a:cubicBezTo>
                    <a:pt x="5" y="9"/>
                    <a:pt x="4" y="9"/>
                    <a:pt x="4" y="12"/>
                  </a:cubicBezTo>
                  <a:cubicBezTo>
                    <a:pt x="3" y="12"/>
                    <a:pt x="2" y="12"/>
                    <a:pt x="2" y="12"/>
                  </a:cubicBezTo>
                  <a:cubicBezTo>
                    <a:pt x="1" y="15"/>
                    <a:pt x="2" y="18"/>
                    <a:pt x="1" y="20"/>
                  </a:cubicBezTo>
                  <a:cubicBezTo>
                    <a:pt x="1" y="21"/>
                    <a:pt x="0" y="21"/>
                    <a:pt x="0" y="22"/>
                  </a:cubicBezTo>
                  <a:cubicBezTo>
                    <a:pt x="0" y="24"/>
                    <a:pt x="0" y="26"/>
                    <a:pt x="0" y="28"/>
                  </a:cubicBezTo>
                  <a:cubicBezTo>
                    <a:pt x="0" y="34"/>
                    <a:pt x="0" y="37"/>
                    <a:pt x="4" y="41"/>
                  </a:cubicBezTo>
                  <a:cubicBezTo>
                    <a:pt x="6" y="43"/>
                    <a:pt x="7" y="42"/>
                    <a:pt x="8" y="45"/>
                  </a:cubicBezTo>
                  <a:cubicBezTo>
                    <a:pt x="8" y="46"/>
                    <a:pt x="8" y="48"/>
                    <a:pt x="8" y="49"/>
                  </a:cubicBezTo>
                  <a:cubicBezTo>
                    <a:pt x="8" y="50"/>
                    <a:pt x="9" y="51"/>
                    <a:pt x="9" y="53"/>
                  </a:cubicBezTo>
                  <a:cubicBezTo>
                    <a:pt x="9" y="55"/>
                    <a:pt x="9" y="57"/>
                    <a:pt x="10" y="60"/>
                  </a:cubicBezTo>
                  <a:cubicBezTo>
                    <a:pt x="11" y="63"/>
                    <a:pt x="12" y="64"/>
                    <a:pt x="12" y="68"/>
                  </a:cubicBezTo>
                  <a:cubicBezTo>
                    <a:pt x="14" y="68"/>
                    <a:pt x="15" y="68"/>
                    <a:pt x="17" y="67"/>
                  </a:cubicBezTo>
                  <a:cubicBezTo>
                    <a:pt x="20" y="64"/>
                    <a:pt x="19" y="62"/>
                    <a:pt x="19" y="59"/>
                  </a:cubicBezTo>
                  <a:cubicBezTo>
                    <a:pt x="19" y="57"/>
                    <a:pt x="22" y="55"/>
                    <a:pt x="21" y="52"/>
                  </a:cubicBezTo>
                  <a:cubicBezTo>
                    <a:pt x="20" y="50"/>
                    <a:pt x="19" y="52"/>
                    <a:pt x="18" y="50"/>
                  </a:cubicBezTo>
                  <a:cubicBezTo>
                    <a:pt x="17" y="49"/>
                    <a:pt x="17" y="47"/>
                    <a:pt x="16" y="46"/>
                  </a:cubicBezTo>
                  <a:cubicBezTo>
                    <a:pt x="15" y="43"/>
                    <a:pt x="15" y="41"/>
                    <a:pt x="15" y="38"/>
                  </a:cubicBezTo>
                  <a:cubicBezTo>
                    <a:pt x="15" y="33"/>
                    <a:pt x="16" y="34"/>
                    <a:pt x="18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91">
              <a:extLst>
                <a:ext uri="{FF2B5EF4-FFF2-40B4-BE49-F238E27FC236}">
                  <a16:creationId xmlns:a16="http://schemas.microsoft.com/office/drawing/2014/main" id="{C265030E-E05D-455F-8461-D12D5776CA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3965" y="3865338"/>
              <a:ext cx="115684" cy="99958"/>
            </a:xfrm>
            <a:custGeom>
              <a:avLst/>
              <a:gdLst>
                <a:gd name="T0" fmla="*/ 50 w 55"/>
                <a:gd name="T1" fmla="*/ 14 h 47"/>
                <a:gd name="T2" fmla="*/ 54 w 55"/>
                <a:gd name="T3" fmla="*/ 9 h 47"/>
                <a:gd name="T4" fmla="*/ 46 w 55"/>
                <a:gd name="T5" fmla="*/ 7 h 47"/>
                <a:gd name="T6" fmla="*/ 41 w 55"/>
                <a:gd name="T7" fmla="*/ 7 h 47"/>
                <a:gd name="T8" fmla="*/ 41 w 55"/>
                <a:gd name="T9" fmla="*/ 5 h 47"/>
                <a:gd name="T10" fmla="*/ 32 w 55"/>
                <a:gd name="T11" fmla="*/ 8 h 47"/>
                <a:gd name="T12" fmla="*/ 30 w 55"/>
                <a:gd name="T13" fmla="*/ 9 h 47"/>
                <a:gd name="T14" fmla="*/ 29 w 55"/>
                <a:gd name="T15" fmla="*/ 13 h 47"/>
                <a:gd name="T16" fmla="*/ 24 w 55"/>
                <a:gd name="T17" fmla="*/ 16 h 47"/>
                <a:gd name="T18" fmla="*/ 14 w 55"/>
                <a:gd name="T19" fmla="*/ 19 h 47"/>
                <a:gd name="T20" fmla="*/ 8 w 55"/>
                <a:gd name="T21" fmla="*/ 19 h 47"/>
                <a:gd name="T22" fmla="*/ 3 w 55"/>
                <a:gd name="T23" fmla="*/ 21 h 47"/>
                <a:gd name="T24" fmla="*/ 2 w 55"/>
                <a:gd name="T25" fmla="*/ 29 h 47"/>
                <a:gd name="T26" fmla="*/ 3 w 55"/>
                <a:gd name="T27" fmla="*/ 33 h 47"/>
                <a:gd name="T28" fmla="*/ 17 w 55"/>
                <a:gd name="T29" fmla="*/ 33 h 47"/>
                <a:gd name="T30" fmla="*/ 24 w 55"/>
                <a:gd name="T31" fmla="*/ 45 h 47"/>
                <a:gd name="T32" fmla="*/ 37 w 55"/>
                <a:gd name="T33" fmla="*/ 46 h 47"/>
                <a:gd name="T34" fmla="*/ 40 w 55"/>
                <a:gd name="T35" fmla="*/ 40 h 47"/>
                <a:gd name="T36" fmla="*/ 41 w 55"/>
                <a:gd name="T37" fmla="*/ 32 h 47"/>
                <a:gd name="T38" fmla="*/ 47 w 55"/>
                <a:gd name="T39" fmla="*/ 29 h 47"/>
                <a:gd name="T40" fmla="*/ 49 w 55"/>
                <a:gd name="T41" fmla="*/ 21 h 47"/>
                <a:gd name="T42" fmla="*/ 50 w 55"/>
                <a:gd name="T43" fmla="*/ 1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" h="47">
                  <a:moveTo>
                    <a:pt x="50" y="14"/>
                  </a:moveTo>
                  <a:cubicBezTo>
                    <a:pt x="52" y="13"/>
                    <a:pt x="55" y="15"/>
                    <a:pt x="54" y="9"/>
                  </a:cubicBezTo>
                  <a:cubicBezTo>
                    <a:pt x="53" y="5"/>
                    <a:pt x="45" y="0"/>
                    <a:pt x="46" y="7"/>
                  </a:cubicBezTo>
                  <a:cubicBezTo>
                    <a:pt x="44" y="7"/>
                    <a:pt x="43" y="7"/>
                    <a:pt x="41" y="7"/>
                  </a:cubicBezTo>
                  <a:cubicBezTo>
                    <a:pt x="41" y="8"/>
                    <a:pt x="41" y="5"/>
                    <a:pt x="41" y="5"/>
                  </a:cubicBezTo>
                  <a:cubicBezTo>
                    <a:pt x="37" y="5"/>
                    <a:pt x="35" y="6"/>
                    <a:pt x="32" y="8"/>
                  </a:cubicBezTo>
                  <a:cubicBezTo>
                    <a:pt x="31" y="9"/>
                    <a:pt x="31" y="9"/>
                    <a:pt x="30" y="9"/>
                  </a:cubicBezTo>
                  <a:cubicBezTo>
                    <a:pt x="29" y="10"/>
                    <a:pt x="30" y="12"/>
                    <a:pt x="29" y="13"/>
                  </a:cubicBezTo>
                  <a:cubicBezTo>
                    <a:pt x="28" y="14"/>
                    <a:pt x="25" y="15"/>
                    <a:pt x="24" y="16"/>
                  </a:cubicBezTo>
                  <a:cubicBezTo>
                    <a:pt x="21" y="18"/>
                    <a:pt x="18" y="19"/>
                    <a:pt x="14" y="19"/>
                  </a:cubicBezTo>
                  <a:cubicBezTo>
                    <a:pt x="12" y="19"/>
                    <a:pt x="10" y="19"/>
                    <a:pt x="8" y="19"/>
                  </a:cubicBezTo>
                  <a:cubicBezTo>
                    <a:pt x="6" y="20"/>
                    <a:pt x="5" y="21"/>
                    <a:pt x="3" y="21"/>
                  </a:cubicBezTo>
                  <a:cubicBezTo>
                    <a:pt x="3" y="25"/>
                    <a:pt x="3" y="26"/>
                    <a:pt x="2" y="29"/>
                  </a:cubicBezTo>
                  <a:cubicBezTo>
                    <a:pt x="0" y="33"/>
                    <a:pt x="0" y="33"/>
                    <a:pt x="3" y="33"/>
                  </a:cubicBezTo>
                  <a:cubicBezTo>
                    <a:pt x="8" y="34"/>
                    <a:pt x="12" y="32"/>
                    <a:pt x="17" y="33"/>
                  </a:cubicBezTo>
                  <a:cubicBezTo>
                    <a:pt x="23" y="34"/>
                    <a:pt x="19" y="43"/>
                    <a:pt x="24" y="45"/>
                  </a:cubicBezTo>
                  <a:cubicBezTo>
                    <a:pt x="27" y="47"/>
                    <a:pt x="33" y="46"/>
                    <a:pt x="37" y="46"/>
                  </a:cubicBezTo>
                  <a:cubicBezTo>
                    <a:pt x="40" y="45"/>
                    <a:pt x="40" y="45"/>
                    <a:pt x="40" y="40"/>
                  </a:cubicBezTo>
                  <a:cubicBezTo>
                    <a:pt x="40" y="37"/>
                    <a:pt x="39" y="33"/>
                    <a:pt x="41" y="32"/>
                  </a:cubicBezTo>
                  <a:cubicBezTo>
                    <a:pt x="42" y="30"/>
                    <a:pt x="45" y="31"/>
                    <a:pt x="47" y="29"/>
                  </a:cubicBezTo>
                  <a:cubicBezTo>
                    <a:pt x="49" y="27"/>
                    <a:pt x="49" y="24"/>
                    <a:pt x="49" y="21"/>
                  </a:cubicBezTo>
                  <a:cubicBezTo>
                    <a:pt x="49" y="18"/>
                    <a:pt x="48" y="15"/>
                    <a:pt x="5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92">
              <a:extLst>
                <a:ext uri="{FF2B5EF4-FFF2-40B4-BE49-F238E27FC236}">
                  <a16:creationId xmlns:a16="http://schemas.microsoft.com/office/drawing/2014/main" id="{0470BC46-43C9-4AC3-9E33-7D12DD0BC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9362" y="3809183"/>
              <a:ext cx="41555" cy="81989"/>
            </a:xfrm>
            <a:custGeom>
              <a:avLst/>
              <a:gdLst>
                <a:gd name="T0" fmla="*/ 5 w 20"/>
                <a:gd name="T1" fmla="*/ 15 h 39"/>
                <a:gd name="T2" fmla="*/ 8 w 20"/>
                <a:gd name="T3" fmla="*/ 16 h 39"/>
                <a:gd name="T4" fmla="*/ 9 w 20"/>
                <a:gd name="T5" fmla="*/ 20 h 39"/>
                <a:gd name="T6" fmla="*/ 14 w 20"/>
                <a:gd name="T7" fmla="*/ 32 h 39"/>
                <a:gd name="T8" fmla="*/ 18 w 20"/>
                <a:gd name="T9" fmla="*/ 20 h 39"/>
                <a:gd name="T10" fmla="*/ 16 w 20"/>
                <a:gd name="T11" fmla="*/ 13 h 39"/>
                <a:gd name="T12" fmla="*/ 12 w 20"/>
                <a:gd name="T13" fmla="*/ 9 h 39"/>
                <a:gd name="T14" fmla="*/ 11 w 20"/>
                <a:gd name="T15" fmla="*/ 6 h 39"/>
                <a:gd name="T16" fmla="*/ 9 w 20"/>
                <a:gd name="T17" fmla="*/ 6 h 39"/>
                <a:gd name="T18" fmla="*/ 9 w 20"/>
                <a:gd name="T19" fmla="*/ 3 h 39"/>
                <a:gd name="T20" fmla="*/ 6 w 20"/>
                <a:gd name="T21" fmla="*/ 1 h 39"/>
                <a:gd name="T22" fmla="*/ 1 w 20"/>
                <a:gd name="T23" fmla="*/ 4 h 39"/>
                <a:gd name="T24" fmla="*/ 0 w 20"/>
                <a:gd name="T25" fmla="*/ 8 h 39"/>
                <a:gd name="T26" fmla="*/ 0 w 20"/>
                <a:gd name="T27" fmla="*/ 13 h 39"/>
                <a:gd name="T28" fmla="*/ 5 w 20"/>
                <a:gd name="T29" fmla="*/ 1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39">
                  <a:moveTo>
                    <a:pt x="5" y="15"/>
                  </a:moveTo>
                  <a:cubicBezTo>
                    <a:pt x="6" y="16"/>
                    <a:pt x="7" y="14"/>
                    <a:pt x="8" y="16"/>
                  </a:cubicBezTo>
                  <a:cubicBezTo>
                    <a:pt x="9" y="18"/>
                    <a:pt x="8" y="18"/>
                    <a:pt x="9" y="20"/>
                  </a:cubicBezTo>
                  <a:cubicBezTo>
                    <a:pt x="10" y="24"/>
                    <a:pt x="12" y="29"/>
                    <a:pt x="14" y="32"/>
                  </a:cubicBezTo>
                  <a:cubicBezTo>
                    <a:pt x="20" y="39"/>
                    <a:pt x="17" y="24"/>
                    <a:pt x="18" y="20"/>
                  </a:cubicBezTo>
                  <a:cubicBezTo>
                    <a:pt x="18" y="15"/>
                    <a:pt x="20" y="16"/>
                    <a:pt x="16" y="13"/>
                  </a:cubicBezTo>
                  <a:cubicBezTo>
                    <a:pt x="15" y="12"/>
                    <a:pt x="14" y="9"/>
                    <a:pt x="12" y="9"/>
                  </a:cubicBezTo>
                  <a:cubicBezTo>
                    <a:pt x="11" y="8"/>
                    <a:pt x="11" y="7"/>
                    <a:pt x="11" y="6"/>
                  </a:cubicBezTo>
                  <a:cubicBezTo>
                    <a:pt x="10" y="6"/>
                    <a:pt x="10" y="6"/>
                    <a:pt x="9" y="6"/>
                  </a:cubicBezTo>
                  <a:cubicBezTo>
                    <a:pt x="9" y="5"/>
                    <a:pt x="9" y="4"/>
                    <a:pt x="9" y="3"/>
                  </a:cubicBezTo>
                  <a:cubicBezTo>
                    <a:pt x="8" y="3"/>
                    <a:pt x="7" y="1"/>
                    <a:pt x="6" y="1"/>
                  </a:cubicBezTo>
                  <a:cubicBezTo>
                    <a:pt x="5" y="0"/>
                    <a:pt x="2" y="3"/>
                    <a:pt x="1" y="4"/>
                  </a:cubicBezTo>
                  <a:cubicBezTo>
                    <a:pt x="0" y="6"/>
                    <a:pt x="0" y="4"/>
                    <a:pt x="0" y="8"/>
                  </a:cubicBezTo>
                  <a:cubicBezTo>
                    <a:pt x="0" y="9"/>
                    <a:pt x="0" y="11"/>
                    <a:pt x="0" y="13"/>
                  </a:cubicBezTo>
                  <a:cubicBezTo>
                    <a:pt x="2" y="13"/>
                    <a:pt x="3" y="14"/>
                    <a:pt x="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93">
              <a:extLst>
                <a:ext uri="{FF2B5EF4-FFF2-40B4-BE49-F238E27FC236}">
                  <a16:creationId xmlns:a16="http://schemas.microsoft.com/office/drawing/2014/main" id="{2A71A790-DEC6-4765-A15D-3B0C91445C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2259" y="3827152"/>
              <a:ext cx="25832" cy="32572"/>
            </a:xfrm>
            <a:custGeom>
              <a:avLst/>
              <a:gdLst>
                <a:gd name="T0" fmla="*/ 0 w 12"/>
                <a:gd name="T1" fmla="*/ 10 h 15"/>
                <a:gd name="T2" fmla="*/ 4 w 12"/>
                <a:gd name="T3" fmla="*/ 14 h 15"/>
                <a:gd name="T4" fmla="*/ 9 w 12"/>
                <a:gd name="T5" fmla="*/ 14 h 15"/>
                <a:gd name="T6" fmla="*/ 11 w 12"/>
                <a:gd name="T7" fmla="*/ 12 h 15"/>
                <a:gd name="T8" fmla="*/ 11 w 12"/>
                <a:gd name="T9" fmla="*/ 9 h 15"/>
                <a:gd name="T10" fmla="*/ 11 w 12"/>
                <a:gd name="T11" fmla="*/ 8 h 15"/>
                <a:gd name="T12" fmla="*/ 11 w 12"/>
                <a:gd name="T13" fmla="*/ 7 h 15"/>
                <a:gd name="T14" fmla="*/ 10 w 12"/>
                <a:gd name="T15" fmla="*/ 5 h 15"/>
                <a:gd name="T16" fmla="*/ 9 w 12"/>
                <a:gd name="T17" fmla="*/ 4 h 15"/>
                <a:gd name="T18" fmla="*/ 8 w 12"/>
                <a:gd name="T19" fmla="*/ 0 h 15"/>
                <a:gd name="T20" fmla="*/ 3 w 12"/>
                <a:gd name="T21" fmla="*/ 0 h 15"/>
                <a:gd name="T22" fmla="*/ 1 w 12"/>
                <a:gd name="T23" fmla="*/ 1 h 15"/>
                <a:gd name="T24" fmla="*/ 0 w 12"/>
                <a:gd name="T25" fmla="*/ 4 h 15"/>
                <a:gd name="T26" fmla="*/ 0 w 12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5">
                  <a:moveTo>
                    <a:pt x="0" y="10"/>
                  </a:moveTo>
                  <a:cubicBezTo>
                    <a:pt x="1" y="12"/>
                    <a:pt x="3" y="13"/>
                    <a:pt x="4" y="14"/>
                  </a:cubicBezTo>
                  <a:cubicBezTo>
                    <a:pt x="6" y="15"/>
                    <a:pt x="8" y="15"/>
                    <a:pt x="9" y="14"/>
                  </a:cubicBezTo>
                  <a:cubicBezTo>
                    <a:pt x="10" y="14"/>
                    <a:pt x="11" y="13"/>
                    <a:pt x="11" y="12"/>
                  </a:cubicBezTo>
                  <a:cubicBezTo>
                    <a:pt x="12" y="12"/>
                    <a:pt x="11" y="10"/>
                    <a:pt x="11" y="9"/>
                  </a:cubicBezTo>
                  <a:cubicBezTo>
                    <a:pt x="11" y="9"/>
                    <a:pt x="11" y="9"/>
                    <a:pt x="11" y="8"/>
                  </a:cubicBezTo>
                  <a:cubicBezTo>
                    <a:pt x="11" y="8"/>
                    <a:pt x="11" y="7"/>
                    <a:pt x="11" y="7"/>
                  </a:cubicBezTo>
                  <a:cubicBezTo>
                    <a:pt x="11" y="7"/>
                    <a:pt x="10" y="6"/>
                    <a:pt x="10" y="5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8" y="3"/>
                    <a:pt x="9" y="0"/>
                    <a:pt x="8" y="0"/>
                  </a:cubicBezTo>
                  <a:cubicBezTo>
                    <a:pt x="6" y="0"/>
                    <a:pt x="4" y="0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6"/>
                    <a:pt x="0" y="8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94">
              <a:extLst>
                <a:ext uri="{FF2B5EF4-FFF2-40B4-BE49-F238E27FC236}">
                  <a16:creationId xmlns:a16="http://schemas.microsoft.com/office/drawing/2014/main" id="{368BD9FE-D0A8-4741-990D-57BDE95BC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365" y="3913633"/>
              <a:ext cx="50541" cy="131407"/>
            </a:xfrm>
            <a:custGeom>
              <a:avLst/>
              <a:gdLst>
                <a:gd name="T0" fmla="*/ 22 w 24"/>
                <a:gd name="T1" fmla="*/ 21 h 62"/>
                <a:gd name="T2" fmla="*/ 20 w 24"/>
                <a:gd name="T3" fmla="*/ 21 h 62"/>
                <a:gd name="T4" fmla="*/ 20 w 24"/>
                <a:gd name="T5" fmla="*/ 16 h 62"/>
                <a:gd name="T6" fmla="*/ 16 w 24"/>
                <a:gd name="T7" fmla="*/ 4 h 62"/>
                <a:gd name="T8" fmla="*/ 13 w 24"/>
                <a:gd name="T9" fmla="*/ 2 h 62"/>
                <a:gd name="T10" fmla="*/ 6 w 24"/>
                <a:gd name="T11" fmla="*/ 2 h 62"/>
                <a:gd name="T12" fmla="*/ 5 w 24"/>
                <a:gd name="T13" fmla="*/ 12 h 62"/>
                <a:gd name="T14" fmla="*/ 3 w 24"/>
                <a:gd name="T15" fmla="*/ 12 h 62"/>
                <a:gd name="T16" fmla="*/ 3 w 24"/>
                <a:gd name="T17" fmla="*/ 26 h 62"/>
                <a:gd name="T18" fmla="*/ 8 w 24"/>
                <a:gd name="T19" fmla="*/ 28 h 62"/>
                <a:gd name="T20" fmla="*/ 8 w 24"/>
                <a:gd name="T21" fmla="*/ 31 h 62"/>
                <a:gd name="T22" fmla="*/ 9 w 24"/>
                <a:gd name="T23" fmla="*/ 35 h 62"/>
                <a:gd name="T24" fmla="*/ 10 w 24"/>
                <a:gd name="T25" fmla="*/ 42 h 62"/>
                <a:gd name="T26" fmla="*/ 13 w 24"/>
                <a:gd name="T27" fmla="*/ 48 h 62"/>
                <a:gd name="T28" fmla="*/ 18 w 24"/>
                <a:gd name="T29" fmla="*/ 57 h 62"/>
                <a:gd name="T30" fmla="*/ 18 w 24"/>
                <a:gd name="T31" fmla="*/ 40 h 62"/>
                <a:gd name="T32" fmla="*/ 23 w 24"/>
                <a:gd name="T33" fmla="*/ 37 h 62"/>
                <a:gd name="T34" fmla="*/ 23 w 24"/>
                <a:gd name="T35" fmla="*/ 28 h 62"/>
                <a:gd name="T36" fmla="*/ 22 w 24"/>
                <a:gd name="T37" fmla="*/ 2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62">
                  <a:moveTo>
                    <a:pt x="22" y="21"/>
                  </a:moveTo>
                  <a:cubicBezTo>
                    <a:pt x="21" y="21"/>
                    <a:pt x="20" y="21"/>
                    <a:pt x="20" y="21"/>
                  </a:cubicBezTo>
                  <a:cubicBezTo>
                    <a:pt x="19" y="19"/>
                    <a:pt x="20" y="17"/>
                    <a:pt x="20" y="16"/>
                  </a:cubicBezTo>
                  <a:cubicBezTo>
                    <a:pt x="19" y="11"/>
                    <a:pt x="16" y="8"/>
                    <a:pt x="16" y="4"/>
                  </a:cubicBezTo>
                  <a:cubicBezTo>
                    <a:pt x="15" y="4"/>
                    <a:pt x="14" y="2"/>
                    <a:pt x="13" y="2"/>
                  </a:cubicBezTo>
                  <a:cubicBezTo>
                    <a:pt x="12" y="2"/>
                    <a:pt x="7" y="0"/>
                    <a:pt x="6" y="2"/>
                  </a:cubicBezTo>
                  <a:cubicBezTo>
                    <a:pt x="5" y="3"/>
                    <a:pt x="6" y="10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7"/>
                    <a:pt x="0" y="21"/>
                    <a:pt x="3" y="26"/>
                  </a:cubicBezTo>
                  <a:cubicBezTo>
                    <a:pt x="4" y="27"/>
                    <a:pt x="7" y="27"/>
                    <a:pt x="8" y="28"/>
                  </a:cubicBezTo>
                  <a:cubicBezTo>
                    <a:pt x="8" y="29"/>
                    <a:pt x="8" y="30"/>
                    <a:pt x="8" y="31"/>
                  </a:cubicBezTo>
                  <a:cubicBezTo>
                    <a:pt x="8" y="31"/>
                    <a:pt x="9" y="35"/>
                    <a:pt x="9" y="35"/>
                  </a:cubicBezTo>
                  <a:cubicBezTo>
                    <a:pt x="10" y="38"/>
                    <a:pt x="10" y="40"/>
                    <a:pt x="10" y="42"/>
                  </a:cubicBezTo>
                  <a:cubicBezTo>
                    <a:pt x="11" y="45"/>
                    <a:pt x="12" y="45"/>
                    <a:pt x="13" y="48"/>
                  </a:cubicBezTo>
                  <a:cubicBezTo>
                    <a:pt x="14" y="50"/>
                    <a:pt x="14" y="62"/>
                    <a:pt x="18" y="57"/>
                  </a:cubicBezTo>
                  <a:cubicBezTo>
                    <a:pt x="20" y="54"/>
                    <a:pt x="17" y="44"/>
                    <a:pt x="18" y="40"/>
                  </a:cubicBezTo>
                  <a:cubicBezTo>
                    <a:pt x="20" y="37"/>
                    <a:pt x="22" y="40"/>
                    <a:pt x="23" y="37"/>
                  </a:cubicBezTo>
                  <a:cubicBezTo>
                    <a:pt x="24" y="35"/>
                    <a:pt x="23" y="30"/>
                    <a:pt x="23" y="28"/>
                  </a:cubicBezTo>
                  <a:cubicBezTo>
                    <a:pt x="23" y="25"/>
                    <a:pt x="23" y="23"/>
                    <a:pt x="2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95">
              <a:extLst>
                <a:ext uri="{FF2B5EF4-FFF2-40B4-BE49-F238E27FC236}">
                  <a16:creationId xmlns:a16="http://schemas.microsoft.com/office/drawing/2014/main" id="{5510B08F-EC8C-4083-AAD8-D2B05D6FF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2505" y="4000116"/>
              <a:ext cx="243720" cy="344803"/>
            </a:xfrm>
            <a:custGeom>
              <a:avLst/>
              <a:gdLst>
                <a:gd name="T0" fmla="*/ 110 w 115"/>
                <a:gd name="T1" fmla="*/ 141 h 163"/>
                <a:gd name="T2" fmla="*/ 111 w 115"/>
                <a:gd name="T3" fmla="*/ 132 h 163"/>
                <a:gd name="T4" fmla="*/ 110 w 115"/>
                <a:gd name="T5" fmla="*/ 120 h 163"/>
                <a:gd name="T6" fmla="*/ 104 w 115"/>
                <a:gd name="T7" fmla="*/ 108 h 163"/>
                <a:gd name="T8" fmla="*/ 103 w 115"/>
                <a:gd name="T9" fmla="*/ 103 h 163"/>
                <a:gd name="T10" fmla="*/ 93 w 115"/>
                <a:gd name="T11" fmla="*/ 95 h 163"/>
                <a:gd name="T12" fmla="*/ 88 w 115"/>
                <a:gd name="T13" fmla="*/ 88 h 163"/>
                <a:gd name="T14" fmla="*/ 80 w 115"/>
                <a:gd name="T15" fmla="*/ 83 h 163"/>
                <a:gd name="T16" fmla="*/ 71 w 115"/>
                <a:gd name="T17" fmla="*/ 75 h 163"/>
                <a:gd name="T18" fmla="*/ 59 w 115"/>
                <a:gd name="T19" fmla="*/ 57 h 163"/>
                <a:gd name="T20" fmla="*/ 49 w 115"/>
                <a:gd name="T21" fmla="*/ 46 h 163"/>
                <a:gd name="T22" fmla="*/ 46 w 115"/>
                <a:gd name="T23" fmla="*/ 42 h 163"/>
                <a:gd name="T24" fmla="*/ 37 w 115"/>
                <a:gd name="T25" fmla="*/ 30 h 163"/>
                <a:gd name="T26" fmla="*/ 31 w 115"/>
                <a:gd name="T27" fmla="*/ 13 h 163"/>
                <a:gd name="T28" fmla="*/ 22 w 115"/>
                <a:gd name="T29" fmla="*/ 9 h 163"/>
                <a:gd name="T30" fmla="*/ 10 w 115"/>
                <a:gd name="T31" fmla="*/ 2 h 163"/>
                <a:gd name="T32" fmla="*/ 4 w 115"/>
                <a:gd name="T33" fmla="*/ 6 h 163"/>
                <a:gd name="T34" fmla="*/ 0 w 115"/>
                <a:gd name="T35" fmla="*/ 15 h 163"/>
                <a:gd name="T36" fmla="*/ 7 w 115"/>
                <a:gd name="T37" fmla="*/ 29 h 163"/>
                <a:gd name="T38" fmla="*/ 13 w 115"/>
                <a:gd name="T39" fmla="*/ 33 h 163"/>
                <a:gd name="T40" fmla="*/ 22 w 115"/>
                <a:gd name="T41" fmla="*/ 43 h 163"/>
                <a:gd name="T42" fmla="*/ 26 w 115"/>
                <a:gd name="T43" fmla="*/ 57 h 163"/>
                <a:gd name="T44" fmla="*/ 34 w 115"/>
                <a:gd name="T45" fmla="*/ 64 h 163"/>
                <a:gd name="T46" fmla="*/ 40 w 115"/>
                <a:gd name="T47" fmla="*/ 67 h 163"/>
                <a:gd name="T48" fmla="*/ 43 w 115"/>
                <a:gd name="T49" fmla="*/ 80 h 163"/>
                <a:gd name="T50" fmla="*/ 52 w 115"/>
                <a:gd name="T51" fmla="*/ 100 h 163"/>
                <a:gd name="T52" fmla="*/ 59 w 115"/>
                <a:gd name="T53" fmla="*/ 105 h 163"/>
                <a:gd name="T54" fmla="*/ 65 w 115"/>
                <a:gd name="T55" fmla="*/ 111 h 163"/>
                <a:gd name="T56" fmla="*/ 70 w 115"/>
                <a:gd name="T57" fmla="*/ 120 h 163"/>
                <a:gd name="T58" fmla="*/ 75 w 115"/>
                <a:gd name="T59" fmla="*/ 126 h 163"/>
                <a:gd name="T60" fmla="*/ 88 w 115"/>
                <a:gd name="T61" fmla="*/ 140 h 163"/>
                <a:gd name="T62" fmla="*/ 100 w 115"/>
                <a:gd name="T63" fmla="*/ 146 h 163"/>
                <a:gd name="T64" fmla="*/ 103 w 115"/>
                <a:gd name="T65" fmla="*/ 157 h 163"/>
                <a:gd name="T66" fmla="*/ 112 w 115"/>
                <a:gd name="T67" fmla="*/ 162 h 163"/>
                <a:gd name="T68" fmla="*/ 110 w 115"/>
                <a:gd name="T69" fmla="*/ 14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5" h="163">
                  <a:moveTo>
                    <a:pt x="110" y="148"/>
                  </a:moveTo>
                  <a:cubicBezTo>
                    <a:pt x="110" y="146"/>
                    <a:pt x="110" y="143"/>
                    <a:pt x="110" y="141"/>
                  </a:cubicBezTo>
                  <a:cubicBezTo>
                    <a:pt x="110" y="139"/>
                    <a:pt x="111" y="138"/>
                    <a:pt x="111" y="136"/>
                  </a:cubicBezTo>
                  <a:cubicBezTo>
                    <a:pt x="111" y="135"/>
                    <a:pt x="111" y="134"/>
                    <a:pt x="111" y="132"/>
                  </a:cubicBezTo>
                  <a:cubicBezTo>
                    <a:pt x="111" y="131"/>
                    <a:pt x="112" y="131"/>
                    <a:pt x="112" y="130"/>
                  </a:cubicBezTo>
                  <a:cubicBezTo>
                    <a:pt x="113" y="125"/>
                    <a:pt x="113" y="123"/>
                    <a:pt x="110" y="120"/>
                  </a:cubicBezTo>
                  <a:cubicBezTo>
                    <a:pt x="109" y="117"/>
                    <a:pt x="106" y="116"/>
                    <a:pt x="105" y="113"/>
                  </a:cubicBezTo>
                  <a:cubicBezTo>
                    <a:pt x="105" y="112"/>
                    <a:pt x="104" y="109"/>
                    <a:pt x="104" y="108"/>
                  </a:cubicBezTo>
                  <a:cubicBezTo>
                    <a:pt x="104" y="107"/>
                    <a:pt x="104" y="105"/>
                    <a:pt x="104" y="104"/>
                  </a:cubicBezTo>
                  <a:cubicBezTo>
                    <a:pt x="104" y="103"/>
                    <a:pt x="104" y="102"/>
                    <a:pt x="103" y="103"/>
                  </a:cubicBezTo>
                  <a:cubicBezTo>
                    <a:pt x="101" y="100"/>
                    <a:pt x="98" y="99"/>
                    <a:pt x="95" y="97"/>
                  </a:cubicBezTo>
                  <a:cubicBezTo>
                    <a:pt x="95" y="97"/>
                    <a:pt x="93" y="96"/>
                    <a:pt x="93" y="95"/>
                  </a:cubicBezTo>
                  <a:cubicBezTo>
                    <a:pt x="92" y="94"/>
                    <a:pt x="92" y="92"/>
                    <a:pt x="91" y="91"/>
                  </a:cubicBezTo>
                  <a:cubicBezTo>
                    <a:pt x="90" y="90"/>
                    <a:pt x="89" y="89"/>
                    <a:pt x="88" y="88"/>
                  </a:cubicBezTo>
                  <a:cubicBezTo>
                    <a:pt x="86" y="87"/>
                    <a:pt x="85" y="86"/>
                    <a:pt x="84" y="85"/>
                  </a:cubicBezTo>
                  <a:cubicBezTo>
                    <a:pt x="83" y="84"/>
                    <a:pt x="81" y="84"/>
                    <a:pt x="80" y="83"/>
                  </a:cubicBezTo>
                  <a:cubicBezTo>
                    <a:pt x="79" y="82"/>
                    <a:pt x="78" y="81"/>
                    <a:pt x="77" y="80"/>
                  </a:cubicBezTo>
                  <a:cubicBezTo>
                    <a:pt x="75" y="78"/>
                    <a:pt x="73" y="78"/>
                    <a:pt x="71" y="75"/>
                  </a:cubicBezTo>
                  <a:cubicBezTo>
                    <a:pt x="69" y="69"/>
                    <a:pt x="66" y="64"/>
                    <a:pt x="63" y="60"/>
                  </a:cubicBezTo>
                  <a:cubicBezTo>
                    <a:pt x="61" y="59"/>
                    <a:pt x="60" y="59"/>
                    <a:pt x="59" y="57"/>
                  </a:cubicBezTo>
                  <a:cubicBezTo>
                    <a:pt x="58" y="56"/>
                    <a:pt x="57" y="54"/>
                    <a:pt x="56" y="53"/>
                  </a:cubicBezTo>
                  <a:cubicBezTo>
                    <a:pt x="54" y="50"/>
                    <a:pt x="52" y="47"/>
                    <a:pt x="49" y="46"/>
                  </a:cubicBezTo>
                  <a:cubicBezTo>
                    <a:pt x="48" y="45"/>
                    <a:pt x="48" y="44"/>
                    <a:pt x="48" y="43"/>
                  </a:cubicBezTo>
                  <a:cubicBezTo>
                    <a:pt x="47" y="43"/>
                    <a:pt x="46" y="42"/>
                    <a:pt x="46" y="42"/>
                  </a:cubicBezTo>
                  <a:cubicBezTo>
                    <a:pt x="44" y="41"/>
                    <a:pt x="42" y="42"/>
                    <a:pt x="41" y="40"/>
                  </a:cubicBezTo>
                  <a:cubicBezTo>
                    <a:pt x="39" y="38"/>
                    <a:pt x="39" y="33"/>
                    <a:pt x="37" y="30"/>
                  </a:cubicBezTo>
                  <a:cubicBezTo>
                    <a:pt x="36" y="27"/>
                    <a:pt x="34" y="25"/>
                    <a:pt x="33" y="22"/>
                  </a:cubicBezTo>
                  <a:cubicBezTo>
                    <a:pt x="32" y="20"/>
                    <a:pt x="33" y="13"/>
                    <a:pt x="31" y="13"/>
                  </a:cubicBezTo>
                  <a:cubicBezTo>
                    <a:pt x="29" y="13"/>
                    <a:pt x="27" y="14"/>
                    <a:pt x="26" y="13"/>
                  </a:cubicBezTo>
                  <a:cubicBezTo>
                    <a:pt x="24" y="12"/>
                    <a:pt x="24" y="9"/>
                    <a:pt x="22" y="9"/>
                  </a:cubicBezTo>
                  <a:cubicBezTo>
                    <a:pt x="22" y="6"/>
                    <a:pt x="21" y="3"/>
                    <a:pt x="19" y="1"/>
                  </a:cubicBezTo>
                  <a:cubicBezTo>
                    <a:pt x="17" y="0"/>
                    <a:pt x="12" y="1"/>
                    <a:pt x="10" y="2"/>
                  </a:cubicBezTo>
                  <a:cubicBezTo>
                    <a:pt x="9" y="3"/>
                    <a:pt x="9" y="4"/>
                    <a:pt x="8" y="4"/>
                  </a:cubicBezTo>
                  <a:cubicBezTo>
                    <a:pt x="7" y="5"/>
                    <a:pt x="5" y="6"/>
                    <a:pt x="4" y="6"/>
                  </a:cubicBezTo>
                  <a:cubicBezTo>
                    <a:pt x="3" y="7"/>
                    <a:pt x="2" y="6"/>
                    <a:pt x="1" y="8"/>
                  </a:cubicBezTo>
                  <a:cubicBezTo>
                    <a:pt x="0" y="10"/>
                    <a:pt x="0" y="13"/>
                    <a:pt x="0" y="15"/>
                  </a:cubicBezTo>
                  <a:cubicBezTo>
                    <a:pt x="0" y="19"/>
                    <a:pt x="1" y="21"/>
                    <a:pt x="3" y="24"/>
                  </a:cubicBezTo>
                  <a:cubicBezTo>
                    <a:pt x="4" y="27"/>
                    <a:pt x="5" y="27"/>
                    <a:pt x="7" y="29"/>
                  </a:cubicBezTo>
                  <a:cubicBezTo>
                    <a:pt x="8" y="30"/>
                    <a:pt x="9" y="31"/>
                    <a:pt x="10" y="32"/>
                  </a:cubicBezTo>
                  <a:cubicBezTo>
                    <a:pt x="10" y="33"/>
                    <a:pt x="12" y="32"/>
                    <a:pt x="13" y="33"/>
                  </a:cubicBezTo>
                  <a:cubicBezTo>
                    <a:pt x="14" y="33"/>
                    <a:pt x="15" y="35"/>
                    <a:pt x="16" y="36"/>
                  </a:cubicBezTo>
                  <a:cubicBezTo>
                    <a:pt x="17" y="38"/>
                    <a:pt x="19" y="43"/>
                    <a:pt x="22" y="43"/>
                  </a:cubicBezTo>
                  <a:cubicBezTo>
                    <a:pt x="22" y="47"/>
                    <a:pt x="24" y="49"/>
                    <a:pt x="25" y="51"/>
                  </a:cubicBezTo>
                  <a:cubicBezTo>
                    <a:pt x="25" y="53"/>
                    <a:pt x="25" y="55"/>
                    <a:pt x="26" y="57"/>
                  </a:cubicBezTo>
                  <a:cubicBezTo>
                    <a:pt x="26" y="58"/>
                    <a:pt x="28" y="59"/>
                    <a:pt x="28" y="61"/>
                  </a:cubicBezTo>
                  <a:cubicBezTo>
                    <a:pt x="30" y="64"/>
                    <a:pt x="31" y="64"/>
                    <a:pt x="34" y="64"/>
                  </a:cubicBezTo>
                  <a:cubicBezTo>
                    <a:pt x="36" y="64"/>
                    <a:pt x="38" y="63"/>
                    <a:pt x="39" y="64"/>
                  </a:cubicBezTo>
                  <a:cubicBezTo>
                    <a:pt x="39" y="65"/>
                    <a:pt x="40" y="66"/>
                    <a:pt x="40" y="67"/>
                  </a:cubicBezTo>
                  <a:cubicBezTo>
                    <a:pt x="41" y="68"/>
                    <a:pt x="41" y="68"/>
                    <a:pt x="42" y="69"/>
                  </a:cubicBezTo>
                  <a:cubicBezTo>
                    <a:pt x="44" y="72"/>
                    <a:pt x="43" y="76"/>
                    <a:pt x="43" y="80"/>
                  </a:cubicBezTo>
                  <a:cubicBezTo>
                    <a:pt x="44" y="84"/>
                    <a:pt x="46" y="87"/>
                    <a:pt x="47" y="90"/>
                  </a:cubicBezTo>
                  <a:cubicBezTo>
                    <a:pt x="49" y="94"/>
                    <a:pt x="50" y="98"/>
                    <a:pt x="52" y="100"/>
                  </a:cubicBezTo>
                  <a:cubicBezTo>
                    <a:pt x="53" y="101"/>
                    <a:pt x="55" y="102"/>
                    <a:pt x="56" y="103"/>
                  </a:cubicBezTo>
                  <a:cubicBezTo>
                    <a:pt x="58" y="104"/>
                    <a:pt x="58" y="103"/>
                    <a:pt x="59" y="105"/>
                  </a:cubicBezTo>
                  <a:cubicBezTo>
                    <a:pt x="60" y="106"/>
                    <a:pt x="61" y="107"/>
                    <a:pt x="62" y="107"/>
                  </a:cubicBezTo>
                  <a:cubicBezTo>
                    <a:pt x="65" y="109"/>
                    <a:pt x="64" y="108"/>
                    <a:pt x="65" y="111"/>
                  </a:cubicBezTo>
                  <a:cubicBezTo>
                    <a:pt x="66" y="112"/>
                    <a:pt x="66" y="115"/>
                    <a:pt x="66" y="116"/>
                  </a:cubicBezTo>
                  <a:cubicBezTo>
                    <a:pt x="67" y="118"/>
                    <a:pt x="69" y="118"/>
                    <a:pt x="70" y="120"/>
                  </a:cubicBezTo>
                  <a:cubicBezTo>
                    <a:pt x="71" y="121"/>
                    <a:pt x="71" y="122"/>
                    <a:pt x="71" y="123"/>
                  </a:cubicBezTo>
                  <a:cubicBezTo>
                    <a:pt x="72" y="125"/>
                    <a:pt x="73" y="125"/>
                    <a:pt x="75" y="126"/>
                  </a:cubicBezTo>
                  <a:cubicBezTo>
                    <a:pt x="78" y="128"/>
                    <a:pt x="80" y="132"/>
                    <a:pt x="84" y="134"/>
                  </a:cubicBezTo>
                  <a:cubicBezTo>
                    <a:pt x="87" y="136"/>
                    <a:pt x="87" y="136"/>
                    <a:pt x="88" y="140"/>
                  </a:cubicBezTo>
                  <a:cubicBezTo>
                    <a:pt x="90" y="144"/>
                    <a:pt x="91" y="146"/>
                    <a:pt x="95" y="146"/>
                  </a:cubicBezTo>
                  <a:cubicBezTo>
                    <a:pt x="97" y="147"/>
                    <a:pt x="98" y="146"/>
                    <a:pt x="100" y="146"/>
                  </a:cubicBezTo>
                  <a:cubicBezTo>
                    <a:pt x="103" y="147"/>
                    <a:pt x="102" y="146"/>
                    <a:pt x="103" y="150"/>
                  </a:cubicBezTo>
                  <a:cubicBezTo>
                    <a:pt x="103" y="152"/>
                    <a:pt x="103" y="154"/>
                    <a:pt x="103" y="157"/>
                  </a:cubicBezTo>
                  <a:cubicBezTo>
                    <a:pt x="103" y="158"/>
                    <a:pt x="104" y="160"/>
                    <a:pt x="104" y="162"/>
                  </a:cubicBezTo>
                  <a:cubicBezTo>
                    <a:pt x="106" y="163"/>
                    <a:pt x="111" y="163"/>
                    <a:pt x="112" y="162"/>
                  </a:cubicBezTo>
                  <a:cubicBezTo>
                    <a:pt x="115" y="159"/>
                    <a:pt x="113" y="156"/>
                    <a:pt x="112" y="153"/>
                  </a:cubicBezTo>
                  <a:cubicBezTo>
                    <a:pt x="111" y="151"/>
                    <a:pt x="110" y="151"/>
                    <a:pt x="110" y="1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96">
              <a:extLst>
                <a:ext uri="{FF2B5EF4-FFF2-40B4-BE49-F238E27FC236}">
                  <a16:creationId xmlns:a16="http://schemas.microsoft.com/office/drawing/2014/main" id="{374BD43C-8269-4CB2-9810-699E930CB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1839" y="4329196"/>
              <a:ext cx="152747" cy="66266"/>
            </a:xfrm>
            <a:custGeom>
              <a:avLst/>
              <a:gdLst>
                <a:gd name="T0" fmla="*/ 63 w 72"/>
                <a:gd name="T1" fmla="*/ 22 h 31"/>
                <a:gd name="T2" fmla="*/ 64 w 72"/>
                <a:gd name="T3" fmla="*/ 20 h 31"/>
                <a:gd name="T4" fmla="*/ 72 w 72"/>
                <a:gd name="T5" fmla="*/ 15 h 31"/>
                <a:gd name="T6" fmla="*/ 69 w 72"/>
                <a:gd name="T7" fmla="*/ 13 h 31"/>
                <a:gd name="T8" fmla="*/ 67 w 72"/>
                <a:gd name="T9" fmla="*/ 13 h 31"/>
                <a:gd name="T10" fmla="*/ 66 w 72"/>
                <a:gd name="T11" fmla="*/ 11 h 31"/>
                <a:gd name="T12" fmla="*/ 58 w 72"/>
                <a:gd name="T13" fmla="*/ 8 h 31"/>
                <a:gd name="T14" fmla="*/ 49 w 72"/>
                <a:gd name="T15" fmla="*/ 10 h 31"/>
                <a:gd name="T16" fmla="*/ 39 w 72"/>
                <a:gd name="T17" fmla="*/ 10 h 31"/>
                <a:gd name="T18" fmla="*/ 31 w 72"/>
                <a:gd name="T19" fmla="*/ 8 h 31"/>
                <a:gd name="T20" fmla="*/ 25 w 72"/>
                <a:gd name="T21" fmla="*/ 3 h 31"/>
                <a:gd name="T22" fmla="*/ 17 w 72"/>
                <a:gd name="T23" fmla="*/ 1 h 31"/>
                <a:gd name="T24" fmla="*/ 12 w 72"/>
                <a:gd name="T25" fmla="*/ 1 h 31"/>
                <a:gd name="T26" fmla="*/ 9 w 72"/>
                <a:gd name="T27" fmla="*/ 3 h 31"/>
                <a:gd name="T28" fmla="*/ 7 w 72"/>
                <a:gd name="T29" fmla="*/ 11 h 31"/>
                <a:gd name="T30" fmla="*/ 0 w 72"/>
                <a:gd name="T31" fmla="*/ 16 h 31"/>
                <a:gd name="T32" fmla="*/ 4 w 72"/>
                <a:gd name="T33" fmla="*/ 18 h 31"/>
                <a:gd name="T34" fmla="*/ 8 w 72"/>
                <a:gd name="T35" fmla="*/ 19 h 31"/>
                <a:gd name="T36" fmla="*/ 12 w 72"/>
                <a:gd name="T37" fmla="*/ 20 h 31"/>
                <a:gd name="T38" fmla="*/ 19 w 72"/>
                <a:gd name="T39" fmla="*/ 20 h 31"/>
                <a:gd name="T40" fmla="*/ 24 w 72"/>
                <a:gd name="T41" fmla="*/ 27 h 31"/>
                <a:gd name="T42" fmla="*/ 28 w 72"/>
                <a:gd name="T43" fmla="*/ 29 h 31"/>
                <a:gd name="T44" fmla="*/ 33 w 72"/>
                <a:gd name="T45" fmla="*/ 31 h 31"/>
                <a:gd name="T46" fmla="*/ 43 w 72"/>
                <a:gd name="T47" fmla="*/ 31 h 31"/>
                <a:gd name="T48" fmla="*/ 51 w 72"/>
                <a:gd name="T49" fmla="*/ 27 h 31"/>
                <a:gd name="T50" fmla="*/ 60 w 72"/>
                <a:gd name="T51" fmla="*/ 22 h 31"/>
                <a:gd name="T52" fmla="*/ 63 w 72"/>
                <a:gd name="T53" fmla="*/ 2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2" h="31">
                  <a:moveTo>
                    <a:pt x="63" y="22"/>
                  </a:moveTo>
                  <a:cubicBezTo>
                    <a:pt x="63" y="21"/>
                    <a:pt x="63" y="20"/>
                    <a:pt x="64" y="20"/>
                  </a:cubicBezTo>
                  <a:cubicBezTo>
                    <a:pt x="65" y="19"/>
                    <a:pt x="70" y="16"/>
                    <a:pt x="72" y="15"/>
                  </a:cubicBezTo>
                  <a:cubicBezTo>
                    <a:pt x="71" y="14"/>
                    <a:pt x="70" y="14"/>
                    <a:pt x="69" y="13"/>
                  </a:cubicBezTo>
                  <a:cubicBezTo>
                    <a:pt x="68" y="13"/>
                    <a:pt x="68" y="13"/>
                    <a:pt x="67" y="13"/>
                  </a:cubicBezTo>
                  <a:cubicBezTo>
                    <a:pt x="66" y="12"/>
                    <a:pt x="66" y="12"/>
                    <a:pt x="66" y="11"/>
                  </a:cubicBezTo>
                  <a:cubicBezTo>
                    <a:pt x="63" y="9"/>
                    <a:pt x="61" y="8"/>
                    <a:pt x="58" y="8"/>
                  </a:cubicBezTo>
                  <a:cubicBezTo>
                    <a:pt x="55" y="8"/>
                    <a:pt x="52" y="10"/>
                    <a:pt x="49" y="10"/>
                  </a:cubicBezTo>
                  <a:cubicBezTo>
                    <a:pt x="46" y="10"/>
                    <a:pt x="42" y="10"/>
                    <a:pt x="39" y="10"/>
                  </a:cubicBezTo>
                  <a:cubicBezTo>
                    <a:pt x="36" y="10"/>
                    <a:pt x="34" y="8"/>
                    <a:pt x="31" y="8"/>
                  </a:cubicBezTo>
                  <a:cubicBezTo>
                    <a:pt x="27" y="8"/>
                    <a:pt x="28" y="6"/>
                    <a:pt x="25" y="3"/>
                  </a:cubicBezTo>
                  <a:cubicBezTo>
                    <a:pt x="23" y="1"/>
                    <a:pt x="20" y="1"/>
                    <a:pt x="17" y="1"/>
                  </a:cubicBezTo>
                  <a:cubicBezTo>
                    <a:pt x="16" y="1"/>
                    <a:pt x="14" y="0"/>
                    <a:pt x="12" y="1"/>
                  </a:cubicBezTo>
                  <a:cubicBezTo>
                    <a:pt x="11" y="1"/>
                    <a:pt x="10" y="3"/>
                    <a:pt x="9" y="3"/>
                  </a:cubicBezTo>
                  <a:cubicBezTo>
                    <a:pt x="9" y="6"/>
                    <a:pt x="7" y="8"/>
                    <a:pt x="7" y="11"/>
                  </a:cubicBezTo>
                  <a:cubicBezTo>
                    <a:pt x="5" y="12"/>
                    <a:pt x="0" y="13"/>
                    <a:pt x="0" y="16"/>
                  </a:cubicBezTo>
                  <a:cubicBezTo>
                    <a:pt x="1" y="17"/>
                    <a:pt x="3" y="18"/>
                    <a:pt x="4" y="18"/>
                  </a:cubicBezTo>
                  <a:cubicBezTo>
                    <a:pt x="5" y="18"/>
                    <a:pt x="7" y="18"/>
                    <a:pt x="8" y="19"/>
                  </a:cubicBezTo>
                  <a:cubicBezTo>
                    <a:pt x="10" y="19"/>
                    <a:pt x="11" y="20"/>
                    <a:pt x="12" y="20"/>
                  </a:cubicBezTo>
                  <a:cubicBezTo>
                    <a:pt x="14" y="20"/>
                    <a:pt x="17" y="19"/>
                    <a:pt x="19" y="20"/>
                  </a:cubicBezTo>
                  <a:cubicBezTo>
                    <a:pt x="22" y="21"/>
                    <a:pt x="21" y="26"/>
                    <a:pt x="24" y="27"/>
                  </a:cubicBezTo>
                  <a:cubicBezTo>
                    <a:pt x="26" y="28"/>
                    <a:pt x="26" y="27"/>
                    <a:pt x="28" y="29"/>
                  </a:cubicBezTo>
                  <a:cubicBezTo>
                    <a:pt x="30" y="30"/>
                    <a:pt x="30" y="31"/>
                    <a:pt x="33" y="31"/>
                  </a:cubicBezTo>
                  <a:cubicBezTo>
                    <a:pt x="36" y="31"/>
                    <a:pt x="39" y="31"/>
                    <a:pt x="43" y="31"/>
                  </a:cubicBezTo>
                  <a:cubicBezTo>
                    <a:pt x="46" y="31"/>
                    <a:pt x="48" y="30"/>
                    <a:pt x="51" y="27"/>
                  </a:cubicBezTo>
                  <a:cubicBezTo>
                    <a:pt x="54" y="24"/>
                    <a:pt x="57" y="24"/>
                    <a:pt x="60" y="22"/>
                  </a:cubicBezTo>
                  <a:cubicBezTo>
                    <a:pt x="61" y="22"/>
                    <a:pt x="62" y="22"/>
                    <a:pt x="6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97">
              <a:extLst>
                <a:ext uri="{FF2B5EF4-FFF2-40B4-BE49-F238E27FC236}">
                  <a16:creationId xmlns:a16="http://schemas.microsoft.com/office/drawing/2014/main" id="{26C855FB-99FE-44BB-8275-AD310997E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8646" y="4374120"/>
              <a:ext cx="106698" cy="43803"/>
            </a:xfrm>
            <a:custGeom>
              <a:avLst/>
              <a:gdLst>
                <a:gd name="T0" fmla="*/ 47 w 51"/>
                <a:gd name="T1" fmla="*/ 12 h 21"/>
                <a:gd name="T2" fmla="*/ 42 w 51"/>
                <a:gd name="T3" fmla="*/ 9 h 21"/>
                <a:gd name="T4" fmla="*/ 41 w 51"/>
                <a:gd name="T5" fmla="*/ 8 h 21"/>
                <a:gd name="T6" fmla="*/ 38 w 51"/>
                <a:gd name="T7" fmla="*/ 6 h 21"/>
                <a:gd name="T8" fmla="*/ 34 w 51"/>
                <a:gd name="T9" fmla="*/ 3 h 21"/>
                <a:gd name="T10" fmla="*/ 29 w 51"/>
                <a:gd name="T11" fmla="*/ 1 h 21"/>
                <a:gd name="T12" fmla="*/ 27 w 51"/>
                <a:gd name="T13" fmla="*/ 6 h 21"/>
                <a:gd name="T14" fmla="*/ 21 w 51"/>
                <a:gd name="T15" fmla="*/ 7 h 21"/>
                <a:gd name="T16" fmla="*/ 19 w 51"/>
                <a:gd name="T17" fmla="*/ 8 h 21"/>
                <a:gd name="T18" fmla="*/ 16 w 51"/>
                <a:gd name="T19" fmla="*/ 8 h 21"/>
                <a:gd name="T20" fmla="*/ 15 w 51"/>
                <a:gd name="T21" fmla="*/ 13 h 21"/>
                <a:gd name="T22" fmla="*/ 10 w 51"/>
                <a:gd name="T23" fmla="*/ 13 h 21"/>
                <a:gd name="T24" fmla="*/ 7 w 51"/>
                <a:gd name="T25" fmla="*/ 15 h 21"/>
                <a:gd name="T26" fmla="*/ 0 w 51"/>
                <a:gd name="T27" fmla="*/ 20 h 21"/>
                <a:gd name="T28" fmla="*/ 5 w 51"/>
                <a:gd name="T29" fmla="*/ 18 h 21"/>
                <a:gd name="T30" fmla="*/ 12 w 51"/>
                <a:gd name="T31" fmla="*/ 15 h 21"/>
                <a:gd name="T32" fmla="*/ 24 w 51"/>
                <a:gd name="T33" fmla="*/ 17 h 21"/>
                <a:gd name="T34" fmla="*/ 31 w 51"/>
                <a:gd name="T35" fmla="*/ 17 h 21"/>
                <a:gd name="T36" fmla="*/ 38 w 51"/>
                <a:gd name="T37" fmla="*/ 19 h 21"/>
                <a:gd name="T38" fmla="*/ 43 w 51"/>
                <a:gd name="T39" fmla="*/ 17 h 21"/>
                <a:gd name="T40" fmla="*/ 46 w 51"/>
                <a:gd name="T41" fmla="*/ 15 h 21"/>
                <a:gd name="T42" fmla="*/ 51 w 51"/>
                <a:gd name="T43" fmla="*/ 13 h 21"/>
                <a:gd name="T44" fmla="*/ 47 w 51"/>
                <a:gd name="T45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" h="21">
                  <a:moveTo>
                    <a:pt x="47" y="12"/>
                  </a:moveTo>
                  <a:cubicBezTo>
                    <a:pt x="45" y="10"/>
                    <a:pt x="44" y="11"/>
                    <a:pt x="42" y="9"/>
                  </a:cubicBezTo>
                  <a:cubicBezTo>
                    <a:pt x="42" y="9"/>
                    <a:pt x="41" y="8"/>
                    <a:pt x="41" y="8"/>
                  </a:cubicBezTo>
                  <a:cubicBezTo>
                    <a:pt x="40" y="7"/>
                    <a:pt x="39" y="7"/>
                    <a:pt x="38" y="6"/>
                  </a:cubicBezTo>
                  <a:cubicBezTo>
                    <a:pt x="36" y="5"/>
                    <a:pt x="36" y="5"/>
                    <a:pt x="34" y="3"/>
                  </a:cubicBezTo>
                  <a:cubicBezTo>
                    <a:pt x="33" y="1"/>
                    <a:pt x="31" y="0"/>
                    <a:pt x="29" y="1"/>
                  </a:cubicBezTo>
                  <a:cubicBezTo>
                    <a:pt x="27" y="2"/>
                    <a:pt x="28" y="5"/>
                    <a:pt x="27" y="6"/>
                  </a:cubicBezTo>
                  <a:cubicBezTo>
                    <a:pt x="25" y="7"/>
                    <a:pt x="22" y="6"/>
                    <a:pt x="21" y="7"/>
                  </a:cubicBezTo>
                  <a:cubicBezTo>
                    <a:pt x="20" y="7"/>
                    <a:pt x="20" y="8"/>
                    <a:pt x="19" y="8"/>
                  </a:cubicBezTo>
                  <a:cubicBezTo>
                    <a:pt x="18" y="8"/>
                    <a:pt x="17" y="8"/>
                    <a:pt x="16" y="8"/>
                  </a:cubicBezTo>
                  <a:cubicBezTo>
                    <a:pt x="15" y="10"/>
                    <a:pt x="15" y="11"/>
                    <a:pt x="15" y="13"/>
                  </a:cubicBezTo>
                  <a:cubicBezTo>
                    <a:pt x="14" y="14"/>
                    <a:pt x="12" y="13"/>
                    <a:pt x="10" y="13"/>
                  </a:cubicBezTo>
                  <a:cubicBezTo>
                    <a:pt x="9" y="14"/>
                    <a:pt x="8" y="14"/>
                    <a:pt x="7" y="15"/>
                  </a:cubicBezTo>
                  <a:cubicBezTo>
                    <a:pt x="5" y="16"/>
                    <a:pt x="1" y="16"/>
                    <a:pt x="0" y="20"/>
                  </a:cubicBezTo>
                  <a:cubicBezTo>
                    <a:pt x="3" y="21"/>
                    <a:pt x="3" y="19"/>
                    <a:pt x="5" y="18"/>
                  </a:cubicBezTo>
                  <a:cubicBezTo>
                    <a:pt x="7" y="18"/>
                    <a:pt x="10" y="16"/>
                    <a:pt x="12" y="15"/>
                  </a:cubicBezTo>
                  <a:cubicBezTo>
                    <a:pt x="16" y="13"/>
                    <a:pt x="20" y="17"/>
                    <a:pt x="24" y="17"/>
                  </a:cubicBezTo>
                  <a:cubicBezTo>
                    <a:pt x="26" y="17"/>
                    <a:pt x="28" y="17"/>
                    <a:pt x="31" y="17"/>
                  </a:cubicBezTo>
                  <a:cubicBezTo>
                    <a:pt x="33" y="17"/>
                    <a:pt x="35" y="18"/>
                    <a:pt x="38" y="19"/>
                  </a:cubicBezTo>
                  <a:cubicBezTo>
                    <a:pt x="41" y="19"/>
                    <a:pt x="41" y="18"/>
                    <a:pt x="43" y="17"/>
                  </a:cubicBezTo>
                  <a:cubicBezTo>
                    <a:pt x="44" y="16"/>
                    <a:pt x="45" y="16"/>
                    <a:pt x="46" y="15"/>
                  </a:cubicBezTo>
                  <a:cubicBezTo>
                    <a:pt x="47" y="15"/>
                    <a:pt x="49" y="14"/>
                    <a:pt x="51" y="13"/>
                  </a:cubicBezTo>
                  <a:cubicBezTo>
                    <a:pt x="49" y="14"/>
                    <a:pt x="48" y="12"/>
                    <a:pt x="4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98">
              <a:extLst>
                <a:ext uri="{FF2B5EF4-FFF2-40B4-BE49-F238E27FC236}">
                  <a16:creationId xmlns:a16="http://schemas.microsoft.com/office/drawing/2014/main" id="{26F4F5A7-3160-4352-AE4D-D618A7817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8565" y="4396583"/>
              <a:ext cx="16846" cy="16846"/>
            </a:xfrm>
            <a:custGeom>
              <a:avLst/>
              <a:gdLst>
                <a:gd name="T0" fmla="*/ 0 w 8"/>
                <a:gd name="T1" fmla="*/ 7 h 8"/>
                <a:gd name="T2" fmla="*/ 2 w 8"/>
                <a:gd name="T3" fmla="*/ 8 h 8"/>
                <a:gd name="T4" fmla="*/ 4 w 8"/>
                <a:gd name="T5" fmla="*/ 8 h 8"/>
                <a:gd name="T6" fmla="*/ 6 w 8"/>
                <a:gd name="T7" fmla="*/ 8 h 8"/>
                <a:gd name="T8" fmla="*/ 8 w 8"/>
                <a:gd name="T9" fmla="*/ 5 h 8"/>
                <a:gd name="T10" fmla="*/ 7 w 8"/>
                <a:gd name="T11" fmla="*/ 2 h 8"/>
                <a:gd name="T12" fmla="*/ 4 w 8"/>
                <a:gd name="T13" fmla="*/ 0 h 8"/>
                <a:gd name="T14" fmla="*/ 2 w 8"/>
                <a:gd name="T15" fmla="*/ 1 h 8"/>
                <a:gd name="T16" fmla="*/ 1 w 8"/>
                <a:gd name="T17" fmla="*/ 2 h 8"/>
                <a:gd name="T18" fmla="*/ 1 w 8"/>
                <a:gd name="T19" fmla="*/ 2 h 8"/>
                <a:gd name="T20" fmla="*/ 0 w 8"/>
                <a:gd name="T21" fmla="*/ 3 h 8"/>
                <a:gd name="T22" fmla="*/ 0 w 8"/>
                <a:gd name="T23" fmla="*/ 5 h 8"/>
                <a:gd name="T24" fmla="*/ 0 w 8"/>
                <a:gd name="T25" fmla="*/ 6 h 8"/>
                <a:gd name="T26" fmla="*/ 0 w 8"/>
                <a:gd name="T2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8">
                  <a:moveTo>
                    <a:pt x="0" y="7"/>
                  </a:moveTo>
                  <a:cubicBezTo>
                    <a:pt x="1" y="7"/>
                    <a:pt x="1" y="8"/>
                    <a:pt x="2" y="8"/>
                  </a:cubicBezTo>
                  <a:cubicBezTo>
                    <a:pt x="3" y="8"/>
                    <a:pt x="3" y="8"/>
                    <a:pt x="4" y="8"/>
                  </a:cubicBezTo>
                  <a:cubicBezTo>
                    <a:pt x="4" y="8"/>
                    <a:pt x="5" y="8"/>
                    <a:pt x="6" y="8"/>
                  </a:cubicBezTo>
                  <a:cubicBezTo>
                    <a:pt x="7" y="8"/>
                    <a:pt x="8" y="6"/>
                    <a:pt x="8" y="5"/>
                  </a:cubicBezTo>
                  <a:cubicBezTo>
                    <a:pt x="8" y="3"/>
                    <a:pt x="8" y="2"/>
                    <a:pt x="7" y="2"/>
                  </a:cubicBezTo>
                  <a:cubicBezTo>
                    <a:pt x="6" y="1"/>
                    <a:pt x="5" y="1"/>
                    <a:pt x="4" y="0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99">
              <a:extLst>
                <a:ext uri="{FF2B5EF4-FFF2-40B4-BE49-F238E27FC236}">
                  <a16:creationId xmlns:a16="http://schemas.microsoft.com/office/drawing/2014/main" id="{BA9A7953-8019-4CAE-A2DC-6E5C6F402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8131" y="4422417"/>
              <a:ext cx="28078" cy="26955"/>
            </a:xfrm>
            <a:custGeom>
              <a:avLst/>
              <a:gdLst>
                <a:gd name="T0" fmla="*/ 11 w 13"/>
                <a:gd name="T1" fmla="*/ 5 h 13"/>
                <a:gd name="T2" fmla="*/ 10 w 13"/>
                <a:gd name="T3" fmla="*/ 3 h 13"/>
                <a:gd name="T4" fmla="*/ 6 w 13"/>
                <a:gd name="T5" fmla="*/ 1 h 13"/>
                <a:gd name="T6" fmla="*/ 3 w 13"/>
                <a:gd name="T7" fmla="*/ 1 h 13"/>
                <a:gd name="T8" fmla="*/ 1 w 13"/>
                <a:gd name="T9" fmla="*/ 1 h 13"/>
                <a:gd name="T10" fmla="*/ 1 w 13"/>
                <a:gd name="T11" fmla="*/ 3 h 13"/>
                <a:gd name="T12" fmla="*/ 1 w 13"/>
                <a:gd name="T13" fmla="*/ 4 h 13"/>
                <a:gd name="T14" fmla="*/ 1 w 13"/>
                <a:gd name="T15" fmla="*/ 7 h 13"/>
                <a:gd name="T16" fmla="*/ 2 w 13"/>
                <a:gd name="T17" fmla="*/ 9 h 13"/>
                <a:gd name="T18" fmla="*/ 3 w 13"/>
                <a:gd name="T19" fmla="*/ 10 h 13"/>
                <a:gd name="T20" fmla="*/ 6 w 13"/>
                <a:gd name="T21" fmla="*/ 12 h 13"/>
                <a:gd name="T22" fmla="*/ 7 w 13"/>
                <a:gd name="T23" fmla="*/ 13 h 13"/>
                <a:gd name="T24" fmla="*/ 8 w 13"/>
                <a:gd name="T25" fmla="*/ 13 h 13"/>
                <a:gd name="T26" fmla="*/ 10 w 13"/>
                <a:gd name="T27" fmla="*/ 13 h 13"/>
                <a:gd name="T28" fmla="*/ 10 w 13"/>
                <a:gd name="T29" fmla="*/ 12 h 13"/>
                <a:gd name="T30" fmla="*/ 12 w 13"/>
                <a:gd name="T31" fmla="*/ 11 h 13"/>
                <a:gd name="T32" fmla="*/ 13 w 13"/>
                <a:gd name="T33" fmla="*/ 8 h 13"/>
                <a:gd name="T34" fmla="*/ 12 w 13"/>
                <a:gd name="T35" fmla="*/ 6 h 13"/>
                <a:gd name="T36" fmla="*/ 11 w 13"/>
                <a:gd name="T37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" h="13">
                  <a:moveTo>
                    <a:pt x="11" y="5"/>
                  </a:moveTo>
                  <a:cubicBezTo>
                    <a:pt x="11" y="4"/>
                    <a:pt x="10" y="3"/>
                    <a:pt x="10" y="3"/>
                  </a:cubicBezTo>
                  <a:cubicBezTo>
                    <a:pt x="9" y="2"/>
                    <a:pt x="7" y="1"/>
                    <a:pt x="6" y="1"/>
                  </a:cubicBezTo>
                  <a:cubicBezTo>
                    <a:pt x="5" y="0"/>
                    <a:pt x="4" y="1"/>
                    <a:pt x="3" y="1"/>
                  </a:cubicBezTo>
                  <a:cubicBezTo>
                    <a:pt x="2" y="1"/>
                    <a:pt x="2" y="0"/>
                    <a:pt x="1" y="1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0" y="5"/>
                    <a:pt x="1" y="7"/>
                    <a:pt x="1" y="7"/>
                  </a:cubicBezTo>
                  <a:cubicBezTo>
                    <a:pt x="2" y="8"/>
                    <a:pt x="2" y="8"/>
                    <a:pt x="2" y="9"/>
                  </a:cubicBezTo>
                  <a:cubicBezTo>
                    <a:pt x="2" y="9"/>
                    <a:pt x="2" y="10"/>
                    <a:pt x="3" y="10"/>
                  </a:cubicBezTo>
                  <a:cubicBezTo>
                    <a:pt x="4" y="11"/>
                    <a:pt x="5" y="12"/>
                    <a:pt x="6" y="12"/>
                  </a:cubicBezTo>
                  <a:cubicBezTo>
                    <a:pt x="7" y="13"/>
                    <a:pt x="7" y="12"/>
                    <a:pt x="7" y="13"/>
                  </a:cubicBezTo>
                  <a:cubicBezTo>
                    <a:pt x="8" y="13"/>
                    <a:pt x="7" y="13"/>
                    <a:pt x="8" y="13"/>
                  </a:cubicBezTo>
                  <a:cubicBezTo>
                    <a:pt x="8" y="13"/>
                    <a:pt x="9" y="13"/>
                    <a:pt x="10" y="13"/>
                  </a:cubicBezTo>
                  <a:cubicBezTo>
                    <a:pt x="10" y="13"/>
                    <a:pt x="10" y="12"/>
                    <a:pt x="10" y="12"/>
                  </a:cubicBezTo>
                  <a:cubicBezTo>
                    <a:pt x="11" y="12"/>
                    <a:pt x="11" y="11"/>
                    <a:pt x="12" y="11"/>
                  </a:cubicBezTo>
                  <a:cubicBezTo>
                    <a:pt x="12" y="10"/>
                    <a:pt x="12" y="9"/>
                    <a:pt x="13" y="8"/>
                  </a:cubicBezTo>
                  <a:cubicBezTo>
                    <a:pt x="13" y="7"/>
                    <a:pt x="12" y="7"/>
                    <a:pt x="12" y="6"/>
                  </a:cubicBezTo>
                  <a:cubicBezTo>
                    <a:pt x="12" y="6"/>
                    <a:pt x="11" y="5"/>
                    <a:pt x="1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100">
              <a:extLst>
                <a:ext uri="{FF2B5EF4-FFF2-40B4-BE49-F238E27FC236}">
                  <a16:creationId xmlns:a16="http://schemas.microsoft.com/office/drawing/2014/main" id="{CA342B65-EE38-4E3C-B863-E7265BDA6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2948" y="4429155"/>
              <a:ext cx="22463" cy="19094"/>
            </a:xfrm>
            <a:custGeom>
              <a:avLst/>
              <a:gdLst>
                <a:gd name="T0" fmla="*/ 10 w 11"/>
                <a:gd name="T1" fmla="*/ 1 h 9"/>
                <a:gd name="T2" fmla="*/ 7 w 11"/>
                <a:gd name="T3" fmla="*/ 0 h 9"/>
                <a:gd name="T4" fmla="*/ 6 w 11"/>
                <a:gd name="T5" fmla="*/ 0 h 9"/>
                <a:gd name="T6" fmla="*/ 5 w 11"/>
                <a:gd name="T7" fmla="*/ 1 h 9"/>
                <a:gd name="T8" fmla="*/ 1 w 11"/>
                <a:gd name="T9" fmla="*/ 2 h 9"/>
                <a:gd name="T10" fmla="*/ 0 w 11"/>
                <a:gd name="T11" fmla="*/ 4 h 9"/>
                <a:gd name="T12" fmla="*/ 0 w 11"/>
                <a:gd name="T13" fmla="*/ 7 h 9"/>
                <a:gd name="T14" fmla="*/ 1 w 11"/>
                <a:gd name="T15" fmla="*/ 8 h 9"/>
                <a:gd name="T16" fmla="*/ 3 w 11"/>
                <a:gd name="T17" fmla="*/ 8 h 9"/>
                <a:gd name="T18" fmla="*/ 4 w 11"/>
                <a:gd name="T19" fmla="*/ 9 h 9"/>
                <a:gd name="T20" fmla="*/ 6 w 11"/>
                <a:gd name="T21" fmla="*/ 9 h 9"/>
                <a:gd name="T22" fmla="*/ 9 w 11"/>
                <a:gd name="T23" fmla="*/ 8 h 9"/>
                <a:gd name="T24" fmla="*/ 11 w 11"/>
                <a:gd name="T25" fmla="*/ 7 h 9"/>
                <a:gd name="T26" fmla="*/ 11 w 11"/>
                <a:gd name="T27" fmla="*/ 5 h 9"/>
                <a:gd name="T28" fmla="*/ 11 w 11"/>
                <a:gd name="T29" fmla="*/ 4 h 9"/>
                <a:gd name="T30" fmla="*/ 11 w 11"/>
                <a:gd name="T31" fmla="*/ 3 h 9"/>
                <a:gd name="T32" fmla="*/ 10 w 11"/>
                <a:gd name="T3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9">
                  <a:moveTo>
                    <a:pt x="10" y="1"/>
                  </a:moveTo>
                  <a:cubicBezTo>
                    <a:pt x="9" y="0"/>
                    <a:pt x="8" y="0"/>
                    <a:pt x="7" y="0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5" y="0"/>
                    <a:pt x="6" y="0"/>
                    <a:pt x="5" y="1"/>
                  </a:cubicBezTo>
                  <a:cubicBezTo>
                    <a:pt x="4" y="1"/>
                    <a:pt x="2" y="1"/>
                    <a:pt x="1" y="2"/>
                  </a:cubicBezTo>
                  <a:cubicBezTo>
                    <a:pt x="0" y="3"/>
                    <a:pt x="1" y="3"/>
                    <a:pt x="0" y="4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1" y="7"/>
                    <a:pt x="1" y="7"/>
                    <a:pt x="1" y="8"/>
                  </a:cubicBezTo>
                  <a:cubicBezTo>
                    <a:pt x="2" y="8"/>
                    <a:pt x="2" y="8"/>
                    <a:pt x="3" y="8"/>
                  </a:cubicBezTo>
                  <a:cubicBezTo>
                    <a:pt x="3" y="8"/>
                    <a:pt x="3" y="9"/>
                    <a:pt x="4" y="9"/>
                  </a:cubicBezTo>
                  <a:cubicBezTo>
                    <a:pt x="4" y="9"/>
                    <a:pt x="5" y="9"/>
                    <a:pt x="6" y="9"/>
                  </a:cubicBezTo>
                  <a:cubicBezTo>
                    <a:pt x="7" y="9"/>
                    <a:pt x="8" y="9"/>
                    <a:pt x="9" y="8"/>
                  </a:cubicBezTo>
                  <a:cubicBezTo>
                    <a:pt x="10" y="8"/>
                    <a:pt x="10" y="8"/>
                    <a:pt x="11" y="7"/>
                  </a:cubicBezTo>
                  <a:cubicBezTo>
                    <a:pt x="11" y="7"/>
                    <a:pt x="10" y="6"/>
                    <a:pt x="11" y="5"/>
                  </a:cubicBezTo>
                  <a:cubicBezTo>
                    <a:pt x="11" y="5"/>
                    <a:pt x="11" y="5"/>
                    <a:pt x="11" y="4"/>
                  </a:cubicBezTo>
                  <a:cubicBezTo>
                    <a:pt x="11" y="4"/>
                    <a:pt x="11" y="3"/>
                    <a:pt x="11" y="3"/>
                  </a:cubicBezTo>
                  <a:cubicBezTo>
                    <a:pt x="11" y="2"/>
                    <a:pt x="10" y="1"/>
                    <a:pt x="1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101">
              <a:extLst>
                <a:ext uri="{FF2B5EF4-FFF2-40B4-BE49-F238E27FC236}">
                  <a16:creationId xmlns:a16="http://schemas.microsoft.com/office/drawing/2014/main" id="{BF21E3D9-63D6-4DCA-B656-48912677CE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3597" y="4369628"/>
              <a:ext cx="90975" cy="86481"/>
            </a:xfrm>
            <a:custGeom>
              <a:avLst/>
              <a:gdLst>
                <a:gd name="T0" fmla="*/ 39 w 43"/>
                <a:gd name="T1" fmla="*/ 1 h 41"/>
                <a:gd name="T2" fmla="*/ 32 w 43"/>
                <a:gd name="T3" fmla="*/ 1 h 41"/>
                <a:gd name="T4" fmla="*/ 27 w 43"/>
                <a:gd name="T5" fmla="*/ 5 h 41"/>
                <a:gd name="T6" fmla="*/ 21 w 43"/>
                <a:gd name="T7" fmla="*/ 8 h 41"/>
                <a:gd name="T8" fmla="*/ 18 w 43"/>
                <a:gd name="T9" fmla="*/ 14 h 41"/>
                <a:gd name="T10" fmla="*/ 13 w 43"/>
                <a:gd name="T11" fmla="*/ 17 h 41"/>
                <a:gd name="T12" fmla="*/ 11 w 43"/>
                <a:gd name="T13" fmla="*/ 19 h 41"/>
                <a:gd name="T14" fmla="*/ 7 w 43"/>
                <a:gd name="T15" fmla="*/ 20 h 41"/>
                <a:gd name="T16" fmla="*/ 5 w 43"/>
                <a:gd name="T17" fmla="*/ 24 h 41"/>
                <a:gd name="T18" fmla="*/ 3 w 43"/>
                <a:gd name="T19" fmla="*/ 28 h 41"/>
                <a:gd name="T20" fmla="*/ 0 w 43"/>
                <a:gd name="T21" fmla="*/ 36 h 41"/>
                <a:gd name="T22" fmla="*/ 4 w 43"/>
                <a:gd name="T23" fmla="*/ 39 h 41"/>
                <a:gd name="T24" fmla="*/ 10 w 43"/>
                <a:gd name="T25" fmla="*/ 31 h 41"/>
                <a:gd name="T26" fmla="*/ 17 w 43"/>
                <a:gd name="T27" fmla="*/ 28 h 41"/>
                <a:gd name="T28" fmla="*/ 21 w 43"/>
                <a:gd name="T29" fmla="*/ 26 h 41"/>
                <a:gd name="T30" fmla="*/ 24 w 43"/>
                <a:gd name="T31" fmla="*/ 25 h 41"/>
                <a:gd name="T32" fmla="*/ 28 w 43"/>
                <a:gd name="T33" fmla="*/ 19 h 41"/>
                <a:gd name="T34" fmla="*/ 32 w 43"/>
                <a:gd name="T35" fmla="*/ 17 h 41"/>
                <a:gd name="T36" fmla="*/ 34 w 43"/>
                <a:gd name="T37" fmla="*/ 15 h 41"/>
                <a:gd name="T38" fmla="*/ 39 w 43"/>
                <a:gd name="T39" fmla="*/ 12 h 41"/>
                <a:gd name="T40" fmla="*/ 43 w 43"/>
                <a:gd name="T41" fmla="*/ 5 h 41"/>
                <a:gd name="T42" fmla="*/ 40 w 43"/>
                <a:gd name="T43" fmla="*/ 4 h 41"/>
                <a:gd name="T44" fmla="*/ 39 w 43"/>
                <a:gd name="T45" fmla="*/ 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" h="41">
                  <a:moveTo>
                    <a:pt x="39" y="1"/>
                  </a:moveTo>
                  <a:cubicBezTo>
                    <a:pt x="37" y="1"/>
                    <a:pt x="34" y="0"/>
                    <a:pt x="32" y="1"/>
                  </a:cubicBezTo>
                  <a:cubicBezTo>
                    <a:pt x="30" y="2"/>
                    <a:pt x="29" y="4"/>
                    <a:pt x="27" y="5"/>
                  </a:cubicBezTo>
                  <a:cubicBezTo>
                    <a:pt x="25" y="6"/>
                    <a:pt x="23" y="6"/>
                    <a:pt x="21" y="8"/>
                  </a:cubicBezTo>
                  <a:cubicBezTo>
                    <a:pt x="20" y="9"/>
                    <a:pt x="19" y="12"/>
                    <a:pt x="18" y="14"/>
                  </a:cubicBezTo>
                  <a:cubicBezTo>
                    <a:pt x="17" y="15"/>
                    <a:pt x="15" y="17"/>
                    <a:pt x="13" y="17"/>
                  </a:cubicBezTo>
                  <a:cubicBezTo>
                    <a:pt x="12" y="18"/>
                    <a:pt x="12" y="18"/>
                    <a:pt x="11" y="19"/>
                  </a:cubicBezTo>
                  <a:cubicBezTo>
                    <a:pt x="9" y="19"/>
                    <a:pt x="8" y="19"/>
                    <a:pt x="7" y="20"/>
                  </a:cubicBezTo>
                  <a:cubicBezTo>
                    <a:pt x="5" y="21"/>
                    <a:pt x="6" y="22"/>
                    <a:pt x="5" y="24"/>
                  </a:cubicBezTo>
                  <a:cubicBezTo>
                    <a:pt x="4" y="25"/>
                    <a:pt x="3" y="26"/>
                    <a:pt x="3" y="28"/>
                  </a:cubicBezTo>
                  <a:cubicBezTo>
                    <a:pt x="1" y="30"/>
                    <a:pt x="0" y="33"/>
                    <a:pt x="0" y="36"/>
                  </a:cubicBezTo>
                  <a:cubicBezTo>
                    <a:pt x="1" y="41"/>
                    <a:pt x="2" y="41"/>
                    <a:pt x="4" y="39"/>
                  </a:cubicBezTo>
                  <a:cubicBezTo>
                    <a:pt x="7" y="37"/>
                    <a:pt x="8" y="33"/>
                    <a:pt x="10" y="31"/>
                  </a:cubicBezTo>
                  <a:cubicBezTo>
                    <a:pt x="13" y="30"/>
                    <a:pt x="15" y="30"/>
                    <a:pt x="17" y="28"/>
                  </a:cubicBezTo>
                  <a:cubicBezTo>
                    <a:pt x="18" y="27"/>
                    <a:pt x="19" y="26"/>
                    <a:pt x="21" y="26"/>
                  </a:cubicBezTo>
                  <a:cubicBezTo>
                    <a:pt x="22" y="25"/>
                    <a:pt x="23" y="26"/>
                    <a:pt x="24" y="25"/>
                  </a:cubicBezTo>
                  <a:cubicBezTo>
                    <a:pt x="26" y="24"/>
                    <a:pt x="26" y="21"/>
                    <a:pt x="28" y="19"/>
                  </a:cubicBezTo>
                  <a:cubicBezTo>
                    <a:pt x="29" y="18"/>
                    <a:pt x="31" y="18"/>
                    <a:pt x="32" y="17"/>
                  </a:cubicBezTo>
                  <a:cubicBezTo>
                    <a:pt x="33" y="16"/>
                    <a:pt x="33" y="15"/>
                    <a:pt x="34" y="15"/>
                  </a:cubicBezTo>
                  <a:cubicBezTo>
                    <a:pt x="36" y="13"/>
                    <a:pt x="38" y="13"/>
                    <a:pt x="39" y="12"/>
                  </a:cubicBezTo>
                  <a:cubicBezTo>
                    <a:pt x="42" y="10"/>
                    <a:pt x="42" y="8"/>
                    <a:pt x="43" y="5"/>
                  </a:cubicBezTo>
                  <a:cubicBezTo>
                    <a:pt x="42" y="5"/>
                    <a:pt x="41" y="5"/>
                    <a:pt x="40" y="4"/>
                  </a:cubicBezTo>
                  <a:cubicBezTo>
                    <a:pt x="39" y="3"/>
                    <a:pt x="39" y="2"/>
                    <a:pt x="3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102">
              <a:extLst>
                <a:ext uri="{FF2B5EF4-FFF2-40B4-BE49-F238E27FC236}">
                  <a16:creationId xmlns:a16="http://schemas.microsoft.com/office/drawing/2014/main" id="{51FD51AF-6988-48AF-A4C4-495A4F370A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762" y="4102321"/>
              <a:ext cx="137022" cy="216765"/>
            </a:xfrm>
            <a:custGeom>
              <a:avLst/>
              <a:gdLst>
                <a:gd name="T0" fmla="*/ 40 w 65"/>
                <a:gd name="T1" fmla="*/ 68 h 103"/>
                <a:gd name="T2" fmla="*/ 38 w 65"/>
                <a:gd name="T3" fmla="*/ 64 h 103"/>
                <a:gd name="T4" fmla="*/ 34 w 65"/>
                <a:gd name="T5" fmla="*/ 60 h 103"/>
                <a:gd name="T6" fmla="*/ 31 w 65"/>
                <a:gd name="T7" fmla="*/ 48 h 103"/>
                <a:gd name="T8" fmla="*/ 34 w 65"/>
                <a:gd name="T9" fmla="*/ 44 h 103"/>
                <a:gd name="T10" fmla="*/ 35 w 65"/>
                <a:gd name="T11" fmla="*/ 37 h 103"/>
                <a:gd name="T12" fmla="*/ 38 w 65"/>
                <a:gd name="T13" fmla="*/ 32 h 103"/>
                <a:gd name="T14" fmla="*/ 40 w 65"/>
                <a:gd name="T15" fmla="*/ 27 h 103"/>
                <a:gd name="T16" fmla="*/ 50 w 65"/>
                <a:gd name="T17" fmla="*/ 28 h 103"/>
                <a:gd name="T18" fmla="*/ 58 w 65"/>
                <a:gd name="T19" fmla="*/ 22 h 103"/>
                <a:gd name="T20" fmla="*/ 63 w 65"/>
                <a:gd name="T21" fmla="*/ 20 h 103"/>
                <a:gd name="T22" fmla="*/ 64 w 65"/>
                <a:gd name="T23" fmla="*/ 11 h 103"/>
                <a:gd name="T24" fmla="*/ 64 w 65"/>
                <a:gd name="T25" fmla="*/ 2 h 103"/>
                <a:gd name="T26" fmla="*/ 56 w 65"/>
                <a:gd name="T27" fmla="*/ 6 h 103"/>
                <a:gd name="T28" fmla="*/ 52 w 65"/>
                <a:gd name="T29" fmla="*/ 11 h 103"/>
                <a:gd name="T30" fmla="*/ 47 w 65"/>
                <a:gd name="T31" fmla="*/ 14 h 103"/>
                <a:gd name="T32" fmla="*/ 32 w 65"/>
                <a:gd name="T33" fmla="*/ 14 h 103"/>
                <a:gd name="T34" fmla="*/ 28 w 65"/>
                <a:gd name="T35" fmla="*/ 14 h 103"/>
                <a:gd name="T36" fmla="*/ 26 w 65"/>
                <a:gd name="T37" fmla="*/ 12 h 103"/>
                <a:gd name="T38" fmla="*/ 18 w 65"/>
                <a:gd name="T39" fmla="*/ 12 h 103"/>
                <a:gd name="T40" fmla="*/ 16 w 65"/>
                <a:gd name="T41" fmla="*/ 20 h 103"/>
                <a:gd name="T42" fmla="*/ 23 w 65"/>
                <a:gd name="T43" fmla="*/ 22 h 103"/>
                <a:gd name="T44" fmla="*/ 24 w 65"/>
                <a:gd name="T45" fmla="*/ 24 h 103"/>
                <a:gd name="T46" fmla="*/ 24 w 65"/>
                <a:gd name="T47" fmla="*/ 31 h 103"/>
                <a:gd name="T48" fmla="*/ 13 w 65"/>
                <a:gd name="T49" fmla="*/ 32 h 103"/>
                <a:gd name="T50" fmla="*/ 10 w 65"/>
                <a:gd name="T51" fmla="*/ 29 h 103"/>
                <a:gd name="T52" fmla="*/ 8 w 65"/>
                <a:gd name="T53" fmla="*/ 23 h 103"/>
                <a:gd name="T54" fmla="*/ 4 w 65"/>
                <a:gd name="T55" fmla="*/ 20 h 103"/>
                <a:gd name="T56" fmla="*/ 1 w 65"/>
                <a:gd name="T57" fmla="*/ 23 h 103"/>
                <a:gd name="T58" fmla="*/ 4 w 65"/>
                <a:gd name="T59" fmla="*/ 34 h 103"/>
                <a:gd name="T60" fmla="*/ 4 w 65"/>
                <a:gd name="T61" fmla="*/ 48 h 103"/>
                <a:gd name="T62" fmla="*/ 2 w 65"/>
                <a:gd name="T63" fmla="*/ 60 h 103"/>
                <a:gd name="T64" fmla="*/ 2 w 65"/>
                <a:gd name="T65" fmla="*/ 65 h 103"/>
                <a:gd name="T66" fmla="*/ 7 w 65"/>
                <a:gd name="T67" fmla="*/ 67 h 103"/>
                <a:gd name="T68" fmla="*/ 10 w 65"/>
                <a:gd name="T69" fmla="*/ 76 h 103"/>
                <a:gd name="T70" fmla="*/ 12 w 65"/>
                <a:gd name="T71" fmla="*/ 86 h 103"/>
                <a:gd name="T72" fmla="*/ 12 w 65"/>
                <a:gd name="T73" fmla="*/ 100 h 103"/>
                <a:gd name="T74" fmla="*/ 16 w 65"/>
                <a:gd name="T75" fmla="*/ 100 h 103"/>
                <a:gd name="T76" fmla="*/ 16 w 65"/>
                <a:gd name="T77" fmla="*/ 93 h 103"/>
                <a:gd name="T78" fmla="*/ 16 w 65"/>
                <a:gd name="T79" fmla="*/ 81 h 103"/>
                <a:gd name="T80" fmla="*/ 17 w 65"/>
                <a:gd name="T81" fmla="*/ 76 h 103"/>
                <a:gd name="T82" fmla="*/ 16 w 65"/>
                <a:gd name="T83" fmla="*/ 70 h 103"/>
                <a:gd name="T84" fmla="*/ 14 w 65"/>
                <a:gd name="T85" fmla="*/ 66 h 103"/>
                <a:gd name="T86" fmla="*/ 13 w 65"/>
                <a:gd name="T87" fmla="*/ 60 h 103"/>
                <a:gd name="T88" fmla="*/ 13 w 65"/>
                <a:gd name="T89" fmla="*/ 56 h 103"/>
                <a:gd name="T90" fmla="*/ 16 w 65"/>
                <a:gd name="T91" fmla="*/ 60 h 103"/>
                <a:gd name="T92" fmla="*/ 21 w 65"/>
                <a:gd name="T93" fmla="*/ 67 h 103"/>
                <a:gd name="T94" fmla="*/ 27 w 65"/>
                <a:gd name="T95" fmla="*/ 70 h 103"/>
                <a:gd name="T96" fmla="*/ 27 w 65"/>
                <a:gd name="T97" fmla="*/ 77 h 103"/>
                <a:gd name="T98" fmla="*/ 30 w 65"/>
                <a:gd name="T99" fmla="*/ 81 h 103"/>
                <a:gd name="T100" fmla="*/ 33 w 65"/>
                <a:gd name="T101" fmla="*/ 90 h 103"/>
                <a:gd name="T102" fmla="*/ 39 w 65"/>
                <a:gd name="T103" fmla="*/ 83 h 103"/>
                <a:gd name="T104" fmla="*/ 46 w 65"/>
                <a:gd name="T105" fmla="*/ 77 h 103"/>
                <a:gd name="T106" fmla="*/ 45 w 65"/>
                <a:gd name="T107" fmla="*/ 70 h 103"/>
                <a:gd name="T108" fmla="*/ 40 w 65"/>
                <a:gd name="T109" fmla="*/ 6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5" h="103">
                  <a:moveTo>
                    <a:pt x="40" y="68"/>
                  </a:moveTo>
                  <a:cubicBezTo>
                    <a:pt x="39" y="67"/>
                    <a:pt x="39" y="65"/>
                    <a:pt x="38" y="64"/>
                  </a:cubicBezTo>
                  <a:cubicBezTo>
                    <a:pt x="37" y="62"/>
                    <a:pt x="36" y="62"/>
                    <a:pt x="34" y="60"/>
                  </a:cubicBezTo>
                  <a:cubicBezTo>
                    <a:pt x="33" y="57"/>
                    <a:pt x="30" y="52"/>
                    <a:pt x="31" y="48"/>
                  </a:cubicBezTo>
                  <a:cubicBezTo>
                    <a:pt x="31" y="45"/>
                    <a:pt x="33" y="46"/>
                    <a:pt x="34" y="44"/>
                  </a:cubicBezTo>
                  <a:cubicBezTo>
                    <a:pt x="35" y="42"/>
                    <a:pt x="34" y="41"/>
                    <a:pt x="35" y="37"/>
                  </a:cubicBezTo>
                  <a:cubicBezTo>
                    <a:pt x="35" y="35"/>
                    <a:pt x="37" y="34"/>
                    <a:pt x="38" y="32"/>
                  </a:cubicBezTo>
                  <a:cubicBezTo>
                    <a:pt x="39" y="31"/>
                    <a:pt x="39" y="28"/>
                    <a:pt x="40" y="27"/>
                  </a:cubicBezTo>
                  <a:cubicBezTo>
                    <a:pt x="43" y="24"/>
                    <a:pt x="47" y="28"/>
                    <a:pt x="50" y="28"/>
                  </a:cubicBezTo>
                  <a:cubicBezTo>
                    <a:pt x="54" y="29"/>
                    <a:pt x="58" y="28"/>
                    <a:pt x="58" y="22"/>
                  </a:cubicBezTo>
                  <a:cubicBezTo>
                    <a:pt x="59" y="21"/>
                    <a:pt x="61" y="21"/>
                    <a:pt x="63" y="20"/>
                  </a:cubicBezTo>
                  <a:cubicBezTo>
                    <a:pt x="64" y="17"/>
                    <a:pt x="64" y="15"/>
                    <a:pt x="64" y="11"/>
                  </a:cubicBezTo>
                  <a:cubicBezTo>
                    <a:pt x="64" y="9"/>
                    <a:pt x="65" y="4"/>
                    <a:pt x="64" y="2"/>
                  </a:cubicBezTo>
                  <a:cubicBezTo>
                    <a:pt x="62" y="0"/>
                    <a:pt x="58" y="5"/>
                    <a:pt x="56" y="6"/>
                  </a:cubicBezTo>
                  <a:cubicBezTo>
                    <a:pt x="57" y="10"/>
                    <a:pt x="54" y="10"/>
                    <a:pt x="52" y="11"/>
                  </a:cubicBezTo>
                  <a:cubicBezTo>
                    <a:pt x="51" y="12"/>
                    <a:pt x="49" y="13"/>
                    <a:pt x="47" y="14"/>
                  </a:cubicBezTo>
                  <a:cubicBezTo>
                    <a:pt x="42" y="15"/>
                    <a:pt x="37" y="14"/>
                    <a:pt x="32" y="14"/>
                  </a:cubicBezTo>
                  <a:cubicBezTo>
                    <a:pt x="31" y="14"/>
                    <a:pt x="29" y="15"/>
                    <a:pt x="28" y="14"/>
                  </a:cubicBezTo>
                  <a:cubicBezTo>
                    <a:pt x="27" y="14"/>
                    <a:pt x="27" y="13"/>
                    <a:pt x="26" y="12"/>
                  </a:cubicBezTo>
                  <a:cubicBezTo>
                    <a:pt x="25" y="12"/>
                    <a:pt x="19" y="12"/>
                    <a:pt x="18" y="12"/>
                  </a:cubicBezTo>
                  <a:cubicBezTo>
                    <a:pt x="17" y="13"/>
                    <a:pt x="15" y="18"/>
                    <a:pt x="16" y="20"/>
                  </a:cubicBezTo>
                  <a:cubicBezTo>
                    <a:pt x="17" y="23"/>
                    <a:pt x="21" y="21"/>
                    <a:pt x="23" y="22"/>
                  </a:cubicBezTo>
                  <a:cubicBezTo>
                    <a:pt x="23" y="23"/>
                    <a:pt x="23" y="24"/>
                    <a:pt x="24" y="24"/>
                  </a:cubicBezTo>
                  <a:cubicBezTo>
                    <a:pt x="28" y="25"/>
                    <a:pt x="28" y="30"/>
                    <a:pt x="24" y="31"/>
                  </a:cubicBezTo>
                  <a:cubicBezTo>
                    <a:pt x="21" y="33"/>
                    <a:pt x="16" y="32"/>
                    <a:pt x="13" y="32"/>
                  </a:cubicBezTo>
                  <a:cubicBezTo>
                    <a:pt x="11" y="31"/>
                    <a:pt x="12" y="32"/>
                    <a:pt x="10" y="29"/>
                  </a:cubicBezTo>
                  <a:cubicBezTo>
                    <a:pt x="10" y="27"/>
                    <a:pt x="9" y="25"/>
                    <a:pt x="8" y="23"/>
                  </a:cubicBezTo>
                  <a:cubicBezTo>
                    <a:pt x="7" y="22"/>
                    <a:pt x="5" y="20"/>
                    <a:pt x="4" y="20"/>
                  </a:cubicBezTo>
                  <a:cubicBezTo>
                    <a:pt x="1" y="19"/>
                    <a:pt x="1" y="19"/>
                    <a:pt x="1" y="23"/>
                  </a:cubicBezTo>
                  <a:cubicBezTo>
                    <a:pt x="0" y="29"/>
                    <a:pt x="2" y="30"/>
                    <a:pt x="4" y="34"/>
                  </a:cubicBezTo>
                  <a:cubicBezTo>
                    <a:pt x="7" y="38"/>
                    <a:pt x="6" y="43"/>
                    <a:pt x="4" y="48"/>
                  </a:cubicBezTo>
                  <a:cubicBezTo>
                    <a:pt x="3" y="52"/>
                    <a:pt x="4" y="57"/>
                    <a:pt x="2" y="60"/>
                  </a:cubicBezTo>
                  <a:cubicBezTo>
                    <a:pt x="1" y="63"/>
                    <a:pt x="0" y="62"/>
                    <a:pt x="2" y="65"/>
                  </a:cubicBezTo>
                  <a:cubicBezTo>
                    <a:pt x="3" y="67"/>
                    <a:pt x="5" y="67"/>
                    <a:pt x="7" y="67"/>
                  </a:cubicBezTo>
                  <a:cubicBezTo>
                    <a:pt x="7" y="71"/>
                    <a:pt x="8" y="73"/>
                    <a:pt x="10" y="76"/>
                  </a:cubicBezTo>
                  <a:cubicBezTo>
                    <a:pt x="12" y="79"/>
                    <a:pt x="12" y="81"/>
                    <a:pt x="12" y="86"/>
                  </a:cubicBezTo>
                  <a:cubicBezTo>
                    <a:pt x="12" y="90"/>
                    <a:pt x="11" y="97"/>
                    <a:pt x="12" y="100"/>
                  </a:cubicBezTo>
                  <a:cubicBezTo>
                    <a:pt x="13" y="103"/>
                    <a:pt x="15" y="103"/>
                    <a:pt x="16" y="100"/>
                  </a:cubicBezTo>
                  <a:cubicBezTo>
                    <a:pt x="16" y="99"/>
                    <a:pt x="16" y="95"/>
                    <a:pt x="16" y="93"/>
                  </a:cubicBezTo>
                  <a:cubicBezTo>
                    <a:pt x="16" y="89"/>
                    <a:pt x="16" y="85"/>
                    <a:pt x="16" y="81"/>
                  </a:cubicBezTo>
                  <a:cubicBezTo>
                    <a:pt x="16" y="79"/>
                    <a:pt x="17" y="78"/>
                    <a:pt x="17" y="76"/>
                  </a:cubicBezTo>
                  <a:cubicBezTo>
                    <a:pt x="17" y="73"/>
                    <a:pt x="17" y="72"/>
                    <a:pt x="16" y="70"/>
                  </a:cubicBezTo>
                  <a:cubicBezTo>
                    <a:pt x="16" y="68"/>
                    <a:pt x="15" y="67"/>
                    <a:pt x="14" y="66"/>
                  </a:cubicBezTo>
                  <a:cubicBezTo>
                    <a:pt x="14" y="64"/>
                    <a:pt x="13" y="62"/>
                    <a:pt x="13" y="60"/>
                  </a:cubicBezTo>
                  <a:cubicBezTo>
                    <a:pt x="13" y="58"/>
                    <a:pt x="11" y="58"/>
                    <a:pt x="13" y="56"/>
                  </a:cubicBezTo>
                  <a:cubicBezTo>
                    <a:pt x="15" y="55"/>
                    <a:pt x="16" y="57"/>
                    <a:pt x="16" y="60"/>
                  </a:cubicBezTo>
                  <a:cubicBezTo>
                    <a:pt x="20" y="60"/>
                    <a:pt x="21" y="61"/>
                    <a:pt x="21" y="67"/>
                  </a:cubicBezTo>
                  <a:cubicBezTo>
                    <a:pt x="23" y="67"/>
                    <a:pt x="26" y="68"/>
                    <a:pt x="27" y="70"/>
                  </a:cubicBezTo>
                  <a:cubicBezTo>
                    <a:pt x="28" y="72"/>
                    <a:pt x="27" y="75"/>
                    <a:pt x="27" y="77"/>
                  </a:cubicBezTo>
                  <a:cubicBezTo>
                    <a:pt x="28" y="79"/>
                    <a:pt x="29" y="79"/>
                    <a:pt x="30" y="81"/>
                  </a:cubicBezTo>
                  <a:cubicBezTo>
                    <a:pt x="31" y="84"/>
                    <a:pt x="30" y="88"/>
                    <a:pt x="33" y="90"/>
                  </a:cubicBezTo>
                  <a:cubicBezTo>
                    <a:pt x="37" y="91"/>
                    <a:pt x="39" y="87"/>
                    <a:pt x="39" y="83"/>
                  </a:cubicBezTo>
                  <a:cubicBezTo>
                    <a:pt x="41" y="82"/>
                    <a:pt x="44" y="81"/>
                    <a:pt x="46" y="77"/>
                  </a:cubicBezTo>
                  <a:cubicBezTo>
                    <a:pt x="47" y="74"/>
                    <a:pt x="46" y="72"/>
                    <a:pt x="45" y="70"/>
                  </a:cubicBezTo>
                  <a:cubicBezTo>
                    <a:pt x="43" y="69"/>
                    <a:pt x="41" y="70"/>
                    <a:pt x="40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103">
              <a:extLst>
                <a:ext uri="{FF2B5EF4-FFF2-40B4-BE49-F238E27FC236}">
                  <a16:creationId xmlns:a16="http://schemas.microsoft.com/office/drawing/2014/main" id="{E467E4C9-16C0-459B-9E9E-059FF827D7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4628" y="3943959"/>
              <a:ext cx="203288" cy="329080"/>
            </a:xfrm>
            <a:custGeom>
              <a:avLst/>
              <a:gdLst>
                <a:gd name="T0" fmla="*/ 89 w 96"/>
                <a:gd name="T1" fmla="*/ 71 h 156"/>
                <a:gd name="T2" fmla="*/ 80 w 96"/>
                <a:gd name="T3" fmla="*/ 61 h 156"/>
                <a:gd name="T4" fmla="*/ 78 w 96"/>
                <a:gd name="T5" fmla="*/ 51 h 156"/>
                <a:gd name="T6" fmla="*/ 83 w 96"/>
                <a:gd name="T7" fmla="*/ 45 h 156"/>
                <a:gd name="T8" fmla="*/ 93 w 96"/>
                <a:gd name="T9" fmla="*/ 26 h 156"/>
                <a:gd name="T10" fmla="*/ 88 w 96"/>
                <a:gd name="T11" fmla="*/ 21 h 156"/>
                <a:gd name="T12" fmla="*/ 80 w 96"/>
                <a:gd name="T13" fmla="*/ 21 h 156"/>
                <a:gd name="T14" fmla="*/ 78 w 96"/>
                <a:gd name="T15" fmla="*/ 14 h 156"/>
                <a:gd name="T16" fmla="*/ 76 w 96"/>
                <a:gd name="T17" fmla="*/ 12 h 156"/>
                <a:gd name="T18" fmla="*/ 76 w 96"/>
                <a:gd name="T19" fmla="*/ 7 h 156"/>
                <a:gd name="T20" fmla="*/ 72 w 96"/>
                <a:gd name="T21" fmla="*/ 7 h 156"/>
                <a:gd name="T22" fmla="*/ 71 w 96"/>
                <a:gd name="T23" fmla="*/ 1 h 156"/>
                <a:gd name="T24" fmla="*/ 67 w 96"/>
                <a:gd name="T25" fmla="*/ 6 h 156"/>
                <a:gd name="T26" fmla="*/ 67 w 96"/>
                <a:gd name="T27" fmla="*/ 12 h 156"/>
                <a:gd name="T28" fmla="*/ 66 w 96"/>
                <a:gd name="T29" fmla="*/ 14 h 156"/>
                <a:gd name="T30" fmla="*/ 65 w 96"/>
                <a:gd name="T31" fmla="*/ 19 h 156"/>
                <a:gd name="T32" fmla="*/ 63 w 96"/>
                <a:gd name="T33" fmla="*/ 23 h 156"/>
                <a:gd name="T34" fmla="*/ 61 w 96"/>
                <a:gd name="T35" fmla="*/ 28 h 156"/>
                <a:gd name="T36" fmla="*/ 58 w 96"/>
                <a:gd name="T37" fmla="*/ 33 h 156"/>
                <a:gd name="T38" fmla="*/ 55 w 96"/>
                <a:gd name="T39" fmla="*/ 37 h 156"/>
                <a:gd name="T40" fmla="*/ 52 w 96"/>
                <a:gd name="T41" fmla="*/ 40 h 156"/>
                <a:gd name="T42" fmla="*/ 47 w 96"/>
                <a:gd name="T43" fmla="*/ 42 h 156"/>
                <a:gd name="T44" fmla="*/ 40 w 96"/>
                <a:gd name="T45" fmla="*/ 49 h 156"/>
                <a:gd name="T46" fmla="*/ 36 w 96"/>
                <a:gd name="T47" fmla="*/ 60 h 156"/>
                <a:gd name="T48" fmla="*/ 31 w 96"/>
                <a:gd name="T49" fmla="*/ 73 h 156"/>
                <a:gd name="T50" fmla="*/ 24 w 96"/>
                <a:gd name="T51" fmla="*/ 75 h 156"/>
                <a:gd name="T52" fmla="*/ 18 w 96"/>
                <a:gd name="T53" fmla="*/ 79 h 156"/>
                <a:gd name="T54" fmla="*/ 14 w 96"/>
                <a:gd name="T55" fmla="*/ 84 h 156"/>
                <a:gd name="T56" fmla="*/ 10 w 96"/>
                <a:gd name="T57" fmla="*/ 84 h 156"/>
                <a:gd name="T58" fmla="*/ 9 w 96"/>
                <a:gd name="T59" fmla="*/ 86 h 156"/>
                <a:gd name="T60" fmla="*/ 6 w 96"/>
                <a:gd name="T61" fmla="*/ 86 h 156"/>
                <a:gd name="T62" fmla="*/ 1 w 96"/>
                <a:gd name="T63" fmla="*/ 90 h 156"/>
                <a:gd name="T64" fmla="*/ 5 w 96"/>
                <a:gd name="T65" fmla="*/ 97 h 156"/>
                <a:gd name="T66" fmla="*/ 6 w 96"/>
                <a:gd name="T67" fmla="*/ 100 h 156"/>
                <a:gd name="T68" fmla="*/ 9 w 96"/>
                <a:gd name="T69" fmla="*/ 103 h 156"/>
                <a:gd name="T70" fmla="*/ 15 w 96"/>
                <a:gd name="T71" fmla="*/ 107 h 156"/>
                <a:gd name="T72" fmla="*/ 20 w 96"/>
                <a:gd name="T73" fmla="*/ 130 h 156"/>
                <a:gd name="T74" fmla="*/ 22 w 96"/>
                <a:gd name="T75" fmla="*/ 142 h 156"/>
                <a:gd name="T76" fmla="*/ 33 w 96"/>
                <a:gd name="T77" fmla="*/ 144 h 156"/>
                <a:gd name="T78" fmla="*/ 37 w 96"/>
                <a:gd name="T79" fmla="*/ 142 h 156"/>
                <a:gd name="T80" fmla="*/ 40 w 96"/>
                <a:gd name="T81" fmla="*/ 140 h 156"/>
                <a:gd name="T82" fmla="*/ 44 w 96"/>
                <a:gd name="T83" fmla="*/ 142 h 156"/>
                <a:gd name="T84" fmla="*/ 47 w 96"/>
                <a:gd name="T85" fmla="*/ 142 h 156"/>
                <a:gd name="T86" fmla="*/ 49 w 96"/>
                <a:gd name="T87" fmla="*/ 144 h 156"/>
                <a:gd name="T88" fmla="*/ 59 w 96"/>
                <a:gd name="T89" fmla="*/ 146 h 156"/>
                <a:gd name="T90" fmla="*/ 67 w 96"/>
                <a:gd name="T91" fmla="*/ 151 h 156"/>
                <a:gd name="T92" fmla="*/ 69 w 96"/>
                <a:gd name="T93" fmla="*/ 154 h 156"/>
                <a:gd name="T94" fmla="*/ 70 w 96"/>
                <a:gd name="T95" fmla="*/ 148 h 156"/>
                <a:gd name="T96" fmla="*/ 73 w 96"/>
                <a:gd name="T97" fmla="*/ 137 h 156"/>
                <a:gd name="T98" fmla="*/ 81 w 96"/>
                <a:gd name="T99" fmla="*/ 135 h 156"/>
                <a:gd name="T100" fmla="*/ 86 w 96"/>
                <a:gd name="T101" fmla="*/ 126 h 156"/>
                <a:gd name="T102" fmla="*/ 86 w 96"/>
                <a:gd name="T103" fmla="*/ 121 h 156"/>
                <a:gd name="T104" fmla="*/ 85 w 96"/>
                <a:gd name="T105" fmla="*/ 115 h 156"/>
                <a:gd name="T106" fmla="*/ 85 w 96"/>
                <a:gd name="T107" fmla="*/ 110 h 156"/>
                <a:gd name="T108" fmla="*/ 83 w 96"/>
                <a:gd name="T109" fmla="*/ 105 h 156"/>
                <a:gd name="T110" fmla="*/ 81 w 96"/>
                <a:gd name="T111" fmla="*/ 105 h 156"/>
                <a:gd name="T112" fmla="*/ 81 w 96"/>
                <a:gd name="T113" fmla="*/ 100 h 156"/>
                <a:gd name="T114" fmla="*/ 83 w 96"/>
                <a:gd name="T115" fmla="*/ 98 h 156"/>
                <a:gd name="T116" fmla="*/ 89 w 96"/>
                <a:gd name="T117" fmla="*/ 95 h 156"/>
                <a:gd name="T118" fmla="*/ 92 w 96"/>
                <a:gd name="T119" fmla="*/ 89 h 156"/>
                <a:gd name="T120" fmla="*/ 96 w 96"/>
                <a:gd name="T121" fmla="*/ 82 h 156"/>
                <a:gd name="T122" fmla="*/ 96 w 96"/>
                <a:gd name="T123" fmla="*/ 72 h 156"/>
                <a:gd name="T124" fmla="*/ 89 w 96"/>
                <a:gd name="T125" fmla="*/ 71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6" h="156">
                  <a:moveTo>
                    <a:pt x="89" y="71"/>
                  </a:moveTo>
                  <a:cubicBezTo>
                    <a:pt x="85" y="69"/>
                    <a:pt x="84" y="61"/>
                    <a:pt x="80" y="61"/>
                  </a:cubicBezTo>
                  <a:cubicBezTo>
                    <a:pt x="79" y="57"/>
                    <a:pt x="78" y="55"/>
                    <a:pt x="78" y="51"/>
                  </a:cubicBezTo>
                  <a:cubicBezTo>
                    <a:pt x="78" y="44"/>
                    <a:pt x="79" y="47"/>
                    <a:pt x="83" y="45"/>
                  </a:cubicBezTo>
                  <a:cubicBezTo>
                    <a:pt x="86" y="44"/>
                    <a:pt x="95" y="32"/>
                    <a:pt x="93" y="26"/>
                  </a:cubicBezTo>
                  <a:cubicBezTo>
                    <a:pt x="91" y="26"/>
                    <a:pt x="90" y="22"/>
                    <a:pt x="88" y="21"/>
                  </a:cubicBezTo>
                  <a:cubicBezTo>
                    <a:pt x="86" y="20"/>
                    <a:pt x="82" y="22"/>
                    <a:pt x="80" y="21"/>
                  </a:cubicBezTo>
                  <a:cubicBezTo>
                    <a:pt x="79" y="18"/>
                    <a:pt x="80" y="16"/>
                    <a:pt x="78" y="14"/>
                  </a:cubicBezTo>
                  <a:cubicBezTo>
                    <a:pt x="77" y="13"/>
                    <a:pt x="76" y="15"/>
                    <a:pt x="76" y="12"/>
                  </a:cubicBezTo>
                  <a:cubicBezTo>
                    <a:pt x="75" y="11"/>
                    <a:pt x="76" y="9"/>
                    <a:pt x="76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2" y="4"/>
                    <a:pt x="72" y="2"/>
                    <a:pt x="71" y="1"/>
                  </a:cubicBezTo>
                  <a:cubicBezTo>
                    <a:pt x="69" y="0"/>
                    <a:pt x="68" y="4"/>
                    <a:pt x="67" y="6"/>
                  </a:cubicBezTo>
                  <a:cubicBezTo>
                    <a:pt x="67" y="8"/>
                    <a:pt x="67" y="10"/>
                    <a:pt x="67" y="12"/>
                  </a:cubicBezTo>
                  <a:cubicBezTo>
                    <a:pt x="67" y="13"/>
                    <a:pt x="66" y="14"/>
                    <a:pt x="66" y="14"/>
                  </a:cubicBezTo>
                  <a:cubicBezTo>
                    <a:pt x="66" y="16"/>
                    <a:pt x="66" y="18"/>
                    <a:pt x="65" y="19"/>
                  </a:cubicBezTo>
                  <a:cubicBezTo>
                    <a:pt x="65" y="20"/>
                    <a:pt x="64" y="22"/>
                    <a:pt x="63" y="23"/>
                  </a:cubicBezTo>
                  <a:cubicBezTo>
                    <a:pt x="62" y="24"/>
                    <a:pt x="61" y="26"/>
                    <a:pt x="61" y="28"/>
                  </a:cubicBezTo>
                  <a:cubicBezTo>
                    <a:pt x="60" y="30"/>
                    <a:pt x="59" y="32"/>
                    <a:pt x="58" y="33"/>
                  </a:cubicBezTo>
                  <a:cubicBezTo>
                    <a:pt x="57" y="36"/>
                    <a:pt x="56" y="35"/>
                    <a:pt x="55" y="37"/>
                  </a:cubicBezTo>
                  <a:cubicBezTo>
                    <a:pt x="53" y="38"/>
                    <a:pt x="53" y="39"/>
                    <a:pt x="52" y="40"/>
                  </a:cubicBezTo>
                  <a:cubicBezTo>
                    <a:pt x="50" y="41"/>
                    <a:pt x="48" y="41"/>
                    <a:pt x="47" y="42"/>
                  </a:cubicBezTo>
                  <a:cubicBezTo>
                    <a:pt x="44" y="44"/>
                    <a:pt x="42" y="46"/>
                    <a:pt x="40" y="49"/>
                  </a:cubicBezTo>
                  <a:cubicBezTo>
                    <a:pt x="39" y="52"/>
                    <a:pt x="37" y="56"/>
                    <a:pt x="36" y="60"/>
                  </a:cubicBezTo>
                  <a:cubicBezTo>
                    <a:pt x="34" y="64"/>
                    <a:pt x="32" y="68"/>
                    <a:pt x="31" y="73"/>
                  </a:cubicBezTo>
                  <a:cubicBezTo>
                    <a:pt x="29" y="74"/>
                    <a:pt x="27" y="74"/>
                    <a:pt x="24" y="75"/>
                  </a:cubicBezTo>
                  <a:cubicBezTo>
                    <a:pt x="22" y="76"/>
                    <a:pt x="20" y="77"/>
                    <a:pt x="18" y="79"/>
                  </a:cubicBezTo>
                  <a:cubicBezTo>
                    <a:pt x="16" y="81"/>
                    <a:pt x="15" y="83"/>
                    <a:pt x="14" y="84"/>
                  </a:cubicBezTo>
                  <a:cubicBezTo>
                    <a:pt x="12" y="84"/>
                    <a:pt x="11" y="84"/>
                    <a:pt x="10" y="84"/>
                  </a:cubicBezTo>
                  <a:cubicBezTo>
                    <a:pt x="10" y="85"/>
                    <a:pt x="10" y="86"/>
                    <a:pt x="9" y="86"/>
                  </a:cubicBezTo>
                  <a:cubicBezTo>
                    <a:pt x="8" y="86"/>
                    <a:pt x="7" y="86"/>
                    <a:pt x="6" y="86"/>
                  </a:cubicBezTo>
                  <a:cubicBezTo>
                    <a:pt x="5" y="86"/>
                    <a:pt x="2" y="88"/>
                    <a:pt x="1" y="90"/>
                  </a:cubicBezTo>
                  <a:cubicBezTo>
                    <a:pt x="0" y="93"/>
                    <a:pt x="4" y="94"/>
                    <a:pt x="5" y="97"/>
                  </a:cubicBezTo>
                  <a:cubicBezTo>
                    <a:pt x="5" y="98"/>
                    <a:pt x="5" y="99"/>
                    <a:pt x="6" y="100"/>
                  </a:cubicBezTo>
                  <a:cubicBezTo>
                    <a:pt x="7" y="101"/>
                    <a:pt x="8" y="102"/>
                    <a:pt x="9" y="103"/>
                  </a:cubicBezTo>
                  <a:cubicBezTo>
                    <a:pt x="11" y="104"/>
                    <a:pt x="13" y="107"/>
                    <a:pt x="15" y="107"/>
                  </a:cubicBezTo>
                  <a:cubicBezTo>
                    <a:pt x="16" y="115"/>
                    <a:pt x="19" y="122"/>
                    <a:pt x="20" y="130"/>
                  </a:cubicBezTo>
                  <a:cubicBezTo>
                    <a:pt x="21" y="134"/>
                    <a:pt x="20" y="139"/>
                    <a:pt x="22" y="142"/>
                  </a:cubicBezTo>
                  <a:cubicBezTo>
                    <a:pt x="24" y="145"/>
                    <a:pt x="31" y="144"/>
                    <a:pt x="33" y="144"/>
                  </a:cubicBezTo>
                  <a:cubicBezTo>
                    <a:pt x="34" y="143"/>
                    <a:pt x="36" y="142"/>
                    <a:pt x="37" y="142"/>
                  </a:cubicBezTo>
                  <a:cubicBezTo>
                    <a:pt x="37" y="141"/>
                    <a:pt x="40" y="140"/>
                    <a:pt x="40" y="140"/>
                  </a:cubicBezTo>
                  <a:cubicBezTo>
                    <a:pt x="42" y="140"/>
                    <a:pt x="42" y="141"/>
                    <a:pt x="44" y="142"/>
                  </a:cubicBezTo>
                  <a:cubicBezTo>
                    <a:pt x="45" y="142"/>
                    <a:pt x="46" y="142"/>
                    <a:pt x="47" y="142"/>
                  </a:cubicBezTo>
                  <a:cubicBezTo>
                    <a:pt x="48" y="142"/>
                    <a:pt x="48" y="143"/>
                    <a:pt x="49" y="144"/>
                  </a:cubicBezTo>
                  <a:cubicBezTo>
                    <a:pt x="53" y="145"/>
                    <a:pt x="56" y="142"/>
                    <a:pt x="59" y="146"/>
                  </a:cubicBezTo>
                  <a:cubicBezTo>
                    <a:pt x="61" y="149"/>
                    <a:pt x="63" y="150"/>
                    <a:pt x="67" y="151"/>
                  </a:cubicBezTo>
                  <a:cubicBezTo>
                    <a:pt x="67" y="153"/>
                    <a:pt x="67" y="156"/>
                    <a:pt x="69" y="154"/>
                  </a:cubicBezTo>
                  <a:cubicBezTo>
                    <a:pt x="69" y="154"/>
                    <a:pt x="70" y="149"/>
                    <a:pt x="70" y="148"/>
                  </a:cubicBezTo>
                  <a:cubicBezTo>
                    <a:pt x="72" y="144"/>
                    <a:pt x="73" y="141"/>
                    <a:pt x="73" y="137"/>
                  </a:cubicBezTo>
                  <a:cubicBezTo>
                    <a:pt x="76" y="137"/>
                    <a:pt x="78" y="136"/>
                    <a:pt x="81" y="135"/>
                  </a:cubicBezTo>
                  <a:cubicBezTo>
                    <a:pt x="84" y="134"/>
                    <a:pt x="86" y="131"/>
                    <a:pt x="86" y="126"/>
                  </a:cubicBezTo>
                  <a:cubicBezTo>
                    <a:pt x="86" y="124"/>
                    <a:pt x="86" y="123"/>
                    <a:pt x="86" y="121"/>
                  </a:cubicBezTo>
                  <a:cubicBezTo>
                    <a:pt x="86" y="118"/>
                    <a:pt x="85" y="117"/>
                    <a:pt x="85" y="115"/>
                  </a:cubicBezTo>
                  <a:cubicBezTo>
                    <a:pt x="85" y="114"/>
                    <a:pt x="85" y="112"/>
                    <a:pt x="85" y="110"/>
                  </a:cubicBezTo>
                  <a:cubicBezTo>
                    <a:pt x="84" y="108"/>
                    <a:pt x="83" y="108"/>
                    <a:pt x="83" y="105"/>
                  </a:cubicBezTo>
                  <a:cubicBezTo>
                    <a:pt x="82" y="105"/>
                    <a:pt x="82" y="105"/>
                    <a:pt x="81" y="105"/>
                  </a:cubicBezTo>
                  <a:cubicBezTo>
                    <a:pt x="81" y="104"/>
                    <a:pt x="80" y="101"/>
                    <a:pt x="81" y="100"/>
                  </a:cubicBezTo>
                  <a:cubicBezTo>
                    <a:pt x="82" y="97"/>
                    <a:pt x="81" y="99"/>
                    <a:pt x="83" y="98"/>
                  </a:cubicBezTo>
                  <a:cubicBezTo>
                    <a:pt x="85" y="97"/>
                    <a:pt x="87" y="97"/>
                    <a:pt x="89" y="95"/>
                  </a:cubicBezTo>
                  <a:cubicBezTo>
                    <a:pt x="90" y="93"/>
                    <a:pt x="91" y="91"/>
                    <a:pt x="92" y="89"/>
                  </a:cubicBezTo>
                  <a:cubicBezTo>
                    <a:pt x="94" y="87"/>
                    <a:pt x="95" y="86"/>
                    <a:pt x="96" y="82"/>
                  </a:cubicBezTo>
                  <a:cubicBezTo>
                    <a:pt x="96" y="81"/>
                    <a:pt x="96" y="73"/>
                    <a:pt x="96" y="72"/>
                  </a:cubicBezTo>
                  <a:cubicBezTo>
                    <a:pt x="94" y="70"/>
                    <a:pt x="90" y="73"/>
                    <a:pt x="89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104">
              <a:extLst>
                <a:ext uri="{FF2B5EF4-FFF2-40B4-BE49-F238E27FC236}">
                  <a16:creationId xmlns:a16="http://schemas.microsoft.com/office/drawing/2014/main" id="{72E6B172-4118-4C95-8994-FDCB4BD7B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7724" y="4184310"/>
              <a:ext cx="77495" cy="58403"/>
            </a:xfrm>
            <a:custGeom>
              <a:avLst/>
              <a:gdLst>
                <a:gd name="T0" fmla="*/ 34 w 37"/>
                <a:gd name="T1" fmla="*/ 15 h 28"/>
                <a:gd name="T2" fmla="*/ 33 w 37"/>
                <a:gd name="T3" fmla="*/ 12 h 28"/>
                <a:gd name="T4" fmla="*/ 29 w 37"/>
                <a:gd name="T5" fmla="*/ 12 h 28"/>
                <a:gd name="T6" fmla="*/ 26 w 37"/>
                <a:gd name="T7" fmla="*/ 6 h 28"/>
                <a:gd name="T8" fmla="*/ 24 w 37"/>
                <a:gd name="T9" fmla="*/ 1 h 28"/>
                <a:gd name="T10" fmla="*/ 18 w 37"/>
                <a:gd name="T11" fmla="*/ 3 h 28"/>
                <a:gd name="T12" fmla="*/ 13 w 37"/>
                <a:gd name="T13" fmla="*/ 5 h 28"/>
                <a:gd name="T14" fmla="*/ 10 w 37"/>
                <a:gd name="T15" fmla="*/ 9 h 28"/>
                <a:gd name="T16" fmla="*/ 3 w 37"/>
                <a:gd name="T17" fmla="*/ 16 h 28"/>
                <a:gd name="T18" fmla="*/ 2 w 37"/>
                <a:gd name="T19" fmla="*/ 16 h 28"/>
                <a:gd name="T20" fmla="*/ 1 w 37"/>
                <a:gd name="T21" fmla="*/ 23 h 28"/>
                <a:gd name="T22" fmla="*/ 3 w 37"/>
                <a:gd name="T23" fmla="*/ 28 h 28"/>
                <a:gd name="T24" fmla="*/ 8 w 37"/>
                <a:gd name="T25" fmla="*/ 26 h 28"/>
                <a:gd name="T26" fmla="*/ 11 w 37"/>
                <a:gd name="T27" fmla="*/ 24 h 28"/>
                <a:gd name="T28" fmla="*/ 14 w 37"/>
                <a:gd name="T29" fmla="*/ 23 h 28"/>
                <a:gd name="T30" fmla="*/ 27 w 37"/>
                <a:gd name="T31" fmla="*/ 23 h 28"/>
                <a:gd name="T32" fmla="*/ 34 w 37"/>
                <a:gd name="T33" fmla="*/ 23 h 28"/>
                <a:gd name="T34" fmla="*/ 36 w 37"/>
                <a:gd name="T35" fmla="*/ 16 h 28"/>
                <a:gd name="T36" fmla="*/ 34 w 37"/>
                <a:gd name="T3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" h="28">
                  <a:moveTo>
                    <a:pt x="34" y="15"/>
                  </a:moveTo>
                  <a:cubicBezTo>
                    <a:pt x="34" y="14"/>
                    <a:pt x="33" y="13"/>
                    <a:pt x="33" y="12"/>
                  </a:cubicBezTo>
                  <a:cubicBezTo>
                    <a:pt x="32" y="12"/>
                    <a:pt x="30" y="13"/>
                    <a:pt x="29" y="12"/>
                  </a:cubicBezTo>
                  <a:cubicBezTo>
                    <a:pt x="27" y="11"/>
                    <a:pt x="27" y="8"/>
                    <a:pt x="26" y="6"/>
                  </a:cubicBezTo>
                  <a:cubicBezTo>
                    <a:pt x="26" y="5"/>
                    <a:pt x="24" y="2"/>
                    <a:pt x="24" y="1"/>
                  </a:cubicBezTo>
                  <a:cubicBezTo>
                    <a:pt x="22" y="0"/>
                    <a:pt x="20" y="2"/>
                    <a:pt x="18" y="3"/>
                  </a:cubicBezTo>
                  <a:cubicBezTo>
                    <a:pt x="17" y="4"/>
                    <a:pt x="15" y="4"/>
                    <a:pt x="13" y="5"/>
                  </a:cubicBezTo>
                  <a:cubicBezTo>
                    <a:pt x="12" y="6"/>
                    <a:pt x="11" y="8"/>
                    <a:pt x="10" y="9"/>
                  </a:cubicBezTo>
                  <a:cubicBezTo>
                    <a:pt x="7" y="12"/>
                    <a:pt x="6" y="15"/>
                    <a:pt x="3" y="16"/>
                  </a:cubicBezTo>
                  <a:cubicBezTo>
                    <a:pt x="3" y="16"/>
                    <a:pt x="3" y="16"/>
                    <a:pt x="2" y="16"/>
                  </a:cubicBezTo>
                  <a:cubicBezTo>
                    <a:pt x="2" y="19"/>
                    <a:pt x="1" y="20"/>
                    <a:pt x="1" y="23"/>
                  </a:cubicBezTo>
                  <a:cubicBezTo>
                    <a:pt x="0" y="27"/>
                    <a:pt x="1" y="27"/>
                    <a:pt x="3" y="28"/>
                  </a:cubicBezTo>
                  <a:cubicBezTo>
                    <a:pt x="6" y="28"/>
                    <a:pt x="6" y="27"/>
                    <a:pt x="8" y="26"/>
                  </a:cubicBezTo>
                  <a:cubicBezTo>
                    <a:pt x="9" y="25"/>
                    <a:pt x="9" y="25"/>
                    <a:pt x="11" y="24"/>
                  </a:cubicBezTo>
                  <a:cubicBezTo>
                    <a:pt x="11" y="24"/>
                    <a:pt x="13" y="23"/>
                    <a:pt x="14" y="23"/>
                  </a:cubicBezTo>
                  <a:cubicBezTo>
                    <a:pt x="18" y="22"/>
                    <a:pt x="23" y="23"/>
                    <a:pt x="27" y="23"/>
                  </a:cubicBezTo>
                  <a:cubicBezTo>
                    <a:pt x="29" y="23"/>
                    <a:pt x="32" y="23"/>
                    <a:pt x="34" y="23"/>
                  </a:cubicBezTo>
                  <a:cubicBezTo>
                    <a:pt x="37" y="22"/>
                    <a:pt x="37" y="20"/>
                    <a:pt x="36" y="16"/>
                  </a:cubicBezTo>
                  <a:cubicBezTo>
                    <a:pt x="35" y="16"/>
                    <a:pt x="34" y="16"/>
                    <a:pt x="3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105">
              <a:extLst>
                <a:ext uri="{FF2B5EF4-FFF2-40B4-BE49-F238E27FC236}">
                  <a16:creationId xmlns:a16="http://schemas.microsoft.com/office/drawing/2014/main" id="{08BB6367-67A9-4A53-83E6-E85F3044B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2758" y="4114675"/>
              <a:ext cx="92098" cy="52787"/>
            </a:xfrm>
            <a:custGeom>
              <a:avLst/>
              <a:gdLst>
                <a:gd name="T0" fmla="*/ 33 w 44"/>
                <a:gd name="T1" fmla="*/ 24 h 25"/>
                <a:gd name="T2" fmla="*/ 43 w 44"/>
                <a:gd name="T3" fmla="*/ 19 h 25"/>
                <a:gd name="T4" fmla="*/ 38 w 44"/>
                <a:gd name="T5" fmla="*/ 7 h 25"/>
                <a:gd name="T6" fmla="*/ 38 w 44"/>
                <a:gd name="T7" fmla="*/ 5 h 25"/>
                <a:gd name="T8" fmla="*/ 34 w 44"/>
                <a:gd name="T9" fmla="*/ 4 h 25"/>
                <a:gd name="T10" fmla="*/ 32 w 44"/>
                <a:gd name="T11" fmla="*/ 2 h 25"/>
                <a:gd name="T12" fmla="*/ 24 w 44"/>
                <a:gd name="T13" fmla="*/ 1 h 25"/>
                <a:gd name="T14" fmla="*/ 20 w 44"/>
                <a:gd name="T15" fmla="*/ 1 h 25"/>
                <a:gd name="T16" fmla="*/ 17 w 44"/>
                <a:gd name="T17" fmla="*/ 3 h 25"/>
                <a:gd name="T18" fmla="*/ 9 w 44"/>
                <a:gd name="T19" fmla="*/ 3 h 25"/>
                <a:gd name="T20" fmla="*/ 1 w 44"/>
                <a:gd name="T21" fmla="*/ 3 h 25"/>
                <a:gd name="T22" fmla="*/ 0 w 44"/>
                <a:gd name="T23" fmla="*/ 7 h 25"/>
                <a:gd name="T24" fmla="*/ 2 w 44"/>
                <a:gd name="T25" fmla="*/ 10 h 25"/>
                <a:gd name="T26" fmla="*/ 7 w 44"/>
                <a:gd name="T27" fmla="*/ 14 h 25"/>
                <a:gd name="T28" fmla="*/ 12 w 44"/>
                <a:gd name="T29" fmla="*/ 20 h 25"/>
                <a:gd name="T30" fmla="*/ 15 w 44"/>
                <a:gd name="T31" fmla="*/ 22 h 25"/>
                <a:gd name="T32" fmla="*/ 21 w 44"/>
                <a:gd name="T33" fmla="*/ 22 h 25"/>
                <a:gd name="T34" fmla="*/ 26 w 44"/>
                <a:gd name="T35" fmla="*/ 24 h 25"/>
                <a:gd name="T36" fmla="*/ 33 w 44"/>
                <a:gd name="T37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" h="25">
                  <a:moveTo>
                    <a:pt x="33" y="24"/>
                  </a:moveTo>
                  <a:cubicBezTo>
                    <a:pt x="36" y="24"/>
                    <a:pt x="42" y="25"/>
                    <a:pt x="43" y="19"/>
                  </a:cubicBezTo>
                  <a:cubicBezTo>
                    <a:pt x="44" y="12"/>
                    <a:pt x="41" y="9"/>
                    <a:pt x="38" y="7"/>
                  </a:cubicBezTo>
                  <a:cubicBezTo>
                    <a:pt x="38" y="6"/>
                    <a:pt x="38" y="6"/>
                    <a:pt x="38" y="5"/>
                  </a:cubicBezTo>
                  <a:cubicBezTo>
                    <a:pt x="37" y="5"/>
                    <a:pt x="35" y="5"/>
                    <a:pt x="34" y="4"/>
                  </a:cubicBezTo>
                  <a:cubicBezTo>
                    <a:pt x="34" y="4"/>
                    <a:pt x="33" y="2"/>
                    <a:pt x="32" y="2"/>
                  </a:cubicBezTo>
                  <a:cubicBezTo>
                    <a:pt x="31" y="0"/>
                    <a:pt x="26" y="1"/>
                    <a:pt x="24" y="1"/>
                  </a:cubicBezTo>
                  <a:cubicBezTo>
                    <a:pt x="23" y="1"/>
                    <a:pt x="21" y="1"/>
                    <a:pt x="20" y="1"/>
                  </a:cubicBezTo>
                  <a:cubicBezTo>
                    <a:pt x="19" y="1"/>
                    <a:pt x="18" y="2"/>
                    <a:pt x="17" y="3"/>
                  </a:cubicBezTo>
                  <a:cubicBezTo>
                    <a:pt x="15" y="3"/>
                    <a:pt x="12" y="3"/>
                    <a:pt x="9" y="3"/>
                  </a:cubicBezTo>
                  <a:cubicBezTo>
                    <a:pt x="7" y="3"/>
                    <a:pt x="3" y="2"/>
                    <a:pt x="1" y="3"/>
                  </a:cubicBezTo>
                  <a:cubicBezTo>
                    <a:pt x="2" y="3"/>
                    <a:pt x="0" y="7"/>
                    <a:pt x="0" y="7"/>
                  </a:cubicBezTo>
                  <a:cubicBezTo>
                    <a:pt x="0" y="10"/>
                    <a:pt x="0" y="10"/>
                    <a:pt x="2" y="10"/>
                  </a:cubicBezTo>
                  <a:cubicBezTo>
                    <a:pt x="6" y="11"/>
                    <a:pt x="5" y="10"/>
                    <a:pt x="7" y="14"/>
                  </a:cubicBezTo>
                  <a:cubicBezTo>
                    <a:pt x="9" y="16"/>
                    <a:pt x="11" y="16"/>
                    <a:pt x="12" y="20"/>
                  </a:cubicBezTo>
                  <a:cubicBezTo>
                    <a:pt x="13" y="20"/>
                    <a:pt x="14" y="22"/>
                    <a:pt x="15" y="22"/>
                  </a:cubicBezTo>
                  <a:cubicBezTo>
                    <a:pt x="17" y="22"/>
                    <a:pt x="20" y="22"/>
                    <a:pt x="21" y="22"/>
                  </a:cubicBezTo>
                  <a:cubicBezTo>
                    <a:pt x="23" y="23"/>
                    <a:pt x="24" y="24"/>
                    <a:pt x="26" y="24"/>
                  </a:cubicBezTo>
                  <a:cubicBezTo>
                    <a:pt x="29" y="24"/>
                    <a:pt x="31" y="24"/>
                    <a:pt x="33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106">
              <a:extLst>
                <a:ext uri="{FF2B5EF4-FFF2-40B4-BE49-F238E27FC236}">
                  <a16:creationId xmlns:a16="http://schemas.microsoft.com/office/drawing/2014/main" id="{1B1B08C5-4B67-4291-AA10-8D292BFAF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1053" y="4173078"/>
              <a:ext cx="413313" cy="258322"/>
            </a:xfrm>
            <a:custGeom>
              <a:avLst/>
              <a:gdLst>
                <a:gd name="T0" fmla="*/ 190 w 196"/>
                <a:gd name="T1" fmla="*/ 114 h 122"/>
                <a:gd name="T2" fmla="*/ 181 w 196"/>
                <a:gd name="T3" fmla="*/ 98 h 122"/>
                <a:gd name="T4" fmla="*/ 178 w 196"/>
                <a:gd name="T5" fmla="*/ 94 h 122"/>
                <a:gd name="T6" fmla="*/ 173 w 196"/>
                <a:gd name="T7" fmla="*/ 88 h 122"/>
                <a:gd name="T8" fmla="*/ 163 w 196"/>
                <a:gd name="T9" fmla="*/ 80 h 122"/>
                <a:gd name="T10" fmla="*/ 156 w 196"/>
                <a:gd name="T11" fmla="*/ 71 h 122"/>
                <a:gd name="T12" fmla="*/ 154 w 196"/>
                <a:gd name="T13" fmla="*/ 64 h 122"/>
                <a:gd name="T14" fmla="*/ 154 w 196"/>
                <a:gd name="T15" fmla="*/ 49 h 122"/>
                <a:gd name="T16" fmla="*/ 143 w 196"/>
                <a:gd name="T17" fmla="*/ 45 h 122"/>
                <a:gd name="T18" fmla="*/ 123 w 196"/>
                <a:gd name="T19" fmla="*/ 28 h 122"/>
                <a:gd name="T20" fmla="*/ 117 w 196"/>
                <a:gd name="T21" fmla="*/ 32 h 122"/>
                <a:gd name="T22" fmla="*/ 100 w 196"/>
                <a:gd name="T23" fmla="*/ 33 h 122"/>
                <a:gd name="T24" fmla="*/ 93 w 196"/>
                <a:gd name="T25" fmla="*/ 24 h 122"/>
                <a:gd name="T26" fmla="*/ 83 w 196"/>
                <a:gd name="T27" fmla="*/ 13 h 122"/>
                <a:gd name="T28" fmla="*/ 71 w 196"/>
                <a:gd name="T29" fmla="*/ 5 h 122"/>
                <a:gd name="T30" fmla="*/ 50 w 196"/>
                <a:gd name="T31" fmla="*/ 3 h 122"/>
                <a:gd name="T32" fmla="*/ 42 w 196"/>
                <a:gd name="T33" fmla="*/ 10 h 122"/>
                <a:gd name="T34" fmla="*/ 27 w 196"/>
                <a:gd name="T35" fmla="*/ 17 h 122"/>
                <a:gd name="T36" fmla="*/ 22 w 196"/>
                <a:gd name="T37" fmla="*/ 10 h 122"/>
                <a:gd name="T38" fmla="*/ 7 w 196"/>
                <a:gd name="T39" fmla="*/ 14 h 122"/>
                <a:gd name="T40" fmla="*/ 1 w 196"/>
                <a:gd name="T41" fmla="*/ 26 h 122"/>
                <a:gd name="T42" fmla="*/ 13 w 196"/>
                <a:gd name="T43" fmla="*/ 24 h 122"/>
                <a:gd name="T44" fmla="*/ 21 w 196"/>
                <a:gd name="T45" fmla="*/ 35 h 122"/>
                <a:gd name="T46" fmla="*/ 32 w 196"/>
                <a:gd name="T47" fmla="*/ 40 h 122"/>
                <a:gd name="T48" fmla="*/ 44 w 196"/>
                <a:gd name="T49" fmla="*/ 45 h 122"/>
                <a:gd name="T50" fmla="*/ 56 w 196"/>
                <a:gd name="T51" fmla="*/ 54 h 122"/>
                <a:gd name="T52" fmla="*/ 69 w 196"/>
                <a:gd name="T53" fmla="*/ 70 h 122"/>
                <a:gd name="T54" fmla="*/ 65 w 196"/>
                <a:gd name="T55" fmla="*/ 77 h 122"/>
                <a:gd name="T56" fmla="*/ 59 w 196"/>
                <a:gd name="T57" fmla="*/ 79 h 122"/>
                <a:gd name="T58" fmla="*/ 53 w 196"/>
                <a:gd name="T59" fmla="*/ 84 h 122"/>
                <a:gd name="T60" fmla="*/ 55 w 196"/>
                <a:gd name="T61" fmla="*/ 89 h 122"/>
                <a:gd name="T62" fmla="*/ 63 w 196"/>
                <a:gd name="T63" fmla="*/ 86 h 122"/>
                <a:gd name="T64" fmla="*/ 72 w 196"/>
                <a:gd name="T65" fmla="*/ 87 h 122"/>
                <a:gd name="T66" fmla="*/ 81 w 196"/>
                <a:gd name="T67" fmla="*/ 91 h 122"/>
                <a:gd name="T68" fmla="*/ 84 w 196"/>
                <a:gd name="T69" fmla="*/ 95 h 122"/>
                <a:gd name="T70" fmla="*/ 96 w 196"/>
                <a:gd name="T71" fmla="*/ 101 h 122"/>
                <a:gd name="T72" fmla="*/ 107 w 196"/>
                <a:gd name="T73" fmla="*/ 92 h 122"/>
                <a:gd name="T74" fmla="*/ 112 w 196"/>
                <a:gd name="T75" fmla="*/ 80 h 122"/>
                <a:gd name="T76" fmla="*/ 121 w 196"/>
                <a:gd name="T77" fmla="*/ 73 h 122"/>
                <a:gd name="T78" fmla="*/ 128 w 196"/>
                <a:gd name="T79" fmla="*/ 75 h 122"/>
                <a:gd name="T80" fmla="*/ 142 w 196"/>
                <a:gd name="T81" fmla="*/ 84 h 122"/>
                <a:gd name="T82" fmla="*/ 146 w 196"/>
                <a:gd name="T83" fmla="*/ 95 h 122"/>
                <a:gd name="T84" fmla="*/ 156 w 196"/>
                <a:gd name="T85" fmla="*/ 106 h 122"/>
                <a:gd name="T86" fmla="*/ 167 w 196"/>
                <a:gd name="T87" fmla="*/ 114 h 122"/>
                <a:gd name="T88" fmla="*/ 171 w 196"/>
                <a:gd name="T89" fmla="*/ 118 h 122"/>
                <a:gd name="T90" fmla="*/ 181 w 196"/>
                <a:gd name="T91" fmla="*/ 121 h 122"/>
                <a:gd name="T92" fmla="*/ 193 w 196"/>
                <a:gd name="T93" fmla="*/ 118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6" h="122">
                  <a:moveTo>
                    <a:pt x="193" y="118"/>
                  </a:moveTo>
                  <a:cubicBezTo>
                    <a:pt x="193" y="115"/>
                    <a:pt x="191" y="115"/>
                    <a:pt x="190" y="114"/>
                  </a:cubicBezTo>
                  <a:cubicBezTo>
                    <a:pt x="189" y="112"/>
                    <a:pt x="189" y="110"/>
                    <a:pt x="188" y="108"/>
                  </a:cubicBezTo>
                  <a:cubicBezTo>
                    <a:pt x="186" y="106"/>
                    <a:pt x="181" y="103"/>
                    <a:pt x="181" y="98"/>
                  </a:cubicBezTo>
                  <a:cubicBezTo>
                    <a:pt x="180" y="98"/>
                    <a:pt x="180" y="98"/>
                    <a:pt x="179" y="97"/>
                  </a:cubicBezTo>
                  <a:cubicBezTo>
                    <a:pt x="179" y="96"/>
                    <a:pt x="178" y="95"/>
                    <a:pt x="178" y="94"/>
                  </a:cubicBezTo>
                  <a:cubicBezTo>
                    <a:pt x="178" y="93"/>
                    <a:pt x="176" y="90"/>
                    <a:pt x="176" y="89"/>
                  </a:cubicBezTo>
                  <a:cubicBezTo>
                    <a:pt x="176" y="89"/>
                    <a:pt x="174" y="88"/>
                    <a:pt x="173" y="88"/>
                  </a:cubicBezTo>
                  <a:cubicBezTo>
                    <a:pt x="172" y="87"/>
                    <a:pt x="171" y="85"/>
                    <a:pt x="170" y="84"/>
                  </a:cubicBezTo>
                  <a:cubicBezTo>
                    <a:pt x="167" y="82"/>
                    <a:pt x="165" y="83"/>
                    <a:pt x="163" y="80"/>
                  </a:cubicBezTo>
                  <a:cubicBezTo>
                    <a:pt x="161" y="78"/>
                    <a:pt x="159" y="75"/>
                    <a:pt x="158" y="72"/>
                  </a:cubicBezTo>
                  <a:cubicBezTo>
                    <a:pt x="158" y="72"/>
                    <a:pt x="157" y="71"/>
                    <a:pt x="156" y="71"/>
                  </a:cubicBezTo>
                  <a:cubicBezTo>
                    <a:pt x="156" y="70"/>
                    <a:pt x="156" y="68"/>
                    <a:pt x="156" y="67"/>
                  </a:cubicBezTo>
                  <a:cubicBezTo>
                    <a:pt x="155" y="65"/>
                    <a:pt x="154" y="65"/>
                    <a:pt x="154" y="64"/>
                  </a:cubicBezTo>
                  <a:cubicBezTo>
                    <a:pt x="153" y="62"/>
                    <a:pt x="154" y="57"/>
                    <a:pt x="154" y="54"/>
                  </a:cubicBezTo>
                  <a:cubicBezTo>
                    <a:pt x="154" y="53"/>
                    <a:pt x="154" y="50"/>
                    <a:pt x="154" y="49"/>
                  </a:cubicBezTo>
                  <a:cubicBezTo>
                    <a:pt x="153" y="46"/>
                    <a:pt x="153" y="47"/>
                    <a:pt x="151" y="46"/>
                  </a:cubicBezTo>
                  <a:cubicBezTo>
                    <a:pt x="149" y="45"/>
                    <a:pt x="146" y="45"/>
                    <a:pt x="143" y="45"/>
                  </a:cubicBezTo>
                  <a:cubicBezTo>
                    <a:pt x="139" y="45"/>
                    <a:pt x="136" y="41"/>
                    <a:pt x="134" y="36"/>
                  </a:cubicBezTo>
                  <a:cubicBezTo>
                    <a:pt x="132" y="31"/>
                    <a:pt x="128" y="27"/>
                    <a:pt x="123" y="28"/>
                  </a:cubicBezTo>
                  <a:cubicBezTo>
                    <a:pt x="123" y="28"/>
                    <a:pt x="123" y="29"/>
                    <a:pt x="123" y="29"/>
                  </a:cubicBezTo>
                  <a:cubicBezTo>
                    <a:pt x="121" y="29"/>
                    <a:pt x="119" y="31"/>
                    <a:pt x="117" y="32"/>
                  </a:cubicBezTo>
                  <a:cubicBezTo>
                    <a:pt x="114" y="33"/>
                    <a:pt x="111" y="35"/>
                    <a:pt x="107" y="35"/>
                  </a:cubicBezTo>
                  <a:cubicBezTo>
                    <a:pt x="104" y="35"/>
                    <a:pt x="102" y="35"/>
                    <a:pt x="100" y="33"/>
                  </a:cubicBezTo>
                  <a:cubicBezTo>
                    <a:pt x="98" y="32"/>
                    <a:pt x="97" y="31"/>
                    <a:pt x="94" y="31"/>
                  </a:cubicBezTo>
                  <a:cubicBezTo>
                    <a:pt x="94" y="28"/>
                    <a:pt x="93" y="27"/>
                    <a:pt x="93" y="24"/>
                  </a:cubicBezTo>
                  <a:cubicBezTo>
                    <a:pt x="91" y="24"/>
                    <a:pt x="88" y="23"/>
                    <a:pt x="86" y="21"/>
                  </a:cubicBezTo>
                  <a:cubicBezTo>
                    <a:pt x="85" y="19"/>
                    <a:pt x="86" y="15"/>
                    <a:pt x="83" y="13"/>
                  </a:cubicBezTo>
                  <a:cubicBezTo>
                    <a:pt x="81" y="11"/>
                    <a:pt x="79" y="12"/>
                    <a:pt x="76" y="11"/>
                  </a:cubicBezTo>
                  <a:cubicBezTo>
                    <a:pt x="74" y="9"/>
                    <a:pt x="73" y="7"/>
                    <a:pt x="71" y="5"/>
                  </a:cubicBezTo>
                  <a:cubicBezTo>
                    <a:pt x="67" y="0"/>
                    <a:pt x="62" y="0"/>
                    <a:pt x="56" y="0"/>
                  </a:cubicBezTo>
                  <a:cubicBezTo>
                    <a:pt x="54" y="0"/>
                    <a:pt x="52" y="1"/>
                    <a:pt x="50" y="3"/>
                  </a:cubicBezTo>
                  <a:cubicBezTo>
                    <a:pt x="48" y="4"/>
                    <a:pt x="45" y="7"/>
                    <a:pt x="43" y="7"/>
                  </a:cubicBezTo>
                  <a:cubicBezTo>
                    <a:pt x="43" y="8"/>
                    <a:pt x="42" y="9"/>
                    <a:pt x="42" y="10"/>
                  </a:cubicBezTo>
                  <a:cubicBezTo>
                    <a:pt x="40" y="10"/>
                    <a:pt x="38" y="13"/>
                    <a:pt x="36" y="15"/>
                  </a:cubicBezTo>
                  <a:cubicBezTo>
                    <a:pt x="33" y="18"/>
                    <a:pt x="31" y="17"/>
                    <a:pt x="27" y="17"/>
                  </a:cubicBezTo>
                  <a:cubicBezTo>
                    <a:pt x="25" y="17"/>
                    <a:pt x="25" y="17"/>
                    <a:pt x="24" y="15"/>
                  </a:cubicBezTo>
                  <a:cubicBezTo>
                    <a:pt x="23" y="14"/>
                    <a:pt x="23" y="12"/>
                    <a:pt x="22" y="10"/>
                  </a:cubicBezTo>
                  <a:cubicBezTo>
                    <a:pt x="20" y="6"/>
                    <a:pt x="18" y="9"/>
                    <a:pt x="15" y="11"/>
                  </a:cubicBezTo>
                  <a:cubicBezTo>
                    <a:pt x="13" y="12"/>
                    <a:pt x="10" y="14"/>
                    <a:pt x="7" y="14"/>
                  </a:cubicBezTo>
                  <a:cubicBezTo>
                    <a:pt x="4" y="13"/>
                    <a:pt x="1" y="13"/>
                    <a:pt x="1" y="19"/>
                  </a:cubicBezTo>
                  <a:cubicBezTo>
                    <a:pt x="1" y="20"/>
                    <a:pt x="0" y="25"/>
                    <a:pt x="1" y="26"/>
                  </a:cubicBezTo>
                  <a:cubicBezTo>
                    <a:pt x="2" y="29"/>
                    <a:pt x="3" y="28"/>
                    <a:pt x="4" y="27"/>
                  </a:cubicBezTo>
                  <a:cubicBezTo>
                    <a:pt x="8" y="26"/>
                    <a:pt x="10" y="23"/>
                    <a:pt x="13" y="24"/>
                  </a:cubicBezTo>
                  <a:cubicBezTo>
                    <a:pt x="14" y="28"/>
                    <a:pt x="14" y="29"/>
                    <a:pt x="16" y="31"/>
                  </a:cubicBezTo>
                  <a:cubicBezTo>
                    <a:pt x="17" y="32"/>
                    <a:pt x="20" y="34"/>
                    <a:pt x="21" y="35"/>
                  </a:cubicBezTo>
                  <a:cubicBezTo>
                    <a:pt x="23" y="35"/>
                    <a:pt x="27" y="33"/>
                    <a:pt x="29" y="34"/>
                  </a:cubicBezTo>
                  <a:cubicBezTo>
                    <a:pt x="30" y="35"/>
                    <a:pt x="30" y="39"/>
                    <a:pt x="32" y="40"/>
                  </a:cubicBezTo>
                  <a:cubicBezTo>
                    <a:pt x="34" y="42"/>
                    <a:pt x="36" y="41"/>
                    <a:pt x="39" y="42"/>
                  </a:cubicBezTo>
                  <a:cubicBezTo>
                    <a:pt x="41" y="42"/>
                    <a:pt x="42" y="43"/>
                    <a:pt x="44" y="45"/>
                  </a:cubicBezTo>
                  <a:cubicBezTo>
                    <a:pt x="46" y="47"/>
                    <a:pt x="48" y="49"/>
                    <a:pt x="49" y="50"/>
                  </a:cubicBezTo>
                  <a:cubicBezTo>
                    <a:pt x="51" y="52"/>
                    <a:pt x="54" y="53"/>
                    <a:pt x="56" y="54"/>
                  </a:cubicBezTo>
                  <a:cubicBezTo>
                    <a:pt x="60" y="57"/>
                    <a:pt x="64" y="57"/>
                    <a:pt x="67" y="61"/>
                  </a:cubicBezTo>
                  <a:cubicBezTo>
                    <a:pt x="69" y="64"/>
                    <a:pt x="69" y="66"/>
                    <a:pt x="69" y="70"/>
                  </a:cubicBezTo>
                  <a:cubicBezTo>
                    <a:pt x="69" y="71"/>
                    <a:pt x="69" y="74"/>
                    <a:pt x="69" y="75"/>
                  </a:cubicBezTo>
                  <a:cubicBezTo>
                    <a:pt x="68" y="78"/>
                    <a:pt x="67" y="76"/>
                    <a:pt x="65" y="77"/>
                  </a:cubicBezTo>
                  <a:cubicBezTo>
                    <a:pt x="64" y="77"/>
                    <a:pt x="63" y="78"/>
                    <a:pt x="62" y="78"/>
                  </a:cubicBezTo>
                  <a:cubicBezTo>
                    <a:pt x="61" y="78"/>
                    <a:pt x="60" y="78"/>
                    <a:pt x="59" y="79"/>
                  </a:cubicBezTo>
                  <a:cubicBezTo>
                    <a:pt x="58" y="79"/>
                    <a:pt x="56" y="81"/>
                    <a:pt x="55" y="82"/>
                  </a:cubicBezTo>
                  <a:cubicBezTo>
                    <a:pt x="54" y="82"/>
                    <a:pt x="53" y="83"/>
                    <a:pt x="53" y="84"/>
                  </a:cubicBezTo>
                  <a:cubicBezTo>
                    <a:pt x="51" y="85"/>
                    <a:pt x="50" y="89"/>
                    <a:pt x="52" y="92"/>
                  </a:cubicBezTo>
                  <a:cubicBezTo>
                    <a:pt x="54" y="97"/>
                    <a:pt x="55" y="93"/>
                    <a:pt x="55" y="89"/>
                  </a:cubicBezTo>
                  <a:cubicBezTo>
                    <a:pt x="58" y="88"/>
                    <a:pt x="60" y="90"/>
                    <a:pt x="63" y="89"/>
                  </a:cubicBezTo>
                  <a:cubicBezTo>
                    <a:pt x="63" y="88"/>
                    <a:pt x="63" y="87"/>
                    <a:pt x="63" y="86"/>
                  </a:cubicBezTo>
                  <a:cubicBezTo>
                    <a:pt x="64" y="86"/>
                    <a:pt x="64" y="85"/>
                    <a:pt x="65" y="85"/>
                  </a:cubicBezTo>
                  <a:cubicBezTo>
                    <a:pt x="65" y="78"/>
                    <a:pt x="70" y="86"/>
                    <a:pt x="72" y="87"/>
                  </a:cubicBezTo>
                  <a:cubicBezTo>
                    <a:pt x="73" y="88"/>
                    <a:pt x="75" y="88"/>
                    <a:pt x="77" y="89"/>
                  </a:cubicBezTo>
                  <a:cubicBezTo>
                    <a:pt x="78" y="90"/>
                    <a:pt x="80" y="91"/>
                    <a:pt x="81" y="91"/>
                  </a:cubicBezTo>
                  <a:cubicBezTo>
                    <a:pt x="82" y="92"/>
                    <a:pt x="82" y="93"/>
                    <a:pt x="82" y="94"/>
                  </a:cubicBezTo>
                  <a:cubicBezTo>
                    <a:pt x="83" y="94"/>
                    <a:pt x="83" y="94"/>
                    <a:pt x="84" y="95"/>
                  </a:cubicBezTo>
                  <a:cubicBezTo>
                    <a:pt x="84" y="99"/>
                    <a:pt x="86" y="98"/>
                    <a:pt x="88" y="99"/>
                  </a:cubicBezTo>
                  <a:cubicBezTo>
                    <a:pt x="91" y="101"/>
                    <a:pt x="93" y="101"/>
                    <a:pt x="96" y="101"/>
                  </a:cubicBezTo>
                  <a:cubicBezTo>
                    <a:pt x="98" y="101"/>
                    <a:pt x="102" y="102"/>
                    <a:pt x="104" y="101"/>
                  </a:cubicBezTo>
                  <a:cubicBezTo>
                    <a:pt x="109" y="100"/>
                    <a:pt x="106" y="97"/>
                    <a:pt x="107" y="92"/>
                  </a:cubicBezTo>
                  <a:cubicBezTo>
                    <a:pt x="107" y="89"/>
                    <a:pt x="109" y="86"/>
                    <a:pt x="110" y="83"/>
                  </a:cubicBezTo>
                  <a:cubicBezTo>
                    <a:pt x="111" y="83"/>
                    <a:pt x="112" y="80"/>
                    <a:pt x="112" y="80"/>
                  </a:cubicBezTo>
                  <a:cubicBezTo>
                    <a:pt x="112" y="78"/>
                    <a:pt x="111" y="75"/>
                    <a:pt x="112" y="73"/>
                  </a:cubicBezTo>
                  <a:cubicBezTo>
                    <a:pt x="113" y="72"/>
                    <a:pt x="119" y="73"/>
                    <a:pt x="121" y="73"/>
                  </a:cubicBezTo>
                  <a:cubicBezTo>
                    <a:pt x="124" y="73"/>
                    <a:pt x="127" y="72"/>
                    <a:pt x="130" y="74"/>
                  </a:cubicBezTo>
                  <a:cubicBezTo>
                    <a:pt x="130" y="75"/>
                    <a:pt x="129" y="75"/>
                    <a:pt x="128" y="75"/>
                  </a:cubicBezTo>
                  <a:cubicBezTo>
                    <a:pt x="133" y="75"/>
                    <a:pt x="136" y="75"/>
                    <a:pt x="139" y="80"/>
                  </a:cubicBezTo>
                  <a:cubicBezTo>
                    <a:pt x="140" y="81"/>
                    <a:pt x="142" y="83"/>
                    <a:pt x="142" y="84"/>
                  </a:cubicBezTo>
                  <a:cubicBezTo>
                    <a:pt x="143" y="87"/>
                    <a:pt x="142" y="90"/>
                    <a:pt x="143" y="93"/>
                  </a:cubicBezTo>
                  <a:cubicBezTo>
                    <a:pt x="144" y="94"/>
                    <a:pt x="145" y="95"/>
                    <a:pt x="146" y="95"/>
                  </a:cubicBezTo>
                  <a:cubicBezTo>
                    <a:pt x="148" y="97"/>
                    <a:pt x="149" y="98"/>
                    <a:pt x="150" y="99"/>
                  </a:cubicBezTo>
                  <a:cubicBezTo>
                    <a:pt x="153" y="101"/>
                    <a:pt x="153" y="104"/>
                    <a:pt x="156" y="106"/>
                  </a:cubicBezTo>
                  <a:cubicBezTo>
                    <a:pt x="159" y="109"/>
                    <a:pt x="162" y="107"/>
                    <a:pt x="165" y="110"/>
                  </a:cubicBezTo>
                  <a:cubicBezTo>
                    <a:pt x="165" y="111"/>
                    <a:pt x="166" y="113"/>
                    <a:pt x="167" y="114"/>
                  </a:cubicBezTo>
                  <a:cubicBezTo>
                    <a:pt x="167" y="115"/>
                    <a:pt x="168" y="116"/>
                    <a:pt x="168" y="117"/>
                  </a:cubicBezTo>
                  <a:cubicBezTo>
                    <a:pt x="168" y="117"/>
                    <a:pt x="171" y="118"/>
                    <a:pt x="171" y="118"/>
                  </a:cubicBezTo>
                  <a:cubicBezTo>
                    <a:pt x="173" y="119"/>
                    <a:pt x="175" y="118"/>
                    <a:pt x="176" y="119"/>
                  </a:cubicBezTo>
                  <a:cubicBezTo>
                    <a:pt x="178" y="119"/>
                    <a:pt x="179" y="121"/>
                    <a:pt x="181" y="121"/>
                  </a:cubicBezTo>
                  <a:cubicBezTo>
                    <a:pt x="186" y="120"/>
                    <a:pt x="192" y="122"/>
                    <a:pt x="196" y="120"/>
                  </a:cubicBezTo>
                  <a:cubicBezTo>
                    <a:pt x="196" y="118"/>
                    <a:pt x="194" y="119"/>
                    <a:pt x="193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107">
              <a:extLst>
                <a:ext uri="{FF2B5EF4-FFF2-40B4-BE49-F238E27FC236}">
                  <a16:creationId xmlns:a16="http://schemas.microsoft.com/office/drawing/2014/main" id="{990A8842-EDFC-4DAB-8C53-F15BB3A8ED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6979" y="4222498"/>
              <a:ext cx="97713" cy="70758"/>
            </a:xfrm>
            <a:custGeom>
              <a:avLst/>
              <a:gdLst>
                <a:gd name="T0" fmla="*/ 27 w 46"/>
                <a:gd name="T1" fmla="*/ 4 h 34"/>
                <a:gd name="T2" fmla="*/ 21 w 46"/>
                <a:gd name="T3" fmla="*/ 9 h 34"/>
                <a:gd name="T4" fmla="*/ 16 w 46"/>
                <a:gd name="T5" fmla="*/ 15 h 34"/>
                <a:gd name="T6" fmla="*/ 2 w 46"/>
                <a:gd name="T7" fmla="*/ 20 h 34"/>
                <a:gd name="T8" fmla="*/ 2 w 46"/>
                <a:gd name="T9" fmla="*/ 29 h 34"/>
                <a:gd name="T10" fmla="*/ 11 w 46"/>
                <a:gd name="T11" fmla="*/ 29 h 34"/>
                <a:gd name="T12" fmla="*/ 11 w 46"/>
                <a:gd name="T13" fmla="*/ 32 h 34"/>
                <a:gd name="T14" fmla="*/ 18 w 46"/>
                <a:gd name="T15" fmla="*/ 34 h 34"/>
                <a:gd name="T16" fmla="*/ 19 w 46"/>
                <a:gd name="T17" fmla="*/ 31 h 34"/>
                <a:gd name="T18" fmla="*/ 22 w 46"/>
                <a:gd name="T19" fmla="*/ 31 h 34"/>
                <a:gd name="T20" fmla="*/ 34 w 46"/>
                <a:gd name="T21" fmla="*/ 15 h 34"/>
                <a:gd name="T22" fmla="*/ 43 w 46"/>
                <a:gd name="T23" fmla="*/ 14 h 34"/>
                <a:gd name="T24" fmla="*/ 44 w 46"/>
                <a:gd name="T25" fmla="*/ 1 h 34"/>
                <a:gd name="T26" fmla="*/ 27 w 46"/>
                <a:gd name="T27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34">
                  <a:moveTo>
                    <a:pt x="27" y="4"/>
                  </a:moveTo>
                  <a:cubicBezTo>
                    <a:pt x="25" y="5"/>
                    <a:pt x="23" y="7"/>
                    <a:pt x="21" y="9"/>
                  </a:cubicBezTo>
                  <a:cubicBezTo>
                    <a:pt x="19" y="11"/>
                    <a:pt x="20" y="15"/>
                    <a:pt x="16" y="15"/>
                  </a:cubicBezTo>
                  <a:cubicBezTo>
                    <a:pt x="11" y="16"/>
                    <a:pt x="5" y="12"/>
                    <a:pt x="2" y="20"/>
                  </a:cubicBezTo>
                  <a:cubicBezTo>
                    <a:pt x="2" y="23"/>
                    <a:pt x="0" y="28"/>
                    <a:pt x="2" y="29"/>
                  </a:cubicBezTo>
                  <a:cubicBezTo>
                    <a:pt x="4" y="31"/>
                    <a:pt x="8" y="28"/>
                    <a:pt x="11" y="29"/>
                  </a:cubicBezTo>
                  <a:cubicBezTo>
                    <a:pt x="11" y="30"/>
                    <a:pt x="11" y="31"/>
                    <a:pt x="11" y="32"/>
                  </a:cubicBezTo>
                  <a:cubicBezTo>
                    <a:pt x="14" y="33"/>
                    <a:pt x="16" y="33"/>
                    <a:pt x="18" y="34"/>
                  </a:cubicBezTo>
                  <a:cubicBezTo>
                    <a:pt x="18" y="33"/>
                    <a:pt x="19" y="32"/>
                    <a:pt x="19" y="31"/>
                  </a:cubicBezTo>
                  <a:cubicBezTo>
                    <a:pt x="20" y="31"/>
                    <a:pt x="21" y="31"/>
                    <a:pt x="22" y="31"/>
                  </a:cubicBezTo>
                  <a:cubicBezTo>
                    <a:pt x="22" y="23"/>
                    <a:pt x="29" y="16"/>
                    <a:pt x="34" y="15"/>
                  </a:cubicBezTo>
                  <a:cubicBezTo>
                    <a:pt x="37" y="15"/>
                    <a:pt x="40" y="16"/>
                    <a:pt x="43" y="14"/>
                  </a:cubicBezTo>
                  <a:cubicBezTo>
                    <a:pt x="46" y="11"/>
                    <a:pt x="44" y="6"/>
                    <a:pt x="44" y="1"/>
                  </a:cubicBezTo>
                  <a:cubicBezTo>
                    <a:pt x="38" y="1"/>
                    <a:pt x="33" y="0"/>
                    <a:pt x="2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109">
              <a:extLst>
                <a:ext uri="{FF2B5EF4-FFF2-40B4-BE49-F238E27FC236}">
                  <a16:creationId xmlns:a16="http://schemas.microsoft.com/office/drawing/2014/main" id="{8787C9C9-38E7-4B1C-9B78-0813E150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0203" y="4437017"/>
              <a:ext cx="750254" cy="771596"/>
            </a:xfrm>
            <a:custGeom>
              <a:avLst/>
              <a:gdLst>
                <a:gd name="T0" fmla="*/ 330 w 355"/>
                <a:gd name="T1" fmla="*/ 102 h 366"/>
                <a:gd name="T2" fmla="*/ 316 w 355"/>
                <a:gd name="T3" fmla="*/ 46 h 366"/>
                <a:gd name="T4" fmla="*/ 307 w 355"/>
                <a:gd name="T5" fmla="*/ 28 h 366"/>
                <a:gd name="T6" fmla="*/ 299 w 355"/>
                <a:gd name="T7" fmla="*/ 6 h 366"/>
                <a:gd name="T8" fmla="*/ 288 w 355"/>
                <a:gd name="T9" fmla="*/ 22 h 366"/>
                <a:gd name="T10" fmla="*/ 288 w 355"/>
                <a:gd name="T11" fmla="*/ 43 h 366"/>
                <a:gd name="T12" fmla="*/ 287 w 355"/>
                <a:gd name="T13" fmla="*/ 67 h 366"/>
                <a:gd name="T14" fmla="*/ 281 w 355"/>
                <a:gd name="T15" fmla="*/ 82 h 366"/>
                <a:gd name="T16" fmla="*/ 267 w 355"/>
                <a:gd name="T17" fmla="*/ 100 h 366"/>
                <a:gd name="T18" fmla="*/ 260 w 355"/>
                <a:gd name="T19" fmla="*/ 87 h 366"/>
                <a:gd name="T20" fmla="*/ 246 w 355"/>
                <a:gd name="T21" fmla="*/ 78 h 366"/>
                <a:gd name="T22" fmla="*/ 238 w 355"/>
                <a:gd name="T23" fmla="*/ 71 h 366"/>
                <a:gd name="T24" fmla="*/ 226 w 355"/>
                <a:gd name="T25" fmla="*/ 48 h 366"/>
                <a:gd name="T26" fmla="*/ 236 w 355"/>
                <a:gd name="T27" fmla="*/ 25 h 366"/>
                <a:gd name="T28" fmla="*/ 218 w 355"/>
                <a:gd name="T29" fmla="*/ 19 h 366"/>
                <a:gd name="T30" fmla="*/ 203 w 355"/>
                <a:gd name="T31" fmla="*/ 13 h 366"/>
                <a:gd name="T32" fmla="*/ 197 w 355"/>
                <a:gd name="T33" fmla="*/ 1 h 366"/>
                <a:gd name="T34" fmla="*/ 187 w 355"/>
                <a:gd name="T35" fmla="*/ 8 h 366"/>
                <a:gd name="T36" fmla="*/ 177 w 355"/>
                <a:gd name="T37" fmla="*/ 26 h 366"/>
                <a:gd name="T38" fmla="*/ 172 w 355"/>
                <a:gd name="T39" fmla="*/ 41 h 366"/>
                <a:gd name="T40" fmla="*/ 167 w 355"/>
                <a:gd name="T41" fmla="*/ 55 h 366"/>
                <a:gd name="T42" fmla="*/ 164 w 355"/>
                <a:gd name="T43" fmla="*/ 73 h 366"/>
                <a:gd name="T44" fmla="*/ 151 w 355"/>
                <a:gd name="T45" fmla="*/ 64 h 366"/>
                <a:gd name="T46" fmla="*/ 127 w 355"/>
                <a:gd name="T47" fmla="*/ 62 h 366"/>
                <a:gd name="T48" fmla="*/ 118 w 355"/>
                <a:gd name="T49" fmla="*/ 78 h 366"/>
                <a:gd name="T50" fmla="*/ 97 w 355"/>
                <a:gd name="T51" fmla="*/ 93 h 366"/>
                <a:gd name="T52" fmla="*/ 88 w 355"/>
                <a:gd name="T53" fmla="*/ 124 h 366"/>
                <a:gd name="T54" fmla="*/ 73 w 355"/>
                <a:gd name="T55" fmla="*/ 131 h 366"/>
                <a:gd name="T56" fmla="*/ 42 w 355"/>
                <a:gd name="T57" fmla="*/ 150 h 366"/>
                <a:gd name="T58" fmla="*/ 28 w 355"/>
                <a:gd name="T59" fmla="*/ 159 h 366"/>
                <a:gd name="T60" fmla="*/ 13 w 355"/>
                <a:gd name="T61" fmla="*/ 165 h 366"/>
                <a:gd name="T62" fmla="*/ 4 w 355"/>
                <a:gd name="T63" fmla="*/ 176 h 366"/>
                <a:gd name="T64" fmla="*/ 3 w 355"/>
                <a:gd name="T65" fmla="*/ 199 h 366"/>
                <a:gd name="T66" fmla="*/ 3 w 355"/>
                <a:gd name="T67" fmla="*/ 216 h 366"/>
                <a:gd name="T68" fmla="*/ 10 w 355"/>
                <a:gd name="T69" fmla="*/ 234 h 366"/>
                <a:gd name="T70" fmla="*/ 15 w 355"/>
                <a:gd name="T71" fmla="*/ 241 h 366"/>
                <a:gd name="T72" fmla="*/ 17 w 355"/>
                <a:gd name="T73" fmla="*/ 262 h 366"/>
                <a:gd name="T74" fmla="*/ 19 w 355"/>
                <a:gd name="T75" fmla="*/ 283 h 366"/>
                <a:gd name="T76" fmla="*/ 24 w 355"/>
                <a:gd name="T77" fmla="*/ 310 h 366"/>
                <a:gd name="T78" fmla="*/ 19 w 355"/>
                <a:gd name="T79" fmla="*/ 355 h 366"/>
                <a:gd name="T80" fmla="*/ 39 w 355"/>
                <a:gd name="T81" fmla="*/ 360 h 366"/>
                <a:gd name="T82" fmla="*/ 66 w 355"/>
                <a:gd name="T83" fmla="*/ 350 h 366"/>
                <a:gd name="T84" fmla="*/ 98 w 355"/>
                <a:gd name="T85" fmla="*/ 336 h 366"/>
                <a:gd name="T86" fmla="*/ 104 w 355"/>
                <a:gd name="T87" fmla="*/ 332 h 366"/>
                <a:gd name="T88" fmla="*/ 117 w 355"/>
                <a:gd name="T89" fmla="*/ 320 h 366"/>
                <a:gd name="T90" fmla="*/ 135 w 355"/>
                <a:gd name="T91" fmla="*/ 316 h 366"/>
                <a:gd name="T92" fmla="*/ 154 w 355"/>
                <a:gd name="T93" fmla="*/ 304 h 366"/>
                <a:gd name="T94" fmla="*/ 183 w 355"/>
                <a:gd name="T95" fmla="*/ 300 h 366"/>
                <a:gd name="T96" fmla="*/ 188 w 355"/>
                <a:gd name="T97" fmla="*/ 313 h 366"/>
                <a:gd name="T98" fmla="*/ 207 w 355"/>
                <a:gd name="T99" fmla="*/ 327 h 366"/>
                <a:gd name="T100" fmla="*/ 209 w 355"/>
                <a:gd name="T101" fmla="*/ 355 h 366"/>
                <a:gd name="T102" fmla="*/ 212 w 355"/>
                <a:gd name="T103" fmla="*/ 360 h 366"/>
                <a:gd name="T104" fmla="*/ 215 w 355"/>
                <a:gd name="T105" fmla="*/ 353 h 366"/>
                <a:gd name="T106" fmla="*/ 224 w 355"/>
                <a:gd name="T107" fmla="*/ 344 h 366"/>
                <a:gd name="T108" fmla="*/ 228 w 355"/>
                <a:gd name="T109" fmla="*/ 330 h 366"/>
                <a:gd name="T110" fmla="*/ 241 w 355"/>
                <a:gd name="T111" fmla="*/ 325 h 366"/>
                <a:gd name="T112" fmla="*/ 351 w 355"/>
                <a:gd name="T113" fmla="*/ 12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5" h="366">
                  <a:moveTo>
                    <a:pt x="345" y="118"/>
                  </a:moveTo>
                  <a:cubicBezTo>
                    <a:pt x="344" y="117"/>
                    <a:pt x="342" y="115"/>
                    <a:pt x="340" y="114"/>
                  </a:cubicBezTo>
                  <a:cubicBezTo>
                    <a:pt x="335" y="112"/>
                    <a:pt x="331" y="109"/>
                    <a:pt x="330" y="102"/>
                  </a:cubicBezTo>
                  <a:cubicBezTo>
                    <a:pt x="328" y="87"/>
                    <a:pt x="334" y="67"/>
                    <a:pt x="325" y="55"/>
                  </a:cubicBezTo>
                  <a:cubicBezTo>
                    <a:pt x="323" y="53"/>
                    <a:pt x="322" y="50"/>
                    <a:pt x="319" y="49"/>
                  </a:cubicBezTo>
                  <a:cubicBezTo>
                    <a:pt x="318" y="47"/>
                    <a:pt x="318" y="47"/>
                    <a:pt x="316" y="46"/>
                  </a:cubicBezTo>
                  <a:cubicBezTo>
                    <a:pt x="314" y="45"/>
                    <a:pt x="313" y="45"/>
                    <a:pt x="312" y="43"/>
                  </a:cubicBezTo>
                  <a:cubicBezTo>
                    <a:pt x="309" y="40"/>
                    <a:pt x="309" y="37"/>
                    <a:pt x="308" y="32"/>
                  </a:cubicBezTo>
                  <a:cubicBezTo>
                    <a:pt x="308" y="29"/>
                    <a:pt x="308" y="30"/>
                    <a:pt x="307" y="28"/>
                  </a:cubicBezTo>
                  <a:cubicBezTo>
                    <a:pt x="306" y="26"/>
                    <a:pt x="306" y="24"/>
                    <a:pt x="306" y="22"/>
                  </a:cubicBezTo>
                  <a:cubicBezTo>
                    <a:pt x="305" y="22"/>
                    <a:pt x="304" y="22"/>
                    <a:pt x="303" y="22"/>
                  </a:cubicBezTo>
                  <a:cubicBezTo>
                    <a:pt x="303" y="17"/>
                    <a:pt x="302" y="10"/>
                    <a:pt x="299" y="6"/>
                  </a:cubicBezTo>
                  <a:cubicBezTo>
                    <a:pt x="299" y="6"/>
                    <a:pt x="295" y="3"/>
                    <a:pt x="294" y="3"/>
                  </a:cubicBezTo>
                  <a:cubicBezTo>
                    <a:pt x="292" y="2"/>
                    <a:pt x="289" y="2"/>
                    <a:pt x="288" y="4"/>
                  </a:cubicBezTo>
                  <a:cubicBezTo>
                    <a:pt x="285" y="7"/>
                    <a:pt x="287" y="18"/>
                    <a:pt x="288" y="22"/>
                  </a:cubicBezTo>
                  <a:cubicBezTo>
                    <a:pt x="289" y="24"/>
                    <a:pt x="289" y="27"/>
                    <a:pt x="290" y="29"/>
                  </a:cubicBezTo>
                  <a:cubicBezTo>
                    <a:pt x="292" y="33"/>
                    <a:pt x="292" y="31"/>
                    <a:pt x="290" y="35"/>
                  </a:cubicBezTo>
                  <a:cubicBezTo>
                    <a:pt x="289" y="38"/>
                    <a:pt x="289" y="41"/>
                    <a:pt x="288" y="43"/>
                  </a:cubicBezTo>
                  <a:cubicBezTo>
                    <a:pt x="287" y="46"/>
                    <a:pt x="287" y="48"/>
                    <a:pt x="287" y="52"/>
                  </a:cubicBezTo>
                  <a:cubicBezTo>
                    <a:pt x="287" y="55"/>
                    <a:pt x="287" y="59"/>
                    <a:pt x="287" y="62"/>
                  </a:cubicBezTo>
                  <a:cubicBezTo>
                    <a:pt x="287" y="64"/>
                    <a:pt x="287" y="66"/>
                    <a:pt x="287" y="67"/>
                  </a:cubicBezTo>
                  <a:cubicBezTo>
                    <a:pt x="287" y="69"/>
                    <a:pt x="286" y="70"/>
                    <a:pt x="286" y="71"/>
                  </a:cubicBezTo>
                  <a:cubicBezTo>
                    <a:pt x="285" y="74"/>
                    <a:pt x="285" y="77"/>
                    <a:pt x="284" y="79"/>
                  </a:cubicBezTo>
                  <a:cubicBezTo>
                    <a:pt x="283" y="80"/>
                    <a:pt x="282" y="80"/>
                    <a:pt x="281" y="82"/>
                  </a:cubicBezTo>
                  <a:cubicBezTo>
                    <a:pt x="280" y="82"/>
                    <a:pt x="280" y="85"/>
                    <a:pt x="280" y="85"/>
                  </a:cubicBezTo>
                  <a:cubicBezTo>
                    <a:pt x="278" y="90"/>
                    <a:pt x="276" y="95"/>
                    <a:pt x="275" y="100"/>
                  </a:cubicBezTo>
                  <a:cubicBezTo>
                    <a:pt x="273" y="101"/>
                    <a:pt x="269" y="101"/>
                    <a:pt x="267" y="100"/>
                  </a:cubicBezTo>
                  <a:cubicBezTo>
                    <a:pt x="267" y="97"/>
                    <a:pt x="267" y="95"/>
                    <a:pt x="264" y="93"/>
                  </a:cubicBezTo>
                  <a:cubicBezTo>
                    <a:pt x="264" y="93"/>
                    <a:pt x="262" y="92"/>
                    <a:pt x="262" y="92"/>
                  </a:cubicBezTo>
                  <a:cubicBezTo>
                    <a:pt x="260" y="90"/>
                    <a:pt x="261" y="89"/>
                    <a:pt x="260" y="87"/>
                  </a:cubicBezTo>
                  <a:cubicBezTo>
                    <a:pt x="259" y="82"/>
                    <a:pt x="257" y="83"/>
                    <a:pt x="254" y="83"/>
                  </a:cubicBezTo>
                  <a:cubicBezTo>
                    <a:pt x="251" y="83"/>
                    <a:pt x="250" y="82"/>
                    <a:pt x="247" y="81"/>
                  </a:cubicBezTo>
                  <a:cubicBezTo>
                    <a:pt x="247" y="80"/>
                    <a:pt x="246" y="79"/>
                    <a:pt x="246" y="78"/>
                  </a:cubicBezTo>
                  <a:cubicBezTo>
                    <a:pt x="244" y="78"/>
                    <a:pt x="243" y="78"/>
                    <a:pt x="242" y="76"/>
                  </a:cubicBezTo>
                  <a:cubicBezTo>
                    <a:pt x="242" y="75"/>
                    <a:pt x="241" y="74"/>
                    <a:pt x="241" y="73"/>
                  </a:cubicBezTo>
                  <a:cubicBezTo>
                    <a:pt x="240" y="72"/>
                    <a:pt x="239" y="72"/>
                    <a:pt x="238" y="71"/>
                  </a:cubicBezTo>
                  <a:cubicBezTo>
                    <a:pt x="235" y="68"/>
                    <a:pt x="233" y="64"/>
                    <a:pt x="230" y="61"/>
                  </a:cubicBezTo>
                  <a:cubicBezTo>
                    <a:pt x="229" y="60"/>
                    <a:pt x="227" y="59"/>
                    <a:pt x="226" y="57"/>
                  </a:cubicBezTo>
                  <a:cubicBezTo>
                    <a:pt x="226" y="55"/>
                    <a:pt x="226" y="50"/>
                    <a:pt x="226" y="48"/>
                  </a:cubicBezTo>
                  <a:cubicBezTo>
                    <a:pt x="226" y="41"/>
                    <a:pt x="227" y="38"/>
                    <a:pt x="232" y="37"/>
                  </a:cubicBezTo>
                  <a:cubicBezTo>
                    <a:pt x="232" y="36"/>
                    <a:pt x="233" y="32"/>
                    <a:pt x="234" y="31"/>
                  </a:cubicBezTo>
                  <a:cubicBezTo>
                    <a:pt x="235" y="29"/>
                    <a:pt x="236" y="27"/>
                    <a:pt x="236" y="25"/>
                  </a:cubicBezTo>
                  <a:cubicBezTo>
                    <a:pt x="237" y="24"/>
                    <a:pt x="237" y="17"/>
                    <a:pt x="236" y="17"/>
                  </a:cubicBezTo>
                  <a:cubicBezTo>
                    <a:pt x="234" y="15"/>
                    <a:pt x="233" y="19"/>
                    <a:pt x="231" y="20"/>
                  </a:cubicBezTo>
                  <a:cubicBezTo>
                    <a:pt x="228" y="22"/>
                    <a:pt x="221" y="20"/>
                    <a:pt x="218" y="19"/>
                  </a:cubicBezTo>
                  <a:cubicBezTo>
                    <a:pt x="217" y="18"/>
                    <a:pt x="216" y="16"/>
                    <a:pt x="215" y="15"/>
                  </a:cubicBezTo>
                  <a:cubicBezTo>
                    <a:pt x="213" y="14"/>
                    <a:pt x="210" y="15"/>
                    <a:pt x="207" y="15"/>
                  </a:cubicBezTo>
                  <a:cubicBezTo>
                    <a:pt x="206" y="15"/>
                    <a:pt x="203" y="14"/>
                    <a:pt x="203" y="13"/>
                  </a:cubicBezTo>
                  <a:cubicBezTo>
                    <a:pt x="202" y="11"/>
                    <a:pt x="203" y="9"/>
                    <a:pt x="202" y="8"/>
                  </a:cubicBezTo>
                  <a:cubicBezTo>
                    <a:pt x="202" y="5"/>
                    <a:pt x="201" y="7"/>
                    <a:pt x="200" y="6"/>
                  </a:cubicBezTo>
                  <a:cubicBezTo>
                    <a:pt x="199" y="4"/>
                    <a:pt x="199" y="2"/>
                    <a:pt x="197" y="1"/>
                  </a:cubicBezTo>
                  <a:cubicBezTo>
                    <a:pt x="196" y="0"/>
                    <a:pt x="191" y="1"/>
                    <a:pt x="190" y="3"/>
                  </a:cubicBezTo>
                  <a:cubicBezTo>
                    <a:pt x="190" y="4"/>
                    <a:pt x="190" y="5"/>
                    <a:pt x="189" y="6"/>
                  </a:cubicBezTo>
                  <a:cubicBezTo>
                    <a:pt x="189" y="7"/>
                    <a:pt x="188" y="7"/>
                    <a:pt x="187" y="8"/>
                  </a:cubicBezTo>
                  <a:cubicBezTo>
                    <a:pt x="186" y="11"/>
                    <a:pt x="187" y="15"/>
                    <a:pt x="186" y="18"/>
                  </a:cubicBezTo>
                  <a:cubicBezTo>
                    <a:pt x="185" y="22"/>
                    <a:pt x="184" y="21"/>
                    <a:pt x="182" y="22"/>
                  </a:cubicBezTo>
                  <a:cubicBezTo>
                    <a:pt x="180" y="24"/>
                    <a:pt x="180" y="25"/>
                    <a:pt x="177" y="26"/>
                  </a:cubicBezTo>
                  <a:cubicBezTo>
                    <a:pt x="177" y="28"/>
                    <a:pt x="176" y="31"/>
                    <a:pt x="175" y="33"/>
                  </a:cubicBezTo>
                  <a:cubicBezTo>
                    <a:pt x="174" y="34"/>
                    <a:pt x="174" y="35"/>
                    <a:pt x="173" y="36"/>
                  </a:cubicBezTo>
                  <a:cubicBezTo>
                    <a:pt x="173" y="37"/>
                    <a:pt x="172" y="40"/>
                    <a:pt x="172" y="41"/>
                  </a:cubicBezTo>
                  <a:cubicBezTo>
                    <a:pt x="170" y="44"/>
                    <a:pt x="167" y="42"/>
                    <a:pt x="166" y="45"/>
                  </a:cubicBezTo>
                  <a:cubicBezTo>
                    <a:pt x="164" y="47"/>
                    <a:pt x="164" y="52"/>
                    <a:pt x="165" y="55"/>
                  </a:cubicBezTo>
                  <a:cubicBezTo>
                    <a:pt x="165" y="55"/>
                    <a:pt x="166" y="55"/>
                    <a:pt x="167" y="55"/>
                  </a:cubicBezTo>
                  <a:cubicBezTo>
                    <a:pt x="167" y="57"/>
                    <a:pt x="168" y="58"/>
                    <a:pt x="168" y="59"/>
                  </a:cubicBezTo>
                  <a:cubicBezTo>
                    <a:pt x="168" y="61"/>
                    <a:pt x="168" y="63"/>
                    <a:pt x="168" y="66"/>
                  </a:cubicBezTo>
                  <a:cubicBezTo>
                    <a:pt x="168" y="71"/>
                    <a:pt x="169" y="73"/>
                    <a:pt x="164" y="73"/>
                  </a:cubicBezTo>
                  <a:cubicBezTo>
                    <a:pt x="161" y="73"/>
                    <a:pt x="161" y="71"/>
                    <a:pt x="158" y="70"/>
                  </a:cubicBezTo>
                  <a:cubicBezTo>
                    <a:pt x="155" y="68"/>
                    <a:pt x="153" y="69"/>
                    <a:pt x="153" y="64"/>
                  </a:cubicBezTo>
                  <a:cubicBezTo>
                    <a:pt x="152" y="64"/>
                    <a:pt x="152" y="64"/>
                    <a:pt x="151" y="64"/>
                  </a:cubicBezTo>
                  <a:cubicBezTo>
                    <a:pt x="150" y="58"/>
                    <a:pt x="152" y="48"/>
                    <a:pt x="146" y="48"/>
                  </a:cubicBezTo>
                  <a:cubicBezTo>
                    <a:pt x="146" y="47"/>
                    <a:pt x="145" y="46"/>
                    <a:pt x="145" y="45"/>
                  </a:cubicBezTo>
                  <a:cubicBezTo>
                    <a:pt x="135" y="41"/>
                    <a:pt x="136" y="61"/>
                    <a:pt x="127" y="62"/>
                  </a:cubicBezTo>
                  <a:cubicBezTo>
                    <a:pt x="127" y="63"/>
                    <a:pt x="127" y="63"/>
                    <a:pt x="127" y="64"/>
                  </a:cubicBezTo>
                  <a:cubicBezTo>
                    <a:pt x="124" y="65"/>
                    <a:pt x="121" y="65"/>
                    <a:pt x="120" y="67"/>
                  </a:cubicBezTo>
                  <a:cubicBezTo>
                    <a:pt x="119" y="71"/>
                    <a:pt x="119" y="74"/>
                    <a:pt x="118" y="78"/>
                  </a:cubicBezTo>
                  <a:cubicBezTo>
                    <a:pt x="117" y="81"/>
                    <a:pt x="117" y="86"/>
                    <a:pt x="115" y="88"/>
                  </a:cubicBezTo>
                  <a:cubicBezTo>
                    <a:pt x="113" y="91"/>
                    <a:pt x="108" y="90"/>
                    <a:pt x="105" y="90"/>
                  </a:cubicBezTo>
                  <a:cubicBezTo>
                    <a:pt x="102" y="90"/>
                    <a:pt x="100" y="91"/>
                    <a:pt x="97" y="93"/>
                  </a:cubicBezTo>
                  <a:cubicBezTo>
                    <a:pt x="96" y="95"/>
                    <a:pt x="95" y="95"/>
                    <a:pt x="94" y="97"/>
                  </a:cubicBezTo>
                  <a:cubicBezTo>
                    <a:pt x="93" y="98"/>
                    <a:pt x="92" y="100"/>
                    <a:pt x="92" y="101"/>
                  </a:cubicBezTo>
                  <a:cubicBezTo>
                    <a:pt x="88" y="107"/>
                    <a:pt x="93" y="119"/>
                    <a:pt x="88" y="124"/>
                  </a:cubicBezTo>
                  <a:cubicBezTo>
                    <a:pt x="86" y="126"/>
                    <a:pt x="83" y="126"/>
                    <a:pt x="81" y="127"/>
                  </a:cubicBezTo>
                  <a:cubicBezTo>
                    <a:pt x="80" y="128"/>
                    <a:pt x="79" y="129"/>
                    <a:pt x="77" y="130"/>
                  </a:cubicBezTo>
                  <a:cubicBezTo>
                    <a:pt x="76" y="131"/>
                    <a:pt x="74" y="130"/>
                    <a:pt x="73" y="131"/>
                  </a:cubicBezTo>
                  <a:cubicBezTo>
                    <a:pt x="67" y="133"/>
                    <a:pt x="62" y="138"/>
                    <a:pt x="56" y="139"/>
                  </a:cubicBezTo>
                  <a:cubicBezTo>
                    <a:pt x="53" y="140"/>
                    <a:pt x="50" y="138"/>
                    <a:pt x="47" y="141"/>
                  </a:cubicBezTo>
                  <a:cubicBezTo>
                    <a:pt x="45" y="143"/>
                    <a:pt x="44" y="147"/>
                    <a:pt x="42" y="150"/>
                  </a:cubicBezTo>
                  <a:cubicBezTo>
                    <a:pt x="42" y="151"/>
                    <a:pt x="41" y="153"/>
                    <a:pt x="40" y="154"/>
                  </a:cubicBezTo>
                  <a:cubicBezTo>
                    <a:pt x="38" y="155"/>
                    <a:pt x="38" y="154"/>
                    <a:pt x="36" y="155"/>
                  </a:cubicBezTo>
                  <a:cubicBezTo>
                    <a:pt x="33" y="156"/>
                    <a:pt x="31" y="159"/>
                    <a:pt x="28" y="159"/>
                  </a:cubicBezTo>
                  <a:cubicBezTo>
                    <a:pt x="28" y="160"/>
                    <a:pt x="28" y="161"/>
                    <a:pt x="28" y="162"/>
                  </a:cubicBezTo>
                  <a:cubicBezTo>
                    <a:pt x="23" y="164"/>
                    <a:pt x="18" y="161"/>
                    <a:pt x="13" y="162"/>
                  </a:cubicBezTo>
                  <a:cubicBezTo>
                    <a:pt x="13" y="163"/>
                    <a:pt x="13" y="164"/>
                    <a:pt x="13" y="165"/>
                  </a:cubicBezTo>
                  <a:cubicBezTo>
                    <a:pt x="10" y="166"/>
                    <a:pt x="10" y="168"/>
                    <a:pt x="9" y="170"/>
                  </a:cubicBezTo>
                  <a:cubicBezTo>
                    <a:pt x="9" y="171"/>
                    <a:pt x="8" y="174"/>
                    <a:pt x="8" y="174"/>
                  </a:cubicBezTo>
                  <a:cubicBezTo>
                    <a:pt x="7" y="175"/>
                    <a:pt x="5" y="175"/>
                    <a:pt x="4" y="176"/>
                  </a:cubicBezTo>
                  <a:cubicBezTo>
                    <a:pt x="4" y="178"/>
                    <a:pt x="5" y="180"/>
                    <a:pt x="4" y="181"/>
                  </a:cubicBezTo>
                  <a:cubicBezTo>
                    <a:pt x="4" y="184"/>
                    <a:pt x="3" y="184"/>
                    <a:pt x="3" y="187"/>
                  </a:cubicBezTo>
                  <a:cubicBezTo>
                    <a:pt x="3" y="190"/>
                    <a:pt x="3" y="195"/>
                    <a:pt x="3" y="199"/>
                  </a:cubicBezTo>
                  <a:cubicBezTo>
                    <a:pt x="3" y="203"/>
                    <a:pt x="3" y="206"/>
                    <a:pt x="2" y="209"/>
                  </a:cubicBezTo>
                  <a:cubicBezTo>
                    <a:pt x="1" y="211"/>
                    <a:pt x="0" y="212"/>
                    <a:pt x="0" y="213"/>
                  </a:cubicBezTo>
                  <a:cubicBezTo>
                    <a:pt x="0" y="217"/>
                    <a:pt x="1" y="215"/>
                    <a:pt x="3" y="216"/>
                  </a:cubicBezTo>
                  <a:cubicBezTo>
                    <a:pt x="5" y="218"/>
                    <a:pt x="6" y="221"/>
                    <a:pt x="7" y="223"/>
                  </a:cubicBezTo>
                  <a:cubicBezTo>
                    <a:pt x="8" y="225"/>
                    <a:pt x="8" y="227"/>
                    <a:pt x="8" y="229"/>
                  </a:cubicBezTo>
                  <a:cubicBezTo>
                    <a:pt x="8" y="231"/>
                    <a:pt x="9" y="231"/>
                    <a:pt x="10" y="234"/>
                  </a:cubicBezTo>
                  <a:cubicBezTo>
                    <a:pt x="11" y="234"/>
                    <a:pt x="12" y="234"/>
                    <a:pt x="13" y="234"/>
                  </a:cubicBezTo>
                  <a:cubicBezTo>
                    <a:pt x="13" y="236"/>
                    <a:pt x="13" y="238"/>
                    <a:pt x="13" y="239"/>
                  </a:cubicBezTo>
                  <a:cubicBezTo>
                    <a:pt x="14" y="240"/>
                    <a:pt x="15" y="240"/>
                    <a:pt x="15" y="241"/>
                  </a:cubicBezTo>
                  <a:cubicBezTo>
                    <a:pt x="17" y="245"/>
                    <a:pt x="15" y="250"/>
                    <a:pt x="16" y="253"/>
                  </a:cubicBezTo>
                  <a:cubicBezTo>
                    <a:pt x="16" y="255"/>
                    <a:pt x="17" y="255"/>
                    <a:pt x="17" y="257"/>
                  </a:cubicBezTo>
                  <a:cubicBezTo>
                    <a:pt x="17" y="258"/>
                    <a:pt x="17" y="260"/>
                    <a:pt x="17" y="262"/>
                  </a:cubicBezTo>
                  <a:cubicBezTo>
                    <a:pt x="17" y="266"/>
                    <a:pt x="18" y="268"/>
                    <a:pt x="18" y="272"/>
                  </a:cubicBezTo>
                  <a:cubicBezTo>
                    <a:pt x="19" y="272"/>
                    <a:pt x="20" y="273"/>
                    <a:pt x="20" y="273"/>
                  </a:cubicBezTo>
                  <a:cubicBezTo>
                    <a:pt x="21" y="277"/>
                    <a:pt x="20" y="280"/>
                    <a:pt x="19" y="283"/>
                  </a:cubicBezTo>
                  <a:cubicBezTo>
                    <a:pt x="18" y="286"/>
                    <a:pt x="18" y="290"/>
                    <a:pt x="18" y="294"/>
                  </a:cubicBezTo>
                  <a:cubicBezTo>
                    <a:pt x="18" y="297"/>
                    <a:pt x="18" y="301"/>
                    <a:pt x="19" y="305"/>
                  </a:cubicBezTo>
                  <a:cubicBezTo>
                    <a:pt x="20" y="307"/>
                    <a:pt x="23" y="308"/>
                    <a:pt x="24" y="310"/>
                  </a:cubicBezTo>
                  <a:cubicBezTo>
                    <a:pt x="33" y="320"/>
                    <a:pt x="23" y="338"/>
                    <a:pt x="15" y="339"/>
                  </a:cubicBezTo>
                  <a:cubicBezTo>
                    <a:pt x="14" y="343"/>
                    <a:pt x="13" y="345"/>
                    <a:pt x="13" y="350"/>
                  </a:cubicBezTo>
                  <a:cubicBezTo>
                    <a:pt x="14" y="355"/>
                    <a:pt x="16" y="355"/>
                    <a:pt x="19" y="355"/>
                  </a:cubicBezTo>
                  <a:cubicBezTo>
                    <a:pt x="19" y="358"/>
                    <a:pt x="26" y="363"/>
                    <a:pt x="28" y="364"/>
                  </a:cubicBezTo>
                  <a:cubicBezTo>
                    <a:pt x="30" y="364"/>
                    <a:pt x="33" y="364"/>
                    <a:pt x="35" y="364"/>
                  </a:cubicBezTo>
                  <a:cubicBezTo>
                    <a:pt x="37" y="363"/>
                    <a:pt x="37" y="361"/>
                    <a:pt x="39" y="360"/>
                  </a:cubicBezTo>
                  <a:cubicBezTo>
                    <a:pt x="44" y="359"/>
                    <a:pt x="48" y="360"/>
                    <a:pt x="52" y="358"/>
                  </a:cubicBezTo>
                  <a:cubicBezTo>
                    <a:pt x="56" y="356"/>
                    <a:pt x="61" y="354"/>
                    <a:pt x="66" y="353"/>
                  </a:cubicBezTo>
                  <a:cubicBezTo>
                    <a:pt x="66" y="352"/>
                    <a:pt x="66" y="351"/>
                    <a:pt x="66" y="350"/>
                  </a:cubicBezTo>
                  <a:cubicBezTo>
                    <a:pt x="70" y="348"/>
                    <a:pt x="75" y="350"/>
                    <a:pt x="79" y="350"/>
                  </a:cubicBezTo>
                  <a:cubicBezTo>
                    <a:pt x="82" y="350"/>
                    <a:pt x="88" y="351"/>
                    <a:pt x="91" y="349"/>
                  </a:cubicBezTo>
                  <a:cubicBezTo>
                    <a:pt x="94" y="347"/>
                    <a:pt x="95" y="339"/>
                    <a:pt x="98" y="336"/>
                  </a:cubicBezTo>
                  <a:cubicBezTo>
                    <a:pt x="99" y="336"/>
                    <a:pt x="99" y="336"/>
                    <a:pt x="100" y="335"/>
                  </a:cubicBezTo>
                  <a:cubicBezTo>
                    <a:pt x="101" y="335"/>
                    <a:pt x="101" y="333"/>
                    <a:pt x="102" y="333"/>
                  </a:cubicBezTo>
                  <a:cubicBezTo>
                    <a:pt x="102" y="332"/>
                    <a:pt x="103" y="332"/>
                    <a:pt x="104" y="332"/>
                  </a:cubicBezTo>
                  <a:cubicBezTo>
                    <a:pt x="105" y="331"/>
                    <a:pt x="106" y="329"/>
                    <a:pt x="108" y="328"/>
                  </a:cubicBezTo>
                  <a:cubicBezTo>
                    <a:pt x="110" y="328"/>
                    <a:pt x="112" y="330"/>
                    <a:pt x="114" y="327"/>
                  </a:cubicBezTo>
                  <a:cubicBezTo>
                    <a:pt x="116" y="325"/>
                    <a:pt x="116" y="323"/>
                    <a:pt x="117" y="320"/>
                  </a:cubicBezTo>
                  <a:cubicBezTo>
                    <a:pt x="118" y="317"/>
                    <a:pt x="122" y="312"/>
                    <a:pt x="125" y="313"/>
                  </a:cubicBezTo>
                  <a:cubicBezTo>
                    <a:pt x="127" y="313"/>
                    <a:pt x="128" y="315"/>
                    <a:pt x="130" y="315"/>
                  </a:cubicBezTo>
                  <a:cubicBezTo>
                    <a:pt x="133" y="315"/>
                    <a:pt x="133" y="316"/>
                    <a:pt x="135" y="316"/>
                  </a:cubicBezTo>
                  <a:cubicBezTo>
                    <a:pt x="137" y="317"/>
                    <a:pt x="140" y="316"/>
                    <a:pt x="142" y="316"/>
                  </a:cubicBezTo>
                  <a:cubicBezTo>
                    <a:pt x="144" y="316"/>
                    <a:pt x="146" y="314"/>
                    <a:pt x="148" y="314"/>
                  </a:cubicBezTo>
                  <a:cubicBezTo>
                    <a:pt x="148" y="309"/>
                    <a:pt x="150" y="305"/>
                    <a:pt x="154" y="304"/>
                  </a:cubicBezTo>
                  <a:cubicBezTo>
                    <a:pt x="159" y="303"/>
                    <a:pt x="164" y="304"/>
                    <a:pt x="168" y="304"/>
                  </a:cubicBezTo>
                  <a:cubicBezTo>
                    <a:pt x="173" y="304"/>
                    <a:pt x="176" y="304"/>
                    <a:pt x="181" y="302"/>
                  </a:cubicBezTo>
                  <a:cubicBezTo>
                    <a:pt x="182" y="302"/>
                    <a:pt x="182" y="300"/>
                    <a:pt x="183" y="300"/>
                  </a:cubicBezTo>
                  <a:cubicBezTo>
                    <a:pt x="185" y="301"/>
                    <a:pt x="184" y="302"/>
                    <a:pt x="185" y="304"/>
                  </a:cubicBezTo>
                  <a:cubicBezTo>
                    <a:pt x="186" y="305"/>
                    <a:pt x="187" y="305"/>
                    <a:pt x="187" y="308"/>
                  </a:cubicBezTo>
                  <a:cubicBezTo>
                    <a:pt x="188" y="309"/>
                    <a:pt x="187" y="311"/>
                    <a:pt x="188" y="313"/>
                  </a:cubicBezTo>
                  <a:cubicBezTo>
                    <a:pt x="189" y="315"/>
                    <a:pt x="191" y="315"/>
                    <a:pt x="193" y="315"/>
                  </a:cubicBezTo>
                  <a:cubicBezTo>
                    <a:pt x="197" y="315"/>
                    <a:pt x="197" y="315"/>
                    <a:pt x="199" y="318"/>
                  </a:cubicBezTo>
                  <a:cubicBezTo>
                    <a:pt x="202" y="321"/>
                    <a:pt x="206" y="320"/>
                    <a:pt x="207" y="327"/>
                  </a:cubicBezTo>
                  <a:cubicBezTo>
                    <a:pt x="208" y="333"/>
                    <a:pt x="207" y="340"/>
                    <a:pt x="207" y="346"/>
                  </a:cubicBezTo>
                  <a:cubicBezTo>
                    <a:pt x="207" y="348"/>
                    <a:pt x="207" y="350"/>
                    <a:pt x="207" y="352"/>
                  </a:cubicBezTo>
                  <a:cubicBezTo>
                    <a:pt x="208" y="353"/>
                    <a:pt x="208" y="353"/>
                    <a:pt x="209" y="355"/>
                  </a:cubicBezTo>
                  <a:cubicBezTo>
                    <a:pt x="209" y="358"/>
                    <a:pt x="208" y="362"/>
                    <a:pt x="209" y="365"/>
                  </a:cubicBezTo>
                  <a:cubicBezTo>
                    <a:pt x="210" y="366"/>
                    <a:pt x="210" y="365"/>
                    <a:pt x="210" y="364"/>
                  </a:cubicBezTo>
                  <a:cubicBezTo>
                    <a:pt x="210" y="364"/>
                    <a:pt x="213" y="360"/>
                    <a:pt x="212" y="360"/>
                  </a:cubicBezTo>
                  <a:cubicBezTo>
                    <a:pt x="213" y="360"/>
                    <a:pt x="213" y="360"/>
                    <a:pt x="213" y="360"/>
                  </a:cubicBezTo>
                  <a:cubicBezTo>
                    <a:pt x="214" y="359"/>
                    <a:pt x="214" y="358"/>
                    <a:pt x="214" y="357"/>
                  </a:cubicBezTo>
                  <a:cubicBezTo>
                    <a:pt x="214" y="356"/>
                    <a:pt x="214" y="354"/>
                    <a:pt x="215" y="353"/>
                  </a:cubicBezTo>
                  <a:cubicBezTo>
                    <a:pt x="215" y="351"/>
                    <a:pt x="216" y="348"/>
                    <a:pt x="217" y="346"/>
                  </a:cubicBezTo>
                  <a:cubicBezTo>
                    <a:pt x="219" y="344"/>
                    <a:pt x="218" y="345"/>
                    <a:pt x="220" y="344"/>
                  </a:cubicBezTo>
                  <a:cubicBezTo>
                    <a:pt x="221" y="344"/>
                    <a:pt x="222" y="345"/>
                    <a:pt x="224" y="344"/>
                  </a:cubicBezTo>
                  <a:cubicBezTo>
                    <a:pt x="224" y="342"/>
                    <a:pt x="224" y="341"/>
                    <a:pt x="225" y="339"/>
                  </a:cubicBezTo>
                  <a:cubicBezTo>
                    <a:pt x="225" y="337"/>
                    <a:pt x="227" y="337"/>
                    <a:pt x="227" y="335"/>
                  </a:cubicBezTo>
                  <a:cubicBezTo>
                    <a:pt x="228" y="333"/>
                    <a:pt x="228" y="332"/>
                    <a:pt x="228" y="330"/>
                  </a:cubicBezTo>
                  <a:cubicBezTo>
                    <a:pt x="229" y="329"/>
                    <a:pt x="231" y="326"/>
                    <a:pt x="231" y="325"/>
                  </a:cubicBezTo>
                  <a:cubicBezTo>
                    <a:pt x="233" y="323"/>
                    <a:pt x="233" y="323"/>
                    <a:pt x="235" y="323"/>
                  </a:cubicBezTo>
                  <a:cubicBezTo>
                    <a:pt x="237" y="323"/>
                    <a:pt x="239" y="323"/>
                    <a:pt x="241" y="325"/>
                  </a:cubicBezTo>
                  <a:cubicBezTo>
                    <a:pt x="241" y="325"/>
                    <a:pt x="241" y="326"/>
                    <a:pt x="241" y="327"/>
                  </a:cubicBezTo>
                  <a:cubicBezTo>
                    <a:pt x="284" y="263"/>
                    <a:pt x="322" y="196"/>
                    <a:pt x="355" y="126"/>
                  </a:cubicBezTo>
                  <a:cubicBezTo>
                    <a:pt x="354" y="124"/>
                    <a:pt x="352" y="121"/>
                    <a:pt x="351" y="120"/>
                  </a:cubicBezTo>
                  <a:cubicBezTo>
                    <a:pt x="349" y="118"/>
                    <a:pt x="347" y="119"/>
                    <a:pt x="345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110">
              <a:extLst>
                <a:ext uri="{FF2B5EF4-FFF2-40B4-BE49-F238E27FC236}">
                  <a16:creationId xmlns:a16="http://schemas.microsoft.com/office/drawing/2014/main" id="{0AEC0493-5C66-4937-A1BD-274FEB8D5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864" y="3654188"/>
              <a:ext cx="170716" cy="122421"/>
            </a:xfrm>
            <a:custGeom>
              <a:avLst/>
              <a:gdLst>
                <a:gd name="T0" fmla="*/ 81 w 81"/>
                <a:gd name="T1" fmla="*/ 56 h 58"/>
                <a:gd name="T2" fmla="*/ 81 w 81"/>
                <a:gd name="T3" fmla="*/ 46 h 58"/>
                <a:gd name="T4" fmla="*/ 71 w 81"/>
                <a:gd name="T5" fmla="*/ 39 h 58"/>
                <a:gd name="T6" fmla="*/ 64 w 81"/>
                <a:gd name="T7" fmla="*/ 37 h 58"/>
                <a:gd name="T8" fmla="*/ 57 w 81"/>
                <a:gd name="T9" fmla="*/ 35 h 58"/>
                <a:gd name="T10" fmla="*/ 48 w 81"/>
                <a:gd name="T11" fmla="*/ 27 h 58"/>
                <a:gd name="T12" fmla="*/ 46 w 81"/>
                <a:gd name="T13" fmla="*/ 26 h 58"/>
                <a:gd name="T14" fmla="*/ 45 w 81"/>
                <a:gd name="T15" fmla="*/ 23 h 58"/>
                <a:gd name="T16" fmla="*/ 40 w 81"/>
                <a:gd name="T17" fmla="*/ 22 h 58"/>
                <a:gd name="T18" fmla="*/ 34 w 81"/>
                <a:gd name="T19" fmla="*/ 19 h 58"/>
                <a:gd name="T20" fmla="*/ 34 w 81"/>
                <a:gd name="T21" fmla="*/ 16 h 58"/>
                <a:gd name="T22" fmla="*/ 29 w 81"/>
                <a:gd name="T23" fmla="*/ 14 h 58"/>
                <a:gd name="T24" fmla="*/ 23 w 81"/>
                <a:gd name="T25" fmla="*/ 9 h 58"/>
                <a:gd name="T26" fmla="*/ 13 w 81"/>
                <a:gd name="T27" fmla="*/ 7 h 58"/>
                <a:gd name="T28" fmla="*/ 8 w 81"/>
                <a:gd name="T29" fmla="*/ 5 h 58"/>
                <a:gd name="T30" fmla="*/ 5 w 81"/>
                <a:gd name="T31" fmla="*/ 2 h 58"/>
                <a:gd name="T32" fmla="*/ 5 w 81"/>
                <a:gd name="T33" fmla="*/ 7 h 58"/>
                <a:gd name="T34" fmla="*/ 4 w 81"/>
                <a:gd name="T35" fmla="*/ 9 h 58"/>
                <a:gd name="T36" fmla="*/ 0 w 81"/>
                <a:gd name="T37" fmla="*/ 14 h 58"/>
                <a:gd name="T38" fmla="*/ 1 w 81"/>
                <a:gd name="T39" fmla="*/ 16 h 58"/>
                <a:gd name="T40" fmla="*/ 3 w 81"/>
                <a:gd name="T41" fmla="*/ 25 h 58"/>
                <a:gd name="T42" fmla="*/ 6 w 81"/>
                <a:gd name="T43" fmla="*/ 25 h 58"/>
                <a:gd name="T44" fmla="*/ 8 w 81"/>
                <a:gd name="T45" fmla="*/ 27 h 58"/>
                <a:gd name="T46" fmla="*/ 13 w 81"/>
                <a:gd name="T47" fmla="*/ 21 h 58"/>
                <a:gd name="T48" fmla="*/ 17 w 81"/>
                <a:gd name="T49" fmla="*/ 23 h 58"/>
                <a:gd name="T50" fmla="*/ 23 w 81"/>
                <a:gd name="T51" fmla="*/ 28 h 58"/>
                <a:gd name="T52" fmla="*/ 28 w 81"/>
                <a:gd name="T53" fmla="*/ 30 h 58"/>
                <a:gd name="T54" fmla="*/ 33 w 81"/>
                <a:gd name="T55" fmla="*/ 31 h 58"/>
                <a:gd name="T56" fmla="*/ 35 w 81"/>
                <a:gd name="T57" fmla="*/ 33 h 58"/>
                <a:gd name="T58" fmla="*/ 38 w 81"/>
                <a:gd name="T59" fmla="*/ 34 h 58"/>
                <a:gd name="T60" fmla="*/ 44 w 81"/>
                <a:gd name="T61" fmla="*/ 44 h 58"/>
                <a:gd name="T62" fmla="*/ 56 w 81"/>
                <a:gd name="T63" fmla="*/ 47 h 58"/>
                <a:gd name="T64" fmla="*/ 64 w 81"/>
                <a:gd name="T65" fmla="*/ 55 h 58"/>
                <a:gd name="T66" fmla="*/ 75 w 81"/>
                <a:gd name="T67" fmla="*/ 56 h 58"/>
                <a:gd name="T68" fmla="*/ 81 w 81"/>
                <a:gd name="T69" fmla="*/ 5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1" h="58">
                  <a:moveTo>
                    <a:pt x="81" y="56"/>
                  </a:moveTo>
                  <a:cubicBezTo>
                    <a:pt x="81" y="55"/>
                    <a:pt x="81" y="47"/>
                    <a:pt x="81" y="46"/>
                  </a:cubicBezTo>
                  <a:cubicBezTo>
                    <a:pt x="80" y="38"/>
                    <a:pt x="75" y="39"/>
                    <a:pt x="71" y="39"/>
                  </a:cubicBezTo>
                  <a:cubicBezTo>
                    <a:pt x="68" y="39"/>
                    <a:pt x="66" y="38"/>
                    <a:pt x="64" y="37"/>
                  </a:cubicBezTo>
                  <a:cubicBezTo>
                    <a:pt x="62" y="36"/>
                    <a:pt x="60" y="35"/>
                    <a:pt x="57" y="35"/>
                  </a:cubicBezTo>
                  <a:cubicBezTo>
                    <a:pt x="52" y="35"/>
                    <a:pt x="49" y="34"/>
                    <a:pt x="48" y="27"/>
                  </a:cubicBezTo>
                  <a:cubicBezTo>
                    <a:pt x="47" y="27"/>
                    <a:pt x="46" y="26"/>
                    <a:pt x="46" y="26"/>
                  </a:cubicBezTo>
                  <a:cubicBezTo>
                    <a:pt x="46" y="25"/>
                    <a:pt x="45" y="24"/>
                    <a:pt x="45" y="23"/>
                  </a:cubicBezTo>
                  <a:cubicBezTo>
                    <a:pt x="43" y="22"/>
                    <a:pt x="42" y="23"/>
                    <a:pt x="40" y="22"/>
                  </a:cubicBezTo>
                  <a:cubicBezTo>
                    <a:pt x="38" y="20"/>
                    <a:pt x="36" y="20"/>
                    <a:pt x="34" y="19"/>
                  </a:cubicBezTo>
                  <a:cubicBezTo>
                    <a:pt x="34" y="18"/>
                    <a:pt x="34" y="17"/>
                    <a:pt x="34" y="16"/>
                  </a:cubicBezTo>
                  <a:cubicBezTo>
                    <a:pt x="33" y="16"/>
                    <a:pt x="31" y="15"/>
                    <a:pt x="29" y="14"/>
                  </a:cubicBezTo>
                  <a:cubicBezTo>
                    <a:pt x="27" y="12"/>
                    <a:pt x="25" y="11"/>
                    <a:pt x="23" y="9"/>
                  </a:cubicBezTo>
                  <a:cubicBezTo>
                    <a:pt x="19" y="7"/>
                    <a:pt x="17" y="7"/>
                    <a:pt x="13" y="7"/>
                  </a:cubicBezTo>
                  <a:cubicBezTo>
                    <a:pt x="10" y="7"/>
                    <a:pt x="10" y="7"/>
                    <a:pt x="8" y="5"/>
                  </a:cubicBezTo>
                  <a:cubicBezTo>
                    <a:pt x="7" y="4"/>
                    <a:pt x="8" y="0"/>
                    <a:pt x="5" y="2"/>
                  </a:cubicBezTo>
                  <a:cubicBezTo>
                    <a:pt x="5" y="3"/>
                    <a:pt x="5" y="6"/>
                    <a:pt x="5" y="7"/>
                  </a:cubicBezTo>
                  <a:cubicBezTo>
                    <a:pt x="4" y="7"/>
                    <a:pt x="4" y="8"/>
                    <a:pt x="4" y="9"/>
                  </a:cubicBezTo>
                  <a:cubicBezTo>
                    <a:pt x="3" y="11"/>
                    <a:pt x="2" y="14"/>
                    <a:pt x="0" y="14"/>
                  </a:cubicBezTo>
                  <a:cubicBezTo>
                    <a:pt x="0" y="14"/>
                    <a:pt x="1" y="16"/>
                    <a:pt x="1" y="16"/>
                  </a:cubicBezTo>
                  <a:cubicBezTo>
                    <a:pt x="2" y="19"/>
                    <a:pt x="0" y="23"/>
                    <a:pt x="3" y="25"/>
                  </a:cubicBezTo>
                  <a:cubicBezTo>
                    <a:pt x="3" y="25"/>
                    <a:pt x="5" y="25"/>
                    <a:pt x="6" y="25"/>
                  </a:cubicBezTo>
                  <a:cubicBezTo>
                    <a:pt x="6" y="26"/>
                    <a:pt x="7" y="26"/>
                    <a:pt x="8" y="27"/>
                  </a:cubicBezTo>
                  <a:cubicBezTo>
                    <a:pt x="11" y="27"/>
                    <a:pt x="11" y="23"/>
                    <a:pt x="13" y="21"/>
                  </a:cubicBezTo>
                  <a:cubicBezTo>
                    <a:pt x="15" y="20"/>
                    <a:pt x="16" y="22"/>
                    <a:pt x="17" y="23"/>
                  </a:cubicBezTo>
                  <a:cubicBezTo>
                    <a:pt x="19" y="25"/>
                    <a:pt x="21" y="26"/>
                    <a:pt x="23" y="28"/>
                  </a:cubicBezTo>
                  <a:cubicBezTo>
                    <a:pt x="25" y="30"/>
                    <a:pt x="25" y="30"/>
                    <a:pt x="28" y="30"/>
                  </a:cubicBezTo>
                  <a:cubicBezTo>
                    <a:pt x="30" y="30"/>
                    <a:pt x="31" y="30"/>
                    <a:pt x="33" y="31"/>
                  </a:cubicBezTo>
                  <a:cubicBezTo>
                    <a:pt x="34" y="32"/>
                    <a:pt x="34" y="33"/>
                    <a:pt x="35" y="33"/>
                  </a:cubicBezTo>
                  <a:cubicBezTo>
                    <a:pt x="36" y="33"/>
                    <a:pt x="37" y="33"/>
                    <a:pt x="38" y="34"/>
                  </a:cubicBezTo>
                  <a:cubicBezTo>
                    <a:pt x="41" y="36"/>
                    <a:pt x="41" y="42"/>
                    <a:pt x="44" y="44"/>
                  </a:cubicBezTo>
                  <a:cubicBezTo>
                    <a:pt x="47" y="48"/>
                    <a:pt x="52" y="44"/>
                    <a:pt x="56" y="47"/>
                  </a:cubicBezTo>
                  <a:cubicBezTo>
                    <a:pt x="59" y="49"/>
                    <a:pt x="61" y="54"/>
                    <a:pt x="64" y="55"/>
                  </a:cubicBezTo>
                  <a:cubicBezTo>
                    <a:pt x="68" y="55"/>
                    <a:pt x="72" y="54"/>
                    <a:pt x="75" y="56"/>
                  </a:cubicBezTo>
                  <a:cubicBezTo>
                    <a:pt x="77" y="52"/>
                    <a:pt x="79" y="58"/>
                    <a:pt x="81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111">
              <a:extLst>
                <a:ext uri="{FF2B5EF4-FFF2-40B4-BE49-F238E27FC236}">
                  <a16:creationId xmlns:a16="http://schemas.microsoft.com/office/drawing/2014/main" id="{F2DF8007-771D-48D2-8192-A9984E7D90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842" y="3756394"/>
              <a:ext cx="107821" cy="77497"/>
            </a:xfrm>
            <a:custGeom>
              <a:avLst/>
              <a:gdLst>
                <a:gd name="T0" fmla="*/ 48 w 51"/>
                <a:gd name="T1" fmla="*/ 12 h 37"/>
                <a:gd name="T2" fmla="*/ 46 w 51"/>
                <a:gd name="T3" fmla="*/ 10 h 37"/>
                <a:gd name="T4" fmla="*/ 44 w 51"/>
                <a:gd name="T5" fmla="*/ 8 h 37"/>
                <a:gd name="T6" fmla="*/ 43 w 51"/>
                <a:gd name="T7" fmla="*/ 6 h 37"/>
                <a:gd name="T8" fmla="*/ 41 w 51"/>
                <a:gd name="T9" fmla="*/ 6 h 37"/>
                <a:gd name="T10" fmla="*/ 36 w 51"/>
                <a:gd name="T11" fmla="*/ 7 h 37"/>
                <a:gd name="T12" fmla="*/ 29 w 51"/>
                <a:gd name="T13" fmla="*/ 1 h 37"/>
                <a:gd name="T14" fmla="*/ 19 w 51"/>
                <a:gd name="T15" fmla="*/ 2 h 37"/>
                <a:gd name="T16" fmla="*/ 19 w 51"/>
                <a:gd name="T17" fmla="*/ 4 h 37"/>
                <a:gd name="T18" fmla="*/ 17 w 51"/>
                <a:gd name="T19" fmla="*/ 5 h 37"/>
                <a:gd name="T20" fmla="*/ 15 w 51"/>
                <a:gd name="T21" fmla="*/ 11 h 37"/>
                <a:gd name="T22" fmla="*/ 10 w 51"/>
                <a:gd name="T23" fmla="*/ 15 h 37"/>
                <a:gd name="T24" fmla="*/ 9 w 51"/>
                <a:gd name="T25" fmla="*/ 23 h 37"/>
                <a:gd name="T26" fmla="*/ 7 w 51"/>
                <a:gd name="T27" fmla="*/ 28 h 37"/>
                <a:gd name="T28" fmla="*/ 5 w 51"/>
                <a:gd name="T29" fmla="*/ 29 h 37"/>
                <a:gd name="T30" fmla="*/ 2 w 51"/>
                <a:gd name="T31" fmla="*/ 30 h 37"/>
                <a:gd name="T32" fmla="*/ 1 w 51"/>
                <a:gd name="T33" fmla="*/ 35 h 37"/>
                <a:gd name="T34" fmla="*/ 8 w 51"/>
                <a:gd name="T35" fmla="*/ 35 h 37"/>
                <a:gd name="T36" fmla="*/ 14 w 51"/>
                <a:gd name="T37" fmla="*/ 36 h 37"/>
                <a:gd name="T38" fmla="*/ 19 w 51"/>
                <a:gd name="T39" fmla="*/ 35 h 37"/>
                <a:gd name="T40" fmla="*/ 23 w 51"/>
                <a:gd name="T41" fmla="*/ 31 h 37"/>
                <a:gd name="T42" fmla="*/ 27 w 51"/>
                <a:gd name="T43" fmla="*/ 31 h 37"/>
                <a:gd name="T44" fmla="*/ 32 w 51"/>
                <a:gd name="T45" fmla="*/ 30 h 37"/>
                <a:gd name="T46" fmla="*/ 37 w 51"/>
                <a:gd name="T47" fmla="*/ 28 h 37"/>
                <a:gd name="T48" fmla="*/ 42 w 51"/>
                <a:gd name="T49" fmla="*/ 26 h 37"/>
                <a:gd name="T50" fmla="*/ 45 w 51"/>
                <a:gd name="T51" fmla="*/ 26 h 37"/>
                <a:gd name="T52" fmla="*/ 46 w 51"/>
                <a:gd name="T53" fmla="*/ 23 h 37"/>
                <a:gd name="T54" fmla="*/ 51 w 51"/>
                <a:gd name="T55" fmla="*/ 18 h 37"/>
                <a:gd name="T56" fmla="*/ 51 w 51"/>
                <a:gd name="T57" fmla="*/ 13 h 37"/>
                <a:gd name="T58" fmla="*/ 48 w 51"/>
                <a:gd name="T59" fmla="*/ 1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1" h="37">
                  <a:moveTo>
                    <a:pt x="48" y="12"/>
                  </a:moveTo>
                  <a:cubicBezTo>
                    <a:pt x="47" y="11"/>
                    <a:pt x="47" y="11"/>
                    <a:pt x="46" y="10"/>
                  </a:cubicBezTo>
                  <a:cubicBezTo>
                    <a:pt x="45" y="10"/>
                    <a:pt x="44" y="9"/>
                    <a:pt x="44" y="8"/>
                  </a:cubicBezTo>
                  <a:cubicBezTo>
                    <a:pt x="45" y="7"/>
                    <a:pt x="44" y="6"/>
                    <a:pt x="43" y="6"/>
                  </a:cubicBezTo>
                  <a:cubicBezTo>
                    <a:pt x="42" y="6"/>
                    <a:pt x="42" y="6"/>
                    <a:pt x="41" y="6"/>
                  </a:cubicBezTo>
                  <a:cubicBezTo>
                    <a:pt x="39" y="7"/>
                    <a:pt x="37" y="7"/>
                    <a:pt x="36" y="7"/>
                  </a:cubicBezTo>
                  <a:cubicBezTo>
                    <a:pt x="33" y="6"/>
                    <a:pt x="32" y="2"/>
                    <a:pt x="29" y="1"/>
                  </a:cubicBezTo>
                  <a:cubicBezTo>
                    <a:pt x="27" y="0"/>
                    <a:pt x="22" y="1"/>
                    <a:pt x="19" y="2"/>
                  </a:cubicBezTo>
                  <a:cubicBezTo>
                    <a:pt x="19" y="2"/>
                    <a:pt x="19" y="3"/>
                    <a:pt x="19" y="4"/>
                  </a:cubicBezTo>
                  <a:cubicBezTo>
                    <a:pt x="18" y="5"/>
                    <a:pt x="18" y="5"/>
                    <a:pt x="17" y="5"/>
                  </a:cubicBezTo>
                  <a:cubicBezTo>
                    <a:pt x="17" y="8"/>
                    <a:pt x="17" y="10"/>
                    <a:pt x="15" y="11"/>
                  </a:cubicBezTo>
                  <a:cubicBezTo>
                    <a:pt x="14" y="13"/>
                    <a:pt x="11" y="12"/>
                    <a:pt x="10" y="15"/>
                  </a:cubicBezTo>
                  <a:cubicBezTo>
                    <a:pt x="10" y="18"/>
                    <a:pt x="11" y="20"/>
                    <a:pt x="9" y="23"/>
                  </a:cubicBezTo>
                  <a:cubicBezTo>
                    <a:pt x="9" y="24"/>
                    <a:pt x="7" y="27"/>
                    <a:pt x="7" y="28"/>
                  </a:cubicBezTo>
                  <a:cubicBezTo>
                    <a:pt x="7" y="29"/>
                    <a:pt x="6" y="29"/>
                    <a:pt x="5" y="29"/>
                  </a:cubicBezTo>
                  <a:cubicBezTo>
                    <a:pt x="4" y="30"/>
                    <a:pt x="3" y="29"/>
                    <a:pt x="2" y="30"/>
                  </a:cubicBezTo>
                  <a:cubicBezTo>
                    <a:pt x="0" y="31"/>
                    <a:pt x="0" y="33"/>
                    <a:pt x="1" y="35"/>
                  </a:cubicBezTo>
                  <a:cubicBezTo>
                    <a:pt x="3" y="35"/>
                    <a:pt x="6" y="35"/>
                    <a:pt x="8" y="35"/>
                  </a:cubicBezTo>
                  <a:cubicBezTo>
                    <a:pt x="11" y="34"/>
                    <a:pt x="12" y="36"/>
                    <a:pt x="14" y="36"/>
                  </a:cubicBezTo>
                  <a:cubicBezTo>
                    <a:pt x="17" y="37"/>
                    <a:pt x="18" y="36"/>
                    <a:pt x="19" y="35"/>
                  </a:cubicBezTo>
                  <a:cubicBezTo>
                    <a:pt x="21" y="33"/>
                    <a:pt x="21" y="32"/>
                    <a:pt x="23" y="31"/>
                  </a:cubicBezTo>
                  <a:cubicBezTo>
                    <a:pt x="25" y="29"/>
                    <a:pt x="25" y="30"/>
                    <a:pt x="27" y="31"/>
                  </a:cubicBezTo>
                  <a:cubicBezTo>
                    <a:pt x="29" y="31"/>
                    <a:pt x="30" y="31"/>
                    <a:pt x="32" y="30"/>
                  </a:cubicBezTo>
                  <a:cubicBezTo>
                    <a:pt x="34" y="28"/>
                    <a:pt x="34" y="27"/>
                    <a:pt x="37" y="28"/>
                  </a:cubicBezTo>
                  <a:cubicBezTo>
                    <a:pt x="39" y="28"/>
                    <a:pt x="40" y="26"/>
                    <a:pt x="42" y="26"/>
                  </a:cubicBezTo>
                  <a:cubicBezTo>
                    <a:pt x="43" y="26"/>
                    <a:pt x="44" y="26"/>
                    <a:pt x="45" y="26"/>
                  </a:cubicBezTo>
                  <a:cubicBezTo>
                    <a:pt x="46" y="25"/>
                    <a:pt x="45" y="24"/>
                    <a:pt x="46" y="23"/>
                  </a:cubicBezTo>
                  <a:cubicBezTo>
                    <a:pt x="47" y="21"/>
                    <a:pt x="49" y="19"/>
                    <a:pt x="51" y="18"/>
                  </a:cubicBezTo>
                  <a:cubicBezTo>
                    <a:pt x="51" y="18"/>
                    <a:pt x="51" y="14"/>
                    <a:pt x="51" y="13"/>
                  </a:cubicBezTo>
                  <a:cubicBezTo>
                    <a:pt x="49" y="14"/>
                    <a:pt x="49" y="13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112">
              <a:extLst>
                <a:ext uri="{FF2B5EF4-FFF2-40B4-BE49-F238E27FC236}">
                  <a16:creationId xmlns:a16="http://schemas.microsoft.com/office/drawing/2014/main" id="{6A0FCFA3-1BE0-4605-A298-CFE4D86D2C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264" y="3814798"/>
              <a:ext cx="59526" cy="21340"/>
            </a:xfrm>
            <a:custGeom>
              <a:avLst/>
              <a:gdLst>
                <a:gd name="T0" fmla="*/ 24 w 28"/>
                <a:gd name="T1" fmla="*/ 1 h 10"/>
                <a:gd name="T2" fmla="*/ 21 w 28"/>
                <a:gd name="T3" fmla="*/ 1 h 10"/>
                <a:gd name="T4" fmla="*/ 18 w 28"/>
                <a:gd name="T5" fmla="*/ 0 h 10"/>
                <a:gd name="T6" fmla="*/ 11 w 28"/>
                <a:gd name="T7" fmla="*/ 1 h 10"/>
                <a:gd name="T8" fmla="*/ 10 w 28"/>
                <a:gd name="T9" fmla="*/ 2 h 10"/>
                <a:gd name="T10" fmla="*/ 8 w 28"/>
                <a:gd name="T11" fmla="*/ 4 h 10"/>
                <a:gd name="T12" fmla="*/ 6 w 28"/>
                <a:gd name="T13" fmla="*/ 3 h 10"/>
                <a:gd name="T14" fmla="*/ 5 w 28"/>
                <a:gd name="T15" fmla="*/ 4 h 10"/>
                <a:gd name="T16" fmla="*/ 1 w 28"/>
                <a:gd name="T17" fmla="*/ 5 h 10"/>
                <a:gd name="T18" fmla="*/ 0 w 28"/>
                <a:gd name="T19" fmla="*/ 7 h 10"/>
                <a:gd name="T20" fmla="*/ 4 w 28"/>
                <a:gd name="T21" fmla="*/ 8 h 10"/>
                <a:gd name="T22" fmla="*/ 10 w 28"/>
                <a:gd name="T23" fmla="*/ 8 h 10"/>
                <a:gd name="T24" fmla="*/ 14 w 28"/>
                <a:gd name="T25" fmla="*/ 9 h 10"/>
                <a:gd name="T26" fmla="*/ 19 w 28"/>
                <a:gd name="T27" fmla="*/ 9 h 10"/>
                <a:gd name="T28" fmla="*/ 21 w 28"/>
                <a:gd name="T29" fmla="*/ 8 h 10"/>
                <a:gd name="T30" fmla="*/ 25 w 28"/>
                <a:gd name="T31" fmla="*/ 7 h 10"/>
                <a:gd name="T32" fmla="*/ 27 w 28"/>
                <a:gd name="T33" fmla="*/ 5 h 10"/>
                <a:gd name="T34" fmla="*/ 24 w 28"/>
                <a:gd name="T35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" h="10">
                  <a:moveTo>
                    <a:pt x="24" y="1"/>
                  </a:moveTo>
                  <a:cubicBezTo>
                    <a:pt x="22" y="1"/>
                    <a:pt x="22" y="1"/>
                    <a:pt x="21" y="1"/>
                  </a:cubicBezTo>
                  <a:cubicBezTo>
                    <a:pt x="20" y="0"/>
                    <a:pt x="19" y="0"/>
                    <a:pt x="18" y="0"/>
                  </a:cubicBezTo>
                  <a:cubicBezTo>
                    <a:pt x="16" y="0"/>
                    <a:pt x="13" y="0"/>
                    <a:pt x="11" y="1"/>
                  </a:cubicBezTo>
                  <a:cubicBezTo>
                    <a:pt x="11" y="1"/>
                    <a:pt x="11" y="2"/>
                    <a:pt x="10" y="2"/>
                  </a:cubicBezTo>
                  <a:cubicBezTo>
                    <a:pt x="10" y="3"/>
                    <a:pt x="9" y="3"/>
                    <a:pt x="8" y="4"/>
                  </a:cubicBezTo>
                  <a:cubicBezTo>
                    <a:pt x="7" y="3"/>
                    <a:pt x="7" y="3"/>
                    <a:pt x="6" y="3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4" y="5"/>
                    <a:pt x="3" y="5"/>
                    <a:pt x="1" y="5"/>
                  </a:cubicBezTo>
                  <a:cubicBezTo>
                    <a:pt x="1" y="6"/>
                    <a:pt x="1" y="6"/>
                    <a:pt x="0" y="7"/>
                  </a:cubicBezTo>
                  <a:cubicBezTo>
                    <a:pt x="2" y="7"/>
                    <a:pt x="3" y="8"/>
                    <a:pt x="4" y="8"/>
                  </a:cubicBezTo>
                  <a:cubicBezTo>
                    <a:pt x="6" y="8"/>
                    <a:pt x="8" y="8"/>
                    <a:pt x="10" y="8"/>
                  </a:cubicBezTo>
                  <a:cubicBezTo>
                    <a:pt x="12" y="8"/>
                    <a:pt x="12" y="8"/>
                    <a:pt x="14" y="9"/>
                  </a:cubicBezTo>
                  <a:cubicBezTo>
                    <a:pt x="15" y="9"/>
                    <a:pt x="17" y="10"/>
                    <a:pt x="19" y="9"/>
                  </a:cubicBezTo>
                  <a:cubicBezTo>
                    <a:pt x="19" y="9"/>
                    <a:pt x="20" y="8"/>
                    <a:pt x="21" y="8"/>
                  </a:cubicBezTo>
                  <a:cubicBezTo>
                    <a:pt x="22" y="7"/>
                    <a:pt x="24" y="7"/>
                    <a:pt x="25" y="7"/>
                  </a:cubicBezTo>
                  <a:cubicBezTo>
                    <a:pt x="27" y="7"/>
                    <a:pt x="28" y="6"/>
                    <a:pt x="27" y="5"/>
                  </a:cubicBezTo>
                  <a:cubicBezTo>
                    <a:pt x="27" y="3"/>
                    <a:pt x="26" y="2"/>
                    <a:pt x="2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113">
              <a:extLst>
                <a:ext uri="{FF2B5EF4-FFF2-40B4-BE49-F238E27FC236}">
                  <a16:creationId xmlns:a16="http://schemas.microsoft.com/office/drawing/2014/main" id="{931C7D39-3370-4A12-8033-60732D9D7E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114" y="3800197"/>
              <a:ext cx="49418" cy="35940"/>
            </a:xfrm>
            <a:custGeom>
              <a:avLst/>
              <a:gdLst>
                <a:gd name="T0" fmla="*/ 20 w 23"/>
                <a:gd name="T1" fmla="*/ 12 h 17"/>
                <a:gd name="T2" fmla="*/ 21 w 23"/>
                <a:gd name="T3" fmla="*/ 8 h 17"/>
                <a:gd name="T4" fmla="*/ 16 w 23"/>
                <a:gd name="T5" fmla="*/ 2 h 17"/>
                <a:gd name="T6" fmla="*/ 8 w 23"/>
                <a:gd name="T7" fmla="*/ 1 h 17"/>
                <a:gd name="T8" fmla="*/ 1 w 23"/>
                <a:gd name="T9" fmla="*/ 9 h 17"/>
                <a:gd name="T10" fmla="*/ 8 w 23"/>
                <a:gd name="T11" fmla="*/ 14 h 17"/>
                <a:gd name="T12" fmla="*/ 13 w 23"/>
                <a:gd name="T13" fmla="*/ 14 h 17"/>
                <a:gd name="T14" fmla="*/ 17 w 23"/>
                <a:gd name="T15" fmla="*/ 17 h 17"/>
                <a:gd name="T16" fmla="*/ 21 w 23"/>
                <a:gd name="T17" fmla="*/ 15 h 17"/>
                <a:gd name="T18" fmla="*/ 20 w 23"/>
                <a:gd name="T19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17">
                  <a:moveTo>
                    <a:pt x="20" y="12"/>
                  </a:moveTo>
                  <a:cubicBezTo>
                    <a:pt x="20" y="11"/>
                    <a:pt x="21" y="8"/>
                    <a:pt x="21" y="8"/>
                  </a:cubicBezTo>
                  <a:cubicBezTo>
                    <a:pt x="20" y="5"/>
                    <a:pt x="19" y="3"/>
                    <a:pt x="16" y="2"/>
                  </a:cubicBezTo>
                  <a:cubicBezTo>
                    <a:pt x="14" y="1"/>
                    <a:pt x="11" y="0"/>
                    <a:pt x="8" y="1"/>
                  </a:cubicBezTo>
                  <a:cubicBezTo>
                    <a:pt x="8" y="7"/>
                    <a:pt x="0" y="5"/>
                    <a:pt x="1" y="9"/>
                  </a:cubicBezTo>
                  <a:cubicBezTo>
                    <a:pt x="1" y="13"/>
                    <a:pt x="6" y="14"/>
                    <a:pt x="8" y="14"/>
                  </a:cubicBezTo>
                  <a:cubicBezTo>
                    <a:pt x="10" y="14"/>
                    <a:pt x="11" y="14"/>
                    <a:pt x="13" y="14"/>
                  </a:cubicBezTo>
                  <a:cubicBezTo>
                    <a:pt x="14" y="15"/>
                    <a:pt x="15" y="16"/>
                    <a:pt x="17" y="17"/>
                  </a:cubicBezTo>
                  <a:cubicBezTo>
                    <a:pt x="18" y="17"/>
                    <a:pt x="19" y="17"/>
                    <a:pt x="21" y="15"/>
                  </a:cubicBezTo>
                  <a:cubicBezTo>
                    <a:pt x="22" y="14"/>
                    <a:pt x="23" y="11"/>
                    <a:pt x="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114">
              <a:extLst>
                <a:ext uri="{FF2B5EF4-FFF2-40B4-BE49-F238E27FC236}">
                  <a16:creationId xmlns:a16="http://schemas.microsoft.com/office/drawing/2014/main" id="{4C42AD4F-219A-4307-B7F5-41CA092A2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208" y="3542998"/>
              <a:ext cx="28078" cy="48295"/>
            </a:xfrm>
            <a:custGeom>
              <a:avLst/>
              <a:gdLst>
                <a:gd name="T0" fmla="*/ 2 w 13"/>
                <a:gd name="T1" fmla="*/ 16 h 23"/>
                <a:gd name="T2" fmla="*/ 3 w 13"/>
                <a:gd name="T3" fmla="*/ 16 h 23"/>
                <a:gd name="T4" fmla="*/ 3 w 13"/>
                <a:gd name="T5" fmla="*/ 18 h 23"/>
                <a:gd name="T6" fmla="*/ 5 w 13"/>
                <a:gd name="T7" fmla="*/ 18 h 23"/>
                <a:gd name="T8" fmla="*/ 7 w 13"/>
                <a:gd name="T9" fmla="*/ 21 h 23"/>
                <a:gd name="T10" fmla="*/ 8 w 13"/>
                <a:gd name="T11" fmla="*/ 21 h 23"/>
                <a:gd name="T12" fmla="*/ 8 w 13"/>
                <a:gd name="T13" fmla="*/ 22 h 23"/>
                <a:gd name="T14" fmla="*/ 10 w 13"/>
                <a:gd name="T15" fmla="*/ 23 h 23"/>
                <a:gd name="T16" fmla="*/ 13 w 13"/>
                <a:gd name="T17" fmla="*/ 22 h 23"/>
                <a:gd name="T18" fmla="*/ 13 w 13"/>
                <a:gd name="T19" fmla="*/ 15 h 23"/>
                <a:gd name="T20" fmla="*/ 8 w 13"/>
                <a:gd name="T21" fmla="*/ 11 h 23"/>
                <a:gd name="T22" fmla="*/ 6 w 13"/>
                <a:gd name="T23" fmla="*/ 9 h 23"/>
                <a:gd name="T24" fmla="*/ 6 w 13"/>
                <a:gd name="T25" fmla="*/ 7 h 23"/>
                <a:gd name="T26" fmla="*/ 5 w 13"/>
                <a:gd name="T27" fmla="*/ 7 h 23"/>
                <a:gd name="T28" fmla="*/ 5 w 13"/>
                <a:gd name="T29" fmla="*/ 4 h 23"/>
                <a:gd name="T30" fmla="*/ 5 w 13"/>
                <a:gd name="T31" fmla="*/ 4 h 23"/>
                <a:gd name="T32" fmla="*/ 4 w 13"/>
                <a:gd name="T33" fmla="*/ 0 h 23"/>
                <a:gd name="T34" fmla="*/ 3 w 13"/>
                <a:gd name="T35" fmla="*/ 0 h 23"/>
                <a:gd name="T36" fmla="*/ 2 w 13"/>
                <a:gd name="T37" fmla="*/ 2 h 23"/>
                <a:gd name="T38" fmla="*/ 1 w 13"/>
                <a:gd name="T39" fmla="*/ 3 h 23"/>
                <a:gd name="T40" fmla="*/ 0 w 13"/>
                <a:gd name="T41" fmla="*/ 4 h 23"/>
                <a:gd name="T42" fmla="*/ 0 w 13"/>
                <a:gd name="T43" fmla="*/ 9 h 23"/>
                <a:gd name="T44" fmla="*/ 2 w 13"/>
                <a:gd name="T45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" h="23">
                  <a:moveTo>
                    <a:pt x="2" y="16"/>
                  </a:moveTo>
                  <a:cubicBezTo>
                    <a:pt x="2" y="16"/>
                    <a:pt x="2" y="16"/>
                    <a:pt x="3" y="16"/>
                  </a:cubicBezTo>
                  <a:cubicBezTo>
                    <a:pt x="3" y="17"/>
                    <a:pt x="3" y="17"/>
                    <a:pt x="3" y="18"/>
                  </a:cubicBezTo>
                  <a:cubicBezTo>
                    <a:pt x="4" y="18"/>
                    <a:pt x="4" y="18"/>
                    <a:pt x="5" y="18"/>
                  </a:cubicBezTo>
                  <a:cubicBezTo>
                    <a:pt x="5" y="19"/>
                    <a:pt x="6" y="20"/>
                    <a:pt x="7" y="21"/>
                  </a:cubicBezTo>
                  <a:cubicBezTo>
                    <a:pt x="7" y="21"/>
                    <a:pt x="7" y="20"/>
                    <a:pt x="8" y="21"/>
                  </a:cubicBezTo>
                  <a:cubicBezTo>
                    <a:pt x="8" y="21"/>
                    <a:pt x="8" y="21"/>
                    <a:pt x="8" y="22"/>
                  </a:cubicBezTo>
                  <a:cubicBezTo>
                    <a:pt x="9" y="23"/>
                    <a:pt x="10" y="23"/>
                    <a:pt x="10" y="23"/>
                  </a:cubicBezTo>
                  <a:cubicBezTo>
                    <a:pt x="11" y="23"/>
                    <a:pt x="13" y="23"/>
                    <a:pt x="13" y="22"/>
                  </a:cubicBezTo>
                  <a:cubicBezTo>
                    <a:pt x="13" y="20"/>
                    <a:pt x="13" y="16"/>
                    <a:pt x="13" y="15"/>
                  </a:cubicBezTo>
                  <a:cubicBezTo>
                    <a:pt x="12" y="10"/>
                    <a:pt x="9" y="10"/>
                    <a:pt x="8" y="11"/>
                  </a:cubicBezTo>
                  <a:cubicBezTo>
                    <a:pt x="8" y="11"/>
                    <a:pt x="7" y="11"/>
                    <a:pt x="6" y="9"/>
                  </a:cubicBezTo>
                  <a:cubicBezTo>
                    <a:pt x="6" y="9"/>
                    <a:pt x="6" y="8"/>
                    <a:pt x="6" y="7"/>
                  </a:cubicBezTo>
                  <a:cubicBezTo>
                    <a:pt x="6" y="7"/>
                    <a:pt x="5" y="7"/>
                    <a:pt x="5" y="7"/>
                  </a:cubicBezTo>
                  <a:cubicBezTo>
                    <a:pt x="5" y="6"/>
                    <a:pt x="5" y="5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2"/>
                    <a:pt x="5" y="1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1"/>
                    <a:pt x="3" y="1"/>
                    <a:pt x="2" y="2"/>
                  </a:cubicBezTo>
                  <a:cubicBezTo>
                    <a:pt x="2" y="4"/>
                    <a:pt x="1" y="3"/>
                    <a:pt x="1" y="3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5"/>
                    <a:pt x="0" y="8"/>
                    <a:pt x="0" y="9"/>
                  </a:cubicBezTo>
                  <a:cubicBezTo>
                    <a:pt x="0" y="12"/>
                    <a:pt x="1" y="16"/>
                    <a:pt x="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115">
              <a:extLst>
                <a:ext uri="{FF2B5EF4-FFF2-40B4-BE49-F238E27FC236}">
                  <a16:creationId xmlns:a16="http://schemas.microsoft.com/office/drawing/2014/main" id="{6D4ADC8F-6344-4BA9-A282-E569C3CB8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4638" y="1534826"/>
              <a:ext cx="1725135" cy="2659592"/>
            </a:xfrm>
            <a:custGeom>
              <a:avLst/>
              <a:gdLst>
                <a:gd name="T0" fmla="*/ 87 w 817"/>
                <a:gd name="T1" fmla="*/ 367 h 1261"/>
                <a:gd name="T2" fmla="*/ 137 w 817"/>
                <a:gd name="T3" fmla="*/ 504 h 1261"/>
                <a:gd name="T4" fmla="*/ 175 w 817"/>
                <a:gd name="T5" fmla="*/ 590 h 1261"/>
                <a:gd name="T6" fmla="*/ 146 w 817"/>
                <a:gd name="T7" fmla="*/ 742 h 1261"/>
                <a:gd name="T8" fmla="*/ 167 w 817"/>
                <a:gd name="T9" fmla="*/ 847 h 1261"/>
                <a:gd name="T10" fmla="*/ 209 w 817"/>
                <a:gd name="T11" fmla="*/ 932 h 1261"/>
                <a:gd name="T12" fmla="*/ 242 w 817"/>
                <a:gd name="T13" fmla="*/ 1030 h 1261"/>
                <a:gd name="T14" fmla="*/ 248 w 817"/>
                <a:gd name="T15" fmla="*/ 982 h 1261"/>
                <a:gd name="T16" fmla="*/ 244 w 817"/>
                <a:gd name="T17" fmla="*/ 927 h 1261"/>
                <a:gd name="T18" fmla="*/ 286 w 817"/>
                <a:gd name="T19" fmla="*/ 1030 h 1261"/>
                <a:gd name="T20" fmla="*/ 328 w 817"/>
                <a:gd name="T21" fmla="*/ 1119 h 1261"/>
                <a:gd name="T22" fmla="*/ 447 w 817"/>
                <a:gd name="T23" fmla="*/ 1186 h 1261"/>
                <a:gd name="T24" fmla="*/ 490 w 817"/>
                <a:gd name="T25" fmla="*/ 1251 h 1261"/>
                <a:gd name="T26" fmla="*/ 546 w 817"/>
                <a:gd name="T27" fmla="*/ 1254 h 1261"/>
                <a:gd name="T28" fmla="*/ 485 w 817"/>
                <a:gd name="T29" fmla="*/ 1216 h 1261"/>
                <a:gd name="T30" fmla="*/ 469 w 817"/>
                <a:gd name="T31" fmla="*/ 1140 h 1261"/>
                <a:gd name="T32" fmla="*/ 465 w 817"/>
                <a:gd name="T33" fmla="*/ 1055 h 1261"/>
                <a:gd name="T34" fmla="*/ 393 w 817"/>
                <a:gd name="T35" fmla="*/ 1103 h 1261"/>
                <a:gd name="T36" fmla="*/ 370 w 817"/>
                <a:gd name="T37" fmla="*/ 1021 h 1261"/>
                <a:gd name="T38" fmla="*/ 393 w 817"/>
                <a:gd name="T39" fmla="*/ 934 h 1261"/>
                <a:gd name="T40" fmla="*/ 468 w 817"/>
                <a:gd name="T41" fmla="*/ 895 h 1261"/>
                <a:gd name="T42" fmla="*/ 520 w 817"/>
                <a:gd name="T43" fmla="*/ 949 h 1261"/>
                <a:gd name="T44" fmla="*/ 527 w 817"/>
                <a:gd name="T45" fmla="*/ 909 h 1261"/>
                <a:gd name="T46" fmla="*/ 561 w 817"/>
                <a:gd name="T47" fmla="*/ 834 h 1261"/>
                <a:gd name="T48" fmla="*/ 608 w 817"/>
                <a:gd name="T49" fmla="*/ 716 h 1261"/>
                <a:gd name="T50" fmla="*/ 639 w 817"/>
                <a:gd name="T51" fmla="*/ 674 h 1261"/>
                <a:gd name="T52" fmla="*/ 723 w 817"/>
                <a:gd name="T53" fmla="*/ 641 h 1261"/>
                <a:gd name="T54" fmla="*/ 708 w 817"/>
                <a:gd name="T55" fmla="*/ 563 h 1261"/>
                <a:gd name="T56" fmla="*/ 737 w 817"/>
                <a:gd name="T57" fmla="*/ 540 h 1261"/>
                <a:gd name="T58" fmla="*/ 759 w 817"/>
                <a:gd name="T59" fmla="*/ 554 h 1261"/>
                <a:gd name="T60" fmla="*/ 804 w 817"/>
                <a:gd name="T61" fmla="*/ 560 h 1261"/>
                <a:gd name="T62" fmla="*/ 774 w 817"/>
                <a:gd name="T63" fmla="*/ 449 h 1261"/>
                <a:gd name="T64" fmla="*/ 745 w 817"/>
                <a:gd name="T65" fmla="*/ 367 h 1261"/>
                <a:gd name="T66" fmla="*/ 704 w 817"/>
                <a:gd name="T67" fmla="*/ 366 h 1261"/>
                <a:gd name="T68" fmla="*/ 653 w 817"/>
                <a:gd name="T69" fmla="*/ 272 h 1261"/>
                <a:gd name="T70" fmla="*/ 603 w 817"/>
                <a:gd name="T71" fmla="*/ 361 h 1261"/>
                <a:gd name="T72" fmla="*/ 595 w 817"/>
                <a:gd name="T73" fmla="*/ 437 h 1261"/>
                <a:gd name="T74" fmla="*/ 572 w 817"/>
                <a:gd name="T75" fmla="*/ 451 h 1261"/>
                <a:gd name="T76" fmla="*/ 489 w 817"/>
                <a:gd name="T77" fmla="*/ 369 h 1261"/>
                <a:gd name="T78" fmla="*/ 497 w 817"/>
                <a:gd name="T79" fmla="*/ 283 h 1261"/>
                <a:gd name="T80" fmla="*/ 562 w 817"/>
                <a:gd name="T81" fmla="*/ 199 h 1261"/>
                <a:gd name="T82" fmla="*/ 622 w 817"/>
                <a:gd name="T83" fmla="*/ 127 h 1261"/>
                <a:gd name="T84" fmla="*/ 650 w 817"/>
                <a:gd name="T85" fmla="*/ 101 h 1261"/>
                <a:gd name="T86" fmla="*/ 672 w 817"/>
                <a:gd name="T87" fmla="*/ 184 h 1261"/>
                <a:gd name="T88" fmla="*/ 634 w 817"/>
                <a:gd name="T89" fmla="*/ 235 h 1261"/>
                <a:gd name="T90" fmla="*/ 702 w 817"/>
                <a:gd name="T91" fmla="*/ 286 h 1261"/>
                <a:gd name="T92" fmla="*/ 731 w 817"/>
                <a:gd name="T93" fmla="*/ 230 h 1261"/>
                <a:gd name="T94" fmla="*/ 754 w 817"/>
                <a:gd name="T95" fmla="*/ 220 h 1261"/>
                <a:gd name="T96" fmla="*/ 733 w 817"/>
                <a:gd name="T97" fmla="*/ 151 h 1261"/>
                <a:gd name="T98" fmla="*/ 712 w 817"/>
                <a:gd name="T99" fmla="*/ 74 h 1261"/>
                <a:gd name="T100" fmla="*/ 661 w 817"/>
                <a:gd name="T101" fmla="*/ 46 h 1261"/>
                <a:gd name="T102" fmla="*/ 621 w 817"/>
                <a:gd name="T103" fmla="*/ 11 h 1261"/>
                <a:gd name="T104" fmla="*/ 588 w 817"/>
                <a:gd name="T105" fmla="*/ 45 h 1261"/>
                <a:gd name="T106" fmla="*/ 580 w 817"/>
                <a:gd name="T107" fmla="*/ 12 h 1261"/>
                <a:gd name="T108" fmla="*/ 583 w 817"/>
                <a:gd name="T109" fmla="*/ 85 h 1261"/>
                <a:gd name="T110" fmla="*/ 557 w 817"/>
                <a:gd name="T111" fmla="*/ 129 h 1261"/>
                <a:gd name="T112" fmla="*/ 526 w 817"/>
                <a:gd name="T113" fmla="*/ 55 h 1261"/>
                <a:gd name="T114" fmla="*/ 509 w 817"/>
                <a:gd name="T115" fmla="*/ 113 h 1261"/>
                <a:gd name="T116" fmla="*/ 420 w 817"/>
                <a:gd name="T117" fmla="*/ 132 h 1261"/>
                <a:gd name="T118" fmla="*/ 344 w 817"/>
                <a:gd name="T119" fmla="*/ 146 h 1261"/>
                <a:gd name="T120" fmla="*/ 226 w 817"/>
                <a:gd name="T121" fmla="*/ 90 h 1261"/>
                <a:gd name="T122" fmla="*/ 127 w 817"/>
                <a:gd name="T123" fmla="*/ 104 h 1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17" h="1261">
                  <a:moveTo>
                    <a:pt x="8" y="344"/>
                  </a:moveTo>
                  <a:cubicBezTo>
                    <a:pt x="10" y="345"/>
                    <a:pt x="12" y="344"/>
                    <a:pt x="13" y="344"/>
                  </a:cubicBezTo>
                  <a:cubicBezTo>
                    <a:pt x="17" y="344"/>
                    <a:pt x="20" y="344"/>
                    <a:pt x="23" y="344"/>
                  </a:cubicBezTo>
                  <a:cubicBezTo>
                    <a:pt x="25" y="344"/>
                    <a:pt x="28" y="345"/>
                    <a:pt x="30" y="344"/>
                  </a:cubicBezTo>
                  <a:cubicBezTo>
                    <a:pt x="31" y="344"/>
                    <a:pt x="32" y="343"/>
                    <a:pt x="34" y="342"/>
                  </a:cubicBezTo>
                  <a:cubicBezTo>
                    <a:pt x="37" y="342"/>
                    <a:pt x="40" y="342"/>
                    <a:pt x="44" y="342"/>
                  </a:cubicBezTo>
                  <a:cubicBezTo>
                    <a:pt x="50" y="342"/>
                    <a:pt x="50" y="352"/>
                    <a:pt x="56" y="354"/>
                  </a:cubicBezTo>
                  <a:cubicBezTo>
                    <a:pt x="57" y="355"/>
                    <a:pt x="59" y="354"/>
                    <a:pt x="60" y="355"/>
                  </a:cubicBezTo>
                  <a:cubicBezTo>
                    <a:pt x="61" y="355"/>
                    <a:pt x="61" y="355"/>
                    <a:pt x="61" y="356"/>
                  </a:cubicBezTo>
                  <a:cubicBezTo>
                    <a:pt x="62" y="357"/>
                    <a:pt x="63" y="359"/>
                    <a:pt x="64" y="360"/>
                  </a:cubicBezTo>
                  <a:cubicBezTo>
                    <a:pt x="65" y="363"/>
                    <a:pt x="66" y="367"/>
                    <a:pt x="68" y="369"/>
                  </a:cubicBezTo>
                  <a:cubicBezTo>
                    <a:pt x="69" y="371"/>
                    <a:pt x="70" y="371"/>
                    <a:pt x="73" y="371"/>
                  </a:cubicBezTo>
                  <a:cubicBezTo>
                    <a:pt x="75" y="370"/>
                    <a:pt x="75" y="370"/>
                    <a:pt x="76" y="368"/>
                  </a:cubicBezTo>
                  <a:cubicBezTo>
                    <a:pt x="78" y="366"/>
                    <a:pt x="76" y="366"/>
                    <a:pt x="79" y="365"/>
                  </a:cubicBezTo>
                  <a:cubicBezTo>
                    <a:pt x="81" y="365"/>
                    <a:pt x="82" y="366"/>
                    <a:pt x="83" y="367"/>
                  </a:cubicBezTo>
                  <a:cubicBezTo>
                    <a:pt x="84" y="367"/>
                    <a:pt x="86" y="366"/>
                    <a:pt x="87" y="367"/>
                  </a:cubicBezTo>
                  <a:cubicBezTo>
                    <a:pt x="87" y="368"/>
                    <a:pt x="88" y="369"/>
                    <a:pt x="88" y="370"/>
                  </a:cubicBezTo>
                  <a:cubicBezTo>
                    <a:pt x="90" y="372"/>
                    <a:pt x="91" y="370"/>
                    <a:pt x="93" y="372"/>
                  </a:cubicBezTo>
                  <a:cubicBezTo>
                    <a:pt x="94" y="374"/>
                    <a:pt x="95" y="378"/>
                    <a:pt x="97" y="381"/>
                  </a:cubicBezTo>
                  <a:cubicBezTo>
                    <a:pt x="98" y="384"/>
                    <a:pt x="99" y="387"/>
                    <a:pt x="101" y="389"/>
                  </a:cubicBezTo>
                  <a:cubicBezTo>
                    <a:pt x="103" y="393"/>
                    <a:pt x="104" y="393"/>
                    <a:pt x="104" y="398"/>
                  </a:cubicBezTo>
                  <a:cubicBezTo>
                    <a:pt x="105" y="398"/>
                    <a:pt x="106" y="399"/>
                    <a:pt x="106" y="399"/>
                  </a:cubicBezTo>
                  <a:cubicBezTo>
                    <a:pt x="107" y="401"/>
                    <a:pt x="108" y="402"/>
                    <a:pt x="108" y="404"/>
                  </a:cubicBezTo>
                  <a:cubicBezTo>
                    <a:pt x="108" y="406"/>
                    <a:pt x="108" y="409"/>
                    <a:pt x="108" y="411"/>
                  </a:cubicBezTo>
                  <a:cubicBezTo>
                    <a:pt x="108" y="415"/>
                    <a:pt x="109" y="416"/>
                    <a:pt x="110" y="420"/>
                  </a:cubicBezTo>
                  <a:cubicBezTo>
                    <a:pt x="111" y="423"/>
                    <a:pt x="111" y="427"/>
                    <a:pt x="112" y="430"/>
                  </a:cubicBezTo>
                  <a:cubicBezTo>
                    <a:pt x="113" y="434"/>
                    <a:pt x="115" y="436"/>
                    <a:pt x="116" y="439"/>
                  </a:cubicBezTo>
                  <a:cubicBezTo>
                    <a:pt x="119" y="445"/>
                    <a:pt x="124" y="450"/>
                    <a:pt x="129" y="454"/>
                  </a:cubicBezTo>
                  <a:cubicBezTo>
                    <a:pt x="131" y="456"/>
                    <a:pt x="133" y="458"/>
                    <a:pt x="133" y="462"/>
                  </a:cubicBezTo>
                  <a:cubicBezTo>
                    <a:pt x="134" y="467"/>
                    <a:pt x="133" y="472"/>
                    <a:pt x="133" y="478"/>
                  </a:cubicBezTo>
                  <a:cubicBezTo>
                    <a:pt x="133" y="483"/>
                    <a:pt x="134" y="488"/>
                    <a:pt x="134" y="493"/>
                  </a:cubicBezTo>
                  <a:cubicBezTo>
                    <a:pt x="135" y="497"/>
                    <a:pt x="136" y="500"/>
                    <a:pt x="137" y="504"/>
                  </a:cubicBezTo>
                  <a:cubicBezTo>
                    <a:pt x="138" y="506"/>
                    <a:pt x="138" y="506"/>
                    <a:pt x="139" y="508"/>
                  </a:cubicBezTo>
                  <a:cubicBezTo>
                    <a:pt x="139" y="510"/>
                    <a:pt x="139" y="511"/>
                    <a:pt x="140" y="512"/>
                  </a:cubicBezTo>
                  <a:cubicBezTo>
                    <a:pt x="141" y="514"/>
                    <a:pt x="141" y="515"/>
                    <a:pt x="141" y="518"/>
                  </a:cubicBezTo>
                  <a:cubicBezTo>
                    <a:pt x="141" y="520"/>
                    <a:pt x="142" y="520"/>
                    <a:pt x="142" y="522"/>
                  </a:cubicBezTo>
                  <a:cubicBezTo>
                    <a:pt x="143" y="528"/>
                    <a:pt x="144" y="535"/>
                    <a:pt x="148" y="539"/>
                  </a:cubicBezTo>
                  <a:cubicBezTo>
                    <a:pt x="151" y="541"/>
                    <a:pt x="152" y="542"/>
                    <a:pt x="154" y="543"/>
                  </a:cubicBezTo>
                  <a:cubicBezTo>
                    <a:pt x="156" y="543"/>
                    <a:pt x="159" y="546"/>
                    <a:pt x="161" y="546"/>
                  </a:cubicBezTo>
                  <a:cubicBezTo>
                    <a:pt x="161" y="547"/>
                    <a:pt x="161" y="548"/>
                    <a:pt x="161" y="549"/>
                  </a:cubicBezTo>
                  <a:cubicBezTo>
                    <a:pt x="164" y="549"/>
                    <a:pt x="165" y="553"/>
                    <a:pt x="166" y="556"/>
                  </a:cubicBezTo>
                  <a:cubicBezTo>
                    <a:pt x="168" y="558"/>
                    <a:pt x="170" y="561"/>
                    <a:pt x="170" y="565"/>
                  </a:cubicBezTo>
                  <a:cubicBezTo>
                    <a:pt x="171" y="565"/>
                    <a:pt x="171" y="565"/>
                    <a:pt x="172" y="565"/>
                  </a:cubicBezTo>
                  <a:cubicBezTo>
                    <a:pt x="172" y="571"/>
                    <a:pt x="175" y="572"/>
                    <a:pt x="178" y="575"/>
                  </a:cubicBezTo>
                  <a:cubicBezTo>
                    <a:pt x="179" y="576"/>
                    <a:pt x="181" y="577"/>
                    <a:pt x="181" y="579"/>
                  </a:cubicBezTo>
                  <a:cubicBezTo>
                    <a:pt x="181" y="580"/>
                    <a:pt x="180" y="582"/>
                    <a:pt x="180" y="583"/>
                  </a:cubicBezTo>
                  <a:cubicBezTo>
                    <a:pt x="180" y="584"/>
                    <a:pt x="180" y="585"/>
                    <a:pt x="180" y="586"/>
                  </a:cubicBezTo>
                  <a:cubicBezTo>
                    <a:pt x="177" y="586"/>
                    <a:pt x="177" y="589"/>
                    <a:pt x="175" y="590"/>
                  </a:cubicBezTo>
                  <a:cubicBezTo>
                    <a:pt x="173" y="591"/>
                    <a:pt x="171" y="590"/>
                    <a:pt x="169" y="591"/>
                  </a:cubicBezTo>
                  <a:cubicBezTo>
                    <a:pt x="168" y="592"/>
                    <a:pt x="166" y="593"/>
                    <a:pt x="166" y="597"/>
                  </a:cubicBezTo>
                  <a:cubicBezTo>
                    <a:pt x="165" y="600"/>
                    <a:pt x="166" y="602"/>
                    <a:pt x="166" y="605"/>
                  </a:cubicBezTo>
                  <a:cubicBezTo>
                    <a:pt x="166" y="615"/>
                    <a:pt x="166" y="625"/>
                    <a:pt x="166" y="635"/>
                  </a:cubicBezTo>
                  <a:cubicBezTo>
                    <a:pt x="166" y="639"/>
                    <a:pt x="165" y="638"/>
                    <a:pt x="164" y="641"/>
                  </a:cubicBezTo>
                  <a:cubicBezTo>
                    <a:pt x="163" y="642"/>
                    <a:pt x="163" y="643"/>
                    <a:pt x="163" y="644"/>
                  </a:cubicBezTo>
                  <a:cubicBezTo>
                    <a:pt x="163" y="646"/>
                    <a:pt x="162" y="647"/>
                    <a:pt x="161" y="648"/>
                  </a:cubicBezTo>
                  <a:cubicBezTo>
                    <a:pt x="159" y="653"/>
                    <a:pt x="157" y="656"/>
                    <a:pt x="157" y="661"/>
                  </a:cubicBezTo>
                  <a:cubicBezTo>
                    <a:pt x="156" y="661"/>
                    <a:pt x="156" y="662"/>
                    <a:pt x="155" y="662"/>
                  </a:cubicBezTo>
                  <a:cubicBezTo>
                    <a:pt x="154" y="668"/>
                    <a:pt x="152" y="673"/>
                    <a:pt x="150" y="679"/>
                  </a:cubicBezTo>
                  <a:cubicBezTo>
                    <a:pt x="148" y="686"/>
                    <a:pt x="148" y="694"/>
                    <a:pt x="148" y="702"/>
                  </a:cubicBezTo>
                  <a:cubicBezTo>
                    <a:pt x="148" y="703"/>
                    <a:pt x="148" y="706"/>
                    <a:pt x="148" y="707"/>
                  </a:cubicBezTo>
                  <a:cubicBezTo>
                    <a:pt x="149" y="709"/>
                    <a:pt x="149" y="709"/>
                    <a:pt x="150" y="710"/>
                  </a:cubicBezTo>
                  <a:cubicBezTo>
                    <a:pt x="150" y="714"/>
                    <a:pt x="150" y="719"/>
                    <a:pt x="150" y="723"/>
                  </a:cubicBezTo>
                  <a:cubicBezTo>
                    <a:pt x="150" y="726"/>
                    <a:pt x="149" y="731"/>
                    <a:pt x="148" y="733"/>
                  </a:cubicBezTo>
                  <a:cubicBezTo>
                    <a:pt x="147" y="737"/>
                    <a:pt x="146" y="737"/>
                    <a:pt x="146" y="742"/>
                  </a:cubicBezTo>
                  <a:cubicBezTo>
                    <a:pt x="146" y="745"/>
                    <a:pt x="145" y="750"/>
                    <a:pt x="146" y="752"/>
                  </a:cubicBezTo>
                  <a:cubicBezTo>
                    <a:pt x="146" y="753"/>
                    <a:pt x="148" y="754"/>
                    <a:pt x="148" y="755"/>
                  </a:cubicBezTo>
                  <a:cubicBezTo>
                    <a:pt x="149" y="756"/>
                    <a:pt x="149" y="758"/>
                    <a:pt x="150" y="760"/>
                  </a:cubicBezTo>
                  <a:cubicBezTo>
                    <a:pt x="151" y="761"/>
                    <a:pt x="152" y="761"/>
                    <a:pt x="152" y="763"/>
                  </a:cubicBezTo>
                  <a:cubicBezTo>
                    <a:pt x="153" y="765"/>
                    <a:pt x="153" y="768"/>
                    <a:pt x="153" y="770"/>
                  </a:cubicBezTo>
                  <a:cubicBezTo>
                    <a:pt x="154" y="774"/>
                    <a:pt x="155" y="778"/>
                    <a:pt x="155" y="782"/>
                  </a:cubicBezTo>
                  <a:cubicBezTo>
                    <a:pt x="155" y="787"/>
                    <a:pt x="156" y="789"/>
                    <a:pt x="156" y="793"/>
                  </a:cubicBezTo>
                  <a:cubicBezTo>
                    <a:pt x="156" y="797"/>
                    <a:pt x="156" y="800"/>
                    <a:pt x="157" y="803"/>
                  </a:cubicBezTo>
                  <a:cubicBezTo>
                    <a:pt x="158" y="805"/>
                    <a:pt x="158" y="806"/>
                    <a:pt x="158" y="807"/>
                  </a:cubicBezTo>
                  <a:cubicBezTo>
                    <a:pt x="158" y="808"/>
                    <a:pt x="159" y="811"/>
                    <a:pt x="160" y="812"/>
                  </a:cubicBezTo>
                  <a:cubicBezTo>
                    <a:pt x="160" y="813"/>
                    <a:pt x="162" y="813"/>
                    <a:pt x="162" y="814"/>
                  </a:cubicBezTo>
                  <a:cubicBezTo>
                    <a:pt x="163" y="816"/>
                    <a:pt x="162" y="819"/>
                    <a:pt x="162" y="821"/>
                  </a:cubicBezTo>
                  <a:cubicBezTo>
                    <a:pt x="163" y="821"/>
                    <a:pt x="164" y="821"/>
                    <a:pt x="165" y="821"/>
                  </a:cubicBezTo>
                  <a:cubicBezTo>
                    <a:pt x="165" y="823"/>
                    <a:pt x="165" y="826"/>
                    <a:pt x="165" y="828"/>
                  </a:cubicBezTo>
                  <a:cubicBezTo>
                    <a:pt x="165" y="830"/>
                    <a:pt x="166" y="831"/>
                    <a:pt x="166" y="833"/>
                  </a:cubicBezTo>
                  <a:cubicBezTo>
                    <a:pt x="166" y="838"/>
                    <a:pt x="166" y="843"/>
                    <a:pt x="167" y="847"/>
                  </a:cubicBezTo>
                  <a:cubicBezTo>
                    <a:pt x="169" y="851"/>
                    <a:pt x="170" y="850"/>
                    <a:pt x="172" y="851"/>
                  </a:cubicBezTo>
                  <a:cubicBezTo>
                    <a:pt x="174" y="852"/>
                    <a:pt x="174" y="853"/>
                    <a:pt x="176" y="855"/>
                  </a:cubicBezTo>
                  <a:cubicBezTo>
                    <a:pt x="178" y="857"/>
                    <a:pt x="181" y="859"/>
                    <a:pt x="183" y="861"/>
                  </a:cubicBezTo>
                  <a:cubicBezTo>
                    <a:pt x="184" y="862"/>
                    <a:pt x="184" y="864"/>
                    <a:pt x="185" y="865"/>
                  </a:cubicBezTo>
                  <a:cubicBezTo>
                    <a:pt x="186" y="865"/>
                    <a:pt x="188" y="865"/>
                    <a:pt x="189" y="866"/>
                  </a:cubicBezTo>
                  <a:cubicBezTo>
                    <a:pt x="191" y="867"/>
                    <a:pt x="192" y="869"/>
                    <a:pt x="193" y="872"/>
                  </a:cubicBezTo>
                  <a:cubicBezTo>
                    <a:pt x="193" y="873"/>
                    <a:pt x="193" y="874"/>
                    <a:pt x="192" y="875"/>
                  </a:cubicBezTo>
                  <a:cubicBezTo>
                    <a:pt x="193" y="877"/>
                    <a:pt x="193" y="878"/>
                    <a:pt x="193" y="879"/>
                  </a:cubicBezTo>
                  <a:cubicBezTo>
                    <a:pt x="194" y="884"/>
                    <a:pt x="194" y="890"/>
                    <a:pt x="194" y="895"/>
                  </a:cubicBezTo>
                  <a:cubicBezTo>
                    <a:pt x="194" y="897"/>
                    <a:pt x="194" y="899"/>
                    <a:pt x="194" y="902"/>
                  </a:cubicBezTo>
                  <a:cubicBezTo>
                    <a:pt x="194" y="904"/>
                    <a:pt x="195" y="906"/>
                    <a:pt x="195" y="908"/>
                  </a:cubicBezTo>
                  <a:cubicBezTo>
                    <a:pt x="196" y="909"/>
                    <a:pt x="197" y="909"/>
                    <a:pt x="197" y="909"/>
                  </a:cubicBezTo>
                  <a:cubicBezTo>
                    <a:pt x="198" y="913"/>
                    <a:pt x="198" y="913"/>
                    <a:pt x="200" y="916"/>
                  </a:cubicBezTo>
                  <a:cubicBezTo>
                    <a:pt x="201" y="919"/>
                    <a:pt x="201" y="922"/>
                    <a:pt x="203" y="924"/>
                  </a:cubicBezTo>
                  <a:cubicBezTo>
                    <a:pt x="204" y="926"/>
                    <a:pt x="206" y="926"/>
                    <a:pt x="207" y="928"/>
                  </a:cubicBezTo>
                  <a:cubicBezTo>
                    <a:pt x="208" y="930"/>
                    <a:pt x="208" y="931"/>
                    <a:pt x="209" y="932"/>
                  </a:cubicBezTo>
                  <a:cubicBezTo>
                    <a:pt x="210" y="934"/>
                    <a:pt x="211" y="932"/>
                    <a:pt x="212" y="933"/>
                  </a:cubicBezTo>
                  <a:cubicBezTo>
                    <a:pt x="213" y="934"/>
                    <a:pt x="213" y="937"/>
                    <a:pt x="214" y="938"/>
                  </a:cubicBezTo>
                  <a:cubicBezTo>
                    <a:pt x="215" y="939"/>
                    <a:pt x="216" y="939"/>
                    <a:pt x="216" y="940"/>
                  </a:cubicBezTo>
                  <a:cubicBezTo>
                    <a:pt x="218" y="942"/>
                    <a:pt x="220" y="944"/>
                    <a:pt x="221" y="947"/>
                  </a:cubicBezTo>
                  <a:cubicBezTo>
                    <a:pt x="223" y="952"/>
                    <a:pt x="222" y="961"/>
                    <a:pt x="220" y="967"/>
                  </a:cubicBezTo>
                  <a:cubicBezTo>
                    <a:pt x="220" y="968"/>
                    <a:pt x="219" y="970"/>
                    <a:pt x="219" y="971"/>
                  </a:cubicBezTo>
                  <a:cubicBezTo>
                    <a:pt x="220" y="972"/>
                    <a:pt x="220" y="973"/>
                    <a:pt x="220" y="973"/>
                  </a:cubicBezTo>
                  <a:cubicBezTo>
                    <a:pt x="220" y="975"/>
                    <a:pt x="220" y="976"/>
                    <a:pt x="220" y="977"/>
                  </a:cubicBezTo>
                  <a:cubicBezTo>
                    <a:pt x="221" y="979"/>
                    <a:pt x="224" y="984"/>
                    <a:pt x="225" y="984"/>
                  </a:cubicBezTo>
                  <a:cubicBezTo>
                    <a:pt x="228" y="985"/>
                    <a:pt x="232" y="982"/>
                    <a:pt x="233" y="986"/>
                  </a:cubicBezTo>
                  <a:cubicBezTo>
                    <a:pt x="234" y="988"/>
                    <a:pt x="233" y="996"/>
                    <a:pt x="233" y="998"/>
                  </a:cubicBezTo>
                  <a:cubicBezTo>
                    <a:pt x="232" y="998"/>
                    <a:pt x="234" y="1005"/>
                    <a:pt x="234" y="1005"/>
                  </a:cubicBezTo>
                  <a:cubicBezTo>
                    <a:pt x="234" y="1007"/>
                    <a:pt x="235" y="1010"/>
                    <a:pt x="236" y="1012"/>
                  </a:cubicBezTo>
                  <a:cubicBezTo>
                    <a:pt x="236" y="1014"/>
                    <a:pt x="237" y="1016"/>
                    <a:pt x="237" y="1019"/>
                  </a:cubicBezTo>
                  <a:cubicBezTo>
                    <a:pt x="237" y="1020"/>
                    <a:pt x="238" y="1023"/>
                    <a:pt x="239" y="1025"/>
                  </a:cubicBezTo>
                  <a:cubicBezTo>
                    <a:pt x="240" y="1028"/>
                    <a:pt x="240" y="1028"/>
                    <a:pt x="242" y="1030"/>
                  </a:cubicBezTo>
                  <a:cubicBezTo>
                    <a:pt x="243" y="1031"/>
                    <a:pt x="245" y="1032"/>
                    <a:pt x="246" y="1033"/>
                  </a:cubicBezTo>
                  <a:cubicBezTo>
                    <a:pt x="248" y="1034"/>
                    <a:pt x="250" y="1033"/>
                    <a:pt x="252" y="1033"/>
                  </a:cubicBezTo>
                  <a:cubicBezTo>
                    <a:pt x="257" y="1034"/>
                    <a:pt x="257" y="1038"/>
                    <a:pt x="261" y="1042"/>
                  </a:cubicBezTo>
                  <a:cubicBezTo>
                    <a:pt x="264" y="1045"/>
                    <a:pt x="266" y="1047"/>
                    <a:pt x="267" y="1040"/>
                  </a:cubicBezTo>
                  <a:cubicBezTo>
                    <a:pt x="267" y="1039"/>
                    <a:pt x="267" y="1037"/>
                    <a:pt x="267" y="1035"/>
                  </a:cubicBezTo>
                  <a:cubicBezTo>
                    <a:pt x="268" y="1035"/>
                    <a:pt x="268" y="1034"/>
                    <a:pt x="268" y="1033"/>
                  </a:cubicBezTo>
                  <a:cubicBezTo>
                    <a:pt x="268" y="1032"/>
                    <a:pt x="267" y="1028"/>
                    <a:pt x="267" y="1027"/>
                  </a:cubicBezTo>
                  <a:cubicBezTo>
                    <a:pt x="265" y="1024"/>
                    <a:pt x="264" y="1025"/>
                    <a:pt x="262" y="1024"/>
                  </a:cubicBezTo>
                  <a:cubicBezTo>
                    <a:pt x="261" y="1023"/>
                    <a:pt x="260" y="1021"/>
                    <a:pt x="259" y="1019"/>
                  </a:cubicBezTo>
                  <a:cubicBezTo>
                    <a:pt x="257" y="1016"/>
                    <a:pt x="257" y="1010"/>
                    <a:pt x="253" y="1010"/>
                  </a:cubicBezTo>
                  <a:cubicBezTo>
                    <a:pt x="253" y="1007"/>
                    <a:pt x="252" y="1006"/>
                    <a:pt x="252" y="1003"/>
                  </a:cubicBezTo>
                  <a:cubicBezTo>
                    <a:pt x="251" y="1001"/>
                    <a:pt x="252" y="998"/>
                    <a:pt x="252" y="996"/>
                  </a:cubicBezTo>
                  <a:cubicBezTo>
                    <a:pt x="252" y="993"/>
                    <a:pt x="252" y="992"/>
                    <a:pt x="251" y="990"/>
                  </a:cubicBezTo>
                  <a:cubicBezTo>
                    <a:pt x="250" y="990"/>
                    <a:pt x="249" y="989"/>
                    <a:pt x="249" y="988"/>
                  </a:cubicBezTo>
                  <a:cubicBezTo>
                    <a:pt x="249" y="987"/>
                    <a:pt x="249" y="985"/>
                    <a:pt x="249" y="984"/>
                  </a:cubicBezTo>
                  <a:cubicBezTo>
                    <a:pt x="248" y="984"/>
                    <a:pt x="248" y="983"/>
                    <a:pt x="248" y="982"/>
                  </a:cubicBezTo>
                  <a:cubicBezTo>
                    <a:pt x="248" y="981"/>
                    <a:pt x="248" y="980"/>
                    <a:pt x="248" y="979"/>
                  </a:cubicBezTo>
                  <a:cubicBezTo>
                    <a:pt x="248" y="977"/>
                    <a:pt x="248" y="975"/>
                    <a:pt x="247" y="974"/>
                  </a:cubicBezTo>
                  <a:cubicBezTo>
                    <a:pt x="245" y="970"/>
                    <a:pt x="244" y="969"/>
                    <a:pt x="241" y="968"/>
                  </a:cubicBezTo>
                  <a:cubicBezTo>
                    <a:pt x="241" y="966"/>
                    <a:pt x="240" y="963"/>
                    <a:pt x="239" y="961"/>
                  </a:cubicBezTo>
                  <a:cubicBezTo>
                    <a:pt x="238" y="958"/>
                    <a:pt x="238" y="956"/>
                    <a:pt x="238" y="953"/>
                  </a:cubicBezTo>
                  <a:cubicBezTo>
                    <a:pt x="238" y="950"/>
                    <a:pt x="238" y="946"/>
                    <a:pt x="238" y="944"/>
                  </a:cubicBezTo>
                  <a:cubicBezTo>
                    <a:pt x="237" y="939"/>
                    <a:pt x="238" y="942"/>
                    <a:pt x="235" y="940"/>
                  </a:cubicBezTo>
                  <a:cubicBezTo>
                    <a:pt x="230" y="937"/>
                    <a:pt x="232" y="931"/>
                    <a:pt x="232" y="924"/>
                  </a:cubicBezTo>
                  <a:cubicBezTo>
                    <a:pt x="232" y="920"/>
                    <a:pt x="232" y="920"/>
                    <a:pt x="229" y="919"/>
                  </a:cubicBezTo>
                  <a:cubicBezTo>
                    <a:pt x="228" y="918"/>
                    <a:pt x="227" y="918"/>
                    <a:pt x="226" y="917"/>
                  </a:cubicBezTo>
                  <a:cubicBezTo>
                    <a:pt x="223" y="916"/>
                    <a:pt x="220" y="908"/>
                    <a:pt x="221" y="905"/>
                  </a:cubicBezTo>
                  <a:cubicBezTo>
                    <a:pt x="223" y="901"/>
                    <a:pt x="227" y="905"/>
                    <a:pt x="229" y="907"/>
                  </a:cubicBezTo>
                  <a:cubicBezTo>
                    <a:pt x="231" y="909"/>
                    <a:pt x="234" y="911"/>
                    <a:pt x="236" y="914"/>
                  </a:cubicBezTo>
                  <a:cubicBezTo>
                    <a:pt x="237" y="915"/>
                    <a:pt x="238" y="916"/>
                    <a:pt x="239" y="917"/>
                  </a:cubicBezTo>
                  <a:cubicBezTo>
                    <a:pt x="240" y="919"/>
                    <a:pt x="240" y="921"/>
                    <a:pt x="240" y="923"/>
                  </a:cubicBezTo>
                  <a:cubicBezTo>
                    <a:pt x="241" y="926"/>
                    <a:pt x="242" y="925"/>
                    <a:pt x="244" y="927"/>
                  </a:cubicBezTo>
                  <a:cubicBezTo>
                    <a:pt x="245" y="928"/>
                    <a:pt x="246" y="930"/>
                    <a:pt x="246" y="932"/>
                  </a:cubicBezTo>
                  <a:cubicBezTo>
                    <a:pt x="248" y="937"/>
                    <a:pt x="248" y="940"/>
                    <a:pt x="248" y="946"/>
                  </a:cubicBezTo>
                  <a:cubicBezTo>
                    <a:pt x="248" y="948"/>
                    <a:pt x="248" y="951"/>
                    <a:pt x="248" y="954"/>
                  </a:cubicBezTo>
                  <a:cubicBezTo>
                    <a:pt x="248" y="956"/>
                    <a:pt x="248" y="958"/>
                    <a:pt x="248" y="960"/>
                  </a:cubicBezTo>
                  <a:cubicBezTo>
                    <a:pt x="248" y="961"/>
                    <a:pt x="248" y="961"/>
                    <a:pt x="249" y="962"/>
                  </a:cubicBezTo>
                  <a:cubicBezTo>
                    <a:pt x="250" y="967"/>
                    <a:pt x="249" y="969"/>
                    <a:pt x="253" y="972"/>
                  </a:cubicBezTo>
                  <a:cubicBezTo>
                    <a:pt x="254" y="973"/>
                    <a:pt x="257" y="972"/>
                    <a:pt x="258" y="974"/>
                  </a:cubicBezTo>
                  <a:cubicBezTo>
                    <a:pt x="259" y="975"/>
                    <a:pt x="259" y="977"/>
                    <a:pt x="260" y="979"/>
                  </a:cubicBezTo>
                  <a:cubicBezTo>
                    <a:pt x="262" y="984"/>
                    <a:pt x="263" y="985"/>
                    <a:pt x="263" y="991"/>
                  </a:cubicBezTo>
                  <a:cubicBezTo>
                    <a:pt x="263" y="996"/>
                    <a:pt x="265" y="1000"/>
                    <a:pt x="267" y="1003"/>
                  </a:cubicBezTo>
                  <a:cubicBezTo>
                    <a:pt x="269" y="1005"/>
                    <a:pt x="270" y="1004"/>
                    <a:pt x="271" y="1007"/>
                  </a:cubicBezTo>
                  <a:cubicBezTo>
                    <a:pt x="271" y="1008"/>
                    <a:pt x="272" y="1010"/>
                    <a:pt x="272" y="1012"/>
                  </a:cubicBezTo>
                  <a:cubicBezTo>
                    <a:pt x="273" y="1012"/>
                    <a:pt x="274" y="1012"/>
                    <a:pt x="274" y="1012"/>
                  </a:cubicBezTo>
                  <a:cubicBezTo>
                    <a:pt x="274" y="1014"/>
                    <a:pt x="276" y="1022"/>
                    <a:pt x="277" y="1022"/>
                  </a:cubicBezTo>
                  <a:cubicBezTo>
                    <a:pt x="279" y="1024"/>
                    <a:pt x="282" y="1022"/>
                    <a:pt x="284" y="1025"/>
                  </a:cubicBezTo>
                  <a:cubicBezTo>
                    <a:pt x="285" y="1026"/>
                    <a:pt x="285" y="1028"/>
                    <a:pt x="286" y="1030"/>
                  </a:cubicBezTo>
                  <a:cubicBezTo>
                    <a:pt x="286" y="1031"/>
                    <a:pt x="287" y="1032"/>
                    <a:pt x="287" y="1033"/>
                  </a:cubicBezTo>
                  <a:cubicBezTo>
                    <a:pt x="289" y="1036"/>
                    <a:pt x="290" y="1038"/>
                    <a:pt x="290" y="1042"/>
                  </a:cubicBezTo>
                  <a:cubicBezTo>
                    <a:pt x="291" y="1042"/>
                    <a:pt x="292" y="1042"/>
                    <a:pt x="293" y="1042"/>
                  </a:cubicBezTo>
                  <a:cubicBezTo>
                    <a:pt x="294" y="1045"/>
                    <a:pt x="294" y="1048"/>
                    <a:pt x="293" y="1051"/>
                  </a:cubicBezTo>
                  <a:cubicBezTo>
                    <a:pt x="293" y="1053"/>
                    <a:pt x="292" y="1054"/>
                    <a:pt x="292" y="1056"/>
                  </a:cubicBezTo>
                  <a:cubicBezTo>
                    <a:pt x="291" y="1060"/>
                    <a:pt x="296" y="1072"/>
                    <a:pt x="295" y="1077"/>
                  </a:cubicBezTo>
                  <a:cubicBezTo>
                    <a:pt x="294" y="1081"/>
                    <a:pt x="297" y="1081"/>
                    <a:pt x="297" y="1084"/>
                  </a:cubicBezTo>
                  <a:cubicBezTo>
                    <a:pt x="298" y="1087"/>
                    <a:pt x="297" y="1090"/>
                    <a:pt x="297" y="1092"/>
                  </a:cubicBezTo>
                  <a:cubicBezTo>
                    <a:pt x="298" y="1095"/>
                    <a:pt x="300" y="1097"/>
                    <a:pt x="301" y="1100"/>
                  </a:cubicBezTo>
                  <a:cubicBezTo>
                    <a:pt x="302" y="1102"/>
                    <a:pt x="302" y="1104"/>
                    <a:pt x="302" y="1107"/>
                  </a:cubicBezTo>
                  <a:cubicBezTo>
                    <a:pt x="305" y="1107"/>
                    <a:pt x="306" y="1109"/>
                    <a:pt x="308" y="1109"/>
                  </a:cubicBezTo>
                  <a:cubicBezTo>
                    <a:pt x="309" y="1110"/>
                    <a:pt x="309" y="1111"/>
                    <a:pt x="309" y="1112"/>
                  </a:cubicBezTo>
                  <a:cubicBezTo>
                    <a:pt x="311" y="1113"/>
                    <a:pt x="314" y="1112"/>
                    <a:pt x="316" y="1114"/>
                  </a:cubicBezTo>
                  <a:cubicBezTo>
                    <a:pt x="318" y="1115"/>
                    <a:pt x="320" y="1115"/>
                    <a:pt x="322" y="1116"/>
                  </a:cubicBezTo>
                  <a:cubicBezTo>
                    <a:pt x="323" y="1116"/>
                    <a:pt x="324" y="1117"/>
                    <a:pt x="325" y="1118"/>
                  </a:cubicBezTo>
                  <a:cubicBezTo>
                    <a:pt x="326" y="1119"/>
                    <a:pt x="327" y="1119"/>
                    <a:pt x="328" y="1119"/>
                  </a:cubicBezTo>
                  <a:cubicBezTo>
                    <a:pt x="331" y="1121"/>
                    <a:pt x="332" y="1123"/>
                    <a:pt x="334" y="1125"/>
                  </a:cubicBezTo>
                  <a:cubicBezTo>
                    <a:pt x="336" y="1126"/>
                    <a:pt x="338" y="1126"/>
                    <a:pt x="340" y="1128"/>
                  </a:cubicBezTo>
                  <a:cubicBezTo>
                    <a:pt x="342" y="1130"/>
                    <a:pt x="343" y="1132"/>
                    <a:pt x="345" y="1133"/>
                  </a:cubicBezTo>
                  <a:cubicBezTo>
                    <a:pt x="347" y="1134"/>
                    <a:pt x="348" y="1136"/>
                    <a:pt x="350" y="1137"/>
                  </a:cubicBezTo>
                  <a:cubicBezTo>
                    <a:pt x="352" y="1137"/>
                    <a:pt x="355" y="1137"/>
                    <a:pt x="358" y="1137"/>
                  </a:cubicBezTo>
                  <a:cubicBezTo>
                    <a:pt x="361" y="1137"/>
                    <a:pt x="364" y="1138"/>
                    <a:pt x="367" y="1139"/>
                  </a:cubicBezTo>
                  <a:cubicBezTo>
                    <a:pt x="370" y="1140"/>
                    <a:pt x="373" y="1140"/>
                    <a:pt x="377" y="1140"/>
                  </a:cubicBezTo>
                  <a:cubicBezTo>
                    <a:pt x="382" y="1140"/>
                    <a:pt x="387" y="1140"/>
                    <a:pt x="392" y="1140"/>
                  </a:cubicBezTo>
                  <a:cubicBezTo>
                    <a:pt x="396" y="1140"/>
                    <a:pt x="401" y="1141"/>
                    <a:pt x="402" y="1147"/>
                  </a:cubicBezTo>
                  <a:cubicBezTo>
                    <a:pt x="402" y="1149"/>
                    <a:pt x="402" y="1151"/>
                    <a:pt x="402" y="1152"/>
                  </a:cubicBezTo>
                  <a:cubicBezTo>
                    <a:pt x="402" y="1155"/>
                    <a:pt x="402" y="1155"/>
                    <a:pt x="403" y="1156"/>
                  </a:cubicBezTo>
                  <a:cubicBezTo>
                    <a:pt x="404" y="1160"/>
                    <a:pt x="405" y="1162"/>
                    <a:pt x="406" y="1165"/>
                  </a:cubicBezTo>
                  <a:cubicBezTo>
                    <a:pt x="409" y="1172"/>
                    <a:pt x="412" y="1173"/>
                    <a:pt x="418" y="1173"/>
                  </a:cubicBezTo>
                  <a:cubicBezTo>
                    <a:pt x="423" y="1173"/>
                    <a:pt x="428" y="1172"/>
                    <a:pt x="433" y="1175"/>
                  </a:cubicBezTo>
                  <a:cubicBezTo>
                    <a:pt x="436" y="1177"/>
                    <a:pt x="439" y="1180"/>
                    <a:pt x="442" y="1183"/>
                  </a:cubicBezTo>
                  <a:cubicBezTo>
                    <a:pt x="444" y="1184"/>
                    <a:pt x="445" y="1185"/>
                    <a:pt x="447" y="1186"/>
                  </a:cubicBezTo>
                  <a:cubicBezTo>
                    <a:pt x="448" y="1187"/>
                    <a:pt x="449" y="1187"/>
                    <a:pt x="450" y="1188"/>
                  </a:cubicBezTo>
                  <a:cubicBezTo>
                    <a:pt x="450" y="1188"/>
                    <a:pt x="452" y="1189"/>
                    <a:pt x="452" y="1189"/>
                  </a:cubicBezTo>
                  <a:cubicBezTo>
                    <a:pt x="454" y="1190"/>
                    <a:pt x="455" y="1192"/>
                    <a:pt x="456" y="1194"/>
                  </a:cubicBezTo>
                  <a:cubicBezTo>
                    <a:pt x="457" y="1196"/>
                    <a:pt x="457" y="1197"/>
                    <a:pt x="457" y="1198"/>
                  </a:cubicBezTo>
                  <a:cubicBezTo>
                    <a:pt x="458" y="1200"/>
                    <a:pt x="458" y="1200"/>
                    <a:pt x="459" y="1201"/>
                  </a:cubicBezTo>
                  <a:cubicBezTo>
                    <a:pt x="460" y="1205"/>
                    <a:pt x="459" y="1207"/>
                    <a:pt x="460" y="1210"/>
                  </a:cubicBezTo>
                  <a:cubicBezTo>
                    <a:pt x="461" y="1213"/>
                    <a:pt x="461" y="1215"/>
                    <a:pt x="462" y="1219"/>
                  </a:cubicBezTo>
                  <a:cubicBezTo>
                    <a:pt x="462" y="1220"/>
                    <a:pt x="463" y="1224"/>
                    <a:pt x="464" y="1226"/>
                  </a:cubicBezTo>
                  <a:cubicBezTo>
                    <a:pt x="465" y="1227"/>
                    <a:pt x="466" y="1226"/>
                    <a:pt x="467" y="1226"/>
                  </a:cubicBezTo>
                  <a:cubicBezTo>
                    <a:pt x="468" y="1227"/>
                    <a:pt x="469" y="1229"/>
                    <a:pt x="470" y="1229"/>
                  </a:cubicBezTo>
                  <a:cubicBezTo>
                    <a:pt x="472" y="1230"/>
                    <a:pt x="473" y="1229"/>
                    <a:pt x="474" y="1229"/>
                  </a:cubicBezTo>
                  <a:cubicBezTo>
                    <a:pt x="475" y="1230"/>
                    <a:pt x="476" y="1231"/>
                    <a:pt x="477" y="1231"/>
                  </a:cubicBezTo>
                  <a:cubicBezTo>
                    <a:pt x="478" y="1232"/>
                    <a:pt x="481" y="1233"/>
                    <a:pt x="482" y="1233"/>
                  </a:cubicBezTo>
                  <a:cubicBezTo>
                    <a:pt x="483" y="1237"/>
                    <a:pt x="484" y="1242"/>
                    <a:pt x="485" y="1245"/>
                  </a:cubicBezTo>
                  <a:cubicBezTo>
                    <a:pt x="486" y="1248"/>
                    <a:pt x="485" y="1249"/>
                    <a:pt x="488" y="1250"/>
                  </a:cubicBezTo>
                  <a:cubicBezTo>
                    <a:pt x="489" y="1250"/>
                    <a:pt x="490" y="1251"/>
                    <a:pt x="490" y="1251"/>
                  </a:cubicBezTo>
                  <a:cubicBezTo>
                    <a:pt x="491" y="1252"/>
                    <a:pt x="492" y="1253"/>
                    <a:pt x="492" y="1254"/>
                  </a:cubicBezTo>
                  <a:cubicBezTo>
                    <a:pt x="494" y="1257"/>
                    <a:pt x="495" y="1255"/>
                    <a:pt x="498" y="1256"/>
                  </a:cubicBezTo>
                  <a:cubicBezTo>
                    <a:pt x="499" y="1257"/>
                    <a:pt x="500" y="1259"/>
                    <a:pt x="502" y="1259"/>
                  </a:cubicBezTo>
                  <a:cubicBezTo>
                    <a:pt x="503" y="1259"/>
                    <a:pt x="504" y="1256"/>
                    <a:pt x="505" y="1256"/>
                  </a:cubicBezTo>
                  <a:cubicBezTo>
                    <a:pt x="507" y="1255"/>
                    <a:pt x="509" y="1256"/>
                    <a:pt x="510" y="1256"/>
                  </a:cubicBezTo>
                  <a:cubicBezTo>
                    <a:pt x="510" y="1255"/>
                    <a:pt x="510" y="1254"/>
                    <a:pt x="511" y="1253"/>
                  </a:cubicBezTo>
                  <a:cubicBezTo>
                    <a:pt x="513" y="1253"/>
                    <a:pt x="514" y="1250"/>
                    <a:pt x="515" y="1248"/>
                  </a:cubicBezTo>
                  <a:cubicBezTo>
                    <a:pt x="517" y="1247"/>
                    <a:pt x="518" y="1246"/>
                    <a:pt x="519" y="1245"/>
                  </a:cubicBezTo>
                  <a:cubicBezTo>
                    <a:pt x="522" y="1241"/>
                    <a:pt x="524" y="1241"/>
                    <a:pt x="528" y="1242"/>
                  </a:cubicBezTo>
                  <a:cubicBezTo>
                    <a:pt x="529" y="1242"/>
                    <a:pt x="534" y="1243"/>
                    <a:pt x="534" y="1244"/>
                  </a:cubicBezTo>
                  <a:cubicBezTo>
                    <a:pt x="535" y="1246"/>
                    <a:pt x="534" y="1248"/>
                    <a:pt x="535" y="1250"/>
                  </a:cubicBezTo>
                  <a:cubicBezTo>
                    <a:pt x="536" y="1253"/>
                    <a:pt x="540" y="1254"/>
                    <a:pt x="542" y="1254"/>
                  </a:cubicBezTo>
                  <a:cubicBezTo>
                    <a:pt x="542" y="1257"/>
                    <a:pt x="542" y="1261"/>
                    <a:pt x="544" y="1259"/>
                  </a:cubicBezTo>
                  <a:cubicBezTo>
                    <a:pt x="544" y="1259"/>
                    <a:pt x="544" y="1259"/>
                    <a:pt x="545" y="1259"/>
                  </a:cubicBezTo>
                  <a:cubicBezTo>
                    <a:pt x="545" y="1258"/>
                    <a:pt x="545" y="1257"/>
                    <a:pt x="545" y="1256"/>
                  </a:cubicBezTo>
                  <a:cubicBezTo>
                    <a:pt x="545" y="1256"/>
                    <a:pt x="545" y="1255"/>
                    <a:pt x="546" y="1254"/>
                  </a:cubicBezTo>
                  <a:cubicBezTo>
                    <a:pt x="546" y="1253"/>
                    <a:pt x="546" y="1253"/>
                    <a:pt x="546" y="1252"/>
                  </a:cubicBezTo>
                  <a:cubicBezTo>
                    <a:pt x="546" y="1249"/>
                    <a:pt x="546" y="1249"/>
                    <a:pt x="547" y="1248"/>
                  </a:cubicBezTo>
                  <a:cubicBezTo>
                    <a:pt x="547" y="1248"/>
                    <a:pt x="547" y="1248"/>
                    <a:pt x="547" y="1247"/>
                  </a:cubicBezTo>
                  <a:cubicBezTo>
                    <a:pt x="548" y="1246"/>
                    <a:pt x="548" y="1245"/>
                    <a:pt x="549" y="1244"/>
                  </a:cubicBezTo>
                  <a:cubicBezTo>
                    <a:pt x="548" y="1243"/>
                    <a:pt x="548" y="1243"/>
                    <a:pt x="548" y="1242"/>
                  </a:cubicBezTo>
                  <a:cubicBezTo>
                    <a:pt x="547" y="1241"/>
                    <a:pt x="545" y="1238"/>
                    <a:pt x="543" y="1237"/>
                  </a:cubicBezTo>
                  <a:cubicBezTo>
                    <a:pt x="541" y="1234"/>
                    <a:pt x="540" y="1233"/>
                    <a:pt x="537" y="1233"/>
                  </a:cubicBezTo>
                  <a:cubicBezTo>
                    <a:pt x="537" y="1227"/>
                    <a:pt x="532" y="1224"/>
                    <a:pt x="529" y="1223"/>
                  </a:cubicBezTo>
                  <a:cubicBezTo>
                    <a:pt x="525" y="1220"/>
                    <a:pt x="522" y="1220"/>
                    <a:pt x="518" y="1225"/>
                  </a:cubicBezTo>
                  <a:cubicBezTo>
                    <a:pt x="517" y="1227"/>
                    <a:pt x="517" y="1229"/>
                    <a:pt x="515" y="1231"/>
                  </a:cubicBezTo>
                  <a:cubicBezTo>
                    <a:pt x="514" y="1232"/>
                    <a:pt x="511" y="1234"/>
                    <a:pt x="510" y="1234"/>
                  </a:cubicBezTo>
                  <a:cubicBezTo>
                    <a:pt x="506" y="1236"/>
                    <a:pt x="501" y="1237"/>
                    <a:pt x="497" y="1237"/>
                  </a:cubicBezTo>
                  <a:cubicBezTo>
                    <a:pt x="493" y="1236"/>
                    <a:pt x="494" y="1235"/>
                    <a:pt x="493" y="1231"/>
                  </a:cubicBezTo>
                  <a:cubicBezTo>
                    <a:pt x="492" y="1229"/>
                    <a:pt x="492" y="1226"/>
                    <a:pt x="491" y="1224"/>
                  </a:cubicBezTo>
                  <a:cubicBezTo>
                    <a:pt x="490" y="1222"/>
                    <a:pt x="489" y="1219"/>
                    <a:pt x="487" y="1218"/>
                  </a:cubicBezTo>
                  <a:cubicBezTo>
                    <a:pt x="487" y="1217"/>
                    <a:pt x="486" y="1216"/>
                    <a:pt x="485" y="1216"/>
                  </a:cubicBezTo>
                  <a:cubicBezTo>
                    <a:pt x="484" y="1214"/>
                    <a:pt x="484" y="1214"/>
                    <a:pt x="484" y="1212"/>
                  </a:cubicBezTo>
                  <a:cubicBezTo>
                    <a:pt x="482" y="1207"/>
                    <a:pt x="483" y="1199"/>
                    <a:pt x="483" y="1193"/>
                  </a:cubicBezTo>
                  <a:cubicBezTo>
                    <a:pt x="483" y="1191"/>
                    <a:pt x="483" y="1189"/>
                    <a:pt x="483" y="1187"/>
                  </a:cubicBezTo>
                  <a:cubicBezTo>
                    <a:pt x="483" y="1186"/>
                    <a:pt x="482" y="1185"/>
                    <a:pt x="482" y="1184"/>
                  </a:cubicBezTo>
                  <a:cubicBezTo>
                    <a:pt x="481" y="1180"/>
                    <a:pt x="481" y="1175"/>
                    <a:pt x="482" y="1172"/>
                  </a:cubicBezTo>
                  <a:cubicBezTo>
                    <a:pt x="486" y="1171"/>
                    <a:pt x="486" y="1169"/>
                    <a:pt x="488" y="1165"/>
                  </a:cubicBezTo>
                  <a:cubicBezTo>
                    <a:pt x="489" y="1164"/>
                    <a:pt x="490" y="1162"/>
                    <a:pt x="491" y="1161"/>
                  </a:cubicBezTo>
                  <a:cubicBezTo>
                    <a:pt x="492" y="1159"/>
                    <a:pt x="494" y="1159"/>
                    <a:pt x="495" y="1157"/>
                  </a:cubicBezTo>
                  <a:cubicBezTo>
                    <a:pt x="496" y="1156"/>
                    <a:pt x="496" y="1151"/>
                    <a:pt x="495" y="1149"/>
                  </a:cubicBezTo>
                  <a:cubicBezTo>
                    <a:pt x="495" y="1145"/>
                    <a:pt x="495" y="1146"/>
                    <a:pt x="492" y="1144"/>
                  </a:cubicBezTo>
                  <a:cubicBezTo>
                    <a:pt x="490" y="1143"/>
                    <a:pt x="491" y="1142"/>
                    <a:pt x="489" y="1140"/>
                  </a:cubicBezTo>
                  <a:cubicBezTo>
                    <a:pt x="488" y="1137"/>
                    <a:pt x="488" y="1137"/>
                    <a:pt x="488" y="1133"/>
                  </a:cubicBezTo>
                  <a:cubicBezTo>
                    <a:pt x="486" y="1133"/>
                    <a:pt x="484" y="1132"/>
                    <a:pt x="483" y="1131"/>
                  </a:cubicBezTo>
                  <a:cubicBezTo>
                    <a:pt x="480" y="1131"/>
                    <a:pt x="479" y="1132"/>
                    <a:pt x="477" y="1133"/>
                  </a:cubicBezTo>
                  <a:cubicBezTo>
                    <a:pt x="475" y="1133"/>
                    <a:pt x="475" y="1134"/>
                    <a:pt x="473" y="1135"/>
                  </a:cubicBezTo>
                  <a:cubicBezTo>
                    <a:pt x="471" y="1137"/>
                    <a:pt x="470" y="1139"/>
                    <a:pt x="469" y="1140"/>
                  </a:cubicBezTo>
                  <a:cubicBezTo>
                    <a:pt x="467" y="1141"/>
                    <a:pt x="464" y="1140"/>
                    <a:pt x="462" y="1140"/>
                  </a:cubicBezTo>
                  <a:cubicBezTo>
                    <a:pt x="460" y="1140"/>
                    <a:pt x="460" y="1141"/>
                    <a:pt x="458" y="1142"/>
                  </a:cubicBezTo>
                  <a:cubicBezTo>
                    <a:pt x="453" y="1146"/>
                    <a:pt x="451" y="1141"/>
                    <a:pt x="451" y="1135"/>
                  </a:cubicBezTo>
                  <a:cubicBezTo>
                    <a:pt x="448" y="1135"/>
                    <a:pt x="448" y="1133"/>
                    <a:pt x="446" y="1131"/>
                  </a:cubicBezTo>
                  <a:cubicBezTo>
                    <a:pt x="445" y="1130"/>
                    <a:pt x="442" y="1131"/>
                    <a:pt x="441" y="1128"/>
                  </a:cubicBezTo>
                  <a:cubicBezTo>
                    <a:pt x="439" y="1126"/>
                    <a:pt x="440" y="1124"/>
                    <a:pt x="442" y="1122"/>
                  </a:cubicBezTo>
                  <a:cubicBezTo>
                    <a:pt x="444" y="1120"/>
                    <a:pt x="446" y="1121"/>
                    <a:pt x="448" y="1121"/>
                  </a:cubicBezTo>
                  <a:cubicBezTo>
                    <a:pt x="449" y="1118"/>
                    <a:pt x="450" y="1116"/>
                    <a:pt x="450" y="1114"/>
                  </a:cubicBezTo>
                  <a:cubicBezTo>
                    <a:pt x="450" y="1111"/>
                    <a:pt x="450" y="1107"/>
                    <a:pt x="450" y="1104"/>
                  </a:cubicBezTo>
                  <a:cubicBezTo>
                    <a:pt x="450" y="1103"/>
                    <a:pt x="451" y="1102"/>
                    <a:pt x="451" y="1100"/>
                  </a:cubicBezTo>
                  <a:cubicBezTo>
                    <a:pt x="451" y="1098"/>
                    <a:pt x="451" y="1096"/>
                    <a:pt x="451" y="1095"/>
                  </a:cubicBezTo>
                  <a:cubicBezTo>
                    <a:pt x="451" y="1091"/>
                    <a:pt x="451" y="1087"/>
                    <a:pt x="451" y="1084"/>
                  </a:cubicBezTo>
                  <a:cubicBezTo>
                    <a:pt x="452" y="1084"/>
                    <a:pt x="453" y="1084"/>
                    <a:pt x="453" y="1084"/>
                  </a:cubicBezTo>
                  <a:cubicBezTo>
                    <a:pt x="454" y="1077"/>
                    <a:pt x="460" y="1072"/>
                    <a:pt x="460" y="1065"/>
                  </a:cubicBezTo>
                  <a:cubicBezTo>
                    <a:pt x="462" y="1065"/>
                    <a:pt x="464" y="1065"/>
                    <a:pt x="465" y="1063"/>
                  </a:cubicBezTo>
                  <a:cubicBezTo>
                    <a:pt x="466" y="1060"/>
                    <a:pt x="464" y="1057"/>
                    <a:pt x="465" y="1055"/>
                  </a:cubicBezTo>
                  <a:cubicBezTo>
                    <a:pt x="466" y="1053"/>
                    <a:pt x="468" y="1054"/>
                    <a:pt x="469" y="1051"/>
                  </a:cubicBezTo>
                  <a:cubicBezTo>
                    <a:pt x="470" y="1046"/>
                    <a:pt x="467" y="1047"/>
                    <a:pt x="465" y="1047"/>
                  </a:cubicBezTo>
                  <a:cubicBezTo>
                    <a:pt x="460" y="1047"/>
                    <a:pt x="443" y="1043"/>
                    <a:pt x="442" y="1052"/>
                  </a:cubicBezTo>
                  <a:cubicBezTo>
                    <a:pt x="441" y="1052"/>
                    <a:pt x="441" y="1053"/>
                    <a:pt x="440" y="1053"/>
                  </a:cubicBezTo>
                  <a:cubicBezTo>
                    <a:pt x="440" y="1054"/>
                    <a:pt x="440" y="1056"/>
                    <a:pt x="440" y="1057"/>
                  </a:cubicBezTo>
                  <a:cubicBezTo>
                    <a:pt x="438" y="1057"/>
                    <a:pt x="437" y="1059"/>
                    <a:pt x="436" y="1060"/>
                  </a:cubicBezTo>
                  <a:cubicBezTo>
                    <a:pt x="435" y="1060"/>
                    <a:pt x="434" y="1060"/>
                    <a:pt x="432" y="1061"/>
                  </a:cubicBezTo>
                  <a:cubicBezTo>
                    <a:pt x="429" y="1064"/>
                    <a:pt x="430" y="1067"/>
                    <a:pt x="430" y="1072"/>
                  </a:cubicBezTo>
                  <a:cubicBezTo>
                    <a:pt x="430" y="1076"/>
                    <a:pt x="430" y="1081"/>
                    <a:pt x="430" y="1086"/>
                  </a:cubicBezTo>
                  <a:cubicBezTo>
                    <a:pt x="429" y="1092"/>
                    <a:pt x="427" y="1090"/>
                    <a:pt x="424" y="1091"/>
                  </a:cubicBezTo>
                  <a:cubicBezTo>
                    <a:pt x="423" y="1092"/>
                    <a:pt x="423" y="1093"/>
                    <a:pt x="423" y="1094"/>
                  </a:cubicBezTo>
                  <a:cubicBezTo>
                    <a:pt x="421" y="1094"/>
                    <a:pt x="419" y="1097"/>
                    <a:pt x="417" y="1098"/>
                  </a:cubicBezTo>
                  <a:cubicBezTo>
                    <a:pt x="417" y="1099"/>
                    <a:pt x="417" y="1101"/>
                    <a:pt x="416" y="1102"/>
                  </a:cubicBezTo>
                  <a:cubicBezTo>
                    <a:pt x="415" y="1103"/>
                    <a:pt x="413" y="1103"/>
                    <a:pt x="412" y="1103"/>
                  </a:cubicBezTo>
                  <a:cubicBezTo>
                    <a:pt x="409" y="1104"/>
                    <a:pt x="406" y="1103"/>
                    <a:pt x="403" y="1103"/>
                  </a:cubicBezTo>
                  <a:cubicBezTo>
                    <a:pt x="400" y="1103"/>
                    <a:pt x="396" y="1105"/>
                    <a:pt x="393" y="1103"/>
                  </a:cubicBezTo>
                  <a:cubicBezTo>
                    <a:pt x="392" y="1103"/>
                    <a:pt x="392" y="1102"/>
                    <a:pt x="391" y="1101"/>
                  </a:cubicBezTo>
                  <a:cubicBezTo>
                    <a:pt x="391" y="1100"/>
                    <a:pt x="391" y="1099"/>
                    <a:pt x="390" y="1098"/>
                  </a:cubicBezTo>
                  <a:cubicBezTo>
                    <a:pt x="390" y="1098"/>
                    <a:pt x="389" y="1098"/>
                    <a:pt x="388" y="1098"/>
                  </a:cubicBezTo>
                  <a:cubicBezTo>
                    <a:pt x="385" y="1096"/>
                    <a:pt x="383" y="1098"/>
                    <a:pt x="383" y="1093"/>
                  </a:cubicBezTo>
                  <a:cubicBezTo>
                    <a:pt x="383" y="1089"/>
                    <a:pt x="383" y="1086"/>
                    <a:pt x="382" y="1082"/>
                  </a:cubicBezTo>
                  <a:cubicBezTo>
                    <a:pt x="381" y="1079"/>
                    <a:pt x="379" y="1075"/>
                    <a:pt x="379" y="1072"/>
                  </a:cubicBezTo>
                  <a:cubicBezTo>
                    <a:pt x="377" y="1072"/>
                    <a:pt x="374" y="1071"/>
                    <a:pt x="373" y="1070"/>
                  </a:cubicBezTo>
                  <a:cubicBezTo>
                    <a:pt x="371" y="1069"/>
                    <a:pt x="370" y="1066"/>
                    <a:pt x="368" y="1066"/>
                  </a:cubicBezTo>
                  <a:cubicBezTo>
                    <a:pt x="368" y="1064"/>
                    <a:pt x="367" y="1062"/>
                    <a:pt x="367" y="1061"/>
                  </a:cubicBezTo>
                  <a:cubicBezTo>
                    <a:pt x="367" y="1058"/>
                    <a:pt x="367" y="1055"/>
                    <a:pt x="366" y="1053"/>
                  </a:cubicBezTo>
                  <a:cubicBezTo>
                    <a:pt x="366" y="1052"/>
                    <a:pt x="365" y="1050"/>
                    <a:pt x="364" y="1049"/>
                  </a:cubicBezTo>
                  <a:cubicBezTo>
                    <a:pt x="364" y="1046"/>
                    <a:pt x="365" y="1043"/>
                    <a:pt x="363" y="1042"/>
                  </a:cubicBezTo>
                  <a:cubicBezTo>
                    <a:pt x="364" y="1042"/>
                    <a:pt x="367" y="1043"/>
                    <a:pt x="368" y="1042"/>
                  </a:cubicBezTo>
                  <a:cubicBezTo>
                    <a:pt x="370" y="1041"/>
                    <a:pt x="369" y="1038"/>
                    <a:pt x="369" y="1035"/>
                  </a:cubicBezTo>
                  <a:cubicBezTo>
                    <a:pt x="369" y="1033"/>
                    <a:pt x="370" y="1032"/>
                    <a:pt x="370" y="1030"/>
                  </a:cubicBezTo>
                  <a:cubicBezTo>
                    <a:pt x="371" y="1027"/>
                    <a:pt x="370" y="1024"/>
                    <a:pt x="370" y="1021"/>
                  </a:cubicBezTo>
                  <a:cubicBezTo>
                    <a:pt x="370" y="1019"/>
                    <a:pt x="370" y="1016"/>
                    <a:pt x="370" y="1014"/>
                  </a:cubicBezTo>
                  <a:cubicBezTo>
                    <a:pt x="370" y="1013"/>
                    <a:pt x="368" y="1010"/>
                    <a:pt x="368" y="1008"/>
                  </a:cubicBezTo>
                  <a:cubicBezTo>
                    <a:pt x="368" y="1006"/>
                    <a:pt x="368" y="1003"/>
                    <a:pt x="368" y="1000"/>
                  </a:cubicBezTo>
                  <a:cubicBezTo>
                    <a:pt x="367" y="998"/>
                    <a:pt x="365" y="996"/>
                    <a:pt x="369" y="996"/>
                  </a:cubicBezTo>
                  <a:cubicBezTo>
                    <a:pt x="369" y="995"/>
                    <a:pt x="369" y="994"/>
                    <a:pt x="369" y="993"/>
                  </a:cubicBezTo>
                  <a:cubicBezTo>
                    <a:pt x="370" y="993"/>
                    <a:pt x="371" y="993"/>
                    <a:pt x="371" y="993"/>
                  </a:cubicBezTo>
                  <a:cubicBezTo>
                    <a:pt x="372" y="991"/>
                    <a:pt x="372" y="989"/>
                    <a:pt x="372" y="988"/>
                  </a:cubicBezTo>
                  <a:cubicBezTo>
                    <a:pt x="373" y="988"/>
                    <a:pt x="373" y="987"/>
                    <a:pt x="374" y="987"/>
                  </a:cubicBezTo>
                  <a:cubicBezTo>
                    <a:pt x="374" y="986"/>
                    <a:pt x="374" y="985"/>
                    <a:pt x="374" y="984"/>
                  </a:cubicBezTo>
                  <a:cubicBezTo>
                    <a:pt x="374" y="981"/>
                    <a:pt x="374" y="970"/>
                    <a:pt x="374" y="966"/>
                  </a:cubicBezTo>
                  <a:cubicBezTo>
                    <a:pt x="374" y="965"/>
                    <a:pt x="375" y="965"/>
                    <a:pt x="376" y="963"/>
                  </a:cubicBezTo>
                  <a:cubicBezTo>
                    <a:pt x="376" y="961"/>
                    <a:pt x="375" y="958"/>
                    <a:pt x="376" y="956"/>
                  </a:cubicBezTo>
                  <a:cubicBezTo>
                    <a:pt x="377" y="952"/>
                    <a:pt x="378" y="951"/>
                    <a:pt x="380" y="951"/>
                  </a:cubicBezTo>
                  <a:cubicBezTo>
                    <a:pt x="382" y="951"/>
                    <a:pt x="383" y="951"/>
                    <a:pt x="384" y="951"/>
                  </a:cubicBezTo>
                  <a:cubicBezTo>
                    <a:pt x="387" y="950"/>
                    <a:pt x="386" y="951"/>
                    <a:pt x="387" y="947"/>
                  </a:cubicBezTo>
                  <a:cubicBezTo>
                    <a:pt x="387" y="940"/>
                    <a:pt x="389" y="937"/>
                    <a:pt x="393" y="934"/>
                  </a:cubicBezTo>
                  <a:cubicBezTo>
                    <a:pt x="395" y="933"/>
                    <a:pt x="395" y="933"/>
                    <a:pt x="396" y="932"/>
                  </a:cubicBezTo>
                  <a:cubicBezTo>
                    <a:pt x="396" y="931"/>
                    <a:pt x="397" y="929"/>
                    <a:pt x="397" y="928"/>
                  </a:cubicBezTo>
                  <a:cubicBezTo>
                    <a:pt x="399" y="926"/>
                    <a:pt x="400" y="924"/>
                    <a:pt x="401" y="921"/>
                  </a:cubicBezTo>
                  <a:cubicBezTo>
                    <a:pt x="404" y="914"/>
                    <a:pt x="407" y="908"/>
                    <a:pt x="413" y="906"/>
                  </a:cubicBezTo>
                  <a:cubicBezTo>
                    <a:pt x="418" y="904"/>
                    <a:pt x="422" y="907"/>
                    <a:pt x="426" y="910"/>
                  </a:cubicBezTo>
                  <a:cubicBezTo>
                    <a:pt x="428" y="912"/>
                    <a:pt x="429" y="913"/>
                    <a:pt x="431" y="914"/>
                  </a:cubicBezTo>
                  <a:cubicBezTo>
                    <a:pt x="431" y="915"/>
                    <a:pt x="433" y="915"/>
                    <a:pt x="433" y="916"/>
                  </a:cubicBezTo>
                  <a:cubicBezTo>
                    <a:pt x="434" y="915"/>
                    <a:pt x="435" y="915"/>
                    <a:pt x="436" y="916"/>
                  </a:cubicBezTo>
                  <a:cubicBezTo>
                    <a:pt x="436" y="917"/>
                    <a:pt x="436" y="918"/>
                    <a:pt x="436" y="919"/>
                  </a:cubicBezTo>
                  <a:cubicBezTo>
                    <a:pt x="440" y="925"/>
                    <a:pt x="444" y="921"/>
                    <a:pt x="448" y="921"/>
                  </a:cubicBezTo>
                  <a:cubicBezTo>
                    <a:pt x="448" y="916"/>
                    <a:pt x="451" y="918"/>
                    <a:pt x="452" y="916"/>
                  </a:cubicBezTo>
                  <a:cubicBezTo>
                    <a:pt x="455" y="914"/>
                    <a:pt x="453" y="913"/>
                    <a:pt x="454" y="909"/>
                  </a:cubicBezTo>
                  <a:cubicBezTo>
                    <a:pt x="455" y="907"/>
                    <a:pt x="456" y="907"/>
                    <a:pt x="456" y="905"/>
                  </a:cubicBezTo>
                  <a:cubicBezTo>
                    <a:pt x="457" y="902"/>
                    <a:pt x="457" y="899"/>
                    <a:pt x="458" y="897"/>
                  </a:cubicBezTo>
                  <a:cubicBezTo>
                    <a:pt x="459" y="897"/>
                    <a:pt x="460" y="895"/>
                    <a:pt x="462" y="895"/>
                  </a:cubicBezTo>
                  <a:cubicBezTo>
                    <a:pt x="463" y="895"/>
                    <a:pt x="465" y="895"/>
                    <a:pt x="468" y="895"/>
                  </a:cubicBezTo>
                  <a:cubicBezTo>
                    <a:pt x="469" y="895"/>
                    <a:pt x="471" y="895"/>
                    <a:pt x="473" y="895"/>
                  </a:cubicBezTo>
                  <a:cubicBezTo>
                    <a:pt x="473" y="895"/>
                    <a:pt x="474" y="895"/>
                    <a:pt x="475" y="895"/>
                  </a:cubicBezTo>
                  <a:cubicBezTo>
                    <a:pt x="477" y="896"/>
                    <a:pt x="476" y="896"/>
                    <a:pt x="477" y="898"/>
                  </a:cubicBezTo>
                  <a:cubicBezTo>
                    <a:pt x="479" y="901"/>
                    <a:pt x="481" y="904"/>
                    <a:pt x="484" y="905"/>
                  </a:cubicBezTo>
                  <a:cubicBezTo>
                    <a:pt x="486" y="906"/>
                    <a:pt x="488" y="904"/>
                    <a:pt x="490" y="905"/>
                  </a:cubicBezTo>
                  <a:cubicBezTo>
                    <a:pt x="492" y="906"/>
                    <a:pt x="493" y="908"/>
                    <a:pt x="494" y="909"/>
                  </a:cubicBezTo>
                  <a:cubicBezTo>
                    <a:pt x="497" y="912"/>
                    <a:pt x="500" y="913"/>
                    <a:pt x="503" y="909"/>
                  </a:cubicBezTo>
                  <a:cubicBezTo>
                    <a:pt x="505" y="906"/>
                    <a:pt x="505" y="902"/>
                    <a:pt x="507" y="899"/>
                  </a:cubicBezTo>
                  <a:cubicBezTo>
                    <a:pt x="510" y="893"/>
                    <a:pt x="511" y="899"/>
                    <a:pt x="512" y="903"/>
                  </a:cubicBezTo>
                  <a:cubicBezTo>
                    <a:pt x="513" y="903"/>
                    <a:pt x="513" y="904"/>
                    <a:pt x="513" y="905"/>
                  </a:cubicBezTo>
                  <a:cubicBezTo>
                    <a:pt x="513" y="907"/>
                    <a:pt x="513" y="909"/>
                    <a:pt x="513" y="910"/>
                  </a:cubicBezTo>
                  <a:cubicBezTo>
                    <a:pt x="513" y="913"/>
                    <a:pt x="513" y="916"/>
                    <a:pt x="513" y="919"/>
                  </a:cubicBezTo>
                  <a:cubicBezTo>
                    <a:pt x="514" y="919"/>
                    <a:pt x="515" y="919"/>
                    <a:pt x="517" y="920"/>
                  </a:cubicBezTo>
                  <a:cubicBezTo>
                    <a:pt x="517" y="922"/>
                    <a:pt x="518" y="924"/>
                    <a:pt x="518" y="926"/>
                  </a:cubicBezTo>
                  <a:cubicBezTo>
                    <a:pt x="518" y="929"/>
                    <a:pt x="517" y="932"/>
                    <a:pt x="518" y="935"/>
                  </a:cubicBezTo>
                  <a:cubicBezTo>
                    <a:pt x="519" y="940"/>
                    <a:pt x="522" y="942"/>
                    <a:pt x="520" y="949"/>
                  </a:cubicBezTo>
                  <a:cubicBezTo>
                    <a:pt x="520" y="949"/>
                    <a:pt x="519" y="949"/>
                    <a:pt x="518" y="949"/>
                  </a:cubicBezTo>
                  <a:cubicBezTo>
                    <a:pt x="518" y="951"/>
                    <a:pt x="518" y="953"/>
                    <a:pt x="518" y="954"/>
                  </a:cubicBezTo>
                  <a:cubicBezTo>
                    <a:pt x="519" y="959"/>
                    <a:pt x="518" y="956"/>
                    <a:pt x="520" y="958"/>
                  </a:cubicBezTo>
                  <a:cubicBezTo>
                    <a:pt x="522" y="961"/>
                    <a:pt x="522" y="964"/>
                    <a:pt x="522" y="968"/>
                  </a:cubicBezTo>
                  <a:cubicBezTo>
                    <a:pt x="522" y="972"/>
                    <a:pt x="523" y="974"/>
                    <a:pt x="524" y="978"/>
                  </a:cubicBezTo>
                  <a:cubicBezTo>
                    <a:pt x="525" y="980"/>
                    <a:pt x="527" y="983"/>
                    <a:pt x="527" y="986"/>
                  </a:cubicBezTo>
                  <a:cubicBezTo>
                    <a:pt x="529" y="985"/>
                    <a:pt x="529" y="983"/>
                    <a:pt x="529" y="981"/>
                  </a:cubicBezTo>
                  <a:cubicBezTo>
                    <a:pt x="530" y="977"/>
                    <a:pt x="530" y="976"/>
                    <a:pt x="531" y="974"/>
                  </a:cubicBezTo>
                  <a:cubicBezTo>
                    <a:pt x="531" y="972"/>
                    <a:pt x="531" y="968"/>
                    <a:pt x="532" y="967"/>
                  </a:cubicBezTo>
                  <a:cubicBezTo>
                    <a:pt x="533" y="964"/>
                    <a:pt x="534" y="963"/>
                    <a:pt x="534" y="960"/>
                  </a:cubicBezTo>
                  <a:cubicBezTo>
                    <a:pt x="535" y="957"/>
                    <a:pt x="535" y="953"/>
                    <a:pt x="534" y="951"/>
                  </a:cubicBezTo>
                  <a:cubicBezTo>
                    <a:pt x="534" y="949"/>
                    <a:pt x="533" y="947"/>
                    <a:pt x="533" y="946"/>
                  </a:cubicBezTo>
                  <a:cubicBezTo>
                    <a:pt x="533" y="945"/>
                    <a:pt x="532" y="943"/>
                    <a:pt x="532" y="942"/>
                  </a:cubicBezTo>
                  <a:cubicBezTo>
                    <a:pt x="531" y="939"/>
                    <a:pt x="531" y="938"/>
                    <a:pt x="531" y="935"/>
                  </a:cubicBezTo>
                  <a:cubicBezTo>
                    <a:pt x="530" y="931"/>
                    <a:pt x="529" y="931"/>
                    <a:pt x="528" y="928"/>
                  </a:cubicBezTo>
                  <a:cubicBezTo>
                    <a:pt x="525" y="923"/>
                    <a:pt x="527" y="915"/>
                    <a:pt x="527" y="909"/>
                  </a:cubicBezTo>
                  <a:cubicBezTo>
                    <a:pt x="526" y="903"/>
                    <a:pt x="524" y="899"/>
                    <a:pt x="524" y="893"/>
                  </a:cubicBezTo>
                  <a:cubicBezTo>
                    <a:pt x="524" y="890"/>
                    <a:pt x="524" y="887"/>
                    <a:pt x="525" y="885"/>
                  </a:cubicBezTo>
                  <a:cubicBezTo>
                    <a:pt x="525" y="884"/>
                    <a:pt x="525" y="881"/>
                    <a:pt x="526" y="881"/>
                  </a:cubicBezTo>
                  <a:cubicBezTo>
                    <a:pt x="526" y="879"/>
                    <a:pt x="526" y="877"/>
                    <a:pt x="527" y="876"/>
                  </a:cubicBezTo>
                  <a:cubicBezTo>
                    <a:pt x="528" y="876"/>
                    <a:pt x="528" y="875"/>
                    <a:pt x="529" y="875"/>
                  </a:cubicBezTo>
                  <a:cubicBezTo>
                    <a:pt x="530" y="874"/>
                    <a:pt x="530" y="872"/>
                    <a:pt x="530" y="871"/>
                  </a:cubicBezTo>
                  <a:cubicBezTo>
                    <a:pt x="532" y="868"/>
                    <a:pt x="536" y="867"/>
                    <a:pt x="538" y="865"/>
                  </a:cubicBezTo>
                  <a:cubicBezTo>
                    <a:pt x="539" y="864"/>
                    <a:pt x="541" y="862"/>
                    <a:pt x="542" y="861"/>
                  </a:cubicBezTo>
                  <a:cubicBezTo>
                    <a:pt x="543" y="859"/>
                    <a:pt x="543" y="856"/>
                    <a:pt x="543" y="855"/>
                  </a:cubicBezTo>
                  <a:cubicBezTo>
                    <a:pt x="544" y="854"/>
                    <a:pt x="545" y="854"/>
                    <a:pt x="545" y="853"/>
                  </a:cubicBezTo>
                  <a:cubicBezTo>
                    <a:pt x="546" y="851"/>
                    <a:pt x="546" y="849"/>
                    <a:pt x="547" y="847"/>
                  </a:cubicBezTo>
                  <a:cubicBezTo>
                    <a:pt x="547" y="846"/>
                    <a:pt x="548" y="845"/>
                    <a:pt x="549" y="844"/>
                  </a:cubicBezTo>
                  <a:cubicBezTo>
                    <a:pt x="549" y="844"/>
                    <a:pt x="549" y="841"/>
                    <a:pt x="550" y="841"/>
                  </a:cubicBezTo>
                  <a:cubicBezTo>
                    <a:pt x="551" y="840"/>
                    <a:pt x="553" y="839"/>
                    <a:pt x="554" y="838"/>
                  </a:cubicBezTo>
                  <a:cubicBezTo>
                    <a:pt x="556" y="837"/>
                    <a:pt x="558" y="837"/>
                    <a:pt x="560" y="836"/>
                  </a:cubicBezTo>
                  <a:cubicBezTo>
                    <a:pt x="560" y="835"/>
                    <a:pt x="561" y="834"/>
                    <a:pt x="561" y="834"/>
                  </a:cubicBezTo>
                  <a:cubicBezTo>
                    <a:pt x="562" y="833"/>
                    <a:pt x="563" y="834"/>
                    <a:pt x="564" y="833"/>
                  </a:cubicBezTo>
                  <a:cubicBezTo>
                    <a:pt x="566" y="832"/>
                    <a:pt x="567" y="829"/>
                    <a:pt x="568" y="828"/>
                  </a:cubicBezTo>
                  <a:cubicBezTo>
                    <a:pt x="574" y="823"/>
                    <a:pt x="581" y="820"/>
                    <a:pt x="585" y="812"/>
                  </a:cubicBezTo>
                  <a:cubicBezTo>
                    <a:pt x="587" y="808"/>
                    <a:pt x="587" y="800"/>
                    <a:pt x="586" y="795"/>
                  </a:cubicBezTo>
                  <a:cubicBezTo>
                    <a:pt x="586" y="792"/>
                    <a:pt x="584" y="790"/>
                    <a:pt x="583" y="788"/>
                  </a:cubicBezTo>
                  <a:cubicBezTo>
                    <a:pt x="582" y="785"/>
                    <a:pt x="582" y="781"/>
                    <a:pt x="583" y="777"/>
                  </a:cubicBezTo>
                  <a:cubicBezTo>
                    <a:pt x="584" y="777"/>
                    <a:pt x="585" y="777"/>
                    <a:pt x="586" y="777"/>
                  </a:cubicBezTo>
                  <a:cubicBezTo>
                    <a:pt x="586" y="776"/>
                    <a:pt x="586" y="775"/>
                    <a:pt x="586" y="774"/>
                  </a:cubicBezTo>
                  <a:cubicBezTo>
                    <a:pt x="588" y="774"/>
                    <a:pt x="591" y="772"/>
                    <a:pt x="593" y="771"/>
                  </a:cubicBezTo>
                  <a:cubicBezTo>
                    <a:pt x="595" y="769"/>
                    <a:pt x="597" y="767"/>
                    <a:pt x="598" y="763"/>
                  </a:cubicBezTo>
                  <a:cubicBezTo>
                    <a:pt x="598" y="759"/>
                    <a:pt x="597" y="755"/>
                    <a:pt x="597" y="751"/>
                  </a:cubicBezTo>
                  <a:cubicBezTo>
                    <a:pt x="598" y="749"/>
                    <a:pt x="599" y="749"/>
                    <a:pt x="599" y="747"/>
                  </a:cubicBezTo>
                  <a:cubicBezTo>
                    <a:pt x="599" y="745"/>
                    <a:pt x="598" y="743"/>
                    <a:pt x="599" y="740"/>
                  </a:cubicBezTo>
                  <a:cubicBezTo>
                    <a:pt x="599" y="738"/>
                    <a:pt x="601" y="736"/>
                    <a:pt x="602" y="734"/>
                  </a:cubicBezTo>
                  <a:cubicBezTo>
                    <a:pt x="603" y="731"/>
                    <a:pt x="604" y="728"/>
                    <a:pt x="605" y="725"/>
                  </a:cubicBezTo>
                  <a:cubicBezTo>
                    <a:pt x="607" y="722"/>
                    <a:pt x="608" y="720"/>
                    <a:pt x="608" y="716"/>
                  </a:cubicBezTo>
                  <a:cubicBezTo>
                    <a:pt x="608" y="712"/>
                    <a:pt x="609" y="710"/>
                    <a:pt x="609" y="706"/>
                  </a:cubicBezTo>
                  <a:cubicBezTo>
                    <a:pt x="610" y="705"/>
                    <a:pt x="610" y="705"/>
                    <a:pt x="611" y="705"/>
                  </a:cubicBezTo>
                  <a:cubicBezTo>
                    <a:pt x="611" y="704"/>
                    <a:pt x="611" y="703"/>
                    <a:pt x="612" y="702"/>
                  </a:cubicBezTo>
                  <a:cubicBezTo>
                    <a:pt x="615" y="701"/>
                    <a:pt x="617" y="699"/>
                    <a:pt x="620" y="700"/>
                  </a:cubicBezTo>
                  <a:cubicBezTo>
                    <a:pt x="622" y="700"/>
                    <a:pt x="622" y="701"/>
                    <a:pt x="624" y="702"/>
                  </a:cubicBezTo>
                  <a:cubicBezTo>
                    <a:pt x="625" y="702"/>
                    <a:pt x="626" y="702"/>
                    <a:pt x="627" y="702"/>
                  </a:cubicBezTo>
                  <a:cubicBezTo>
                    <a:pt x="627" y="702"/>
                    <a:pt x="628" y="702"/>
                    <a:pt x="628" y="703"/>
                  </a:cubicBezTo>
                  <a:cubicBezTo>
                    <a:pt x="630" y="704"/>
                    <a:pt x="631" y="703"/>
                    <a:pt x="633" y="704"/>
                  </a:cubicBezTo>
                  <a:cubicBezTo>
                    <a:pt x="634" y="704"/>
                    <a:pt x="635" y="705"/>
                    <a:pt x="637" y="705"/>
                  </a:cubicBezTo>
                  <a:cubicBezTo>
                    <a:pt x="641" y="706"/>
                    <a:pt x="639" y="701"/>
                    <a:pt x="641" y="698"/>
                  </a:cubicBezTo>
                  <a:cubicBezTo>
                    <a:pt x="643" y="695"/>
                    <a:pt x="644" y="696"/>
                    <a:pt x="646" y="692"/>
                  </a:cubicBezTo>
                  <a:cubicBezTo>
                    <a:pt x="646" y="690"/>
                    <a:pt x="648" y="688"/>
                    <a:pt x="647" y="686"/>
                  </a:cubicBezTo>
                  <a:cubicBezTo>
                    <a:pt x="646" y="684"/>
                    <a:pt x="645" y="684"/>
                    <a:pt x="644" y="683"/>
                  </a:cubicBezTo>
                  <a:cubicBezTo>
                    <a:pt x="643" y="682"/>
                    <a:pt x="643" y="682"/>
                    <a:pt x="643" y="681"/>
                  </a:cubicBezTo>
                  <a:cubicBezTo>
                    <a:pt x="642" y="681"/>
                    <a:pt x="641" y="681"/>
                    <a:pt x="640" y="680"/>
                  </a:cubicBezTo>
                  <a:cubicBezTo>
                    <a:pt x="639" y="678"/>
                    <a:pt x="639" y="677"/>
                    <a:pt x="639" y="674"/>
                  </a:cubicBezTo>
                  <a:cubicBezTo>
                    <a:pt x="639" y="671"/>
                    <a:pt x="638" y="669"/>
                    <a:pt x="640" y="668"/>
                  </a:cubicBezTo>
                  <a:cubicBezTo>
                    <a:pt x="641" y="668"/>
                    <a:pt x="644" y="668"/>
                    <a:pt x="645" y="669"/>
                  </a:cubicBezTo>
                  <a:cubicBezTo>
                    <a:pt x="648" y="669"/>
                    <a:pt x="651" y="669"/>
                    <a:pt x="653" y="667"/>
                  </a:cubicBezTo>
                  <a:cubicBezTo>
                    <a:pt x="654" y="666"/>
                    <a:pt x="655" y="665"/>
                    <a:pt x="656" y="664"/>
                  </a:cubicBezTo>
                  <a:cubicBezTo>
                    <a:pt x="657" y="661"/>
                    <a:pt x="656" y="660"/>
                    <a:pt x="657" y="658"/>
                  </a:cubicBezTo>
                  <a:cubicBezTo>
                    <a:pt x="657" y="656"/>
                    <a:pt x="660" y="652"/>
                    <a:pt x="662" y="651"/>
                  </a:cubicBezTo>
                  <a:cubicBezTo>
                    <a:pt x="665" y="649"/>
                    <a:pt x="668" y="653"/>
                    <a:pt x="670" y="649"/>
                  </a:cubicBezTo>
                  <a:cubicBezTo>
                    <a:pt x="672" y="646"/>
                    <a:pt x="672" y="644"/>
                    <a:pt x="674" y="642"/>
                  </a:cubicBezTo>
                  <a:cubicBezTo>
                    <a:pt x="676" y="641"/>
                    <a:pt x="680" y="639"/>
                    <a:pt x="682" y="639"/>
                  </a:cubicBezTo>
                  <a:cubicBezTo>
                    <a:pt x="686" y="639"/>
                    <a:pt x="685" y="645"/>
                    <a:pt x="685" y="649"/>
                  </a:cubicBezTo>
                  <a:cubicBezTo>
                    <a:pt x="685" y="654"/>
                    <a:pt x="686" y="657"/>
                    <a:pt x="686" y="661"/>
                  </a:cubicBezTo>
                  <a:cubicBezTo>
                    <a:pt x="689" y="662"/>
                    <a:pt x="693" y="662"/>
                    <a:pt x="696" y="661"/>
                  </a:cubicBezTo>
                  <a:cubicBezTo>
                    <a:pt x="696" y="655"/>
                    <a:pt x="699" y="654"/>
                    <a:pt x="702" y="651"/>
                  </a:cubicBezTo>
                  <a:cubicBezTo>
                    <a:pt x="703" y="650"/>
                    <a:pt x="705" y="649"/>
                    <a:pt x="706" y="647"/>
                  </a:cubicBezTo>
                  <a:cubicBezTo>
                    <a:pt x="707" y="644"/>
                    <a:pt x="706" y="643"/>
                    <a:pt x="710" y="642"/>
                  </a:cubicBezTo>
                  <a:cubicBezTo>
                    <a:pt x="714" y="641"/>
                    <a:pt x="719" y="644"/>
                    <a:pt x="723" y="641"/>
                  </a:cubicBezTo>
                  <a:cubicBezTo>
                    <a:pt x="723" y="641"/>
                    <a:pt x="725" y="639"/>
                    <a:pt x="725" y="639"/>
                  </a:cubicBezTo>
                  <a:cubicBezTo>
                    <a:pt x="726" y="638"/>
                    <a:pt x="726" y="637"/>
                    <a:pt x="726" y="636"/>
                  </a:cubicBezTo>
                  <a:cubicBezTo>
                    <a:pt x="728" y="634"/>
                    <a:pt x="729" y="631"/>
                    <a:pt x="731" y="631"/>
                  </a:cubicBezTo>
                  <a:cubicBezTo>
                    <a:pt x="731" y="628"/>
                    <a:pt x="732" y="627"/>
                    <a:pt x="733" y="624"/>
                  </a:cubicBezTo>
                  <a:cubicBezTo>
                    <a:pt x="735" y="622"/>
                    <a:pt x="736" y="619"/>
                    <a:pt x="736" y="616"/>
                  </a:cubicBezTo>
                  <a:cubicBezTo>
                    <a:pt x="736" y="612"/>
                    <a:pt x="734" y="611"/>
                    <a:pt x="731" y="612"/>
                  </a:cubicBezTo>
                  <a:cubicBezTo>
                    <a:pt x="729" y="613"/>
                    <a:pt x="728" y="616"/>
                    <a:pt x="726" y="617"/>
                  </a:cubicBezTo>
                  <a:cubicBezTo>
                    <a:pt x="721" y="619"/>
                    <a:pt x="717" y="616"/>
                    <a:pt x="714" y="612"/>
                  </a:cubicBezTo>
                  <a:cubicBezTo>
                    <a:pt x="712" y="611"/>
                    <a:pt x="711" y="609"/>
                    <a:pt x="709" y="608"/>
                  </a:cubicBezTo>
                  <a:cubicBezTo>
                    <a:pt x="707" y="605"/>
                    <a:pt x="705" y="606"/>
                    <a:pt x="702" y="605"/>
                  </a:cubicBezTo>
                  <a:cubicBezTo>
                    <a:pt x="702" y="602"/>
                    <a:pt x="702" y="599"/>
                    <a:pt x="701" y="597"/>
                  </a:cubicBezTo>
                  <a:cubicBezTo>
                    <a:pt x="700" y="594"/>
                    <a:pt x="699" y="592"/>
                    <a:pt x="698" y="590"/>
                  </a:cubicBezTo>
                  <a:cubicBezTo>
                    <a:pt x="698" y="586"/>
                    <a:pt x="699" y="584"/>
                    <a:pt x="701" y="583"/>
                  </a:cubicBezTo>
                  <a:cubicBezTo>
                    <a:pt x="704" y="580"/>
                    <a:pt x="705" y="581"/>
                    <a:pt x="705" y="576"/>
                  </a:cubicBezTo>
                  <a:cubicBezTo>
                    <a:pt x="705" y="573"/>
                    <a:pt x="706" y="566"/>
                    <a:pt x="706" y="564"/>
                  </a:cubicBezTo>
                  <a:cubicBezTo>
                    <a:pt x="707" y="563"/>
                    <a:pt x="708" y="563"/>
                    <a:pt x="708" y="563"/>
                  </a:cubicBezTo>
                  <a:cubicBezTo>
                    <a:pt x="709" y="558"/>
                    <a:pt x="708" y="556"/>
                    <a:pt x="705" y="556"/>
                  </a:cubicBezTo>
                  <a:cubicBezTo>
                    <a:pt x="702" y="556"/>
                    <a:pt x="700" y="555"/>
                    <a:pt x="698" y="553"/>
                  </a:cubicBezTo>
                  <a:cubicBezTo>
                    <a:pt x="698" y="552"/>
                    <a:pt x="698" y="550"/>
                    <a:pt x="697" y="549"/>
                  </a:cubicBezTo>
                  <a:cubicBezTo>
                    <a:pt x="696" y="547"/>
                    <a:pt x="695" y="549"/>
                    <a:pt x="693" y="548"/>
                  </a:cubicBezTo>
                  <a:cubicBezTo>
                    <a:pt x="691" y="546"/>
                    <a:pt x="692" y="538"/>
                    <a:pt x="692" y="535"/>
                  </a:cubicBezTo>
                  <a:cubicBezTo>
                    <a:pt x="693" y="529"/>
                    <a:pt x="694" y="533"/>
                    <a:pt x="697" y="534"/>
                  </a:cubicBezTo>
                  <a:cubicBezTo>
                    <a:pt x="698" y="534"/>
                    <a:pt x="700" y="534"/>
                    <a:pt x="701" y="534"/>
                  </a:cubicBezTo>
                  <a:cubicBezTo>
                    <a:pt x="703" y="534"/>
                    <a:pt x="704" y="533"/>
                    <a:pt x="705" y="532"/>
                  </a:cubicBezTo>
                  <a:cubicBezTo>
                    <a:pt x="708" y="531"/>
                    <a:pt x="711" y="532"/>
                    <a:pt x="714" y="532"/>
                  </a:cubicBezTo>
                  <a:cubicBezTo>
                    <a:pt x="716" y="532"/>
                    <a:pt x="716" y="532"/>
                    <a:pt x="718" y="533"/>
                  </a:cubicBezTo>
                  <a:cubicBezTo>
                    <a:pt x="719" y="534"/>
                    <a:pt x="719" y="536"/>
                    <a:pt x="721" y="535"/>
                  </a:cubicBezTo>
                  <a:cubicBezTo>
                    <a:pt x="722" y="535"/>
                    <a:pt x="724" y="535"/>
                    <a:pt x="725" y="537"/>
                  </a:cubicBezTo>
                  <a:cubicBezTo>
                    <a:pt x="726" y="537"/>
                    <a:pt x="727" y="540"/>
                    <a:pt x="728" y="540"/>
                  </a:cubicBezTo>
                  <a:cubicBezTo>
                    <a:pt x="729" y="541"/>
                    <a:pt x="731" y="541"/>
                    <a:pt x="732" y="541"/>
                  </a:cubicBezTo>
                  <a:cubicBezTo>
                    <a:pt x="733" y="541"/>
                    <a:pt x="733" y="543"/>
                    <a:pt x="735" y="542"/>
                  </a:cubicBezTo>
                  <a:cubicBezTo>
                    <a:pt x="736" y="542"/>
                    <a:pt x="736" y="541"/>
                    <a:pt x="737" y="540"/>
                  </a:cubicBezTo>
                  <a:cubicBezTo>
                    <a:pt x="739" y="538"/>
                    <a:pt x="740" y="535"/>
                    <a:pt x="742" y="535"/>
                  </a:cubicBezTo>
                  <a:cubicBezTo>
                    <a:pt x="743" y="534"/>
                    <a:pt x="743" y="533"/>
                    <a:pt x="743" y="532"/>
                  </a:cubicBezTo>
                  <a:cubicBezTo>
                    <a:pt x="746" y="532"/>
                    <a:pt x="747" y="530"/>
                    <a:pt x="750" y="530"/>
                  </a:cubicBezTo>
                  <a:cubicBezTo>
                    <a:pt x="753" y="530"/>
                    <a:pt x="755" y="531"/>
                    <a:pt x="757" y="528"/>
                  </a:cubicBezTo>
                  <a:cubicBezTo>
                    <a:pt x="759" y="525"/>
                    <a:pt x="758" y="522"/>
                    <a:pt x="760" y="519"/>
                  </a:cubicBezTo>
                  <a:cubicBezTo>
                    <a:pt x="761" y="518"/>
                    <a:pt x="762" y="518"/>
                    <a:pt x="762" y="517"/>
                  </a:cubicBezTo>
                  <a:cubicBezTo>
                    <a:pt x="764" y="516"/>
                    <a:pt x="764" y="515"/>
                    <a:pt x="765" y="514"/>
                  </a:cubicBezTo>
                  <a:cubicBezTo>
                    <a:pt x="767" y="513"/>
                    <a:pt x="771" y="512"/>
                    <a:pt x="773" y="512"/>
                  </a:cubicBezTo>
                  <a:cubicBezTo>
                    <a:pt x="775" y="513"/>
                    <a:pt x="775" y="512"/>
                    <a:pt x="776" y="514"/>
                  </a:cubicBezTo>
                  <a:cubicBezTo>
                    <a:pt x="776" y="515"/>
                    <a:pt x="778" y="519"/>
                    <a:pt x="778" y="520"/>
                  </a:cubicBezTo>
                  <a:cubicBezTo>
                    <a:pt x="778" y="525"/>
                    <a:pt x="775" y="522"/>
                    <a:pt x="773" y="525"/>
                  </a:cubicBezTo>
                  <a:cubicBezTo>
                    <a:pt x="771" y="527"/>
                    <a:pt x="772" y="532"/>
                    <a:pt x="772" y="535"/>
                  </a:cubicBezTo>
                  <a:cubicBezTo>
                    <a:pt x="772" y="540"/>
                    <a:pt x="772" y="542"/>
                    <a:pt x="769" y="544"/>
                  </a:cubicBezTo>
                  <a:cubicBezTo>
                    <a:pt x="767" y="545"/>
                    <a:pt x="765" y="547"/>
                    <a:pt x="763" y="548"/>
                  </a:cubicBezTo>
                  <a:cubicBezTo>
                    <a:pt x="763" y="548"/>
                    <a:pt x="761" y="549"/>
                    <a:pt x="760" y="550"/>
                  </a:cubicBezTo>
                  <a:cubicBezTo>
                    <a:pt x="760" y="551"/>
                    <a:pt x="760" y="553"/>
                    <a:pt x="759" y="554"/>
                  </a:cubicBezTo>
                  <a:cubicBezTo>
                    <a:pt x="758" y="555"/>
                    <a:pt x="757" y="555"/>
                    <a:pt x="756" y="556"/>
                  </a:cubicBezTo>
                  <a:cubicBezTo>
                    <a:pt x="755" y="557"/>
                    <a:pt x="755" y="558"/>
                    <a:pt x="754" y="560"/>
                  </a:cubicBezTo>
                  <a:cubicBezTo>
                    <a:pt x="753" y="561"/>
                    <a:pt x="753" y="562"/>
                    <a:pt x="753" y="563"/>
                  </a:cubicBezTo>
                  <a:cubicBezTo>
                    <a:pt x="752" y="565"/>
                    <a:pt x="751" y="566"/>
                    <a:pt x="750" y="567"/>
                  </a:cubicBezTo>
                  <a:cubicBezTo>
                    <a:pt x="748" y="572"/>
                    <a:pt x="751" y="574"/>
                    <a:pt x="754" y="574"/>
                  </a:cubicBezTo>
                  <a:cubicBezTo>
                    <a:pt x="756" y="574"/>
                    <a:pt x="761" y="573"/>
                    <a:pt x="763" y="574"/>
                  </a:cubicBezTo>
                  <a:cubicBezTo>
                    <a:pt x="764" y="574"/>
                    <a:pt x="767" y="580"/>
                    <a:pt x="767" y="582"/>
                  </a:cubicBezTo>
                  <a:cubicBezTo>
                    <a:pt x="769" y="583"/>
                    <a:pt x="771" y="584"/>
                    <a:pt x="773" y="584"/>
                  </a:cubicBezTo>
                  <a:cubicBezTo>
                    <a:pt x="776" y="585"/>
                    <a:pt x="777" y="586"/>
                    <a:pt x="779" y="588"/>
                  </a:cubicBezTo>
                  <a:cubicBezTo>
                    <a:pt x="782" y="591"/>
                    <a:pt x="790" y="591"/>
                    <a:pt x="793" y="588"/>
                  </a:cubicBezTo>
                  <a:cubicBezTo>
                    <a:pt x="795" y="586"/>
                    <a:pt x="795" y="585"/>
                    <a:pt x="798" y="584"/>
                  </a:cubicBezTo>
                  <a:cubicBezTo>
                    <a:pt x="801" y="584"/>
                    <a:pt x="804" y="584"/>
                    <a:pt x="807" y="584"/>
                  </a:cubicBezTo>
                  <a:cubicBezTo>
                    <a:pt x="812" y="584"/>
                    <a:pt x="817" y="582"/>
                    <a:pt x="816" y="574"/>
                  </a:cubicBezTo>
                  <a:cubicBezTo>
                    <a:pt x="813" y="574"/>
                    <a:pt x="813" y="573"/>
                    <a:pt x="811" y="572"/>
                  </a:cubicBezTo>
                  <a:cubicBezTo>
                    <a:pt x="810" y="570"/>
                    <a:pt x="807" y="570"/>
                    <a:pt x="806" y="568"/>
                  </a:cubicBezTo>
                  <a:cubicBezTo>
                    <a:pt x="804" y="566"/>
                    <a:pt x="805" y="563"/>
                    <a:pt x="804" y="560"/>
                  </a:cubicBezTo>
                  <a:cubicBezTo>
                    <a:pt x="804" y="555"/>
                    <a:pt x="803" y="557"/>
                    <a:pt x="800" y="556"/>
                  </a:cubicBezTo>
                  <a:cubicBezTo>
                    <a:pt x="799" y="555"/>
                    <a:pt x="799" y="555"/>
                    <a:pt x="798" y="554"/>
                  </a:cubicBezTo>
                  <a:cubicBezTo>
                    <a:pt x="797" y="554"/>
                    <a:pt x="796" y="555"/>
                    <a:pt x="795" y="554"/>
                  </a:cubicBezTo>
                  <a:cubicBezTo>
                    <a:pt x="793" y="553"/>
                    <a:pt x="792" y="552"/>
                    <a:pt x="791" y="551"/>
                  </a:cubicBezTo>
                  <a:cubicBezTo>
                    <a:pt x="788" y="549"/>
                    <a:pt x="785" y="544"/>
                    <a:pt x="782" y="544"/>
                  </a:cubicBezTo>
                  <a:cubicBezTo>
                    <a:pt x="782" y="541"/>
                    <a:pt x="780" y="538"/>
                    <a:pt x="780" y="535"/>
                  </a:cubicBezTo>
                  <a:cubicBezTo>
                    <a:pt x="780" y="532"/>
                    <a:pt x="782" y="530"/>
                    <a:pt x="782" y="527"/>
                  </a:cubicBezTo>
                  <a:cubicBezTo>
                    <a:pt x="783" y="527"/>
                    <a:pt x="783" y="526"/>
                    <a:pt x="784" y="526"/>
                  </a:cubicBezTo>
                  <a:cubicBezTo>
                    <a:pt x="784" y="524"/>
                    <a:pt x="784" y="522"/>
                    <a:pt x="784" y="520"/>
                  </a:cubicBezTo>
                  <a:cubicBezTo>
                    <a:pt x="785" y="519"/>
                    <a:pt x="785" y="516"/>
                    <a:pt x="786" y="515"/>
                  </a:cubicBezTo>
                  <a:cubicBezTo>
                    <a:pt x="786" y="513"/>
                    <a:pt x="787" y="512"/>
                    <a:pt x="787" y="509"/>
                  </a:cubicBezTo>
                  <a:cubicBezTo>
                    <a:pt x="787" y="506"/>
                    <a:pt x="787" y="506"/>
                    <a:pt x="788" y="503"/>
                  </a:cubicBezTo>
                  <a:cubicBezTo>
                    <a:pt x="790" y="495"/>
                    <a:pt x="791" y="487"/>
                    <a:pt x="791" y="477"/>
                  </a:cubicBezTo>
                  <a:cubicBezTo>
                    <a:pt x="790" y="470"/>
                    <a:pt x="785" y="466"/>
                    <a:pt x="781" y="462"/>
                  </a:cubicBezTo>
                  <a:cubicBezTo>
                    <a:pt x="780" y="461"/>
                    <a:pt x="777" y="457"/>
                    <a:pt x="775" y="455"/>
                  </a:cubicBezTo>
                  <a:cubicBezTo>
                    <a:pt x="774" y="452"/>
                    <a:pt x="775" y="453"/>
                    <a:pt x="774" y="449"/>
                  </a:cubicBezTo>
                  <a:cubicBezTo>
                    <a:pt x="774" y="447"/>
                    <a:pt x="773" y="445"/>
                    <a:pt x="773" y="443"/>
                  </a:cubicBezTo>
                  <a:cubicBezTo>
                    <a:pt x="772" y="442"/>
                    <a:pt x="771" y="442"/>
                    <a:pt x="771" y="442"/>
                  </a:cubicBezTo>
                  <a:cubicBezTo>
                    <a:pt x="770" y="441"/>
                    <a:pt x="770" y="440"/>
                    <a:pt x="770" y="439"/>
                  </a:cubicBezTo>
                  <a:cubicBezTo>
                    <a:pt x="768" y="439"/>
                    <a:pt x="767" y="437"/>
                    <a:pt x="766" y="435"/>
                  </a:cubicBezTo>
                  <a:cubicBezTo>
                    <a:pt x="765" y="435"/>
                    <a:pt x="764" y="434"/>
                    <a:pt x="763" y="433"/>
                  </a:cubicBezTo>
                  <a:cubicBezTo>
                    <a:pt x="762" y="433"/>
                    <a:pt x="761" y="432"/>
                    <a:pt x="760" y="432"/>
                  </a:cubicBezTo>
                  <a:cubicBezTo>
                    <a:pt x="759" y="431"/>
                    <a:pt x="758" y="429"/>
                    <a:pt x="756" y="428"/>
                  </a:cubicBezTo>
                  <a:cubicBezTo>
                    <a:pt x="755" y="427"/>
                    <a:pt x="753" y="427"/>
                    <a:pt x="752" y="425"/>
                  </a:cubicBezTo>
                  <a:cubicBezTo>
                    <a:pt x="751" y="424"/>
                    <a:pt x="751" y="422"/>
                    <a:pt x="750" y="420"/>
                  </a:cubicBezTo>
                  <a:cubicBezTo>
                    <a:pt x="749" y="419"/>
                    <a:pt x="749" y="419"/>
                    <a:pt x="749" y="418"/>
                  </a:cubicBezTo>
                  <a:cubicBezTo>
                    <a:pt x="748" y="417"/>
                    <a:pt x="748" y="416"/>
                    <a:pt x="748" y="414"/>
                  </a:cubicBezTo>
                  <a:cubicBezTo>
                    <a:pt x="746" y="409"/>
                    <a:pt x="746" y="404"/>
                    <a:pt x="746" y="399"/>
                  </a:cubicBezTo>
                  <a:cubicBezTo>
                    <a:pt x="746" y="393"/>
                    <a:pt x="747" y="389"/>
                    <a:pt x="749" y="384"/>
                  </a:cubicBezTo>
                  <a:cubicBezTo>
                    <a:pt x="750" y="381"/>
                    <a:pt x="750" y="381"/>
                    <a:pt x="750" y="377"/>
                  </a:cubicBezTo>
                  <a:cubicBezTo>
                    <a:pt x="750" y="375"/>
                    <a:pt x="751" y="372"/>
                    <a:pt x="749" y="370"/>
                  </a:cubicBezTo>
                  <a:cubicBezTo>
                    <a:pt x="748" y="368"/>
                    <a:pt x="746" y="369"/>
                    <a:pt x="745" y="367"/>
                  </a:cubicBezTo>
                  <a:cubicBezTo>
                    <a:pt x="744" y="366"/>
                    <a:pt x="743" y="363"/>
                    <a:pt x="743" y="362"/>
                  </a:cubicBezTo>
                  <a:cubicBezTo>
                    <a:pt x="742" y="360"/>
                    <a:pt x="742" y="357"/>
                    <a:pt x="741" y="355"/>
                  </a:cubicBezTo>
                  <a:cubicBezTo>
                    <a:pt x="740" y="353"/>
                    <a:pt x="740" y="351"/>
                    <a:pt x="740" y="348"/>
                  </a:cubicBezTo>
                  <a:cubicBezTo>
                    <a:pt x="739" y="348"/>
                    <a:pt x="738" y="348"/>
                    <a:pt x="738" y="347"/>
                  </a:cubicBezTo>
                  <a:cubicBezTo>
                    <a:pt x="736" y="340"/>
                    <a:pt x="737" y="329"/>
                    <a:pt x="738" y="321"/>
                  </a:cubicBezTo>
                  <a:cubicBezTo>
                    <a:pt x="738" y="317"/>
                    <a:pt x="738" y="312"/>
                    <a:pt x="735" y="316"/>
                  </a:cubicBezTo>
                  <a:cubicBezTo>
                    <a:pt x="734" y="317"/>
                    <a:pt x="734" y="318"/>
                    <a:pt x="732" y="320"/>
                  </a:cubicBezTo>
                  <a:cubicBezTo>
                    <a:pt x="731" y="321"/>
                    <a:pt x="731" y="321"/>
                    <a:pt x="730" y="323"/>
                  </a:cubicBezTo>
                  <a:cubicBezTo>
                    <a:pt x="730" y="324"/>
                    <a:pt x="729" y="326"/>
                    <a:pt x="729" y="327"/>
                  </a:cubicBezTo>
                  <a:cubicBezTo>
                    <a:pt x="728" y="330"/>
                    <a:pt x="728" y="329"/>
                    <a:pt x="726" y="331"/>
                  </a:cubicBezTo>
                  <a:cubicBezTo>
                    <a:pt x="724" y="332"/>
                    <a:pt x="722" y="334"/>
                    <a:pt x="720" y="336"/>
                  </a:cubicBezTo>
                  <a:cubicBezTo>
                    <a:pt x="718" y="338"/>
                    <a:pt x="717" y="341"/>
                    <a:pt x="716" y="344"/>
                  </a:cubicBezTo>
                  <a:cubicBezTo>
                    <a:pt x="714" y="347"/>
                    <a:pt x="715" y="352"/>
                    <a:pt x="715" y="356"/>
                  </a:cubicBezTo>
                  <a:cubicBezTo>
                    <a:pt x="715" y="358"/>
                    <a:pt x="715" y="360"/>
                    <a:pt x="715" y="362"/>
                  </a:cubicBezTo>
                  <a:cubicBezTo>
                    <a:pt x="714" y="365"/>
                    <a:pt x="715" y="364"/>
                    <a:pt x="713" y="366"/>
                  </a:cubicBezTo>
                  <a:cubicBezTo>
                    <a:pt x="710" y="367"/>
                    <a:pt x="707" y="368"/>
                    <a:pt x="704" y="366"/>
                  </a:cubicBezTo>
                  <a:cubicBezTo>
                    <a:pt x="703" y="365"/>
                    <a:pt x="703" y="365"/>
                    <a:pt x="702" y="364"/>
                  </a:cubicBezTo>
                  <a:cubicBezTo>
                    <a:pt x="701" y="362"/>
                    <a:pt x="701" y="360"/>
                    <a:pt x="701" y="359"/>
                  </a:cubicBezTo>
                  <a:cubicBezTo>
                    <a:pt x="699" y="356"/>
                    <a:pt x="698" y="353"/>
                    <a:pt x="696" y="351"/>
                  </a:cubicBezTo>
                  <a:cubicBezTo>
                    <a:pt x="695" y="351"/>
                    <a:pt x="694" y="350"/>
                    <a:pt x="693" y="350"/>
                  </a:cubicBezTo>
                  <a:cubicBezTo>
                    <a:pt x="691" y="348"/>
                    <a:pt x="692" y="349"/>
                    <a:pt x="691" y="346"/>
                  </a:cubicBezTo>
                  <a:cubicBezTo>
                    <a:pt x="689" y="343"/>
                    <a:pt x="688" y="339"/>
                    <a:pt x="688" y="335"/>
                  </a:cubicBezTo>
                  <a:cubicBezTo>
                    <a:pt x="688" y="331"/>
                    <a:pt x="688" y="325"/>
                    <a:pt x="688" y="321"/>
                  </a:cubicBezTo>
                  <a:cubicBezTo>
                    <a:pt x="689" y="319"/>
                    <a:pt x="689" y="319"/>
                    <a:pt x="690" y="316"/>
                  </a:cubicBezTo>
                  <a:cubicBezTo>
                    <a:pt x="690" y="314"/>
                    <a:pt x="690" y="311"/>
                    <a:pt x="689" y="309"/>
                  </a:cubicBezTo>
                  <a:cubicBezTo>
                    <a:pt x="686" y="309"/>
                    <a:pt x="680" y="306"/>
                    <a:pt x="678" y="301"/>
                  </a:cubicBezTo>
                  <a:cubicBezTo>
                    <a:pt x="677" y="298"/>
                    <a:pt x="676" y="295"/>
                    <a:pt x="675" y="292"/>
                  </a:cubicBezTo>
                  <a:cubicBezTo>
                    <a:pt x="674" y="289"/>
                    <a:pt x="673" y="287"/>
                    <a:pt x="671" y="286"/>
                  </a:cubicBezTo>
                  <a:cubicBezTo>
                    <a:pt x="669" y="284"/>
                    <a:pt x="666" y="285"/>
                    <a:pt x="664" y="283"/>
                  </a:cubicBezTo>
                  <a:cubicBezTo>
                    <a:pt x="662" y="282"/>
                    <a:pt x="660" y="280"/>
                    <a:pt x="658" y="279"/>
                  </a:cubicBezTo>
                  <a:cubicBezTo>
                    <a:pt x="658" y="279"/>
                    <a:pt x="656" y="278"/>
                    <a:pt x="656" y="277"/>
                  </a:cubicBezTo>
                  <a:cubicBezTo>
                    <a:pt x="654" y="275"/>
                    <a:pt x="655" y="273"/>
                    <a:pt x="653" y="272"/>
                  </a:cubicBezTo>
                  <a:cubicBezTo>
                    <a:pt x="651" y="271"/>
                    <a:pt x="647" y="272"/>
                    <a:pt x="646" y="274"/>
                  </a:cubicBezTo>
                  <a:cubicBezTo>
                    <a:pt x="645" y="275"/>
                    <a:pt x="645" y="277"/>
                    <a:pt x="644" y="278"/>
                  </a:cubicBezTo>
                  <a:cubicBezTo>
                    <a:pt x="643" y="281"/>
                    <a:pt x="644" y="280"/>
                    <a:pt x="642" y="281"/>
                  </a:cubicBezTo>
                  <a:cubicBezTo>
                    <a:pt x="641" y="282"/>
                    <a:pt x="640" y="282"/>
                    <a:pt x="639" y="282"/>
                  </a:cubicBezTo>
                  <a:cubicBezTo>
                    <a:pt x="638" y="283"/>
                    <a:pt x="638" y="283"/>
                    <a:pt x="637" y="283"/>
                  </a:cubicBezTo>
                  <a:cubicBezTo>
                    <a:pt x="637" y="284"/>
                    <a:pt x="636" y="285"/>
                    <a:pt x="636" y="286"/>
                  </a:cubicBezTo>
                  <a:cubicBezTo>
                    <a:pt x="634" y="289"/>
                    <a:pt x="633" y="289"/>
                    <a:pt x="630" y="290"/>
                  </a:cubicBezTo>
                  <a:cubicBezTo>
                    <a:pt x="628" y="291"/>
                    <a:pt x="625" y="291"/>
                    <a:pt x="624" y="293"/>
                  </a:cubicBezTo>
                  <a:cubicBezTo>
                    <a:pt x="621" y="297"/>
                    <a:pt x="623" y="310"/>
                    <a:pt x="624" y="314"/>
                  </a:cubicBezTo>
                  <a:cubicBezTo>
                    <a:pt x="625" y="317"/>
                    <a:pt x="626" y="321"/>
                    <a:pt x="625" y="325"/>
                  </a:cubicBezTo>
                  <a:cubicBezTo>
                    <a:pt x="624" y="328"/>
                    <a:pt x="621" y="329"/>
                    <a:pt x="621" y="333"/>
                  </a:cubicBezTo>
                  <a:cubicBezTo>
                    <a:pt x="621" y="334"/>
                    <a:pt x="620" y="334"/>
                    <a:pt x="619" y="334"/>
                  </a:cubicBezTo>
                  <a:cubicBezTo>
                    <a:pt x="619" y="335"/>
                    <a:pt x="619" y="336"/>
                    <a:pt x="619" y="337"/>
                  </a:cubicBezTo>
                  <a:cubicBezTo>
                    <a:pt x="615" y="337"/>
                    <a:pt x="611" y="340"/>
                    <a:pt x="608" y="343"/>
                  </a:cubicBezTo>
                  <a:cubicBezTo>
                    <a:pt x="603" y="346"/>
                    <a:pt x="604" y="351"/>
                    <a:pt x="604" y="358"/>
                  </a:cubicBezTo>
                  <a:cubicBezTo>
                    <a:pt x="603" y="359"/>
                    <a:pt x="602" y="359"/>
                    <a:pt x="603" y="361"/>
                  </a:cubicBezTo>
                  <a:cubicBezTo>
                    <a:pt x="603" y="362"/>
                    <a:pt x="605" y="362"/>
                    <a:pt x="606" y="362"/>
                  </a:cubicBezTo>
                  <a:cubicBezTo>
                    <a:pt x="606" y="362"/>
                    <a:pt x="608" y="363"/>
                    <a:pt x="609" y="363"/>
                  </a:cubicBezTo>
                  <a:cubicBezTo>
                    <a:pt x="610" y="364"/>
                    <a:pt x="611" y="364"/>
                    <a:pt x="612" y="365"/>
                  </a:cubicBezTo>
                  <a:cubicBezTo>
                    <a:pt x="613" y="366"/>
                    <a:pt x="615" y="368"/>
                    <a:pt x="616" y="369"/>
                  </a:cubicBezTo>
                  <a:cubicBezTo>
                    <a:pt x="617" y="372"/>
                    <a:pt x="616" y="376"/>
                    <a:pt x="616" y="379"/>
                  </a:cubicBezTo>
                  <a:cubicBezTo>
                    <a:pt x="617" y="381"/>
                    <a:pt x="617" y="381"/>
                    <a:pt x="618" y="383"/>
                  </a:cubicBezTo>
                  <a:cubicBezTo>
                    <a:pt x="618" y="384"/>
                    <a:pt x="617" y="386"/>
                    <a:pt x="618" y="388"/>
                  </a:cubicBezTo>
                  <a:cubicBezTo>
                    <a:pt x="618" y="391"/>
                    <a:pt x="619" y="393"/>
                    <a:pt x="619" y="397"/>
                  </a:cubicBezTo>
                  <a:cubicBezTo>
                    <a:pt x="619" y="399"/>
                    <a:pt x="618" y="399"/>
                    <a:pt x="618" y="401"/>
                  </a:cubicBezTo>
                  <a:cubicBezTo>
                    <a:pt x="618" y="402"/>
                    <a:pt x="618" y="404"/>
                    <a:pt x="617" y="405"/>
                  </a:cubicBezTo>
                  <a:cubicBezTo>
                    <a:pt x="617" y="407"/>
                    <a:pt x="615" y="409"/>
                    <a:pt x="614" y="411"/>
                  </a:cubicBezTo>
                  <a:cubicBezTo>
                    <a:pt x="613" y="414"/>
                    <a:pt x="613" y="417"/>
                    <a:pt x="611" y="419"/>
                  </a:cubicBezTo>
                  <a:cubicBezTo>
                    <a:pt x="609" y="421"/>
                    <a:pt x="607" y="421"/>
                    <a:pt x="606" y="424"/>
                  </a:cubicBezTo>
                  <a:cubicBezTo>
                    <a:pt x="605" y="427"/>
                    <a:pt x="605" y="429"/>
                    <a:pt x="603" y="430"/>
                  </a:cubicBezTo>
                  <a:cubicBezTo>
                    <a:pt x="600" y="432"/>
                    <a:pt x="598" y="431"/>
                    <a:pt x="595" y="432"/>
                  </a:cubicBezTo>
                  <a:cubicBezTo>
                    <a:pt x="595" y="434"/>
                    <a:pt x="595" y="435"/>
                    <a:pt x="595" y="437"/>
                  </a:cubicBezTo>
                  <a:cubicBezTo>
                    <a:pt x="594" y="437"/>
                    <a:pt x="593" y="437"/>
                    <a:pt x="593" y="437"/>
                  </a:cubicBezTo>
                  <a:cubicBezTo>
                    <a:pt x="592" y="442"/>
                    <a:pt x="589" y="444"/>
                    <a:pt x="586" y="444"/>
                  </a:cubicBezTo>
                  <a:cubicBezTo>
                    <a:pt x="585" y="451"/>
                    <a:pt x="587" y="457"/>
                    <a:pt x="588" y="462"/>
                  </a:cubicBezTo>
                  <a:cubicBezTo>
                    <a:pt x="590" y="468"/>
                    <a:pt x="591" y="473"/>
                    <a:pt x="591" y="479"/>
                  </a:cubicBezTo>
                  <a:cubicBezTo>
                    <a:pt x="591" y="483"/>
                    <a:pt x="591" y="484"/>
                    <a:pt x="588" y="486"/>
                  </a:cubicBezTo>
                  <a:cubicBezTo>
                    <a:pt x="587" y="487"/>
                    <a:pt x="584" y="488"/>
                    <a:pt x="583" y="490"/>
                  </a:cubicBezTo>
                  <a:cubicBezTo>
                    <a:pt x="581" y="493"/>
                    <a:pt x="583" y="497"/>
                    <a:pt x="581" y="500"/>
                  </a:cubicBezTo>
                  <a:cubicBezTo>
                    <a:pt x="579" y="503"/>
                    <a:pt x="579" y="503"/>
                    <a:pt x="578" y="507"/>
                  </a:cubicBezTo>
                  <a:cubicBezTo>
                    <a:pt x="576" y="507"/>
                    <a:pt x="570" y="513"/>
                    <a:pt x="568" y="509"/>
                  </a:cubicBezTo>
                  <a:cubicBezTo>
                    <a:pt x="568" y="507"/>
                    <a:pt x="569" y="503"/>
                    <a:pt x="568" y="501"/>
                  </a:cubicBezTo>
                  <a:cubicBezTo>
                    <a:pt x="568" y="499"/>
                    <a:pt x="567" y="498"/>
                    <a:pt x="567" y="497"/>
                  </a:cubicBezTo>
                  <a:cubicBezTo>
                    <a:pt x="567" y="495"/>
                    <a:pt x="567" y="493"/>
                    <a:pt x="567" y="491"/>
                  </a:cubicBezTo>
                  <a:cubicBezTo>
                    <a:pt x="567" y="485"/>
                    <a:pt x="567" y="481"/>
                    <a:pt x="570" y="476"/>
                  </a:cubicBezTo>
                  <a:cubicBezTo>
                    <a:pt x="571" y="474"/>
                    <a:pt x="572" y="474"/>
                    <a:pt x="572" y="470"/>
                  </a:cubicBezTo>
                  <a:cubicBezTo>
                    <a:pt x="573" y="467"/>
                    <a:pt x="572" y="463"/>
                    <a:pt x="572" y="460"/>
                  </a:cubicBezTo>
                  <a:cubicBezTo>
                    <a:pt x="572" y="457"/>
                    <a:pt x="572" y="454"/>
                    <a:pt x="572" y="451"/>
                  </a:cubicBezTo>
                  <a:cubicBezTo>
                    <a:pt x="572" y="447"/>
                    <a:pt x="572" y="446"/>
                    <a:pt x="570" y="444"/>
                  </a:cubicBezTo>
                  <a:cubicBezTo>
                    <a:pt x="569" y="443"/>
                    <a:pt x="567" y="441"/>
                    <a:pt x="566" y="440"/>
                  </a:cubicBezTo>
                  <a:cubicBezTo>
                    <a:pt x="565" y="439"/>
                    <a:pt x="563" y="439"/>
                    <a:pt x="561" y="437"/>
                  </a:cubicBezTo>
                  <a:cubicBezTo>
                    <a:pt x="558" y="434"/>
                    <a:pt x="555" y="431"/>
                    <a:pt x="551" y="430"/>
                  </a:cubicBezTo>
                  <a:cubicBezTo>
                    <a:pt x="546" y="429"/>
                    <a:pt x="540" y="432"/>
                    <a:pt x="536" y="430"/>
                  </a:cubicBezTo>
                  <a:cubicBezTo>
                    <a:pt x="536" y="429"/>
                    <a:pt x="536" y="428"/>
                    <a:pt x="535" y="427"/>
                  </a:cubicBezTo>
                  <a:cubicBezTo>
                    <a:pt x="530" y="426"/>
                    <a:pt x="530" y="419"/>
                    <a:pt x="528" y="414"/>
                  </a:cubicBezTo>
                  <a:cubicBezTo>
                    <a:pt x="528" y="412"/>
                    <a:pt x="528" y="409"/>
                    <a:pt x="527" y="407"/>
                  </a:cubicBezTo>
                  <a:cubicBezTo>
                    <a:pt x="526" y="405"/>
                    <a:pt x="525" y="403"/>
                    <a:pt x="524" y="400"/>
                  </a:cubicBezTo>
                  <a:cubicBezTo>
                    <a:pt x="524" y="396"/>
                    <a:pt x="525" y="397"/>
                    <a:pt x="522" y="395"/>
                  </a:cubicBezTo>
                  <a:cubicBezTo>
                    <a:pt x="520" y="393"/>
                    <a:pt x="519" y="392"/>
                    <a:pt x="517" y="391"/>
                  </a:cubicBezTo>
                  <a:cubicBezTo>
                    <a:pt x="512" y="391"/>
                    <a:pt x="507" y="392"/>
                    <a:pt x="502" y="392"/>
                  </a:cubicBezTo>
                  <a:cubicBezTo>
                    <a:pt x="498" y="392"/>
                    <a:pt x="493" y="392"/>
                    <a:pt x="491" y="388"/>
                  </a:cubicBezTo>
                  <a:cubicBezTo>
                    <a:pt x="490" y="386"/>
                    <a:pt x="491" y="384"/>
                    <a:pt x="490" y="383"/>
                  </a:cubicBezTo>
                  <a:cubicBezTo>
                    <a:pt x="490" y="381"/>
                    <a:pt x="489" y="381"/>
                    <a:pt x="489" y="379"/>
                  </a:cubicBezTo>
                  <a:cubicBezTo>
                    <a:pt x="488" y="376"/>
                    <a:pt x="489" y="372"/>
                    <a:pt x="489" y="369"/>
                  </a:cubicBezTo>
                  <a:cubicBezTo>
                    <a:pt x="489" y="366"/>
                    <a:pt x="488" y="365"/>
                    <a:pt x="487" y="363"/>
                  </a:cubicBezTo>
                  <a:cubicBezTo>
                    <a:pt x="486" y="362"/>
                    <a:pt x="486" y="361"/>
                    <a:pt x="485" y="360"/>
                  </a:cubicBezTo>
                  <a:cubicBezTo>
                    <a:pt x="484" y="359"/>
                    <a:pt x="483" y="360"/>
                    <a:pt x="482" y="360"/>
                  </a:cubicBezTo>
                  <a:cubicBezTo>
                    <a:pt x="480" y="359"/>
                    <a:pt x="478" y="356"/>
                    <a:pt x="478" y="355"/>
                  </a:cubicBezTo>
                  <a:cubicBezTo>
                    <a:pt x="477" y="353"/>
                    <a:pt x="475" y="350"/>
                    <a:pt x="475" y="348"/>
                  </a:cubicBezTo>
                  <a:cubicBezTo>
                    <a:pt x="474" y="348"/>
                    <a:pt x="474" y="348"/>
                    <a:pt x="473" y="347"/>
                  </a:cubicBezTo>
                  <a:cubicBezTo>
                    <a:pt x="473" y="346"/>
                    <a:pt x="472" y="345"/>
                    <a:pt x="472" y="344"/>
                  </a:cubicBezTo>
                  <a:cubicBezTo>
                    <a:pt x="471" y="342"/>
                    <a:pt x="471" y="339"/>
                    <a:pt x="471" y="337"/>
                  </a:cubicBezTo>
                  <a:cubicBezTo>
                    <a:pt x="471" y="333"/>
                    <a:pt x="470" y="331"/>
                    <a:pt x="470" y="327"/>
                  </a:cubicBezTo>
                  <a:cubicBezTo>
                    <a:pt x="470" y="325"/>
                    <a:pt x="470" y="324"/>
                    <a:pt x="471" y="323"/>
                  </a:cubicBezTo>
                  <a:cubicBezTo>
                    <a:pt x="472" y="321"/>
                    <a:pt x="474" y="322"/>
                    <a:pt x="475" y="321"/>
                  </a:cubicBezTo>
                  <a:cubicBezTo>
                    <a:pt x="476" y="320"/>
                    <a:pt x="476" y="318"/>
                    <a:pt x="477" y="316"/>
                  </a:cubicBezTo>
                  <a:cubicBezTo>
                    <a:pt x="477" y="316"/>
                    <a:pt x="479" y="315"/>
                    <a:pt x="480" y="314"/>
                  </a:cubicBezTo>
                  <a:cubicBezTo>
                    <a:pt x="482" y="313"/>
                    <a:pt x="485" y="313"/>
                    <a:pt x="486" y="311"/>
                  </a:cubicBezTo>
                  <a:cubicBezTo>
                    <a:pt x="488" y="308"/>
                    <a:pt x="488" y="304"/>
                    <a:pt x="489" y="300"/>
                  </a:cubicBezTo>
                  <a:cubicBezTo>
                    <a:pt x="490" y="297"/>
                    <a:pt x="492" y="281"/>
                    <a:pt x="497" y="283"/>
                  </a:cubicBezTo>
                  <a:cubicBezTo>
                    <a:pt x="501" y="284"/>
                    <a:pt x="501" y="269"/>
                    <a:pt x="503" y="265"/>
                  </a:cubicBezTo>
                  <a:cubicBezTo>
                    <a:pt x="505" y="262"/>
                    <a:pt x="505" y="261"/>
                    <a:pt x="508" y="260"/>
                  </a:cubicBezTo>
                  <a:cubicBezTo>
                    <a:pt x="511" y="259"/>
                    <a:pt x="512" y="260"/>
                    <a:pt x="515" y="257"/>
                  </a:cubicBezTo>
                  <a:cubicBezTo>
                    <a:pt x="516" y="255"/>
                    <a:pt x="516" y="252"/>
                    <a:pt x="518" y="251"/>
                  </a:cubicBezTo>
                  <a:cubicBezTo>
                    <a:pt x="519" y="249"/>
                    <a:pt x="522" y="249"/>
                    <a:pt x="524" y="250"/>
                  </a:cubicBezTo>
                  <a:cubicBezTo>
                    <a:pt x="525" y="250"/>
                    <a:pt x="527" y="250"/>
                    <a:pt x="528" y="250"/>
                  </a:cubicBezTo>
                  <a:cubicBezTo>
                    <a:pt x="529" y="249"/>
                    <a:pt x="529" y="248"/>
                    <a:pt x="531" y="248"/>
                  </a:cubicBezTo>
                  <a:cubicBezTo>
                    <a:pt x="532" y="247"/>
                    <a:pt x="533" y="248"/>
                    <a:pt x="534" y="248"/>
                  </a:cubicBezTo>
                  <a:cubicBezTo>
                    <a:pt x="536" y="247"/>
                    <a:pt x="536" y="246"/>
                    <a:pt x="537" y="244"/>
                  </a:cubicBezTo>
                  <a:cubicBezTo>
                    <a:pt x="539" y="242"/>
                    <a:pt x="541" y="241"/>
                    <a:pt x="542" y="239"/>
                  </a:cubicBezTo>
                  <a:cubicBezTo>
                    <a:pt x="543" y="237"/>
                    <a:pt x="545" y="234"/>
                    <a:pt x="546" y="232"/>
                  </a:cubicBezTo>
                  <a:cubicBezTo>
                    <a:pt x="549" y="226"/>
                    <a:pt x="548" y="220"/>
                    <a:pt x="548" y="213"/>
                  </a:cubicBezTo>
                  <a:cubicBezTo>
                    <a:pt x="548" y="210"/>
                    <a:pt x="547" y="205"/>
                    <a:pt x="549" y="204"/>
                  </a:cubicBezTo>
                  <a:cubicBezTo>
                    <a:pt x="550" y="203"/>
                    <a:pt x="552" y="204"/>
                    <a:pt x="553" y="204"/>
                  </a:cubicBezTo>
                  <a:cubicBezTo>
                    <a:pt x="554" y="203"/>
                    <a:pt x="555" y="201"/>
                    <a:pt x="556" y="201"/>
                  </a:cubicBezTo>
                  <a:cubicBezTo>
                    <a:pt x="558" y="200"/>
                    <a:pt x="560" y="200"/>
                    <a:pt x="562" y="199"/>
                  </a:cubicBezTo>
                  <a:cubicBezTo>
                    <a:pt x="564" y="198"/>
                    <a:pt x="567" y="198"/>
                    <a:pt x="569" y="196"/>
                  </a:cubicBezTo>
                  <a:cubicBezTo>
                    <a:pt x="570" y="194"/>
                    <a:pt x="570" y="191"/>
                    <a:pt x="571" y="189"/>
                  </a:cubicBezTo>
                  <a:cubicBezTo>
                    <a:pt x="573" y="186"/>
                    <a:pt x="574" y="186"/>
                    <a:pt x="576" y="185"/>
                  </a:cubicBezTo>
                  <a:cubicBezTo>
                    <a:pt x="578" y="183"/>
                    <a:pt x="580" y="183"/>
                    <a:pt x="582" y="183"/>
                  </a:cubicBezTo>
                  <a:cubicBezTo>
                    <a:pt x="585" y="183"/>
                    <a:pt x="587" y="182"/>
                    <a:pt x="590" y="181"/>
                  </a:cubicBezTo>
                  <a:cubicBezTo>
                    <a:pt x="592" y="180"/>
                    <a:pt x="594" y="179"/>
                    <a:pt x="596" y="179"/>
                  </a:cubicBezTo>
                  <a:cubicBezTo>
                    <a:pt x="599" y="179"/>
                    <a:pt x="601" y="180"/>
                    <a:pt x="602" y="177"/>
                  </a:cubicBezTo>
                  <a:cubicBezTo>
                    <a:pt x="603" y="176"/>
                    <a:pt x="603" y="175"/>
                    <a:pt x="603" y="174"/>
                  </a:cubicBezTo>
                  <a:cubicBezTo>
                    <a:pt x="604" y="172"/>
                    <a:pt x="605" y="172"/>
                    <a:pt x="605" y="171"/>
                  </a:cubicBezTo>
                  <a:cubicBezTo>
                    <a:pt x="606" y="168"/>
                    <a:pt x="606" y="164"/>
                    <a:pt x="606" y="160"/>
                  </a:cubicBezTo>
                  <a:cubicBezTo>
                    <a:pt x="607" y="157"/>
                    <a:pt x="607" y="155"/>
                    <a:pt x="608" y="151"/>
                  </a:cubicBezTo>
                  <a:cubicBezTo>
                    <a:pt x="608" y="147"/>
                    <a:pt x="609" y="148"/>
                    <a:pt x="611" y="146"/>
                  </a:cubicBezTo>
                  <a:cubicBezTo>
                    <a:pt x="612" y="144"/>
                    <a:pt x="615" y="143"/>
                    <a:pt x="615" y="141"/>
                  </a:cubicBezTo>
                  <a:cubicBezTo>
                    <a:pt x="616" y="139"/>
                    <a:pt x="615" y="137"/>
                    <a:pt x="615" y="135"/>
                  </a:cubicBezTo>
                  <a:cubicBezTo>
                    <a:pt x="616" y="133"/>
                    <a:pt x="616" y="133"/>
                    <a:pt x="618" y="132"/>
                  </a:cubicBezTo>
                  <a:cubicBezTo>
                    <a:pt x="619" y="131"/>
                    <a:pt x="621" y="129"/>
                    <a:pt x="622" y="127"/>
                  </a:cubicBezTo>
                  <a:cubicBezTo>
                    <a:pt x="622" y="125"/>
                    <a:pt x="622" y="118"/>
                    <a:pt x="621" y="117"/>
                  </a:cubicBezTo>
                  <a:cubicBezTo>
                    <a:pt x="620" y="113"/>
                    <a:pt x="617" y="115"/>
                    <a:pt x="615" y="115"/>
                  </a:cubicBezTo>
                  <a:cubicBezTo>
                    <a:pt x="613" y="114"/>
                    <a:pt x="610" y="113"/>
                    <a:pt x="608" y="111"/>
                  </a:cubicBezTo>
                  <a:cubicBezTo>
                    <a:pt x="605" y="108"/>
                    <a:pt x="603" y="104"/>
                    <a:pt x="604" y="99"/>
                  </a:cubicBezTo>
                  <a:cubicBezTo>
                    <a:pt x="604" y="92"/>
                    <a:pt x="611" y="92"/>
                    <a:pt x="614" y="95"/>
                  </a:cubicBezTo>
                  <a:cubicBezTo>
                    <a:pt x="615" y="96"/>
                    <a:pt x="615" y="97"/>
                    <a:pt x="616" y="97"/>
                  </a:cubicBezTo>
                  <a:cubicBezTo>
                    <a:pt x="617" y="98"/>
                    <a:pt x="619" y="97"/>
                    <a:pt x="620" y="97"/>
                  </a:cubicBezTo>
                  <a:cubicBezTo>
                    <a:pt x="622" y="98"/>
                    <a:pt x="623" y="101"/>
                    <a:pt x="624" y="102"/>
                  </a:cubicBezTo>
                  <a:cubicBezTo>
                    <a:pt x="625" y="104"/>
                    <a:pt x="624" y="104"/>
                    <a:pt x="626" y="104"/>
                  </a:cubicBezTo>
                  <a:cubicBezTo>
                    <a:pt x="628" y="104"/>
                    <a:pt x="629" y="104"/>
                    <a:pt x="630" y="104"/>
                  </a:cubicBezTo>
                  <a:cubicBezTo>
                    <a:pt x="633" y="104"/>
                    <a:pt x="635" y="105"/>
                    <a:pt x="638" y="104"/>
                  </a:cubicBezTo>
                  <a:cubicBezTo>
                    <a:pt x="638" y="102"/>
                    <a:pt x="638" y="101"/>
                    <a:pt x="638" y="99"/>
                  </a:cubicBezTo>
                  <a:cubicBezTo>
                    <a:pt x="639" y="99"/>
                    <a:pt x="639" y="99"/>
                    <a:pt x="640" y="98"/>
                  </a:cubicBezTo>
                  <a:cubicBezTo>
                    <a:pt x="640" y="97"/>
                    <a:pt x="640" y="97"/>
                    <a:pt x="641" y="96"/>
                  </a:cubicBezTo>
                  <a:cubicBezTo>
                    <a:pt x="645" y="95"/>
                    <a:pt x="646" y="90"/>
                    <a:pt x="647" y="98"/>
                  </a:cubicBezTo>
                  <a:cubicBezTo>
                    <a:pt x="648" y="98"/>
                    <a:pt x="649" y="100"/>
                    <a:pt x="650" y="101"/>
                  </a:cubicBezTo>
                  <a:cubicBezTo>
                    <a:pt x="652" y="101"/>
                    <a:pt x="654" y="100"/>
                    <a:pt x="655" y="101"/>
                  </a:cubicBezTo>
                  <a:cubicBezTo>
                    <a:pt x="659" y="102"/>
                    <a:pt x="659" y="106"/>
                    <a:pt x="661" y="109"/>
                  </a:cubicBezTo>
                  <a:cubicBezTo>
                    <a:pt x="662" y="110"/>
                    <a:pt x="664" y="110"/>
                    <a:pt x="664" y="111"/>
                  </a:cubicBezTo>
                  <a:cubicBezTo>
                    <a:pt x="666" y="113"/>
                    <a:pt x="665" y="112"/>
                    <a:pt x="665" y="115"/>
                  </a:cubicBezTo>
                  <a:cubicBezTo>
                    <a:pt x="664" y="119"/>
                    <a:pt x="662" y="121"/>
                    <a:pt x="661" y="125"/>
                  </a:cubicBezTo>
                  <a:cubicBezTo>
                    <a:pt x="664" y="125"/>
                    <a:pt x="663" y="129"/>
                    <a:pt x="666" y="130"/>
                  </a:cubicBezTo>
                  <a:cubicBezTo>
                    <a:pt x="667" y="132"/>
                    <a:pt x="672" y="130"/>
                    <a:pt x="674" y="130"/>
                  </a:cubicBezTo>
                  <a:cubicBezTo>
                    <a:pt x="677" y="130"/>
                    <a:pt x="680" y="130"/>
                    <a:pt x="683" y="132"/>
                  </a:cubicBezTo>
                  <a:cubicBezTo>
                    <a:pt x="684" y="133"/>
                    <a:pt x="687" y="136"/>
                    <a:pt x="689" y="135"/>
                  </a:cubicBezTo>
                  <a:cubicBezTo>
                    <a:pt x="688" y="137"/>
                    <a:pt x="688" y="143"/>
                    <a:pt x="689" y="146"/>
                  </a:cubicBezTo>
                  <a:cubicBezTo>
                    <a:pt x="689" y="146"/>
                    <a:pt x="690" y="146"/>
                    <a:pt x="691" y="146"/>
                  </a:cubicBezTo>
                  <a:cubicBezTo>
                    <a:pt x="692" y="151"/>
                    <a:pt x="691" y="158"/>
                    <a:pt x="691" y="164"/>
                  </a:cubicBezTo>
                  <a:cubicBezTo>
                    <a:pt x="691" y="167"/>
                    <a:pt x="691" y="169"/>
                    <a:pt x="690" y="171"/>
                  </a:cubicBezTo>
                  <a:cubicBezTo>
                    <a:pt x="689" y="173"/>
                    <a:pt x="687" y="174"/>
                    <a:pt x="687" y="177"/>
                  </a:cubicBezTo>
                  <a:cubicBezTo>
                    <a:pt x="683" y="178"/>
                    <a:pt x="681" y="182"/>
                    <a:pt x="677" y="183"/>
                  </a:cubicBezTo>
                  <a:cubicBezTo>
                    <a:pt x="675" y="184"/>
                    <a:pt x="674" y="183"/>
                    <a:pt x="672" y="184"/>
                  </a:cubicBezTo>
                  <a:cubicBezTo>
                    <a:pt x="670" y="185"/>
                    <a:pt x="668" y="186"/>
                    <a:pt x="668" y="190"/>
                  </a:cubicBezTo>
                  <a:cubicBezTo>
                    <a:pt x="667" y="190"/>
                    <a:pt x="667" y="190"/>
                    <a:pt x="666" y="190"/>
                  </a:cubicBezTo>
                  <a:cubicBezTo>
                    <a:pt x="666" y="191"/>
                    <a:pt x="666" y="192"/>
                    <a:pt x="665" y="193"/>
                  </a:cubicBezTo>
                  <a:cubicBezTo>
                    <a:pt x="665" y="193"/>
                    <a:pt x="664" y="194"/>
                    <a:pt x="663" y="194"/>
                  </a:cubicBezTo>
                  <a:cubicBezTo>
                    <a:pt x="663" y="195"/>
                    <a:pt x="663" y="197"/>
                    <a:pt x="663" y="198"/>
                  </a:cubicBezTo>
                  <a:cubicBezTo>
                    <a:pt x="662" y="199"/>
                    <a:pt x="661" y="200"/>
                    <a:pt x="661" y="201"/>
                  </a:cubicBezTo>
                  <a:cubicBezTo>
                    <a:pt x="660" y="202"/>
                    <a:pt x="661" y="204"/>
                    <a:pt x="660" y="205"/>
                  </a:cubicBezTo>
                  <a:cubicBezTo>
                    <a:pt x="659" y="207"/>
                    <a:pt x="657" y="207"/>
                    <a:pt x="656" y="208"/>
                  </a:cubicBezTo>
                  <a:cubicBezTo>
                    <a:pt x="656" y="209"/>
                    <a:pt x="655" y="210"/>
                    <a:pt x="655" y="211"/>
                  </a:cubicBezTo>
                  <a:cubicBezTo>
                    <a:pt x="655" y="210"/>
                    <a:pt x="654" y="209"/>
                    <a:pt x="653" y="209"/>
                  </a:cubicBezTo>
                  <a:cubicBezTo>
                    <a:pt x="651" y="209"/>
                    <a:pt x="651" y="210"/>
                    <a:pt x="650" y="211"/>
                  </a:cubicBezTo>
                  <a:cubicBezTo>
                    <a:pt x="648" y="211"/>
                    <a:pt x="645" y="211"/>
                    <a:pt x="643" y="211"/>
                  </a:cubicBezTo>
                  <a:cubicBezTo>
                    <a:pt x="640" y="211"/>
                    <a:pt x="635" y="216"/>
                    <a:pt x="635" y="219"/>
                  </a:cubicBezTo>
                  <a:cubicBezTo>
                    <a:pt x="634" y="220"/>
                    <a:pt x="633" y="220"/>
                    <a:pt x="632" y="220"/>
                  </a:cubicBezTo>
                  <a:cubicBezTo>
                    <a:pt x="631" y="222"/>
                    <a:pt x="631" y="226"/>
                    <a:pt x="632" y="229"/>
                  </a:cubicBezTo>
                  <a:cubicBezTo>
                    <a:pt x="632" y="232"/>
                    <a:pt x="633" y="233"/>
                    <a:pt x="634" y="235"/>
                  </a:cubicBezTo>
                  <a:cubicBezTo>
                    <a:pt x="636" y="239"/>
                    <a:pt x="635" y="247"/>
                    <a:pt x="639" y="248"/>
                  </a:cubicBezTo>
                  <a:cubicBezTo>
                    <a:pt x="639" y="244"/>
                    <a:pt x="640" y="235"/>
                    <a:pt x="642" y="232"/>
                  </a:cubicBezTo>
                  <a:cubicBezTo>
                    <a:pt x="645" y="228"/>
                    <a:pt x="651" y="231"/>
                    <a:pt x="654" y="228"/>
                  </a:cubicBezTo>
                  <a:cubicBezTo>
                    <a:pt x="656" y="227"/>
                    <a:pt x="656" y="224"/>
                    <a:pt x="658" y="225"/>
                  </a:cubicBezTo>
                  <a:cubicBezTo>
                    <a:pt x="660" y="225"/>
                    <a:pt x="661" y="229"/>
                    <a:pt x="662" y="231"/>
                  </a:cubicBezTo>
                  <a:cubicBezTo>
                    <a:pt x="662" y="232"/>
                    <a:pt x="663" y="235"/>
                    <a:pt x="664" y="236"/>
                  </a:cubicBezTo>
                  <a:cubicBezTo>
                    <a:pt x="666" y="238"/>
                    <a:pt x="668" y="236"/>
                    <a:pt x="669" y="239"/>
                  </a:cubicBezTo>
                  <a:cubicBezTo>
                    <a:pt x="670" y="242"/>
                    <a:pt x="669" y="245"/>
                    <a:pt x="669" y="248"/>
                  </a:cubicBezTo>
                  <a:cubicBezTo>
                    <a:pt x="670" y="250"/>
                    <a:pt x="670" y="252"/>
                    <a:pt x="671" y="254"/>
                  </a:cubicBezTo>
                  <a:cubicBezTo>
                    <a:pt x="673" y="261"/>
                    <a:pt x="677" y="256"/>
                    <a:pt x="681" y="260"/>
                  </a:cubicBezTo>
                  <a:cubicBezTo>
                    <a:pt x="683" y="262"/>
                    <a:pt x="681" y="264"/>
                    <a:pt x="682" y="267"/>
                  </a:cubicBezTo>
                  <a:cubicBezTo>
                    <a:pt x="683" y="268"/>
                    <a:pt x="685" y="271"/>
                    <a:pt x="686" y="272"/>
                  </a:cubicBezTo>
                  <a:cubicBezTo>
                    <a:pt x="688" y="273"/>
                    <a:pt x="689" y="272"/>
                    <a:pt x="691" y="274"/>
                  </a:cubicBezTo>
                  <a:cubicBezTo>
                    <a:pt x="692" y="276"/>
                    <a:pt x="692" y="280"/>
                    <a:pt x="692" y="283"/>
                  </a:cubicBezTo>
                  <a:cubicBezTo>
                    <a:pt x="695" y="284"/>
                    <a:pt x="697" y="283"/>
                    <a:pt x="699" y="285"/>
                  </a:cubicBezTo>
                  <a:cubicBezTo>
                    <a:pt x="700" y="285"/>
                    <a:pt x="702" y="286"/>
                    <a:pt x="702" y="286"/>
                  </a:cubicBezTo>
                  <a:cubicBezTo>
                    <a:pt x="703" y="287"/>
                    <a:pt x="704" y="289"/>
                    <a:pt x="705" y="289"/>
                  </a:cubicBezTo>
                  <a:cubicBezTo>
                    <a:pt x="706" y="290"/>
                    <a:pt x="708" y="289"/>
                    <a:pt x="709" y="290"/>
                  </a:cubicBezTo>
                  <a:cubicBezTo>
                    <a:pt x="710" y="291"/>
                    <a:pt x="709" y="292"/>
                    <a:pt x="711" y="294"/>
                  </a:cubicBezTo>
                  <a:cubicBezTo>
                    <a:pt x="712" y="296"/>
                    <a:pt x="716" y="296"/>
                    <a:pt x="718" y="295"/>
                  </a:cubicBezTo>
                  <a:cubicBezTo>
                    <a:pt x="719" y="294"/>
                    <a:pt x="719" y="293"/>
                    <a:pt x="719" y="292"/>
                  </a:cubicBezTo>
                  <a:cubicBezTo>
                    <a:pt x="720" y="292"/>
                    <a:pt x="722" y="291"/>
                    <a:pt x="722" y="288"/>
                  </a:cubicBezTo>
                  <a:cubicBezTo>
                    <a:pt x="720" y="287"/>
                    <a:pt x="717" y="290"/>
                    <a:pt x="715" y="286"/>
                  </a:cubicBezTo>
                  <a:cubicBezTo>
                    <a:pt x="713" y="282"/>
                    <a:pt x="716" y="278"/>
                    <a:pt x="713" y="274"/>
                  </a:cubicBezTo>
                  <a:cubicBezTo>
                    <a:pt x="711" y="272"/>
                    <a:pt x="709" y="274"/>
                    <a:pt x="708" y="269"/>
                  </a:cubicBezTo>
                  <a:cubicBezTo>
                    <a:pt x="708" y="265"/>
                    <a:pt x="708" y="259"/>
                    <a:pt x="709" y="255"/>
                  </a:cubicBezTo>
                  <a:cubicBezTo>
                    <a:pt x="711" y="256"/>
                    <a:pt x="713" y="257"/>
                    <a:pt x="715" y="258"/>
                  </a:cubicBezTo>
                  <a:cubicBezTo>
                    <a:pt x="718" y="260"/>
                    <a:pt x="719" y="262"/>
                    <a:pt x="722" y="262"/>
                  </a:cubicBezTo>
                  <a:cubicBezTo>
                    <a:pt x="722" y="266"/>
                    <a:pt x="723" y="267"/>
                    <a:pt x="725" y="269"/>
                  </a:cubicBezTo>
                  <a:cubicBezTo>
                    <a:pt x="727" y="270"/>
                    <a:pt x="730" y="272"/>
                    <a:pt x="733" y="271"/>
                  </a:cubicBezTo>
                  <a:cubicBezTo>
                    <a:pt x="736" y="269"/>
                    <a:pt x="732" y="254"/>
                    <a:pt x="732" y="250"/>
                  </a:cubicBezTo>
                  <a:cubicBezTo>
                    <a:pt x="732" y="242"/>
                    <a:pt x="735" y="237"/>
                    <a:pt x="731" y="230"/>
                  </a:cubicBezTo>
                  <a:cubicBezTo>
                    <a:pt x="731" y="228"/>
                    <a:pt x="732" y="228"/>
                    <a:pt x="730" y="227"/>
                  </a:cubicBezTo>
                  <a:cubicBezTo>
                    <a:pt x="729" y="226"/>
                    <a:pt x="727" y="227"/>
                    <a:pt x="726" y="226"/>
                  </a:cubicBezTo>
                  <a:cubicBezTo>
                    <a:pt x="724" y="225"/>
                    <a:pt x="723" y="221"/>
                    <a:pt x="720" y="221"/>
                  </a:cubicBezTo>
                  <a:cubicBezTo>
                    <a:pt x="720" y="218"/>
                    <a:pt x="719" y="216"/>
                    <a:pt x="719" y="213"/>
                  </a:cubicBezTo>
                  <a:cubicBezTo>
                    <a:pt x="719" y="209"/>
                    <a:pt x="718" y="205"/>
                    <a:pt x="720" y="202"/>
                  </a:cubicBezTo>
                  <a:cubicBezTo>
                    <a:pt x="720" y="199"/>
                    <a:pt x="721" y="197"/>
                    <a:pt x="721" y="194"/>
                  </a:cubicBezTo>
                  <a:cubicBezTo>
                    <a:pt x="722" y="193"/>
                    <a:pt x="722" y="191"/>
                    <a:pt x="722" y="190"/>
                  </a:cubicBezTo>
                  <a:cubicBezTo>
                    <a:pt x="723" y="187"/>
                    <a:pt x="722" y="187"/>
                    <a:pt x="724" y="185"/>
                  </a:cubicBezTo>
                  <a:cubicBezTo>
                    <a:pt x="725" y="183"/>
                    <a:pt x="727" y="182"/>
                    <a:pt x="729" y="181"/>
                  </a:cubicBezTo>
                  <a:cubicBezTo>
                    <a:pt x="732" y="178"/>
                    <a:pt x="732" y="180"/>
                    <a:pt x="734" y="185"/>
                  </a:cubicBezTo>
                  <a:cubicBezTo>
                    <a:pt x="735" y="187"/>
                    <a:pt x="736" y="189"/>
                    <a:pt x="736" y="192"/>
                  </a:cubicBezTo>
                  <a:cubicBezTo>
                    <a:pt x="737" y="193"/>
                    <a:pt x="736" y="195"/>
                    <a:pt x="736" y="197"/>
                  </a:cubicBezTo>
                  <a:cubicBezTo>
                    <a:pt x="737" y="203"/>
                    <a:pt x="739" y="199"/>
                    <a:pt x="742" y="201"/>
                  </a:cubicBezTo>
                  <a:cubicBezTo>
                    <a:pt x="743" y="205"/>
                    <a:pt x="745" y="207"/>
                    <a:pt x="745" y="211"/>
                  </a:cubicBezTo>
                  <a:cubicBezTo>
                    <a:pt x="746" y="217"/>
                    <a:pt x="743" y="220"/>
                    <a:pt x="749" y="220"/>
                  </a:cubicBezTo>
                  <a:cubicBezTo>
                    <a:pt x="750" y="220"/>
                    <a:pt x="753" y="219"/>
                    <a:pt x="754" y="220"/>
                  </a:cubicBezTo>
                  <a:cubicBezTo>
                    <a:pt x="754" y="221"/>
                    <a:pt x="754" y="225"/>
                    <a:pt x="754" y="226"/>
                  </a:cubicBezTo>
                  <a:cubicBezTo>
                    <a:pt x="755" y="232"/>
                    <a:pt x="758" y="235"/>
                    <a:pt x="758" y="227"/>
                  </a:cubicBezTo>
                  <a:cubicBezTo>
                    <a:pt x="758" y="222"/>
                    <a:pt x="758" y="217"/>
                    <a:pt x="758" y="213"/>
                  </a:cubicBezTo>
                  <a:cubicBezTo>
                    <a:pt x="758" y="209"/>
                    <a:pt x="759" y="203"/>
                    <a:pt x="760" y="200"/>
                  </a:cubicBezTo>
                  <a:cubicBezTo>
                    <a:pt x="762" y="198"/>
                    <a:pt x="764" y="197"/>
                    <a:pt x="766" y="195"/>
                  </a:cubicBezTo>
                  <a:cubicBezTo>
                    <a:pt x="769" y="192"/>
                    <a:pt x="770" y="190"/>
                    <a:pt x="774" y="190"/>
                  </a:cubicBezTo>
                  <a:cubicBezTo>
                    <a:pt x="774" y="187"/>
                    <a:pt x="774" y="184"/>
                    <a:pt x="774" y="181"/>
                  </a:cubicBezTo>
                  <a:cubicBezTo>
                    <a:pt x="771" y="181"/>
                    <a:pt x="769" y="179"/>
                    <a:pt x="765" y="179"/>
                  </a:cubicBezTo>
                  <a:cubicBezTo>
                    <a:pt x="762" y="179"/>
                    <a:pt x="759" y="181"/>
                    <a:pt x="757" y="177"/>
                  </a:cubicBezTo>
                  <a:cubicBezTo>
                    <a:pt x="755" y="174"/>
                    <a:pt x="755" y="170"/>
                    <a:pt x="752" y="167"/>
                  </a:cubicBezTo>
                  <a:cubicBezTo>
                    <a:pt x="751" y="166"/>
                    <a:pt x="749" y="168"/>
                    <a:pt x="748" y="167"/>
                  </a:cubicBezTo>
                  <a:cubicBezTo>
                    <a:pt x="747" y="167"/>
                    <a:pt x="746" y="166"/>
                    <a:pt x="746" y="166"/>
                  </a:cubicBezTo>
                  <a:cubicBezTo>
                    <a:pt x="744" y="165"/>
                    <a:pt x="743" y="166"/>
                    <a:pt x="741" y="165"/>
                  </a:cubicBezTo>
                  <a:cubicBezTo>
                    <a:pt x="741" y="164"/>
                    <a:pt x="741" y="163"/>
                    <a:pt x="741" y="162"/>
                  </a:cubicBezTo>
                  <a:cubicBezTo>
                    <a:pt x="738" y="162"/>
                    <a:pt x="736" y="159"/>
                    <a:pt x="734" y="156"/>
                  </a:cubicBezTo>
                  <a:cubicBezTo>
                    <a:pt x="733" y="154"/>
                    <a:pt x="733" y="153"/>
                    <a:pt x="733" y="151"/>
                  </a:cubicBezTo>
                  <a:cubicBezTo>
                    <a:pt x="731" y="148"/>
                    <a:pt x="731" y="149"/>
                    <a:pt x="729" y="148"/>
                  </a:cubicBezTo>
                  <a:cubicBezTo>
                    <a:pt x="724" y="145"/>
                    <a:pt x="725" y="141"/>
                    <a:pt x="725" y="136"/>
                  </a:cubicBezTo>
                  <a:cubicBezTo>
                    <a:pt x="725" y="132"/>
                    <a:pt x="725" y="131"/>
                    <a:pt x="726" y="128"/>
                  </a:cubicBezTo>
                  <a:cubicBezTo>
                    <a:pt x="727" y="125"/>
                    <a:pt x="727" y="125"/>
                    <a:pt x="729" y="123"/>
                  </a:cubicBezTo>
                  <a:cubicBezTo>
                    <a:pt x="731" y="121"/>
                    <a:pt x="733" y="117"/>
                    <a:pt x="735" y="114"/>
                  </a:cubicBezTo>
                  <a:cubicBezTo>
                    <a:pt x="737" y="110"/>
                    <a:pt x="740" y="109"/>
                    <a:pt x="736" y="106"/>
                  </a:cubicBezTo>
                  <a:cubicBezTo>
                    <a:pt x="733" y="103"/>
                    <a:pt x="730" y="105"/>
                    <a:pt x="726" y="104"/>
                  </a:cubicBezTo>
                  <a:cubicBezTo>
                    <a:pt x="721" y="103"/>
                    <a:pt x="723" y="98"/>
                    <a:pt x="722" y="92"/>
                  </a:cubicBezTo>
                  <a:cubicBezTo>
                    <a:pt x="720" y="92"/>
                    <a:pt x="719" y="90"/>
                    <a:pt x="717" y="90"/>
                  </a:cubicBezTo>
                  <a:cubicBezTo>
                    <a:pt x="715" y="89"/>
                    <a:pt x="714" y="91"/>
                    <a:pt x="712" y="91"/>
                  </a:cubicBezTo>
                  <a:cubicBezTo>
                    <a:pt x="710" y="92"/>
                    <a:pt x="708" y="92"/>
                    <a:pt x="706" y="92"/>
                  </a:cubicBezTo>
                  <a:cubicBezTo>
                    <a:pt x="703" y="92"/>
                    <a:pt x="702" y="91"/>
                    <a:pt x="700" y="89"/>
                  </a:cubicBezTo>
                  <a:cubicBezTo>
                    <a:pt x="698" y="88"/>
                    <a:pt x="692" y="84"/>
                    <a:pt x="696" y="80"/>
                  </a:cubicBezTo>
                  <a:cubicBezTo>
                    <a:pt x="698" y="79"/>
                    <a:pt x="701" y="79"/>
                    <a:pt x="702" y="79"/>
                  </a:cubicBezTo>
                  <a:cubicBezTo>
                    <a:pt x="705" y="80"/>
                    <a:pt x="706" y="79"/>
                    <a:pt x="708" y="76"/>
                  </a:cubicBezTo>
                  <a:cubicBezTo>
                    <a:pt x="709" y="74"/>
                    <a:pt x="710" y="74"/>
                    <a:pt x="712" y="74"/>
                  </a:cubicBezTo>
                  <a:cubicBezTo>
                    <a:pt x="714" y="74"/>
                    <a:pt x="717" y="75"/>
                    <a:pt x="717" y="73"/>
                  </a:cubicBezTo>
                  <a:cubicBezTo>
                    <a:pt x="718" y="70"/>
                    <a:pt x="716" y="68"/>
                    <a:pt x="715" y="67"/>
                  </a:cubicBezTo>
                  <a:cubicBezTo>
                    <a:pt x="712" y="65"/>
                    <a:pt x="710" y="66"/>
                    <a:pt x="707" y="65"/>
                  </a:cubicBezTo>
                  <a:cubicBezTo>
                    <a:pt x="703" y="65"/>
                    <a:pt x="700" y="62"/>
                    <a:pt x="696" y="62"/>
                  </a:cubicBezTo>
                  <a:cubicBezTo>
                    <a:pt x="693" y="62"/>
                    <a:pt x="693" y="63"/>
                    <a:pt x="691" y="64"/>
                  </a:cubicBezTo>
                  <a:cubicBezTo>
                    <a:pt x="689" y="66"/>
                    <a:pt x="687" y="66"/>
                    <a:pt x="687" y="70"/>
                  </a:cubicBezTo>
                  <a:cubicBezTo>
                    <a:pt x="685" y="71"/>
                    <a:pt x="683" y="71"/>
                    <a:pt x="682" y="71"/>
                  </a:cubicBezTo>
                  <a:cubicBezTo>
                    <a:pt x="679" y="70"/>
                    <a:pt x="681" y="70"/>
                    <a:pt x="679" y="68"/>
                  </a:cubicBezTo>
                  <a:cubicBezTo>
                    <a:pt x="678" y="66"/>
                    <a:pt x="677" y="66"/>
                    <a:pt x="677" y="64"/>
                  </a:cubicBezTo>
                  <a:cubicBezTo>
                    <a:pt x="676" y="60"/>
                    <a:pt x="678" y="59"/>
                    <a:pt x="676" y="57"/>
                  </a:cubicBezTo>
                  <a:cubicBezTo>
                    <a:pt x="675" y="56"/>
                    <a:pt x="673" y="56"/>
                    <a:pt x="672" y="55"/>
                  </a:cubicBezTo>
                  <a:cubicBezTo>
                    <a:pt x="670" y="52"/>
                    <a:pt x="671" y="51"/>
                    <a:pt x="670" y="48"/>
                  </a:cubicBezTo>
                  <a:cubicBezTo>
                    <a:pt x="670" y="47"/>
                    <a:pt x="669" y="45"/>
                    <a:pt x="668" y="44"/>
                  </a:cubicBezTo>
                  <a:cubicBezTo>
                    <a:pt x="667" y="44"/>
                    <a:pt x="666" y="44"/>
                    <a:pt x="666" y="44"/>
                  </a:cubicBezTo>
                  <a:cubicBezTo>
                    <a:pt x="665" y="44"/>
                    <a:pt x="664" y="42"/>
                    <a:pt x="663" y="42"/>
                  </a:cubicBezTo>
                  <a:cubicBezTo>
                    <a:pt x="661" y="43"/>
                    <a:pt x="661" y="45"/>
                    <a:pt x="661" y="46"/>
                  </a:cubicBezTo>
                  <a:cubicBezTo>
                    <a:pt x="659" y="48"/>
                    <a:pt x="659" y="47"/>
                    <a:pt x="657" y="48"/>
                  </a:cubicBezTo>
                  <a:cubicBezTo>
                    <a:pt x="655" y="48"/>
                    <a:pt x="655" y="49"/>
                    <a:pt x="653" y="50"/>
                  </a:cubicBezTo>
                  <a:cubicBezTo>
                    <a:pt x="651" y="50"/>
                    <a:pt x="650" y="48"/>
                    <a:pt x="648" y="48"/>
                  </a:cubicBezTo>
                  <a:cubicBezTo>
                    <a:pt x="647" y="47"/>
                    <a:pt x="644" y="48"/>
                    <a:pt x="643" y="48"/>
                  </a:cubicBezTo>
                  <a:cubicBezTo>
                    <a:pt x="642" y="48"/>
                    <a:pt x="641" y="48"/>
                    <a:pt x="640" y="48"/>
                  </a:cubicBezTo>
                  <a:cubicBezTo>
                    <a:pt x="639" y="48"/>
                    <a:pt x="638" y="49"/>
                    <a:pt x="638" y="49"/>
                  </a:cubicBezTo>
                  <a:cubicBezTo>
                    <a:pt x="636" y="50"/>
                    <a:pt x="634" y="50"/>
                    <a:pt x="633" y="50"/>
                  </a:cubicBezTo>
                  <a:cubicBezTo>
                    <a:pt x="631" y="49"/>
                    <a:pt x="630" y="48"/>
                    <a:pt x="628" y="48"/>
                  </a:cubicBezTo>
                  <a:cubicBezTo>
                    <a:pt x="628" y="45"/>
                    <a:pt x="625" y="38"/>
                    <a:pt x="629" y="39"/>
                  </a:cubicBezTo>
                  <a:cubicBezTo>
                    <a:pt x="629" y="36"/>
                    <a:pt x="629" y="34"/>
                    <a:pt x="630" y="32"/>
                  </a:cubicBezTo>
                  <a:cubicBezTo>
                    <a:pt x="631" y="29"/>
                    <a:pt x="632" y="27"/>
                    <a:pt x="632" y="23"/>
                  </a:cubicBezTo>
                  <a:cubicBezTo>
                    <a:pt x="631" y="20"/>
                    <a:pt x="631" y="18"/>
                    <a:pt x="630" y="15"/>
                  </a:cubicBezTo>
                  <a:cubicBezTo>
                    <a:pt x="630" y="11"/>
                    <a:pt x="629" y="9"/>
                    <a:pt x="629" y="6"/>
                  </a:cubicBezTo>
                  <a:cubicBezTo>
                    <a:pt x="628" y="6"/>
                    <a:pt x="625" y="5"/>
                    <a:pt x="624" y="6"/>
                  </a:cubicBezTo>
                  <a:cubicBezTo>
                    <a:pt x="624" y="7"/>
                    <a:pt x="624" y="8"/>
                    <a:pt x="624" y="9"/>
                  </a:cubicBezTo>
                  <a:cubicBezTo>
                    <a:pt x="623" y="10"/>
                    <a:pt x="622" y="10"/>
                    <a:pt x="621" y="11"/>
                  </a:cubicBezTo>
                  <a:cubicBezTo>
                    <a:pt x="620" y="12"/>
                    <a:pt x="619" y="13"/>
                    <a:pt x="618" y="13"/>
                  </a:cubicBezTo>
                  <a:cubicBezTo>
                    <a:pt x="616" y="13"/>
                    <a:pt x="613" y="12"/>
                    <a:pt x="612" y="13"/>
                  </a:cubicBezTo>
                  <a:cubicBezTo>
                    <a:pt x="611" y="13"/>
                    <a:pt x="610" y="17"/>
                    <a:pt x="610" y="18"/>
                  </a:cubicBezTo>
                  <a:cubicBezTo>
                    <a:pt x="610" y="19"/>
                    <a:pt x="610" y="20"/>
                    <a:pt x="610" y="21"/>
                  </a:cubicBezTo>
                  <a:cubicBezTo>
                    <a:pt x="609" y="22"/>
                    <a:pt x="608" y="24"/>
                    <a:pt x="608" y="25"/>
                  </a:cubicBezTo>
                  <a:cubicBezTo>
                    <a:pt x="606" y="28"/>
                    <a:pt x="604" y="33"/>
                    <a:pt x="605" y="37"/>
                  </a:cubicBezTo>
                  <a:cubicBezTo>
                    <a:pt x="606" y="37"/>
                    <a:pt x="607" y="37"/>
                    <a:pt x="607" y="38"/>
                  </a:cubicBezTo>
                  <a:cubicBezTo>
                    <a:pt x="608" y="41"/>
                    <a:pt x="608" y="48"/>
                    <a:pt x="608" y="51"/>
                  </a:cubicBezTo>
                  <a:cubicBezTo>
                    <a:pt x="607" y="56"/>
                    <a:pt x="605" y="58"/>
                    <a:pt x="601" y="59"/>
                  </a:cubicBezTo>
                  <a:cubicBezTo>
                    <a:pt x="601" y="62"/>
                    <a:pt x="603" y="70"/>
                    <a:pt x="601" y="72"/>
                  </a:cubicBezTo>
                  <a:cubicBezTo>
                    <a:pt x="600" y="73"/>
                    <a:pt x="597" y="73"/>
                    <a:pt x="596" y="73"/>
                  </a:cubicBezTo>
                  <a:cubicBezTo>
                    <a:pt x="593" y="72"/>
                    <a:pt x="594" y="70"/>
                    <a:pt x="594" y="67"/>
                  </a:cubicBezTo>
                  <a:cubicBezTo>
                    <a:pt x="593" y="65"/>
                    <a:pt x="593" y="64"/>
                    <a:pt x="592" y="62"/>
                  </a:cubicBezTo>
                  <a:cubicBezTo>
                    <a:pt x="592" y="60"/>
                    <a:pt x="593" y="58"/>
                    <a:pt x="592" y="55"/>
                  </a:cubicBezTo>
                  <a:cubicBezTo>
                    <a:pt x="592" y="54"/>
                    <a:pt x="591" y="52"/>
                    <a:pt x="590" y="51"/>
                  </a:cubicBezTo>
                  <a:cubicBezTo>
                    <a:pt x="589" y="48"/>
                    <a:pt x="589" y="48"/>
                    <a:pt x="588" y="45"/>
                  </a:cubicBezTo>
                  <a:cubicBezTo>
                    <a:pt x="588" y="44"/>
                    <a:pt x="587" y="44"/>
                    <a:pt x="586" y="44"/>
                  </a:cubicBezTo>
                  <a:cubicBezTo>
                    <a:pt x="585" y="40"/>
                    <a:pt x="587" y="38"/>
                    <a:pt x="587" y="34"/>
                  </a:cubicBezTo>
                  <a:cubicBezTo>
                    <a:pt x="588" y="32"/>
                    <a:pt x="587" y="30"/>
                    <a:pt x="587" y="29"/>
                  </a:cubicBezTo>
                  <a:cubicBezTo>
                    <a:pt x="588" y="27"/>
                    <a:pt x="589" y="26"/>
                    <a:pt x="589" y="24"/>
                  </a:cubicBezTo>
                  <a:cubicBezTo>
                    <a:pt x="590" y="23"/>
                    <a:pt x="590" y="23"/>
                    <a:pt x="591" y="23"/>
                  </a:cubicBezTo>
                  <a:cubicBezTo>
                    <a:pt x="591" y="21"/>
                    <a:pt x="592" y="20"/>
                    <a:pt x="593" y="19"/>
                  </a:cubicBezTo>
                  <a:cubicBezTo>
                    <a:pt x="594" y="17"/>
                    <a:pt x="594" y="15"/>
                    <a:pt x="595" y="13"/>
                  </a:cubicBezTo>
                  <a:cubicBezTo>
                    <a:pt x="596" y="12"/>
                    <a:pt x="599" y="12"/>
                    <a:pt x="600" y="11"/>
                  </a:cubicBezTo>
                  <a:cubicBezTo>
                    <a:pt x="601" y="10"/>
                    <a:pt x="601" y="6"/>
                    <a:pt x="602" y="4"/>
                  </a:cubicBezTo>
                  <a:cubicBezTo>
                    <a:pt x="603" y="1"/>
                    <a:pt x="603" y="1"/>
                    <a:pt x="600" y="1"/>
                  </a:cubicBezTo>
                  <a:cubicBezTo>
                    <a:pt x="598" y="0"/>
                    <a:pt x="595" y="0"/>
                    <a:pt x="594" y="0"/>
                  </a:cubicBezTo>
                  <a:cubicBezTo>
                    <a:pt x="592" y="1"/>
                    <a:pt x="591" y="2"/>
                    <a:pt x="589" y="3"/>
                  </a:cubicBezTo>
                  <a:cubicBezTo>
                    <a:pt x="589" y="4"/>
                    <a:pt x="588" y="4"/>
                    <a:pt x="587" y="4"/>
                  </a:cubicBezTo>
                  <a:cubicBezTo>
                    <a:pt x="586" y="5"/>
                    <a:pt x="585" y="4"/>
                    <a:pt x="584" y="4"/>
                  </a:cubicBezTo>
                  <a:cubicBezTo>
                    <a:pt x="584" y="6"/>
                    <a:pt x="584" y="7"/>
                    <a:pt x="583" y="9"/>
                  </a:cubicBezTo>
                  <a:cubicBezTo>
                    <a:pt x="582" y="9"/>
                    <a:pt x="581" y="11"/>
                    <a:pt x="580" y="12"/>
                  </a:cubicBezTo>
                  <a:cubicBezTo>
                    <a:pt x="578" y="13"/>
                    <a:pt x="577" y="13"/>
                    <a:pt x="575" y="13"/>
                  </a:cubicBezTo>
                  <a:cubicBezTo>
                    <a:pt x="574" y="14"/>
                    <a:pt x="573" y="15"/>
                    <a:pt x="572" y="16"/>
                  </a:cubicBezTo>
                  <a:cubicBezTo>
                    <a:pt x="572" y="17"/>
                    <a:pt x="572" y="19"/>
                    <a:pt x="572" y="20"/>
                  </a:cubicBezTo>
                  <a:cubicBezTo>
                    <a:pt x="572" y="22"/>
                    <a:pt x="571" y="22"/>
                    <a:pt x="571" y="23"/>
                  </a:cubicBezTo>
                  <a:cubicBezTo>
                    <a:pt x="569" y="26"/>
                    <a:pt x="569" y="30"/>
                    <a:pt x="566" y="33"/>
                  </a:cubicBezTo>
                  <a:cubicBezTo>
                    <a:pt x="563" y="35"/>
                    <a:pt x="561" y="35"/>
                    <a:pt x="557" y="36"/>
                  </a:cubicBezTo>
                  <a:cubicBezTo>
                    <a:pt x="557" y="40"/>
                    <a:pt x="554" y="48"/>
                    <a:pt x="557" y="52"/>
                  </a:cubicBezTo>
                  <a:cubicBezTo>
                    <a:pt x="557" y="53"/>
                    <a:pt x="559" y="53"/>
                    <a:pt x="559" y="53"/>
                  </a:cubicBezTo>
                  <a:cubicBezTo>
                    <a:pt x="560" y="55"/>
                    <a:pt x="559" y="57"/>
                    <a:pt x="560" y="59"/>
                  </a:cubicBezTo>
                  <a:cubicBezTo>
                    <a:pt x="560" y="61"/>
                    <a:pt x="562" y="62"/>
                    <a:pt x="562" y="65"/>
                  </a:cubicBezTo>
                  <a:cubicBezTo>
                    <a:pt x="564" y="65"/>
                    <a:pt x="565" y="66"/>
                    <a:pt x="566" y="66"/>
                  </a:cubicBezTo>
                  <a:cubicBezTo>
                    <a:pt x="566" y="68"/>
                    <a:pt x="567" y="73"/>
                    <a:pt x="568" y="75"/>
                  </a:cubicBezTo>
                  <a:cubicBezTo>
                    <a:pt x="570" y="77"/>
                    <a:pt x="573" y="75"/>
                    <a:pt x="576" y="76"/>
                  </a:cubicBezTo>
                  <a:cubicBezTo>
                    <a:pt x="576" y="77"/>
                    <a:pt x="576" y="78"/>
                    <a:pt x="576" y="79"/>
                  </a:cubicBezTo>
                  <a:cubicBezTo>
                    <a:pt x="577" y="79"/>
                    <a:pt x="578" y="80"/>
                    <a:pt x="578" y="80"/>
                  </a:cubicBezTo>
                  <a:cubicBezTo>
                    <a:pt x="579" y="85"/>
                    <a:pt x="581" y="83"/>
                    <a:pt x="583" y="85"/>
                  </a:cubicBezTo>
                  <a:cubicBezTo>
                    <a:pt x="586" y="88"/>
                    <a:pt x="584" y="92"/>
                    <a:pt x="585" y="95"/>
                  </a:cubicBezTo>
                  <a:cubicBezTo>
                    <a:pt x="586" y="96"/>
                    <a:pt x="587" y="96"/>
                    <a:pt x="587" y="97"/>
                  </a:cubicBezTo>
                  <a:cubicBezTo>
                    <a:pt x="588" y="99"/>
                    <a:pt x="587" y="102"/>
                    <a:pt x="587" y="104"/>
                  </a:cubicBezTo>
                  <a:cubicBezTo>
                    <a:pt x="587" y="110"/>
                    <a:pt x="586" y="108"/>
                    <a:pt x="584" y="111"/>
                  </a:cubicBezTo>
                  <a:cubicBezTo>
                    <a:pt x="583" y="112"/>
                    <a:pt x="582" y="114"/>
                    <a:pt x="581" y="115"/>
                  </a:cubicBezTo>
                  <a:cubicBezTo>
                    <a:pt x="581" y="116"/>
                    <a:pt x="580" y="118"/>
                    <a:pt x="580" y="119"/>
                  </a:cubicBezTo>
                  <a:cubicBezTo>
                    <a:pt x="579" y="120"/>
                    <a:pt x="578" y="121"/>
                    <a:pt x="578" y="122"/>
                  </a:cubicBezTo>
                  <a:cubicBezTo>
                    <a:pt x="577" y="124"/>
                    <a:pt x="577" y="126"/>
                    <a:pt x="577" y="128"/>
                  </a:cubicBezTo>
                  <a:cubicBezTo>
                    <a:pt x="577" y="131"/>
                    <a:pt x="575" y="133"/>
                    <a:pt x="574" y="136"/>
                  </a:cubicBezTo>
                  <a:cubicBezTo>
                    <a:pt x="573" y="138"/>
                    <a:pt x="573" y="139"/>
                    <a:pt x="571" y="141"/>
                  </a:cubicBezTo>
                  <a:cubicBezTo>
                    <a:pt x="570" y="142"/>
                    <a:pt x="568" y="143"/>
                    <a:pt x="568" y="146"/>
                  </a:cubicBezTo>
                  <a:cubicBezTo>
                    <a:pt x="568" y="146"/>
                    <a:pt x="567" y="146"/>
                    <a:pt x="566" y="146"/>
                  </a:cubicBezTo>
                  <a:cubicBezTo>
                    <a:pt x="566" y="148"/>
                    <a:pt x="566" y="149"/>
                    <a:pt x="566" y="151"/>
                  </a:cubicBezTo>
                  <a:cubicBezTo>
                    <a:pt x="563" y="151"/>
                    <a:pt x="562" y="157"/>
                    <a:pt x="559" y="154"/>
                  </a:cubicBezTo>
                  <a:cubicBezTo>
                    <a:pt x="556" y="152"/>
                    <a:pt x="557" y="146"/>
                    <a:pt x="557" y="143"/>
                  </a:cubicBezTo>
                  <a:cubicBezTo>
                    <a:pt x="557" y="138"/>
                    <a:pt x="557" y="133"/>
                    <a:pt x="557" y="129"/>
                  </a:cubicBezTo>
                  <a:cubicBezTo>
                    <a:pt x="558" y="125"/>
                    <a:pt x="561" y="121"/>
                    <a:pt x="559" y="117"/>
                  </a:cubicBezTo>
                  <a:cubicBezTo>
                    <a:pt x="559" y="115"/>
                    <a:pt x="557" y="114"/>
                    <a:pt x="556" y="114"/>
                  </a:cubicBezTo>
                  <a:cubicBezTo>
                    <a:pt x="553" y="115"/>
                    <a:pt x="554" y="115"/>
                    <a:pt x="553" y="118"/>
                  </a:cubicBezTo>
                  <a:cubicBezTo>
                    <a:pt x="553" y="120"/>
                    <a:pt x="553" y="121"/>
                    <a:pt x="552" y="123"/>
                  </a:cubicBezTo>
                  <a:cubicBezTo>
                    <a:pt x="551" y="124"/>
                    <a:pt x="548" y="123"/>
                    <a:pt x="547" y="123"/>
                  </a:cubicBezTo>
                  <a:cubicBezTo>
                    <a:pt x="545" y="123"/>
                    <a:pt x="543" y="124"/>
                    <a:pt x="542" y="123"/>
                  </a:cubicBezTo>
                  <a:cubicBezTo>
                    <a:pt x="540" y="123"/>
                    <a:pt x="540" y="122"/>
                    <a:pt x="538" y="121"/>
                  </a:cubicBezTo>
                  <a:cubicBezTo>
                    <a:pt x="536" y="121"/>
                    <a:pt x="535" y="123"/>
                    <a:pt x="534" y="120"/>
                  </a:cubicBezTo>
                  <a:cubicBezTo>
                    <a:pt x="534" y="118"/>
                    <a:pt x="534" y="113"/>
                    <a:pt x="535" y="111"/>
                  </a:cubicBezTo>
                  <a:cubicBezTo>
                    <a:pt x="535" y="111"/>
                    <a:pt x="536" y="111"/>
                    <a:pt x="537" y="111"/>
                  </a:cubicBezTo>
                  <a:cubicBezTo>
                    <a:pt x="537" y="104"/>
                    <a:pt x="540" y="100"/>
                    <a:pt x="533" y="98"/>
                  </a:cubicBezTo>
                  <a:cubicBezTo>
                    <a:pt x="533" y="95"/>
                    <a:pt x="531" y="93"/>
                    <a:pt x="531" y="90"/>
                  </a:cubicBezTo>
                  <a:cubicBezTo>
                    <a:pt x="530" y="88"/>
                    <a:pt x="530" y="87"/>
                    <a:pt x="529" y="85"/>
                  </a:cubicBezTo>
                  <a:cubicBezTo>
                    <a:pt x="529" y="83"/>
                    <a:pt x="528" y="82"/>
                    <a:pt x="528" y="79"/>
                  </a:cubicBezTo>
                  <a:cubicBezTo>
                    <a:pt x="528" y="75"/>
                    <a:pt x="529" y="70"/>
                    <a:pt x="528" y="65"/>
                  </a:cubicBezTo>
                  <a:cubicBezTo>
                    <a:pt x="528" y="62"/>
                    <a:pt x="526" y="59"/>
                    <a:pt x="526" y="55"/>
                  </a:cubicBezTo>
                  <a:cubicBezTo>
                    <a:pt x="525" y="52"/>
                    <a:pt x="526" y="51"/>
                    <a:pt x="524" y="50"/>
                  </a:cubicBezTo>
                  <a:cubicBezTo>
                    <a:pt x="523" y="49"/>
                    <a:pt x="521" y="50"/>
                    <a:pt x="520" y="49"/>
                  </a:cubicBezTo>
                  <a:cubicBezTo>
                    <a:pt x="517" y="48"/>
                    <a:pt x="516" y="45"/>
                    <a:pt x="513" y="44"/>
                  </a:cubicBezTo>
                  <a:cubicBezTo>
                    <a:pt x="510" y="42"/>
                    <a:pt x="508" y="42"/>
                    <a:pt x="507" y="46"/>
                  </a:cubicBezTo>
                  <a:cubicBezTo>
                    <a:pt x="506" y="48"/>
                    <a:pt x="506" y="49"/>
                    <a:pt x="505" y="51"/>
                  </a:cubicBezTo>
                  <a:cubicBezTo>
                    <a:pt x="504" y="53"/>
                    <a:pt x="505" y="54"/>
                    <a:pt x="504" y="57"/>
                  </a:cubicBezTo>
                  <a:cubicBezTo>
                    <a:pt x="504" y="60"/>
                    <a:pt x="502" y="63"/>
                    <a:pt x="500" y="65"/>
                  </a:cubicBezTo>
                  <a:cubicBezTo>
                    <a:pt x="499" y="65"/>
                    <a:pt x="499" y="65"/>
                    <a:pt x="498" y="66"/>
                  </a:cubicBezTo>
                  <a:cubicBezTo>
                    <a:pt x="498" y="67"/>
                    <a:pt x="498" y="68"/>
                    <a:pt x="498" y="69"/>
                  </a:cubicBezTo>
                  <a:cubicBezTo>
                    <a:pt x="497" y="71"/>
                    <a:pt x="497" y="71"/>
                    <a:pt x="497" y="74"/>
                  </a:cubicBezTo>
                  <a:cubicBezTo>
                    <a:pt x="497" y="76"/>
                    <a:pt x="496" y="79"/>
                    <a:pt x="496" y="81"/>
                  </a:cubicBezTo>
                  <a:cubicBezTo>
                    <a:pt x="497" y="84"/>
                    <a:pt x="498" y="83"/>
                    <a:pt x="499" y="85"/>
                  </a:cubicBezTo>
                  <a:cubicBezTo>
                    <a:pt x="502" y="88"/>
                    <a:pt x="503" y="93"/>
                    <a:pt x="504" y="98"/>
                  </a:cubicBezTo>
                  <a:cubicBezTo>
                    <a:pt x="504" y="101"/>
                    <a:pt x="505" y="102"/>
                    <a:pt x="505" y="104"/>
                  </a:cubicBezTo>
                  <a:cubicBezTo>
                    <a:pt x="506" y="106"/>
                    <a:pt x="505" y="109"/>
                    <a:pt x="506" y="111"/>
                  </a:cubicBezTo>
                  <a:cubicBezTo>
                    <a:pt x="506" y="112"/>
                    <a:pt x="508" y="111"/>
                    <a:pt x="509" y="113"/>
                  </a:cubicBezTo>
                  <a:cubicBezTo>
                    <a:pt x="510" y="115"/>
                    <a:pt x="509" y="118"/>
                    <a:pt x="509" y="120"/>
                  </a:cubicBezTo>
                  <a:cubicBezTo>
                    <a:pt x="509" y="125"/>
                    <a:pt x="510" y="127"/>
                    <a:pt x="507" y="131"/>
                  </a:cubicBezTo>
                  <a:cubicBezTo>
                    <a:pt x="505" y="133"/>
                    <a:pt x="503" y="136"/>
                    <a:pt x="501" y="136"/>
                  </a:cubicBezTo>
                  <a:cubicBezTo>
                    <a:pt x="501" y="136"/>
                    <a:pt x="500" y="137"/>
                    <a:pt x="500" y="137"/>
                  </a:cubicBezTo>
                  <a:cubicBezTo>
                    <a:pt x="499" y="142"/>
                    <a:pt x="494" y="140"/>
                    <a:pt x="492" y="141"/>
                  </a:cubicBezTo>
                  <a:cubicBezTo>
                    <a:pt x="489" y="143"/>
                    <a:pt x="485" y="143"/>
                    <a:pt x="482" y="141"/>
                  </a:cubicBezTo>
                  <a:cubicBezTo>
                    <a:pt x="480" y="140"/>
                    <a:pt x="476" y="137"/>
                    <a:pt x="473" y="139"/>
                  </a:cubicBezTo>
                  <a:cubicBezTo>
                    <a:pt x="472" y="140"/>
                    <a:pt x="471" y="142"/>
                    <a:pt x="470" y="143"/>
                  </a:cubicBezTo>
                  <a:cubicBezTo>
                    <a:pt x="468" y="144"/>
                    <a:pt x="467" y="144"/>
                    <a:pt x="465" y="144"/>
                  </a:cubicBezTo>
                  <a:cubicBezTo>
                    <a:pt x="461" y="144"/>
                    <a:pt x="459" y="144"/>
                    <a:pt x="455" y="147"/>
                  </a:cubicBezTo>
                  <a:cubicBezTo>
                    <a:pt x="453" y="148"/>
                    <a:pt x="450" y="151"/>
                    <a:pt x="447" y="151"/>
                  </a:cubicBezTo>
                  <a:cubicBezTo>
                    <a:pt x="446" y="152"/>
                    <a:pt x="444" y="152"/>
                    <a:pt x="442" y="151"/>
                  </a:cubicBezTo>
                  <a:cubicBezTo>
                    <a:pt x="440" y="151"/>
                    <a:pt x="440" y="149"/>
                    <a:pt x="438" y="147"/>
                  </a:cubicBezTo>
                  <a:cubicBezTo>
                    <a:pt x="435" y="145"/>
                    <a:pt x="432" y="143"/>
                    <a:pt x="430" y="141"/>
                  </a:cubicBezTo>
                  <a:cubicBezTo>
                    <a:pt x="427" y="139"/>
                    <a:pt x="424" y="139"/>
                    <a:pt x="422" y="136"/>
                  </a:cubicBezTo>
                  <a:cubicBezTo>
                    <a:pt x="421" y="134"/>
                    <a:pt x="421" y="133"/>
                    <a:pt x="420" y="132"/>
                  </a:cubicBezTo>
                  <a:cubicBezTo>
                    <a:pt x="419" y="132"/>
                    <a:pt x="418" y="132"/>
                    <a:pt x="417" y="132"/>
                  </a:cubicBezTo>
                  <a:cubicBezTo>
                    <a:pt x="415" y="131"/>
                    <a:pt x="417" y="130"/>
                    <a:pt x="416" y="129"/>
                  </a:cubicBezTo>
                  <a:cubicBezTo>
                    <a:pt x="414" y="127"/>
                    <a:pt x="413" y="128"/>
                    <a:pt x="412" y="126"/>
                  </a:cubicBezTo>
                  <a:cubicBezTo>
                    <a:pt x="411" y="125"/>
                    <a:pt x="411" y="122"/>
                    <a:pt x="410" y="121"/>
                  </a:cubicBezTo>
                  <a:cubicBezTo>
                    <a:pt x="408" y="121"/>
                    <a:pt x="405" y="122"/>
                    <a:pt x="403" y="122"/>
                  </a:cubicBezTo>
                  <a:cubicBezTo>
                    <a:pt x="401" y="122"/>
                    <a:pt x="399" y="122"/>
                    <a:pt x="397" y="122"/>
                  </a:cubicBezTo>
                  <a:cubicBezTo>
                    <a:pt x="395" y="122"/>
                    <a:pt x="393" y="121"/>
                    <a:pt x="392" y="121"/>
                  </a:cubicBezTo>
                  <a:cubicBezTo>
                    <a:pt x="389" y="122"/>
                    <a:pt x="390" y="124"/>
                    <a:pt x="389" y="127"/>
                  </a:cubicBezTo>
                  <a:cubicBezTo>
                    <a:pt x="388" y="131"/>
                    <a:pt x="388" y="134"/>
                    <a:pt x="386" y="138"/>
                  </a:cubicBezTo>
                  <a:cubicBezTo>
                    <a:pt x="384" y="141"/>
                    <a:pt x="382" y="144"/>
                    <a:pt x="382" y="148"/>
                  </a:cubicBezTo>
                  <a:cubicBezTo>
                    <a:pt x="381" y="154"/>
                    <a:pt x="381" y="158"/>
                    <a:pt x="376" y="156"/>
                  </a:cubicBezTo>
                  <a:cubicBezTo>
                    <a:pt x="375" y="152"/>
                    <a:pt x="375" y="149"/>
                    <a:pt x="373" y="147"/>
                  </a:cubicBezTo>
                  <a:cubicBezTo>
                    <a:pt x="370" y="143"/>
                    <a:pt x="367" y="144"/>
                    <a:pt x="364" y="144"/>
                  </a:cubicBezTo>
                  <a:cubicBezTo>
                    <a:pt x="363" y="144"/>
                    <a:pt x="360" y="144"/>
                    <a:pt x="359" y="144"/>
                  </a:cubicBezTo>
                  <a:cubicBezTo>
                    <a:pt x="357" y="145"/>
                    <a:pt x="357" y="146"/>
                    <a:pt x="355" y="146"/>
                  </a:cubicBezTo>
                  <a:cubicBezTo>
                    <a:pt x="352" y="147"/>
                    <a:pt x="348" y="146"/>
                    <a:pt x="344" y="146"/>
                  </a:cubicBezTo>
                  <a:cubicBezTo>
                    <a:pt x="341" y="146"/>
                    <a:pt x="339" y="149"/>
                    <a:pt x="335" y="148"/>
                  </a:cubicBezTo>
                  <a:cubicBezTo>
                    <a:pt x="333" y="147"/>
                    <a:pt x="328" y="145"/>
                    <a:pt x="327" y="143"/>
                  </a:cubicBezTo>
                  <a:cubicBezTo>
                    <a:pt x="326" y="139"/>
                    <a:pt x="328" y="133"/>
                    <a:pt x="328" y="128"/>
                  </a:cubicBezTo>
                  <a:cubicBezTo>
                    <a:pt x="327" y="126"/>
                    <a:pt x="326" y="126"/>
                    <a:pt x="325" y="125"/>
                  </a:cubicBezTo>
                  <a:cubicBezTo>
                    <a:pt x="324" y="124"/>
                    <a:pt x="321" y="123"/>
                    <a:pt x="320" y="123"/>
                  </a:cubicBezTo>
                  <a:cubicBezTo>
                    <a:pt x="319" y="111"/>
                    <a:pt x="313" y="111"/>
                    <a:pt x="306" y="111"/>
                  </a:cubicBezTo>
                  <a:cubicBezTo>
                    <a:pt x="303" y="111"/>
                    <a:pt x="300" y="110"/>
                    <a:pt x="297" y="108"/>
                  </a:cubicBezTo>
                  <a:cubicBezTo>
                    <a:pt x="294" y="106"/>
                    <a:pt x="292" y="104"/>
                    <a:pt x="289" y="104"/>
                  </a:cubicBezTo>
                  <a:cubicBezTo>
                    <a:pt x="288" y="97"/>
                    <a:pt x="281" y="92"/>
                    <a:pt x="277" y="90"/>
                  </a:cubicBezTo>
                  <a:cubicBezTo>
                    <a:pt x="274" y="88"/>
                    <a:pt x="271" y="89"/>
                    <a:pt x="268" y="88"/>
                  </a:cubicBezTo>
                  <a:cubicBezTo>
                    <a:pt x="265" y="87"/>
                    <a:pt x="263" y="84"/>
                    <a:pt x="260" y="83"/>
                  </a:cubicBezTo>
                  <a:cubicBezTo>
                    <a:pt x="257" y="82"/>
                    <a:pt x="256" y="80"/>
                    <a:pt x="253" y="83"/>
                  </a:cubicBezTo>
                  <a:cubicBezTo>
                    <a:pt x="250" y="87"/>
                    <a:pt x="248" y="86"/>
                    <a:pt x="244" y="86"/>
                  </a:cubicBezTo>
                  <a:cubicBezTo>
                    <a:pt x="241" y="86"/>
                    <a:pt x="237" y="86"/>
                    <a:pt x="234" y="86"/>
                  </a:cubicBezTo>
                  <a:cubicBezTo>
                    <a:pt x="233" y="86"/>
                    <a:pt x="231" y="86"/>
                    <a:pt x="229" y="87"/>
                  </a:cubicBezTo>
                  <a:cubicBezTo>
                    <a:pt x="228" y="88"/>
                    <a:pt x="228" y="90"/>
                    <a:pt x="226" y="90"/>
                  </a:cubicBezTo>
                  <a:cubicBezTo>
                    <a:pt x="225" y="91"/>
                    <a:pt x="225" y="92"/>
                    <a:pt x="225" y="93"/>
                  </a:cubicBezTo>
                  <a:cubicBezTo>
                    <a:pt x="223" y="94"/>
                    <a:pt x="218" y="94"/>
                    <a:pt x="216" y="90"/>
                  </a:cubicBezTo>
                  <a:cubicBezTo>
                    <a:pt x="215" y="86"/>
                    <a:pt x="218" y="80"/>
                    <a:pt x="219" y="76"/>
                  </a:cubicBezTo>
                  <a:cubicBezTo>
                    <a:pt x="221" y="63"/>
                    <a:pt x="207" y="65"/>
                    <a:pt x="206" y="74"/>
                  </a:cubicBezTo>
                  <a:cubicBezTo>
                    <a:pt x="203" y="74"/>
                    <a:pt x="202" y="76"/>
                    <a:pt x="199" y="76"/>
                  </a:cubicBezTo>
                  <a:cubicBezTo>
                    <a:pt x="196" y="76"/>
                    <a:pt x="193" y="76"/>
                    <a:pt x="190" y="79"/>
                  </a:cubicBezTo>
                  <a:cubicBezTo>
                    <a:pt x="189" y="81"/>
                    <a:pt x="189" y="83"/>
                    <a:pt x="188" y="84"/>
                  </a:cubicBezTo>
                  <a:cubicBezTo>
                    <a:pt x="188" y="85"/>
                    <a:pt x="185" y="86"/>
                    <a:pt x="185" y="87"/>
                  </a:cubicBezTo>
                  <a:cubicBezTo>
                    <a:pt x="183" y="87"/>
                    <a:pt x="181" y="86"/>
                    <a:pt x="180" y="86"/>
                  </a:cubicBezTo>
                  <a:cubicBezTo>
                    <a:pt x="178" y="86"/>
                    <a:pt x="177" y="86"/>
                    <a:pt x="176" y="85"/>
                  </a:cubicBezTo>
                  <a:cubicBezTo>
                    <a:pt x="170" y="83"/>
                    <a:pt x="164" y="85"/>
                    <a:pt x="159" y="88"/>
                  </a:cubicBezTo>
                  <a:cubicBezTo>
                    <a:pt x="155" y="91"/>
                    <a:pt x="150" y="92"/>
                    <a:pt x="146" y="97"/>
                  </a:cubicBezTo>
                  <a:cubicBezTo>
                    <a:pt x="144" y="100"/>
                    <a:pt x="143" y="101"/>
                    <a:pt x="140" y="102"/>
                  </a:cubicBezTo>
                  <a:cubicBezTo>
                    <a:pt x="137" y="103"/>
                    <a:pt x="134" y="102"/>
                    <a:pt x="131" y="103"/>
                  </a:cubicBezTo>
                  <a:cubicBezTo>
                    <a:pt x="131" y="103"/>
                    <a:pt x="130" y="104"/>
                    <a:pt x="129" y="104"/>
                  </a:cubicBezTo>
                  <a:cubicBezTo>
                    <a:pt x="129" y="104"/>
                    <a:pt x="128" y="104"/>
                    <a:pt x="127" y="104"/>
                  </a:cubicBezTo>
                  <a:cubicBezTo>
                    <a:pt x="78" y="179"/>
                    <a:pt x="35" y="259"/>
                    <a:pt x="0" y="343"/>
                  </a:cubicBezTo>
                  <a:cubicBezTo>
                    <a:pt x="1" y="343"/>
                    <a:pt x="2" y="342"/>
                    <a:pt x="3" y="342"/>
                  </a:cubicBezTo>
                  <a:cubicBezTo>
                    <a:pt x="6" y="342"/>
                    <a:pt x="6" y="344"/>
                    <a:pt x="8" y="3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116">
              <a:extLst>
                <a:ext uri="{FF2B5EF4-FFF2-40B4-BE49-F238E27FC236}">
                  <a16:creationId xmlns:a16="http://schemas.microsoft.com/office/drawing/2014/main" id="{4ECA5D0E-69C5-4B0C-B5A4-13BB7A949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945" y="4158478"/>
              <a:ext cx="4492" cy="8986"/>
            </a:xfrm>
            <a:custGeom>
              <a:avLst/>
              <a:gdLst>
                <a:gd name="T0" fmla="*/ 0 w 2"/>
                <a:gd name="T1" fmla="*/ 4 h 4"/>
                <a:gd name="T2" fmla="*/ 1 w 2"/>
                <a:gd name="T3" fmla="*/ 3 h 4"/>
                <a:gd name="T4" fmla="*/ 2 w 2"/>
                <a:gd name="T5" fmla="*/ 0 h 4"/>
                <a:gd name="T6" fmla="*/ 0 w 2"/>
                <a:gd name="T7" fmla="*/ 3 h 4"/>
                <a:gd name="T8" fmla="*/ 0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cubicBezTo>
                    <a:pt x="0" y="4"/>
                    <a:pt x="1" y="4"/>
                    <a:pt x="1" y="3"/>
                  </a:cubicBezTo>
                  <a:cubicBezTo>
                    <a:pt x="2" y="2"/>
                    <a:pt x="2" y="1"/>
                    <a:pt x="2" y="0"/>
                  </a:cubicBezTo>
                  <a:cubicBezTo>
                    <a:pt x="1" y="1"/>
                    <a:pt x="1" y="2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117">
              <a:extLst>
                <a:ext uri="{FF2B5EF4-FFF2-40B4-BE49-F238E27FC236}">
                  <a16:creationId xmlns:a16="http://schemas.microsoft.com/office/drawing/2014/main" id="{157CA3B7-9ABF-432F-98D3-BC193E127B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454" y="4179818"/>
              <a:ext cx="2246" cy="10109"/>
            </a:xfrm>
            <a:custGeom>
              <a:avLst/>
              <a:gdLst>
                <a:gd name="T0" fmla="*/ 0 w 1"/>
                <a:gd name="T1" fmla="*/ 5 h 5"/>
                <a:gd name="T2" fmla="*/ 1 w 1"/>
                <a:gd name="T3" fmla="*/ 0 h 5"/>
                <a:gd name="T4" fmla="*/ 0 w 1"/>
                <a:gd name="T5" fmla="*/ 2 h 5"/>
                <a:gd name="T6" fmla="*/ 0 w 1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5">
                  <a:moveTo>
                    <a:pt x="0" y="5"/>
                  </a:moveTo>
                  <a:cubicBezTo>
                    <a:pt x="1" y="4"/>
                    <a:pt x="1" y="2"/>
                    <a:pt x="1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118">
              <a:extLst>
                <a:ext uri="{FF2B5EF4-FFF2-40B4-BE49-F238E27FC236}">
                  <a16:creationId xmlns:a16="http://schemas.microsoft.com/office/drawing/2014/main" id="{F3A38AFA-A9B7-495D-8DF5-C5EAE5FA7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8522" y="2343485"/>
              <a:ext cx="24709" cy="75250"/>
            </a:xfrm>
            <a:custGeom>
              <a:avLst/>
              <a:gdLst>
                <a:gd name="T0" fmla="*/ 9 w 12"/>
                <a:gd name="T1" fmla="*/ 28 h 36"/>
                <a:gd name="T2" fmla="*/ 8 w 12"/>
                <a:gd name="T3" fmla="*/ 28 h 36"/>
                <a:gd name="T4" fmla="*/ 8 w 12"/>
                <a:gd name="T5" fmla="*/ 22 h 36"/>
                <a:gd name="T6" fmla="*/ 6 w 12"/>
                <a:gd name="T7" fmla="*/ 22 h 36"/>
                <a:gd name="T8" fmla="*/ 6 w 12"/>
                <a:gd name="T9" fmla="*/ 16 h 36"/>
                <a:gd name="T10" fmla="*/ 5 w 12"/>
                <a:gd name="T11" fmla="*/ 14 h 36"/>
                <a:gd name="T12" fmla="*/ 4 w 12"/>
                <a:gd name="T13" fmla="*/ 11 h 36"/>
                <a:gd name="T14" fmla="*/ 4 w 12"/>
                <a:gd name="T15" fmla="*/ 5 h 36"/>
                <a:gd name="T16" fmla="*/ 2 w 12"/>
                <a:gd name="T17" fmla="*/ 1 h 36"/>
                <a:gd name="T18" fmla="*/ 0 w 12"/>
                <a:gd name="T19" fmla="*/ 4 h 36"/>
                <a:gd name="T20" fmla="*/ 0 w 12"/>
                <a:gd name="T21" fmla="*/ 11 h 36"/>
                <a:gd name="T22" fmla="*/ 2 w 12"/>
                <a:gd name="T23" fmla="*/ 15 h 36"/>
                <a:gd name="T24" fmla="*/ 3 w 12"/>
                <a:gd name="T25" fmla="*/ 21 h 36"/>
                <a:gd name="T26" fmla="*/ 4 w 12"/>
                <a:gd name="T27" fmla="*/ 21 h 36"/>
                <a:gd name="T28" fmla="*/ 5 w 12"/>
                <a:gd name="T29" fmla="*/ 24 h 36"/>
                <a:gd name="T30" fmla="*/ 6 w 12"/>
                <a:gd name="T31" fmla="*/ 26 h 36"/>
                <a:gd name="T32" fmla="*/ 6 w 12"/>
                <a:gd name="T33" fmla="*/ 30 h 36"/>
                <a:gd name="T34" fmla="*/ 8 w 12"/>
                <a:gd name="T35" fmla="*/ 31 h 36"/>
                <a:gd name="T36" fmla="*/ 9 w 12"/>
                <a:gd name="T37" fmla="*/ 34 h 36"/>
                <a:gd name="T38" fmla="*/ 11 w 12"/>
                <a:gd name="T39" fmla="*/ 35 h 36"/>
                <a:gd name="T40" fmla="*/ 10 w 12"/>
                <a:gd name="T41" fmla="*/ 32 h 36"/>
                <a:gd name="T42" fmla="*/ 9 w 12"/>
                <a:gd name="T43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" h="36">
                  <a:moveTo>
                    <a:pt x="9" y="28"/>
                  </a:moveTo>
                  <a:cubicBezTo>
                    <a:pt x="9" y="28"/>
                    <a:pt x="9" y="28"/>
                    <a:pt x="8" y="28"/>
                  </a:cubicBezTo>
                  <a:cubicBezTo>
                    <a:pt x="8" y="26"/>
                    <a:pt x="8" y="24"/>
                    <a:pt x="8" y="22"/>
                  </a:cubicBezTo>
                  <a:cubicBezTo>
                    <a:pt x="7" y="22"/>
                    <a:pt x="7" y="22"/>
                    <a:pt x="6" y="22"/>
                  </a:cubicBezTo>
                  <a:cubicBezTo>
                    <a:pt x="6" y="20"/>
                    <a:pt x="6" y="18"/>
                    <a:pt x="6" y="16"/>
                  </a:cubicBezTo>
                  <a:cubicBezTo>
                    <a:pt x="6" y="16"/>
                    <a:pt x="5" y="15"/>
                    <a:pt x="5" y="14"/>
                  </a:cubicBezTo>
                  <a:cubicBezTo>
                    <a:pt x="5" y="13"/>
                    <a:pt x="5" y="12"/>
                    <a:pt x="4" y="11"/>
                  </a:cubicBezTo>
                  <a:cubicBezTo>
                    <a:pt x="4" y="9"/>
                    <a:pt x="4" y="7"/>
                    <a:pt x="4" y="5"/>
                  </a:cubicBezTo>
                  <a:cubicBezTo>
                    <a:pt x="4" y="4"/>
                    <a:pt x="3" y="1"/>
                    <a:pt x="2" y="1"/>
                  </a:cubicBezTo>
                  <a:cubicBezTo>
                    <a:pt x="0" y="0"/>
                    <a:pt x="0" y="2"/>
                    <a:pt x="0" y="4"/>
                  </a:cubicBezTo>
                  <a:cubicBezTo>
                    <a:pt x="0" y="6"/>
                    <a:pt x="0" y="9"/>
                    <a:pt x="0" y="11"/>
                  </a:cubicBezTo>
                  <a:cubicBezTo>
                    <a:pt x="1" y="12"/>
                    <a:pt x="1" y="14"/>
                    <a:pt x="2" y="15"/>
                  </a:cubicBezTo>
                  <a:cubicBezTo>
                    <a:pt x="3" y="17"/>
                    <a:pt x="2" y="19"/>
                    <a:pt x="3" y="21"/>
                  </a:cubicBezTo>
                  <a:cubicBezTo>
                    <a:pt x="3" y="21"/>
                    <a:pt x="4" y="21"/>
                    <a:pt x="4" y="21"/>
                  </a:cubicBezTo>
                  <a:cubicBezTo>
                    <a:pt x="4" y="22"/>
                    <a:pt x="4" y="23"/>
                    <a:pt x="5" y="24"/>
                  </a:cubicBezTo>
                  <a:cubicBezTo>
                    <a:pt x="5" y="25"/>
                    <a:pt x="6" y="25"/>
                    <a:pt x="6" y="26"/>
                  </a:cubicBezTo>
                  <a:cubicBezTo>
                    <a:pt x="6" y="27"/>
                    <a:pt x="6" y="29"/>
                    <a:pt x="6" y="30"/>
                  </a:cubicBezTo>
                  <a:cubicBezTo>
                    <a:pt x="6" y="30"/>
                    <a:pt x="8" y="31"/>
                    <a:pt x="8" y="31"/>
                  </a:cubicBezTo>
                  <a:cubicBezTo>
                    <a:pt x="9" y="32"/>
                    <a:pt x="8" y="32"/>
                    <a:pt x="9" y="34"/>
                  </a:cubicBezTo>
                  <a:cubicBezTo>
                    <a:pt x="9" y="35"/>
                    <a:pt x="10" y="36"/>
                    <a:pt x="11" y="35"/>
                  </a:cubicBezTo>
                  <a:cubicBezTo>
                    <a:pt x="12" y="34"/>
                    <a:pt x="11" y="33"/>
                    <a:pt x="10" y="32"/>
                  </a:cubicBezTo>
                  <a:cubicBezTo>
                    <a:pt x="10" y="30"/>
                    <a:pt x="10" y="30"/>
                    <a:pt x="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119">
              <a:extLst>
                <a:ext uri="{FF2B5EF4-FFF2-40B4-BE49-F238E27FC236}">
                  <a16:creationId xmlns:a16="http://schemas.microsoft.com/office/drawing/2014/main" id="{6B500447-3E6E-4C5E-985D-5266207131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069" y="5904959"/>
              <a:ext cx="16846" cy="14600"/>
            </a:xfrm>
            <a:custGeom>
              <a:avLst/>
              <a:gdLst>
                <a:gd name="T0" fmla="*/ 7 w 8"/>
                <a:gd name="T1" fmla="*/ 3 h 7"/>
                <a:gd name="T2" fmla="*/ 6 w 8"/>
                <a:gd name="T3" fmla="*/ 2 h 7"/>
                <a:gd name="T4" fmla="*/ 5 w 8"/>
                <a:gd name="T5" fmla="*/ 2 h 7"/>
                <a:gd name="T6" fmla="*/ 5 w 8"/>
                <a:gd name="T7" fmla="*/ 2 h 7"/>
                <a:gd name="T8" fmla="*/ 5 w 8"/>
                <a:gd name="T9" fmla="*/ 1 h 7"/>
                <a:gd name="T10" fmla="*/ 4 w 8"/>
                <a:gd name="T11" fmla="*/ 1 h 7"/>
                <a:gd name="T12" fmla="*/ 4 w 8"/>
                <a:gd name="T13" fmla="*/ 0 h 7"/>
                <a:gd name="T14" fmla="*/ 3 w 8"/>
                <a:gd name="T15" fmla="*/ 0 h 7"/>
                <a:gd name="T16" fmla="*/ 1 w 8"/>
                <a:gd name="T17" fmla="*/ 0 h 7"/>
                <a:gd name="T18" fmla="*/ 0 w 8"/>
                <a:gd name="T19" fmla="*/ 3 h 7"/>
                <a:gd name="T20" fmla="*/ 1 w 8"/>
                <a:gd name="T21" fmla="*/ 6 h 7"/>
                <a:gd name="T22" fmla="*/ 3 w 8"/>
                <a:gd name="T23" fmla="*/ 7 h 7"/>
                <a:gd name="T24" fmla="*/ 3 w 8"/>
                <a:gd name="T25" fmla="*/ 7 h 7"/>
                <a:gd name="T26" fmla="*/ 4 w 8"/>
                <a:gd name="T27" fmla="*/ 7 h 7"/>
                <a:gd name="T28" fmla="*/ 6 w 8"/>
                <a:gd name="T29" fmla="*/ 7 h 7"/>
                <a:gd name="T30" fmla="*/ 7 w 8"/>
                <a:gd name="T31" fmla="*/ 7 h 7"/>
                <a:gd name="T32" fmla="*/ 8 w 8"/>
                <a:gd name="T33" fmla="*/ 4 h 7"/>
                <a:gd name="T34" fmla="*/ 7 w 8"/>
                <a:gd name="T3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" h="7">
                  <a:moveTo>
                    <a:pt x="7" y="3"/>
                  </a:moveTo>
                  <a:cubicBezTo>
                    <a:pt x="7" y="3"/>
                    <a:pt x="6" y="3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6"/>
                    <a:pt x="2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7" y="4"/>
                    <a:pt x="7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120">
              <a:extLst>
                <a:ext uri="{FF2B5EF4-FFF2-40B4-BE49-F238E27FC236}">
                  <a16:creationId xmlns:a16="http://schemas.microsoft.com/office/drawing/2014/main" id="{DC0C8B85-B784-48CC-819F-D714C06D04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671" y="5890359"/>
              <a:ext cx="21340" cy="16846"/>
            </a:xfrm>
            <a:custGeom>
              <a:avLst/>
              <a:gdLst>
                <a:gd name="T0" fmla="*/ 8 w 10"/>
                <a:gd name="T1" fmla="*/ 2 h 8"/>
                <a:gd name="T2" fmla="*/ 7 w 10"/>
                <a:gd name="T3" fmla="*/ 2 h 8"/>
                <a:gd name="T4" fmla="*/ 6 w 10"/>
                <a:gd name="T5" fmla="*/ 1 h 8"/>
                <a:gd name="T6" fmla="*/ 5 w 10"/>
                <a:gd name="T7" fmla="*/ 1 h 8"/>
                <a:gd name="T8" fmla="*/ 5 w 10"/>
                <a:gd name="T9" fmla="*/ 1 h 8"/>
                <a:gd name="T10" fmla="*/ 5 w 10"/>
                <a:gd name="T11" fmla="*/ 1 h 8"/>
                <a:gd name="T12" fmla="*/ 4 w 10"/>
                <a:gd name="T13" fmla="*/ 1 h 8"/>
                <a:gd name="T14" fmla="*/ 4 w 10"/>
                <a:gd name="T15" fmla="*/ 0 h 8"/>
                <a:gd name="T16" fmla="*/ 2 w 10"/>
                <a:gd name="T17" fmla="*/ 0 h 8"/>
                <a:gd name="T18" fmla="*/ 2 w 10"/>
                <a:gd name="T19" fmla="*/ 0 h 8"/>
                <a:gd name="T20" fmla="*/ 1 w 10"/>
                <a:gd name="T21" fmla="*/ 1 h 8"/>
                <a:gd name="T22" fmla="*/ 0 w 10"/>
                <a:gd name="T23" fmla="*/ 1 h 8"/>
                <a:gd name="T24" fmla="*/ 1 w 10"/>
                <a:gd name="T25" fmla="*/ 3 h 8"/>
                <a:gd name="T26" fmla="*/ 1 w 10"/>
                <a:gd name="T27" fmla="*/ 4 h 8"/>
                <a:gd name="T28" fmla="*/ 2 w 10"/>
                <a:gd name="T29" fmla="*/ 5 h 8"/>
                <a:gd name="T30" fmla="*/ 3 w 10"/>
                <a:gd name="T31" fmla="*/ 5 h 8"/>
                <a:gd name="T32" fmla="*/ 4 w 10"/>
                <a:gd name="T33" fmla="*/ 6 h 8"/>
                <a:gd name="T34" fmla="*/ 5 w 10"/>
                <a:gd name="T35" fmla="*/ 6 h 8"/>
                <a:gd name="T36" fmla="*/ 7 w 10"/>
                <a:gd name="T37" fmla="*/ 7 h 8"/>
                <a:gd name="T38" fmla="*/ 9 w 10"/>
                <a:gd name="T39" fmla="*/ 7 h 8"/>
                <a:gd name="T40" fmla="*/ 10 w 10"/>
                <a:gd name="T41" fmla="*/ 7 h 8"/>
                <a:gd name="T42" fmla="*/ 10 w 10"/>
                <a:gd name="T43" fmla="*/ 6 h 8"/>
                <a:gd name="T44" fmla="*/ 10 w 10"/>
                <a:gd name="T45" fmla="*/ 5 h 8"/>
                <a:gd name="T46" fmla="*/ 10 w 10"/>
                <a:gd name="T47" fmla="*/ 3 h 8"/>
                <a:gd name="T48" fmla="*/ 8 w 10"/>
                <a:gd name="T4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" h="8">
                  <a:moveTo>
                    <a:pt x="8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1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2" y="4"/>
                    <a:pt x="2" y="5"/>
                  </a:cubicBezTo>
                  <a:cubicBezTo>
                    <a:pt x="2" y="5"/>
                    <a:pt x="3" y="5"/>
                    <a:pt x="3" y="5"/>
                  </a:cubicBezTo>
                  <a:cubicBezTo>
                    <a:pt x="3" y="5"/>
                    <a:pt x="4" y="5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7"/>
                    <a:pt x="7" y="7"/>
                  </a:cubicBezTo>
                  <a:cubicBezTo>
                    <a:pt x="8" y="7"/>
                    <a:pt x="8" y="7"/>
                    <a:pt x="9" y="7"/>
                  </a:cubicBezTo>
                  <a:cubicBezTo>
                    <a:pt x="10" y="7"/>
                    <a:pt x="10" y="8"/>
                    <a:pt x="10" y="7"/>
                  </a:cubicBezTo>
                  <a:cubicBezTo>
                    <a:pt x="10" y="7"/>
                    <a:pt x="10" y="6"/>
                    <a:pt x="10" y="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4"/>
                    <a:pt x="10" y="4"/>
                    <a:pt x="10" y="3"/>
                  </a:cubicBezTo>
                  <a:cubicBezTo>
                    <a:pt x="10" y="2"/>
                    <a:pt x="8" y="2"/>
                    <a:pt x="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121">
              <a:extLst>
                <a:ext uri="{FF2B5EF4-FFF2-40B4-BE49-F238E27FC236}">
                  <a16:creationId xmlns:a16="http://schemas.microsoft.com/office/drawing/2014/main" id="{9106851A-3843-49E1-8B8D-9B777F4D0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409" y="5917313"/>
              <a:ext cx="14600" cy="19094"/>
            </a:xfrm>
            <a:custGeom>
              <a:avLst/>
              <a:gdLst>
                <a:gd name="T0" fmla="*/ 6 w 7"/>
                <a:gd name="T1" fmla="*/ 1 h 9"/>
                <a:gd name="T2" fmla="*/ 6 w 7"/>
                <a:gd name="T3" fmla="*/ 1 h 9"/>
                <a:gd name="T4" fmla="*/ 5 w 7"/>
                <a:gd name="T5" fmla="*/ 1 h 9"/>
                <a:gd name="T6" fmla="*/ 4 w 7"/>
                <a:gd name="T7" fmla="*/ 1 h 9"/>
                <a:gd name="T8" fmla="*/ 4 w 7"/>
                <a:gd name="T9" fmla="*/ 1 h 9"/>
                <a:gd name="T10" fmla="*/ 4 w 7"/>
                <a:gd name="T11" fmla="*/ 1 h 9"/>
                <a:gd name="T12" fmla="*/ 3 w 7"/>
                <a:gd name="T13" fmla="*/ 1 h 9"/>
                <a:gd name="T14" fmla="*/ 2 w 7"/>
                <a:gd name="T15" fmla="*/ 0 h 9"/>
                <a:gd name="T16" fmla="*/ 2 w 7"/>
                <a:gd name="T17" fmla="*/ 0 h 9"/>
                <a:gd name="T18" fmla="*/ 1 w 7"/>
                <a:gd name="T19" fmla="*/ 0 h 9"/>
                <a:gd name="T20" fmla="*/ 0 w 7"/>
                <a:gd name="T21" fmla="*/ 1 h 9"/>
                <a:gd name="T22" fmla="*/ 0 w 7"/>
                <a:gd name="T23" fmla="*/ 2 h 9"/>
                <a:gd name="T24" fmla="*/ 0 w 7"/>
                <a:gd name="T25" fmla="*/ 4 h 9"/>
                <a:gd name="T26" fmla="*/ 1 w 7"/>
                <a:gd name="T27" fmla="*/ 6 h 9"/>
                <a:gd name="T28" fmla="*/ 2 w 7"/>
                <a:gd name="T29" fmla="*/ 8 h 9"/>
                <a:gd name="T30" fmla="*/ 4 w 7"/>
                <a:gd name="T31" fmla="*/ 9 h 9"/>
                <a:gd name="T32" fmla="*/ 6 w 7"/>
                <a:gd name="T33" fmla="*/ 9 h 9"/>
                <a:gd name="T34" fmla="*/ 7 w 7"/>
                <a:gd name="T35" fmla="*/ 7 h 9"/>
                <a:gd name="T36" fmla="*/ 7 w 7"/>
                <a:gd name="T37" fmla="*/ 5 h 9"/>
                <a:gd name="T38" fmla="*/ 7 w 7"/>
                <a:gd name="T39" fmla="*/ 4 h 9"/>
                <a:gd name="T40" fmla="*/ 7 w 7"/>
                <a:gd name="T41" fmla="*/ 2 h 9"/>
                <a:gd name="T42" fmla="*/ 6 w 7"/>
                <a:gd name="T4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" h="9">
                  <a:moveTo>
                    <a:pt x="6" y="1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4" y="0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1"/>
                    <a:pt x="3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5"/>
                    <a:pt x="0" y="5"/>
                    <a:pt x="1" y="6"/>
                  </a:cubicBezTo>
                  <a:cubicBezTo>
                    <a:pt x="1" y="7"/>
                    <a:pt x="2" y="7"/>
                    <a:pt x="2" y="8"/>
                  </a:cubicBezTo>
                  <a:cubicBezTo>
                    <a:pt x="3" y="8"/>
                    <a:pt x="3" y="9"/>
                    <a:pt x="4" y="9"/>
                  </a:cubicBezTo>
                  <a:cubicBezTo>
                    <a:pt x="5" y="9"/>
                    <a:pt x="5" y="9"/>
                    <a:pt x="6" y="9"/>
                  </a:cubicBezTo>
                  <a:cubicBezTo>
                    <a:pt x="6" y="8"/>
                    <a:pt x="6" y="7"/>
                    <a:pt x="7" y="7"/>
                  </a:cubicBezTo>
                  <a:cubicBezTo>
                    <a:pt x="7" y="6"/>
                    <a:pt x="7" y="6"/>
                    <a:pt x="7" y="5"/>
                  </a:cubicBezTo>
                  <a:cubicBezTo>
                    <a:pt x="7" y="5"/>
                    <a:pt x="7" y="4"/>
                    <a:pt x="7" y="4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7" y="2"/>
                    <a:pt x="7" y="1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3" name="Group 222">
            <a:extLst>
              <a:ext uri="{FF2B5EF4-FFF2-40B4-BE49-F238E27FC236}">
                <a16:creationId xmlns:a16="http://schemas.microsoft.com/office/drawing/2014/main" id="{CDF97437-E644-4EBF-9D83-B1FC68C1B97C}"/>
              </a:ext>
            </a:extLst>
          </p:cNvPr>
          <p:cNvGrpSpPr/>
          <p:nvPr/>
        </p:nvGrpSpPr>
        <p:grpSpPr>
          <a:xfrm>
            <a:off x="4994811" y="843644"/>
            <a:ext cx="1070049" cy="1070049"/>
            <a:chOff x="7627217" y="1716585"/>
            <a:chExt cx="825878" cy="825878"/>
          </a:xfrm>
        </p:grpSpPr>
        <p:sp>
          <p:nvSpPr>
            <p:cNvPr id="221" name="Oval 220">
              <a:extLst>
                <a:ext uri="{FF2B5EF4-FFF2-40B4-BE49-F238E27FC236}">
                  <a16:creationId xmlns:a16="http://schemas.microsoft.com/office/drawing/2014/main" id="{99A8F7AA-5B7C-4B00-8D58-0FDA8D0C7210}"/>
                </a:ext>
              </a:extLst>
            </p:cNvPr>
            <p:cNvSpPr/>
            <p:nvPr/>
          </p:nvSpPr>
          <p:spPr>
            <a:xfrm>
              <a:off x="7627217" y="1716585"/>
              <a:ext cx="825878" cy="82587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2" name="Oval 221">
              <a:extLst>
                <a:ext uri="{FF2B5EF4-FFF2-40B4-BE49-F238E27FC236}">
                  <a16:creationId xmlns:a16="http://schemas.microsoft.com/office/drawing/2014/main" id="{B5F317E6-2729-4C98-A8CD-E419A9FB3017}"/>
                </a:ext>
              </a:extLst>
            </p:cNvPr>
            <p:cNvSpPr/>
            <p:nvPr/>
          </p:nvSpPr>
          <p:spPr>
            <a:xfrm>
              <a:off x="8241772" y="2350385"/>
              <a:ext cx="192078" cy="192078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5" name="Group 224">
            <a:extLst>
              <a:ext uri="{FF2B5EF4-FFF2-40B4-BE49-F238E27FC236}">
                <a16:creationId xmlns:a16="http://schemas.microsoft.com/office/drawing/2014/main" id="{8F8D1ED3-2736-4D2C-B00A-D1212439100F}"/>
              </a:ext>
            </a:extLst>
          </p:cNvPr>
          <p:cNvGrpSpPr/>
          <p:nvPr/>
        </p:nvGrpSpPr>
        <p:grpSpPr>
          <a:xfrm>
            <a:off x="5423355" y="2893976"/>
            <a:ext cx="1070049" cy="1070049"/>
            <a:chOff x="7627217" y="1716585"/>
            <a:chExt cx="825878" cy="825878"/>
          </a:xfrm>
        </p:grpSpPr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05CAC969-8FC2-4EB6-A79E-07BF05376F52}"/>
                </a:ext>
              </a:extLst>
            </p:cNvPr>
            <p:cNvSpPr/>
            <p:nvPr/>
          </p:nvSpPr>
          <p:spPr>
            <a:xfrm>
              <a:off x="7627217" y="1716585"/>
              <a:ext cx="825878" cy="82587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7" name="Oval 226">
              <a:extLst>
                <a:ext uri="{FF2B5EF4-FFF2-40B4-BE49-F238E27FC236}">
                  <a16:creationId xmlns:a16="http://schemas.microsoft.com/office/drawing/2014/main" id="{41BD4277-4EE9-4E53-B276-513588161F26}"/>
                </a:ext>
              </a:extLst>
            </p:cNvPr>
            <p:cNvSpPr/>
            <p:nvPr/>
          </p:nvSpPr>
          <p:spPr>
            <a:xfrm>
              <a:off x="8241772" y="2350385"/>
              <a:ext cx="192078" cy="1920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8" name="Group 227">
            <a:extLst>
              <a:ext uri="{FF2B5EF4-FFF2-40B4-BE49-F238E27FC236}">
                <a16:creationId xmlns:a16="http://schemas.microsoft.com/office/drawing/2014/main" id="{19BB436D-4280-40CC-9A5B-509DBD00BCEA}"/>
              </a:ext>
            </a:extLst>
          </p:cNvPr>
          <p:cNvGrpSpPr/>
          <p:nvPr/>
        </p:nvGrpSpPr>
        <p:grpSpPr>
          <a:xfrm>
            <a:off x="4994811" y="4944308"/>
            <a:ext cx="1070049" cy="1070049"/>
            <a:chOff x="7627217" y="1716585"/>
            <a:chExt cx="825878" cy="825878"/>
          </a:xfrm>
        </p:grpSpPr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51879BCF-6A94-42EF-92DF-9969D9350198}"/>
                </a:ext>
              </a:extLst>
            </p:cNvPr>
            <p:cNvSpPr/>
            <p:nvPr/>
          </p:nvSpPr>
          <p:spPr>
            <a:xfrm>
              <a:off x="7627217" y="1716585"/>
              <a:ext cx="825878" cy="82587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0" name="Oval 229">
              <a:extLst>
                <a:ext uri="{FF2B5EF4-FFF2-40B4-BE49-F238E27FC236}">
                  <a16:creationId xmlns:a16="http://schemas.microsoft.com/office/drawing/2014/main" id="{A290477A-95C3-4F21-81B7-A58AA4AD9D9E}"/>
                </a:ext>
              </a:extLst>
            </p:cNvPr>
            <p:cNvSpPr/>
            <p:nvPr/>
          </p:nvSpPr>
          <p:spPr>
            <a:xfrm>
              <a:off x="8241772" y="2350385"/>
              <a:ext cx="192078" cy="192078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35" name="TextBox 234">
            <a:extLst>
              <a:ext uri="{FF2B5EF4-FFF2-40B4-BE49-F238E27FC236}">
                <a16:creationId xmlns:a16="http://schemas.microsoft.com/office/drawing/2014/main" id="{F8AC30B2-2A23-40E5-8EFE-8BBD1E7D1149}"/>
              </a:ext>
            </a:extLst>
          </p:cNvPr>
          <p:cNvSpPr txBox="1"/>
          <p:nvPr/>
        </p:nvSpPr>
        <p:spPr>
          <a:xfrm>
            <a:off x="6285868" y="1055503"/>
            <a:ext cx="4335882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A0240E70-8440-491F-ABF0-3F7A94F0601C}"/>
              </a:ext>
            </a:extLst>
          </p:cNvPr>
          <p:cNvSpPr txBox="1"/>
          <p:nvPr/>
        </p:nvSpPr>
        <p:spPr>
          <a:xfrm>
            <a:off x="6285868" y="5153622"/>
            <a:ext cx="4335882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FE7F7003-3D1B-472D-A1E5-0DDCD09DCAA5}"/>
              </a:ext>
            </a:extLst>
          </p:cNvPr>
          <p:cNvSpPr txBox="1"/>
          <p:nvPr/>
        </p:nvSpPr>
        <p:spPr>
          <a:xfrm>
            <a:off x="6717981" y="3113415"/>
            <a:ext cx="4335882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252" name="Freeform 2511">
            <a:extLst>
              <a:ext uri="{FF2B5EF4-FFF2-40B4-BE49-F238E27FC236}">
                <a16:creationId xmlns:a16="http://schemas.microsoft.com/office/drawing/2014/main" id="{483B4C71-0473-4422-9B48-DDD210B1D9F9}"/>
              </a:ext>
            </a:extLst>
          </p:cNvPr>
          <p:cNvSpPr>
            <a:spLocks noEditPoints="1"/>
          </p:cNvSpPr>
          <p:nvPr/>
        </p:nvSpPr>
        <p:spPr bwMode="auto">
          <a:xfrm>
            <a:off x="2818999" y="2611781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Freeform 2511">
            <a:extLst>
              <a:ext uri="{FF2B5EF4-FFF2-40B4-BE49-F238E27FC236}">
                <a16:creationId xmlns:a16="http://schemas.microsoft.com/office/drawing/2014/main" id="{356F3155-47FD-44A4-B29E-5543F6D92A2A}"/>
              </a:ext>
            </a:extLst>
          </p:cNvPr>
          <p:cNvSpPr>
            <a:spLocks noEditPoints="1"/>
          </p:cNvSpPr>
          <p:nvPr/>
        </p:nvSpPr>
        <p:spPr bwMode="auto">
          <a:xfrm>
            <a:off x="4078007" y="3898554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Freeform 2511">
            <a:extLst>
              <a:ext uri="{FF2B5EF4-FFF2-40B4-BE49-F238E27FC236}">
                <a16:creationId xmlns:a16="http://schemas.microsoft.com/office/drawing/2014/main" id="{3D17B880-C2E3-4713-8D77-6F90A1B5E98B}"/>
              </a:ext>
            </a:extLst>
          </p:cNvPr>
          <p:cNvSpPr>
            <a:spLocks noEditPoints="1"/>
          </p:cNvSpPr>
          <p:nvPr/>
        </p:nvSpPr>
        <p:spPr bwMode="auto">
          <a:xfrm>
            <a:off x="267318" y="4168632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55" name="Group 254">
            <a:extLst>
              <a:ext uri="{FF2B5EF4-FFF2-40B4-BE49-F238E27FC236}">
                <a16:creationId xmlns:a16="http://schemas.microsoft.com/office/drawing/2014/main" id="{6DA2B9F7-9425-433F-8FF1-8AA9524FB9FD}"/>
              </a:ext>
            </a:extLst>
          </p:cNvPr>
          <p:cNvGrpSpPr/>
          <p:nvPr/>
        </p:nvGrpSpPr>
        <p:grpSpPr>
          <a:xfrm>
            <a:off x="5356956" y="1204829"/>
            <a:ext cx="345758" cy="347679"/>
            <a:chOff x="10455275" y="2498725"/>
            <a:chExt cx="285750" cy="287338"/>
          </a:xfrm>
          <a:solidFill>
            <a:schemeClr val="bg1"/>
          </a:solidFill>
        </p:grpSpPr>
        <p:sp>
          <p:nvSpPr>
            <p:cNvPr id="256" name="Freeform 214">
              <a:extLst>
                <a:ext uri="{FF2B5EF4-FFF2-40B4-BE49-F238E27FC236}">
                  <a16:creationId xmlns:a16="http://schemas.microsoft.com/office/drawing/2014/main" id="{0DA9DA44-535C-4298-8985-17DEF6A469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55275" y="2593975"/>
              <a:ext cx="285750" cy="192088"/>
            </a:xfrm>
            <a:custGeom>
              <a:avLst/>
              <a:gdLst>
                <a:gd name="T0" fmla="*/ 812 w 903"/>
                <a:gd name="T1" fmla="*/ 30 h 601"/>
                <a:gd name="T2" fmla="*/ 512 w 903"/>
                <a:gd name="T3" fmla="*/ 571 h 601"/>
                <a:gd name="T4" fmla="*/ 602 w 903"/>
                <a:gd name="T5" fmla="*/ 571 h 601"/>
                <a:gd name="T6" fmla="*/ 301 w 903"/>
                <a:gd name="T7" fmla="*/ 210 h 601"/>
                <a:gd name="T8" fmla="*/ 301 w 903"/>
                <a:gd name="T9" fmla="*/ 571 h 601"/>
                <a:gd name="T10" fmla="*/ 181 w 903"/>
                <a:gd name="T11" fmla="*/ 421 h 601"/>
                <a:gd name="T12" fmla="*/ 888 w 903"/>
                <a:gd name="T13" fmla="*/ 571 h 601"/>
                <a:gd name="T14" fmla="*/ 842 w 903"/>
                <a:gd name="T15" fmla="*/ 12 h 601"/>
                <a:gd name="T16" fmla="*/ 838 w 903"/>
                <a:gd name="T17" fmla="*/ 5 h 601"/>
                <a:gd name="T18" fmla="*/ 830 w 903"/>
                <a:gd name="T19" fmla="*/ 0 h 601"/>
                <a:gd name="T20" fmla="*/ 704 w 903"/>
                <a:gd name="T21" fmla="*/ 0 h 601"/>
                <a:gd name="T22" fmla="*/ 696 w 903"/>
                <a:gd name="T23" fmla="*/ 5 h 601"/>
                <a:gd name="T24" fmla="*/ 692 w 903"/>
                <a:gd name="T25" fmla="*/ 12 h 601"/>
                <a:gd name="T26" fmla="*/ 632 w 903"/>
                <a:gd name="T27" fmla="*/ 571 h 601"/>
                <a:gd name="T28" fmla="*/ 631 w 903"/>
                <a:gd name="T29" fmla="*/ 280 h 601"/>
                <a:gd name="T30" fmla="*/ 626 w 903"/>
                <a:gd name="T31" fmla="*/ 274 h 601"/>
                <a:gd name="T32" fmla="*/ 617 w 903"/>
                <a:gd name="T33" fmla="*/ 270 h 601"/>
                <a:gd name="T34" fmla="*/ 491 w 903"/>
                <a:gd name="T35" fmla="*/ 271 h 601"/>
                <a:gd name="T36" fmla="*/ 484 w 903"/>
                <a:gd name="T37" fmla="*/ 278 h 601"/>
                <a:gd name="T38" fmla="*/ 482 w 903"/>
                <a:gd name="T39" fmla="*/ 285 h 601"/>
                <a:gd name="T40" fmla="*/ 421 w 903"/>
                <a:gd name="T41" fmla="*/ 195 h 601"/>
                <a:gd name="T42" fmla="*/ 419 w 903"/>
                <a:gd name="T43" fmla="*/ 187 h 601"/>
                <a:gd name="T44" fmla="*/ 412 w 903"/>
                <a:gd name="T45" fmla="*/ 181 h 601"/>
                <a:gd name="T46" fmla="*/ 286 w 903"/>
                <a:gd name="T47" fmla="*/ 180 h 601"/>
                <a:gd name="T48" fmla="*/ 277 w 903"/>
                <a:gd name="T49" fmla="*/ 184 h 601"/>
                <a:gd name="T50" fmla="*/ 272 w 903"/>
                <a:gd name="T51" fmla="*/ 190 h 601"/>
                <a:gd name="T52" fmla="*/ 271 w 903"/>
                <a:gd name="T53" fmla="*/ 571 h 601"/>
                <a:gd name="T54" fmla="*/ 211 w 903"/>
                <a:gd name="T55" fmla="*/ 403 h 601"/>
                <a:gd name="T56" fmla="*/ 207 w 903"/>
                <a:gd name="T57" fmla="*/ 396 h 601"/>
                <a:gd name="T58" fmla="*/ 199 w 903"/>
                <a:gd name="T59" fmla="*/ 391 h 601"/>
                <a:gd name="T60" fmla="*/ 73 w 903"/>
                <a:gd name="T61" fmla="*/ 391 h 601"/>
                <a:gd name="T62" fmla="*/ 65 w 903"/>
                <a:gd name="T63" fmla="*/ 396 h 601"/>
                <a:gd name="T64" fmla="*/ 61 w 903"/>
                <a:gd name="T65" fmla="*/ 403 h 601"/>
                <a:gd name="T66" fmla="*/ 16 w 903"/>
                <a:gd name="T67" fmla="*/ 571 h 601"/>
                <a:gd name="T68" fmla="*/ 7 w 903"/>
                <a:gd name="T69" fmla="*/ 573 h 601"/>
                <a:gd name="T70" fmla="*/ 2 w 903"/>
                <a:gd name="T71" fmla="*/ 581 h 601"/>
                <a:gd name="T72" fmla="*/ 1 w 903"/>
                <a:gd name="T73" fmla="*/ 590 h 601"/>
                <a:gd name="T74" fmla="*/ 5 w 903"/>
                <a:gd name="T75" fmla="*/ 597 h 601"/>
                <a:gd name="T76" fmla="*/ 13 w 903"/>
                <a:gd name="T77" fmla="*/ 601 h 601"/>
                <a:gd name="T78" fmla="*/ 196 w 903"/>
                <a:gd name="T79" fmla="*/ 601 h 601"/>
                <a:gd name="T80" fmla="*/ 497 w 903"/>
                <a:gd name="T81" fmla="*/ 601 h 601"/>
                <a:gd name="T82" fmla="*/ 827 w 903"/>
                <a:gd name="T83" fmla="*/ 601 h 601"/>
                <a:gd name="T84" fmla="*/ 893 w 903"/>
                <a:gd name="T85" fmla="*/ 600 h 601"/>
                <a:gd name="T86" fmla="*/ 900 w 903"/>
                <a:gd name="T87" fmla="*/ 595 h 601"/>
                <a:gd name="T88" fmla="*/ 903 w 903"/>
                <a:gd name="T89" fmla="*/ 586 h 601"/>
                <a:gd name="T90" fmla="*/ 900 w 903"/>
                <a:gd name="T91" fmla="*/ 578 h 601"/>
                <a:gd name="T92" fmla="*/ 893 w 903"/>
                <a:gd name="T93" fmla="*/ 57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3" h="601">
                  <a:moveTo>
                    <a:pt x="722" y="571"/>
                  </a:moveTo>
                  <a:lnTo>
                    <a:pt x="722" y="30"/>
                  </a:lnTo>
                  <a:lnTo>
                    <a:pt x="812" y="30"/>
                  </a:lnTo>
                  <a:lnTo>
                    <a:pt x="812" y="571"/>
                  </a:lnTo>
                  <a:lnTo>
                    <a:pt x="722" y="571"/>
                  </a:lnTo>
                  <a:close/>
                  <a:moveTo>
                    <a:pt x="512" y="571"/>
                  </a:moveTo>
                  <a:lnTo>
                    <a:pt x="512" y="300"/>
                  </a:lnTo>
                  <a:lnTo>
                    <a:pt x="602" y="300"/>
                  </a:lnTo>
                  <a:lnTo>
                    <a:pt x="602" y="571"/>
                  </a:lnTo>
                  <a:lnTo>
                    <a:pt x="512" y="571"/>
                  </a:lnTo>
                  <a:close/>
                  <a:moveTo>
                    <a:pt x="301" y="571"/>
                  </a:moveTo>
                  <a:lnTo>
                    <a:pt x="301" y="210"/>
                  </a:lnTo>
                  <a:lnTo>
                    <a:pt x="391" y="210"/>
                  </a:lnTo>
                  <a:lnTo>
                    <a:pt x="391" y="571"/>
                  </a:lnTo>
                  <a:lnTo>
                    <a:pt x="301" y="571"/>
                  </a:lnTo>
                  <a:close/>
                  <a:moveTo>
                    <a:pt x="91" y="571"/>
                  </a:moveTo>
                  <a:lnTo>
                    <a:pt x="91" y="421"/>
                  </a:lnTo>
                  <a:lnTo>
                    <a:pt x="181" y="421"/>
                  </a:lnTo>
                  <a:lnTo>
                    <a:pt x="181" y="571"/>
                  </a:lnTo>
                  <a:lnTo>
                    <a:pt x="91" y="571"/>
                  </a:lnTo>
                  <a:close/>
                  <a:moveTo>
                    <a:pt x="888" y="571"/>
                  </a:moveTo>
                  <a:lnTo>
                    <a:pt x="842" y="571"/>
                  </a:lnTo>
                  <a:lnTo>
                    <a:pt x="842" y="15"/>
                  </a:lnTo>
                  <a:lnTo>
                    <a:pt x="842" y="12"/>
                  </a:lnTo>
                  <a:lnTo>
                    <a:pt x="841" y="9"/>
                  </a:lnTo>
                  <a:lnTo>
                    <a:pt x="840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3" y="1"/>
                  </a:lnTo>
                  <a:lnTo>
                    <a:pt x="830" y="0"/>
                  </a:lnTo>
                  <a:lnTo>
                    <a:pt x="827" y="0"/>
                  </a:lnTo>
                  <a:lnTo>
                    <a:pt x="707" y="0"/>
                  </a:lnTo>
                  <a:lnTo>
                    <a:pt x="704" y="0"/>
                  </a:lnTo>
                  <a:lnTo>
                    <a:pt x="702" y="1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4" y="7"/>
                  </a:lnTo>
                  <a:lnTo>
                    <a:pt x="693" y="9"/>
                  </a:lnTo>
                  <a:lnTo>
                    <a:pt x="692" y="12"/>
                  </a:lnTo>
                  <a:lnTo>
                    <a:pt x="692" y="15"/>
                  </a:lnTo>
                  <a:lnTo>
                    <a:pt x="692" y="571"/>
                  </a:lnTo>
                  <a:lnTo>
                    <a:pt x="632" y="571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1" y="280"/>
                  </a:lnTo>
                  <a:lnTo>
                    <a:pt x="630" y="278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2" y="271"/>
                  </a:lnTo>
                  <a:lnTo>
                    <a:pt x="620" y="271"/>
                  </a:lnTo>
                  <a:lnTo>
                    <a:pt x="617" y="270"/>
                  </a:lnTo>
                  <a:lnTo>
                    <a:pt x="497" y="270"/>
                  </a:lnTo>
                  <a:lnTo>
                    <a:pt x="494" y="271"/>
                  </a:lnTo>
                  <a:lnTo>
                    <a:pt x="491" y="271"/>
                  </a:lnTo>
                  <a:lnTo>
                    <a:pt x="488" y="274"/>
                  </a:lnTo>
                  <a:lnTo>
                    <a:pt x="486" y="275"/>
                  </a:lnTo>
                  <a:lnTo>
                    <a:pt x="484" y="278"/>
                  </a:lnTo>
                  <a:lnTo>
                    <a:pt x="483" y="280"/>
                  </a:lnTo>
                  <a:lnTo>
                    <a:pt x="482" y="283"/>
                  </a:lnTo>
                  <a:lnTo>
                    <a:pt x="482" y="285"/>
                  </a:lnTo>
                  <a:lnTo>
                    <a:pt x="482" y="571"/>
                  </a:lnTo>
                  <a:lnTo>
                    <a:pt x="421" y="571"/>
                  </a:lnTo>
                  <a:lnTo>
                    <a:pt x="421" y="195"/>
                  </a:lnTo>
                  <a:lnTo>
                    <a:pt x="421" y="192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4"/>
                  </a:lnTo>
                  <a:lnTo>
                    <a:pt x="412" y="181"/>
                  </a:lnTo>
                  <a:lnTo>
                    <a:pt x="409" y="180"/>
                  </a:lnTo>
                  <a:lnTo>
                    <a:pt x="406" y="180"/>
                  </a:lnTo>
                  <a:lnTo>
                    <a:pt x="286" y="180"/>
                  </a:lnTo>
                  <a:lnTo>
                    <a:pt x="283" y="180"/>
                  </a:lnTo>
                  <a:lnTo>
                    <a:pt x="281" y="181"/>
                  </a:lnTo>
                  <a:lnTo>
                    <a:pt x="277" y="184"/>
                  </a:lnTo>
                  <a:lnTo>
                    <a:pt x="275" y="185"/>
                  </a:lnTo>
                  <a:lnTo>
                    <a:pt x="274" y="187"/>
                  </a:lnTo>
                  <a:lnTo>
                    <a:pt x="272" y="190"/>
                  </a:lnTo>
                  <a:lnTo>
                    <a:pt x="271" y="192"/>
                  </a:lnTo>
                  <a:lnTo>
                    <a:pt x="271" y="195"/>
                  </a:lnTo>
                  <a:lnTo>
                    <a:pt x="271" y="571"/>
                  </a:lnTo>
                  <a:lnTo>
                    <a:pt x="211" y="571"/>
                  </a:lnTo>
                  <a:lnTo>
                    <a:pt x="211" y="406"/>
                  </a:lnTo>
                  <a:lnTo>
                    <a:pt x="211" y="403"/>
                  </a:lnTo>
                  <a:lnTo>
                    <a:pt x="210" y="400"/>
                  </a:lnTo>
                  <a:lnTo>
                    <a:pt x="209" y="398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2"/>
                  </a:lnTo>
                  <a:lnTo>
                    <a:pt x="199" y="391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1"/>
                  </a:lnTo>
                  <a:lnTo>
                    <a:pt x="70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8"/>
                  </a:lnTo>
                  <a:lnTo>
                    <a:pt x="62" y="400"/>
                  </a:lnTo>
                  <a:lnTo>
                    <a:pt x="61" y="403"/>
                  </a:lnTo>
                  <a:lnTo>
                    <a:pt x="61" y="406"/>
                  </a:lnTo>
                  <a:lnTo>
                    <a:pt x="61" y="571"/>
                  </a:lnTo>
                  <a:lnTo>
                    <a:pt x="16" y="571"/>
                  </a:lnTo>
                  <a:lnTo>
                    <a:pt x="13" y="571"/>
                  </a:lnTo>
                  <a:lnTo>
                    <a:pt x="10" y="572"/>
                  </a:lnTo>
                  <a:lnTo>
                    <a:pt x="7" y="573"/>
                  </a:lnTo>
                  <a:lnTo>
                    <a:pt x="5" y="576"/>
                  </a:lnTo>
                  <a:lnTo>
                    <a:pt x="3" y="578"/>
                  </a:lnTo>
                  <a:lnTo>
                    <a:pt x="2" y="581"/>
                  </a:lnTo>
                  <a:lnTo>
                    <a:pt x="1" y="583"/>
                  </a:lnTo>
                  <a:lnTo>
                    <a:pt x="0" y="586"/>
                  </a:lnTo>
                  <a:lnTo>
                    <a:pt x="1" y="590"/>
                  </a:lnTo>
                  <a:lnTo>
                    <a:pt x="2" y="593"/>
                  </a:lnTo>
                  <a:lnTo>
                    <a:pt x="3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10" y="600"/>
                  </a:lnTo>
                  <a:lnTo>
                    <a:pt x="13" y="601"/>
                  </a:lnTo>
                  <a:lnTo>
                    <a:pt x="16" y="601"/>
                  </a:lnTo>
                  <a:lnTo>
                    <a:pt x="76" y="601"/>
                  </a:lnTo>
                  <a:lnTo>
                    <a:pt x="196" y="601"/>
                  </a:lnTo>
                  <a:lnTo>
                    <a:pt x="286" y="601"/>
                  </a:lnTo>
                  <a:lnTo>
                    <a:pt x="406" y="601"/>
                  </a:lnTo>
                  <a:lnTo>
                    <a:pt x="497" y="601"/>
                  </a:lnTo>
                  <a:lnTo>
                    <a:pt x="617" y="601"/>
                  </a:lnTo>
                  <a:lnTo>
                    <a:pt x="707" y="601"/>
                  </a:lnTo>
                  <a:lnTo>
                    <a:pt x="827" y="601"/>
                  </a:lnTo>
                  <a:lnTo>
                    <a:pt x="888" y="601"/>
                  </a:lnTo>
                  <a:lnTo>
                    <a:pt x="890" y="601"/>
                  </a:lnTo>
                  <a:lnTo>
                    <a:pt x="893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900" y="595"/>
                  </a:lnTo>
                  <a:lnTo>
                    <a:pt x="901" y="593"/>
                  </a:lnTo>
                  <a:lnTo>
                    <a:pt x="902" y="590"/>
                  </a:lnTo>
                  <a:lnTo>
                    <a:pt x="903" y="586"/>
                  </a:lnTo>
                  <a:lnTo>
                    <a:pt x="902" y="583"/>
                  </a:lnTo>
                  <a:lnTo>
                    <a:pt x="901" y="581"/>
                  </a:lnTo>
                  <a:lnTo>
                    <a:pt x="900" y="578"/>
                  </a:lnTo>
                  <a:lnTo>
                    <a:pt x="898" y="576"/>
                  </a:lnTo>
                  <a:lnTo>
                    <a:pt x="896" y="573"/>
                  </a:lnTo>
                  <a:lnTo>
                    <a:pt x="893" y="572"/>
                  </a:lnTo>
                  <a:lnTo>
                    <a:pt x="890" y="571"/>
                  </a:lnTo>
                  <a:lnTo>
                    <a:pt x="888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215">
              <a:extLst>
                <a:ext uri="{FF2B5EF4-FFF2-40B4-BE49-F238E27FC236}">
                  <a16:creationId xmlns:a16="http://schemas.microsoft.com/office/drawing/2014/main" id="{82B1B54F-FAF6-4D01-84DD-E035BBA38F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74325" y="2498725"/>
              <a:ext cx="252413" cy="157163"/>
            </a:xfrm>
            <a:custGeom>
              <a:avLst/>
              <a:gdLst>
                <a:gd name="T0" fmla="*/ 83 w 796"/>
                <a:gd name="T1" fmla="*/ 417 h 496"/>
                <a:gd name="T2" fmla="*/ 89 w 796"/>
                <a:gd name="T3" fmla="*/ 431 h 496"/>
                <a:gd name="T4" fmla="*/ 76 w 796"/>
                <a:gd name="T5" fmla="*/ 461 h 496"/>
                <a:gd name="T6" fmla="*/ 43 w 796"/>
                <a:gd name="T7" fmla="*/ 461 h 496"/>
                <a:gd name="T8" fmla="*/ 30 w 796"/>
                <a:gd name="T9" fmla="*/ 430 h 496"/>
                <a:gd name="T10" fmla="*/ 54 w 796"/>
                <a:gd name="T11" fmla="*/ 407 h 496"/>
                <a:gd name="T12" fmla="*/ 302 w 796"/>
                <a:gd name="T13" fmla="*/ 216 h 496"/>
                <a:gd name="T14" fmla="*/ 315 w 796"/>
                <a:gd name="T15" fmla="*/ 247 h 496"/>
                <a:gd name="T16" fmla="*/ 291 w 796"/>
                <a:gd name="T17" fmla="*/ 270 h 496"/>
                <a:gd name="T18" fmla="*/ 260 w 796"/>
                <a:gd name="T19" fmla="*/ 257 h 496"/>
                <a:gd name="T20" fmla="*/ 260 w 796"/>
                <a:gd name="T21" fmla="*/ 224 h 496"/>
                <a:gd name="T22" fmla="*/ 511 w 796"/>
                <a:gd name="T23" fmla="*/ 301 h 496"/>
                <a:gd name="T24" fmla="*/ 530 w 796"/>
                <a:gd name="T25" fmla="*/ 308 h 496"/>
                <a:gd name="T26" fmla="*/ 541 w 796"/>
                <a:gd name="T27" fmla="*/ 331 h 496"/>
                <a:gd name="T28" fmla="*/ 523 w 796"/>
                <a:gd name="T29" fmla="*/ 359 h 496"/>
                <a:gd name="T30" fmla="*/ 490 w 796"/>
                <a:gd name="T31" fmla="*/ 353 h 496"/>
                <a:gd name="T32" fmla="*/ 483 w 796"/>
                <a:gd name="T33" fmla="*/ 320 h 496"/>
                <a:gd name="T34" fmla="*/ 511 w 796"/>
                <a:gd name="T35" fmla="*/ 301 h 496"/>
                <a:gd name="T36" fmla="*/ 757 w 796"/>
                <a:gd name="T37" fmla="*/ 39 h 496"/>
                <a:gd name="T38" fmla="*/ 764 w 796"/>
                <a:gd name="T39" fmla="*/ 72 h 496"/>
                <a:gd name="T40" fmla="*/ 736 w 796"/>
                <a:gd name="T41" fmla="*/ 90 h 496"/>
                <a:gd name="T42" fmla="*/ 708 w 796"/>
                <a:gd name="T43" fmla="*/ 72 h 496"/>
                <a:gd name="T44" fmla="*/ 716 w 796"/>
                <a:gd name="T45" fmla="*/ 39 h 496"/>
                <a:gd name="T46" fmla="*/ 60 w 796"/>
                <a:gd name="T47" fmla="*/ 496 h 496"/>
                <a:gd name="T48" fmla="*/ 93 w 796"/>
                <a:gd name="T49" fmla="*/ 487 h 496"/>
                <a:gd name="T50" fmla="*/ 115 w 796"/>
                <a:gd name="T51" fmla="*/ 460 h 496"/>
                <a:gd name="T52" fmla="*/ 118 w 796"/>
                <a:gd name="T53" fmla="*/ 422 h 496"/>
                <a:gd name="T54" fmla="*/ 276 w 796"/>
                <a:gd name="T55" fmla="*/ 300 h 496"/>
                <a:gd name="T56" fmla="*/ 318 w 796"/>
                <a:gd name="T57" fmla="*/ 291 h 496"/>
                <a:gd name="T58" fmla="*/ 451 w 796"/>
                <a:gd name="T59" fmla="*/ 331 h 496"/>
                <a:gd name="T60" fmla="*/ 461 w 796"/>
                <a:gd name="T61" fmla="*/ 365 h 496"/>
                <a:gd name="T62" fmla="*/ 487 w 796"/>
                <a:gd name="T63" fmla="*/ 387 h 496"/>
                <a:gd name="T64" fmla="*/ 523 w 796"/>
                <a:gd name="T65" fmla="*/ 390 h 496"/>
                <a:gd name="T66" fmla="*/ 554 w 796"/>
                <a:gd name="T67" fmla="*/ 373 h 496"/>
                <a:gd name="T68" fmla="*/ 570 w 796"/>
                <a:gd name="T69" fmla="*/ 343 h 496"/>
                <a:gd name="T70" fmla="*/ 559 w 796"/>
                <a:gd name="T71" fmla="*/ 296 h 496"/>
                <a:gd name="T72" fmla="*/ 742 w 796"/>
                <a:gd name="T73" fmla="*/ 120 h 496"/>
                <a:gd name="T74" fmla="*/ 775 w 796"/>
                <a:gd name="T75" fmla="*/ 106 h 496"/>
                <a:gd name="T76" fmla="*/ 794 w 796"/>
                <a:gd name="T77" fmla="*/ 79 h 496"/>
                <a:gd name="T78" fmla="*/ 794 w 796"/>
                <a:gd name="T79" fmla="*/ 43 h 496"/>
                <a:gd name="T80" fmla="*/ 775 w 796"/>
                <a:gd name="T81" fmla="*/ 14 h 496"/>
                <a:gd name="T82" fmla="*/ 742 w 796"/>
                <a:gd name="T83" fmla="*/ 0 h 496"/>
                <a:gd name="T84" fmla="*/ 708 w 796"/>
                <a:gd name="T85" fmla="*/ 8 h 496"/>
                <a:gd name="T86" fmla="*/ 683 w 796"/>
                <a:gd name="T87" fmla="*/ 31 h 496"/>
                <a:gd name="T88" fmla="*/ 677 w 796"/>
                <a:gd name="T89" fmla="*/ 70 h 496"/>
                <a:gd name="T90" fmla="*/ 524 w 796"/>
                <a:gd name="T91" fmla="*/ 272 h 496"/>
                <a:gd name="T92" fmla="*/ 483 w 796"/>
                <a:gd name="T93" fmla="*/ 278 h 496"/>
                <a:gd name="T94" fmla="*/ 345 w 796"/>
                <a:gd name="T95" fmla="*/ 245 h 496"/>
                <a:gd name="T96" fmla="*/ 339 w 796"/>
                <a:gd name="T97" fmla="*/ 212 h 496"/>
                <a:gd name="T98" fmla="*/ 314 w 796"/>
                <a:gd name="T99" fmla="*/ 188 h 496"/>
                <a:gd name="T100" fmla="*/ 280 w 796"/>
                <a:gd name="T101" fmla="*/ 181 h 496"/>
                <a:gd name="T102" fmla="*/ 247 w 796"/>
                <a:gd name="T103" fmla="*/ 194 h 496"/>
                <a:gd name="T104" fmla="*/ 228 w 796"/>
                <a:gd name="T105" fmla="*/ 223 h 496"/>
                <a:gd name="T106" fmla="*/ 229 w 796"/>
                <a:gd name="T107" fmla="*/ 262 h 496"/>
                <a:gd name="T108" fmla="*/ 60 w 796"/>
                <a:gd name="T109" fmla="*/ 376 h 496"/>
                <a:gd name="T110" fmla="*/ 26 w 796"/>
                <a:gd name="T111" fmla="*/ 387 h 496"/>
                <a:gd name="T112" fmla="*/ 4 w 796"/>
                <a:gd name="T113" fmla="*/ 413 h 496"/>
                <a:gd name="T114" fmla="*/ 1 w 796"/>
                <a:gd name="T115" fmla="*/ 448 h 496"/>
                <a:gd name="T116" fmla="*/ 17 w 796"/>
                <a:gd name="T117" fmla="*/ 479 h 496"/>
                <a:gd name="T118" fmla="*/ 47 w 796"/>
                <a:gd name="T119" fmla="*/ 49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96" h="496">
                  <a:moveTo>
                    <a:pt x="60" y="406"/>
                  </a:moveTo>
                  <a:lnTo>
                    <a:pt x="66" y="407"/>
                  </a:lnTo>
                  <a:lnTo>
                    <a:pt x="73" y="410"/>
                  </a:lnTo>
                  <a:lnTo>
                    <a:pt x="78" y="413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6" y="421"/>
                  </a:lnTo>
                  <a:lnTo>
                    <a:pt x="88" y="426"/>
                  </a:lnTo>
                  <a:lnTo>
                    <a:pt x="89" y="431"/>
                  </a:lnTo>
                  <a:lnTo>
                    <a:pt x="90" y="436"/>
                  </a:lnTo>
                  <a:lnTo>
                    <a:pt x="89" y="443"/>
                  </a:lnTo>
                  <a:lnTo>
                    <a:pt x="88" y="448"/>
                  </a:lnTo>
                  <a:lnTo>
                    <a:pt x="85" y="453"/>
                  </a:lnTo>
                  <a:lnTo>
                    <a:pt x="81" y="458"/>
                  </a:lnTo>
                  <a:lnTo>
                    <a:pt x="76" y="461"/>
                  </a:lnTo>
                  <a:lnTo>
                    <a:pt x="72" y="464"/>
                  </a:lnTo>
                  <a:lnTo>
                    <a:pt x="65" y="466"/>
                  </a:lnTo>
                  <a:lnTo>
                    <a:pt x="60" y="466"/>
                  </a:lnTo>
                  <a:lnTo>
                    <a:pt x="54" y="466"/>
                  </a:lnTo>
                  <a:lnTo>
                    <a:pt x="48" y="464"/>
                  </a:lnTo>
                  <a:lnTo>
                    <a:pt x="43" y="461"/>
                  </a:lnTo>
                  <a:lnTo>
                    <a:pt x="39" y="458"/>
                  </a:lnTo>
                  <a:lnTo>
                    <a:pt x="34" y="453"/>
                  </a:lnTo>
                  <a:lnTo>
                    <a:pt x="32" y="448"/>
                  </a:lnTo>
                  <a:lnTo>
                    <a:pt x="30" y="443"/>
                  </a:lnTo>
                  <a:lnTo>
                    <a:pt x="30" y="436"/>
                  </a:lnTo>
                  <a:lnTo>
                    <a:pt x="30" y="430"/>
                  </a:lnTo>
                  <a:lnTo>
                    <a:pt x="32" y="425"/>
                  </a:lnTo>
                  <a:lnTo>
                    <a:pt x="34" y="419"/>
                  </a:lnTo>
                  <a:lnTo>
                    <a:pt x="39" y="415"/>
                  </a:lnTo>
                  <a:lnTo>
                    <a:pt x="43" y="412"/>
                  </a:lnTo>
                  <a:lnTo>
                    <a:pt x="48" y="409"/>
                  </a:lnTo>
                  <a:lnTo>
                    <a:pt x="54" y="407"/>
                  </a:lnTo>
                  <a:lnTo>
                    <a:pt x="60" y="406"/>
                  </a:lnTo>
                  <a:lnTo>
                    <a:pt x="60" y="406"/>
                  </a:lnTo>
                  <a:close/>
                  <a:moveTo>
                    <a:pt x="285" y="211"/>
                  </a:moveTo>
                  <a:lnTo>
                    <a:pt x="291" y="211"/>
                  </a:lnTo>
                  <a:lnTo>
                    <a:pt x="297" y="214"/>
                  </a:lnTo>
                  <a:lnTo>
                    <a:pt x="302" y="216"/>
                  </a:lnTo>
                  <a:lnTo>
                    <a:pt x="306" y="220"/>
                  </a:lnTo>
                  <a:lnTo>
                    <a:pt x="311" y="224"/>
                  </a:lnTo>
                  <a:lnTo>
                    <a:pt x="313" y="230"/>
                  </a:lnTo>
                  <a:lnTo>
                    <a:pt x="315" y="235"/>
                  </a:lnTo>
                  <a:lnTo>
                    <a:pt x="315" y="241"/>
                  </a:lnTo>
                  <a:lnTo>
                    <a:pt x="315" y="247"/>
                  </a:lnTo>
                  <a:lnTo>
                    <a:pt x="313" y="253"/>
                  </a:lnTo>
                  <a:lnTo>
                    <a:pt x="311" y="257"/>
                  </a:lnTo>
                  <a:lnTo>
                    <a:pt x="306" y="262"/>
                  </a:lnTo>
                  <a:lnTo>
                    <a:pt x="302" y="266"/>
                  </a:lnTo>
                  <a:lnTo>
                    <a:pt x="297" y="268"/>
                  </a:lnTo>
                  <a:lnTo>
                    <a:pt x="291" y="270"/>
                  </a:lnTo>
                  <a:lnTo>
                    <a:pt x="285" y="271"/>
                  </a:lnTo>
                  <a:lnTo>
                    <a:pt x="280" y="270"/>
                  </a:lnTo>
                  <a:lnTo>
                    <a:pt x="273" y="268"/>
                  </a:lnTo>
                  <a:lnTo>
                    <a:pt x="269" y="266"/>
                  </a:lnTo>
                  <a:lnTo>
                    <a:pt x="264" y="262"/>
                  </a:lnTo>
                  <a:lnTo>
                    <a:pt x="260" y="257"/>
                  </a:lnTo>
                  <a:lnTo>
                    <a:pt x="257" y="253"/>
                  </a:lnTo>
                  <a:lnTo>
                    <a:pt x="256" y="247"/>
                  </a:lnTo>
                  <a:lnTo>
                    <a:pt x="255" y="241"/>
                  </a:lnTo>
                  <a:lnTo>
                    <a:pt x="256" y="235"/>
                  </a:lnTo>
                  <a:lnTo>
                    <a:pt x="257" y="230"/>
                  </a:lnTo>
                  <a:lnTo>
                    <a:pt x="260" y="224"/>
                  </a:lnTo>
                  <a:lnTo>
                    <a:pt x="264" y="220"/>
                  </a:lnTo>
                  <a:lnTo>
                    <a:pt x="269" y="216"/>
                  </a:lnTo>
                  <a:lnTo>
                    <a:pt x="273" y="214"/>
                  </a:lnTo>
                  <a:lnTo>
                    <a:pt x="280" y="211"/>
                  </a:lnTo>
                  <a:lnTo>
                    <a:pt x="285" y="211"/>
                  </a:lnTo>
                  <a:close/>
                  <a:moveTo>
                    <a:pt x="511" y="301"/>
                  </a:moveTo>
                  <a:lnTo>
                    <a:pt x="516" y="301"/>
                  </a:lnTo>
                  <a:lnTo>
                    <a:pt x="521" y="302"/>
                  </a:lnTo>
                  <a:lnTo>
                    <a:pt x="526" y="306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5" y="313"/>
                  </a:lnTo>
                  <a:lnTo>
                    <a:pt x="538" y="319"/>
                  </a:lnTo>
                  <a:lnTo>
                    <a:pt x="540" y="325"/>
                  </a:lnTo>
                  <a:lnTo>
                    <a:pt x="541" y="331"/>
                  </a:lnTo>
                  <a:lnTo>
                    <a:pt x="540" y="337"/>
                  </a:lnTo>
                  <a:lnTo>
                    <a:pt x="539" y="343"/>
                  </a:lnTo>
                  <a:lnTo>
                    <a:pt x="536" y="347"/>
                  </a:lnTo>
                  <a:lnTo>
                    <a:pt x="532" y="353"/>
                  </a:lnTo>
                  <a:lnTo>
                    <a:pt x="527" y="356"/>
                  </a:lnTo>
                  <a:lnTo>
                    <a:pt x="523" y="359"/>
                  </a:lnTo>
                  <a:lnTo>
                    <a:pt x="516" y="360"/>
                  </a:lnTo>
                  <a:lnTo>
                    <a:pt x="511" y="361"/>
                  </a:lnTo>
                  <a:lnTo>
                    <a:pt x="505" y="360"/>
                  </a:lnTo>
                  <a:lnTo>
                    <a:pt x="499" y="359"/>
                  </a:lnTo>
                  <a:lnTo>
                    <a:pt x="494" y="356"/>
                  </a:lnTo>
                  <a:lnTo>
                    <a:pt x="490" y="353"/>
                  </a:lnTo>
                  <a:lnTo>
                    <a:pt x="486" y="349"/>
                  </a:lnTo>
                  <a:lnTo>
                    <a:pt x="483" y="343"/>
                  </a:lnTo>
                  <a:lnTo>
                    <a:pt x="481" y="337"/>
                  </a:lnTo>
                  <a:lnTo>
                    <a:pt x="481" y="331"/>
                  </a:lnTo>
                  <a:lnTo>
                    <a:pt x="481" y="325"/>
                  </a:lnTo>
                  <a:lnTo>
                    <a:pt x="483" y="320"/>
                  </a:lnTo>
                  <a:lnTo>
                    <a:pt x="486" y="314"/>
                  </a:lnTo>
                  <a:lnTo>
                    <a:pt x="490" y="310"/>
                  </a:lnTo>
                  <a:lnTo>
                    <a:pt x="494" y="307"/>
                  </a:lnTo>
                  <a:lnTo>
                    <a:pt x="499" y="304"/>
                  </a:lnTo>
                  <a:lnTo>
                    <a:pt x="505" y="301"/>
                  </a:lnTo>
                  <a:lnTo>
                    <a:pt x="511" y="301"/>
                  </a:lnTo>
                  <a:lnTo>
                    <a:pt x="511" y="301"/>
                  </a:lnTo>
                  <a:close/>
                  <a:moveTo>
                    <a:pt x="736" y="30"/>
                  </a:moveTo>
                  <a:lnTo>
                    <a:pt x="742" y="31"/>
                  </a:lnTo>
                  <a:lnTo>
                    <a:pt x="748" y="33"/>
                  </a:lnTo>
                  <a:lnTo>
                    <a:pt x="753" y="36"/>
                  </a:lnTo>
                  <a:lnTo>
                    <a:pt x="757" y="39"/>
                  </a:lnTo>
                  <a:lnTo>
                    <a:pt x="762" y="43"/>
                  </a:lnTo>
                  <a:lnTo>
                    <a:pt x="764" y="49"/>
                  </a:lnTo>
                  <a:lnTo>
                    <a:pt x="766" y="55"/>
                  </a:lnTo>
                  <a:lnTo>
                    <a:pt x="766" y="60"/>
                  </a:lnTo>
                  <a:lnTo>
                    <a:pt x="766" y="67"/>
                  </a:lnTo>
                  <a:lnTo>
                    <a:pt x="764" y="72"/>
                  </a:lnTo>
                  <a:lnTo>
                    <a:pt x="762" y="78"/>
                  </a:lnTo>
                  <a:lnTo>
                    <a:pt x="757" y="82"/>
                  </a:lnTo>
                  <a:lnTo>
                    <a:pt x="753" y="85"/>
                  </a:lnTo>
                  <a:lnTo>
                    <a:pt x="748" y="88"/>
                  </a:lnTo>
                  <a:lnTo>
                    <a:pt x="742" y="90"/>
                  </a:lnTo>
                  <a:lnTo>
                    <a:pt x="736" y="90"/>
                  </a:lnTo>
                  <a:lnTo>
                    <a:pt x="731" y="90"/>
                  </a:lnTo>
                  <a:lnTo>
                    <a:pt x="724" y="88"/>
                  </a:lnTo>
                  <a:lnTo>
                    <a:pt x="720" y="85"/>
                  </a:lnTo>
                  <a:lnTo>
                    <a:pt x="716" y="82"/>
                  </a:lnTo>
                  <a:lnTo>
                    <a:pt x="711" y="78"/>
                  </a:lnTo>
                  <a:lnTo>
                    <a:pt x="708" y="72"/>
                  </a:lnTo>
                  <a:lnTo>
                    <a:pt x="707" y="67"/>
                  </a:lnTo>
                  <a:lnTo>
                    <a:pt x="706" y="60"/>
                  </a:lnTo>
                  <a:lnTo>
                    <a:pt x="707" y="55"/>
                  </a:lnTo>
                  <a:lnTo>
                    <a:pt x="708" y="49"/>
                  </a:lnTo>
                  <a:lnTo>
                    <a:pt x="711" y="43"/>
                  </a:lnTo>
                  <a:lnTo>
                    <a:pt x="716" y="39"/>
                  </a:lnTo>
                  <a:lnTo>
                    <a:pt x="720" y="36"/>
                  </a:lnTo>
                  <a:lnTo>
                    <a:pt x="724" y="33"/>
                  </a:lnTo>
                  <a:lnTo>
                    <a:pt x="731" y="31"/>
                  </a:lnTo>
                  <a:lnTo>
                    <a:pt x="736" y="30"/>
                  </a:lnTo>
                  <a:lnTo>
                    <a:pt x="736" y="30"/>
                  </a:lnTo>
                  <a:close/>
                  <a:moveTo>
                    <a:pt x="60" y="496"/>
                  </a:moveTo>
                  <a:lnTo>
                    <a:pt x="66" y="496"/>
                  </a:lnTo>
                  <a:lnTo>
                    <a:pt x="72" y="495"/>
                  </a:lnTo>
                  <a:lnTo>
                    <a:pt x="77" y="494"/>
                  </a:lnTo>
                  <a:lnTo>
                    <a:pt x="84" y="492"/>
                  </a:lnTo>
                  <a:lnTo>
                    <a:pt x="89" y="489"/>
                  </a:lnTo>
                  <a:lnTo>
                    <a:pt x="93" y="487"/>
                  </a:lnTo>
                  <a:lnTo>
                    <a:pt x="98" y="482"/>
                  </a:lnTo>
                  <a:lnTo>
                    <a:pt x="102" y="479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3" y="465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8"/>
                  </a:lnTo>
                  <a:lnTo>
                    <a:pt x="120" y="443"/>
                  </a:lnTo>
                  <a:lnTo>
                    <a:pt x="120" y="436"/>
                  </a:lnTo>
                  <a:lnTo>
                    <a:pt x="119" y="429"/>
                  </a:lnTo>
                  <a:lnTo>
                    <a:pt x="118" y="422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1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6" y="300"/>
                  </a:lnTo>
                  <a:lnTo>
                    <a:pt x="285" y="301"/>
                  </a:lnTo>
                  <a:lnTo>
                    <a:pt x="292" y="300"/>
                  </a:lnTo>
                  <a:lnTo>
                    <a:pt x="300" y="299"/>
                  </a:lnTo>
                  <a:lnTo>
                    <a:pt x="306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6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1"/>
                  </a:lnTo>
                  <a:lnTo>
                    <a:pt x="451" y="338"/>
                  </a:lnTo>
                  <a:lnTo>
                    <a:pt x="452" y="343"/>
                  </a:lnTo>
                  <a:lnTo>
                    <a:pt x="453" y="350"/>
                  </a:lnTo>
                  <a:lnTo>
                    <a:pt x="455" y="355"/>
                  </a:lnTo>
                  <a:lnTo>
                    <a:pt x="457" y="360"/>
                  </a:lnTo>
                  <a:lnTo>
                    <a:pt x="461" y="365"/>
                  </a:lnTo>
                  <a:lnTo>
                    <a:pt x="464" y="370"/>
                  </a:lnTo>
                  <a:lnTo>
                    <a:pt x="468" y="374"/>
                  </a:lnTo>
                  <a:lnTo>
                    <a:pt x="472" y="377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7" y="387"/>
                  </a:lnTo>
                  <a:lnTo>
                    <a:pt x="493" y="388"/>
                  </a:lnTo>
                  <a:lnTo>
                    <a:pt x="498" y="390"/>
                  </a:lnTo>
                  <a:lnTo>
                    <a:pt x="505" y="391"/>
                  </a:lnTo>
                  <a:lnTo>
                    <a:pt x="511" y="391"/>
                  </a:lnTo>
                  <a:lnTo>
                    <a:pt x="517" y="391"/>
                  </a:lnTo>
                  <a:lnTo>
                    <a:pt x="523" y="390"/>
                  </a:lnTo>
                  <a:lnTo>
                    <a:pt x="529" y="388"/>
                  </a:lnTo>
                  <a:lnTo>
                    <a:pt x="535" y="387"/>
                  </a:lnTo>
                  <a:lnTo>
                    <a:pt x="540" y="384"/>
                  </a:lnTo>
                  <a:lnTo>
                    <a:pt x="544" y="381"/>
                  </a:lnTo>
                  <a:lnTo>
                    <a:pt x="550" y="377"/>
                  </a:lnTo>
                  <a:lnTo>
                    <a:pt x="554" y="373"/>
                  </a:lnTo>
                  <a:lnTo>
                    <a:pt x="557" y="370"/>
                  </a:lnTo>
                  <a:lnTo>
                    <a:pt x="560" y="365"/>
                  </a:lnTo>
                  <a:lnTo>
                    <a:pt x="564" y="360"/>
                  </a:lnTo>
                  <a:lnTo>
                    <a:pt x="567" y="355"/>
                  </a:lnTo>
                  <a:lnTo>
                    <a:pt x="568" y="350"/>
                  </a:lnTo>
                  <a:lnTo>
                    <a:pt x="570" y="343"/>
                  </a:lnTo>
                  <a:lnTo>
                    <a:pt x="571" y="338"/>
                  </a:lnTo>
                  <a:lnTo>
                    <a:pt x="571" y="331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59" y="296"/>
                  </a:lnTo>
                  <a:lnTo>
                    <a:pt x="710" y="115"/>
                  </a:lnTo>
                  <a:lnTo>
                    <a:pt x="717" y="117"/>
                  </a:lnTo>
                  <a:lnTo>
                    <a:pt x="723" y="119"/>
                  </a:lnTo>
                  <a:lnTo>
                    <a:pt x="730" y="120"/>
                  </a:lnTo>
                  <a:lnTo>
                    <a:pt x="736" y="120"/>
                  </a:lnTo>
                  <a:lnTo>
                    <a:pt x="742" y="120"/>
                  </a:lnTo>
                  <a:lnTo>
                    <a:pt x="749" y="119"/>
                  </a:lnTo>
                  <a:lnTo>
                    <a:pt x="754" y="118"/>
                  </a:lnTo>
                  <a:lnTo>
                    <a:pt x="760" y="116"/>
                  </a:lnTo>
                  <a:lnTo>
                    <a:pt x="765" y="114"/>
                  </a:lnTo>
                  <a:lnTo>
                    <a:pt x="770" y="111"/>
                  </a:lnTo>
                  <a:lnTo>
                    <a:pt x="775" y="106"/>
                  </a:lnTo>
                  <a:lnTo>
                    <a:pt x="779" y="103"/>
                  </a:lnTo>
                  <a:lnTo>
                    <a:pt x="783" y="99"/>
                  </a:lnTo>
                  <a:lnTo>
                    <a:pt x="786" y="95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4" y="79"/>
                  </a:lnTo>
                  <a:lnTo>
                    <a:pt x="795" y="73"/>
                  </a:lnTo>
                  <a:lnTo>
                    <a:pt x="796" y="67"/>
                  </a:lnTo>
                  <a:lnTo>
                    <a:pt x="796" y="60"/>
                  </a:lnTo>
                  <a:lnTo>
                    <a:pt x="796" y="54"/>
                  </a:lnTo>
                  <a:lnTo>
                    <a:pt x="795" y="49"/>
                  </a:lnTo>
                  <a:lnTo>
                    <a:pt x="794" y="43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6" y="27"/>
                  </a:lnTo>
                  <a:lnTo>
                    <a:pt x="783" y="23"/>
                  </a:lnTo>
                  <a:lnTo>
                    <a:pt x="779" y="19"/>
                  </a:lnTo>
                  <a:lnTo>
                    <a:pt x="775" y="14"/>
                  </a:lnTo>
                  <a:lnTo>
                    <a:pt x="770" y="11"/>
                  </a:lnTo>
                  <a:lnTo>
                    <a:pt x="765" y="8"/>
                  </a:lnTo>
                  <a:lnTo>
                    <a:pt x="760" y="5"/>
                  </a:lnTo>
                  <a:lnTo>
                    <a:pt x="754" y="4"/>
                  </a:lnTo>
                  <a:lnTo>
                    <a:pt x="749" y="1"/>
                  </a:lnTo>
                  <a:lnTo>
                    <a:pt x="742" y="0"/>
                  </a:lnTo>
                  <a:lnTo>
                    <a:pt x="736" y="0"/>
                  </a:lnTo>
                  <a:lnTo>
                    <a:pt x="731" y="0"/>
                  </a:lnTo>
                  <a:lnTo>
                    <a:pt x="724" y="1"/>
                  </a:lnTo>
                  <a:lnTo>
                    <a:pt x="719" y="4"/>
                  </a:lnTo>
                  <a:lnTo>
                    <a:pt x="712" y="5"/>
                  </a:lnTo>
                  <a:lnTo>
                    <a:pt x="708" y="8"/>
                  </a:lnTo>
                  <a:lnTo>
                    <a:pt x="703" y="11"/>
                  </a:lnTo>
                  <a:lnTo>
                    <a:pt x="698" y="14"/>
                  </a:lnTo>
                  <a:lnTo>
                    <a:pt x="694" y="19"/>
                  </a:lnTo>
                  <a:lnTo>
                    <a:pt x="690" y="22"/>
                  </a:lnTo>
                  <a:lnTo>
                    <a:pt x="687" y="27"/>
                  </a:lnTo>
                  <a:lnTo>
                    <a:pt x="683" y="31"/>
                  </a:lnTo>
                  <a:lnTo>
                    <a:pt x="681" y="37"/>
                  </a:lnTo>
                  <a:lnTo>
                    <a:pt x="679" y="43"/>
                  </a:lnTo>
                  <a:lnTo>
                    <a:pt x="677" y="49"/>
                  </a:lnTo>
                  <a:lnTo>
                    <a:pt x="676" y="54"/>
                  </a:lnTo>
                  <a:lnTo>
                    <a:pt x="676" y="60"/>
                  </a:lnTo>
                  <a:lnTo>
                    <a:pt x="677" y="70"/>
                  </a:lnTo>
                  <a:lnTo>
                    <a:pt x="679" y="80"/>
                  </a:lnTo>
                  <a:lnTo>
                    <a:pt x="682" y="88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0" y="275"/>
                  </a:lnTo>
                  <a:lnTo>
                    <a:pt x="524" y="272"/>
                  </a:lnTo>
                  <a:lnTo>
                    <a:pt x="517" y="271"/>
                  </a:lnTo>
                  <a:lnTo>
                    <a:pt x="511" y="271"/>
                  </a:lnTo>
                  <a:lnTo>
                    <a:pt x="504" y="271"/>
                  </a:lnTo>
                  <a:lnTo>
                    <a:pt x="496" y="272"/>
                  </a:lnTo>
                  <a:lnTo>
                    <a:pt x="490" y="275"/>
                  </a:lnTo>
                  <a:lnTo>
                    <a:pt x="483" y="278"/>
                  </a:lnTo>
                  <a:lnTo>
                    <a:pt x="478" y="281"/>
                  </a:lnTo>
                  <a:lnTo>
                    <a:pt x="472" y="285"/>
                  </a:lnTo>
                  <a:lnTo>
                    <a:pt x="467" y="291"/>
                  </a:lnTo>
                  <a:lnTo>
                    <a:pt x="463" y="296"/>
                  </a:lnTo>
                  <a:lnTo>
                    <a:pt x="345" y="249"/>
                  </a:lnTo>
                  <a:lnTo>
                    <a:pt x="345" y="245"/>
                  </a:lnTo>
                  <a:lnTo>
                    <a:pt x="345" y="241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2"/>
                  </a:lnTo>
                  <a:lnTo>
                    <a:pt x="335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2"/>
                  </a:lnTo>
                  <a:lnTo>
                    <a:pt x="291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2"/>
                  </a:lnTo>
                  <a:lnTo>
                    <a:pt x="268" y="184"/>
                  </a:lnTo>
                  <a:lnTo>
                    <a:pt x="261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7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2" y="212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1"/>
                  </a:lnTo>
                  <a:lnTo>
                    <a:pt x="226" y="248"/>
                  </a:lnTo>
                  <a:lnTo>
                    <a:pt x="227" y="255"/>
                  </a:lnTo>
                  <a:lnTo>
                    <a:pt x="229" y="262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3"/>
                  </a:lnTo>
                  <a:lnTo>
                    <a:pt x="78" y="380"/>
                  </a:lnTo>
                  <a:lnTo>
                    <a:pt x="69" y="377"/>
                  </a:lnTo>
                  <a:lnTo>
                    <a:pt x="60" y="376"/>
                  </a:lnTo>
                  <a:lnTo>
                    <a:pt x="54" y="376"/>
                  </a:lnTo>
                  <a:lnTo>
                    <a:pt x="47" y="377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4"/>
                  </a:lnTo>
                  <a:lnTo>
                    <a:pt x="26" y="387"/>
                  </a:lnTo>
                  <a:lnTo>
                    <a:pt x="21" y="390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10" y="403"/>
                  </a:lnTo>
                  <a:lnTo>
                    <a:pt x="6" y="407"/>
                  </a:lnTo>
                  <a:lnTo>
                    <a:pt x="4" y="413"/>
                  </a:lnTo>
                  <a:lnTo>
                    <a:pt x="2" y="418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6"/>
                  </a:lnTo>
                  <a:lnTo>
                    <a:pt x="0" y="443"/>
                  </a:lnTo>
                  <a:lnTo>
                    <a:pt x="1" y="448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5"/>
                  </a:lnTo>
                  <a:lnTo>
                    <a:pt x="10" y="470"/>
                  </a:lnTo>
                  <a:lnTo>
                    <a:pt x="13" y="475"/>
                  </a:lnTo>
                  <a:lnTo>
                    <a:pt x="17" y="479"/>
                  </a:lnTo>
                  <a:lnTo>
                    <a:pt x="21" y="482"/>
                  </a:lnTo>
                  <a:lnTo>
                    <a:pt x="26" y="487"/>
                  </a:lnTo>
                  <a:lnTo>
                    <a:pt x="31" y="489"/>
                  </a:lnTo>
                  <a:lnTo>
                    <a:pt x="36" y="492"/>
                  </a:lnTo>
                  <a:lnTo>
                    <a:pt x="42" y="494"/>
                  </a:lnTo>
                  <a:lnTo>
                    <a:pt x="47" y="495"/>
                  </a:lnTo>
                  <a:lnTo>
                    <a:pt x="54" y="496"/>
                  </a:lnTo>
                  <a:lnTo>
                    <a:pt x="60" y="4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8" name="Group 257">
            <a:extLst>
              <a:ext uri="{FF2B5EF4-FFF2-40B4-BE49-F238E27FC236}">
                <a16:creationId xmlns:a16="http://schemas.microsoft.com/office/drawing/2014/main" id="{54A713FE-0681-4AC3-9131-A8FB43F34CAA}"/>
              </a:ext>
            </a:extLst>
          </p:cNvPr>
          <p:cNvGrpSpPr/>
          <p:nvPr/>
        </p:nvGrpSpPr>
        <p:grpSpPr>
          <a:xfrm>
            <a:off x="5356956" y="5329504"/>
            <a:ext cx="345758" cy="299657"/>
            <a:chOff x="4892675" y="1935163"/>
            <a:chExt cx="285750" cy="247650"/>
          </a:xfrm>
          <a:solidFill>
            <a:schemeClr val="bg1"/>
          </a:solidFill>
        </p:grpSpPr>
        <p:sp>
          <p:nvSpPr>
            <p:cNvPr id="259" name="Freeform 185">
              <a:extLst>
                <a:ext uri="{FF2B5EF4-FFF2-40B4-BE49-F238E27FC236}">
                  <a16:creationId xmlns:a16="http://schemas.microsoft.com/office/drawing/2014/main" id="{4897E088-DE01-4ACE-A0D8-0F0A9D006A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2675" y="2020888"/>
              <a:ext cx="66675" cy="114300"/>
            </a:xfrm>
            <a:custGeom>
              <a:avLst/>
              <a:gdLst>
                <a:gd name="T0" fmla="*/ 30 w 210"/>
                <a:gd name="T1" fmla="*/ 30 h 360"/>
                <a:gd name="T2" fmla="*/ 180 w 210"/>
                <a:gd name="T3" fmla="*/ 30 h 360"/>
                <a:gd name="T4" fmla="*/ 180 w 210"/>
                <a:gd name="T5" fmla="*/ 123 h 360"/>
                <a:gd name="T6" fmla="*/ 180 w 210"/>
                <a:gd name="T7" fmla="*/ 135 h 360"/>
                <a:gd name="T8" fmla="*/ 180 w 210"/>
                <a:gd name="T9" fmla="*/ 146 h 360"/>
                <a:gd name="T10" fmla="*/ 179 w 210"/>
                <a:gd name="T11" fmla="*/ 157 h 360"/>
                <a:gd name="T12" fmla="*/ 177 w 210"/>
                <a:gd name="T13" fmla="*/ 167 h 360"/>
                <a:gd name="T14" fmla="*/ 174 w 210"/>
                <a:gd name="T15" fmla="*/ 175 h 360"/>
                <a:gd name="T16" fmla="*/ 171 w 210"/>
                <a:gd name="T17" fmla="*/ 178 h 360"/>
                <a:gd name="T18" fmla="*/ 168 w 210"/>
                <a:gd name="T19" fmla="*/ 180 h 360"/>
                <a:gd name="T20" fmla="*/ 165 w 210"/>
                <a:gd name="T21" fmla="*/ 180 h 360"/>
                <a:gd name="T22" fmla="*/ 150 w 210"/>
                <a:gd name="T23" fmla="*/ 180 h 360"/>
                <a:gd name="T24" fmla="*/ 150 w 210"/>
                <a:gd name="T25" fmla="*/ 330 h 360"/>
                <a:gd name="T26" fmla="*/ 60 w 210"/>
                <a:gd name="T27" fmla="*/ 330 h 360"/>
                <a:gd name="T28" fmla="*/ 60 w 210"/>
                <a:gd name="T29" fmla="*/ 180 h 360"/>
                <a:gd name="T30" fmla="*/ 45 w 210"/>
                <a:gd name="T31" fmla="*/ 180 h 360"/>
                <a:gd name="T32" fmla="*/ 40 w 210"/>
                <a:gd name="T33" fmla="*/ 179 h 360"/>
                <a:gd name="T34" fmla="*/ 38 w 210"/>
                <a:gd name="T35" fmla="*/ 178 h 360"/>
                <a:gd name="T36" fmla="*/ 35 w 210"/>
                <a:gd name="T37" fmla="*/ 173 h 360"/>
                <a:gd name="T38" fmla="*/ 33 w 210"/>
                <a:gd name="T39" fmla="*/ 168 h 360"/>
                <a:gd name="T40" fmla="*/ 32 w 210"/>
                <a:gd name="T41" fmla="*/ 162 h 360"/>
                <a:gd name="T42" fmla="*/ 31 w 210"/>
                <a:gd name="T43" fmla="*/ 154 h 360"/>
                <a:gd name="T44" fmla="*/ 30 w 210"/>
                <a:gd name="T45" fmla="*/ 138 h 360"/>
                <a:gd name="T46" fmla="*/ 30 w 210"/>
                <a:gd name="T47" fmla="*/ 123 h 360"/>
                <a:gd name="T48" fmla="*/ 30 w 210"/>
                <a:gd name="T49" fmla="*/ 30 h 360"/>
                <a:gd name="T50" fmla="*/ 0 w 210"/>
                <a:gd name="T51" fmla="*/ 123 h 360"/>
                <a:gd name="T52" fmla="*/ 0 w 210"/>
                <a:gd name="T53" fmla="*/ 143 h 360"/>
                <a:gd name="T54" fmla="*/ 2 w 210"/>
                <a:gd name="T55" fmla="*/ 164 h 360"/>
                <a:gd name="T56" fmla="*/ 4 w 210"/>
                <a:gd name="T57" fmla="*/ 175 h 360"/>
                <a:gd name="T58" fmla="*/ 7 w 210"/>
                <a:gd name="T59" fmla="*/ 183 h 360"/>
                <a:gd name="T60" fmla="*/ 12 w 210"/>
                <a:gd name="T61" fmla="*/ 192 h 360"/>
                <a:gd name="T62" fmla="*/ 17 w 210"/>
                <a:gd name="T63" fmla="*/ 199 h 360"/>
                <a:gd name="T64" fmla="*/ 23 w 210"/>
                <a:gd name="T65" fmla="*/ 203 h 360"/>
                <a:gd name="T66" fmla="*/ 30 w 210"/>
                <a:gd name="T67" fmla="*/ 208 h 360"/>
                <a:gd name="T68" fmla="*/ 30 w 210"/>
                <a:gd name="T69" fmla="*/ 360 h 360"/>
                <a:gd name="T70" fmla="*/ 180 w 210"/>
                <a:gd name="T71" fmla="*/ 360 h 360"/>
                <a:gd name="T72" fmla="*/ 180 w 210"/>
                <a:gd name="T73" fmla="*/ 208 h 360"/>
                <a:gd name="T74" fmla="*/ 184 w 210"/>
                <a:gd name="T75" fmla="*/ 206 h 360"/>
                <a:gd name="T76" fmla="*/ 187 w 210"/>
                <a:gd name="T77" fmla="*/ 203 h 360"/>
                <a:gd name="T78" fmla="*/ 192 w 210"/>
                <a:gd name="T79" fmla="*/ 200 h 360"/>
                <a:gd name="T80" fmla="*/ 195 w 210"/>
                <a:gd name="T81" fmla="*/ 197 h 360"/>
                <a:gd name="T82" fmla="*/ 198 w 210"/>
                <a:gd name="T83" fmla="*/ 193 h 360"/>
                <a:gd name="T84" fmla="*/ 201 w 210"/>
                <a:gd name="T85" fmla="*/ 187 h 360"/>
                <a:gd name="T86" fmla="*/ 203 w 210"/>
                <a:gd name="T87" fmla="*/ 181 h 360"/>
                <a:gd name="T88" fmla="*/ 206 w 210"/>
                <a:gd name="T89" fmla="*/ 175 h 360"/>
                <a:gd name="T90" fmla="*/ 209 w 210"/>
                <a:gd name="T91" fmla="*/ 162 h 360"/>
                <a:gd name="T92" fmla="*/ 210 w 210"/>
                <a:gd name="T93" fmla="*/ 149 h 360"/>
                <a:gd name="T94" fmla="*/ 210 w 210"/>
                <a:gd name="T95" fmla="*/ 136 h 360"/>
                <a:gd name="T96" fmla="*/ 210 w 210"/>
                <a:gd name="T97" fmla="*/ 123 h 360"/>
                <a:gd name="T98" fmla="*/ 210 w 210"/>
                <a:gd name="T99" fmla="*/ 0 h 360"/>
                <a:gd name="T100" fmla="*/ 0 w 210"/>
                <a:gd name="T101" fmla="*/ 0 h 360"/>
                <a:gd name="T102" fmla="*/ 0 w 210"/>
                <a:gd name="T103" fmla="*/ 123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0" h="360">
                  <a:moveTo>
                    <a:pt x="30" y="30"/>
                  </a:moveTo>
                  <a:lnTo>
                    <a:pt x="180" y="30"/>
                  </a:lnTo>
                  <a:lnTo>
                    <a:pt x="180" y="123"/>
                  </a:lnTo>
                  <a:lnTo>
                    <a:pt x="180" y="135"/>
                  </a:lnTo>
                  <a:lnTo>
                    <a:pt x="180" y="146"/>
                  </a:lnTo>
                  <a:lnTo>
                    <a:pt x="179" y="157"/>
                  </a:lnTo>
                  <a:lnTo>
                    <a:pt x="177" y="167"/>
                  </a:lnTo>
                  <a:lnTo>
                    <a:pt x="174" y="175"/>
                  </a:lnTo>
                  <a:lnTo>
                    <a:pt x="171" y="178"/>
                  </a:lnTo>
                  <a:lnTo>
                    <a:pt x="168" y="180"/>
                  </a:lnTo>
                  <a:lnTo>
                    <a:pt x="165" y="180"/>
                  </a:lnTo>
                  <a:lnTo>
                    <a:pt x="150" y="180"/>
                  </a:lnTo>
                  <a:lnTo>
                    <a:pt x="150" y="330"/>
                  </a:lnTo>
                  <a:lnTo>
                    <a:pt x="60" y="330"/>
                  </a:lnTo>
                  <a:lnTo>
                    <a:pt x="60" y="180"/>
                  </a:lnTo>
                  <a:lnTo>
                    <a:pt x="45" y="180"/>
                  </a:lnTo>
                  <a:lnTo>
                    <a:pt x="40" y="179"/>
                  </a:lnTo>
                  <a:lnTo>
                    <a:pt x="38" y="178"/>
                  </a:lnTo>
                  <a:lnTo>
                    <a:pt x="35" y="173"/>
                  </a:lnTo>
                  <a:lnTo>
                    <a:pt x="33" y="168"/>
                  </a:lnTo>
                  <a:lnTo>
                    <a:pt x="32" y="162"/>
                  </a:lnTo>
                  <a:lnTo>
                    <a:pt x="31" y="154"/>
                  </a:lnTo>
                  <a:lnTo>
                    <a:pt x="30" y="138"/>
                  </a:lnTo>
                  <a:lnTo>
                    <a:pt x="30" y="123"/>
                  </a:lnTo>
                  <a:lnTo>
                    <a:pt x="30" y="30"/>
                  </a:lnTo>
                  <a:close/>
                  <a:moveTo>
                    <a:pt x="0" y="123"/>
                  </a:moveTo>
                  <a:lnTo>
                    <a:pt x="0" y="143"/>
                  </a:lnTo>
                  <a:lnTo>
                    <a:pt x="2" y="164"/>
                  </a:lnTo>
                  <a:lnTo>
                    <a:pt x="4" y="175"/>
                  </a:lnTo>
                  <a:lnTo>
                    <a:pt x="7" y="183"/>
                  </a:lnTo>
                  <a:lnTo>
                    <a:pt x="12" y="192"/>
                  </a:lnTo>
                  <a:lnTo>
                    <a:pt x="17" y="199"/>
                  </a:lnTo>
                  <a:lnTo>
                    <a:pt x="23" y="203"/>
                  </a:lnTo>
                  <a:lnTo>
                    <a:pt x="30" y="208"/>
                  </a:lnTo>
                  <a:lnTo>
                    <a:pt x="30" y="360"/>
                  </a:lnTo>
                  <a:lnTo>
                    <a:pt x="180" y="360"/>
                  </a:lnTo>
                  <a:lnTo>
                    <a:pt x="180" y="208"/>
                  </a:lnTo>
                  <a:lnTo>
                    <a:pt x="184" y="206"/>
                  </a:lnTo>
                  <a:lnTo>
                    <a:pt x="187" y="203"/>
                  </a:lnTo>
                  <a:lnTo>
                    <a:pt x="192" y="200"/>
                  </a:lnTo>
                  <a:lnTo>
                    <a:pt x="195" y="197"/>
                  </a:lnTo>
                  <a:lnTo>
                    <a:pt x="198" y="193"/>
                  </a:lnTo>
                  <a:lnTo>
                    <a:pt x="201" y="187"/>
                  </a:lnTo>
                  <a:lnTo>
                    <a:pt x="203" y="181"/>
                  </a:lnTo>
                  <a:lnTo>
                    <a:pt x="206" y="175"/>
                  </a:lnTo>
                  <a:lnTo>
                    <a:pt x="209" y="162"/>
                  </a:lnTo>
                  <a:lnTo>
                    <a:pt x="210" y="149"/>
                  </a:lnTo>
                  <a:lnTo>
                    <a:pt x="210" y="136"/>
                  </a:lnTo>
                  <a:lnTo>
                    <a:pt x="210" y="123"/>
                  </a:lnTo>
                  <a:lnTo>
                    <a:pt x="210" y="0"/>
                  </a:lnTo>
                  <a:lnTo>
                    <a:pt x="0" y="0"/>
                  </a:lnTo>
                  <a:lnTo>
                    <a:pt x="0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186">
              <a:extLst>
                <a:ext uri="{FF2B5EF4-FFF2-40B4-BE49-F238E27FC236}">
                  <a16:creationId xmlns:a16="http://schemas.microsoft.com/office/drawing/2014/main" id="{ECEB652B-5CB7-4268-B067-AC7D5BDAB7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1750" y="2020888"/>
              <a:ext cx="66675" cy="114300"/>
            </a:xfrm>
            <a:custGeom>
              <a:avLst/>
              <a:gdLst>
                <a:gd name="T0" fmla="*/ 181 w 212"/>
                <a:gd name="T1" fmla="*/ 120 h 360"/>
                <a:gd name="T2" fmla="*/ 180 w 212"/>
                <a:gd name="T3" fmla="*/ 130 h 360"/>
                <a:gd name="T4" fmla="*/ 179 w 212"/>
                <a:gd name="T5" fmla="*/ 138 h 360"/>
                <a:gd name="T6" fmla="*/ 177 w 212"/>
                <a:gd name="T7" fmla="*/ 146 h 360"/>
                <a:gd name="T8" fmla="*/ 175 w 212"/>
                <a:gd name="T9" fmla="*/ 152 h 360"/>
                <a:gd name="T10" fmla="*/ 173 w 212"/>
                <a:gd name="T11" fmla="*/ 157 h 360"/>
                <a:gd name="T12" fmla="*/ 170 w 212"/>
                <a:gd name="T13" fmla="*/ 161 h 360"/>
                <a:gd name="T14" fmla="*/ 168 w 212"/>
                <a:gd name="T15" fmla="*/ 164 h 360"/>
                <a:gd name="T16" fmla="*/ 166 w 212"/>
                <a:gd name="T17" fmla="*/ 165 h 360"/>
                <a:gd name="T18" fmla="*/ 151 w 212"/>
                <a:gd name="T19" fmla="*/ 165 h 360"/>
                <a:gd name="T20" fmla="*/ 151 w 212"/>
                <a:gd name="T21" fmla="*/ 330 h 360"/>
                <a:gd name="T22" fmla="*/ 60 w 212"/>
                <a:gd name="T23" fmla="*/ 330 h 360"/>
                <a:gd name="T24" fmla="*/ 60 w 212"/>
                <a:gd name="T25" fmla="*/ 180 h 360"/>
                <a:gd name="T26" fmla="*/ 59 w 212"/>
                <a:gd name="T27" fmla="*/ 166 h 360"/>
                <a:gd name="T28" fmla="*/ 45 w 212"/>
                <a:gd name="T29" fmla="*/ 165 h 360"/>
                <a:gd name="T30" fmla="*/ 44 w 212"/>
                <a:gd name="T31" fmla="*/ 164 h 360"/>
                <a:gd name="T32" fmla="*/ 42 w 212"/>
                <a:gd name="T33" fmla="*/ 162 h 360"/>
                <a:gd name="T34" fmla="*/ 40 w 212"/>
                <a:gd name="T35" fmla="*/ 158 h 360"/>
                <a:gd name="T36" fmla="*/ 37 w 212"/>
                <a:gd name="T37" fmla="*/ 154 h 360"/>
                <a:gd name="T38" fmla="*/ 35 w 212"/>
                <a:gd name="T39" fmla="*/ 148 h 360"/>
                <a:gd name="T40" fmla="*/ 32 w 212"/>
                <a:gd name="T41" fmla="*/ 139 h 360"/>
                <a:gd name="T42" fmla="*/ 31 w 212"/>
                <a:gd name="T43" fmla="*/ 131 h 360"/>
                <a:gd name="T44" fmla="*/ 30 w 212"/>
                <a:gd name="T45" fmla="*/ 120 h 360"/>
                <a:gd name="T46" fmla="*/ 30 w 212"/>
                <a:gd name="T47" fmla="*/ 30 h 360"/>
                <a:gd name="T48" fmla="*/ 181 w 212"/>
                <a:gd name="T49" fmla="*/ 30 h 360"/>
                <a:gd name="T50" fmla="*/ 181 w 212"/>
                <a:gd name="T51" fmla="*/ 120 h 360"/>
                <a:gd name="T52" fmla="*/ 0 w 212"/>
                <a:gd name="T53" fmla="*/ 0 h 360"/>
                <a:gd name="T54" fmla="*/ 0 w 212"/>
                <a:gd name="T55" fmla="*/ 120 h 360"/>
                <a:gd name="T56" fmla="*/ 1 w 212"/>
                <a:gd name="T57" fmla="*/ 133 h 360"/>
                <a:gd name="T58" fmla="*/ 2 w 212"/>
                <a:gd name="T59" fmla="*/ 145 h 360"/>
                <a:gd name="T60" fmla="*/ 6 w 212"/>
                <a:gd name="T61" fmla="*/ 155 h 360"/>
                <a:gd name="T62" fmla="*/ 9 w 212"/>
                <a:gd name="T63" fmla="*/ 165 h 360"/>
                <a:gd name="T64" fmla="*/ 13 w 212"/>
                <a:gd name="T65" fmla="*/ 173 h 360"/>
                <a:gd name="T66" fmla="*/ 19 w 212"/>
                <a:gd name="T67" fmla="*/ 181 h 360"/>
                <a:gd name="T68" fmla="*/ 24 w 212"/>
                <a:gd name="T69" fmla="*/ 186 h 360"/>
                <a:gd name="T70" fmla="*/ 30 w 212"/>
                <a:gd name="T71" fmla="*/ 192 h 360"/>
                <a:gd name="T72" fmla="*/ 30 w 212"/>
                <a:gd name="T73" fmla="*/ 360 h 360"/>
                <a:gd name="T74" fmla="*/ 181 w 212"/>
                <a:gd name="T75" fmla="*/ 360 h 360"/>
                <a:gd name="T76" fmla="*/ 181 w 212"/>
                <a:gd name="T77" fmla="*/ 191 h 360"/>
                <a:gd name="T78" fmla="*/ 188 w 212"/>
                <a:gd name="T79" fmla="*/ 186 h 360"/>
                <a:gd name="T80" fmla="*/ 194 w 212"/>
                <a:gd name="T81" fmla="*/ 180 h 360"/>
                <a:gd name="T82" fmla="*/ 199 w 212"/>
                <a:gd name="T83" fmla="*/ 171 h 360"/>
                <a:gd name="T84" fmla="*/ 203 w 212"/>
                <a:gd name="T85" fmla="*/ 163 h 360"/>
                <a:gd name="T86" fmla="*/ 207 w 212"/>
                <a:gd name="T87" fmla="*/ 152 h 360"/>
                <a:gd name="T88" fmla="*/ 209 w 212"/>
                <a:gd name="T89" fmla="*/ 142 h 360"/>
                <a:gd name="T90" fmla="*/ 210 w 212"/>
                <a:gd name="T91" fmla="*/ 131 h 360"/>
                <a:gd name="T92" fmla="*/ 212 w 212"/>
                <a:gd name="T93" fmla="*/ 120 h 360"/>
                <a:gd name="T94" fmla="*/ 212 w 212"/>
                <a:gd name="T95" fmla="*/ 0 h 360"/>
                <a:gd name="T96" fmla="*/ 0 w 212"/>
                <a:gd name="T97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2" h="360">
                  <a:moveTo>
                    <a:pt x="181" y="120"/>
                  </a:moveTo>
                  <a:lnTo>
                    <a:pt x="180" y="130"/>
                  </a:lnTo>
                  <a:lnTo>
                    <a:pt x="179" y="138"/>
                  </a:lnTo>
                  <a:lnTo>
                    <a:pt x="177" y="146"/>
                  </a:lnTo>
                  <a:lnTo>
                    <a:pt x="175" y="152"/>
                  </a:lnTo>
                  <a:lnTo>
                    <a:pt x="173" y="157"/>
                  </a:lnTo>
                  <a:lnTo>
                    <a:pt x="170" y="161"/>
                  </a:lnTo>
                  <a:lnTo>
                    <a:pt x="168" y="164"/>
                  </a:lnTo>
                  <a:lnTo>
                    <a:pt x="166" y="165"/>
                  </a:lnTo>
                  <a:lnTo>
                    <a:pt x="151" y="165"/>
                  </a:lnTo>
                  <a:lnTo>
                    <a:pt x="151" y="330"/>
                  </a:lnTo>
                  <a:lnTo>
                    <a:pt x="60" y="330"/>
                  </a:lnTo>
                  <a:lnTo>
                    <a:pt x="60" y="180"/>
                  </a:lnTo>
                  <a:lnTo>
                    <a:pt x="59" y="166"/>
                  </a:lnTo>
                  <a:lnTo>
                    <a:pt x="45" y="165"/>
                  </a:lnTo>
                  <a:lnTo>
                    <a:pt x="44" y="164"/>
                  </a:lnTo>
                  <a:lnTo>
                    <a:pt x="42" y="162"/>
                  </a:lnTo>
                  <a:lnTo>
                    <a:pt x="40" y="158"/>
                  </a:lnTo>
                  <a:lnTo>
                    <a:pt x="37" y="154"/>
                  </a:lnTo>
                  <a:lnTo>
                    <a:pt x="35" y="148"/>
                  </a:lnTo>
                  <a:lnTo>
                    <a:pt x="32" y="139"/>
                  </a:lnTo>
                  <a:lnTo>
                    <a:pt x="31" y="131"/>
                  </a:lnTo>
                  <a:lnTo>
                    <a:pt x="30" y="120"/>
                  </a:lnTo>
                  <a:lnTo>
                    <a:pt x="30" y="30"/>
                  </a:lnTo>
                  <a:lnTo>
                    <a:pt x="181" y="30"/>
                  </a:lnTo>
                  <a:lnTo>
                    <a:pt x="181" y="120"/>
                  </a:lnTo>
                  <a:close/>
                  <a:moveTo>
                    <a:pt x="0" y="0"/>
                  </a:move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6" y="155"/>
                  </a:lnTo>
                  <a:lnTo>
                    <a:pt x="9" y="165"/>
                  </a:lnTo>
                  <a:lnTo>
                    <a:pt x="13" y="173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0" y="192"/>
                  </a:lnTo>
                  <a:lnTo>
                    <a:pt x="30" y="360"/>
                  </a:lnTo>
                  <a:lnTo>
                    <a:pt x="181" y="360"/>
                  </a:lnTo>
                  <a:lnTo>
                    <a:pt x="181" y="191"/>
                  </a:lnTo>
                  <a:lnTo>
                    <a:pt x="188" y="186"/>
                  </a:lnTo>
                  <a:lnTo>
                    <a:pt x="194" y="180"/>
                  </a:lnTo>
                  <a:lnTo>
                    <a:pt x="199" y="171"/>
                  </a:lnTo>
                  <a:lnTo>
                    <a:pt x="203" y="163"/>
                  </a:lnTo>
                  <a:lnTo>
                    <a:pt x="207" y="152"/>
                  </a:lnTo>
                  <a:lnTo>
                    <a:pt x="209" y="142"/>
                  </a:lnTo>
                  <a:lnTo>
                    <a:pt x="210" y="131"/>
                  </a:lnTo>
                  <a:lnTo>
                    <a:pt x="212" y="120"/>
                  </a:lnTo>
                  <a:lnTo>
                    <a:pt x="21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187">
              <a:extLst>
                <a:ext uri="{FF2B5EF4-FFF2-40B4-BE49-F238E27FC236}">
                  <a16:creationId xmlns:a16="http://schemas.microsoft.com/office/drawing/2014/main" id="{80BE6BAA-80A9-4B90-95A9-CA6793BBF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7925" y="2020888"/>
              <a:ext cx="95250" cy="161925"/>
            </a:xfrm>
            <a:custGeom>
              <a:avLst/>
              <a:gdLst>
                <a:gd name="T0" fmla="*/ 270 w 300"/>
                <a:gd name="T1" fmla="*/ 30 h 511"/>
                <a:gd name="T2" fmla="*/ 270 w 300"/>
                <a:gd name="T3" fmla="*/ 218 h 511"/>
                <a:gd name="T4" fmla="*/ 266 w 300"/>
                <a:gd name="T5" fmla="*/ 239 h 511"/>
                <a:gd name="T6" fmla="*/ 259 w 300"/>
                <a:gd name="T7" fmla="*/ 253 h 511"/>
                <a:gd name="T8" fmla="*/ 253 w 300"/>
                <a:gd name="T9" fmla="*/ 260 h 511"/>
                <a:gd name="T10" fmla="*/ 244 w 300"/>
                <a:gd name="T11" fmla="*/ 267 h 511"/>
                <a:gd name="T12" fmla="*/ 233 w 300"/>
                <a:gd name="T13" fmla="*/ 270 h 511"/>
                <a:gd name="T14" fmla="*/ 210 w 300"/>
                <a:gd name="T15" fmla="*/ 270 h 511"/>
                <a:gd name="T16" fmla="*/ 90 w 300"/>
                <a:gd name="T17" fmla="*/ 481 h 511"/>
                <a:gd name="T18" fmla="*/ 75 w 300"/>
                <a:gd name="T19" fmla="*/ 270 h 511"/>
                <a:gd name="T20" fmla="*/ 61 w 300"/>
                <a:gd name="T21" fmla="*/ 269 h 511"/>
                <a:gd name="T22" fmla="*/ 51 w 300"/>
                <a:gd name="T23" fmla="*/ 264 h 511"/>
                <a:gd name="T24" fmla="*/ 43 w 300"/>
                <a:gd name="T25" fmla="*/ 257 h 511"/>
                <a:gd name="T26" fmla="*/ 38 w 300"/>
                <a:gd name="T27" fmla="*/ 249 h 511"/>
                <a:gd name="T28" fmla="*/ 31 w 300"/>
                <a:gd name="T29" fmla="*/ 229 h 511"/>
                <a:gd name="T30" fmla="*/ 30 w 300"/>
                <a:gd name="T31" fmla="*/ 210 h 511"/>
                <a:gd name="T32" fmla="*/ 0 w 300"/>
                <a:gd name="T33" fmla="*/ 210 h 511"/>
                <a:gd name="T34" fmla="*/ 1 w 300"/>
                <a:gd name="T35" fmla="*/ 228 h 511"/>
                <a:gd name="T36" fmla="*/ 3 w 300"/>
                <a:gd name="T37" fmla="*/ 244 h 511"/>
                <a:gd name="T38" fmla="*/ 9 w 300"/>
                <a:gd name="T39" fmla="*/ 258 h 511"/>
                <a:gd name="T40" fmla="*/ 16 w 300"/>
                <a:gd name="T41" fmla="*/ 270 h 511"/>
                <a:gd name="T42" fmla="*/ 25 w 300"/>
                <a:gd name="T43" fmla="*/ 281 h 511"/>
                <a:gd name="T44" fmla="*/ 34 w 300"/>
                <a:gd name="T45" fmla="*/ 289 h 511"/>
                <a:gd name="T46" fmla="*/ 46 w 300"/>
                <a:gd name="T47" fmla="*/ 295 h 511"/>
                <a:gd name="T48" fmla="*/ 60 w 300"/>
                <a:gd name="T49" fmla="*/ 299 h 511"/>
                <a:gd name="T50" fmla="*/ 240 w 300"/>
                <a:gd name="T51" fmla="*/ 511 h 511"/>
                <a:gd name="T52" fmla="*/ 247 w 300"/>
                <a:gd name="T53" fmla="*/ 297 h 511"/>
                <a:gd name="T54" fmla="*/ 259 w 300"/>
                <a:gd name="T55" fmla="*/ 292 h 511"/>
                <a:gd name="T56" fmla="*/ 271 w 300"/>
                <a:gd name="T57" fmla="*/ 285 h 511"/>
                <a:gd name="T58" fmla="*/ 280 w 300"/>
                <a:gd name="T59" fmla="*/ 275 h 511"/>
                <a:gd name="T60" fmla="*/ 288 w 300"/>
                <a:gd name="T61" fmla="*/ 265 h 511"/>
                <a:gd name="T62" fmla="*/ 294 w 300"/>
                <a:gd name="T63" fmla="*/ 251 h 511"/>
                <a:gd name="T64" fmla="*/ 298 w 300"/>
                <a:gd name="T65" fmla="*/ 236 h 511"/>
                <a:gd name="T66" fmla="*/ 300 w 300"/>
                <a:gd name="T67" fmla="*/ 220 h 511"/>
                <a:gd name="T68" fmla="*/ 300 w 300"/>
                <a:gd name="T69" fmla="*/ 0 h 511"/>
                <a:gd name="T70" fmla="*/ 0 w 300"/>
                <a:gd name="T71" fmla="*/ 21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0" h="511">
                  <a:moveTo>
                    <a:pt x="30" y="30"/>
                  </a:moveTo>
                  <a:lnTo>
                    <a:pt x="270" y="30"/>
                  </a:lnTo>
                  <a:lnTo>
                    <a:pt x="270" y="210"/>
                  </a:lnTo>
                  <a:lnTo>
                    <a:pt x="270" y="218"/>
                  </a:lnTo>
                  <a:lnTo>
                    <a:pt x="269" y="229"/>
                  </a:lnTo>
                  <a:lnTo>
                    <a:pt x="266" y="239"/>
                  </a:lnTo>
                  <a:lnTo>
                    <a:pt x="263" y="249"/>
                  </a:lnTo>
                  <a:lnTo>
                    <a:pt x="259" y="253"/>
                  </a:lnTo>
                  <a:lnTo>
                    <a:pt x="256" y="257"/>
                  </a:lnTo>
                  <a:lnTo>
                    <a:pt x="253" y="260"/>
                  </a:lnTo>
                  <a:lnTo>
                    <a:pt x="249" y="264"/>
                  </a:lnTo>
                  <a:lnTo>
                    <a:pt x="244" y="267"/>
                  </a:lnTo>
                  <a:lnTo>
                    <a:pt x="238" y="269"/>
                  </a:lnTo>
                  <a:lnTo>
                    <a:pt x="233" y="270"/>
                  </a:lnTo>
                  <a:lnTo>
                    <a:pt x="225" y="270"/>
                  </a:lnTo>
                  <a:lnTo>
                    <a:pt x="210" y="270"/>
                  </a:lnTo>
                  <a:lnTo>
                    <a:pt x="210" y="481"/>
                  </a:lnTo>
                  <a:lnTo>
                    <a:pt x="90" y="481"/>
                  </a:lnTo>
                  <a:lnTo>
                    <a:pt x="90" y="270"/>
                  </a:lnTo>
                  <a:lnTo>
                    <a:pt x="75" y="270"/>
                  </a:lnTo>
                  <a:lnTo>
                    <a:pt x="68" y="270"/>
                  </a:lnTo>
                  <a:lnTo>
                    <a:pt x="61" y="269"/>
                  </a:lnTo>
                  <a:lnTo>
                    <a:pt x="56" y="267"/>
                  </a:lnTo>
                  <a:lnTo>
                    <a:pt x="51" y="264"/>
                  </a:lnTo>
                  <a:lnTo>
                    <a:pt x="47" y="260"/>
                  </a:lnTo>
                  <a:lnTo>
                    <a:pt x="43" y="257"/>
                  </a:lnTo>
                  <a:lnTo>
                    <a:pt x="40" y="253"/>
                  </a:lnTo>
                  <a:lnTo>
                    <a:pt x="38" y="249"/>
                  </a:lnTo>
                  <a:lnTo>
                    <a:pt x="33" y="239"/>
                  </a:lnTo>
                  <a:lnTo>
                    <a:pt x="31" y="229"/>
                  </a:lnTo>
                  <a:lnTo>
                    <a:pt x="30" y="218"/>
                  </a:lnTo>
                  <a:lnTo>
                    <a:pt x="30" y="210"/>
                  </a:lnTo>
                  <a:lnTo>
                    <a:pt x="30" y="30"/>
                  </a:lnTo>
                  <a:close/>
                  <a:moveTo>
                    <a:pt x="0" y="210"/>
                  </a:moveTo>
                  <a:lnTo>
                    <a:pt x="0" y="218"/>
                  </a:lnTo>
                  <a:lnTo>
                    <a:pt x="1" y="228"/>
                  </a:lnTo>
                  <a:lnTo>
                    <a:pt x="2" y="236"/>
                  </a:lnTo>
                  <a:lnTo>
                    <a:pt x="3" y="244"/>
                  </a:lnTo>
                  <a:lnTo>
                    <a:pt x="6" y="251"/>
                  </a:lnTo>
                  <a:lnTo>
                    <a:pt x="9" y="258"/>
                  </a:lnTo>
                  <a:lnTo>
                    <a:pt x="12" y="265"/>
                  </a:lnTo>
                  <a:lnTo>
                    <a:pt x="16" y="270"/>
                  </a:lnTo>
                  <a:lnTo>
                    <a:pt x="19" y="275"/>
                  </a:lnTo>
                  <a:lnTo>
                    <a:pt x="25" y="281"/>
                  </a:lnTo>
                  <a:lnTo>
                    <a:pt x="29" y="285"/>
                  </a:lnTo>
                  <a:lnTo>
                    <a:pt x="34" y="289"/>
                  </a:lnTo>
                  <a:lnTo>
                    <a:pt x="41" y="292"/>
                  </a:lnTo>
                  <a:lnTo>
                    <a:pt x="46" y="295"/>
                  </a:lnTo>
                  <a:lnTo>
                    <a:pt x="53" y="297"/>
                  </a:lnTo>
                  <a:lnTo>
                    <a:pt x="60" y="299"/>
                  </a:lnTo>
                  <a:lnTo>
                    <a:pt x="60" y="511"/>
                  </a:lnTo>
                  <a:lnTo>
                    <a:pt x="240" y="511"/>
                  </a:lnTo>
                  <a:lnTo>
                    <a:pt x="240" y="299"/>
                  </a:lnTo>
                  <a:lnTo>
                    <a:pt x="247" y="297"/>
                  </a:lnTo>
                  <a:lnTo>
                    <a:pt x="254" y="295"/>
                  </a:lnTo>
                  <a:lnTo>
                    <a:pt x="259" y="292"/>
                  </a:lnTo>
                  <a:lnTo>
                    <a:pt x="266" y="289"/>
                  </a:lnTo>
                  <a:lnTo>
                    <a:pt x="271" y="285"/>
                  </a:lnTo>
                  <a:lnTo>
                    <a:pt x="276" y="281"/>
                  </a:lnTo>
                  <a:lnTo>
                    <a:pt x="280" y="275"/>
                  </a:lnTo>
                  <a:lnTo>
                    <a:pt x="284" y="270"/>
                  </a:lnTo>
                  <a:lnTo>
                    <a:pt x="288" y="265"/>
                  </a:lnTo>
                  <a:lnTo>
                    <a:pt x="292" y="258"/>
                  </a:lnTo>
                  <a:lnTo>
                    <a:pt x="294" y="251"/>
                  </a:lnTo>
                  <a:lnTo>
                    <a:pt x="296" y="244"/>
                  </a:lnTo>
                  <a:lnTo>
                    <a:pt x="298" y="236"/>
                  </a:lnTo>
                  <a:lnTo>
                    <a:pt x="299" y="228"/>
                  </a:lnTo>
                  <a:lnTo>
                    <a:pt x="300" y="220"/>
                  </a:lnTo>
                  <a:lnTo>
                    <a:pt x="300" y="210"/>
                  </a:lnTo>
                  <a:lnTo>
                    <a:pt x="300" y="0"/>
                  </a:lnTo>
                  <a:lnTo>
                    <a:pt x="0" y="0"/>
                  </a:lnTo>
                  <a:lnTo>
                    <a:pt x="0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188">
              <a:extLst>
                <a:ext uri="{FF2B5EF4-FFF2-40B4-BE49-F238E27FC236}">
                  <a16:creationId xmlns:a16="http://schemas.microsoft.com/office/drawing/2014/main" id="{34E26852-13DD-4B19-A545-4443F12DEA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1275" y="1963738"/>
              <a:ext cx="47625" cy="47625"/>
            </a:xfrm>
            <a:custGeom>
              <a:avLst/>
              <a:gdLst>
                <a:gd name="T0" fmla="*/ 85 w 151"/>
                <a:gd name="T1" fmla="*/ 31 h 151"/>
                <a:gd name="T2" fmla="*/ 101 w 151"/>
                <a:gd name="T3" fmla="*/ 38 h 151"/>
                <a:gd name="T4" fmla="*/ 113 w 151"/>
                <a:gd name="T5" fmla="*/ 50 h 151"/>
                <a:gd name="T6" fmla="*/ 120 w 151"/>
                <a:gd name="T7" fmla="*/ 66 h 151"/>
                <a:gd name="T8" fmla="*/ 120 w 151"/>
                <a:gd name="T9" fmla="*/ 84 h 151"/>
                <a:gd name="T10" fmla="*/ 113 w 151"/>
                <a:gd name="T11" fmla="*/ 100 h 151"/>
                <a:gd name="T12" fmla="*/ 101 w 151"/>
                <a:gd name="T13" fmla="*/ 112 h 151"/>
                <a:gd name="T14" fmla="*/ 85 w 151"/>
                <a:gd name="T15" fmla="*/ 120 h 151"/>
                <a:gd name="T16" fmla="*/ 67 w 151"/>
                <a:gd name="T17" fmla="*/ 120 h 151"/>
                <a:gd name="T18" fmla="*/ 51 w 151"/>
                <a:gd name="T19" fmla="*/ 112 h 151"/>
                <a:gd name="T20" fmla="*/ 39 w 151"/>
                <a:gd name="T21" fmla="*/ 100 h 151"/>
                <a:gd name="T22" fmla="*/ 31 w 151"/>
                <a:gd name="T23" fmla="*/ 84 h 151"/>
                <a:gd name="T24" fmla="*/ 31 w 151"/>
                <a:gd name="T25" fmla="*/ 66 h 151"/>
                <a:gd name="T26" fmla="*/ 39 w 151"/>
                <a:gd name="T27" fmla="*/ 50 h 151"/>
                <a:gd name="T28" fmla="*/ 51 w 151"/>
                <a:gd name="T29" fmla="*/ 38 h 151"/>
                <a:gd name="T30" fmla="*/ 67 w 151"/>
                <a:gd name="T31" fmla="*/ 31 h 151"/>
                <a:gd name="T32" fmla="*/ 76 w 151"/>
                <a:gd name="T33" fmla="*/ 151 h 151"/>
                <a:gd name="T34" fmla="*/ 91 w 151"/>
                <a:gd name="T35" fmla="*/ 149 h 151"/>
                <a:gd name="T36" fmla="*/ 105 w 151"/>
                <a:gd name="T37" fmla="*/ 144 h 151"/>
                <a:gd name="T38" fmla="*/ 118 w 151"/>
                <a:gd name="T39" fmla="*/ 138 h 151"/>
                <a:gd name="T40" fmla="*/ 129 w 151"/>
                <a:gd name="T41" fmla="*/ 128 h 151"/>
                <a:gd name="T42" fmla="*/ 139 w 151"/>
                <a:gd name="T43" fmla="*/ 118 h 151"/>
                <a:gd name="T44" fmla="*/ 145 w 151"/>
                <a:gd name="T45" fmla="*/ 105 h 151"/>
                <a:gd name="T46" fmla="*/ 149 w 151"/>
                <a:gd name="T47" fmla="*/ 91 h 151"/>
                <a:gd name="T48" fmla="*/ 151 w 151"/>
                <a:gd name="T49" fmla="*/ 75 h 151"/>
                <a:gd name="T50" fmla="*/ 149 w 151"/>
                <a:gd name="T51" fmla="*/ 60 h 151"/>
                <a:gd name="T52" fmla="*/ 145 w 151"/>
                <a:gd name="T53" fmla="*/ 46 h 151"/>
                <a:gd name="T54" fmla="*/ 139 w 151"/>
                <a:gd name="T55" fmla="*/ 33 h 151"/>
                <a:gd name="T56" fmla="*/ 129 w 151"/>
                <a:gd name="T57" fmla="*/ 22 h 151"/>
                <a:gd name="T58" fmla="*/ 118 w 151"/>
                <a:gd name="T59" fmla="*/ 12 h 151"/>
                <a:gd name="T60" fmla="*/ 105 w 151"/>
                <a:gd name="T61" fmla="*/ 6 h 151"/>
                <a:gd name="T62" fmla="*/ 91 w 151"/>
                <a:gd name="T63" fmla="*/ 2 h 151"/>
                <a:gd name="T64" fmla="*/ 76 w 151"/>
                <a:gd name="T65" fmla="*/ 0 h 151"/>
                <a:gd name="T66" fmla="*/ 60 w 151"/>
                <a:gd name="T67" fmla="*/ 2 h 151"/>
                <a:gd name="T68" fmla="*/ 46 w 151"/>
                <a:gd name="T69" fmla="*/ 6 h 151"/>
                <a:gd name="T70" fmla="*/ 34 w 151"/>
                <a:gd name="T71" fmla="*/ 12 h 151"/>
                <a:gd name="T72" fmla="*/ 23 w 151"/>
                <a:gd name="T73" fmla="*/ 22 h 151"/>
                <a:gd name="T74" fmla="*/ 13 w 151"/>
                <a:gd name="T75" fmla="*/ 33 h 151"/>
                <a:gd name="T76" fmla="*/ 7 w 151"/>
                <a:gd name="T77" fmla="*/ 46 h 151"/>
                <a:gd name="T78" fmla="*/ 2 w 151"/>
                <a:gd name="T79" fmla="*/ 60 h 151"/>
                <a:gd name="T80" fmla="*/ 0 w 151"/>
                <a:gd name="T81" fmla="*/ 75 h 151"/>
                <a:gd name="T82" fmla="*/ 2 w 151"/>
                <a:gd name="T83" fmla="*/ 91 h 151"/>
                <a:gd name="T84" fmla="*/ 7 w 151"/>
                <a:gd name="T85" fmla="*/ 105 h 151"/>
                <a:gd name="T86" fmla="*/ 13 w 151"/>
                <a:gd name="T87" fmla="*/ 118 h 151"/>
                <a:gd name="T88" fmla="*/ 23 w 151"/>
                <a:gd name="T89" fmla="*/ 128 h 151"/>
                <a:gd name="T90" fmla="*/ 34 w 151"/>
                <a:gd name="T91" fmla="*/ 138 h 151"/>
                <a:gd name="T92" fmla="*/ 46 w 151"/>
                <a:gd name="T93" fmla="*/ 144 h 151"/>
                <a:gd name="T94" fmla="*/ 60 w 151"/>
                <a:gd name="T95" fmla="*/ 149 h 151"/>
                <a:gd name="T96" fmla="*/ 76 w 151"/>
                <a:gd name="T97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1" h="151">
                  <a:moveTo>
                    <a:pt x="76" y="30"/>
                  </a:moveTo>
                  <a:lnTo>
                    <a:pt x="85" y="31"/>
                  </a:lnTo>
                  <a:lnTo>
                    <a:pt x="94" y="34"/>
                  </a:lnTo>
                  <a:lnTo>
                    <a:pt x="101" y="38"/>
                  </a:lnTo>
                  <a:lnTo>
                    <a:pt x="108" y="44"/>
                  </a:lnTo>
                  <a:lnTo>
                    <a:pt x="113" y="50"/>
                  </a:lnTo>
                  <a:lnTo>
                    <a:pt x="117" y="57"/>
                  </a:lnTo>
                  <a:lnTo>
                    <a:pt x="120" y="66"/>
                  </a:lnTo>
                  <a:lnTo>
                    <a:pt x="121" y="75"/>
                  </a:lnTo>
                  <a:lnTo>
                    <a:pt x="120" y="84"/>
                  </a:lnTo>
                  <a:lnTo>
                    <a:pt x="117" y="93"/>
                  </a:lnTo>
                  <a:lnTo>
                    <a:pt x="113" y="100"/>
                  </a:lnTo>
                  <a:lnTo>
                    <a:pt x="108" y="107"/>
                  </a:lnTo>
                  <a:lnTo>
                    <a:pt x="101" y="112"/>
                  </a:lnTo>
                  <a:lnTo>
                    <a:pt x="94" y="116"/>
                  </a:lnTo>
                  <a:lnTo>
                    <a:pt x="85" y="120"/>
                  </a:lnTo>
                  <a:lnTo>
                    <a:pt x="76" y="121"/>
                  </a:lnTo>
                  <a:lnTo>
                    <a:pt x="67" y="120"/>
                  </a:lnTo>
                  <a:lnTo>
                    <a:pt x="58" y="116"/>
                  </a:lnTo>
                  <a:lnTo>
                    <a:pt x="51" y="112"/>
                  </a:lnTo>
                  <a:lnTo>
                    <a:pt x="44" y="107"/>
                  </a:lnTo>
                  <a:lnTo>
                    <a:pt x="39" y="100"/>
                  </a:lnTo>
                  <a:lnTo>
                    <a:pt x="35" y="93"/>
                  </a:lnTo>
                  <a:lnTo>
                    <a:pt x="31" y="84"/>
                  </a:lnTo>
                  <a:lnTo>
                    <a:pt x="30" y="75"/>
                  </a:lnTo>
                  <a:lnTo>
                    <a:pt x="31" y="66"/>
                  </a:lnTo>
                  <a:lnTo>
                    <a:pt x="35" y="57"/>
                  </a:lnTo>
                  <a:lnTo>
                    <a:pt x="39" y="50"/>
                  </a:lnTo>
                  <a:lnTo>
                    <a:pt x="44" y="44"/>
                  </a:lnTo>
                  <a:lnTo>
                    <a:pt x="51" y="38"/>
                  </a:lnTo>
                  <a:lnTo>
                    <a:pt x="58" y="34"/>
                  </a:lnTo>
                  <a:lnTo>
                    <a:pt x="67" y="31"/>
                  </a:lnTo>
                  <a:lnTo>
                    <a:pt x="76" y="30"/>
                  </a:lnTo>
                  <a:close/>
                  <a:moveTo>
                    <a:pt x="76" y="151"/>
                  </a:moveTo>
                  <a:lnTo>
                    <a:pt x="84" y="150"/>
                  </a:lnTo>
                  <a:lnTo>
                    <a:pt x="91" y="149"/>
                  </a:lnTo>
                  <a:lnTo>
                    <a:pt x="98" y="146"/>
                  </a:lnTo>
                  <a:lnTo>
                    <a:pt x="105" y="144"/>
                  </a:lnTo>
                  <a:lnTo>
                    <a:pt x="112" y="141"/>
                  </a:lnTo>
                  <a:lnTo>
                    <a:pt x="118" y="138"/>
                  </a:lnTo>
                  <a:lnTo>
                    <a:pt x="124" y="134"/>
                  </a:lnTo>
                  <a:lnTo>
                    <a:pt x="129" y="128"/>
                  </a:lnTo>
                  <a:lnTo>
                    <a:pt x="134" y="123"/>
                  </a:lnTo>
                  <a:lnTo>
                    <a:pt x="139" y="118"/>
                  </a:lnTo>
                  <a:lnTo>
                    <a:pt x="142" y="111"/>
                  </a:lnTo>
                  <a:lnTo>
                    <a:pt x="145" y="105"/>
                  </a:lnTo>
                  <a:lnTo>
                    <a:pt x="148" y="97"/>
                  </a:lnTo>
                  <a:lnTo>
                    <a:pt x="149" y="91"/>
                  </a:lnTo>
                  <a:lnTo>
                    <a:pt x="150" y="83"/>
                  </a:lnTo>
                  <a:lnTo>
                    <a:pt x="151" y="75"/>
                  </a:lnTo>
                  <a:lnTo>
                    <a:pt x="150" y="67"/>
                  </a:lnTo>
                  <a:lnTo>
                    <a:pt x="149" y="60"/>
                  </a:lnTo>
                  <a:lnTo>
                    <a:pt x="148" y="53"/>
                  </a:lnTo>
                  <a:lnTo>
                    <a:pt x="145" y="46"/>
                  </a:lnTo>
                  <a:lnTo>
                    <a:pt x="142" y="39"/>
                  </a:lnTo>
                  <a:lnTo>
                    <a:pt x="139" y="33"/>
                  </a:lnTo>
                  <a:lnTo>
                    <a:pt x="134" y="27"/>
                  </a:lnTo>
                  <a:lnTo>
                    <a:pt x="129" y="22"/>
                  </a:lnTo>
                  <a:lnTo>
                    <a:pt x="124" y="17"/>
                  </a:lnTo>
                  <a:lnTo>
                    <a:pt x="118" y="12"/>
                  </a:lnTo>
                  <a:lnTo>
                    <a:pt x="112" y="9"/>
                  </a:lnTo>
                  <a:lnTo>
                    <a:pt x="105" y="6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4" y="1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60" y="2"/>
                  </a:lnTo>
                  <a:lnTo>
                    <a:pt x="54" y="4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4" y="12"/>
                  </a:lnTo>
                  <a:lnTo>
                    <a:pt x="28" y="17"/>
                  </a:lnTo>
                  <a:lnTo>
                    <a:pt x="23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10" y="39"/>
                  </a:lnTo>
                  <a:lnTo>
                    <a:pt x="7" y="46"/>
                  </a:lnTo>
                  <a:lnTo>
                    <a:pt x="5" y="53"/>
                  </a:lnTo>
                  <a:lnTo>
                    <a:pt x="2" y="60"/>
                  </a:lnTo>
                  <a:lnTo>
                    <a:pt x="1" y="67"/>
                  </a:lnTo>
                  <a:lnTo>
                    <a:pt x="0" y="75"/>
                  </a:lnTo>
                  <a:lnTo>
                    <a:pt x="1" y="83"/>
                  </a:lnTo>
                  <a:lnTo>
                    <a:pt x="2" y="91"/>
                  </a:lnTo>
                  <a:lnTo>
                    <a:pt x="5" y="97"/>
                  </a:lnTo>
                  <a:lnTo>
                    <a:pt x="7" y="105"/>
                  </a:lnTo>
                  <a:lnTo>
                    <a:pt x="10" y="111"/>
                  </a:lnTo>
                  <a:lnTo>
                    <a:pt x="13" y="118"/>
                  </a:lnTo>
                  <a:lnTo>
                    <a:pt x="17" y="123"/>
                  </a:lnTo>
                  <a:lnTo>
                    <a:pt x="23" y="128"/>
                  </a:lnTo>
                  <a:lnTo>
                    <a:pt x="28" y="134"/>
                  </a:lnTo>
                  <a:lnTo>
                    <a:pt x="34" y="138"/>
                  </a:lnTo>
                  <a:lnTo>
                    <a:pt x="40" y="141"/>
                  </a:lnTo>
                  <a:lnTo>
                    <a:pt x="46" y="144"/>
                  </a:lnTo>
                  <a:lnTo>
                    <a:pt x="54" y="146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6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189">
              <a:extLst>
                <a:ext uri="{FF2B5EF4-FFF2-40B4-BE49-F238E27FC236}">
                  <a16:creationId xmlns:a16="http://schemas.microsoft.com/office/drawing/2014/main" id="{3876482A-FB04-4C76-A271-75887E9F0E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2200" y="1963738"/>
              <a:ext cx="47625" cy="47625"/>
            </a:xfrm>
            <a:custGeom>
              <a:avLst/>
              <a:gdLst>
                <a:gd name="T0" fmla="*/ 84 w 150"/>
                <a:gd name="T1" fmla="*/ 31 h 151"/>
                <a:gd name="T2" fmla="*/ 101 w 150"/>
                <a:gd name="T3" fmla="*/ 38 h 151"/>
                <a:gd name="T4" fmla="*/ 112 w 150"/>
                <a:gd name="T5" fmla="*/ 50 h 151"/>
                <a:gd name="T6" fmla="*/ 119 w 150"/>
                <a:gd name="T7" fmla="*/ 66 h 151"/>
                <a:gd name="T8" fmla="*/ 119 w 150"/>
                <a:gd name="T9" fmla="*/ 84 h 151"/>
                <a:gd name="T10" fmla="*/ 112 w 150"/>
                <a:gd name="T11" fmla="*/ 100 h 151"/>
                <a:gd name="T12" fmla="*/ 101 w 150"/>
                <a:gd name="T13" fmla="*/ 112 h 151"/>
                <a:gd name="T14" fmla="*/ 84 w 150"/>
                <a:gd name="T15" fmla="*/ 120 h 151"/>
                <a:gd name="T16" fmla="*/ 66 w 150"/>
                <a:gd name="T17" fmla="*/ 120 h 151"/>
                <a:gd name="T18" fmla="*/ 50 w 150"/>
                <a:gd name="T19" fmla="*/ 112 h 151"/>
                <a:gd name="T20" fmla="*/ 37 w 150"/>
                <a:gd name="T21" fmla="*/ 100 h 151"/>
                <a:gd name="T22" fmla="*/ 31 w 150"/>
                <a:gd name="T23" fmla="*/ 84 h 151"/>
                <a:gd name="T24" fmla="*/ 31 w 150"/>
                <a:gd name="T25" fmla="*/ 66 h 151"/>
                <a:gd name="T26" fmla="*/ 37 w 150"/>
                <a:gd name="T27" fmla="*/ 50 h 151"/>
                <a:gd name="T28" fmla="*/ 50 w 150"/>
                <a:gd name="T29" fmla="*/ 38 h 151"/>
                <a:gd name="T30" fmla="*/ 66 w 150"/>
                <a:gd name="T31" fmla="*/ 31 h 151"/>
                <a:gd name="T32" fmla="*/ 75 w 150"/>
                <a:gd name="T33" fmla="*/ 151 h 151"/>
                <a:gd name="T34" fmla="*/ 90 w 150"/>
                <a:gd name="T35" fmla="*/ 149 h 151"/>
                <a:gd name="T36" fmla="*/ 105 w 150"/>
                <a:gd name="T37" fmla="*/ 144 h 151"/>
                <a:gd name="T38" fmla="*/ 117 w 150"/>
                <a:gd name="T39" fmla="*/ 138 h 151"/>
                <a:gd name="T40" fmla="*/ 128 w 150"/>
                <a:gd name="T41" fmla="*/ 128 h 151"/>
                <a:gd name="T42" fmla="*/ 137 w 150"/>
                <a:gd name="T43" fmla="*/ 118 h 151"/>
                <a:gd name="T44" fmla="*/ 144 w 150"/>
                <a:gd name="T45" fmla="*/ 105 h 151"/>
                <a:gd name="T46" fmla="*/ 149 w 150"/>
                <a:gd name="T47" fmla="*/ 91 h 151"/>
                <a:gd name="T48" fmla="*/ 150 w 150"/>
                <a:gd name="T49" fmla="*/ 75 h 151"/>
                <a:gd name="T50" fmla="*/ 149 w 150"/>
                <a:gd name="T51" fmla="*/ 60 h 151"/>
                <a:gd name="T52" fmla="*/ 144 w 150"/>
                <a:gd name="T53" fmla="*/ 46 h 151"/>
                <a:gd name="T54" fmla="*/ 137 w 150"/>
                <a:gd name="T55" fmla="*/ 33 h 151"/>
                <a:gd name="T56" fmla="*/ 128 w 150"/>
                <a:gd name="T57" fmla="*/ 22 h 151"/>
                <a:gd name="T58" fmla="*/ 117 w 150"/>
                <a:gd name="T59" fmla="*/ 12 h 151"/>
                <a:gd name="T60" fmla="*/ 105 w 150"/>
                <a:gd name="T61" fmla="*/ 6 h 151"/>
                <a:gd name="T62" fmla="*/ 90 w 150"/>
                <a:gd name="T63" fmla="*/ 2 h 151"/>
                <a:gd name="T64" fmla="*/ 75 w 150"/>
                <a:gd name="T65" fmla="*/ 0 h 151"/>
                <a:gd name="T66" fmla="*/ 60 w 150"/>
                <a:gd name="T67" fmla="*/ 2 h 151"/>
                <a:gd name="T68" fmla="*/ 46 w 150"/>
                <a:gd name="T69" fmla="*/ 6 h 151"/>
                <a:gd name="T70" fmla="*/ 33 w 150"/>
                <a:gd name="T71" fmla="*/ 12 h 151"/>
                <a:gd name="T72" fmla="*/ 22 w 150"/>
                <a:gd name="T73" fmla="*/ 22 h 151"/>
                <a:gd name="T74" fmla="*/ 13 w 150"/>
                <a:gd name="T75" fmla="*/ 33 h 151"/>
                <a:gd name="T76" fmla="*/ 6 w 150"/>
                <a:gd name="T77" fmla="*/ 46 h 151"/>
                <a:gd name="T78" fmla="*/ 2 w 150"/>
                <a:gd name="T79" fmla="*/ 60 h 151"/>
                <a:gd name="T80" fmla="*/ 0 w 150"/>
                <a:gd name="T81" fmla="*/ 75 h 151"/>
                <a:gd name="T82" fmla="*/ 2 w 150"/>
                <a:gd name="T83" fmla="*/ 91 h 151"/>
                <a:gd name="T84" fmla="*/ 6 w 150"/>
                <a:gd name="T85" fmla="*/ 105 h 151"/>
                <a:gd name="T86" fmla="*/ 13 w 150"/>
                <a:gd name="T87" fmla="*/ 118 h 151"/>
                <a:gd name="T88" fmla="*/ 22 w 150"/>
                <a:gd name="T89" fmla="*/ 128 h 151"/>
                <a:gd name="T90" fmla="*/ 33 w 150"/>
                <a:gd name="T91" fmla="*/ 138 h 151"/>
                <a:gd name="T92" fmla="*/ 46 w 150"/>
                <a:gd name="T93" fmla="*/ 144 h 151"/>
                <a:gd name="T94" fmla="*/ 60 w 150"/>
                <a:gd name="T95" fmla="*/ 149 h 151"/>
                <a:gd name="T96" fmla="*/ 75 w 150"/>
                <a:gd name="T97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0" h="151">
                  <a:moveTo>
                    <a:pt x="75" y="30"/>
                  </a:moveTo>
                  <a:lnTo>
                    <a:pt x="84" y="31"/>
                  </a:lnTo>
                  <a:lnTo>
                    <a:pt x="93" y="34"/>
                  </a:lnTo>
                  <a:lnTo>
                    <a:pt x="101" y="38"/>
                  </a:lnTo>
                  <a:lnTo>
                    <a:pt x="107" y="44"/>
                  </a:lnTo>
                  <a:lnTo>
                    <a:pt x="112" y="50"/>
                  </a:lnTo>
                  <a:lnTo>
                    <a:pt x="117" y="57"/>
                  </a:lnTo>
                  <a:lnTo>
                    <a:pt x="119" y="66"/>
                  </a:lnTo>
                  <a:lnTo>
                    <a:pt x="120" y="75"/>
                  </a:lnTo>
                  <a:lnTo>
                    <a:pt x="119" y="84"/>
                  </a:lnTo>
                  <a:lnTo>
                    <a:pt x="117" y="93"/>
                  </a:lnTo>
                  <a:lnTo>
                    <a:pt x="112" y="100"/>
                  </a:lnTo>
                  <a:lnTo>
                    <a:pt x="107" y="107"/>
                  </a:lnTo>
                  <a:lnTo>
                    <a:pt x="101" y="112"/>
                  </a:lnTo>
                  <a:lnTo>
                    <a:pt x="93" y="116"/>
                  </a:lnTo>
                  <a:lnTo>
                    <a:pt x="84" y="120"/>
                  </a:lnTo>
                  <a:lnTo>
                    <a:pt x="75" y="121"/>
                  </a:lnTo>
                  <a:lnTo>
                    <a:pt x="66" y="120"/>
                  </a:lnTo>
                  <a:lnTo>
                    <a:pt x="58" y="116"/>
                  </a:lnTo>
                  <a:lnTo>
                    <a:pt x="50" y="112"/>
                  </a:lnTo>
                  <a:lnTo>
                    <a:pt x="44" y="107"/>
                  </a:lnTo>
                  <a:lnTo>
                    <a:pt x="37" y="100"/>
                  </a:lnTo>
                  <a:lnTo>
                    <a:pt x="33" y="93"/>
                  </a:lnTo>
                  <a:lnTo>
                    <a:pt x="31" y="84"/>
                  </a:lnTo>
                  <a:lnTo>
                    <a:pt x="30" y="75"/>
                  </a:lnTo>
                  <a:lnTo>
                    <a:pt x="31" y="66"/>
                  </a:lnTo>
                  <a:lnTo>
                    <a:pt x="33" y="57"/>
                  </a:lnTo>
                  <a:lnTo>
                    <a:pt x="37" y="50"/>
                  </a:lnTo>
                  <a:lnTo>
                    <a:pt x="44" y="44"/>
                  </a:lnTo>
                  <a:lnTo>
                    <a:pt x="50" y="38"/>
                  </a:lnTo>
                  <a:lnTo>
                    <a:pt x="58" y="34"/>
                  </a:lnTo>
                  <a:lnTo>
                    <a:pt x="66" y="31"/>
                  </a:lnTo>
                  <a:lnTo>
                    <a:pt x="75" y="30"/>
                  </a:lnTo>
                  <a:close/>
                  <a:moveTo>
                    <a:pt x="75" y="151"/>
                  </a:moveTo>
                  <a:lnTo>
                    <a:pt x="82" y="150"/>
                  </a:lnTo>
                  <a:lnTo>
                    <a:pt x="90" y="149"/>
                  </a:lnTo>
                  <a:lnTo>
                    <a:pt x="97" y="146"/>
                  </a:lnTo>
                  <a:lnTo>
                    <a:pt x="105" y="144"/>
                  </a:lnTo>
                  <a:lnTo>
                    <a:pt x="111" y="141"/>
                  </a:lnTo>
                  <a:lnTo>
                    <a:pt x="117" y="138"/>
                  </a:lnTo>
                  <a:lnTo>
                    <a:pt x="123" y="134"/>
                  </a:lnTo>
                  <a:lnTo>
                    <a:pt x="128" y="128"/>
                  </a:lnTo>
                  <a:lnTo>
                    <a:pt x="133" y="123"/>
                  </a:lnTo>
                  <a:lnTo>
                    <a:pt x="137" y="118"/>
                  </a:lnTo>
                  <a:lnTo>
                    <a:pt x="141" y="111"/>
                  </a:lnTo>
                  <a:lnTo>
                    <a:pt x="144" y="105"/>
                  </a:lnTo>
                  <a:lnTo>
                    <a:pt x="147" y="97"/>
                  </a:lnTo>
                  <a:lnTo>
                    <a:pt x="149" y="91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67"/>
                  </a:lnTo>
                  <a:lnTo>
                    <a:pt x="149" y="60"/>
                  </a:lnTo>
                  <a:lnTo>
                    <a:pt x="147" y="53"/>
                  </a:lnTo>
                  <a:lnTo>
                    <a:pt x="144" y="46"/>
                  </a:lnTo>
                  <a:lnTo>
                    <a:pt x="141" y="39"/>
                  </a:lnTo>
                  <a:lnTo>
                    <a:pt x="137" y="33"/>
                  </a:lnTo>
                  <a:lnTo>
                    <a:pt x="133" y="27"/>
                  </a:lnTo>
                  <a:lnTo>
                    <a:pt x="128" y="22"/>
                  </a:lnTo>
                  <a:lnTo>
                    <a:pt x="123" y="17"/>
                  </a:lnTo>
                  <a:lnTo>
                    <a:pt x="117" y="12"/>
                  </a:lnTo>
                  <a:lnTo>
                    <a:pt x="111" y="9"/>
                  </a:lnTo>
                  <a:lnTo>
                    <a:pt x="105" y="6"/>
                  </a:lnTo>
                  <a:lnTo>
                    <a:pt x="97" y="4"/>
                  </a:lnTo>
                  <a:lnTo>
                    <a:pt x="90" y="2"/>
                  </a:lnTo>
                  <a:lnTo>
                    <a:pt x="82" y="1"/>
                  </a:lnTo>
                  <a:lnTo>
                    <a:pt x="75" y="0"/>
                  </a:lnTo>
                  <a:lnTo>
                    <a:pt x="67" y="1"/>
                  </a:lnTo>
                  <a:lnTo>
                    <a:pt x="60" y="2"/>
                  </a:lnTo>
                  <a:lnTo>
                    <a:pt x="52" y="4"/>
                  </a:lnTo>
                  <a:lnTo>
                    <a:pt x="46" y="6"/>
                  </a:lnTo>
                  <a:lnTo>
                    <a:pt x="39" y="9"/>
                  </a:lnTo>
                  <a:lnTo>
                    <a:pt x="33" y="12"/>
                  </a:lnTo>
                  <a:lnTo>
                    <a:pt x="28" y="17"/>
                  </a:lnTo>
                  <a:lnTo>
                    <a:pt x="22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9" y="39"/>
                  </a:lnTo>
                  <a:lnTo>
                    <a:pt x="6" y="46"/>
                  </a:lnTo>
                  <a:lnTo>
                    <a:pt x="3" y="53"/>
                  </a:lnTo>
                  <a:lnTo>
                    <a:pt x="2" y="60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2" y="91"/>
                  </a:lnTo>
                  <a:lnTo>
                    <a:pt x="3" y="97"/>
                  </a:lnTo>
                  <a:lnTo>
                    <a:pt x="6" y="105"/>
                  </a:lnTo>
                  <a:lnTo>
                    <a:pt x="9" y="111"/>
                  </a:lnTo>
                  <a:lnTo>
                    <a:pt x="13" y="118"/>
                  </a:lnTo>
                  <a:lnTo>
                    <a:pt x="17" y="123"/>
                  </a:lnTo>
                  <a:lnTo>
                    <a:pt x="22" y="128"/>
                  </a:lnTo>
                  <a:lnTo>
                    <a:pt x="28" y="134"/>
                  </a:lnTo>
                  <a:lnTo>
                    <a:pt x="33" y="138"/>
                  </a:lnTo>
                  <a:lnTo>
                    <a:pt x="39" y="141"/>
                  </a:lnTo>
                  <a:lnTo>
                    <a:pt x="46" y="144"/>
                  </a:lnTo>
                  <a:lnTo>
                    <a:pt x="52" y="146"/>
                  </a:lnTo>
                  <a:lnTo>
                    <a:pt x="60" y="149"/>
                  </a:lnTo>
                  <a:lnTo>
                    <a:pt x="67" y="150"/>
                  </a:lnTo>
                  <a:lnTo>
                    <a:pt x="7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190">
              <a:extLst>
                <a:ext uri="{FF2B5EF4-FFF2-40B4-BE49-F238E27FC236}">
                  <a16:creationId xmlns:a16="http://schemas.microsoft.com/office/drawing/2014/main" id="{BF9F9321-5F59-4E38-B63A-1CC404DE29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7450" y="1935163"/>
              <a:ext cx="76200" cy="76200"/>
            </a:xfrm>
            <a:custGeom>
              <a:avLst/>
              <a:gdLst>
                <a:gd name="T0" fmla="*/ 138 w 240"/>
                <a:gd name="T1" fmla="*/ 32 h 241"/>
                <a:gd name="T2" fmla="*/ 163 w 240"/>
                <a:gd name="T3" fmla="*/ 40 h 241"/>
                <a:gd name="T4" fmla="*/ 183 w 240"/>
                <a:gd name="T5" fmla="*/ 56 h 241"/>
                <a:gd name="T6" fmla="*/ 199 w 240"/>
                <a:gd name="T7" fmla="*/ 77 h 241"/>
                <a:gd name="T8" fmla="*/ 208 w 240"/>
                <a:gd name="T9" fmla="*/ 101 h 241"/>
                <a:gd name="T10" fmla="*/ 210 w 240"/>
                <a:gd name="T11" fmla="*/ 129 h 241"/>
                <a:gd name="T12" fmla="*/ 203 w 240"/>
                <a:gd name="T13" fmla="*/ 155 h 241"/>
                <a:gd name="T14" fmla="*/ 190 w 240"/>
                <a:gd name="T15" fmla="*/ 178 h 241"/>
                <a:gd name="T16" fmla="*/ 171 w 240"/>
                <a:gd name="T17" fmla="*/ 195 h 241"/>
                <a:gd name="T18" fmla="*/ 147 w 240"/>
                <a:gd name="T19" fmla="*/ 206 h 241"/>
                <a:gd name="T20" fmla="*/ 120 w 240"/>
                <a:gd name="T21" fmla="*/ 211 h 241"/>
                <a:gd name="T22" fmla="*/ 93 w 240"/>
                <a:gd name="T23" fmla="*/ 206 h 241"/>
                <a:gd name="T24" fmla="*/ 70 w 240"/>
                <a:gd name="T25" fmla="*/ 195 h 241"/>
                <a:gd name="T26" fmla="*/ 50 w 240"/>
                <a:gd name="T27" fmla="*/ 178 h 241"/>
                <a:gd name="T28" fmla="*/ 36 w 240"/>
                <a:gd name="T29" fmla="*/ 155 h 241"/>
                <a:gd name="T30" fmla="*/ 30 w 240"/>
                <a:gd name="T31" fmla="*/ 129 h 241"/>
                <a:gd name="T32" fmla="*/ 31 w 240"/>
                <a:gd name="T33" fmla="*/ 101 h 241"/>
                <a:gd name="T34" fmla="*/ 41 w 240"/>
                <a:gd name="T35" fmla="*/ 77 h 241"/>
                <a:gd name="T36" fmla="*/ 56 w 240"/>
                <a:gd name="T37" fmla="*/ 56 h 241"/>
                <a:gd name="T38" fmla="*/ 77 w 240"/>
                <a:gd name="T39" fmla="*/ 40 h 241"/>
                <a:gd name="T40" fmla="*/ 102 w 240"/>
                <a:gd name="T41" fmla="*/ 32 h 241"/>
                <a:gd name="T42" fmla="*/ 120 w 240"/>
                <a:gd name="T43" fmla="*/ 241 h 241"/>
                <a:gd name="T44" fmla="*/ 155 w 240"/>
                <a:gd name="T45" fmla="*/ 235 h 241"/>
                <a:gd name="T46" fmla="*/ 188 w 240"/>
                <a:gd name="T47" fmla="*/ 219 h 241"/>
                <a:gd name="T48" fmla="*/ 212 w 240"/>
                <a:gd name="T49" fmla="*/ 197 h 241"/>
                <a:gd name="T50" fmla="*/ 231 w 240"/>
                <a:gd name="T51" fmla="*/ 167 h 241"/>
                <a:gd name="T52" fmla="*/ 240 w 240"/>
                <a:gd name="T53" fmla="*/ 132 h 241"/>
                <a:gd name="T54" fmla="*/ 238 w 240"/>
                <a:gd name="T55" fmla="*/ 96 h 241"/>
                <a:gd name="T56" fmla="*/ 226 w 240"/>
                <a:gd name="T57" fmla="*/ 63 h 241"/>
                <a:gd name="T58" fmla="*/ 205 w 240"/>
                <a:gd name="T59" fmla="*/ 35 h 241"/>
                <a:gd name="T60" fmla="*/ 177 w 240"/>
                <a:gd name="T61" fmla="*/ 15 h 241"/>
                <a:gd name="T62" fmla="*/ 144 w 240"/>
                <a:gd name="T63" fmla="*/ 2 h 241"/>
                <a:gd name="T64" fmla="*/ 107 w 240"/>
                <a:gd name="T65" fmla="*/ 1 h 241"/>
                <a:gd name="T66" fmla="*/ 73 w 240"/>
                <a:gd name="T67" fmla="*/ 9 h 241"/>
                <a:gd name="T68" fmla="*/ 44 w 240"/>
                <a:gd name="T69" fmla="*/ 27 h 241"/>
                <a:gd name="T70" fmla="*/ 20 w 240"/>
                <a:gd name="T71" fmla="*/ 53 h 241"/>
                <a:gd name="T72" fmla="*/ 5 w 240"/>
                <a:gd name="T73" fmla="*/ 84 h 241"/>
                <a:gd name="T74" fmla="*/ 0 w 240"/>
                <a:gd name="T75" fmla="*/ 120 h 241"/>
                <a:gd name="T76" fmla="*/ 5 w 240"/>
                <a:gd name="T77" fmla="*/ 156 h 241"/>
                <a:gd name="T78" fmla="*/ 20 w 240"/>
                <a:gd name="T79" fmla="*/ 187 h 241"/>
                <a:gd name="T80" fmla="*/ 44 w 240"/>
                <a:gd name="T81" fmla="*/ 213 h 241"/>
                <a:gd name="T82" fmla="*/ 73 w 240"/>
                <a:gd name="T83" fmla="*/ 231 h 241"/>
                <a:gd name="T84" fmla="*/ 107 w 240"/>
                <a:gd name="T85" fmla="*/ 24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0" h="241">
                  <a:moveTo>
                    <a:pt x="120" y="30"/>
                  </a:moveTo>
                  <a:lnTo>
                    <a:pt x="129" y="31"/>
                  </a:lnTo>
                  <a:lnTo>
                    <a:pt x="138" y="32"/>
                  </a:lnTo>
                  <a:lnTo>
                    <a:pt x="147" y="34"/>
                  </a:lnTo>
                  <a:lnTo>
                    <a:pt x="155" y="37"/>
                  </a:lnTo>
                  <a:lnTo>
                    <a:pt x="163" y="40"/>
                  </a:lnTo>
                  <a:lnTo>
                    <a:pt x="171" y="46"/>
                  </a:lnTo>
                  <a:lnTo>
                    <a:pt x="177" y="50"/>
                  </a:lnTo>
                  <a:lnTo>
                    <a:pt x="183" y="56"/>
                  </a:lnTo>
                  <a:lnTo>
                    <a:pt x="190" y="63"/>
                  </a:lnTo>
                  <a:lnTo>
                    <a:pt x="195" y="69"/>
                  </a:lnTo>
                  <a:lnTo>
                    <a:pt x="199" y="77"/>
                  </a:lnTo>
                  <a:lnTo>
                    <a:pt x="203" y="85"/>
                  </a:lnTo>
                  <a:lnTo>
                    <a:pt x="206" y="93"/>
                  </a:lnTo>
                  <a:lnTo>
                    <a:pt x="208" y="101"/>
                  </a:lnTo>
                  <a:lnTo>
                    <a:pt x="210" y="111"/>
                  </a:lnTo>
                  <a:lnTo>
                    <a:pt x="210" y="120"/>
                  </a:lnTo>
                  <a:lnTo>
                    <a:pt x="210" y="129"/>
                  </a:lnTo>
                  <a:lnTo>
                    <a:pt x="208" y="138"/>
                  </a:lnTo>
                  <a:lnTo>
                    <a:pt x="206" y="146"/>
                  </a:lnTo>
                  <a:lnTo>
                    <a:pt x="203" y="155"/>
                  </a:lnTo>
                  <a:lnTo>
                    <a:pt x="199" y="163"/>
                  </a:lnTo>
                  <a:lnTo>
                    <a:pt x="195" y="170"/>
                  </a:lnTo>
                  <a:lnTo>
                    <a:pt x="190" y="178"/>
                  </a:lnTo>
                  <a:lnTo>
                    <a:pt x="183" y="184"/>
                  </a:lnTo>
                  <a:lnTo>
                    <a:pt x="177" y="189"/>
                  </a:lnTo>
                  <a:lnTo>
                    <a:pt x="171" y="195"/>
                  </a:lnTo>
                  <a:lnTo>
                    <a:pt x="163" y="199"/>
                  </a:lnTo>
                  <a:lnTo>
                    <a:pt x="155" y="203"/>
                  </a:lnTo>
                  <a:lnTo>
                    <a:pt x="147" y="206"/>
                  </a:lnTo>
                  <a:lnTo>
                    <a:pt x="138" y="209"/>
                  </a:lnTo>
                  <a:lnTo>
                    <a:pt x="129" y="210"/>
                  </a:lnTo>
                  <a:lnTo>
                    <a:pt x="120" y="211"/>
                  </a:lnTo>
                  <a:lnTo>
                    <a:pt x="110" y="210"/>
                  </a:lnTo>
                  <a:lnTo>
                    <a:pt x="102" y="209"/>
                  </a:lnTo>
                  <a:lnTo>
                    <a:pt x="93" y="206"/>
                  </a:lnTo>
                  <a:lnTo>
                    <a:pt x="85" y="203"/>
                  </a:lnTo>
                  <a:lnTo>
                    <a:pt x="77" y="199"/>
                  </a:lnTo>
                  <a:lnTo>
                    <a:pt x="70" y="195"/>
                  </a:lnTo>
                  <a:lnTo>
                    <a:pt x="62" y="189"/>
                  </a:lnTo>
                  <a:lnTo>
                    <a:pt x="56" y="184"/>
                  </a:lnTo>
                  <a:lnTo>
                    <a:pt x="50" y="178"/>
                  </a:lnTo>
                  <a:lnTo>
                    <a:pt x="45" y="170"/>
                  </a:lnTo>
                  <a:lnTo>
                    <a:pt x="41" y="164"/>
                  </a:lnTo>
                  <a:lnTo>
                    <a:pt x="36" y="155"/>
                  </a:lnTo>
                  <a:lnTo>
                    <a:pt x="34" y="146"/>
                  </a:lnTo>
                  <a:lnTo>
                    <a:pt x="31" y="138"/>
                  </a:lnTo>
                  <a:lnTo>
                    <a:pt x="30" y="129"/>
                  </a:lnTo>
                  <a:lnTo>
                    <a:pt x="30" y="120"/>
                  </a:lnTo>
                  <a:lnTo>
                    <a:pt x="30" y="111"/>
                  </a:lnTo>
                  <a:lnTo>
                    <a:pt x="31" y="101"/>
                  </a:lnTo>
                  <a:lnTo>
                    <a:pt x="34" y="93"/>
                  </a:lnTo>
                  <a:lnTo>
                    <a:pt x="36" y="85"/>
                  </a:lnTo>
                  <a:lnTo>
                    <a:pt x="41" y="77"/>
                  </a:lnTo>
                  <a:lnTo>
                    <a:pt x="45" y="69"/>
                  </a:lnTo>
                  <a:lnTo>
                    <a:pt x="50" y="63"/>
                  </a:lnTo>
                  <a:lnTo>
                    <a:pt x="56" y="56"/>
                  </a:lnTo>
                  <a:lnTo>
                    <a:pt x="62" y="50"/>
                  </a:lnTo>
                  <a:lnTo>
                    <a:pt x="70" y="46"/>
                  </a:lnTo>
                  <a:lnTo>
                    <a:pt x="77" y="40"/>
                  </a:lnTo>
                  <a:lnTo>
                    <a:pt x="85" y="37"/>
                  </a:lnTo>
                  <a:lnTo>
                    <a:pt x="93" y="34"/>
                  </a:lnTo>
                  <a:lnTo>
                    <a:pt x="102" y="32"/>
                  </a:lnTo>
                  <a:lnTo>
                    <a:pt x="110" y="31"/>
                  </a:lnTo>
                  <a:lnTo>
                    <a:pt x="120" y="30"/>
                  </a:lnTo>
                  <a:close/>
                  <a:moveTo>
                    <a:pt x="120" y="241"/>
                  </a:moveTo>
                  <a:lnTo>
                    <a:pt x="132" y="240"/>
                  </a:lnTo>
                  <a:lnTo>
                    <a:pt x="144" y="238"/>
                  </a:lnTo>
                  <a:lnTo>
                    <a:pt x="155" y="235"/>
                  </a:lnTo>
                  <a:lnTo>
                    <a:pt x="167" y="231"/>
                  </a:lnTo>
                  <a:lnTo>
                    <a:pt x="177" y="226"/>
                  </a:lnTo>
                  <a:lnTo>
                    <a:pt x="188" y="219"/>
                  </a:lnTo>
                  <a:lnTo>
                    <a:pt x="196" y="213"/>
                  </a:lnTo>
                  <a:lnTo>
                    <a:pt x="205" y="205"/>
                  </a:lnTo>
                  <a:lnTo>
                    <a:pt x="212" y="197"/>
                  </a:lnTo>
                  <a:lnTo>
                    <a:pt x="220" y="187"/>
                  </a:lnTo>
                  <a:lnTo>
                    <a:pt x="226" y="178"/>
                  </a:lnTo>
                  <a:lnTo>
                    <a:pt x="231" y="167"/>
                  </a:lnTo>
                  <a:lnTo>
                    <a:pt x="235" y="156"/>
                  </a:lnTo>
                  <a:lnTo>
                    <a:pt x="238" y="144"/>
                  </a:lnTo>
                  <a:lnTo>
                    <a:pt x="240" y="132"/>
                  </a:lnTo>
                  <a:lnTo>
                    <a:pt x="240" y="120"/>
                  </a:lnTo>
                  <a:lnTo>
                    <a:pt x="240" y="108"/>
                  </a:lnTo>
                  <a:lnTo>
                    <a:pt x="238" y="96"/>
                  </a:lnTo>
                  <a:lnTo>
                    <a:pt x="235" y="84"/>
                  </a:lnTo>
                  <a:lnTo>
                    <a:pt x="231" y="74"/>
                  </a:lnTo>
                  <a:lnTo>
                    <a:pt x="226" y="63"/>
                  </a:lnTo>
                  <a:lnTo>
                    <a:pt x="220" y="53"/>
                  </a:lnTo>
                  <a:lnTo>
                    <a:pt x="212" y="43"/>
                  </a:lnTo>
                  <a:lnTo>
                    <a:pt x="205" y="35"/>
                  </a:lnTo>
                  <a:lnTo>
                    <a:pt x="196" y="27"/>
                  </a:lnTo>
                  <a:lnTo>
                    <a:pt x="188" y="20"/>
                  </a:lnTo>
                  <a:lnTo>
                    <a:pt x="177" y="15"/>
                  </a:lnTo>
                  <a:lnTo>
                    <a:pt x="167" y="9"/>
                  </a:lnTo>
                  <a:lnTo>
                    <a:pt x="155" y="5"/>
                  </a:lnTo>
                  <a:lnTo>
                    <a:pt x="144" y="2"/>
                  </a:lnTo>
                  <a:lnTo>
                    <a:pt x="132" y="1"/>
                  </a:lnTo>
                  <a:lnTo>
                    <a:pt x="120" y="0"/>
                  </a:lnTo>
                  <a:lnTo>
                    <a:pt x="107" y="1"/>
                  </a:lnTo>
                  <a:lnTo>
                    <a:pt x="95" y="2"/>
                  </a:lnTo>
                  <a:lnTo>
                    <a:pt x="85" y="5"/>
                  </a:lnTo>
                  <a:lnTo>
                    <a:pt x="73" y="9"/>
                  </a:lnTo>
                  <a:lnTo>
                    <a:pt x="62" y="15"/>
                  </a:lnTo>
                  <a:lnTo>
                    <a:pt x="53" y="20"/>
                  </a:lnTo>
                  <a:lnTo>
                    <a:pt x="44" y="27"/>
                  </a:lnTo>
                  <a:lnTo>
                    <a:pt x="35" y="35"/>
                  </a:lnTo>
                  <a:lnTo>
                    <a:pt x="27" y="43"/>
                  </a:lnTo>
                  <a:lnTo>
                    <a:pt x="20" y="53"/>
                  </a:lnTo>
                  <a:lnTo>
                    <a:pt x="14" y="63"/>
                  </a:lnTo>
                  <a:lnTo>
                    <a:pt x="10" y="74"/>
                  </a:lnTo>
                  <a:lnTo>
                    <a:pt x="5" y="84"/>
                  </a:lnTo>
                  <a:lnTo>
                    <a:pt x="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0" y="132"/>
                  </a:lnTo>
                  <a:lnTo>
                    <a:pt x="2" y="144"/>
                  </a:lnTo>
                  <a:lnTo>
                    <a:pt x="5" y="156"/>
                  </a:lnTo>
                  <a:lnTo>
                    <a:pt x="10" y="167"/>
                  </a:lnTo>
                  <a:lnTo>
                    <a:pt x="14" y="178"/>
                  </a:lnTo>
                  <a:lnTo>
                    <a:pt x="20" y="187"/>
                  </a:lnTo>
                  <a:lnTo>
                    <a:pt x="27" y="197"/>
                  </a:lnTo>
                  <a:lnTo>
                    <a:pt x="35" y="205"/>
                  </a:lnTo>
                  <a:lnTo>
                    <a:pt x="44" y="213"/>
                  </a:lnTo>
                  <a:lnTo>
                    <a:pt x="53" y="219"/>
                  </a:lnTo>
                  <a:lnTo>
                    <a:pt x="62" y="226"/>
                  </a:lnTo>
                  <a:lnTo>
                    <a:pt x="73" y="231"/>
                  </a:lnTo>
                  <a:lnTo>
                    <a:pt x="85" y="235"/>
                  </a:lnTo>
                  <a:lnTo>
                    <a:pt x="95" y="238"/>
                  </a:lnTo>
                  <a:lnTo>
                    <a:pt x="107" y="240"/>
                  </a:lnTo>
                  <a:lnTo>
                    <a:pt x="12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5" name="Group 264">
            <a:extLst>
              <a:ext uri="{FF2B5EF4-FFF2-40B4-BE49-F238E27FC236}">
                <a16:creationId xmlns:a16="http://schemas.microsoft.com/office/drawing/2014/main" id="{EEF851A2-2890-4BF4-ACD7-5FBAFF914CA5}"/>
              </a:ext>
            </a:extLst>
          </p:cNvPr>
          <p:cNvGrpSpPr/>
          <p:nvPr/>
        </p:nvGrpSpPr>
        <p:grpSpPr>
          <a:xfrm>
            <a:off x="5786560" y="3256277"/>
            <a:ext cx="343639" cy="345446"/>
            <a:chOff x="1547813" y="3240088"/>
            <a:chExt cx="301626" cy="303213"/>
          </a:xfrm>
          <a:solidFill>
            <a:schemeClr val="bg1"/>
          </a:solidFill>
        </p:grpSpPr>
        <p:sp>
          <p:nvSpPr>
            <p:cNvPr id="266" name="Freeform 61">
              <a:extLst>
                <a:ext uri="{FF2B5EF4-FFF2-40B4-BE49-F238E27FC236}">
                  <a16:creationId xmlns:a16="http://schemas.microsoft.com/office/drawing/2014/main" id="{8AE6579D-9477-4919-BB30-E429B462BF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1313" y="3392488"/>
              <a:ext cx="85725" cy="87313"/>
            </a:xfrm>
            <a:custGeom>
              <a:avLst/>
              <a:gdLst>
                <a:gd name="T0" fmla="*/ 92 w 218"/>
                <a:gd name="T1" fmla="*/ 191 h 219"/>
                <a:gd name="T2" fmla="*/ 70 w 218"/>
                <a:gd name="T3" fmla="*/ 183 h 219"/>
                <a:gd name="T4" fmla="*/ 50 w 218"/>
                <a:gd name="T5" fmla="*/ 168 h 219"/>
                <a:gd name="T6" fmla="*/ 35 w 218"/>
                <a:gd name="T7" fmla="*/ 149 h 219"/>
                <a:gd name="T8" fmla="*/ 27 w 218"/>
                <a:gd name="T9" fmla="*/ 125 h 219"/>
                <a:gd name="T10" fmla="*/ 26 w 218"/>
                <a:gd name="T11" fmla="*/ 101 h 219"/>
                <a:gd name="T12" fmla="*/ 32 w 218"/>
                <a:gd name="T13" fmla="*/ 77 h 219"/>
                <a:gd name="T14" fmla="*/ 45 w 218"/>
                <a:gd name="T15" fmla="*/ 56 h 219"/>
                <a:gd name="T16" fmla="*/ 62 w 218"/>
                <a:gd name="T17" fmla="*/ 40 h 219"/>
                <a:gd name="T18" fmla="*/ 85 w 218"/>
                <a:gd name="T19" fmla="*/ 29 h 219"/>
                <a:gd name="T20" fmla="*/ 109 w 218"/>
                <a:gd name="T21" fmla="*/ 26 h 219"/>
                <a:gd name="T22" fmla="*/ 134 w 218"/>
                <a:gd name="T23" fmla="*/ 29 h 219"/>
                <a:gd name="T24" fmla="*/ 155 w 218"/>
                <a:gd name="T25" fmla="*/ 40 h 219"/>
                <a:gd name="T26" fmla="*/ 174 w 218"/>
                <a:gd name="T27" fmla="*/ 56 h 219"/>
                <a:gd name="T28" fmla="*/ 186 w 218"/>
                <a:gd name="T29" fmla="*/ 77 h 219"/>
                <a:gd name="T30" fmla="*/ 192 w 218"/>
                <a:gd name="T31" fmla="*/ 101 h 219"/>
                <a:gd name="T32" fmla="*/ 191 w 218"/>
                <a:gd name="T33" fmla="*/ 125 h 219"/>
                <a:gd name="T34" fmla="*/ 182 w 218"/>
                <a:gd name="T35" fmla="*/ 149 h 219"/>
                <a:gd name="T36" fmla="*/ 168 w 218"/>
                <a:gd name="T37" fmla="*/ 168 h 219"/>
                <a:gd name="T38" fmla="*/ 149 w 218"/>
                <a:gd name="T39" fmla="*/ 183 h 219"/>
                <a:gd name="T40" fmla="*/ 125 w 218"/>
                <a:gd name="T41" fmla="*/ 191 h 219"/>
                <a:gd name="T42" fmla="*/ 109 w 218"/>
                <a:gd name="T43" fmla="*/ 0 h 219"/>
                <a:gd name="T44" fmla="*/ 77 w 218"/>
                <a:gd name="T45" fmla="*/ 4 h 219"/>
                <a:gd name="T46" fmla="*/ 48 w 218"/>
                <a:gd name="T47" fmla="*/ 18 h 219"/>
                <a:gd name="T48" fmla="*/ 25 w 218"/>
                <a:gd name="T49" fmla="*/ 40 h 219"/>
                <a:gd name="T50" fmla="*/ 8 w 218"/>
                <a:gd name="T51" fmla="*/ 66 h 219"/>
                <a:gd name="T52" fmla="*/ 1 w 218"/>
                <a:gd name="T53" fmla="*/ 98 h 219"/>
                <a:gd name="T54" fmla="*/ 2 w 218"/>
                <a:gd name="T55" fmla="*/ 131 h 219"/>
                <a:gd name="T56" fmla="*/ 13 w 218"/>
                <a:gd name="T57" fmla="*/ 161 h 219"/>
                <a:gd name="T58" fmla="*/ 32 w 218"/>
                <a:gd name="T59" fmla="*/ 187 h 219"/>
                <a:gd name="T60" fmla="*/ 57 w 218"/>
                <a:gd name="T61" fmla="*/ 205 h 219"/>
                <a:gd name="T62" fmla="*/ 87 w 218"/>
                <a:gd name="T63" fmla="*/ 217 h 219"/>
                <a:gd name="T64" fmla="*/ 120 w 218"/>
                <a:gd name="T65" fmla="*/ 218 h 219"/>
                <a:gd name="T66" fmla="*/ 151 w 218"/>
                <a:gd name="T67" fmla="*/ 210 h 219"/>
                <a:gd name="T68" fmla="*/ 178 w 218"/>
                <a:gd name="T69" fmla="*/ 193 h 219"/>
                <a:gd name="T70" fmla="*/ 200 w 218"/>
                <a:gd name="T71" fmla="*/ 171 h 219"/>
                <a:gd name="T72" fmla="*/ 213 w 218"/>
                <a:gd name="T73" fmla="*/ 142 h 219"/>
                <a:gd name="T74" fmla="*/ 218 w 218"/>
                <a:gd name="T75" fmla="*/ 109 h 219"/>
                <a:gd name="T76" fmla="*/ 213 w 218"/>
                <a:gd name="T77" fmla="*/ 77 h 219"/>
                <a:gd name="T78" fmla="*/ 200 w 218"/>
                <a:gd name="T79" fmla="*/ 48 h 219"/>
                <a:gd name="T80" fmla="*/ 178 w 218"/>
                <a:gd name="T81" fmla="*/ 25 h 219"/>
                <a:gd name="T82" fmla="*/ 151 w 218"/>
                <a:gd name="T83" fmla="*/ 8 h 219"/>
                <a:gd name="T84" fmla="*/ 120 w 218"/>
                <a:gd name="T8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8" h="219">
                  <a:moveTo>
                    <a:pt x="109" y="193"/>
                  </a:moveTo>
                  <a:lnTo>
                    <a:pt x="101" y="193"/>
                  </a:lnTo>
                  <a:lnTo>
                    <a:pt x="92" y="191"/>
                  </a:lnTo>
                  <a:lnTo>
                    <a:pt x="85" y="190"/>
                  </a:lnTo>
                  <a:lnTo>
                    <a:pt x="76" y="187"/>
                  </a:lnTo>
                  <a:lnTo>
                    <a:pt x="70" y="183"/>
                  </a:lnTo>
                  <a:lnTo>
                    <a:pt x="62" y="179"/>
                  </a:lnTo>
                  <a:lnTo>
                    <a:pt x="56" y="174"/>
                  </a:lnTo>
                  <a:lnTo>
                    <a:pt x="50" y="168"/>
                  </a:lnTo>
                  <a:lnTo>
                    <a:pt x="45" y="162"/>
                  </a:lnTo>
                  <a:lnTo>
                    <a:pt x="40" y="156"/>
                  </a:lnTo>
                  <a:lnTo>
                    <a:pt x="35" y="149"/>
                  </a:lnTo>
                  <a:lnTo>
                    <a:pt x="32" y="142"/>
                  </a:lnTo>
                  <a:lnTo>
                    <a:pt x="29" y="134"/>
                  </a:lnTo>
                  <a:lnTo>
                    <a:pt x="27" y="125"/>
                  </a:lnTo>
                  <a:lnTo>
                    <a:pt x="26" y="118"/>
                  </a:lnTo>
                  <a:lnTo>
                    <a:pt x="26" y="109"/>
                  </a:lnTo>
                  <a:lnTo>
                    <a:pt x="26" y="101"/>
                  </a:lnTo>
                  <a:lnTo>
                    <a:pt x="27" y="92"/>
                  </a:lnTo>
                  <a:lnTo>
                    <a:pt x="29" y="85"/>
                  </a:lnTo>
                  <a:lnTo>
                    <a:pt x="32" y="77"/>
                  </a:lnTo>
                  <a:lnTo>
                    <a:pt x="35" y="70"/>
                  </a:lnTo>
                  <a:lnTo>
                    <a:pt x="40" y="62"/>
                  </a:lnTo>
                  <a:lnTo>
                    <a:pt x="45" y="56"/>
                  </a:lnTo>
                  <a:lnTo>
                    <a:pt x="50" y="50"/>
                  </a:lnTo>
                  <a:lnTo>
                    <a:pt x="56" y="45"/>
                  </a:lnTo>
                  <a:lnTo>
                    <a:pt x="62" y="40"/>
                  </a:lnTo>
                  <a:lnTo>
                    <a:pt x="70" y="35"/>
                  </a:lnTo>
                  <a:lnTo>
                    <a:pt x="76" y="32"/>
                  </a:lnTo>
                  <a:lnTo>
                    <a:pt x="85" y="29"/>
                  </a:lnTo>
                  <a:lnTo>
                    <a:pt x="92" y="27"/>
                  </a:lnTo>
                  <a:lnTo>
                    <a:pt x="101" y="26"/>
                  </a:lnTo>
                  <a:lnTo>
                    <a:pt x="109" y="26"/>
                  </a:lnTo>
                  <a:lnTo>
                    <a:pt x="118" y="26"/>
                  </a:lnTo>
                  <a:lnTo>
                    <a:pt x="125" y="27"/>
                  </a:lnTo>
                  <a:lnTo>
                    <a:pt x="134" y="29"/>
                  </a:lnTo>
                  <a:lnTo>
                    <a:pt x="142" y="32"/>
                  </a:lnTo>
                  <a:lnTo>
                    <a:pt x="149" y="35"/>
                  </a:lnTo>
                  <a:lnTo>
                    <a:pt x="155" y="40"/>
                  </a:lnTo>
                  <a:lnTo>
                    <a:pt x="162" y="45"/>
                  </a:lnTo>
                  <a:lnTo>
                    <a:pt x="168" y="50"/>
                  </a:lnTo>
                  <a:lnTo>
                    <a:pt x="174" y="56"/>
                  </a:lnTo>
                  <a:lnTo>
                    <a:pt x="178" y="62"/>
                  </a:lnTo>
                  <a:lnTo>
                    <a:pt x="182" y="70"/>
                  </a:lnTo>
                  <a:lnTo>
                    <a:pt x="186" y="77"/>
                  </a:lnTo>
                  <a:lnTo>
                    <a:pt x="189" y="85"/>
                  </a:lnTo>
                  <a:lnTo>
                    <a:pt x="191" y="92"/>
                  </a:lnTo>
                  <a:lnTo>
                    <a:pt x="192" y="101"/>
                  </a:lnTo>
                  <a:lnTo>
                    <a:pt x="193" y="109"/>
                  </a:lnTo>
                  <a:lnTo>
                    <a:pt x="192" y="118"/>
                  </a:lnTo>
                  <a:lnTo>
                    <a:pt x="191" y="125"/>
                  </a:lnTo>
                  <a:lnTo>
                    <a:pt x="189" y="134"/>
                  </a:lnTo>
                  <a:lnTo>
                    <a:pt x="186" y="142"/>
                  </a:lnTo>
                  <a:lnTo>
                    <a:pt x="182" y="149"/>
                  </a:lnTo>
                  <a:lnTo>
                    <a:pt x="178" y="156"/>
                  </a:lnTo>
                  <a:lnTo>
                    <a:pt x="174" y="162"/>
                  </a:lnTo>
                  <a:lnTo>
                    <a:pt x="168" y="168"/>
                  </a:lnTo>
                  <a:lnTo>
                    <a:pt x="162" y="174"/>
                  </a:lnTo>
                  <a:lnTo>
                    <a:pt x="155" y="179"/>
                  </a:lnTo>
                  <a:lnTo>
                    <a:pt x="149" y="183"/>
                  </a:lnTo>
                  <a:lnTo>
                    <a:pt x="142" y="187"/>
                  </a:lnTo>
                  <a:lnTo>
                    <a:pt x="134" y="190"/>
                  </a:lnTo>
                  <a:lnTo>
                    <a:pt x="125" y="191"/>
                  </a:lnTo>
                  <a:lnTo>
                    <a:pt x="118" y="193"/>
                  </a:lnTo>
                  <a:lnTo>
                    <a:pt x="109" y="193"/>
                  </a:lnTo>
                  <a:close/>
                  <a:moveTo>
                    <a:pt x="109" y="0"/>
                  </a:moveTo>
                  <a:lnTo>
                    <a:pt x="98" y="0"/>
                  </a:lnTo>
                  <a:lnTo>
                    <a:pt x="87" y="2"/>
                  </a:lnTo>
                  <a:lnTo>
                    <a:pt x="77" y="4"/>
                  </a:lnTo>
                  <a:lnTo>
                    <a:pt x="66" y="8"/>
                  </a:lnTo>
                  <a:lnTo>
                    <a:pt x="57" y="13"/>
                  </a:lnTo>
                  <a:lnTo>
                    <a:pt x="48" y="18"/>
                  </a:lnTo>
                  <a:lnTo>
                    <a:pt x="40" y="25"/>
                  </a:lnTo>
                  <a:lnTo>
                    <a:pt x="32" y="32"/>
                  </a:lnTo>
                  <a:lnTo>
                    <a:pt x="25" y="40"/>
                  </a:lnTo>
                  <a:lnTo>
                    <a:pt x="19" y="48"/>
                  </a:lnTo>
                  <a:lnTo>
                    <a:pt x="13" y="57"/>
                  </a:lnTo>
                  <a:lnTo>
                    <a:pt x="8" y="66"/>
                  </a:lnTo>
                  <a:lnTo>
                    <a:pt x="5" y="77"/>
                  </a:lnTo>
                  <a:lnTo>
                    <a:pt x="2" y="87"/>
                  </a:lnTo>
                  <a:lnTo>
                    <a:pt x="1" y="98"/>
                  </a:lnTo>
                  <a:lnTo>
                    <a:pt x="0" y="109"/>
                  </a:lnTo>
                  <a:lnTo>
                    <a:pt x="1" y="120"/>
                  </a:lnTo>
                  <a:lnTo>
                    <a:pt x="2" y="131"/>
                  </a:lnTo>
                  <a:lnTo>
                    <a:pt x="5" y="142"/>
                  </a:lnTo>
                  <a:lnTo>
                    <a:pt x="8" y="151"/>
                  </a:lnTo>
                  <a:lnTo>
                    <a:pt x="13" y="161"/>
                  </a:lnTo>
                  <a:lnTo>
                    <a:pt x="19" y="171"/>
                  </a:lnTo>
                  <a:lnTo>
                    <a:pt x="25" y="178"/>
                  </a:lnTo>
                  <a:lnTo>
                    <a:pt x="32" y="187"/>
                  </a:lnTo>
                  <a:lnTo>
                    <a:pt x="40" y="193"/>
                  </a:lnTo>
                  <a:lnTo>
                    <a:pt x="48" y="200"/>
                  </a:lnTo>
                  <a:lnTo>
                    <a:pt x="57" y="205"/>
                  </a:lnTo>
                  <a:lnTo>
                    <a:pt x="66" y="210"/>
                  </a:lnTo>
                  <a:lnTo>
                    <a:pt x="77" y="214"/>
                  </a:lnTo>
                  <a:lnTo>
                    <a:pt x="87" y="217"/>
                  </a:lnTo>
                  <a:lnTo>
                    <a:pt x="98" y="218"/>
                  </a:lnTo>
                  <a:lnTo>
                    <a:pt x="109" y="219"/>
                  </a:lnTo>
                  <a:lnTo>
                    <a:pt x="120" y="218"/>
                  </a:lnTo>
                  <a:lnTo>
                    <a:pt x="131" y="217"/>
                  </a:lnTo>
                  <a:lnTo>
                    <a:pt x="142" y="214"/>
                  </a:lnTo>
                  <a:lnTo>
                    <a:pt x="151" y="210"/>
                  </a:lnTo>
                  <a:lnTo>
                    <a:pt x="161" y="205"/>
                  </a:lnTo>
                  <a:lnTo>
                    <a:pt x="169" y="200"/>
                  </a:lnTo>
                  <a:lnTo>
                    <a:pt x="178" y="193"/>
                  </a:lnTo>
                  <a:lnTo>
                    <a:pt x="187" y="187"/>
                  </a:lnTo>
                  <a:lnTo>
                    <a:pt x="193" y="178"/>
                  </a:lnTo>
                  <a:lnTo>
                    <a:pt x="200" y="171"/>
                  </a:lnTo>
                  <a:lnTo>
                    <a:pt x="205" y="161"/>
                  </a:lnTo>
                  <a:lnTo>
                    <a:pt x="209" y="151"/>
                  </a:lnTo>
                  <a:lnTo>
                    <a:pt x="213" y="142"/>
                  </a:lnTo>
                  <a:lnTo>
                    <a:pt x="216" y="131"/>
                  </a:lnTo>
                  <a:lnTo>
                    <a:pt x="218" y="120"/>
                  </a:lnTo>
                  <a:lnTo>
                    <a:pt x="218" y="109"/>
                  </a:lnTo>
                  <a:lnTo>
                    <a:pt x="218" y="98"/>
                  </a:lnTo>
                  <a:lnTo>
                    <a:pt x="216" y="87"/>
                  </a:lnTo>
                  <a:lnTo>
                    <a:pt x="213" y="77"/>
                  </a:lnTo>
                  <a:lnTo>
                    <a:pt x="209" y="66"/>
                  </a:lnTo>
                  <a:lnTo>
                    <a:pt x="205" y="57"/>
                  </a:lnTo>
                  <a:lnTo>
                    <a:pt x="200" y="48"/>
                  </a:lnTo>
                  <a:lnTo>
                    <a:pt x="193" y="40"/>
                  </a:lnTo>
                  <a:lnTo>
                    <a:pt x="187" y="32"/>
                  </a:lnTo>
                  <a:lnTo>
                    <a:pt x="178" y="25"/>
                  </a:lnTo>
                  <a:lnTo>
                    <a:pt x="169" y="18"/>
                  </a:lnTo>
                  <a:lnTo>
                    <a:pt x="161" y="13"/>
                  </a:lnTo>
                  <a:lnTo>
                    <a:pt x="151" y="8"/>
                  </a:lnTo>
                  <a:lnTo>
                    <a:pt x="142" y="4"/>
                  </a:lnTo>
                  <a:lnTo>
                    <a:pt x="131" y="2"/>
                  </a:lnTo>
                  <a:lnTo>
                    <a:pt x="120" y="0"/>
                  </a:lnTo>
                  <a:lnTo>
                    <a:pt x="10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62">
              <a:extLst>
                <a:ext uri="{FF2B5EF4-FFF2-40B4-BE49-F238E27FC236}">
                  <a16:creationId xmlns:a16="http://schemas.microsoft.com/office/drawing/2014/main" id="{1C1E1F22-FEBE-43D1-8E6C-68165A7279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63713" y="3278188"/>
              <a:ext cx="49213" cy="47625"/>
            </a:xfrm>
            <a:custGeom>
              <a:avLst/>
              <a:gdLst>
                <a:gd name="T0" fmla="*/ 54 w 122"/>
                <a:gd name="T1" fmla="*/ 96 h 121"/>
                <a:gd name="T2" fmla="*/ 41 w 122"/>
                <a:gd name="T3" fmla="*/ 90 h 121"/>
                <a:gd name="T4" fmla="*/ 31 w 122"/>
                <a:gd name="T5" fmla="*/ 81 h 121"/>
                <a:gd name="T6" fmla="*/ 26 w 122"/>
                <a:gd name="T7" fmla="*/ 68 h 121"/>
                <a:gd name="T8" fmla="*/ 26 w 122"/>
                <a:gd name="T9" fmla="*/ 54 h 121"/>
                <a:gd name="T10" fmla="*/ 31 w 122"/>
                <a:gd name="T11" fmla="*/ 41 h 121"/>
                <a:gd name="T12" fmla="*/ 41 w 122"/>
                <a:gd name="T13" fmla="*/ 31 h 121"/>
                <a:gd name="T14" fmla="*/ 54 w 122"/>
                <a:gd name="T15" fmla="*/ 26 h 121"/>
                <a:gd name="T16" fmla="*/ 68 w 122"/>
                <a:gd name="T17" fmla="*/ 26 h 121"/>
                <a:gd name="T18" fmla="*/ 81 w 122"/>
                <a:gd name="T19" fmla="*/ 31 h 121"/>
                <a:gd name="T20" fmla="*/ 90 w 122"/>
                <a:gd name="T21" fmla="*/ 41 h 121"/>
                <a:gd name="T22" fmla="*/ 96 w 122"/>
                <a:gd name="T23" fmla="*/ 54 h 121"/>
                <a:gd name="T24" fmla="*/ 96 w 122"/>
                <a:gd name="T25" fmla="*/ 68 h 121"/>
                <a:gd name="T26" fmla="*/ 90 w 122"/>
                <a:gd name="T27" fmla="*/ 81 h 121"/>
                <a:gd name="T28" fmla="*/ 81 w 122"/>
                <a:gd name="T29" fmla="*/ 90 h 121"/>
                <a:gd name="T30" fmla="*/ 68 w 122"/>
                <a:gd name="T31" fmla="*/ 96 h 121"/>
                <a:gd name="T32" fmla="*/ 61 w 122"/>
                <a:gd name="T33" fmla="*/ 0 h 121"/>
                <a:gd name="T34" fmla="*/ 49 w 122"/>
                <a:gd name="T35" fmla="*/ 1 h 121"/>
                <a:gd name="T36" fmla="*/ 38 w 122"/>
                <a:gd name="T37" fmla="*/ 4 h 121"/>
                <a:gd name="T38" fmla="*/ 27 w 122"/>
                <a:gd name="T39" fmla="*/ 11 h 121"/>
                <a:gd name="T40" fmla="*/ 19 w 122"/>
                <a:gd name="T41" fmla="*/ 18 h 121"/>
                <a:gd name="T42" fmla="*/ 11 w 122"/>
                <a:gd name="T43" fmla="*/ 27 h 121"/>
                <a:gd name="T44" fmla="*/ 5 w 122"/>
                <a:gd name="T45" fmla="*/ 38 h 121"/>
                <a:gd name="T46" fmla="*/ 1 w 122"/>
                <a:gd name="T47" fmla="*/ 48 h 121"/>
                <a:gd name="T48" fmla="*/ 0 w 122"/>
                <a:gd name="T49" fmla="*/ 61 h 121"/>
                <a:gd name="T50" fmla="*/ 1 w 122"/>
                <a:gd name="T51" fmla="*/ 73 h 121"/>
                <a:gd name="T52" fmla="*/ 5 w 122"/>
                <a:gd name="T53" fmla="*/ 85 h 121"/>
                <a:gd name="T54" fmla="*/ 11 w 122"/>
                <a:gd name="T55" fmla="*/ 96 h 121"/>
                <a:gd name="T56" fmla="*/ 19 w 122"/>
                <a:gd name="T57" fmla="*/ 104 h 121"/>
                <a:gd name="T58" fmla="*/ 27 w 122"/>
                <a:gd name="T59" fmla="*/ 112 h 121"/>
                <a:gd name="T60" fmla="*/ 38 w 122"/>
                <a:gd name="T61" fmla="*/ 117 h 121"/>
                <a:gd name="T62" fmla="*/ 49 w 122"/>
                <a:gd name="T63" fmla="*/ 120 h 121"/>
                <a:gd name="T64" fmla="*/ 61 w 122"/>
                <a:gd name="T65" fmla="*/ 121 h 121"/>
                <a:gd name="T66" fmla="*/ 73 w 122"/>
                <a:gd name="T67" fmla="*/ 120 h 121"/>
                <a:gd name="T68" fmla="*/ 85 w 122"/>
                <a:gd name="T69" fmla="*/ 117 h 121"/>
                <a:gd name="T70" fmla="*/ 95 w 122"/>
                <a:gd name="T71" fmla="*/ 112 h 121"/>
                <a:gd name="T72" fmla="*/ 104 w 122"/>
                <a:gd name="T73" fmla="*/ 104 h 121"/>
                <a:gd name="T74" fmla="*/ 112 w 122"/>
                <a:gd name="T75" fmla="*/ 96 h 121"/>
                <a:gd name="T76" fmla="*/ 117 w 122"/>
                <a:gd name="T77" fmla="*/ 85 h 121"/>
                <a:gd name="T78" fmla="*/ 121 w 122"/>
                <a:gd name="T79" fmla="*/ 73 h 121"/>
                <a:gd name="T80" fmla="*/ 122 w 122"/>
                <a:gd name="T81" fmla="*/ 61 h 121"/>
                <a:gd name="T82" fmla="*/ 121 w 122"/>
                <a:gd name="T83" fmla="*/ 48 h 121"/>
                <a:gd name="T84" fmla="*/ 117 w 122"/>
                <a:gd name="T85" fmla="*/ 38 h 121"/>
                <a:gd name="T86" fmla="*/ 112 w 122"/>
                <a:gd name="T87" fmla="*/ 27 h 121"/>
                <a:gd name="T88" fmla="*/ 104 w 122"/>
                <a:gd name="T89" fmla="*/ 18 h 121"/>
                <a:gd name="T90" fmla="*/ 95 w 122"/>
                <a:gd name="T91" fmla="*/ 11 h 121"/>
                <a:gd name="T92" fmla="*/ 85 w 122"/>
                <a:gd name="T93" fmla="*/ 4 h 121"/>
                <a:gd name="T94" fmla="*/ 73 w 122"/>
                <a:gd name="T95" fmla="*/ 1 h 121"/>
                <a:gd name="T96" fmla="*/ 61 w 122"/>
                <a:gd name="T9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2" h="121">
                  <a:moveTo>
                    <a:pt x="61" y="97"/>
                  </a:moveTo>
                  <a:lnTo>
                    <a:pt x="54" y="96"/>
                  </a:lnTo>
                  <a:lnTo>
                    <a:pt x="47" y="93"/>
                  </a:lnTo>
                  <a:lnTo>
                    <a:pt x="41" y="90"/>
                  </a:lnTo>
                  <a:lnTo>
                    <a:pt x="36" y="86"/>
                  </a:lnTo>
                  <a:lnTo>
                    <a:pt x="31" y="81"/>
                  </a:lnTo>
                  <a:lnTo>
                    <a:pt x="28" y="75"/>
                  </a:lnTo>
                  <a:lnTo>
                    <a:pt x="26" y="68"/>
                  </a:lnTo>
                  <a:lnTo>
                    <a:pt x="26" y="61"/>
                  </a:lnTo>
                  <a:lnTo>
                    <a:pt x="26" y="54"/>
                  </a:lnTo>
                  <a:lnTo>
                    <a:pt x="28" y="47"/>
                  </a:lnTo>
                  <a:lnTo>
                    <a:pt x="31" y="41"/>
                  </a:lnTo>
                  <a:lnTo>
                    <a:pt x="36" y="35"/>
                  </a:lnTo>
                  <a:lnTo>
                    <a:pt x="41" y="31"/>
                  </a:lnTo>
                  <a:lnTo>
                    <a:pt x="47" y="28"/>
                  </a:lnTo>
                  <a:lnTo>
                    <a:pt x="54" y="26"/>
                  </a:lnTo>
                  <a:lnTo>
                    <a:pt x="61" y="25"/>
                  </a:lnTo>
                  <a:lnTo>
                    <a:pt x="68" y="26"/>
                  </a:lnTo>
                  <a:lnTo>
                    <a:pt x="75" y="28"/>
                  </a:lnTo>
                  <a:lnTo>
                    <a:pt x="81" y="31"/>
                  </a:lnTo>
                  <a:lnTo>
                    <a:pt x="86" y="35"/>
                  </a:lnTo>
                  <a:lnTo>
                    <a:pt x="90" y="41"/>
                  </a:lnTo>
                  <a:lnTo>
                    <a:pt x="94" y="47"/>
                  </a:lnTo>
                  <a:lnTo>
                    <a:pt x="96" y="54"/>
                  </a:lnTo>
                  <a:lnTo>
                    <a:pt x="97" y="61"/>
                  </a:lnTo>
                  <a:lnTo>
                    <a:pt x="96" y="68"/>
                  </a:lnTo>
                  <a:lnTo>
                    <a:pt x="94" y="75"/>
                  </a:lnTo>
                  <a:lnTo>
                    <a:pt x="90" y="81"/>
                  </a:lnTo>
                  <a:lnTo>
                    <a:pt x="86" y="86"/>
                  </a:lnTo>
                  <a:lnTo>
                    <a:pt x="81" y="90"/>
                  </a:lnTo>
                  <a:lnTo>
                    <a:pt x="75" y="93"/>
                  </a:lnTo>
                  <a:lnTo>
                    <a:pt x="68" y="96"/>
                  </a:lnTo>
                  <a:lnTo>
                    <a:pt x="61" y="97"/>
                  </a:lnTo>
                  <a:close/>
                  <a:moveTo>
                    <a:pt x="61" y="0"/>
                  </a:moveTo>
                  <a:lnTo>
                    <a:pt x="55" y="0"/>
                  </a:lnTo>
                  <a:lnTo>
                    <a:pt x="49" y="1"/>
                  </a:lnTo>
                  <a:lnTo>
                    <a:pt x="43" y="2"/>
                  </a:lnTo>
                  <a:lnTo>
                    <a:pt x="38" y="4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3" y="14"/>
                  </a:lnTo>
                  <a:lnTo>
                    <a:pt x="19" y="18"/>
                  </a:lnTo>
                  <a:lnTo>
                    <a:pt x="14" y="23"/>
                  </a:lnTo>
                  <a:lnTo>
                    <a:pt x="11" y="27"/>
                  </a:lnTo>
                  <a:lnTo>
                    <a:pt x="8" y="32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5"/>
                  </a:lnTo>
                  <a:lnTo>
                    <a:pt x="0" y="61"/>
                  </a:lnTo>
                  <a:lnTo>
                    <a:pt x="0" y="67"/>
                  </a:lnTo>
                  <a:lnTo>
                    <a:pt x="1" y="73"/>
                  </a:lnTo>
                  <a:lnTo>
                    <a:pt x="3" y="79"/>
                  </a:lnTo>
                  <a:lnTo>
                    <a:pt x="5" y="85"/>
                  </a:lnTo>
                  <a:lnTo>
                    <a:pt x="8" y="90"/>
                  </a:lnTo>
                  <a:lnTo>
                    <a:pt x="11" y="96"/>
                  </a:lnTo>
                  <a:lnTo>
                    <a:pt x="14" y="100"/>
                  </a:lnTo>
                  <a:lnTo>
                    <a:pt x="19" y="104"/>
                  </a:lnTo>
                  <a:lnTo>
                    <a:pt x="23" y="108"/>
                  </a:lnTo>
                  <a:lnTo>
                    <a:pt x="27" y="112"/>
                  </a:lnTo>
                  <a:lnTo>
                    <a:pt x="32" y="115"/>
                  </a:lnTo>
                  <a:lnTo>
                    <a:pt x="38" y="117"/>
                  </a:lnTo>
                  <a:lnTo>
                    <a:pt x="43" y="119"/>
                  </a:lnTo>
                  <a:lnTo>
                    <a:pt x="49" y="120"/>
                  </a:lnTo>
                  <a:lnTo>
                    <a:pt x="55" y="121"/>
                  </a:lnTo>
                  <a:lnTo>
                    <a:pt x="61" y="121"/>
                  </a:lnTo>
                  <a:lnTo>
                    <a:pt x="68" y="121"/>
                  </a:lnTo>
                  <a:lnTo>
                    <a:pt x="73" y="120"/>
                  </a:lnTo>
                  <a:lnTo>
                    <a:pt x="80" y="119"/>
                  </a:lnTo>
                  <a:lnTo>
                    <a:pt x="85" y="117"/>
                  </a:lnTo>
                  <a:lnTo>
                    <a:pt x="90" y="115"/>
                  </a:lnTo>
                  <a:lnTo>
                    <a:pt x="95" y="112"/>
                  </a:lnTo>
                  <a:lnTo>
                    <a:pt x="100" y="108"/>
                  </a:lnTo>
                  <a:lnTo>
                    <a:pt x="104" y="104"/>
                  </a:lnTo>
                  <a:lnTo>
                    <a:pt x="108" y="100"/>
                  </a:lnTo>
                  <a:lnTo>
                    <a:pt x="112" y="96"/>
                  </a:lnTo>
                  <a:lnTo>
                    <a:pt x="115" y="90"/>
                  </a:lnTo>
                  <a:lnTo>
                    <a:pt x="117" y="85"/>
                  </a:lnTo>
                  <a:lnTo>
                    <a:pt x="119" y="79"/>
                  </a:lnTo>
                  <a:lnTo>
                    <a:pt x="121" y="73"/>
                  </a:lnTo>
                  <a:lnTo>
                    <a:pt x="122" y="67"/>
                  </a:lnTo>
                  <a:lnTo>
                    <a:pt x="122" y="61"/>
                  </a:lnTo>
                  <a:lnTo>
                    <a:pt x="122" y="55"/>
                  </a:lnTo>
                  <a:lnTo>
                    <a:pt x="121" y="48"/>
                  </a:lnTo>
                  <a:lnTo>
                    <a:pt x="119" y="43"/>
                  </a:lnTo>
                  <a:lnTo>
                    <a:pt x="117" y="38"/>
                  </a:lnTo>
                  <a:lnTo>
                    <a:pt x="115" y="32"/>
                  </a:lnTo>
                  <a:lnTo>
                    <a:pt x="112" y="27"/>
                  </a:lnTo>
                  <a:lnTo>
                    <a:pt x="108" y="23"/>
                  </a:lnTo>
                  <a:lnTo>
                    <a:pt x="104" y="18"/>
                  </a:lnTo>
                  <a:lnTo>
                    <a:pt x="100" y="14"/>
                  </a:lnTo>
                  <a:lnTo>
                    <a:pt x="95" y="11"/>
                  </a:lnTo>
                  <a:lnTo>
                    <a:pt x="90" y="8"/>
                  </a:lnTo>
                  <a:lnTo>
                    <a:pt x="85" y="4"/>
                  </a:lnTo>
                  <a:lnTo>
                    <a:pt x="80" y="2"/>
                  </a:lnTo>
                  <a:lnTo>
                    <a:pt x="73" y="1"/>
                  </a:lnTo>
                  <a:lnTo>
                    <a:pt x="68" y="0"/>
                  </a:lnTo>
                  <a:lnTo>
                    <a:pt x="6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63">
              <a:extLst>
                <a:ext uri="{FF2B5EF4-FFF2-40B4-BE49-F238E27FC236}">
                  <a16:creationId xmlns:a16="http://schemas.microsoft.com/office/drawing/2014/main" id="{CE97D880-A870-4A44-99A1-7EF1AAE630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3330576"/>
              <a:ext cx="212725" cy="212725"/>
            </a:xfrm>
            <a:custGeom>
              <a:avLst/>
              <a:gdLst>
                <a:gd name="T0" fmla="*/ 407 w 535"/>
                <a:gd name="T1" fmla="*/ 408 h 536"/>
                <a:gd name="T2" fmla="*/ 367 w 535"/>
                <a:gd name="T3" fmla="*/ 436 h 536"/>
                <a:gd name="T4" fmla="*/ 330 w 535"/>
                <a:gd name="T5" fmla="*/ 452 h 536"/>
                <a:gd name="T6" fmla="*/ 321 w 535"/>
                <a:gd name="T7" fmla="*/ 465 h 536"/>
                <a:gd name="T8" fmla="*/ 217 w 535"/>
                <a:gd name="T9" fmla="*/ 461 h 536"/>
                <a:gd name="T10" fmla="*/ 199 w 535"/>
                <a:gd name="T11" fmla="*/ 449 h 536"/>
                <a:gd name="T12" fmla="*/ 163 w 535"/>
                <a:gd name="T13" fmla="*/ 432 h 536"/>
                <a:gd name="T14" fmla="*/ 134 w 535"/>
                <a:gd name="T15" fmla="*/ 409 h 536"/>
                <a:gd name="T16" fmla="*/ 82 w 535"/>
                <a:gd name="T17" fmla="*/ 433 h 536"/>
                <a:gd name="T18" fmla="*/ 75 w 535"/>
                <a:gd name="T19" fmla="*/ 316 h 536"/>
                <a:gd name="T20" fmla="*/ 72 w 535"/>
                <a:gd name="T21" fmla="*/ 287 h 536"/>
                <a:gd name="T22" fmla="*/ 72 w 535"/>
                <a:gd name="T23" fmla="*/ 246 h 536"/>
                <a:gd name="T24" fmla="*/ 75 w 535"/>
                <a:gd name="T25" fmla="*/ 217 h 536"/>
                <a:gd name="T26" fmla="*/ 82 w 535"/>
                <a:gd name="T27" fmla="*/ 99 h 536"/>
                <a:gd name="T28" fmla="*/ 134 w 535"/>
                <a:gd name="T29" fmla="*/ 124 h 536"/>
                <a:gd name="T30" fmla="*/ 163 w 535"/>
                <a:gd name="T31" fmla="*/ 101 h 536"/>
                <a:gd name="T32" fmla="*/ 199 w 535"/>
                <a:gd name="T33" fmla="*/ 84 h 536"/>
                <a:gd name="T34" fmla="*/ 217 w 535"/>
                <a:gd name="T35" fmla="*/ 72 h 536"/>
                <a:gd name="T36" fmla="*/ 321 w 535"/>
                <a:gd name="T37" fmla="*/ 68 h 536"/>
                <a:gd name="T38" fmla="*/ 330 w 535"/>
                <a:gd name="T39" fmla="*/ 81 h 536"/>
                <a:gd name="T40" fmla="*/ 367 w 535"/>
                <a:gd name="T41" fmla="*/ 97 h 536"/>
                <a:gd name="T42" fmla="*/ 407 w 535"/>
                <a:gd name="T43" fmla="*/ 124 h 536"/>
                <a:gd name="T44" fmla="*/ 505 w 535"/>
                <a:gd name="T45" fmla="*/ 188 h 536"/>
                <a:gd name="T46" fmla="*/ 458 w 535"/>
                <a:gd name="T47" fmla="*/ 221 h 536"/>
                <a:gd name="T48" fmla="*/ 463 w 535"/>
                <a:gd name="T49" fmla="*/ 256 h 536"/>
                <a:gd name="T50" fmla="*/ 461 w 535"/>
                <a:gd name="T51" fmla="*/ 297 h 536"/>
                <a:gd name="T52" fmla="*/ 462 w 535"/>
                <a:gd name="T53" fmla="*/ 319 h 536"/>
                <a:gd name="T54" fmla="*/ 528 w 535"/>
                <a:gd name="T55" fmla="*/ 329 h 536"/>
                <a:gd name="T56" fmla="*/ 489 w 535"/>
                <a:gd name="T57" fmla="*/ 276 h 536"/>
                <a:gd name="T58" fmla="*/ 486 w 535"/>
                <a:gd name="T59" fmla="*/ 238 h 536"/>
                <a:gd name="T60" fmla="*/ 534 w 535"/>
                <a:gd name="T61" fmla="*/ 197 h 536"/>
                <a:gd name="T62" fmla="*/ 467 w 535"/>
                <a:gd name="T63" fmla="*/ 74 h 536"/>
                <a:gd name="T64" fmla="*/ 455 w 535"/>
                <a:gd name="T65" fmla="*/ 70 h 536"/>
                <a:gd name="T66" fmla="*/ 380 w 535"/>
                <a:gd name="T67" fmla="*/ 74 h 536"/>
                <a:gd name="T68" fmla="*/ 346 w 535"/>
                <a:gd name="T69" fmla="*/ 8 h 536"/>
                <a:gd name="T70" fmla="*/ 205 w 535"/>
                <a:gd name="T71" fmla="*/ 0 h 536"/>
                <a:gd name="T72" fmla="*/ 192 w 535"/>
                <a:gd name="T73" fmla="*/ 13 h 536"/>
                <a:gd name="T74" fmla="*/ 143 w 535"/>
                <a:gd name="T75" fmla="*/ 84 h 536"/>
                <a:gd name="T76" fmla="*/ 74 w 535"/>
                <a:gd name="T77" fmla="*/ 70 h 536"/>
                <a:gd name="T78" fmla="*/ 0 w 535"/>
                <a:gd name="T79" fmla="*/ 191 h 536"/>
                <a:gd name="T80" fmla="*/ 49 w 535"/>
                <a:gd name="T81" fmla="*/ 229 h 536"/>
                <a:gd name="T82" fmla="*/ 46 w 535"/>
                <a:gd name="T83" fmla="*/ 266 h 536"/>
                <a:gd name="T84" fmla="*/ 48 w 535"/>
                <a:gd name="T85" fmla="*/ 303 h 536"/>
                <a:gd name="T86" fmla="*/ 0 w 535"/>
                <a:gd name="T87" fmla="*/ 340 h 536"/>
                <a:gd name="T88" fmla="*/ 73 w 535"/>
                <a:gd name="T89" fmla="*/ 463 h 536"/>
                <a:gd name="T90" fmla="*/ 143 w 535"/>
                <a:gd name="T91" fmla="*/ 449 h 536"/>
                <a:gd name="T92" fmla="*/ 192 w 535"/>
                <a:gd name="T93" fmla="*/ 523 h 536"/>
                <a:gd name="T94" fmla="*/ 205 w 535"/>
                <a:gd name="T95" fmla="*/ 536 h 536"/>
                <a:gd name="T96" fmla="*/ 346 w 535"/>
                <a:gd name="T97" fmla="*/ 528 h 536"/>
                <a:gd name="T98" fmla="*/ 364 w 535"/>
                <a:gd name="T99" fmla="*/ 467 h 536"/>
                <a:gd name="T100" fmla="*/ 409 w 535"/>
                <a:gd name="T101" fmla="*/ 437 h 536"/>
                <a:gd name="T102" fmla="*/ 458 w 535"/>
                <a:gd name="T103" fmla="*/ 463 h 536"/>
                <a:gd name="T104" fmla="*/ 467 w 535"/>
                <a:gd name="T105" fmla="*/ 459 h 536"/>
                <a:gd name="T106" fmla="*/ 535 w 535"/>
                <a:gd name="T107" fmla="*/ 33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5" h="536">
                  <a:moveTo>
                    <a:pt x="453" y="433"/>
                  </a:moveTo>
                  <a:lnTo>
                    <a:pt x="414" y="410"/>
                  </a:lnTo>
                  <a:lnTo>
                    <a:pt x="410" y="409"/>
                  </a:lnTo>
                  <a:lnTo>
                    <a:pt x="407" y="408"/>
                  </a:lnTo>
                  <a:lnTo>
                    <a:pt x="403" y="409"/>
                  </a:lnTo>
                  <a:lnTo>
                    <a:pt x="399" y="411"/>
                  </a:lnTo>
                  <a:lnTo>
                    <a:pt x="383" y="424"/>
                  </a:lnTo>
                  <a:lnTo>
                    <a:pt x="367" y="436"/>
                  </a:lnTo>
                  <a:lnTo>
                    <a:pt x="359" y="441"/>
                  </a:lnTo>
                  <a:lnTo>
                    <a:pt x="350" y="446"/>
                  </a:lnTo>
                  <a:lnTo>
                    <a:pt x="340" y="449"/>
                  </a:lnTo>
                  <a:lnTo>
                    <a:pt x="330" y="452"/>
                  </a:lnTo>
                  <a:lnTo>
                    <a:pt x="326" y="454"/>
                  </a:lnTo>
                  <a:lnTo>
                    <a:pt x="323" y="457"/>
                  </a:lnTo>
                  <a:lnTo>
                    <a:pt x="321" y="461"/>
                  </a:lnTo>
                  <a:lnTo>
                    <a:pt x="321" y="465"/>
                  </a:lnTo>
                  <a:lnTo>
                    <a:pt x="321" y="511"/>
                  </a:lnTo>
                  <a:lnTo>
                    <a:pt x="218" y="511"/>
                  </a:lnTo>
                  <a:lnTo>
                    <a:pt x="218" y="465"/>
                  </a:lnTo>
                  <a:lnTo>
                    <a:pt x="217" y="461"/>
                  </a:lnTo>
                  <a:lnTo>
                    <a:pt x="216" y="457"/>
                  </a:lnTo>
                  <a:lnTo>
                    <a:pt x="213" y="454"/>
                  </a:lnTo>
                  <a:lnTo>
                    <a:pt x="208" y="452"/>
                  </a:lnTo>
                  <a:lnTo>
                    <a:pt x="199" y="449"/>
                  </a:lnTo>
                  <a:lnTo>
                    <a:pt x="189" y="446"/>
                  </a:lnTo>
                  <a:lnTo>
                    <a:pt x="180" y="441"/>
                  </a:lnTo>
                  <a:lnTo>
                    <a:pt x="172" y="437"/>
                  </a:lnTo>
                  <a:lnTo>
                    <a:pt x="163" y="432"/>
                  </a:lnTo>
                  <a:lnTo>
                    <a:pt x="155" y="425"/>
                  </a:lnTo>
                  <a:lnTo>
                    <a:pt x="146" y="419"/>
                  </a:lnTo>
                  <a:lnTo>
                    <a:pt x="137" y="411"/>
                  </a:lnTo>
                  <a:lnTo>
                    <a:pt x="134" y="409"/>
                  </a:lnTo>
                  <a:lnTo>
                    <a:pt x="130" y="408"/>
                  </a:lnTo>
                  <a:lnTo>
                    <a:pt x="126" y="409"/>
                  </a:lnTo>
                  <a:lnTo>
                    <a:pt x="122" y="410"/>
                  </a:lnTo>
                  <a:lnTo>
                    <a:pt x="82" y="433"/>
                  </a:lnTo>
                  <a:lnTo>
                    <a:pt x="30" y="344"/>
                  </a:lnTo>
                  <a:lnTo>
                    <a:pt x="70" y="321"/>
                  </a:lnTo>
                  <a:lnTo>
                    <a:pt x="73" y="319"/>
                  </a:lnTo>
                  <a:lnTo>
                    <a:pt x="75" y="316"/>
                  </a:lnTo>
                  <a:lnTo>
                    <a:pt x="75" y="311"/>
                  </a:lnTo>
                  <a:lnTo>
                    <a:pt x="75" y="307"/>
                  </a:lnTo>
                  <a:lnTo>
                    <a:pt x="74" y="297"/>
                  </a:lnTo>
                  <a:lnTo>
                    <a:pt x="72" y="287"/>
                  </a:lnTo>
                  <a:lnTo>
                    <a:pt x="72" y="277"/>
                  </a:lnTo>
                  <a:lnTo>
                    <a:pt x="71" y="266"/>
                  </a:lnTo>
                  <a:lnTo>
                    <a:pt x="72" y="257"/>
                  </a:lnTo>
                  <a:lnTo>
                    <a:pt x="72" y="246"/>
                  </a:lnTo>
                  <a:lnTo>
                    <a:pt x="74" y="236"/>
                  </a:lnTo>
                  <a:lnTo>
                    <a:pt x="75" y="226"/>
                  </a:lnTo>
                  <a:lnTo>
                    <a:pt x="76" y="221"/>
                  </a:lnTo>
                  <a:lnTo>
                    <a:pt x="75" y="217"/>
                  </a:lnTo>
                  <a:lnTo>
                    <a:pt x="73" y="214"/>
                  </a:lnTo>
                  <a:lnTo>
                    <a:pt x="70" y="212"/>
                  </a:lnTo>
                  <a:lnTo>
                    <a:pt x="30" y="188"/>
                  </a:lnTo>
                  <a:lnTo>
                    <a:pt x="82" y="99"/>
                  </a:lnTo>
                  <a:lnTo>
                    <a:pt x="122" y="122"/>
                  </a:lnTo>
                  <a:lnTo>
                    <a:pt x="126" y="124"/>
                  </a:lnTo>
                  <a:lnTo>
                    <a:pt x="130" y="124"/>
                  </a:lnTo>
                  <a:lnTo>
                    <a:pt x="134" y="124"/>
                  </a:lnTo>
                  <a:lnTo>
                    <a:pt x="137" y="121"/>
                  </a:lnTo>
                  <a:lnTo>
                    <a:pt x="146" y="114"/>
                  </a:lnTo>
                  <a:lnTo>
                    <a:pt x="155" y="106"/>
                  </a:lnTo>
                  <a:lnTo>
                    <a:pt x="163" y="101"/>
                  </a:lnTo>
                  <a:lnTo>
                    <a:pt x="172" y="96"/>
                  </a:lnTo>
                  <a:lnTo>
                    <a:pt x="180" y="91"/>
                  </a:lnTo>
                  <a:lnTo>
                    <a:pt x="189" y="87"/>
                  </a:lnTo>
                  <a:lnTo>
                    <a:pt x="199" y="84"/>
                  </a:lnTo>
                  <a:lnTo>
                    <a:pt x="208" y="81"/>
                  </a:lnTo>
                  <a:lnTo>
                    <a:pt x="213" y="78"/>
                  </a:lnTo>
                  <a:lnTo>
                    <a:pt x="215" y="76"/>
                  </a:lnTo>
                  <a:lnTo>
                    <a:pt x="217" y="72"/>
                  </a:lnTo>
                  <a:lnTo>
                    <a:pt x="218" y="68"/>
                  </a:lnTo>
                  <a:lnTo>
                    <a:pt x="218" y="26"/>
                  </a:lnTo>
                  <a:lnTo>
                    <a:pt x="321" y="26"/>
                  </a:lnTo>
                  <a:lnTo>
                    <a:pt x="321" y="68"/>
                  </a:lnTo>
                  <a:lnTo>
                    <a:pt x="321" y="72"/>
                  </a:lnTo>
                  <a:lnTo>
                    <a:pt x="323" y="76"/>
                  </a:lnTo>
                  <a:lnTo>
                    <a:pt x="326" y="78"/>
                  </a:lnTo>
                  <a:lnTo>
                    <a:pt x="330" y="81"/>
                  </a:lnTo>
                  <a:lnTo>
                    <a:pt x="340" y="84"/>
                  </a:lnTo>
                  <a:lnTo>
                    <a:pt x="350" y="87"/>
                  </a:lnTo>
                  <a:lnTo>
                    <a:pt x="360" y="91"/>
                  </a:lnTo>
                  <a:lnTo>
                    <a:pt x="367" y="97"/>
                  </a:lnTo>
                  <a:lnTo>
                    <a:pt x="383" y="107"/>
                  </a:lnTo>
                  <a:lnTo>
                    <a:pt x="399" y="121"/>
                  </a:lnTo>
                  <a:lnTo>
                    <a:pt x="403" y="124"/>
                  </a:lnTo>
                  <a:lnTo>
                    <a:pt x="407" y="124"/>
                  </a:lnTo>
                  <a:lnTo>
                    <a:pt x="410" y="124"/>
                  </a:lnTo>
                  <a:lnTo>
                    <a:pt x="414" y="122"/>
                  </a:lnTo>
                  <a:lnTo>
                    <a:pt x="453" y="99"/>
                  </a:lnTo>
                  <a:lnTo>
                    <a:pt x="505" y="188"/>
                  </a:lnTo>
                  <a:lnTo>
                    <a:pt x="465" y="212"/>
                  </a:lnTo>
                  <a:lnTo>
                    <a:pt x="462" y="214"/>
                  </a:lnTo>
                  <a:lnTo>
                    <a:pt x="460" y="217"/>
                  </a:lnTo>
                  <a:lnTo>
                    <a:pt x="458" y="221"/>
                  </a:lnTo>
                  <a:lnTo>
                    <a:pt x="458" y="226"/>
                  </a:lnTo>
                  <a:lnTo>
                    <a:pt x="461" y="235"/>
                  </a:lnTo>
                  <a:lnTo>
                    <a:pt x="462" y="246"/>
                  </a:lnTo>
                  <a:lnTo>
                    <a:pt x="463" y="256"/>
                  </a:lnTo>
                  <a:lnTo>
                    <a:pt x="463" y="266"/>
                  </a:lnTo>
                  <a:lnTo>
                    <a:pt x="463" y="277"/>
                  </a:lnTo>
                  <a:lnTo>
                    <a:pt x="462" y="287"/>
                  </a:lnTo>
                  <a:lnTo>
                    <a:pt x="461" y="297"/>
                  </a:lnTo>
                  <a:lnTo>
                    <a:pt x="458" y="307"/>
                  </a:lnTo>
                  <a:lnTo>
                    <a:pt x="458" y="311"/>
                  </a:lnTo>
                  <a:lnTo>
                    <a:pt x="460" y="316"/>
                  </a:lnTo>
                  <a:lnTo>
                    <a:pt x="462" y="319"/>
                  </a:lnTo>
                  <a:lnTo>
                    <a:pt x="465" y="321"/>
                  </a:lnTo>
                  <a:lnTo>
                    <a:pt x="505" y="344"/>
                  </a:lnTo>
                  <a:lnTo>
                    <a:pt x="453" y="433"/>
                  </a:lnTo>
                  <a:close/>
                  <a:moveTo>
                    <a:pt x="528" y="329"/>
                  </a:moveTo>
                  <a:lnTo>
                    <a:pt x="485" y="303"/>
                  </a:lnTo>
                  <a:lnTo>
                    <a:pt x="486" y="294"/>
                  </a:lnTo>
                  <a:lnTo>
                    <a:pt x="487" y="285"/>
                  </a:lnTo>
                  <a:lnTo>
                    <a:pt x="489" y="276"/>
                  </a:lnTo>
                  <a:lnTo>
                    <a:pt x="489" y="266"/>
                  </a:lnTo>
                  <a:lnTo>
                    <a:pt x="489" y="257"/>
                  </a:lnTo>
                  <a:lnTo>
                    <a:pt x="487" y="248"/>
                  </a:lnTo>
                  <a:lnTo>
                    <a:pt x="486" y="238"/>
                  </a:lnTo>
                  <a:lnTo>
                    <a:pt x="485" y="229"/>
                  </a:lnTo>
                  <a:lnTo>
                    <a:pt x="528" y="205"/>
                  </a:lnTo>
                  <a:lnTo>
                    <a:pt x="531" y="202"/>
                  </a:lnTo>
                  <a:lnTo>
                    <a:pt x="534" y="197"/>
                  </a:lnTo>
                  <a:lnTo>
                    <a:pt x="535" y="192"/>
                  </a:lnTo>
                  <a:lnTo>
                    <a:pt x="533" y="187"/>
                  </a:lnTo>
                  <a:lnTo>
                    <a:pt x="468" y="76"/>
                  </a:lnTo>
                  <a:lnTo>
                    <a:pt x="467" y="74"/>
                  </a:lnTo>
                  <a:lnTo>
                    <a:pt x="465" y="72"/>
                  </a:lnTo>
                  <a:lnTo>
                    <a:pt x="463" y="71"/>
                  </a:lnTo>
                  <a:lnTo>
                    <a:pt x="461" y="70"/>
                  </a:lnTo>
                  <a:lnTo>
                    <a:pt x="455" y="70"/>
                  </a:lnTo>
                  <a:lnTo>
                    <a:pt x="451" y="71"/>
                  </a:lnTo>
                  <a:lnTo>
                    <a:pt x="409" y="96"/>
                  </a:lnTo>
                  <a:lnTo>
                    <a:pt x="395" y="85"/>
                  </a:lnTo>
                  <a:lnTo>
                    <a:pt x="380" y="74"/>
                  </a:lnTo>
                  <a:lnTo>
                    <a:pt x="364" y="66"/>
                  </a:lnTo>
                  <a:lnTo>
                    <a:pt x="347" y="59"/>
                  </a:lnTo>
                  <a:lnTo>
                    <a:pt x="347" y="13"/>
                  </a:lnTo>
                  <a:lnTo>
                    <a:pt x="346" y="8"/>
                  </a:lnTo>
                  <a:lnTo>
                    <a:pt x="342" y="4"/>
                  </a:lnTo>
                  <a:lnTo>
                    <a:pt x="338" y="1"/>
                  </a:lnTo>
                  <a:lnTo>
                    <a:pt x="334" y="0"/>
                  </a:lnTo>
                  <a:lnTo>
                    <a:pt x="205" y="0"/>
                  </a:lnTo>
                  <a:lnTo>
                    <a:pt x="200" y="1"/>
                  </a:lnTo>
                  <a:lnTo>
                    <a:pt x="196" y="4"/>
                  </a:lnTo>
                  <a:lnTo>
                    <a:pt x="193" y="8"/>
                  </a:lnTo>
                  <a:lnTo>
                    <a:pt x="192" y="13"/>
                  </a:lnTo>
                  <a:lnTo>
                    <a:pt x="192" y="59"/>
                  </a:lnTo>
                  <a:lnTo>
                    <a:pt x="175" y="66"/>
                  </a:lnTo>
                  <a:lnTo>
                    <a:pt x="159" y="73"/>
                  </a:lnTo>
                  <a:lnTo>
                    <a:pt x="143" y="84"/>
                  </a:lnTo>
                  <a:lnTo>
                    <a:pt x="127" y="96"/>
                  </a:lnTo>
                  <a:lnTo>
                    <a:pt x="84" y="71"/>
                  </a:lnTo>
                  <a:lnTo>
                    <a:pt x="78" y="70"/>
                  </a:lnTo>
                  <a:lnTo>
                    <a:pt x="74" y="70"/>
                  </a:lnTo>
                  <a:lnTo>
                    <a:pt x="70" y="72"/>
                  </a:lnTo>
                  <a:lnTo>
                    <a:pt x="67" y="76"/>
                  </a:lnTo>
                  <a:lnTo>
                    <a:pt x="2" y="187"/>
                  </a:lnTo>
                  <a:lnTo>
                    <a:pt x="0" y="191"/>
                  </a:lnTo>
                  <a:lnTo>
                    <a:pt x="0" y="197"/>
                  </a:lnTo>
                  <a:lnTo>
                    <a:pt x="2" y="201"/>
                  </a:lnTo>
                  <a:lnTo>
                    <a:pt x="6" y="205"/>
                  </a:lnTo>
                  <a:lnTo>
                    <a:pt x="49" y="229"/>
                  </a:lnTo>
                  <a:lnTo>
                    <a:pt x="47" y="238"/>
                  </a:lnTo>
                  <a:lnTo>
                    <a:pt x="46" y="248"/>
                  </a:lnTo>
                  <a:lnTo>
                    <a:pt x="46" y="257"/>
                  </a:lnTo>
                  <a:lnTo>
                    <a:pt x="46" y="266"/>
                  </a:lnTo>
                  <a:lnTo>
                    <a:pt x="46" y="276"/>
                  </a:lnTo>
                  <a:lnTo>
                    <a:pt x="46" y="285"/>
                  </a:lnTo>
                  <a:lnTo>
                    <a:pt x="47" y="294"/>
                  </a:lnTo>
                  <a:lnTo>
                    <a:pt x="48" y="303"/>
                  </a:lnTo>
                  <a:lnTo>
                    <a:pt x="6" y="329"/>
                  </a:lnTo>
                  <a:lnTo>
                    <a:pt x="2" y="332"/>
                  </a:lnTo>
                  <a:lnTo>
                    <a:pt x="0" y="335"/>
                  </a:lnTo>
                  <a:lnTo>
                    <a:pt x="0" y="340"/>
                  </a:lnTo>
                  <a:lnTo>
                    <a:pt x="1" y="345"/>
                  </a:lnTo>
                  <a:lnTo>
                    <a:pt x="65" y="457"/>
                  </a:lnTo>
                  <a:lnTo>
                    <a:pt x="69" y="461"/>
                  </a:lnTo>
                  <a:lnTo>
                    <a:pt x="73" y="463"/>
                  </a:lnTo>
                  <a:lnTo>
                    <a:pt x="78" y="463"/>
                  </a:lnTo>
                  <a:lnTo>
                    <a:pt x="83" y="461"/>
                  </a:lnTo>
                  <a:lnTo>
                    <a:pt x="127" y="437"/>
                  </a:lnTo>
                  <a:lnTo>
                    <a:pt x="143" y="449"/>
                  </a:lnTo>
                  <a:lnTo>
                    <a:pt x="159" y="459"/>
                  </a:lnTo>
                  <a:lnTo>
                    <a:pt x="175" y="467"/>
                  </a:lnTo>
                  <a:lnTo>
                    <a:pt x="192" y="474"/>
                  </a:lnTo>
                  <a:lnTo>
                    <a:pt x="192" y="523"/>
                  </a:lnTo>
                  <a:lnTo>
                    <a:pt x="193" y="528"/>
                  </a:lnTo>
                  <a:lnTo>
                    <a:pt x="196" y="533"/>
                  </a:lnTo>
                  <a:lnTo>
                    <a:pt x="200" y="535"/>
                  </a:lnTo>
                  <a:lnTo>
                    <a:pt x="205" y="536"/>
                  </a:lnTo>
                  <a:lnTo>
                    <a:pt x="334" y="536"/>
                  </a:lnTo>
                  <a:lnTo>
                    <a:pt x="338" y="535"/>
                  </a:lnTo>
                  <a:lnTo>
                    <a:pt x="342" y="533"/>
                  </a:lnTo>
                  <a:lnTo>
                    <a:pt x="346" y="528"/>
                  </a:lnTo>
                  <a:lnTo>
                    <a:pt x="347" y="523"/>
                  </a:lnTo>
                  <a:lnTo>
                    <a:pt x="347" y="474"/>
                  </a:lnTo>
                  <a:lnTo>
                    <a:pt x="355" y="470"/>
                  </a:lnTo>
                  <a:lnTo>
                    <a:pt x="364" y="467"/>
                  </a:lnTo>
                  <a:lnTo>
                    <a:pt x="373" y="463"/>
                  </a:lnTo>
                  <a:lnTo>
                    <a:pt x="380" y="459"/>
                  </a:lnTo>
                  <a:lnTo>
                    <a:pt x="395" y="449"/>
                  </a:lnTo>
                  <a:lnTo>
                    <a:pt x="409" y="437"/>
                  </a:lnTo>
                  <a:lnTo>
                    <a:pt x="452" y="461"/>
                  </a:lnTo>
                  <a:lnTo>
                    <a:pt x="454" y="463"/>
                  </a:lnTo>
                  <a:lnTo>
                    <a:pt x="456" y="463"/>
                  </a:lnTo>
                  <a:lnTo>
                    <a:pt x="458" y="463"/>
                  </a:lnTo>
                  <a:lnTo>
                    <a:pt x="462" y="462"/>
                  </a:lnTo>
                  <a:lnTo>
                    <a:pt x="464" y="462"/>
                  </a:lnTo>
                  <a:lnTo>
                    <a:pt x="466" y="461"/>
                  </a:lnTo>
                  <a:lnTo>
                    <a:pt x="467" y="459"/>
                  </a:lnTo>
                  <a:lnTo>
                    <a:pt x="469" y="457"/>
                  </a:lnTo>
                  <a:lnTo>
                    <a:pt x="533" y="345"/>
                  </a:lnTo>
                  <a:lnTo>
                    <a:pt x="535" y="340"/>
                  </a:lnTo>
                  <a:lnTo>
                    <a:pt x="535" y="335"/>
                  </a:lnTo>
                  <a:lnTo>
                    <a:pt x="533" y="332"/>
                  </a:lnTo>
                  <a:lnTo>
                    <a:pt x="528" y="3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64">
              <a:extLst>
                <a:ext uri="{FF2B5EF4-FFF2-40B4-BE49-F238E27FC236}">
                  <a16:creationId xmlns:a16="http://schemas.microsoft.com/office/drawing/2014/main" id="{EFF122DE-37E7-4553-B59D-09C6CE509C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7201" y="3240088"/>
              <a:ext cx="122238" cy="125413"/>
            </a:xfrm>
            <a:custGeom>
              <a:avLst/>
              <a:gdLst>
                <a:gd name="T0" fmla="*/ 235 w 308"/>
                <a:gd name="T1" fmla="*/ 227 h 315"/>
                <a:gd name="T2" fmla="*/ 223 w 308"/>
                <a:gd name="T3" fmla="*/ 229 h 315"/>
                <a:gd name="T4" fmla="*/ 195 w 308"/>
                <a:gd name="T5" fmla="*/ 248 h 315"/>
                <a:gd name="T6" fmla="*/ 178 w 308"/>
                <a:gd name="T7" fmla="*/ 257 h 315"/>
                <a:gd name="T8" fmla="*/ 176 w 308"/>
                <a:gd name="T9" fmla="*/ 289 h 315"/>
                <a:gd name="T10" fmla="*/ 136 w 308"/>
                <a:gd name="T11" fmla="*/ 260 h 315"/>
                <a:gd name="T12" fmla="*/ 129 w 308"/>
                <a:gd name="T13" fmla="*/ 253 h 315"/>
                <a:gd name="T14" fmla="*/ 95 w 308"/>
                <a:gd name="T15" fmla="*/ 237 h 315"/>
                <a:gd name="T16" fmla="*/ 79 w 308"/>
                <a:gd name="T17" fmla="*/ 226 h 315"/>
                <a:gd name="T18" fmla="*/ 50 w 308"/>
                <a:gd name="T19" fmla="*/ 240 h 315"/>
                <a:gd name="T20" fmla="*/ 55 w 308"/>
                <a:gd name="T21" fmla="*/ 192 h 315"/>
                <a:gd name="T22" fmla="*/ 58 w 308"/>
                <a:gd name="T23" fmla="*/ 180 h 315"/>
                <a:gd name="T24" fmla="*/ 56 w 308"/>
                <a:gd name="T25" fmla="*/ 145 h 315"/>
                <a:gd name="T26" fmla="*/ 57 w 308"/>
                <a:gd name="T27" fmla="*/ 126 h 315"/>
                <a:gd name="T28" fmla="*/ 31 w 308"/>
                <a:gd name="T29" fmla="*/ 108 h 315"/>
                <a:gd name="T30" fmla="*/ 76 w 308"/>
                <a:gd name="T31" fmla="*/ 87 h 315"/>
                <a:gd name="T32" fmla="*/ 87 w 308"/>
                <a:gd name="T33" fmla="*/ 84 h 315"/>
                <a:gd name="T34" fmla="*/ 117 w 308"/>
                <a:gd name="T35" fmla="*/ 66 h 315"/>
                <a:gd name="T36" fmla="*/ 135 w 308"/>
                <a:gd name="T37" fmla="*/ 57 h 315"/>
                <a:gd name="T38" fmla="*/ 137 w 308"/>
                <a:gd name="T39" fmla="*/ 25 h 315"/>
                <a:gd name="T40" fmla="*/ 176 w 308"/>
                <a:gd name="T41" fmla="*/ 53 h 315"/>
                <a:gd name="T42" fmla="*/ 185 w 308"/>
                <a:gd name="T43" fmla="*/ 62 h 315"/>
                <a:gd name="T44" fmla="*/ 215 w 308"/>
                <a:gd name="T45" fmla="*/ 77 h 315"/>
                <a:gd name="T46" fmla="*/ 231 w 308"/>
                <a:gd name="T47" fmla="*/ 88 h 315"/>
                <a:gd name="T48" fmla="*/ 259 w 308"/>
                <a:gd name="T49" fmla="*/ 76 h 315"/>
                <a:gd name="T50" fmla="*/ 254 w 308"/>
                <a:gd name="T51" fmla="*/ 123 h 315"/>
                <a:gd name="T52" fmla="*/ 251 w 308"/>
                <a:gd name="T53" fmla="*/ 134 h 315"/>
                <a:gd name="T54" fmla="*/ 253 w 308"/>
                <a:gd name="T55" fmla="*/ 169 h 315"/>
                <a:gd name="T56" fmla="*/ 252 w 308"/>
                <a:gd name="T57" fmla="*/ 188 h 315"/>
                <a:gd name="T58" fmla="*/ 278 w 308"/>
                <a:gd name="T59" fmla="*/ 207 h 315"/>
                <a:gd name="T60" fmla="*/ 278 w 308"/>
                <a:gd name="T61" fmla="*/ 178 h 315"/>
                <a:gd name="T62" fmla="*/ 279 w 308"/>
                <a:gd name="T63" fmla="*/ 148 h 315"/>
                <a:gd name="T64" fmla="*/ 304 w 308"/>
                <a:gd name="T65" fmla="*/ 123 h 315"/>
                <a:gd name="T66" fmla="*/ 308 w 308"/>
                <a:gd name="T67" fmla="*/ 116 h 315"/>
                <a:gd name="T68" fmla="*/ 275 w 308"/>
                <a:gd name="T69" fmla="*/ 51 h 315"/>
                <a:gd name="T70" fmla="*/ 269 w 308"/>
                <a:gd name="T71" fmla="*/ 46 h 315"/>
                <a:gd name="T72" fmla="*/ 256 w 308"/>
                <a:gd name="T73" fmla="*/ 46 h 315"/>
                <a:gd name="T74" fmla="*/ 218 w 308"/>
                <a:gd name="T75" fmla="*/ 49 h 315"/>
                <a:gd name="T76" fmla="*/ 202 w 308"/>
                <a:gd name="T77" fmla="*/ 13 h 315"/>
                <a:gd name="T78" fmla="*/ 193 w 308"/>
                <a:gd name="T79" fmla="*/ 2 h 315"/>
                <a:gd name="T80" fmla="*/ 119 w 308"/>
                <a:gd name="T81" fmla="*/ 2 h 315"/>
                <a:gd name="T82" fmla="*/ 112 w 308"/>
                <a:gd name="T83" fmla="*/ 13 h 315"/>
                <a:gd name="T84" fmla="*/ 93 w 308"/>
                <a:gd name="T85" fmla="*/ 50 h 315"/>
                <a:gd name="T86" fmla="*/ 52 w 308"/>
                <a:gd name="T87" fmla="*/ 46 h 315"/>
                <a:gd name="T88" fmla="*/ 37 w 308"/>
                <a:gd name="T89" fmla="*/ 47 h 315"/>
                <a:gd name="T90" fmla="*/ 1 w 308"/>
                <a:gd name="T91" fmla="*/ 111 h 315"/>
                <a:gd name="T92" fmla="*/ 3 w 308"/>
                <a:gd name="T93" fmla="*/ 121 h 315"/>
                <a:gd name="T94" fmla="*/ 31 w 308"/>
                <a:gd name="T95" fmla="*/ 138 h 315"/>
                <a:gd name="T96" fmla="*/ 30 w 308"/>
                <a:gd name="T97" fmla="*/ 167 h 315"/>
                <a:gd name="T98" fmla="*/ 4 w 308"/>
                <a:gd name="T99" fmla="*/ 193 h 315"/>
                <a:gd name="T100" fmla="*/ 1 w 308"/>
                <a:gd name="T101" fmla="*/ 199 h 315"/>
                <a:gd name="T102" fmla="*/ 34 w 308"/>
                <a:gd name="T103" fmla="*/ 263 h 315"/>
                <a:gd name="T104" fmla="*/ 46 w 308"/>
                <a:gd name="T105" fmla="*/ 270 h 315"/>
                <a:gd name="T106" fmla="*/ 85 w 308"/>
                <a:gd name="T107" fmla="*/ 259 h 315"/>
                <a:gd name="T108" fmla="*/ 112 w 308"/>
                <a:gd name="T109" fmla="*/ 274 h 315"/>
                <a:gd name="T110" fmla="*/ 116 w 308"/>
                <a:gd name="T111" fmla="*/ 311 h 315"/>
                <a:gd name="T112" fmla="*/ 189 w 308"/>
                <a:gd name="T113" fmla="*/ 315 h 315"/>
                <a:gd name="T114" fmla="*/ 201 w 308"/>
                <a:gd name="T115" fmla="*/ 306 h 315"/>
                <a:gd name="T116" fmla="*/ 210 w 308"/>
                <a:gd name="T117" fmla="*/ 270 h 315"/>
                <a:gd name="T118" fmla="*/ 234 w 308"/>
                <a:gd name="T119" fmla="*/ 255 h 315"/>
                <a:gd name="T120" fmla="*/ 267 w 308"/>
                <a:gd name="T121" fmla="*/ 270 h 315"/>
                <a:gd name="T122" fmla="*/ 307 w 308"/>
                <a:gd name="T123" fmla="*/ 208 h 315"/>
                <a:gd name="T124" fmla="*/ 306 w 308"/>
                <a:gd name="T125" fmla="*/ 194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8" h="315">
                  <a:moveTo>
                    <a:pt x="260" y="240"/>
                  </a:moveTo>
                  <a:lnTo>
                    <a:pt x="239" y="228"/>
                  </a:lnTo>
                  <a:lnTo>
                    <a:pt x="235" y="227"/>
                  </a:lnTo>
                  <a:lnTo>
                    <a:pt x="231" y="226"/>
                  </a:lnTo>
                  <a:lnTo>
                    <a:pt x="227" y="227"/>
                  </a:lnTo>
                  <a:lnTo>
                    <a:pt x="223" y="229"/>
                  </a:lnTo>
                  <a:lnTo>
                    <a:pt x="215" y="237"/>
                  </a:lnTo>
                  <a:lnTo>
                    <a:pt x="205" y="243"/>
                  </a:lnTo>
                  <a:lnTo>
                    <a:pt x="195" y="248"/>
                  </a:lnTo>
                  <a:lnTo>
                    <a:pt x="185" y="253"/>
                  </a:lnTo>
                  <a:lnTo>
                    <a:pt x="181" y="255"/>
                  </a:lnTo>
                  <a:lnTo>
                    <a:pt x="178" y="257"/>
                  </a:lnTo>
                  <a:lnTo>
                    <a:pt x="177" y="260"/>
                  </a:lnTo>
                  <a:lnTo>
                    <a:pt x="176" y="265"/>
                  </a:lnTo>
                  <a:lnTo>
                    <a:pt x="176" y="289"/>
                  </a:lnTo>
                  <a:lnTo>
                    <a:pt x="137" y="289"/>
                  </a:lnTo>
                  <a:lnTo>
                    <a:pt x="137" y="265"/>
                  </a:lnTo>
                  <a:lnTo>
                    <a:pt x="136" y="260"/>
                  </a:lnTo>
                  <a:lnTo>
                    <a:pt x="135" y="257"/>
                  </a:lnTo>
                  <a:lnTo>
                    <a:pt x="132" y="255"/>
                  </a:lnTo>
                  <a:lnTo>
                    <a:pt x="129" y="253"/>
                  </a:lnTo>
                  <a:lnTo>
                    <a:pt x="117" y="248"/>
                  </a:lnTo>
                  <a:lnTo>
                    <a:pt x="105" y="243"/>
                  </a:lnTo>
                  <a:lnTo>
                    <a:pt x="95" y="237"/>
                  </a:lnTo>
                  <a:lnTo>
                    <a:pt x="87" y="229"/>
                  </a:lnTo>
                  <a:lnTo>
                    <a:pt x="84" y="227"/>
                  </a:lnTo>
                  <a:lnTo>
                    <a:pt x="79" y="226"/>
                  </a:lnTo>
                  <a:lnTo>
                    <a:pt x="76" y="227"/>
                  </a:lnTo>
                  <a:lnTo>
                    <a:pt x="72" y="228"/>
                  </a:lnTo>
                  <a:lnTo>
                    <a:pt x="50" y="240"/>
                  </a:lnTo>
                  <a:lnTo>
                    <a:pt x="30" y="207"/>
                  </a:lnTo>
                  <a:lnTo>
                    <a:pt x="51" y="194"/>
                  </a:lnTo>
                  <a:lnTo>
                    <a:pt x="55" y="192"/>
                  </a:lnTo>
                  <a:lnTo>
                    <a:pt x="57" y="188"/>
                  </a:lnTo>
                  <a:lnTo>
                    <a:pt x="58" y="184"/>
                  </a:lnTo>
                  <a:lnTo>
                    <a:pt x="58" y="180"/>
                  </a:lnTo>
                  <a:lnTo>
                    <a:pt x="56" y="168"/>
                  </a:lnTo>
                  <a:lnTo>
                    <a:pt x="55" y="157"/>
                  </a:lnTo>
                  <a:lnTo>
                    <a:pt x="56" y="145"/>
                  </a:lnTo>
                  <a:lnTo>
                    <a:pt x="58" y="134"/>
                  </a:lnTo>
                  <a:lnTo>
                    <a:pt x="58" y="130"/>
                  </a:lnTo>
                  <a:lnTo>
                    <a:pt x="57" y="126"/>
                  </a:lnTo>
                  <a:lnTo>
                    <a:pt x="55" y="123"/>
                  </a:lnTo>
                  <a:lnTo>
                    <a:pt x="51" y="120"/>
                  </a:lnTo>
                  <a:lnTo>
                    <a:pt x="31" y="108"/>
                  </a:lnTo>
                  <a:lnTo>
                    <a:pt x="50" y="73"/>
                  </a:lnTo>
                  <a:lnTo>
                    <a:pt x="72" y="86"/>
                  </a:lnTo>
                  <a:lnTo>
                    <a:pt x="76" y="87"/>
                  </a:lnTo>
                  <a:lnTo>
                    <a:pt x="79" y="87"/>
                  </a:lnTo>
                  <a:lnTo>
                    <a:pt x="84" y="86"/>
                  </a:lnTo>
                  <a:lnTo>
                    <a:pt x="87" y="84"/>
                  </a:lnTo>
                  <a:lnTo>
                    <a:pt x="95" y="78"/>
                  </a:lnTo>
                  <a:lnTo>
                    <a:pt x="105" y="71"/>
                  </a:lnTo>
                  <a:lnTo>
                    <a:pt x="117" y="66"/>
                  </a:lnTo>
                  <a:lnTo>
                    <a:pt x="129" y="62"/>
                  </a:lnTo>
                  <a:lnTo>
                    <a:pt x="132" y="59"/>
                  </a:lnTo>
                  <a:lnTo>
                    <a:pt x="135" y="57"/>
                  </a:lnTo>
                  <a:lnTo>
                    <a:pt x="136" y="53"/>
                  </a:lnTo>
                  <a:lnTo>
                    <a:pt x="137" y="50"/>
                  </a:lnTo>
                  <a:lnTo>
                    <a:pt x="137" y="25"/>
                  </a:lnTo>
                  <a:lnTo>
                    <a:pt x="176" y="25"/>
                  </a:lnTo>
                  <a:lnTo>
                    <a:pt x="176" y="50"/>
                  </a:lnTo>
                  <a:lnTo>
                    <a:pt x="176" y="53"/>
                  </a:lnTo>
                  <a:lnTo>
                    <a:pt x="178" y="57"/>
                  </a:lnTo>
                  <a:lnTo>
                    <a:pt x="181" y="59"/>
                  </a:lnTo>
                  <a:lnTo>
                    <a:pt x="185" y="62"/>
                  </a:lnTo>
                  <a:lnTo>
                    <a:pt x="195" y="66"/>
                  </a:lnTo>
                  <a:lnTo>
                    <a:pt x="205" y="71"/>
                  </a:lnTo>
                  <a:lnTo>
                    <a:pt x="215" y="77"/>
                  </a:lnTo>
                  <a:lnTo>
                    <a:pt x="223" y="84"/>
                  </a:lnTo>
                  <a:lnTo>
                    <a:pt x="227" y="87"/>
                  </a:lnTo>
                  <a:lnTo>
                    <a:pt x="231" y="88"/>
                  </a:lnTo>
                  <a:lnTo>
                    <a:pt x="235" y="88"/>
                  </a:lnTo>
                  <a:lnTo>
                    <a:pt x="239" y="86"/>
                  </a:lnTo>
                  <a:lnTo>
                    <a:pt x="259" y="76"/>
                  </a:lnTo>
                  <a:lnTo>
                    <a:pt x="278" y="108"/>
                  </a:lnTo>
                  <a:lnTo>
                    <a:pt x="258" y="120"/>
                  </a:lnTo>
                  <a:lnTo>
                    <a:pt x="254" y="123"/>
                  </a:lnTo>
                  <a:lnTo>
                    <a:pt x="252" y="126"/>
                  </a:lnTo>
                  <a:lnTo>
                    <a:pt x="251" y="130"/>
                  </a:lnTo>
                  <a:lnTo>
                    <a:pt x="251" y="134"/>
                  </a:lnTo>
                  <a:lnTo>
                    <a:pt x="253" y="145"/>
                  </a:lnTo>
                  <a:lnTo>
                    <a:pt x="254" y="157"/>
                  </a:lnTo>
                  <a:lnTo>
                    <a:pt x="253" y="169"/>
                  </a:lnTo>
                  <a:lnTo>
                    <a:pt x="251" y="180"/>
                  </a:lnTo>
                  <a:lnTo>
                    <a:pt x="251" y="184"/>
                  </a:lnTo>
                  <a:lnTo>
                    <a:pt x="252" y="188"/>
                  </a:lnTo>
                  <a:lnTo>
                    <a:pt x="254" y="192"/>
                  </a:lnTo>
                  <a:lnTo>
                    <a:pt x="258" y="194"/>
                  </a:lnTo>
                  <a:lnTo>
                    <a:pt x="278" y="207"/>
                  </a:lnTo>
                  <a:lnTo>
                    <a:pt x="260" y="240"/>
                  </a:lnTo>
                  <a:close/>
                  <a:moveTo>
                    <a:pt x="302" y="192"/>
                  </a:moveTo>
                  <a:lnTo>
                    <a:pt x="278" y="178"/>
                  </a:lnTo>
                  <a:lnTo>
                    <a:pt x="279" y="167"/>
                  </a:lnTo>
                  <a:lnTo>
                    <a:pt x="279" y="157"/>
                  </a:lnTo>
                  <a:lnTo>
                    <a:pt x="279" y="148"/>
                  </a:lnTo>
                  <a:lnTo>
                    <a:pt x="278" y="138"/>
                  </a:lnTo>
                  <a:lnTo>
                    <a:pt x="302" y="124"/>
                  </a:lnTo>
                  <a:lnTo>
                    <a:pt x="304" y="123"/>
                  </a:lnTo>
                  <a:lnTo>
                    <a:pt x="306" y="121"/>
                  </a:lnTo>
                  <a:lnTo>
                    <a:pt x="307" y="119"/>
                  </a:lnTo>
                  <a:lnTo>
                    <a:pt x="308" y="116"/>
                  </a:lnTo>
                  <a:lnTo>
                    <a:pt x="308" y="111"/>
                  </a:lnTo>
                  <a:lnTo>
                    <a:pt x="306" y="106"/>
                  </a:lnTo>
                  <a:lnTo>
                    <a:pt x="275" y="51"/>
                  </a:lnTo>
                  <a:lnTo>
                    <a:pt x="273" y="49"/>
                  </a:lnTo>
                  <a:lnTo>
                    <a:pt x="271" y="47"/>
                  </a:lnTo>
                  <a:lnTo>
                    <a:pt x="269" y="46"/>
                  </a:lnTo>
                  <a:lnTo>
                    <a:pt x="266" y="44"/>
                  </a:lnTo>
                  <a:lnTo>
                    <a:pt x="262" y="44"/>
                  </a:lnTo>
                  <a:lnTo>
                    <a:pt x="256" y="46"/>
                  </a:lnTo>
                  <a:lnTo>
                    <a:pt x="234" y="59"/>
                  </a:lnTo>
                  <a:lnTo>
                    <a:pt x="226" y="54"/>
                  </a:lnTo>
                  <a:lnTo>
                    <a:pt x="218" y="49"/>
                  </a:lnTo>
                  <a:lnTo>
                    <a:pt x="210" y="44"/>
                  </a:lnTo>
                  <a:lnTo>
                    <a:pt x="202" y="41"/>
                  </a:lnTo>
                  <a:lnTo>
                    <a:pt x="202" y="13"/>
                  </a:lnTo>
                  <a:lnTo>
                    <a:pt x="201" y="8"/>
                  </a:lnTo>
                  <a:lnTo>
                    <a:pt x="197" y="4"/>
                  </a:lnTo>
                  <a:lnTo>
                    <a:pt x="193" y="2"/>
                  </a:lnTo>
                  <a:lnTo>
                    <a:pt x="189" y="0"/>
                  </a:lnTo>
                  <a:lnTo>
                    <a:pt x="124" y="0"/>
                  </a:lnTo>
                  <a:lnTo>
                    <a:pt x="119" y="2"/>
                  </a:lnTo>
                  <a:lnTo>
                    <a:pt x="116" y="4"/>
                  </a:lnTo>
                  <a:lnTo>
                    <a:pt x="113" y="8"/>
                  </a:lnTo>
                  <a:lnTo>
                    <a:pt x="112" y="13"/>
                  </a:lnTo>
                  <a:lnTo>
                    <a:pt x="112" y="41"/>
                  </a:lnTo>
                  <a:lnTo>
                    <a:pt x="102" y="44"/>
                  </a:lnTo>
                  <a:lnTo>
                    <a:pt x="93" y="50"/>
                  </a:lnTo>
                  <a:lnTo>
                    <a:pt x="85" y="54"/>
                  </a:lnTo>
                  <a:lnTo>
                    <a:pt x="77" y="59"/>
                  </a:lnTo>
                  <a:lnTo>
                    <a:pt x="52" y="46"/>
                  </a:lnTo>
                  <a:lnTo>
                    <a:pt x="47" y="44"/>
                  </a:lnTo>
                  <a:lnTo>
                    <a:pt x="43" y="44"/>
                  </a:lnTo>
                  <a:lnTo>
                    <a:pt x="37" y="47"/>
                  </a:lnTo>
                  <a:lnTo>
                    <a:pt x="34" y="51"/>
                  </a:lnTo>
                  <a:lnTo>
                    <a:pt x="2" y="106"/>
                  </a:lnTo>
                  <a:lnTo>
                    <a:pt x="1" y="111"/>
                  </a:lnTo>
                  <a:lnTo>
                    <a:pt x="1" y="116"/>
                  </a:lnTo>
                  <a:lnTo>
                    <a:pt x="2" y="119"/>
                  </a:lnTo>
                  <a:lnTo>
                    <a:pt x="3" y="121"/>
                  </a:lnTo>
                  <a:lnTo>
                    <a:pt x="5" y="123"/>
                  </a:lnTo>
                  <a:lnTo>
                    <a:pt x="7" y="124"/>
                  </a:lnTo>
                  <a:lnTo>
                    <a:pt x="31" y="138"/>
                  </a:lnTo>
                  <a:lnTo>
                    <a:pt x="30" y="148"/>
                  </a:lnTo>
                  <a:lnTo>
                    <a:pt x="29" y="157"/>
                  </a:lnTo>
                  <a:lnTo>
                    <a:pt x="30" y="167"/>
                  </a:lnTo>
                  <a:lnTo>
                    <a:pt x="31" y="178"/>
                  </a:lnTo>
                  <a:lnTo>
                    <a:pt x="6" y="192"/>
                  </a:lnTo>
                  <a:lnTo>
                    <a:pt x="4" y="193"/>
                  </a:lnTo>
                  <a:lnTo>
                    <a:pt x="3" y="194"/>
                  </a:lnTo>
                  <a:lnTo>
                    <a:pt x="2" y="196"/>
                  </a:lnTo>
                  <a:lnTo>
                    <a:pt x="1" y="199"/>
                  </a:lnTo>
                  <a:lnTo>
                    <a:pt x="0" y="203"/>
                  </a:lnTo>
                  <a:lnTo>
                    <a:pt x="2" y="208"/>
                  </a:lnTo>
                  <a:lnTo>
                    <a:pt x="34" y="263"/>
                  </a:lnTo>
                  <a:lnTo>
                    <a:pt x="37" y="268"/>
                  </a:lnTo>
                  <a:lnTo>
                    <a:pt x="42" y="270"/>
                  </a:lnTo>
                  <a:lnTo>
                    <a:pt x="46" y="270"/>
                  </a:lnTo>
                  <a:lnTo>
                    <a:pt x="51" y="269"/>
                  </a:lnTo>
                  <a:lnTo>
                    <a:pt x="77" y="254"/>
                  </a:lnTo>
                  <a:lnTo>
                    <a:pt x="85" y="259"/>
                  </a:lnTo>
                  <a:lnTo>
                    <a:pt x="93" y="266"/>
                  </a:lnTo>
                  <a:lnTo>
                    <a:pt x="102" y="270"/>
                  </a:lnTo>
                  <a:lnTo>
                    <a:pt x="112" y="274"/>
                  </a:lnTo>
                  <a:lnTo>
                    <a:pt x="112" y="302"/>
                  </a:lnTo>
                  <a:lnTo>
                    <a:pt x="113" y="306"/>
                  </a:lnTo>
                  <a:lnTo>
                    <a:pt x="116" y="311"/>
                  </a:lnTo>
                  <a:lnTo>
                    <a:pt x="119" y="314"/>
                  </a:lnTo>
                  <a:lnTo>
                    <a:pt x="124" y="315"/>
                  </a:lnTo>
                  <a:lnTo>
                    <a:pt x="189" y="315"/>
                  </a:lnTo>
                  <a:lnTo>
                    <a:pt x="193" y="314"/>
                  </a:lnTo>
                  <a:lnTo>
                    <a:pt x="197" y="311"/>
                  </a:lnTo>
                  <a:lnTo>
                    <a:pt x="201" y="306"/>
                  </a:lnTo>
                  <a:lnTo>
                    <a:pt x="202" y="302"/>
                  </a:lnTo>
                  <a:lnTo>
                    <a:pt x="202" y="274"/>
                  </a:lnTo>
                  <a:lnTo>
                    <a:pt x="210" y="270"/>
                  </a:lnTo>
                  <a:lnTo>
                    <a:pt x="218" y="266"/>
                  </a:lnTo>
                  <a:lnTo>
                    <a:pt x="226" y="260"/>
                  </a:lnTo>
                  <a:lnTo>
                    <a:pt x="234" y="255"/>
                  </a:lnTo>
                  <a:lnTo>
                    <a:pt x="258" y="268"/>
                  </a:lnTo>
                  <a:lnTo>
                    <a:pt x="262" y="270"/>
                  </a:lnTo>
                  <a:lnTo>
                    <a:pt x="267" y="270"/>
                  </a:lnTo>
                  <a:lnTo>
                    <a:pt x="271" y="268"/>
                  </a:lnTo>
                  <a:lnTo>
                    <a:pt x="275" y="263"/>
                  </a:lnTo>
                  <a:lnTo>
                    <a:pt x="307" y="208"/>
                  </a:lnTo>
                  <a:lnTo>
                    <a:pt x="308" y="202"/>
                  </a:lnTo>
                  <a:lnTo>
                    <a:pt x="308" y="198"/>
                  </a:lnTo>
                  <a:lnTo>
                    <a:pt x="306" y="194"/>
                  </a:lnTo>
                  <a:lnTo>
                    <a:pt x="30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70" name="Freeform 2511">
            <a:extLst>
              <a:ext uri="{FF2B5EF4-FFF2-40B4-BE49-F238E27FC236}">
                <a16:creationId xmlns:a16="http://schemas.microsoft.com/office/drawing/2014/main" id="{A23B792B-6D2E-43E2-9360-4A851EC70C5B}"/>
              </a:ext>
            </a:extLst>
          </p:cNvPr>
          <p:cNvSpPr>
            <a:spLocks noEditPoints="1"/>
          </p:cNvSpPr>
          <p:nvPr/>
        </p:nvSpPr>
        <p:spPr bwMode="auto">
          <a:xfrm>
            <a:off x="2263173" y="4509249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1" name="Freeform 2511">
            <a:extLst>
              <a:ext uri="{FF2B5EF4-FFF2-40B4-BE49-F238E27FC236}">
                <a16:creationId xmlns:a16="http://schemas.microsoft.com/office/drawing/2014/main" id="{13E25518-7720-4ADC-9357-D54BA1B4819B}"/>
              </a:ext>
            </a:extLst>
          </p:cNvPr>
          <p:cNvSpPr>
            <a:spLocks noEditPoints="1"/>
          </p:cNvSpPr>
          <p:nvPr/>
        </p:nvSpPr>
        <p:spPr bwMode="auto">
          <a:xfrm>
            <a:off x="1531365" y="2696775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2" name="Freeform 2511">
            <a:extLst>
              <a:ext uri="{FF2B5EF4-FFF2-40B4-BE49-F238E27FC236}">
                <a16:creationId xmlns:a16="http://schemas.microsoft.com/office/drawing/2014/main" id="{55B7E008-D049-4B7F-8C42-05501A972CBA}"/>
              </a:ext>
            </a:extLst>
          </p:cNvPr>
          <p:cNvSpPr>
            <a:spLocks noEditPoints="1"/>
          </p:cNvSpPr>
          <p:nvPr/>
        </p:nvSpPr>
        <p:spPr bwMode="auto">
          <a:xfrm>
            <a:off x="4019150" y="2146060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3" name="Freeform 2511">
            <a:extLst>
              <a:ext uri="{FF2B5EF4-FFF2-40B4-BE49-F238E27FC236}">
                <a16:creationId xmlns:a16="http://schemas.microsoft.com/office/drawing/2014/main" id="{A2669816-4652-4B7D-BCDE-8BE012FDBA4A}"/>
              </a:ext>
            </a:extLst>
          </p:cNvPr>
          <p:cNvSpPr>
            <a:spLocks noEditPoints="1"/>
          </p:cNvSpPr>
          <p:nvPr/>
        </p:nvSpPr>
        <p:spPr bwMode="auto">
          <a:xfrm>
            <a:off x="-571339" y="3113551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4" name="Freeform 2511">
            <a:extLst>
              <a:ext uri="{FF2B5EF4-FFF2-40B4-BE49-F238E27FC236}">
                <a16:creationId xmlns:a16="http://schemas.microsoft.com/office/drawing/2014/main" id="{295C3734-97AF-425F-B17D-0EB5D5309053}"/>
              </a:ext>
            </a:extLst>
          </p:cNvPr>
          <p:cNvSpPr>
            <a:spLocks noEditPoints="1"/>
          </p:cNvSpPr>
          <p:nvPr/>
        </p:nvSpPr>
        <p:spPr bwMode="auto">
          <a:xfrm>
            <a:off x="341794" y="2021240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01937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BD3BB9-7494-4054-ABD5-BF4DEDF50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7AEFA-B56B-463F-809E-4A0CAC2C214B}" type="datetime1">
              <a:rPr lang="en-US" sz="1000" smtClean="0">
                <a:solidFill>
                  <a:schemeClr val="tx1"/>
                </a:solidFill>
              </a:rPr>
              <a:t>8/17/2020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4D9497-D6ED-4F5D-9AF8-723FC8208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t>4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" name="Rectangle 70">
            <a:extLst>
              <a:ext uri="{FF2B5EF4-FFF2-40B4-BE49-F238E27FC236}">
                <a16:creationId xmlns:a16="http://schemas.microsoft.com/office/drawing/2014/main" id="{2C7F6899-AA89-4ACF-BBC6-9182A564A0B3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70">
            <a:extLst>
              <a:ext uri="{FF2B5EF4-FFF2-40B4-BE49-F238E27FC236}">
                <a16:creationId xmlns:a16="http://schemas.microsoft.com/office/drawing/2014/main" id="{46EBEB8D-01EC-4B1A-B44A-BDF60EEB1BDB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70">
            <a:extLst>
              <a:ext uri="{FF2B5EF4-FFF2-40B4-BE49-F238E27FC236}">
                <a16:creationId xmlns:a16="http://schemas.microsoft.com/office/drawing/2014/main" id="{0EFEE770-1BB8-4BC8-92D5-8B8941EDBE25}"/>
              </a:ext>
            </a:extLst>
          </p:cNvPr>
          <p:cNvSpPr/>
          <p:nvPr/>
        </p:nvSpPr>
        <p:spPr>
          <a:xfrm flipV="1">
            <a:off x="2054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FE3DD1-8761-4FA2-A00F-4C407ED92CBC}"/>
              </a:ext>
            </a:extLst>
          </p:cNvPr>
          <p:cNvSpPr txBox="1"/>
          <p:nvPr/>
        </p:nvSpPr>
        <p:spPr>
          <a:xfrm>
            <a:off x="708963" y="250833"/>
            <a:ext cx="10774074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/>
              <a:t>WORLD MAP</a:t>
            </a:r>
          </a:p>
        </p:txBody>
      </p:sp>
      <p:grpSp>
        <p:nvGrpSpPr>
          <p:cNvPr id="98" name="Group 225">
            <a:extLst>
              <a:ext uri="{FF2B5EF4-FFF2-40B4-BE49-F238E27FC236}">
                <a16:creationId xmlns:a16="http://schemas.microsoft.com/office/drawing/2014/main" id="{628CC6E3-D033-43F5-9DC0-EECEC8A24DCD}"/>
              </a:ext>
            </a:extLst>
          </p:cNvPr>
          <p:cNvGrpSpPr>
            <a:grpSpLocks/>
          </p:cNvGrpSpPr>
          <p:nvPr/>
        </p:nvGrpSpPr>
        <p:grpSpPr bwMode="auto">
          <a:xfrm>
            <a:off x="3137402" y="1248324"/>
            <a:ext cx="5917196" cy="3421552"/>
            <a:chOff x="61885" y="752495"/>
            <a:chExt cx="8724928" cy="5045055"/>
          </a:xfrm>
          <a:solidFill>
            <a:schemeClr val="bg1">
              <a:lumMod val="75000"/>
            </a:schemeClr>
          </a:solidFill>
        </p:grpSpPr>
        <p:sp>
          <p:nvSpPr>
            <p:cNvPr id="100" name="Freeform 5962">
              <a:extLst>
                <a:ext uri="{FF2B5EF4-FFF2-40B4-BE49-F238E27FC236}">
                  <a16:creationId xmlns:a16="http://schemas.microsoft.com/office/drawing/2014/main" id="{43DBABEC-1D07-4949-BFB7-1F983CBBCB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9629" y="3535372"/>
              <a:ext cx="1189042" cy="2262178"/>
            </a:xfrm>
            <a:custGeom>
              <a:avLst/>
              <a:gdLst>
                <a:gd name="T0" fmla="*/ 168775 w 1874"/>
                <a:gd name="T1" fmla="*/ 2086902 h 3562"/>
                <a:gd name="T2" fmla="*/ 147202 w 1874"/>
                <a:gd name="T3" fmla="*/ 1968776 h 3562"/>
                <a:gd name="T4" fmla="*/ 184003 w 1874"/>
                <a:gd name="T5" fmla="*/ 1976397 h 3562"/>
                <a:gd name="T6" fmla="*/ 161161 w 1874"/>
                <a:gd name="T7" fmla="*/ 1982748 h 3562"/>
                <a:gd name="T8" fmla="*/ 154816 w 1874"/>
                <a:gd name="T9" fmla="*/ 2042446 h 3562"/>
                <a:gd name="T10" fmla="*/ 156085 w 1874"/>
                <a:gd name="T11" fmla="*/ 1997990 h 3562"/>
                <a:gd name="T12" fmla="*/ 147202 w 1874"/>
                <a:gd name="T13" fmla="*/ 2006881 h 3562"/>
                <a:gd name="T14" fmla="*/ 184003 w 1874"/>
                <a:gd name="T15" fmla="*/ 2086902 h 3562"/>
                <a:gd name="T16" fmla="*/ 153547 w 1874"/>
                <a:gd name="T17" fmla="*/ 1999260 h 3562"/>
                <a:gd name="T18" fmla="*/ 185272 w 1874"/>
                <a:gd name="T19" fmla="*/ 1850649 h 3562"/>
                <a:gd name="T20" fmla="*/ 192886 w 1874"/>
                <a:gd name="T21" fmla="*/ 1841758 h 3562"/>
                <a:gd name="T22" fmla="*/ 166237 w 1874"/>
                <a:gd name="T23" fmla="*/ 1884944 h 3562"/>
                <a:gd name="T24" fmla="*/ 348971 w 1874"/>
                <a:gd name="T25" fmla="*/ 2235513 h 3562"/>
                <a:gd name="T26" fmla="*/ 304556 w 1874"/>
                <a:gd name="T27" fmla="*/ 2245675 h 3562"/>
                <a:gd name="T28" fmla="*/ 284252 w 1874"/>
                <a:gd name="T29" fmla="*/ 2227892 h 3562"/>
                <a:gd name="T30" fmla="*/ 323591 w 1874"/>
                <a:gd name="T31" fmla="*/ 2224082 h 3562"/>
                <a:gd name="T32" fmla="*/ 277907 w 1874"/>
                <a:gd name="T33" fmla="*/ 2230433 h 3562"/>
                <a:gd name="T34" fmla="*/ 170044 w 1874"/>
                <a:gd name="T35" fmla="*/ 2140250 h 3562"/>
                <a:gd name="T36" fmla="*/ 180196 w 1874"/>
                <a:gd name="T37" fmla="*/ 2163113 h 3562"/>
                <a:gd name="T38" fmla="*/ 157354 w 1874"/>
                <a:gd name="T39" fmla="*/ 2090713 h 3562"/>
                <a:gd name="T40" fmla="*/ 247452 w 1874"/>
                <a:gd name="T41" fmla="*/ 2198678 h 3562"/>
                <a:gd name="T42" fmla="*/ 214458 w 1874"/>
                <a:gd name="T43" fmla="*/ 2170734 h 3562"/>
                <a:gd name="T44" fmla="*/ 224610 w 1874"/>
                <a:gd name="T45" fmla="*/ 2189787 h 3562"/>
                <a:gd name="T46" fmla="*/ 300749 w 1874"/>
                <a:gd name="T47" fmla="*/ 2198678 h 3562"/>
                <a:gd name="T48" fmla="*/ 237300 w 1874"/>
                <a:gd name="T49" fmla="*/ 2207569 h 3562"/>
                <a:gd name="T50" fmla="*/ 319784 w 1874"/>
                <a:gd name="T51" fmla="*/ 2224082 h 3562"/>
                <a:gd name="T52" fmla="*/ 184003 w 1874"/>
                <a:gd name="T53" fmla="*/ 1738874 h 3562"/>
                <a:gd name="T54" fmla="*/ 166237 w 1874"/>
                <a:gd name="T55" fmla="*/ 1802383 h 3562"/>
                <a:gd name="T56" fmla="*/ 187810 w 1874"/>
                <a:gd name="T57" fmla="*/ 1807463 h 3562"/>
                <a:gd name="T58" fmla="*/ 176389 w 1874"/>
                <a:gd name="T59" fmla="*/ 1878593 h 3562"/>
                <a:gd name="T60" fmla="*/ 939048 w 1874"/>
                <a:gd name="T61" fmla="*/ 443292 h 3562"/>
                <a:gd name="T62" fmla="*/ 767735 w 1874"/>
                <a:gd name="T63" fmla="*/ 403917 h 3562"/>
                <a:gd name="T64" fmla="*/ 761390 w 1874"/>
                <a:gd name="T65" fmla="*/ 248955 h 3562"/>
                <a:gd name="T66" fmla="*/ 611650 w 1874"/>
                <a:gd name="T67" fmla="*/ 190527 h 3562"/>
                <a:gd name="T68" fmla="*/ 474600 w 1874"/>
                <a:gd name="T69" fmla="*/ 59698 h 3562"/>
                <a:gd name="T70" fmla="*/ 281714 w 1874"/>
                <a:gd name="T71" fmla="*/ 21593 h 3562"/>
                <a:gd name="T72" fmla="*/ 157354 w 1874"/>
                <a:gd name="T73" fmla="*/ 45726 h 3562"/>
                <a:gd name="T74" fmla="*/ 91367 w 1874"/>
                <a:gd name="T75" fmla="*/ 299762 h 3562"/>
                <a:gd name="T76" fmla="*/ 35532 w 1874"/>
                <a:gd name="T77" fmla="*/ 461075 h 3562"/>
                <a:gd name="T78" fmla="*/ 109133 w 1874"/>
                <a:gd name="T79" fmla="*/ 768458 h 3562"/>
                <a:gd name="T80" fmla="*/ 275370 w 1874"/>
                <a:gd name="T81" fmla="*/ 1108865 h 3562"/>
                <a:gd name="T82" fmla="*/ 252528 w 1874"/>
                <a:gd name="T83" fmla="*/ 1420059 h 3562"/>
                <a:gd name="T84" fmla="*/ 196693 w 1874"/>
                <a:gd name="T85" fmla="*/ 1667744 h 3562"/>
                <a:gd name="T86" fmla="*/ 209382 w 1874"/>
                <a:gd name="T87" fmla="*/ 1797302 h 3562"/>
                <a:gd name="T88" fmla="*/ 171313 w 1874"/>
                <a:gd name="T89" fmla="*/ 1882404 h 3562"/>
                <a:gd name="T90" fmla="*/ 170044 w 1874"/>
                <a:gd name="T91" fmla="*/ 1947183 h 3562"/>
                <a:gd name="T92" fmla="*/ 176389 w 1874"/>
                <a:gd name="T93" fmla="*/ 2011962 h 3562"/>
                <a:gd name="T94" fmla="*/ 185272 w 1874"/>
                <a:gd name="T95" fmla="*/ 2053878 h 3562"/>
                <a:gd name="T96" fmla="*/ 196693 w 1874"/>
                <a:gd name="T97" fmla="*/ 2100874 h 3562"/>
                <a:gd name="T98" fmla="*/ 194155 w 1874"/>
                <a:gd name="T99" fmla="*/ 2113576 h 3562"/>
                <a:gd name="T100" fmla="*/ 233493 w 1874"/>
                <a:gd name="T101" fmla="*/ 2131359 h 3562"/>
                <a:gd name="T102" fmla="*/ 255066 w 1874"/>
                <a:gd name="T103" fmla="*/ 2141520 h 3562"/>
                <a:gd name="T104" fmla="*/ 314708 w 1874"/>
                <a:gd name="T105" fmla="*/ 2122467 h 3562"/>
                <a:gd name="T106" fmla="*/ 348971 w 1874"/>
                <a:gd name="T107" fmla="*/ 1890025 h 3562"/>
                <a:gd name="T108" fmla="*/ 453027 w 1874"/>
                <a:gd name="T109" fmla="*/ 1764277 h 3562"/>
                <a:gd name="T110" fmla="*/ 491097 w 1874"/>
                <a:gd name="T111" fmla="*/ 1635989 h 3562"/>
                <a:gd name="T112" fmla="*/ 629416 w 1874"/>
                <a:gd name="T113" fmla="*/ 1491189 h 3562"/>
                <a:gd name="T114" fmla="*/ 865447 w 1874"/>
                <a:gd name="T115" fmla="*/ 1158402 h 3562"/>
                <a:gd name="T116" fmla="*/ 1079905 w 1874"/>
                <a:gd name="T117" fmla="*/ 900556 h 3562"/>
                <a:gd name="T118" fmla="*/ 426379 w 1874"/>
                <a:gd name="T119" fmla="*/ 2222811 h 3562"/>
                <a:gd name="T120" fmla="*/ 184003 w 1874"/>
                <a:gd name="T121" fmla="*/ 1928130 h 3562"/>
                <a:gd name="T122" fmla="*/ 159892 w 1874"/>
                <a:gd name="T123" fmla="*/ 1994179 h 3562"/>
                <a:gd name="T124" fmla="*/ 175120 w 1874"/>
                <a:gd name="T125" fmla="*/ 2027204 h 356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74"/>
                <a:gd name="T190" fmla="*/ 0 h 3562"/>
                <a:gd name="T191" fmla="*/ 1874 w 1874"/>
                <a:gd name="T192" fmla="*/ 3562 h 356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74" h="3562">
                  <a:moveTo>
                    <a:pt x="282" y="3320"/>
                  </a:moveTo>
                  <a:lnTo>
                    <a:pt x="282" y="3320"/>
                  </a:lnTo>
                  <a:lnTo>
                    <a:pt x="286" y="3322"/>
                  </a:lnTo>
                  <a:lnTo>
                    <a:pt x="286" y="3320"/>
                  </a:lnTo>
                  <a:lnTo>
                    <a:pt x="284" y="3316"/>
                  </a:lnTo>
                  <a:lnTo>
                    <a:pt x="282" y="3312"/>
                  </a:lnTo>
                  <a:lnTo>
                    <a:pt x="278" y="3308"/>
                  </a:lnTo>
                  <a:lnTo>
                    <a:pt x="274" y="3308"/>
                  </a:lnTo>
                  <a:lnTo>
                    <a:pt x="274" y="3310"/>
                  </a:lnTo>
                  <a:lnTo>
                    <a:pt x="276" y="3314"/>
                  </a:lnTo>
                  <a:lnTo>
                    <a:pt x="276" y="3316"/>
                  </a:lnTo>
                  <a:lnTo>
                    <a:pt x="282" y="3320"/>
                  </a:lnTo>
                  <a:close/>
                  <a:moveTo>
                    <a:pt x="286" y="3348"/>
                  </a:moveTo>
                  <a:lnTo>
                    <a:pt x="286" y="3348"/>
                  </a:lnTo>
                  <a:lnTo>
                    <a:pt x="288" y="3348"/>
                  </a:lnTo>
                  <a:lnTo>
                    <a:pt x="290" y="3348"/>
                  </a:lnTo>
                  <a:lnTo>
                    <a:pt x="296" y="3344"/>
                  </a:lnTo>
                  <a:lnTo>
                    <a:pt x="294" y="3340"/>
                  </a:lnTo>
                  <a:lnTo>
                    <a:pt x="286" y="3334"/>
                  </a:lnTo>
                  <a:lnTo>
                    <a:pt x="282" y="3330"/>
                  </a:lnTo>
                  <a:lnTo>
                    <a:pt x="278" y="3330"/>
                  </a:lnTo>
                  <a:lnTo>
                    <a:pt x="276" y="3332"/>
                  </a:lnTo>
                  <a:lnTo>
                    <a:pt x="278" y="3334"/>
                  </a:lnTo>
                  <a:lnTo>
                    <a:pt x="278" y="3336"/>
                  </a:lnTo>
                  <a:lnTo>
                    <a:pt x="280" y="3336"/>
                  </a:lnTo>
                  <a:lnTo>
                    <a:pt x="282" y="3336"/>
                  </a:lnTo>
                  <a:lnTo>
                    <a:pt x="284" y="3336"/>
                  </a:lnTo>
                  <a:lnTo>
                    <a:pt x="284" y="3338"/>
                  </a:lnTo>
                  <a:lnTo>
                    <a:pt x="284" y="3340"/>
                  </a:lnTo>
                  <a:lnTo>
                    <a:pt x="284" y="3342"/>
                  </a:lnTo>
                  <a:lnTo>
                    <a:pt x="286" y="3348"/>
                  </a:lnTo>
                  <a:close/>
                  <a:moveTo>
                    <a:pt x="270" y="3286"/>
                  </a:moveTo>
                  <a:lnTo>
                    <a:pt x="270" y="3286"/>
                  </a:lnTo>
                  <a:lnTo>
                    <a:pt x="270" y="3280"/>
                  </a:lnTo>
                  <a:lnTo>
                    <a:pt x="268" y="3278"/>
                  </a:lnTo>
                  <a:lnTo>
                    <a:pt x="266" y="3278"/>
                  </a:lnTo>
                  <a:lnTo>
                    <a:pt x="262" y="3278"/>
                  </a:lnTo>
                  <a:lnTo>
                    <a:pt x="260" y="3280"/>
                  </a:lnTo>
                  <a:lnTo>
                    <a:pt x="256" y="3286"/>
                  </a:lnTo>
                  <a:lnTo>
                    <a:pt x="252" y="3292"/>
                  </a:lnTo>
                  <a:lnTo>
                    <a:pt x="254" y="3292"/>
                  </a:lnTo>
                  <a:lnTo>
                    <a:pt x="258" y="3292"/>
                  </a:lnTo>
                  <a:lnTo>
                    <a:pt x="262" y="3290"/>
                  </a:lnTo>
                  <a:lnTo>
                    <a:pt x="262" y="3288"/>
                  </a:lnTo>
                  <a:lnTo>
                    <a:pt x="264" y="3286"/>
                  </a:lnTo>
                  <a:lnTo>
                    <a:pt x="266" y="3286"/>
                  </a:lnTo>
                  <a:lnTo>
                    <a:pt x="266" y="3288"/>
                  </a:lnTo>
                  <a:lnTo>
                    <a:pt x="268" y="3290"/>
                  </a:lnTo>
                  <a:lnTo>
                    <a:pt x="270" y="3288"/>
                  </a:lnTo>
                  <a:lnTo>
                    <a:pt x="270" y="3286"/>
                  </a:lnTo>
                  <a:close/>
                  <a:moveTo>
                    <a:pt x="262" y="3260"/>
                  </a:moveTo>
                  <a:lnTo>
                    <a:pt x="262" y="3260"/>
                  </a:lnTo>
                  <a:lnTo>
                    <a:pt x="256" y="3260"/>
                  </a:lnTo>
                  <a:lnTo>
                    <a:pt x="254" y="3260"/>
                  </a:lnTo>
                  <a:lnTo>
                    <a:pt x="254" y="3262"/>
                  </a:lnTo>
                  <a:lnTo>
                    <a:pt x="256" y="3264"/>
                  </a:lnTo>
                  <a:lnTo>
                    <a:pt x="258" y="3266"/>
                  </a:lnTo>
                  <a:lnTo>
                    <a:pt x="260" y="3270"/>
                  </a:lnTo>
                  <a:lnTo>
                    <a:pt x="264" y="3272"/>
                  </a:lnTo>
                  <a:lnTo>
                    <a:pt x="266" y="3270"/>
                  </a:lnTo>
                  <a:lnTo>
                    <a:pt x="268" y="3268"/>
                  </a:lnTo>
                  <a:lnTo>
                    <a:pt x="270" y="3266"/>
                  </a:lnTo>
                  <a:lnTo>
                    <a:pt x="274" y="3266"/>
                  </a:lnTo>
                  <a:lnTo>
                    <a:pt x="276" y="3266"/>
                  </a:lnTo>
                  <a:lnTo>
                    <a:pt x="276" y="3258"/>
                  </a:lnTo>
                  <a:lnTo>
                    <a:pt x="274" y="3254"/>
                  </a:lnTo>
                  <a:lnTo>
                    <a:pt x="270" y="3250"/>
                  </a:lnTo>
                  <a:lnTo>
                    <a:pt x="268" y="3250"/>
                  </a:lnTo>
                  <a:lnTo>
                    <a:pt x="266" y="3252"/>
                  </a:lnTo>
                  <a:lnTo>
                    <a:pt x="268" y="3258"/>
                  </a:lnTo>
                  <a:lnTo>
                    <a:pt x="266" y="3260"/>
                  </a:lnTo>
                  <a:lnTo>
                    <a:pt x="262" y="3260"/>
                  </a:lnTo>
                  <a:close/>
                  <a:moveTo>
                    <a:pt x="236" y="3110"/>
                  </a:moveTo>
                  <a:lnTo>
                    <a:pt x="236" y="3110"/>
                  </a:lnTo>
                  <a:lnTo>
                    <a:pt x="238" y="3110"/>
                  </a:lnTo>
                  <a:lnTo>
                    <a:pt x="240" y="3112"/>
                  </a:lnTo>
                  <a:lnTo>
                    <a:pt x="240" y="3118"/>
                  </a:lnTo>
                  <a:lnTo>
                    <a:pt x="240" y="3126"/>
                  </a:lnTo>
                  <a:lnTo>
                    <a:pt x="242" y="3128"/>
                  </a:lnTo>
                  <a:lnTo>
                    <a:pt x="244" y="3128"/>
                  </a:lnTo>
                  <a:lnTo>
                    <a:pt x="248" y="3124"/>
                  </a:lnTo>
                  <a:lnTo>
                    <a:pt x="250" y="3120"/>
                  </a:lnTo>
                  <a:lnTo>
                    <a:pt x="244" y="3108"/>
                  </a:lnTo>
                  <a:lnTo>
                    <a:pt x="240" y="3102"/>
                  </a:lnTo>
                  <a:lnTo>
                    <a:pt x="240" y="3096"/>
                  </a:lnTo>
                  <a:lnTo>
                    <a:pt x="238" y="3090"/>
                  </a:lnTo>
                  <a:lnTo>
                    <a:pt x="236" y="3088"/>
                  </a:lnTo>
                  <a:lnTo>
                    <a:pt x="232" y="3090"/>
                  </a:lnTo>
                  <a:lnTo>
                    <a:pt x="230" y="3094"/>
                  </a:lnTo>
                  <a:lnTo>
                    <a:pt x="230" y="3098"/>
                  </a:lnTo>
                  <a:lnTo>
                    <a:pt x="232" y="3100"/>
                  </a:lnTo>
                  <a:lnTo>
                    <a:pt x="232" y="3104"/>
                  </a:lnTo>
                  <a:lnTo>
                    <a:pt x="230" y="3108"/>
                  </a:lnTo>
                  <a:lnTo>
                    <a:pt x="230" y="3110"/>
                  </a:lnTo>
                  <a:lnTo>
                    <a:pt x="232" y="3110"/>
                  </a:lnTo>
                  <a:lnTo>
                    <a:pt x="236" y="3110"/>
                  </a:lnTo>
                  <a:close/>
                  <a:moveTo>
                    <a:pt x="284" y="3278"/>
                  </a:moveTo>
                  <a:lnTo>
                    <a:pt x="284" y="3278"/>
                  </a:lnTo>
                  <a:lnTo>
                    <a:pt x="284" y="3276"/>
                  </a:lnTo>
                  <a:lnTo>
                    <a:pt x="284" y="3270"/>
                  </a:lnTo>
                  <a:lnTo>
                    <a:pt x="282" y="3264"/>
                  </a:lnTo>
                  <a:lnTo>
                    <a:pt x="280" y="3260"/>
                  </a:lnTo>
                  <a:lnTo>
                    <a:pt x="278" y="3264"/>
                  </a:lnTo>
                  <a:lnTo>
                    <a:pt x="278" y="3270"/>
                  </a:lnTo>
                  <a:lnTo>
                    <a:pt x="280" y="3276"/>
                  </a:lnTo>
                  <a:lnTo>
                    <a:pt x="282" y="3278"/>
                  </a:lnTo>
                  <a:lnTo>
                    <a:pt x="284" y="3278"/>
                  </a:lnTo>
                  <a:close/>
                  <a:moveTo>
                    <a:pt x="304" y="3362"/>
                  </a:moveTo>
                  <a:lnTo>
                    <a:pt x="304" y="3362"/>
                  </a:lnTo>
                  <a:lnTo>
                    <a:pt x="304" y="3358"/>
                  </a:lnTo>
                  <a:lnTo>
                    <a:pt x="304" y="3356"/>
                  </a:lnTo>
                  <a:lnTo>
                    <a:pt x="306" y="3354"/>
                  </a:lnTo>
                  <a:lnTo>
                    <a:pt x="304" y="3352"/>
                  </a:lnTo>
                  <a:lnTo>
                    <a:pt x="302" y="3350"/>
                  </a:lnTo>
                  <a:lnTo>
                    <a:pt x="300" y="3350"/>
                  </a:lnTo>
                  <a:lnTo>
                    <a:pt x="294" y="3356"/>
                  </a:lnTo>
                  <a:lnTo>
                    <a:pt x="292" y="3360"/>
                  </a:lnTo>
                  <a:lnTo>
                    <a:pt x="292" y="3362"/>
                  </a:lnTo>
                  <a:lnTo>
                    <a:pt x="296" y="3368"/>
                  </a:lnTo>
                  <a:lnTo>
                    <a:pt x="298" y="3368"/>
                  </a:lnTo>
                  <a:lnTo>
                    <a:pt x="300" y="3368"/>
                  </a:lnTo>
                  <a:lnTo>
                    <a:pt x="302" y="3366"/>
                  </a:lnTo>
                  <a:lnTo>
                    <a:pt x="304" y="3362"/>
                  </a:lnTo>
                  <a:close/>
                  <a:moveTo>
                    <a:pt x="262" y="3320"/>
                  </a:moveTo>
                  <a:lnTo>
                    <a:pt x="262" y="3320"/>
                  </a:lnTo>
                  <a:lnTo>
                    <a:pt x="260" y="3330"/>
                  </a:lnTo>
                  <a:lnTo>
                    <a:pt x="258" y="3332"/>
                  </a:lnTo>
                  <a:lnTo>
                    <a:pt x="260" y="3330"/>
                  </a:lnTo>
                  <a:lnTo>
                    <a:pt x="264" y="3328"/>
                  </a:lnTo>
                  <a:lnTo>
                    <a:pt x="268" y="3320"/>
                  </a:lnTo>
                  <a:lnTo>
                    <a:pt x="268" y="3316"/>
                  </a:lnTo>
                  <a:lnTo>
                    <a:pt x="266" y="3314"/>
                  </a:lnTo>
                  <a:lnTo>
                    <a:pt x="264" y="3314"/>
                  </a:lnTo>
                  <a:lnTo>
                    <a:pt x="262" y="3320"/>
                  </a:lnTo>
                  <a:close/>
                  <a:moveTo>
                    <a:pt x="276" y="3112"/>
                  </a:moveTo>
                  <a:lnTo>
                    <a:pt x="276" y="3112"/>
                  </a:lnTo>
                  <a:lnTo>
                    <a:pt x="286" y="3114"/>
                  </a:lnTo>
                  <a:lnTo>
                    <a:pt x="288" y="3114"/>
                  </a:lnTo>
                  <a:lnTo>
                    <a:pt x="290" y="3112"/>
                  </a:lnTo>
                  <a:lnTo>
                    <a:pt x="284" y="3110"/>
                  </a:lnTo>
                  <a:lnTo>
                    <a:pt x="276" y="3102"/>
                  </a:lnTo>
                  <a:lnTo>
                    <a:pt x="270" y="3096"/>
                  </a:lnTo>
                  <a:lnTo>
                    <a:pt x="270" y="3098"/>
                  </a:lnTo>
                  <a:lnTo>
                    <a:pt x="270" y="3102"/>
                  </a:lnTo>
                  <a:lnTo>
                    <a:pt x="272" y="3108"/>
                  </a:lnTo>
                  <a:lnTo>
                    <a:pt x="276" y="3112"/>
                  </a:lnTo>
                  <a:close/>
                  <a:moveTo>
                    <a:pt x="274" y="3270"/>
                  </a:moveTo>
                  <a:lnTo>
                    <a:pt x="274" y="3270"/>
                  </a:lnTo>
                  <a:lnTo>
                    <a:pt x="272" y="3270"/>
                  </a:lnTo>
                  <a:lnTo>
                    <a:pt x="270" y="3272"/>
                  </a:lnTo>
                  <a:lnTo>
                    <a:pt x="270" y="3274"/>
                  </a:lnTo>
                  <a:lnTo>
                    <a:pt x="272" y="3276"/>
                  </a:lnTo>
                  <a:lnTo>
                    <a:pt x="274" y="3278"/>
                  </a:lnTo>
                  <a:lnTo>
                    <a:pt x="276" y="3276"/>
                  </a:lnTo>
                  <a:lnTo>
                    <a:pt x="276" y="3272"/>
                  </a:lnTo>
                  <a:lnTo>
                    <a:pt x="274" y="3270"/>
                  </a:lnTo>
                  <a:close/>
                  <a:moveTo>
                    <a:pt x="246" y="3090"/>
                  </a:moveTo>
                  <a:lnTo>
                    <a:pt x="246" y="3090"/>
                  </a:lnTo>
                  <a:lnTo>
                    <a:pt x="250" y="3090"/>
                  </a:lnTo>
                  <a:lnTo>
                    <a:pt x="252" y="3090"/>
                  </a:lnTo>
                  <a:lnTo>
                    <a:pt x="254" y="3092"/>
                  </a:lnTo>
                  <a:lnTo>
                    <a:pt x="258" y="3092"/>
                  </a:lnTo>
                  <a:lnTo>
                    <a:pt x="260" y="3090"/>
                  </a:lnTo>
                  <a:lnTo>
                    <a:pt x="260" y="3084"/>
                  </a:lnTo>
                  <a:lnTo>
                    <a:pt x="260" y="3080"/>
                  </a:lnTo>
                  <a:lnTo>
                    <a:pt x="260" y="3076"/>
                  </a:lnTo>
                  <a:lnTo>
                    <a:pt x="258" y="3078"/>
                  </a:lnTo>
                  <a:lnTo>
                    <a:pt x="256" y="3080"/>
                  </a:lnTo>
                  <a:lnTo>
                    <a:pt x="252" y="3084"/>
                  </a:lnTo>
                  <a:lnTo>
                    <a:pt x="248" y="3086"/>
                  </a:lnTo>
                  <a:lnTo>
                    <a:pt x="244" y="3086"/>
                  </a:lnTo>
                  <a:lnTo>
                    <a:pt x="242" y="3088"/>
                  </a:lnTo>
                  <a:lnTo>
                    <a:pt x="242" y="3090"/>
                  </a:lnTo>
                  <a:lnTo>
                    <a:pt x="246" y="3090"/>
                  </a:lnTo>
                  <a:close/>
                  <a:moveTo>
                    <a:pt x="248" y="3074"/>
                  </a:moveTo>
                  <a:lnTo>
                    <a:pt x="248" y="3074"/>
                  </a:lnTo>
                  <a:lnTo>
                    <a:pt x="246" y="3072"/>
                  </a:lnTo>
                  <a:lnTo>
                    <a:pt x="244" y="3072"/>
                  </a:lnTo>
                  <a:lnTo>
                    <a:pt x="242" y="3074"/>
                  </a:lnTo>
                  <a:lnTo>
                    <a:pt x="244" y="3078"/>
                  </a:lnTo>
                  <a:lnTo>
                    <a:pt x="246" y="3080"/>
                  </a:lnTo>
                  <a:lnTo>
                    <a:pt x="248" y="3078"/>
                  </a:lnTo>
                  <a:lnTo>
                    <a:pt x="250" y="3076"/>
                  </a:lnTo>
                  <a:lnTo>
                    <a:pt x="248" y="3074"/>
                  </a:lnTo>
                  <a:close/>
                  <a:moveTo>
                    <a:pt x="252" y="3118"/>
                  </a:moveTo>
                  <a:lnTo>
                    <a:pt x="252" y="3118"/>
                  </a:lnTo>
                  <a:lnTo>
                    <a:pt x="252" y="3120"/>
                  </a:lnTo>
                  <a:lnTo>
                    <a:pt x="254" y="3122"/>
                  </a:lnTo>
                  <a:lnTo>
                    <a:pt x="266" y="3128"/>
                  </a:lnTo>
                  <a:lnTo>
                    <a:pt x="272" y="3128"/>
                  </a:lnTo>
                  <a:lnTo>
                    <a:pt x="274" y="3124"/>
                  </a:lnTo>
                  <a:lnTo>
                    <a:pt x="272" y="3124"/>
                  </a:lnTo>
                  <a:lnTo>
                    <a:pt x="270" y="3122"/>
                  </a:lnTo>
                  <a:lnTo>
                    <a:pt x="268" y="3118"/>
                  </a:lnTo>
                  <a:lnTo>
                    <a:pt x="270" y="3116"/>
                  </a:lnTo>
                  <a:lnTo>
                    <a:pt x="270" y="3114"/>
                  </a:lnTo>
                  <a:lnTo>
                    <a:pt x="270" y="3108"/>
                  </a:lnTo>
                  <a:lnTo>
                    <a:pt x="266" y="3100"/>
                  </a:lnTo>
                  <a:lnTo>
                    <a:pt x="264" y="3098"/>
                  </a:lnTo>
                  <a:lnTo>
                    <a:pt x="262" y="3102"/>
                  </a:lnTo>
                  <a:lnTo>
                    <a:pt x="262" y="3106"/>
                  </a:lnTo>
                  <a:lnTo>
                    <a:pt x="262" y="3108"/>
                  </a:lnTo>
                  <a:lnTo>
                    <a:pt x="262" y="3114"/>
                  </a:lnTo>
                  <a:lnTo>
                    <a:pt x="262" y="3116"/>
                  </a:lnTo>
                  <a:lnTo>
                    <a:pt x="260" y="3114"/>
                  </a:lnTo>
                  <a:lnTo>
                    <a:pt x="258" y="3114"/>
                  </a:lnTo>
                  <a:lnTo>
                    <a:pt x="252" y="3118"/>
                  </a:lnTo>
                  <a:close/>
                  <a:moveTo>
                    <a:pt x="246" y="3228"/>
                  </a:moveTo>
                  <a:lnTo>
                    <a:pt x="246" y="3228"/>
                  </a:lnTo>
                  <a:lnTo>
                    <a:pt x="248" y="3228"/>
                  </a:lnTo>
                  <a:lnTo>
                    <a:pt x="250" y="3228"/>
                  </a:lnTo>
                  <a:lnTo>
                    <a:pt x="252" y="3228"/>
                  </a:lnTo>
                  <a:lnTo>
                    <a:pt x="254" y="3228"/>
                  </a:lnTo>
                  <a:lnTo>
                    <a:pt x="256" y="3224"/>
                  </a:lnTo>
                  <a:lnTo>
                    <a:pt x="256" y="3222"/>
                  </a:lnTo>
                  <a:lnTo>
                    <a:pt x="258" y="3218"/>
                  </a:lnTo>
                  <a:lnTo>
                    <a:pt x="262" y="3216"/>
                  </a:lnTo>
                  <a:lnTo>
                    <a:pt x="262" y="3214"/>
                  </a:lnTo>
                  <a:lnTo>
                    <a:pt x="260" y="3214"/>
                  </a:lnTo>
                  <a:lnTo>
                    <a:pt x="256" y="3216"/>
                  </a:lnTo>
                  <a:lnTo>
                    <a:pt x="254" y="3216"/>
                  </a:lnTo>
                  <a:lnTo>
                    <a:pt x="254" y="3214"/>
                  </a:lnTo>
                  <a:lnTo>
                    <a:pt x="254" y="3212"/>
                  </a:lnTo>
                  <a:lnTo>
                    <a:pt x="252" y="3212"/>
                  </a:lnTo>
                  <a:lnTo>
                    <a:pt x="248" y="3210"/>
                  </a:lnTo>
                  <a:lnTo>
                    <a:pt x="246" y="3210"/>
                  </a:lnTo>
                  <a:lnTo>
                    <a:pt x="242" y="3208"/>
                  </a:lnTo>
                  <a:lnTo>
                    <a:pt x="238" y="3208"/>
                  </a:lnTo>
                  <a:lnTo>
                    <a:pt x="236" y="3208"/>
                  </a:lnTo>
                  <a:lnTo>
                    <a:pt x="236" y="3210"/>
                  </a:lnTo>
                  <a:lnTo>
                    <a:pt x="240" y="3212"/>
                  </a:lnTo>
                  <a:lnTo>
                    <a:pt x="244" y="3216"/>
                  </a:lnTo>
                  <a:lnTo>
                    <a:pt x="244" y="3218"/>
                  </a:lnTo>
                  <a:lnTo>
                    <a:pt x="242" y="3218"/>
                  </a:lnTo>
                  <a:lnTo>
                    <a:pt x="240" y="3218"/>
                  </a:lnTo>
                  <a:lnTo>
                    <a:pt x="236" y="3218"/>
                  </a:lnTo>
                  <a:lnTo>
                    <a:pt x="232" y="3222"/>
                  </a:lnTo>
                  <a:lnTo>
                    <a:pt x="232" y="3224"/>
                  </a:lnTo>
                  <a:lnTo>
                    <a:pt x="234" y="3226"/>
                  </a:lnTo>
                  <a:lnTo>
                    <a:pt x="238" y="3226"/>
                  </a:lnTo>
                  <a:lnTo>
                    <a:pt x="242" y="3226"/>
                  </a:lnTo>
                  <a:lnTo>
                    <a:pt x="240" y="3230"/>
                  </a:lnTo>
                  <a:lnTo>
                    <a:pt x="240" y="3232"/>
                  </a:lnTo>
                  <a:lnTo>
                    <a:pt x="242" y="3232"/>
                  </a:lnTo>
                  <a:lnTo>
                    <a:pt x="246" y="3228"/>
                  </a:lnTo>
                  <a:close/>
                  <a:moveTo>
                    <a:pt x="256" y="3248"/>
                  </a:moveTo>
                  <a:lnTo>
                    <a:pt x="256" y="3248"/>
                  </a:lnTo>
                  <a:lnTo>
                    <a:pt x="254" y="3250"/>
                  </a:lnTo>
                  <a:lnTo>
                    <a:pt x="254" y="3252"/>
                  </a:lnTo>
                  <a:lnTo>
                    <a:pt x="258" y="3256"/>
                  </a:lnTo>
                  <a:lnTo>
                    <a:pt x="262" y="3258"/>
                  </a:lnTo>
                  <a:lnTo>
                    <a:pt x="264" y="3258"/>
                  </a:lnTo>
                  <a:lnTo>
                    <a:pt x="264" y="3256"/>
                  </a:lnTo>
                  <a:lnTo>
                    <a:pt x="262" y="3252"/>
                  </a:lnTo>
                  <a:lnTo>
                    <a:pt x="260" y="3248"/>
                  </a:lnTo>
                  <a:lnTo>
                    <a:pt x="258" y="3248"/>
                  </a:lnTo>
                  <a:lnTo>
                    <a:pt x="256" y="3248"/>
                  </a:lnTo>
                  <a:close/>
                  <a:moveTo>
                    <a:pt x="254" y="3160"/>
                  </a:moveTo>
                  <a:lnTo>
                    <a:pt x="254" y="3160"/>
                  </a:lnTo>
                  <a:lnTo>
                    <a:pt x="256" y="3160"/>
                  </a:lnTo>
                  <a:lnTo>
                    <a:pt x="256" y="3154"/>
                  </a:lnTo>
                  <a:lnTo>
                    <a:pt x="254" y="3150"/>
                  </a:lnTo>
                  <a:lnTo>
                    <a:pt x="250" y="3150"/>
                  </a:lnTo>
                  <a:lnTo>
                    <a:pt x="246" y="3152"/>
                  </a:lnTo>
                  <a:lnTo>
                    <a:pt x="242" y="3154"/>
                  </a:lnTo>
                  <a:lnTo>
                    <a:pt x="242" y="3156"/>
                  </a:lnTo>
                  <a:lnTo>
                    <a:pt x="246" y="3156"/>
                  </a:lnTo>
                  <a:lnTo>
                    <a:pt x="248" y="3158"/>
                  </a:lnTo>
                  <a:lnTo>
                    <a:pt x="254" y="3160"/>
                  </a:lnTo>
                  <a:close/>
                  <a:moveTo>
                    <a:pt x="248" y="3146"/>
                  </a:moveTo>
                  <a:lnTo>
                    <a:pt x="248" y="3146"/>
                  </a:lnTo>
                  <a:lnTo>
                    <a:pt x="250" y="3144"/>
                  </a:lnTo>
                  <a:lnTo>
                    <a:pt x="250" y="3142"/>
                  </a:lnTo>
                  <a:lnTo>
                    <a:pt x="244" y="3136"/>
                  </a:lnTo>
                  <a:lnTo>
                    <a:pt x="242" y="3136"/>
                  </a:lnTo>
                  <a:lnTo>
                    <a:pt x="244" y="3142"/>
                  </a:lnTo>
                  <a:lnTo>
                    <a:pt x="246" y="3146"/>
                  </a:lnTo>
                  <a:lnTo>
                    <a:pt x="248" y="3146"/>
                  </a:lnTo>
                  <a:close/>
                  <a:moveTo>
                    <a:pt x="282" y="3246"/>
                  </a:moveTo>
                  <a:lnTo>
                    <a:pt x="282" y="3246"/>
                  </a:lnTo>
                  <a:lnTo>
                    <a:pt x="280" y="3242"/>
                  </a:lnTo>
                  <a:lnTo>
                    <a:pt x="278" y="3238"/>
                  </a:lnTo>
                  <a:lnTo>
                    <a:pt x="278" y="3236"/>
                  </a:lnTo>
                  <a:lnTo>
                    <a:pt x="276" y="3234"/>
                  </a:lnTo>
                  <a:lnTo>
                    <a:pt x="272" y="3232"/>
                  </a:lnTo>
                  <a:lnTo>
                    <a:pt x="270" y="3232"/>
                  </a:lnTo>
                  <a:lnTo>
                    <a:pt x="270" y="3234"/>
                  </a:lnTo>
                  <a:lnTo>
                    <a:pt x="272" y="3238"/>
                  </a:lnTo>
                  <a:lnTo>
                    <a:pt x="274" y="3240"/>
                  </a:lnTo>
                  <a:lnTo>
                    <a:pt x="272" y="3242"/>
                  </a:lnTo>
                  <a:lnTo>
                    <a:pt x="272" y="3244"/>
                  </a:lnTo>
                  <a:lnTo>
                    <a:pt x="276" y="3252"/>
                  </a:lnTo>
                  <a:lnTo>
                    <a:pt x="280" y="3256"/>
                  </a:lnTo>
                  <a:lnTo>
                    <a:pt x="284" y="3256"/>
                  </a:lnTo>
                  <a:lnTo>
                    <a:pt x="286" y="3254"/>
                  </a:lnTo>
                  <a:lnTo>
                    <a:pt x="286" y="3252"/>
                  </a:lnTo>
                  <a:lnTo>
                    <a:pt x="282" y="3246"/>
                  </a:lnTo>
                  <a:close/>
                  <a:moveTo>
                    <a:pt x="234" y="3130"/>
                  </a:moveTo>
                  <a:lnTo>
                    <a:pt x="234" y="3130"/>
                  </a:lnTo>
                  <a:lnTo>
                    <a:pt x="228" y="3130"/>
                  </a:lnTo>
                  <a:lnTo>
                    <a:pt x="226" y="3132"/>
                  </a:lnTo>
                  <a:lnTo>
                    <a:pt x="226" y="3134"/>
                  </a:lnTo>
                  <a:lnTo>
                    <a:pt x="228" y="3134"/>
                  </a:lnTo>
                  <a:lnTo>
                    <a:pt x="236" y="3132"/>
                  </a:lnTo>
                  <a:lnTo>
                    <a:pt x="240" y="3132"/>
                  </a:lnTo>
                  <a:lnTo>
                    <a:pt x="240" y="3130"/>
                  </a:lnTo>
                  <a:lnTo>
                    <a:pt x="238" y="3128"/>
                  </a:lnTo>
                  <a:lnTo>
                    <a:pt x="234" y="3130"/>
                  </a:lnTo>
                  <a:close/>
                  <a:moveTo>
                    <a:pt x="224" y="3120"/>
                  </a:moveTo>
                  <a:lnTo>
                    <a:pt x="224" y="3120"/>
                  </a:lnTo>
                  <a:lnTo>
                    <a:pt x="226" y="3124"/>
                  </a:lnTo>
                  <a:lnTo>
                    <a:pt x="228" y="3126"/>
                  </a:lnTo>
                  <a:lnTo>
                    <a:pt x="230" y="3128"/>
                  </a:lnTo>
                  <a:lnTo>
                    <a:pt x="236" y="3126"/>
                  </a:lnTo>
                  <a:lnTo>
                    <a:pt x="238" y="3124"/>
                  </a:lnTo>
                  <a:lnTo>
                    <a:pt x="236" y="3120"/>
                  </a:lnTo>
                  <a:lnTo>
                    <a:pt x="236" y="3116"/>
                  </a:lnTo>
                  <a:lnTo>
                    <a:pt x="234" y="3114"/>
                  </a:lnTo>
                  <a:lnTo>
                    <a:pt x="230" y="3116"/>
                  </a:lnTo>
                  <a:lnTo>
                    <a:pt x="228" y="3116"/>
                  </a:lnTo>
                  <a:lnTo>
                    <a:pt x="226" y="3116"/>
                  </a:lnTo>
                  <a:lnTo>
                    <a:pt x="224" y="3120"/>
                  </a:lnTo>
                  <a:close/>
                  <a:moveTo>
                    <a:pt x="232" y="3160"/>
                  </a:moveTo>
                  <a:lnTo>
                    <a:pt x="232" y="3160"/>
                  </a:lnTo>
                  <a:lnTo>
                    <a:pt x="234" y="3158"/>
                  </a:lnTo>
                  <a:lnTo>
                    <a:pt x="236" y="3156"/>
                  </a:lnTo>
                  <a:lnTo>
                    <a:pt x="238" y="3154"/>
                  </a:lnTo>
                  <a:lnTo>
                    <a:pt x="238" y="3152"/>
                  </a:lnTo>
                  <a:lnTo>
                    <a:pt x="236" y="3148"/>
                  </a:lnTo>
                  <a:lnTo>
                    <a:pt x="236" y="3150"/>
                  </a:lnTo>
                  <a:lnTo>
                    <a:pt x="234" y="3152"/>
                  </a:lnTo>
                  <a:lnTo>
                    <a:pt x="230" y="3154"/>
                  </a:lnTo>
                  <a:lnTo>
                    <a:pt x="228" y="3156"/>
                  </a:lnTo>
                  <a:lnTo>
                    <a:pt x="226" y="3158"/>
                  </a:lnTo>
                  <a:lnTo>
                    <a:pt x="226" y="3160"/>
                  </a:lnTo>
                  <a:lnTo>
                    <a:pt x="228" y="3162"/>
                  </a:lnTo>
                  <a:lnTo>
                    <a:pt x="232" y="3164"/>
                  </a:lnTo>
                  <a:lnTo>
                    <a:pt x="232" y="3160"/>
                  </a:lnTo>
                  <a:close/>
                  <a:moveTo>
                    <a:pt x="290" y="3322"/>
                  </a:moveTo>
                  <a:lnTo>
                    <a:pt x="290" y="3322"/>
                  </a:lnTo>
                  <a:lnTo>
                    <a:pt x="290" y="3324"/>
                  </a:lnTo>
                  <a:lnTo>
                    <a:pt x="292" y="3326"/>
                  </a:lnTo>
                  <a:lnTo>
                    <a:pt x="300" y="3334"/>
                  </a:lnTo>
                  <a:lnTo>
                    <a:pt x="304" y="3338"/>
                  </a:lnTo>
                  <a:lnTo>
                    <a:pt x="302" y="3332"/>
                  </a:lnTo>
                  <a:lnTo>
                    <a:pt x="296" y="3324"/>
                  </a:lnTo>
                  <a:lnTo>
                    <a:pt x="292" y="3322"/>
                  </a:lnTo>
                  <a:lnTo>
                    <a:pt x="290" y="3322"/>
                  </a:lnTo>
                  <a:close/>
                  <a:moveTo>
                    <a:pt x="246" y="3094"/>
                  </a:moveTo>
                  <a:lnTo>
                    <a:pt x="246" y="3094"/>
                  </a:lnTo>
                  <a:lnTo>
                    <a:pt x="244" y="3094"/>
                  </a:lnTo>
                  <a:lnTo>
                    <a:pt x="242" y="3094"/>
                  </a:lnTo>
                  <a:lnTo>
                    <a:pt x="242" y="3098"/>
                  </a:lnTo>
                  <a:lnTo>
                    <a:pt x="250" y="3112"/>
                  </a:lnTo>
                  <a:lnTo>
                    <a:pt x="252" y="3114"/>
                  </a:lnTo>
                  <a:lnTo>
                    <a:pt x="254" y="3112"/>
                  </a:lnTo>
                  <a:lnTo>
                    <a:pt x="256" y="3110"/>
                  </a:lnTo>
                  <a:lnTo>
                    <a:pt x="258" y="3110"/>
                  </a:lnTo>
                  <a:lnTo>
                    <a:pt x="258" y="3108"/>
                  </a:lnTo>
                  <a:lnTo>
                    <a:pt x="258" y="3102"/>
                  </a:lnTo>
                  <a:lnTo>
                    <a:pt x="258" y="3098"/>
                  </a:lnTo>
                  <a:lnTo>
                    <a:pt x="256" y="3096"/>
                  </a:lnTo>
                  <a:lnTo>
                    <a:pt x="246" y="3094"/>
                  </a:lnTo>
                  <a:close/>
                  <a:moveTo>
                    <a:pt x="294" y="3282"/>
                  </a:moveTo>
                  <a:lnTo>
                    <a:pt x="294" y="3282"/>
                  </a:lnTo>
                  <a:lnTo>
                    <a:pt x="294" y="3280"/>
                  </a:lnTo>
                  <a:lnTo>
                    <a:pt x="290" y="3278"/>
                  </a:lnTo>
                  <a:lnTo>
                    <a:pt x="288" y="3280"/>
                  </a:lnTo>
                  <a:lnTo>
                    <a:pt x="288" y="3284"/>
                  </a:lnTo>
                  <a:lnTo>
                    <a:pt x="290" y="3286"/>
                  </a:lnTo>
                  <a:lnTo>
                    <a:pt x="292" y="3286"/>
                  </a:lnTo>
                  <a:lnTo>
                    <a:pt x="294" y="3284"/>
                  </a:lnTo>
                  <a:lnTo>
                    <a:pt x="294" y="3282"/>
                  </a:lnTo>
                  <a:close/>
                  <a:moveTo>
                    <a:pt x="284" y="3284"/>
                  </a:moveTo>
                  <a:lnTo>
                    <a:pt x="284" y="3284"/>
                  </a:lnTo>
                  <a:lnTo>
                    <a:pt x="282" y="3284"/>
                  </a:lnTo>
                  <a:lnTo>
                    <a:pt x="282" y="3286"/>
                  </a:lnTo>
                  <a:lnTo>
                    <a:pt x="282" y="3288"/>
                  </a:lnTo>
                  <a:lnTo>
                    <a:pt x="286" y="3292"/>
                  </a:lnTo>
                  <a:lnTo>
                    <a:pt x="286" y="3288"/>
                  </a:lnTo>
                  <a:lnTo>
                    <a:pt x="286" y="3286"/>
                  </a:lnTo>
                  <a:lnTo>
                    <a:pt x="284" y="3284"/>
                  </a:lnTo>
                  <a:close/>
                  <a:moveTo>
                    <a:pt x="294" y="3312"/>
                  </a:moveTo>
                  <a:lnTo>
                    <a:pt x="294" y="3312"/>
                  </a:lnTo>
                  <a:lnTo>
                    <a:pt x="294" y="3310"/>
                  </a:lnTo>
                  <a:lnTo>
                    <a:pt x="294" y="3306"/>
                  </a:lnTo>
                  <a:lnTo>
                    <a:pt x="290" y="3298"/>
                  </a:lnTo>
                  <a:lnTo>
                    <a:pt x="288" y="3296"/>
                  </a:lnTo>
                  <a:lnTo>
                    <a:pt x="288" y="3298"/>
                  </a:lnTo>
                  <a:lnTo>
                    <a:pt x="288" y="3302"/>
                  </a:lnTo>
                  <a:lnTo>
                    <a:pt x="286" y="3306"/>
                  </a:lnTo>
                  <a:lnTo>
                    <a:pt x="284" y="3308"/>
                  </a:lnTo>
                  <a:lnTo>
                    <a:pt x="286" y="3312"/>
                  </a:lnTo>
                  <a:lnTo>
                    <a:pt x="290" y="3314"/>
                  </a:lnTo>
                  <a:lnTo>
                    <a:pt x="294" y="3312"/>
                  </a:lnTo>
                  <a:close/>
                  <a:moveTo>
                    <a:pt x="240" y="3200"/>
                  </a:moveTo>
                  <a:lnTo>
                    <a:pt x="240" y="3200"/>
                  </a:lnTo>
                  <a:lnTo>
                    <a:pt x="242" y="3200"/>
                  </a:lnTo>
                  <a:lnTo>
                    <a:pt x="242" y="3192"/>
                  </a:lnTo>
                  <a:lnTo>
                    <a:pt x="238" y="3184"/>
                  </a:lnTo>
                  <a:lnTo>
                    <a:pt x="236" y="3184"/>
                  </a:lnTo>
                  <a:lnTo>
                    <a:pt x="234" y="3184"/>
                  </a:lnTo>
                  <a:lnTo>
                    <a:pt x="230" y="3184"/>
                  </a:lnTo>
                  <a:lnTo>
                    <a:pt x="230" y="3186"/>
                  </a:lnTo>
                  <a:lnTo>
                    <a:pt x="230" y="3196"/>
                  </a:lnTo>
                  <a:lnTo>
                    <a:pt x="236" y="3194"/>
                  </a:lnTo>
                  <a:lnTo>
                    <a:pt x="238" y="3192"/>
                  </a:lnTo>
                  <a:lnTo>
                    <a:pt x="238" y="3194"/>
                  </a:lnTo>
                  <a:lnTo>
                    <a:pt x="238" y="3198"/>
                  </a:lnTo>
                  <a:lnTo>
                    <a:pt x="240" y="3200"/>
                  </a:lnTo>
                  <a:close/>
                  <a:moveTo>
                    <a:pt x="236" y="3146"/>
                  </a:moveTo>
                  <a:lnTo>
                    <a:pt x="236" y="3146"/>
                  </a:lnTo>
                  <a:lnTo>
                    <a:pt x="238" y="3146"/>
                  </a:lnTo>
                  <a:lnTo>
                    <a:pt x="240" y="3148"/>
                  </a:lnTo>
                  <a:lnTo>
                    <a:pt x="242" y="3148"/>
                  </a:lnTo>
                  <a:lnTo>
                    <a:pt x="242" y="3146"/>
                  </a:lnTo>
                  <a:lnTo>
                    <a:pt x="240" y="3142"/>
                  </a:lnTo>
                  <a:lnTo>
                    <a:pt x="236" y="3138"/>
                  </a:lnTo>
                  <a:lnTo>
                    <a:pt x="232" y="3138"/>
                  </a:lnTo>
                  <a:lnTo>
                    <a:pt x="228" y="3138"/>
                  </a:lnTo>
                  <a:lnTo>
                    <a:pt x="224" y="3140"/>
                  </a:lnTo>
                  <a:lnTo>
                    <a:pt x="224" y="3144"/>
                  </a:lnTo>
                  <a:lnTo>
                    <a:pt x="226" y="3146"/>
                  </a:lnTo>
                  <a:lnTo>
                    <a:pt x="230" y="3146"/>
                  </a:lnTo>
                  <a:lnTo>
                    <a:pt x="236" y="3146"/>
                  </a:lnTo>
                  <a:close/>
                  <a:moveTo>
                    <a:pt x="292" y="2928"/>
                  </a:moveTo>
                  <a:lnTo>
                    <a:pt x="292" y="2928"/>
                  </a:lnTo>
                  <a:lnTo>
                    <a:pt x="294" y="2930"/>
                  </a:lnTo>
                  <a:lnTo>
                    <a:pt x="296" y="2930"/>
                  </a:lnTo>
                  <a:lnTo>
                    <a:pt x="298" y="2930"/>
                  </a:lnTo>
                  <a:lnTo>
                    <a:pt x="302" y="2930"/>
                  </a:lnTo>
                  <a:lnTo>
                    <a:pt x="304" y="2930"/>
                  </a:lnTo>
                  <a:lnTo>
                    <a:pt x="306" y="2928"/>
                  </a:lnTo>
                  <a:lnTo>
                    <a:pt x="302" y="2918"/>
                  </a:lnTo>
                  <a:lnTo>
                    <a:pt x="300" y="2916"/>
                  </a:lnTo>
                  <a:lnTo>
                    <a:pt x="298" y="2916"/>
                  </a:lnTo>
                  <a:lnTo>
                    <a:pt x="294" y="2918"/>
                  </a:lnTo>
                  <a:lnTo>
                    <a:pt x="290" y="2918"/>
                  </a:lnTo>
                  <a:lnTo>
                    <a:pt x="286" y="2918"/>
                  </a:lnTo>
                  <a:lnTo>
                    <a:pt x="284" y="2920"/>
                  </a:lnTo>
                  <a:lnTo>
                    <a:pt x="284" y="2922"/>
                  </a:lnTo>
                  <a:lnTo>
                    <a:pt x="288" y="2924"/>
                  </a:lnTo>
                  <a:lnTo>
                    <a:pt x="290" y="2924"/>
                  </a:lnTo>
                  <a:lnTo>
                    <a:pt x="292" y="2928"/>
                  </a:lnTo>
                  <a:close/>
                  <a:moveTo>
                    <a:pt x="294" y="2944"/>
                  </a:moveTo>
                  <a:lnTo>
                    <a:pt x="294" y="2944"/>
                  </a:lnTo>
                  <a:lnTo>
                    <a:pt x="296" y="2944"/>
                  </a:lnTo>
                  <a:lnTo>
                    <a:pt x="298" y="2942"/>
                  </a:lnTo>
                  <a:lnTo>
                    <a:pt x="300" y="2940"/>
                  </a:lnTo>
                  <a:lnTo>
                    <a:pt x="298" y="2940"/>
                  </a:lnTo>
                  <a:lnTo>
                    <a:pt x="292" y="2940"/>
                  </a:lnTo>
                  <a:lnTo>
                    <a:pt x="290" y="2940"/>
                  </a:lnTo>
                  <a:lnTo>
                    <a:pt x="290" y="2942"/>
                  </a:lnTo>
                  <a:lnTo>
                    <a:pt x="288" y="2944"/>
                  </a:lnTo>
                  <a:lnTo>
                    <a:pt x="290" y="2944"/>
                  </a:lnTo>
                  <a:lnTo>
                    <a:pt x="294" y="2944"/>
                  </a:lnTo>
                  <a:close/>
                  <a:moveTo>
                    <a:pt x="278" y="2914"/>
                  </a:moveTo>
                  <a:lnTo>
                    <a:pt x="278" y="2914"/>
                  </a:lnTo>
                  <a:lnTo>
                    <a:pt x="278" y="2916"/>
                  </a:lnTo>
                  <a:lnTo>
                    <a:pt x="282" y="2916"/>
                  </a:lnTo>
                  <a:lnTo>
                    <a:pt x="286" y="2914"/>
                  </a:lnTo>
                  <a:lnTo>
                    <a:pt x="292" y="2914"/>
                  </a:lnTo>
                  <a:lnTo>
                    <a:pt x="294" y="2914"/>
                  </a:lnTo>
                  <a:lnTo>
                    <a:pt x="294" y="2912"/>
                  </a:lnTo>
                  <a:lnTo>
                    <a:pt x="288" y="2908"/>
                  </a:lnTo>
                  <a:lnTo>
                    <a:pt x="286" y="2908"/>
                  </a:lnTo>
                  <a:lnTo>
                    <a:pt x="282" y="2908"/>
                  </a:lnTo>
                  <a:lnTo>
                    <a:pt x="278" y="2914"/>
                  </a:lnTo>
                  <a:close/>
                  <a:moveTo>
                    <a:pt x="276" y="2888"/>
                  </a:moveTo>
                  <a:lnTo>
                    <a:pt x="276" y="2888"/>
                  </a:lnTo>
                  <a:lnTo>
                    <a:pt x="280" y="2886"/>
                  </a:lnTo>
                  <a:lnTo>
                    <a:pt x="282" y="2884"/>
                  </a:lnTo>
                  <a:lnTo>
                    <a:pt x="282" y="2882"/>
                  </a:lnTo>
                  <a:lnTo>
                    <a:pt x="282" y="2880"/>
                  </a:lnTo>
                  <a:lnTo>
                    <a:pt x="278" y="2880"/>
                  </a:lnTo>
                  <a:lnTo>
                    <a:pt x="272" y="2884"/>
                  </a:lnTo>
                  <a:lnTo>
                    <a:pt x="270" y="2884"/>
                  </a:lnTo>
                  <a:lnTo>
                    <a:pt x="270" y="2886"/>
                  </a:lnTo>
                  <a:lnTo>
                    <a:pt x="272" y="2888"/>
                  </a:lnTo>
                  <a:lnTo>
                    <a:pt x="276" y="2888"/>
                  </a:lnTo>
                  <a:close/>
                  <a:moveTo>
                    <a:pt x="282" y="2902"/>
                  </a:moveTo>
                  <a:lnTo>
                    <a:pt x="282" y="2902"/>
                  </a:lnTo>
                  <a:lnTo>
                    <a:pt x="284" y="2902"/>
                  </a:lnTo>
                  <a:lnTo>
                    <a:pt x="290" y="2900"/>
                  </a:lnTo>
                  <a:lnTo>
                    <a:pt x="296" y="2898"/>
                  </a:lnTo>
                  <a:lnTo>
                    <a:pt x="296" y="2896"/>
                  </a:lnTo>
                  <a:lnTo>
                    <a:pt x="294" y="2894"/>
                  </a:lnTo>
                  <a:lnTo>
                    <a:pt x="292" y="2894"/>
                  </a:lnTo>
                  <a:lnTo>
                    <a:pt x="282" y="2894"/>
                  </a:lnTo>
                  <a:lnTo>
                    <a:pt x="276" y="2894"/>
                  </a:lnTo>
                  <a:lnTo>
                    <a:pt x="276" y="2896"/>
                  </a:lnTo>
                  <a:lnTo>
                    <a:pt x="278" y="2900"/>
                  </a:lnTo>
                  <a:lnTo>
                    <a:pt x="282" y="2902"/>
                  </a:lnTo>
                  <a:close/>
                  <a:moveTo>
                    <a:pt x="296" y="2950"/>
                  </a:moveTo>
                  <a:lnTo>
                    <a:pt x="296" y="2950"/>
                  </a:lnTo>
                  <a:lnTo>
                    <a:pt x="294" y="2948"/>
                  </a:lnTo>
                  <a:lnTo>
                    <a:pt x="290" y="2950"/>
                  </a:lnTo>
                  <a:lnTo>
                    <a:pt x="290" y="2952"/>
                  </a:lnTo>
                  <a:lnTo>
                    <a:pt x="290" y="2954"/>
                  </a:lnTo>
                  <a:lnTo>
                    <a:pt x="292" y="2956"/>
                  </a:lnTo>
                  <a:lnTo>
                    <a:pt x="294" y="2954"/>
                  </a:lnTo>
                  <a:lnTo>
                    <a:pt x="296" y="2952"/>
                  </a:lnTo>
                  <a:lnTo>
                    <a:pt x="296" y="2950"/>
                  </a:lnTo>
                  <a:close/>
                  <a:moveTo>
                    <a:pt x="302" y="2888"/>
                  </a:moveTo>
                  <a:lnTo>
                    <a:pt x="302" y="2888"/>
                  </a:lnTo>
                  <a:lnTo>
                    <a:pt x="300" y="2890"/>
                  </a:lnTo>
                  <a:lnTo>
                    <a:pt x="300" y="2892"/>
                  </a:lnTo>
                  <a:lnTo>
                    <a:pt x="302" y="2898"/>
                  </a:lnTo>
                  <a:lnTo>
                    <a:pt x="304" y="2900"/>
                  </a:lnTo>
                  <a:lnTo>
                    <a:pt x="308" y="2898"/>
                  </a:lnTo>
                  <a:lnTo>
                    <a:pt x="310" y="2896"/>
                  </a:lnTo>
                  <a:lnTo>
                    <a:pt x="308" y="2894"/>
                  </a:lnTo>
                  <a:lnTo>
                    <a:pt x="306" y="2890"/>
                  </a:lnTo>
                  <a:lnTo>
                    <a:pt x="302" y="2888"/>
                  </a:lnTo>
                  <a:close/>
                  <a:moveTo>
                    <a:pt x="304" y="2856"/>
                  </a:moveTo>
                  <a:lnTo>
                    <a:pt x="304" y="2856"/>
                  </a:lnTo>
                  <a:lnTo>
                    <a:pt x="304" y="2858"/>
                  </a:lnTo>
                  <a:lnTo>
                    <a:pt x="304" y="2862"/>
                  </a:lnTo>
                  <a:lnTo>
                    <a:pt x="306" y="2864"/>
                  </a:lnTo>
                  <a:lnTo>
                    <a:pt x="308" y="2864"/>
                  </a:lnTo>
                  <a:lnTo>
                    <a:pt x="310" y="2862"/>
                  </a:lnTo>
                  <a:lnTo>
                    <a:pt x="308" y="2860"/>
                  </a:lnTo>
                  <a:lnTo>
                    <a:pt x="306" y="2856"/>
                  </a:lnTo>
                  <a:lnTo>
                    <a:pt x="304" y="2856"/>
                  </a:lnTo>
                  <a:close/>
                  <a:moveTo>
                    <a:pt x="300" y="2968"/>
                  </a:moveTo>
                  <a:lnTo>
                    <a:pt x="300" y="2968"/>
                  </a:lnTo>
                  <a:lnTo>
                    <a:pt x="304" y="2964"/>
                  </a:lnTo>
                  <a:lnTo>
                    <a:pt x="304" y="2962"/>
                  </a:lnTo>
                  <a:lnTo>
                    <a:pt x="304" y="2960"/>
                  </a:lnTo>
                  <a:lnTo>
                    <a:pt x="300" y="2962"/>
                  </a:lnTo>
                  <a:lnTo>
                    <a:pt x="298" y="2964"/>
                  </a:lnTo>
                  <a:lnTo>
                    <a:pt x="296" y="2968"/>
                  </a:lnTo>
                  <a:lnTo>
                    <a:pt x="296" y="2970"/>
                  </a:lnTo>
                  <a:lnTo>
                    <a:pt x="300" y="2968"/>
                  </a:lnTo>
                  <a:close/>
                  <a:moveTo>
                    <a:pt x="290" y="2888"/>
                  </a:moveTo>
                  <a:lnTo>
                    <a:pt x="290" y="2888"/>
                  </a:lnTo>
                  <a:lnTo>
                    <a:pt x="294" y="2888"/>
                  </a:lnTo>
                  <a:lnTo>
                    <a:pt x="294" y="2886"/>
                  </a:lnTo>
                  <a:lnTo>
                    <a:pt x="292" y="2884"/>
                  </a:lnTo>
                  <a:lnTo>
                    <a:pt x="290" y="2884"/>
                  </a:lnTo>
                  <a:lnTo>
                    <a:pt x="282" y="2888"/>
                  </a:lnTo>
                  <a:lnTo>
                    <a:pt x="280" y="2888"/>
                  </a:lnTo>
                  <a:lnTo>
                    <a:pt x="282" y="2890"/>
                  </a:lnTo>
                  <a:lnTo>
                    <a:pt x="290" y="2888"/>
                  </a:lnTo>
                  <a:close/>
                  <a:moveTo>
                    <a:pt x="250" y="2970"/>
                  </a:moveTo>
                  <a:lnTo>
                    <a:pt x="250" y="2970"/>
                  </a:lnTo>
                  <a:lnTo>
                    <a:pt x="250" y="2972"/>
                  </a:lnTo>
                  <a:lnTo>
                    <a:pt x="248" y="2974"/>
                  </a:lnTo>
                  <a:lnTo>
                    <a:pt x="248" y="2978"/>
                  </a:lnTo>
                  <a:lnTo>
                    <a:pt x="252" y="2980"/>
                  </a:lnTo>
                  <a:lnTo>
                    <a:pt x="254" y="2980"/>
                  </a:lnTo>
                  <a:lnTo>
                    <a:pt x="260" y="2974"/>
                  </a:lnTo>
                  <a:lnTo>
                    <a:pt x="262" y="2972"/>
                  </a:lnTo>
                  <a:lnTo>
                    <a:pt x="262" y="2968"/>
                  </a:lnTo>
                  <a:lnTo>
                    <a:pt x="262" y="2964"/>
                  </a:lnTo>
                  <a:lnTo>
                    <a:pt x="260" y="2962"/>
                  </a:lnTo>
                  <a:lnTo>
                    <a:pt x="256" y="2962"/>
                  </a:lnTo>
                  <a:lnTo>
                    <a:pt x="250" y="2966"/>
                  </a:lnTo>
                  <a:lnTo>
                    <a:pt x="248" y="2966"/>
                  </a:lnTo>
                  <a:lnTo>
                    <a:pt x="250" y="2970"/>
                  </a:lnTo>
                  <a:close/>
                  <a:moveTo>
                    <a:pt x="540" y="3562"/>
                  </a:moveTo>
                  <a:lnTo>
                    <a:pt x="540" y="3562"/>
                  </a:lnTo>
                  <a:lnTo>
                    <a:pt x="544" y="3562"/>
                  </a:lnTo>
                  <a:lnTo>
                    <a:pt x="548" y="3562"/>
                  </a:lnTo>
                  <a:lnTo>
                    <a:pt x="554" y="3560"/>
                  </a:lnTo>
                  <a:lnTo>
                    <a:pt x="554" y="3558"/>
                  </a:lnTo>
                  <a:lnTo>
                    <a:pt x="552" y="3558"/>
                  </a:lnTo>
                  <a:lnTo>
                    <a:pt x="546" y="3558"/>
                  </a:lnTo>
                  <a:lnTo>
                    <a:pt x="542" y="3560"/>
                  </a:lnTo>
                  <a:lnTo>
                    <a:pt x="540" y="3562"/>
                  </a:lnTo>
                  <a:close/>
                  <a:moveTo>
                    <a:pt x="560" y="3548"/>
                  </a:moveTo>
                  <a:lnTo>
                    <a:pt x="560" y="3548"/>
                  </a:lnTo>
                  <a:lnTo>
                    <a:pt x="558" y="3550"/>
                  </a:lnTo>
                  <a:lnTo>
                    <a:pt x="556" y="3548"/>
                  </a:lnTo>
                  <a:lnTo>
                    <a:pt x="554" y="3550"/>
                  </a:lnTo>
                  <a:lnTo>
                    <a:pt x="552" y="3552"/>
                  </a:lnTo>
                  <a:lnTo>
                    <a:pt x="554" y="3554"/>
                  </a:lnTo>
                  <a:lnTo>
                    <a:pt x="560" y="3556"/>
                  </a:lnTo>
                  <a:lnTo>
                    <a:pt x="562" y="3556"/>
                  </a:lnTo>
                  <a:lnTo>
                    <a:pt x="564" y="3556"/>
                  </a:lnTo>
                  <a:lnTo>
                    <a:pt x="562" y="3548"/>
                  </a:lnTo>
                  <a:lnTo>
                    <a:pt x="560" y="3544"/>
                  </a:lnTo>
                  <a:lnTo>
                    <a:pt x="560" y="3546"/>
                  </a:lnTo>
                  <a:lnTo>
                    <a:pt x="560" y="3548"/>
                  </a:lnTo>
                  <a:close/>
                  <a:moveTo>
                    <a:pt x="556" y="3506"/>
                  </a:moveTo>
                  <a:lnTo>
                    <a:pt x="556" y="3506"/>
                  </a:lnTo>
                  <a:lnTo>
                    <a:pt x="530" y="3504"/>
                  </a:lnTo>
                  <a:lnTo>
                    <a:pt x="522" y="3504"/>
                  </a:lnTo>
                  <a:lnTo>
                    <a:pt x="522" y="3506"/>
                  </a:lnTo>
                  <a:lnTo>
                    <a:pt x="526" y="3508"/>
                  </a:lnTo>
                  <a:lnTo>
                    <a:pt x="528" y="3510"/>
                  </a:lnTo>
                  <a:lnTo>
                    <a:pt x="528" y="3512"/>
                  </a:lnTo>
                  <a:lnTo>
                    <a:pt x="528" y="3516"/>
                  </a:lnTo>
                  <a:lnTo>
                    <a:pt x="530" y="3522"/>
                  </a:lnTo>
                  <a:lnTo>
                    <a:pt x="532" y="3524"/>
                  </a:lnTo>
                  <a:lnTo>
                    <a:pt x="536" y="3524"/>
                  </a:lnTo>
                  <a:lnTo>
                    <a:pt x="546" y="3524"/>
                  </a:lnTo>
                  <a:lnTo>
                    <a:pt x="550" y="3524"/>
                  </a:lnTo>
                  <a:lnTo>
                    <a:pt x="550" y="3522"/>
                  </a:lnTo>
                  <a:lnTo>
                    <a:pt x="550" y="3520"/>
                  </a:lnTo>
                  <a:lnTo>
                    <a:pt x="554" y="3518"/>
                  </a:lnTo>
                  <a:lnTo>
                    <a:pt x="556" y="3520"/>
                  </a:lnTo>
                  <a:lnTo>
                    <a:pt x="558" y="3524"/>
                  </a:lnTo>
                  <a:lnTo>
                    <a:pt x="558" y="3526"/>
                  </a:lnTo>
                  <a:lnTo>
                    <a:pt x="562" y="3528"/>
                  </a:lnTo>
                  <a:lnTo>
                    <a:pt x="566" y="3526"/>
                  </a:lnTo>
                  <a:lnTo>
                    <a:pt x="568" y="3524"/>
                  </a:lnTo>
                  <a:lnTo>
                    <a:pt x="572" y="3514"/>
                  </a:lnTo>
                  <a:lnTo>
                    <a:pt x="572" y="3512"/>
                  </a:lnTo>
                  <a:lnTo>
                    <a:pt x="572" y="3508"/>
                  </a:lnTo>
                  <a:lnTo>
                    <a:pt x="568" y="3506"/>
                  </a:lnTo>
                  <a:lnTo>
                    <a:pt x="562" y="3506"/>
                  </a:lnTo>
                  <a:lnTo>
                    <a:pt x="556" y="3506"/>
                  </a:lnTo>
                  <a:close/>
                  <a:moveTo>
                    <a:pt x="522" y="3532"/>
                  </a:moveTo>
                  <a:lnTo>
                    <a:pt x="522" y="3532"/>
                  </a:lnTo>
                  <a:lnTo>
                    <a:pt x="516" y="3528"/>
                  </a:lnTo>
                  <a:lnTo>
                    <a:pt x="520" y="3528"/>
                  </a:lnTo>
                  <a:lnTo>
                    <a:pt x="524" y="3526"/>
                  </a:lnTo>
                  <a:lnTo>
                    <a:pt x="524" y="3524"/>
                  </a:lnTo>
                  <a:lnTo>
                    <a:pt x="518" y="3520"/>
                  </a:lnTo>
                  <a:lnTo>
                    <a:pt x="510" y="3520"/>
                  </a:lnTo>
                  <a:lnTo>
                    <a:pt x="506" y="3520"/>
                  </a:lnTo>
                  <a:lnTo>
                    <a:pt x="506" y="3518"/>
                  </a:lnTo>
                  <a:lnTo>
                    <a:pt x="514" y="3516"/>
                  </a:lnTo>
                  <a:lnTo>
                    <a:pt x="520" y="3514"/>
                  </a:lnTo>
                  <a:lnTo>
                    <a:pt x="520" y="3512"/>
                  </a:lnTo>
                  <a:lnTo>
                    <a:pt x="520" y="3510"/>
                  </a:lnTo>
                  <a:lnTo>
                    <a:pt x="518" y="3508"/>
                  </a:lnTo>
                  <a:lnTo>
                    <a:pt x="512" y="3506"/>
                  </a:lnTo>
                  <a:lnTo>
                    <a:pt x="504" y="3506"/>
                  </a:lnTo>
                  <a:lnTo>
                    <a:pt x="498" y="3508"/>
                  </a:lnTo>
                  <a:lnTo>
                    <a:pt x="490" y="3508"/>
                  </a:lnTo>
                  <a:lnTo>
                    <a:pt x="486" y="3508"/>
                  </a:lnTo>
                  <a:lnTo>
                    <a:pt x="478" y="3510"/>
                  </a:lnTo>
                  <a:lnTo>
                    <a:pt x="462" y="3514"/>
                  </a:lnTo>
                  <a:lnTo>
                    <a:pt x="454" y="3516"/>
                  </a:lnTo>
                  <a:lnTo>
                    <a:pt x="454" y="3518"/>
                  </a:lnTo>
                  <a:lnTo>
                    <a:pt x="464" y="3524"/>
                  </a:lnTo>
                  <a:lnTo>
                    <a:pt x="466" y="3526"/>
                  </a:lnTo>
                  <a:lnTo>
                    <a:pt x="462" y="3528"/>
                  </a:lnTo>
                  <a:lnTo>
                    <a:pt x="470" y="3532"/>
                  </a:lnTo>
                  <a:lnTo>
                    <a:pt x="476" y="3534"/>
                  </a:lnTo>
                  <a:lnTo>
                    <a:pt x="480" y="3536"/>
                  </a:lnTo>
                  <a:lnTo>
                    <a:pt x="486" y="3540"/>
                  </a:lnTo>
                  <a:lnTo>
                    <a:pt x="490" y="3540"/>
                  </a:lnTo>
                  <a:lnTo>
                    <a:pt x="490" y="3538"/>
                  </a:lnTo>
                  <a:lnTo>
                    <a:pt x="482" y="3530"/>
                  </a:lnTo>
                  <a:lnTo>
                    <a:pt x="480" y="3526"/>
                  </a:lnTo>
                  <a:lnTo>
                    <a:pt x="482" y="3524"/>
                  </a:lnTo>
                  <a:lnTo>
                    <a:pt x="486" y="3524"/>
                  </a:lnTo>
                  <a:lnTo>
                    <a:pt x="490" y="3524"/>
                  </a:lnTo>
                  <a:lnTo>
                    <a:pt x="494" y="3524"/>
                  </a:lnTo>
                  <a:lnTo>
                    <a:pt x="498" y="3524"/>
                  </a:lnTo>
                  <a:lnTo>
                    <a:pt x="500" y="3524"/>
                  </a:lnTo>
                  <a:lnTo>
                    <a:pt x="496" y="3532"/>
                  </a:lnTo>
                  <a:lnTo>
                    <a:pt x="496" y="3536"/>
                  </a:lnTo>
                  <a:lnTo>
                    <a:pt x="500" y="3540"/>
                  </a:lnTo>
                  <a:lnTo>
                    <a:pt x="502" y="3540"/>
                  </a:lnTo>
                  <a:lnTo>
                    <a:pt x="506" y="3538"/>
                  </a:lnTo>
                  <a:lnTo>
                    <a:pt x="510" y="3536"/>
                  </a:lnTo>
                  <a:lnTo>
                    <a:pt x="512" y="3538"/>
                  </a:lnTo>
                  <a:lnTo>
                    <a:pt x="514" y="3540"/>
                  </a:lnTo>
                  <a:lnTo>
                    <a:pt x="518" y="3540"/>
                  </a:lnTo>
                  <a:lnTo>
                    <a:pt x="522" y="3542"/>
                  </a:lnTo>
                  <a:lnTo>
                    <a:pt x="522" y="3544"/>
                  </a:lnTo>
                  <a:lnTo>
                    <a:pt x="524" y="3548"/>
                  </a:lnTo>
                  <a:lnTo>
                    <a:pt x="526" y="3548"/>
                  </a:lnTo>
                  <a:lnTo>
                    <a:pt x="528" y="3550"/>
                  </a:lnTo>
                  <a:lnTo>
                    <a:pt x="532" y="3554"/>
                  </a:lnTo>
                  <a:lnTo>
                    <a:pt x="534" y="3552"/>
                  </a:lnTo>
                  <a:lnTo>
                    <a:pt x="534" y="3548"/>
                  </a:lnTo>
                  <a:lnTo>
                    <a:pt x="534" y="3544"/>
                  </a:lnTo>
                  <a:lnTo>
                    <a:pt x="532" y="3542"/>
                  </a:lnTo>
                  <a:lnTo>
                    <a:pt x="532" y="3538"/>
                  </a:lnTo>
                  <a:lnTo>
                    <a:pt x="530" y="3536"/>
                  </a:lnTo>
                  <a:lnTo>
                    <a:pt x="522" y="3532"/>
                  </a:lnTo>
                  <a:close/>
                  <a:moveTo>
                    <a:pt x="476" y="3508"/>
                  </a:moveTo>
                  <a:lnTo>
                    <a:pt x="476" y="3508"/>
                  </a:lnTo>
                  <a:lnTo>
                    <a:pt x="484" y="3506"/>
                  </a:lnTo>
                  <a:lnTo>
                    <a:pt x="484" y="3504"/>
                  </a:lnTo>
                  <a:lnTo>
                    <a:pt x="472" y="3502"/>
                  </a:lnTo>
                  <a:lnTo>
                    <a:pt x="464" y="3502"/>
                  </a:lnTo>
                  <a:lnTo>
                    <a:pt x="458" y="3502"/>
                  </a:lnTo>
                  <a:lnTo>
                    <a:pt x="450" y="3506"/>
                  </a:lnTo>
                  <a:lnTo>
                    <a:pt x="448" y="3508"/>
                  </a:lnTo>
                  <a:lnTo>
                    <a:pt x="456" y="3510"/>
                  </a:lnTo>
                  <a:lnTo>
                    <a:pt x="462" y="3510"/>
                  </a:lnTo>
                  <a:lnTo>
                    <a:pt x="476" y="3508"/>
                  </a:lnTo>
                  <a:close/>
                  <a:moveTo>
                    <a:pt x="572" y="3528"/>
                  </a:moveTo>
                  <a:lnTo>
                    <a:pt x="572" y="3528"/>
                  </a:lnTo>
                  <a:lnTo>
                    <a:pt x="574" y="3530"/>
                  </a:lnTo>
                  <a:lnTo>
                    <a:pt x="578" y="3530"/>
                  </a:lnTo>
                  <a:lnTo>
                    <a:pt x="580" y="3528"/>
                  </a:lnTo>
                  <a:lnTo>
                    <a:pt x="582" y="3524"/>
                  </a:lnTo>
                  <a:lnTo>
                    <a:pt x="580" y="3522"/>
                  </a:lnTo>
                  <a:lnTo>
                    <a:pt x="578" y="3522"/>
                  </a:lnTo>
                  <a:lnTo>
                    <a:pt x="574" y="3524"/>
                  </a:lnTo>
                  <a:lnTo>
                    <a:pt x="572" y="3528"/>
                  </a:lnTo>
                  <a:close/>
                  <a:moveTo>
                    <a:pt x="636" y="3486"/>
                  </a:moveTo>
                  <a:lnTo>
                    <a:pt x="636" y="3486"/>
                  </a:lnTo>
                  <a:lnTo>
                    <a:pt x="628" y="3488"/>
                  </a:lnTo>
                  <a:lnTo>
                    <a:pt x="622" y="3486"/>
                  </a:lnTo>
                  <a:lnTo>
                    <a:pt x="616" y="3484"/>
                  </a:lnTo>
                  <a:lnTo>
                    <a:pt x="610" y="3482"/>
                  </a:lnTo>
                  <a:lnTo>
                    <a:pt x="602" y="3478"/>
                  </a:lnTo>
                  <a:lnTo>
                    <a:pt x="594" y="3470"/>
                  </a:lnTo>
                  <a:lnTo>
                    <a:pt x="584" y="3462"/>
                  </a:lnTo>
                  <a:lnTo>
                    <a:pt x="574" y="3456"/>
                  </a:lnTo>
                  <a:lnTo>
                    <a:pt x="562" y="3448"/>
                  </a:lnTo>
                  <a:lnTo>
                    <a:pt x="548" y="3436"/>
                  </a:lnTo>
                  <a:lnTo>
                    <a:pt x="538" y="3424"/>
                  </a:lnTo>
                  <a:lnTo>
                    <a:pt x="532" y="3414"/>
                  </a:lnTo>
                  <a:lnTo>
                    <a:pt x="530" y="3404"/>
                  </a:lnTo>
                  <a:lnTo>
                    <a:pt x="528" y="3404"/>
                  </a:lnTo>
                  <a:lnTo>
                    <a:pt x="522" y="3402"/>
                  </a:lnTo>
                  <a:lnTo>
                    <a:pt x="516" y="3402"/>
                  </a:lnTo>
                  <a:lnTo>
                    <a:pt x="514" y="3400"/>
                  </a:lnTo>
                  <a:lnTo>
                    <a:pt x="512" y="3396"/>
                  </a:lnTo>
                  <a:lnTo>
                    <a:pt x="516" y="3390"/>
                  </a:lnTo>
                  <a:lnTo>
                    <a:pt x="520" y="3386"/>
                  </a:lnTo>
                  <a:lnTo>
                    <a:pt x="522" y="3386"/>
                  </a:lnTo>
                  <a:lnTo>
                    <a:pt x="524" y="3390"/>
                  </a:lnTo>
                  <a:lnTo>
                    <a:pt x="524" y="3392"/>
                  </a:lnTo>
                  <a:lnTo>
                    <a:pt x="526" y="3394"/>
                  </a:lnTo>
                  <a:lnTo>
                    <a:pt x="528" y="3392"/>
                  </a:lnTo>
                  <a:lnTo>
                    <a:pt x="528" y="3388"/>
                  </a:lnTo>
                  <a:lnTo>
                    <a:pt x="524" y="3380"/>
                  </a:lnTo>
                  <a:lnTo>
                    <a:pt x="510" y="3364"/>
                  </a:lnTo>
                  <a:lnTo>
                    <a:pt x="510" y="3502"/>
                  </a:lnTo>
                  <a:lnTo>
                    <a:pt x="518" y="3498"/>
                  </a:lnTo>
                  <a:lnTo>
                    <a:pt x="520" y="3496"/>
                  </a:lnTo>
                  <a:lnTo>
                    <a:pt x="522" y="3496"/>
                  </a:lnTo>
                  <a:lnTo>
                    <a:pt x="530" y="3498"/>
                  </a:lnTo>
                  <a:lnTo>
                    <a:pt x="544" y="3500"/>
                  </a:lnTo>
                  <a:lnTo>
                    <a:pt x="560" y="3502"/>
                  </a:lnTo>
                  <a:lnTo>
                    <a:pt x="576" y="3504"/>
                  </a:lnTo>
                  <a:lnTo>
                    <a:pt x="584" y="3506"/>
                  </a:lnTo>
                  <a:lnTo>
                    <a:pt x="588" y="3508"/>
                  </a:lnTo>
                  <a:lnTo>
                    <a:pt x="596" y="3512"/>
                  </a:lnTo>
                  <a:lnTo>
                    <a:pt x="598" y="3510"/>
                  </a:lnTo>
                  <a:lnTo>
                    <a:pt x="602" y="3508"/>
                  </a:lnTo>
                  <a:lnTo>
                    <a:pt x="606" y="3506"/>
                  </a:lnTo>
                  <a:lnTo>
                    <a:pt x="614" y="3506"/>
                  </a:lnTo>
                  <a:lnTo>
                    <a:pt x="620" y="3502"/>
                  </a:lnTo>
                  <a:lnTo>
                    <a:pt x="624" y="3500"/>
                  </a:lnTo>
                  <a:lnTo>
                    <a:pt x="626" y="3502"/>
                  </a:lnTo>
                  <a:lnTo>
                    <a:pt x="630" y="3506"/>
                  </a:lnTo>
                  <a:lnTo>
                    <a:pt x="632" y="3504"/>
                  </a:lnTo>
                  <a:lnTo>
                    <a:pt x="634" y="3502"/>
                  </a:lnTo>
                  <a:lnTo>
                    <a:pt x="638" y="3502"/>
                  </a:lnTo>
                  <a:lnTo>
                    <a:pt x="640" y="3502"/>
                  </a:lnTo>
                  <a:lnTo>
                    <a:pt x="642" y="3502"/>
                  </a:lnTo>
                  <a:lnTo>
                    <a:pt x="646" y="3494"/>
                  </a:lnTo>
                  <a:lnTo>
                    <a:pt x="648" y="3488"/>
                  </a:lnTo>
                  <a:lnTo>
                    <a:pt x="648" y="3486"/>
                  </a:lnTo>
                  <a:lnTo>
                    <a:pt x="642" y="3486"/>
                  </a:lnTo>
                  <a:lnTo>
                    <a:pt x="636" y="3486"/>
                  </a:lnTo>
                  <a:close/>
                  <a:moveTo>
                    <a:pt x="436" y="3502"/>
                  </a:moveTo>
                  <a:lnTo>
                    <a:pt x="436" y="3502"/>
                  </a:lnTo>
                  <a:lnTo>
                    <a:pt x="428" y="3504"/>
                  </a:lnTo>
                  <a:lnTo>
                    <a:pt x="426" y="3506"/>
                  </a:lnTo>
                  <a:lnTo>
                    <a:pt x="420" y="3506"/>
                  </a:lnTo>
                  <a:lnTo>
                    <a:pt x="414" y="3506"/>
                  </a:lnTo>
                  <a:lnTo>
                    <a:pt x="414" y="3508"/>
                  </a:lnTo>
                  <a:lnTo>
                    <a:pt x="414" y="3510"/>
                  </a:lnTo>
                  <a:lnTo>
                    <a:pt x="416" y="3514"/>
                  </a:lnTo>
                  <a:lnTo>
                    <a:pt x="418" y="3514"/>
                  </a:lnTo>
                  <a:lnTo>
                    <a:pt x="428" y="3516"/>
                  </a:lnTo>
                  <a:lnTo>
                    <a:pt x="430" y="3516"/>
                  </a:lnTo>
                  <a:lnTo>
                    <a:pt x="432" y="3518"/>
                  </a:lnTo>
                  <a:lnTo>
                    <a:pt x="432" y="3520"/>
                  </a:lnTo>
                  <a:lnTo>
                    <a:pt x="432" y="3522"/>
                  </a:lnTo>
                  <a:lnTo>
                    <a:pt x="436" y="3522"/>
                  </a:lnTo>
                  <a:lnTo>
                    <a:pt x="442" y="3518"/>
                  </a:lnTo>
                  <a:lnTo>
                    <a:pt x="442" y="3516"/>
                  </a:lnTo>
                  <a:lnTo>
                    <a:pt x="442" y="3512"/>
                  </a:lnTo>
                  <a:lnTo>
                    <a:pt x="438" y="3512"/>
                  </a:lnTo>
                  <a:lnTo>
                    <a:pt x="432" y="3510"/>
                  </a:lnTo>
                  <a:lnTo>
                    <a:pt x="434" y="3508"/>
                  </a:lnTo>
                  <a:lnTo>
                    <a:pt x="438" y="3508"/>
                  </a:lnTo>
                  <a:lnTo>
                    <a:pt x="442" y="3506"/>
                  </a:lnTo>
                  <a:lnTo>
                    <a:pt x="444" y="3504"/>
                  </a:lnTo>
                  <a:lnTo>
                    <a:pt x="440" y="3504"/>
                  </a:lnTo>
                  <a:lnTo>
                    <a:pt x="436" y="3502"/>
                  </a:lnTo>
                  <a:close/>
                  <a:moveTo>
                    <a:pt x="290" y="2874"/>
                  </a:moveTo>
                  <a:lnTo>
                    <a:pt x="290" y="2874"/>
                  </a:lnTo>
                  <a:lnTo>
                    <a:pt x="292" y="2876"/>
                  </a:lnTo>
                  <a:lnTo>
                    <a:pt x="294" y="2874"/>
                  </a:lnTo>
                  <a:lnTo>
                    <a:pt x="294" y="2872"/>
                  </a:lnTo>
                  <a:lnTo>
                    <a:pt x="294" y="2870"/>
                  </a:lnTo>
                  <a:lnTo>
                    <a:pt x="290" y="2868"/>
                  </a:lnTo>
                  <a:lnTo>
                    <a:pt x="290" y="2874"/>
                  </a:lnTo>
                  <a:close/>
                  <a:moveTo>
                    <a:pt x="592" y="3524"/>
                  </a:moveTo>
                  <a:lnTo>
                    <a:pt x="592" y="3524"/>
                  </a:lnTo>
                  <a:lnTo>
                    <a:pt x="596" y="3524"/>
                  </a:lnTo>
                  <a:lnTo>
                    <a:pt x="598" y="3524"/>
                  </a:lnTo>
                  <a:lnTo>
                    <a:pt x="598" y="3522"/>
                  </a:lnTo>
                  <a:lnTo>
                    <a:pt x="596" y="3518"/>
                  </a:lnTo>
                  <a:lnTo>
                    <a:pt x="594" y="3518"/>
                  </a:lnTo>
                  <a:lnTo>
                    <a:pt x="590" y="3520"/>
                  </a:lnTo>
                  <a:lnTo>
                    <a:pt x="590" y="3522"/>
                  </a:lnTo>
                  <a:lnTo>
                    <a:pt x="592" y="3524"/>
                  </a:lnTo>
                  <a:close/>
                  <a:moveTo>
                    <a:pt x="310" y="3406"/>
                  </a:moveTo>
                  <a:lnTo>
                    <a:pt x="310" y="3406"/>
                  </a:lnTo>
                  <a:lnTo>
                    <a:pt x="314" y="3406"/>
                  </a:lnTo>
                  <a:lnTo>
                    <a:pt x="318" y="3406"/>
                  </a:lnTo>
                  <a:lnTo>
                    <a:pt x="322" y="3406"/>
                  </a:lnTo>
                  <a:lnTo>
                    <a:pt x="326" y="3408"/>
                  </a:lnTo>
                  <a:lnTo>
                    <a:pt x="328" y="3408"/>
                  </a:lnTo>
                  <a:lnTo>
                    <a:pt x="324" y="3402"/>
                  </a:lnTo>
                  <a:lnTo>
                    <a:pt x="318" y="3396"/>
                  </a:lnTo>
                  <a:lnTo>
                    <a:pt x="316" y="3394"/>
                  </a:lnTo>
                  <a:lnTo>
                    <a:pt x="314" y="3394"/>
                  </a:lnTo>
                  <a:lnTo>
                    <a:pt x="312" y="3394"/>
                  </a:lnTo>
                  <a:lnTo>
                    <a:pt x="310" y="3392"/>
                  </a:lnTo>
                  <a:lnTo>
                    <a:pt x="308" y="3390"/>
                  </a:lnTo>
                  <a:lnTo>
                    <a:pt x="306" y="3392"/>
                  </a:lnTo>
                  <a:lnTo>
                    <a:pt x="304" y="3390"/>
                  </a:lnTo>
                  <a:lnTo>
                    <a:pt x="294" y="3384"/>
                  </a:lnTo>
                  <a:lnTo>
                    <a:pt x="284" y="3382"/>
                  </a:lnTo>
                  <a:lnTo>
                    <a:pt x="280" y="3378"/>
                  </a:lnTo>
                  <a:lnTo>
                    <a:pt x="274" y="3374"/>
                  </a:lnTo>
                  <a:lnTo>
                    <a:pt x="268" y="3370"/>
                  </a:lnTo>
                  <a:lnTo>
                    <a:pt x="264" y="3368"/>
                  </a:lnTo>
                  <a:lnTo>
                    <a:pt x="262" y="3370"/>
                  </a:lnTo>
                  <a:lnTo>
                    <a:pt x="266" y="3374"/>
                  </a:lnTo>
                  <a:lnTo>
                    <a:pt x="270" y="3376"/>
                  </a:lnTo>
                  <a:lnTo>
                    <a:pt x="270" y="3380"/>
                  </a:lnTo>
                  <a:lnTo>
                    <a:pt x="268" y="3380"/>
                  </a:lnTo>
                  <a:lnTo>
                    <a:pt x="272" y="3382"/>
                  </a:lnTo>
                  <a:lnTo>
                    <a:pt x="276" y="3384"/>
                  </a:lnTo>
                  <a:lnTo>
                    <a:pt x="278" y="3388"/>
                  </a:lnTo>
                  <a:lnTo>
                    <a:pt x="282" y="3390"/>
                  </a:lnTo>
                  <a:lnTo>
                    <a:pt x="288" y="3392"/>
                  </a:lnTo>
                  <a:lnTo>
                    <a:pt x="294" y="3392"/>
                  </a:lnTo>
                  <a:lnTo>
                    <a:pt x="296" y="3394"/>
                  </a:lnTo>
                  <a:lnTo>
                    <a:pt x="300" y="3396"/>
                  </a:lnTo>
                  <a:lnTo>
                    <a:pt x="302" y="3398"/>
                  </a:lnTo>
                  <a:lnTo>
                    <a:pt x="304" y="3398"/>
                  </a:lnTo>
                  <a:lnTo>
                    <a:pt x="308" y="3398"/>
                  </a:lnTo>
                  <a:lnTo>
                    <a:pt x="310" y="3400"/>
                  </a:lnTo>
                  <a:lnTo>
                    <a:pt x="310" y="3402"/>
                  </a:lnTo>
                  <a:lnTo>
                    <a:pt x="310" y="3404"/>
                  </a:lnTo>
                  <a:lnTo>
                    <a:pt x="310" y="3406"/>
                  </a:lnTo>
                  <a:close/>
                  <a:moveTo>
                    <a:pt x="262" y="3306"/>
                  </a:moveTo>
                  <a:lnTo>
                    <a:pt x="262" y="3306"/>
                  </a:lnTo>
                  <a:lnTo>
                    <a:pt x="260" y="3302"/>
                  </a:lnTo>
                  <a:lnTo>
                    <a:pt x="258" y="3302"/>
                  </a:lnTo>
                  <a:lnTo>
                    <a:pt x="258" y="3304"/>
                  </a:lnTo>
                  <a:lnTo>
                    <a:pt x="258" y="3310"/>
                  </a:lnTo>
                  <a:lnTo>
                    <a:pt x="258" y="3314"/>
                  </a:lnTo>
                  <a:lnTo>
                    <a:pt x="254" y="3308"/>
                  </a:lnTo>
                  <a:lnTo>
                    <a:pt x="252" y="3308"/>
                  </a:lnTo>
                  <a:lnTo>
                    <a:pt x="250" y="3310"/>
                  </a:lnTo>
                  <a:lnTo>
                    <a:pt x="248" y="3314"/>
                  </a:lnTo>
                  <a:lnTo>
                    <a:pt x="250" y="3318"/>
                  </a:lnTo>
                  <a:lnTo>
                    <a:pt x="252" y="3320"/>
                  </a:lnTo>
                  <a:lnTo>
                    <a:pt x="252" y="3322"/>
                  </a:lnTo>
                  <a:lnTo>
                    <a:pt x="250" y="3324"/>
                  </a:lnTo>
                  <a:lnTo>
                    <a:pt x="252" y="3328"/>
                  </a:lnTo>
                  <a:lnTo>
                    <a:pt x="252" y="3332"/>
                  </a:lnTo>
                  <a:lnTo>
                    <a:pt x="254" y="3332"/>
                  </a:lnTo>
                  <a:lnTo>
                    <a:pt x="258" y="3324"/>
                  </a:lnTo>
                  <a:lnTo>
                    <a:pt x="260" y="3314"/>
                  </a:lnTo>
                  <a:lnTo>
                    <a:pt x="262" y="3310"/>
                  </a:lnTo>
                  <a:lnTo>
                    <a:pt x="262" y="3306"/>
                  </a:lnTo>
                  <a:close/>
                  <a:moveTo>
                    <a:pt x="284" y="3406"/>
                  </a:moveTo>
                  <a:lnTo>
                    <a:pt x="284" y="3406"/>
                  </a:lnTo>
                  <a:lnTo>
                    <a:pt x="286" y="3406"/>
                  </a:lnTo>
                  <a:lnTo>
                    <a:pt x="288" y="3404"/>
                  </a:lnTo>
                  <a:lnTo>
                    <a:pt x="290" y="3402"/>
                  </a:lnTo>
                  <a:lnTo>
                    <a:pt x="290" y="3400"/>
                  </a:lnTo>
                  <a:lnTo>
                    <a:pt x="286" y="3398"/>
                  </a:lnTo>
                  <a:lnTo>
                    <a:pt x="284" y="3400"/>
                  </a:lnTo>
                  <a:lnTo>
                    <a:pt x="284" y="3404"/>
                  </a:lnTo>
                  <a:lnTo>
                    <a:pt x="284" y="3406"/>
                  </a:lnTo>
                  <a:close/>
                  <a:moveTo>
                    <a:pt x="268" y="3336"/>
                  </a:moveTo>
                  <a:lnTo>
                    <a:pt x="268" y="3336"/>
                  </a:lnTo>
                  <a:lnTo>
                    <a:pt x="260" y="3336"/>
                  </a:lnTo>
                  <a:lnTo>
                    <a:pt x="258" y="3336"/>
                  </a:lnTo>
                  <a:lnTo>
                    <a:pt x="256" y="3338"/>
                  </a:lnTo>
                  <a:lnTo>
                    <a:pt x="258" y="3340"/>
                  </a:lnTo>
                  <a:lnTo>
                    <a:pt x="262" y="3342"/>
                  </a:lnTo>
                  <a:lnTo>
                    <a:pt x="264" y="3342"/>
                  </a:lnTo>
                  <a:lnTo>
                    <a:pt x="268" y="3340"/>
                  </a:lnTo>
                  <a:lnTo>
                    <a:pt x="268" y="3338"/>
                  </a:lnTo>
                  <a:lnTo>
                    <a:pt x="268" y="3336"/>
                  </a:lnTo>
                  <a:close/>
                  <a:moveTo>
                    <a:pt x="412" y="3500"/>
                  </a:moveTo>
                  <a:lnTo>
                    <a:pt x="412" y="3500"/>
                  </a:lnTo>
                  <a:lnTo>
                    <a:pt x="406" y="3498"/>
                  </a:lnTo>
                  <a:lnTo>
                    <a:pt x="402" y="3496"/>
                  </a:lnTo>
                  <a:lnTo>
                    <a:pt x="398" y="3498"/>
                  </a:lnTo>
                  <a:lnTo>
                    <a:pt x="396" y="3500"/>
                  </a:lnTo>
                  <a:lnTo>
                    <a:pt x="396" y="3502"/>
                  </a:lnTo>
                  <a:lnTo>
                    <a:pt x="398" y="3504"/>
                  </a:lnTo>
                  <a:lnTo>
                    <a:pt x="402" y="3502"/>
                  </a:lnTo>
                  <a:lnTo>
                    <a:pt x="406" y="3500"/>
                  </a:lnTo>
                  <a:lnTo>
                    <a:pt x="408" y="3502"/>
                  </a:lnTo>
                  <a:lnTo>
                    <a:pt x="410" y="3502"/>
                  </a:lnTo>
                  <a:lnTo>
                    <a:pt x="414" y="3504"/>
                  </a:lnTo>
                  <a:lnTo>
                    <a:pt x="414" y="3502"/>
                  </a:lnTo>
                  <a:lnTo>
                    <a:pt x="416" y="3500"/>
                  </a:lnTo>
                  <a:lnTo>
                    <a:pt x="414" y="3500"/>
                  </a:lnTo>
                  <a:lnTo>
                    <a:pt x="412" y="3500"/>
                  </a:lnTo>
                  <a:close/>
                  <a:moveTo>
                    <a:pt x="248" y="3284"/>
                  </a:moveTo>
                  <a:lnTo>
                    <a:pt x="248" y="3284"/>
                  </a:lnTo>
                  <a:lnTo>
                    <a:pt x="244" y="3282"/>
                  </a:lnTo>
                  <a:lnTo>
                    <a:pt x="244" y="3284"/>
                  </a:lnTo>
                  <a:lnTo>
                    <a:pt x="244" y="3292"/>
                  </a:lnTo>
                  <a:lnTo>
                    <a:pt x="240" y="3300"/>
                  </a:lnTo>
                  <a:lnTo>
                    <a:pt x="240" y="3302"/>
                  </a:lnTo>
                  <a:lnTo>
                    <a:pt x="244" y="3302"/>
                  </a:lnTo>
                  <a:lnTo>
                    <a:pt x="246" y="3300"/>
                  </a:lnTo>
                  <a:lnTo>
                    <a:pt x="246" y="3298"/>
                  </a:lnTo>
                  <a:lnTo>
                    <a:pt x="248" y="3294"/>
                  </a:lnTo>
                  <a:lnTo>
                    <a:pt x="248" y="3292"/>
                  </a:lnTo>
                  <a:lnTo>
                    <a:pt x="252" y="3288"/>
                  </a:lnTo>
                  <a:lnTo>
                    <a:pt x="248" y="3284"/>
                  </a:lnTo>
                  <a:close/>
                  <a:moveTo>
                    <a:pt x="376" y="3462"/>
                  </a:moveTo>
                  <a:lnTo>
                    <a:pt x="376" y="3462"/>
                  </a:lnTo>
                  <a:lnTo>
                    <a:pt x="376" y="3466"/>
                  </a:lnTo>
                  <a:lnTo>
                    <a:pt x="378" y="3468"/>
                  </a:lnTo>
                  <a:lnTo>
                    <a:pt x="380" y="3468"/>
                  </a:lnTo>
                  <a:lnTo>
                    <a:pt x="380" y="3464"/>
                  </a:lnTo>
                  <a:lnTo>
                    <a:pt x="380" y="3462"/>
                  </a:lnTo>
                  <a:lnTo>
                    <a:pt x="382" y="3462"/>
                  </a:lnTo>
                  <a:lnTo>
                    <a:pt x="384" y="3460"/>
                  </a:lnTo>
                  <a:lnTo>
                    <a:pt x="384" y="3456"/>
                  </a:lnTo>
                  <a:lnTo>
                    <a:pt x="386" y="3454"/>
                  </a:lnTo>
                  <a:lnTo>
                    <a:pt x="386" y="3452"/>
                  </a:lnTo>
                  <a:lnTo>
                    <a:pt x="386" y="3448"/>
                  </a:lnTo>
                  <a:lnTo>
                    <a:pt x="386" y="3444"/>
                  </a:lnTo>
                  <a:lnTo>
                    <a:pt x="386" y="3442"/>
                  </a:lnTo>
                  <a:lnTo>
                    <a:pt x="384" y="3440"/>
                  </a:lnTo>
                  <a:lnTo>
                    <a:pt x="378" y="3438"/>
                  </a:lnTo>
                  <a:lnTo>
                    <a:pt x="376" y="3438"/>
                  </a:lnTo>
                  <a:lnTo>
                    <a:pt x="374" y="3442"/>
                  </a:lnTo>
                  <a:lnTo>
                    <a:pt x="372" y="3444"/>
                  </a:lnTo>
                  <a:lnTo>
                    <a:pt x="370" y="3442"/>
                  </a:lnTo>
                  <a:lnTo>
                    <a:pt x="368" y="3442"/>
                  </a:lnTo>
                  <a:lnTo>
                    <a:pt x="364" y="3442"/>
                  </a:lnTo>
                  <a:lnTo>
                    <a:pt x="362" y="3444"/>
                  </a:lnTo>
                  <a:lnTo>
                    <a:pt x="362" y="3446"/>
                  </a:lnTo>
                  <a:lnTo>
                    <a:pt x="368" y="3452"/>
                  </a:lnTo>
                  <a:lnTo>
                    <a:pt x="374" y="3458"/>
                  </a:lnTo>
                  <a:lnTo>
                    <a:pt x="376" y="3460"/>
                  </a:lnTo>
                  <a:lnTo>
                    <a:pt x="376" y="3462"/>
                  </a:lnTo>
                  <a:close/>
                  <a:moveTo>
                    <a:pt x="360" y="3454"/>
                  </a:moveTo>
                  <a:lnTo>
                    <a:pt x="360" y="3454"/>
                  </a:lnTo>
                  <a:lnTo>
                    <a:pt x="358" y="3458"/>
                  </a:lnTo>
                  <a:lnTo>
                    <a:pt x="354" y="3458"/>
                  </a:lnTo>
                  <a:lnTo>
                    <a:pt x="352" y="3460"/>
                  </a:lnTo>
                  <a:lnTo>
                    <a:pt x="354" y="3462"/>
                  </a:lnTo>
                  <a:lnTo>
                    <a:pt x="356" y="3464"/>
                  </a:lnTo>
                  <a:lnTo>
                    <a:pt x="358" y="3464"/>
                  </a:lnTo>
                  <a:lnTo>
                    <a:pt x="364" y="3458"/>
                  </a:lnTo>
                  <a:lnTo>
                    <a:pt x="364" y="3456"/>
                  </a:lnTo>
                  <a:lnTo>
                    <a:pt x="364" y="3454"/>
                  </a:lnTo>
                  <a:lnTo>
                    <a:pt x="362" y="3452"/>
                  </a:lnTo>
                  <a:lnTo>
                    <a:pt x="360" y="3454"/>
                  </a:lnTo>
                  <a:close/>
                  <a:moveTo>
                    <a:pt x="390" y="3462"/>
                  </a:moveTo>
                  <a:lnTo>
                    <a:pt x="390" y="3462"/>
                  </a:lnTo>
                  <a:lnTo>
                    <a:pt x="394" y="3462"/>
                  </a:lnTo>
                  <a:lnTo>
                    <a:pt x="394" y="3460"/>
                  </a:lnTo>
                  <a:lnTo>
                    <a:pt x="396" y="3458"/>
                  </a:lnTo>
                  <a:lnTo>
                    <a:pt x="398" y="3460"/>
                  </a:lnTo>
                  <a:lnTo>
                    <a:pt x="402" y="3462"/>
                  </a:lnTo>
                  <a:lnTo>
                    <a:pt x="402" y="3464"/>
                  </a:lnTo>
                  <a:lnTo>
                    <a:pt x="402" y="3466"/>
                  </a:lnTo>
                  <a:lnTo>
                    <a:pt x="406" y="3468"/>
                  </a:lnTo>
                  <a:lnTo>
                    <a:pt x="410" y="3468"/>
                  </a:lnTo>
                  <a:lnTo>
                    <a:pt x="412" y="3466"/>
                  </a:lnTo>
                  <a:lnTo>
                    <a:pt x="412" y="3454"/>
                  </a:lnTo>
                  <a:lnTo>
                    <a:pt x="410" y="3450"/>
                  </a:lnTo>
                  <a:lnTo>
                    <a:pt x="408" y="3450"/>
                  </a:lnTo>
                  <a:lnTo>
                    <a:pt x="406" y="3450"/>
                  </a:lnTo>
                  <a:lnTo>
                    <a:pt x="402" y="3448"/>
                  </a:lnTo>
                  <a:lnTo>
                    <a:pt x="400" y="3444"/>
                  </a:lnTo>
                  <a:lnTo>
                    <a:pt x="394" y="3442"/>
                  </a:lnTo>
                  <a:lnTo>
                    <a:pt x="390" y="3444"/>
                  </a:lnTo>
                  <a:lnTo>
                    <a:pt x="388" y="3446"/>
                  </a:lnTo>
                  <a:lnTo>
                    <a:pt x="388" y="3448"/>
                  </a:lnTo>
                  <a:lnTo>
                    <a:pt x="390" y="3454"/>
                  </a:lnTo>
                  <a:lnTo>
                    <a:pt x="388" y="3456"/>
                  </a:lnTo>
                  <a:lnTo>
                    <a:pt x="388" y="3460"/>
                  </a:lnTo>
                  <a:lnTo>
                    <a:pt x="390" y="3462"/>
                  </a:lnTo>
                  <a:close/>
                  <a:moveTo>
                    <a:pt x="356" y="3450"/>
                  </a:moveTo>
                  <a:lnTo>
                    <a:pt x="356" y="3450"/>
                  </a:lnTo>
                  <a:lnTo>
                    <a:pt x="358" y="3450"/>
                  </a:lnTo>
                  <a:lnTo>
                    <a:pt x="360" y="3450"/>
                  </a:lnTo>
                  <a:lnTo>
                    <a:pt x="358" y="3444"/>
                  </a:lnTo>
                  <a:lnTo>
                    <a:pt x="358" y="3442"/>
                  </a:lnTo>
                  <a:lnTo>
                    <a:pt x="358" y="3440"/>
                  </a:lnTo>
                  <a:lnTo>
                    <a:pt x="362" y="3438"/>
                  </a:lnTo>
                  <a:lnTo>
                    <a:pt x="366" y="3436"/>
                  </a:lnTo>
                  <a:lnTo>
                    <a:pt x="366" y="3434"/>
                  </a:lnTo>
                  <a:lnTo>
                    <a:pt x="366" y="3432"/>
                  </a:lnTo>
                  <a:lnTo>
                    <a:pt x="362" y="3430"/>
                  </a:lnTo>
                  <a:lnTo>
                    <a:pt x="360" y="3430"/>
                  </a:lnTo>
                  <a:lnTo>
                    <a:pt x="358" y="3428"/>
                  </a:lnTo>
                  <a:lnTo>
                    <a:pt x="356" y="3426"/>
                  </a:lnTo>
                  <a:lnTo>
                    <a:pt x="354" y="3422"/>
                  </a:lnTo>
                  <a:lnTo>
                    <a:pt x="352" y="3420"/>
                  </a:lnTo>
                  <a:lnTo>
                    <a:pt x="348" y="3418"/>
                  </a:lnTo>
                  <a:lnTo>
                    <a:pt x="346" y="3420"/>
                  </a:lnTo>
                  <a:lnTo>
                    <a:pt x="344" y="3420"/>
                  </a:lnTo>
                  <a:lnTo>
                    <a:pt x="344" y="3418"/>
                  </a:lnTo>
                  <a:lnTo>
                    <a:pt x="342" y="3418"/>
                  </a:lnTo>
                  <a:lnTo>
                    <a:pt x="340" y="3420"/>
                  </a:lnTo>
                  <a:lnTo>
                    <a:pt x="338" y="3422"/>
                  </a:lnTo>
                  <a:lnTo>
                    <a:pt x="338" y="3418"/>
                  </a:lnTo>
                  <a:lnTo>
                    <a:pt x="336" y="3414"/>
                  </a:lnTo>
                  <a:lnTo>
                    <a:pt x="332" y="3410"/>
                  </a:lnTo>
                  <a:lnTo>
                    <a:pt x="328" y="3410"/>
                  </a:lnTo>
                  <a:lnTo>
                    <a:pt x="328" y="3412"/>
                  </a:lnTo>
                  <a:lnTo>
                    <a:pt x="328" y="3414"/>
                  </a:lnTo>
                  <a:lnTo>
                    <a:pt x="322" y="3414"/>
                  </a:lnTo>
                  <a:lnTo>
                    <a:pt x="320" y="3414"/>
                  </a:lnTo>
                  <a:lnTo>
                    <a:pt x="318" y="3414"/>
                  </a:lnTo>
                  <a:lnTo>
                    <a:pt x="320" y="3418"/>
                  </a:lnTo>
                  <a:lnTo>
                    <a:pt x="322" y="3422"/>
                  </a:lnTo>
                  <a:lnTo>
                    <a:pt x="320" y="3422"/>
                  </a:lnTo>
                  <a:lnTo>
                    <a:pt x="314" y="3420"/>
                  </a:lnTo>
                  <a:lnTo>
                    <a:pt x="310" y="3422"/>
                  </a:lnTo>
                  <a:lnTo>
                    <a:pt x="308" y="3424"/>
                  </a:lnTo>
                  <a:lnTo>
                    <a:pt x="308" y="3426"/>
                  </a:lnTo>
                  <a:lnTo>
                    <a:pt x="310" y="3428"/>
                  </a:lnTo>
                  <a:lnTo>
                    <a:pt x="312" y="3430"/>
                  </a:lnTo>
                  <a:lnTo>
                    <a:pt x="312" y="3432"/>
                  </a:lnTo>
                  <a:lnTo>
                    <a:pt x="316" y="3432"/>
                  </a:lnTo>
                  <a:lnTo>
                    <a:pt x="320" y="3430"/>
                  </a:lnTo>
                  <a:lnTo>
                    <a:pt x="322" y="3432"/>
                  </a:lnTo>
                  <a:lnTo>
                    <a:pt x="322" y="3434"/>
                  </a:lnTo>
                  <a:lnTo>
                    <a:pt x="322" y="3442"/>
                  </a:lnTo>
                  <a:lnTo>
                    <a:pt x="324" y="3444"/>
                  </a:lnTo>
                  <a:lnTo>
                    <a:pt x="328" y="3448"/>
                  </a:lnTo>
                  <a:lnTo>
                    <a:pt x="330" y="3448"/>
                  </a:lnTo>
                  <a:lnTo>
                    <a:pt x="332" y="3448"/>
                  </a:lnTo>
                  <a:lnTo>
                    <a:pt x="332" y="3442"/>
                  </a:lnTo>
                  <a:lnTo>
                    <a:pt x="332" y="3438"/>
                  </a:lnTo>
                  <a:lnTo>
                    <a:pt x="334" y="3438"/>
                  </a:lnTo>
                  <a:lnTo>
                    <a:pt x="336" y="3440"/>
                  </a:lnTo>
                  <a:lnTo>
                    <a:pt x="340" y="3438"/>
                  </a:lnTo>
                  <a:lnTo>
                    <a:pt x="342" y="3438"/>
                  </a:lnTo>
                  <a:lnTo>
                    <a:pt x="342" y="3442"/>
                  </a:lnTo>
                  <a:lnTo>
                    <a:pt x="340" y="3448"/>
                  </a:lnTo>
                  <a:lnTo>
                    <a:pt x="336" y="3450"/>
                  </a:lnTo>
                  <a:lnTo>
                    <a:pt x="334" y="3452"/>
                  </a:lnTo>
                  <a:lnTo>
                    <a:pt x="338" y="3454"/>
                  </a:lnTo>
                  <a:lnTo>
                    <a:pt x="342" y="3454"/>
                  </a:lnTo>
                  <a:lnTo>
                    <a:pt x="346" y="3454"/>
                  </a:lnTo>
                  <a:lnTo>
                    <a:pt x="348" y="3452"/>
                  </a:lnTo>
                  <a:lnTo>
                    <a:pt x="350" y="3452"/>
                  </a:lnTo>
                  <a:lnTo>
                    <a:pt x="352" y="3452"/>
                  </a:lnTo>
                  <a:lnTo>
                    <a:pt x="352" y="3450"/>
                  </a:lnTo>
                  <a:lnTo>
                    <a:pt x="354" y="3448"/>
                  </a:lnTo>
                  <a:lnTo>
                    <a:pt x="356" y="3450"/>
                  </a:lnTo>
                  <a:close/>
                  <a:moveTo>
                    <a:pt x="490" y="3366"/>
                  </a:moveTo>
                  <a:lnTo>
                    <a:pt x="490" y="3366"/>
                  </a:lnTo>
                  <a:lnTo>
                    <a:pt x="488" y="3366"/>
                  </a:lnTo>
                  <a:lnTo>
                    <a:pt x="486" y="3364"/>
                  </a:lnTo>
                  <a:lnTo>
                    <a:pt x="482" y="3360"/>
                  </a:lnTo>
                  <a:lnTo>
                    <a:pt x="480" y="3354"/>
                  </a:lnTo>
                  <a:lnTo>
                    <a:pt x="478" y="3352"/>
                  </a:lnTo>
                  <a:lnTo>
                    <a:pt x="476" y="3352"/>
                  </a:lnTo>
                  <a:lnTo>
                    <a:pt x="472" y="3356"/>
                  </a:lnTo>
                  <a:lnTo>
                    <a:pt x="468" y="3364"/>
                  </a:lnTo>
                  <a:lnTo>
                    <a:pt x="464" y="3370"/>
                  </a:lnTo>
                  <a:lnTo>
                    <a:pt x="460" y="3374"/>
                  </a:lnTo>
                  <a:lnTo>
                    <a:pt x="454" y="3374"/>
                  </a:lnTo>
                  <a:lnTo>
                    <a:pt x="450" y="3372"/>
                  </a:lnTo>
                  <a:lnTo>
                    <a:pt x="446" y="3368"/>
                  </a:lnTo>
                  <a:lnTo>
                    <a:pt x="440" y="3370"/>
                  </a:lnTo>
                  <a:lnTo>
                    <a:pt x="438" y="3370"/>
                  </a:lnTo>
                  <a:lnTo>
                    <a:pt x="440" y="3372"/>
                  </a:lnTo>
                  <a:lnTo>
                    <a:pt x="442" y="3374"/>
                  </a:lnTo>
                  <a:lnTo>
                    <a:pt x="444" y="3376"/>
                  </a:lnTo>
                  <a:lnTo>
                    <a:pt x="444" y="3378"/>
                  </a:lnTo>
                  <a:lnTo>
                    <a:pt x="448" y="3380"/>
                  </a:lnTo>
                  <a:lnTo>
                    <a:pt x="450" y="3382"/>
                  </a:lnTo>
                  <a:lnTo>
                    <a:pt x="448" y="3384"/>
                  </a:lnTo>
                  <a:lnTo>
                    <a:pt x="446" y="3388"/>
                  </a:lnTo>
                  <a:lnTo>
                    <a:pt x="444" y="3388"/>
                  </a:lnTo>
                  <a:lnTo>
                    <a:pt x="440" y="3384"/>
                  </a:lnTo>
                  <a:lnTo>
                    <a:pt x="438" y="3382"/>
                  </a:lnTo>
                  <a:lnTo>
                    <a:pt x="438" y="3384"/>
                  </a:lnTo>
                  <a:lnTo>
                    <a:pt x="436" y="3388"/>
                  </a:lnTo>
                  <a:lnTo>
                    <a:pt x="436" y="3398"/>
                  </a:lnTo>
                  <a:lnTo>
                    <a:pt x="440" y="3410"/>
                  </a:lnTo>
                  <a:lnTo>
                    <a:pt x="442" y="3412"/>
                  </a:lnTo>
                  <a:lnTo>
                    <a:pt x="448" y="3414"/>
                  </a:lnTo>
                  <a:lnTo>
                    <a:pt x="460" y="3410"/>
                  </a:lnTo>
                  <a:lnTo>
                    <a:pt x="474" y="3406"/>
                  </a:lnTo>
                  <a:lnTo>
                    <a:pt x="478" y="3406"/>
                  </a:lnTo>
                  <a:lnTo>
                    <a:pt x="480" y="3408"/>
                  </a:lnTo>
                  <a:lnTo>
                    <a:pt x="482" y="3414"/>
                  </a:lnTo>
                  <a:lnTo>
                    <a:pt x="478" y="3418"/>
                  </a:lnTo>
                  <a:lnTo>
                    <a:pt x="472" y="3422"/>
                  </a:lnTo>
                  <a:lnTo>
                    <a:pt x="466" y="3424"/>
                  </a:lnTo>
                  <a:lnTo>
                    <a:pt x="452" y="3430"/>
                  </a:lnTo>
                  <a:lnTo>
                    <a:pt x="448" y="3434"/>
                  </a:lnTo>
                  <a:lnTo>
                    <a:pt x="448" y="3438"/>
                  </a:lnTo>
                  <a:lnTo>
                    <a:pt x="452" y="3446"/>
                  </a:lnTo>
                  <a:lnTo>
                    <a:pt x="458" y="3452"/>
                  </a:lnTo>
                  <a:lnTo>
                    <a:pt x="464" y="3458"/>
                  </a:lnTo>
                  <a:lnTo>
                    <a:pt x="474" y="3462"/>
                  </a:lnTo>
                  <a:lnTo>
                    <a:pt x="488" y="3470"/>
                  </a:lnTo>
                  <a:lnTo>
                    <a:pt x="494" y="3472"/>
                  </a:lnTo>
                  <a:lnTo>
                    <a:pt x="496" y="3474"/>
                  </a:lnTo>
                  <a:lnTo>
                    <a:pt x="482" y="3472"/>
                  </a:lnTo>
                  <a:lnTo>
                    <a:pt x="476" y="3468"/>
                  </a:lnTo>
                  <a:lnTo>
                    <a:pt x="474" y="3468"/>
                  </a:lnTo>
                  <a:lnTo>
                    <a:pt x="472" y="3468"/>
                  </a:lnTo>
                  <a:lnTo>
                    <a:pt x="470" y="3470"/>
                  </a:lnTo>
                  <a:lnTo>
                    <a:pt x="468" y="3470"/>
                  </a:lnTo>
                  <a:lnTo>
                    <a:pt x="462" y="3466"/>
                  </a:lnTo>
                  <a:lnTo>
                    <a:pt x="456" y="3464"/>
                  </a:lnTo>
                  <a:lnTo>
                    <a:pt x="452" y="3464"/>
                  </a:lnTo>
                  <a:lnTo>
                    <a:pt x="450" y="3464"/>
                  </a:lnTo>
                  <a:lnTo>
                    <a:pt x="448" y="3466"/>
                  </a:lnTo>
                  <a:lnTo>
                    <a:pt x="448" y="3468"/>
                  </a:lnTo>
                  <a:lnTo>
                    <a:pt x="448" y="3472"/>
                  </a:lnTo>
                  <a:lnTo>
                    <a:pt x="450" y="3472"/>
                  </a:lnTo>
                  <a:lnTo>
                    <a:pt x="448" y="3472"/>
                  </a:lnTo>
                  <a:lnTo>
                    <a:pt x="442" y="3468"/>
                  </a:lnTo>
                  <a:lnTo>
                    <a:pt x="422" y="3454"/>
                  </a:lnTo>
                  <a:lnTo>
                    <a:pt x="416" y="3452"/>
                  </a:lnTo>
                  <a:lnTo>
                    <a:pt x="416" y="3454"/>
                  </a:lnTo>
                  <a:lnTo>
                    <a:pt x="418" y="3456"/>
                  </a:lnTo>
                  <a:lnTo>
                    <a:pt x="422" y="3462"/>
                  </a:lnTo>
                  <a:lnTo>
                    <a:pt x="428" y="3464"/>
                  </a:lnTo>
                  <a:lnTo>
                    <a:pt x="430" y="3466"/>
                  </a:lnTo>
                  <a:lnTo>
                    <a:pt x="426" y="3466"/>
                  </a:lnTo>
                  <a:lnTo>
                    <a:pt x="420" y="3466"/>
                  </a:lnTo>
                  <a:lnTo>
                    <a:pt x="418" y="3468"/>
                  </a:lnTo>
                  <a:lnTo>
                    <a:pt x="416" y="3472"/>
                  </a:lnTo>
                  <a:lnTo>
                    <a:pt x="414" y="3476"/>
                  </a:lnTo>
                  <a:lnTo>
                    <a:pt x="408" y="3474"/>
                  </a:lnTo>
                  <a:lnTo>
                    <a:pt x="398" y="3470"/>
                  </a:lnTo>
                  <a:lnTo>
                    <a:pt x="398" y="3472"/>
                  </a:lnTo>
                  <a:lnTo>
                    <a:pt x="396" y="3474"/>
                  </a:lnTo>
                  <a:lnTo>
                    <a:pt x="392" y="3472"/>
                  </a:lnTo>
                  <a:lnTo>
                    <a:pt x="380" y="3470"/>
                  </a:lnTo>
                  <a:lnTo>
                    <a:pt x="380" y="3472"/>
                  </a:lnTo>
                  <a:lnTo>
                    <a:pt x="382" y="3476"/>
                  </a:lnTo>
                  <a:lnTo>
                    <a:pt x="386" y="3478"/>
                  </a:lnTo>
                  <a:lnTo>
                    <a:pt x="386" y="3480"/>
                  </a:lnTo>
                  <a:lnTo>
                    <a:pt x="382" y="3480"/>
                  </a:lnTo>
                  <a:lnTo>
                    <a:pt x="376" y="3476"/>
                  </a:lnTo>
                  <a:lnTo>
                    <a:pt x="374" y="3474"/>
                  </a:lnTo>
                  <a:lnTo>
                    <a:pt x="372" y="3474"/>
                  </a:lnTo>
                  <a:lnTo>
                    <a:pt x="374" y="3476"/>
                  </a:lnTo>
                  <a:lnTo>
                    <a:pt x="374" y="3482"/>
                  </a:lnTo>
                  <a:lnTo>
                    <a:pt x="374" y="3484"/>
                  </a:lnTo>
                  <a:lnTo>
                    <a:pt x="374" y="3486"/>
                  </a:lnTo>
                  <a:lnTo>
                    <a:pt x="376" y="3486"/>
                  </a:lnTo>
                  <a:lnTo>
                    <a:pt x="380" y="3488"/>
                  </a:lnTo>
                  <a:lnTo>
                    <a:pt x="384" y="3486"/>
                  </a:lnTo>
                  <a:lnTo>
                    <a:pt x="390" y="3486"/>
                  </a:lnTo>
                  <a:lnTo>
                    <a:pt x="394" y="3488"/>
                  </a:lnTo>
                  <a:lnTo>
                    <a:pt x="396" y="3488"/>
                  </a:lnTo>
                  <a:lnTo>
                    <a:pt x="398" y="3484"/>
                  </a:lnTo>
                  <a:lnTo>
                    <a:pt x="400" y="3480"/>
                  </a:lnTo>
                  <a:lnTo>
                    <a:pt x="402" y="3480"/>
                  </a:lnTo>
                  <a:lnTo>
                    <a:pt x="404" y="3480"/>
                  </a:lnTo>
                  <a:lnTo>
                    <a:pt x="402" y="3484"/>
                  </a:lnTo>
                  <a:lnTo>
                    <a:pt x="402" y="3486"/>
                  </a:lnTo>
                  <a:lnTo>
                    <a:pt x="404" y="3488"/>
                  </a:lnTo>
                  <a:lnTo>
                    <a:pt x="408" y="3488"/>
                  </a:lnTo>
                  <a:lnTo>
                    <a:pt x="412" y="3486"/>
                  </a:lnTo>
                  <a:lnTo>
                    <a:pt x="416" y="3486"/>
                  </a:lnTo>
                  <a:lnTo>
                    <a:pt x="414" y="3488"/>
                  </a:lnTo>
                  <a:lnTo>
                    <a:pt x="412" y="3492"/>
                  </a:lnTo>
                  <a:lnTo>
                    <a:pt x="414" y="3494"/>
                  </a:lnTo>
                  <a:lnTo>
                    <a:pt x="416" y="3492"/>
                  </a:lnTo>
                  <a:lnTo>
                    <a:pt x="418" y="3494"/>
                  </a:lnTo>
                  <a:lnTo>
                    <a:pt x="422" y="3498"/>
                  </a:lnTo>
                  <a:lnTo>
                    <a:pt x="424" y="3498"/>
                  </a:lnTo>
                  <a:lnTo>
                    <a:pt x="428" y="3496"/>
                  </a:lnTo>
                  <a:lnTo>
                    <a:pt x="432" y="3496"/>
                  </a:lnTo>
                  <a:lnTo>
                    <a:pt x="438" y="3498"/>
                  </a:lnTo>
                  <a:lnTo>
                    <a:pt x="442" y="3498"/>
                  </a:lnTo>
                  <a:lnTo>
                    <a:pt x="446" y="3496"/>
                  </a:lnTo>
                  <a:lnTo>
                    <a:pt x="450" y="3496"/>
                  </a:lnTo>
                  <a:lnTo>
                    <a:pt x="452" y="3498"/>
                  </a:lnTo>
                  <a:lnTo>
                    <a:pt x="452" y="3500"/>
                  </a:lnTo>
                  <a:lnTo>
                    <a:pt x="456" y="3498"/>
                  </a:lnTo>
                  <a:lnTo>
                    <a:pt x="458" y="3496"/>
                  </a:lnTo>
                  <a:lnTo>
                    <a:pt x="462" y="3496"/>
                  </a:lnTo>
                  <a:lnTo>
                    <a:pt x="464" y="3496"/>
                  </a:lnTo>
                  <a:lnTo>
                    <a:pt x="466" y="3492"/>
                  </a:lnTo>
                  <a:lnTo>
                    <a:pt x="468" y="3494"/>
                  </a:lnTo>
                  <a:lnTo>
                    <a:pt x="470" y="3498"/>
                  </a:lnTo>
                  <a:lnTo>
                    <a:pt x="478" y="3500"/>
                  </a:lnTo>
                  <a:lnTo>
                    <a:pt x="496" y="3504"/>
                  </a:lnTo>
                  <a:lnTo>
                    <a:pt x="502" y="3504"/>
                  </a:lnTo>
                  <a:lnTo>
                    <a:pt x="504" y="3504"/>
                  </a:lnTo>
                  <a:lnTo>
                    <a:pt x="504" y="3502"/>
                  </a:lnTo>
                  <a:lnTo>
                    <a:pt x="504" y="3500"/>
                  </a:lnTo>
                  <a:lnTo>
                    <a:pt x="506" y="3500"/>
                  </a:lnTo>
                  <a:lnTo>
                    <a:pt x="510" y="3502"/>
                  </a:lnTo>
                  <a:lnTo>
                    <a:pt x="510" y="3364"/>
                  </a:lnTo>
                  <a:lnTo>
                    <a:pt x="508" y="3362"/>
                  </a:lnTo>
                  <a:lnTo>
                    <a:pt x="504" y="3360"/>
                  </a:lnTo>
                  <a:lnTo>
                    <a:pt x="500" y="3360"/>
                  </a:lnTo>
                  <a:lnTo>
                    <a:pt x="496" y="3364"/>
                  </a:lnTo>
                  <a:lnTo>
                    <a:pt x="490" y="3366"/>
                  </a:lnTo>
                  <a:close/>
                  <a:moveTo>
                    <a:pt x="298" y="2826"/>
                  </a:moveTo>
                  <a:lnTo>
                    <a:pt x="298" y="2826"/>
                  </a:lnTo>
                  <a:lnTo>
                    <a:pt x="304" y="2826"/>
                  </a:lnTo>
                  <a:lnTo>
                    <a:pt x="306" y="2824"/>
                  </a:lnTo>
                  <a:lnTo>
                    <a:pt x="306" y="2822"/>
                  </a:lnTo>
                  <a:lnTo>
                    <a:pt x="304" y="2820"/>
                  </a:lnTo>
                  <a:lnTo>
                    <a:pt x="302" y="2814"/>
                  </a:lnTo>
                  <a:lnTo>
                    <a:pt x="304" y="2812"/>
                  </a:lnTo>
                  <a:lnTo>
                    <a:pt x="308" y="2812"/>
                  </a:lnTo>
                  <a:lnTo>
                    <a:pt x="310" y="2812"/>
                  </a:lnTo>
                  <a:lnTo>
                    <a:pt x="312" y="2810"/>
                  </a:lnTo>
                  <a:lnTo>
                    <a:pt x="310" y="2806"/>
                  </a:lnTo>
                  <a:lnTo>
                    <a:pt x="308" y="2800"/>
                  </a:lnTo>
                  <a:lnTo>
                    <a:pt x="308" y="2798"/>
                  </a:lnTo>
                  <a:lnTo>
                    <a:pt x="310" y="2798"/>
                  </a:lnTo>
                  <a:lnTo>
                    <a:pt x="314" y="2798"/>
                  </a:lnTo>
                  <a:lnTo>
                    <a:pt x="314" y="2794"/>
                  </a:lnTo>
                  <a:lnTo>
                    <a:pt x="304" y="2784"/>
                  </a:lnTo>
                  <a:lnTo>
                    <a:pt x="302" y="2780"/>
                  </a:lnTo>
                  <a:lnTo>
                    <a:pt x="302" y="2778"/>
                  </a:lnTo>
                  <a:lnTo>
                    <a:pt x="306" y="2776"/>
                  </a:lnTo>
                  <a:lnTo>
                    <a:pt x="306" y="2774"/>
                  </a:lnTo>
                  <a:lnTo>
                    <a:pt x="306" y="2770"/>
                  </a:lnTo>
                  <a:lnTo>
                    <a:pt x="306" y="2768"/>
                  </a:lnTo>
                  <a:lnTo>
                    <a:pt x="316" y="2764"/>
                  </a:lnTo>
                  <a:lnTo>
                    <a:pt x="318" y="2764"/>
                  </a:lnTo>
                  <a:lnTo>
                    <a:pt x="320" y="2762"/>
                  </a:lnTo>
                  <a:lnTo>
                    <a:pt x="318" y="2758"/>
                  </a:lnTo>
                  <a:lnTo>
                    <a:pt x="312" y="2748"/>
                  </a:lnTo>
                  <a:lnTo>
                    <a:pt x="310" y="2740"/>
                  </a:lnTo>
                  <a:lnTo>
                    <a:pt x="308" y="2738"/>
                  </a:lnTo>
                  <a:lnTo>
                    <a:pt x="302" y="2738"/>
                  </a:lnTo>
                  <a:lnTo>
                    <a:pt x="298" y="2740"/>
                  </a:lnTo>
                  <a:lnTo>
                    <a:pt x="298" y="2738"/>
                  </a:lnTo>
                  <a:lnTo>
                    <a:pt x="298" y="2736"/>
                  </a:lnTo>
                  <a:lnTo>
                    <a:pt x="296" y="2736"/>
                  </a:lnTo>
                  <a:lnTo>
                    <a:pt x="292" y="2736"/>
                  </a:lnTo>
                  <a:lnTo>
                    <a:pt x="290" y="2736"/>
                  </a:lnTo>
                  <a:lnTo>
                    <a:pt x="290" y="2738"/>
                  </a:lnTo>
                  <a:lnTo>
                    <a:pt x="290" y="2744"/>
                  </a:lnTo>
                  <a:lnTo>
                    <a:pt x="290" y="2752"/>
                  </a:lnTo>
                  <a:lnTo>
                    <a:pt x="288" y="2756"/>
                  </a:lnTo>
                  <a:lnTo>
                    <a:pt x="286" y="2762"/>
                  </a:lnTo>
                  <a:lnTo>
                    <a:pt x="284" y="2770"/>
                  </a:lnTo>
                  <a:lnTo>
                    <a:pt x="284" y="2778"/>
                  </a:lnTo>
                  <a:lnTo>
                    <a:pt x="286" y="2782"/>
                  </a:lnTo>
                  <a:lnTo>
                    <a:pt x="286" y="2790"/>
                  </a:lnTo>
                  <a:lnTo>
                    <a:pt x="282" y="2802"/>
                  </a:lnTo>
                  <a:lnTo>
                    <a:pt x="278" y="2814"/>
                  </a:lnTo>
                  <a:lnTo>
                    <a:pt x="278" y="2818"/>
                  </a:lnTo>
                  <a:lnTo>
                    <a:pt x="280" y="2822"/>
                  </a:lnTo>
                  <a:lnTo>
                    <a:pt x="286" y="2824"/>
                  </a:lnTo>
                  <a:lnTo>
                    <a:pt x="298" y="2826"/>
                  </a:lnTo>
                  <a:close/>
                  <a:moveTo>
                    <a:pt x="316" y="2894"/>
                  </a:moveTo>
                  <a:lnTo>
                    <a:pt x="316" y="2894"/>
                  </a:lnTo>
                  <a:lnTo>
                    <a:pt x="316" y="2898"/>
                  </a:lnTo>
                  <a:lnTo>
                    <a:pt x="318" y="2902"/>
                  </a:lnTo>
                  <a:lnTo>
                    <a:pt x="318" y="2904"/>
                  </a:lnTo>
                  <a:lnTo>
                    <a:pt x="318" y="2906"/>
                  </a:lnTo>
                  <a:lnTo>
                    <a:pt x="320" y="2908"/>
                  </a:lnTo>
                  <a:lnTo>
                    <a:pt x="324" y="2910"/>
                  </a:lnTo>
                  <a:lnTo>
                    <a:pt x="330" y="2910"/>
                  </a:lnTo>
                  <a:lnTo>
                    <a:pt x="336" y="2902"/>
                  </a:lnTo>
                  <a:lnTo>
                    <a:pt x="338" y="2900"/>
                  </a:lnTo>
                  <a:lnTo>
                    <a:pt x="338" y="2898"/>
                  </a:lnTo>
                  <a:lnTo>
                    <a:pt x="338" y="2896"/>
                  </a:lnTo>
                  <a:lnTo>
                    <a:pt x="342" y="2894"/>
                  </a:lnTo>
                  <a:lnTo>
                    <a:pt x="344" y="2890"/>
                  </a:lnTo>
                  <a:lnTo>
                    <a:pt x="342" y="2886"/>
                  </a:lnTo>
                  <a:lnTo>
                    <a:pt x="338" y="2882"/>
                  </a:lnTo>
                  <a:lnTo>
                    <a:pt x="332" y="2880"/>
                  </a:lnTo>
                  <a:lnTo>
                    <a:pt x="330" y="2880"/>
                  </a:lnTo>
                  <a:lnTo>
                    <a:pt x="330" y="2882"/>
                  </a:lnTo>
                  <a:lnTo>
                    <a:pt x="328" y="2882"/>
                  </a:lnTo>
                  <a:lnTo>
                    <a:pt x="326" y="2882"/>
                  </a:lnTo>
                  <a:lnTo>
                    <a:pt x="324" y="2882"/>
                  </a:lnTo>
                  <a:lnTo>
                    <a:pt x="324" y="2884"/>
                  </a:lnTo>
                  <a:lnTo>
                    <a:pt x="322" y="2888"/>
                  </a:lnTo>
                  <a:lnTo>
                    <a:pt x="322" y="2892"/>
                  </a:lnTo>
                  <a:lnTo>
                    <a:pt x="320" y="2894"/>
                  </a:lnTo>
                  <a:lnTo>
                    <a:pt x="318" y="2894"/>
                  </a:lnTo>
                  <a:lnTo>
                    <a:pt x="316" y="2894"/>
                  </a:lnTo>
                  <a:close/>
                  <a:moveTo>
                    <a:pt x="258" y="2836"/>
                  </a:moveTo>
                  <a:lnTo>
                    <a:pt x="258" y="2836"/>
                  </a:lnTo>
                  <a:lnTo>
                    <a:pt x="262" y="2838"/>
                  </a:lnTo>
                  <a:lnTo>
                    <a:pt x="264" y="2838"/>
                  </a:lnTo>
                  <a:lnTo>
                    <a:pt x="266" y="2836"/>
                  </a:lnTo>
                  <a:lnTo>
                    <a:pt x="266" y="2834"/>
                  </a:lnTo>
                  <a:lnTo>
                    <a:pt x="262" y="2832"/>
                  </a:lnTo>
                  <a:lnTo>
                    <a:pt x="260" y="2832"/>
                  </a:lnTo>
                  <a:lnTo>
                    <a:pt x="258" y="2834"/>
                  </a:lnTo>
                  <a:lnTo>
                    <a:pt x="258" y="2836"/>
                  </a:lnTo>
                  <a:close/>
                  <a:moveTo>
                    <a:pt x="324" y="2852"/>
                  </a:moveTo>
                  <a:lnTo>
                    <a:pt x="324" y="2852"/>
                  </a:lnTo>
                  <a:lnTo>
                    <a:pt x="320" y="2856"/>
                  </a:lnTo>
                  <a:lnTo>
                    <a:pt x="322" y="2858"/>
                  </a:lnTo>
                  <a:lnTo>
                    <a:pt x="324" y="2860"/>
                  </a:lnTo>
                  <a:lnTo>
                    <a:pt x="326" y="2858"/>
                  </a:lnTo>
                  <a:lnTo>
                    <a:pt x="326" y="2854"/>
                  </a:lnTo>
                  <a:lnTo>
                    <a:pt x="326" y="2852"/>
                  </a:lnTo>
                  <a:lnTo>
                    <a:pt x="324" y="2850"/>
                  </a:lnTo>
                  <a:lnTo>
                    <a:pt x="324" y="2852"/>
                  </a:lnTo>
                  <a:close/>
                  <a:moveTo>
                    <a:pt x="266" y="2958"/>
                  </a:moveTo>
                  <a:lnTo>
                    <a:pt x="266" y="2958"/>
                  </a:lnTo>
                  <a:lnTo>
                    <a:pt x="270" y="2958"/>
                  </a:lnTo>
                  <a:lnTo>
                    <a:pt x="270" y="2954"/>
                  </a:lnTo>
                  <a:lnTo>
                    <a:pt x="270" y="2950"/>
                  </a:lnTo>
                  <a:lnTo>
                    <a:pt x="268" y="2950"/>
                  </a:lnTo>
                  <a:lnTo>
                    <a:pt x="266" y="2952"/>
                  </a:lnTo>
                  <a:lnTo>
                    <a:pt x="264" y="2954"/>
                  </a:lnTo>
                  <a:lnTo>
                    <a:pt x="264" y="2956"/>
                  </a:lnTo>
                  <a:lnTo>
                    <a:pt x="266" y="2958"/>
                  </a:lnTo>
                  <a:close/>
                  <a:moveTo>
                    <a:pt x="244" y="3242"/>
                  </a:moveTo>
                  <a:lnTo>
                    <a:pt x="244" y="3242"/>
                  </a:lnTo>
                  <a:lnTo>
                    <a:pt x="248" y="3238"/>
                  </a:lnTo>
                  <a:lnTo>
                    <a:pt x="248" y="3236"/>
                  </a:lnTo>
                  <a:lnTo>
                    <a:pt x="246" y="3236"/>
                  </a:lnTo>
                  <a:lnTo>
                    <a:pt x="240" y="3234"/>
                  </a:lnTo>
                  <a:lnTo>
                    <a:pt x="234" y="3234"/>
                  </a:lnTo>
                  <a:lnTo>
                    <a:pt x="234" y="3236"/>
                  </a:lnTo>
                  <a:lnTo>
                    <a:pt x="236" y="3240"/>
                  </a:lnTo>
                  <a:lnTo>
                    <a:pt x="236" y="3242"/>
                  </a:lnTo>
                  <a:lnTo>
                    <a:pt x="232" y="3248"/>
                  </a:lnTo>
                  <a:lnTo>
                    <a:pt x="234" y="3250"/>
                  </a:lnTo>
                  <a:lnTo>
                    <a:pt x="238" y="3252"/>
                  </a:lnTo>
                  <a:lnTo>
                    <a:pt x="242" y="3254"/>
                  </a:lnTo>
                  <a:lnTo>
                    <a:pt x="242" y="3250"/>
                  </a:lnTo>
                  <a:lnTo>
                    <a:pt x="242" y="3246"/>
                  </a:lnTo>
                  <a:lnTo>
                    <a:pt x="244" y="3242"/>
                  </a:lnTo>
                  <a:close/>
                  <a:moveTo>
                    <a:pt x="302" y="2848"/>
                  </a:moveTo>
                  <a:lnTo>
                    <a:pt x="302" y="2848"/>
                  </a:lnTo>
                  <a:lnTo>
                    <a:pt x="300" y="2846"/>
                  </a:lnTo>
                  <a:lnTo>
                    <a:pt x="298" y="2846"/>
                  </a:lnTo>
                  <a:lnTo>
                    <a:pt x="296" y="2846"/>
                  </a:lnTo>
                  <a:lnTo>
                    <a:pt x="292" y="2846"/>
                  </a:lnTo>
                  <a:lnTo>
                    <a:pt x="288" y="2846"/>
                  </a:lnTo>
                  <a:lnTo>
                    <a:pt x="286" y="2848"/>
                  </a:lnTo>
                  <a:lnTo>
                    <a:pt x="288" y="2850"/>
                  </a:lnTo>
                  <a:lnTo>
                    <a:pt x="292" y="2854"/>
                  </a:lnTo>
                  <a:lnTo>
                    <a:pt x="294" y="2854"/>
                  </a:lnTo>
                  <a:lnTo>
                    <a:pt x="296" y="2854"/>
                  </a:lnTo>
                  <a:lnTo>
                    <a:pt x="300" y="2852"/>
                  </a:lnTo>
                  <a:lnTo>
                    <a:pt x="302" y="2850"/>
                  </a:lnTo>
                  <a:lnTo>
                    <a:pt x="302" y="2848"/>
                  </a:lnTo>
                  <a:close/>
                  <a:moveTo>
                    <a:pt x="302" y="2912"/>
                  </a:moveTo>
                  <a:lnTo>
                    <a:pt x="302" y="2912"/>
                  </a:lnTo>
                  <a:lnTo>
                    <a:pt x="304" y="2910"/>
                  </a:lnTo>
                  <a:lnTo>
                    <a:pt x="302" y="2906"/>
                  </a:lnTo>
                  <a:lnTo>
                    <a:pt x="300" y="2904"/>
                  </a:lnTo>
                  <a:lnTo>
                    <a:pt x="298" y="2904"/>
                  </a:lnTo>
                  <a:lnTo>
                    <a:pt x="296" y="2906"/>
                  </a:lnTo>
                  <a:lnTo>
                    <a:pt x="298" y="2910"/>
                  </a:lnTo>
                  <a:lnTo>
                    <a:pt x="300" y="2912"/>
                  </a:lnTo>
                  <a:lnTo>
                    <a:pt x="302" y="2912"/>
                  </a:lnTo>
                  <a:close/>
                  <a:moveTo>
                    <a:pt x="306" y="2942"/>
                  </a:moveTo>
                  <a:lnTo>
                    <a:pt x="306" y="2942"/>
                  </a:lnTo>
                  <a:lnTo>
                    <a:pt x="304" y="2942"/>
                  </a:lnTo>
                  <a:lnTo>
                    <a:pt x="302" y="2948"/>
                  </a:lnTo>
                  <a:lnTo>
                    <a:pt x="302" y="2952"/>
                  </a:lnTo>
                  <a:lnTo>
                    <a:pt x="304" y="2958"/>
                  </a:lnTo>
                  <a:lnTo>
                    <a:pt x="306" y="2958"/>
                  </a:lnTo>
                  <a:lnTo>
                    <a:pt x="308" y="2958"/>
                  </a:lnTo>
                  <a:lnTo>
                    <a:pt x="308" y="2952"/>
                  </a:lnTo>
                  <a:lnTo>
                    <a:pt x="310" y="2944"/>
                  </a:lnTo>
                  <a:lnTo>
                    <a:pt x="308" y="2942"/>
                  </a:lnTo>
                  <a:lnTo>
                    <a:pt x="306" y="2942"/>
                  </a:lnTo>
                  <a:close/>
                  <a:moveTo>
                    <a:pt x="278" y="2958"/>
                  </a:moveTo>
                  <a:lnTo>
                    <a:pt x="278" y="2958"/>
                  </a:lnTo>
                  <a:lnTo>
                    <a:pt x="280" y="2956"/>
                  </a:lnTo>
                  <a:lnTo>
                    <a:pt x="284" y="2952"/>
                  </a:lnTo>
                  <a:lnTo>
                    <a:pt x="286" y="2950"/>
                  </a:lnTo>
                  <a:lnTo>
                    <a:pt x="284" y="2946"/>
                  </a:lnTo>
                  <a:lnTo>
                    <a:pt x="280" y="2942"/>
                  </a:lnTo>
                  <a:lnTo>
                    <a:pt x="276" y="2942"/>
                  </a:lnTo>
                  <a:lnTo>
                    <a:pt x="274" y="2944"/>
                  </a:lnTo>
                  <a:lnTo>
                    <a:pt x="272" y="2946"/>
                  </a:lnTo>
                  <a:lnTo>
                    <a:pt x="274" y="2950"/>
                  </a:lnTo>
                  <a:lnTo>
                    <a:pt x="274" y="2952"/>
                  </a:lnTo>
                  <a:lnTo>
                    <a:pt x="274" y="2956"/>
                  </a:lnTo>
                  <a:lnTo>
                    <a:pt x="274" y="2958"/>
                  </a:lnTo>
                  <a:lnTo>
                    <a:pt x="278" y="2958"/>
                  </a:lnTo>
                  <a:close/>
                  <a:moveTo>
                    <a:pt x="1872" y="956"/>
                  </a:moveTo>
                  <a:lnTo>
                    <a:pt x="1872" y="956"/>
                  </a:lnTo>
                  <a:lnTo>
                    <a:pt x="1868" y="926"/>
                  </a:lnTo>
                  <a:lnTo>
                    <a:pt x="1864" y="900"/>
                  </a:lnTo>
                  <a:lnTo>
                    <a:pt x="1862" y="888"/>
                  </a:lnTo>
                  <a:lnTo>
                    <a:pt x="1858" y="876"/>
                  </a:lnTo>
                  <a:lnTo>
                    <a:pt x="1852" y="868"/>
                  </a:lnTo>
                  <a:lnTo>
                    <a:pt x="1844" y="858"/>
                  </a:lnTo>
                  <a:lnTo>
                    <a:pt x="1836" y="852"/>
                  </a:lnTo>
                  <a:lnTo>
                    <a:pt x="1830" y="850"/>
                  </a:lnTo>
                  <a:lnTo>
                    <a:pt x="1824" y="850"/>
                  </a:lnTo>
                  <a:lnTo>
                    <a:pt x="1816" y="850"/>
                  </a:lnTo>
                  <a:lnTo>
                    <a:pt x="1810" y="852"/>
                  </a:lnTo>
                  <a:lnTo>
                    <a:pt x="1800" y="850"/>
                  </a:lnTo>
                  <a:lnTo>
                    <a:pt x="1788" y="846"/>
                  </a:lnTo>
                  <a:lnTo>
                    <a:pt x="1774" y="838"/>
                  </a:lnTo>
                  <a:lnTo>
                    <a:pt x="1760" y="828"/>
                  </a:lnTo>
                  <a:lnTo>
                    <a:pt x="1750" y="820"/>
                  </a:lnTo>
                  <a:lnTo>
                    <a:pt x="1744" y="814"/>
                  </a:lnTo>
                  <a:lnTo>
                    <a:pt x="1740" y="808"/>
                  </a:lnTo>
                  <a:lnTo>
                    <a:pt x="1734" y="796"/>
                  </a:lnTo>
                  <a:lnTo>
                    <a:pt x="1728" y="788"/>
                  </a:lnTo>
                  <a:lnTo>
                    <a:pt x="1718" y="780"/>
                  </a:lnTo>
                  <a:lnTo>
                    <a:pt x="1698" y="762"/>
                  </a:lnTo>
                  <a:lnTo>
                    <a:pt x="1688" y="754"/>
                  </a:lnTo>
                  <a:lnTo>
                    <a:pt x="1680" y="748"/>
                  </a:lnTo>
                  <a:lnTo>
                    <a:pt x="1670" y="742"/>
                  </a:lnTo>
                  <a:lnTo>
                    <a:pt x="1660" y="740"/>
                  </a:lnTo>
                  <a:lnTo>
                    <a:pt x="1646" y="740"/>
                  </a:lnTo>
                  <a:lnTo>
                    <a:pt x="1632" y="740"/>
                  </a:lnTo>
                  <a:lnTo>
                    <a:pt x="1618" y="742"/>
                  </a:lnTo>
                  <a:lnTo>
                    <a:pt x="1602" y="742"/>
                  </a:lnTo>
                  <a:lnTo>
                    <a:pt x="1590" y="742"/>
                  </a:lnTo>
                  <a:lnTo>
                    <a:pt x="1578" y="738"/>
                  </a:lnTo>
                  <a:lnTo>
                    <a:pt x="1556" y="732"/>
                  </a:lnTo>
                  <a:lnTo>
                    <a:pt x="1536" y="722"/>
                  </a:lnTo>
                  <a:lnTo>
                    <a:pt x="1530" y="722"/>
                  </a:lnTo>
                  <a:lnTo>
                    <a:pt x="1526" y="722"/>
                  </a:lnTo>
                  <a:lnTo>
                    <a:pt x="1516" y="724"/>
                  </a:lnTo>
                  <a:lnTo>
                    <a:pt x="1508" y="730"/>
                  </a:lnTo>
                  <a:lnTo>
                    <a:pt x="1500" y="738"/>
                  </a:lnTo>
                  <a:lnTo>
                    <a:pt x="1488" y="750"/>
                  </a:lnTo>
                  <a:lnTo>
                    <a:pt x="1482" y="754"/>
                  </a:lnTo>
                  <a:lnTo>
                    <a:pt x="1480" y="752"/>
                  </a:lnTo>
                  <a:lnTo>
                    <a:pt x="1478" y="748"/>
                  </a:lnTo>
                  <a:lnTo>
                    <a:pt x="1478" y="742"/>
                  </a:lnTo>
                  <a:lnTo>
                    <a:pt x="1482" y="728"/>
                  </a:lnTo>
                  <a:lnTo>
                    <a:pt x="1486" y="716"/>
                  </a:lnTo>
                  <a:lnTo>
                    <a:pt x="1488" y="712"/>
                  </a:lnTo>
                  <a:lnTo>
                    <a:pt x="1486" y="708"/>
                  </a:lnTo>
                  <a:lnTo>
                    <a:pt x="1482" y="702"/>
                  </a:lnTo>
                  <a:lnTo>
                    <a:pt x="1480" y="698"/>
                  </a:lnTo>
                  <a:lnTo>
                    <a:pt x="1478" y="688"/>
                  </a:lnTo>
                  <a:lnTo>
                    <a:pt x="1476" y="684"/>
                  </a:lnTo>
                  <a:lnTo>
                    <a:pt x="1470" y="680"/>
                  </a:lnTo>
                  <a:lnTo>
                    <a:pt x="1464" y="678"/>
                  </a:lnTo>
                  <a:lnTo>
                    <a:pt x="1454" y="674"/>
                  </a:lnTo>
                  <a:lnTo>
                    <a:pt x="1444" y="670"/>
                  </a:lnTo>
                  <a:lnTo>
                    <a:pt x="1438" y="668"/>
                  </a:lnTo>
                  <a:lnTo>
                    <a:pt x="1428" y="658"/>
                  </a:lnTo>
                  <a:lnTo>
                    <a:pt x="1420" y="652"/>
                  </a:lnTo>
                  <a:lnTo>
                    <a:pt x="1416" y="650"/>
                  </a:lnTo>
                  <a:lnTo>
                    <a:pt x="1410" y="650"/>
                  </a:lnTo>
                  <a:lnTo>
                    <a:pt x="1400" y="648"/>
                  </a:lnTo>
                  <a:lnTo>
                    <a:pt x="1392" y="644"/>
                  </a:lnTo>
                  <a:lnTo>
                    <a:pt x="1382" y="640"/>
                  </a:lnTo>
                  <a:lnTo>
                    <a:pt x="1362" y="638"/>
                  </a:lnTo>
                  <a:lnTo>
                    <a:pt x="1354" y="638"/>
                  </a:lnTo>
                  <a:lnTo>
                    <a:pt x="1348" y="640"/>
                  </a:lnTo>
                  <a:lnTo>
                    <a:pt x="1340" y="644"/>
                  </a:lnTo>
                  <a:lnTo>
                    <a:pt x="1332" y="654"/>
                  </a:lnTo>
                  <a:lnTo>
                    <a:pt x="1326" y="662"/>
                  </a:lnTo>
                  <a:lnTo>
                    <a:pt x="1318" y="676"/>
                  </a:lnTo>
                  <a:lnTo>
                    <a:pt x="1314" y="678"/>
                  </a:lnTo>
                  <a:lnTo>
                    <a:pt x="1312" y="674"/>
                  </a:lnTo>
                  <a:lnTo>
                    <a:pt x="1310" y="666"/>
                  </a:lnTo>
                  <a:lnTo>
                    <a:pt x="1314" y="658"/>
                  </a:lnTo>
                  <a:lnTo>
                    <a:pt x="1322" y="642"/>
                  </a:lnTo>
                  <a:lnTo>
                    <a:pt x="1326" y="634"/>
                  </a:lnTo>
                  <a:lnTo>
                    <a:pt x="1326" y="628"/>
                  </a:lnTo>
                  <a:lnTo>
                    <a:pt x="1326" y="626"/>
                  </a:lnTo>
                  <a:lnTo>
                    <a:pt x="1322" y="622"/>
                  </a:lnTo>
                  <a:lnTo>
                    <a:pt x="1314" y="618"/>
                  </a:lnTo>
                  <a:lnTo>
                    <a:pt x="1296" y="614"/>
                  </a:lnTo>
                  <a:lnTo>
                    <a:pt x="1288" y="614"/>
                  </a:lnTo>
                  <a:lnTo>
                    <a:pt x="1278" y="616"/>
                  </a:lnTo>
                  <a:lnTo>
                    <a:pt x="1256" y="612"/>
                  </a:lnTo>
                  <a:lnTo>
                    <a:pt x="1246" y="612"/>
                  </a:lnTo>
                  <a:lnTo>
                    <a:pt x="1240" y="614"/>
                  </a:lnTo>
                  <a:lnTo>
                    <a:pt x="1234" y="620"/>
                  </a:lnTo>
                  <a:lnTo>
                    <a:pt x="1230" y="626"/>
                  </a:lnTo>
                  <a:lnTo>
                    <a:pt x="1230" y="634"/>
                  </a:lnTo>
                  <a:lnTo>
                    <a:pt x="1228" y="642"/>
                  </a:lnTo>
                  <a:lnTo>
                    <a:pt x="1228" y="656"/>
                  </a:lnTo>
                  <a:lnTo>
                    <a:pt x="1226" y="652"/>
                  </a:lnTo>
                  <a:lnTo>
                    <a:pt x="1222" y="652"/>
                  </a:lnTo>
                  <a:lnTo>
                    <a:pt x="1216" y="658"/>
                  </a:lnTo>
                  <a:lnTo>
                    <a:pt x="1214" y="660"/>
                  </a:lnTo>
                  <a:lnTo>
                    <a:pt x="1212" y="660"/>
                  </a:lnTo>
                  <a:lnTo>
                    <a:pt x="1212" y="658"/>
                  </a:lnTo>
                  <a:lnTo>
                    <a:pt x="1214" y="650"/>
                  </a:lnTo>
                  <a:lnTo>
                    <a:pt x="1216" y="642"/>
                  </a:lnTo>
                  <a:lnTo>
                    <a:pt x="1214" y="638"/>
                  </a:lnTo>
                  <a:lnTo>
                    <a:pt x="1210" y="636"/>
                  </a:lnTo>
                  <a:lnTo>
                    <a:pt x="1206" y="638"/>
                  </a:lnTo>
                  <a:lnTo>
                    <a:pt x="1198" y="640"/>
                  </a:lnTo>
                  <a:lnTo>
                    <a:pt x="1198" y="636"/>
                  </a:lnTo>
                  <a:lnTo>
                    <a:pt x="1202" y="632"/>
                  </a:lnTo>
                  <a:lnTo>
                    <a:pt x="1202" y="628"/>
                  </a:lnTo>
                  <a:lnTo>
                    <a:pt x="1204" y="620"/>
                  </a:lnTo>
                  <a:lnTo>
                    <a:pt x="1204" y="616"/>
                  </a:lnTo>
                  <a:lnTo>
                    <a:pt x="1206" y="614"/>
                  </a:lnTo>
                  <a:lnTo>
                    <a:pt x="1210" y="610"/>
                  </a:lnTo>
                  <a:lnTo>
                    <a:pt x="1216" y="608"/>
                  </a:lnTo>
                  <a:lnTo>
                    <a:pt x="1224" y="604"/>
                  </a:lnTo>
                  <a:lnTo>
                    <a:pt x="1230" y="596"/>
                  </a:lnTo>
                  <a:lnTo>
                    <a:pt x="1240" y="582"/>
                  </a:lnTo>
                  <a:lnTo>
                    <a:pt x="1248" y="566"/>
                  </a:lnTo>
                  <a:lnTo>
                    <a:pt x="1254" y="560"/>
                  </a:lnTo>
                  <a:lnTo>
                    <a:pt x="1260" y="556"/>
                  </a:lnTo>
                  <a:lnTo>
                    <a:pt x="1264" y="554"/>
                  </a:lnTo>
                  <a:lnTo>
                    <a:pt x="1266" y="548"/>
                  </a:lnTo>
                  <a:lnTo>
                    <a:pt x="1266" y="542"/>
                  </a:lnTo>
                  <a:lnTo>
                    <a:pt x="1266" y="536"/>
                  </a:lnTo>
                  <a:lnTo>
                    <a:pt x="1264" y="528"/>
                  </a:lnTo>
                  <a:lnTo>
                    <a:pt x="1260" y="524"/>
                  </a:lnTo>
                  <a:lnTo>
                    <a:pt x="1256" y="520"/>
                  </a:lnTo>
                  <a:lnTo>
                    <a:pt x="1252" y="518"/>
                  </a:lnTo>
                  <a:lnTo>
                    <a:pt x="1244" y="518"/>
                  </a:lnTo>
                  <a:lnTo>
                    <a:pt x="1240" y="516"/>
                  </a:lnTo>
                  <a:lnTo>
                    <a:pt x="1238" y="514"/>
                  </a:lnTo>
                  <a:lnTo>
                    <a:pt x="1238" y="508"/>
                  </a:lnTo>
                  <a:lnTo>
                    <a:pt x="1236" y="504"/>
                  </a:lnTo>
                  <a:lnTo>
                    <a:pt x="1234" y="502"/>
                  </a:lnTo>
                  <a:lnTo>
                    <a:pt x="1234" y="500"/>
                  </a:lnTo>
                  <a:lnTo>
                    <a:pt x="1232" y="494"/>
                  </a:lnTo>
                  <a:lnTo>
                    <a:pt x="1232" y="490"/>
                  </a:lnTo>
                  <a:lnTo>
                    <a:pt x="1230" y="488"/>
                  </a:lnTo>
                  <a:lnTo>
                    <a:pt x="1228" y="484"/>
                  </a:lnTo>
                  <a:lnTo>
                    <a:pt x="1226" y="480"/>
                  </a:lnTo>
                  <a:lnTo>
                    <a:pt x="1226" y="476"/>
                  </a:lnTo>
                  <a:lnTo>
                    <a:pt x="1226" y="472"/>
                  </a:lnTo>
                  <a:lnTo>
                    <a:pt x="1222" y="466"/>
                  </a:lnTo>
                  <a:lnTo>
                    <a:pt x="1220" y="444"/>
                  </a:lnTo>
                  <a:lnTo>
                    <a:pt x="1218" y="422"/>
                  </a:lnTo>
                  <a:lnTo>
                    <a:pt x="1218" y="418"/>
                  </a:lnTo>
                  <a:lnTo>
                    <a:pt x="1216" y="416"/>
                  </a:lnTo>
                  <a:lnTo>
                    <a:pt x="1214" y="414"/>
                  </a:lnTo>
                  <a:lnTo>
                    <a:pt x="1212" y="410"/>
                  </a:lnTo>
                  <a:lnTo>
                    <a:pt x="1206" y="398"/>
                  </a:lnTo>
                  <a:lnTo>
                    <a:pt x="1202" y="392"/>
                  </a:lnTo>
                  <a:lnTo>
                    <a:pt x="1200" y="392"/>
                  </a:lnTo>
                  <a:lnTo>
                    <a:pt x="1198" y="394"/>
                  </a:lnTo>
                  <a:lnTo>
                    <a:pt x="1198" y="396"/>
                  </a:lnTo>
                  <a:lnTo>
                    <a:pt x="1196" y="402"/>
                  </a:lnTo>
                  <a:lnTo>
                    <a:pt x="1192" y="410"/>
                  </a:lnTo>
                  <a:lnTo>
                    <a:pt x="1192" y="406"/>
                  </a:lnTo>
                  <a:lnTo>
                    <a:pt x="1192" y="404"/>
                  </a:lnTo>
                  <a:lnTo>
                    <a:pt x="1192" y="400"/>
                  </a:lnTo>
                  <a:lnTo>
                    <a:pt x="1192" y="394"/>
                  </a:lnTo>
                  <a:lnTo>
                    <a:pt x="1188" y="380"/>
                  </a:lnTo>
                  <a:lnTo>
                    <a:pt x="1186" y="380"/>
                  </a:lnTo>
                  <a:lnTo>
                    <a:pt x="1184" y="382"/>
                  </a:lnTo>
                  <a:lnTo>
                    <a:pt x="1182" y="382"/>
                  </a:lnTo>
                  <a:lnTo>
                    <a:pt x="1180" y="380"/>
                  </a:lnTo>
                  <a:lnTo>
                    <a:pt x="1178" y="374"/>
                  </a:lnTo>
                  <a:lnTo>
                    <a:pt x="1174" y="372"/>
                  </a:lnTo>
                  <a:lnTo>
                    <a:pt x="1172" y="368"/>
                  </a:lnTo>
                  <a:lnTo>
                    <a:pt x="1166" y="364"/>
                  </a:lnTo>
                  <a:lnTo>
                    <a:pt x="1158" y="360"/>
                  </a:lnTo>
                  <a:lnTo>
                    <a:pt x="1154" y="356"/>
                  </a:lnTo>
                  <a:lnTo>
                    <a:pt x="1150" y="350"/>
                  </a:lnTo>
                  <a:lnTo>
                    <a:pt x="1148" y="346"/>
                  </a:lnTo>
                  <a:lnTo>
                    <a:pt x="1144" y="342"/>
                  </a:lnTo>
                  <a:lnTo>
                    <a:pt x="1136" y="338"/>
                  </a:lnTo>
                  <a:lnTo>
                    <a:pt x="1126" y="334"/>
                  </a:lnTo>
                  <a:lnTo>
                    <a:pt x="1114" y="330"/>
                  </a:lnTo>
                  <a:lnTo>
                    <a:pt x="1102" y="324"/>
                  </a:lnTo>
                  <a:lnTo>
                    <a:pt x="1072" y="316"/>
                  </a:lnTo>
                  <a:lnTo>
                    <a:pt x="1060" y="314"/>
                  </a:lnTo>
                  <a:lnTo>
                    <a:pt x="1056" y="314"/>
                  </a:lnTo>
                  <a:lnTo>
                    <a:pt x="1054" y="316"/>
                  </a:lnTo>
                  <a:lnTo>
                    <a:pt x="1048" y="316"/>
                  </a:lnTo>
                  <a:lnTo>
                    <a:pt x="1038" y="314"/>
                  </a:lnTo>
                  <a:lnTo>
                    <a:pt x="1026" y="314"/>
                  </a:lnTo>
                  <a:lnTo>
                    <a:pt x="1024" y="316"/>
                  </a:lnTo>
                  <a:lnTo>
                    <a:pt x="1022" y="318"/>
                  </a:lnTo>
                  <a:lnTo>
                    <a:pt x="1022" y="322"/>
                  </a:lnTo>
                  <a:lnTo>
                    <a:pt x="1018" y="322"/>
                  </a:lnTo>
                  <a:lnTo>
                    <a:pt x="1006" y="318"/>
                  </a:lnTo>
                  <a:lnTo>
                    <a:pt x="998" y="316"/>
                  </a:lnTo>
                  <a:lnTo>
                    <a:pt x="990" y="314"/>
                  </a:lnTo>
                  <a:lnTo>
                    <a:pt x="982" y="316"/>
                  </a:lnTo>
                  <a:lnTo>
                    <a:pt x="974" y="318"/>
                  </a:lnTo>
                  <a:lnTo>
                    <a:pt x="972" y="316"/>
                  </a:lnTo>
                  <a:lnTo>
                    <a:pt x="972" y="314"/>
                  </a:lnTo>
                  <a:lnTo>
                    <a:pt x="968" y="308"/>
                  </a:lnTo>
                  <a:lnTo>
                    <a:pt x="966" y="302"/>
                  </a:lnTo>
                  <a:lnTo>
                    <a:pt x="964" y="300"/>
                  </a:lnTo>
                  <a:lnTo>
                    <a:pt x="962" y="298"/>
                  </a:lnTo>
                  <a:lnTo>
                    <a:pt x="958" y="296"/>
                  </a:lnTo>
                  <a:lnTo>
                    <a:pt x="956" y="294"/>
                  </a:lnTo>
                  <a:lnTo>
                    <a:pt x="954" y="288"/>
                  </a:lnTo>
                  <a:lnTo>
                    <a:pt x="952" y="284"/>
                  </a:lnTo>
                  <a:lnTo>
                    <a:pt x="948" y="280"/>
                  </a:lnTo>
                  <a:lnTo>
                    <a:pt x="942" y="276"/>
                  </a:lnTo>
                  <a:lnTo>
                    <a:pt x="934" y="274"/>
                  </a:lnTo>
                  <a:lnTo>
                    <a:pt x="920" y="270"/>
                  </a:lnTo>
                  <a:lnTo>
                    <a:pt x="916" y="268"/>
                  </a:lnTo>
                  <a:lnTo>
                    <a:pt x="916" y="264"/>
                  </a:lnTo>
                  <a:lnTo>
                    <a:pt x="918" y="254"/>
                  </a:lnTo>
                  <a:lnTo>
                    <a:pt x="918" y="248"/>
                  </a:lnTo>
                  <a:lnTo>
                    <a:pt x="918" y="242"/>
                  </a:lnTo>
                  <a:lnTo>
                    <a:pt x="914" y="234"/>
                  </a:lnTo>
                  <a:lnTo>
                    <a:pt x="908" y="228"/>
                  </a:lnTo>
                  <a:lnTo>
                    <a:pt x="892" y="214"/>
                  </a:lnTo>
                  <a:lnTo>
                    <a:pt x="868" y="198"/>
                  </a:lnTo>
                  <a:lnTo>
                    <a:pt x="862" y="192"/>
                  </a:lnTo>
                  <a:lnTo>
                    <a:pt x="852" y="188"/>
                  </a:lnTo>
                  <a:lnTo>
                    <a:pt x="840" y="188"/>
                  </a:lnTo>
                  <a:lnTo>
                    <a:pt x="830" y="188"/>
                  </a:lnTo>
                  <a:lnTo>
                    <a:pt x="818" y="190"/>
                  </a:lnTo>
                  <a:lnTo>
                    <a:pt x="804" y="194"/>
                  </a:lnTo>
                  <a:lnTo>
                    <a:pt x="802" y="192"/>
                  </a:lnTo>
                  <a:lnTo>
                    <a:pt x="804" y="190"/>
                  </a:lnTo>
                  <a:lnTo>
                    <a:pt x="808" y="184"/>
                  </a:lnTo>
                  <a:lnTo>
                    <a:pt x="810" y="180"/>
                  </a:lnTo>
                  <a:lnTo>
                    <a:pt x="812" y="172"/>
                  </a:lnTo>
                  <a:lnTo>
                    <a:pt x="814" y="164"/>
                  </a:lnTo>
                  <a:lnTo>
                    <a:pt x="816" y="160"/>
                  </a:lnTo>
                  <a:lnTo>
                    <a:pt x="822" y="156"/>
                  </a:lnTo>
                  <a:lnTo>
                    <a:pt x="826" y="152"/>
                  </a:lnTo>
                  <a:lnTo>
                    <a:pt x="826" y="150"/>
                  </a:lnTo>
                  <a:lnTo>
                    <a:pt x="826" y="148"/>
                  </a:lnTo>
                  <a:lnTo>
                    <a:pt x="822" y="146"/>
                  </a:lnTo>
                  <a:lnTo>
                    <a:pt x="814" y="142"/>
                  </a:lnTo>
                  <a:lnTo>
                    <a:pt x="810" y="138"/>
                  </a:lnTo>
                  <a:lnTo>
                    <a:pt x="808" y="134"/>
                  </a:lnTo>
                  <a:lnTo>
                    <a:pt x="804" y="130"/>
                  </a:lnTo>
                  <a:lnTo>
                    <a:pt x="800" y="128"/>
                  </a:lnTo>
                  <a:lnTo>
                    <a:pt x="792" y="128"/>
                  </a:lnTo>
                  <a:lnTo>
                    <a:pt x="784" y="126"/>
                  </a:lnTo>
                  <a:lnTo>
                    <a:pt x="780" y="124"/>
                  </a:lnTo>
                  <a:lnTo>
                    <a:pt x="778" y="122"/>
                  </a:lnTo>
                  <a:lnTo>
                    <a:pt x="772" y="116"/>
                  </a:lnTo>
                  <a:lnTo>
                    <a:pt x="766" y="112"/>
                  </a:lnTo>
                  <a:lnTo>
                    <a:pt x="752" y="104"/>
                  </a:lnTo>
                  <a:lnTo>
                    <a:pt x="746" y="100"/>
                  </a:lnTo>
                  <a:lnTo>
                    <a:pt x="744" y="98"/>
                  </a:lnTo>
                  <a:lnTo>
                    <a:pt x="748" y="94"/>
                  </a:lnTo>
                  <a:lnTo>
                    <a:pt x="756" y="92"/>
                  </a:lnTo>
                  <a:lnTo>
                    <a:pt x="772" y="88"/>
                  </a:lnTo>
                  <a:lnTo>
                    <a:pt x="782" y="84"/>
                  </a:lnTo>
                  <a:lnTo>
                    <a:pt x="782" y="82"/>
                  </a:lnTo>
                  <a:lnTo>
                    <a:pt x="778" y="80"/>
                  </a:lnTo>
                  <a:lnTo>
                    <a:pt x="762" y="78"/>
                  </a:lnTo>
                  <a:lnTo>
                    <a:pt x="744" y="78"/>
                  </a:lnTo>
                  <a:lnTo>
                    <a:pt x="736" y="80"/>
                  </a:lnTo>
                  <a:lnTo>
                    <a:pt x="726" y="82"/>
                  </a:lnTo>
                  <a:lnTo>
                    <a:pt x="706" y="84"/>
                  </a:lnTo>
                  <a:lnTo>
                    <a:pt x="696" y="84"/>
                  </a:lnTo>
                  <a:lnTo>
                    <a:pt x="688" y="86"/>
                  </a:lnTo>
                  <a:lnTo>
                    <a:pt x="684" y="88"/>
                  </a:lnTo>
                  <a:lnTo>
                    <a:pt x="682" y="92"/>
                  </a:lnTo>
                  <a:lnTo>
                    <a:pt x="680" y="98"/>
                  </a:lnTo>
                  <a:lnTo>
                    <a:pt x="678" y="100"/>
                  </a:lnTo>
                  <a:lnTo>
                    <a:pt x="674" y="104"/>
                  </a:lnTo>
                  <a:lnTo>
                    <a:pt x="662" y="110"/>
                  </a:lnTo>
                  <a:lnTo>
                    <a:pt x="654" y="112"/>
                  </a:lnTo>
                  <a:lnTo>
                    <a:pt x="646" y="112"/>
                  </a:lnTo>
                  <a:lnTo>
                    <a:pt x="638" y="112"/>
                  </a:lnTo>
                  <a:lnTo>
                    <a:pt x="630" y="108"/>
                  </a:lnTo>
                  <a:lnTo>
                    <a:pt x="622" y="102"/>
                  </a:lnTo>
                  <a:lnTo>
                    <a:pt x="616" y="94"/>
                  </a:lnTo>
                  <a:lnTo>
                    <a:pt x="612" y="88"/>
                  </a:lnTo>
                  <a:lnTo>
                    <a:pt x="608" y="86"/>
                  </a:lnTo>
                  <a:lnTo>
                    <a:pt x="602" y="84"/>
                  </a:lnTo>
                  <a:lnTo>
                    <a:pt x="594" y="84"/>
                  </a:lnTo>
                  <a:lnTo>
                    <a:pt x="580" y="86"/>
                  </a:lnTo>
                  <a:lnTo>
                    <a:pt x="564" y="90"/>
                  </a:lnTo>
                  <a:lnTo>
                    <a:pt x="548" y="94"/>
                  </a:lnTo>
                  <a:lnTo>
                    <a:pt x="536" y="94"/>
                  </a:lnTo>
                  <a:lnTo>
                    <a:pt x="530" y="92"/>
                  </a:lnTo>
                  <a:lnTo>
                    <a:pt x="526" y="90"/>
                  </a:lnTo>
                  <a:lnTo>
                    <a:pt x="524" y="84"/>
                  </a:lnTo>
                  <a:lnTo>
                    <a:pt x="522" y="78"/>
                  </a:lnTo>
                  <a:lnTo>
                    <a:pt x="520" y="64"/>
                  </a:lnTo>
                  <a:lnTo>
                    <a:pt x="516" y="56"/>
                  </a:lnTo>
                  <a:lnTo>
                    <a:pt x="508" y="50"/>
                  </a:lnTo>
                  <a:lnTo>
                    <a:pt x="500" y="46"/>
                  </a:lnTo>
                  <a:lnTo>
                    <a:pt x="490" y="44"/>
                  </a:lnTo>
                  <a:lnTo>
                    <a:pt x="482" y="40"/>
                  </a:lnTo>
                  <a:lnTo>
                    <a:pt x="474" y="32"/>
                  </a:lnTo>
                  <a:lnTo>
                    <a:pt x="468" y="22"/>
                  </a:lnTo>
                  <a:lnTo>
                    <a:pt x="464" y="12"/>
                  </a:lnTo>
                  <a:lnTo>
                    <a:pt x="458" y="8"/>
                  </a:lnTo>
                  <a:lnTo>
                    <a:pt x="454" y="8"/>
                  </a:lnTo>
                  <a:lnTo>
                    <a:pt x="450" y="10"/>
                  </a:lnTo>
                  <a:lnTo>
                    <a:pt x="446" y="16"/>
                  </a:lnTo>
                  <a:lnTo>
                    <a:pt x="444" y="22"/>
                  </a:lnTo>
                  <a:lnTo>
                    <a:pt x="444" y="28"/>
                  </a:lnTo>
                  <a:lnTo>
                    <a:pt x="444" y="34"/>
                  </a:lnTo>
                  <a:lnTo>
                    <a:pt x="448" y="40"/>
                  </a:lnTo>
                  <a:lnTo>
                    <a:pt x="452" y="48"/>
                  </a:lnTo>
                  <a:lnTo>
                    <a:pt x="452" y="50"/>
                  </a:lnTo>
                  <a:lnTo>
                    <a:pt x="448" y="52"/>
                  </a:lnTo>
                  <a:lnTo>
                    <a:pt x="430" y="56"/>
                  </a:lnTo>
                  <a:lnTo>
                    <a:pt x="420" y="60"/>
                  </a:lnTo>
                  <a:lnTo>
                    <a:pt x="410" y="64"/>
                  </a:lnTo>
                  <a:lnTo>
                    <a:pt x="402" y="70"/>
                  </a:lnTo>
                  <a:lnTo>
                    <a:pt x="398" y="74"/>
                  </a:lnTo>
                  <a:lnTo>
                    <a:pt x="392" y="80"/>
                  </a:lnTo>
                  <a:lnTo>
                    <a:pt x="390" y="78"/>
                  </a:lnTo>
                  <a:lnTo>
                    <a:pt x="388" y="72"/>
                  </a:lnTo>
                  <a:lnTo>
                    <a:pt x="386" y="64"/>
                  </a:lnTo>
                  <a:lnTo>
                    <a:pt x="380" y="56"/>
                  </a:lnTo>
                  <a:lnTo>
                    <a:pt x="376" y="52"/>
                  </a:lnTo>
                  <a:lnTo>
                    <a:pt x="376" y="48"/>
                  </a:lnTo>
                  <a:lnTo>
                    <a:pt x="378" y="44"/>
                  </a:lnTo>
                  <a:lnTo>
                    <a:pt x="382" y="40"/>
                  </a:lnTo>
                  <a:lnTo>
                    <a:pt x="392" y="32"/>
                  </a:lnTo>
                  <a:lnTo>
                    <a:pt x="402" y="26"/>
                  </a:lnTo>
                  <a:lnTo>
                    <a:pt x="406" y="24"/>
                  </a:lnTo>
                  <a:lnTo>
                    <a:pt x="410" y="20"/>
                  </a:lnTo>
                  <a:lnTo>
                    <a:pt x="410" y="14"/>
                  </a:lnTo>
                  <a:lnTo>
                    <a:pt x="410" y="10"/>
                  </a:lnTo>
                  <a:lnTo>
                    <a:pt x="408" y="6"/>
                  </a:lnTo>
                  <a:lnTo>
                    <a:pt x="404" y="2"/>
                  </a:lnTo>
                  <a:lnTo>
                    <a:pt x="398" y="0"/>
                  </a:lnTo>
                  <a:lnTo>
                    <a:pt x="390" y="0"/>
                  </a:lnTo>
                  <a:lnTo>
                    <a:pt x="378" y="4"/>
                  </a:lnTo>
                  <a:lnTo>
                    <a:pt x="374" y="6"/>
                  </a:lnTo>
                  <a:lnTo>
                    <a:pt x="370" y="10"/>
                  </a:lnTo>
                  <a:lnTo>
                    <a:pt x="362" y="20"/>
                  </a:lnTo>
                  <a:lnTo>
                    <a:pt x="354" y="26"/>
                  </a:lnTo>
                  <a:lnTo>
                    <a:pt x="344" y="36"/>
                  </a:lnTo>
                  <a:lnTo>
                    <a:pt x="328" y="46"/>
                  </a:lnTo>
                  <a:lnTo>
                    <a:pt x="316" y="50"/>
                  </a:lnTo>
                  <a:lnTo>
                    <a:pt x="306" y="52"/>
                  </a:lnTo>
                  <a:lnTo>
                    <a:pt x="298" y="52"/>
                  </a:lnTo>
                  <a:lnTo>
                    <a:pt x="294" y="50"/>
                  </a:lnTo>
                  <a:lnTo>
                    <a:pt x="290" y="50"/>
                  </a:lnTo>
                  <a:lnTo>
                    <a:pt x="286" y="52"/>
                  </a:lnTo>
                  <a:lnTo>
                    <a:pt x="284" y="58"/>
                  </a:lnTo>
                  <a:lnTo>
                    <a:pt x="280" y="66"/>
                  </a:lnTo>
                  <a:lnTo>
                    <a:pt x="276" y="68"/>
                  </a:lnTo>
                  <a:lnTo>
                    <a:pt x="270" y="68"/>
                  </a:lnTo>
                  <a:lnTo>
                    <a:pt x="266" y="66"/>
                  </a:lnTo>
                  <a:lnTo>
                    <a:pt x="256" y="62"/>
                  </a:lnTo>
                  <a:lnTo>
                    <a:pt x="252" y="64"/>
                  </a:lnTo>
                  <a:lnTo>
                    <a:pt x="250" y="68"/>
                  </a:lnTo>
                  <a:lnTo>
                    <a:pt x="248" y="72"/>
                  </a:lnTo>
                  <a:lnTo>
                    <a:pt x="244" y="78"/>
                  </a:lnTo>
                  <a:lnTo>
                    <a:pt x="238" y="86"/>
                  </a:lnTo>
                  <a:lnTo>
                    <a:pt x="234" y="92"/>
                  </a:lnTo>
                  <a:lnTo>
                    <a:pt x="232" y="100"/>
                  </a:lnTo>
                  <a:lnTo>
                    <a:pt x="230" y="110"/>
                  </a:lnTo>
                  <a:lnTo>
                    <a:pt x="230" y="122"/>
                  </a:lnTo>
                  <a:lnTo>
                    <a:pt x="230" y="134"/>
                  </a:lnTo>
                  <a:lnTo>
                    <a:pt x="226" y="142"/>
                  </a:lnTo>
                  <a:lnTo>
                    <a:pt x="224" y="144"/>
                  </a:lnTo>
                  <a:lnTo>
                    <a:pt x="220" y="146"/>
                  </a:lnTo>
                  <a:lnTo>
                    <a:pt x="214" y="146"/>
                  </a:lnTo>
                  <a:lnTo>
                    <a:pt x="210" y="148"/>
                  </a:lnTo>
                  <a:lnTo>
                    <a:pt x="208" y="150"/>
                  </a:lnTo>
                  <a:lnTo>
                    <a:pt x="206" y="158"/>
                  </a:lnTo>
                  <a:lnTo>
                    <a:pt x="202" y="166"/>
                  </a:lnTo>
                  <a:lnTo>
                    <a:pt x="198" y="170"/>
                  </a:lnTo>
                  <a:lnTo>
                    <a:pt x="180" y="202"/>
                  </a:lnTo>
                  <a:lnTo>
                    <a:pt x="182" y="212"/>
                  </a:lnTo>
                  <a:lnTo>
                    <a:pt x="182" y="214"/>
                  </a:lnTo>
                  <a:lnTo>
                    <a:pt x="180" y="214"/>
                  </a:lnTo>
                  <a:lnTo>
                    <a:pt x="176" y="210"/>
                  </a:lnTo>
                  <a:lnTo>
                    <a:pt x="144" y="264"/>
                  </a:lnTo>
                  <a:lnTo>
                    <a:pt x="146" y="274"/>
                  </a:lnTo>
                  <a:lnTo>
                    <a:pt x="148" y="278"/>
                  </a:lnTo>
                  <a:lnTo>
                    <a:pt x="152" y="280"/>
                  </a:lnTo>
                  <a:lnTo>
                    <a:pt x="156" y="284"/>
                  </a:lnTo>
                  <a:lnTo>
                    <a:pt x="158" y="286"/>
                  </a:lnTo>
                  <a:lnTo>
                    <a:pt x="158" y="290"/>
                  </a:lnTo>
                  <a:lnTo>
                    <a:pt x="156" y="296"/>
                  </a:lnTo>
                  <a:lnTo>
                    <a:pt x="154" y="304"/>
                  </a:lnTo>
                  <a:lnTo>
                    <a:pt x="154" y="310"/>
                  </a:lnTo>
                  <a:lnTo>
                    <a:pt x="156" y="314"/>
                  </a:lnTo>
                  <a:lnTo>
                    <a:pt x="162" y="320"/>
                  </a:lnTo>
                  <a:lnTo>
                    <a:pt x="162" y="324"/>
                  </a:lnTo>
                  <a:lnTo>
                    <a:pt x="160" y="328"/>
                  </a:lnTo>
                  <a:lnTo>
                    <a:pt x="158" y="330"/>
                  </a:lnTo>
                  <a:lnTo>
                    <a:pt x="154" y="334"/>
                  </a:lnTo>
                  <a:lnTo>
                    <a:pt x="152" y="338"/>
                  </a:lnTo>
                  <a:lnTo>
                    <a:pt x="150" y="348"/>
                  </a:lnTo>
                  <a:lnTo>
                    <a:pt x="152" y="360"/>
                  </a:lnTo>
                  <a:lnTo>
                    <a:pt x="154" y="374"/>
                  </a:lnTo>
                  <a:lnTo>
                    <a:pt x="154" y="386"/>
                  </a:lnTo>
                  <a:lnTo>
                    <a:pt x="152" y="406"/>
                  </a:lnTo>
                  <a:lnTo>
                    <a:pt x="152" y="418"/>
                  </a:lnTo>
                  <a:lnTo>
                    <a:pt x="152" y="422"/>
                  </a:lnTo>
                  <a:lnTo>
                    <a:pt x="156" y="424"/>
                  </a:lnTo>
                  <a:lnTo>
                    <a:pt x="158" y="428"/>
                  </a:lnTo>
                  <a:lnTo>
                    <a:pt x="158" y="434"/>
                  </a:lnTo>
                  <a:lnTo>
                    <a:pt x="158" y="444"/>
                  </a:lnTo>
                  <a:lnTo>
                    <a:pt x="154" y="454"/>
                  </a:lnTo>
                  <a:lnTo>
                    <a:pt x="150" y="464"/>
                  </a:lnTo>
                  <a:lnTo>
                    <a:pt x="144" y="472"/>
                  </a:lnTo>
                  <a:lnTo>
                    <a:pt x="138" y="478"/>
                  </a:lnTo>
                  <a:lnTo>
                    <a:pt x="132" y="480"/>
                  </a:lnTo>
                  <a:lnTo>
                    <a:pt x="118" y="482"/>
                  </a:lnTo>
                  <a:lnTo>
                    <a:pt x="110" y="486"/>
                  </a:lnTo>
                  <a:lnTo>
                    <a:pt x="106" y="490"/>
                  </a:lnTo>
                  <a:lnTo>
                    <a:pt x="104" y="494"/>
                  </a:lnTo>
                  <a:lnTo>
                    <a:pt x="104" y="498"/>
                  </a:lnTo>
                  <a:lnTo>
                    <a:pt x="104" y="504"/>
                  </a:lnTo>
                  <a:lnTo>
                    <a:pt x="104" y="510"/>
                  </a:lnTo>
                  <a:lnTo>
                    <a:pt x="102" y="512"/>
                  </a:lnTo>
                  <a:lnTo>
                    <a:pt x="96" y="516"/>
                  </a:lnTo>
                  <a:lnTo>
                    <a:pt x="92" y="518"/>
                  </a:lnTo>
                  <a:lnTo>
                    <a:pt x="92" y="520"/>
                  </a:lnTo>
                  <a:lnTo>
                    <a:pt x="94" y="526"/>
                  </a:lnTo>
                  <a:lnTo>
                    <a:pt x="98" y="536"/>
                  </a:lnTo>
                  <a:lnTo>
                    <a:pt x="98" y="540"/>
                  </a:lnTo>
                  <a:lnTo>
                    <a:pt x="98" y="542"/>
                  </a:lnTo>
                  <a:lnTo>
                    <a:pt x="92" y="548"/>
                  </a:lnTo>
                  <a:lnTo>
                    <a:pt x="84" y="552"/>
                  </a:lnTo>
                  <a:lnTo>
                    <a:pt x="74" y="554"/>
                  </a:lnTo>
                  <a:lnTo>
                    <a:pt x="64" y="558"/>
                  </a:lnTo>
                  <a:lnTo>
                    <a:pt x="56" y="562"/>
                  </a:lnTo>
                  <a:lnTo>
                    <a:pt x="50" y="570"/>
                  </a:lnTo>
                  <a:lnTo>
                    <a:pt x="50" y="574"/>
                  </a:lnTo>
                  <a:lnTo>
                    <a:pt x="50" y="578"/>
                  </a:lnTo>
                  <a:lnTo>
                    <a:pt x="50" y="592"/>
                  </a:lnTo>
                  <a:lnTo>
                    <a:pt x="48" y="600"/>
                  </a:lnTo>
                  <a:lnTo>
                    <a:pt x="46" y="606"/>
                  </a:lnTo>
                  <a:lnTo>
                    <a:pt x="42" y="610"/>
                  </a:lnTo>
                  <a:lnTo>
                    <a:pt x="36" y="618"/>
                  </a:lnTo>
                  <a:lnTo>
                    <a:pt x="34" y="624"/>
                  </a:lnTo>
                  <a:lnTo>
                    <a:pt x="34" y="632"/>
                  </a:lnTo>
                  <a:lnTo>
                    <a:pt x="34" y="642"/>
                  </a:lnTo>
                  <a:lnTo>
                    <a:pt x="30" y="646"/>
                  </a:lnTo>
                  <a:lnTo>
                    <a:pt x="28" y="648"/>
                  </a:lnTo>
                  <a:lnTo>
                    <a:pt x="22" y="650"/>
                  </a:lnTo>
                  <a:lnTo>
                    <a:pt x="18" y="652"/>
                  </a:lnTo>
                  <a:lnTo>
                    <a:pt x="16" y="654"/>
                  </a:lnTo>
                  <a:lnTo>
                    <a:pt x="14" y="660"/>
                  </a:lnTo>
                  <a:lnTo>
                    <a:pt x="16" y="670"/>
                  </a:lnTo>
                  <a:lnTo>
                    <a:pt x="18" y="688"/>
                  </a:lnTo>
                  <a:lnTo>
                    <a:pt x="20" y="698"/>
                  </a:lnTo>
                  <a:lnTo>
                    <a:pt x="18" y="706"/>
                  </a:lnTo>
                  <a:lnTo>
                    <a:pt x="18" y="710"/>
                  </a:lnTo>
                  <a:lnTo>
                    <a:pt x="16" y="714"/>
                  </a:lnTo>
                  <a:lnTo>
                    <a:pt x="18" y="716"/>
                  </a:lnTo>
                  <a:lnTo>
                    <a:pt x="28" y="728"/>
                  </a:lnTo>
                  <a:lnTo>
                    <a:pt x="34" y="734"/>
                  </a:lnTo>
                  <a:lnTo>
                    <a:pt x="42" y="736"/>
                  </a:lnTo>
                  <a:lnTo>
                    <a:pt x="46" y="736"/>
                  </a:lnTo>
                  <a:lnTo>
                    <a:pt x="50" y="732"/>
                  </a:lnTo>
                  <a:lnTo>
                    <a:pt x="54" y="726"/>
                  </a:lnTo>
                  <a:lnTo>
                    <a:pt x="56" y="726"/>
                  </a:lnTo>
                  <a:lnTo>
                    <a:pt x="56" y="730"/>
                  </a:lnTo>
                  <a:lnTo>
                    <a:pt x="56" y="744"/>
                  </a:lnTo>
                  <a:lnTo>
                    <a:pt x="54" y="756"/>
                  </a:lnTo>
                  <a:lnTo>
                    <a:pt x="52" y="760"/>
                  </a:lnTo>
                  <a:lnTo>
                    <a:pt x="48" y="766"/>
                  </a:lnTo>
                  <a:lnTo>
                    <a:pt x="44" y="768"/>
                  </a:lnTo>
                  <a:lnTo>
                    <a:pt x="38" y="770"/>
                  </a:lnTo>
                  <a:lnTo>
                    <a:pt x="22" y="786"/>
                  </a:lnTo>
                  <a:lnTo>
                    <a:pt x="12" y="800"/>
                  </a:lnTo>
                  <a:lnTo>
                    <a:pt x="6" y="812"/>
                  </a:lnTo>
                  <a:lnTo>
                    <a:pt x="2" y="824"/>
                  </a:lnTo>
                  <a:lnTo>
                    <a:pt x="0" y="836"/>
                  </a:lnTo>
                  <a:lnTo>
                    <a:pt x="0" y="844"/>
                  </a:lnTo>
                  <a:lnTo>
                    <a:pt x="2" y="860"/>
                  </a:lnTo>
                  <a:lnTo>
                    <a:pt x="4" y="866"/>
                  </a:lnTo>
                  <a:lnTo>
                    <a:pt x="8" y="870"/>
                  </a:lnTo>
                  <a:lnTo>
                    <a:pt x="16" y="876"/>
                  </a:lnTo>
                  <a:lnTo>
                    <a:pt x="18" y="878"/>
                  </a:lnTo>
                  <a:lnTo>
                    <a:pt x="18" y="882"/>
                  </a:lnTo>
                  <a:lnTo>
                    <a:pt x="18" y="884"/>
                  </a:lnTo>
                  <a:lnTo>
                    <a:pt x="12" y="888"/>
                  </a:lnTo>
                  <a:lnTo>
                    <a:pt x="8" y="892"/>
                  </a:lnTo>
                  <a:lnTo>
                    <a:pt x="6" y="896"/>
                  </a:lnTo>
                  <a:lnTo>
                    <a:pt x="6" y="900"/>
                  </a:lnTo>
                  <a:lnTo>
                    <a:pt x="6" y="902"/>
                  </a:lnTo>
                  <a:lnTo>
                    <a:pt x="12" y="908"/>
                  </a:lnTo>
                  <a:lnTo>
                    <a:pt x="22" y="914"/>
                  </a:lnTo>
                  <a:lnTo>
                    <a:pt x="44" y="926"/>
                  </a:lnTo>
                  <a:lnTo>
                    <a:pt x="54" y="934"/>
                  </a:lnTo>
                  <a:lnTo>
                    <a:pt x="56" y="938"/>
                  </a:lnTo>
                  <a:lnTo>
                    <a:pt x="58" y="944"/>
                  </a:lnTo>
                  <a:lnTo>
                    <a:pt x="62" y="960"/>
                  </a:lnTo>
                  <a:lnTo>
                    <a:pt x="68" y="972"/>
                  </a:lnTo>
                  <a:lnTo>
                    <a:pt x="74" y="980"/>
                  </a:lnTo>
                  <a:lnTo>
                    <a:pt x="80" y="988"/>
                  </a:lnTo>
                  <a:lnTo>
                    <a:pt x="92" y="1004"/>
                  </a:lnTo>
                  <a:lnTo>
                    <a:pt x="96" y="1014"/>
                  </a:lnTo>
                  <a:lnTo>
                    <a:pt x="100" y="1026"/>
                  </a:lnTo>
                  <a:lnTo>
                    <a:pt x="104" y="1040"/>
                  </a:lnTo>
                  <a:lnTo>
                    <a:pt x="108" y="1056"/>
                  </a:lnTo>
                  <a:lnTo>
                    <a:pt x="122" y="1086"/>
                  </a:lnTo>
                  <a:lnTo>
                    <a:pt x="136" y="1114"/>
                  </a:lnTo>
                  <a:lnTo>
                    <a:pt x="142" y="1128"/>
                  </a:lnTo>
                  <a:lnTo>
                    <a:pt x="146" y="1142"/>
                  </a:lnTo>
                  <a:lnTo>
                    <a:pt x="148" y="1152"/>
                  </a:lnTo>
                  <a:lnTo>
                    <a:pt x="152" y="1160"/>
                  </a:lnTo>
                  <a:lnTo>
                    <a:pt x="158" y="1172"/>
                  </a:lnTo>
                  <a:lnTo>
                    <a:pt x="162" y="1180"/>
                  </a:lnTo>
                  <a:lnTo>
                    <a:pt x="164" y="1186"/>
                  </a:lnTo>
                  <a:lnTo>
                    <a:pt x="164" y="1194"/>
                  </a:lnTo>
                  <a:lnTo>
                    <a:pt x="166" y="1202"/>
                  </a:lnTo>
                  <a:lnTo>
                    <a:pt x="172" y="1210"/>
                  </a:lnTo>
                  <a:lnTo>
                    <a:pt x="184" y="1228"/>
                  </a:lnTo>
                  <a:lnTo>
                    <a:pt x="192" y="1238"/>
                  </a:lnTo>
                  <a:lnTo>
                    <a:pt x="198" y="1248"/>
                  </a:lnTo>
                  <a:lnTo>
                    <a:pt x="200" y="1260"/>
                  </a:lnTo>
                  <a:lnTo>
                    <a:pt x="200" y="1274"/>
                  </a:lnTo>
                  <a:lnTo>
                    <a:pt x="200" y="1286"/>
                  </a:lnTo>
                  <a:lnTo>
                    <a:pt x="204" y="1298"/>
                  </a:lnTo>
                  <a:lnTo>
                    <a:pt x="208" y="1308"/>
                  </a:lnTo>
                  <a:lnTo>
                    <a:pt x="214" y="1316"/>
                  </a:lnTo>
                  <a:lnTo>
                    <a:pt x="228" y="1330"/>
                  </a:lnTo>
                  <a:lnTo>
                    <a:pt x="234" y="1338"/>
                  </a:lnTo>
                  <a:lnTo>
                    <a:pt x="238" y="1344"/>
                  </a:lnTo>
                  <a:lnTo>
                    <a:pt x="246" y="1356"/>
                  </a:lnTo>
                  <a:lnTo>
                    <a:pt x="256" y="1368"/>
                  </a:lnTo>
                  <a:lnTo>
                    <a:pt x="278" y="1384"/>
                  </a:lnTo>
                  <a:lnTo>
                    <a:pt x="318" y="1406"/>
                  </a:lnTo>
                  <a:lnTo>
                    <a:pt x="358" y="1428"/>
                  </a:lnTo>
                  <a:lnTo>
                    <a:pt x="380" y="1442"/>
                  </a:lnTo>
                  <a:lnTo>
                    <a:pt x="388" y="1448"/>
                  </a:lnTo>
                  <a:lnTo>
                    <a:pt x="392" y="1454"/>
                  </a:lnTo>
                  <a:lnTo>
                    <a:pt x="396" y="1460"/>
                  </a:lnTo>
                  <a:lnTo>
                    <a:pt x="398" y="1468"/>
                  </a:lnTo>
                  <a:lnTo>
                    <a:pt x="400" y="1474"/>
                  </a:lnTo>
                  <a:lnTo>
                    <a:pt x="404" y="1480"/>
                  </a:lnTo>
                  <a:lnTo>
                    <a:pt x="408" y="1486"/>
                  </a:lnTo>
                  <a:lnTo>
                    <a:pt x="414" y="1490"/>
                  </a:lnTo>
                  <a:lnTo>
                    <a:pt x="426" y="1496"/>
                  </a:lnTo>
                  <a:lnTo>
                    <a:pt x="434" y="1500"/>
                  </a:lnTo>
                  <a:lnTo>
                    <a:pt x="440" y="1506"/>
                  </a:lnTo>
                  <a:lnTo>
                    <a:pt x="438" y="1532"/>
                  </a:lnTo>
                  <a:lnTo>
                    <a:pt x="440" y="1542"/>
                  </a:lnTo>
                  <a:lnTo>
                    <a:pt x="442" y="1546"/>
                  </a:lnTo>
                  <a:lnTo>
                    <a:pt x="442" y="1552"/>
                  </a:lnTo>
                  <a:lnTo>
                    <a:pt x="444" y="1564"/>
                  </a:lnTo>
                  <a:lnTo>
                    <a:pt x="446" y="1574"/>
                  </a:lnTo>
                  <a:lnTo>
                    <a:pt x="448" y="1586"/>
                  </a:lnTo>
                  <a:lnTo>
                    <a:pt x="448" y="1594"/>
                  </a:lnTo>
                  <a:lnTo>
                    <a:pt x="448" y="1604"/>
                  </a:lnTo>
                  <a:lnTo>
                    <a:pt x="446" y="1614"/>
                  </a:lnTo>
                  <a:lnTo>
                    <a:pt x="446" y="1624"/>
                  </a:lnTo>
                  <a:lnTo>
                    <a:pt x="450" y="1640"/>
                  </a:lnTo>
                  <a:lnTo>
                    <a:pt x="452" y="1658"/>
                  </a:lnTo>
                  <a:lnTo>
                    <a:pt x="452" y="1670"/>
                  </a:lnTo>
                  <a:lnTo>
                    <a:pt x="448" y="1686"/>
                  </a:lnTo>
                  <a:lnTo>
                    <a:pt x="444" y="1716"/>
                  </a:lnTo>
                  <a:lnTo>
                    <a:pt x="442" y="1732"/>
                  </a:lnTo>
                  <a:lnTo>
                    <a:pt x="440" y="1742"/>
                  </a:lnTo>
                  <a:lnTo>
                    <a:pt x="440" y="1744"/>
                  </a:lnTo>
                  <a:lnTo>
                    <a:pt x="438" y="1744"/>
                  </a:lnTo>
                  <a:lnTo>
                    <a:pt x="436" y="1744"/>
                  </a:lnTo>
                  <a:lnTo>
                    <a:pt x="434" y="1746"/>
                  </a:lnTo>
                  <a:lnTo>
                    <a:pt x="430" y="1752"/>
                  </a:lnTo>
                  <a:lnTo>
                    <a:pt x="430" y="1760"/>
                  </a:lnTo>
                  <a:lnTo>
                    <a:pt x="430" y="1762"/>
                  </a:lnTo>
                  <a:lnTo>
                    <a:pt x="434" y="1764"/>
                  </a:lnTo>
                  <a:lnTo>
                    <a:pt x="436" y="1768"/>
                  </a:lnTo>
                  <a:lnTo>
                    <a:pt x="436" y="1772"/>
                  </a:lnTo>
                  <a:lnTo>
                    <a:pt x="434" y="1788"/>
                  </a:lnTo>
                  <a:lnTo>
                    <a:pt x="430" y="1808"/>
                  </a:lnTo>
                  <a:lnTo>
                    <a:pt x="432" y="1820"/>
                  </a:lnTo>
                  <a:lnTo>
                    <a:pt x="434" y="1834"/>
                  </a:lnTo>
                  <a:lnTo>
                    <a:pt x="436" y="1846"/>
                  </a:lnTo>
                  <a:lnTo>
                    <a:pt x="436" y="1856"/>
                  </a:lnTo>
                  <a:lnTo>
                    <a:pt x="434" y="1864"/>
                  </a:lnTo>
                  <a:lnTo>
                    <a:pt x="432" y="1870"/>
                  </a:lnTo>
                  <a:lnTo>
                    <a:pt x="428" y="1882"/>
                  </a:lnTo>
                  <a:lnTo>
                    <a:pt x="428" y="1888"/>
                  </a:lnTo>
                  <a:lnTo>
                    <a:pt x="430" y="1894"/>
                  </a:lnTo>
                  <a:lnTo>
                    <a:pt x="432" y="1900"/>
                  </a:lnTo>
                  <a:lnTo>
                    <a:pt x="430" y="1908"/>
                  </a:lnTo>
                  <a:lnTo>
                    <a:pt x="424" y="1928"/>
                  </a:lnTo>
                  <a:lnTo>
                    <a:pt x="418" y="1946"/>
                  </a:lnTo>
                  <a:lnTo>
                    <a:pt x="416" y="1956"/>
                  </a:lnTo>
                  <a:lnTo>
                    <a:pt x="416" y="1964"/>
                  </a:lnTo>
                  <a:lnTo>
                    <a:pt x="416" y="1974"/>
                  </a:lnTo>
                  <a:lnTo>
                    <a:pt x="414" y="1978"/>
                  </a:lnTo>
                  <a:lnTo>
                    <a:pt x="410" y="1986"/>
                  </a:lnTo>
                  <a:lnTo>
                    <a:pt x="408" y="2004"/>
                  </a:lnTo>
                  <a:lnTo>
                    <a:pt x="408" y="2016"/>
                  </a:lnTo>
                  <a:lnTo>
                    <a:pt x="404" y="2024"/>
                  </a:lnTo>
                  <a:lnTo>
                    <a:pt x="400" y="2030"/>
                  </a:lnTo>
                  <a:lnTo>
                    <a:pt x="398" y="2036"/>
                  </a:lnTo>
                  <a:lnTo>
                    <a:pt x="394" y="2040"/>
                  </a:lnTo>
                  <a:lnTo>
                    <a:pt x="392" y="2044"/>
                  </a:lnTo>
                  <a:lnTo>
                    <a:pt x="392" y="2048"/>
                  </a:lnTo>
                  <a:lnTo>
                    <a:pt x="394" y="2056"/>
                  </a:lnTo>
                  <a:lnTo>
                    <a:pt x="400" y="2072"/>
                  </a:lnTo>
                  <a:lnTo>
                    <a:pt x="402" y="2086"/>
                  </a:lnTo>
                  <a:lnTo>
                    <a:pt x="402" y="2098"/>
                  </a:lnTo>
                  <a:lnTo>
                    <a:pt x="400" y="2104"/>
                  </a:lnTo>
                  <a:lnTo>
                    <a:pt x="398" y="2108"/>
                  </a:lnTo>
                  <a:lnTo>
                    <a:pt x="390" y="2116"/>
                  </a:lnTo>
                  <a:lnTo>
                    <a:pt x="386" y="2124"/>
                  </a:lnTo>
                  <a:lnTo>
                    <a:pt x="384" y="2130"/>
                  </a:lnTo>
                  <a:lnTo>
                    <a:pt x="384" y="2138"/>
                  </a:lnTo>
                  <a:lnTo>
                    <a:pt x="388" y="2162"/>
                  </a:lnTo>
                  <a:lnTo>
                    <a:pt x="392" y="2186"/>
                  </a:lnTo>
                  <a:lnTo>
                    <a:pt x="392" y="2200"/>
                  </a:lnTo>
                  <a:lnTo>
                    <a:pt x="392" y="2212"/>
                  </a:lnTo>
                  <a:lnTo>
                    <a:pt x="396" y="2224"/>
                  </a:lnTo>
                  <a:lnTo>
                    <a:pt x="398" y="2230"/>
                  </a:lnTo>
                  <a:lnTo>
                    <a:pt x="398" y="2236"/>
                  </a:lnTo>
                  <a:lnTo>
                    <a:pt x="392" y="2248"/>
                  </a:lnTo>
                  <a:lnTo>
                    <a:pt x="386" y="2262"/>
                  </a:lnTo>
                  <a:lnTo>
                    <a:pt x="386" y="2270"/>
                  </a:lnTo>
                  <a:lnTo>
                    <a:pt x="386" y="2280"/>
                  </a:lnTo>
                  <a:lnTo>
                    <a:pt x="388" y="2288"/>
                  </a:lnTo>
                  <a:lnTo>
                    <a:pt x="388" y="2292"/>
                  </a:lnTo>
                  <a:lnTo>
                    <a:pt x="386" y="2294"/>
                  </a:lnTo>
                  <a:lnTo>
                    <a:pt x="384" y="2298"/>
                  </a:lnTo>
                  <a:lnTo>
                    <a:pt x="380" y="2300"/>
                  </a:lnTo>
                  <a:lnTo>
                    <a:pt x="378" y="2306"/>
                  </a:lnTo>
                  <a:lnTo>
                    <a:pt x="376" y="2314"/>
                  </a:lnTo>
                  <a:lnTo>
                    <a:pt x="374" y="2328"/>
                  </a:lnTo>
                  <a:lnTo>
                    <a:pt x="372" y="2342"/>
                  </a:lnTo>
                  <a:lnTo>
                    <a:pt x="370" y="2354"/>
                  </a:lnTo>
                  <a:lnTo>
                    <a:pt x="362" y="2376"/>
                  </a:lnTo>
                  <a:lnTo>
                    <a:pt x="354" y="2390"/>
                  </a:lnTo>
                  <a:lnTo>
                    <a:pt x="350" y="2402"/>
                  </a:lnTo>
                  <a:lnTo>
                    <a:pt x="348" y="2412"/>
                  </a:lnTo>
                  <a:lnTo>
                    <a:pt x="344" y="2414"/>
                  </a:lnTo>
                  <a:lnTo>
                    <a:pt x="342" y="2420"/>
                  </a:lnTo>
                  <a:lnTo>
                    <a:pt x="338" y="2434"/>
                  </a:lnTo>
                  <a:lnTo>
                    <a:pt x="336" y="2446"/>
                  </a:lnTo>
                  <a:lnTo>
                    <a:pt x="334" y="2452"/>
                  </a:lnTo>
                  <a:lnTo>
                    <a:pt x="334" y="2454"/>
                  </a:lnTo>
                  <a:lnTo>
                    <a:pt x="332" y="2454"/>
                  </a:lnTo>
                  <a:lnTo>
                    <a:pt x="330" y="2452"/>
                  </a:lnTo>
                  <a:lnTo>
                    <a:pt x="328" y="2462"/>
                  </a:lnTo>
                  <a:lnTo>
                    <a:pt x="326" y="2474"/>
                  </a:lnTo>
                  <a:lnTo>
                    <a:pt x="324" y="2480"/>
                  </a:lnTo>
                  <a:lnTo>
                    <a:pt x="320" y="2482"/>
                  </a:lnTo>
                  <a:lnTo>
                    <a:pt x="318" y="2482"/>
                  </a:lnTo>
                  <a:lnTo>
                    <a:pt x="310" y="2480"/>
                  </a:lnTo>
                  <a:lnTo>
                    <a:pt x="308" y="2482"/>
                  </a:lnTo>
                  <a:lnTo>
                    <a:pt x="306" y="2486"/>
                  </a:lnTo>
                  <a:lnTo>
                    <a:pt x="306" y="2498"/>
                  </a:lnTo>
                  <a:lnTo>
                    <a:pt x="306" y="2506"/>
                  </a:lnTo>
                  <a:lnTo>
                    <a:pt x="310" y="2514"/>
                  </a:lnTo>
                  <a:lnTo>
                    <a:pt x="314" y="2522"/>
                  </a:lnTo>
                  <a:lnTo>
                    <a:pt x="314" y="2530"/>
                  </a:lnTo>
                  <a:lnTo>
                    <a:pt x="314" y="2540"/>
                  </a:lnTo>
                  <a:lnTo>
                    <a:pt x="312" y="2552"/>
                  </a:lnTo>
                  <a:lnTo>
                    <a:pt x="314" y="2560"/>
                  </a:lnTo>
                  <a:lnTo>
                    <a:pt x="318" y="2572"/>
                  </a:lnTo>
                  <a:lnTo>
                    <a:pt x="320" y="2576"/>
                  </a:lnTo>
                  <a:lnTo>
                    <a:pt x="322" y="2584"/>
                  </a:lnTo>
                  <a:lnTo>
                    <a:pt x="324" y="2594"/>
                  </a:lnTo>
                  <a:lnTo>
                    <a:pt x="322" y="2606"/>
                  </a:lnTo>
                  <a:lnTo>
                    <a:pt x="320" y="2618"/>
                  </a:lnTo>
                  <a:lnTo>
                    <a:pt x="316" y="2624"/>
                  </a:lnTo>
                  <a:lnTo>
                    <a:pt x="314" y="2626"/>
                  </a:lnTo>
                  <a:lnTo>
                    <a:pt x="310" y="2626"/>
                  </a:lnTo>
                  <a:lnTo>
                    <a:pt x="308" y="2626"/>
                  </a:lnTo>
                  <a:lnTo>
                    <a:pt x="306" y="2628"/>
                  </a:lnTo>
                  <a:lnTo>
                    <a:pt x="304" y="2632"/>
                  </a:lnTo>
                  <a:lnTo>
                    <a:pt x="304" y="2642"/>
                  </a:lnTo>
                  <a:lnTo>
                    <a:pt x="302" y="2658"/>
                  </a:lnTo>
                  <a:lnTo>
                    <a:pt x="298" y="2670"/>
                  </a:lnTo>
                  <a:lnTo>
                    <a:pt x="294" y="2686"/>
                  </a:lnTo>
                  <a:lnTo>
                    <a:pt x="292" y="2692"/>
                  </a:lnTo>
                  <a:lnTo>
                    <a:pt x="292" y="2696"/>
                  </a:lnTo>
                  <a:lnTo>
                    <a:pt x="294" y="2704"/>
                  </a:lnTo>
                  <a:lnTo>
                    <a:pt x="298" y="2712"/>
                  </a:lnTo>
                  <a:lnTo>
                    <a:pt x="302" y="2722"/>
                  </a:lnTo>
                  <a:lnTo>
                    <a:pt x="308" y="2728"/>
                  </a:lnTo>
                  <a:lnTo>
                    <a:pt x="312" y="2732"/>
                  </a:lnTo>
                  <a:lnTo>
                    <a:pt x="316" y="2734"/>
                  </a:lnTo>
                  <a:lnTo>
                    <a:pt x="320" y="2734"/>
                  </a:lnTo>
                  <a:lnTo>
                    <a:pt x="324" y="2732"/>
                  </a:lnTo>
                  <a:lnTo>
                    <a:pt x="328" y="2728"/>
                  </a:lnTo>
                  <a:lnTo>
                    <a:pt x="330" y="2724"/>
                  </a:lnTo>
                  <a:lnTo>
                    <a:pt x="334" y="2716"/>
                  </a:lnTo>
                  <a:lnTo>
                    <a:pt x="336" y="2716"/>
                  </a:lnTo>
                  <a:lnTo>
                    <a:pt x="338" y="2718"/>
                  </a:lnTo>
                  <a:lnTo>
                    <a:pt x="342" y="2722"/>
                  </a:lnTo>
                  <a:lnTo>
                    <a:pt x="346" y="2726"/>
                  </a:lnTo>
                  <a:lnTo>
                    <a:pt x="348" y="2728"/>
                  </a:lnTo>
                  <a:lnTo>
                    <a:pt x="350" y="2730"/>
                  </a:lnTo>
                  <a:lnTo>
                    <a:pt x="350" y="2732"/>
                  </a:lnTo>
                  <a:lnTo>
                    <a:pt x="344" y="2738"/>
                  </a:lnTo>
                  <a:lnTo>
                    <a:pt x="340" y="2744"/>
                  </a:lnTo>
                  <a:lnTo>
                    <a:pt x="340" y="2746"/>
                  </a:lnTo>
                  <a:lnTo>
                    <a:pt x="344" y="2746"/>
                  </a:lnTo>
                  <a:lnTo>
                    <a:pt x="350" y="2748"/>
                  </a:lnTo>
                  <a:lnTo>
                    <a:pt x="354" y="2752"/>
                  </a:lnTo>
                  <a:lnTo>
                    <a:pt x="356" y="2754"/>
                  </a:lnTo>
                  <a:lnTo>
                    <a:pt x="356" y="2760"/>
                  </a:lnTo>
                  <a:lnTo>
                    <a:pt x="356" y="2766"/>
                  </a:lnTo>
                  <a:lnTo>
                    <a:pt x="354" y="2766"/>
                  </a:lnTo>
                  <a:lnTo>
                    <a:pt x="352" y="2764"/>
                  </a:lnTo>
                  <a:lnTo>
                    <a:pt x="348" y="2758"/>
                  </a:lnTo>
                  <a:lnTo>
                    <a:pt x="344" y="2758"/>
                  </a:lnTo>
                  <a:lnTo>
                    <a:pt x="342" y="2760"/>
                  </a:lnTo>
                  <a:lnTo>
                    <a:pt x="342" y="2766"/>
                  </a:lnTo>
                  <a:lnTo>
                    <a:pt x="342" y="2774"/>
                  </a:lnTo>
                  <a:lnTo>
                    <a:pt x="342" y="2778"/>
                  </a:lnTo>
                  <a:lnTo>
                    <a:pt x="340" y="2782"/>
                  </a:lnTo>
                  <a:lnTo>
                    <a:pt x="342" y="2792"/>
                  </a:lnTo>
                  <a:lnTo>
                    <a:pt x="342" y="2798"/>
                  </a:lnTo>
                  <a:lnTo>
                    <a:pt x="342" y="2804"/>
                  </a:lnTo>
                  <a:lnTo>
                    <a:pt x="336" y="2812"/>
                  </a:lnTo>
                  <a:lnTo>
                    <a:pt x="330" y="2820"/>
                  </a:lnTo>
                  <a:lnTo>
                    <a:pt x="330" y="2824"/>
                  </a:lnTo>
                  <a:lnTo>
                    <a:pt x="330" y="2830"/>
                  </a:lnTo>
                  <a:lnTo>
                    <a:pt x="334" y="2840"/>
                  </a:lnTo>
                  <a:lnTo>
                    <a:pt x="332" y="2852"/>
                  </a:lnTo>
                  <a:lnTo>
                    <a:pt x="330" y="2860"/>
                  </a:lnTo>
                  <a:lnTo>
                    <a:pt x="326" y="2864"/>
                  </a:lnTo>
                  <a:lnTo>
                    <a:pt x="324" y="2866"/>
                  </a:lnTo>
                  <a:lnTo>
                    <a:pt x="324" y="2870"/>
                  </a:lnTo>
                  <a:lnTo>
                    <a:pt x="330" y="2872"/>
                  </a:lnTo>
                  <a:lnTo>
                    <a:pt x="336" y="2874"/>
                  </a:lnTo>
                  <a:lnTo>
                    <a:pt x="344" y="2878"/>
                  </a:lnTo>
                  <a:lnTo>
                    <a:pt x="346" y="2882"/>
                  </a:lnTo>
                  <a:lnTo>
                    <a:pt x="348" y="2890"/>
                  </a:lnTo>
                  <a:lnTo>
                    <a:pt x="346" y="2896"/>
                  </a:lnTo>
                  <a:lnTo>
                    <a:pt x="342" y="2904"/>
                  </a:lnTo>
                  <a:lnTo>
                    <a:pt x="338" y="2908"/>
                  </a:lnTo>
                  <a:lnTo>
                    <a:pt x="332" y="2912"/>
                  </a:lnTo>
                  <a:lnTo>
                    <a:pt x="326" y="2916"/>
                  </a:lnTo>
                  <a:lnTo>
                    <a:pt x="320" y="2918"/>
                  </a:lnTo>
                  <a:lnTo>
                    <a:pt x="318" y="2922"/>
                  </a:lnTo>
                  <a:lnTo>
                    <a:pt x="320" y="2926"/>
                  </a:lnTo>
                  <a:lnTo>
                    <a:pt x="322" y="2930"/>
                  </a:lnTo>
                  <a:lnTo>
                    <a:pt x="322" y="2932"/>
                  </a:lnTo>
                  <a:lnTo>
                    <a:pt x="320" y="2936"/>
                  </a:lnTo>
                  <a:lnTo>
                    <a:pt x="316" y="2940"/>
                  </a:lnTo>
                  <a:lnTo>
                    <a:pt x="312" y="2946"/>
                  </a:lnTo>
                  <a:lnTo>
                    <a:pt x="312" y="2954"/>
                  </a:lnTo>
                  <a:lnTo>
                    <a:pt x="312" y="2956"/>
                  </a:lnTo>
                  <a:lnTo>
                    <a:pt x="312" y="2962"/>
                  </a:lnTo>
                  <a:lnTo>
                    <a:pt x="310" y="2974"/>
                  </a:lnTo>
                  <a:lnTo>
                    <a:pt x="308" y="2986"/>
                  </a:lnTo>
                  <a:lnTo>
                    <a:pt x="308" y="2994"/>
                  </a:lnTo>
                  <a:lnTo>
                    <a:pt x="306" y="3000"/>
                  </a:lnTo>
                  <a:lnTo>
                    <a:pt x="300" y="3006"/>
                  </a:lnTo>
                  <a:lnTo>
                    <a:pt x="298" y="3006"/>
                  </a:lnTo>
                  <a:lnTo>
                    <a:pt x="296" y="3006"/>
                  </a:lnTo>
                  <a:lnTo>
                    <a:pt x="298" y="2998"/>
                  </a:lnTo>
                  <a:lnTo>
                    <a:pt x="300" y="2988"/>
                  </a:lnTo>
                  <a:lnTo>
                    <a:pt x="300" y="2984"/>
                  </a:lnTo>
                  <a:lnTo>
                    <a:pt x="296" y="2980"/>
                  </a:lnTo>
                  <a:lnTo>
                    <a:pt x="292" y="2978"/>
                  </a:lnTo>
                  <a:lnTo>
                    <a:pt x="290" y="2974"/>
                  </a:lnTo>
                  <a:lnTo>
                    <a:pt x="290" y="2968"/>
                  </a:lnTo>
                  <a:lnTo>
                    <a:pt x="290" y="2964"/>
                  </a:lnTo>
                  <a:lnTo>
                    <a:pt x="288" y="2962"/>
                  </a:lnTo>
                  <a:lnTo>
                    <a:pt x="282" y="2962"/>
                  </a:lnTo>
                  <a:lnTo>
                    <a:pt x="276" y="2962"/>
                  </a:lnTo>
                  <a:lnTo>
                    <a:pt x="274" y="2964"/>
                  </a:lnTo>
                  <a:lnTo>
                    <a:pt x="274" y="2966"/>
                  </a:lnTo>
                  <a:lnTo>
                    <a:pt x="270" y="2964"/>
                  </a:lnTo>
                  <a:lnTo>
                    <a:pt x="268" y="2964"/>
                  </a:lnTo>
                  <a:lnTo>
                    <a:pt x="266" y="2964"/>
                  </a:lnTo>
                  <a:lnTo>
                    <a:pt x="266" y="2968"/>
                  </a:lnTo>
                  <a:lnTo>
                    <a:pt x="266" y="2972"/>
                  </a:lnTo>
                  <a:lnTo>
                    <a:pt x="264" y="2976"/>
                  </a:lnTo>
                  <a:lnTo>
                    <a:pt x="260" y="2980"/>
                  </a:lnTo>
                  <a:lnTo>
                    <a:pt x="254" y="2986"/>
                  </a:lnTo>
                  <a:lnTo>
                    <a:pt x="238" y="2994"/>
                  </a:lnTo>
                  <a:lnTo>
                    <a:pt x="228" y="3004"/>
                  </a:lnTo>
                  <a:lnTo>
                    <a:pt x="226" y="3008"/>
                  </a:lnTo>
                  <a:lnTo>
                    <a:pt x="224" y="3012"/>
                  </a:lnTo>
                  <a:lnTo>
                    <a:pt x="224" y="3016"/>
                  </a:lnTo>
                  <a:lnTo>
                    <a:pt x="226" y="3020"/>
                  </a:lnTo>
                  <a:lnTo>
                    <a:pt x="232" y="3026"/>
                  </a:lnTo>
                  <a:lnTo>
                    <a:pt x="236" y="3026"/>
                  </a:lnTo>
                  <a:lnTo>
                    <a:pt x="236" y="3024"/>
                  </a:lnTo>
                  <a:lnTo>
                    <a:pt x="238" y="3016"/>
                  </a:lnTo>
                  <a:lnTo>
                    <a:pt x="238" y="3010"/>
                  </a:lnTo>
                  <a:lnTo>
                    <a:pt x="242" y="3006"/>
                  </a:lnTo>
                  <a:lnTo>
                    <a:pt x="244" y="3006"/>
                  </a:lnTo>
                  <a:lnTo>
                    <a:pt x="248" y="3006"/>
                  </a:lnTo>
                  <a:lnTo>
                    <a:pt x="252" y="3012"/>
                  </a:lnTo>
                  <a:lnTo>
                    <a:pt x="256" y="3018"/>
                  </a:lnTo>
                  <a:lnTo>
                    <a:pt x="264" y="3022"/>
                  </a:lnTo>
                  <a:lnTo>
                    <a:pt x="272" y="3024"/>
                  </a:lnTo>
                  <a:lnTo>
                    <a:pt x="274" y="3022"/>
                  </a:lnTo>
                  <a:lnTo>
                    <a:pt x="274" y="3020"/>
                  </a:lnTo>
                  <a:lnTo>
                    <a:pt x="276" y="3016"/>
                  </a:lnTo>
                  <a:lnTo>
                    <a:pt x="278" y="3016"/>
                  </a:lnTo>
                  <a:lnTo>
                    <a:pt x="282" y="3018"/>
                  </a:lnTo>
                  <a:lnTo>
                    <a:pt x="286" y="3024"/>
                  </a:lnTo>
                  <a:lnTo>
                    <a:pt x="290" y="3026"/>
                  </a:lnTo>
                  <a:lnTo>
                    <a:pt x="292" y="3028"/>
                  </a:lnTo>
                  <a:lnTo>
                    <a:pt x="296" y="3030"/>
                  </a:lnTo>
                  <a:lnTo>
                    <a:pt x="296" y="3036"/>
                  </a:lnTo>
                  <a:lnTo>
                    <a:pt x="294" y="3040"/>
                  </a:lnTo>
                  <a:lnTo>
                    <a:pt x="292" y="3040"/>
                  </a:lnTo>
                  <a:lnTo>
                    <a:pt x="286" y="3042"/>
                  </a:lnTo>
                  <a:lnTo>
                    <a:pt x="280" y="3042"/>
                  </a:lnTo>
                  <a:lnTo>
                    <a:pt x="278" y="3044"/>
                  </a:lnTo>
                  <a:lnTo>
                    <a:pt x="276" y="3048"/>
                  </a:lnTo>
                  <a:lnTo>
                    <a:pt x="274" y="3054"/>
                  </a:lnTo>
                  <a:lnTo>
                    <a:pt x="274" y="3056"/>
                  </a:lnTo>
                  <a:lnTo>
                    <a:pt x="280" y="3062"/>
                  </a:lnTo>
                  <a:lnTo>
                    <a:pt x="284" y="3064"/>
                  </a:lnTo>
                  <a:lnTo>
                    <a:pt x="282" y="3064"/>
                  </a:lnTo>
                  <a:lnTo>
                    <a:pt x="272" y="3062"/>
                  </a:lnTo>
                  <a:lnTo>
                    <a:pt x="270" y="3062"/>
                  </a:lnTo>
                  <a:lnTo>
                    <a:pt x="268" y="3066"/>
                  </a:lnTo>
                  <a:lnTo>
                    <a:pt x="266" y="3072"/>
                  </a:lnTo>
                  <a:lnTo>
                    <a:pt x="268" y="3074"/>
                  </a:lnTo>
                  <a:lnTo>
                    <a:pt x="272" y="3074"/>
                  </a:lnTo>
                  <a:lnTo>
                    <a:pt x="282" y="3074"/>
                  </a:lnTo>
                  <a:lnTo>
                    <a:pt x="290" y="3074"/>
                  </a:lnTo>
                  <a:lnTo>
                    <a:pt x="296" y="3076"/>
                  </a:lnTo>
                  <a:lnTo>
                    <a:pt x="300" y="3078"/>
                  </a:lnTo>
                  <a:lnTo>
                    <a:pt x="302" y="3078"/>
                  </a:lnTo>
                  <a:lnTo>
                    <a:pt x="302" y="3074"/>
                  </a:lnTo>
                  <a:lnTo>
                    <a:pt x="304" y="3072"/>
                  </a:lnTo>
                  <a:lnTo>
                    <a:pt x="306" y="3072"/>
                  </a:lnTo>
                  <a:lnTo>
                    <a:pt x="310" y="3076"/>
                  </a:lnTo>
                  <a:lnTo>
                    <a:pt x="312" y="3080"/>
                  </a:lnTo>
                  <a:lnTo>
                    <a:pt x="312" y="3082"/>
                  </a:lnTo>
                  <a:lnTo>
                    <a:pt x="310" y="3084"/>
                  </a:lnTo>
                  <a:lnTo>
                    <a:pt x="308" y="3086"/>
                  </a:lnTo>
                  <a:lnTo>
                    <a:pt x="310" y="3088"/>
                  </a:lnTo>
                  <a:lnTo>
                    <a:pt x="314" y="3096"/>
                  </a:lnTo>
                  <a:lnTo>
                    <a:pt x="318" y="3100"/>
                  </a:lnTo>
                  <a:lnTo>
                    <a:pt x="318" y="3102"/>
                  </a:lnTo>
                  <a:lnTo>
                    <a:pt x="314" y="3100"/>
                  </a:lnTo>
                  <a:lnTo>
                    <a:pt x="300" y="3090"/>
                  </a:lnTo>
                  <a:lnTo>
                    <a:pt x="294" y="3088"/>
                  </a:lnTo>
                  <a:lnTo>
                    <a:pt x="286" y="3088"/>
                  </a:lnTo>
                  <a:lnTo>
                    <a:pt x="272" y="3086"/>
                  </a:lnTo>
                  <a:lnTo>
                    <a:pt x="268" y="3088"/>
                  </a:lnTo>
                  <a:lnTo>
                    <a:pt x="266" y="3088"/>
                  </a:lnTo>
                  <a:lnTo>
                    <a:pt x="268" y="3090"/>
                  </a:lnTo>
                  <a:lnTo>
                    <a:pt x="270" y="3092"/>
                  </a:lnTo>
                  <a:lnTo>
                    <a:pt x="272" y="3092"/>
                  </a:lnTo>
                  <a:lnTo>
                    <a:pt x="274" y="3092"/>
                  </a:lnTo>
                  <a:lnTo>
                    <a:pt x="276" y="3096"/>
                  </a:lnTo>
                  <a:lnTo>
                    <a:pt x="278" y="3100"/>
                  </a:lnTo>
                  <a:lnTo>
                    <a:pt x="282" y="3104"/>
                  </a:lnTo>
                  <a:lnTo>
                    <a:pt x="292" y="3110"/>
                  </a:lnTo>
                  <a:lnTo>
                    <a:pt x="294" y="3112"/>
                  </a:lnTo>
                  <a:lnTo>
                    <a:pt x="294" y="3114"/>
                  </a:lnTo>
                  <a:lnTo>
                    <a:pt x="294" y="3116"/>
                  </a:lnTo>
                  <a:lnTo>
                    <a:pt x="294" y="3120"/>
                  </a:lnTo>
                  <a:lnTo>
                    <a:pt x="292" y="3120"/>
                  </a:lnTo>
                  <a:lnTo>
                    <a:pt x="288" y="3118"/>
                  </a:lnTo>
                  <a:lnTo>
                    <a:pt x="284" y="3116"/>
                  </a:lnTo>
                  <a:lnTo>
                    <a:pt x="280" y="3116"/>
                  </a:lnTo>
                  <a:lnTo>
                    <a:pt x="280" y="3120"/>
                  </a:lnTo>
                  <a:lnTo>
                    <a:pt x="276" y="3132"/>
                  </a:lnTo>
                  <a:lnTo>
                    <a:pt x="276" y="3138"/>
                  </a:lnTo>
                  <a:lnTo>
                    <a:pt x="276" y="3148"/>
                  </a:lnTo>
                  <a:lnTo>
                    <a:pt x="278" y="3168"/>
                  </a:lnTo>
                  <a:lnTo>
                    <a:pt x="280" y="3174"/>
                  </a:lnTo>
                  <a:lnTo>
                    <a:pt x="282" y="3178"/>
                  </a:lnTo>
                  <a:lnTo>
                    <a:pt x="284" y="3178"/>
                  </a:lnTo>
                  <a:lnTo>
                    <a:pt x="284" y="3176"/>
                  </a:lnTo>
                  <a:lnTo>
                    <a:pt x="286" y="3168"/>
                  </a:lnTo>
                  <a:lnTo>
                    <a:pt x="288" y="3160"/>
                  </a:lnTo>
                  <a:lnTo>
                    <a:pt x="290" y="3156"/>
                  </a:lnTo>
                  <a:lnTo>
                    <a:pt x="292" y="3154"/>
                  </a:lnTo>
                  <a:lnTo>
                    <a:pt x="292" y="3158"/>
                  </a:lnTo>
                  <a:lnTo>
                    <a:pt x="292" y="3164"/>
                  </a:lnTo>
                  <a:lnTo>
                    <a:pt x="292" y="3170"/>
                  </a:lnTo>
                  <a:lnTo>
                    <a:pt x="294" y="3176"/>
                  </a:lnTo>
                  <a:lnTo>
                    <a:pt x="298" y="3182"/>
                  </a:lnTo>
                  <a:lnTo>
                    <a:pt x="300" y="3184"/>
                  </a:lnTo>
                  <a:lnTo>
                    <a:pt x="296" y="3182"/>
                  </a:lnTo>
                  <a:lnTo>
                    <a:pt x="290" y="3180"/>
                  </a:lnTo>
                  <a:lnTo>
                    <a:pt x="284" y="3182"/>
                  </a:lnTo>
                  <a:lnTo>
                    <a:pt x="280" y="3184"/>
                  </a:lnTo>
                  <a:lnTo>
                    <a:pt x="280" y="3186"/>
                  </a:lnTo>
                  <a:lnTo>
                    <a:pt x="282" y="3188"/>
                  </a:lnTo>
                  <a:lnTo>
                    <a:pt x="282" y="3190"/>
                  </a:lnTo>
                  <a:lnTo>
                    <a:pt x="280" y="3192"/>
                  </a:lnTo>
                  <a:lnTo>
                    <a:pt x="280" y="3194"/>
                  </a:lnTo>
                  <a:lnTo>
                    <a:pt x="284" y="3198"/>
                  </a:lnTo>
                  <a:lnTo>
                    <a:pt x="296" y="3206"/>
                  </a:lnTo>
                  <a:lnTo>
                    <a:pt x="294" y="3206"/>
                  </a:lnTo>
                  <a:lnTo>
                    <a:pt x="288" y="3206"/>
                  </a:lnTo>
                  <a:lnTo>
                    <a:pt x="280" y="3204"/>
                  </a:lnTo>
                  <a:lnTo>
                    <a:pt x="278" y="3204"/>
                  </a:lnTo>
                  <a:lnTo>
                    <a:pt x="280" y="3206"/>
                  </a:lnTo>
                  <a:lnTo>
                    <a:pt x="288" y="3216"/>
                  </a:lnTo>
                  <a:lnTo>
                    <a:pt x="290" y="3220"/>
                  </a:lnTo>
                  <a:lnTo>
                    <a:pt x="280" y="3214"/>
                  </a:lnTo>
                  <a:lnTo>
                    <a:pt x="274" y="3212"/>
                  </a:lnTo>
                  <a:lnTo>
                    <a:pt x="268" y="3212"/>
                  </a:lnTo>
                  <a:lnTo>
                    <a:pt x="264" y="3214"/>
                  </a:lnTo>
                  <a:lnTo>
                    <a:pt x="264" y="3216"/>
                  </a:lnTo>
                  <a:lnTo>
                    <a:pt x="268" y="3218"/>
                  </a:lnTo>
                  <a:lnTo>
                    <a:pt x="272" y="3220"/>
                  </a:lnTo>
                  <a:lnTo>
                    <a:pt x="274" y="3224"/>
                  </a:lnTo>
                  <a:lnTo>
                    <a:pt x="274" y="3226"/>
                  </a:lnTo>
                  <a:lnTo>
                    <a:pt x="278" y="3228"/>
                  </a:lnTo>
                  <a:lnTo>
                    <a:pt x="282" y="3230"/>
                  </a:lnTo>
                  <a:lnTo>
                    <a:pt x="284" y="3230"/>
                  </a:lnTo>
                  <a:lnTo>
                    <a:pt x="288" y="3230"/>
                  </a:lnTo>
                  <a:lnTo>
                    <a:pt x="292" y="3234"/>
                  </a:lnTo>
                  <a:lnTo>
                    <a:pt x="296" y="3236"/>
                  </a:lnTo>
                  <a:lnTo>
                    <a:pt x="296" y="3238"/>
                  </a:lnTo>
                  <a:lnTo>
                    <a:pt x="288" y="3236"/>
                  </a:lnTo>
                  <a:lnTo>
                    <a:pt x="284" y="3236"/>
                  </a:lnTo>
                  <a:lnTo>
                    <a:pt x="284" y="3238"/>
                  </a:lnTo>
                  <a:lnTo>
                    <a:pt x="288" y="3248"/>
                  </a:lnTo>
                  <a:lnTo>
                    <a:pt x="290" y="3252"/>
                  </a:lnTo>
                  <a:lnTo>
                    <a:pt x="294" y="3252"/>
                  </a:lnTo>
                  <a:lnTo>
                    <a:pt x="298" y="3250"/>
                  </a:lnTo>
                  <a:lnTo>
                    <a:pt x="302" y="3240"/>
                  </a:lnTo>
                  <a:lnTo>
                    <a:pt x="306" y="3234"/>
                  </a:lnTo>
                  <a:lnTo>
                    <a:pt x="308" y="3232"/>
                  </a:lnTo>
                  <a:lnTo>
                    <a:pt x="308" y="3234"/>
                  </a:lnTo>
                  <a:lnTo>
                    <a:pt x="306" y="3242"/>
                  </a:lnTo>
                  <a:lnTo>
                    <a:pt x="300" y="3256"/>
                  </a:lnTo>
                  <a:lnTo>
                    <a:pt x="296" y="3258"/>
                  </a:lnTo>
                  <a:lnTo>
                    <a:pt x="292" y="3258"/>
                  </a:lnTo>
                  <a:lnTo>
                    <a:pt x="288" y="3258"/>
                  </a:lnTo>
                  <a:lnTo>
                    <a:pt x="286" y="3258"/>
                  </a:lnTo>
                  <a:lnTo>
                    <a:pt x="284" y="3260"/>
                  </a:lnTo>
                  <a:lnTo>
                    <a:pt x="284" y="3264"/>
                  </a:lnTo>
                  <a:lnTo>
                    <a:pt x="286" y="3266"/>
                  </a:lnTo>
                  <a:lnTo>
                    <a:pt x="288" y="3268"/>
                  </a:lnTo>
                  <a:lnTo>
                    <a:pt x="288" y="3272"/>
                  </a:lnTo>
                  <a:lnTo>
                    <a:pt x="288" y="3276"/>
                  </a:lnTo>
                  <a:lnTo>
                    <a:pt x="290" y="3276"/>
                  </a:lnTo>
                  <a:lnTo>
                    <a:pt x="292" y="3276"/>
                  </a:lnTo>
                  <a:lnTo>
                    <a:pt x="296" y="3276"/>
                  </a:lnTo>
                  <a:lnTo>
                    <a:pt x="302" y="3278"/>
                  </a:lnTo>
                  <a:lnTo>
                    <a:pt x="306" y="3286"/>
                  </a:lnTo>
                  <a:lnTo>
                    <a:pt x="308" y="3294"/>
                  </a:lnTo>
                  <a:lnTo>
                    <a:pt x="308" y="3298"/>
                  </a:lnTo>
                  <a:lnTo>
                    <a:pt x="306" y="3298"/>
                  </a:lnTo>
                  <a:lnTo>
                    <a:pt x="302" y="3294"/>
                  </a:lnTo>
                  <a:lnTo>
                    <a:pt x="298" y="3288"/>
                  </a:lnTo>
                  <a:lnTo>
                    <a:pt x="296" y="3288"/>
                  </a:lnTo>
                  <a:lnTo>
                    <a:pt x="296" y="3290"/>
                  </a:lnTo>
                  <a:lnTo>
                    <a:pt x="296" y="3294"/>
                  </a:lnTo>
                  <a:lnTo>
                    <a:pt x="298" y="3298"/>
                  </a:lnTo>
                  <a:lnTo>
                    <a:pt x="298" y="3302"/>
                  </a:lnTo>
                  <a:lnTo>
                    <a:pt x="298" y="3304"/>
                  </a:lnTo>
                  <a:lnTo>
                    <a:pt x="300" y="3308"/>
                  </a:lnTo>
                  <a:lnTo>
                    <a:pt x="302" y="3310"/>
                  </a:lnTo>
                  <a:lnTo>
                    <a:pt x="306" y="3308"/>
                  </a:lnTo>
                  <a:lnTo>
                    <a:pt x="308" y="3306"/>
                  </a:lnTo>
                  <a:lnTo>
                    <a:pt x="310" y="3308"/>
                  </a:lnTo>
                  <a:lnTo>
                    <a:pt x="312" y="3310"/>
                  </a:lnTo>
                  <a:lnTo>
                    <a:pt x="314" y="3318"/>
                  </a:lnTo>
                  <a:lnTo>
                    <a:pt x="310" y="3316"/>
                  </a:lnTo>
                  <a:lnTo>
                    <a:pt x="308" y="3316"/>
                  </a:lnTo>
                  <a:lnTo>
                    <a:pt x="308" y="3318"/>
                  </a:lnTo>
                  <a:lnTo>
                    <a:pt x="312" y="3326"/>
                  </a:lnTo>
                  <a:lnTo>
                    <a:pt x="318" y="3332"/>
                  </a:lnTo>
                  <a:lnTo>
                    <a:pt x="322" y="3332"/>
                  </a:lnTo>
                  <a:lnTo>
                    <a:pt x="324" y="3332"/>
                  </a:lnTo>
                  <a:lnTo>
                    <a:pt x="326" y="3322"/>
                  </a:lnTo>
                  <a:lnTo>
                    <a:pt x="330" y="3318"/>
                  </a:lnTo>
                  <a:lnTo>
                    <a:pt x="332" y="3316"/>
                  </a:lnTo>
                  <a:lnTo>
                    <a:pt x="334" y="3314"/>
                  </a:lnTo>
                  <a:lnTo>
                    <a:pt x="334" y="3312"/>
                  </a:lnTo>
                  <a:lnTo>
                    <a:pt x="334" y="3310"/>
                  </a:lnTo>
                  <a:lnTo>
                    <a:pt x="342" y="3312"/>
                  </a:lnTo>
                  <a:lnTo>
                    <a:pt x="348" y="3312"/>
                  </a:lnTo>
                  <a:lnTo>
                    <a:pt x="350" y="3312"/>
                  </a:lnTo>
                  <a:lnTo>
                    <a:pt x="350" y="3310"/>
                  </a:lnTo>
                  <a:lnTo>
                    <a:pt x="344" y="3304"/>
                  </a:lnTo>
                  <a:lnTo>
                    <a:pt x="334" y="3300"/>
                  </a:lnTo>
                  <a:lnTo>
                    <a:pt x="326" y="3294"/>
                  </a:lnTo>
                  <a:lnTo>
                    <a:pt x="324" y="3292"/>
                  </a:lnTo>
                  <a:lnTo>
                    <a:pt x="328" y="3290"/>
                  </a:lnTo>
                  <a:lnTo>
                    <a:pt x="336" y="3294"/>
                  </a:lnTo>
                  <a:lnTo>
                    <a:pt x="350" y="3302"/>
                  </a:lnTo>
                  <a:lnTo>
                    <a:pt x="354" y="3308"/>
                  </a:lnTo>
                  <a:lnTo>
                    <a:pt x="354" y="3314"/>
                  </a:lnTo>
                  <a:lnTo>
                    <a:pt x="352" y="3320"/>
                  </a:lnTo>
                  <a:lnTo>
                    <a:pt x="350" y="3322"/>
                  </a:lnTo>
                  <a:lnTo>
                    <a:pt x="348" y="3324"/>
                  </a:lnTo>
                  <a:lnTo>
                    <a:pt x="350" y="3330"/>
                  </a:lnTo>
                  <a:lnTo>
                    <a:pt x="352" y="3332"/>
                  </a:lnTo>
                  <a:lnTo>
                    <a:pt x="348" y="3328"/>
                  </a:lnTo>
                  <a:lnTo>
                    <a:pt x="342" y="3322"/>
                  </a:lnTo>
                  <a:lnTo>
                    <a:pt x="340" y="3322"/>
                  </a:lnTo>
                  <a:lnTo>
                    <a:pt x="338" y="3326"/>
                  </a:lnTo>
                  <a:lnTo>
                    <a:pt x="334" y="3336"/>
                  </a:lnTo>
                  <a:lnTo>
                    <a:pt x="332" y="3334"/>
                  </a:lnTo>
                  <a:lnTo>
                    <a:pt x="332" y="3330"/>
                  </a:lnTo>
                  <a:lnTo>
                    <a:pt x="330" y="3332"/>
                  </a:lnTo>
                  <a:lnTo>
                    <a:pt x="324" y="3338"/>
                  </a:lnTo>
                  <a:lnTo>
                    <a:pt x="322" y="3340"/>
                  </a:lnTo>
                  <a:lnTo>
                    <a:pt x="320" y="3340"/>
                  </a:lnTo>
                  <a:lnTo>
                    <a:pt x="316" y="3336"/>
                  </a:lnTo>
                  <a:lnTo>
                    <a:pt x="310" y="3330"/>
                  </a:lnTo>
                  <a:lnTo>
                    <a:pt x="306" y="3328"/>
                  </a:lnTo>
                  <a:lnTo>
                    <a:pt x="304" y="3328"/>
                  </a:lnTo>
                  <a:lnTo>
                    <a:pt x="306" y="3332"/>
                  </a:lnTo>
                  <a:lnTo>
                    <a:pt x="310" y="3336"/>
                  </a:lnTo>
                  <a:lnTo>
                    <a:pt x="310" y="3340"/>
                  </a:lnTo>
                  <a:lnTo>
                    <a:pt x="308" y="3344"/>
                  </a:lnTo>
                  <a:lnTo>
                    <a:pt x="306" y="3350"/>
                  </a:lnTo>
                  <a:lnTo>
                    <a:pt x="308" y="3350"/>
                  </a:lnTo>
                  <a:lnTo>
                    <a:pt x="312" y="3352"/>
                  </a:lnTo>
                  <a:lnTo>
                    <a:pt x="310" y="3356"/>
                  </a:lnTo>
                  <a:lnTo>
                    <a:pt x="306" y="3364"/>
                  </a:lnTo>
                  <a:lnTo>
                    <a:pt x="306" y="3368"/>
                  </a:lnTo>
                  <a:lnTo>
                    <a:pt x="306" y="3370"/>
                  </a:lnTo>
                  <a:lnTo>
                    <a:pt x="308" y="3370"/>
                  </a:lnTo>
                  <a:lnTo>
                    <a:pt x="314" y="3366"/>
                  </a:lnTo>
                  <a:lnTo>
                    <a:pt x="316" y="3364"/>
                  </a:lnTo>
                  <a:lnTo>
                    <a:pt x="320" y="3364"/>
                  </a:lnTo>
                  <a:lnTo>
                    <a:pt x="322" y="3366"/>
                  </a:lnTo>
                  <a:lnTo>
                    <a:pt x="324" y="3372"/>
                  </a:lnTo>
                  <a:lnTo>
                    <a:pt x="322" y="3374"/>
                  </a:lnTo>
                  <a:lnTo>
                    <a:pt x="320" y="3374"/>
                  </a:lnTo>
                  <a:lnTo>
                    <a:pt x="316" y="3374"/>
                  </a:lnTo>
                  <a:lnTo>
                    <a:pt x="322" y="3380"/>
                  </a:lnTo>
                  <a:lnTo>
                    <a:pt x="322" y="3382"/>
                  </a:lnTo>
                  <a:lnTo>
                    <a:pt x="318" y="3384"/>
                  </a:lnTo>
                  <a:lnTo>
                    <a:pt x="316" y="3386"/>
                  </a:lnTo>
                  <a:lnTo>
                    <a:pt x="320" y="3388"/>
                  </a:lnTo>
                  <a:lnTo>
                    <a:pt x="328" y="3390"/>
                  </a:lnTo>
                  <a:lnTo>
                    <a:pt x="332" y="3388"/>
                  </a:lnTo>
                  <a:lnTo>
                    <a:pt x="334" y="3384"/>
                  </a:lnTo>
                  <a:lnTo>
                    <a:pt x="334" y="3378"/>
                  </a:lnTo>
                  <a:lnTo>
                    <a:pt x="334" y="3376"/>
                  </a:lnTo>
                  <a:lnTo>
                    <a:pt x="336" y="3374"/>
                  </a:lnTo>
                  <a:lnTo>
                    <a:pt x="340" y="3370"/>
                  </a:lnTo>
                  <a:lnTo>
                    <a:pt x="344" y="3368"/>
                  </a:lnTo>
                  <a:lnTo>
                    <a:pt x="346" y="3366"/>
                  </a:lnTo>
                  <a:lnTo>
                    <a:pt x="346" y="3364"/>
                  </a:lnTo>
                  <a:lnTo>
                    <a:pt x="344" y="3362"/>
                  </a:lnTo>
                  <a:lnTo>
                    <a:pt x="340" y="3360"/>
                  </a:lnTo>
                  <a:lnTo>
                    <a:pt x="340" y="3358"/>
                  </a:lnTo>
                  <a:lnTo>
                    <a:pt x="344" y="3358"/>
                  </a:lnTo>
                  <a:lnTo>
                    <a:pt x="352" y="3358"/>
                  </a:lnTo>
                  <a:lnTo>
                    <a:pt x="354" y="3362"/>
                  </a:lnTo>
                  <a:lnTo>
                    <a:pt x="356" y="3362"/>
                  </a:lnTo>
                  <a:lnTo>
                    <a:pt x="360" y="3360"/>
                  </a:lnTo>
                  <a:lnTo>
                    <a:pt x="364" y="3358"/>
                  </a:lnTo>
                  <a:lnTo>
                    <a:pt x="368" y="3356"/>
                  </a:lnTo>
                  <a:lnTo>
                    <a:pt x="382" y="3356"/>
                  </a:lnTo>
                  <a:lnTo>
                    <a:pt x="392" y="3358"/>
                  </a:lnTo>
                  <a:lnTo>
                    <a:pt x="394" y="3360"/>
                  </a:lnTo>
                  <a:lnTo>
                    <a:pt x="396" y="3362"/>
                  </a:lnTo>
                  <a:lnTo>
                    <a:pt x="392" y="3366"/>
                  </a:lnTo>
                  <a:lnTo>
                    <a:pt x="386" y="3368"/>
                  </a:lnTo>
                  <a:lnTo>
                    <a:pt x="380" y="3366"/>
                  </a:lnTo>
                  <a:lnTo>
                    <a:pt x="372" y="3364"/>
                  </a:lnTo>
                  <a:lnTo>
                    <a:pt x="368" y="3364"/>
                  </a:lnTo>
                  <a:lnTo>
                    <a:pt x="366" y="3366"/>
                  </a:lnTo>
                  <a:lnTo>
                    <a:pt x="362" y="3370"/>
                  </a:lnTo>
                  <a:lnTo>
                    <a:pt x="358" y="3376"/>
                  </a:lnTo>
                  <a:lnTo>
                    <a:pt x="356" y="3376"/>
                  </a:lnTo>
                  <a:lnTo>
                    <a:pt x="354" y="3376"/>
                  </a:lnTo>
                  <a:lnTo>
                    <a:pt x="348" y="3372"/>
                  </a:lnTo>
                  <a:lnTo>
                    <a:pt x="342" y="3374"/>
                  </a:lnTo>
                  <a:lnTo>
                    <a:pt x="338" y="3378"/>
                  </a:lnTo>
                  <a:lnTo>
                    <a:pt x="338" y="3384"/>
                  </a:lnTo>
                  <a:lnTo>
                    <a:pt x="340" y="3388"/>
                  </a:lnTo>
                  <a:lnTo>
                    <a:pt x="338" y="3390"/>
                  </a:lnTo>
                  <a:lnTo>
                    <a:pt x="338" y="3392"/>
                  </a:lnTo>
                  <a:lnTo>
                    <a:pt x="340" y="3396"/>
                  </a:lnTo>
                  <a:lnTo>
                    <a:pt x="342" y="3398"/>
                  </a:lnTo>
                  <a:lnTo>
                    <a:pt x="340" y="3398"/>
                  </a:lnTo>
                  <a:lnTo>
                    <a:pt x="334" y="3396"/>
                  </a:lnTo>
                  <a:lnTo>
                    <a:pt x="326" y="3396"/>
                  </a:lnTo>
                  <a:lnTo>
                    <a:pt x="324" y="3396"/>
                  </a:lnTo>
                  <a:lnTo>
                    <a:pt x="324" y="3398"/>
                  </a:lnTo>
                  <a:lnTo>
                    <a:pt x="326" y="3402"/>
                  </a:lnTo>
                  <a:lnTo>
                    <a:pt x="342" y="3412"/>
                  </a:lnTo>
                  <a:lnTo>
                    <a:pt x="354" y="3418"/>
                  </a:lnTo>
                  <a:lnTo>
                    <a:pt x="356" y="3418"/>
                  </a:lnTo>
                  <a:lnTo>
                    <a:pt x="354" y="3412"/>
                  </a:lnTo>
                  <a:lnTo>
                    <a:pt x="352" y="3406"/>
                  </a:lnTo>
                  <a:lnTo>
                    <a:pt x="352" y="3402"/>
                  </a:lnTo>
                  <a:lnTo>
                    <a:pt x="358" y="3400"/>
                  </a:lnTo>
                  <a:lnTo>
                    <a:pt x="362" y="3398"/>
                  </a:lnTo>
                  <a:lnTo>
                    <a:pt x="364" y="3396"/>
                  </a:lnTo>
                  <a:lnTo>
                    <a:pt x="364" y="3394"/>
                  </a:lnTo>
                  <a:lnTo>
                    <a:pt x="360" y="3390"/>
                  </a:lnTo>
                  <a:lnTo>
                    <a:pt x="356" y="3388"/>
                  </a:lnTo>
                  <a:lnTo>
                    <a:pt x="362" y="3390"/>
                  </a:lnTo>
                  <a:lnTo>
                    <a:pt x="370" y="3392"/>
                  </a:lnTo>
                  <a:lnTo>
                    <a:pt x="374" y="3390"/>
                  </a:lnTo>
                  <a:lnTo>
                    <a:pt x="378" y="3386"/>
                  </a:lnTo>
                  <a:lnTo>
                    <a:pt x="384" y="3382"/>
                  </a:lnTo>
                  <a:lnTo>
                    <a:pt x="392" y="3378"/>
                  </a:lnTo>
                  <a:lnTo>
                    <a:pt x="396" y="3374"/>
                  </a:lnTo>
                  <a:lnTo>
                    <a:pt x="402" y="3372"/>
                  </a:lnTo>
                  <a:lnTo>
                    <a:pt x="406" y="3374"/>
                  </a:lnTo>
                  <a:lnTo>
                    <a:pt x="408" y="3376"/>
                  </a:lnTo>
                  <a:lnTo>
                    <a:pt x="408" y="3378"/>
                  </a:lnTo>
                  <a:lnTo>
                    <a:pt x="406" y="3384"/>
                  </a:lnTo>
                  <a:lnTo>
                    <a:pt x="398" y="3392"/>
                  </a:lnTo>
                  <a:lnTo>
                    <a:pt x="390" y="3396"/>
                  </a:lnTo>
                  <a:lnTo>
                    <a:pt x="384" y="3400"/>
                  </a:lnTo>
                  <a:lnTo>
                    <a:pt x="384" y="3402"/>
                  </a:lnTo>
                  <a:lnTo>
                    <a:pt x="382" y="3404"/>
                  </a:lnTo>
                  <a:lnTo>
                    <a:pt x="380" y="3402"/>
                  </a:lnTo>
                  <a:lnTo>
                    <a:pt x="376" y="3400"/>
                  </a:lnTo>
                  <a:lnTo>
                    <a:pt x="374" y="3402"/>
                  </a:lnTo>
                  <a:lnTo>
                    <a:pt x="374" y="3404"/>
                  </a:lnTo>
                  <a:lnTo>
                    <a:pt x="370" y="3402"/>
                  </a:lnTo>
                  <a:lnTo>
                    <a:pt x="362" y="3404"/>
                  </a:lnTo>
                  <a:lnTo>
                    <a:pt x="358" y="3406"/>
                  </a:lnTo>
                  <a:lnTo>
                    <a:pt x="356" y="3408"/>
                  </a:lnTo>
                  <a:lnTo>
                    <a:pt x="360" y="3414"/>
                  </a:lnTo>
                  <a:lnTo>
                    <a:pt x="366" y="3420"/>
                  </a:lnTo>
                  <a:lnTo>
                    <a:pt x="372" y="3426"/>
                  </a:lnTo>
                  <a:lnTo>
                    <a:pt x="378" y="3430"/>
                  </a:lnTo>
                  <a:lnTo>
                    <a:pt x="382" y="3432"/>
                  </a:lnTo>
                  <a:lnTo>
                    <a:pt x="386" y="3434"/>
                  </a:lnTo>
                  <a:lnTo>
                    <a:pt x="392" y="3438"/>
                  </a:lnTo>
                  <a:lnTo>
                    <a:pt x="402" y="3438"/>
                  </a:lnTo>
                  <a:lnTo>
                    <a:pt x="410" y="3436"/>
                  </a:lnTo>
                  <a:lnTo>
                    <a:pt x="414" y="3434"/>
                  </a:lnTo>
                  <a:lnTo>
                    <a:pt x="416" y="3426"/>
                  </a:lnTo>
                  <a:lnTo>
                    <a:pt x="416" y="3412"/>
                  </a:lnTo>
                  <a:lnTo>
                    <a:pt x="418" y="3400"/>
                  </a:lnTo>
                  <a:lnTo>
                    <a:pt x="420" y="3394"/>
                  </a:lnTo>
                  <a:lnTo>
                    <a:pt x="422" y="3388"/>
                  </a:lnTo>
                  <a:lnTo>
                    <a:pt x="424" y="3378"/>
                  </a:lnTo>
                  <a:lnTo>
                    <a:pt x="424" y="3372"/>
                  </a:lnTo>
                  <a:lnTo>
                    <a:pt x="426" y="3368"/>
                  </a:lnTo>
                  <a:lnTo>
                    <a:pt x="428" y="3366"/>
                  </a:lnTo>
                  <a:lnTo>
                    <a:pt x="432" y="3366"/>
                  </a:lnTo>
                  <a:lnTo>
                    <a:pt x="440" y="3364"/>
                  </a:lnTo>
                  <a:lnTo>
                    <a:pt x="444" y="3362"/>
                  </a:lnTo>
                  <a:lnTo>
                    <a:pt x="450" y="3358"/>
                  </a:lnTo>
                  <a:lnTo>
                    <a:pt x="454" y="3354"/>
                  </a:lnTo>
                  <a:lnTo>
                    <a:pt x="458" y="3354"/>
                  </a:lnTo>
                  <a:lnTo>
                    <a:pt x="462" y="3354"/>
                  </a:lnTo>
                  <a:lnTo>
                    <a:pt x="466" y="3356"/>
                  </a:lnTo>
                  <a:lnTo>
                    <a:pt x="470" y="3350"/>
                  </a:lnTo>
                  <a:lnTo>
                    <a:pt x="476" y="3342"/>
                  </a:lnTo>
                  <a:lnTo>
                    <a:pt x="480" y="3340"/>
                  </a:lnTo>
                  <a:lnTo>
                    <a:pt x="486" y="3340"/>
                  </a:lnTo>
                  <a:lnTo>
                    <a:pt x="496" y="3342"/>
                  </a:lnTo>
                  <a:lnTo>
                    <a:pt x="510" y="3344"/>
                  </a:lnTo>
                  <a:lnTo>
                    <a:pt x="518" y="3348"/>
                  </a:lnTo>
                  <a:lnTo>
                    <a:pt x="520" y="3346"/>
                  </a:lnTo>
                  <a:lnTo>
                    <a:pt x="518" y="3342"/>
                  </a:lnTo>
                  <a:lnTo>
                    <a:pt x="510" y="3328"/>
                  </a:lnTo>
                  <a:lnTo>
                    <a:pt x="500" y="3308"/>
                  </a:lnTo>
                  <a:lnTo>
                    <a:pt x="496" y="3296"/>
                  </a:lnTo>
                  <a:lnTo>
                    <a:pt x="492" y="3282"/>
                  </a:lnTo>
                  <a:lnTo>
                    <a:pt x="490" y="3266"/>
                  </a:lnTo>
                  <a:lnTo>
                    <a:pt x="490" y="3256"/>
                  </a:lnTo>
                  <a:lnTo>
                    <a:pt x="490" y="3246"/>
                  </a:lnTo>
                  <a:lnTo>
                    <a:pt x="494" y="3238"/>
                  </a:lnTo>
                  <a:lnTo>
                    <a:pt x="498" y="3228"/>
                  </a:lnTo>
                  <a:lnTo>
                    <a:pt x="506" y="3222"/>
                  </a:lnTo>
                  <a:lnTo>
                    <a:pt x="518" y="3216"/>
                  </a:lnTo>
                  <a:lnTo>
                    <a:pt x="528" y="3212"/>
                  </a:lnTo>
                  <a:lnTo>
                    <a:pt x="536" y="3208"/>
                  </a:lnTo>
                  <a:lnTo>
                    <a:pt x="542" y="3202"/>
                  </a:lnTo>
                  <a:lnTo>
                    <a:pt x="546" y="3196"/>
                  </a:lnTo>
                  <a:lnTo>
                    <a:pt x="550" y="3180"/>
                  </a:lnTo>
                  <a:lnTo>
                    <a:pt x="552" y="3156"/>
                  </a:lnTo>
                  <a:lnTo>
                    <a:pt x="556" y="3144"/>
                  </a:lnTo>
                  <a:lnTo>
                    <a:pt x="564" y="3134"/>
                  </a:lnTo>
                  <a:lnTo>
                    <a:pt x="572" y="3126"/>
                  </a:lnTo>
                  <a:lnTo>
                    <a:pt x="580" y="3122"/>
                  </a:lnTo>
                  <a:lnTo>
                    <a:pt x="596" y="3112"/>
                  </a:lnTo>
                  <a:lnTo>
                    <a:pt x="602" y="3108"/>
                  </a:lnTo>
                  <a:lnTo>
                    <a:pt x="604" y="3104"/>
                  </a:lnTo>
                  <a:lnTo>
                    <a:pt x="606" y="3100"/>
                  </a:lnTo>
                  <a:lnTo>
                    <a:pt x="610" y="3096"/>
                  </a:lnTo>
                  <a:lnTo>
                    <a:pt x="616" y="3092"/>
                  </a:lnTo>
                  <a:lnTo>
                    <a:pt x="622" y="3086"/>
                  </a:lnTo>
                  <a:lnTo>
                    <a:pt x="624" y="3082"/>
                  </a:lnTo>
                  <a:lnTo>
                    <a:pt x="622" y="3078"/>
                  </a:lnTo>
                  <a:lnTo>
                    <a:pt x="620" y="3074"/>
                  </a:lnTo>
                  <a:lnTo>
                    <a:pt x="620" y="3072"/>
                  </a:lnTo>
                  <a:lnTo>
                    <a:pt x="624" y="3066"/>
                  </a:lnTo>
                  <a:lnTo>
                    <a:pt x="626" y="3060"/>
                  </a:lnTo>
                  <a:lnTo>
                    <a:pt x="626" y="3054"/>
                  </a:lnTo>
                  <a:lnTo>
                    <a:pt x="626" y="3044"/>
                  </a:lnTo>
                  <a:lnTo>
                    <a:pt x="624" y="3038"/>
                  </a:lnTo>
                  <a:lnTo>
                    <a:pt x="620" y="3036"/>
                  </a:lnTo>
                  <a:lnTo>
                    <a:pt x="608" y="3036"/>
                  </a:lnTo>
                  <a:lnTo>
                    <a:pt x="600" y="3034"/>
                  </a:lnTo>
                  <a:lnTo>
                    <a:pt x="590" y="3032"/>
                  </a:lnTo>
                  <a:lnTo>
                    <a:pt x="580" y="3026"/>
                  </a:lnTo>
                  <a:lnTo>
                    <a:pt x="570" y="3016"/>
                  </a:lnTo>
                  <a:lnTo>
                    <a:pt x="554" y="2996"/>
                  </a:lnTo>
                  <a:lnTo>
                    <a:pt x="550" y="2988"/>
                  </a:lnTo>
                  <a:lnTo>
                    <a:pt x="550" y="2982"/>
                  </a:lnTo>
                  <a:lnTo>
                    <a:pt x="550" y="2976"/>
                  </a:lnTo>
                  <a:lnTo>
                    <a:pt x="554" y="2968"/>
                  </a:lnTo>
                  <a:lnTo>
                    <a:pt x="564" y="2948"/>
                  </a:lnTo>
                  <a:lnTo>
                    <a:pt x="570" y="2938"/>
                  </a:lnTo>
                  <a:lnTo>
                    <a:pt x="576" y="2930"/>
                  </a:lnTo>
                  <a:lnTo>
                    <a:pt x="580" y="2928"/>
                  </a:lnTo>
                  <a:lnTo>
                    <a:pt x="584" y="2926"/>
                  </a:lnTo>
                  <a:lnTo>
                    <a:pt x="592" y="2926"/>
                  </a:lnTo>
                  <a:lnTo>
                    <a:pt x="594" y="2924"/>
                  </a:lnTo>
                  <a:lnTo>
                    <a:pt x="598" y="2922"/>
                  </a:lnTo>
                  <a:lnTo>
                    <a:pt x="602" y="2918"/>
                  </a:lnTo>
                  <a:lnTo>
                    <a:pt x="608" y="2916"/>
                  </a:lnTo>
                  <a:lnTo>
                    <a:pt x="622" y="2916"/>
                  </a:lnTo>
                  <a:lnTo>
                    <a:pt x="628" y="2916"/>
                  </a:lnTo>
                  <a:lnTo>
                    <a:pt x="632" y="2914"/>
                  </a:lnTo>
                  <a:lnTo>
                    <a:pt x="634" y="2912"/>
                  </a:lnTo>
                  <a:lnTo>
                    <a:pt x="630" y="2908"/>
                  </a:lnTo>
                  <a:lnTo>
                    <a:pt x="628" y="2902"/>
                  </a:lnTo>
                  <a:lnTo>
                    <a:pt x="630" y="2898"/>
                  </a:lnTo>
                  <a:lnTo>
                    <a:pt x="638" y="2890"/>
                  </a:lnTo>
                  <a:lnTo>
                    <a:pt x="642" y="2886"/>
                  </a:lnTo>
                  <a:lnTo>
                    <a:pt x="646" y="2878"/>
                  </a:lnTo>
                  <a:lnTo>
                    <a:pt x="648" y="2868"/>
                  </a:lnTo>
                  <a:lnTo>
                    <a:pt x="644" y="2856"/>
                  </a:lnTo>
                  <a:lnTo>
                    <a:pt x="644" y="2850"/>
                  </a:lnTo>
                  <a:lnTo>
                    <a:pt x="644" y="2844"/>
                  </a:lnTo>
                  <a:lnTo>
                    <a:pt x="646" y="2836"/>
                  </a:lnTo>
                  <a:lnTo>
                    <a:pt x="648" y="2830"/>
                  </a:lnTo>
                  <a:lnTo>
                    <a:pt x="652" y="2822"/>
                  </a:lnTo>
                  <a:lnTo>
                    <a:pt x="660" y="2816"/>
                  </a:lnTo>
                  <a:lnTo>
                    <a:pt x="668" y="2810"/>
                  </a:lnTo>
                  <a:lnTo>
                    <a:pt x="678" y="2806"/>
                  </a:lnTo>
                  <a:lnTo>
                    <a:pt x="684" y="2802"/>
                  </a:lnTo>
                  <a:lnTo>
                    <a:pt x="682" y="2800"/>
                  </a:lnTo>
                  <a:lnTo>
                    <a:pt x="674" y="2798"/>
                  </a:lnTo>
                  <a:lnTo>
                    <a:pt x="662" y="2794"/>
                  </a:lnTo>
                  <a:lnTo>
                    <a:pt x="658" y="2790"/>
                  </a:lnTo>
                  <a:lnTo>
                    <a:pt x="658" y="2786"/>
                  </a:lnTo>
                  <a:lnTo>
                    <a:pt x="660" y="2782"/>
                  </a:lnTo>
                  <a:lnTo>
                    <a:pt x="664" y="2780"/>
                  </a:lnTo>
                  <a:lnTo>
                    <a:pt x="670" y="2780"/>
                  </a:lnTo>
                  <a:lnTo>
                    <a:pt x="676" y="2780"/>
                  </a:lnTo>
                  <a:lnTo>
                    <a:pt x="682" y="2782"/>
                  </a:lnTo>
                  <a:lnTo>
                    <a:pt x="686" y="2788"/>
                  </a:lnTo>
                  <a:lnTo>
                    <a:pt x="690" y="2792"/>
                  </a:lnTo>
                  <a:lnTo>
                    <a:pt x="692" y="2796"/>
                  </a:lnTo>
                  <a:lnTo>
                    <a:pt x="696" y="2798"/>
                  </a:lnTo>
                  <a:lnTo>
                    <a:pt x="700" y="2798"/>
                  </a:lnTo>
                  <a:lnTo>
                    <a:pt x="704" y="2796"/>
                  </a:lnTo>
                  <a:lnTo>
                    <a:pt x="708" y="2792"/>
                  </a:lnTo>
                  <a:lnTo>
                    <a:pt x="712" y="2786"/>
                  </a:lnTo>
                  <a:lnTo>
                    <a:pt x="714" y="2778"/>
                  </a:lnTo>
                  <a:lnTo>
                    <a:pt x="716" y="2770"/>
                  </a:lnTo>
                  <a:lnTo>
                    <a:pt x="714" y="2762"/>
                  </a:lnTo>
                  <a:lnTo>
                    <a:pt x="708" y="2754"/>
                  </a:lnTo>
                  <a:lnTo>
                    <a:pt x="706" y="2752"/>
                  </a:lnTo>
                  <a:lnTo>
                    <a:pt x="702" y="2752"/>
                  </a:lnTo>
                  <a:lnTo>
                    <a:pt x="678" y="2758"/>
                  </a:lnTo>
                  <a:lnTo>
                    <a:pt x="670" y="2760"/>
                  </a:lnTo>
                  <a:lnTo>
                    <a:pt x="662" y="2758"/>
                  </a:lnTo>
                  <a:lnTo>
                    <a:pt x="658" y="2756"/>
                  </a:lnTo>
                  <a:lnTo>
                    <a:pt x="656" y="2750"/>
                  </a:lnTo>
                  <a:lnTo>
                    <a:pt x="654" y="2744"/>
                  </a:lnTo>
                  <a:lnTo>
                    <a:pt x="656" y="2734"/>
                  </a:lnTo>
                  <a:lnTo>
                    <a:pt x="656" y="2726"/>
                  </a:lnTo>
                  <a:lnTo>
                    <a:pt x="654" y="2716"/>
                  </a:lnTo>
                  <a:lnTo>
                    <a:pt x="650" y="2700"/>
                  </a:lnTo>
                  <a:lnTo>
                    <a:pt x="648" y="2694"/>
                  </a:lnTo>
                  <a:lnTo>
                    <a:pt x="646" y="2690"/>
                  </a:lnTo>
                  <a:lnTo>
                    <a:pt x="648" y="2684"/>
                  </a:lnTo>
                  <a:lnTo>
                    <a:pt x="654" y="2682"/>
                  </a:lnTo>
                  <a:lnTo>
                    <a:pt x="662" y="2680"/>
                  </a:lnTo>
                  <a:lnTo>
                    <a:pt x="668" y="2682"/>
                  </a:lnTo>
                  <a:lnTo>
                    <a:pt x="684" y="2688"/>
                  </a:lnTo>
                  <a:lnTo>
                    <a:pt x="700" y="2696"/>
                  </a:lnTo>
                  <a:lnTo>
                    <a:pt x="708" y="2698"/>
                  </a:lnTo>
                  <a:lnTo>
                    <a:pt x="714" y="2700"/>
                  </a:lnTo>
                  <a:lnTo>
                    <a:pt x="724" y="2700"/>
                  </a:lnTo>
                  <a:lnTo>
                    <a:pt x="728" y="2700"/>
                  </a:lnTo>
                  <a:lnTo>
                    <a:pt x="734" y="2700"/>
                  </a:lnTo>
                  <a:lnTo>
                    <a:pt x="748" y="2694"/>
                  </a:lnTo>
                  <a:lnTo>
                    <a:pt x="762" y="2684"/>
                  </a:lnTo>
                  <a:lnTo>
                    <a:pt x="768" y="2680"/>
                  </a:lnTo>
                  <a:lnTo>
                    <a:pt x="770" y="2676"/>
                  </a:lnTo>
                  <a:lnTo>
                    <a:pt x="770" y="2672"/>
                  </a:lnTo>
                  <a:lnTo>
                    <a:pt x="770" y="2670"/>
                  </a:lnTo>
                  <a:lnTo>
                    <a:pt x="764" y="2664"/>
                  </a:lnTo>
                  <a:lnTo>
                    <a:pt x="762" y="2660"/>
                  </a:lnTo>
                  <a:lnTo>
                    <a:pt x="760" y="2658"/>
                  </a:lnTo>
                  <a:lnTo>
                    <a:pt x="758" y="2650"/>
                  </a:lnTo>
                  <a:lnTo>
                    <a:pt x="762" y="2642"/>
                  </a:lnTo>
                  <a:lnTo>
                    <a:pt x="770" y="2632"/>
                  </a:lnTo>
                  <a:lnTo>
                    <a:pt x="776" y="2622"/>
                  </a:lnTo>
                  <a:lnTo>
                    <a:pt x="778" y="2612"/>
                  </a:lnTo>
                  <a:lnTo>
                    <a:pt x="776" y="2602"/>
                  </a:lnTo>
                  <a:lnTo>
                    <a:pt x="772" y="2598"/>
                  </a:lnTo>
                  <a:lnTo>
                    <a:pt x="770" y="2596"/>
                  </a:lnTo>
                  <a:lnTo>
                    <a:pt x="766" y="2592"/>
                  </a:lnTo>
                  <a:lnTo>
                    <a:pt x="762" y="2588"/>
                  </a:lnTo>
                  <a:lnTo>
                    <a:pt x="760" y="2578"/>
                  </a:lnTo>
                  <a:lnTo>
                    <a:pt x="760" y="2574"/>
                  </a:lnTo>
                  <a:lnTo>
                    <a:pt x="762" y="2572"/>
                  </a:lnTo>
                  <a:lnTo>
                    <a:pt x="768" y="2572"/>
                  </a:lnTo>
                  <a:lnTo>
                    <a:pt x="774" y="2576"/>
                  </a:lnTo>
                  <a:lnTo>
                    <a:pt x="784" y="2582"/>
                  </a:lnTo>
                  <a:lnTo>
                    <a:pt x="792" y="2582"/>
                  </a:lnTo>
                  <a:lnTo>
                    <a:pt x="824" y="2578"/>
                  </a:lnTo>
                  <a:lnTo>
                    <a:pt x="856" y="2574"/>
                  </a:lnTo>
                  <a:lnTo>
                    <a:pt x="890" y="2566"/>
                  </a:lnTo>
                  <a:lnTo>
                    <a:pt x="920" y="2556"/>
                  </a:lnTo>
                  <a:lnTo>
                    <a:pt x="934" y="2550"/>
                  </a:lnTo>
                  <a:lnTo>
                    <a:pt x="944" y="2544"/>
                  </a:lnTo>
                  <a:lnTo>
                    <a:pt x="952" y="2538"/>
                  </a:lnTo>
                  <a:lnTo>
                    <a:pt x="956" y="2534"/>
                  </a:lnTo>
                  <a:lnTo>
                    <a:pt x="958" y="2528"/>
                  </a:lnTo>
                  <a:lnTo>
                    <a:pt x="960" y="2524"/>
                  </a:lnTo>
                  <a:lnTo>
                    <a:pt x="962" y="2516"/>
                  </a:lnTo>
                  <a:lnTo>
                    <a:pt x="966" y="2510"/>
                  </a:lnTo>
                  <a:lnTo>
                    <a:pt x="970" y="2504"/>
                  </a:lnTo>
                  <a:lnTo>
                    <a:pt x="980" y="2492"/>
                  </a:lnTo>
                  <a:lnTo>
                    <a:pt x="986" y="2478"/>
                  </a:lnTo>
                  <a:lnTo>
                    <a:pt x="990" y="2464"/>
                  </a:lnTo>
                  <a:lnTo>
                    <a:pt x="990" y="2444"/>
                  </a:lnTo>
                  <a:lnTo>
                    <a:pt x="990" y="2436"/>
                  </a:lnTo>
                  <a:lnTo>
                    <a:pt x="990" y="2432"/>
                  </a:lnTo>
                  <a:lnTo>
                    <a:pt x="986" y="2432"/>
                  </a:lnTo>
                  <a:lnTo>
                    <a:pt x="984" y="2432"/>
                  </a:lnTo>
                  <a:lnTo>
                    <a:pt x="980" y="2432"/>
                  </a:lnTo>
                  <a:lnTo>
                    <a:pt x="976" y="2432"/>
                  </a:lnTo>
                  <a:lnTo>
                    <a:pt x="970" y="2428"/>
                  </a:lnTo>
                  <a:lnTo>
                    <a:pt x="964" y="2420"/>
                  </a:lnTo>
                  <a:lnTo>
                    <a:pt x="962" y="2410"/>
                  </a:lnTo>
                  <a:lnTo>
                    <a:pt x="962" y="2404"/>
                  </a:lnTo>
                  <a:lnTo>
                    <a:pt x="964" y="2400"/>
                  </a:lnTo>
                  <a:lnTo>
                    <a:pt x="968" y="2396"/>
                  </a:lnTo>
                  <a:lnTo>
                    <a:pt x="970" y="2392"/>
                  </a:lnTo>
                  <a:lnTo>
                    <a:pt x="970" y="2388"/>
                  </a:lnTo>
                  <a:lnTo>
                    <a:pt x="968" y="2380"/>
                  </a:lnTo>
                  <a:lnTo>
                    <a:pt x="962" y="2368"/>
                  </a:lnTo>
                  <a:lnTo>
                    <a:pt x="954" y="2360"/>
                  </a:lnTo>
                  <a:lnTo>
                    <a:pt x="946" y="2354"/>
                  </a:lnTo>
                  <a:lnTo>
                    <a:pt x="928" y="2344"/>
                  </a:lnTo>
                  <a:lnTo>
                    <a:pt x="922" y="2338"/>
                  </a:lnTo>
                  <a:lnTo>
                    <a:pt x="918" y="2332"/>
                  </a:lnTo>
                  <a:lnTo>
                    <a:pt x="918" y="2330"/>
                  </a:lnTo>
                  <a:lnTo>
                    <a:pt x="920" y="2326"/>
                  </a:lnTo>
                  <a:lnTo>
                    <a:pt x="926" y="2316"/>
                  </a:lnTo>
                  <a:lnTo>
                    <a:pt x="928" y="2320"/>
                  </a:lnTo>
                  <a:lnTo>
                    <a:pt x="934" y="2326"/>
                  </a:lnTo>
                  <a:lnTo>
                    <a:pt x="946" y="2332"/>
                  </a:lnTo>
                  <a:lnTo>
                    <a:pt x="952" y="2334"/>
                  </a:lnTo>
                  <a:lnTo>
                    <a:pt x="958" y="2334"/>
                  </a:lnTo>
                  <a:lnTo>
                    <a:pt x="966" y="2336"/>
                  </a:lnTo>
                  <a:lnTo>
                    <a:pt x="976" y="2338"/>
                  </a:lnTo>
                  <a:lnTo>
                    <a:pt x="992" y="2348"/>
                  </a:lnTo>
                  <a:lnTo>
                    <a:pt x="1002" y="2352"/>
                  </a:lnTo>
                  <a:lnTo>
                    <a:pt x="1010" y="2356"/>
                  </a:lnTo>
                  <a:lnTo>
                    <a:pt x="1018" y="2358"/>
                  </a:lnTo>
                  <a:lnTo>
                    <a:pt x="1026" y="2356"/>
                  </a:lnTo>
                  <a:lnTo>
                    <a:pt x="1032" y="2354"/>
                  </a:lnTo>
                  <a:lnTo>
                    <a:pt x="1038" y="2352"/>
                  </a:lnTo>
                  <a:lnTo>
                    <a:pt x="1050" y="2356"/>
                  </a:lnTo>
                  <a:lnTo>
                    <a:pt x="1056" y="2358"/>
                  </a:lnTo>
                  <a:lnTo>
                    <a:pt x="1062" y="2358"/>
                  </a:lnTo>
                  <a:lnTo>
                    <a:pt x="1068" y="2358"/>
                  </a:lnTo>
                  <a:lnTo>
                    <a:pt x="1076" y="2354"/>
                  </a:lnTo>
                  <a:lnTo>
                    <a:pt x="1090" y="2344"/>
                  </a:lnTo>
                  <a:lnTo>
                    <a:pt x="1100" y="2334"/>
                  </a:lnTo>
                  <a:lnTo>
                    <a:pt x="1110" y="2320"/>
                  </a:lnTo>
                  <a:lnTo>
                    <a:pt x="1122" y="2300"/>
                  </a:lnTo>
                  <a:lnTo>
                    <a:pt x="1120" y="2294"/>
                  </a:lnTo>
                  <a:lnTo>
                    <a:pt x="1124" y="2288"/>
                  </a:lnTo>
                  <a:lnTo>
                    <a:pt x="1130" y="2282"/>
                  </a:lnTo>
                  <a:lnTo>
                    <a:pt x="1140" y="2276"/>
                  </a:lnTo>
                  <a:lnTo>
                    <a:pt x="1150" y="2270"/>
                  </a:lnTo>
                  <a:lnTo>
                    <a:pt x="1154" y="2264"/>
                  </a:lnTo>
                  <a:lnTo>
                    <a:pt x="1158" y="2256"/>
                  </a:lnTo>
                  <a:lnTo>
                    <a:pt x="1166" y="2232"/>
                  </a:lnTo>
                  <a:lnTo>
                    <a:pt x="1170" y="2224"/>
                  </a:lnTo>
                  <a:lnTo>
                    <a:pt x="1174" y="2218"/>
                  </a:lnTo>
                  <a:lnTo>
                    <a:pt x="1188" y="2204"/>
                  </a:lnTo>
                  <a:lnTo>
                    <a:pt x="1210" y="2184"/>
                  </a:lnTo>
                  <a:lnTo>
                    <a:pt x="1220" y="2174"/>
                  </a:lnTo>
                  <a:lnTo>
                    <a:pt x="1228" y="2164"/>
                  </a:lnTo>
                  <a:lnTo>
                    <a:pt x="1240" y="2140"/>
                  </a:lnTo>
                  <a:lnTo>
                    <a:pt x="1254" y="2110"/>
                  </a:lnTo>
                  <a:lnTo>
                    <a:pt x="1270" y="2074"/>
                  </a:lnTo>
                  <a:lnTo>
                    <a:pt x="1278" y="2058"/>
                  </a:lnTo>
                  <a:lnTo>
                    <a:pt x="1284" y="2048"/>
                  </a:lnTo>
                  <a:lnTo>
                    <a:pt x="1290" y="2042"/>
                  </a:lnTo>
                  <a:lnTo>
                    <a:pt x="1294" y="2038"/>
                  </a:lnTo>
                  <a:lnTo>
                    <a:pt x="1304" y="2030"/>
                  </a:lnTo>
                  <a:lnTo>
                    <a:pt x="1308" y="2022"/>
                  </a:lnTo>
                  <a:lnTo>
                    <a:pt x="1314" y="2012"/>
                  </a:lnTo>
                  <a:lnTo>
                    <a:pt x="1320" y="1998"/>
                  </a:lnTo>
                  <a:lnTo>
                    <a:pt x="1322" y="1984"/>
                  </a:lnTo>
                  <a:lnTo>
                    <a:pt x="1322" y="1970"/>
                  </a:lnTo>
                  <a:lnTo>
                    <a:pt x="1322" y="1956"/>
                  </a:lnTo>
                  <a:lnTo>
                    <a:pt x="1322" y="1926"/>
                  </a:lnTo>
                  <a:lnTo>
                    <a:pt x="1320" y="1910"/>
                  </a:lnTo>
                  <a:lnTo>
                    <a:pt x="1322" y="1894"/>
                  </a:lnTo>
                  <a:lnTo>
                    <a:pt x="1324" y="1878"/>
                  </a:lnTo>
                  <a:lnTo>
                    <a:pt x="1332" y="1862"/>
                  </a:lnTo>
                  <a:lnTo>
                    <a:pt x="1340" y="1848"/>
                  </a:lnTo>
                  <a:lnTo>
                    <a:pt x="1352" y="1836"/>
                  </a:lnTo>
                  <a:lnTo>
                    <a:pt x="1364" y="1824"/>
                  </a:lnTo>
                  <a:lnTo>
                    <a:pt x="1376" y="1816"/>
                  </a:lnTo>
                  <a:lnTo>
                    <a:pt x="1388" y="1808"/>
                  </a:lnTo>
                  <a:lnTo>
                    <a:pt x="1398" y="1802"/>
                  </a:lnTo>
                  <a:lnTo>
                    <a:pt x="1422" y="1792"/>
                  </a:lnTo>
                  <a:lnTo>
                    <a:pt x="1438" y="1782"/>
                  </a:lnTo>
                  <a:lnTo>
                    <a:pt x="1452" y="1772"/>
                  </a:lnTo>
                  <a:lnTo>
                    <a:pt x="1462" y="1764"/>
                  </a:lnTo>
                  <a:lnTo>
                    <a:pt x="1476" y="1750"/>
                  </a:lnTo>
                  <a:lnTo>
                    <a:pt x="1482" y="1744"/>
                  </a:lnTo>
                  <a:lnTo>
                    <a:pt x="1490" y="1740"/>
                  </a:lnTo>
                  <a:lnTo>
                    <a:pt x="1498" y="1738"/>
                  </a:lnTo>
                  <a:lnTo>
                    <a:pt x="1502" y="1738"/>
                  </a:lnTo>
                  <a:lnTo>
                    <a:pt x="1506" y="1740"/>
                  </a:lnTo>
                  <a:lnTo>
                    <a:pt x="1508" y="1742"/>
                  </a:lnTo>
                  <a:lnTo>
                    <a:pt x="1514" y="1742"/>
                  </a:lnTo>
                  <a:lnTo>
                    <a:pt x="1520" y="1742"/>
                  </a:lnTo>
                  <a:lnTo>
                    <a:pt x="1530" y="1740"/>
                  </a:lnTo>
                  <a:lnTo>
                    <a:pt x="1544" y="1738"/>
                  </a:lnTo>
                  <a:lnTo>
                    <a:pt x="1556" y="1738"/>
                  </a:lnTo>
                  <a:lnTo>
                    <a:pt x="1576" y="1738"/>
                  </a:lnTo>
                  <a:lnTo>
                    <a:pt x="1584" y="1738"/>
                  </a:lnTo>
                  <a:lnTo>
                    <a:pt x="1588" y="1736"/>
                  </a:lnTo>
                  <a:lnTo>
                    <a:pt x="1592" y="1734"/>
                  </a:lnTo>
                  <a:lnTo>
                    <a:pt x="1590" y="1728"/>
                  </a:lnTo>
                  <a:lnTo>
                    <a:pt x="1590" y="1724"/>
                  </a:lnTo>
                  <a:lnTo>
                    <a:pt x="1590" y="1722"/>
                  </a:lnTo>
                  <a:lnTo>
                    <a:pt x="1594" y="1716"/>
                  </a:lnTo>
                  <a:lnTo>
                    <a:pt x="1608" y="1702"/>
                  </a:lnTo>
                  <a:lnTo>
                    <a:pt x="1616" y="1696"/>
                  </a:lnTo>
                  <a:lnTo>
                    <a:pt x="1622" y="1690"/>
                  </a:lnTo>
                  <a:lnTo>
                    <a:pt x="1626" y="1682"/>
                  </a:lnTo>
                  <a:lnTo>
                    <a:pt x="1626" y="1676"/>
                  </a:lnTo>
                  <a:lnTo>
                    <a:pt x="1624" y="1672"/>
                  </a:lnTo>
                  <a:lnTo>
                    <a:pt x="1622" y="1662"/>
                  </a:lnTo>
                  <a:lnTo>
                    <a:pt x="1624" y="1654"/>
                  </a:lnTo>
                  <a:lnTo>
                    <a:pt x="1628" y="1644"/>
                  </a:lnTo>
                  <a:lnTo>
                    <a:pt x="1634" y="1634"/>
                  </a:lnTo>
                  <a:lnTo>
                    <a:pt x="1650" y="1610"/>
                  </a:lnTo>
                  <a:lnTo>
                    <a:pt x="1668" y="1580"/>
                  </a:lnTo>
                  <a:lnTo>
                    <a:pt x="1674" y="1564"/>
                  </a:lnTo>
                  <a:lnTo>
                    <a:pt x="1678" y="1550"/>
                  </a:lnTo>
                  <a:lnTo>
                    <a:pt x="1678" y="1536"/>
                  </a:lnTo>
                  <a:lnTo>
                    <a:pt x="1678" y="1524"/>
                  </a:lnTo>
                  <a:lnTo>
                    <a:pt x="1678" y="1514"/>
                  </a:lnTo>
                  <a:lnTo>
                    <a:pt x="1680" y="1506"/>
                  </a:lnTo>
                  <a:lnTo>
                    <a:pt x="1682" y="1498"/>
                  </a:lnTo>
                  <a:lnTo>
                    <a:pt x="1688" y="1494"/>
                  </a:lnTo>
                  <a:lnTo>
                    <a:pt x="1694" y="1488"/>
                  </a:lnTo>
                  <a:lnTo>
                    <a:pt x="1698" y="1480"/>
                  </a:lnTo>
                  <a:lnTo>
                    <a:pt x="1698" y="1470"/>
                  </a:lnTo>
                  <a:lnTo>
                    <a:pt x="1700" y="1460"/>
                  </a:lnTo>
                  <a:lnTo>
                    <a:pt x="1700" y="1434"/>
                  </a:lnTo>
                  <a:lnTo>
                    <a:pt x="1702" y="1418"/>
                  </a:lnTo>
                  <a:lnTo>
                    <a:pt x="1704" y="1404"/>
                  </a:lnTo>
                  <a:lnTo>
                    <a:pt x="1708" y="1390"/>
                  </a:lnTo>
                  <a:lnTo>
                    <a:pt x="1708" y="1378"/>
                  </a:lnTo>
                  <a:lnTo>
                    <a:pt x="1708" y="1368"/>
                  </a:lnTo>
                  <a:lnTo>
                    <a:pt x="1706" y="1360"/>
                  </a:lnTo>
                  <a:lnTo>
                    <a:pt x="1702" y="1342"/>
                  </a:lnTo>
                  <a:lnTo>
                    <a:pt x="1702" y="1334"/>
                  </a:lnTo>
                  <a:lnTo>
                    <a:pt x="1702" y="1324"/>
                  </a:lnTo>
                  <a:lnTo>
                    <a:pt x="1706" y="1252"/>
                  </a:lnTo>
                  <a:lnTo>
                    <a:pt x="1708" y="1234"/>
                  </a:lnTo>
                  <a:lnTo>
                    <a:pt x="1710" y="1224"/>
                  </a:lnTo>
                  <a:lnTo>
                    <a:pt x="1712" y="1220"/>
                  </a:lnTo>
                  <a:lnTo>
                    <a:pt x="1714" y="1220"/>
                  </a:lnTo>
                  <a:lnTo>
                    <a:pt x="1718" y="1222"/>
                  </a:lnTo>
                  <a:lnTo>
                    <a:pt x="1720" y="1226"/>
                  </a:lnTo>
                  <a:lnTo>
                    <a:pt x="1726" y="1234"/>
                  </a:lnTo>
                  <a:lnTo>
                    <a:pt x="1730" y="1238"/>
                  </a:lnTo>
                  <a:lnTo>
                    <a:pt x="1736" y="1238"/>
                  </a:lnTo>
                  <a:lnTo>
                    <a:pt x="1740" y="1234"/>
                  </a:lnTo>
                  <a:lnTo>
                    <a:pt x="1746" y="1224"/>
                  </a:lnTo>
                  <a:lnTo>
                    <a:pt x="1752" y="1212"/>
                  </a:lnTo>
                  <a:lnTo>
                    <a:pt x="1766" y="1176"/>
                  </a:lnTo>
                  <a:lnTo>
                    <a:pt x="1774" y="1158"/>
                  </a:lnTo>
                  <a:lnTo>
                    <a:pt x="1780" y="1146"/>
                  </a:lnTo>
                  <a:lnTo>
                    <a:pt x="1788" y="1136"/>
                  </a:lnTo>
                  <a:lnTo>
                    <a:pt x="1794" y="1128"/>
                  </a:lnTo>
                  <a:lnTo>
                    <a:pt x="1810" y="1112"/>
                  </a:lnTo>
                  <a:lnTo>
                    <a:pt x="1820" y="1100"/>
                  </a:lnTo>
                  <a:lnTo>
                    <a:pt x="1830" y="1082"/>
                  </a:lnTo>
                  <a:lnTo>
                    <a:pt x="1852" y="1044"/>
                  </a:lnTo>
                  <a:lnTo>
                    <a:pt x="1860" y="1030"/>
                  </a:lnTo>
                  <a:lnTo>
                    <a:pt x="1866" y="1016"/>
                  </a:lnTo>
                  <a:lnTo>
                    <a:pt x="1872" y="1002"/>
                  </a:lnTo>
                  <a:lnTo>
                    <a:pt x="1874" y="988"/>
                  </a:lnTo>
                  <a:lnTo>
                    <a:pt x="1874" y="972"/>
                  </a:lnTo>
                  <a:lnTo>
                    <a:pt x="1872" y="956"/>
                  </a:lnTo>
                  <a:close/>
                  <a:moveTo>
                    <a:pt x="1128" y="2234"/>
                  </a:moveTo>
                  <a:lnTo>
                    <a:pt x="1128" y="2234"/>
                  </a:lnTo>
                  <a:lnTo>
                    <a:pt x="1132" y="2242"/>
                  </a:lnTo>
                  <a:lnTo>
                    <a:pt x="1128" y="2234"/>
                  </a:lnTo>
                  <a:close/>
                  <a:moveTo>
                    <a:pt x="698" y="3490"/>
                  </a:moveTo>
                  <a:lnTo>
                    <a:pt x="698" y="3490"/>
                  </a:lnTo>
                  <a:lnTo>
                    <a:pt x="692" y="3492"/>
                  </a:lnTo>
                  <a:lnTo>
                    <a:pt x="688" y="3490"/>
                  </a:lnTo>
                  <a:lnTo>
                    <a:pt x="684" y="3490"/>
                  </a:lnTo>
                  <a:lnTo>
                    <a:pt x="678" y="3492"/>
                  </a:lnTo>
                  <a:lnTo>
                    <a:pt x="670" y="3496"/>
                  </a:lnTo>
                  <a:lnTo>
                    <a:pt x="666" y="3498"/>
                  </a:lnTo>
                  <a:lnTo>
                    <a:pt x="670" y="3500"/>
                  </a:lnTo>
                  <a:lnTo>
                    <a:pt x="672" y="3500"/>
                  </a:lnTo>
                  <a:lnTo>
                    <a:pt x="678" y="3498"/>
                  </a:lnTo>
                  <a:lnTo>
                    <a:pt x="682" y="3494"/>
                  </a:lnTo>
                  <a:lnTo>
                    <a:pt x="684" y="3496"/>
                  </a:lnTo>
                  <a:lnTo>
                    <a:pt x="686" y="3498"/>
                  </a:lnTo>
                  <a:lnTo>
                    <a:pt x="690" y="3496"/>
                  </a:lnTo>
                  <a:lnTo>
                    <a:pt x="694" y="3496"/>
                  </a:lnTo>
                  <a:lnTo>
                    <a:pt x="696" y="3496"/>
                  </a:lnTo>
                  <a:lnTo>
                    <a:pt x="700" y="3496"/>
                  </a:lnTo>
                  <a:lnTo>
                    <a:pt x="702" y="3494"/>
                  </a:lnTo>
                  <a:lnTo>
                    <a:pt x="704" y="3492"/>
                  </a:lnTo>
                  <a:lnTo>
                    <a:pt x="702" y="3490"/>
                  </a:lnTo>
                  <a:lnTo>
                    <a:pt x="698" y="3490"/>
                  </a:lnTo>
                  <a:close/>
                  <a:moveTo>
                    <a:pt x="294" y="3084"/>
                  </a:moveTo>
                  <a:lnTo>
                    <a:pt x="294" y="3084"/>
                  </a:lnTo>
                  <a:lnTo>
                    <a:pt x="298" y="3086"/>
                  </a:lnTo>
                  <a:lnTo>
                    <a:pt x="300" y="3084"/>
                  </a:lnTo>
                  <a:lnTo>
                    <a:pt x="300" y="3082"/>
                  </a:lnTo>
                  <a:lnTo>
                    <a:pt x="298" y="3080"/>
                  </a:lnTo>
                  <a:lnTo>
                    <a:pt x="292" y="3078"/>
                  </a:lnTo>
                  <a:lnTo>
                    <a:pt x="286" y="3078"/>
                  </a:lnTo>
                  <a:lnTo>
                    <a:pt x="282" y="3078"/>
                  </a:lnTo>
                  <a:lnTo>
                    <a:pt x="276" y="3080"/>
                  </a:lnTo>
                  <a:lnTo>
                    <a:pt x="274" y="3082"/>
                  </a:lnTo>
                  <a:lnTo>
                    <a:pt x="274" y="3084"/>
                  </a:lnTo>
                  <a:lnTo>
                    <a:pt x="280" y="3084"/>
                  </a:lnTo>
                  <a:lnTo>
                    <a:pt x="288" y="3084"/>
                  </a:lnTo>
                  <a:lnTo>
                    <a:pt x="294" y="3084"/>
                  </a:lnTo>
                  <a:close/>
                  <a:moveTo>
                    <a:pt x="338" y="3318"/>
                  </a:moveTo>
                  <a:lnTo>
                    <a:pt x="338" y="3318"/>
                  </a:lnTo>
                  <a:lnTo>
                    <a:pt x="330" y="3322"/>
                  </a:lnTo>
                  <a:lnTo>
                    <a:pt x="328" y="3324"/>
                  </a:lnTo>
                  <a:lnTo>
                    <a:pt x="330" y="3326"/>
                  </a:lnTo>
                  <a:lnTo>
                    <a:pt x="334" y="3326"/>
                  </a:lnTo>
                  <a:lnTo>
                    <a:pt x="338" y="3322"/>
                  </a:lnTo>
                  <a:lnTo>
                    <a:pt x="338" y="3318"/>
                  </a:lnTo>
                  <a:close/>
                  <a:moveTo>
                    <a:pt x="292" y="3034"/>
                  </a:moveTo>
                  <a:lnTo>
                    <a:pt x="292" y="3034"/>
                  </a:lnTo>
                  <a:lnTo>
                    <a:pt x="290" y="3032"/>
                  </a:lnTo>
                  <a:lnTo>
                    <a:pt x="288" y="3030"/>
                  </a:lnTo>
                  <a:lnTo>
                    <a:pt x="284" y="3030"/>
                  </a:lnTo>
                  <a:lnTo>
                    <a:pt x="282" y="3034"/>
                  </a:lnTo>
                  <a:lnTo>
                    <a:pt x="284" y="3036"/>
                  </a:lnTo>
                  <a:lnTo>
                    <a:pt x="286" y="3038"/>
                  </a:lnTo>
                  <a:lnTo>
                    <a:pt x="290" y="3036"/>
                  </a:lnTo>
                  <a:lnTo>
                    <a:pt x="292" y="3034"/>
                  </a:lnTo>
                  <a:close/>
                  <a:moveTo>
                    <a:pt x="420" y="3442"/>
                  </a:moveTo>
                  <a:lnTo>
                    <a:pt x="420" y="3442"/>
                  </a:lnTo>
                  <a:lnTo>
                    <a:pt x="420" y="3446"/>
                  </a:lnTo>
                  <a:lnTo>
                    <a:pt x="424" y="3452"/>
                  </a:lnTo>
                  <a:lnTo>
                    <a:pt x="440" y="3462"/>
                  </a:lnTo>
                  <a:lnTo>
                    <a:pt x="444" y="3464"/>
                  </a:lnTo>
                  <a:lnTo>
                    <a:pt x="444" y="3462"/>
                  </a:lnTo>
                  <a:lnTo>
                    <a:pt x="442" y="3458"/>
                  </a:lnTo>
                  <a:lnTo>
                    <a:pt x="438" y="3454"/>
                  </a:lnTo>
                  <a:lnTo>
                    <a:pt x="430" y="3446"/>
                  </a:lnTo>
                  <a:lnTo>
                    <a:pt x="434" y="3448"/>
                  </a:lnTo>
                  <a:lnTo>
                    <a:pt x="438" y="3450"/>
                  </a:lnTo>
                  <a:lnTo>
                    <a:pt x="442" y="3450"/>
                  </a:lnTo>
                  <a:lnTo>
                    <a:pt x="442" y="3448"/>
                  </a:lnTo>
                  <a:lnTo>
                    <a:pt x="440" y="3444"/>
                  </a:lnTo>
                  <a:lnTo>
                    <a:pt x="436" y="3438"/>
                  </a:lnTo>
                  <a:lnTo>
                    <a:pt x="434" y="3432"/>
                  </a:lnTo>
                  <a:lnTo>
                    <a:pt x="434" y="3420"/>
                  </a:lnTo>
                  <a:lnTo>
                    <a:pt x="434" y="3418"/>
                  </a:lnTo>
                  <a:lnTo>
                    <a:pt x="434" y="3420"/>
                  </a:lnTo>
                  <a:lnTo>
                    <a:pt x="430" y="3422"/>
                  </a:lnTo>
                  <a:lnTo>
                    <a:pt x="426" y="3428"/>
                  </a:lnTo>
                  <a:lnTo>
                    <a:pt x="426" y="3432"/>
                  </a:lnTo>
                  <a:lnTo>
                    <a:pt x="426" y="3436"/>
                  </a:lnTo>
                  <a:lnTo>
                    <a:pt x="424" y="3436"/>
                  </a:lnTo>
                  <a:lnTo>
                    <a:pt x="422" y="3436"/>
                  </a:lnTo>
                  <a:lnTo>
                    <a:pt x="420" y="3442"/>
                  </a:lnTo>
                  <a:close/>
                  <a:moveTo>
                    <a:pt x="272" y="3186"/>
                  </a:moveTo>
                  <a:lnTo>
                    <a:pt x="272" y="3186"/>
                  </a:lnTo>
                  <a:lnTo>
                    <a:pt x="270" y="3186"/>
                  </a:lnTo>
                  <a:lnTo>
                    <a:pt x="272" y="3180"/>
                  </a:lnTo>
                  <a:lnTo>
                    <a:pt x="274" y="3174"/>
                  </a:lnTo>
                  <a:lnTo>
                    <a:pt x="274" y="3168"/>
                  </a:lnTo>
                  <a:lnTo>
                    <a:pt x="274" y="3150"/>
                  </a:lnTo>
                  <a:lnTo>
                    <a:pt x="272" y="3136"/>
                  </a:lnTo>
                  <a:lnTo>
                    <a:pt x="272" y="3132"/>
                  </a:lnTo>
                  <a:lnTo>
                    <a:pt x="270" y="3132"/>
                  </a:lnTo>
                  <a:lnTo>
                    <a:pt x="266" y="3132"/>
                  </a:lnTo>
                  <a:lnTo>
                    <a:pt x="264" y="3130"/>
                  </a:lnTo>
                  <a:lnTo>
                    <a:pt x="262" y="3130"/>
                  </a:lnTo>
                  <a:lnTo>
                    <a:pt x="258" y="3132"/>
                  </a:lnTo>
                  <a:lnTo>
                    <a:pt x="252" y="3136"/>
                  </a:lnTo>
                  <a:lnTo>
                    <a:pt x="250" y="3138"/>
                  </a:lnTo>
                  <a:lnTo>
                    <a:pt x="252" y="3140"/>
                  </a:lnTo>
                  <a:lnTo>
                    <a:pt x="254" y="3142"/>
                  </a:lnTo>
                  <a:lnTo>
                    <a:pt x="254" y="3144"/>
                  </a:lnTo>
                  <a:lnTo>
                    <a:pt x="254" y="3146"/>
                  </a:lnTo>
                  <a:lnTo>
                    <a:pt x="256" y="3148"/>
                  </a:lnTo>
                  <a:lnTo>
                    <a:pt x="258" y="3150"/>
                  </a:lnTo>
                  <a:lnTo>
                    <a:pt x="260" y="3154"/>
                  </a:lnTo>
                  <a:lnTo>
                    <a:pt x="258" y="3164"/>
                  </a:lnTo>
                  <a:lnTo>
                    <a:pt x="256" y="3166"/>
                  </a:lnTo>
                  <a:lnTo>
                    <a:pt x="252" y="3164"/>
                  </a:lnTo>
                  <a:lnTo>
                    <a:pt x="250" y="3162"/>
                  </a:lnTo>
                  <a:lnTo>
                    <a:pt x="246" y="3162"/>
                  </a:lnTo>
                  <a:lnTo>
                    <a:pt x="244" y="3164"/>
                  </a:lnTo>
                  <a:lnTo>
                    <a:pt x="242" y="3162"/>
                  </a:lnTo>
                  <a:lnTo>
                    <a:pt x="238" y="3162"/>
                  </a:lnTo>
                  <a:lnTo>
                    <a:pt x="236" y="3164"/>
                  </a:lnTo>
                  <a:lnTo>
                    <a:pt x="234" y="3168"/>
                  </a:lnTo>
                  <a:lnTo>
                    <a:pt x="236" y="3172"/>
                  </a:lnTo>
                  <a:lnTo>
                    <a:pt x="238" y="3178"/>
                  </a:lnTo>
                  <a:lnTo>
                    <a:pt x="242" y="3184"/>
                  </a:lnTo>
                  <a:lnTo>
                    <a:pt x="244" y="3190"/>
                  </a:lnTo>
                  <a:lnTo>
                    <a:pt x="246" y="3194"/>
                  </a:lnTo>
                  <a:lnTo>
                    <a:pt x="248" y="3200"/>
                  </a:lnTo>
                  <a:lnTo>
                    <a:pt x="250" y="3200"/>
                  </a:lnTo>
                  <a:lnTo>
                    <a:pt x="252" y="3200"/>
                  </a:lnTo>
                  <a:lnTo>
                    <a:pt x="254" y="3196"/>
                  </a:lnTo>
                  <a:lnTo>
                    <a:pt x="254" y="3190"/>
                  </a:lnTo>
                  <a:lnTo>
                    <a:pt x="252" y="3184"/>
                  </a:lnTo>
                  <a:lnTo>
                    <a:pt x="250" y="3180"/>
                  </a:lnTo>
                  <a:lnTo>
                    <a:pt x="252" y="3178"/>
                  </a:lnTo>
                  <a:lnTo>
                    <a:pt x="254" y="3178"/>
                  </a:lnTo>
                  <a:lnTo>
                    <a:pt x="258" y="3182"/>
                  </a:lnTo>
                  <a:lnTo>
                    <a:pt x="262" y="3184"/>
                  </a:lnTo>
                  <a:lnTo>
                    <a:pt x="262" y="3186"/>
                  </a:lnTo>
                  <a:lnTo>
                    <a:pt x="260" y="3186"/>
                  </a:lnTo>
                  <a:lnTo>
                    <a:pt x="258" y="3190"/>
                  </a:lnTo>
                  <a:lnTo>
                    <a:pt x="258" y="3192"/>
                  </a:lnTo>
                  <a:lnTo>
                    <a:pt x="258" y="3194"/>
                  </a:lnTo>
                  <a:lnTo>
                    <a:pt x="258" y="3198"/>
                  </a:lnTo>
                  <a:lnTo>
                    <a:pt x="258" y="3202"/>
                  </a:lnTo>
                  <a:lnTo>
                    <a:pt x="258" y="3206"/>
                  </a:lnTo>
                  <a:lnTo>
                    <a:pt x="260" y="3208"/>
                  </a:lnTo>
                  <a:lnTo>
                    <a:pt x="266" y="3208"/>
                  </a:lnTo>
                  <a:lnTo>
                    <a:pt x="270" y="3208"/>
                  </a:lnTo>
                  <a:lnTo>
                    <a:pt x="272" y="3206"/>
                  </a:lnTo>
                  <a:lnTo>
                    <a:pt x="274" y="3200"/>
                  </a:lnTo>
                  <a:lnTo>
                    <a:pt x="274" y="3194"/>
                  </a:lnTo>
                  <a:lnTo>
                    <a:pt x="276" y="3192"/>
                  </a:lnTo>
                  <a:lnTo>
                    <a:pt x="276" y="3190"/>
                  </a:lnTo>
                  <a:lnTo>
                    <a:pt x="276" y="3188"/>
                  </a:lnTo>
                  <a:lnTo>
                    <a:pt x="276" y="3186"/>
                  </a:lnTo>
                  <a:lnTo>
                    <a:pt x="272" y="3186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02" name="Freeform 6151">
              <a:extLst>
                <a:ext uri="{FF2B5EF4-FFF2-40B4-BE49-F238E27FC236}">
                  <a16:creationId xmlns:a16="http://schemas.microsoft.com/office/drawing/2014/main" id="{48D472E1-F87E-4B92-8173-E52F6F6F6E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34182" y="3952882"/>
              <a:ext cx="1708155" cy="1525582"/>
            </a:xfrm>
            <a:custGeom>
              <a:avLst/>
              <a:gdLst>
                <a:gd name="T0" fmla="*/ 441960 w 2690"/>
                <a:gd name="T1" fmla="*/ 349032 h 2404"/>
                <a:gd name="T2" fmla="*/ 1037590 w 2690"/>
                <a:gd name="T3" fmla="*/ 357917 h 2404"/>
                <a:gd name="T4" fmla="*/ 979170 w 2690"/>
                <a:gd name="T5" fmla="*/ 750102 h 2404"/>
                <a:gd name="T6" fmla="*/ 911860 w 2690"/>
                <a:gd name="T7" fmla="*/ 630796 h 2404"/>
                <a:gd name="T8" fmla="*/ 789940 w 2690"/>
                <a:gd name="T9" fmla="*/ 445492 h 2404"/>
                <a:gd name="T10" fmla="*/ 726440 w 2690"/>
                <a:gd name="T11" fmla="*/ 403608 h 2404"/>
                <a:gd name="T12" fmla="*/ 579120 w 2690"/>
                <a:gd name="T13" fmla="*/ 472145 h 2404"/>
                <a:gd name="T14" fmla="*/ 584200 w 2690"/>
                <a:gd name="T15" fmla="*/ 383301 h 2404"/>
                <a:gd name="T16" fmla="*/ 478790 w 2690"/>
                <a:gd name="T17" fmla="*/ 352840 h 2404"/>
                <a:gd name="T18" fmla="*/ 388620 w 2690"/>
                <a:gd name="T19" fmla="*/ 458184 h 2404"/>
                <a:gd name="T20" fmla="*/ 262890 w 2690"/>
                <a:gd name="T21" fmla="*/ 533067 h 2404"/>
                <a:gd name="T22" fmla="*/ 69850 w 2690"/>
                <a:gd name="T23" fmla="*/ 656181 h 2404"/>
                <a:gd name="T24" fmla="*/ 5080 w 2690"/>
                <a:gd name="T25" fmla="*/ 802139 h 2404"/>
                <a:gd name="T26" fmla="*/ 60960 w 2690"/>
                <a:gd name="T27" fmla="*/ 1055981 h 2404"/>
                <a:gd name="T28" fmla="*/ 218440 w 2690"/>
                <a:gd name="T29" fmla="*/ 1077558 h 2404"/>
                <a:gd name="T30" fmla="*/ 490220 w 2690"/>
                <a:gd name="T31" fmla="*/ 1012828 h 2404"/>
                <a:gd name="T32" fmla="*/ 628650 w 2690"/>
                <a:gd name="T33" fmla="*/ 1040751 h 2404"/>
                <a:gd name="T34" fmla="*/ 647700 w 2690"/>
                <a:gd name="T35" fmla="*/ 1137210 h 2404"/>
                <a:gd name="T36" fmla="*/ 810260 w 2690"/>
                <a:gd name="T37" fmla="*/ 1215901 h 2404"/>
                <a:gd name="T38" fmla="*/ 938530 w 2690"/>
                <a:gd name="T39" fmla="*/ 1189248 h 2404"/>
                <a:gd name="T40" fmla="*/ 1033780 w 2690"/>
                <a:gd name="T41" fmla="*/ 896061 h 2404"/>
                <a:gd name="T42" fmla="*/ 1059180 w 2690"/>
                <a:gd name="T43" fmla="*/ 154843 h 2404"/>
                <a:gd name="T44" fmla="*/ 788670 w 2690"/>
                <a:gd name="T45" fmla="*/ 1289515 h 2404"/>
                <a:gd name="T46" fmla="*/ 810260 w 2690"/>
                <a:gd name="T47" fmla="*/ 1344091 h 2404"/>
                <a:gd name="T48" fmla="*/ 881380 w 2690"/>
                <a:gd name="T49" fmla="*/ 1394860 h 2404"/>
                <a:gd name="T50" fmla="*/ 623570 w 2690"/>
                <a:gd name="T51" fmla="*/ 1148633 h 2404"/>
                <a:gd name="T52" fmla="*/ 1405890 w 2690"/>
                <a:gd name="T53" fmla="*/ 516568 h 2404"/>
                <a:gd name="T54" fmla="*/ 1370330 w 2690"/>
                <a:gd name="T55" fmla="*/ 696795 h 2404"/>
                <a:gd name="T56" fmla="*/ 1367790 w 2690"/>
                <a:gd name="T57" fmla="*/ 455646 h 2404"/>
                <a:gd name="T58" fmla="*/ 1125220 w 2690"/>
                <a:gd name="T59" fmla="*/ 244957 h 2404"/>
                <a:gd name="T60" fmla="*/ 1106170 w 2690"/>
                <a:gd name="T61" fmla="*/ 201804 h 2404"/>
                <a:gd name="T62" fmla="*/ 1162050 w 2690"/>
                <a:gd name="T63" fmla="*/ 242419 h 2404"/>
                <a:gd name="T64" fmla="*/ 1210310 w 2690"/>
                <a:gd name="T65" fmla="*/ 365532 h 2404"/>
                <a:gd name="T66" fmla="*/ 1394460 w 2690"/>
                <a:gd name="T67" fmla="*/ 512760 h 2404"/>
                <a:gd name="T68" fmla="*/ 1545590 w 2690"/>
                <a:gd name="T69" fmla="*/ 1325053 h 2404"/>
                <a:gd name="T70" fmla="*/ 1426210 w 2690"/>
                <a:gd name="T71" fmla="*/ 1426590 h 2404"/>
                <a:gd name="T72" fmla="*/ 1432560 w 2690"/>
                <a:gd name="T73" fmla="*/ 1525588 h 2404"/>
                <a:gd name="T74" fmla="*/ 1534160 w 2690"/>
                <a:gd name="T75" fmla="*/ 1393590 h 2404"/>
                <a:gd name="T76" fmla="*/ 1692910 w 2690"/>
                <a:gd name="T77" fmla="*/ 521644 h 2404"/>
                <a:gd name="T78" fmla="*/ 1576070 w 2690"/>
                <a:gd name="T79" fmla="*/ 1165133 h 2404"/>
                <a:gd name="T80" fmla="*/ 1564640 w 2690"/>
                <a:gd name="T81" fmla="*/ 1161325 h 2404"/>
                <a:gd name="T82" fmla="*/ 1588770 w 2690"/>
                <a:gd name="T83" fmla="*/ 1345360 h 2404"/>
                <a:gd name="T84" fmla="*/ 1651000 w 2690"/>
                <a:gd name="T85" fmla="*/ 1208286 h 2404"/>
                <a:gd name="T86" fmla="*/ 1428750 w 2690"/>
                <a:gd name="T87" fmla="*/ 587643 h 2404"/>
                <a:gd name="T88" fmla="*/ 966470 w 2690"/>
                <a:gd name="T89" fmla="*/ 312225 h 2404"/>
                <a:gd name="T90" fmla="*/ 867410 w 2690"/>
                <a:gd name="T91" fmla="*/ 159920 h 2404"/>
                <a:gd name="T92" fmla="*/ 584200 w 2690"/>
                <a:gd name="T93" fmla="*/ 49499 h 2404"/>
                <a:gd name="T94" fmla="*/ 539750 w 2690"/>
                <a:gd name="T95" fmla="*/ 182766 h 2404"/>
                <a:gd name="T96" fmla="*/ 631190 w 2690"/>
                <a:gd name="T97" fmla="*/ 243688 h 2404"/>
                <a:gd name="T98" fmla="*/ 673100 w 2690"/>
                <a:gd name="T99" fmla="*/ 510222 h 2404"/>
                <a:gd name="T100" fmla="*/ 769620 w 2690"/>
                <a:gd name="T101" fmla="*/ 279226 h 2404"/>
                <a:gd name="T102" fmla="*/ 889000 w 2690"/>
                <a:gd name="T103" fmla="*/ 312225 h 2404"/>
                <a:gd name="T104" fmla="*/ 885190 w 2690"/>
                <a:gd name="T105" fmla="*/ 244957 h 2404"/>
                <a:gd name="T106" fmla="*/ 774700 w 2690"/>
                <a:gd name="T107" fmla="*/ 107883 h 2404"/>
                <a:gd name="T108" fmla="*/ 922020 w 2690"/>
                <a:gd name="T109" fmla="*/ 187843 h 2404"/>
                <a:gd name="T110" fmla="*/ 971550 w 2690"/>
                <a:gd name="T111" fmla="*/ 153574 h 2404"/>
                <a:gd name="T112" fmla="*/ 1008380 w 2690"/>
                <a:gd name="T113" fmla="*/ 128190 h 2404"/>
                <a:gd name="T114" fmla="*/ 952500 w 2690"/>
                <a:gd name="T115" fmla="*/ 81229 h 2404"/>
                <a:gd name="T116" fmla="*/ 487680 w 2690"/>
                <a:gd name="T117" fmla="*/ 92652 h 2404"/>
                <a:gd name="T118" fmla="*/ 637540 w 2690"/>
                <a:gd name="T119" fmla="*/ 180228 h 2404"/>
                <a:gd name="T120" fmla="*/ 613410 w 2690"/>
                <a:gd name="T121" fmla="*/ 60922 h 2404"/>
                <a:gd name="T122" fmla="*/ 499110 w 2690"/>
                <a:gd name="T123" fmla="*/ 11423 h 2404"/>
                <a:gd name="T124" fmla="*/ 1026160 w 2690"/>
                <a:gd name="T125" fmla="*/ 776755 h 24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90"/>
                <a:gd name="T190" fmla="*/ 0 h 2404"/>
                <a:gd name="T191" fmla="*/ 2690 w 2690"/>
                <a:gd name="T192" fmla="*/ 2404 h 240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90" h="2404">
                  <a:moveTo>
                    <a:pt x="692" y="12"/>
                  </a:moveTo>
                  <a:lnTo>
                    <a:pt x="692" y="12"/>
                  </a:lnTo>
                  <a:lnTo>
                    <a:pt x="698" y="14"/>
                  </a:lnTo>
                  <a:lnTo>
                    <a:pt x="702" y="18"/>
                  </a:lnTo>
                  <a:lnTo>
                    <a:pt x="708" y="20"/>
                  </a:lnTo>
                  <a:lnTo>
                    <a:pt x="714" y="20"/>
                  </a:lnTo>
                  <a:lnTo>
                    <a:pt x="716" y="20"/>
                  </a:lnTo>
                  <a:lnTo>
                    <a:pt x="714" y="18"/>
                  </a:lnTo>
                  <a:lnTo>
                    <a:pt x="712" y="16"/>
                  </a:lnTo>
                  <a:lnTo>
                    <a:pt x="710" y="12"/>
                  </a:lnTo>
                  <a:lnTo>
                    <a:pt x="708" y="12"/>
                  </a:lnTo>
                  <a:lnTo>
                    <a:pt x="710" y="12"/>
                  </a:lnTo>
                  <a:lnTo>
                    <a:pt x="714" y="12"/>
                  </a:lnTo>
                  <a:lnTo>
                    <a:pt x="718" y="16"/>
                  </a:lnTo>
                  <a:lnTo>
                    <a:pt x="722" y="18"/>
                  </a:lnTo>
                  <a:lnTo>
                    <a:pt x="728" y="18"/>
                  </a:lnTo>
                  <a:lnTo>
                    <a:pt x="730" y="16"/>
                  </a:lnTo>
                  <a:lnTo>
                    <a:pt x="730" y="12"/>
                  </a:lnTo>
                  <a:lnTo>
                    <a:pt x="724" y="6"/>
                  </a:lnTo>
                  <a:lnTo>
                    <a:pt x="714" y="2"/>
                  </a:lnTo>
                  <a:lnTo>
                    <a:pt x="708" y="0"/>
                  </a:lnTo>
                  <a:lnTo>
                    <a:pt x="702" y="2"/>
                  </a:lnTo>
                  <a:lnTo>
                    <a:pt x="694" y="4"/>
                  </a:lnTo>
                  <a:lnTo>
                    <a:pt x="688" y="8"/>
                  </a:lnTo>
                  <a:lnTo>
                    <a:pt x="688" y="10"/>
                  </a:lnTo>
                  <a:lnTo>
                    <a:pt x="692" y="12"/>
                  </a:lnTo>
                  <a:close/>
                  <a:moveTo>
                    <a:pt x="742" y="352"/>
                  </a:moveTo>
                  <a:lnTo>
                    <a:pt x="742" y="352"/>
                  </a:lnTo>
                  <a:lnTo>
                    <a:pt x="740" y="350"/>
                  </a:lnTo>
                  <a:lnTo>
                    <a:pt x="736" y="352"/>
                  </a:lnTo>
                  <a:lnTo>
                    <a:pt x="732" y="358"/>
                  </a:lnTo>
                  <a:lnTo>
                    <a:pt x="728" y="366"/>
                  </a:lnTo>
                  <a:lnTo>
                    <a:pt x="724" y="382"/>
                  </a:lnTo>
                  <a:lnTo>
                    <a:pt x="724" y="386"/>
                  </a:lnTo>
                  <a:lnTo>
                    <a:pt x="724" y="388"/>
                  </a:lnTo>
                  <a:lnTo>
                    <a:pt x="726" y="388"/>
                  </a:lnTo>
                  <a:lnTo>
                    <a:pt x="736" y="382"/>
                  </a:lnTo>
                  <a:lnTo>
                    <a:pt x="742" y="374"/>
                  </a:lnTo>
                  <a:lnTo>
                    <a:pt x="744" y="364"/>
                  </a:lnTo>
                  <a:lnTo>
                    <a:pt x="742" y="352"/>
                  </a:lnTo>
                  <a:close/>
                  <a:moveTo>
                    <a:pt x="696" y="550"/>
                  </a:moveTo>
                  <a:lnTo>
                    <a:pt x="696" y="550"/>
                  </a:lnTo>
                  <a:lnTo>
                    <a:pt x="692" y="548"/>
                  </a:lnTo>
                  <a:lnTo>
                    <a:pt x="690" y="548"/>
                  </a:lnTo>
                  <a:lnTo>
                    <a:pt x="690" y="552"/>
                  </a:lnTo>
                  <a:lnTo>
                    <a:pt x="692" y="556"/>
                  </a:lnTo>
                  <a:lnTo>
                    <a:pt x="700" y="566"/>
                  </a:lnTo>
                  <a:lnTo>
                    <a:pt x="710" y="578"/>
                  </a:lnTo>
                  <a:lnTo>
                    <a:pt x="714" y="580"/>
                  </a:lnTo>
                  <a:lnTo>
                    <a:pt x="718" y="578"/>
                  </a:lnTo>
                  <a:lnTo>
                    <a:pt x="724" y="576"/>
                  </a:lnTo>
                  <a:lnTo>
                    <a:pt x="728" y="574"/>
                  </a:lnTo>
                  <a:lnTo>
                    <a:pt x="734" y="568"/>
                  </a:lnTo>
                  <a:lnTo>
                    <a:pt x="736" y="564"/>
                  </a:lnTo>
                  <a:lnTo>
                    <a:pt x="738" y="558"/>
                  </a:lnTo>
                  <a:lnTo>
                    <a:pt x="736" y="552"/>
                  </a:lnTo>
                  <a:lnTo>
                    <a:pt x="730" y="546"/>
                  </a:lnTo>
                  <a:lnTo>
                    <a:pt x="728" y="544"/>
                  </a:lnTo>
                  <a:lnTo>
                    <a:pt x="724" y="546"/>
                  </a:lnTo>
                  <a:lnTo>
                    <a:pt x="722" y="548"/>
                  </a:lnTo>
                  <a:lnTo>
                    <a:pt x="718" y="552"/>
                  </a:lnTo>
                  <a:lnTo>
                    <a:pt x="712" y="554"/>
                  </a:lnTo>
                  <a:lnTo>
                    <a:pt x="706" y="554"/>
                  </a:lnTo>
                  <a:lnTo>
                    <a:pt x="696" y="550"/>
                  </a:lnTo>
                  <a:close/>
                  <a:moveTo>
                    <a:pt x="936" y="688"/>
                  </a:moveTo>
                  <a:lnTo>
                    <a:pt x="936" y="688"/>
                  </a:lnTo>
                  <a:lnTo>
                    <a:pt x="938" y="696"/>
                  </a:lnTo>
                  <a:lnTo>
                    <a:pt x="940" y="696"/>
                  </a:lnTo>
                  <a:lnTo>
                    <a:pt x="942" y="696"/>
                  </a:lnTo>
                  <a:lnTo>
                    <a:pt x="946" y="692"/>
                  </a:lnTo>
                  <a:lnTo>
                    <a:pt x="950" y="684"/>
                  </a:lnTo>
                  <a:lnTo>
                    <a:pt x="950" y="680"/>
                  </a:lnTo>
                  <a:lnTo>
                    <a:pt x="950" y="678"/>
                  </a:lnTo>
                  <a:lnTo>
                    <a:pt x="946" y="676"/>
                  </a:lnTo>
                  <a:lnTo>
                    <a:pt x="942" y="676"/>
                  </a:lnTo>
                  <a:lnTo>
                    <a:pt x="940" y="676"/>
                  </a:lnTo>
                  <a:lnTo>
                    <a:pt x="936" y="680"/>
                  </a:lnTo>
                  <a:lnTo>
                    <a:pt x="934" y="684"/>
                  </a:lnTo>
                  <a:lnTo>
                    <a:pt x="936" y="688"/>
                  </a:lnTo>
                  <a:close/>
                  <a:moveTo>
                    <a:pt x="1610" y="556"/>
                  </a:moveTo>
                  <a:lnTo>
                    <a:pt x="1610" y="556"/>
                  </a:lnTo>
                  <a:lnTo>
                    <a:pt x="1616" y="560"/>
                  </a:lnTo>
                  <a:lnTo>
                    <a:pt x="1624" y="562"/>
                  </a:lnTo>
                  <a:lnTo>
                    <a:pt x="1632" y="564"/>
                  </a:lnTo>
                  <a:lnTo>
                    <a:pt x="1634" y="564"/>
                  </a:lnTo>
                  <a:lnTo>
                    <a:pt x="1634" y="562"/>
                  </a:lnTo>
                  <a:lnTo>
                    <a:pt x="1628" y="558"/>
                  </a:lnTo>
                  <a:lnTo>
                    <a:pt x="1618" y="552"/>
                  </a:lnTo>
                  <a:lnTo>
                    <a:pt x="1610" y="550"/>
                  </a:lnTo>
                  <a:lnTo>
                    <a:pt x="1610" y="552"/>
                  </a:lnTo>
                  <a:lnTo>
                    <a:pt x="1610" y="556"/>
                  </a:lnTo>
                  <a:close/>
                  <a:moveTo>
                    <a:pt x="1402" y="2052"/>
                  </a:moveTo>
                  <a:lnTo>
                    <a:pt x="1402" y="2052"/>
                  </a:lnTo>
                  <a:lnTo>
                    <a:pt x="1404" y="2054"/>
                  </a:lnTo>
                  <a:lnTo>
                    <a:pt x="1410" y="2056"/>
                  </a:lnTo>
                  <a:lnTo>
                    <a:pt x="1416" y="2056"/>
                  </a:lnTo>
                  <a:lnTo>
                    <a:pt x="1420" y="2054"/>
                  </a:lnTo>
                  <a:lnTo>
                    <a:pt x="1420" y="2052"/>
                  </a:lnTo>
                  <a:lnTo>
                    <a:pt x="1418" y="2048"/>
                  </a:lnTo>
                  <a:lnTo>
                    <a:pt x="1412" y="2048"/>
                  </a:lnTo>
                  <a:lnTo>
                    <a:pt x="1404" y="2048"/>
                  </a:lnTo>
                  <a:lnTo>
                    <a:pt x="1402" y="2050"/>
                  </a:lnTo>
                  <a:lnTo>
                    <a:pt x="1402" y="2052"/>
                  </a:lnTo>
                  <a:close/>
                  <a:moveTo>
                    <a:pt x="1610" y="1344"/>
                  </a:moveTo>
                  <a:lnTo>
                    <a:pt x="1610" y="1344"/>
                  </a:lnTo>
                  <a:lnTo>
                    <a:pt x="1612" y="1338"/>
                  </a:lnTo>
                  <a:lnTo>
                    <a:pt x="1614" y="1334"/>
                  </a:lnTo>
                  <a:lnTo>
                    <a:pt x="1612" y="1324"/>
                  </a:lnTo>
                  <a:lnTo>
                    <a:pt x="1610" y="1312"/>
                  </a:lnTo>
                  <a:lnTo>
                    <a:pt x="1608" y="1304"/>
                  </a:lnTo>
                  <a:lnTo>
                    <a:pt x="1610" y="1294"/>
                  </a:lnTo>
                  <a:lnTo>
                    <a:pt x="1610" y="1280"/>
                  </a:lnTo>
                  <a:lnTo>
                    <a:pt x="1608" y="1276"/>
                  </a:lnTo>
                  <a:lnTo>
                    <a:pt x="1606" y="1276"/>
                  </a:lnTo>
                  <a:lnTo>
                    <a:pt x="1604" y="1274"/>
                  </a:lnTo>
                  <a:lnTo>
                    <a:pt x="1600" y="1270"/>
                  </a:lnTo>
                  <a:lnTo>
                    <a:pt x="1598" y="1266"/>
                  </a:lnTo>
                  <a:lnTo>
                    <a:pt x="1596" y="1256"/>
                  </a:lnTo>
                  <a:lnTo>
                    <a:pt x="1594" y="1246"/>
                  </a:lnTo>
                  <a:lnTo>
                    <a:pt x="1590" y="1238"/>
                  </a:lnTo>
                  <a:lnTo>
                    <a:pt x="1582" y="1226"/>
                  </a:lnTo>
                  <a:lnTo>
                    <a:pt x="1570" y="1214"/>
                  </a:lnTo>
                  <a:lnTo>
                    <a:pt x="1560" y="1198"/>
                  </a:lnTo>
                  <a:lnTo>
                    <a:pt x="1550" y="1184"/>
                  </a:lnTo>
                  <a:lnTo>
                    <a:pt x="1548" y="1182"/>
                  </a:lnTo>
                  <a:lnTo>
                    <a:pt x="1546" y="1182"/>
                  </a:lnTo>
                  <a:lnTo>
                    <a:pt x="1542" y="1182"/>
                  </a:lnTo>
                  <a:lnTo>
                    <a:pt x="1538" y="1180"/>
                  </a:lnTo>
                  <a:lnTo>
                    <a:pt x="1534" y="1176"/>
                  </a:lnTo>
                  <a:lnTo>
                    <a:pt x="1526" y="1166"/>
                  </a:lnTo>
                  <a:lnTo>
                    <a:pt x="1518" y="1156"/>
                  </a:lnTo>
                  <a:lnTo>
                    <a:pt x="1514" y="1146"/>
                  </a:lnTo>
                  <a:lnTo>
                    <a:pt x="1514" y="1136"/>
                  </a:lnTo>
                  <a:lnTo>
                    <a:pt x="1514" y="1126"/>
                  </a:lnTo>
                  <a:lnTo>
                    <a:pt x="1514" y="1110"/>
                  </a:lnTo>
                  <a:lnTo>
                    <a:pt x="1514" y="1104"/>
                  </a:lnTo>
                  <a:lnTo>
                    <a:pt x="1510" y="1098"/>
                  </a:lnTo>
                  <a:lnTo>
                    <a:pt x="1508" y="1096"/>
                  </a:lnTo>
                  <a:lnTo>
                    <a:pt x="1506" y="1096"/>
                  </a:lnTo>
                  <a:lnTo>
                    <a:pt x="1502" y="1102"/>
                  </a:lnTo>
                  <a:lnTo>
                    <a:pt x="1502" y="1104"/>
                  </a:lnTo>
                  <a:lnTo>
                    <a:pt x="1498" y="1104"/>
                  </a:lnTo>
                  <a:lnTo>
                    <a:pt x="1494" y="1102"/>
                  </a:lnTo>
                  <a:lnTo>
                    <a:pt x="1490" y="1096"/>
                  </a:lnTo>
                  <a:lnTo>
                    <a:pt x="1484" y="1090"/>
                  </a:lnTo>
                  <a:lnTo>
                    <a:pt x="1480" y="1090"/>
                  </a:lnTo>
                  <a:lnTo>
                    <a:pt x="1480" y="1092"/>
                  </a:lnTo>
                  <a:lnTo>
                    <a:pt x="1480" y="1098"/>
                  </a:lnTo>
                  <a:lnTo>
                    <a:pt x="1478" y="1102"/>
                  </a:lnTo>
                  <a:lnTo>
                    <a:pt x="1478" y="1106"/>
                  </a:lnTo>
                  <a:lnTo>
                    <a:pt x="1474" y="1104"/>
                  </a:lnTo>
                  <a:lnTo>
                    <a:pt x="1470" y="1100"/>
                  </a:lnTo>
                  <a:lnTo>
                    <a:pt x="1464" y="1092"/>
                  </a:lnTo>
                  <a:lnTo>
                    <a:pt x="1462" y="1086"/>
                  </a:lnTo>
                  <a:lnTo>
                    <a:pt x="1462" y="1080"/>
                  </a:lnTo>
                  <a:lnTo>
                    <a:pt x="1462" y="1076"/>
                  </a:lnTo>
                  <a:lnTo>
                    <a:pt x="1464" y="1066"/>
                  </a:lnTo>
                  <a:lnTo>
                    <a:pt x="1462" y="1060"/>
                  </a:lnTo>
                  <a:lnTo>
                    <a:pt x="1462" y="1054"/>
                  </a:lnTo>
                  <a:lnTo>
                    <a:pt x="1458" y="1046"/>
                  </a:lnTo>
                  <a:lnTo>
                    <a:pt x="1452" y="1038"/>
                  </a:lnTo>
                  <a:lnTo>
                    <a:pt x="1440" y="1022"/>
                  </a:lnTo>
                  <a:lnTo>
                    <a:pt x="1430" y="1012"/>
                  </a:lnTo>
                  <a:lnTo>
                    <a:pt x="1428" y="1008"/>
                  </a:lnTo>
                  <a:lnTo>
                    <a:pt x="1432" y="1008"/>
                  </a:lnTo>
                  <a:lnTo>
                    <a:pt x="1436" y="1008"/>
                  </a:lnTo>
                  <a:lnTo>
                    <a:pt x="1438" y="1006"/>
                  </a:lnTo>
                  <a:lnTo>
                    <a:pt x="1440" y="1002"/>
                  </a:lnTo>
                  <a:lnTo>
                    <a:pt x="1438" y="998"/>
                  </a:lnTo>
                  <a:lnTo>
                    <a:pt x="1436" y="994"/>
                  </a:lnTo>
                  <a:lnTo>
                    <a:pt x="1430" y="988"/>
                  </a:lnTo>
                  <a:lnTo>
                    <a:pt x="1422" y="984"/>
                  </a:lnTo>
                  <a:lnTo>
                    <a:pt x="1410" y="978"/>
                  </a:lnTo>
                  <a:lnTo>
                    <a:pt x="1398" y="974"/>
                  </a:lnTo>
                  <a:lnTo>
                    <a:pt x="1392" y="968"/>
                  </a:lnTo>
                  <a:lnTo>
                    <a:pt x="1388" y="964"/>
                  </a:lnTo>
                  <a:lnTo>
                    <a:pt x="1386" y="960"/>
                  </a:lnTo>
                  <a:lnTo>
                    <a:pt x="1384" y="956"/>
                  </a:lnTo>
                  <a:lnTo>
                    <a:pt x="1380" y="952"/>
                  </a:lnTo>
                  <a:lnTo>
                    <a:pt x="1374" y="950"/>
                  </a:lnTo>
                  <a:lnTo>
                    <a:pt x="1364" y="946"/>
                  </a:lnTo>
                  <a:lnTo>
                    <a:pt x="1354" y="942"/>
                  </a:lnTo>
                  <a:lnTo>
                    <a:pt x="1346" y="938"/>
                  </a:lnTo>
                  <a:lnTo>
                    <a:pt x="1340" y="934"/>
                  </a:lnTo>
                  <a:lnTo>
                    <a:pt x="1338" y="928"/>
                  </a:lnTo>
                  <a:lnTo>
                    <a:pt x="1334" y="916"/>
                  </a:lnTo>
                  <a:lnTo>
                    <a:pt x="1332" y="908"/>
                  </a:lnTo>
                  <a:lnTo>
                    <a:pt x="1328" y="902"/>
                  </a:lnTo>
                  <a:lnTo>
                    <a:pt x="1324" y="896"/>
                  </a:lnTo>
                  <a:lnTo>
                    <a:pt x="1324" y="886"/>
                  </a:lnTo>
                  <a:lnTo>
                    <a:pt x="1322" y="864"/>
                  </a:lnTo>
                  <a:lnTo>
                    <a:pt x="1322" y="852"/>
                  </a:lnTo>
                  <a:lnTo>
                    <a:pt x="1320" y="840"/>
                  </a:lnTo>
                  <a:lnTo>
                    <a:pt x="1316" y="828"/>
                  </a:lnTo>
                  <a:lnTo>
                    <a:pt x="1308" y="818"/>
                  </a:lnTo>
                  <a:lnTo>
                    <a:pt x="1304" y="812"/>
                  </a:lnTo>
                  <a:lnTo>
                    <a:pt x="1302" y="806"/>
                  </a:lnTo>
                  <a:lnTo>
                    <a:pt x="1298" y="794"/>
                  </a:lnTo>
                  <a:lnTo>
                    <a:pt x="1296" y="780"/>
                  </a:lnTo>
                  <a:lnTo>
                    <a:pt x="1296" y="764"/>
                  </a:lnTo>
                  <a:lnTo>
                    <a:pt x="1296" y="750"/>
                  </a:lnTo>
                  <a:lnTo>
                    <a:pt x="1294" y="736"/>
                  </a:lnTo>
                  <a:lnTo>
                    <a:pt x="1290" y="726"/>
                  </a:lnTo>
                  <a:lnTo>
                    <a:pt x="1286" y="722"/>
                  </a:lnTo>
                  <a:lnTo>
                    <a:pt x="1282" y="718"/>
                  </a:lnTo>
                  <a:lnTo>
                    <a:pt x="1274" y="712"/>
                  </a:lnTo>
                  <a:lnTo>
                    <a:pt x="1268" y="704"/>
                  </a:lnTo>
                  <a:lnTo>
                    <a:pt x="1262" y="692"/>
                  </a:lnTo>
                  <a:lnTo>
                    <a:pt x="1258" y="690"/>
                  </a:lnTo>
                  <a:lnTo>
                    <a:pt x="1256" y="688"/>
                  </a:lnTo>
                  <a:lnTo>
                    <a:pt x="1254" y="690"/>
                  </a:lnTo>
                  <a:lnTo>
                    <a:pt x="1250" y="698"/>
                  </a:lnTo>
                  <a:lnTo>
                    <a:pt x="1244" y="702"/>
                  </a:lnTo>
                  <a:lnTo>
                    <a:pt x="1240" y="704"/>
                  </a:lnTo>
                  <a:lnTo>
                    <a:pt x="1236" y="702"/>
                  </a:lnTo>
                  <a:lnTo>
                    <a:pt x="1232" y="696"/>
                  </a:lnTo>
                  <a:lnTo>
                    <a:pt x="1228" y="690"/>
                  </a:lnTo>
                  <a:lnTo>
                    <a:pt x="1226" y="682"/>
                  </a:lnTo>
                  <a:lnTo>
                    <a:pt x="1224" y="664"/>
                  </a:lnTo>
                  <a:lnTo>
                    <a:pt x="1224" y="650"/>
                  </a:lnTo>
                  <a:lnTo>
                    <a:pt x="1224" y="634"/>
                  </a:lnTo>
                  <a:lnTo>
                    <a:pt x="1220" y="620"/>
                  </a:lnTo>
                  <a:lnTo>
                    <a:pt x="1216" y="614"/>
                  </a:lnTo>
                  <a:lnTo>
                    <a:pt x="1212" y="606"/>
                  </a:lnTo>
                  <a:lnTo>
                    <a:pt x="1208" y="600"/>
                  </a:lnTo>
                  <a:lnTo>
                    <a:pt x="1206" y="596"/>
                  </a:lnTo>
                  <a:lnTo>
                    <a:pt x="1206" y="588"/>
                  </a:lnTo>
                  <a:lnTo>
                    <a:pt x="1208" y="584"/>
                  </a:lnTo>
                  <a:lnTo>
                    <a:pt x="1206" y="582"/>
                  </a:lnTo>
                  <a:lnTo>
                    <a:pt x="1204" y="578"/>
                  </a:lnTo>
                  <a:lnTo>
                    <a:pt x="1200" y="576"/>
                  </a:lnTo>
                  <a:lnTo>
                    <a:pt x="1196" y="572"/>
                  </a:lnTo>
                  <a:lnTo>
                    <a:pt x="1194" y="562"/>
                  </a:lnTo>
                  <a:lnTo>
                    <a:pt x="1192" y="548"/>
                  </a:lnTo>
                  <a:lnTo>
                    <a:pt x="1190" y="534"/>
                  </a:lnTo>
                  <a:lnTo>
                    <a:pt x="1188" y="526"/>
                  </a:lnTo>
                  <a:lnTo>
                    <a:pt x="1184" y="522"/>
                  </a:lnTo>
                  <a:lnTo>
                    <a:pt x="1180" y="520"/>
                  </a:lnTo>
                  <a:lnTo>
                    <a:pt x="1176" y="520"/>
                  </a:lnTo>
                  <a:lnTo>
                    <a:pt x="1172" y="522"/>
                  </a:lnTo>
                  <a:lnTo>
                    <a:pt x="1170" y="526"/>
                  </a:lnTo>
                  <a:lnTo>
                    <a:pt x="1166" y="532"/>
                  </a:lnTo>
                  <a:lnTo>
                    <a:pt x="1166" y="538"/>
                  </a:lnTo>
                  <a:lnTo>
                    <a:pt x="1164" y="552"/>
                  </a:lnTo>
                  <a:lnTo>
                    <a:pt x="1162" y="564"/>
                  </a:lnTo>
                  <a:lnTo>
                    <a:pt x="1150" y="594"/>
                  </a:lnTo>
                  <a:lnTo>
                    <a:pt x="1146" y="602"/>
                  </a:lnTo>
                  <a:lnTo>
                    <a:pt x="1146" y="608"/>
                  </a:lnTo>
                  <a:lnTo>
                    <a:pt x="1146" y="612"/>
                  </a:lnTo>
                  <a:lnTo>
                    <a:pt x="1150" y="614"/>
                  </a:lnTo>
                  <a:lnTo>
                    <a:pt x="1152" y="616"/>
                  </a:lnTo>
                  <a:lnTo>
                    <a:pt x="1152" y="618"/>
                  </a:lnTo>
                  <a:lnTo>
                    <a:pt x="1150" y="622"/>
                  </a:lnTo>
                  <a:lnTo>
                    <a:pt x="1144" y="630"/>
                  </a:lnTo>
                  <a:lnTo>
                    <a:pt x="1144" y="636"/>
                  </a:lnTo>
                  <a:lnTo>
                    <a:pt x="1144" y="646"/>
                  </a:lnTo>
                  <a:lnTo>
                    <a:pt x="1138" y="658"/>
                  </a:lnTo>
                  <a:lnTo>
                    <a:pt x="1136" y="668"/>
                  </a:lnTo>
                  <a:lnTo>
                    <a:pt x="1136" y="676"/>
                  </a:lnTo>
                  <a:lnTo>
                    <a:pt x="1140" y="700"/>
                  </a:lnTo>
                  <a:lnTo>
                    <a:pt x="1144" y="724"/>
                  </a:lnTo>
                  <a:lnTo>
                    <a:pt x="1144" y="736"/>
                  </a:lnTo>
                  <a:lnTo>
                    <a:pt x="1142" y="748"/>
                  </a:lnTo>
                  <a:lnTo>
                    <a:pt x="1136" y="768"/>
                  </a:lnTo>
                  <a:lnTo>
                    <a:pt x="1136" y="780"/>
                  </a:lnTo>
                  <a:lnTo>
                    <a:pt x="1136" y="792"/>
                  </a:lnTo>
                  <a:lnTo>
                    <a:pt x="1130" y="806"/>
                  </a:lnTo>
                  <a:lnTo>
                    <a:pt x="1124" y="816"/>
                  </a:lnTo>
                  <a:lnTo>
                    <a:pt x="1120" y="826"/>
                  </a:lnTo>
                  <a:lnTo>
                    <a:pt x="1116" y="840"/>
                  </a:lnTo>
                  <a:lnTo>
                    <a:pt x="1114" y="850"/>
                  </a:lnTo>
                  <a:lnTo>
                    <a:pt x="1110" y="856"/>
                  </a:lnTo>
                  <a:lnTo>
                    <a:pt x="1102" y="862"/>
                  </a:lnTo>
                  <a:lnTo>
                    <a:pt x="1096" y="866"/>
                  </a:lnTo>
                  <a:lnTo>
                    <a:pt x="1088" y="866"/>
                  </a:lnTo>
                  <a:lnTo>
                    <a:pt x="1078" y="864"/>
                  </a:lnTo>
                  <a:lnTo>
                    <a:pt x="1068" y="860"/>
                  </a:lnTo>
                  <a:lnTo>
                    <a:pt x="1060" y="854"/>
                  </a:lnTo>
                  <a:lnTo>
                    <a:pt x="1052" y="848"/>
                  </a:lnTo>
                  <a:lnTo>
                    <a:pt x="1046" y="842"/>
                  </a:lnTo>
                  <a:lnTo>
                    <a:pt x="1044" y="836"/>
                  </a:lnTo>
                  <a:lnTo>
                    <a:pt x="1040" y="830"/>
                  </a:lnTo>
                  <a:lnTo>
                    <a:pt x="1036" y="826"/>
                  </a:lnTo>
                  <a:lnTo>
                    <a:pt x="1028" y="824"/>
                  </a:lnTo>
                  <a:lnTo>
                    <a:pt x="1022" y="822"/>
                  </a:lnTo>
                  <a:lnTo>
                    <a:pt x="1014" y="818"/>
                  </a:lnTo>
                  <a:lnTo>
                    <a:pt x="1004" y="812"/>
                  </a:lnTo>
                  <a:lnTo>
                    <a:pt x="990" y="800"/>
                  </a:lnTo>
                  <a:lnTo>
                    <a:pt x="978" y="788"/>
                  </a:lnTo>
                  <a:lnTo>
                    <a:pt x="968" y="782"/>
                  </a:lnTo>
                  <a:lnTo>
                    <a:pt x="962" y="780"/>
                  </a:lnTo>
                  <a:lnTo>
                    <a:pt x="956" y="778"/>
                  </a:lnTo>
                  <a:lnTo>
                    <a:pt x="948" y="776"/>
                  </a:lnTo>
                  <a:lnTo>
                    <a:pt x="942" y="772"/>
                  </a:lnTo>
                  <a:lnTo>
                    <a:pt x="934" y="764"/>
                  </a:lnTo>
                  <a:lnTo>
                    <a:pt x="922" y="752"/>
                  </a:lnTo>
                  <a:lnTo>
                    <a:pt x="912" y="744"/>
                  </a:lnTo>
                  <a:lnTo>
                    <a:pt x="898" y="732"/>
                  </a:lnTo>
                  <a:lnTo>
                    <a:pt x="896" y="728"/>
                  </a:lnTo>
                  <a:lnTo>
                    <a:pt x="896" y="722"/>
                  </a:lnTo>
                  <a:lnTo>
                    <a:pt x="900" y="712"/>
                  </a:lnTo>
                  <a:lnTo>
                    <a:pt x="908" y="700"/>
                  </a:lnTo>
                  <a:lnTo>
                    <a:pt x="916" y="684"/>
                  </a:lnTo>
                  <a:lnTo>
                    <a:pt x="920" y="674"/>
                  </a:lnTo>
                  <a:lnTo>
                    <a:pt x="920" y="670"/>
                  </a:lnTo>
                  <a:lnTo>
                    <a:pt x="918" y="670"/>
                  </a:lnTo>
                  <a:lnTo>
                    <a:pt x="916" y="668"/>
                  </a:lnTo>
                  <a:lnTo>
                    <a:pt x="914" y="666"/>
                  </a:lnTo>
                  <a:lnTo>
                    <a:pt x="914" y="662"/>
                  </a:lnTo>
                  <a:lnTo>
                    <a:pt x="918" y="652"/>
                  </a:lnTo>
                  <a:lnTo>
                    <a:pt x="924" y="644"/>
                  </a:lnTo>
                  <a:lnTo>
                    <a:pt x="928" y="640"/>
                  </a:lnTo>
                  <a:lnTo>
                    <a:pt x="930" y="642"/>
                  </a:lnTo>
                  <a:lnTo>
                    <a:pt x="934" y="646"/>
                  </a:lnTo>
                  <a:lnTo>
                    <a:pt x="936" y="648"/>
                  </a:lnTo>
                  <a:lnTo>
                    <a:pt x="936" y="650"/>
                  </a:lnTo>
                  <a:lnTo>
                    <a:pt x="938" y="646"/>
                  </a:lnTo>
                  <a:lnTo>
                    <a:pt x="940" y="638"/>
                  </a:lnTo>
                  <a:lnTo>
                    <a:pt x="942" y="626"/>
                  </a:lnTo>
                  <a:lnTo>
                    <a:pt x="946" y="618"/>
                  </a:lnTo>
                  <a:lnTo>
                    <a:pt x="950" y="612"/>
                  </a:lnTo>
                  <a:lnTo>
                    <a:pt x="956" y="606"/>
                  </a:lnTo>
                  <a:lnTo>
                    <a:pt x="958" y="604"/>
                  </a:lnTo>
                  <a:lnTo>
                    <a:pt x="960" y="602"/>
                  </a:lnTo>
                  <a:lnTo>
                    <a:pt x="960" y="598"/>
                  </a:lnTo>
                  <a:lnTo>
                    <a:pt x="956" y="596"/>
                  </a:lnTo>
                  <a:lnTo>
                    <a:pt x="950" y="590"/>
                  </a:lnTo>
                  <a:lnTo>
                    <a:pt x="946" y="586"/>
                  </a:lnTo>
                  <a:lnTo>
                    <a:pt x="942" y="580"/>
                  </a:lnTo>
                  <a:lnTo>
                    <a:pt x="942" y="578"/>
                  </a:lnTo>
                  <a:lnTo>
                    <a:pt x="940" y="578"/>
                  </a:lnTo>
                  <a:lnTo>
                    <a:pt x="934" y="582"/>
                  </a:lnTo>
                  <a:lnTo>
                    <a:pt x="930" y="584"/>
                  </a:lnTo>
                  <a:lnTo>
                    <a:pt x="928" y="588"/>
                  </a:lnTo>
                  <a:lnTo>
                    <a:pt x="928" y="594"/>
                  </a:lnTo>
                  <a:lnTo>
                    <a:pt x="930" y="598"/>
                  </a:lnTo>
                  <a:lnTo>
                    <a:pt x="928" y="600"/>
                  </a:lnTo>
                  <a:lnTo>
                    <a:pt x="926" y="602"/>
                  </a:lnTo>
                  <a:lnTo>
                    <a:pt x="922" y="604"/>
                  </a:lnTo>
                  <a:lnTo>
                    <a:pt x="920" y="604"/>
                  </a:lnTo>
                  <a:lnTo>
                    <a:pt x="918" y="598"/>
                  </a:lnTo>
                  <a:lnTo>
                    <a:pt x="918" y="592"/>
                  </a:lnTo>
                  <a:lnTo>
                    <a:pt x="918" y="590"/>
                  </a:lnTo>
                  <a:lnTo>
                    <a:pt x="916" y="590"/>
                  </a:lnTo>
                  <a:lnTo>
                    <a:pt x="914" y="588"/>
                  </a:lnTo>
                  <a:lnTo>
                    <a:pt x="914" y="586"/>
                  </a:lnTo>
                  <a:lnTo>
                    <a:pt x="914" y="578"/>
                  </a:lnTo>
                  <a:lnTo>
                    <a:pt x="914" y="574"/>
                  </a:lnTo>
                  <a:lnTo>
                    <a:pt x="912" y="574"/>
                  </a:lnTo>
                  <a:lnTo>
                    <a:pt x="906" y="576"/>
                  </a:lnTo>
                  <a:lnTo>
                    <a:pt x="898" y="584"/>
                  </a:lnTo>
                  <a:lnTo>
                    <a:pt x="888" y="590"/>
                  </a:lnTo>
                  <a:lnTo>
                    <a:pt x="882" y="594"/>
                  </a:lnTo>
                  <a:lnTo>
                    <a:pt x="878" y="594"/>
                  </a:lnTo>
                  <a:lnTo>
                    <a:pt x="874" y="592"/>
                  </a:lnTo>
                  <a:lnTo>
                    <a:pt x="870" y="586"/>
                  </a:lnTo>
                  <a:lnTo>
                    <a:pt x="866" y="584"/>
                  </a:lnTo>
                  <a:lnTo>
                    <a:pt x="860" y="584"/>
                  </a:lnTo>
                  <a:lnTo>
                    <a:pt x="854" y="586"/>
                  </a:lnTo>
                  <a:lnTo>
                    <a:pt x="848" y="586"/>
                  </a:lnTo>
                  <a:lnTo>
                    <a:pt x="844" y="584"/>
                  </a:lnTo>
                  <a:lnTo>
                    <a:pt x="842" y="580"/>
                  </a:lnTo>
                  <a:lnTo>
                    <a:pt x="834" y="572"/>
                  </a:lnTo>
                  <a:lnTo>
                    <a:pt x="830" y="570"/>
                  </a:lnTo>
                  <a:lnTo>
                    <a:pt x="822" y="570"/>
                  </a:lnTo>
                  <a:lnTo>
                    <a:pt x="814" y="570"/>
                  </a:lnTo>
                  <a:lnTo>
                    <a:pt x="808" y="568"/>
                  </a:lnTo>
                  <a:lnTo>
                    <a:pt x="804" y="564"/>
                  </a:lnTo>
                  <a:lnTo>
                    <a:pt x="802" y="560"/>
                  </a:lnTo>
                  <a:lnTo>
                    <a:pt x="798" y="554"/>
                  </a:lnTo>
                  <a:lnTo>
                    <a:pt x="796" y="554"/>
                  </a:lnTo>
                  <a:lnTo>
                    <a:pt x="792" y="554"/>
                  </a:lnTo>
                  <a:lnTo>
                    <a:pt x="788" y="554"/>
                  </a:lnTo>
                  <a:lnTo>
                    <a:pt x="784" y="554"/>
                  </a:lnTo>
                  <a:lnTo>
                    <a:pt x="782" y="550"/>
                  </a:lnTo>
                  <a:lnTo>
                    <a:pt x="776" y="546"/>
                  </a:lnTo>
                  <a:lnTo>
                    <a:pt x="774" y="544"/>
                  </a:lnTo>
                  <a:lnTo>
                    <a:pt x="768" y="542"/>
                  </a:lnTo>
                  <a:lnTo>
                    <a:pt x="758" y="542"/>
                  </a:lnTo>
                  <a:lnTo>
                    <a:pt x="752" y="544"/>
                  </a:lnTo>
                  <a:lnTo>
                    <a:pt x="750" y="546"/>
                  </a:lnTo>
                  <a:lnTo>
                    <a:pt x="750" y="548"/>
                  </a:lnTo>
                  <a:lnTo>
                    <a:pt x="754" y="556"/>
                  </a:lnTo>
                  <a:lnTo>
                    <a:pt x="756" y="558"/>
                  </a:lnTo>
                  <a:lnTo>
                    <a:pt x="762" y="560"/>
                  </a:lnTo>
                  <a:lnTo>
                    <a:pt x="774" y="560"/>
                  </a:lnTo>
                  <a:lnTo>
                    <a:pt x="778" y="560"/>
                  </a:lnTo>
                  <a:lnTo>
                    <a:pt x="782" y="564"/>
                  </a:lnTo>
                  <a:lnTo>
                    <a:pt x="784" y="570"/>
                  </a:lnTo>
                  <a:lnTo>
                    <a:pt x="782" y="580"/>
                  </a:lnTo>
                  <a:lnTo>
                    <a:pt x="778" y="594"/>
                  </a:lnTo>
                  <a:lnTo>
                    <a:pt x="778" y="596"/>
                  </a:lnTo>
                  <a:lnTo>
                    <a:pt x="776" y="596"/>
                  </a:lnTo>
                  <a:lnTo>
                    <a:pt x="768" y="594"/>
                  </a:lnTo>
                  <a:lnTo>
                    <a:pt x="760" y="594"/>
                  </a:lnTo>
                  <a:lnTo>
                    <a:pt x="750" y="596"/>
                  </a:lnTo>
                  <a:lnTo>
                    <a:pt x="742" y="596"/>
                  </a:lnTo>
                  <a:lnTo>
                    <a:pt x="736" y="596"/>
                  </a:lnTo>
                  <a:lnTo>
                    <a:pt x="728" y="592"/>
                  </a:lnTo>
                  <a:lnTo>
                    <a:pt x="726" y="592"/>
                  </a:lnTo>
                  <a:lnTo>
                    <a:pt x="720" y="594"/>
                  </a:lnTo>
                  <a:lnTo>
                    <a:pt x="700" y="608"/>
                  </a:lnTo>
                  <a:lnTo>
                    <a:pt x="688" y="620"/>
                  </a:lnTo>
                  <a:lnTo>
                    <a:pt x="680" y="628"/>
                  </a:lnTo>
                  <a:lnTo>
                    <a:pt x="678" y="634"/>
                  </a:lnTo>
                  <a:lnTo>
                    <a:pt x="676" y="638"/>
                  </a:lnTo>
                  <a:lnTo>
                    <a:pt x="676" y="644"/>
                  </a:lnTo>
                  <a:lnTo>
                    <a:pt x="674" y="652"/>
                  </a:lnTo>
                  <a:lnTo>
                    <a:pt x="670" y="662"/>
                  </a:lnTo>
                  <a:lnTo>
                    <a:pt x="662" y="674"/>
                  </a:lnTo>
                  <a:lnTo>
                    <a:pt x="654" y="688"/>
                  </a:lnTo>
                  <a:lnTo>
                    <a:pt x="650" y="698"/>
                  </a:lnTo>
                  <a:lnTo>
                    <a:pt x="652" y="706"/>
                  </a:lnTo>
                  <a:lnTo>
                    <a:pt x="654" y="710"/>
                  </a:lnTo>
                  <a:lnTo>
                    <a:pt x="662" y="716"/>
                  </a:lnTo>
                  <a:lnTo>
                    <a:pt x="662" y="720"/>
                  </a:lnTo>
                  <a:lnTo>
                    <a:pt x="658" y="724"/>
                  </a:lnTo>
                  <a:lnTo>
                    <a:pt x="652" y="728"/>
                  </a:lnTo>
                  <a:lnTo>
                    <a:pt x="648" y="730"/>
                  </a:lnTo>
                  <a:lnTo>
                    <a:pt x="644" y="730"/>
                  </a:lnTo>
                  <a:lnTo>
                    <a:pt x="640" y="728"/>
                  </a:lnTo>
                  <a:lnTo>
                    <a:pt x="630" y="722"/>
                  </a:lnTo>
                  <a:lnTo>
                    <a:pt x="626" y="722"/>
                  </a:lnTo>
                  <a:lnTo>
                    <a:pt x="618" y="722"/>
                  </a:lnTo>
                  <a:lnTo>
                    <a:pt x="612" y="722"/>
                  </a:lnTo>
                  <a:lnTo>
                    <a:pt x="608" y="718"/>
                  </a:lnTo>
                  <a:lnTo>
                    <a:pt x="596" y="712"/>
                  </a:lnTo>
                  <a:lnTo>
                    <a:pt x="574" y="688"/>
                  </a:lnTo>
                  <a:lnTo>
                    <a:pt x="562" y="676"/>
                  </a:lnTo>
                  <a:lnTo>
                    <a:pt x="554" y="670"/>
                  </a:lnTo>
                  <a:lnTo>
                    <a:pt x="550" y="668"/>
                  </a:lnTo>
                  <a:lnTo>
                    <a:pt x="548" y="668"/>
                  </a:lnTo>
                  <a:lnTo>
                    <a:pt x="546" y="670"/>
                  </a:lnTo>
                  <a:lnTo>
                    <a:pt x="544" y="674"/>
                  </a:lnTo>
                  <a:lnTo>
                    <a:pt x="542" y="682"/>
                  </a:lnTo>
                  <a:lnTo>
                    <a:pt x="540" y="684"/>
                  </a:lnTo>
                  <a:lnTo>
                    <a:pt x="536" y="684"/>
                  </a:lnTo>
                  <a:lnTo>
                    <a:pt x="532" y="682"/>
                  </a:lnTo>
                  <a:lnTo>
                    <a:pt x="526" y="678"/>
                  </a:lnTo>
                  <a:lnTo>
                    <a:pt x="522" y="678"/>
                  </a:lnTo>
                  <a:lnTo>
                    <a:pt x="518" y="682"/>
                  </a:lnTo>
                  <a:lnTo>
                    <a:pt x="516" y="690"/>
                  </a:lnTo>
                  <a:lnTo>
                    <a:pt x="516" y="698"/>
                  </a:lnTo>
                  <a:lnTo>
                    <a:pt x="514" y="700"/>
                  </a:lnTo>
                  <a:lnTo>
                    <a:pt x="510" y="700"/>
                  </a:lnTo>
                  <a:lnTo>
                    <a:pt x="508" y="698"/>
                  </a:lnTo>
                  <a:lnTo>
                    <a:pt x="502" y="696"/>
                  </a:lnTo>
                  <a:lnTo>
                    <a:pt x="498" y="698"/>
                  </a:lnTo>
                  <a:lnTo>
                    <a:pt x="490" y="704"/>
                  </a:lnTo>
                  <a:lnTo>
                    <a:pt x="482" y="718"/>
                  </a:lnTo>
                  <a:lnTo>
                    <a:pt x="474" y="732"/>
                  </a:lnTo>
                  <a:lnTo>
                    <a:pt x="468" y="742"/>
                  </a:lnTo>
                  <a:lnTo>
                    <a:pt x="458" y="752"/>
                  </a:lnTo>
                  <a:lnTo>
                    <a:pt x="454" y="756"/>
                  </a:lnTo>
                  <a:lnTo>
                    <a:pt x="452" y="762"/>
                  </a:lnTo>
                  <a:lnTo>
                    <a:pt x="450" y="768"/>
                  </a:lnTo>
                  <a:lnTo>
                    <a:pt x="448" y="780"/>
                  </a:lnTo>
                  <a:lnTo>
                    <a:pt x="448" y="794"/>
                  </a:lnTo>
                  <a:lnTo>
                    <a:pt x="446" y="798"/>
                  </a:lnTo>
                  <a:lnTo>
                    <a:pt x="444" y="800"/>
                  </a:lnTo>
                  <a:lnTo>
                    <a:pt x="440" y="798"/>
                  </a:lnTo>
                  <a:lnTo>
                    <a:pt x="434" y="794"/>
                  </a:lnTo>
                  <a:lnTo>
                    <a:pt x="428" y="792"/>
                  </a:lnTo>
                  <a:lnTo>
                    <a:pt x="426" y="792"/>
                  </a:lnTo>
                  <a:lnTo>
                    <a:pt x="422" y="794"/>
                  </a:lnTo>
                  <a:lnTo>
                    <a:pt x="420" y="798"/>
                  </a:lnTo>
                  <a:lnTo>
                    <a:pt x="418" y="804"/>
                  </a:lnTo>
                  <a:lnTo>
                    <a:pt x="416" y="824"/>
                  </a:lnTo>
                  <a:lnTo>
                    <a:pt x="414" y="840"/>
                  </a:lnTo>
                  <a:lnTo>
                    <a:pt x="414" y="842"/>
                  </a:lnTo>
                  <a:lnTo>
                    <a:pt x="412" y="842"/>
                  </a:lnTo>
                  <a:lnTo>
                    <a:pt x="408" y="828"/>
                  </a:lnTo>
                  <a:lnTo>
                    <a:pt x="402" y="818"/>
                  </a:lnTo>
                  <a:lnTo>
                    <a:pt x="400" y="812"/>
                  </a:lnTo>
                  <a:lnTo>
                    <a:pt x="396" y="810"/>
                  </a:lnTo>
                  <a:lnTo>
                    <a:pt x="392" y="810"/>
                  </a:lnTo>
                  <a:lnTo>
                    <a:pt x="386" y="812"/>
                  </a:lnTo>
                  <a:lnTo>
                    <a:pt x="382" y="816"/>
                  </a:lnTo>
                  <a:lnTo>
                    <a:pt x="376" y="822"/>
                  </a:lnTo>
                  <a:lnTo>
                    <a:pt x="366" y="840"/>
                  </a:lnTo>
                  <a:lnTo>
                    <a:pt x="360" y="852"/>
                  </a:lnTo>
                  <a:lnTo>
                    <a:pt x="360" y="864"/>
                  </a:lnTo>
                  <a:lnTo>
                    <a:pt x="362" y="872"/>
                  </a:lnTo>
                  <a:lnTo>
                    <a:pt x="362" y="880"/>
                  </a:lnTo>
                  <a:lnTo>
                    <a:pt x="362" y="886"/>
                  </a:lnTo>
                  <a:lnTo>
                    <a:pt x="358" y="894"/>
                  </a:lnTo>
                  <a:lnTo>
                    <a:pt x="350" y="902"/>
                  </a:lnTo>
                  <a:lnTo>
                    <a:pt x="344" y="908"/>
                  </a:lnTo>
                  <a:lnTo>
                    <a:pt x="338" y="916"/>
                  </a:lnTo>
                  <a:lnTo>
                    <a:pt x="334" y="930"/>
                  </a:lnTo>
                  <a:lnTo>
                    <a:pt x="330" y="940"/>
                  </a:lnTo>
                  <a:lnTo>
                    <a:pt x="324" y="948"/>
                  </a:lnTo>
                  <a:lnTo>
                    <a:pt x="316" y="958"/>
                  </a:lnTo>
                  <a:lnTo>
                    <a:pt x="304" y="968"/>
                  </a:lnTo>
                  <a:lnTo>
                    <a:pt x="290" y="976"/>
                  </a:lnTo>
                  <a:lnTo>
                    <a:pt x="276" y="980"/>
                  </a:lnTo>
                  <a:lnTo>
                    <a:pt x="266" y="982"/>
                  </a:lnTo>
                  <a:lnTo>
                    <a:pt x="256" y="980"/>
                  </a:lnTo>
                  <a:lnTo>
                    <a:pt x="240" y="980"/>
                  </a:lnTo>
                  <a:lnTo>
                    <a:pt x="234" y="982"/>
                  </a:lnTo>
                  <a:lnTo>
                    <a:pt x="232" y="986"/>
                  </a:lnTo>
                  <a:lnTo>
                    <a:pt x="228" y="990"/>
                  </a:lnTo>
                  <a:lnTo>
                    <a:pt x="224" y="994"/>
                  </a:lnTo>
                  <a:lnTo>
                    <a:pt x="212" y="998"/>
                  </a:lnTo>
                  <a:lnTo>
                    <a:pt x="198" y="1002"/>
                  </a:lnTo>
                  <a:lnTo>
                    <a:pt x="180" y="1012"/>
                  </a:lnTo>
                  <a:lnTo>
                    <a:pt x="170" y="1016"/>
                  </a:lnTo>
                  <a:lnTo>
                    <a:pt x="162" y="1016"/>
                  </a:lnTo>
                  <a:lnTo>
                    <a:pt x="150" y="1012"/>
                  </a:lnTo>
                  <a:lnTo>
                    <a:pt x="142" y="1012"/>
                  </a:lnTo>
                  <a:lnTo>
                    <a:pt x="134" y="1014"/>
                  </a:lnTo>
                  <a:lnTo>
                    <a:pt x="124" y="1020"/>
                  </a:lnTo>
                  <a:lnTo>
                    <a:pt x="110" y="1034"/>
                  </a:lnTo>
                  <a:lnTo>
                    <a:pt x="98" y="1048"/>
                  </a:lnTo>
                  <a:lnTo>
                    <a:pt x="86" y="1058"/>
                  </a:lnTo>
                  <a:lnTo>
                    <a:pt x="78" y="1062"/>
                  </a:lnTo>
                  <a:lnTo>
                    <a:pt x="72" y="1066"/>
                  </a:lnTo>
                  <a:lnTo>
                    <a:pt x="66" y="1068"/>
                  </a:lnTo>
                  <a:lnTo>
                    <a:pt x="60" y="1074"/>
                  </a:lnTo>
                  <a:lnTo>
                    <a:pt x="54" y="1082"/>
                  </a:lnTo>
                  <a:lnTo>
                    <a:pt x="50" y="1094"/>
                  </a:lnTo>
                  <a:lnTo>
                    <a:pt x="44" y="1104"/>
                  </a:lnTo>
                  <a:lnTo>
                    <a:pt x="42" y="1106"/>
                  </a:lnTo>
                  <a:lnTo>
                    <a:pt x="42" y="1104"/>
                  </a:lnTo>
                  <a:lnTo>
                    <a:pt x="40" y="1100"/>
                  </a:lnTo>
                  <a:lnTo>
                    <a:pt x="38" y="1092"/>
                  </a:lnTo>
                  <a:lnTo>
                    <a:pt x="38" y="1084"/>
                  </a:lnTo>
                  <a:lnTo>
                    <a:pt x="36" y="1078"/>
                  </a:lnTo>
                  <a:lnTo>
                    <a:pt x="34" y="1078"/>
                  </a:lnTo>
                  <a:lnTo>
                    <a:pt x="30" y="1078"/>
                  </a:lnTo>
                  <a:lnTo>
                    <a:pt x="24" y="1088"/>
                  </a:lnTo>
                  <a:lnTo>
                    <a:pt x="18" y="1100"/>
                  </a:lnTo>
                  <a:lnTo>
                    <a:pt x="16" y="1110"/>
                  </a:lnTo>
                  <a:lnTo>
                    <a:pt x="18" y="1118"/>
                  </a:lnTo>
                  <a:lnTo>
                    <a:pt x="20" y="1126"/>
                  </a:lnTo>
                  <a:lnTo>
                    <a:pt x="22" y="1134"/>
                  </a:lnTo>
                  <a:lnTo>
                    <a:pt x="22" y="1144"/>
                  </a:lnTo>
                  <a:lnTo>
                    <a:pt x="20" y="1154"/>
                  </a:lnTo>
                  <a:lnTo>
                    <a:pt x="12" y="1170"/>
                  </a:lnTo>
                  <a:lnTo>
                    <a:pt x="8" y="1180"/>
                  </a:lnTo>
                  <a:lnTo>
                    <a:pt x="4" y="1188"/>
                  </a:lnTo>
                  <a:lnTo>
                    <a:pt x="4" y="1196"/>
                  </a:lnTo>
                  <a:lnTo>
                    <a:pt x="4" y="1204"/>
                  </a:lnTo>
                  <a:lnTo>
                    <a:pt x="8" y="1220"/>
                  </a:lnTo>
                  <a:lnTo>
                    <a:pt x="16" y="1236"/>
                  </a:lnTo>
                  <a:lnTo>
                    <a:pt x="34" y="1266"/>
                  </a:lnTo>
                  <a:lnTo>
                    <a:pt x="40" y="1280"/>
                  </a:lnTo>
                  <a:lnTo>
                    <a:pt x="40" y="1288"/>
                  </a:lnTo>
                  <a:lnTo>
                    <a:pt x="42" y="1294"/>
                  </a:lnTo>
                  <a:lnTo>
                    <a:pt x="40" y="1304"/>
                  </a:lnTo>
                  <a:lnTo>
                    <a:pt x="38" y="1304"/>
                  </a:lnTo>
                  <a:lnTo>
                    <a:pt x="36" y="1304"/>
                  </a:lnTo>
                  <a:lnTo>
                    <a:pt x="32" y="1298"/>
                  </a:lnTo>
                  <a:lnTo>
                    <a:pt x="26" y="1288"/>
                  </a:lnTo>
                  <a:lnTo>
                    <a:pt x="14" y="1268"/>
                  </a:lnTo>
                  <a:lnTo>
                    <a:pt x="10" y="1264"/>
                  </a:lnTo>
                  <a:lnTo>
                    <a:pt x="8" y="1264"/>
                  </a:lnTo>
                  <a:lnTo>
                    <a:pt x="6" y="1270"/>
                  </a:lnTo>
                  <a:lnTo>
                    <a:pt x="8" y="1276"/>
                  </a:lnTo>
                  <a:lnTo>
                    <a:pt x="14" y="1290"/>
                  </a:lnTo>
                  <a:lnTo>
                    <a:pt x="20" y="1304"/>
                  </a:lnTo>
                  <a:lnTo>
                    <a:pt x="22" y="1310"/>
                  </a:lnTo>
                  <a:lnTo>
                    <a:pt x="22" y="1316"/>
                  </a:lnTo>
                  <a:lnTo>
                    <a:pt x="20" y="1316"/>
                  </a:lnTo>
                  <a:lnTo>
                    <a:pt x="16" y="1312"/>
                  </a:lnTo>
                  <a:lnTo>
                    <a:pt x="10" y="1298"/>
                  </a:lnTo>
                  <a:lnTo>
                    <a:pt x="6" y="1292"/>
                  </a:lnTo>
                  <a:lnTo>
                    <a:pt x="2" y="1288"/>
                  </a:lnTo>
                  <a:lnTo>
                    <a:pt x="0" y="1290"/>
                  </a:lnTo>
                  <a:lnTo>
                    <a:pt x="0" y="1298"/>
                  </a:lnTo>
                  <a:lnTo>
                    <a:pt x="0" y="1306"/>
                  </a:lnTo>
                  <a:lnTo>
                    <a:pt x="4" y="1316"/>
                  </a:lnTo>
                  <a:lnTo>
                    <a:pt x="18" y="1334"/>
                  </a:lnTo>
                  <a:lnTo>
                    <a:pt x="30" y="1354"/>
                  </a:lnTo>
                  <a:lnTo>
                    <a:pt x="34" y="1364"/>
                  </a:lnTo>
                  <a:lnTo>
                    <a:pt x="36" y="1374"/>
                  </a:lnTo>
                  <a:lnTo>
                    <a:pt x="36" y="1390"/>
                  </a:lnTo>
                  <a:lnTo>
                    <a:pt x="40" y="1402"/>
                  </a:lnTo>
                  <a:lnTo>
                    <a:pt x="48" y="1414"/>
                  </a:lnTo>
                  <a:lnTo>
                    <a:pt x="60" y="1438"/>
                  </a:lnTo>
                  <a:lnTo>
                    <a:pt x="66" y="1452"/>
                  </a:lnTo>
                  <a:lnTo>
                    <a:pt x="68" y="1462"/>
                  </a:lnTo>
                  <a:lnTo>
                    <a:pt x="68" y="1482"/>
                  </a:lnTo>
                  <a:lnTo>
                    <a:pt x="70" y="1494"/>
                  </a:lnTo>
                  <a:lnTo>
                    <a:pt x="72" y="1510"/>
                  </a:lnTo>
                  <a:lnTo>
                    <a:pt x="76" y="1530"/>
                  </a:lnTo>
                  <a:lnTo>
                    <a:pt x="86" y="1556"/>
                  </a:lnTo>
                  <a:lnTo>
                    <a:pt x="96" y="1580"/>
                  </a:lnTo>
                  <a:lnTo>
                    <a:pt x="100" y="1598"/>
                  </a:lnTo>
                  <a:lnTo>
                    <a:pt x="102" y="1610"/>
                  </a:lnTo>
                  <a:lnTo>
                    <a:pt x="100" y="1620"/>
                  </a:lnTo>
                  <a:lnTo>
                    <a:pt x="96" y="1632"/>
                  </a:lnTo>
                  <a:lnTo>
                    <a:pt x="94" y="1638"/>
                  </a:lnTo>
                  <a:lnTo>
                    <a:pt x="94" y="1646"/>
                  </a:lnTo>
                  <a:lnTo>
                    <a:pt x="96" y="1656"/>
                  </a:lnTo>
                  <a:lnTo>
                    <a:pt x="96" y="1664"/>
                  </a:lnTo>
                  <a:lnTo>
                    <a:pt x="94" y="1672"/>
                  </a:lnTo>
                  <a:lnTo>
                    <a:pt x="92" y="1678"/>
                  </a:lnTo>
                  <a:lnTo>
                    <a:pt x="88" y="1682"/>
                  </a:lnTo>
                  <a:lnTo>
                    <a:pt x="84" y="1684"/>
                  </a:lnTo>
                  <a:lnTo>
                    <a:pt x="80" y="1684"/>
                  </a:lnTo>
                  <a:lnTo>
                    <a:pt x="74" y="1684"/>
                  </a:lnTo>
                  <a:lnTo>
                    <a:pt x="70" y="1684"/>
                  </a:lnTo>
                  <a:lnTo>
                    <a:pt x="68" y="1688"/>
                  </a:lnTo>
                  <a:lnTo>
                    <a:pt x="66" y="1694"/>
                  </a:lnTo>
                  <a:lnTo>
                    <a:pt x="66" y="1702"/>
                  </a:lnTo>
                  <a:lnTo>
                    <a:pt x="68" y="1710"/>
                  </a:lnTo>
                  <a:lnTo>
                    <a:pt x="70" y="1716"/>
                  </a:lnTo>
                  <a:lnTo>
                    <a:pt x="76" y="1722"/>
                  </a:lnTo>
                  <a:lnTo>
                    <a:pt x="82" y="1722"/>
                  </a:lnTo>
                  <a:lnTo>
                    <a:pt x="88" y="1722"/>
                  </a:lnTo>
                  <a:lnTo>
                    <a:pt x="92" y="1726"/>
                  </a:lnTo>
                  <a:lnTo>
                    <a:pt x="104" y="1738"/>
                  </a:lnTo>
                  <a:lnTo>
                    <a:pt x="114" y="1746"/>
                  </a:lnTo>
                  <a:lnTo>
                    <a:pt x="124" y="1754"/>
                  </a:lnTo>
                  <a:lnTo>
                    <a:pt x="138" y="1760"/>
                  </a:lnTo>
                  <a:lnTo>
                    <a:pt x="156" y="1762"/>
                  </a:lnTo>
                  <a:lnTo>
                    <a:pt x="174" y="1764"/>
                  </a:lnTo>
                  <a:lnTo>
                    <a:pt x="188" y="1760"/>
                  </a:lnTo>
                  <a:lnTo>
                    <a:pt x="200" y="1756"/>
                  </a:lnTo>
                  <a:lnTo>
                    <a:pt x="208" y="1750"/>
                  </a:lnTo>
                  <a:lnTo>
                    <a:pt x="222" y="1736"/>
                  </a:lnTo>
                  <a:lnTo>
                    <a:pt x="230" y="1732"/>
                  </a:lnTo>
                  <a:lnTo>
                    <a:pt x="238" y="1730"/>
                  </a:lnTo>
                  <a:lnTo>
                    <a:pt x="246" y="1728"/>
                  </a:lnTo>
                  <a:lnTo>
                    <a:pt x="252" y="1724"/>
                  </a:lnTo>
                  <a:lnTo>
                    <a:pt x="254" y="1720"/>
                  </a:lnTo>
                  <a:lnTo>
                    <a:pt x="258" y="1714"/>
                  </a:lnTo>
                  <a:lnTo>
                    <a:pt x="260" y="1708"/>
                  </a:lnTo>
                  <a:lnTo>
                    <a:pt x="264" y="1704"/>
                  </a:lnTo>
                  <a:lnTo>
                    <a:pt x="270" y="1702"/>
                  </a:lnTo>
                  <a:lnTo>
                    <a:pt x="278" y="1700"/>
                  </a:lnTo>
                  <a:lnTo>
                    <a:pt x="290" y="1700"/>
                  </a:lnTo>
                  <a:lnTo>
                    <a:pt x="300" y="1700"/>
                  </a:lnTo>
                  <a:lnTo>
                    <a:pt x="316" y="1696"/>
                  </a:lnTo>
                  <a:lnTo>
                    <a:pt x="322" y="1694"/>
                  </a:lnTo>
                  <a:lnTo>
                    <a:pt x="328" y="1694"/>
                  </a:lnTo>
                  <a:lnTo>
                    <a:pt x="336" y="1694"/>
                  </a:lnTo>
                  <a:lnTo>
                    <a:pt x="344" y="1698"/>
                  </a:lnTo>
                  <a:lnTo>
                    <a:pt x="354" y="1702"/>
                  </a:lnTo>
                  <a:lnTo>
                    <a:pt x="360" y="1704"/>
                  </a:lnTo>
                  <a:lnTo>
                    <a:pt x="364" y="1704"/>
                  </a:lnTo>
                  <a:lnTo>
                    <a:pt x="368" y="1702"/>
                  </a:lnTo>
                  <a:lnTo>
                    <a:pt x="372" y="1698"/>
                  </a:lnTo>
                  <a:lnTo>
                    <a:pt x="378" y="1698"/>
                  </a:lnTo>
                  <a:lnTo>
                    <a:pt x="386" y="1698"/>
                  </a:lnTo>
                  <a:lnTo>
                    <a:pt x="398" y="1702"/>
                  </a:lnTo>
                  <a:lnTo>
                    <a:pt x="406" y="1702"/>
                  </a:lnTo>
                  <a:lnTo>
                    <a:pt x="410" y="1702"/>
                  </a:lnTo>
                  <a:lnTo>
                    <a:pt x="416" y="1702"/>
                  </a:lnTo>
                  <a:lnTo>
                    <a:pt x="420" y="1698"/>
                  </a:lnTo>
                  <a:lnTo>
                    <a:pt x="426" y="1690"/>
                  </a:lnTo>
                  <a:lnTo>
                    <a:pt x="430" y="1678"/>
                  </a:lnTo>
                  <a:lnTo>
                    <a:pt x="434" y="1668"/>
                  </a:lnTo>
                  <a:lnTo>
                    <a:pt x="438" y="1656"/>
                  </a:lnTo>
                  <a:lnTo>
                    <a:pt x="446" y="1650"/>
                  </a:lnTo>
                  <a:lnTo>
                    <a:pt x="450" y="1646"/>
                  </a:lnTo>
                  <a:lnTo>
                    <a:pt x="454" y="1646"/>
                  </a:lnTo>
                  <a:lnTo>
                    <a:pt x="464" y="1644"/>
                  </a:lnTo>
                  <a:lnTo>
                    <a:pt x="472" y="1640"/>
                  </a:lnTo>
                  <a:lnTo>
                    <a:pt x="484" y="1628"/>
                  </a:lnTo>
                  <a:lnTo>
                    <a:pt x="492" y="1622"/>
                  </a:lnTo>
                  <a:lnTo>
                    <a:pt x="502" y="1616"/>
                  </a:lnTo>
                  <a:lnTo>
                    <a:pt x="514" y="1614"/>
                  </a:lnTo>
                  <a:lnTo>
                    <a:pt x="530" y="1614"/>
                  </a:lnTo>
                  <a:lnTo>
                    <a:pt x="544" y="1614"/>
                  </a:lnTo>
                  <a:lnTo>
                    <a:pt x="556" y="1614"/>
                  </a:lnTo>
                  <a:lnTo>
                    <a:pt x="578" y="1610"/>
                  </a:lnTo>
                  <a:lnTo>
                    <a:pt x="596" y="1602"/>
                  </a:lnTo>
                  <a:lnTo>
                    <a:pt x="614" y="1594"/>
                  </a:lnTo>
                  <a:lnTo>
                    <a:pt x="630" y="1586"/>
                  </a:lnTo>
                  <a:lnTo>
                    <a:pt x="644" y="1580"/>
                  </a:lnTo>
                  <a:lnTo>
                    <a:pt x="660" y="1574"/>
                  </a:lnTo>
                  <a:lnTo>
                    <a:pt x="668" y="1574"/>
                  </a:lnTo>
                  <a:lnTo>
                    <a:pt x="676" y="1574"/>
                  </a:lnTo>
                  <a:lnTo>
                    <a:pt x="696" y="1578"/>
                  </a:lnTo>
                  <a:lnTo>
                    <a:pt x="706" y="1576"/>
                  </a:lnTo>
                  <a:lnTo>
                    <a:pt x="712" y="1574"/>
                  </a:lnTo>
                  <a:lnTo>
                    <a:pt x="716" y="1572"/>
                  </a:lnTo>
                  <a:lnTo>
                    <a:pt x="718" y="1570"/>
                  </a:lnTo>
                  <a:lnTo>
                    <a:pt x="724" y="1572"/>
                  </a:lnTo>
                  <a:lnTo>
                    <a:pt x="752" y="1586"/>
                  </a:lnTo>
                  <a:lnTo>
                    <a:pt x="772" y="1596"/>
                  </a:lnTo>
                  <a:lnTo>
                    <a:pt x="786" y="1602"/>
                  </a:lnTo>
                  <a:lnTo>
                    <a:pt x="798" y="1606"/>
                  </a:lnTo>
                  <a:lnTo>
                    <a:pt x="806" y="1606"/>
                  </a:lnTo>
                  <a:lnTo>
                    <a:pt x="822" y="1608"/>
                  </a:lnTo>
                  <a:lnTo>
                    <a:pt x="828" y="1612"/>
                  </a:lnTo>
                  <a:lnTo>
                    <a:pt x="838" y="1618"/>
                  </a:lnTo>
                  <a:lnTo>
                    <a:pt x="846" y="1626"/>
                  </a:lnTo>
                  <a:lnTo>
                    <a:pt x="848" y="1632"/>
                  </a:lnTo>
                  <a:lnTo>
                    <a:pt x="848" y="1636"/>
                  </a:lnTo>
                  <a:lnTo>
                    <a:pt x="846" y="1642"/>
                  </a:lnTo>
                  <a:lnTo>
                    <a:pt x="844" y="1646"/>
                  </a:lnTo>
                  <a:lnTo>
                    <a:pt x="844" y="1650"/>
                  </a:lnTo>
                  <a:lnTo>
                    <a:pt x="848" y="1656"/>
                  </a:lnTo>
                  <a:lnTo>
                    <a:pt x="860" y="1662"/>
                  </a:lnTo>
                  <a:lnTo>
                    <a:pt x="866" y="1666"/>
                  </a:lnTo>
                  <a:lnTo>
                    <a:pt x="870" y="1672"/>
                  </a:lnTo>
                  <a:lnTo>
                    <a:pt x="876" y="1682"/>
                  </a:lnTo>
                  <a:lnTo>
                    <a:pt x="880" y="1694"/>
                  </a:lnTo>
                  <a:lnTo>
                    <a:pt x="882" y="1708"/>
                  </a:lnTo>
                  <a:lnTo>
                    <a:pt x="884" y="1722"/>
                  </a:lnTo>
                  <a:lnTo>
                    <a:pt x="886" y="1732"/>
                  </a:lnTo>
                  <a:lnTo>
                    <a:pt x="892" y="1742"/>
                  </a:lnTo>
                  <a:lnTo>
                    <a:pt x="894" y="1746"/>
                  </a:lnTo>
                  <a:lnTo>
                    <a:pt x="900" y="1748"/>
                  </a:lnTo>
                  <a:lnTo>
                    <a:pt x="914" y="1756"/>
                  </a:lnTo>
                  <a:lnTo>
                    <a:pt x="914" y="1758"/>
                  </a:lnTo>
                  <a:lnTo>
                    <a:pt x="914" y="1756"/>
                  </a:lnTo>
                  <a:lnTo>
                    <a:pt x="914" y="1750"/>
                  </a:lnTo>
                  <a:lnTo>
                    <a:pt x="916" y="1742"/>
                  </a:lnTo>
                  <a:lnTo>
                    <a:pt x="920" y="1730"/>
                  </a:lnTo>
                  <a:lnTo>
                    <a:pt x="932" y="1716"/>
                  </a:lnTo>
                  <a:lnTo>
                    <a:pt x="944" y="1702"/>
                  </a:lnTo>
                  <a:lnTo>
                    <a:pt x="952" y="1694"/>
                  </a:lnTo>
                  <a:lnTo>
                    <a:pt x="958" y="1690"/>
                  </a:lnTo>
                  <a:lnTo>
                    <a:pt x="962" y="1690"/>
                  </a:lnTo>
                  <a:lnTo>
                    <a:pt x="964" y="1690"/>
                  </a:lnTo>
                  <a:lnTo>
                    <a:pt x="966" y="1680"/>
                  </a:lnTo>
                  <a:lnTo>
                    <a:pt x="968" y="1672"/>
                  </a:lnTo>
                  <a:lnTo>
                    <a:pt x="972" y="1666"/>
                  </a:lnTo>
                  <a:lnTo>
                    <a:pt x="980" y="1658"/>
                  </a:lnTo>
                  <a:lnTo>
                    <a:pt x="986" y="1650"/>
                  </a:lnTo>
                  <a:lnTo>
                    <a:pt x="988" y="1646"/>
                  </a:lnTo>
                  <a:lnTo>
                    <a:pt x="990" y="1640"/>
                  </a:lnTo>
                  <a:lnTo>
                    <a:pt x="990" y="1632"/>
                  </a:lnTo>
                  <a:lnTo>
                    <a:pt x="990" y="1630"/>
                  </a:lnTo>
                  <a:lnTo>
                    <a:pt x="990" y="1632"/>
                  </a:lnTo>
                  <a:lnTo>
                    <a:pt x="998" y="1646"/>
                  </a:lnTo>
                  <a:lnTo>
                    <a:pt x="998" y="1654"/>
                  </a:lnTo>
                  <a:lnTo>
                    <a:pt x="996" y="1664"/>
                  </a:lnTo>
                  <a:lnTo>
                    <a:pt x="988" y="1686"/>
                  </a:lnTo>
                  <a:lnTo>
                    <a:pt x="980" y="1710"/>
                  </a:lnTo>
                  <a:lnTo>
                    <a:pt x="978" y="1718"/>
                  </a:lnTo>
                  <a:lnTo>
                    <a:pt x="978" y="1726"/>
                  </a:lnTo>
                  <a:lnTo>
                    <a:pt x="980" y="1736"/>
                  </a:lnTo>
                  <a:lnTo>
                    <a:pt x="980" y="1746"/>
                  </a:lnTo>
                  <a:lnTo>
                    <a:pt x="976" y="1750"/>
                  </a:lnTo>
                  <a:lnTo>
                    <a:pt x="972" y="1752"/>
                  </a:lnTo>
                  <a:lnTo>
                    <a:pt x="968" y="1752"/>
                  </a:lnTo>
                  <a:lnTo>
                    <a:pt x="964" y="1754"/>
                  </a:lnTo>
                  <a:lnTo>
                    <a:pt x="960" y="1756"/>
                  </a:lnTo>
                  <a:lnTo>
                    <a:pt x="956" y="1758"/>
                  </a:lnTo>
                  <a:lnTo>
                    <a:pt x="954" y="1762"/>
                  </a:lnTo>
                  <a:lnTo>
                    <a:pt x="954" y="1766"/>
                  </a:lnTo>
                  <a:lnTo>
                    <a:pt x="958" y="1770"/>
                  </a:lnTo>
                  <a:lnTo>
                    <a:pt x="962" y="1770"/>
                  </a:lnTo>
                  <a:lnTo>
                    <a:pt x="972" y="1770"/>
                  </a:lnTo>
                  <a:lnTo>
                    <a:pt x="978" y="1770"/>
                  </a:lnTo>
                  <a:lnTo>
                    <a:pt x="982" y="1766"/>
                  </a:lnTo>
                  <a:lnTo>
                    <a:pt x="990" y="1758"/>
                  </a:lnTo>
                  <a:lnTo>
                    <a:pt x="994" y="1750"/>
                  </a:lnTo>
                  <a:lnTo>
                    <a:pt x="996" y="1740"/>
                  </a:lnTo>
                  <a:lnTo>
                    <a:pt x="1000" y="1730"/>
                  </a:lnTo>
                  <a:lnTo>
                    <a:pt x="1002" y="1726"/>
                  </a:lnTo>
                  <a:lnTo>
                    <a:pt x="1004" y="1726"/>
                  </a:lnTo>
                  <a:lnTo>
                    <a:pt x="1006" y="1726"/>
                  </a:lnTo>
                  <a:lnTo>
                    <a:pt x="1012" y="1734"/>
                  </a:lnTo>
                  <a:lnTo>
                    <a:pt x="1016" y="1744"/>
                  </a:lnTo>
                  <a:lnTo>
                    <a:pt x="1018" y="1754"/>
                  </a:lnTo>
                  <a:lnTo>
                    <a:pt x="1016" y="1762"/>
                  </a:lnTo>
                  <a:lnTo>
                    <a:pt x="1014" y="1770"/>
                  </a:lnTo>
                  <a:lnTo>
                    <a:pt x="1006" y="1784"/>
                  </a:lnTo>
                  <a:lnTo>
                    <a:pt x="1004" y="1788"/>
                  </a:lnTo>
                  <a:lnTo>
                    <a:pt x="1006" y="1792"/>
                  </a:lnTo>
                  <a:lnTo>
                    <a:pt x="1008" y="1794"/>
                  </a:lnTo>
                  <a:lnTo>
                    <a:pt x="1012" y="1794"/>
                  </a:lnTo>
                  <a:lnTo>
                    <a:pt x="1020" y="1792"/>
                  </a:lnTo>
                  <a:lnTo>
                    <a:pt x="1030" y="1792"/>
                  </a:lnTo>
                  <a:lnTo>
                    <a:pt x="1036" y="1792"/>
                  </a:lnTo>
                  <a:lnTo>
                    <a:pt x="1042" y="1794"/>
                  </a:lnTo>
                  <a:lnTo>
                    <a:pt x="1048" y="1800"/>
                  </a:lnTo>
                  <a:lnTo>
                    <a:pt x="1054" y="1806"/>
                  </a:lnTo>
                  <a:lnTo>
                    <a:pt x="1060" y="1814"/>
                  </a:lnTo>
                  <a:lnTo>
                    <a:pt x="1066" y="1824"/>
                  </a:lnTo>
                  <a:lnTo>
                    <a:pt x="1070" y="1832"/>
                  </a:lnTo>
                  <a:lnTo>
                    <a:pt x="1072" y="1842"/>
                  </a:lnTo>
                  <a:lnTo>
                    <a:pt x="1072" y="1850"/>
                  </a:lnTo>
                  <a:lnTo>
                    <a:pt x="1070" y="1858"/>
                  </a:lnTo>
                  <a:lnTo>
                    <a:pt x="1068" y="1866"/>
                  </a:lnTo>
                  <a:lnTo>
                    <a:pt x="1068" y="1874"/>
                  </a:lnTo>
                  <a:lnTo>
                    <a:pt x="1074" y="1886"/>
                  </a:lnTo>
                  <a:lnTo>
                    <a:pt x="1080" y="1896"/>
                  </a:lnTo>
                  <a:lnTo>
                    <a:pt x="1088" y="1904"/>
                  </a:lnTo>
                  <a:lnTo>
                    <a:pt x="1098" y="1914"/>
                  </a:lnTo>
                  <a:lnTo>
                    <a:pt x="1106" y="1920"/>
                  </a:lnTo>
                  <a:lnTo>
                    <a:pt x="1114" y="1924"/>
                  </a:lnTo>
                  <a:lnTo>
                    <a:pt x="1120" y="1926"/>
                  </a:lnTo>
                  <a:lnTo>
                    <a:pt x="1126" y="1930"/>
                  </a:lnTo>
                  <a:lnTo>
                    <a:pt x="1134" y="1938"/>
                  </a:lnTo>
                  <a:lnTo>
                    <a:pt x="1138" y="1944"/>
                  </a:lnTo>
                  <a:lnTo>
                    <a:pt x="1142" y="1944"/>
                  </a:lnTo>
                  <a:lnTo>
                    <a:pt x="1146" y="1942"/>
                  </a:lnTo>
                  <a:lnTo>
                    <a:pt x="1152" y="1936"/>
                  </a:lnTo>
                  <a:lnTo>
                    <a:pt x="1156" y="1936"/>
                  </a:lnTo>
                  <a:lnTo>
                    <a:pt x="1160" y="1936"/>
                  </a:lnTo>
                  <a:lnTo>
                    <a:pt x="1176" y="1942"/>
                  </a:lnTo>
                  <a:lnTo>
                    <a:pt x="1198" y="1956"/>
                  </a:lnTo>
                  <a:lnTo>
                    <a:pt x="1210" y="1962"/>
                  </a:lnTo>
                  <a:lnTo>
                    <a:pt x="1218" y="1964"/>
                  </a:lnTo>
                  <a:lnTo>
                    <a:pt x="1224" y="1964"/>
                  </a:lnTo>
                  <a:lnTo>
                    <a:pt x="1230" y="1960"/>
                  </a:lnTo>
                  <a:lnTo>
                    <a:pt x="1238" y="1952"/>
                  </a:lnTo>
                  <a:lnTo>
                    <a:pt x="1244" y="1946"/>
                  </a:lnTo>
                  <a:lnTo>
                    <a:pt x="1252" y="1940"/>
                  </a:lnTo>
                  <a:lnTo>
                    <a:pt x="1260" y="1936"/>
                  </a:lnTo>
                  <a:lnTo>
                    <a:pt x="1264" y="1930"/>
                  </a:lnTo>
                  <a:lnTo>
                    <a:pt x="1270" y="1920"/>
                  </a:lnTo>
                  <a:lnTo>
                    <a:pt x="1270" y="1918"/>
                  </a:lnTo>
                  <a:lnTo>
                    <a:pt x="1272" y="1916"/>
                  </a:lnTo>
                  <a:lnTo>
                    <a:pt x="1276" y="1916"/>
                  </a:lnTo>
                  <a:lnTo>
                    <a:pt x="1282" y="1918"/>
                  </a:lnTo>
                  <a:lnTo>
                    <a:pt x="1286" y="1924"/>
                  </a:lnTo>
                  <a:lnTo>
                    <a:pt x="1288" y="1928"/>
                  </a:lnTo>
                  <a:lnTo>
                    <a:pt x="1284" y="1930"/>
                  </a:lnTo>
                  <a:lnTo>
                    <a:pt x="1280" y="1934"/>
                  </a:lnTo>
                  <a:lnTo>
                    <a:pt x="1274" y="1940"/>
                  </a:lnTo>
                  <a:lnTo>
                    <a:pt x="1274" y="1944"/>
                  </a:lnTo>
                  <a:lnTo>
                    <a:pt x="1278" y="1946"/>
                  </a:lnTo>
                  <a:lnTo>
                    <a:pt x="1282" y="1948"/>
                  </a:lnTo>
                  <a:lnTo>
                    <a:pt x="1288" y="1948"/>
                  </a:lnTo>
                  <a:lnTo>
                    <a:pt x="1290" y="1944"/>
                  </a:lnTo>
                  <a:lnTo>
                    <a:pt x="1292" y="1942"/>
                  </a:lnTo>
                  <a:lnTo>
                    <a:pt x="1296" y="1936"/>
                  </a:lnTo>
                  <a:lnTo>
                    <a:pt x="1296" y="1942"/>
                  </a:lnTo>
                  <a:lnTo>
                    <a:pt x="1298" y="1948"/>
                  </a:lnTo>
                  <a:lnTo>
                    <a:pt x="1300" y="1952"/>
                  </a:lnTo>
                  <a:lnTo>
                    <a:pt x="1306" y="1956"/>
                  </a:lnTo>
                  <a:lnTo>
                    <a:pt x="1316" y="1964"/>
                  </a:lnTo>
                  <a:lnTo>
                    <a:pt x="1324" y="1970"/>
                  </a:lnTo>
                  <a:lnTo>
                    <a:pt x="1334" y="1982"/>
                  </a:lnTo>
                  <a:lnTo>
                    <a:pt x="1338" y="1988"/>
                  </a:lnTo>
                  <a:lnTo>
                    <a:pt x="1340" y="1988"/>
                  </a:lnTo>
                  <a:lnTo>
                    <a:pt x="1340" y="1980"/>
                  </a:lnTo>
                  <a:lnTo>
                    <a:pt x="1340" y="1974"/>
                  </a:lnTo>
                  <a:lnTo>
                    <a:pt x="1340" y="1968"/>
                  </a:lnTo>
                  <a:lnTo>
                    <a:pt x="1342" y="1962"/>
                  </a:lnTo>
                  <a:lnTo>
                    <a:pt x="1346" y="1960"/>
                  </a:lnTo>
                  <a:lnTo>
                    <a:pt x="1354" y="1956"/>
                  </a:lnTo>
                  <a:lnTo>
                    <a:pt x="1362" y="1950"/>
                  </a:lnTo>
                  <a:lnTo>
                    <a:pt x="1386" y="1930"/>
                  </a:lnTo>
                  <a:lnTo>
                    <a:pt x="1398" y="1920"/>
                  </a:lnTo>
                  <a:lnTo>
                    <a:pt x="1412" y="1912"/>
                  </a:lnTo>
                  <a:lnTo>
                    <a:pt x="1428" y="1908"/>
                  </a:lnTo>
                  <a:lnTo>
                    <a:pt x="1434" y="1908"/>
                  </a:lnTo>
                  <a:lnTo>
                    <a:pt x="1442" y="1908"/>
                  </a:lnTo>
                  <a:lnTo>
                    <a:pt x="1456" y="1910"/>
                  </a:lnTo>
                  <a:lnTo>
                    <a:pt x="1466" y="1906"/>
                  </a:lnTo>
                  <a:lnTo>
                    <a:pt x="1474" y="1902"/>
                  </a:lnTo>
                  <a:lnTo>
                    <a:pt x="1478" y="1896"/>
                  </a:lnTo>
                  <a:lnTo>
                    <a:pt x="1482" y="1890"/>
                  </a:lnTo>
                  <a:lnTo>
                    <a:pt x="1482" y="1884"/>
                  </a:lnTo>
                  <a:lnTo>
                    <a:pt x="1482" y="1878"/>
                  </a:lnTo>
                  <a:lnTo>
                    <a:pt x="1478" y="1874"/>
                  </a:lnTo>
                  <a:lnTo>
                    <a:pt x="1476" y="1870"/>
                  </a:lnTo>
                  <a:lnTo>
                    <a:pt x="1476" y="1866"/>
                  </a:lnTo>
                  <a:lnTo>
                    <a:pt x="1480" y="1856"/>
                  </a:lnTo>
                  <a:lnTo>
                    <a:pt x="1486" y="1842"/>
                  </a:lnTo>
                  <a:lnTo>
                    <a:pt x="1488" y="1836"/>
                  </a:lnTo>
                  <a:lnTo>
                    <a:pt x="1488" y="1828"/>
                  </a:lnTo>
                  <a:lnTo>
                    <a:pt x="1490" y="1812"/>
                  </a:lnTo>
                  <a:lnTo>
                    <a:pt x="1494" y="1794"/>
                  </a:lnTo>
                  <a:lnTo>
                    <a:pt x="1502" y="1776"/>
                  </a:lnTo>
                  <a:lnTo>
                    <a:pt x="1506" y="1770"/>
                  </a:lnTo>
                  <a:lnTo>
                    <a:pt x="1510" y="1766"/>
                  </a:lnTo>
                  <a:lnTo>
                    <a:pt x="1514" y="1760"/>
                  </a:lnTo>
                  <a:lnTo>
                    <a:pt x="1518" y="1750"/>
                  </a:lnTo>
                  <a:lnTo>
                    <a:pt x="1526" y="1718"/>
                  </a:lnTo>
                  <a:lnTo>
                    <a:pt x="1530" y="1700"/>
                  </a:lnTo>
                  <a:lnTo>
                    <a:pt x="1538" y="1680"/>
                  </a:lnTo>
                  <a:lnTo>
                    <a:pt x="1548" y="1662"/>
                  </a:lnTo>
                  <a:lnTo>
                    <a:pt x="1554" y="1654"/>
                  </a:lnTo>
                  <a:lnTo>
                    <a:pt x="1562" y="1646"/>
                  </a:lnTo>
                  <a:lnTo>
                    <a:pt x="1574" y="1634"/>
                  </a:lnTo>
                  <a:lnTo>
                    <a:pt x="1582" y="1626"/>
                  </a:lnTo>
                  <a:lnTo>
                    <a:pt x="1586" y="1618"/>
                  </a:lnTo>
                  <a:lnTo>
                    <a:pt x="1588" y="1612"/>
                  </a:lnTo>
                  <a:lnTo>
                    <a:pt x="1588" y="1604"/>
                  </a:lnTo>
                  <a:lnTo>
                    <a:pt x="1590" y="1598"/>
                  </a:lnTo>
                  <a:lnTo>
                    <a:pt x="1594" y="1590"/>
                  </a:lnTo>
                  <a:lnTo>
                    <a:pt x="1598" y="1576"/>
                  </a:lnTo>
                  <a:lnTo>
                    <a:pt x="1602" y="1566"/>
                  </a:lnTo>
                  <a:lnTo>
                    <a:pt x="1602" y="1556"/>
                  </a:lnTo>
                  <a:lnTo>
                    <a:pt x="1602" y="1546"/>
                  </a:lnTo>
                  <a:lnTo>
                    <a:pt x="1602" y="1532"/>
                  </a:lnTo>
                  <a:lnTo>
                    <a:pt x="1604" y="1524"/>
                  </a:lnTo>
                  <a:lnTo>
                    <a:pt x="1606" y="1516"/>
                  </a:lnTo>
                  <a:lnTo>
                    <a:pt x="1612" y="1504"/>
                  </a:lnTo>
                  <a:lnTo>
                    <a:pt x="1614" y="1494"/>
                  </a:lnTo>
                  <a:lnTo>
                    <a:pt x="1616" y="1476"/>
                  </a:lnTo>
                  <a:lnTo>
                    <a:pt x="1618" y="1458"/>
                  </a:lnTo>
                  <a:lnTo>
                    <a:pt x="1620" y="1448"/>
                  </a:lnTo>
                  <a:lnTo>
                    <a:pt x="1626" y="1438"/>
                  </a:lnTo>
                  <a:lnTo>
                    <a:pt x="1628" y="1432"/>
                  </a:lnTo>
                  <a:lnTo>
                    <a:pt x="1630" y="1426"/>
                  </a:lnTo>
                  <a:lnTo>
                    <a:pt x="1628" y="1412"/>
                  </a:lnTo>
                  <a:lnTo>
                    <a:pt x="1626" y="1398"/>
                  </a:lnTo>
                  <a:lnTo>
                    <a:pt x="1622" y="1384"/>
                  </a:lnTo>
                  <a:lnTo>
                    <a:pt x="1612" y="1358"/>
                  </a:lnTo>
                  <a:lnTo>
                    <a:pt x="1610" y="1350"/>
                  </a:lnTo>
                  <a:lnTo>
                    <a:pt x="1610" y="1344"/>
                  </a:lnTo>
                  <a:close/>
                  <a:moveTo>
                    <a:pt x="1412" y="2026"/>
                  </a:moveTo>
                  <a:lnTo>
                    <a:pt x="1412" y="2026"/>
                  </a:lnTo>
                  <a:lnTo>
                    <a:pt x="1408" y="2024"/>
                  </a:lnTo>
                  <a:lnTo>
                    <a:pt x="1406" y="2020"/>
                  </a:lnTo>
                  <a:lnTo>
                    <a:pt x="1404" y="2016"/>
                  </a:lnTo>
                  <a:lnTo>
                    <a:pt x="1402" y="2014"/>
                  </a:lnTo>
                  <a:lnTo>
                    <a:pt x="1400" y="2014"/>
                  </a:lnTo>
                  <a:lnTo>
                    <a:pt x="1396" y="2018"/>
                  </a:lnTo>
                  <a:lnTo>
                    <a:pt x="1392" y="2022"/>
                  </a:lnTo>
                  <a:lnTo>
                    <a:pt x="1392" y="2024"/>
                  </a:lnTo>
                  <a:lnTo>
                    <a:pt x="1394" y="2024"/>
                  </a:lnTo>
                  <a:lnTo>
                    <a:pt x="1396" y="2026"/>
                  </a:lnTo>
                  <a:lnTo>
                    <a:pt x="1398" y="2028"/>
                  </a:lnTo>
                  <a:lnTo>
                    <a:pt x="1400" y="2038"/>
                  </a:lnTo>
                  <a:lnTo>
                    <a:pt x="1402" y="2040"/>
                  </a:lnTo>
                  <a:lnTo>
                    <a:pt x="1404" y="2042"/>
                  </a:lnTo>
                  <a:lnTo>
                    <a:pt x="1410" y="2044"/>
                  </a:lnTo>
                  <a:lnTo>
                    <a:pt x="1414" y="2042"/>
                  </a:lnTo>
                  <a:lnTo>
                    <a:pt x="1414" y="2040"/>
                  </a:lnTo>
                  <a:lnTo>
                    <a:pt x="1414" y="2036"/>
                  </a:lnTo>
                  <a:lnTo>
                    <a:pt x="1412" y="2034"/>
                  </a:lnTo>
                  <a:lnTo>
                    <a:pt x="1412" y="2032"/>
                  </a:lnTo>
                  <a:lnTo>
                    <a:pt x="1414" y="2030"/>
                  </a:lnTo>
                  <a:lnTo>
                    <a:pt x="1416" y="2028"/>
                  </a:lnTo>
                  <a:lnTo>
                    <a:pt x="1412" y="2026"/>
                  </a:lnTo>
                  <a:close/>
                  <a:moveTo>
                    <a:pt x="1708" y="300"/>
                  </a:moveTo>
                  <a:lnTo>
                    <a:pt x="1708" y="300"/>
                  </a:lnTo>
                  <a:lnTo>
                    <a:pt x="1704" y="298"/>
                  </a:lnTo>
                  <a:lnTo>
                    <a:pt x="1700" y="294"/>
                  </a:lnTo>
                  <a:lnTo>
                    <a:pt x="1694" y="284"/>
                  </a:lnTo>
                  <a:lnTo>
                    <a:pt x="1688" y="274"/>
                  </a:lnTo>
                  <a:lnTo>
                    <a:pt x="1686" y="272"/>
                  </a:lnTo>
                  <a:lnTo>
                    <a:pt x="1682" y="268"/>
                  </a:lnTo>
                  <a:lnTo>
                    <a:pt x="1678" y="266"/>
                  </a:lnTo>
                  <a:lnTo>
                    <a:pt x="1676" y="262"/>
                  </a:lnTo>
                  <a:lnTo>
                    <a:pt x="1672" y="252"/>
                  </a:lnTo>
                  <a:lnTo>
                    <a:pt x="1668" y="244"/>
                  </a:lnTo>
                  <a:lnTo>
                    <a:pt x="1668" y="242"/>
                  </a:lnTo>
                  <a:lnTo>
                    <a:pt x="1664" y="244"/>
                  </a:lnTo>
                  <a:lnTo>
                    <a:pt x="1662" y="248"/>
                  </a:lnTo>
                  <a:lnTo>
                    <a:pt x="1662" y="250"/>
                  </a:lnTo>
                  <a:lnTo>
                    <a:pt x="1666" y="256"/>
                  </a:lnTo>
                  <a:lnTo>
                    <a:pt x="1670" y="264"/>
                  </a:lnTo>
                  <a:lnTo>
                    <a:pt x="1672" y="268"/>
                  </a:lnTo>
                  <a:lnTo>
                    <a:pt x="1672" y="276"/>
                  </a:lnTo>
                  <a:lnTo>
                    <a:pt x="1672" y="282"/>
                  </a:lnTo>
                  <a:lnTo>
                    <a:pt x="1672" y="288"/>
                  </a:lnTo>
                  <a:lnTo>
                    <a:pt x="1680" y="298"/>
                  </a:lnTo>
                  <a:lnTo>
                    <a:pt x="1688" y="306"/>
                  </a:lnTo>
                  <a:lnTo>
                    <a:pt x="1690" y="310"/>
                  </a:lnTo>
                  <a:lnTo>
                    <a:pt x="1692" y="316"/>
                  </a:lnTo>
                  <a:lnTo>
                    <a:pt x="1694" y="324"/>
                  </a:lnTo>
                  <a:lnTo>
                    <a:pt x="1700" y="330"/>
                  </a:lnTo>
                  <a:lnTo>
                    <a:pt x="1708" y="332"/>
                  </a:lnTo>
                  <a:lnTo>
                    <a:pt x="1716" y="330"/>
                  </a:lnTo>
                  <a:lnTo>
                    <a:pt x="1720" y="328"/>
                  </a:lnTo>
                  <a:lnTo>
                    <a:pt x="1722" y="326"/>
                  </a:lnTo>
                  <a:lnTo>
                    <a:pt x="1722" y="322"/>
                  </a:lnTo>
                  <a:lnTo>
                    <a:pt x="1720" y="316"/>
                  </a:lnTo>
                  <a:lnTo>
                    <a:pt x="1716" y="306"/>
                  </a:lnTo>
                  <a:lnTo>
                    <a:pt x="1712" y="304"/>
                  </a:lnTo>
                  <a:lnTo>
                    <a:pt x="1708" y="300"/>
                  </a:lnTo>
                  <a:close/>
                  <a:moveTo>
                    <a:pt x="1712" y="342"/>
                  </a:moveTo>
                  <a:lnTo>
                    <a:pt x="1712" y="342"/>
                  </a:lnTo>
                  <a:lnTo>
                    <a:pt x="1712" y="346"/>
                  </a:lnTo>
                  <a:lnTo>
                    <a:pt x="1716" y="346"/>
                  </a:lnTo>
                  <a:lnTo>
                    <a:pt x="1718" y="346"/>
                  </a:lnTo>
                  <a:lnTo>
                    <a:pt x="1720" y="344"/>
                  </a:lnTo>
                  <a:lnTo>
                    <a:pt x="1718" y="340"/>
                  </a:lnTo>
                  <a:lnTo>
                    <a:pt x="1716" y="338"/>
                  </a:lnTo>
                  <a:lnTo>
                    <a:pt x="1712" y="340"/>
                  </a:lnTo>
                  <a:lnTo>
                    <a:pt x="1712" y="342"/>
                  </a:lnTo>
                  <a:close/>
                  <a:moveTo>
                    <a:pt x="1238" y="2006"/>
                  </a:moveTo>
                  <a:lnTo>
                    <a:pt x="1238" y="2006"/>
                  </a:lnTo>
                  <a:lnTo>
                    <a:pt x="1236" y="2012"/>
                  </a:lnTo>
                  <a:lnTo>
                    <a:pt x="1234" y="2024"/>
                  </a:lnTo>
                  <a:lnTo>
                    <a:pt x="1236" y="2032"/>
                  </a:lnTo>
                  <a:lnTo>
                    <a:pt x="1240" y="2034"/>
                  </a:lnTo>
                  <a:lnTo>
                    <a:pt x="1242" y="2032"/>
                  </a:lnTo>
                  <a:lnTo>
                    <a:pt x="1244" y="2028"/>
                  </a:lnTo>
                  <a:lnTo>
                    <a:pt x="1246" y="2024"/>
                  </a:lnTo>
                  <a:lnTo>
                    <a:pt x="1246" y="2014"/>
                  </a:lnTo>
                  <a:lnTo>
                    <a:pt x="1242" y="2006"/>
                  </a:lnTo>
                  <a:lnTo>
                    <a:pt x="1240" y="2004"/>
                  </a:lnTo>
                  <a:lnTo>
                    <a:pt x="1238" y="2006"/>
                  </a:lnTo>
                  <a:close/>
                  <a:moveTo>
                    <a:pt x="1414" y="2116"/>
                  </a:moveTo>
                  <a:lnTo>
                    <a:pt x="1414" y="2116"/>
                  </a:lnTo>
                  <a:lnTo>
                    <a:pt x="1414" y="2106"/>
                  </a:lnTo>
                  <a:lnTo>
                    <a:pt x="1414" y="2096"/>
                  </a:lnTo>
                  <a:lnTo>
                    <a:pt x="1414" y="2088"/>
                  </a:lnTo>
                  <a:lnTo>
                    <a:pt x="1412" y="2082"/>
                  </a:lnTo>
                  <a:lnTo>
                    <a:pt x="1408" y="2076"/>
                  </a:lnTo>
                  <a:lnTo>
                    <a:pt x="1406" y="2072"/>
                  </a:lnTo>
                  <a:lnTo>
                    <a:pt x="1402" y="2072"/>
                  </a:lnTo>
                  <a:lnTo>
                    <a:pt x="1400" y="2074"/>
                  </a:lnTo>
                  <a:lnTo>
                    <a:pt x="1398" y="2078"/>
                  </a:lnTo>
                  <a:lnTo>
                    <a:pt x="1396" y="2078"/>
                  </a:lnTo>
                  <a:lnTo>
                    <a:pt x="1392" y="2076"/>
                  </a:lnTo>
                  <a:lnTo>
                    <a:pt x="1388" y="2076"/>
                  </a:lnTo>
                  <a:lnTo>
                    <a:pt x="1386" y="2078"/>
                  </a:lnTo>
                  <a:lnTo>
                    <a:pt x="1382" y="2080"/>
                  </a:lnTo>
                  <a:lnTo>
                    <a:pt x="1380" y="2082"/>
                  </a:lnTo>
                  <a:lnTo>
                    <a:pt x="1378" y="2082"/>
                  </a:lnTo>
                  <a:lnTo>
                    <a:pt x="1370" y="2082"/>
                  </a:lnTo>
                  <a:lnTo>
                    <a:pt x="1352" y="2088"/>
                  </a:lnTo>
                  <a:lnTo>
                    <a:pt x="1340" y="2092"/>
                  </a:lnTo>
                  <a:lnTo>
                    <a:pt x="1332" y="2094"/>
                  </a:lnTo>
                  <a:lnTo>
                    <a:pt x="1324" y="2092"/>
                  </a:lnTo>
                  <a:lnTo>
                    <a:pt x="1320" y="2088"/>
                  </a:lnTo>
                  <a:lnTo>
                    <a:pt x="1310" y="2080"/>
                  </a:lnTo>
                  <a:lnTo>
                    <a:pt x="1304" y="2076"/>
                  </a:lnTo>
                  <a:lnTo>
                    <a:pt x="1296" y="2076"/>
                  </a:lnTo>
                  <a:lnTo>
                    <a:pt x="1288" y="2074"/>
                  </a:lnTo>
                  <a:lnTo>
                    <a:pt x="1282" y="2072"/>
                  </a:lnTo>
                  <a:lnTo>
                    <a:pt x="1274" y="2066"/>
                  </a:lnTo>
                  <a:lnTo>
                    <a:pt x="1272" y="2064"/>
                  </a:lnTo>
                  <a:lnTo>
                    <a:pt x="1270" y="2064"/>
                  </a:lnTo>
                  <a:lnTo>
                    <a:pt x="1266" y="2078"/>
                  </a:lnTo>
                  <a:lnTo>
                    <a:pt x="1264" y="2086"/>
                  </a:lnTo>
                  <a:lnTo>
                    <a:pt x="1266" y="2094"/>
                  </a:lnTo>
                  <a:lnTo>
                    <a:pt x="1276" y="2118"/>
                  </a:lnTo>
                  <a:lnTo>
                    <a:pt x="1280" y="2130"/>
                  </a:lnTo>
                  <a:lnTo>
                    <a:pt x="1284" y="2134"/>
                  </a:lnTo>
                  <a:lnTo>
                    <a:pt x="1288" y="2136"/>
                  </a:lnTo>
                  <a:lnTo>
                    <a:pt x="1288" y="2144"/>
                  </a:lnTo>
                  <a:lnTo>
                    <a:pt x="1288" y="2158"/>
                  </a:lnTo>
                  <a:lnTo>
                    <a:pt x="1292" y="2174"/>
                  </a:lnTo>
                  <a:lnTo>
                    <a:pt x="1296" y="2186"/>
                  </a:lnTo>
                  <a:lnTo>
                    <a:pt x="1300" y="2192"/>
                  </a:lnTo>
                  <a:lnTo>
                    <a:pt x="1304" y="2198"/>
                  </a:lnTo>
                  <a:lnTo>
                    <a:pt x="1310" y="2202"/>
                  </a:lnTo>
                  <a:lnTo>
                    <a:pt x="1312" y="2206"/>
                  </a:lnTo>
                  <a:lnTo>
                    <a:pt x="1318" y="2216"/>
                  </a:lnTo>
                  <a:lnTo>
                    <a:pt x="1322" y="2224"/>
                  </a:lnTo>
                  <a:lnTo>
                    <a:pt x="1324" y="2226"/>
                  </a:lnTo>
                  <a:lnTo>
                    <a:pt x="1328" y="2226"/>
                  </a:lnTo>
                  <a:lnTo>
                    <a:pt x="1332" y="2226"/>
                  </a:lnTo>
                  <a:lnTo>
                    <a:pt x="1338" y="2226"/>
                  </a:lnTo>
                  <a:lnTo>
                    <a:pt x="1352" y="2230"/>
                  </a:lnTo>
                  <a:lnTo>
                    <a:pt x="1356" y="2232"/>
                  </a:lnTo>
                  <a:lnTo>
                    <a:pt x="1358" y="2230"/>
                  </a:lnTo>
                  <a:lnTo>
                    <a:pt x="1360" y="2226"/>
                  </a:lnTo>
                  <a:lnTo>
                    <a:pt x="1362" y="2220"/>
                  </a:lnTo>
                  <a:lnTo>
                    <a:pt x="1366" y="2214"/>
                  </a:lnTo>
                  <a:lnTo>
                    <a:pt x="1370" y="2212"/>
                  </a:lnTo>
                  <a:lnTo>
                    <a:pt x="1372" y="2208"/>
                  </a:lnTo>
                  <a:lnTo>
                    <a:pt x="1374" y="2200"/>
                  </a:lnTo>
                  <a:lnTo>
                    <a:pt x="1376" y="2194"/>
                  </a:lnTo>
                  <a:lnTo>
                    <a:pt x="1378" y="2194"/>
                  </a:lnTo>
                  <a:lnTo>
                    <a:pt x="1378" y="2196"/>
                  </a:lnTo>
                  <a:lnTo>
                    <a:pt x="1380" y="2198"/>
                  </a:lnTo>
                  <a:lnTo>
                    <a:pt x="1382" y="2198"/>
                  </a:lnTo>
                  <a:lnTo>
                    <a:pt x="1382" y="2194"/>
                  </a:lnTo>
                  <a:lnTo>
                    <a:pt x="1384" y="2190"/>
                  </a:lnTo>
                  <a:lnTo>
                    <a:pt x="1386" y="2188"/>
                  </a:lnTo>
                  <a:lnTo>
                    <a:pt x="1388" y="2188"/>
                  </a:lnTo>
                  <a:lnTo>
                    <a:pt x="1392" y="2192"/>
                  </a:lnTo>
                  <a:lnTo>
                    <a:pt x="1394" y="2194"/>
                  </a:lnTo>
                  <a:lnTo>
                    <a:pt x="1394" y="2196"/>
                  </a:lnTo>
                  <a:lnTo>
                    <a:pt x="1392" y="2196"/>
                  </a:lnTo>
                  <a:lnTo>
                    <a:pt x="1388" y="2198"/>
                  </a:lnTo>
                  <a:lnTo>
                    <a:pt x="1388" y="2202"/>
                  </a:lnTo>
                  <a:lnTo>
                    <a:pt x="1390" y="2206"/>
                  </a:lnTo>
                  <a:lnTo>
                    <a:pt x="1398" y="2210"/>
                  </a:lnTo>
                  <a:lnTo>
                    <a:pt x="1402" y="2208"/>
                  </a:lnTo>
                  <a:lnTo>
                    <a:pt x="1404" y="2206"/>
                  </a:lnTo>
                  <a:lnTo>
                    <a:pt x="1402" y="2194"/>
                  </a:lnTo>
                  <a:lnTo>
                    <a:pt x="1400" y="2180"/>
                  </a:lnTo>
                  <a:lnTo>
                    <a:pt x="1400" y="2174"/>
                  </a:lnTo>
                  <a:lnTo>
                    <a:pt x="1402" y="2170"/>
                  </a:lnTo>
                  <a:lnTo>
                    <a:pt x="1404" y="2168"/>
                  </a:lnTo>
                  <a:lnTo>
                    <a:pt x="1404" y="2166"/>
                  </a:lnTo>
                  <a:lnTo>
                    <a:pt x="1402" y="2160"/>
                  </a:lnTo>
                  <a:lnTo>
                    <a:pt x="1402" y="2152"/>
                  </a:lnTo>
                  <a:lnTo>
                    <a:pt x="1402" y="2150"/>
                  </a:lnTo>
                  <a:lnTo>
                    <a:pt x="1404" y="2146"/>
                  </a:lnTo>
                  <a:lnTo>
                    <a:pt x="1408" y="2144"/>
                  </a:lnTo>
                  <a:lnTo>
                    <a:pt x="1410" y="2144"/>
                  </a:lnTo>
                  <a:lnTo>
                    <a:pt x="1410" y="2150"/>
                  </a:lnTo>
                  <a:lnTo>
                    <a:pt x="1412" y="2154"/>
                  </a:lnTo>
                  <a:lnTo>
                    <a:pt x="1414" y="2152"/>
                  </a:lnTo>
                  <a:lnTo>
                    <a:pt x="1416" y="2148"/>
                  </a:lnTo>
                  <a:lnTo>
                    <a:pt x="1416" y="2146"/>
                  </a:lnTo>
                  <a:lnTo>
                    <a:pt x="1414" y="2140"/>
                  </a:lnTo>
                  <a:lnTo>
                    <a:pt x="1412" y="2132"/>
                  </a:lnTo>
                  <a:lnTo>
                    <a:pt x="1412" y="2124"/>
                  </a:lnTo>
                  <a:lnTo>
                    <a:pt x="1414" y="2116"/>
                  </a:lnTo>
                  <a:close/>
                  <a:moveTo>
                    <a:pt x="984" y="1792"/>
                  </a:moveTo>
                  <a:lnTo>
                    <a:pt x="984" y="1792"/>
                  </a:lnTo>
                  <a:lnTo>
                    <a:pt x="980" y="1788"/>
                  </a:lnTo>
                  <a:lnTo>
                    <a:pt x="974" y="1788"/>
                  </a:lnTo>
                  <a:lnTo>
                    <a:pt x="966" y="1788"/>
                  </a:lnTo>
                  <a:lnTo>
                    <a:pt x="958" y="1792"/>
                  </a:lnTo>
                  <a:lnTo>
                    <a:pt x="950" y="1794"/>
                  </a:lnTo>
                  <a:lnTo>
                    <a:pt x="944" y="1798"/>
                  </a:lnTo>
                  <a:lnTo>
                    <a:pt x="942" y="1804"/>
                  </a:lnTo>
                  <a:lnTo>
                    <a:pt x="940" y="1808"/>
                  </a:lnTo>
                  <a:lnTo>
                    <a:pt x="942" y="1810"/>
                  </a:lnTo>
                  <a:lnTo>
                    <a:pt x="948" y="1812"/>
                  </a:lnTo>
                  <a:lnTo>
                    <a:pt x="960" y="1814"/>
                  </a:lnTo>
                  <a:lnTo>
                    <a:pt x="974" y="1812"/>
                  </a:lnTo>
                  <a:lnTo>
                    <a:pt x="982" y="1810"/>
                  </a:lnTo>
                  <a:lnTo>
                    <a:pt x="990" y="1808"/>
                  </a:lnTo>
                  <a:lnTo>
                    <a:pt x="998" y="1808"/>
                  </a:lnTo>
                  <a:lnTo>
                    <a:pt x="1004" y="1806"/>
                  </a:lnTo>
                  <a:lnTo>
                    <a:pt x="1004" y="1804"/>
                  </a:lnTo>
                  <a:lnTo>
                    <a:pt x="1002" y="1800"/>
                  </a:lnTo>
                  <a:lnTo>
                    <a:pt x="1000" y="1798"/>
                  </a:lnTo>
                  <a:lnTo>
                    <a:pt x="994" y="1798"/>
                  </a:lnTo>
                  <a:lnTo>
                    <a:pt x="990" y="1796"/>
                  </a:lnTo>
                  <a:lnTo>
                    <a:pt x="984" y="1792"/>
                  </a:lnTo>
                  <a:close/>
                  <a:moveTo>
                    <a:pt x="2204" y="1064"/>
                  </a:moveTo>
                  <a:lnTo>
                    <a:pt x="2204" y="1064"/>
                  </a:lnTo>
                  <a:lnTo>
                    <a:pt x="2206" y="1066"/>
                  </a:lnTo>
                  <a:lnTo>
                    <a:pt x="2208" y="1066"/>
                  </a:lnTo>
                  <a:lnTo>
                    <a:pt x="2212" y="1066"/>
                  </a:lnTo>
                  <a:lnTo>
                    <a:pt x="2214" y="1060"/>
                  </a:lnTo>
                  <a:lnTo>
                    <a:pt x="2214" y="1058"/>
                  </a:lnTo>
                  <a:lnTo>
                    <a:pt x="2212" y="1054"/>
                  </a:lnTo>
                  <a:lnTo>
                    <a:pt x="2210" y="1050"/>
                  </a:lnTo>
                  <a:lnTo>
                    <a:pt x="2208" y="1048"/>
                  </a:lnTo>
                  <a:lnTo>
                    <a:pt x="2206" y="1048"/>
                  </a:lnTo>
                  <a:lnTo>
                    <a:pt x="2204" y="1050"/>
                  </a:lnTo>
                  <a:lnTo>
                    <a:pt x="2202" y="1054"/>
                  </a:lnTo>
                  <a:lnTo>
                    <a:pt x="2204" y="1064"/>
                  </a:lnTo>
                  <a:close/>
                  <a:moveTo>
                    <a:pt x="2218" y="862"/>
                  </a:moveTo>
                  <a:lnTo>
                    <a:pt x="2218" y="862"/>
                  </a:lnTo>
                  <a:lnTo>
                    <a:pt x="2216" y="866"/>
                  </a:lnTo>
                  <a:lnTo>
                    <a:pt x="2218" y="870"/>
                  </a:lnTo>
                  <a:lnTo>
                    <a:pt x="2222" y="872"/>
                  </a:lnTo>
                  <a:lnTo>
                    <a:pt x="2228" y="874"/>
                  </a:lnTo>
                  <a:lnTo>
                    <a:pt x="2230" y="872"/>
                  </a:lnTo>
                  <a:lnTo>
                    <a:pt x="2230" y="870"/>
                  </a:lnTo>
                  <a:lnTo>
                    <a:pt x="2228" y="864"/>
                  </a:lnTo>
                  <a:lnTo>
                    <a:pt x="2222" y="860"/>
                  </a:lnTo>
                  <a:lnTo>
                    <a:pt x="2220" y="860"/>
                  </a:lnTo>
                  <a:lnTo>
                    <a:pt x="2218" y="862"/>
                  </a:lnTo>
                  <a:close/>
                  <a:moveTo>
                    <a:pt x="2220" y="824"/>
                  </a:moveTo>
                  <a:lnTo>
                    <a:pt x="2220" y="824"/>
                  </a:lnTo>
                  <a:lnTo>
                    <a:pt x="2222" y="824"/>
                  </a:lnTo>
                  <a:lnTo>
                    <a:pt x="2222" y="822"/>
                  </a:lnTo>
                  <a:lnTo>
                    <a:pt x="2216" y="814"/>
                  </a:lnTo>
                  <a:lnTo>
                    <a:pt x="2216" y="812"/>
                  </a:lnTo>
                  <a:lnTo>
                    <a:pt x="2214" y="814"/>
                  </a:lnTo>
                  <a:lnTo>
                    <a:pt x="2212" y="816"/>
                  </a:lnTo>
                  <a:lnTo>
                    <a:pt x="2214" y="822"/>
                  </a:lnTo>
                  <a:lnTo>
                    <a:pt x="2216" y="822"/>
                  </a:lnTo>
                  <a:lnTo>
                    <a:pt x="2220" y="824"/>
                  </a:lnTo>
                  <a:close/>
                  <a:moveTo>
                    <a:pt x="2124" y="1064"/>
                  </a:moveTo>
                  <a:lnTo>
                    <a:pt x="2124" y="1064"/>
                  </a:lnTo>
                  <a:lnTo>
                    <a:pt x="2118" y="1060"/>
                  </a:lnTo>
                  <a:lnTo>
                    <a:pt x="2116" y="1060"/>
                  </a:lnTo>
                  <a:lnTo>
                    <a:pt x="2114" y="1062"/>
                  </a:lnTo>
                  <a:lnTo>
                    <a:pt x="2096" y="1042"/>
                  </a:lnTo>
                  <a:lnTo>
                    <a:pt x="2094" y="1038"/>
                  </a:lnTo>
                  <a:lnTo>
                    <a:pt x="2090" y="1032"/>
                  </a:lnTo>
                  <a:lnTo>
                    <a:pt x="2076" y="1018"/>
                  </a:lnTo>
                  <a:lnTo>
                    <a:pt x="2060" y="1008"/>
                  </a:lnTo>
                  <a:lnTo>
                    <a:pt x="2050" y="1000"/>
                  </a:lnTo>
                  <a:lnTo>
                    <a:pt x="2050" y="1004"/>
                  </a:lnTo>
                  <a:lnTo>
                    <a:pt x="2044" y="998"/>
                  </a:lnTo>
                  <a:lnTo>
                    <a:pt x="2040" y="994"/>
                  </a:lnTo>
                  <a:lnTo>
                    <a:pt x="2036" y="992"/>
                  </a:lnTo>
                  <a:lnTo>
                    <a:pt x="2040" y="1000"/>
                  </a:lnTo>
                  <a:lnTo>
                    <a:pt x="2050" y="1020"/>
                  </a:lnTo>
                  <a:lnTo>
                    <a:pt x="2052" y="1024"/>
                  </a:lnTo>
                  <a:lnTo>
                    <a:pt x="2052" y="1026"/>
                  </a:lnTo>
                  <a:lnTo>
                    <a:pt x="2064" y="1036"/>
                  </a:lnTo>
                  <a:lnTo>
                    <a:pt x="2070" y="1042"/>
                  </a:lnTo>
                  <a:lnTo>
                    <a:pt x="2076" y="1056"/>
                  </a:lnTo>
                  <a:lnTo>
                    <a:pt x="2076" y="1054"/>
                  </a:lnTo>
                  <a:lnTo>
                    <a:pt x="2078" y="1058"/>
                  </a:lnTo>
                  <a:lnTo>
                    <a:pt x="2082" y="1058"/>
                  </a:lnTo>
                  <a:lnTo>
                    <a:pt x="2088" y="1064"/>
                  </a:lnTo>
                  <a:lnTo>
                    <a:pt x="2094" y="1070"/>
                  </a:lnTo>
                  <a:lnTo>
                    <a:pt x="2102" y="1074"/>
                  </a:lnTo>
                  <a:lnTo>
                    <a:pt x="2110" y="1080"/>
                  </a:lnTo>
                  <a:lnTo>
                    <a:pt x="2116" y="1086"/>
                  </a:lnTo>
                  <a:lnTo>
                    <a:pt x="2136" y="1098"/>
                  </a:lnTo>
                  <a:lnTo>
                    <a:pt x="2136" y="1102"/>
                  </a:lnTo>
                  <a:lnTo>
                    <a:pt x="2136" y="1104"/>
                  </a:lnTo>
                  <a:lnTo>
                    <a:pt x="2154" y="1100"/>
                  </a:lnTo>
                  <a:lnTo>
                    <a:pt x="2158" y="1098"/>
                  </a:lnTo>
                  <a:lnTo>
                    <a:pt x="2158" y="1096"/>
                  </a:lnTo>
                  <a:lnTo>
                    <a:pt x="2148" y="1086"/>
                  </a:lnTo>
                  <a:lnTo>
                    <a:pt x="2124" y="1064"/>
                  </a:lnTo>
                  <a:close/>
                  <a:moveTo>
                    <a:pt x="2172" y="1036"/>
                  </a:moveTo>
                  <a:lnTo>
                    <a:pt x="2172" y="1036"/>
                  </a:lnTo>
                  <a:lnTo>
                    <a:pt x="2178" y="1038"/>
                  </a:lnTo>
                  <a:lnTo>
                    <a:pt x="2182" y="1040"/>
                  </a:lnTo>
                  <a:lnTo>
                    <a:pt x="2184" y="1038"/>
                  </a:lnTo>
                  <a:lnTo>
                    <a:pt x="2186" y="1036"/>
                  </a:lnTo>
                  <a:lnTo>
                    <a:pt x="2186" y="1030"/>
                  </a:lnTo>
                  <a:lnTo>
                    <a:pt x="2182" y="1024"/>
                  </a:lnTo>
                  <a:lnTo>
                    <a:pt x="2176" y="1018"/>
                  </a:lnTo>
                  <a:lnTo>
                    <a:pt x="2172" y="1016"/>
                  </a:lnTo>
                  <a:lnTo>
                    <a:pt x="2168" y="1018"/>
                  </a:lnTo>
                  <a:lnTo>
                    <a:pt x="2168" y="1020"/>
                  </a:lnTo>
                  <a:lnTo>
                    <a:pt x="2170" y="1020"/>
                  </a:lnTo>
                  <a:lnTo>
                    <a:pt x="2172" y="1022"/>
                  </a:lnTo>
                  <a:lnTo>
                    <a:pt x="2172" y="1024"/>
                  </a:lnTo>
                  <a:lnTo>
                    <a:pt x="2170" y="1028"/>
                  </a:lnTo>
                  <a:lnTo>
                    <a:pt x="2168" y="1032"/>
                  </a:lnTo>
                  <a:lnTo>
                    <a:pt x="2170" y="1034"/>
                  </a:lnTo>
                  <a:lnTo>
                    <a:pt x="2172" y="1036"/>
                  </a:lnTo>
                  <a:close/>
                  <a:moveTo>
                    <a:pt x="2152" y="752"/>
                  </a:moveTo>
                  <a:lnTo>
                    <a:pt x="2152" y="752"/>
                  </a:lnTo>
                  <a:lnTo>
                    <a:pt x="2154" y="760"/>
                  </a:lnTo>
                  <a:lnTo>
                    <a:pt x="2156" y="764"/>
                  </a:lnTo>
                  <a:lnTo>
                    <a:pt x="2160" y="766"/>
                  </a:lnTo>
                  <a:lnTo>
                    <a:pt x="2168" y="764"/>
                  </a:lnTo>
                  <a:lnTo>
                    <a:pt x="2172" y="762"/>
                  </a:lnTo>
                  <a:lnTo>
                    <a:pt x="2174" y="760"/>
                  </a:lnTo>
                  <a:lnTo>
                    <a:pt x="2176" y="758"/>
                  </a:lnTo>
                  <a:lnTo>
                    <a:pt x="2176" y="754"/>
                  </a:lnTo>
                  <a:lnTo>
                    <a:pt x="2174" y="746"/>
                  </a:lnTo>
                  <a:lnTo>
                    <a:pt x="2170" y="736"/>
                  </a:lnTo>
                  <a:lnTo>
                    <a:pt x="2168" y="732"/>
                  </a:lnTo>
                  <a:lnTo>
                    <a:pt x="2166" y="732"/>
                  </a:lnTo>
                  <a:lnTo>
                    <a:pt x="2164" y="734"/>
                  </a:lnTo>
                  <a:lnTo>
                    <a:pt x="2162" y="736"/>
                  </a:lnTo>
                  <a:lnTo>
                    <a:pt x="2158" y="730"/>
                  </a:lnTo>
                  <a:lnTo>
                    <a:pt x="2156" y="724"/>
                  </a:lnTo>
                  <a:lnTo>
                    <a:pt x="2154" y="718"/>
                  </a:lnTo>
                  <a:lnTo>
                    <a:pt x="2152" y="716"/>
                  </a:lnTo>
                  <a:lnTo>
                    <a:pt x="2148" y="716"/>
                  </a:lnTo>
                  <a:lnTo>
                    <a:pt x="2146" y="718"/>
                  </a:lnTo>
                  <a:lnTo>
                    <a:pt x="2146" y="722"/>
                  </a:lnTo>
                  <a:lnTo>
                    <a:pt x="2148" y="726"/>
                  </a:lnTo>
                  <a:lnTo>
                    <a:pt x="2152" y="736"/>
                  </a:lnTo>
                  <a:lnTo>
                    <a:pt x="2152" y="742"/>
                  </a:lnTo>
                  <a:lnTo>
                    <a:pt x="2152" y="746"/>
                  </a:lnTo>
                  <a:lnTo>
                    <a:pt x="2152" y="752"/>
                  </a:lnTo>
                  <a:close/>
                  <a:moveTo>
                    <a:pt x="2196" y="758"/>
                  </a:moveTo>
                  <a:lnTo>
                    <a:pt x="2196" y="758"/>
                  </a:lnTo>
                  <a:lnTo>
                    <a:pt x="2202" y="754"/>
                  </a:lnTo>
                  <a:lnTo>
                    <a:pt x="2206" y="750"/>
                  </a:lnTo>
                  <a:lnTo>
                    <a:pt x="2208" y="748"/>
                  </a:lnTo>
                  <a:lnTo>
                    <a:pt x="2206" y="746"/>
                  </a:lnTo>
                  <a:lnTo>
                    <a:pt x="2202" y="746"/>
                  </a:lnTo>
                  <a:lnTo>
                    <a:pt x="2198" y="748"/>
                  </a:lnTo>
                  <a:lnTo>
                    <a:pt x="2194" y="752"/>
                  </a:lnTo>
                  <a:lnTo>
                    <a:pt x="2194" y="754"/>
                  </a:lnTo>
                  <a:lnTo>
                    <a:pt x="2196" y="758"/>
                  </a:lnTo>
                  <a:close/>
                  <a:moveTo>
                    <a:pt x="2206" y="798"/>
                  </a:moveTo>
                  <a:lnTo>
                    <a:pt x="2206" y="798"/>
                  </a:lnTo>
                  <a:lnTo>
                    <a:pt x="2210" y="800"/>
                  </a:lnTo>
                  <a:lnTo>
                    <a:pt x="2214" y="800"/>
                  </a:lnTo>
                  <a:lnTo>
                    <a:pt x="2216" y="798"/>
                  </a:lnTo>
                  <a:lnTo>
                    <a:pt x="2216" y="792"/>
                  </a:lnTo>
                  <a:lnTo>
                    <a:pt x="2216" y="790"/>
                  </a:lnTo>
                  <a:lnTo>
                    <a:pt x="2214" y="788"/>
                  </a:lnTo>
                  <a:lnTo>
                    <a:pt x="2208" y="790"/>
                  </a:lnTo>
                  <a:lnTo>
                    <a:pt x="2204" y="794"/>
                  </a:lnTo>
                  <a:lnTo>
                    <a:pt x="2204" y="796"/>
                  </a:lnTo>
                  <a:lnTo>
                    <a:pt x="2206" y="798"/>
                  </a:lnTo>
                  <a:close/>
                  <a:moveTo>
                    <a:pt x="1762" y="382"/>
                  </a:moveTo>
                  <a:lnTo>
                    <a:pt x="1762" y="382"/>
                  </a:lnTo>
                  <a:lnTo>
                    <a:pt x="1762" y="386"/>
                  </a:lnTo>
                  <a:lnTo>
                    <a:pt x="1764" y="392"/>
                  </a:lnTo>
                  <a:lnTo>
                    <a:pt x="1768" y="394"/>
                  </a:lnTo>
                  <a:lnTo>
                    <a:pt x="1770" y="394"/>
                  </a:lnTo>
                  <a:lnTo>
                    <a:pt x="1772" y="392"/>
                  </a:lnTo>
                  <a:lnTo>
                    <a:pt x="1774" y="390"/>
                  </a:lnTo>
                  <a:lnTo>
                    <a:pt x="1772" y="386"/>
                  </a:lnTo>
                  <a:lnTo>
                    <a:pt x="1770" y="382"/>
                  </a:lnTo>
                  <a:lnTo>
                    <a:pt x="1766" y="378"/>
                  </a:lnTo>
                  <a:lnTo>
                    <a:pt x="1764" y="380"/>
                  </a:lnTo>
                  <a:lnTo>
                    <a:pt x="1762" y="382"/>
                  </a:lnTo>
                  <a:close/>
                  <a:moveTo>
                    <a:pt x="1786" y="386"/>
                  </a:moveTo>
                  <a:lnTo>
                    <a:pt x="1786" y="386"/>
                  </a:lnTo>
                  <a:lnTo>
                    <a:pt x="1784" y="386"/>
                  </a:lnTo>
                  <a:lnTo>
                    <a:pt x="1780" y="388"/>
                  </a:lnTo>
                  <a:lnTo>
                    <a:pt x="1776" y="396"/>
                  </a:lnTo>
                  <a:lnTo>
                    <a:pt x="1776" y="402"/>
                  </a:lnTo>
                  <a:lnTo>
                    <a:pt x="1778" y="404"/>
                  </a:lnTo>
                  <a:lnTo>
                    <a:pt x="1780" y="404"/>
                  </a:lnTo>
                  <a:lnTo>
                    <a:pt x="1784" y="402"/>
                  </a:lnTo>
                  <a:lnTo>
                    <a:pt x="1788" y="404"/>
                  </a:lnTo>
                  <a:lnTo>
                    <a:pt x="1790" y="410"/>
                  </a:lnTo>
                  <a:lnTo>
                    <a:pt x="1794" y="414"/>
                  </a:lnTo>
                  <a:lnTo>
                    <a:pt x="1796" y="416"/>
                  </a:lnTo>
                  <a:lnTo>
                    <a:pt x="1800" y="412"/>
                  </a:lnTo>
                  <a:lnTo>
                    <a:pt x="1798" y="408"/>
                  </a:lnTo>
                  <a:lnTo>
                    <a:pt x="1794" y="402"/>
                  </a:lnTo>
                  <a:lnTo>
                    <a:pt x="1790" y="396"/>
                  </a:lnTo>
                  <a:lnTo>
                    <a:pt x="1790" y="392"/>
                  </a:lnTo>
                  <a:lnTo>
                    <a:pt x="1790" y="390"/>
                  </a:lnTo>
                  <a:lnTo>
                    <a:pt x="1786" y="386"/>
                  </a:lnTo>
                  <a:close/>
                  <a:moveTo>
                    <a:pt x="1754" y="340"/>
                  </a:moveTo>
                  <a:lnTo>
                    <a:pt x="1754" y="340"/>
                  </a:lnTo>
                  <a:lnTo>
                    <a:pt x="1758" y="346"/>
                  </a:lnTo>
                  <a:lnTo>
                    <a:pt x="1766" y="354"/>
                  </a:lnTo>
                  <a:lnTo>
                    <a:pt x="1776" y="360"/>
                  </a:lnTo>
                  <a:lnTo>
                    <a:pt x="1780" y="360"/>
                  </a:lnTo>
                  <a:lnTo>
                    <a:pt x="1784" y="360"/>
                  </a:lnTo>
                  <a:lnTo>
                    <a:pt x="1788" y="358"/>
                  </a:lnTo>
                  <a:lnTo>
                    <a:pt x="1784" y="356"/>
                  </a:lnTo>
                  <a:lnTo>
                    <a:pt x="1776" y="352"/>
                  </a:lnTo>
                  <a:lnTo>
                    <a:pt x="1774" y="348"/>
                  </a:lnTo>
                  <a:lnTo>
                    <a:pt x="1772" y="344"/>
                  </a:lnTo>
                  <a:lnTo>
                    <a:pt x="1768" y="336"/>
                  </a:lnTo>
                  <a:lnTo>
                    <a:pt x="1764" y="332"/>
                  </a:lnTo>
                  <a:lnTo>
                    <a:pt x="1746" y="320"/>
                  </a:lnTo>
                  <a:lnTo>
                    <a:pt x="1742" y="318"/>
                  </a:lnTo>
                  <a:lnTo>
                    <a:pt x="1740" y="320"/>
                  </a:lnTo>
                  <a:lnTo>
                    <a:pt x="1742" y="328"/>
                  </a:lnTo>
                  <a:lnTo>
                    <a:pt x="1744" y="332"/>
                  </a:lnTo>
                  <a:lnTo>
                    <a:pt x="1748" y="334"/>
                  </a:lnTo>
                  <a:lnTo>
                    <a:pt x="1752" y="336"/>
                  </a:lnTo>
                  <a:lnTo>
                    <a:pt x="1754" y="340"/>
                  </a:lnTo>
                  <a:close/>
                  <a:moveTo>
                    <a:pt x="1744" y="368"/>
                  </a:moveTo>
                  <a:lnTo>
                    <a:pt x="1744" y="368"/>
                  </a:lnTo>
                  <a:lnTo>
                    <a:pt x="1744" y="374"/>
                  </a:lnTo>
                  <a:lnTo>
                    <a:pt x="1748" y="378"/>
                  </a:lnTo>
                  <a:lnTo>
                    <a:pt x="1752" y="382"/>
                  </a:lnTo>
                  <a:lnTo>
                    <a:pt x="1754" y="380"/>
                  </a:lnTo>
                  <a:lnTo>
                    <a:pt x="1756" y="380"/>
                  </a:lnTo>
                  <a:lnTo>
                    <a:pt x="1758" y="376"/>
                  </a:lnTo>
                  <a:lnTo>
                    <a:pt x="1758" y="374"/>
                  </a:lnTo>
                  <a:lnTo>
                    <a:pt x="1752" y="368"/>
                  </a:lnTo>
                  <a:lnTo>
                    <a:pt x="1746" y="366"/>
                  </a:lnTo>
                  <a:lnTo>
                    <a:pt x="1744" y="366"/>
                  </a:lnTo>
                  <a:lnTo>
                    <a:pt x="1744" y="368"/>
                  </a:lnTo>
                  <a:close/>
                  <a:moveTo>
                    <a:pt x="1802" y="416"/>
                  </a:moveTo>
                  <a:lnTo>
                    <a:pt x="1802" y="416"/>
                  </a:lnTo>
                  <a:lnTo>
                    <a:pt x="1800" y="420"/>
                  </a:lnTo>
                  <a:lnTo>
                    <a:pt x="1800" y="424"/>
                  </a:lnTo>
                  <a:lnTo>
                    <a:pt x="1804" y="426"/>
                  </a:lnTo>
                  <a:lnTo>
                    <a:pt x="1810" y="424"/>
                  </a:lnTo>
                  <a:lnTo>
                    <a:pt x="1810" y="422"/>
                  </a:lnTo>
                  <a:lnTo>
                    <a:pt x="1812" y="420"/>
                  </a:lnTo>
                  <a:lnTo>
                    <a:pt x="1810" y="416"/>
                  </a:lnTo>
                  <a:lnTo>
                    <a:pt x="1806" y="414"/>
                  </a:lnTo>
                  <a:lnTo>
                    <a:pt x="1804" y="414"/>
                  </a:lnTo>
                  <a:lnTo>
                    <a:pt x="1802" y="416"/>
                  </a:lnTo>
                  <a:close/>
                  <a:moveTo>
                    <a:pt x="1858" y="386"/>
                  </a:moveTo>
                  <a:lnTo>
                    <a:pt x="1858" y="386"/>
                  </a:lnTo>
                  <a:lnTo>
                    <a:pt x="1848" y="382"/>
                  </a:lnTo>
                  <a:lnTo>
                    <a:pt x="1844" y="378"/>
                  </a:lnTo>
                  <a:lnTo>
                    <a:pt x="1840" y="374"/>
                  </a:lnTo>
                  <a:lnTo>
                    <a:pt x="1832" y="368"/>
                  </a:lnTo>
                  <a:lnTo>
                    <a:pt x="1828" y="366"/>
                  </a:lnTo>
                  <a:lnTo>
                    <a:pt x="1826" y="368"/>
                  </a:lnTo>
                  <a:lnTo>
                    <a:pt x="1828" y="378"/>
                  </a:lnTo>
                  <a:lnTo>
                    <a:pt x="1830" y="382"/>
                  </a:lnTo>
                  <a:lnTo>
                    <a:pt x="1834" y="386"/>
                  </a:lnTo>
                  <a:lnTo>
                    <a:pt x="1848" y="394"/>
                  </a:lnTo>
                  <a:lnTo>
                    <a:pt x="1864" y="404"/>
                  </a:lnTo>
                  <a:lnTo>
                    <a:pt x="1878" y="414"/>
                  </a:lnTo>
                  <a:lnTo>
                    <a:pt x="1880" y="416"/>
                  </a:lnTo>
                  <a:lnTo>
                    <a:pt x="1882" y="416"/>
                  </a:lnTo>
                  <a:lnTo>
                    <a:pt x="1878" y="408"/>
                  </a:lnTo>
                  <a:lnTo>
                    <a:pt x="1870" y="396"/>
                  </a:lnTo>
                  <a:lnTo>
                    <a:pt x="1864" y="390"/>
                  </a:lnTo>
                  <a:lnTo>
                    <a:pt x="1858" y="386"/>
                  </a:lnTo>
                  <a:close/>
                  <a:moveTo>
                    <a:pt x="1882" y="456"/>
                  </a:moveTo>
                  <a:lnTo>
                    <a:pt x="1882" y="456"/>
                  </a:lnTo>
                  <a:lnTo>
                    <a:pt x="1876" y="450"/>
                  </a:lnTo>
                  <a:lnTo>
                    <a:pt x="1872" y="450"/>
                  </a:lnTo>
                  <a:lnTo>
                    <a:pt x="1870" y="454"/>
                  </a:lnTo>
                  <a:lnTo>
                    <a:pt x="1870" y="462"/>
                  </a:lnTo>
                  <a:lnTo>
                    <a:pt x="1870" y="468"/>
                  </a:lnTo>
                  <a:lnTo>
                    <a:pt x="1876" y="474"/>
                  </a:lnTo>
                  <a:lnTo>
                    <a:pt x="1882" y="478"/>
                  </a:lnTo>
                  <a:lnTo>
                    <a:pt x="1892" y="478"/>
                  </a:lnTo>
                  <a:lnTo>
                    <a:pt x="1900" y="476"/>
                  </a:lnTo>
                  <a:lnTo>
                    <a:pt x="1900" y="478"/>
                  </a:lnTo>
                  <a:lnTo>
                    <a:pt x="1902" y="480"/>
                  </a:lnTo>
                  <a:lnTo>
                    <a:pt x="1912" y="482"/>
                  </a:lnTo>
                  <a:lnTo>
                    <a:pt x="1916" y="482"/>
                  </a:lnTo>
                  <a:lnTo>
                    <a:pt x="1920" y="482"/>
                  </a:lnTo>
                  <a:lnTo>
                    <a:pt x="1920" y="480"/>
                  </a:lnTo>
                  <a:lnTo>
                    <a:pt x="1918" y="476"/>
                  </a:lnTo>
                  <a:lnTo>
                    <a:pt x="1914" y="468"/>
                  </a:lnTo>
                  <a:lnTo>
                    <a:pt x="1906" y="460"/>
                  </a:lnTo>
                  <a:lnTo>
                    <a:pt x="1902" y="458"/>
                  </a:lnTo>
                  <a:lnTo>
                    <a:pt x="1900" y="456"/>
                  </a:lnTo>
                  <a:lnTo>
                    <a:pt x="1892" y="456"/>
                  </a:lnTo>
                  <a:lnTo>
                    <a:pt x="1886" y="458"/>
                  </a:lnTo>
                  <a:lnTo>
                    <a:pt x="1884" y="456"/>
                  </a:lnTo>
                  <a:lnTo>
                    <a:pt x="1882" y="456"/>
                  </a:lnTo>
                  <a:close/>
                  <a:moveTo>
                    <a:pt x="1884" y="560"/>
                  </a:moveTo>
                  <a:lnTo>
                    <a:pt x="1884" y="560"/>
                  </a:lnTo>
                  <a:lnTo>
                    <a:pt x="1886" y="564"/>
                  </a:lnTo>
                  <a:lnTo>
                    <a:pt x="1894" y="570"/>
                  </a:lnTo>
                  <a:lnTo>
                    <a:pt x="1902" y="576"/>
                  </a:lnTo>
                  <a:lnTo>
                    <a:pt x="1906" y="576"/>
                  </a:lnTo>
                  <a:lnTo>
                    <a:pt x="1910" y="576"/>
                  </a:lnTo>
                  <a:lnTo>
                    <a:pt x="1910" y="574"/>
                  </a:lnTo>
                  <a:lnTo>
                    <a:pt x="1908" y="570"/>
                  </a:lnTo>
                  <a:lnTo>
                    <a:pt x="1900" y="562"/>
                  </a:lnTo>
                  <a:lnTo>
                    <a:pt x="1890" y="558"/>
                  </a:lnTo>
                  <a:lnTo>
                    <a:pt x="1886" y="558"/>
                  </a:lnTo>
                  <a:lnTo>
                    <a:pt x="1884" y="560"/>
                  </a:lnTo>
                  <a:close/>
                  <a:moveTo>
                    <a:pt x="1966" y="508"/>
                  </a:moveTo>
                  <a:lnTo>
                    <a:pt x="1966" y="508"/>
                  </a:lnTo>
                  <a:lnTo>
                    <a:pt x="1958" y="506"/>
                  </a:lnTo>
                  <a:lnTo>
                    <a:pt x="1950" y="502"/>
                  </a:lnTo>
                  <a:lnTo>
                    <a:pt x="1942" y="498"/>
                  </a:lnTo>
                  <a:lnTo>
                    <a:pt x="1938" y="498"/>
                  </a:lnTo>
                  <a:lnTo>
                    <a:pt x="1936" y="500"/>
                  </a:lnTo>
                  <a:lnTo>
                    <a:pt x="1934" y="500"/>
                  </a:lnTo>
                  <a:lnTo>
                    <a:pt x="1934" y="502"/>
                  </a:lnTo>
                  <a:lnTo>
                    <a:pt x="1938" y="504"/>
                  </a:lnTo>
                  <a:lnTo>
                    <a:pt x="1942" y="506"/>
                  </a:lnTo>
                  <a:lnTo>
                    <a:pt x="1944" y="510"/>
                  </a:lnTo>
                  <a:lnTo>
                    <a:pt x="1944" y="512"/>
                  </a:lnTo>
                  <a:lnTo>
                    <a:pt x="1946" y="516"/>
                  </a:lnTo>
                  <a:lnTo>
                    <a:pt x="1948" y="518"/>
                  </a:lnTo>
                  <a:lnTo>
                    <a:pt x="1956" y="524"/>
                  </a:lnTo>
                  <a:lnTo>
                    <a:pt x="1966" y="528"/>
                  </a:lnTo>
                  <a:lnTo>
                    <a:pt x="1974" y="528"/>
                  </a:lnTo>
                  <a:lnTo>
                    <a:pt x="1976" y="528"/>
                  </a:lnTo>
                  <a:lnTo>
                    <a:pt x="1978" y="526"/>
                  </a:lnTo>
                  <a:lnTo>
                    <a:pt x="1976" y="518"/>
                  </a:lnTo>
                  <a:lnTo>
                    <a:pt x="1972" y="512"/>
                  </a:lnTo>
                  <a:lnTo>
                    <a:pt x="1968" y="510"/>
                  </a:lnTo>
                  <a:lnTo>
                    <a:pt x="1966" y="508"/>
                  </a:lnTo>
                  <a:close/>
                  <a:moveTo>
                    <a:pt x="2174" y="784"/>
                  </a:moveTo>
                  <a:lnTo>
                    <a:pt x="2174" y="784"/>
                  </a:lnTo>
                  <a:lnTo>
                    <a:pt x="2174" y="788"/>
                  </a:lnTo>
                  <a:lnTo>
                    <a:pt x="2180" y="792"/>
                  </a:lnTo>
                  <a:lnTo>
                    <a:pt x="2182" y="794"/>
                  </a:lnTo>
                  <a:lnTo>
                    <a:pt x="2184" y="798"/>
                  </a:lnTo>
                  <a:lnTo>
                    <a:pt x="2186" y="804"/>
                  </a:lnTo>
                  <a:lnTo>
                    <a:pt x="2188" y="808"/>
                  </a:lnTo>
                  <a:lnTo>
                    <a:pt x="2192" y="808"/>
                  </a:lnTo>
                  <a:lnTo>
                    <a:pt x="2196" y="808"/>
                  </a:lnTo>
                  <a:lnTo>
                    <a:pt x="2198" y="806"/>
                  </a:lnTo>
                  <a:lnTo>
                    <a:pt x="2198" y="800"/>
                  </a:lnTo>
                  <a:lnTo>
                    <a:pt x="2196" y="794"/>
                  </a:lnTo>
                  <a:lnTo>
                    <a:pt x="2190" y="788"/>
                  </a:lnTo>
                  <a:lnTo>
                    <a:pt x="2186" y="784"/>
                  </a:lnTo>
                  <a:lnTo>
                    <a:pt x="2180" y="780"/>
                  </a:lnTo>
                  <a:lnTo>
                    <a:pt x="2176" y="780"/>
                  </a:lnTo>
                  <a:lnTo>
                    <a:pt x="2174" y="784"/>
                  </a:lnTo>
                  <a:close/>
                  <a:moveTo>
                    <a:pt x="1938" y="458"/>
                  </a:moveTo>
                  <a:lnTo>
                    <a:pt x="1938" y="458"/>
                  </a:lnTo>
                  <a:lnTo>
                    <a:pt x="1938" y="454"/>
                  </a:lnTo>
                  <a:lnTo>
                    <a:pt x="1938" y="448"/>
                  </a:lnTo>
                  <a:lnTo>
                    <a:pt x="1936" y="444"/>
                  </a:lnTo>
                  <a:lnTo>
                    <a:pt x="1930" y="438"/>
                  </a:lnTo>
                  <a:lnTo>
                    <a:pt x="1928" y="434"/>
                  </a:lnTo>
                  <a:lnTo>
                    <a:pt x="1926" y="428"/>
                  </a:lnTo>
                  <a:lnTo>
                    <a:pt x="1922" y="420"/>
                  </a:lnTo>
                  <a:lnTo>
                    <a:pt x="1920" y="410"/>
                  </a:lnTo>
                  <a:lnTo>
                    <a:pt x="1916" y="408"/>
                  </a:lnTo>
                  <a:lnTo>
                    <a:pt x="1910" y="406"/>
                  </a:lnTo>
                  <a:lnTo>
                    <a:pt x="1908" y="404"/>
                  </a:lnTo>
                  <a:lnTo>
                    <a:pt x="1906" y="406"/>
                  </a:lnTo>
                  <a:lnTo>
                    <a:pt x="1906" y="412"/>
                  </a:lnTo>
                  <a:lnTo>
                    <a:pt x="1912" y="422"/>
                  </a:lnTo>
                  <a:lnTo>
                    <a:pt x="1916" y="440"/>
                  </a:lnTo>
                  <a:lnTo>
                    <a:pt x="1918" y="446"/>
                  </a:lnTo>
                  <a:lnTo>
                    <a:pt x="1920" y="448"/>
                  </a:lnTo>
                  <a:lnTo>
                    <a:pt x="1926" y="452"/>
                  </a:lnTo>
                  <a:lnTo>
                    <a:pt x="1930" y="460"/>
                  </a:lnTo>
                  <a:lnTo>
                    <a:pt x="1936" y="466"/>
                  </a:lnTo>
                  <a:lnTo>
                    <a:pt x="1940" y="470"/>
                  </a:lnTo>
                  <a:lnTo>
                    <a:pt x="1942" y="468"/>
                  </a:lnTo>
                  <a:lnTo>
                    <a:pt x="1938" y="458"/>
                  </a:lnTo>
                  <a:close/>
                  <a:moveTo>
                    <a:pt x="2456" y="2102"/>
                  </a:moveTo>
                  <a:lnTo>
                    <a:pt x="2456" y="2102"/>
                  </a:lnTo>
                  <a:lnTo>
                    <a:pt x="2460" y="2096"/>
                  </a:lnTo>
                  <a:lnTo>
                    <a:pt x="2460" y="2090"/>
                  </a:lnTo>
                  <a:lnTo>
                    <a:pt x="2458" y="2084"/>
                  </a:lnTo>
                  <a:lnTo>
                    <a:pt x="2456" y="2082"/>
                  </a:lnTo>
                  <a:lnTo>
                    <a:pt x="2450" y="2082"/>
                  </a:lnTo>
                  <a:lnTo>
                    <a:pt x="2442" y="2084"/>
                  </a:lnTo>
                  <a:lnTo>
                    <a:pt x="2434" y="2088"/>
                  </a:lnTo>
                  <a:lnTo>
                    <a:pt x="2426" y="2094"/>
                  </a:lnTo>
                  <a:lnTo>
                    <a:pt x="2418" y="2100"/>
                  </a:lnTo>
                  <a:lnTo>
                    <a:pt x="2412" y="2100"/>
                  </a:lnTo>
                  <a:lnTo>
                    <a:pt x="2410" y="2098"/>
                  </a:lnTo>
                  <a:lnTo>
                    <a:pt x="2410" y="2094"/>
                  </a:lnTo>
                  <a:lnTo>
                    <a:pt x="2410" y="2080"/>
                  </a:lnTo>
                  <a:lnTo>
                    <a:pt x="2410" y="2076"/>
                  </a:lnTo>
                  <a:lnTo>
                    <a:pt x="2408" y="2074"/>
                  </a:lnTo>
                  <a:lnTo>
                    <a:pt x="2400" y="2072"/>
                  </a:lnTo>
                  <a:lnTo>
                    <a:pt x="2398" y="2070"/>
                  </a:lnTo>
                  <a:lnTo>
                    <a:pt x="2398" y="2068"/>
                  </a:lnTo>
                  <a:lnTo>
                    <a:pt x="2404" y="2064"/>
                  </a:lnTo>
                  <a:lnTo>
                    <a:pt x="2408" y="2062"/>
                  </a:lnTo>
                  <a:lnTo>
                    <a:pt x="2408" y="2058"/>
                  </a:lnTo>
                  <a:lnTo>
                    <a:pt x="2408" y="2056"/>
                  </a:lnTo>
                  <a:lnTo>
                    <a:pt x="2404" y="2054"/>
                  </a:lnTo>
                  <a:lnTo>
                    <a:pt x="2400" y="2054"/>
                  </a:lnTo>
                  <a:lnTo>
                    <a:pt x="2396" y="2056"/>
                  </a:lnTo>
                  <a:lnTo>
                    <a:pt x="2388" y="2060"/>
                  </a:lnTo>
                  <a:lnTo>
                    <a:pt x="2380" y="2068"/>
                  </a:lnTo>
                  <a:lnTo>
                    <a:pt x="2376" y="2074"/>
                  </a:lnTo>
                  <a:lnTo>
                    <a:pt x="2374" y="2080"/>
                  </a:lnTo>
                  <a:lnTo>
                    <a:pt x="2374" y="2096"/>
                  </a:lnTo>
                  <a:lnTo>
                    <a:pt x="2372" y="2104"/>
                  </a:lnTo>
                  <a:lnTo>
                    <a:pt x="2370" y="2110"/>
                  </a:lnTo>
                  <a:lnTo>
                    <a:pt x="2366" y="2116"/>
                  </a:lnTo>
                  <a:lnTo>
                    <a:pt x="2358" y="2120"/>
                  </a:lnTo>
                  <a:lnTo>
                    <a:pt x="2352" y="2126"/>
                  </a:lnTo>
                  <a:lnTo>
                    <a:pt x="2346" y="2134"/>
                  </a:lnTo>
                  <a:lnTo>
                    <a:pt x="2336" y="2156"/>
                  </a:lnTo>
                  <a:lnTo>
                    <a:pt x="2324" y="2180"/>
                  </a:lnTo>
                  <a:lnTo>
                    <a:pt x="2318" y="2190"/>
                  </a:lnTo>
                  <a:lnTo>
                    <a:pt x="2310" y="2196"/>
                  </a:lnTo>
                  <a:lnTo>
                    <a:pt x="2298" y="2206"/>
                  </a:lnTo>
                  <a:lnTo>
                    <a:pt x="2286" y="2218"/>
                  </a:lnTo>
                  <a:lnTo>
                    <a:pt x="2274" y="2228"/>
                  </a:lnTo>
                  <a:lnTo>
                    <a:pt x="2270" y="2230"/>
                  </a:lnTo>
                  <a:lnTo>
                    <a:pt x="2264" y="2232"/>
                  </a:lnTo>
                  <a:lnTo>
                    <a:pt x="2260" y="2234"/>
                  </a:lnTo>
                  <a:lnTo>
                    <a:pt x="2256" y="2236"/>
                  </a:lnTo>
                  <a:lnTo>
                    <a:pt x="2250" y="2242"/>
                  </a:lnTo>
                  <a:lnTo>
                    <a:pt x="2246" y="2248"/>
                  </a:lnTo>
                  <a:lnTo>
                    <a:pt x="2242" y="2250"/>
                  </a:lnTo>
                  <a:lnTo>
                    <a:pt x="2236" y="2250"/>
                  </a:lnTo>
                  <a:lnTo>
                    <a:pt x="2228" y="2250"/>
                  </a:lnTo>
                  <a:lnTo>
                    <a:pt x="2222" y="2254"/>
                  </a:lnTo>
                  <a:lnTo>
                    <a:pt x="2216" y="2260"/>
                  </a:lnTo>
                  <a:lnTo>
                    <a:pt x="2210" y="2266"/>
                  </a:lnTo>
                  <a:lnTo>
                    <a:pt x="2200" y="2282"/>
                  </a:lnTo>
                  <a:lnTo>
                    <a:pt x="2186" y="2298"/>
                  </a:lnTo>
                  <a:lnTo>
                    <a:pt x="2174" y="2310"/>
                  </a:lnTo>
                  <a:lnTo>
                    <a:pt x="2162" y="2322"/>
                  </a:lnTo>
                  <a:lnTo>
                    <a:pt x="2160" y="2328"/>
                  </a:lnTo>
                  <a:lnTo>
                    <a:pt x="2156" y="2334"/>
                  </a:lnTo>
                  <a:lnTo>
                    <a:pt x="2156" y="2338"/>
                  </a:lnTo>
                  <a:lnTo>
                    <a:pt x="2158" y="2344"/>
                  </a:lnTo>
                  <a:lnTo>
                    <a:pt x="2160" y="2348"/>
                  </a:lnTo>
                  <a:lnTo>
                    <a:pt x="2158" y="2352"/>
                  </a:lnTo>
                  <a:lnTo>
                    <a:pt x="2152" y="2356"/>
                  </a:lnTo>
                  <a:lnTo>
                    <a:pt x="2146" y="2360"/>
                  </a:lnTo>
                  <a:lnTo>
                    <a:pt x="2146" y="2362"/>
                  </a:lnTo>
                  <a:lnTo>
                    <a:pt x="2146" y="2368"/>
                  </a:lnTo>
                  <a:lnTo>
                    <a:pt x="2152" y="2376"/>
                  </a:lnTo>
                  <a:lnTo>
                    <a:pt x="2162" y="2382"/>
                  </a:lnTo>
                  <a:lnTo>
                    <a:pt x="2168" y="2384"/>
                  </a:lnTo>
                  <a:lnTo>
                    <a:pt x="2172" y="2384"/>
                  </a:lnTo>
                  <a:lnTo>
                    <a:pt x="2178" y="2382"/>
                  </a:lnTo>
                  <a:lnTo>
                    <a:pt x="2184" y="2378"/>
                  </a:lnTo>
                  <a:lnTo>
                    <a:pt x="2190" y="2376"/>
                  </a:lnTo>
                  <a:lnTo>
                    <a:pt x="2192" y="2374"/>
                  </a:lnTo>
                  <a:lnTo>
                    <a:pt x="2194" y="2376"/>
                  </a:lnTo>
                  <a:lnTo>
                    <a:pt x="2196" y="2378"/>
                  </a:lnTo>
                  <a:lnTo>
                    <a:pt x="2200" y="2384"/>
                  </a:lnTo>
                  <a:lnTo>
                    <a:pt x="2202" y="2386"/>
                  </a:lnTo>
                  <a:lnTo>
                    <a:pt x="2208" y="2386"/>
                  </a:lnTo>
                  <a:lnTo>
                    <a:pt x="2212" y="2386"/>
                  </a:lnTo>
                  <a:lnTo>
                    <a:pt x="2216" y="2388"/>
                  </a:lnTo>
                  <a:lnTo>
                    <a:pt x="2218" y="2392"/>
                  </a:lnTo>
                  <a:lnTo>
                    <a:pt x="2218" y="2396"/>
                  </a:lnTo>
                  <a:lnTo>
                    <a:pt x="2220" y="2398"/>
                  </a:lnTo>
                  <a:lnTo>
                    <a:pt x="2224" y="2402"/>
                  </a:lnTo>
                  <a:lnTo>
                    <a:pt x="2232" y="2402"/>
                  </a:lnTo>
                  <a:lnTo>
                    <a:pt x="2248" y="2404"/>
                  </a:lnTo>
                  <a:lnTo>
                    <a:pt x="2256" y="2404"/>
                  </a:lnTo>
                  <a:lnTo>
                    <a:pt x="2262" y="2404"/>
                  </a:lnTo>
                  <a:lnTo>
                    <a:pt x="2268" y="2402"/>
                  </a:lnTo>
                  <a:lnTo>
                    <a:pt x="2276" y="2398"/>
                  </a:lnTo>
                  <a:lnTo>
                    <a:pt x="2282" y="2390"/>
                  </a:lnTo>
                  <a:lnTo>
                    <a:pt x="2288" y="2380"/>
                  </a:lnTo>
                  <a:lnTo>
                    <a:pt x="2296" y="2372"/>
                  </a:lnTo>
                  <a:lnTo>
                    <a:pt x="2302" y="2366"/>
                  </a:lnTo>
                  <a:lnTo>
                    <a:pt x="2308" y="2362"/>
                  </a:lnTo>
                  <a:lnTo>
                    <a:pt x="2314" y="2360"/>
                  </a:lnTo>
                  <a:lnTo>
                    <a:pt x="2320" y="2358"/>
                  </a:lnTo>
                  <a:lnTo>
                    <a:pt x="2320" y="2356"/>
                  </a:lnTo>
                  <a:lnTo>
                    <a:pt x="2318" y="2352"/>
                  </a:lnTo>
                  <a:lnTo>
                    <a:pt x="2318" y="2346"/>
                  </a:lnTo>
                  <a:lnTo>
                    <a:pt x="2318" y="2340"/>
                  </a:lnTo>
                  <a:lnTo>
                    <a:pt x="2324" y="2328"/>
                  </a:lnTo>
                  <a:lnTo>
                    <a:pt x="2332" y="2312"/>
                  </a:lnTo>
                  <a:lnTo>
                    <a:pt x="2336" y="2300"/>
                  </a:lnTo>
                  <a:lnTo>
                    <a:pt x="2336" y="2288"/>
                  </a:lnTo>
                  <a:lnTo>
                    <a:pt x="2340" y="2276"/>
                  </a:lnTo>
                  <a:lnTo>
                    <a:pt x="2346" y="2266"/>
                  </a:lnTo>
                  <a:lnTo>
                    <a:pt x="2354" y="2258"/>
                  </a:lnTo>
                  <a:lnTo>
                    <a:pt x="2364" y="2252"/>
                  </a:lnTo>
                  <a:lnTo>
                    <a:pt x="2376" y="2248"/>
                  </a:lnTo>
                  <a:lnTo>
                    <a:pt x="2386" y="2246"/>
                  </a:lnTo>
                  <a:lnTo>
                    <a:pt x="2394" y="2244"/>
                  </a:lnTo>
                  <a:lnTo>
                    <a:pt x="2400" y="2246"/>
                  </a:lnTo>
                  <a:lnTo>
                    <a:pt x="2406" y="2246"/>
                  </a:lnTo>
                  <a:lnTo>
                    <a:pt x="2410" y="2246"/>
                  </a:lnTo>
                  <a:lnTo>
                    <a:pt x="2414" y="2244"/>
                  </a:lnTo>
                  <a:lnTo>
                    <a:pt x="2416" y="2242"/>
                  </a:lnTo>
                  <a:lnTo>
                    <a:pt x="2418" y="2238"/>
                  </a:lnTo>
                  <a:lnTo>
                    <a:pt x="2418" y="2236"/>
                  </a:lnTo>
                  <a:lnTo>
                    <a:pt x="2416" y="2232"/>
                  </a:lnTo>
                  <a:lnTo>
                    <a:pt x="2410" y="2230"/>
                  </a:lnTo>
                  <a:lnTo>
                    <a:pt x="2404" y="2228"/>
                  </a:lnTo>
                  <a:lnTo>
                    <a:pt x="2402" y="2224"/>
                  </a:lnTo>
                  <a:lnTo>
                    <a:pt x="2400" y="2218"/>
                  </a:lnTo>
                  <a:lnTo>
                    <a:pt x="2400" y="2214"/>
                  </a:lnTo>
                  <a:lnTo>
                    <a:pt x="2400" y="2208"/>
                  </a:lnTo>
                  <a:lnTo>
                    <a:pt x="2402" y="2204"/>
                  </a:lnTo>
                  <a:lnTo>
                    <a:pt x="2406" y="2200"/>
                  </a:lnTo>
                  <a:lnTo>
                    <a:pt x="2410" y="2198"/>
                  </a:lnTo>
                  <a:lnTo>
                    <a:pt x="2416" y="2196"/>
                  </a:lnTo>
                  <a:lnTo>
                    <a:pt x="2420" y="2192"/>
                  </a:lnTo>
                  <a:lnTo>
                    <a:pt x="2430" y="2178"/>
                  </a:lnTo>
                  <a:lnTo>
                    <a:pt x="2440" y="2160"/>
                  </a:lnTo>
                  <a:lnTo>
                    <a:pt x="2454" y="2138"/>
                  </a:lnTo>
                  <a:lnTo>
                    <a:pt x="2460" y="2130"/>
                  </a:lnTo>
                  <a:lnTo>
                    <a:pt x="2462" y="2124"/>
                  </a:lnTo>
                  <a:lnTo>
                    <a:pt x="2462" y="2120"/>
                  </a:lnTo>
                  <a:lnTo>
                    <a:pt x="2460" y="2118"/>
                  </a:lnTo>
                  <a:lnTo>
                    <a:pt x="2456" y="2116"/>
                  </a:lnTo>
                  <a:lnTo>
                    <a:pt x="2454" y="2114"/>
                  </a:lnTo>
                  <a:lnTo>
                    <a:pt x="2454" y="2110"/>
                  </a:lnTo>
                  <a:lnTo>
                    <a:pt x="2456" y="2102"/>
                  </a:lnTo>
                  <a:close/>
                  <a:moveTo>
                    <a:pt x="2684" y="808"/>
                  </a:moveTo>
                  <a:lnTo>
                    <a:pt x="2684" y="808"/>
                  </a:lnTo>
                  <a:lnTo>
                    <a:pt x="2680" y="812"/>
                  </a:lnTo>
                  <a:lnTo>
                    <a:pt x="2678" y="810"/>
                  </a:lnTo>
                  <a:lnTo>
                    <a:pt x="2682" y="802"/>
                  </a:lnTo>
                  <a:lnTo>
                    <a:pt x="2688" y="794"/>
                  </a:lnTo>
                  <a:lnTo>
                    <a:pt x="2690" y="792"/>
                  </a:lnTo>
                  <a:lnTo>
                    <a:pt x="2690" y="790"/>
                  </a:lnTo>
                  <a:lnTo>
                    <a:pt x="2688" y="788"/>
                  </a:lnTo>
                  <a:lnTo>
                    <a:pt x="2684" y="790"/>
                  </a:lnTo>
                  <a:lnTo>
                    <a:pt x="2676" y="794"/>
                  </a:lnTo>
                  <a:lnTo>
                    <a:pt x="2664" y="800"/>
                  </a:lnTo>
                  <a:lnTo>
                    <a:pt x="2658" y="804"/>
                  </a:lnTo>
                  <a:lnTo>
                    <a:pt x="2652" y="806"/>
                  </a:lnTo>
                  <a:lnTo>
                    <a:pt x="2648" y="806"/>
                  </a:lnTo>
                  <a:lnTo>
                    <a:pt x="2646" y="812"/>
                  </a:lnTo>
                  <a:lnTo>
                    <a:pt x="2644" y="814"/>
                  </a:lnTo>
                  <a:lnTo>
                    <a:pt x="2642" y="816"/>
                  </a:lnTo>
                  <a:lnTo>
                    <a:pt x="2636" y="814"/>
                  </a:lnTo>
                  <a:lnTo>
                    <a:pt x="2634" y="814"/>
                  </a:lnTo>
                  <a:lnTo>
                    <a:pt x="2634" y="816"/>
                  </a:lnTo>
                  <a:lnTo>
                    <a:pt x="2636" y="826"/>
                  </a:lnTo>
                  <a:lnTo>
                    <a:pt x="2640" y="832"/>
                  </a:lnTo>
                  <a:lnTo>
                    <a:pt x="2642" y="832"/>
                  </a:lnTo>
                  <a:lnTo>
                    <a:pt x="2656" y="822"/>
                  </a:lnTo>
                  <a:lnTo>
                    <a:pt x="2660" y="820"/>
                  </a:lnTo>
                  <a:lnTo>
                    <a:pt x="2662" y="820"/>
                  </a:lnTo>
                  <a:lnTo>
                    <a:pt x="2664" y="820"/>
                  </a:lnTo>
                  <a:lnTo>
                    <a:pt x="2666" y="822"/>
                  </a:lnTo>
                  <a:lnTo>
                    <a:pt x="2666" y="824"/>
                  </a:lnTo>
                  <a:lnTo>
                    <a:pt x="2668" y="824"/>
                  </a:lnTo>
                  <a:lnTo>
                    <a:pt x="2670" y="824"/>
                  </a:lnTo>
                  <a:lnTo>
                    <a:pt x="2678" y="820"/>
                  </a:lnTo>
                  <a:lnTo>
                    <a:pt x="2684" y="820"/>
                  </a:lnTo>
                  <a:lnTo>
                    <a:pt x="2690" y="820"/>
                  </a:lnTo>
                  <a:lnTo>
                    <a:pt x="2688" y="816"/>
                  </a:lnTo>
                  <a:lnTo>
                    <a:pt x="2688" y="810"/>
                  </a:lnTo>
                  <a:lnTo>
                    <a:pt x="2688" y="806"/>
                  </a:lnTo>
                  <a:lnTo>
                    <a:pt x="2684" y="808"/>
                  </a:lnTo>
                  <a:close/>
                  <a:moveTo>
                    <a:pt x="2600" y="1904"/>
                  </a:moveTo>
                  <a:lnTo>
                    <a:pt x="2600" y="1904"/>
                  </a:lnTo>
                  <a:lnTo>
                    <a:pt x="2596" y="1910"/>
                  </a:lnTo>
                  <a:lnTo>
                    <a:pt x="2592" y="1916"/>
                  </a:lnTo>
                  <a:lnTo>
                    <a:pt x="2586" y="1918"/>
                  </a:lnTo>
                  <a:lnTo>
                    <a:pt x="2580" y="1918"/>
                  </a:lnTo>
                  <a:lnTo>
                    <a:pt x="2574" y="1918"/>
                  </a:lnTo>
                  <a:lnTo>
                    <a:pt x="2566" y="1914"/>
                  </a:lnTo>
                  <a:lnTo>
                    <a:pt x="2548" y="1906"/>
                  </a:lnTo>
                  <a:lnTo>
                    <a:pt x="2540" y="1900"/>
                  </a:lnTo>
                  <a:lnTo>
                    <a:pt x="2534" y="1892"/>
                  </a:lnTo>
                  <a:lnTo>
                    <a:pt x="2530" y="1884"/>
                  </a:lnTo>
                  <a:lnTo>
                    <a:pt x="2528" y="1876"/>
                  </a:lnTo>
                  <a:lnTo>
                    <a:pt x="2522" y="1856"/>
                  </a:lnTo>
                  <a:lnTo>
                    <a:pt x="2518" y="1848"/>
                  </a:lnTo>
                  <a:lnTo>
                    <a:pt x="2514" y="1840"/>
                  </a:lnTo>
                  <a:lnTo>
                    <a:pt x="2508" y="1834"/>
                  </a:lnTo>
                  <a:lnTo>
                    <a:pt x="2504" y="1832"/>
                  </a:lnTo>
                  <a:lnTo>
                    <a:pt x="2504" y="1834"/>
                  </a:lnTo>
                  <a:lnTo>
                    <a:pt x="2504" y="1838"/>
                  </a:lnTo>
                  <a:lnTo>
                    <a:pt x="2506" y="1850"/>
                  </a:lnTo>
                  <a:lnTo>
                    <a:pt x="2512" y="1868"/>
                  </a:lnTo>
                  <a:lnTo>
                    <a:pt x="2514" y="1874"/>
                  </a:lnTo>
                  <a:lnTo>
                    <a:pt x="2512" y="1876"/>
                  </a:lnTo>
                  <a:lnTo>
                    <a:pt x="2506" y="1874"/>
                  </a:lnTo>
                  <a:lnTo>
                    <a:pt x="2498" y="1868"/>
                  </a:lnTo>
                  <a:lnTo>
                    <a:pt x="2490" y="1862"/>
                  </a:lnTo>
                  <a:lnTo>
                    <a:pt x="2484" y="1854"/>
                  </a:lnTo>
                  <a:lnTo>
                    <a:pt x="2482" y="1844"/>
                  </a:lnTo>
                  <a:lnTo>
                    <a:pt x="2482" y="1836"/>
                  </a:lnTo>
                  <a:lnTo>
                    <a:pt x="2482" y="1830"/>
                  </a:lnTo>
                  <a:lnTo>
                    <a:pt x="2482" y="1826"/>
                  </a:lnTo>
                  <a:lnTo>
                    <a:pt x="2478" y="1818"/>
                  </a:lnTo>
                  <a:lnTo>
                    <a:pt x="2474" y="1810"/>
                  </a:lnTo>
                  <a:lnTo>
                    <a:pt x="2472" y="1806"/>
                  </a:lnTo>
                  <a:lnTo>
                    <a:pt x="2472" y="1802"/>
                  </a:lnTo>
                  <a:lnTo>
                    <a:pt x="2472" y="1792"/>
                  </a:lnTo>
                  <a:lnTo>
                    <a:pt x="2470" y="1786"/>
                  </a:lnTo>
                  <a:lnTo>
                    <a:pt x="2466" y="1780"/>
                  </a:lnTo>
                  <a:lnTo>
                    <a:pt x="2462" y="1770"/>
                  </a:lnTo>
                  <a:lnTo>
                    <a:pt x="2454" y="1762"/>
                  </a:lnTo>
                  <a:lnTo>
                    <a:pt x="2448" y="1758"/>
                  </a:lnTo>
                  <a:lnTo>
                    <a:pt x="2440" y="1754"/>
                  </a:lnTo>
                  <a:lnTo>
                    <a:pt x="2428" y="1752"/>
                  </a:lnTo>
                  <a:lnTo>
                    <a:pt x="2424" y="1750"/>
                  </a:lnTo>
                  <a:lnTo>
                    <a:pt x="2422" y="1748"/>
                  </a:lnTo>
                  <a:lnTo>
                    <a:pt x="2418" y="1738"/>
                  </a:lnTo>
                  <a:lnTo>
                    <a:pt x="2412" y="1730"/>
                  </a:lnTo>
                  <a:lnTo>
                    <a:pt x="2408" y="1726"/>
                  </a:lnTo>
                  <a:lnTo>
                    <a:pt x="2402" y="1726"/>
                  </a:lnTo>
                  <a:lnTo>
                    <a:pt x="2394" y="1726"/>
                  </a:lnTo>
                  <a:lnTo>
                    <a:pt x="2394" y="1728"/>
                  </a:lnTo>
                  <a:lnTo>
                    <a:pt x="2394" y="1730"/>
                  </a:lnTo>
                  <a:lnTo>
                    <a:pt x="2400" y="1736"/>
                  </a:lnTo>
                  <a:lnTo>
                    <a:pt x="2410" y="1748"/>
                  </a:lnTo>
                  <a:lnTo>
                    <a:pt x="2414" y="1754"/>
                  </a:lnTo>
                  <a:lnTo>
                    <a:pt x="2416" y="1758"/>
                  </a:lnTo>
                  <a:lnTo>
                    <a:pt x="2416" y="1762"/>
                  </a:lnTo>
                  <a:lnTo>
                    <a:pt x="2416" y="1764"/>
                  </a:lnTo>
                  <a:lnTo>
                    <a:pt x="2414" y="1768"/>
                  </a:lnTo>
                  <a:lnTo>
                    <a:pt x="2420" y="1776"/>
                  </a:lnTo>
                  <a:lnTo>
                    <a:pt x="2426" y="1784"/>
                  </a:lnTo>
                  <a:lnTo>
                    <a:pt x="2430" y="1794"/>
                  </a:lnTo>
                  <a:lnTo>
                    <a:pt x="2440" y="1814"/>
                  </a:lnTo>
                  <a:lnTo>
                    <a:pt x="2444" y="1822"/>
                  </a:lnTo>
                  <a:lnTo>
                    <a:pt x="2448" y="1828"/>
                  </a:lnTo>
                  <a:lnTo>
                    <a:pt x="2452" y="1830"/>
                  </a:lnTo>
                  <a:lnTo>
                    <a:pt x="2454" y="1826"/>
                  </a:lnTo>
                  <a:lnTo>
                    <a:pt x="2456" y="1822"/>
                  </a:lnTo>
                  <a:lnTo>
                    <a:pt x="2460" y="1822"/>
                  </a:lnTo>
                  <a:lnTo>
                    <a:pt x="2464" y="1830"/>
                  </a:lnTo>
                  <a:lnTo>
                    <a:pt x="2466" y="1840"/>
                  </a:lnTo>
                  <a:lnTo>
                    <a:pt x="2466" y="1842"/>
                  </a:lnTo>
                  <a:lnTo>
                    <a:pt x="2464" y="1842"/>
                  </a:lnTo>
                  <a:lnTo>
                    <a:pt x="2458" y="1838"/>
                  </a:lnTo>
                  <a:lnTo>
                    <a:pt x="2458" y="1842"/>
                  </a:lnTo>
                  <a:lnTo>
                    <a:pt x="2474" y="1878"/>
                  </a:lnTo>
                  <a:lnTo>
                    <a:pt x="2480" y="1892"/>
                  </a:lnTo>
                  <a:lnTo>
                    <a:pt x="2482" y="1902"/>
                  </a:lnTo>
                  <a:lnTo>
                    <a:pt x="2482" y="1910"/>
                  </a:lnTo>
                  <a:lnTo>
                    <a:pt x="2482" y="1916"/>
                  </a:lnTo>
                  <a:lnTo>
                    <a:pt x="2478" y="1928"/>
                  </a:lnTo>
                  <a:lnTo>
                    <a:pt x="2476" y="1936"/>
                  </a:lnTo>
                  <a:lnTo>
                    <a:pt x="2476" y="1946"/>
                  </a:lnTo>
                  <a:lnTo>
                    <a:pt x="2476" y="1954"/>
                  </a:lnTo>
                  <a:lnTo>
                    <a:pt x="2472" y="1962"/>
                  </a:lnTo>
                  <a:lnTo>
                    <a:pt x="2466" y="1968"/>
                  </a:lnTo>
                  <a:lnTo>
                    <a:pt x="2460" y="1972"/>
                  </a:lnTo>
                  <a:lnTo>
                    <a:pt x="2446" y="1980"/>
                  </a:lnTo>
                  <a:lnTo>
                    <a:pt x="2442" y="1984"/>
                  </a:lnTo>
                  <a:lnTo>
                    <a:pt x="2440" y="1988"/>
                  </a:lnTo>
                  <a:lnTo>
                    <a:pt x="2440" y="1994"/>
                  </a:lnTo>
                  <a:lnTo>
                    <a:pt x="2444" y="2000"/>
                  </a:lnTo>
                  <a:lnTo>
                    <a:pt x="2456" y="2010"/>
                  </a:lnTo>
                  <a:lnTo>
                    <a:pt x="2474" y="2020"/>
                  </a:lnTo>
                  <a:lnTo>
                    <a:pt x="2488" y="2028"/>
                  </a:lnTo>
                  <a:lnTo>
                    <a:pt x="2494" y="2032"/>
                  </a:lnTo>
                  <a:lnTo>
                    <a:pt x="2496" y="2040"/>
                  </a:lnTo>
                  <a:lnTo>
                    <a:pt x="2498" y="2048"/>
                  </a:lnTo>
                  <a:lnTo>
                    <a:pt x="2496" y="2058"/>
                  </a:lnTo>
                  <a:lnTo>
                    <a:pt x="2492" y="2076"/>
                  </a:lnTo>
                  <a:lnTo>
                    <a:pt x="2488" y="2082"/>
                  </a:lnTo>
                  <a:lnTo>
                    <a:pt x="2484" y="2088"/>
                  </a:lnTo>
                  <a:lnTo>
                    <a:pt x="2478" y="2092"/>
                  </a:lnTo>
                  <a:lnTo>
                    <a:pt x="2474" y="2098"/>
                  </a:lnTo>
                  <a:lnTo>
                    <a:pt x="2474" y="2100"/>
                  </a:lnTo>
                  <a:lnTo>
                    <a:pt x="2476" y="2100"/>
                  </a:lnTo>
                  <a:lnTo>
                    <a:pt x="2488" y="2106"/>
                  </a:lnTo>
                  <a:lnTo>
                    <a:pt x="2492" y="2108"/>
                  </a:lnTo>
                  <a:lnTo>
                    <a:pt x="2494" y="2110"/>
                  </a:lnTo>
                  <a:lnTo>
                    <a:pt x="2498" y="2116"/>
                  </a:lnTo>
                  <a:lnTo>
                    <a:pt x="2498" y="2120"/>
                  </a:lnTo>
                  <a:lnTo>
                    <a:pt x="2502" y="2120"/>
                  </a:lnTo>
                  <a:lnTo>
                    <a:pt x="2506" y="2118"/>
                  </a:lnTo>
                  <a:lnTo>
                    <a:pt x="2512" y="2114"/>
                  </a:lnTo>
                  <a:lnTo>
                    <a:pt x="2520" y="2108"/>
                  </a:lnTo>
                  <a:lnTo>
                    <a:pt x="2530" y="2094"/>
                  </a:lnTo>
                  <a:lnTo>
                    <a:pt x="2552" y="2062"/>
                  </a:lnTo>
                  <a:lnTo>
                    <a:pt x="2560" y="2044"/>
                  </a:lnTo>
                  <a:lnTo>
                    <a:pt x="2568" y="2028"/>
                  </a:lnTo>
                  <a:lnTo>
                    <a:pt x="2570" y="2016"/>
                  </a:lnTo>
                  <a:lnTo>
                    <a:pt x="2570" y="2010"/>
                  </a:lnTo>
                  <a:lnTo>
                    <a:pt x="2568" y="2006"/>
                  </a:lnTo>
                  <a:lnTo>
                    <a:pt x="2566" y="2002"/>
                  </a:lnTo>
                  <a:lnTo>
                    <a:pt x="2568" y="1998"/>
                  </a:lnTo>
                  <a:lnTo>
                    <a:pt x="2570" y="1992"/>
                  </a:lnTo>
                  <a:lnTo>
                    <a:pt x="2574" y="1986"/>
                  </a:lnTo>
                  <a:lnTo>
                    <a:pt x="2580" y="1982"/>
                  </a:lnTo>
                  <a:lnTo>
                    <a:pt x="2586" y="1980"/>
                  </a:lnTo>
                  <a:lnTo>
                    <a:pt x="2594" y="1982"/>
                  </a:lnTo>
                  <a:lnTo>
                    <a:pt x="2602" y="1986"/>
                  </a:lnTo>
                  <a:lnTo>
                    <a:pt x="2608" y="1990"/>
                  </a:lnTo>
                  <a:lnTo>
                    <a:pt x="2610" y="1990"/>
                  </a:lnTo>
                  <a:lnTo>
                    <a:pt x="2612" y="1988"/>
                  </a:lnTo>
                  <a:lnTo>
                    <a:pt x="2612" y="1984"/>
                  </a:lnTo>
                  <a:lnTo>
                    <a:pt x="2610" y="1978"/>
                  </a:lnTo>
                  <a:lnTo>
                    <a:pt x="2608" y="1970"/>
                  </a:lnTo>
                  <a:lnTo>
                    <a:pt x="2608" y="1964"/>
                  </a:lnTo>
                  <a:lnTo>
                    <a:pt x="2610" y="1958"/>
                  </a:lnTo>
                  <a:lnTo>
                    <a:pt x="2612" y="1956"/>
                  </a:lnTo>
                  <a:lnTo>
                    <a:pt x="2614" y="1954"/>
                  </a:lnTo>
                  <a:lnTo>
                    <a:pt x="2620" y="1952"/>
                  </a:lnTo>
                  <a:lnTo>
                    <a:pt x="2624" y="1948"/>
                  </a:lnTo>
                  <a:lnTo>
                    <a:pt x="2626" y="1942"/>
                  </a:lnTo>
                  <a:lnTo>
                    <a:pt x="2626" y="1934"/>
                  </a:lnTo>
                  <a:lnTo>
                    <a:pt x="2628" y="1920"/>
                  </a:lnTo>
                  <a:lnTo>
                    <a:pt x="2628" y="1912"/>
                  </a:lnTo>
                  <a:lnTo>
                    <a:pt x="2630" y="1908"/>
                  </a:lnTo>
                  <a:lnTo>
                    <a:pt x="2632" y="1904"/>
                  </a:lnTo>
                  <a:lnTo>
                    <a:pt x="2630" y="1900"/>
                  </a:lnTo>
                  <a:lnTo>
                    <a:pt x="2626" y="1896"/>
                  </a:lnTo>
                  <a:lnTo>
                    <a:pt x="2620" y="1894"/>
                  </a:lnTo>
                  <a:lnTo>
                    <a:pt x="2614" y="1894"/>
                  </a:lnTo>
                  <a:lnTo>
                    <a:pt x="2608" y="1896"/>
                  </a:lnTo>
                  <a:lnTo>
                    <a:pt x="2604" y="1900"/>
                  </a:lnTo>
                  <a:lnTo>
                    <a:pt x="2600" y="1904"/>
                  </a:lnTo>
                  <a:close/>
                  <a:moveTo>
                    <a:pt x="2636" y="868"/>
                  </a:moveTo>
                  <a:lnTo>
                    <a:pt x="2636" y="868"/>
                  </a:lnTo>
                  <a:lnTo>
                    <a:pt x="2636" y="864"/>
                  </a:lnTo>
                  <a:lnTo>
                    <a:pt x="2634" y="860"/>
                  </a:lnTo>
                  <a:lnTo>
                    <a:pt x="2630" y="856"/>
                  </a:lnTo>
                  <a:lnTo>
                    <a:pt x="2626" y="854"/>
                  </a:lnTo>
                  <a:lnTo>
                    <a:pt x="2616" y="850"/>
                  </a:lnTo>
                  <a:lnTo>
                    <a:pt x="2606" y="852"/>
                  </a:lnTo>
                  <a:lnTo>
                    <a:pt x="2596" y="858"/>
                  </a:lnTo>
                  <a:lnTo>
                    <a:pt x="2588" y="864"/>
                  </a:lnTo>
                  <a:lnTo>
                    <a:pt x="2582" y="870"/>
                  </a:lnTo>
                  <a:lnTo>
                    <a:pt x="2580" y="876"/>
                  </a:lnTo>
                  <a:lnTo>
                    <a:pt x="2580" y="880"/>
                  </a:lnTo>
                  <a:lnTo>
                    <a:pt x="2580" y="882"/>
                  </a:lnTo>
                  <a:lnTo>
                    <a:pt x="2582" y="886"/>
                  </a:lnTo>
                  <a:lnTo>
                    <a:pt x="2586" y="888"/>
                  </a:lnTo>
                  <a:lnTo>
                    <a:pt x="2600" y="892"/>
                  </a:lnTo>
                  <a:lnTo>
                    <a:pt x="2610" y="896"/>
                  </a:lnTo>
                  <a:lnTo>
                    <a:pt x="2616" y="894"/>
                  </a:lnTo>
                  <a:lnTo>
                    <a:pt x="2620" y="890"/>
                  </a:lnTo>
                  <a:lnTo>
                    <a:pt x="2624" y="888"/>
                  </a:lnTo>
                  <a:lnTo>
                    <a:pt x="2626" y="886"/>
                  </a:lnTo>
                  <a:lnTo>
                    <a:pt x="2630" y="888"/>
                  </a:lnTo>
                  <a:lnTo>
                    <a:pt x="2636" y="890"/>
                  </a:lnTo>
                  <a:lnTo>
                    <a:pt x="2638" y="890"/>
                  </a:lnTo>
                  <a:lnTo>
                    <a:pt x="2640" y="888"/>
                  </a:lnTo>
                  <a:lnTo>
                    <a:pt x="2642" y="886"/>
                  </a:lnTo>
                  <a:lnTo>
                    <a:pt x="2640" y="882"/>
                  </a:lnTo>
                  <a:lnTo>
                    <a:pt x="2636" y="876"/>
                  </a:lnTo>
                  <a:lnTo>
                    <a:pt x="2636" y="872"/>
                  </a:lnTo>
                  <a:lnTo>
                    <a:pt x="2636" y="868"/>
                  </a:lnTo>
                  <a:close/>
                  <a:moveTo>
                    <a:pt x="2260" y="930"/>
                  </a:moveTo>
                  <a:lnTo>
                    <a:pt x="2260" y="930"/>
                  </a:lnTo>
                  <a:lnTo>
                    <a:pt x="2260" y="928"/>
                  </a:lnTo>
                  <a:lnTo>
                    <a:pt x="2262" y="924"/>
                  </a:lnTo>
                  <a:lnTo>
                    <a:pt x="2258" y="918"/>
                  </a:lnTo>
                  <a:lnTo>
                    <a:pt x="2254" y="912"/>
                  </a:lnTo>
                  <a:lnTo>
                    <a:pt x="2252" y="912"/>
                  </a:lnTo>
                  <a:lnTo>
                    <a:pt x="2248" y="914"/>
                  </a:lnTo>
                  <a:lnTo>
                    <a:pt x="2248" y="918"/>
                  </a:lnTo>
                  <a:lnTo>
                    <a:pt x="2248" y="920"/>
                  </a:lnTo>
                  <a:lnTo>
                    <a:pt x="2250" y="926"/>
                  </a:lnTo>
                  <a:lnTo>
                    <a:pt x="2256" y="930"/>
                  </a:lnTo>
                  <a:lnTo>
                    <a:pt x="2258" y="930"/>
                  </a:lnTo>
                  <a:lnTo>
                    <a:pt x="2260" y="930"/>
                  </a:lnTo>
                  <a:close/>
                  <a:moveTo>
                    <a:pt x="2258" y="948"/>
                  </a:moveTo>
                  <a:lnTo>
                    <a:pt x="2258" y="948"/>
                  </a:lnTo>
                  <a:lnTo>
                    <a:pt x="2256" y="950"/>
                  </a:lnTo>
                  <a:lnTo>
                    <a:pt x="2256" y="954"/>
                  </a:lnTo>
                  <a:lnTo>
                    <a:pt x="2258" y="960"/>
                  </a:lnTo>
                  <a:lnTo>
                    <a:pt x="2262" y="964"/>
                  </a:lnTo>
                  <a:lnTo>
                    <a:pt x="2266" y="966"/>
                  </a:lnTo>
                  <a:lnTo>
                    <a:pt x="2268" y="964"/>
                  </a:lnTo>
                  <a:lnTo>
                    <a:pt x="2268" y="962"/>
                  </a:lnTo>
                  <a:lnTo>
                    <a:pt x="2266" y="954"/>
                  </a:lnTo>
                  <a:lnTo>
                    <a:pt x="2262" y="948"/>
                  </a:lnTo>
                  <a:lnTo>
                    <a:pt x="2260" y="948"/>
                  </a:lnTo>
                  <a:lnTo>
                    <a:pt x="2258" y="948"/>
                  </a:lnTo>
                  <a:close/>
                  <a:moveTo>
                    <a:pt x="1490" y="460"/>
                  </a:moveTo>
                  <a:lnTo>
                    <a:pt x="1490" y="460"/>
                  </a:lnTo>
                  <a:lnTo>
                    <a:pt x="1492" y="462"/>
                  </a:lnTo>
                  <a:lnTo>
                    <a:pt x="1494" y="464"/>
                  </a:lnTo>
                  <a:lnTo>
                    <a:pt x="1496" y="462"/>
                  </a:lnTo>
                  <a:lnTo>
                    <a:pt x="1496" y="460"/>
                  </a:lnTo>
                  <a:lnTo>
                    <a:pt x="1496" y="454"/>
                  </a:lnTo>
                  <a:lnTo>
                    <a:pt x="1494" y="448"/>
                  </a:lnTo>
                  <a:lnTo>
                    <a:pt x="1490" y="446"/>
                  </a:lnTo>
                  <a:lnTo>
                    <a:pt x="1486" y="448"/>
                  </a:lnTo>
                  <a:lnTo>
                    <a:pt x="1486" y="452"/>
                  </a:lnTo>
                  <a:lnTo>
                    <a:pt x="1490" y="460"/>
                  </a:lnTo>
                  <a:close/>
                  <a:moveTo>
                    <a:pt x="1532" y="492"/>
                  </a:moveTo>
                  <a:lnTo>
                    <a:pt x="1532" y="492"/>
                  </a:lnTo>
                  <a:lnTo>
                    <a:pt x="1534" y="486"/>
                  </a:lnTo>
                  <a:lnTo>
                    <a:pt x="1534" y="482"/>
                  </a:lnTo>
                  <a:lnTo>
                    <a:pt x="1532" y="482"/>
                  </a:lnTo>
                  <a:lnTo>
                    <a:pt x="1530" y="482"/>
                  </a:lnTo>
                  <a:lnTo>
                    <a:pt x="1528" y="484"/>
                  </a:lnTo>
                  <a:lnTo>
                    <a:pt x="1526" y="484"/>
                  </a:lnTo>
                  <a:lnTo>
                    <a:pt x="1522" y="480"/>
                  </a:lnTo>
                  <a:lnTo>
                    <a:pt x="1518" y="478"/>
                  </a:lnTo>
                  <a:lnTo>
                    <a:pt x="1516" y="478"/>
                  </a:lnTo>
                  <a:lnTo>
                    <a:pt x="1518" y="486"/>
                  </a:lnTo>
                  <a:lnTo>
                    <a:pt x="1522" y="492"/>
                  </a:lnTo>
                  <a:lnTo>
                    <a:pt x="1528" y="496"/>
                  </a:lnTo>
                  <a:lnTo>
                    <a:pt x="1532" y="496"/>
                  </a:lnTo>
                  <a:lnTo>
                    <a:pt x="1532" y="492"/>
                  </a:lnTo>
                  <a:close/>
                  <a:moveTo>
                    <a:pt x="1520" y="466"/>
                  </a:moveTo>
                  <a:lnTo>
                    <a:pt x="1520" y="466"/>
                  </a:lnTo>
                  <a:lnTo>
                    <a:pt x="1516" y="458"/>
                  </a:lnTo>
                  <a:lnTo>
                    <a:pt x="1512" y="454"/>
                  </a:lnTo>
                  <a:lnTo>
                    <a:pt x="1508" y="454"/>
                  </a:lnTo>
                  <a:lnTo>
                    <a:pt x="1506" y="454"/>
                  </a:lnTo>
                  <a:lnTo>
                    <a:pt x="1504" y="456"/>
                  </a:lnTo>
                  <a:lnTo>
                    <a:pt x="1502" y="460"/>
                  </a:lnTo>
                  <a:lnTo>
                    <a:pt x="1500" y="468"/>
                  </a:lnTo>
                  <a:lnTo>
                    <a:pt x="1500" y="470"/>
                  </a:lnTo>
                  <a:lnTo>
                    <a:pt x="1504" y="470"/>
                  </a:lnTo>
                  <a:lnTo>
                    <a:pt x="1514" y="472"/>
                  </a:lnTo>
                  <a:lnTo>
                    <a:pt x="1518" y="470"/>
                  </a:lnTo>
                  <a:lnTo>
                    <a:pt x="1520" y="466"/>
                  </a:lnTo>
                  <a:close/>
                  <a:moveTo>
                    <a:pt x="1400" y="268"/>
                  </a:moveTo>
                  <a:lnTo>
                    <a:pt x="1400" y="268"/>
                  </a:lnTo>
                  <a:lnTo>
                    <a:pt x="1394" y="264"/>
                  </a:lnTo>
                  <a:lnTo>
                    <a:pt x="1392" y="264"/>
                  </a:lnTo>
                  <a:lnTo>
                    <a:pt x="1390" y="266"/>
                  </a:lnTo>
                  <a:lnTo>
                    <a:pt x="1392" y="272"/>
                  </a:lnTo>
                  <a:lnTo>
                    <a:pt x="1396" y="280"/>
                  </a:lnTo>
                  <a:lnTo>
                    <a:pt x="1398" y="282"/>
                  </a:lnTo>
                  <a:lnTo>
                    <a:pt x="1400" y="284"/>
                  </a:lnTo>
                  <a:lnTo>
                    <a:pt x="1402" y="282"/>
                  </a:lnTo>
                  <a:lnTo>
                    <a:pt x="1404" y="280"/>
                  </a:lnTo>
                  <a:lnTo>
                    <a:pt x="1404" y="274"/>
                  </a:lnTo>
                  <a:lnTo>
                    <a:pt x="1402" y="272"/>
                  </a:lnTo>
                  <a:lnTo>
                    <a:pt x="1400" y="268"/>
                  </a:lnTo>
                  <a:close/>
                  <a:moveTo>
                    <a:pt x="1360" y="254"/>
                  </a:moveTo>
                  <a:lnTo>
                    <a:pt x="1360" y="254"/>
                  </a:lnTo>
                  <a:lnTo>
                    <a:pt x="1360" y="256"/>
                  </a:lnTo>
                  <a:lnTo>
                    <a:pt x="1360" y="260"/>
                  </a:lnTo>
                  <a:lnTo>
                    <a:pt x="1362" y="264"/>
                  </a:lnTo>
                  <a:lnTo>
                    <a:pt x="1368" y="266"/>
                  </a:lnTo>
                  <a:lnTo>
                    <a:pt x="1372" y="264"/>
                  </a:lnTo>
                  <a:lnTo>
                    <a:pt x="1372" y="262"/>
                  </a:lnTo>
                  <a:lnTo>
                    <a:pt x="1372" y="260"/>
                  </a:lnTo>
                  <a:lnTo>
                    <a:pt x="1370" y="254"/>
                  </a:lnTo>
                  <a:lnTo>
                    <a:pt x="1366" y="252"/>
                  </a:lnTo>
                  <a:lnTo>
                    <a:pt x="1364" y="252"/>
                  </a:lnTo>
                  <a:lnTo>
                    <a:pt x="1360" y="254"/>
                  </a:lnTo>
                  <a:close/>
                  <a:moveTo>
                    <a:pt x="1320" y="218"/>
                  </a:moveTo>
                  <a:lnTo>
                    <a:pt x="1320" y="218"/>
                  </a:lnTo>
                  <a:lnTo>
                    <a:pt x="1318" y="216"/>
                  </a:lnTo>
                  <a:lnTo>
                    <a:pt x="1316" y="218"/>
                  </a:lnTo>
                  <a:lnTo>
                    <a:pt x="1314" y="220"/>
                  </a:lnTo>
                  <a:lnTo>
                    <a:pt x="1314" y="226"/>
                  </a:lnTo>
                  <a:lnTo>
                    <a:pt x="1316" y="232"/>
                  </a:lnTo>
                  <a:lnTo>
                    <a:pt x="1318" y="232"/>
                  </a:lnTo>
                  <a:lnTo>
                    <a:pt x="1320" y="232"/>
                  </a:lnTo>
                  <a:lnTo>
                    <a:pt x="1324" y="228"/>
                  </a:lnTo>
                  <a:lnTo>
                    <a:pt x="1324" y="224"/>
                  </a:lnTo>
                  <a:lnTo>
                    <a:pt x="1324" y="220"/>
                  </a:lnTo>
                  <a:lnTo>
                    <a:pt x="1320" y="218"/>
                  </a:lnTo>
                  <a:close/>
                  <a:moveTo>
                    <a:pt x="1360" y="106"/>
                  </a:moveTo>
                  <a:lnTo>
                    <a:pt x="1360" y="106"/>
                  </a:lnTo>
                  <a:lnTo>
                    <a:pt x="1370" y="106"/>
                  </a:lnTo>
                  <a:lnTo>
                    <a:pt x="1376" y="102"/>
                  </a:lnTo>
                  <a:lnTo>
                    <a:pt x="1376" y="100"/>
                  </a:lnTo>
                  <a:lnTo>
                    <a:pt x="1376" y="98"/>
                  </a:lnTo>
                  <a:lnTo>
                    <a:pt x="1374" y="98"/>
                  </a:lnTo>
                  <a:lnTo>
                    <a:pt x="1370" y="96"/>
                  </a:lnTo>
                  <a:lnTo>
                    <a:pt x="1362" y="94"/>
                  </a:lnTo>
                  <a:lnTo>
                    <a:pt x="1352" y="94"/>
                  </a:lnTo>
                  <a:lnTo>
                    <a:pt x="1344" y="96"/>
                  </a:lnTo>
                  <a:lnTo>
                    <a:pt x="1342" y="100"/>
                  </a:lnTo>
                  <a:lnTo>
                    <a:pt x="1340" y="102"/>
                  </a:lnTo>
                  <a:lnTo>
                    <a:pt x="1340" y="108"/>
                  </a:lnTo>
                  <a:lnTo>
                    <a:pt x="1344" y="108"/>
                  </a:lnTo>
                  <a:lnTo>
                    <a:pt x="1352" y="108"/>
                  </a:lnTo>
                  <a:lnTo>
                    <a:pt x="1360" y="106"/>
                  </a:lnTo>
                  <a:close/>
                  <a:moveTo>
                    <a:pt x="918" y="88"/>
                  </a:moveTo>
                  <a:lnTo>
                    <a:pt x="918" y="88"/>
                  </a:lnTo>
                  <a:lnTo>
                    <a:pt x="922" y="90"/>
                  </a:lnTo>
                  <a:lnTo>
                    <a:pt x="926" y="92"/>
                  </a:lnTo>
                  <a:lnTo>
                    <a:pt x="948" y="88"/>
                  </a:lnTo>
                  <a:lnTo>
                    <a:pt x="958" y="84"/>
                  </a:lnTo>
                  <a:lnTo>
                    <a:pt x="954" y="82"/>
                  </a:lnTo>
                  <a:lnTo>
                    <a:pt x="920" y="78"/>
                  </a:lnTo>
                  <a:lnTo>
                    <a:pt x="906" y="76"/>
                  </a:lnTo>
                  <a:lnTo>
                    <a:pt x="902" y="78"/>
                  </a:lnTo>
                  <a:lnTo>
                    <a:pt x="908" y="80"/>
                  </a:lnTo>
                  <a:lnTo>
                    <a:pt x="918" y="88"/>
                  </a:lnTo>
                  <a:close/>
                  <a:moveTo>
                    <a:pt x="910" y="44"/>
                  </a:moveTo>
                  <a:lnTo>
                    <a:pt x="910" y="44"/>
                  </a:lnTo>
                  <a:lnTo>
                    <a:pt x="912" y="46"/>
                  </a:lnTo>
                  <a:lnTo>
                    <a:pt x="914" y="48"/>
                  </a:lnTo>
                  <a:lnTo>
                    <a:pt x="914" y="54"/>
                  </a:lnTo>
                  <a:lnTo>
                    <a:pt x="916" y="56"/>
                  </a:lnTo>
                  <a:lnTo>
                    <a:pt x="918" y="56"/>
                  </a:lnTo>
                  <a:lnTo>
                    <a:pt x="922" y="58"/>
                  </a:lnTo>
                  <a:lnTo>
                    <a:pt x="930" y="56"/>
                  </a:lnTo>
                  <a:lnTo>
                    <a:pt x="936" y="54"/>
                  </a:lnTo>
                  <a:lnTo>
                    <a:pt x="938" y="52"/>
                  </a:lnTo>
                  <a:lnTo>
                    <a:pt x="936" y="50"/>
                  </a:lnTo>
                  <a:lnTo>
                    <a:pt x="928" y="46"/>
                  </a:lnTo>
                  <a:lnTo>
                    <a:pt x="924" y="44"/>
                  </a:lnTo>
                  <a:lnTo>
                    <a:pt x="920" y="38"/>
                  </a:lnTo>
                  <a:lnTo>
                    <a:pt x="916" y="34"/>
                  </a:lnTo>
                  <a:lnTo>
                    <a:pt x="906" y="30"/>
                  </a:lnTo>
                  <a:lnTo>
                    <a:pt x="896" y="30"/>
                  </a:lnTo>
                  <a:lnTo>
                    <a:pt x="894" y="30"/>
                  </a:lnTo>
                  <a:lnTo>
                    <a:pt x="896" y="32"/>
                  </a:lnTo>
                  <a:lnTo>
                    <a:pt x="902" y="38"/>
                  </a:lnTo>
                  <a:lnTo>
                    <a:pt x="910" y="44"/>
                  </a:lnTo>
                  <a:close/>
                  <a:moveTo>
                    <a:pt x="868" y="284"/>
                  </a:moveTo>
                  <a:lnTo>
                    <a:pt x="868" y="284"/>
                  </a:lnTo>
                  <a:lnTo>
                    <a:pt x="866" y="272"/>
                  </a:lnTo>
                  <a:lnTo>
                    <a:pt x="862" y="266"/>
                  </a:lnTo>
                  <a:lnTo>
                    <a:pt x="860" y="264"/>
                  </a:lnTo>
                  <a:lnTo>
                    <a:pt x="858" y="264"/>
                  </a:lnTo>
                  <a:lnTo>
                    <a:pt x="856" y="270"/>
                  </a:lnTo>
                  <a:lnTo>
                    <a:pt x="852" y="276"/>
                  </a:lnTo>
                  <a:lnTo>
                    <a:pt x="850" y="276"/>
                  </a:lnTo>
                  <a:lnTo>
                    <a:pt x="848" y="276"/>
                  </a:lnTo>
                  <a:lnTo>
                    <a:pt x="846" y="278"/>
                  </a:lnTo>
                  <a:lnTo>
                    <a:pt x="848" y="280"/>
                  </a:lnTo>
                  <a:lnTo>
                    <a:pt x="848" y="282"/>
                  </a:lnTo>
                  <a:lnTo>
                    <a:pt x="850" y="284"/>
                  </a:lnTo>
                  <a:lnTo>
                    <a:pt x="850" y="288"/>
                  </a:lnTo>
                  <a:lnTo>
                    <a:pt x="850" y="296"/>
                  </a:lnTo>
                  <a:lnTo>
                    <a:pt x="852" y="300"/>
                  </a:lnTo>
                  <a:lnTo>
                    <a:pt x="860" y="308"/>
                  </a:lnTo>
                  <a:lnTo>
                    <a:pt x="864" y="310"/>
                  </a:lnTo>
                  <a:lnTo>
                    <a:pt x="866" y="306"/>
                  </a:lnTo>
                  <a:lnTo>
                    <a:pt x="868" y="298"/>
                  </a:lnTo>
                  <a:lnTo>
                    <a:pt x="868" y="284"/>
                  </a:lnTo>
                  <a:close/>
                  <a:moveTo>
                    <a:pt x="852" y="306"/>
                  </a:moveTo>
                  <a:lnTo>
                    <a:pt x="852" y="306"/>
                  </a:lnTo>
                  <a:lnTo>
                    <a:pt x="848" y="302"/>
                  </a:lnTo>
                  <a:lnTo>
                    <a:pt x="846" y="298"/>
                  </a:lnTo>
                  <a:lnTo>
                    <a:pt x="844" y="296"/>
                  </a:lnTo>
                  <a:lnTo>
                    <a:pt x="844" y="302"/>
                  </a:lnTo>
                  <a:lnTo>
                    <a:pt x="846" y="304"/>
                  </a:lnTo>
                  <a:lnTo>
                    <a:pt x="852" y="310"/>
                  </a:lnTo>
                  <a:lnTo>
                    <a:pt x="858" y="318"/>
                  </a:lnTo>
                  <a:lnTo>
                    <a:pt x="858" y="314"/>
                  </a:lnTo>
                  <a:lnTo>
                    <a:pt x="856" y="310"/>
                  </a:lnTo>
                  <a:lnTo>
                    <a:pt x="852" y="306"/>
                  </a:lnTo>
                  <a:close/>
                  <a:moveTo>
                    <a:pt x="1028" y="396"/>
                  </a:moveTo>
                  <a:lnTo>
                    <a:pt x="1028" y="396"/>
                  </a:lnTo>
                  <a:lnTo>
                    <a:pt x="1032" y="394"/>
                  </a:lnTo>
                  <a:lnTo>
                    <a:pt x="1032" y="392"/>
                  </a:lnTo>
                  <a:lnTo>
                    <a:pt x="1036" y="380"/>
                  </a:lnTo>
                  <a:lnTo>
                    <a:pt x="1040" y="372"/>
                  </a:lnTo>
                  <a:lnTo>
                    <a:pt x="1040" y="370"/>
                  </a:lnTo>
                  <a:lnTo>
                    <a:pt x="1036" y="368"/>
                  </a:lnTo>
                  <a:lnTo>
                    <a:pt x="1034" y="366"/>
                  </a:lnTo>
                  <a:lnTo>
                    <a:pt x="1032" y="364"/>
                  </a:lnTo>
                  <a:lnTo>
                    <a:pt x="1032" y="362"/>
                  </a:lnTo>
                  <a:lnTo>
                    <a:pt x="1028" y="360"/>
                  </a:lnTo>
                  <a:lnTo>
                    <a:pt x="1024" y="358"/>
                  </a:lnTo>
                  <a:lnTo>
                    <a:pt x="1018" y="360"/>
                  </a:lnTo>
                  <a:lnTo>
                    <a:pt x="1008" y="366"/>
                  </a:lnTo>
                  <a:lnTo>
                    <a:pt x="998" y="374"/>
                  </a:lnTo>
                  <a:lnTo>
                    <a:pt x="994" y="378"/>
                  </a:lnTo>
                  <a:lnTo>
                    <a:pt x="994" y="384"/>
                  </a:lnTo>
                  <a:lnTo>
                    <a:pt x="992" y="388"/>
                  </a:lnTo>
                  <a:lnTo>
                    <a:pt x="988" y="396"/>
                  </a:lnTo>
                  <a:lnTo>
                    <a:pt x="984" y="402"/>
                  </a:lnTo>
                  <a:lnTo>
                    <a:pt x="984" y="408"/>
                  </a:lnTo>
                  <a:lnTo>
                    <a:pt x="984" y="410"/>
                  </a:lnTo>
                  <a:lnTo>
                    <a:pt x="984" y="412"/>
                  </a:lnTo>
                  <a:lnTo>
                    <a:pt x="988" y="410"/>
                  </a:lnTo>
                  <a:lnTo>
                    <a:pt x="996" y="408"/>
                  </a:lnTo>
                  <a:lnTo>
                    <a:pt x="1000" y="408"/>
                  </a:lnTo>
                  <a:lnTo>
                    <a:pt x="1006" y="410"/>
                  </a:lnTo>
                  <a:lnTo>
                    <a:pt x="1012" y="410"/>
                  </a:lnTo>
                  <a:lnTo>
                    <a:pt x="1016" y="410"/>
                  </a:lnTo>
                  <a:lnTo>
                    <a:pt x="1020" y="406"/>
                  </a:lnTo>
                  <a:lnTo>
                    <a:pt x="1024" y="400"/>
                  </a:lnTo>
                  <a:lnTo>
                    <a:pt x="1028" y="396"/>
                  </a:lnTo>
                  <a:close/>
                  <a:moveTo>
                    <a:pt x="1032" y="410"/>
                  </a:moveTo>
                  <a:lnTo>
                    <a:pt x="1032" y="410"/>
                  </a:lnTo>
                  <a:lnTo>
                    <a:pt x="1036" y="410"/>
                  </a:lnTo>
                  <a:lnTo>
                    <a:pt x="1036" y="406"/>
                  </a:lnTo>
                  <a:lnTo>
                    <a:pt x="1034" y="402"/>
                  </a:lnTo>
                  <a:lnTo>
                    <a:pt x="1032" y="400"/>
                  </a:lnTo>
                  <a:lnTo>
                    <a:pt x="1032" y="398"/>
                  </a:lnTo>
                  <a:lnTo>
                    <a:pt x="1030" y="398"/>
                  </a:lnTo>
                  <a:lnTo>
                    <a:pt x="1026" y="400"/>
                  </a:lnTo>
                  <a:lnTo>
                    <a:pt x="1024" y="404"/>
                  </a:lnTo>
                  <a:lnTo>
                    <a:pt x="1024" y="408"/>
                  </a:lnTo>
                  <a:lnTo>
                    <a:pt x="1024" y="410"/>
                  </a:lnTo>
                  <a:lnTo>
                    <a:pt x="1032" y="410"/>
                  </a:lnTo>
                  <a:close/>
                  <a:moveTo>
                    <a:pt x="1044" y="820"/>
                  </a:moveTo>
                  <a:lnTo>
                    <a:pt x="1044" y="820"/>
                  </a:lnTo>
                  <a:lnTo>
                    <a:pt x="1046" y="820"/>
                  </a:lnTo>
                  <a:lnTo>
                    <a:pt x="1050" y="820"/>
                  </a:lnTo>
                  <a:lnTo>
                    <a:pt x="1054" y="816"/>
                  </a:lnTo>
                  <a:lnTo>
                    <a:pt x="1056" y="812"/>
                  </a:lnTo>
                  <a:lnTo>
                    <a:pt x="1060" y="812"/>
                  </a:lnTo>
                  <a:lnTo>
                    <a:pt x="1064" y="810"/>
                  </a:lnTo>
                  <a:lnTo>
                    <a:pt x="1068" y="808"/>
                  </a:lnTo>
                  <a:lnTo>
                    <a:pt x="1068" y="806"/>
                  </a:lnTo>
                  <a:lnTo>
                    <a:pt x="1066" y="804"/>
                  </a:lnTo>
                  <a:lnTo>
                    <a:pt x="1064" y="802"/>
                  </a:lnTo>
                  <a:lnTo>
                    <a:pt x="1060" y="804"/>
                  </a:lnTo>
                  <a:lnTo>
                    <a:pt x="1052" y="808"/>
                  </a:lnTo>
                  <a:lnTo>
                    <a:pt x="1046" y="814"/>
                  </a:lnTo>
                  <a:lnTo>
                    <a:pt x="1044" y="818"/>
                  </a:lnTo>
                  <a:lnTo>
                    <a:pt x="1044" y="820"/>
                  </a:lnTo>
                  <a:close/>
                  <a:moveTo>
                    <a:pt x="844" y="336"/>
                  </a:moveTo>
                  <a:lnTo>
                    <a:pt x="844" y="336"/>
                  </a:lnTo>
                  <a:lnTo>
                    <a:pt x="852" y="332"/>
                  </a:lnTo>
                  <a:lnTo>
                    <a:pt x="856" y="326"/>
                  </a:lnTo>
                  <a:lnTo>
                    <a:pt x="854" y="320"/>
                  </a:lnTo>
                  <a:lnTo>
                    <a:pt x="850" y="312"/>
                  </a:lnTo>
                  <a:lnTo>
                    <a:pt x="846" y="306"/>
                  </a:lnTo>
                  <a:lnTo>
                    <a:pt x="842" y="306"/>
                  </a:lnTo>
                  <a:lnTo>
                    <a:pt x="840" y="310"/>
                  </a:lnTo>
                  <a:lnTo>
                    <a:pt x="840" y="316"/>
                  </a:lnTo>
                  <a:lnTo>
                    <a:pt x="840" y="330"/>
                  </a:lnTo>
                  <a:lnTo>
                    <a:pt x="842" y="336"/>
                  </a:lnTo>
                  <a:lnTo>
                    <a:pt x="844" y="336"/>
                  </a:lnTo>
                  <a:close/>
                  <a:moveTo>
                    <a:pt x="794" y="292"/>
                  </a:moveTo>
                  <a:lnTo>
                    <a:pt x="794" y="292"/>
                  </a:lnTo>
                  <a:lnTo>
                    <a:pt x="800" y="276"/>
                  </a:lnTo>
                  <a:lnTo>
                    <a:pt x="804" y="264"/>
                  </a:lnTo>
                  <a:lnTo>
                    <a:pt x="806" y="256"/>
                  </a:lnTo>
                  <a:lnTo>
                    <a:pt x="804" y="256"/>
                  </a:lnTo>
                  <a:lnTo>
                    <a:pt x="798" y="264"/>
                  </a:lnTo>
                  <a:lnTo>
                    <a:pt x="794" y="278"/>
                  </a:lnTo>
                  <a:lnTo>
                    <a:pt x="794" y="292"/>
                  </a:lnTo>
                  <a:close/>
                  <a:moveTo>
                    <a:pt x="1118" y="446"/>
                  </a:moveTo>
                  <a:lnTo>
                    <a:pt x="1118" y="446"/>
                  </a:lnTo>
                  <a:lnTo>
                    <a:pt x="1122" y="448"/>
                  </a:lnTo>
                  <a:lnTo>
                    <a:pt x="1128" y="450"/>
                  </a:lnTo>
                  <a:lnTo>
                    <a:pt x="1142" y="448"/>
                  </a:lnTo>
                  <a:lnTo>
                    <a:pt x="1158" y="448"/>
                  </a:lnTo>
                  <a:lnTo>
                    <a:pt x="1166" y="450"/>
                  </a:lnTo>
                  <a:lnTo>
                    <a:pt x="1172" y="452"/>
                  </a:lnTo>
                  <a:lnTo>
                    <a:pt x="1180" y="454"/>
                  </a:lnTo>
                  <a:lnTo>
                    <a:pt x="1186" y="454"/>
                  </a:lnTo>
                  <a:lnTo>
                    <a:pt x="1190" y="452"/>
                  </a:lnTo>
                  <a:lnTo>
                    <a:pt x="1194" y="450"/>
                  </a:lnTo>
                  <a:lnTo>
                    <a:pt x="1204" y="442"/>
                  </a:lnTo>
                  <a:lnTo>
                    <a:pt x="1208" y="440"/>
                  </a:lnTo>
                  <a:lnTo>
                    <a:pt x="1212" y="440"/>
                  </a:lnTo>
                  <a:lnTo>
                    <a:pt x="1216" y="440"/>
                  </a:lnTo>
                  <a:lnTo>
                    <a:pt x="1218" y="438"/>
                  </a:lnTo>
                  <a:lnTo>
                    <a:pt x="1218" y="434"/>
                  </a:lnTo>
                  <a:lnTo>
                    <a:pt x="1218" y="430"/>
                  </a:lnTo>
                  <a:lnTo>
                    <a:pt x="1214" y="420"/>
                  </a:lnTo>
                  <a:lnTo>
                    <a:pt x="1206" y="414"/>
                  </a:lnTo>
                  <a:lnTo>
                    <a:pt x="1200" y="410"/>
                  </a:lnTo>
                  <a:lnTo>
                    <a:pt x="1198" y="406"/>
                  </a:lnTo>
                  <a:lnTo>
                    <a:pt x="1200" y="406"/>
                  </a:lnTo>
                  <a:lnTo>
                    <a:pt x="1206" y="404"/>
                  </a:lnTo>
                  <a:lnTo>
                    <a:pt x="1218" y="402"/>
                  </a:lnTo>
                  <a:lnTo>
                    <a:pt x="1222" y="398"/>
                  </a:lnTo>
                  <a:lnTo>
                    <a:pt x="1222" y="394"/>
                  </a:lnTo>
                  <a:lnTo>
                    <a:pt x="1222" y="392"/>
                  </a:lnTo>
                  <a:lnTo>
                    <a:pt x="1224" y="390"/>
                  </a:lnTo>
                  <a:lnTo>
                    <a:pt x="1230" y="388"/>
                  </a:lnTo>
                  <a:lnTo>
                    <a:pt x="1232" y="388"/>
                  </a:lnTo>
                  <a:lnTo>
                    <a:pt x="1232" y="384"/>
                  </a:lnTo>
                  <a:lnTo>
                    <a:pt x="1232" y="376"/>
                  </a:lnTo>
                  <a:lnTo>
                    <a:pt x="1228" y="364"/>
                  </a:lnTo>
                  <a:lnTo>
                    <a:pt x="1234" y="372"/>
                  </a:lnTo>
                  <a:lnTo>
                    <a:pt x="1240" y="376"/>
                  </a:lnTo>
                  <a:lnTo>
                    <a:pt x="1246" y="378"/>
                  </a:lnTo>
                  <a:lnTo>
                    <a:pt x="1256" y="376"/>
                  </a:lnTo>
                  <a:lnTo>
                    <a:pt x="1268" y="372"/>
                  </a:lnTo>
                  <a:lnTo>
                    <a:pt x="1272" y="374"/>
                  </a:lnTo>
                  <a:lnTo>
                    <a:pt x="1272" y="376"/>
                  </a:lnTo>
                  <a:lnTo>
                    <a:pt x="1274" y="378"/>
                  </a:lnTo>
                  <a:lnTo>
                    <a:pt x="1278" y="382"/>
                  </a:lnTo>
                  <a:lnTo>
                    <a:pt x="1284" y="384"/>
                  </a:lnTo>
                  <a:lnTo>
                    <a:pt x="1296" y="386"/>
                  </a:lnTo>
                  <a:lnTo>
                    <a:pt x="1308" y="388"/>
                  </a:lnTo>
                  <a:lnTo>
                    <a:pt x="1316" y="392"/>
                  </a:lnTo>
                  <a:lnTo>
                    <a:pt x="1324" y="398"/>
                  </a:lnTo>
                  <a:lnTo>
                    <a:pt x="1330" y="406"/>
                  </a:lnTo>
                  <a:lnTo>
                    <a:pt x="1340" y="426"/>
                  </a:lnTo>
                  <a:lnTo>
                    <a:pt x="1348" y="438"/>
                  </a:lnTo>
                  <a:lnTo>
                    <a:pt x="1358" y="450"/>
                  </a:lnTo>
                  <a:lnTo>
                    <a:pt x="1374" y="472"/>
                  </a:lnTo>
                  <a:lnTo>
                    <a:pt x="1380" y="480"/>
                  </a:lnTo>
                  <a:lnTo>
                    <a:pt x="1384" y="486"/>
                  </a:lnTo>
                  <a:lnTo>
                    <a:pt x="1392" y="488"/>
                  </a:lnTo>
                  <a:lnTo>
                    <a:pt x="1400" y="492"/>
                  </a:lnTo>
                  <a:lnTo>
                    <a:pt x="1432" y="498"/>
                  </a:lnTo>
                  <a:lnTo>
                    <a:pt x="1450" y="502"/>
                  </a:lnTo>
                  <a:lnTo>
                    <a:pt x="1462" y="506"/>
                  </a:lnTo>
                  <a:lnTo>
                    <a:pt x="1470" y="510"/>
                  </a:lnTo>
                  <a:lnTo>
                    <a:pt x="1476" y="512"/>
                  </a:lnTo>
                  <a:lnTo>
                    <a:pt x="1482" y="518"/>
                  </a:lnTo>
                  <a:lnTo>
                    <a:pt x="1488" y="520"/>
                  </a:lnTo>
                  <a:lnTo>
                    <a:pt x="1492" y="520"/>
                  </a:lnTo>
                  <a:lnTo>
                    <a:pt x="1500" y="520"/>
                  </a:lnTo>
                  <a:lnTo>
                    <a:pt x="1506" y="518"/>
                  </a:lnTo>
                  <a:lnTo>
                    <a:pt x="1512" y="514"/>
                  </a:lnTo>
                  <a:lnTo>
                    <a:pt x="1514" y="510"/>
                  </a:lnTo>
                  <a:lnTo>
                    <a:pt x="1514" y="506"/>
                  </a:lnTo>
                  <a:lnTo>
                    <a:pt x="1512" y="502"/>
                  </a:lnTo>
                  <a:lnTo>
                    <a:pt x="1508" y="498"/>
                  </a:lnTo>
                  <a:lnTo>
                    <a:pt x="1498" y="494"/>
                  </a:lnTo>
                  <a:lnTo>
                    <a:pt x="1482" y="490"/>
                  </a:lnTo>
                  <a:lnTo>
                    <a:pt x="1474" y="484"/>
                  </a:lnTo>
                  <a:lnTo>
                    <a:pt x="1472" y="482"/>
                  </a:lnTo>
                  <a:lnTo>
                    <a:pt x="1472" y="480"/>
                  </a:lnTo>
                  <a:lnTo>
                    <a:pt x="1474" y="476"/>
                  </a:lnTo>
                  <a:lnTo>
                    <a:pt x="1478" y="472"/>
                  </a:lnTo>
                  <a:lnTo>
                    <a:pt x="1478" y="470"/>
                  </a:lnTo>
                  <a:lnTo>
                    <a:pt x="1476" y="468"/>
                  </a:lnTo>
                  <a:lnTo>
                    <a:pt x="1464" y="466"/>
                  </a:lnTo>
                  <a:lnTo>
                    <a:pt x="1454" y="464"/>
                  </a:lnTo>
                  <a:lnTo>
                    <a:pt x="1450" y="462"/>
                  </a:lnTo>
                  <a:lnTo>
                    <a:pt x="1448" y="458"/>
                  </a:lnTo>
                  <a:lnTo>
                    <a:pt x="1448" y="454"/>
                  </a:lnTo>
                  <a:lnTo>
                    <a:pt x="1450" y="448"/>
                  </a:lnTo>
                  <a:lnTo>
                    <a:pt x="1454" y="442"/>
                  </a:lnTo>
                  <a:lnTo>
                    <a:pt x="1454" y="438"/>
                  </a:lnTo>
                  <a:lnTo>
                    <a:pt x="1448" y="438"/>
                  </a:lnTo>
                  <a:lnTo>
                    <a:pt x="1436" y="440"/>
                  </a:lnTo>
                  <a:lnTo>
                    <a:pt x="1432" y="440"/>
                  </a:lnTo>
                  <a:lnTo>
                    <a:pt x="1428" y="440"/>
                  </a:lnTo>
                  <a:lnTo>
                    <a:pt x="1422" y="436"/>
                  </a:lnTo>
                  <a:lnTo>
                    <a:pt x="1416" y="428"/>
                  </a:lnTo>
                  <a:lnTo>
                    <a:pt x="1412" y="420"/>
                  </a:lnTo>
                  <a:lnTo>
                    <a:pt x="1408" y="400"/>
                  </a:lnTo>
                  <a:lnTo>
                    <a:pt x="1404" y="394"/>
                  </a:lnTo>
                  <a:lnTo>
                    <a:pt x="1400" y="390"/>
                  </a:lnTo>
                  <a:lnTo>
                    <a:pt x="1394" y="386"/>
                  </a:lnTo>
                  <a:lnTo>
                    <a:pt x="1386" y="378"/>
                  </a:lnTo>
                  <a:lnTo>
                    <a:pt x="1370" y="360"/>
                  </a:lnTo>
                  <a:lnTo>
                    <a:pt x="1364" y="350"/>
                  </a:lnTo>
                  <a:lnTo>
                    <a:pt x="1358" y="340"/>
                  </a:lnTo>
                  <a:lnTo>
                    <a:pt x="1356" y="334"/>
                  </a:lnTo>
                  <a:lnTo>
                    <a:pt x="1356" y="332"/>
                  </a:lnTo>
                  <a:lnTo>
                    <a:pt x="1358" y="330"/>
                  </a:lnTo>
                  <a:lnTo>
                    <a:pt x="1362" y="328"/>
                  </a:lnTo>
                  <a:lnTo>
                    <a:pt x="1366" y="326"/>
                  </a:lnTo>
                  <a:lnTo>
                    <a:pt x="1376" y="328"/>
                  </a:lnTo>
                  <a:lnTo>
                    <a:pt x="1388" y="328"/>
                  </a:lnTo>
                  <a:lnTo>
                    <a:pt x="1392" y="326"/>
                  </a:lnTo>
                  <a:lnTo>
                    <a:pt x="1394" y="324"/>
                  </a:lnTo>
                  <a:lnTo>
                    <a:pt x="1396" y="320"/>
                  </a:lnTo>
                  <a:lnTo>
                    <a:pt x="1396" y="314"/>
                  </a:lnTo>
                  <a:lnTo>
                    <a:pt x="1390" y="302"/>
                  </a:lnTo>
                  <a:lnTo>
                    <a:pt x="1386" y="296"/>
                  </a:lnTo>
                  <a:lnTo>
                    <a:pt x="1380" y="292"/>
                  </a:lnTo>
                  <a:lnTo>
                    <a:pt x="1374" y="290"/>
                  </a:lnTo>
                  <a:lnTo>
                    <a:pt x="1370" y="290"/>
                  </a:lnTo>
                  <a:lnTo>
                    <a:pt x="1364" y="290"/>
                  </a:lnTo>
                  <a:lnTo>
                    <a:pt x="1360" y="290"/>
                  </a:lnTo>
                  <a:lnTo>
                    <a:pt x="1354" y="284"/>
                  </a:lnTo>
                  <a:lnTo>
                    <a:pt x="1344" y="276"/>
                  </a:lnTo>
                  <a:lnTo>
                    <a:pt x="1338" y="272"/>
                  </a:lnTo>
                  <a:lnTo>
                    <a:pt x="1328" y="270"/>
                  </a:lnTo>
                  <a:lnTo>
                    <a:pt x="1312" y="264"/>
                  </a:lnTo>
                  <a:lnTo>
                    <a:pt x="1310" y="262"/>
                  </a:lnTo>
                  <a:lnTo>
                    <a:pt x="1308" y="260"/>
                  </a:lnTo>
                  <a:lnTo>
                    <a:pt x="1310" y="256"/>
                  </a:lnTo>
                  <a:lnTo>
                    <a:pt x="1312" y="246"/>
                  </a:lnTo>
                  <a:lnTo>
                    <a:pt x="1312" y="238"/>
                  </a:lnTo>
                  <a:lnTo>
                    <a:pt x="1306" y="230"/>
                  </a:lnTo>
                  <a:lnTo>
                    <a:pt x="1298" y="220"/>
                  </a:lnTo>
                  <a:lnTo>
                    <a:pt x="1288" y="210"/>
                  </a:lnTo>
                  <a:lnTo>
                    <a:pt x="1278" y="200"/>
                  </a:lnTo>
                  <a:lnTo>
                    <a:pt x="1266" y="192"/>
                  </a:lnTo>
                  <a:lnTo>
                    <a:pt x="1256" y="188"/>
                  </a:lnTo>
                  <a:lnTo>
                    <a:pt x="1248" y="186"/>
                  </a:lnTo>
                  <a:lnTo>
                    <a:pt x="1242" y="186"/>
                  </a:lnTo>
                  <a:lnTo>
                    <a:pt x="1238" y="184"/>
                  </a:lnTo>
                  <a:lnTo>
                    <a:pt x="1230" y="178"/>
                  </a:lnTo>
                  <a:lnTo>
                    <a:pt x="1220" y="170"/>
                  </a:lnTo>
                  <a:lnTo>
                    <a:pt x="1214" y="166"/>
                  </a:lnTo>
                  <a:lnTo>
                    <a:pt x="1202" y="162"/>
                  </a:lnTo>
                  <a:lnTo>
                    <a:pt x="1190" y="158"/>
                  </a:lnTo>
                  <a:lnTo>
                    <a:pt x="1174" y="152"/>
                  </a:lnTo>
                  <a:lnTo>
                    <a:pt x="1140" y="134"/>
                  </a:lnTo>
                  <a:lnTo>
                    <a:pt x="1106" y="120"/>
                  </a:lnTo>
                  <a:lnTo>
                    <a:pt x="1092" y="116"/>
                  </a:lnTo>
                  <a:lnTo>
                    <a:pt x="1078" y="116"/>
                  </a:lnTo>
                  <a:lnTo>
                    <a:pt x="1080" y="404"/>
                  </a:lnTo>
                  <a:lnTo>
                    <a:pt x="1094" y="414"/>
                  </a:lnTo>
                  <a:lnTo>
                    <a:pt x="1104" y="426"/>
                  </a:lnTo>
                  <a:lnTo>
                    <a:pt x="1118" y="446"/>
                  </a:lnTo>
                  <a:close/>
                  <a:moveTo>
                    <a:pt x="784" y="288"/>
                  </a:moveTo>
                  <a:lnTo>
                    <a:pt x="784" y="288"/>
                  </a:lnTo>
                  <a:lnTo>
                    <a:pt x="786" y="290"/>
                  </a:lnTo>
                  <a:lnTo>
                    <a:pt x="788" y="288"/>
                  </a:lnTo>
                  <a:lnTo>
                    <a:pt x="790" y="286"/>
                  </a:lnTo>
                  <a:lnTo>
                    <a:pt x="790" y="282"/>
                  </a:lnTo>
                  <a:lnTo>
                    <a:pt x="788" y="278"/>
                  </a:lnTo>
                  <a:lnTo>
                    <a:pt x="784" y="274"/>
                  </a:lnTo>
                  <a:lnTo>
                    <a:pt x="782" y="276"/>
                  </a:lnTo>
                  <a:lnTo>
                    <a:pt x="784" y="288"/>
                  </a:lnTo>
                  <a:close/>
                  <a:moveTo>
                    <a:pt x="1474" y="80"/>
                  </a:moveTo>
                  <a:lnTo>
                    <a:pt x="1474" y="80"/>
                  </a:lnTo>
                  <a:lnTo>
                    <a:pt x="1476" y="80"/>
                  </a:lnTo>
                  <a:lnTo>
                    <a:pt x="1476" y="78"/>
                  </a:lnTo>
                  <a:lnTo>
                    <a:pt x="1474" y="72"/>
                  </a:lnTo>
                  <a:lnTo>
                    <a:pt x="1468" y="68"/>
                  </a:lnTo>
                  <a:lnTo>
                    <a:pt x="1466" y="68"/>
                  </a:lnTo>
                  <a:lnTo>
                    <a:pt x="1464" y="68"/>
                  </a:lnTo>
                  <a:lnTo>
                    <a:pt x="1464" y="72"/>
                  </a:lnTo>
                  <a:lnTo>
                    <a:pt x="1464" y="76"/>
                  </a:lnTo>
                  <a:lnTo>
                    <a:pt x="1468" y="78"/>
                  </a:lnTo>
                  <a:lnTo>
                    <a:pt x="1474" y="80"/>
                  </a:lnTo>
                  <a:close/>
                  <a:moveTo>
                    <a:pt x="1436" y="292"/>
                  </a:moveTo>
                  <a:lnTo>
                    <a:pt x="1436" y="292"/>
                  </a:lnTo>
                  <a:lnTo>
                    <a:pt x="1442" y="296"/>
                  </a:lnTo>
                  <a:lnTo>
                    <a:pt x="1446" y="298"/>
                  </a:lnTo>
                  <a:lnTo>
                    <a:pt x="1448" y="298"/>
                  </a:lnTo>
                  <a:lnTo>
                    <a:pt x="1450" y="298"/>
                  </a:lnTo>
                  <a:lnTo>
                    <a:pt x="1452" y="296"/>
                  </a:lnTo>
                  <a:lnTo>
                    <a:pt x="1454" y="296"/>
                  </a:lnTo>
                  <a:lnTo>
                    <a:pt x="1458" y="298"/>
                  </a:lnTo>
                  <a:lnTo>
                    <a:pt x="1462" y="302"/>
                  </a:lnTo>
                  <a:lnTo>
                    <a:pt x="1468" y="306"/>
                  </a:lnTo>
                  <a:lnTo>
                    <a:pt x="1478" y="308"/>
                  </a:lnTo>
                  <a:lnTo>
                    <a:pt x="1490" y="306"/>
                  </a:lnTo>
                  <a:lnTo>
                    <a:pt x="1502" y="302"/>
                  </a:lnTo>
                  <a:lnTo>
                    <a:pt x="1514" y="298"/>
                  </a:lnTo>
                  <a:lnTo>
                    <a:pt x="1524" y="292"/>
                  </a:lnTo>
                  <a:lnTo>
                    <a:pt x="1534" y="284"/>
                  </a:lnTo>
                  <a:lnTo>
                    <a:pt x="1538" y="278"/>
                  </a:lnTo>
                  <a:lnTo>
                    <a:pt x="1542" y="272"/>
                  </a:lnTo>
                  <a:lnTo>
                    <a:pt x="1544" y="270"/>
                  </a:lnTo>
                  <a:lnTo>
                    <a:pt x="1548" y="270"/>
                  </a:lnTo>
                  <a:lnTo>
                    <a:pt x="1550" y="270"/>
                  </a:lnTo>
                  <a:lnTo>
                    <a:pt x="1556" y="272"/>
                  </a:lnTo>
                  <a:lnTo>
                    <a:pt x="1560" y="270"/>
                  </a:lnTo>
                  <a:lnTo>
                    <a:pt x="1566" y="268"/>
                  </a:lnTo>
                  <a:lnTo>
                    <a:pt x="1568" y="264"/>
                  </a:lnTo>
                  <a:lnTo>
                    <a:pt x="1570" y="260"/>
                  </a:lnTo>
                  <a:lnTo>
                    <a:pt x="1566" y="252"/>
                  </a:lnTo>
                  <a:lnTo>
                    <a:pt x="1564" y="246"/>
                  </a:lnTo>
                  <a:lnTo>
                    <a:pt x="1564" y="244"/>
                  </a:lnTo>
                  <a:lnTo>
                    <a:pt x="1566" y="242"/>
                  </a:lnTo>
                  <a:lnTo>
                    <a:pt x="1572" y="240"/>
                  </a:lnTo>
                  <a:lnTo>
                    <a:pt x="1574" y="238"/>
                  </a:lnTo>
                  <a:lnTo>
                    <a:pt x="1580" y="228"/>
                  </a:lnTo>
                  <a:lnTo>
                    <a:pt x="1580" y="216"/>
                  </a:lnTo>
                  <a:lnTo>
                    <a:pt x="1578" y="212"/>
                  </a:lnTo>
                  <a:lnTo>
                    <a:pt x="1576" y="208"/>
                  </a:lnTo>
                  <a:lnTo>
                    <a:pt x="1572" y="202"/>
                  </a:lnTo>
                  <a:lnTo>
                    <a:pt x="1566" y="202"/>
                  </a:lnTo>
                  <a:lnTo>
                    <a:pt x="1548" y="202"/>
                  </a:lnTo>
                  <a:lnTo>
                    <a:pt x="1546" y="204"/>
                  </a:lnTo>
                  <a:lnTo>
                    <a:pt x="1544" y="206"/>
                  </a:lnTo>
                  <a:lnTo>
                    <a:pt x="1542" y="210"/>
                  </a:lnTo>
                  <a:lnTo>
                    <a:pt x="1546" y="224"/>
                  </a:lnTo>
                  <a:lnTo>
                    <a:pt x="1550" y="236"/>
                  </a:lnTo>
                  <a:lnTo>
                    <a:pt x="1548" y="240"/>
                  </a:lnTo>
                  <a:lnTo>
                    <a:pt x="1542" y="240"/>
                  </a:lnTo>
                  <a:lnTo>
                    <a:pt x="1536" y="238"/>
                  </a:lnTo>
                  <a:lnTo>
                    <a:pt x="1530" y="242"/>
                  </a:lnTo>
                  <a:lnTo>
                    <a:pt x="1526" y="248"/>
                  </a:lnTo>
                  <a:lnTo>
                    <a:pt x="1522" y="254"/>
                  </a:lnTo>
                  <a:lnTo>
                    <a:pt x="1518" y="262"/>
                  </a:lnTo>
                  <a:lnTo>
                    <a:pt x="1514" y="266"/>
                  </a:lnTo>
                  <a:lnTo>
                    <a:pt x="1510" y="268"/>
                  </a:lnTo>
                  <a:lnTo>
                    <a:pt x="1504" y="266"/>
                  </a:lnTo>
                  <a:lnTo>
                    <a:pt x="1500" y="264"/>
                  </a:lnTo>
                  <a:lnTo>
                    <a:pt x="1498" y="264"/>
                  </a:lnTo>
                  <a:lnTo>
                    <a:pt x="1494" y="268"/>
                  </a:lnTo>
                  <a:lnTo>
                    <a:pt x="1490" y="270"/>
                  </a:lnTo>
                  <a:lnTo>
                    <a:pt x="1488" y="264"/>
                  </a:lnTo>
                  <a:lnTo>
                    <a:pt x="1486" y="256"/>
                  </a:lnTo>
                  <a:lnTo>
                    <a:pt x="1488" y="250"/>
                  </a:lnTo>
                  <a:lnTo>
                    <a:pt x="1490" y="248"/>
                  </a:lnTo>
                  <a:lnTo>
                    <a:pt x="1490" y="244"/>
                  </a:lnTo>
                  <a:lnTo>
                    <a:pt x="1488" y="242"/>
                  </a:lnTo>
                  <a:lnTo>
                    <a:pt x="1484" y="244"/>
                  </a:lnTo>
                  <a:lnTo>
                    <a:pt x="1480" y="250"/>
                  </a:lnTo>
                  <a:lnTo>
                    <a:pt x="1480" y="262"/>
                  </a:lnTo>
                  <a:lnTo>
                    <a:pt x="1478" y="266"/>
                  </a:lnTo>
                  <a:lnTo>
                    <a:pt x="1476" y="268"/>
                  </a:lnTo>
                  <a:lnTo>
                    <a:pt x="1470" y="270"/>
                  </a:lnTo>
                  <a:lnTo>
                    <a:pt x="1460" y="268"/>
                  </a:lnTo>
                  <a:lnTo>
                    <a:pt x="1448" y="266"/>
                  </a:lnTo>
                  <a:lnTo>
                    <a:pt x="1434" y="266"/>
                  </a:lnTo>
                  <a:lnTo>
                    <a:pt x="1424" y="264"/>
                  </a:lnTo>
                  <a:lnTo>
                    <a:pt x="1416" y="266"/>
                  </a:lnTo>
                  <a:lnTo>
                    <a:pt x="1414" y="268"/>
                  </a:lnTo>
                  <a:lnTo>
                    <a:pt x="1414" y="270"/>
                  </a:lnTo>
                  <a:lnTo>
                    <a:pt x="1416" y="278"/>
                  </a:lnTo>
                  <a:lnTo>
                    <a:pt x="1420" y="280"/>
                  </a:lnTo>
                  <a:lnTo>
                    <a:pt x="1428" y="284"/>
                  </a:lnTo>
                  <a:lnTo>
                    <a:pt x="1436" y="292"/>
                  </a:lnTo>
                  <a:close/>
                  <a:moveTo>
                    <a:pt x="1546" y="156"/>
                  </a:moveTo>
                  <a:lnTo>
                    <a:pt x="1546" y="156"/>
                  </a:lnTo>
                  <a:lnTo>
                    <a:pt x="1552" y="162"/>
                  </a:lnTo>
                  <a:lnTo>
                    <a:pt x="1562" y="170"/>
                  </a:lnTo>
                  <a:lnTo>
                    <a:pt x="1572" y="178"/>
                  </a:lnTo>
                  <a:lnTo>
                    <a:pt x="1582" y="190"/>
                  </a:lnTo>
                  <a:lnTo>
                    <a:pt x="1586" y="196"/>
                  </a:lnTo>
                  <a:lnTo>
                    <a:pt x="1588" y="202"/>
                  </a:lnTo>
                  <a:lnTo>
                    <a:pt x="1590" y="210"/>
                  </a:lnTo>
                  <a:lnTo>
                    <a:pt x="1590" y="220"/>
                  </a:lnTo>
                  <a:lnTo>
                    <a:pt x="1592" y="224"/>
                  </a:lnTo>
                  <a:lnTo>
                    <a:pt x="1594" y="232"/>
                  </a:lnTo>
                  <a:lnTo>
                    <a:pt x="1598" y="236"/>
                  </a:lnTo>
                  <a:lnTo>
                    <a:pt x="1602" y="234"/>
                  </a:lnTo>
                  <a:lnTo>
                    <a:pt x="1604" y="230"/>
                  </a:lnTo>
                  <a:lnTo>
                    <a:pt x="1608" y="222"/>
                  </a:lnTo>
                  <a:lnTo>
                    <a:pt x="1608" y="214"/>
                  </a:lnTo>
                  <a:lnTo>
                    <a:pt x="1608" y="206"/>
                  </a:lnTo>
                  <a:lnTo>
                    <a:pt x="1604" y="196"/>
                  </a:lnTo>
                  <a:lnTo>
                    <a:pt x="1596" y="190"/>
                  </a:lnTo>
                  <a:lnTo>
                    <a:pt x="1582" y="178"/>
                  </a:lnTo>
                  <a:lnTo>
                    <a:pt x="1574" y="168"/>
                  </a:lnTo>
                  <a:lnTo>
                    <a:pt x="1566" y="160"/>
                  </a:lnTo>
                  <a:lnTo>
                    <a:pt x="1556" y="154"/>
                  </a:lnTo>
                  <a:lnTo>
                    <a:pt x="1538" y="142"/>
                  </a:lnTo>
                  <a:lnTo>
                    <a:pt x="1526" y="132"/>
                  </a:lnTo>
                  <a:lnTo>
                    <a:pt x="1518" y="126"/>
                  </a:lnTo>
                  <a:lnTo>
                    <a:pt x="1516" y="126"/>
                  </a:lnTo>
                  <a:lnTo>
                    <a:pt x="1514" y="128"/>
                  </a:lnTo>
                  <a:lnTo>
                    <a:pt x="1510" y="132"/>
                  </a:lnTo>
                  <a:lnTo>
                    <a:pt x="1508" y="134"/>
                  </a:lnTo>
                  <a:lnTo>
                    <a:pt x="1510" y="136"/>
                  </a:lnTo>
                  <a:lnTo>
                    <a:pt x="1516" y="138"/>
                  </a:lnTo>
                  <a:lnTo>
                    <a:pt x="1530" y="144"/>
                  </a:lnTo>
                  <a:lnTo>
                    <a:pt x="1538" y="150"/>
                  </a:lnTo>
                  <a:lnTo>
                    <a:pt x="1546" y="156"/>
                  </a:lnTo>
                  <a:close/>
                  <a:moveTo>
                    <a:pt x="1500" y="128"/>
                  </a:moveTo>
                  <a:lnTo>
                    <a:pt x="1500" y="128"/>
                  </a:lnTo>
                  <a:lnTo>
                    <a:pt x="1502" y="126"/>
                  </a:lnTo>
                  <a:lnTo>
                    <a:pt x="1502" y="122"/>
                  </a:lnTo>
                  <a:lnTo>
                    <a:pt x="1496" y="116"/>
                  </a:lnTo>
                  <a:lnTo>
                    <a:pt x="1492" y="114"/>
                  </a:lnTo>
                  <a:lnTo>
                    <a:pt x="1490" y="114"/>
                  </a:lnTo>
                  <a:lnTo>
                    <a:pt x="1486" y="114"/>
                  </a:lnTo>
                  <a:lnTo>
                    <a:pt x="1484" y="118"/>
                  </a:lnTo>
                  <a:lnTo>
                    <a:pt x="1484" y="120"/>
                  </a:lnTo>
                  <a:lnTo>
                    <a:pt x="1484" y="124"/>
                  </a:lnTo>
                  <a:lnTo>
                    <a:pt x="1488" y="128"/>
                  </a:lnTo>
                  <a:lnTo>
                    <a:pt x="1494" y="130"/>
                  </a:lnTo>
                  <a:lnTo>
                    <a:pt x="1498" y="130"/>
                  </a:lnTo>
                  <a:lnTo>
                    <a:pt x="1500" y="128"/>
                  </a:lnTo>
                  <a:close/>
                  <a:moveTo>
                    <a:pt x="726" y="46"/>
                  </a:moveTo>
                  <a:lnTo>
                    <a:pt x="726" y="46"/>
                  </a:lnTo>
                  <a:lnTo>
                    <a:pt x="726" y="50"/>
                  </a:lnTo>
                  <a:lnTo>
                    <a:pt x="724" y="54"/>
                  </a:lnTo>
                  <a:lnTo>
                    <a:pt x="716" y="62"/>
                  </a:lnTo>
                  <a:lnTo>
                    <a:pt x="714" y="66"/>
                  </a:lnTo>
                  <a:lnTo>
                    <a:pt x="716" y="70"/>
                  </a:lnTo>
                  <a:lnTo>
                    <a:pt x="718" y="72"/>
                  </a:lnTo>
                  <a:lnTo>
                    <a:pt x="726" y="72"/>
                  </a:lnTo>
                  <a:lnTo>
                    <a:pt x="738" y="72"/>
                  </a:lnTo>
                  <a:lnTo>
                    <a:pt x="742" y="74"/>
                  </a:lnTo>
                  <a:lnTo>
                    <a:pt x="746" y="78"/>
                  </a:lnTo>
                  <a:lnTo>
                    <a:pt x="752" y="88"/>
                  </a:lnTo>
                  <a:lnTo>
                    <a:pt x="758" y="104"/>
                  </a:lnTo>
                  <a:lnTo>
                    <a:pt x="762" y="106"/>
                  </a:lnTo>
                  <a:lnTo>
                    <a:pt x="764" y="108"/>
                  </a:lnTo>
                  <a:lnTo>
                    <a:pt x="774" y="110"/>
                  </a:lnTo>
                  <a:lnTo>
                    <a:pt x="786" y="110"/>
                  </a:lnTo>
                  <a:lnTo>
                    <a:pt x="798" y="110"/>
                  </a:lnTo>
                  <a:lnTo>
                    <a:pt x="810" y="108"/>
                  </a:lnTo>
                  <a:lnTo>
                    <a:pt x="820" y="108"/>
                  </a:lnTo>
                  <a:lnTo>
                    <a:pt x="828" y="110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20"/>
                  </a:lnTo>
                  <a:lnTo>
                    <a:pt x="826" y="122"/>
                  </a:lnTo>
                  <a:lnTo>
                    <a:pt x="822" y="122"/>
                  </a:lnTo>
                  <a:lnTo>
                    <a:pt x="816" y="120"/>
                  </a:lnTo>
                  <a:lnTo>
                    <a:pt x="808" y="120"/>
                  </a:lnTo>
                  <a:lnTo>
                    <a:pt x="802" y="118"/>
                  </a:lnTo>
                  <a:lnTo>
                    <a:pt x="798" y="120"/>
                  </a:lnTo>
                  <a:lnTo>
                    <a:pt x="794" y="124"/>
                  </a:lnTo>
                  <a:lnTo>
                    <a:pt x="790" y="130"/>
                  </a:lnTo>
                  <a:lnTo>
                    <a:pt x="784" y="134"/>
                  </a:lnTo>
                  <a:lnTo>
                    <a:pt x="778" y="134"/>
                  </a:lnTo>
                  <a:lnTo>
                    <a:pt x="772" y="132"/>
                  </a:lnTo>
                  <a:lnTo>
                    <a:pt x="766" y="130"/>
                  </a:lnTo>
                  <a:lnTo>
                    <a:pt x="760" y="130"/>
                  </a:lnTo>
                  <a:lnTo>
                    <a:pt x="756" y="132"/>
                  </a:lnTo>
                  <a:lnTo>
                    <a:pt x="756" y="138"/>
                  </a:lnTo>
                  <a:lnTo>
                    <a:pt x="756" y="142"/>
                  </a:lnTo>
                  <a:lnTo>
                    <a:pt x="760" y="144"/>
                  </a:lnTo>
                  <a:lnTo>
                    <a:pt x="768" y="146"/>
                  </a:lnTo>
                  <a:lnTo>
                    <a:pt x="780" y="156"/>
                  </a:lnTo>
                  <a:lnTo>
                    <a:pt x="786" y="164"/>
                  </a:lnTo>
                  <a:lnTo>
                    <a:pt x="790" y="170"/>
                  </a:lnTo>
                  <a:lnTo>
                    <a:pt x="790" y="174"/>
                  </a:lnTo>
                  <a:lnTo>
                    <a:pt x="788" y="176"/>
                  </a:lnTo>
                  <a:lnTo>
                    <a:pt x="784" y="180"/>
                  </a:lnTo>
                  <a:lnTo>
                    <a:pt x="784" y="184"/>
                  </a:lnTo>
                  <a:lnTo>
                    <a:pt x="784" y="188"/>
                  </a:lnTo>
                  <a:lnTo>
                    <a:pt x="788" y="194"/>
                  </a:lnTo>
                  <a:lnTo>
                    <a:pt x="792" y="196"/>
                  </a:lnTo>
                  <a:lnTo>
                    <a:pt x="796" y="198"/>
                  </a:lnTo>
                  <a:lnTo>
                    <a:pt x="802" y="198"/>
                  </a:lnTo>
                  <a:lnTo>
                    <a:pt x="806" y="196"/>
                  </a:lnTo>
                  <a:lnTo>
                    <a:pt x="810" y="192"/>
                  </a:lnTo>
                  <a:lnTo>
                    <a:pt x="814" y="186"/>
                  </a:lnTo>
                  <a:lnTo>
                    <a:pt x="816" y="178"/>
                  </a:lnTo>
                  <a:lnTo>
                    <a:pt x="822" y="158"/>
                  </a:lnTo>
                  <a:lnTo>
                    <a:pt x="826" y="150"/>
                  </a:lnTo>
                  <a:lnTo>
                    <a:pt x="828" y="150"/>
                  </a:lnTo>
                  <a:lnTo>
                    <a:pt x="828" y="154"/>
                  </a:lnTo>
                  <a:lnTo>
                    <a:pt x="824" y="168"/>
                  </a:lnTo>
                  <a:lnTo>
                    <a:pt x="824" y="174"/>
                  </a:lnTo>
                  <a:lnTo>
                    <a:pt x="824" y="178"/>
                  </a:lnTo>
                  <a:lnTo>
                    <a:pt x="828" y="180"/>
                  </a:lnTo>
                  <a:lnTo>
                    <a:pt x="832" y="184"/>
                  </a:lnTo>
                  <a:lnTo>
                    <a:pt x="844" y="188"/>
                  </a:lnTo>
                  <a:lnTo>
                    <a:pt x="852" y="192"/>
                  </a:lnTo>
                  <a:lnTo>
                    <a:pt x="860" y="198"/>
                  </a:lnTo>
                  <a:lnTo>
                    <a:pt x="870" y="206"/>
                  </a:lnTo>
                  <a:lnTo>
                    <a:pt x="878" y="212"/>
                  </a:lnTo>
                  <a:lnTo>
                    <a:pt x="886" y="214"/>
                  </a:lnTo>
                  <a:lnTo>
                    <a:pt x="892" y="216"/>
                  </a:lnTo>
                  <a:lnTo>
                    <a:pt x="906" y="218"/>
                  </a:lnTo>
                  <a:lnTo>
                    <a:pt x="916" y="220"/>
                  </a:lnTo>
                  <a:lnTo>
                    <a:pt x="926" y="226"/>
                  </a:lnTo>
                  <a:lnTo>
                    <a:pt x="940" y="232"/>
                  </a:lnTo>
                  <a:lnTo>
                    <a:pt x="954" y="238"/>
                  </a:lnTo>
                  <a:lnTo>
                    <a:pt x="966" y="242"/>
                  </a:lnTo>
                  <a:lnTo>
                    <a:pt x="980" y="252"/>
                  </a:lnTo>
                  <a:lnTo>
                    <a:pt x="988" y="258"/>
                  </a:lnTo>
                  <a:lnTo>
                    <a:pt x="994" y="266"/>
                  </a:lnTo>
                  <a:lnTo>
                    <a:pt x="1004" y="284"/>
                  </a:lnTo>
                  <a:lnTo>
                    <a:pt x="1014" y="302"/>
                  </a:lnTo>
                  <a:lnTo>
                    <a:pt x="1024" y="318"/>
                  </a:lnTo>
                  <a:lnTo>
                    <a:pt x="1028" y="324"/>
                  </a:lnTo>
                  <a:lnTo>
                    <a:pt x="1030" y="328"/>
                  </a:lnTo>
                  <a:lnTo>
                    <a:pt x="1028" y="330"/>
                  </a:lnTo>
                  <a:lnTo>
                    <a:pt x="1026" y="332"/>
                  </a:lnTo>
                  <a:lnTo>
                    <a:pt x="1022" y="336"/>
                  </a:lnTo>
                  <a:lnTo>
                    <a:pt x="1020" y="338"/>
                  </a:lnTo>
                  <a:lnTo>
                    <a:pt x="1020" y="344"/>
                  </a:lnTo>
                  <a:lnTo>
                    <a:pt x="1024" y="350"/>
                  </a:lnTo>
                  <a:lnTo>
                    <a:pt x="1028" y="354"/>
                  </a:lnTo>
                  <a:lnTo>
                    <a:pt x="1036" y="360"/>
                  </a:lnTo>
                  <a:lnTo>
                    <a:pt x="1040" y="364"/>
                  </a:lnTo>
                  <a:lnTo>
                    <a:pt x="1044" y="368"/>
                  </a:lnTo>
                  <a:lnTo>
                    <a:pt x="1044" y="372"/>
                  </a:lnTo>
                  <a:lnTo>
                    <a:pt x="1040" y="380"/>
                  </a:lnTo>
                  <a:lnTo>
                    <a:pt x="1036" y="394"/>
                  </a:lnTo>
                  <a:lnTo>
                    <a:pt x="1036" y="396"/>
                  </a:lnTo>
                  <a:lnTo>
                    <a:pt x="1038" y="398"/>
                  </a:lnTo>
                  <a:lnTo>
                    <a:pt x="1044" y="396"/>
                  </a:lnTo>
                  <a:lnTo>
                    <a:pt x="1046" y="396"/>
                  </a:lnTo>
                  <a:lnTo>
                    <a:pt x="1050" y="396"/>
                  </a:lnTo>
                  <a:lnTo>
                    <a:pt x="1052" y="398"/>
                  </a:lnTo>
                  <a:lnTo>
                    <a:pt x="1054" y="398"/>
                  </a:lnTo>
                  <a:lnTo>
                    <a:pt x="1060" y="398"/>
                  </a:lnTo>
                  <a:lnTo>
                    <a:pt x="1068" y="398"/>
                  </a:lnTo>
                  <a:lnTo>
                    <a:pt x="1074" y="400"/>
                  </a:lnTo>
                  <a:lnTo>
                    <a:pt x="1080" y="404"/>
                  </a:lnTo>
                  <a:lnTo>
                    <a:pt x="1078" y="116"/>
                  </a:lnTo>
                  <a:lnTo>
                    <a:pt x="1070" y="114"/>
                  </a:lnTo>
                  <a:lnTo>
                    <a:pt x="1060" y="110"/>
                  </a:lnTo>
                  <a:lnTo>
                    <a:pt x="1038" y="100"/>
                  </a:lnTo>
                  <a:lnTo>
                    <a:pt x="1002" y="76"/>
                  </a:lnTo>
                  <a:lnTo>
                    <a:pt x="996" y="72"/>
                  </a:lnTo>
                  <a:lnTo>
                    <a:pt x="988" y="72"/>
                  </a:lnTo>
                  <a:lnTo>
                    <a:pt x="982" y="74"/>
                  </a:lnTo>
                  <a:lnTo>
                    <a:pt x="976" y="76"/>
                  </a:lnTo>
                  <a:lnTo>
                    <a:pt x="970" y="80"/>
                  </a:lnTo>
                  <a:lnTo>
                    <a:pt x="966" y="84"/>
                  </a:lnTo>
                  <a:lnTo>
                    <a:pt x="964" y="88"/>
                  </a:lnTo>
                  <a:lnTo>
                    <a:pt x="964" y="92"/>
                  </a:lnTo>
                  <a:lnTo>
                    <a:pt x="966" y="96"/>
                  </a:lnTo>
                  <a:lnTo>
                    <a:pt x="964" y="100"/>
                  </a:lnTo>
                  <a:lnTo>
                    <a:pt x="956" y="106"/>
                  </a:lnTo>
                  <a:lnTo>
                    <a:pt x="946" y="110"/>
                  </a:lnTo>
                  <a:lnTo>
                    <a:pt x="942" y="110"/>
                  </a:lnTo>
                  <a:lnTo>
                    <a:pt x="938" y="108"/>
                  </a:lnTo>
                  <a:lnTo>
                    <a:pt x="936" y="108"/>
                  </a:lnTo>
                  <a:lnTo>
                    <a:pt x="934" y="110"/>
                  </a:lnTo>
                  <a:lnTo>
                    <a:pt x="928" y="116"/>
                  </a:lnTo>
                  <a:lnTo>
                    <a:pt x="914" y="138"/>
                  </a:lnTo>
                  <a:lnTo>
                    <a:pt x="906" y="148"/>
                  </a:lnTo>
                  <a:lnTo>
                    <a:pt x="898" y="158"/>
                  </a:lnTo>
                  <a:lnTo>
                    <a:pt x="890" y="164"/>
                  </a:lnTo>
                  <a:lnTo>
                    <a:pt x="886" y="164"/>
                  </a:lnTo>
                  <a:lnTo>
                    <a:pt x="882" y="164"/>
                  </a:lnTo>
                  <a:lnTo>
                    <a:pt x="876" y="160"/>
                  </a:lnTo>
                  <a:lnTo>
                    <a:pt x="872" y="156"/>
                  </a:lnTo>
                  <a:lnTo>
                    <a:pt x="870" y="150"/>
                  </a:lnTo>
                  <a:lnTo>
                    <a:pt x="868" y="144"/>
                  </a:lnTo>
                  <a:lnTo>
                    <a:pt x="864" y="132"/>
                  </a:lnTo>
                  <a:lnTo>
                    <a:pt x="862" y="126"/>
                  </a:lnTo>
                  <a:lnTo>
                    <a:pt x="860" y="120"/>
                  </a:lnTo>
                  <a:lnTo>
                    <a:pt x="856" y="118"/>
                  </a:lnTo>
                  <a:lnTo>
                    <a:pt x="854" y="118"/>
                  </a:lnTo>
                  <a:lnTo>
                    <a:pt x="852" y="124"/>
                  </a:lnTo>
                  <a:lnTo>
                    <a:pt x="852" y="126"/>
                  </a:lnTo>
                  <a:lnTo>
                    <a:pt x="846" y="114"/>
                  </a:lnTo>
                  <a:lnTo>
                    <a:pt x="842" y="102"/>
                  </a:lnTo>
                  <a:lnTo>
                    <a:pt x="842" y="94"/>
                  </a:lnTo>
                  <a:lnTo>
                    <a:pt x="842" y="86"/>
                  </a:lnTo>
                  <a:lnTo>
                    <a:pt x="844" y="80"/>
                  </a:lnTo>
                  <a:lnTo>
                    <a:pt x="846" y="66"/>
                  </a:lnTo>
                  <a:lnTo>
                    <a:pt x="846" y="58"/>
                  </a:lnTo>
                  <a:lnTo>
                    <a:pt x="844" y="48"/>
                  </a:lnTo>
                  <a:lnTo>
                    <a:pt x="840" y="40"/>
                  </a:lnTo>
                  <a:lnTo>
                    <a:pt x="838" y="36"/>
                  </a:lnTo>
                  <a:lnTo>
                    <a:pt x="834" y="36"/>
                  </a:lnTo>
                  <a:lnTo>
                    <a:pt x="830" y="36"/>
                  </a:lnTo>
                  <a:lnTo>
                    <a:pt x="826" y="36"/>
                  </a:lnTo>
                  <a:lnTo>
                    <a:pt x="818" y="36"/>
                  </a:lnTo>
                  <a:lnTo>
                    <a:pt x="810" y="32"/>
                  </a:lnTo>
                  <a:lnTo>
                    <a:pt x="798" y="26"/>
                  </a:lnTo>
                  <a:lnTo>
                    <a:pt x="786" y="18"/>
                  </a:lnTo>
                  <a:lnTo>
                    <a:pt x="776" y="16"/>
                  </a:lnTo>
                  <a:lnTo>
                    <a:pt x="770" y="16"/>
                  </a:lnTo>
                  <a:lnTo>
                    <a:pt x="764" y="20"/>
                  </a:lnTo>
                  <a:lnTo>
                    <a:pt x="756" y="28"/>
                  </a:lnTo>
                  <a:lnTo>
                    <a:pt x="752" y="32"/>
                  </a:lnTo>
                  <a:lnTo>
                    <a:pt x="748" y="34"/>
                  </a:lnTo>
                  <a:lnTo>
                    <a:pt x="740" y="36"/>
                  </a:lnTo>
                  <a:lnTo>
                    <a:pt x="732" y="38"/>
                  </a:lnTo>
                  <a:lnTo>
                    <a:pt x="728" y="40"/>
                  </a:lnTo>
                  <a:lnTo>
                    <a:pt x="726" y="42"/>
                  </a:lnTo>
                  <a:lnTo>
                    <a:pt x="726" y="46"/>
                  </a:lnTo>
                  <a:close/>
                  <a:moveTo>
                    <a:pt x="1600" y="438"/>
                  </a:moveTo>
                  <a:lnTo>
                    <a:pt x="1600" y="438"/>
                  </a:lnTo>
                  <a:lnTo>
                    <a:pt x="1594" y="436"/>
                  </a:lnTo>
                  <a:lnTo>
                    <a:pt x="1588" y="434"/>
                  </a:lnTo>
                  <a:lnTo>
                    <a:pt x="1586" y="436"/>
                  </a:lnTo>
                  <a:lnTo>
                    <a:pt x="1588" y="438"/>
                  </a:lnTo>
                  <a:lnTo>
                    <a:pt x="1590" y="442"/>
                  </a:lnTo>
                  <a:lnTo>
                    <a:pt x="1590" y="444"/>
                  </a:lnTo>
                  <a:lnTo>
                    <a:pt x="1592" y="446"/>
                  </a:lnTo>
                  <a:lnTo>
                    <a:pt x="1596" y="448"/>
                  </a:lnTo>
                  <a:lnTo>
                    <a:pt x="1600" y="448"/>
                  </a:lnTo>
                  <a:lnTo>
                    <a:pt x="1604" y="446"/>
                  </a:lnTo>
                  <a:lnTo>
                    <a:pt x="1604" y="444"/>
                  </a:lnTo>
                  <a:lnTo>
                    <a:pt x="1600" y="438"/>
                  </a:lnTo>
                  <a:close/>
                  <a:moveTo>
                    <a:pt x="1606" y="1248"/>
                  </a:moveTo>
                  <a:lnTo>
                    <a:pt x="1606" y="1248"/>
                  </a:lnTo>
                  <a:lnTo>
                    <a:pt x="1606" y="1252"/>
                  </a:lnTo>
                  <a:lnTo>
                    <a:pt x="1604" y="1260"/>
                  </a:lnTo>
                  <a:lnTo>
                    <a:pt x="1604" y="1268"/>
                  </a:lnTo>
                  <a:lnTo>
                    <a:pt x="1604" y="1272"/>
                  </a:lnTo>
                  <a:lnTo>
                    <a:pt x="1606" y="1274"/>
                  </a:lnTo>
                  <a:lnTo>
                    <a:pt x="1608" y="1274"/>
                  </a:lnTo>
                  <a:lnTo>
                    <a:pt x="1610" y="1270"/>
                  </a:lnTo>
                  <a:lnTo>
                    <a:pt x="1610" y="1260"/>
                  </a:lnTo>
                  <a:lnTo>
                    <a:pt x="1614" y="1250"/>
                  </a:lnTo>
                  <a:lnTo>
                    <a:pt x="1620" y="1240"/>
                  </a:lnTo>
                  <a:lnTo>
                    <a:pt x="1620" y="1236"/>
                  </a:lnTo>
                  <a:lnTo>
                    <a:pt x="1618" y="1232"/>
                  </a:lnTo>
                  <a:lnTo>
                    <a:pt x="1618" y="1228"/>
                  </a:lnTo>
                  <a:lnTo>
                    <a:pt x="1616" y="1224"/>
                  </a:lnTo>
                  <a:lnTo>
                    <a:pt x="1616" y="1220"/>
                  </a:lnTo>
                  <a:lnTo>
                    <a:pt x="1614" y="1220"/>
                  </a:lnTo>
                  <a:lnTo>
                    <a:pt x="1612" y="1224"/>
                  </a:lnTo>
                  <a:lnTo>
                    <a:pt x="1612" y="1230"/>
                  </a:lnTo>
                  <a:lnTo>
                    <a:pt x="1612" y="1234"/>
                  </a:lnTo>
                  <a:lnTo>
                    <a:pt x="1612" y="1236"/>
                  </a:lnTo>
                  <a:lnTo>
                    <a:pt x="1608" y="1240"/>
                  </a:lnTo>
                  <a:lnTo>
                    <a:pt x="1606" y="1244"/>
                  </a:lnTo>
                  <a:lnTo>
                    <a:pt x="1604" y="1246"/>
                  </a:lnTo>
                  <a:lnTo>
                    <a:pt x="1606" y="1248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03" name="Freeform 6153">
              <a:extLst>
                <a:ext uri="{FF2B5EF4-FFF2-40B4-BE49-F238E27FC236}">
                  <a16:creationId xmlns:a16="http://schemas.microsoft.com/office/drawing/2014/main" id="{3DC2E9DC-9634-4A48-8060-D66E7A67E2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0913" y="2755900"/>
              <a:ext cx="1762125" cy="2303463"/>
            </a:xfrm>
            <a:custGeom>
              <a:avLst/>
              <a:gdLst>
                <a:gd name="T0" fmla="*/ 1666909 w 2776"/>
                <a:gd name="T1" fmla="*/ 1643154 h 3628"/>
                <a:gd name="T2" fmla="*/ 1572963 w 2776"/>
                <a:gd name="T3" fmla="*/ 1734581 h 3628"/>
                <a:gd name="T4" fmla="*/ 1567885 w 2776"/>
                <a:gd name="T5" fmla="*/ 1859024 h 3628"/>
                <a:gd name="T6" fmla="*/ 1595815 w 2776"/>
                <a:gd name="T7" fmla="*/ 1991086 h 3628"/>
                <a:gd name="T8" fmla="*/ 1712613 w 2776"/>
                <a:gd name="T9" fmla="*/ 1728232 h 3628"/>
                <a:gd name="T10" fmla="*/ 1736734 w 2776"/>
                <a:gd name="T11" fmla="*/ 1666011 h 3628"/>
                <a:gd name="T12" fmla="*/ 1698648 w 2776"/>
                <a:gd name="T13" fmla="*/ 844434 h 3628"/>
                <a:gd name="T14" fmla="*/ 1576772 w 2776"/>
                <a:gd name="T15" fmla="*/ 868560 h 3628"/>
                <a:gd name="T16" fmla="*/ 1533607 w 2776"/>
                <a:gd name="T17" fmla="*/ 784752 h 3628"/>
                <a:gd name="T18" fmla="*/ 1484095 w 2776"/>
                <a:gd name="T19" fmla="*/ 730150 h 3628"/>
                <a:gd name="T20" fmla="*/ 1434583 w 2776"/>
                <a:gd name="T21" fmla="*/ 633643 h 3628"/>
                <a:gd name="T22" fmla="*/ 1401575 w 2776"/>
                <a:gd name="T23" fmla="*/ 539676 h 3628"/>
                <a:gd name="T24" fmla="*/ 1353332 w 2776"/>
                <a:gd name="T25" fmla="*/ 454597 h 3628"/>
                <a:gd name="T26" fmla="*/ 1301281 w 2776"/>
                <a:gd name="T27" fmla="*/ 313647 h 3628"/>
                <a:gd name="T28" fmla="*/ 1263195 w 2776"/>
                <a:gd name="T29" fmla="*/ 199363 h 3628"/>
                <a:gd name="T30" fmla="*/ 1197179 w 2776"/>
                <a:gd name="T31" fmla="*/ 219680 h 3628"/>
                <a:gd name="T32" fmla="*/ 1090537 w 2776"/>
                <a:gd name="T33" fmla="*/ 195553 h 3628"/>
                <a:gd name="T34" fmla="*/ 983895 w 2776"/>
                <a:gd name="T35" fmla="*/ 156189 h 3628"/>
                <a:gd name="T36" fmla="*/ 873445 w 2776"/>
                <a:gd name="T37" fmla="*/ 208251 h 3628"/>
                <a:gd name="T38" fmla="*/ 743952 w 2776"/>
                <a:gd name="T39" fmla="*/ 142220 h 3628"/>
                <a:gd name="T40" fmla="*/ 731256 w 2776"/>
                <a:gd name="T41" fmla="*/ 69840 h 3628"/>
                <a:gd name="T42" fmla="*/ 712213 w 2776"/>
                <a:gd name="T43" fmla="*/ 20317 h 3628"/>
                <a:gd name="T44" fmla="*/ 633502 w 2776"/>
                <a:gd name="T45" fmla="*/ 8889 h 3628"/>
                <a:gd name="T46" fmla="*/ 534477 w 2776"/>
                <a:gd name="T47" fmla="*/ 17778 h 3628"/>
                <a:gd name="T48" fmla="*/ 424027 w 2776"/>
                <a:gd name="T49" fmla="*/ 54602 h 3628"/>
                <a:gd name="T50" fmla="*/ 344046 w 2776"/>
                <a:gd name="T51" fmla="*/ 72380 h 3628"/>
                <a:gd name="T52" fmla="*/ 210744 w 2776"/>
                <a:gd name="T53" fmla="*/ 162538 h 3628"/>
                <a:gd name="T54" fmla="*/ 124415 w 2776"/>
                <a:gd name="T55" fmla="*/ 312377 h 3628"/>
                <a:gd name="T56" fmla="*/ 38086 w 2776"/>
                <a:gd name="T57" fmla="*/ 453328 h 3628"/>
                <a:gd name="T58" fmla="*/ 15235 w 2776"/>
                <a:gd name="T59" fmla="*/ 537136 h 3628"/>
                <a:gd name="T60" fmla="*/ 38086 w 2776"/>
                <a:gd name="T61" fmla="*/ 626024 h 3628"/>
                <a:gd name="T62" fmla="*/ 25391 w 2776"/>
                <a:gd name="T63" fmla="*/ 775863 h 3628"/>
                <a:gd name="T64" fmla="*/ 34278 w 2776"/>
                <a:gd name="T65" fmla="*/ 802530 h 3628"/>
                <a:gd name="T66" fmla="*/ 34278 w 2776"/>
                <a:gd name="T67" fmla="*/ 825386 h 3628"/>
                <a:gd name="T68" fmla="*/ 54590 w 2776"/>
                <a:gd name="T69" fmla="*/ 848243 h 3628"/>
                <a:gd name="T70" fmla="*/ 71094 w 2776"/>
                <a:gd name="T71" fmla="*/ 863481 h 3628"/>
                <a:gd name="T72" fmla="*/ 106642 w 2776"/>
                <a:gd name="T73" fmla="*/ 909195 h 3628"/>
                <a:gd name="T74" fmla="*/ 115528 w 2776"/>
                <a:gd name="T75" fmla="*/ 940941 h 3628"/>
                <a:gd name="T76" fmla="*/ 171388 w 2776"/>
                <a:gd name="T77" fmla="*/ 996813 h 3628"/>
                <a:gd name="T78" fmla="*/ 319925 w 2776"/>
                <a:gd name="T79" fmla="*/ 1036177 h 3628"/>
                <a:gd name="T80" fmla="*/ 411332 w 2776"/>
                <a:gd name="T81" fmla="*/ 1038717 h 3628"/>
                <a:gd name="T82" fmla="*/ 535747 w 2776"/>
                <a:gd name="T83" fmla="*/ 993003 h 3628"/>
                <a:gd name="T84" fmla="*/ 632232 w 2776"/>
                <a:gd name="T85" fmla="*/ 1052685 h 3628"/>
                <a:gd name="T86" fmla="*/ 690631 w 2776"/>
                <a:gd name="T87" fmla="*/ 1069193 h 3628"/>
                <a:gd name="T88" fmla="*/ 686822 w 2776"/>
                <a:gd name="T89" fmla="*/ 1158081 h 3628"/>
                <a:gd name="T90" fmla="*/ 700787 w 2776"/>
                <a:gd name="T91" fmla="*/ 1193636 h 3628"/>
                <a:gd name="T92" fmla="*/ 690631 w 2776"/>
                <a:gd name="T93" fmla="*/ 1262206 h 3628"/>
                <a:gd name="T94" fmla="*/ 766804 w 2776"/>
                <a:gd name="T95" fmla="*/ 1376491 h 3628"/>
                <a:gd name="T96" fmla="*/ 797273 w 2776"/>
                <a:gd name="T97" fmla="*/ 1521251 h 3628"/>
                <a:gd name="T98" fmla="*/ 746491 w 2776"/>
                <a:gd name="T99" fmla="*/ 1737121 h 3628"/>
                <a:gd name="T100" fmla="*/ 846785 w 2776"/>
                <a:gd name="T101" fmla="*/ 2073625 h 3628"/>
                <a:gd name="T102" fmla="*/ 903914 w 2776"/>
                <a:gd name="T103" fmla="*/ 2242511 h 3628"/>
                <a:gd name="T104" fmla="*/ 934383 w 2776"/>
                <a:gd name="T105" fmla="*/ 2289495 h 3628"/>
                <a:gd name="T106" fmla="*/ 1009286 w 2776"/>
                <a:gd name="T107" fmla="*/ 2284416 h 3628"/>
                <a:gd name="T108" fmla="*/ 1104502 w 2776"/>
                <a:gd name="T109" fmla="*/ 2269178 h 3628"/>
                <a:gd name="T110" fmla="*/ 1280968 w 2776"/>
                <a:gd name="T111" fmla="*/ 2079974 h 3628"/>
                <a:gd name="T112" fmla="*/ 1354602 w 2776"/>
                <a:gd name="T113" fmla="*/ 1940293 h 3628"/>
                <a:gd name="T114" fmla="*/ 1338098 w 2776"/>
                <a:gd name="T115" fmla="*/ 1812041 h 3628"/>
                <a:gd name="T116" fmla="*/ 1482826 w 2776"/>
                <a:gd name="T117" fmla="*/ 1673630 h 3628"/>
                <a:gd name="T118" fmla="*/ 1475208 w 2776"/>
                <a:gd name="T119" fmla="*/ 1513632 h 3628"/>
                <a:gd name="T120" fmla="*/ 1448548 w 2776"/>
                <a:gd name="T121" fmla="*/ 1400617 h 3628"/>
                <a:gd name="T122" fmla="*/ 1491712 w 2776"/>
                <a:gd name="T123" fmla="*/ 1268555 h 3628"/>
                <a:gd name="T124" fmla="*/ 1679605 w 2776"/>
                <a:gd name="T125" fmla="*/ 1045066 h 362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776"/>
                <a:gd name="T190" fmla="*/ 0 h 3628"/>
                <a:gd name="T191" fmla="*/ 2776 w 2776"/>
                <a:gd name="T192" fmla="*/ 3628 h 362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776" h="3628">
                  <a:moveTo>
                    <a:pt x="2710" y="2504"/>
                  </a:moveTo>
                  <a:lnTo>
                    <a:pt x="2710" y="2504"/>
                  </a:lnTo>
                  <a:lnTo>
                    <a:pt x="2706" y="2498"/>
                  </a:lnTo>
                  <a:lnTo>
                    <a:pt x="2702" y="2492"/>
                  </a:lnTo>
                  <a:lnTo>
                    <a:pt x="2698" y="2476"/>
                  </a:lnTo>
                  <a:lnTo>
                    <a:pt x="2696" y="2470"/>
                  </a:lnTo>
                  <a:lnTo>
                    <a:pt x="2692" y="2466"/>
                  </a:lnTo>
                  <a:lnTo>
                    <a:pt x="2690" y="2468"/>
                  </a:lnTo>
                  <a:lnTo>
                    <a:pt x="2684" y="2472"/>
                  </a:lnTo>
                  <a:lnTo>
                    <a:pt x="2680" y="2480"/>
                  </a:lnTo>
                  <a:lnTo>
                    <a:pt x="2678" y="2486"/>
                  </a:lnTo>
                  <a:lnTo>
                    <a:pt x="2676" y="2508"/>
                  </a:lnTo>
                  <a:lnTo>
                    <a:pt x="2674" y="2518"/>
                  </a:lnTo>
                  <a:lnTo>
                    <a:pt x="2672" y="2526"/>
                  </a:lnTo>
                  <a:lnTo>
                    <a:pt x="2668" y="2532"/>
                  </a:lnTo>
                  <a:lnTo>
                    <a:pt x="2664" y="2536"/>
                  </a:lnTo>
                  <a:lnTo>
                    <a:pt x="2656" y="2542"/>
                  </a:lnTo>
                  <a:lnTo>
                    <a:pt x="2648" y="2544"/>
                  </a:lnTo>
                  <a:lnTo>
                    <a:pt x="2634" y="2546"/>
                  </a:lnTo>
                  <a:lnTo>
                    <a:pt x="2632" y="2548"/>
                  </a:lnTo>
                  <a:lnTo>
                    <a:pt x="2632" y="2554"/>
                  </a:lnTo>
                  <a:lnTo>
                    <a:pt x="2638" y="2566"/>
                  </a:lnTo>
                  <a:lnTo>
                    <a:pt x="2636" y="2572"/>
                  </a:lnTo>
                  <a:lnTo>
                    <a:pt x="2636" y="2576"/>
                  </a:lnTo>
                  <a:lnTo>
                    <a:pt x="2626" y="2588"/>
                  </a:lnTo>
                  <a:lnTo>
                    <a:pt x="2606" y="2608"/>
                  </a:lnTo>
                  <a:lnTo>
                    <a:pt x="2596" y="2618"/>
                  </a:lnTo>
                  <a:lnTo>
                    <a:pt x="2588" y="2628"/>
                  </a:lnTo>
                  <a:lnTo>
                    <a:pt x="2578" y="2640"/>
                  </a:lnTo>
                  <a:lnTo>
                    <a:pt x="2572" y="2646"/>
                  </a:lnTo>
                  <a:lnTo>
                    <a:pt x="2564" y="2650"/>
                  </a:lnTo>
                  <a:lnTo>
                    <a:pt x="2554" y="2652"/>
                  </a:lnTo>
                  <a:lnTo>
                    <a:pt x="2538" y="2656"/>
                  </a:lnTo>
                  <a:lnTo>
                    <a:pt x="2530" y="2658"/>
                  </a:lnTo>
                  <a:lnTo>
                    <a:pt x="2526" y="2660"/>
                  </a:lnTo>
                  <a:lnTo>
                    <a:pt x="2522" y="2664"/>
                  </a:lnTo>
                  <a:lnTo>
                    <a:pt x="2520" y="2668"/>
                  </a:lnTo>
                  <a:lnTo>
                    <a:pt x="2516" y="2670"/>
                  </a:lnTo>
                  <a:lnTo>
                    <a:pt x="2512" y="2670"/>
                  </a:lnTo>
                  <a:lnTo>
                    <a:pt x="2506" y="2670"/>
                  </a:lnTo>
                  <a:lnTo>
                    <a:pt x="2500" y="2670"/>
                  </a:lnTo>
                  <a:lnTo>
                    <a:pt x="2496" y="2670"/>
                  </a:lnTo>
                  <a:lnTo>
                    <a:pt x="2496" y="2672"/>
                  </a:lnTo>
                  <a:lnTo>
                    <a:pt x="2496" y="2676"/>
                  </a:lnTo>
                  <a:lnTo>
                    <a:pt x="2494" y="2690"/>
                  </a:lnTo>
                  <a:lnTo>
                    <a:pt x="2492" y="2700"/>
                  </a:lnTo>
                  <a:lnTo>
                    <a:pt x="2486" y="2712"/>
                  </a:lnTo>
                  <a:lnTo>
                    <a:pt x="2480" y="2724"/>
                  </a:lnTo>
                  <a:lnTo>
                    <a:pt x="2478" y="2732"/>
                  </a:lnTo>
                  <a:lnTo>
                    <a:pt x="2478" y="2738"/>
                  </a:lnTo>
                  <a:lnTo>
                    <a:pt x="2478" y="2742"/>
                  </a:lnTo>
                  <a:lnTo>
                    <a:pt x="2482" y="2750"/>
                  </a:lnTo>
                  <a:lnTo>
                    <a:pt x="2482" y="2754"/>
                  </a:lnTo>
                  <a:lnTo>
                    <a:pt x="2482" y="2762"/>
                  </a:lnTo>
                  <a:lnTo>
                    <a:pt x="2480" y="2772"/>
                  </a:lnTo>
                  <a:lnTo>
                    <a:pt x="2480" y="2778"/>
                  </a:lnTo>
                  <a:lnTo>
                    <a:pt x="2484" y="2790"/>
                  </a:lnTo>
                  <a:lnTo>
                    <a:pt x="2488" y="2798"/>
                  </a:lnTo>
                  <a:lnTo>
                    <a:pt x="2488" y="2802"/>
                  </a:lnTo>
                  <a:lnTo>
                    <a:pt x="2488" y="2806"/>
                  </a:lnTo>
                  <a:lnTo>
                    <a:pt x="2488" y="2814"/>
                  </a:lnTo>
                  <a:lnTo>
                    <a:pt x="2490" y="2820"/>
                  </a:lnTo>
                  <a:lnTo>
                    <a:pt x="2494" y="2832"/>
                  </a:lnTo>
                  <a:lnTo>
                    <a:pt x="2498" y="2848"/>
                  </a:lnTo>
                  <a:lnTo>
                    <a:pt x="2498" y="2860"/>
                  </a:lnTo>
                  <a:lnTo>
                    <a:pt x="2496" y="2868"/>
                  </a:lnTo>
                  <a:lnTo>
                    <a:pt x="2492" y="2876"/>
                  </a:lnTo>
                  <a:lnTo>
                    <a:pt x="2488" y="2884"/>
                  </a:lnTo>
                  <a:lnTo>
                    <a:pt x="2480" y="2900"/>
                  </a:lnTo>
                  <a:lnTo>
                    <a:pt x="2476" y="2908"/>
                  </a:lnTo>
                  <a:lnTo>
                    <a:pt x="2474" y="2916"/>
                  </a:lnTo>
                  <a:lnTo>
                    <a:pt x="2472" y="2924"/>
                  </a:lnTo>
                  <a:lnTo>
                    <a:pt x="2470" y="2928"/>
                  </a:lnTo>
                  <a:lnTo>
                    <a:pt x="2466" y="2928"/>
                  </a:lnTo>
                  <a:lnTo>
                    <a:pt x="2464" y="2928"/>
                  </a:lnTo>
                  <a:lnTo>
                    <a:pt x="2462" y="2930"/>
                  </a:lnTo>
                  <a:lnTo>
                    <a:pt x="2458" y="2934"/>
                  </a:lnTo>
                  <a:lnTo>
                    <a:pt x="2454" y="2942"/>
                  </a:lnTo>
                  <a:lnTo>
                    <a:pt x="2450" y="2954"/>
                  </a:lnTo>
                  <a:lnTo>
                    <a:pt x="2448" y="2968"/>
                  </a:lnTo>
                  <a:lnTo>
                    <a:pt x="2446" y="2980"/>
                  </a:lnTo>
                  <a:lnTo>
                    <a:pt x="2448" y="2990"/>
                  </a:lnTo>
                  <a:lnTo>
                    <a:pt x="2448" y="2998"/>
                  </a:lnTo>
                  <a:lnTo>
                    <a:pt x="2456" y="3012"/>
                  </a:lnTo>
                  <a:lnTo>
                    <a:pt x="2464" y="3026"/>
                  </a:lnTo>
                  <a:lnTo>
                    <a:pt x="2466" y="3034"/>
                  </a:lnTo>
                  <a:lnTo>
                    <a:pt x="2466" y="3040"/>
                  </a:lnTo>
                  <a:lnTo>
                    <a:pt x="2466" y="3054"/>
                  </a:lnTo>
                  <a:lnTo>
                    <a:pt x="2464" y="3062"/>
                  </a:lnTo>
                  <a:lnTo>
                    <a:pt x="2466" y="3072"/>
                  </a:lnTo>
                  <a:lnTo>
                    <a:pt x="2468" y="3084"/>
                  </a:lnTo>
                  <a:lnTo>
                    <a:pt x="2474" y="3100"/>
                  </a:lnTo>
                  <a:lnTo>
                    <a:pt x="2480" y="3114"/>
                  </a:lnTo>
                  <a:lnTo>
                    <a:pt x="2486" y="3122"/>
                  </a:lnTo>
                  <a:lnTo>
                    <a:pt x="2492" y="3126"/>
                  </a:lnTo>
                  <a:lnTo>
                    <a:pt x="2498" y="3130"/>
                  </a:lnTo>
                  <a:lnTo>
                    <a:pt x="2510" y="3134"/>
                  </a:lnTo>
                  <a:lnTo>
                    <a:pt x="2514" y="3136"/>
                  </a:lnTo>
                  <a:lnTo>
                    <a:pt x="2520" y="3142"/>
                  </a:lnTo>
                  <a:lnTo>
                    <a:pt x="2522" y="3144"/>
                  </a:lnTo>
                  <a:lnTo>
                    <a:pt x="2526" y="3146"/>
                  </a:lnTo>
                  <a:lnTo>
                    <a:pt x="2534" y="3146"/>
                  </a:lnTo>
                  <a:lnTo>
                    <a:pt x="2544" y="3144"/>
                  </a:lnTo>
                  <a:lnTo>
                    <a:pt x="2554" y="3140"/>
                  </a:lnTo>
                  <a:lnTo>
                    <a:pt x="2574" y="3128"/>
                  </a:lnTo>
                  <a:lnTo>
                    <a:pt x="2584" y="3124"/>
                  </a:lnTo>
                  <a:lnTo>
                    <a:pt x="2594" y="3122"/>
                  </a:lnTo>
                  <a:lnTo>
                    <a:pt x="2598" y="3120"/>
                  </a:lnTo>
                  <a:lnTo>
                    <a:pt x="2602" y="3116"/>
                  </a:lnTo>
                  <a:lnTo>
                    <a:pt x="2610" y="3096"/>
                  </a:lnTo>
                  <a:lnTo>
                    <a:pt x="2620" y="3068"/>
                  </a:lnTo>
                  <a:lnTo>
                    <a:pt x="2628" y="3034"/>
                  </a:lnTo>
                  <a:lnTo>
                    <a:pt x="2648" y="2952"/>
                  </a:lnTo>
                  <a:lnTo>
                    <a:pt x="2668" y="2870"/>
                  </a:lnTo>
                  <a:lnTo>
                    <a:pt x="2682" y="2822"/>
                  </a:lnTo>
                  <a:lnTo>
                    <a:pt x="2694" y="2792"/>
                  </a:lnTo>
                  <a:lnTo>
                    <a:pt x="2696" y="2780"/>
                  </a:lnTo>
                  <a:lnTo>
                    <a:pt x="2700" y="2768"/>
                  </a:lnTo>
                  <a:lnTo>
                    <a:pt x="2700" y="2756"/>
                  </a:lnTo>
                  <a:lnTo>
                    <a:pt x="2698" y="2742"/>
                  </a:lnTo>
                  <a:lnTo>
                    <a:pt x="2698" y="2730"/>
                  </a:lnTo>
                  <a:lnTo>
                    <a:pt x="2698" y="2722"/>
                  </a:lnTo>
                  <a:lnTo>
                    <a:pt x="2700" y="2718"/>
                  </a:lnTo>
                  <a:lnTo>
                    <a:pt x="2704" y="2714"/>
                  </a:lnTo>
                  <a:lnTo>
                    <a:pt x="2710" y="2710"/>
                  </a:lnTo>
                  <a:lnTo>
                    <a:pt x="2712" y="2706"/>
                  </a:lnTo>
                  <a:lnTo>
                    <a:pt x="2710" y="2700"/>
                  </a:lnTo>
                  <a:lnTo>
                    <a:pt x="2710" y="2690"/>
                  </a:lnTo>
                  <a:lnTo>
                    <a:pt x="2712" y="2684"/>
                  </a:lnTo>
                  <a:lnTo>
                    <a:pt x="2712" y="2674"/>
                  </a:lnTo>
                  <a:lnTo>
                    <a:pt x="2712" y="2670"/>
                  </a:lnTo>
                  <a:lnTo>
                    <a:pt x="2710" y="2662"/>
                  </a:lnTo>
                  <a:lnTo>
                    <a:pt x="2706" y="2654"/>
                  </a:lnTo>
                  <a:lnTo>
                    <a:pt x="2706" y="2648"/>
                  </a:lnTo>
                  <a:lnTo>
                    <a:pt x="2706" y="2642"/>
                  </a:lnTo>
                  <a:lnTo>
                    <a:pt x="2708" y="2638"/>
                  </a:lnTo>
                  <a:lnTo>
                    <a:pt x="2710" y="2636"/>
                  </a:lnTo>
                  <a:lnTo>
                    <a:pt x="2714" y="2640"/>
                  </a:lnTo>
                  <a:lnTo>
                    <a:pt x="2718" y="2646"/>
                  </a:lnTo>
                  <a:lnTo>
                    <a:pt x="2722" y="2658"/>
                  </a:lnTo>
                  <a:lnTo>
                    <a:pt x="2724" y="2662"/>
                  </a:lnTo>
                  <a:lnTo>
                    <a:pt x="2728" y="2662"/>
                  </a:lnTo>
                  <a:lnTo>
                    <a:pt x="2732" y="2658"/>
                  </a:lnTo>
                  <a:lnTo>
                    <a:pt x="2734" y="2652"/>
                  </a:lnTo>
                  <a:lnTo>
                    <a:pt x="2736" y="2644"/>
                  </a:lnTo>
                  <a:lnTo>
                    <a:pt x="2738" y="2634"/>
                  </a:lnTo>
                  <a:lnTo>
                    <a:pt x="2736" y="2624"/>
                  </a:lnTo>
                  <a:lnTo>
                    <a:pt x="2734" y="2614"/>
                  </a:lnTo>
                  <a:lnTo>
                    <a:pt x="2732" y="2604"/>
                  </a:lnTo>
                  <a:lnTo>
                    <a:pt x="2730" y="2590"/>
                  </a:lnTo>
                  <a:lnTo>
                    <a:pt x="2724" y="2556"/>
                  </a:lnTo>
                  <a:lnTo>
                    <a:pt x="2720" y="2522"/>
                  </a:lnTo>
                  <a:lnTo>
                    <a:pt x="2716" y="2510"/>
                  </a:lnTo>
                  <a:lnTo>
                    <a:pt x="2710" y="2504"/>
                  </a:lnTo>
                  <a:close/>
                  <a:moveTo>
                    <a:pt x="2770" y="1364"/>
                  </a:moveTo>
                  <a:lnTo>
                    <a:pt x="2770" y="1364"/>
                  </a:lnTo>
                  <a:lnTo>
                    <a:pt x="2764" y="1352"/>
                  </a:lnTo>
                  <a:lnTo>
                    <a:pt x="2762" y="1342"/>
                  </a:lnTo>
                  <a:lnTo>
                    <a:pt x="2764" y="1332"/>
                  </a:lnTo>
                  <a:lnTo>
                    <a:pt x="2766" y="1322"/>
                  </a:lnTo>
                  <a:lnTo>
                    <a:pt x="2770" y="1316"/>
                  </a:lnTo>
                  <a:lnTo>
                    <a:pt x="2770" y="1308"/>
                  </a:lnTo>
                  <a:lnTo>
                    <a:pt x="2768" y="1304"/>
                  </a:lnTo>
                  <a:lnTo>
                    <a:pt x="2762" y="1300"/>
                  </a:lnTo>
                  <a:lnTo>
                    <a:pt x="2752" y="1300"/>
                  </a:lnTo>
                  <a:lnTo>
                    <a:pt x="2746" y="1302"/>
                  </a:lnTo>
                  <a:lnTo>
                    <a:pt x="2730" y="1314"/>
                  </a:lnTo>
                  <a:lnTo>
                    <a:pt x="2720" y="1320"/>
                  </a:lnTo>
                  <a:lnTo>
                    <a:pt x="2708" y="1326"/>
                  </a:lnTo>
                  <a:lnTo>
                    <a:pt x="2694" y="1330"/>
                  </a:lnTo>
                  <a:lnTo>
                    <a:pt x="2676" y="1330"/>
                  </a:lnTo>
                  <a:lnTo>
                    <a:pt x="2660" y="1332"/>
                  </a:lnTo>
                  <a:lnTo>
                    <a:pt x="2650" y="1332"/>
                  </a:lnTo>
                  <a:lnTo>
                    <a:pt x="2646" y="1334"/>
                  </a:lnTo>
                  <a:lnTo>
                    <a:pt x="2646" y="1336"/>
                  </a:lnTo>
                  <a:lnTo>
                    <a:pt x="2646" y="1338"/>
                  </a:lnTo>
                  <a:lnTo>
                    <a:pt x="2644" y="1340"/>
                  </a:lnTo>
                  <a:lnTo>
                    <a:pt x="2640" y="1340"/>
                  </a:lnTo>
                  <a:lnTo>
                    <a:pt x="2630" y="1340"/>
                  </a:lnTo>
                  <a:lnTo>
                    <a:pt x="2618" y="1340"/>
                  </a:lnTo>
                  <a:lnTo>
                    <a:pt x="2608" y="1342"/>
                  </a:lnTo>
                  <a:lnTo>
                    <a:pt x="2602" y="1346"/>
                  </a:lnTo>
                  <a:lnTo>
                    <a:pt x="2596" y="1352"/>
                  </a:lnTo>
                  <a:lnTo>
                    <a:pt x="2590" y="1356"/>
                  </a:lnTo>
                  <a:lnTo>
                    <a:pt x="2584" y="1360"/>
                  </a:lnTo>
                  <a:lnTo>
                    <a:pt x="2574" y="1360"/>
                  </a:lnTo>
                  <a:lnTo>
                    <a:pt x="2564" y="1358"/>
                  </a:lnTo>
                  <a:lnTo>
                    <a:pt x="2552" y="1356"/>
                  </a:lnTo>
                  <a:lnTo>
                    <a:pt x="2542" y="1356"/>
                  </a:lnTo>
                  <a:lnTo>
                    <a:pt x="2534" y="1360"/>
                  </a:lnTo>
                  <a:lnTo>
                    <a:pt x="2528" y="1366"/>
                  </a:lnTo>
                  <a:lnTo>
                    <a:pt x="2520" y="1370"/>
                  </a:lnTo>
                  <a:lnTo>
                    <a:pt x="2512" y="1374"/>
                  </a:lnTo>
                  <a:lnTo>
                    <a:pt x="2504" y="1376"/>
                  </a:lnTo>
                  <a:lnTo>
                    <a:pt x="2494" y="1374"/>
                  </a:lnTo>
                  <a:lnTo>
                    <a:pt x="2484" y="1368"/>
                  </a:lnTo>
                  <a:lnTo>
                    <a:pt x="2476" y="1362"/>
                  </a:lnTo>
                  <a:lnTo>
                    <a:pt x="2470" y="1356"/>
                  </a:lnTo>
                  <a:lnTo>
                    <a:pt x="2466" y="1350"/>
                  </a:lnTo>
                  <a:lnTo>
                    <a:pt x="2458" y="1334"/>
                  </a:lnTo>
                  <a:lnTo>
                    <a:pt x="2454" y="1328"/>
                  </a:lnTo>
                  <a:lnTo>
                    <a:pt x="2448" y="1320"/>
                  </a:lnTo>
                  <a:lnTo>
                    <a:pt x="2444" y="1318"/>
                  </a:lnTo>
                  <a:lnTo>
                    <a:pt x="2438" y="1316"/>
                  </a:lnTo>
                  <a:lnTo>
                    <a:pt x="2428" y="1316"/>
                  </a:lnTo>
                  <a:lnTo>
                    <a:pt x="2426" y="1316"/>
                  </a:lnTo>
                  <a:lnTo>
                    <a:pt x="2428" y="1314"/>
                  </a:lnTo>
                  <a:lnTo>
                    <a:pt x="2444" y="1302"/>
                  </a:lnTo>
                  <a:lnTo>
                    <a:pt x="2450" y="1298"/>
                  </a:lnTo>
                  <a:lnTo>
                    <a:pt x="2452" y="1294"/>
                  </a:lnTo>
                  <a:lnTo>
                    <a:pt x="2452" y="1288"/>
                  </a:lnTo>
                  <a:lnTo>
                    <a:pt x="2452" y="1284"/>
                  </a:lnTo>
                  <a:lnTo>
                    <a:pt x="2448" y="1272"/>
                  </a:lnTo>
                  <a:lnTo>
                    <a:pt x="2440" y="1260"/>
                  </a:lnTo>
                  <a:lnTo>
                    <a:pt x="2436" y="1256"/>
                  </a:lnTo>
                  <a:lnTo>
                    <a:pt x="2432" y="1254"/>
                  </a:lnTo>
                  <a:lnTo>
                    <a:pt x="2426" y="1252"/>
                  </a:lnTo>
                  <a:lnTo>
                    <a:pt x="2422" y="1244"/>
                  </a:lnTo>
                  <a:lnTo>
                    <a:pt x="2418" y="1238"/>
                  </a:lnTo>
                  <a:lnTo>
                    <a:pt x="2416" y="1236"/>
                  </a:lnTo>
                  <a:lnTo>
                    <a:pt x="2414" y="1232"/>
                  </a:lnTo>
                  <a:lnTo>
                    <a:pt x="2410" y="1224"/>
                  </a:lnTo>
                  <a:lnTo>
                    <a:pt x="2404" y="1214"/>
                  </a:lnTo>
                  <a:lnTo>
                    <a:pt x="2402" y="1214"/>
                  </a:lnTo>
                  <a:lnTo>
                    <a:pt x="2402" y="1216"/>
                  </a:lnTo>
                  <a:lnTo>
                    <a:pt x="2396" y="1208"/>
                  </a:lnTo>
                  <a:lnTo>
                    <a:pt x="2394" y="1204"/>
                  </a:lnTo>
                  <a:lnTo>
                    <a:pt x="2392" y="1202"/>
                  </a:lnTo>
                  <a:lnTo>
                    <a:pt x="2388" y="1202"/>
                  </a:lnTo>
                  <a:lnTo>
                    <a:pt x="2384" y="1202"/>
                  </a:lnTo>
                  <a:lnTo>
                    <a:pt x="2382" y="1198"/>
                  </a:lnTo>
                  <a:lnTo>
                    <a:pt x="2378" y="1192"/>
                  </a:lnTo>
                  <a:lnTo>
                    <a:pt x="2372" y="1182"/>
                  </a:lnTo>
                  <a:lnTo>
                    <a:pt x="2366" y="1172"/>
                  </a:lnTo>
                  <a:lnTo>
                    <a:pt x="2362" y="1166"/>
                  </a:lnTo>
                  <a:lnTo>
                    <a:pt x="2358" y="1164"/>
                  </a:lnTo>
                  <a:lnTo>
                    <a:pt x="2356" y="1164"/>
                  </a:lnTo>
                  <a:lnTo>
                    <a:pt x="2354" y="1166"/>
                  </a:lnTo>
                  <a:lnTo>
                    <a:pt x="2352" y="1166"/>
                  </a:lnTo>
                  <a:lnTo>
                    <a:pt x="2348" y="1162"/>
                  </a:lnTo>
                  <a:lnTo>
                    <a:pt x="2344" y="1156"/>
                  </a:lnTo>
                  <a:lnTo>
                    <a:pt x="2340" y="1150"/>
                  </a:lnTo>
                  <a:lnTo>
                    <a:pt x="2338" y="1150"/>
                  </a:lnTo>
                  <a:lnTo>
                    <a:pt x="2334" y="1150"/>
                  </a:lnTo>
                  <a:lnTo>
                    <a:pt x="2332" y="1152"/>
                  </a:lnTo>
                  <a:lnTo>
                    <a:pt x="2330" y="1152"/>
                  </a:lnTo>
                  <a:lnTo>
                    <a:pt x="2326" y="1150"/>
                  </a:lnTo>
                  <a:lnTo>
                    <a:pt x="2322" y="1144"/>
                  </a:lnTo>
                  <a:lnTo>
                    <a:pt x="2316" y="1132"/>
                  </a:lnTo>
                  <a:lnTo>
                    <a:pt x="2312" y="1124"/>
                  </a:lnTo>
                  <a:lnTo>
                    <a:pt x="2310" y="1122"/>
                  </a:lnTo>
                  <a:lnTo>
                    <a:pt x="2308" y="1124"/>
                  </a:lnTo>
                  <a:lnTo>
                    <a:pt x="2308" y="1128"/>
                  </a:lnTo>
                  <a:lnTo>
                    <a:pt x="2308" y="1140"/>
                  </a:lnTo>
                  <a:lnTo>
                    <a:pt x="2308" y="1144"/>
                  </a:lnTo>
                  <a:lnTo>
                    <a:pt x="2306" y="1146"/>
                  </a:lnTo>
                  <a:lnTo>
                    <a:pt x="2304" y="1142"/>
                  </a:lnTo>
                  <a:lnTo>
                    <a:pt x="2300" y="1136"/>
                  </a:lnTo>
                  <a:lnTo>
                    <a:pt x="2298" y="1126"/>
                  </a:lnTo>
                  <a:lnTo>
                    <a:pt x="2290" y="1110"/>
                  </a:lnTo>
                  <a:lnTo>
                    <a:pt x="2286" y="1100"/>
                  </a:lnTo>
                  <a:lnTo>
                    <a:pt x="2284" y="1086"/>
                  </a:lnTo>
                  <a:lnTo>
                    <a:pt x="2280" y="1058"/>
                  </a:lnTo>
                  <a:lnTo>
                    <a:pt x="2276" y="1042"/>
                  </a:lnTo>
                  <a:lnTo>
                    <a:pt x="2272" y="1026"/>
                  </a:lnTo>
                  <a:lnTo>
                    <a:pt x="2268" y="1012"/>
                  </a:lnTo>
                  <a:lnTo>
                    <a:pt x="2260" y="998"/>
                  </a:lnTo>
                  <a:lnTo>
                    <a:pt x="2252" y="988"/>
                  </a:lnTo>
                  <a:lnTo>
                    <a:pt x="2248" y="984"/>
                  </a:lnTo>
                  <a:lnTo>
                    <a:pt x="2244" y="986"/>
                  </a:lnTo>
                  <a:lnTo>
                    <a:pt x="2242" y="986"/>
                  </a:lnTo>
                  <a:lnTo>
                    <a:pt x="2240" y="984"/>
                  </a:lnTo>
                  <a:lnTo>
                    <a:pt x="2236" y="976"/>
                  </a:lnTo>
                  <a:lnTo>
                    <a:pt x="2230" y="968"/>
                  </a:lnTo>
                  <a:lnTo>
                    <a:pt x="2226" y="966"/>
                  </a:lnTo>
                  <a:lnTo>
                    <a:pt x="2222" y="966"/>
                  </a:lnTo>
                  <a:lnTo>
                    <a:pt x="2220" y="966"/>
                  </a:lnTo>
                  <a:lnTo>
                    <a:pt x="2218" y="964"/>
                  </a:lnTo>
                  <a:lnTo>
                    <a:pt x="2212" y="956"/>
                  </a:lnTo>
                  <a:lnTo>
                    <a:pt x="2208" y="944"/>
                  </a:lnTo>
                  <a:lnTo>
                    <a:pt x="2206" y="928"/>
                  </a:lnTo>
                  <a:lnTo>
                    <a:pt x="2202" y="900"/>
                  </a:lnTo>
                  <a:lnTo>
                    <a:pt x="2200" y="890"/>
                  </a:lnTo>
                  <a:lnTo>
                    <a:pt x="2202" y="884"/>
                  </a:lnTo>
                  <a:lnTo>
                    <a:pt x="2204" y="876"/>
                  </a:lnTo>
                  <a:lnTo>
                    <a:pt x="2204" y="870"/>
                  </a:lnTo>
                  <a:lnTo>
                    <a:pt x="2200" y="858"/>
                  </a:lnTo>
                  <a:lnTo>
                    <a:pt x="2198" y="850"/>
                  </a:lnTo>
                  <a:lnTo>
                    <a:pt x="2200" y="848"/>
                  </a:lnTo>
                  <a:lnTo>
                    <a:pt x="2204" y="850"/>
                  </a:lnTo>
                  <a:lnTo>
                    <a:pt x="2208" y="850"/>
                  </a:lnTo>
                  <a:lnTo>
                    <a:pt x="2210" y="848"/>
                  </a:lnTo>
                  <a:lnTo>
                    <a:pt x="2204" y="842"/>
                  </a:lnTo>
                  <a:lnTo>
                    <a:pt x="2198" y="826"/>
                  </a:lnTo>
                  <a:lnTo>
                    <a:pt x="2194" y="816"/>
                  </a:lnTo>
                  <a:lnTo>
                    <a:pt x="2192" y="802"/>
                  </a:lnTo>
                  <a:lnTo>
                    <a:pt x="2190" y="794"/>
                  </a:lnTo>
                  <a:lnTo>
                    <a:pt x="2188" y="790"/>
                  </a:lnTo>
                  <a:lnTo>
                    <a:pt x="2184" y="786"/>
                  </a:lnTo>
                  <a:lnTo>
                    <a:pt x="2176" y="784"/>
                  </a:lnTo>
                  <a:lnTo>
                    <a:pt x="2174" y="782"/>
                  </a:lnTo>
                  <a:lnTo>
                    <a:pt x="2170" y="780"/>
                  </a:lnTo>
                  <a:lnTo>
                    <a:pt x="2166" y="772"/>
                  </a:lnTo>
                  <a:lnTo>
                    <a:pt x="2162" y="766"/>
                  </a:lnTo>
                  <a:lnTo>
                    <a:pt x="2160" y="764"/>
                  </a:lnTo>
                  <a:lnTo>
                    <a:pt x="2154" y="764"/>
                  </a:lnTo>
                  <a:lnTo>
                    <a:pt x="2150" y="762"/>
                  </a:lnTo>
                  <a:lnTo>
                    <a:pt x="2146" y="758"/>
                  </a:lnTo>
                  <a:lnTo>
                    <a:pt x="2138" y="746"/>
                  </a:lnTo>
                  <a:lnTo>
                    <a:pt x="2134" y="752"/>
                  </a:lnTo>
                  <a:lnTo>
                    <a:pt x="2138" y="746"/>
                  </a:lnTo>
                  <a:lnTo>
                    <a:pt x="2134" y="732"/>
                  </a:lnTo>
                  <a:lnTo>
                    <a:pt x="2132" y="716"/>
                  </a:lnTo>
                  <a:lnTo>
                    <a:pt x="2132" y="710"/>
                  </a:lnTo>
                  <a:lnTo>
                    <a:pt x="2134" y="706"/>
                  </a:lnTo>
                  <a:lnTo>
                    <a:pt x="2136" y="702"/>
                  </a:lnTo>
                  <a:lnTo>
                    <a:pt x="2142" y="702"/>
                  </a:lnTo>
                  <a:lnTo>
                    <a:pt x="2144" y="702"/>
                  </a:lnTo>
                  <a:lnTo>
                    <a:pt x="2138" y="698"/>
                  </a:lnTo>
                  <a:lnTo>
                    <a:pt x="2134" y="692"/>
                  </a:lnTo>
                  <a:lnTo>
                    <a:pt x="2128" y="684"/>
                  </a:lnTo>
                  <a:lnTo>
                    <a:pt x="2120" y="674"/>
                  </a:lnTo>
                  <a:lnTo>
                    <a:pt x="2116" y="662"/>
                  </a:lnTo>
                  <a:lnTo>
                    <a:pt x="2108" y="642"/>
                  </a:lnTo>
                  <a:lnTo>
                    <a:pt x="2098" y="624"/>
                  </a:lnTo>
                  <a:lnTo>
                    <a:pt x="2082" y="594"/>
                  </a:lnTo>
                  <a:lnTo>
                    <a:pt x="2072" y="572"/>
                  </a:lnTo>
                  <a:lnTo>
                    <a:pt x="2070" y="564"/>
                  </a:lnTo>
                  <a:lnTo>
                    <a:pt x="2070" y="556"/>
                  </a:lnTo>
                  <a:lnTo>
                    <a:pt x="2070" y="550"/>
                  </a:lnTo>
                  <a:lnTo>
                    <a:pt x="2070" y="544"/>
                  </a:lnTo>
                  <a:lnTo>
                    <a:pt x="2064" y="534"/>
                  </a:lnTo>
                  <a:lnTo>
                    <a:pt x="2058" y="526"/>
                  </a:lnTo>
                  <a:lnTo>
                    <a:pt x="2056" y="520"/>
                  </a:lnTo>
                  <a:lnTo>
                    <a:pt x="2056" y="512"/>
                  </a:lnTo>
                  <a:lnTo>
                    <a:pt x="2054" y="504"/>
                  </a:lnTo>
                  <a:lnTo>
                    <a:pt x="2050" y="494"/>
                  </a:lnTo>
                  <a:lnTo>
                    <a:pt x="2036" y="474"/>
                  </a:lnTo>
                  <a:lnTo>
                    <a:pt x="2022" y="452"/>
                  </a:lnTo>
                  <a:lnTo>
                    <a:pt x="2018" y="442"/>
                  </a:lnTo>
                  <a:lnTo>
                    <a:pt x="2016" y="434"/>
                  </a:lnTo>
                  <a:lnTo>
                    <a:pt x="2016" y="426"/>
                  </a:lnTo>
                  <a:lnTo>
                    <a:pt x="2014" y="422"/>
                  </a:lnTo>
                  <a:lnTo>
                    <a:pt x="2010" y="416"/>
                  </a:lnTo>
                  <a:lnTo>
                    <a:pt x="2008" y="412"/>
                  </a:lnTo>
                  <a:lnTo>
                    <a:pt x="2008" y="408"/>
                  </a:lnTo>
                  <a:lnTo>
                    <a:pt x="2010" y="402"/>
                  </a:lnTo>
                  <a:lnTo>
                    <a:pt x="2014" y="394"/>
                  </a:lnTo>
                  <a:lnTo>
                    <a:pt x="2000" y="332"/>
                  </a:lnTo>
                  <a:lnTo>
                    <a:pt x="1998" y="332"/>
                  </a:lnTo>
                  <a:lnTo>
                    <a:pt x="1996" y="328"/>
                  </a:lnTo>
                  <a:lnTo>
                    <a:pt x="1992" y="326"/>
                  </a:lnTo>
                  <a:lnTo>
                    <a:pt x="1990" y="326"/>
                  </a:lnTo>
                  <a:lnTo>
                    <a:pt x="1986" y="326"/>
                  </a:lnTo>
                  <a:lnTo>
                    <a:pt x="1984" y="324"/>
                  </a:lnTo>
                  <a:lnTo>
                    <a:pt x="1984" y="322"/>
                  </a:lnTo>
                  <a:lnTo>
                    <a:pt x="1984" y="320"/>
                  </a:lnTo>
                  <a:lnTo>
                    <a:pt x="1986" y="318"/>
                  </a:lnTo>
                  <a:lnTo>
                    <a:pt x="1988" y="316"/>
                  </a:lnTo>
                  <a:lnTo>
                    <a:pt x="1990" y="314"/>
                  </a:lnTo>
                  <a:lnTo>
                    <a:pt x="1992" y="316"/>
                  </a:lnTo>
                  <a:lnTo>
                    <a:pt x="1998" y="320"/>
                  </a:lnTo>
                  <a:lnTo>
                    <a:pt x="1996" y="316"/>
                  </a:lnTo>
                  <a:lnTo>
                    <a:pt x="1990" y="310"/>
                  </a:lnTo>
                  <a:lnTo>
                    <a:pt x="1988" y="308"/>
                  </a:lnTo>
                  <a:lnTo>
                    <a:pt x="1986" y="308"/>
                  </a:lnTo>
                  <a:lnTo>
                    <a:pt x="1980" y="312"/>
                  </a:lnTo>
                  <a:lnTo>
                    <a:pt x="1976" y="314"/>
                  </a:lnTo>
                  <a:lnTo>
                    <a:pt x="1974" y="314"/>
                  </a:lnTo>
                  <a:lnTo>
                    <a:pt x="1966" y="310"/>
                  </a:lnTo>
                  <a:lnTo>
                    <a:pt x="1958" y="306"/>
                  </a:lnTo>
                  <a:lnTo>
                    <a:pt x="1954" y="306"/>
                  </a:lnTo>
                  <a:lnTo>
                    <a:pt x="1948" y="308"/>
                  </a:lnTo>
                  <a:lnTo>
                    <a:pt x="1938" y="312"/>
                  </a:lnTo>
                  <a:lnTo>
                    <a:pt x="1932" y="312"/>
                  </a:lnTo>
                  <a:lnTo>
                    <a:pt x="1928" y="312"/>
                  </a:lnTo>
                  <a:lnTo>
                    <a:pt x="1922" y="318"/>
                  </a:lnTo>
                  <a:lnTo>
                    <a:pt x="1920" y="320"/>
                  </a:lnTo>
                  <a:lnTo>
                    <a:pt x="1916" y="322"/>
                  </a:lnTo>
                  <a:lnTo>
                    <a:pt x="1908" y="326"/>
                  </a:lnTo>
                  <a:lnTo>
                    <a:pt x="1892" y="340"/>
                  </a:lnTo>
                  <a:lnTo>
                    <a:pt x="1886" y="346"/>
                  </a:lnTo>
                  <a:lnTo>
                    <a:pt x="1880" y="346"/>
                  </a:lnTo>
                  <a:lnTo>
                    <a:pt x="1874" y="346"/>
                  </a:lnTo>
                  <a:lnTo>
                    <a:pt x="1866" y="344"/>
                  </a:lnTo>
                  <a:lnTo>
                    <a:pt x="1854" y="336"/>
                  </a:lnTo>
                  <a:lnTo>
                    <a:pt x="1848" y="334"/>
                  </a:lnTo>
                  <a:lnTo>
                    <a:pt x="1844" y="334"/>
                  </a:lnTo>
                  <a:lnTo>
                    <a:pt x="1836" y="332"/>
                  </a:lnTo>
                  <a:lnTo>
                    <a:pt x="1830" y="330"/>
                  </a:lnTo>
                  <a:lnTo>
                    <a:pt x="1826" y="326"/>
                  </a:lnTo>
                  <a:lnTo>
                    <a:pt x="1822" y="326"/>
                  </a:lnTo>
                  <a:lnTo>
                    <a:pt x="1818" y="326"/>
                  </a:lnTo>
                  <a:lnTo>
                    <a:pt x="1812" y="326"/>
                  </a:lnTo>
                  <a:lnTo>
                    <a:pt x="1812" y="324"/>
                  </a:lnTo>
                  <a:lnTo>
                    <a:pt x="1808" y="322"/>
                  </a:lnTo>
                  <a:lnTo>
                    <a:pt x="1804" y="318"/>
                  </a:lnTo>
                  <a:lnTo>
                    <a:pt x="1794" y="314"/>
                  </a:lnTo>
                  <a:lnTo>
                    <a:pt x="1778" y="310"/>
                  </a:lnTo>
                  <a:lnTo>
                    <a:pt x="1762" y="308"/>
                  </a:lnTo>
                  <a:lnTo>
                    <a:pt x="1750" y="306"/>
                  </a:lnTo>
                  <a:lnTo>
                    <a:pt x="1734" y="308"/>
                  </a:lnTo>
                  <a:lnTo>
                    <a:pt x="1724" y="310"/>
                  </a:lnTo>
                  <a:lnTo>
                    <a:pt x="1718" y="310"/>
                  </a:lnTo>
                  <a:lnTo>
                    <a:pt x="1718" y="308"/>
                  </a:lnTo>
                  <a:lnTo>
                    <a:pt x="1716" y="302"/>
                  </a:lnTo>
                  <a:lnTo>
                    <a:pt x="1714" y="292"/>
                  </a:lnTo>
                  <a:lnTo>
                    <a:pt x="1710" y="288"/>
                  </a:lnTo>
                  <a:lnTo>
                    <a:pt x="1706" y="286"/>
                  </a:lnTo>
                  <a:lnTo>
                    <a:pt x="1700" y="284"/>
                  </a:lnTo>
                  <a:lnTo>
                    <a:pt x="1692" y="284"/>
                  </a:lnTo>
                  <a:lnTo>
                    <a:pt x="1678" y="284"/>
                  </a:lnTo>
                  <a:lnTo>
                    <a:pt x="1672" y="282"/>
                  </a:lnTo>
                  <a:lnTo>
                    <a:pt x="1666" y="280"/>
                  </a:lnTo>
                  <a:lnTo>
                    <a:pt x="1654" y="278"/>
                  </a:lnTo>
                  <a:lnTo>
                    <a:pt x="1648" y="276"/>
                  </a:lnTo>
                  <a:lnTo>
                    <a:pt x="1644" y="274"/>
                  </a:lnTo>
                  <a:lnTo>
                    <a:pt x="1640" y="266"/>
                  </a:lnTo>
                  <a:lnTo>
                    <a:pt x="1638" y="262"/>
                  </a:lnTo>
                  <a:lnTo>
                    <a:pt x="1632" y="256"/>
                  </a:lnTo>
                  <a:lnTo>
                    <a:pt x="1624" y="250"/>
                  </a:lnTo>
                  <a:lnTo>
                    <a:pt x="1612" y="242"/>
                  </a:lnTo>
                  <a:lnTo>
                    <a:pt x="1596" y="236"/>
                  </a:lnTo>
                  <a:lnTo>
                    <a:pt x="1584" y="236"/>
                  </a:lnTo>
                  <a:lnTo>
                    <a:pt x="1574" y="238"/>
                  </a:lnTo>
                  <a:lnTo>
                    <a:pt x="1568" y="242"/>
                  </a:lnTo>
                  <a:lnTo>
                    <a:pt x="1564" y="244"/>
                  </a:lnTo>
                  <a:lnTo>
                    <a:pt x="1560" y="246"/>
                  </a:lnTo>
                  <a:lnTo>
                    <a:pt x="1550" y="246"/>
                  </a:lnTo>
                  <a:lnTo>
                    <a:pt x="1544" y="248"/>
                  </a:lnTo>
                  <a:lnTo>
                    <a:pt x="1536" y="252"/>
                  </a:lnTo>
                  <a:lnTo>
                    <a:pt x="1528" y="260"/>
                  </a:lnTo>
                  <a:lnTo>
                    <a:pt x="1516" y="274"/>
                  </a:lnTo>
                  <a:lnTo>
                    <a:pt x="1510" y="284"/>
                  </a:lnTo>
                  <a:lnTo>
                    <a:pt x="1508" y="292"/>
                  </a:lnTo>
                  <a:lnTo>
                    <a:pt x="1508" y="302"/>
                  </a:lnTo>
                  <a:lnTo>
                    <a:pt x="1510" y="314"/>
                  </a:lnTo>
                  <a:lnTo>
                    <a:pt x="1512" y="324"/>
                  </a:lnTo>
                  <a:lnTo>
                    <a:pt x="1514" y="334"/>
                  </a:lnTo>
                  <a:lnTo>
                    <a:pt x="1512" y="344"/>
                  </a:lnTo>
                  <a:lnTo>
                    <a:pt x="1506" y="354"/>
                  </a:lnTo>
                  <a:lnTo>
                    <a:pt x="1498" y="362"/>
                  </a:lnTo>
                  <a:lnTo>
                    <a:pt x="1492" y="368"/>
                  </a:lnTo>
                  <a:lnTo>
                    <a:pt x="1484" y="374"/>
                  </a:lnTo>
                  <a:lnTo>
                    <a:pt x="1478" y="376"/>
                  </a:lnTo>
                  <a:lnTo>
                    <a:pt x="1470" y="376"/>
                  </a:lnTo>
                  <a:lnTo>
                    <a:pt x="1464" y="374"/>
                  </a:lnTo>
                  <a:lnTo>
                    <a:pt x="1458" y="368"/>
                  </a:lnTo>
                  <a:lnTo>
                    <a:pt x="1452" y="362"/>
                  </a:lnTo>
                  <a:lnTo>
                    <a:pt x="1446" y="356"/>
                  </a:lnTo>
                  <a:lnTo>
                    <a:pt x="1438" y="350"/>
                  </a:lnTo>
                  <a:lnTo>
                    <a:pt x="1418" y="338"/>
                  </a:lnTo>
                  <a:lnTo>
                    <a:pt x="1398" y="330"/>
                  </a:lnTo>
                  <a:lnTo>
                    <a:pt x="1376" y="328"/>
                  </a:lnTo>
                  <a:lnTo>
                    <a:pt x="1358" y="326"/>
                  </a:lnTo>
                  <a:lnTo>
                    <a:pt x="1350" y="324"/>
                  </a:lnTo>
                  <a:lnTo>
                    <a:pt x="1344" y="320"/>
                  </a:lnTo>
                  <a:lnTo>
                    <a:pt x="1338" y="316"/>
                  </a:lnTo>
                  <a:lnTo>
                    <a:pt x="1334" y="310"/>
                  </a:lnTo>
                  <a:lnTo>
                    <a:pt x="1330" y="300"/>
                  </a:lnTo>
                  <a:lnTo>
                    <a:pt x="1326" y="288"/>
                  </a:lnTo>
                  <a:lnTo>
                    <a:pt x="1324" y="276"/>
                  </a:lnTo>
                  <a:lnTo>
                    <a:pt x="1320" y="268"/>
                  </a:lnTo>
                  <a:lnTo>
                    <a:pt x="1314" y="262"/>
                  </a:lnTo>
                  <a:lnTo>
                    <a:pt x="1306" y="260"/>
                  </a:lnTo>
                  <a:lnTo>
                    <a:pt x="1294" y="258"/>
                  </a:lnTo>
                  <a:lnTo>
                    <a:pt x="1288" y="256"/>
                  </a:lnTo>
                  <a:lnTo>
                    <a:pt x="1284" y="254"/>
                  </a:lnTo>
                  <a:lnTo>
                    <a:pt x="1272" y="248"/>
                  </a:lnTo>
                  <a:lnTo>
                    <a:pt x="1256" y="242"/>
                  </a:lnTo>
                  <a:lnTo>
                    <a:pt x="1238" y="240"/>
                  </a:lnTo>
                  <a:lnTo>
                    <a:pt x="1230" y="240"/>
                  </a:lnTo>
                  <a:lnTo>
                    <a:pt x="1224" y="240"/>
                  </a:lnTo>
                  <a:lnTo>
                    <a:pt x="1216" y="242"/>
                  </a:lnTo>
                  <a:lnTo>
                    <a:pt x="1210" y="242"/>
                  </a:lnTo>
                  <a:lnTo>
                    <a:pt x="1196" y="236"/>
                  </a:lnTo>
                  <a:lnTo>
                    <a:pt x="1182" y="230"/>
                  </a:lnTo>
                  <a:lnTo>
                    <a:pt x="1172" y="224"/>
                  </a:lnTo>
                  <a:lnTo>
                    <a:pt x="1160" y="218"/>
                  </a:lnTo>
                  <a:lnTo>
                    <a:pt x="1156" y="214"/>
                  </a:lnTo>
                  <a:lnTo>
                    <a:pt x="1154" y="206"/>
                  </a:lnTo>
                  <a:lnTo>
                    <a:pt x="1152" y="198"/>
                  </a:lnTo>
                  <a:lnTo>
                    <a:pt x="1150" y="198"/>
                  </a:lnTo>
                  <a:lnTo>
                    <a:pt x="1148" y="198"/>
                  </a:lnTo>
                  <a:lnTo>
                    <a:pt x="1144" y="200"/>
                  </a:lnTo>
                  <a:lnTo>
                    <a:pt x="1142" y="200"/>
                  </a:lnTo>
                  <a:lnTo>
                    <a:pt x="1140" y="198"/>
                  </a:lnTo>
                  <a:lnTo>
                    <a:pt x="1132" y="196"/>
                  </a:lnTo>
                  <a:lnTo>
                    <a:pt x="1124" y="194"/>
                  </a:lnTo>
                  <a:lnTo>
                    <a:pt x="1118" y="194"/>
                  </a:lnTo>
                  <a:lnTo>
                    <a:pt x="1114" y="190"/>
                  </a:lnTo>
                  <a:lnTo>
                    <a:pt x="1110" y="184"/>
                  </a:lnTo>
                  <a:lnTo>
                    <a:pt x="1108" y="176"/>
                  </a:lnTo>
                  <a:lnTo>
                    <a:pt x="1110" y="170"/>
                  </a:lnTo>
                  <a:lnTo>
                    <a:pt x="1116" y="162"/>
                  </a:lnTo>
                  <a:lnTo>
                    <a:pt x="1134" y="144"/>
                  </a:lnTo>
                  <a:lnTo>
                    <a:pt x="1142" y="134"/>
                  </a:lnTo>
                  <a:lnTo>
                    <a:pt x="1150" y="124"/>
                  </a:lnTo>
                  <a:lnTo>
                    <a:pt x="1154" y="116"/>
                  </a:lnTo>
                  <a:lnTo>
                    <a:pt x="1154" y="114"/>
                  </a:lnTo>
                  <a:lnTo>
                    <a:pt x="1152" y="110"/>
                  </a:lnTo>
                  <a:lnTo>
                    <a:pt x="1150" y="106"/>
                  </a:lnTo>
                  <a:lnTo>
                    <a:pt x="1148" y="102"/>
                  </a:lnTo>
                  <a:lnTo>
                    <a:pt x="1148" y="96"/>
                  </a:lnTo>
                  <a:lnTo>
                    <a:pt x="1148" y="92"/>
                  </a:lnTo>
                  <a:lnTo>
                    <a:pt x="1146" y="90"/>
                  </a:lnTo>
                  <a:lnTo>
                    <a:pt x="1142" y="86"/>
                  </a:lnTo>
                  <a:lnTo>
                    <a:pt x="1136" y="82"/>
                  </a:lnTo>
                  <a:lnTo>
                    <a:pt x="1132" y="78"/>
                  </a:lnTo>
                  <a:lnTo>
                    <a:pt x="1128" y="74"/>
                  </a:lnTo>
                  <a:lnTo>
                    <a:pt x="1124" y="64"/>
                  </a:lnTo>
                  <a:lnTo>
                    <a:pt x="1124" y="60"/>
                  </a:lnTo>
                  <a:lnTo>
                    <a:pt x="1124" y="56"/>
                  </a:lnTo>
                  <a:lnTo>
                    <a:pt x="1126" y="52"/>
                  </a:lnTo>
                  <a:lnTo>
                    <a:pt x="1130" y="50"/>
                  </a:lnTo>
                  <a:lnTo>
                    <a:pt x="1140" y="42"/>
                  </a:lnTo>
                  <a:lnTo>
                    <a:pt x="1148" y="34"/>
                  </a:lnTo>
                  <a:lnTo>
                    <a:pt x="1152" y="26"/>
                  </a:lnTo>
                  <a:lnTo>
                    <a:pt x="1152" y="20"/>
                  </a:lnTo>
                  <a:lnTo>
                    <a:pt x="1152" y="16"/>
                  </a:lnTo>
                  <a:lnTo>
                    <a:pt x="1148" y="14"/>
                  </a:lnTo>
                  <a:lnTo>
                    <a:pt x="1146" y="16"/>
                  </a:lnTo>
                  <a:lnTo>
                    <a:pt x="1136" y="22"/>
                  </a:lnTo>
                  <a:lnTo>
                    <a:pt x="1128" y="30"/>
                  </a:lnTo>
                  <a:lnTo>
                    <a:pt x="1124" y="32"/>
                  </a:lnTo>
                  <a:lnTo>
                    <a:pt x="1122" y="32"/>
                  </a:lnTo>
                  <a:lnTo>
                    <a:pt x="1120" y="30"/>
                  </a:lnTo>
                  <a:lnTo>
                    <a:pt x="1118" y="26"/>
                  </a:lnTo>
                  <a:lnTo>
                    <a:pt x="1118" y="18"/>
                  </a:lnTo>
                  <a:lnTo>
                    <a:pt x="1116" y="10"/>
                  </a:lnTo>
                  <a:lnTo>
                    <a:pt x="1112" y="6"/>
                  </a:lnTo>
                  <a:lnTo>
                    <a:pt x="1108" y="4"/>
                  </a:lnTo>
                  <a:lnTo>
                    <a:pt x="1096" y="0"/>
                  </a:lnTo>
                  <a:lnTo>
                    <a:pt x="1088" y="2"/>
                  </a:lnTo>
                  <a:lnTo>
                    <a:pt x="1080" y="4"/>
                  </a:lnTo>
                  <a:lnTo>
                    <a:pt x="1074" y="6"/>
                  </a:lnTo>
                  <a:lnTo>
                    <a:pt x="1064" y="16"/>
                  </a:lnTo>
                  <a:lnTo>
                    <a:pt x="1058" y="22"/>
                  </a:lnTo>
                  <a:lnTo>
                    <a:pt x="1052" y="22"/>
                  </a:lnTo>
                  <a:lnTo>
                    <a:pt x="1040" y="22"/>
                  </a:lnTo>
                  <a:lnTo>
                    <a:pt x="1034" y="22"/>
                  </a:lnTo>
                  <a:lnTo>
                    <a:pt x="1026" y="24"/>
                  </a:lnTo>
                  <a:lnTo>
                    <a:pt x="1022" y="28"/>
                  </a:lnTo>
                  <a:lnTo>
                    <a:pt x="1018" y="24"/>
                  </a:lnTo>
                  <a:lnTo>
                    <a:pt x="1014" y="20"/>
                  </a:lnTo>
                  <a:lnTo>
                    <a:pt x="1006" y="14"/>
                  </a:lnTo>
                  <a:lnTo>
                    <a:pt x="1002" y="12"/>
                  </a:lnTo>
                  <a:lnTo>
                    <a:pt x="998" y="14"/>
                  </a:lnTo>
                  <a:lnTo>
                    <a:pt x="994" y="18"/>
                  </a:lnTo>
                  <a:lnTo>
                    <a:pt x="992" y="20"/>
                  </a:lnTo>
                  <a:lnTo>
                    <a:pt x="988" y="22"/>
                  </a:lnTo>
                  <a:lnTo>
                    <a:pt x="984" y="22"/>
                  </a:lnTo>
                  <a:lnTo>
                    <a:pt x="978" y="20"/>
                  </a:lnTo>
                  <a:lnTo>
                    <a:pt x="966" y="16"/>
                  </a:lnTo>
                  <a:lnTo>
                    <a:pt x="962" y="16"/>
                  </a:lnTo>
                  <a:lnTo>
                    <a:pt x="960" y="18"/>
                  </a:lnTo>
                  <a:lnTo>
                    <a:pt x="954" y="22"/>
                  </a:lnTo>
                  <a:lnTo>
                    <a:pt x="942" y="26"/>
                  </a:lnTo>
                  <a:lnTo>
                    <a:pt x="936" y="28"/>
                  </a:lnTo>
                  <a:lnTo>
                    <a:pt x="930" y="30"/>
                  </a:lnTo>
                  <a:lnTo>
                    <a:pt x="924" y="36"/>
                  </a:lnTo>
                  <a:lnTo>
                    <a:pt x="920" y="38"/>
                  </a:lnTo>
                  <a:lnTo>
                    <a:pt x="918" y="38"/>
                  </a:lnTo>
                  <a:lnTo>
                    <a:pt x="914" y="36"/>
                  </a:lnTo>
                  <a:lnTo>
                    <a:pt x="910" y="32"/>
                  </a:lnTo>
                  <a:lnTo>
                    <a:pt x="906" y="28"/>
                  </a:lnTo>
                  <a:lnTo>
                    <a:pt x="900" y="26"/>
                  </a:lnTo>
                  <a:lnTo>
                    <a:pt x="886" y="22"/>
                  </a:lnTo>
                  <a:lnTo>
                    <a:pt x="870" y="24"/>
                  </a:lnTo>
                  <a:lnTo>
                    <a:pt x="854" y="26"/>
                  </a:lnTo>
                  <a:lnTo>
                    <a:pt x="848" y="28"/>
                  </a:lnTo>
                  <a:lnTo>
                    <a:pt x="842" y="28"/>
                  </a:lnTo>
                  <a:lnTo>
                    <a:pt x="832" y="28"/>
                  </a:lnTo>
                  <a:lnTo>
                    <a:pt x="822" y="28"/>
                  </a:lnTo>
                  <a:lnTo>
                    <a:pt x="820" y="30"/>
                  </a:lnTo>
                  <a:lnTo>
                    <a:pt x="816" y="32"/>
                  </a:lnTo>
                  <a:lnTo>
                    <a:pt x="812" y="38"/>
                  </a:lnTo>
                  <a:lnTo>
                    <a:pt x="804" y="40"/>
                  </a:lnTo>
                  <a:lnTo>
                    <a:pt x="776" y="42"/>
                  </a:lnTo>
                  <a:lnTo>
                    <a:pt x="754" y="46"/>
                  </a:lnTo>
                  <a:lnTo>
                    <a:pt x="732" y="52"/>
                  </a:lnTo>
                  <a:lnTo>
                    <a:pt x="724" y="58"/>
                  </a:lnTo>
                  <a:lnTo>
                    <a:pt x="716" y="64"/>
                  </a:lnTo>
                  <a:lnTo>
                    <a:pt x="710" y="70"/>
                  </a:lnTo>
                  <a:lnTo>
                    <a:pt x="706" y="76"/>
                  </a:lnTo>
                  <a:lnTo>
                    <a:pt x="704" y="82"/>
                  </a:lnTo>
                  <a:lnTo>
                    <a:pt x="700" y="86"/>
                  </a:lnTo>
                  <a:lnTo>
                    <a:pt x="698" y="86"/>
                  </a:lnTo>
                  <a:lnTo>
                    <a:pt x="696" y="84"/>
                  </a:lnTo>
                  <a:lnTo>
                    <a:pt x="690" y="80"/>
                  </a:lnTo>
                  <a:lnTo>
                    <a:pt x="686" y="82"/>
                  </a:lnTo>
                  <a:lnTo>
                    <a:pt x="682" y="84"/>
                  </a:lnTo>
                  <a:lnTo>
                    <a:pt x="680" y="86"/>
                  </a:lnTo>
                  <a:lnTo>
                    <a:pt x="676" y="88"/>
                  </a:lnTo>
                  <a:lnTo>
                    <a:pt x="670" y="86"/>
                  </a:lnTo>
                  <a:lnTo>
                    <a:pt x="668" y="86"/>
                  </a:lnTo>
                  <a:lnTo>
                    <a:pt x="664" y="88"/>
                  </a:lnTo>
                  <a:lnTo>
                    <a:pt x="662" y="90"/>
                  </a:lnTo>
                  <a:lnTo>
                    <a:pt x="656" y="96"/>
                  </a:lnTo>
                  <a:lnTo>
                    <a:pt x="650" y="104"/>
                  </a:lnTo>
                  <a:lnTo>
                    <a:pt x="640" y="114"/>
                  </a:lnTo>
                  <a:lnTo>
                    <a:pt x="634" y="118"/>
                  </a:lnTo>
                  <a:lnTo>
                    <a:pt x="628" y="120"/>
                  </a:lnTo>
                  <a:lnTo>
                    <a:pt x="622" y="120"/>
                  </a:lnTo>
                  <a:lnTo>
                    <a:pt x="616" y="120"/>
                  </a:lnTo>
                  <a:lnTo>
                    <a:pt x="600" y="120"/>
                  </a:lnTo>
                  <a:lnTo>
                    <a:pt x="596" y="118"/>
                  </a:lnTo>
                  <a:lnTo>
                    <a:pt x="592" y="116"/>
                  </a:lnTo>
                  <a:lnTo>
                    <a:pt x="588" y="112"/>
                  </a:lnTo>
                  <a:lnTo>
                    <a:pt x="586" y="108"/>
                  </a:lnTo>
                  <a:lnTo>
                    <a:pt x="586" y="104"/>
                  </a:lnTo>
                  <a:lnTo>
                    <a:pt x="584" y="104"/>
                  </a:lnTo>
                  <a:lnTo>
                    <a:pt x="580" y="108"/>
                  </a:lnTo>
                  <a:lnTo>
                    <a:pt x="578" y="110"/>
                  </a:lnTo>
                  <a:lnTo>
                    <a:pt x="574" y="112"/>
                  </a:lnTo>
                  <a:lnTo>
                    <a:pt x="570" y="114"/>
                  </a:lnTo>
                  <a:lnTo>
                    <a:pt x="562" y="112"/>
                  </a:lnTo>
                  <a:lnTo>
                    <a:pt x="558" y="110"/>
                  </a:lnTo>
                  <a:lnTo>
                    <a:pt x="552" y="110"/>
                  </a:lnTo>
                  <a:lnTo>
                    <a:pt x="542" y="114"/>
                  </a:lnTo>
                  <a:lnTo>
                    <a:pt x="536" y="116"/>
                  </a:lnTo>
                  <a:lnTo>
                    <a:pt x="530" y="118"/>
                  </a:lnTo>
                  <a:lnTo>
                    <a:pt x="520" y="116"/>
                  </a:lnTo>
                  <a:lnTo>
                    <a:pt x="510" y="112"/>
                  </a:lnTo>
                  <a:lnTo>
                    <a:pt x="502" y="108"/>
                  </a:lnTo>
                  <a:lnTo>
                    <a:pt x="498" y="102"/>
                  </a:lnTo>
                  <a:lnTo>
                    <a:pt x="494" y="98"/>
                  </a:lnTo>
                  <a:lnTo>
                    <a:pt x="492" y="94"/>
                  </a:lnTo>
                  <a:lnTo>
                    <a:pt x="464" y="96"/>
                  </a:lnTo>
                  <a:lnTo>
                    <a:pt x="454" y="122"/>
                  </a:lnTo>
                  <a:lnTo>
                    <a:pt x="444" y="152"/>
                  </a:lnTo>
                  <a:lnTo>
                    <a:pt x="436" y="166"/>
                  </a:lnTo>
                  <a:lnTo>
                    <a:pt x="426" y="180"/>
                  </a:lnTo>
                  <a:lnTo>
                    <a:pt x="414" y="190"/>
                  </a:lnTo>
                  <a:lnTo>
                    <a:pt x="400" y="200"/>
                  </a:lnTo>
                  <a:lnTo>
                    <a:pt x="380" y="206"/>
                  </a:lnTo>
                  <a:lnTo>
                    <a:pt x="368" y="212"/>
                  </a:lnTo>
                  <a:lnTo>
                    <a:pt x="360" y="218"/>
                  </a:lnTo>
                  <a:lnTo>
                    <a:pt x="356" y="222"/>
                  </a:lnTo>
                  <a:lnTo>
                    <a:pt x="352" y="232"/>
                  </a:lnTo>
                  <a:lnTo>
                    <a:pt x="348" y="238"/>
                  </a:lnTo>
                  <a:lnTo>
                    <a:pt x="342" y="244"/>
                  </a:lnTo>
                  <a:lnTo>
                    <a:pt x="334" y="252"/>
                  </a:lnTo>
                  <a:lnTo>
                    <a:pt x="332" y="256"/>
                  </a:lnTo>
                  <a:lnTo>
                    <a:pt x="330" y="260"/>
                  </a:lnTo>
                  <a:lnTo>
                    <a:pt x="330" y="264"/>
                  </a:lnTo>
                  <a:lnTo>
                    <a:pt x="330" y="270"/>
                  </a:lnTo>
                  <a:lnTo>
                    <a:pt x="330" y="274"/>
                  </a:lnTo>
                  <a:lnTo>
                    <a:pt x="326" y="282"/>
                  </a:lnTo>
                  <a:lnTo>
                    <a:pt x="320" y="292"/>
                  </a:lnTo>
                  <a:lnTo>
                    <a:pt x="312" y="306"/>
                  </a:lnTo>
                  <a:lnTo>
                    <a:pt x="308" y="320"/>
                  </a:lnTo>
                  <a:lnTo>
                    <a:pt x="308" y="336"/>
                  </a:lnTo>
                  <a:lnTo>
                    <a:pt x="310" y="350"/>
                  </a:lnTo>
                  <a:lnTo>
                    <a:pt x="314" y="376"/>
                  </a:lnTo>
                  <a:lnTo>
                    <a:pt x="314" y="388"/>
                  </a:lnTo>
                  <a:lnTo>
                    <a:pt x="310" y="398"/>
                  </a:lnTo>
                  <a:lnTo>
                    <a:pt x="298" y="420"/>
                  </a:lnTo>
                  <a:lnTo>
                    <a:pt x="288" y="434"/>
                  </a:lnTo>
                  <a:lnTo>
                    <a:pt x="282" y="442"/>
                  </a:lnTo>
                  <a:lnTo>
                    <a:pt x="276" y="446"/>
                  </a:lnTo>
                  <a:lnTo>
                    <a:pt x="264" y="452"/>
                  </a:lnTo>
                  <a:lnTo>
                    <a:pt x="258" y="456"/>
                  </a:lnTo>
                  <a:lnTo>
                    <a:pt x="250" y="466"/>
                  </a:lnTo>
                  <a:lnTo>
                    <a:pt x="240" y="478"/>
                  </a:lnTo>
                  <a:lnTo>
                    <a:pt x="228" y="484"/>
                  </a:lnTo>
                  <a:lnTo>
                    <a:pt x="218" y="488"/>
                  </a:lnTo>
                  <a:lnTo>
                    <a:pt x="206" y="490"/>
                  </a:lnTo>
                  <a:lnTo>
                    <a:pt x="196" y="492"/>
                  </a:lnTo>
                  <a:lnTo>
                    <a:pt x="188" y="496"/>
                  </a:lnTo>
                  <a:lnTo>
                    <a:pt x="180" y="500"/>
                  </a:lnTo>
                  <a:lnTo>
                    <a:pt x="174" y="510"/>
                  </a:lnTo>
                  <a:lnTo>
                    <a:pt x="164" y="538"/>
                  </a:lnTo>
                  <a:lnTo>
                    <a:pt x="156" y="556"/>
                  </a:lnTo>
                  <a:lnTo>
                    <a:pt x="148" y="566"/>
                  </a:lnTo>
                  <a:lnTo>
                    <a:pt x="140" y="572"/>
                  </a:lnTo>
                  <a:lnTo>
                    <a:pt x="134" y="574"/>
                  </a:lnTo>
                  <a:lnTo>
                    <a:pt x="128" y="578"/>
                  </a:lnTo>
                  <a:lnTo>
                    <a:pt x="124" y="584"/>
                  </a:lnTo>
                  <a:lnTo>
                    <a:pt x="120" y="596"/>
                  </a:lnTo>
                  <a:lnTo>
                    <a:pt x="116" y="610"/>
                  </a:lnTo>
                  <a:lnTo>
                    <a:pt x="114" y="614"/>
                  </a:lnTo>
                  <a:lnTo>
                    <a:pt x="110" y="620"/>
                  </a:lnTo>
                  <a:lnTo>
                    <a:pt x="108" y="640"/>
                  </a:lnTo>
                  <a:lnTo>
                    <a:pt x="104" y="660"/>
                  </a:lnTo>
                  <a:lnTo>
                    <a:pt x="102" y="666"/>
                  </a:lnTo>
                  <a:lnTo>
                    <a:pt x="98" y="670"/>
                  </a:lnTo>
                  <a:lnTo>
                    <a:pt x="90" y="678"/>
                  </a:lnTo>
                  <a:lnTo>
                    <a:pt x="78" y="692"/>
                  </a:lnTo>
                  <a:lnTo>
                    <a:pt x="64" y="706"/>
                  </a:lnTo>
                  <a:lnTo>
                    <a:pt x="58" y="712"/>
                  </a:lnTo>
                  <a:lnTo>
                    <a:pt x="58" y="714"/>
                  </a:lnTo>
                  <a:lnTo>
                    <a:pt x="60" y="714"/>
                  </a:lnTo>
                  <a:lnTo>
                    <a:pt x="64" y="714"/>
                  </a:lnTo>
                  <a:lnTo>
                    <a:pt x="66" y="714"/>
                  </a:lnTo>
                  <a:lnTo>
                    <a:pt x="66" y="716"/>
                  </a:lnTo>
                  <a:lnTo>
                    <a:pt x="60" y="726"/>
                  </a:lnTo>
                  <a:lnTo>
                    <a:pt x="54" y="740"/>
                  </a:lnTo>
                  <a:lnTo>
                    <a:pt x="52" y="750"/>
                  </a:lnTo>
                  <a:lnTo>
                    <a:pt x="50" y="762"/>
                  </a:lnTo>
                  <a:lnTo>
                    <a:pt x="48" y="772"/>
                  </a:lnTo>
                  <a:lnTo>
                    <a:pt x="46" y="778"/>
                  </a:lnTo>
                  <a:lnTo>
                    <a:pt x="42" y="782"/>
                  </a:lnTo>
                  <a:lnTo>
                    <a:pt x="36" y="786"/>
                  </a:lnTo>
                  <a:lnTo>
                    <a:pt x="32" y="788"/>
                  </a:lnTo>
                  <a:lnTo>
                    <a:pt x="28" y="794"/>
                  </a:lnTo>
                  <a:lnTo>
                    <a:pt x="24" y="800"/>
                  </a:lnTo>
                  <a:lnTo>
                    <a:pt x="20" y="812"/>
                  </a:lnTo>
                  <a:lnTo>
                    <a:pt x="16" y="834"/>
                  </a:lnTo>
                  <a:lnTo>
                    <a:pt x="14" y="850"/>
                  </a:lnTo>
                  <a:lnTo>
                    <a:pt x="16" y="858"/>
                  </a:lnTo>
                  <a:lnTo>
                    <a:pt x="16" y="860"/>
                  </a:lnTo>
                  <a:lnTo>
                    <a:pt x="18" y="860"/>
                  </a:lnTo>
                  <a:lnTo>
                    <a:pt x="20" y="860"/>
                  </a:lnTo>
                  <a:lnTo>
                    <a:pt x="22" y="858"/>
                  </a:lnTo>
                  <a:lnTo>
                    <a:pt x="22" y="852"/>
                  </a:lnTo>
                  <a:lnTo>
                    <a:pt x="24" y="846"/>
                  </a:lnTo>
                  <a:lnTo>
                    <a:pt x="24" y="844"/>
                  </a:lnTo>
                  <a:lnTo>
                    <a:pt x="26" y="844"/>
                  </a:lnTo>
                  <a:lnTo>
                    <a:pt x="30" y="846"/>
                  </a:lnTo>
                  <a:lnTo>
                    <a:pt x="30" y="850"/>
                  </a:lnTo>
                  <a:lnTo>
                    <a:pt x="32" y="860"/>
                  </a:lnTo>
                  <a:lnTo>
                    <a:pt x="34" y="868"/>
                  </a:lnTo>
                  <a:lnTo>
                    <a:pt x="36" y="868"/>
                  </a:lnTo>
                  <a:lnTo>
                    <a:pt x="38" y="868"/>
                  </a:lnTo>
                  <a:lnTo>
                    <a:pt x="42" y="868"/>
                  </a:lnTo>
                  <a:lnTo>
                    <a:pt x="44" y="868"/>
                  </a:lnTo>
                  <a:lnTo>
                    <a:pt x="48" y="878"/>
                  </a:lnTo>
                  <a:lnTo>
                    <a:pt x="50" y="890"/>
                  </a:lnTo>
                  <a:lnTo>
                    <a:pt x="50" y="902"/>
                  </a:lnTo>
                  <a:lnTo>
                    <a:pt x="50" y="910"/>
                  </a:lnTo>
                  <a:lnTo>
                    <a:pt x="46" y="918"/>
                  </a:lnTo>
                  <a:lnTo>
                    <a:pt x="42" y="926"/>
                  </a:lnTo>
                  <a:lnTo>
                    <a:pt x="38" y="930"/>
                  </a:lnTo>
                  <a:lnTo>
                    <a:pt x="40" y="932"/>
                  </a:lnTo>
                  <a:lnTo>
                    <a:pt x="42" y="936"/>
                  </a:lnTo>
                  <a:lnTo>
                    <a:pt x="46" y="940"/>
                  </a:lnTo>
                  <a:lnTo>
                    <a:pt x="50" y="948"/>
                  </a:lnTo>
                  <a:lnTo>
                    <a:pt x="54" y="958"/>
                  </a:lnTo>
                  <a:lnTo>
                    <a:pt x="58" y="972"/>
                  </a:lnTo>
                  <a:lnTo>
                    <a:pt x="60" y="986"/>
                  </a:lnTo>
                  <a:lnTo>
                    <a:pt x="60" y="1002"/>
                  </a:lnTo>
                  <a:lnTo>
                    <a:pt x="58" y="1016"/>
                  </a:lnTo>
                  <a:lnTo>
                    <a:pt x="54" y="1030"/>
                  </a:lnTo>
                  <a:lnTo>
                    <a:pt x="42" y="1066"/>
                  </a:lnTo>
                  <a:lnTo>
                    <a:pt x="40" y="1076"/>
                  </a:lnTo>
                  <a:lnTo>
                    <a:pt x="40" y="1086"/>
                  </a:lnTo>
                  <a:lnTo>
                    <a:pt x="40" y="1102"/>
                  </a:lnTo>
                  <a:lnTo>
                    <a:pt x="34" y="1122"/>
                  </a:lnTo>
                  <a:lnTo>
                    <a:pt x="28" y="1132"/>
                  </a:lnTo>
                  <a:lnTo>
                    <a:pt x="22" y="1142"/>
                  </a:lnTo>
                  <a:lnTo>
                    <a:pt x="16" y="1150"/>
                  </a:lnTo>
                  <a:lnTo>
                    <a:pt x="6" y="1156"/>
                  </a:lnTo>
                  <a:lnTo>
                    <a:pt x="2" y="1160"/>
                  </a:lnTo>
                  <a:lnTo>
                    <a:pt x="0" y="1162"/>
                  </a:lnTo>
                  <a:lnTo>
                    <a:pt x="2" y="1164"/>
                  </a:lnTo>
                  <a:lnTo>
                    <a:pt x="10" y="1164"/>
                  </a:lnTo>
                  <a:lnTo>
                    <a:pt x="14" y="1164"/>
                  </a:lnTo>
                  <a:lnTo>
                    <a:pt x="16" y="1168"/>
                  </a:lnTo>
                  <a:lnTo>
                    <a:pt x="22" y="1184"/>
                  </a:lnTo>
                  <a:lnTo>
                    <a:pt x="30" y="1202"/>
                  </a:lnTo>
                  <a:lnTo>
                    <a:pt x="34" y="1210"/>
                  </a:lnTo>
                  <a:lnTo>
                    <a:pt x="38" y="1218"/>
                  </a:lnTo>
                  <a:lnTo>
                    <a:pt x="40" y="1222"/>
                  </a:lnTo>
                  <a:lnTo>
                    <a:pt x="44" y="1224"/>
                  </a:lnTo>
                  <a:lnTo>
                    <a:pt x="46" y="1226"/>
                  </a:lnTo>
                  <a:lnTo>
                    <a:pt x="52" y="1226"/>
                  </a:lnTo>
                  <a:lnTo>
                    <a:pt x="64" y="1224"/>
                  </a:lnTo>
                  <a:lnTo>
                    <a:pt x="80" y="1224"/>
                  </a:lnTo>
                  <a:lnTo>
                    <a:pt x="62" y="1228"/>
                  </a:lnTo>
                  <a:lnTo>
                    <a:pt x="50" y="1232"/>
                  </a:lnTo>
                  <a:lnTo>
                    <a:pt x="40" y="1232"/>
                  </a:lnTo>
                  <a:lnTo>
                    <a:pt x="38" y="1232"/>
                  </a:lnTo>
                  <a:lnTo>
                    <a:pt x="36" y="1228"/>
                  </a:lnTo>
                  <a:lnTo>
                    <a:pt x="34" y="1226"/>
                  </a:lnTo>
                  <a:lnTo>
                    <a:pt x="32" y="1224"/>
                  </a:lnTo>
                  <a:lnTo>
                    <a:pt x="28" y="1228"/>
                  </a:lnTo>
                  <a:lnTo>
                    <a:pt x="26" y="1234"/>
                  </a:lnTo>
                  <a:lnTo>
                    <a:pt x="28" y="1242"/>
                  </a:lnTo>
                  <a:lnTo>
                    <a:pt x="30" y="1252"/>
                  </a:lnTo>
                  <a:lnTo>
                    <a:pt x="30" y="1260"/>
                  </a:lnTo>
                  <a:lnTo>
                    <a:pt x="30" y="1264"/>
                  </a:lnTo>
                  <a:lnTo>
                    <a:pt x="32" y="1264"/>
                  </a:lnTo>
                  <a:lnTo>
                    <a:pt x="34" y="1264"/>
                  </a:lnTo>
                  <a:lnTo>
                    <a:pt x="40" y="1262"/>
                  </a:lnTo>
                  <a:lnTo>
                    <a:pt x="44" y="1264"/>
                  </a:lnTo>
                  <a:lnTo>
                    <a:pt x="48" y="1266"/>
                  </a:lnTo>
                  <a:lnTo>
                    <a:pt x="54" y="1264"/>
                  </a:lnTo>
                  <a:lnTo>
                    <a:pt x="60" y="1264"/>
                  </a:lnTo>
                  <a:lnTo>
                    <a:pt x="64" y="1264"/>
                  </a:lnTo>
                  <a:lnTo>
                    <a:pt x="70" y="1268"/>
                  </a:lnTo>
                  <a:lnTo>
                    <a:pt x="76" y="1268"/>
                  </a:lnTo>
                  <a:lnTo>
                    <a:pt x="64" y="1270"/>
                  </a:lnTo>
                  <a:lnTo>
                    <a:pt x="54" y="1270"/>
                  </a:lnTo>
                  <a:lnTo>
                    <a:pt x="44" y="1268"/>
                  </a:lnTo>
                  <a:lnTo>
                    <a:pt x="38" y="1266"/>
                  </a:lnTo>
                  <a:lnTo>
                    <a:pt x="36" y="1268"/>
                  </a:lnTo>
                  <a:lnTo>
                    <a:pt x="32" y="1270"/>
                  </a:lnTo>
                  <a:lnTo>
                    <a:pt x="30" y="1274"/>
                  </a:lnTo>
                  <a:lnTo>
                    <a:pt x="30" y="1276"/>
                  </a:lnTo>
                  <a:lnTo>
                    <a:pt x="34" y="1278"/>
                  </a:lnTo>
                  <a:lnTo>
                    <a:pt x="38" y="1282"/>
                  </a:lnTo>
                  <a:lnTo>
                    <a:pt x="40" y="1286"/>
                  </a:lnTo>
                  <a:lnTo>
                    <a:pt x="42" y="1286"/>
                  </a:lnTo>
                  <a:lnTo>
                    <a:pt x="48" y="1284"/>
                  </a:lnTo>
                  <a:lnTo>
                    <a:pt x="52" y="1284"/>
                  </a:lnTo>
                  <a:lnTo>
                    <a:pt x="50" y="1290"/>
                  </a:lnTo>
                  <a:lnTo>
                    <a:pt x="46" y="1296"/>
                  </a:lnTo>
                  <a:lnTo>
                    <a:pt x="48" y="1298"/>
                  </a:lnTo>
                  <a:lnTo>
                    <a:pt x="48" y="1300"/>
                  </a:lnTo>
                  <a:lnTo>
                    <a:pt x="54" y="1300"/>
                  </a:lnTo>
                  <a:lnTo>
                    <a:pt x="60" y="1300"/>
                  </a:lnTo>
                  <a:lnTo>
                    <a:pt x="64" y="1298"/>
                  </a:lnTo>
                  <a:lnTo>
                    <a:pt x="64" y="1300"/>
                  </a:lnTo>
                  <a:lnTo>
                    <a:pt x="64" y="1306"/>
                  </a:lnTo>
                  <a:lnTo>
                    <a:pt x="64" y="1312"/>
                  </a:lnTo>
                  <a:lnTo>
                    <a:pt x="66" y="1312"/>
                  </a:lnTo>
                  <a:lnTo>
                    <a:pt x="70" y="1310"/>
                  </a:lnTo>
                  <a:lnTo>
                    <a:pt x="78" y="1304"/>
                  </a:lnTo>
                  <a:lnTo>
                    <a:pt x="86" y="1300"/>
                  </a:lnTo>
                  <a:lnTo>
                    <a:pt x="88" y="1300"/>
                  </a:lnTo>
                  <a:lnTo>
                    <a:pt x="88" y="1302"/>
                  </a:lnTo>
                  <a:lnTo>
                    <a:pt x="82" y="1304"/>
                  </a:lnTo>
                  <a:lnTo>
                    <a:pt x="80" y="1306"/>
                  </a:lnTo>
                  <a:lnTo>
                    <a:pt x="78" y="1308"/>
                  </a:lnTo>
                  <a:lnTo>
                    <a:pt x="80" y="1312"/>
                  </a:lnTo>
                  <a:lnTo>
                    <a:pt x="82" y="1318"/>
                  </a:lnTo>
                  <a:lnTo>
                    <a:pt x="84" y="1320"/>
                  </a:lnTo>
                  <a:lnTo>
                    <a:pt x="82" y="1324"/>
                  </a:lnTo>
                  <a:lnTo>
                    <a:pt x="80" y="1328"/>
                  </a:lnTo>
                  <a:lnTo>
                    <a:pt x="82" y="1328"/>
                  </a:lnTo>
                  <a:lnTo>
                    <a:pt x="84" y="1328"/>
                  </a:lnTo>
                  <a:lnTo>
                    <a:pt x="86" y="1332"/>
                  </a:lnTo>
                  <a:lnTo>
                    <a:pt x="86" y="1336"/>
                  </a:lnTo>
                  <a:lnTo>
                    <a:pt x="88" y="1336"/>
                  </a:lnTo>
                  <a:lnTo>
                    <a:pt x="90" y="1338"/>
                  </a:lnTo>
                  <a:lnTo>
                    <a:pt x="90" y="1342"/>
                  </a:lnTo>
                  <a:lnTo>
                    <a:pt x="92" y="1346"/>
                  </a:lnTo>
                  <a:lnTo>
                    <a:pt x="94" y="1344"/>
                  </a:lnTo>
                  <a:lnTo>
                    <a:pt x="100" y="1336"/>
                  </a:lnTo>
                  <a:lnTo>
                    <a:pt x="98" y="1344"/>
                  </a:lnTo>
                  <a:lnTo>
                    <a:pt x="100" y="1348"/>
                  </a:lnTo>
                  <a:lnTo>
                    <a:pt x="98" y="1352"/>
                  </a:lnTo>
                  <a:lnTo>
                    <a:pt x="100" y="1356"/>
                  </a:lnTo>
                  <a:lnTo>
                    <a:pt x="102" y="1356"/>
                  </a:lnTo>
                  <a:lnTo>
                    <a:pt x="104" y="1352"/>
                  </a:lnTo>
                  <a:lnTo>
                    <a:pt x="108" y="1346"/>
                  </a:lnTo>
                  <a:lnTo>
                    <a:pt x="110" y="1344"/>
                  </a:lnTo>
                  <a:lnTo>
                    <a:pt x="114" y="1344"/>
                  </a:lnTo>
                  <a:lnTo>
                    <a:pt x="116" y="1344"/>
                  </a:lnTo>
                  <a:lnTo>
                    <a:pt x="112" y="1346"/>
                  </a:lnTo>
                  <a:lnTo>
                    <a:pt x="110" y="1350"/>
                  </a:lnTo>
                  <a:lnTo>
                    <a:pt x="110" y="1354"/>
                  </a:lnTo>
                  <a:lnTo>
                    <a:pt x="110" y="1358"/>
                  </a:lnTo>
                  <a:lnTo>
                    <a:pt x="112" y="1360"/>
                  </a:lnTo>
                  <a:lnTo>
                    <a:pt x="114" y="1360"/>
                  </a:lnTo>
                  <a:lnTo>
                    <a:pt x="118" y="1356"/>
                  </a:lnTo>
                  <a:lnTo>
                    <a:pt x="118" y="1354"/>
                  </a:lnTo>
                  <a:lnTo>
                    <a:pt x="118" y="1362"/>
                  </a:lnTo>
                  <a:lnTo>
                    <a:pt x="118" y="1372"/>
                  </a:lnTo>
                  <a:lnTo>
                    <a:pt x="120" y="1378"/>
                  </a:lnTo>
                  <a:lnTo>
                    <a:pt x="124" y="1384"/>
                  </a:lnTo>
                  <a:lnTo>
                    <a:pt x="128" y="1386"/>
                  </a:lnTo>
                  <a:lnTo>
                    <a:pt x="134" y="1388"/>
                  </a:lnTo>
                  <a:lnTo>
                    <a:pt x="140" y="1392"/>
                  </a:lnTo>
                  <a:lnTo>
                    <a:pt x="146" y="1398"/>
                  </a:lnTo>
                  <a:lnTo>
                    <a:pt x="154" y="1402"/>
                  </a:lnTo>
                  <a:lnTo>
                    <a:pt x="158" y="1404"/>
                  </a:lnTo>
                  <a:lnTo>
                    <a:pt x="158" y="1406"/>
                  </a:lnTo>
                  <a:lnTo>
                    <a:pt x="158" y="1408"/>
                  </a:lnTo>
                  <a:lnTo>
                    <a:pt x="156" y="1414"/>
                  </a:lnTo>
                  <a:lnTo>
                    <a:pt x="154" y="1418"/>
                  </a:lnTo>
                  <a:lnTo>
                    <a:pt x="156" y="1420"/>
                  </a:lnTo>
                  <a:lnTo>
                    <a:pt x="162" y="1424"/>
                  </a:lnTo>
                  <a:lnTo>
                    <a:pt x="166" y="1426"/>
                  </a:lnTo>
                  <a:lnTo>
                    <a:pt x="166" y="1430"/>
                  </a:lnTo>
                  <a:lnTo>
                    <a:pt x="168" y="1432"/>
                  </a:lnTo>
                  <a:lnTo>
                    <a:pt x="170" y="1434"/>
                  </a:lnTo>
                  <a:lnTo>
                    <a:pt x="172" y="1436"/>
                  </a:lnTo>
                  <a:lnTo>
                    <a:pt x="170" y="1438"/>
                  </a:lnTo>
                  <a:lnTo>
                    <a:pt x="170" y="1440"/>
                  </a:lnTo>
                  <a:lnTo>
                    <a:pt x="170" y="1442"/>
                  </a:lnTo>
                  <a:lnTo>
                    <a:pt x="176" y="1448"/>
                  </a:lnTo>
                  <a:lnTo>
                    <a:pt x="176" y="1450"/>
                  </a:lnTo>
                  <a:lnTo>
                    <a:pt x="174" y="1450"/>
                  </a:lnTo>
                  <a:lnTo>
                    <a:pt x="172" y="1452"/>
                  </a:lnTo>
                  <a:lnTo>
                    <a:pt x="170" y="1454"/>
                  </a:lnTo>
                  <a:lnTo>
                    <a:pt x="172" y="1458"/>
                  </a:lnTo>
                  <a:lnTo>
                    <a:pt x="174" y="1462"/>
                  </a:lnTo>
                  <a:lnTo>
                    <a:pt x="176" y="1462"/>
                  </a:lnTo>
                  <a:lnTo>
                    <a:pt x="180" y="1462"/>
                  </a:lnTo>
                  <a:lnTo>
                    <a:pt x="186" y="1464"/>
                  </a:lnTo>
                  <a:lnTo>
                    <a:pt x="182" y="1468"/>
                  </a:lnTo>
                  <a:lnTo>
                    <a:pt x="178" y="1470"/>
                  </a:lnTo>
                  <a:lnTo>
                    <a:pt x="172" y="1470"/>
                  </a:lnTo>
                  <a:lnTo>
                    <a:pt x="170" y="1468"/>
                  </a:lnTo>
                  <a:lnTo>
                    <a:pt x="170" y="1472"/>
                  </a:lnTo>
                  <a:lnTo>
                    <a:pt x="174" y="1480"/>
                  </a:lnTo>
                  <a:lnTo>
                    <a:pt x="178" y="1482"/>
                  </a:lnTo>
                  <a:lnTo>
                    <a:pt x="182" y="1482"/>
                  </a:lnTo>
                  <a:lnTo>
                    <a:pt x="184" y="1486"/>
                  </a:lnTo>
                  <a:lnTo>
                    <a:pt x="186" y="1492"/>
                  </a:lnTo>
                  <a:lnTo>
                    <a:pt x="184" y="1494"/>
                  </a:lnTo>
                  <a:lnTo>
                    <a:pt x="182" y="1496"/>
                  </a:lnTo>
                  <a:lnTo>
                    <a:pt x="182" y="1498"/>
                  </a:lnTo>
                  <a:lnTo>
                    <a:pt x="186" y="1502"/>
                  </a:lnTo>
                  <a:lnTo>
                    <a:pt x="192" y="1504"/>
                  </a:lnTo>
                  <a:lnTo>
                    <a:pt x="196" y="1506"/>
                  </a:lnTo>
                  <a:lnTo>
                    <a:pt x="202" y="1510"/>
                  </a:lnTo>
                  <a:lnTo>
                    <a:pt x="204" y="1512"/>
                  </a:lnTo>
                  <a:lnTo>
                    <a:pt x="204" y="1514"/>
                  </a:lnTo>
                  <a:lnTo>
                    <a:pt x="202" y="1518"/>
                  </a:lnTo>
                  <a:lnTo>
                    <a:pt x="200" y="1520"/>
                  </a:lnTo>
                  <a:lnTo>
                    <a:pt x="202" y="1520"/>
                  </a:lnTo>
                  <a:lnTo>
                    <a:pt x="208" y="1524"/>
                  </a:lnTo>
                  <a:lnTo>
                    <a:pt x="228" y="1534"/>
                  </a:lnTo>
                  <a:lnTo>
                    <a:pt x="236" y="1538"/>
                  </a:lnTo>
                  <a:lnTo>
                    <a:pt x="242" y="1546"/>
                  </a:lnTo>
                  <a:lnTo>
                    <a:pt x="246" y="1552"/>
                  </a:lnTo>
                  <a:lnTo>
                    <a:pt x="250" y="1556"/>
                  </a:lnTo>
                  <a:lnTo>
                    <a:pt x="260" y="1562"/>
                  </a:lnTo>
                  <a:lnTo>
                    <a:pt x="268" y="1566"/>
                  </a:lnTo>
                  <a:lnTo>
                    <a:pt x="270" y="1570"/>
                  </a:lnTo>
                  <a:lnTo>
                    <a:pt x="272" y="1574"/>
                  </a:lnTo>
                  <a:lnTo>
                    <a:pt x="272" y="1576"/>
                  </a:lnTo>
                  <a:lnTo>
                    <a:pt x="274" y="1578"/>
                  </a:lnTo>
                  <a:lnTo>
                    <a:pt x="282" y="1582"/>
                  </a:lnTo>
                  <a:lnTo>
                    <a:pt x="294" y="1590"/>
                  </a:lnTo>
                  <a:lnTo>
                    <a:pt x="302" y="1596"/>
                  </a:lnTo>
                  <a:lnTo>
                    <a:pt x="310" y="1606"/>
                  </a:lnTo>
                  <a:lnTo>
                    <a:pt x="328" y="1626"/>
                  </a:lnTo>
                  <a:lnTo>
                    <a:pt x="346" y="1644"/>
                  </a:lnTo>
                  <a:lnTo>
                    <a:pt x="364" y="1654"/>
                  </a:lnTo>
                  <a:lnTo>
                    <a:pt x="380" y="1660"/>
                  </a:lnTo>
                  <a:lnTo>
                    <a:pt x="388" y="1664"/>
                  </a:lnTo>
                  <a:lnTo>
                    <a:pt x="392" y="1668"/>
                  </a:lnTo>
                  <a:lnTo>
                    <a:pt x="396" y="1670"/>
                  </a:lnTo>
                  <a:lnTo>
                    <a:pt x="402" y="1672"/>
                  </a:lnTo>
                  <a:lnTo>
                    <a:pt x="408" y="1670"/>
                  </a:lnTo>
                  <a:lnTo>
                    <a:pt x="412" y="1666"/>
                  </a:lnTo>
                  <a:lnTo>
                    <a:pt x="422" y="1658"/>
                  </a:lnTo>
                  <a:lnTo>
                    <a:pt x="436" y="1648"/>
                  </a:lnTo>
                  <a:lnTo>
                    <a:pt x="448" y="1642"/>
                  </a:lnTo>
                  <a:lnTo>
                    <a:pt x="462" y="1638"/>
                  </a:lnTo>
                  <a:lnTo>
                    <a:pt x="488" y="1634"/>
                  </a:lnTo>
                  <a:lnTo>
                    <a:pt x="504" y="1632"/>
                  </a:lnTo>
                  <a:lnTo>
                    <a:pt x="516" y="1632"/>
                  </a:lnTo>
                  <a:lnTo>
                    <a:pt x="530" y="1630"/>
                  </a:lnTo>
                  <a:lnTo>
                    <a:pt x="540" y="1628"/>
                  </a:lnTo>
                  <a:lnTo>
                    <a:pt x="554" y="1630"/>
                  </a:lnTo>
                  <a:lnTo>
                    <a:pt x="566" y="1630"/>
                  </a:lnTo>
                  <a:lnTo>
                    <a:pt x="572" y="1630"/>
                  </a:lnTo>
                  <a:lnTo>
                    <a:pt x="576" y="1630"/>
                  </a:lnTo>
                  <a:lnTo>
                    <a:pt x="580" y="1630"/>
                  </a:lnTo>
                  <a:lnTo>
                    <a:pt x="590" y="1632"/>
                  </a:lnTo>
                  <a:lnTo>
                    <a:pt x="592" y="1632"/>
                  </a:lnTo>
                  <a:lnTo>
                    <a:pt x="590" y="1632"/>
                  </a:lnTo>
                  <a:lnTo>
                    <a:pt x="582" y="1634"/>
                  </a:lnTo>
                  <a:lnTo>
                    <a:pt x="578" y="1634"/>
                  </a:lnTo>
                  <a:lnTo>
                    <a:pt x="576" y="1636"/>
                  </a:lnTo>
                  <a:lnTo>
                    <a:pt x="578" y="1636"/>
                  </a:lnTo>
                  <a:lnTo>
                    <a:pt x="594" y="1640"/>
                  </a:lnTo>
                  <a:lnTo>
                    <a:pt x="606" y="1644"/>
                  </a:lnTo>
                  <a:lnTo>
                    <a:pt x="618" y="1650"/>
                  </a:lnTo>
                  <a:lnTo>
                    <a:pt x="622" y="1652"/>
                  </a:lnTo>
                  <a:lnTo>
                    <a:pt x="626" y="1652"/>
                  </a:lnTo>
                  <a:lnTo>
                    <a:pt x="636" y="1644"/>
                  </a:lnTo>
                  <a:lnTo>
                    <a:pt x="648" y="1636"/>
                  </a:lnTo>
                  <a:lnTo>
                    <a:pt x="656" y="1632"/>
                  </a:lnTo>
                  <a:lnTo>
                    <a:pt x="664" y="1630"/>
                  </a:lnTo>
                  <a:lnTo>
                    <a:pt x="674" y="1628"/>
                  </a:lnTo>
                  <a:lnTo>
                    <a:pt x="680" y="1624"/>
                  </a:lnTo>
                  <a:lnTo>
                    <a:pt x="690" y="1614"/>
                  </a:lnTo>
                  <a:lnTo>
                    <a:pt x="698" y="1610"/>
                  </a:lnTo>
                  <a:lnTo>
                    <a:pt x="706" y="1606"/>
                  </a:lnTo>
                  <a:lnTo>
                    <a:pt x="716" y="1602"/>
                  </a:lnTo>
                  <a:lnTo>
                    <a:pt x="730" y="1600"/>
                  </a:lnTo>
                  <a:lnTo>
                    <a:pt x="742" y="1598"/>
                  </a:lnTo>
                  <a:lnTo>
                    <a:pt x="746" y="1596"/>
                  </a:lnTo>
                  <a:lnTo>
                    <a:pt x="746" y="1594"/>
                  </a:lnTo>
                  <a:lnTo>
                    <a:pt x="748" y="1590"/>
                  </a:lnTo>
                  <a:lnTo>
                    <a:pt x="754" y="1586"/>
                  </a:lnTo>
                  <a:lnTo>
                    <a:pt x="760" y="1582"/>
                  </a:lnTo>
                  <a:lnTo>
                    <a:pt x="774" y="1578"/>
                  </a:lnTo>
                  <a:lnTo>
                    <a:pt x="796" y="1574"/>
                  </a:lnTo>
                  <a:lnTo>
                    <a:pt x="814" y="1572"/>
                  </a:lnTo>
                  <a:lnTo>
                    <a:pt x="832" y="1572"/>
                  </a:lnTo>
                  <a:lnTo>
                    <a:pt x="838" y="1570"/>
                  </a:lnTo>
                  <a:lnTo>
                    <a:pt x="840" y="1568"/>
                  </a:lnTo>
                  <a:lnTo>
                    <a:pt x="844" y="1564"/>
                  </a:lnTo>
                  <a:lnTo>
                    <a:pt x="846" y="1566"/>
                  </a:lnTo>
                  <a:lnTo>
                    <a:pt x="850" y="1570"/>
                  </a:lnTo>
                  <a:lnTo>
                    <a:pt x="860" y="1570"/>
                  </a:lnTo>
                  <a:lnTo>
                    <a:pt x="874" y="1570"/>
                  </a:lnTo>
                  <a:lnTo>
                    <a:pt x="884" y="1574"/>
                  </a:lnTo>
                  <a:lnTo>
                    <a:pt x="890" y="1578"/>
                  </a:lnTo>
                  <a:lnTo>
                    <a:pt x="896" y="1584"/>
                  </a:lnTo>
                  <a:lnTo>
                    <a:pt x="908" y="1600"/>
                  </a:lnTo>
                  <a:lnTo>
                    <a:pt x="916" y="1616"/>
                  </a:lnTo>
                  <a:lnTo>
                    <a:pt x="924" y="1642"/>
                  </a:lnTo>
                  <a:lnTo>
                    <a:pt x="930" y="1654"/>
                  </a:lnTo>
                  <a:lnTo>
                    <a:pt x="936" y="1664"/>
                  </a:lnTo>
                  <a:lnTo>
                    <a:pt x="944" y="1670"/>
                  </a:lnTo>
                  <a:lnTo>
                    <a:pt x="948" y="1672"/>
                  </a:lnTo>
                  <a:lnTo>
                    <a:pt x="954" y="1672"/>
                  </a:lnTo>
                  <a:lnTo>
                    <a:pt x="970" y="1672"/>
                  </a:lnTo>
                  <a:lnTo>
                    <a:pt x="976" y="1672"/>
                  </a:lnTo>
                  <a:lnTo>
                    <a:pt x="984" y="1670"/>
                  </a:lnTo>
                  <a:lnTo>
                    <a:pt x="990" y="1668"/>
                  </a:lnTo>
                  <a:lnTo>
                    <a:pt x="992" y="1664"/>
                  </a:lnTo>
                  <a:lnTo>
                    <a:pt x="992" y="1662"/>
                  </a:lnTo>
                  <a:lnTo>
                    <a:pt x="992" y="1658"/>
                  </a:lnTo>
                  <a:lnTo>
                    <a:pt x="992" y="1656"/>
                  </a:lnTo>
                  <a:lnTo>
                    <a:pt x="996" y="1658"/>
                  </a:lnTo>
                  <a:lnTo>
                    <a:pt x="1002" y="1660"/>
                  </a:lnTo>
                  <a:lnTo>
                    <a:pt x="1008" y="1662"/>
                  </a:lnTo>
                  <a:lnTo>
                    <a:pt x="1018" y="1662"/>
                  </a:lnTo>
                  <a:lnTo>
                    <a:pt x="1028" y="1662"/>
                  </a:lnTo>
                  <a:lnTo>
                    <a:pt x="1036" y="1660"/>
                  </a:lnTo>
                  <a:lnTo>
                    <a:pt x="1040" y="1656"/>
                  </a:lnTo>
                  <a:lnTo>
                    <a:pt x="1042" y="1654"/>
                  </a:lnTo>
                  <a:lnTo>
                    <a:pt x="1042" y="1650"/>
                  </a:lnTo>
                  <a:lnTo>
                    <a:pt x="1036" y="1640"/>
                  </a:lnTo>
                  <a:lnTo>
                    <a:pt x="1048" y="1650"/>
                  </a:lnTo>
                  <a:lnTo>
                    <a:pt x="1048" y="1658"/>
                  </a:lnTo>
                  <a:lnTo>
                    <a:pt x="1050" y="1662"/>
                  </a:lnTo>
                  <a:lnTo>
                    <a:pt x="1052" y="1662"/>
                  </a:lnTo>
                  <a:lnTo>
                    <a:pt x="1056" y="1662"/>
                  </a:lnTo>
                  <a:lnTo>
                    <a:pt x="1060" y="1660"/>
                  </a:lnTo>
                  <a:lnTo>
                    <a:pt x="1062" y="1662"/>
                  </a:lnTo>
                  <a:lnTo>
                    <a:pt x="1064" y="1666"/>
                  </a:lnTo>
                  <a:lnTo>
                    <a:pt x="1066" y="1682"/>
                  </a:lnTo>
                  <a:lnTo>
                    <a:pt x="1070" y="1684"/>
                  </a:lnTo>
                  <a:lnTo>
                    <a:pt x="1076" y="1688"/>
                  </a:lnTo>
                  <a:lnTo>
                    <a:pt x="1082" y="1690"/>
                  </a:lnTo>
                  <a:lnTo>
                    <a:pt x="1084" y="1690"/>
                  </a:lnTo>
                  <a:lnTo>
                    <a:pt x="1086" y="1686"/>
                  </a:lnTo>
                  <a:lnTo>
                    <a:pt x="1088" y="1684"/>
                  </a:lnTo>
                  <a:lnTo>
                    <a:pt x="1090" y="1684"/>
                  </a:lnTo>
                  <a:lnTo>
                    <a:pt x="1094" y="1684"/>
                  </a:lnTo>
                  <a:lnTo>
                    <a:pt x="1096" y="1688"/>
                  </a:lnTo>
                  <a:lnTo>
                    <a:pt x="1096" y="1690"/>
                  </a:lnTo>
                  <a:lnTo>
                    <a:pt x="1094" y="1694"/>
                  </a:lnTo>
                  <a:lnTo>
                    <a:pt x="1090" y="1698"/>
                  </a:lnTo>
                  <a:lnTo>
                    <a:pt x="1090" y="1700"/>
                  </a:lnTo>
                  <a:lnTo>
                    <a:pt x="1092" y="1704"/>
                  </a:lnTo>
                  <a:lnTo>
                    <a:pt x="1096" y="1708"/>
                  </a:lnTo>
                  <a:lnTo>
                    <a:pt x="1094" y="1708"/>
                  </a:lnTo>
                  <a:lnTo>
                    <a:pt x="1094" y="1712"/>
                  </a:lnTo>
                  <a:lnTo>
                    <a:pt x="1100" y="1718"/>
                  </a:lnTo>
                  <a:lnTo>
                    <a:pt x="1102" y="1724"/>
                  </a:lnTo>
                  <a:lnTo>
                    <a:pt x="1104" y="1730"/>
                  </a:lnTo>
                  <a:lnTo>
                    <a:pt x="1104" y="1742"/>
                  </a:lnTo>
                  <a:lnTo>
                    <a:pt x="1100" y="1756"/>
                  </a:lnTo>
                  <a:lnTo>
                    <a:pt x="1100" y="1770"/>
                  </a:lnTo>
                  <a:lnTo>
                    <a:pt x="1100" y="1782"/>
                  </a:lnTo>
                  <a:lnTo>
                    <a:pt x="1098" y="1790"/>
                  </a:lnTo>
                  <a:lnTo>
                    <a:pt x="1094" y="1798"/>
                  </a:lnTo>
                  <a:lnTo>
                    <a:pt x="1090" y="1804"/>
                  </a:lnTo>
                  <a:lnTo>
                    <a:pt x="1084" y="1814"/>
                  </a:lnTo>
                  <a:lnTo>
                    <a:pt x="1082" y="1820"/>
                  </a:lnTo>
                  <a:lnTo>
                    <a:pt x="1082" y="1824"/>
                  </a:lnTo>
                  <a:lnTo>
                    <a:pt x="1082" y="1828"/>
                  </a:lnTo>
                  <a:lnTo>
                    <a:pt x="1084" y="1828"/>
                  </a:lnTo>
                  <a:lnTo>
                    <a:pt x="1088" y="1828"/>
                  </a:lnTo>
                  <a:lnTo>
                    <a:pt x="1092" y="1828"/>
                  </a:lnTo>
                  <a:lnTo>
                    <a:pt x="1090" y="1834"/>
                  </a:lnTo>
                  <a:lnTo>
                    <a:pt x="1090" y="1838"/>
                  </a:lnTo>
                  <a:lnTo>
                    <a:pt x="1092" y="1844"/>
                  </a:lnTo>
                  <a:lnTo>
                    <a:pt x="1094" y="1848"/>
                  </a:lnTo>
                  <a:lnTo>
                    <a:pt x="1092" y="1852"/>
                  </a:lnTo>
                  <a:lnTo>
                    <a:pt x="1090" y="1852"/>
                  </a:lnTo>
                  <a:lnTo>
                    <a:pt x="1088" y="1850"/>
                  </a:lnTo>
                  <a:lnTo>
                    <a:pt x="1086" y="1848"/>
                  </a:lnTo>
                  <a:lnTo>
                    <a:pt x="1082" y="1852"/>
                  </a:lnTo>
                  <a:lnTo>
                    <a:pt x="1082" y="1854"/>
                  </a:lnTo>
                  <a:lnTo>
                    <a:pt x="1082" y="1858"/>
                  </a:lnTo>
                  <a:lnTo>
                    <a:pt x="1086" y="1864"/>
                  </a:lnTo>
                  <a:lnTo>
                    <a:pt x="1094" y="1868"/>
                  </a:lnTo>
                  <a:lnTo>
                    <a:pt x="1106" y="1872"/>
                  </a:lnTo>
                  <a:lnTo>
                    <a:pt x="1110" y="1872"/>
                  </a:lnTo>
                  <a:lnTo>
                    <a:pt x="1110" y="1874"/>
                  </a:lnTo>
                  <a:lnTo>
                    <a:pt x="1110" y="1876"/>
                  </a:lnTo>
                  <a:lnTo>
                    <a:pt x="1106" y="1878"/>
                  </a:lnTo>
                  <a:lnTo>
                    <a:pt x="1104" y="1880"/>
                  </a:lnTo>
                  <a:lnTo>
                    <a:pt x="1098" y="1880"/>
                  </a:lnTo>
                  <a:lnTo>
                    <a:pt x="1094" y="1878"/>
                  </a:lnTo>
                  <a:lnTo>
                    <a:pt x="1090" y="1874"/>
                  </a:lnTo>
                  <a:lnTo>
                    <a:pt x="1084" y="1868"/>
                  </a:lnTo>
                  <a:lnTo>
                    <a:pt x="1082" y="1866"/>
                  </a:lnTo>
                  <a:lnTo>
                    <a:pt x="1080" y="1866"/>
                  </a:lnTo>
                  <a:lnTo>
                    <a:pt x="1080" y="1872"/>
                  </a:lnTo>
                  <a:lnTo>
                    <a:pt x="1080" y="1882"/>
                  </a:lnTo>
                  <a:lnTo>
                    <a:pt x="1078" y="1898"/>
                  </a:lnTo>
                  <a:lnTo>
                    <a:pt x="1074" y="1910"/>
                  </a:lnTo>
                  <a:lnTo>
                    <a:pt x="1072" y="1914"/>
                  </a:lnTo>
                  <a:lnTo>
                    <a:pt x="1068" y="1918"/>
                  </a:lnTo>
                  <a:lnTo>
                    <a:pt x="1066" y="1918"/>
                  </a:lnTo>
                  <a:lnTo>
                    <a:pt x="1062" y="1914"/>
                  </a:lnTo>
                  <a:lnTo>
                    <a:pt x="1056" y="1910"/>
                  </a:lnTo>
                  <a:lnTo>
                    <a:pt x="1056" y="1912"/>
                  </a:lnTo>
                  <a:lnTo>
                    <a:pt x="1058" y="1922"/>
                  </a:lnTo>
                  <a:lnTo>
                    <a:pt x="1064" y="1936"/>
                  </a:lnTo>
                  <a:lnTo>
                    <a:pt x="1076" y="1964"/>
                  </a:lnTo>
                  <a:lnTo>
                    <a:pt x="1080" y="1974"/>
                  </a:lnTo>
                  <a:lnTo>
                    <a:pt x="1084" y="1982"/>
                  </a:lnTo>
                  <a:lnTo>
                    <a:pt x="1088" y="1988"/>
                  </a:lnTo>
                  <a:lnTo>
                    <a:pt x="1094" y="1996"/>
                  </a:lnTo>
                  <a:lnTo>
                    <a:pt x="1100" y="2006"/>
                  </a:lnTo>
                  <a:lnTo>
                    <a:pt x="1110" y="2018"/>
                  </a:lnTo>
                  <a:lnTo>
                    <a:pt x="1132" y="2042"/>
                  </a:lnTo>
                  <a:lnTo>
                    <a:pt x="1140" y="2052"/>
                  </a:lnTo>
                  <a:lnTo>
                    <a:pt x="1142" y="2058"/>
                  </a:lnTo>
                  <a:lnTo>
                    <a:pt x="1150" y="2070"/>
                  </a:lnTo>
                  <a:lnTo>
                    <a:pt x="1172" y="2092"/>
                  </a:lnTo>
                  <a:lnTo>
                    <a:pt x="1178" y="2100"/>
                  </a:lnTo>
                  <a:lnTo>
                    <a:pt x="1180" y="2110"/>
                  </a:lnTo>
                  <a:lnTo>
                    <a:pt x="1184" y="2118"/>
                  </a:lnTo>
                  <a:lnTo>
                    <a:pt x="1190" y="2128"/>
                  </a:lnTo>
                  <a:lnTo>
                    <a:pt x="1194" y="2136"/>
                  </a:lnTo>
                  <a:lnTo>
                    <a:pt x="1196" y="2142"/>
                  </a:lnTo>
                  <a:lnTo>
                    <a:pt x="1194" y="2148"/>
                  </a:lnTo>
                  <a:lnTo>
                    <a:pt x="1194" y="2156"/>
                  </a:lnTo>
                  <a:lnTo>
                    <a:pt x="1194" y="2158"/>
                  </a:lnTo>
                  <a:lnTo>
                    <a:pt x="1196" y="2160"/>
                  </a:lnTo>
                  <a:lnTo>
                    <a:pt x="1198" y="2164"/>
                  </a:lnTo>
                  <a:lnTo>
                    <a:pt x="1200" y="2168"/>
                  </a:lnTo>
                  <a:lnTo>
                    <a:pt x="1204" y="2170"/>
                  </a:lnTo>
                  <a:lnTo>
                    <a:pt x="1208" y="2168"/>
                  </a:lnTo>
                  <a:lnTo>
                    <a:pt x="1216" y="2164"/>
                  </a:lnTo>
                  <a:lnTo>
                    <a:pt x="1222" y="2162"/>
                  </a:lnTo>
                  <a:lnTo>
                    <a:pt x="1226" y="2162"/>
                  </a:lnTo>
                  <a:lnTo>
                    <a:pt x="1234" y="2162"/>
                  </a:lnTo>
                  <a:lnTo>
                    <a:pt x="1226" y="2168"/>
                  </a:lnTo>
                  <a:lnTo>
                    <a:pt x="1220" y="2172"/>
                  </a:lnTo>
                  <a:lnTo>
                    <a:pt x="1208" y="2174"/>
                  </a:lnTo>
                  <a:lnTo>
                    <a:pt x="1202" y="2176"/>
                  </a:lnTo>
                  <a:lnTo>
                    <a:pt x="1200" y="2178"/>
                  </a:lnTo>
                  <a:lnTo>
                    <a:pt x="1202" y="2182"/>
                  </a:lnTo>
                  <a:lnTo>
                    <a:pt x="1212" y="2202"/>
                  </a:lnTo>
                  <a:lnTo>
                    <a:pt x="1226" y="2240"/>
                  </a:lnTo>
                  <a:lnTo>
                    <a:pt x="1232" y="2260"/>
                  </a:lnTo>
                  <a:lnTo>
                    <a:pt x="1238" y="2278"/>
                  </a:lnTo>
                  <a:lnTo>
                    <a:pt x="1238" y="2294"/>
                  </a:lnTo>
                  <a:lnTo>
                    <a:pt x="1236" y="2300"/>
                  </a:lnTo>
                  <a:lnTo>
                    <a:pt x="1234" y="2306"/>
                  </a:lnTo>
                  <a:lnTo>
                    <a:pt x="1230" y="2314"/>
                  </a:lnTo>
                  <a:lnTo>
                    <a:pt x="1230" y="2324"/>
                  </a:lnTo>
                  <a:lnTo>
                    <a:pt x="1230" y="2336"/>
                  </a:lnTo>
                  <a:lnTo>
                    <a:pt x="1234" y="2346"/>
                  </a:lnTo>
                  <a:lnTo>
                    <a:pt x="1246" y="2372"/>
                  </a:lnTo>
                  <a:lnTo>
                    <a:pt x="1256" y="2396"/>
                  </a:lnTo>
                  <a:lnTo>
                    <a:pt x="1260" y="2408"/>
                  </a:lnTo>
                  <a:lnTo>
                    <a:pt x="1262" y="2422"/>
                  </a:lnTo>
                  <a:lnTo>
                    <a:pt x="1262" y="2436"/>
                  </a:lnTo>
                  <a:lnTo>
                    <a:pt x="1262" y="2450"/>
                  </a:lnTo>
                  <a:lnTo>
                    <a:pt x="1258" y="2464"/>
                  </a:lnTo>
                  <a:lnTo>
                    <a:pt x="1254" y="2476"/>
                  </a:lnTo>
                  <a:lnTo>
                    <a:pt x="1246" y="2486"/>
                  </a:lnTo>
                  <a:lnTo>
                    <a:pt x="1238" y="2494"/>
                  </a:lnTo>
                  <a:lnTo>
                    <a:pt x="1230" y="2502"/>
                  </a:lnTo>
                  <a:lnTo>
                    <a:pt x="1222" y="2510"/>
                  </a:lnTo>
                  <a:lnTo>
                    <a:pt x="1218" y="2518"/>
                  </a:lnTo>
                  <a:lnTo>
                    <a:pt x="1212" y="2528"/>
                  </a:lnTo>
                  <a:lnTo>
                    <a:pt x="1206" y="2548"/>
                  </a:lnTo>
                  <a:lnTo>
                    <a:pt x="1202" y="2570"/>
                  </a:lnTo>
                  <a:lnTo>
                    <a:pt x="1196" y="2610"/>
                  </a:lnTo>
                  <a:lnTo>
                    <a:pt x="1192" y="2626"/>
                  </a:lnTo>
                  <a:lnTo>
                    <a:pt x="1188" y="2640"/>
                  </a:lnTo>
                  <a:lnTo>
                    <a:pt x="1182" y="2652"/>
                  </a:lnTo>
                  <a:lnTo>
                    <a:pt x="1178" y="2662"/>
                  </a:lnTo>
                  <a:lnTo>
                    <a:pt x="1176" y="2670"/>
                  </a:lnTo>
                  <a:lnTo>
                    <a:pt x="1176" y="2680"/>
                  </a:lnTo>
                  <a:lnTo>
                    <a:pt x="1178" y="2700"/>
                  </a:lnTo>
                  <a:lnTo>
                    <a:pt x="1178" y="2712"/>
                  </a:lnTo>
                  <a:lnTo>
                    <a:pt x="1178" y="2726"/>
                  </a:lnTo>
                  <a:lnTo>
                    <a:pt x="1176" y="2736"/>
                  </a:lnTo>
                  <a:lnTo>
                    <a:pt x="1176" y="2746"/>
                  </a:lnTo>
                  <a:lnTo>
                    <a:pt x="1180" y="2764"/>
                  </a:lnTo>
                  <a:lnTo>
                    <a:pt x="1188" y="2784"/>
                  </a:lnTo>
                  <a:lnTo>
                    <a:pt x="1200" y="2804"/>
                  </a:lnTo>
                  <a:lnTo>
                    <a:pt x="1222" y="2850"/>
                  </a:lnTo>
                  <a:lnTo>
                    <a:pt x="1234" y="2876"/>
                  </a:lnTo>
                  <a:lnTo>
                    <a:pt x="1242" y="2904"/>
                  </a:lnTo>
                  <a:lnTo>
                    <a:pt x="1250" y="2930"/>
                  </a:lnTo>
                  <a:lnTo>
                    <a:pt x="1260" y="2946"/>
                  </a:lnTo>
                  <a:lnTo>
                    <a:pt x="1268" y="2958"/>
                  </a:lnTo>
                  <a:lnTo>
                    <a:pt x="1276" y="2966"/>
                  </a:lnTo>
                  <a:lnTo>
                    <a:pt x="1284" y="2976"/>
                  </a:lnTo>
                  <a:lnTo>
                    <a:pt x="1288" y="2990"/>
                  </a:lnTo>
                  <a:lnTo>
                    <a:pt x="1288" y="3008"/>
                  </a:lnTo>
                  <a:lnTo>
                    <a:pt x="1286" y="3038"/>
                  </a:lnTo>
                  <a:lnTo>
                    <a:pt x="1284" y="3052"/>
                  </a:lnTo>
                  <a:lnTo>
                    <a:pt x="1286" y="3070"/>
                  </a:lnTo>
                  <a:lnTo>
                    <a:pt x="1294" y="3112"/>
                  </a:lnTo>
                  <a:lnTo>
                    <a:pt x="1304" y="3156"/>
                  </a:lnTo>
                  <a:lnTo>
                    <a:pt x="1308" y="3178"/>
                  </a:lnTo>
                  <a:lnTo>
                    <a:pt x="1310" y="3200"/>
                  </a:lnTo>
                  <a:lnTo>
                    <a:pt x="1312" y="3220"/>
                  </a:lnTo>
                  <a:lnTo>
                    <a:pt x="1318" y="3238"/>
                  </a:lnTo>
                  <a:lnTo>
                    <a:pt x="1326" y="3254"/>
                  </a:lnTo>
                  <a:lnTo>
                    <a:pt x="1334" y="3266"/>
                  </a:lnTo>
                  <a:lnTo>
                    <a:pt x="1342" y="3278"/>
                  </a:lnTo>
                  <a:lnTo>
                    <a:pt x="1352" y="3286"/>
                  </a:lnTo>
                  <a:lnTo>
                    <a:pt x="1366" y="3302"/>
                  </a:lnTo>
                  <a:lnTo>
                    <a:pt x="1376" y="3316"/>
                  </a:lnTo>
                  <a:lnTo>
                    <a:pt x="1384" y="3330"/>
                  </a:lnTo>
                  <a:lnTo>
                    <a:pt x="1388" y="3344"/>
                  </a:lnTo>
                  <a:lnTo>
                    <a:pt x="1392" y="3358"/>
                  </a:lnTo>
                  <a:lnTo>
                    <a:pt x="1396" y="3374"/>
                  </a:lnTo>
                  <a:lnTo>
                    <a:pt x="1402" y="3392"/>
                  </a:lnTo>
                  <a:lnTo>
                    <a:pt x="1410" y="3414"/>
                  </a:lnTo>
                  <a:lnTo>
                    <a:pt x="1424" y="3436"/>
                  </a:lnTo>
                  <a:lnTo>
                    <a:pt x="1436" y="3458"/>
                  </a:lnTo>
                  <a:lnTo>
                    <a:pt x="1444" y="3474"/>
                  </a:lnTo>
                  <a:lnTo>
                    <a:pt x="1446" y="3490"/>
                  </a:lnTo>
                  <a:lnTo>
                    <a:pt x="1446" y="3502"/>
                  </a:lnTo>
                  <a:lnTo>
                    <a:pt x="1442" y="3510"/>
                  </a:lnTo>
                  <a:lnTo>
                    <a:pt x="1438" y="3516"/>
                  </a:lnTo>
                  <a:lnTo>
                    <a:pt x="1434" y="3518"/>
                  </a:lnTo>
                  <a:lnTo>
                    <a:pt x="1432" y="3518"/>
                  </a:lnTo>
                  <a:lnTo>
                    <a:pt x="1430" y="3516"/>
                  </a:lnTo>
                  <a:lnTo>
                    <a:pt x="1426" y="3518"/>
                  </a:lnTo>
                  <a:lnTo>
                    <a:pt x="1424" y="3518"/>
                  </a:lnTo>
                  <a:lnTo>
                    <a:pt x="1424" y="3522"/>
                  </a:lnTo>
                  <a:lnTo>
                    <a:pt x="1424" y="3526"/>
                  </a:lnTo>
                  <a:lnTo>
                    <a:pt x="1424" y="3532"/>
                  </a:lnTo>
                  <a:lnTo>
                    <a:pt x="1428" y="3538"/>
                  </a:lnTo>
                  <a:lnTo>
                    <a:pt x="1432" y="3546"/>
                  </a:lnTo>
                  <a:lnTo>
                    <a:pt x="1442" y="3558"/>
                  </a:lnTo>
                  <a:lnTo>
                    <a:pt x="1446" y="3568"/>
                  </a:lnTo>
                  <a:lnTo>
                    <a:pt x="1448" y="3574"/>
                  </a:lnTo>
                  <a:lnTo>
                    <a:pt x="1444" y="3580"/>
                  </a:lnTo>
                  <a:lnTo>
                    <a:pt x="1442" y="3582"/>
                  </a:lnTo>
                  <a:lnTo>
                    <a:pt x="1442" y="3588"/>
                  </a:lnTo>
                  <a:lnTo>
                    <a:pt x="1442" y="3596"/>
                  </a:lnTo>
                  <a:lnTo>
                    <a:pt x="1446" y="3602"/>
                  </a:lnTo>
                  <a:lnTo>
                    <a:pt x="1448" y="3602"/>
                  </a:lnTo>
                  <a:lnTo>
                    <a:pt x="1448" y="3598"/>
                  </a:lnTo>
                  <a:lnTo>
                    <a:pt x="1450" y="3594"/>
                  </a:lnTo>
                  <a:lnTo>
                    <a:pt x="1452" y="3590"/>
                  </a:lnTo>
                  <a:lnTo>
                    <a:pt x="1454" y="3588"/>
                  </a:lnTo>
                  <a:lnTo>
                    <a:pt x="1458" y="3588"/>
                  </a:lnTo>
                  <a:lnTo>
                    <a:pt x="1460" y="3588"/>
                  </a:lnTo>
                  <a:lnTo>
                    <a:pt x="1462" y="3590"/>
                  </a:lnTo>
                  <a:lnTo>
                    <a:pt x="1464" y="3592"/>
                  </a:lnTo>
                  <a:lnTo>
                    <a:pt x="1464" y="3596"/>
                  </a:lnTo>
                  <a:lnTo>
                    <a:pt x="1464" y="3602"/>
                  </a:lnTo>
                  <a:lnTo>
                    <a:pt x="1466" y="3604"/>
                  </a:lnTo>
                  <a:lnTo>
                    <a:pt x="1470" y="3606"/>
                  </a:lnTo>
                  <a:lnTo>
                    <a:pt x="1472" y="3606"/>
                  </a:lnTo>
                  <a:lnTo>
                    <a:pt x="1478" y="3606"/>
                  </a:lnTo>
                  <a:lnTo>
                    <a:pt x="1480" y="3608"/>
                  </a:lnTo>
                  <a:lnTo>
                    <a:pt x="1482" y="3612"/>
                  </a:lnTo>
                  <a:lnTo>
                    <a:pt x="1484" y="3618"/>
                  </a:lnTo>
                  <a:lnTo>
                    <a:pt x="1486" y="3620"/>
                  </a:lnTo>
                  <a:lnTo>
                    <a:pt x="1490" y="3620"/>
                  </a:lnTo>
                  <a:lnTo>
                    <a:pt x="1494" y="3624"/>
                  </a:lnTo>
                  <a:lnTo>
                    <a:pt x="1496" y="3628"/>
                  </a:lnTo>
                  <a:lnTo>
                    <a:pt x="1500" y="3626"/>
                  </a:lnTo>
                  <a:lnTo>
                    <a:pt x="1506" y="3626"/>
                  </a:lnTo>
                  <a:lnTo>
                    <a:pt x="1510" y="3626"/>
                  </a:lnTo>
                  <a:lnTo>
                    <a:pt x="1514" y="3628"/>
                  </a:lnTo>
                  <a:lnTo>
                    <a:pt x="1516" y="3626"/>
                  </a:lnTo>
                  <a:lnTo>
                    <a:pt x="1520" y="3620"/>
                  </a:lnTo>
                  <a:lnTo>
                    <a:pt x="1526" y="3612"/>
                  </a:lnTo>
                  <a:lnTo>
                    <a:pt x="1532" y="3610"/>
                  </a:lnTo>
                  <a:lnTo>
                    <a:pt x="1540" y="3608"/>
                  </a:lnTo>
                  <a:lnTo>
                    <a:pt x="1552" y="3606"/>
                  </a:lnTo>
                  <a:lnTo>
                    <a:pt x="1558" y="3608"/>
                  </a:lnTo>
                  <a:lnTo>
                    <a:pt x="1564" y="3608"/>
                  </a:lnTo>
                  <a:lnTo>
                    <a:pt x="1576" y="3604"/>
                  </a:lnTo>
                  <a:lnTo>
                    <a:pt x="1584" y="3602"/>
                  </a:lnTo>
                  <a:lnTo>
                    <a:pt x="1590" y="3598"/>
                  </a:lnTo>
                  <a:lnTo>
                    <a:pt x="1594" y="3592"/>
                  </a:lnTo>
                  <a:lnTo>
                    <a:pt x="1600" y="3586"/>
                  </a:lnTo>
                  <a:lnTo>
                    <a:pt x="1602" y="3586"/>
                  </a:lnTo>
                  <a:lnTo>
                    <a:pt x="1608" y="3584"/>
                  </a:lnTo>
                  <a:lnTo>
                    <a:pt x="1620" y="3584"/>
                  </a:lnTo>
                  <a:lnTo>
                    <a:pt x="1632" y="3588"/>
                  </a:lnTo>
                  <a:lnTo>
                    <a:pt x="1642" y="3590"/>
                  </a:lnTo>
                  <a:lnTo>
                    <a:pt x="1648" y="3590"/>
                  </a:lnTo>
                  <a:lnTo>
                    <a:pt x="1652" y="3586"/>
                  </a:lnTo>
                  <a:lnTo>
                    <a:pt x="1656" y="3586"/>
                  </a:lnTo>
                  <a:lnTo>
                    <a:pt x="1664" y="3586"/>
                  </a:lnTo>
                  <a:lnTo>
                    <a:pt x="1678" y="3592"/>
                  </a:lnTo>
                  <a:lnTo>
                    <a:pt x="1686" y="3594"/>
                  </a:lnTo>
                  <a:lnTo>
                    <a:pt x="1694" y="3594"/>
                  </a:lnTo>
                  <a:lnTo>
                    <a:pt x="1702" y="3594"/>
                  </a:lnTo>
                  <a:lnTo>
                    <a:pt x="1706" y="3590"/>
                  </a:lnTo>
                  <a:lnTo>
                    <a:pt x="1712" y="3584"/>
                  </a:lnTo>
                  <a:lnTo>
                    <a:pt x="1718" y="3582"/>
                  </a:lnTo>
                  <a:lnTo>
                    <a:pt x="1724" y="3584"/>
                  </a:lnTo>
                  <a:lnTo>
                    <a:pt x="1730" y="3584"/>
                  </a:lnTo>
                  <a:lnTo>
                    <a:pt x="1738" y="3586"/>
                  </a:lnTo>
                  <a:lnTo>
                    <a:pt x="1740" y="3584"/>
                  </a:lnTo>
                  <a:lnTo>
                    <a:pt x="1740" y="3580"/>
                  </a:lnTo>
                  <a:lnTo>
                    <a:pt x="1740" y="3574"/>
                  </a:lnTo>
                  <a:lnTo>
                    <a:pt x="1742" y="3572"/>
                  </a:lnTo>
                  <a:lnTo>
                    <a:pt x="1748" y="3572"/>
                  </a:lnTo>
                  <a:lnTo>
                    <a:pt x="1756" y="3572"/>
                  </a:lnTo>
                  <a:lnTo>
                    <a:pt x="1764" y="3572"/>
                  </a:lnTo>
                  <a:lnTo>
                    <a:pt x="1774" y="3570"/>
                  </a:lnTo>
                  <a:lnTo>
                    <a:pt x="1782" y="3568"/>
                  </a:lnTo>
                  <a:lnTo>
                    <a:pt x="1792" y="3562"/>
                  </a:lnTo>
                  <a:lnTo>
                    <a:pt x="1810" y="3550"/>
                  </a:lnTo>
                  <a:lnTo>
                    <a:pt x="1832" y="3532"/>
                  </a:lnTo>
                  <a:lnTo>
                    <a:pt x="1858" y="3506"/>
                  </a:lnTo>
                  <a:lnTo>
                    <a:pt x="1870" y="3490"/>
                  </a:lnTo>
                  <a:lnTo>
                    <a:pt x="1884" y="3472"/>
                  </a:lnTo>
                  <a:lnTo>
                    <a:pt x="1892" y="3462"/>
                  </a:lnTo>
                  <a:lnTo>
                    <a:pt x="1898" y="3456"/>
                  </a:lnTo>
                  <a:lnTo>
                    <a:pt x="1912" y="3442"/>
                  </a:lnTo>
                  <a:lnTo>
                    <a:pt x="1920" y="3432"/>
                  </a:lnTo>
                  <a:lnTo>
                    <a:pt x="1930" y="3418"/>
                  </a:lnTo>
                  <a:lnTo>
                    <a:pt x="1940" y="3398"/>
                  </a:lnTo>
                  <a:lnTo>
                    <a:pt x="1952" y="3372"/>
                  </a:lnTo>
                  <a:lnTo>
                    <a:pt x="1968" y="3344"/>
                  </a:lnTo>
                  <a:lnTo>
                    <a:pt x="1980" y="3324"/>
                  </a:lnTo>
                  <a:lnTo>
                    <a:pt x="1992" y="3314"/>
                  </a:lnTo>
                  <a:lnTo>
                    <a:pt x="2002" y="3304"/>
                  </a:lnTo>
                  <a:lnTo>
                    <a:pt x="2010" y="3294"/>
                  </a:lnTo>
                  <a:lnTo>
                    <a:pt x="2018" y="3276"/>
                  </a:lnTo>
                  <a:lnTo>
                    <a:pt x="2026" y="3250"/>
                  </a:lnTo>
                  <a:lnTo>
                    <a:pt x="2030" y="3210"/>
                  </a:lnTo>
                  <a:lnTo>
                    <a:pt x="2034" y="3182"/>
                  </a:lnTo>
                  <a:lnTo>
                    <a:pt x="2032" y="3176"/>
                  </a:lnTo>
                  <a:lnTo>
                    <a:pt x="2030" y="3176"/>
                  </a:lnTo>
                  <a:lnTo>
                    <a:pt x="2026" y="3176"/>
                  </a:lnTo>
                  <a:lnTo>
                    <a:pt x="2024" y="3176"/>
                  </a:lnTo>
                  <a:lnTo>
                    <a:pt x="2022" y="3170"/>
                  </a:lnTo>
                  <a:lnTo>
                    <a:pt x="2020" y="3164"/>
                  </a:lnTo>
                  <a:lnTo>
                    <a:pt x="2024" y="3156"/>
                  </a:lnTo>
                  <a:lnTo>
                    <a:pt x="2028" y="3148"/>
                  </a:lnTo>
                  <a:lnTo>
                    <a:pt x="2036" y="3140"/>
                  </a:lnTo>
                  <a:lnTo>
                    <a:pt x="2046" y="3132"/>
                  </a:lnTo>
                  <a:lnTo>
                    <a:pt x="2056" y="3126"/>
                  </a:lnTo>
                  <a:lnTo>
                    <a:pt x="2070" y="3118"/>
                  </a:lnTo>
                  <a:lnTo>
                    <a:pt x="2084" y="3114"/>
                  </a:lnTo>
                  <a:lnTo>
                    <a:pt x="2096" y="3108"/>
                  </a:lnTo>
                  <a:lnTo>
                    <a:pt x="2108" y="3100"/>
                  </a:lnTo>
                  <a:lnTo>
                    <a:pt x="2118" y="3094"/>
                  </a:lnTo>
                  <a:lnTo>
                    <a:pt x="2126" y="3086"/>
                  </a:lnTo>
                  <a:lnTo>
                    <a:pt x="2132" y="3078"/>
                  </a:lnTo>
                  <a:lnTo>
                    <a:pt x="2136" y="3070"/>
                  </a:lnTo>
                  <a:lnTo>
                    <a:pt x="2136" y="3062"/>
                  </a:lnTo>
                  <a:lnTo>
                    <a:pt x="2134" y="3056"/>
                  </a:lnTo>
                  <a:lnTo>
                    <a:pt x="2130" y="3050"/>
                  </a:lnTo>
                  <a:lnTo>
                    <a:pt x="2130" y="3044"/>
                  </a:lnTo>
                  <a:lnTo>
                    <a:pt x="2132" y="3034"/>
                  </a:lnTo>
                  <a:lnTo>
                    <a:pt x="2136" y="3016"/>
                  </a:lnTo>
                  <a:lnTo>
                    <a:pt x="2138" y="3006"/>
                  </a:lnTo>
                  <a:lnTo>
                    <a:pt x="2138" y="2990"/>
                  </a:lnTo>
                  <a:lnTo>
                    <a:pt x="2136" y="2972"/>
                  </a:lnTo>
                  <a:lnTo>
                    <a:pt x="2136" y="2970"/>
                  </a:lnTo>
                  <a:lnTo>
                    <a:pt x="2134" y="2972"/>
                  </a:lnTo>
                  <a:lnTo>
                    <a:pt x="2132" y="2974"/>
                  </a:lnTo>
                  <a:lnTo>
                    <a:pt x="2130" y="2974"/>
                  </a:lnTo>
                  <a:lnTo>
                    <a:pt x="2128" y="2972"/>
                  </a:lnTo>
                  <a:lnTo>
                    <a:pt x="2126" y="2962"/>
                  </a:lnTo>
                  <a:lnTo>
                    <a:pt x="2120" y="2934"/>
                  </a:lnTo>
                  <a:lnTo>
                    <a:pt x="2120" y="2920"/>
                  </a:lnTo>
                  <a:lnTo>
                    <a:pt x="2118" y="2910"/>
                  </a:lnTo>
                  <a:lnTo>
                    <a:pt x="2108" y="2896"/>
                  </a:lnTo>
                  <a:lnTo>
                    <a:pt x="2104" y="2890"/>
                  </a:lnTo>
                  <a:lnTo>
                    <a:pt x="2102" y="2886"/>
                  </a:lnTo>
                  <a:lnTo>
                    <a:pt x="2102" y="2878"/>
                  </a:lnTo>
                  <a:lnTo>
                    <a:pt x="2104" y="2870"/>
                  </a:lnTo>
                  <a:lnTo>
                    <a:pt x="2104" y="2860"/>
                  </a:lnTo>
                  <a:lnTo>
                    <a:pt x="2104" y="2854"/>
                  </a:lnTo>
                  <a:lnTo>
                    <a:pt x="2108" y="2854"/>
                  </a:lnTo>
                  <a:lnTo>
                    <a:pt x="2114" y="2852"/>
                  </a:lnTo>
                  <a:lnTo>
                    <a:pt x="2120" y="2848"/>
                  </a:lnTo>
                  <a:lnTo>
                    <a:pt x="2126" y="2842"/>
                  </a:lnTo>
                  <a:lnTo>
                    <a:pt x="2136" y="2832"/>
                  </a:lnTo>
                  <a:lnTo>
                    <a:pt x="2144" y="2822"/>
                  </a:lnTo>
                  <a:lnTo>
                    <a:pt x="2150" y="2816"/>
                  </a:lnTo>
                  <a:lnTo>
                    <a:pt x="2160" y="2812"/>
                  </a:lnTo>
                  <a:lnTo>
                    <a:pt x="2166" y="2808"/>
                  </a:lnTo>
                  <a:lnTo>
                    <a:pt x="2170" y="2804"/>
                  </a:lnTo>
                  <a:lnTo>
                    <a:pt x="2178" y="2794"/>
                  </a:lnTo>
                  <a:lnTo>
                    <a:pt x="2186" y="2780"/>
                  </a:lnTo>
                  <a:lnTo>
                    <a:pt x="2196" y="2764"/>
                  </a:lnTo>
                  <a:lnTo>
                    <a:pt x="2206" y="2750"/>
                  </a:lnTo>
                  <a:lnTo>
                    <a:pt x="2216" y="2740"/>
                  </a:lnTo>
                  <a:lnTo>
                    <a:pt x="2226" y="2734"/>
                  </a:lnTo>
                  <a:lnTo>
                    <a:pt x="2236" y="2728"/>
                  </a:lnTo>
                  <a:lnTo>
                    <a:pt x="2246" y="2724"/>
                  </a:lnTo>
                  <a:lnTo>
                    <a:pt x="2266" y="2718"/>
                  </a:lnTo>
                  <a:lnTo>
                    <a:pt x="2276" y="2714"/>
                  </a:lnTo>
                  <a:lnTo>
                    <a:pt x="2284" y="2708"/>
                  </a:lnTo>
                  <a:lnTo>
                    <a:pt x="2294" y="2700"/>
                  </a:lnTo>
                  <a:lnTo>
                    <a:pt x="2302" y="2690"/>
                  </a:lnTo>
                  <a:lnTo>
                    <a:pt x="2320" y="2666"/>
                  </a:lnTo>
                  <a:lnTo>
                    <a:pt x="2336" y="2636"/>
                  </a:lnTo>
                  <a:lnTo>
                    <a:pt x="2344" y="2622"/>
                  </a:lnTo>
                  <a:lnTo>
                    <a:pt x="2344" y="2620"/>
                  </a:lnTo>
                  <a:lnTo>
                    <a:pt x="2344" y="2616"/>
                  </a:lnTo>
                  <a:lnTo>
                    <a:pt x="2348" y="2606"/>
                  </a:lnTo>
                  <a:lnTo>
                    <a:pt x="2350" y="2598"/>
                  </a:lnTo>
                  <a:lnTo>
                    <a:pt x="2352" y="2594"/>
                  </a:lnTo>
                  <a:lnTo>
                    <a:pt x="2350" y="2590"/>
                  </a:lnTo>
                  <a:lnTo>
                    <a:pt x="2348" y="2586"/>
                  </a:lnTo>
                  <a:lnTo>
                    <a:pt x="2344" y="2582"/>
                  </a:lnTo>
                  <a:lnTo>
                    <a:pt x="2340" y="2576"/>
                  </a:lnTo>
                  <a:lnTo>
                    <a:pt x="2338" y="2566"/>
                  </a:lnTo>
                  <a:lnTo>
                    <a:pt x="2338" y="2552"/>
                  </a:lnTo>
                  <a:lnTo>
                    <a:pt x="2338" y="2500"/>
                  </a:lnTo>
                  <a:lnTo>
                    <a:pt x="2338" y="2478"/>
                  </a:lnTo>
                  <a:lnTo>
                    <a:pt x="2334" y="2454"/>
                  </a:lnTo>
                  <a:lnTo>
                    <a:pt x="2334" y="2440"/>
                  </a:lnTo>
                  <a:lnTo>
                    <a:pt x="2334" y="2432"/>
                  </a:lnTo>
                  <a:lnTo>
                    <a:pt x="2338" y="2426"/>
                  </a:lnTo>
                  <a:lnTo>
                    <a:pt x="2342" y="2424"/>
                  </a:lnTo>
                  <a:lnTo>
                    <a:pt x="2344" y="2420"/>
                  </a:lnTo>
                  <a:lnTo>
                    <a:pt x="2344" y="2414"/>
                  </a:lnTo>
                  <a:lnTo>
                    <a:pt x="2340" y="2406"/>
                  </a:lnTo>
                  <a:lnTo>
                    <a:pt x="2334" y="2394"/>
                  </a:lnTo>
                  <a:lnTo>
                    <a:pt x="2324" y="2384"/>
                  </a:lnTo>
                  <a:lnTo>
                    <a:pt x="2318" y="2380"/>
                  </a:lnTo>
                  <a:lnTo>
                    <a:pt x="2312" y="2376"/>
                  </a:lnTo>
                  <a:lnTo>
                    <a:pt x="2308" y="2368"/>
                  </a:lnTo>
                  <a:lnTo>
                    <a:pt x="2304" y="2358"/>
                  </a:lnTo>
                  <a:lnTo>
                    <a:pt x="2302" y="2348"/>
                  </a:lnTo>
                  <a:lnTo>
                    <a:pt x="2300" y="2334"/>
                  </a:lnTo>
                  <a:lnTo>
                    <a:pt x="2292" y="2310"/>
                  </a:lnTo>
                  <a:lnTo>
                    <a:pt x="2288" y="2298"/>
                  </a:lnTo>
                  <a:lnTo>
                    <a:pt x="2288" y="2290"/>
                  </a:lnTo>
                  <a:lnTo>
                    <a:pt x="2288" y="2286"/>
                  </a:lnTo>
                  <a:lnTo>
                    <a:pt x="2290" y="2280"/>
                  </a:lnTo>
                  <a:lnTo>
                    <a:pt x="2292" y="2278"/>
                  </a:lnTo>
                  <a:lnTo>
                    <a:pt x="2294" y="2274"/>
                  </a:lnTo>
                  <a:lnTo>
                    <a:pt x="2294" y="2268"/>
                  </a:lnTo>
                  <a:lnTo>
                    <a:pt x="2292" y="2258"/>
                  </a:lnTo>
                  <a:lnTo>
                    <a:pt x="2288" y="2248"/>
                  </a:lnTo>
                  <a:lnTo>
                    <a:pt x="2288" y="2240"/>
                  </a:lnTo>
                  <a:lnTo>
                    <a:pt x="2290" y="2236"/>
                  </a:lnTo>
                  <a:lnTo>
                    <a:pt x="2292" y="2232"/>
                  </a:lnTo>
                  <a:lnTo>
                    <a:pt x="2294" y="2230"/>
                  </a:lnTo>
                  <a:lnTo>
                    <a:pt x="2296" y="2228"/>
                  </a:lnTo>
                  <a:lnTo>
                    <a:pt x="2296" y="2226"/>
                  </a:lnTo>
                  <a:lnTo>
                    <a:pt x="2294" y="2220"/>
                  </a:lnTo>
                  <a:lnTo>
                    <a:pt x="2282" y="2206"/>
                  </a:lnTo>
                  <a:lnTo>
                    <a:pt x="2272" y="2192"/>
                  </a:lnTo>
                  <a:lnTo>
                    <a:pt x="2268" y="2184"/>
                  </a:lnTo>
                  <a:lnTo>
                    <a:pt x="2266" y="2174"/>
                  </a:lnTo>
                  <a:lnTo>
                    <a:pt x="2268" y="2164"/>
                  </a:lnTo>
                  <a:lnTo>
                    <a:pt x="2272" y="2150"/>
                  </a:lnTo>
                  <a:lnTo>
                    <a:pt x="2276" y="2138"/>
                  </a:lnTo>
                  <a:lnTo>
                    <a:pt x="2278" y="2130"/>
                  </a:lnTo>
                  <a:lnTo>
                    <a:pt x="2282" y="2122"/>
                  </a:lnTo>
                  <a:lnTo>
                    <a:pt x="2288" y="2108"/>
                  </a:lnTo>
                  <a:lnTo>
                    <a:pt x="2304" y="2084"/>
                  </a:lnTo>
                  <a:lnTo>
                    <a:pt x="2308" y="2074"/>
                  </a:lnTo>
                  <a:lnTo>
                    <a:pt x="2310" y="2058"/>
                  </a:lnTo>
                  <a:lnTo>
                    <a:pt x="2312" y="2052"/>
                  </a:lnTo>
                  <a:lnTo>
                    <a:pt x="2314" y="2048"/>
                  </a:lnTo>
                  <a:lnTo>
                    <a:pt x="2320" y="2046"/>
                  </a:lnTo>
                  <a:lnTo>
                    <a:pt x="2322" y="2044"/>
                  </a:lnTo>
                  <a:lnTo>
                    <a:pt x="2324" y="2042"/>
                  </a:lnTo>
                  <a:lnTo>
                    <a:pt x="2324" y="2036"/>
                  </a:lnTo>
                  <a:lnTo>
                    <a:pt x="2322" y="2026"/>
                  </a:lnTo>
                  <a:lnTo>
                    <a:pt x="2324" y="2016"/>
                  </a:lnTo>
                  <a:lnTo>
                    <a:pt x="2326" y="2008"/>
                  </a:lnTo>
                  <a:lnTo>
                    <a:pt x="2332" y="2004"/>
                  </a:lnTo>
                  <a:lnTo>
                    <a:pt x="2338" y="2002"/>
                  </a:lnTo>
                  <a:lnTo>
                    <a:pt x="2350" y="1998"/>
                  </a:lnTo>
                  <a:lnTo>
                    <a:pt x="2354" y="1994"/>
                  </a:lnTo>
                  <a:lnTo>
                    <a:pt x="2354" y="1988"/>
                  </a:lnTo>
                  <a:lnTo>
                    <a:pt x="2352" y="1980"/>
                  </a:lnTo>
                  <a:lnTo>
                    <a:pt x="2356" y="1980"/>
                  </a:lnTo>
                  <a:lnTo>
                    <a:pt x="2360" y="1980"/>
                  </a:lnTo>
                  <a:lnTo>
                    <a:pt x="2366" y="1978"/>
                  </a:lnTo>
                  <a:lnTo>
                    <a:pt x="2372" y="1972"/>
                  </a:lnTo>
                  <a:lnTo>
                    <a:pt x="2380" y="1962"/>
                  </a:lnTo>
                  <a:lnTo>
                    <a:pt x="2388" y="1950"/>
                  </a:lnTo>
                  <a:lnTo>
                    <a:pt x="2390" y="1944"/>
                  </a:lnTo>
                  <a:lnTo>
                    <a:pt x="2394" y="1932"/>
                  </a:lnTo>
                  <a:lnTo>
                    <a:pt x="2396" y="1926"/>
                  </a:lnTo>
                  <a:lnTo>
                    <a:pt x="2400" y="1918"/>
                  </a:lnTo>
                  <a:lnTo>
                    <a:pt x="2408" y="1908"/>
                  </a:lnTo>
                  <a:lnTo>
                    <a:pt x="2422" y="1892"/>
                  </a:lnTo>
                  <a:lnTo>
                    <a:pt x="2450" y="1860"/>
                  </a:lnTo>
                  <a:lnTo>
                    <a:pt x="2470" y="1836"/>
                  </a:lnTo>
                  <a:lnTo>
                    <a:pt x="2494" y="1812"/>
                  </a:lnTo>
                  <a:lnTo>
                    <a:pt x="2532" y="1780"/>
                  </a:lnTo>
                  <a:lnTo>
                    <a:pt x="2556" y="1760"/>
                  </a:lnTo>
                  <a:lnTo>
                    <a:pt x="2580" y="1736"/>
                  </a:lnTo>
                  <a:lnTo>
                    <a:pt x="2604" y="1710"/>
                  </a:lnTo>
                  <a:lnTo>
                    <a:pt x="2626" y="1680"/>
                  </a:lnTo>
                  <a:lnTo>
                    <a:pt x="2646" y="1646"/>
                  </a:lnTo>
                  <a:lnTo>
                    <a:pt x="2666" y="1610"/>
                  </a:lnTo>
                  <a:lnTo>
                    <a:pt x="2686" y="1570"/>
                  </a:lnTo>
                  <a:lnTo>
                    <a:pt x="2702" y="1526"/>
                  </a:lnTo>
                  <a:lnTo>
                    <a:pt x="2712" y="1502"/>
                  </a:lnTo>
                  <a:lnTo>
                    <a:pt x="2722" y="1482"/>
                  </a:lnTo>
                  <a:lnTo>
                    <a:pt x="2738" y="1452"/>
                  </a:lnTo>
                  <a:lnTo>
                    <a:pt x="2750" y="1426"/>
                  </a:lnTo>
                  <a:lnTo>
                    <a:pt x="2752" y="1416"/>
                  </a:lnTo>
                  <a:lnTo>
                    <a:pt x="2754" y="1404"/>
                  </a:lnTo>
                  <a:lnTo>
                    <a:pt x="2758" y="1388"/>
                  </a:lnTo>
                  <a:lnTo>
                    <a:pt x="2762" y="1378"/>
                  </a:lnTo>
                  <a:lnTo>
                    <a:pt x="2768" y="1376"/>
                  </a:lnTo>
                  <a:lnTo>
                    <a:pt x="2772" y="1376"/>
                  </a:lnTo>
                  <a:lnTo>
                    <a:pt x="2776" y="1376"/>
                  </a:lnTo>
                  <a:lnTo>
                    <a:pt x="2770" y="136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04" name="Freeform 6155">
              <a:extLst>
                <a:ext uri="{FF2B5EF4-FFF2-40B4-BE49-F238E27FC236}">
                  <a16:creationId xmlns:a16="http://schemas.microsoft.com/office/drawing/2014/main" id="{0E584202-1452-428F-B243-E6A11F2127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8697" y="954107"/>
              <a:ext cx="1798643" cy="2608252"/>
            </a:xfrm>
            <a:custGeom>
              <a:avLst/>
              <a:gdLst>
                <a:gd name="T0" fmla="*/ 794599 w 2834"/>
                <a:gd name="T1" fmla="*/ 115556 h 4108"/>
                <a:gd name="T2" fmla="*/ 750173 w 2834"/>
                <a:gd name="T3" fmla="*/ 64762 h 4108"/>
                <a:gd name="T4" fmla="*/ 742557 w 2834"/>
                <a:gd name="T5" fmla="*/ 528256 h 4108"/>
                <a:gd name="T6" fmla="*/ 842833 w 2834"/>
                <a:gd name="T7" fmla="*/ 165080 h 4108"/>
                <a:gd name="T8" fmla="*/ 708285 w 2834"/>
                <a:gd name="T9" fmla="*/ 563811 h 4108"/>
                <a:gd name="T10" fmla="*/ 635933 w 2834"/>
                <a:gd name="T11" fmla="*/ 595557 h 4108"/>
                <a:gd name="T12" fmla="*/ 684167 w 2834"/>
                <a:gd name="T13" fmla="*/ 565081 h 4108"/>
                <a:gd name="T14" fmla="*/ 836487 w 2834"/>
                <a:gd name="T15" fmla="*/ 25397 h 4108"/>
                <a:gd name="T16" fmla="*/ 91392 w 2834"/>
                <a:gd name="T17" fmla="*/ 1043813 h 4108"/>
                <a:gd name="T18" fmla="*/ 44426 w 2834"/>
                <a:gd name="T19" fmla="*/ 1184766 h 4108"/>
                <a:gd name="T20" fmla="*/ 107893 w 2834"/>
                <a:gd name="T21" fmla="*/ 1048892 h 4108"/>
                <a:gd name="T22" fmla="*/ 119317 w 2834"/>
                <a:gd name="T23" fmla="*/ 1116194 h 4108"/>
                <a:gd name="T24" fmla="*/ 171359 w 2834"/>
                <a:gd name="T25" fmla="*/ 1036194 h 4108"/>
                <a:gd name="T26" fmla="*/ 129471 w 2834"/>
                <a:gd name="T27" fmla="*/ 1116194 h 4108"/>
                <a:gd name="T28" fmla="*/ 148511 w 2834"/>
                <a:gd name="T29" fmla="*/ 1240639 h 4108"/>
                <a:gd name="T30" fmla="*/ 200554 w 2834"/>
                <a:gd name="T31" fmla="*/ 1323179 h 4108"/>
                <a:gd name="T32" fmla="*/ 397299 w 2834"/>
                <a:gd name="T33" fmla="*/ 877463 h 4108"/>
                <a:gd name="T34" fmla="*/ 224671 w 2834"/>
                <a:gd name="T35" fmla="*/ 943495 h 4108"/>
                <a:gd name="T36" fmla="*/ 331294 w 2834"/>
                <a:gd name="T37" fmla="*/ 721272 h 4108"/>
                <a:gd name="T38" fmla="*/ 114239 w 2834"/>
                <a:gd name="T39" fmla="*/ 665399 h 4108"/>
                <a:gd name="T40" fmla="*/ 151050 w 2834"/>
                <a:gd name="T41" fmla="*/ 1219051 h 4108"/>
                <a:gd name="T42" fmla="*/ 576275 w 2834"/>
                <a:gd name="T43" fmla="*/ 1158099 h 4108"/>
                <a:gd name="T44" fmla="*/ 580083 w 2834"/>
                <a:gd name="T45" fmla="*/ 1159369 h 4108"/>
                <a:gd name="T46" fmla="*/ 694322 w 2834"/>
                <a:gd name="T47" fmla="*/ 1079368 h 4108"/>
                <a:gd name="T48" fmla="*/ 401107 w 2834"/>
                <a:gd name="T49" fmla="*/ 961273 h 4108"/>
                <a:gd name="T50" fmla="*/ 840295 w 2834"/>
                <a:gd name="T51" fmla="*/ 1010797 h 4108"/>
                <a:gd name="T52" fmla="*/ 605469 w 2834"/>
                <a:gd name="T53" fmla="*/ 1771434 h 4108"/>
                <a:gd name="T54" fmla="*/ 799676 w 2834"/>
                <a:gd name="T55" fmla="*/ 1789212 h 4108"/>
                <a:gd name="T56" fmla="*/ 858065 w 2834"/>
                <a:gd name="T57" fmla="*/ 1842545 h 4108"/>
                <a:gd name="T58" fmla="*/ 1586659 w 2834"/>
                <a:gd name="T59" fmla="*/ 2201912 h 4108"/>
                <a:gd name="T60" fmla="*/ 1488921 w 2834"/>
                <a:gd name="T61" fmla="*/ 2069848 h 4108"/>
                <a:gd name="T62" fmla="*/ 1391183 w 2834"/>
                <a:gd name="T63" fmla="*/ 620954 h 4108"/>
                <a:gd name="T64" fmla="*/ 1212208 w 2834"/>
                <a:gd name="T65" fmla="*/ 568891 h 4108"/>
                <a:gd name="T66" fmla="*/ 974843 w 2834"/>
                <a:gd name="T67" fmla="*/ 468573 h 4108"/>
                <a:gd name="T68" fmla="*/ 856796 w 2834"/>
                <a:gd name="T69" fmla="*/ 514287 h 4108"/>
                <a:gd name="T70" fmla="*/ 732402 w 2834"/>
                <a:gd name="T71" fmla="*/ 544764 h 4108"/>
                <a:gd name="T72" fmla="*/ 657512 w 2834"/>
                <a:gd name="T73" fmla="*/ 642542 h 4108"/>
                <a:gd name="T74" fmla="*/ 562312 w 2834"/>
                <a:gd name="T75" fmla="*/ 758098 h 4108"/>
                <a:gd name="T76" fmla="*/ 446803 w 2834"/>
                <a:gd name="T77" fmla="*/ 830479 h 4108"/>
                <a:gd name="T78" fmla="*/ 396030 w 2834"/>
                <a:gd name="T79" fmla="*/ 911749 h 4108"/>
                <a:gd name="T80" fmla="*/ 482344 w 2834"/>
                <a:gd name="T81" fmla="*/ 1027305 h 4108"/>
                <a:gd name="T82" fmla="*/ 679090 w 2834"/>
                <a:gd name="T83" fmla="*/ 1102226 h 4108"/>
                <a:gd name="T84" fmla="*/ 728594 w 2834"/>
                <a:gd name="T85" fmla="*/ 845717 h 4108"/>
                <a:gd name="T86" fmla="*/ 818716 w 2834"/>
                <a:gd name="T87" fmla="*/ 825399 h 4108"/>
                <a:gd name="T88" fmla="*/ 984998 w 2834"/>
                <a:gd name="T89" fmla="*/ 975241 h 4108"/>
                <a:gd name="T90" fmla="*/ 748903 w 2834"/>
                <a:gd name="T91" fmla="*/ 1168258 h 4108"/>
                <a:gd name="T92" fmla="*/ 514078 w 2834"/>
                <a:gd name="T93" fmla="*/ 1158099 h 4108"/>
                <a:gd name="T94" fmla="*/ 486152 w 2834"/>
                <a:gd name="T95" fmla="*/ 1146670 h 4108"/>
                <a:gd name="T96" fmla="*/ 392222 w 2834"/>
                <a:gd name="T97" fmla="*/ 1235559 h 4108"/>
                <a:gd name="T98" fmla="*/ 185322 w 2834"/>
                <a:gd name="T99" fmla="*/ 1389211 h 4108"/>
                <a:gd name="T100" fmla="*/ 171359 w 2834"/>
                <a:gd name="T101" fmla="*/ 1584767 h 4108"/>
                <a:gd name="T102" fmla="*/ 180244 w 2834"/>
                <a:gd name="T103" fmla="*/ 1823498 h 4108"/>
                <a:gd name="T104" fmla="*/ 542003 w 2834"/>
                <a:gd name="T105" fmla="*/ 1610164 h 4108"/>
                <a:gd name="T106" fmla="*/ 628317 w 2834"/>
                <a:gd name="T107" fmla="*/ 1615243 h 4108"/>
                <a:gd name="T108" fmla="*/ 786983 w 2834"/>
                <a:gd name="T109" fmla="*/ 1730799 h 4108"/>
                <a:gd name="T110" fmla="*/ 884721 w 2834"/>
                <a:gd name="T111" fmla="*/ 1789212 h 4108"/>
                <a:gd name="T112" fmla="*/ 972305 w 2834"/>
                <a:gd name="T113" fmla="*/ 1674926 h 4108"/>
                <a:gd name="T114" fmla="*/ 1124624 w 2834"/>
                <a:gd name="T115" fmla="*/ 1530163 h 4108"/>
                <a:gd name="T116" fmla="*/ 1213477 w 2834"/>
                <a:gd name="T117" fmla="*/ 1530163 h 4108"/>
                <a:gd name="T118" fmla="*/ 976113 w 2834"/>
                <a:gd name="T119" fmla="*/ 1692704 h 4108"/>
                <a:gd name="T120" fmla="*/ 1042118 w 2834"/>
                <a:gd name="T121" fmla="*/ 1838736 h 4108"/>
                <a:gd name="T122" fmla="*/ 1153819 w 2834"/>
                <a:gd name="T123" fmla="*/ 2114292 h 4108"/>
                <a:gd name="T124" fmla="*/ 1426724 w 2834"/>
                <a:gd name="T125" fmla="*/ 2595564 h 410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834"/>
                <a:gd name="T190" fmla="*/ 0 h 4108"/>
                <a:gd name="T191" fmla="*/ 2834 w 2834"/>
                <a:gd name="T192" fmla="*/ 4108 h 410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834" h="4108">
                  <a:moveTo>
                    <a:pt x="1216" y="808"/>
                  </a:moveTo>
                  <a:lnTo>
                    <a:pt x="1216" y="808"/>
                  </a:lnTo>
                  <a:lnTo>
                    <a:pt x="1216" y="806"/>
                  </a:lnTo>
                  <a:lnTo>
                    <a:pt x="1212" y="804"/>
                  </a:lnTo>
                  <a:lnTo>
                    <a:pt x="1208" y="804"/>
                  </a:lnTo>
                  <a:lnTo>
                    <a:pt x="1206" y="804"/>
                  </a:lnTo>
                  <a:lnTo>
                    <a:pt x="1206" y="806"/>
                  </a:lnTo>
                  <a:lnTo>
                    <a:pt x="1210" y="808"/>
                  </a:lnTo>
                  <a:lnTo>
                    <a:pt x="1214" y="808"/>
                  </a:lnTo>
                  <a:lnTo>
                    <a:pt x="1216" y="808"/>
                  </a:lnTo>
                  <a:close/>
                  <a:moveTo>
                    <a:pt x="1202" y="798"/>
                  </a:moveTo>
                  <a:lnTo>
                    <a:pt x="1202" y="798"/>
                  </a:lnTo>
                  <a:lnTo>
                    <a:pt x="1198" y="798"/>
                  </a:lnTo>
                  <a:lnTo>
                    <a:pt x="1194" y="802"/>
                  </a:lnTo>
                  <a:lnTo>
                    <a:pt x="1194" y="806"/>
                  </a:lnTo>
                  <a:lnTo>
                    <a:pt x="1196" y="806"/>
                  </a:lnTo>
                  <a:lnTo>
                    <a:pt x="1200" y="806"/>
                  </a:lnTo>
                  <a:lnTo>
                    <a:pt x="1202" y="802"/>
                  </a:lnTo>
                  <a:lnTo>
                    <a:pt x="1202" y="800"/>
                  </a:lnTo>
                  <a:lnTo>
                    <a:pt x="1202" y="798"/>
                  </a:lnTo>
                  <a:close/>
                  <a:moveTo>
                    <a:pt x="1082" y="898"/>
                  </a:moveTo>
                  <a:lnTo>
                    <a:pt x="1082" y="898"/>
                  </a:lnTo>
                  <a:lnTo>
                    <a:pt x="1078" y="896"/>
                  </a:lnTo>
                  <a:lnTo>
                    <a:pt x="1074" y="900"/>
                  </a:lnTo>
                  <a:lnTo>
                    <a:pt x="1072" y="902"/>
                  </a:lnTo>
                  <a:lnTo>
                    <a:pt x="1072" y="906"/>
                  </a:lnTo>
                  <a:lnTo>
                    <a:pt x="1072" y="910"/>
                  </a:lnTo>
                  <a:lnTo>
                    <a:pt x="1066" y="914"/>
                  </a:lnTo>
                  <a:lnTo>
                    <a:pt x="1062" y="916"/>
                  </a:lnTo>
                  <a:lnTo>
                    <a:pt x="1064" y="914"/>
                  </a:lnTo>
                  <a:lnTo>
                    <a:pt x="1066" y="910"/>
                  </a:lnTo>
                  <a:lnTo>
                    <a:pt x="1064" y="908"/>
                  </a:lnTo>
                  <a:lnTo>
                    <a:pt x="1062" y="908"/>
                  </a:lnTo>
                  <a:lnTo>
                    <a:pt x="1060" y="908"/>
                  </a:lnTo>
                  <a:lnTo>
                    <a:pt x="1060" y="906"/>
                  </a:lnTo>
                  <a:lnTo>
                    <a:pt x="1062" y="902"/>
                  </a:lnTo>
                  <a:lnTo>
                    <a:pt x="1066" y="896"/>
                  </a:lnTo>
                  <a:lnTo>
                    <a:pt x="1066" y="894"/>
                  </a:lnTo>
                  <a:lnTo>
                    <a:pt x="1064" y="892"/>
                  </a:lnTo>
                  <a:lnTo>
                    <a:pt x="1058" y="892"/>
                  </a:lnTo>
                  <a:lnTo>
                    <a:pt x="1054" y="896"/>
                  </a:lnTo>
                  <a:lnTo>
                    <a:pt x="1048" y="900"/>
                  </a:lnTo>
                  <a:lnTo>
                    <a:pt x="1046" y="906"/>
                  </a:lnTo>
                  <a:lnTo>
                    <a:pt x="1046" y="912"/>
                  </a:lnTo>
                  <a:lnTo>
                    <a:pt x="1046" y="916"/>
                  </a:lnTo>
                  <a:lnTo>
                    <a:pt x="1046" y="918"/>
                  </a:lnTo>
                  <a:lnTo>
                    <a:pt x="1042" y="920"/>
                  </a:lnTo>
                  <a:lnTo>
                    <a:pt x="1036" y="922"/>
                  </a:lnTo>
                  <a:lnTo>
                    <a:pt x="1036" y="924"/>
                  </a:lnTo>
                  <a:lnTo>
                    <a:pt x="1036" y="928"/>
                  </a:lnTo>
                  <a:lnTo>
                    <a:pt x="1032" y="938"/>
                  </a:lnTo>
                  <a:lnTo>
                    <a:pt x="1030" y="942"/>
                  </a:lnTo>
                  <a:lnTo>
                    <a:pt x="1034" y="940"/>
                  </a:lnTo>
                  <a:lnTo>
                    <a:pt x="1040" y="938"/>
                  </a:lnTo>
                  <a:lnTo>
                    <a:pt x="1044" y="938"/>
                  </a:lnTo>
                  <a:lnTo>
                    <a:pt x="1048" y="940"/>
                  </a:lnTo>
                  <a:lnTo>
                    <a:pt x="1050" y="940"/>
                  </a:lnTo>
                  <a:lnTo>
                    <a:pt x="1052" y="940"/>
                  </a:lnTo>
                  <a:lnTo>
                    <a:pt x="1054" y="936"/>
                  </a:lnTo>
                  <a:lnTo>
                    <a:pt x="1056" y="934"/>
                  </a:lnTo>
                  <a:lnTo>
                    <a:pt x="1058" y="932"/>
                  </a:lnTo>
                  <a:lnTo>
                    <a:pt x="1060" y="934"/>
                  </a:lnTo>
                  <a:lnTo>
                    <a:pt x="1062" y="936"/>
                  </a:lnTo>
                  <a:lnTo>
                    <a:pt x="1064" y="936"/>
                  </a:lnTo>
                  <a:lnTo>
                    <a:pt x="1068" y="930"/>
                  </a:lnTo>
                  <a:lnTo>
                    <a:pt x="1070" y="926"/>
                  </a:lnTo>
                  <a:lnTo>
                    <a:pt x="1072" y="924"/>
                  </a:lnTo>
                  <a:lnTo>
                    <a:pt x="1076" y="920"/>
                  </a:lnTo>
                  <a:lnTo>
                    <a:pt x="1084" y="920"/>
                  </a:lnTo>
                  <a:lnTo>
                    <a:pt x="1088" y="918"/>
                  </a:lnTo>
                  <a:lnTo>
                    <a:pt x="1090" y="916"/>
                  </a:lnTo>
                  <a:lnTo>
                    <a:pt x="1090" y="914"/>
                  </a:lnTo>
                  <a:lnTo>
                    <a:pt x="1090" y="910"/>
                  </a:lnTo>
                  <a:lnTo>
                    <a:pt x="1086" y="904"/>
                  </a:lnTo>
                  <a:lnTo>
                    <a:pt x="1082" y="898"/>
                  </a:lnTo>
                  <a:close/>
                  <a:moveTo>
                    <a:pt x="1190" y="808"/>
                  </a:moveTo>
                  <a:lnTo>
                    <a:pt x="1190" y="808"/>
                  </a:lnTo>
                  <a:lnTo>
                    <a:pt x="1188" y="808"/>
                  </a:lnTo>
                  <a:lnTo>
                    <a:pt x="1186" y="808"/>
                  </a:lnTo>
                  <a:lnTo>
                    <a:pt x="1184" y="808"/>
                  </a:lnTo>
                  <a:lnTo>
                    <a:pt x="1182" y="808"/>
                  </a:lnTo>
                  <a:lnTo>
                    <a:pt x="1180" y="808"/>
                  </a:lnTo>
                  <a:lnTo>
                    <a:pt x="1178" y="810"/>
                  </a:lnTo>
                  <a:lnTo>
                    <a:pt x="1176" y="814"/>
                  </a:lnTo>
                  <a:lnTo>
                    <a:pt x="1178" y="814"/>
                  </a:lnTo>
                  <a:lnTo>
                    <a:pt x="1178" y="816"/>
                  </a:lnTo>
                  <a:lnTo>
                    <a:pt x="1184" y="814"/>
                  </a:lnTo>
                  <a:lnTo>
                    <a:pt x="1188" y="810"/>
                  </a:lnTo>
                  <a:lnTo>
                    <a:pt x="1190" y="808"/>
                  </a:lnTo>
                  <a:close/>
                  <a:moveTo>
                    <a:pt x="1400" y="746"/>
                  </a:moveTo>
                  <a:lnTo>
                    <a:pt x="1400" y="746"/>
                  </a:lnTo>
                  <a:lnTo>
                    <a:pt x="1394" y="744"/>
                  </a:lnTo>
                  <a:lnTo>
                    <a:pt x="1390" y="744"/>
                  </a:lnTo>
                  <a:lnTo>
                    <a:pt x="1388" y="744"/>
                  </a:lnTo>
                  <a:lnTo>
                    <a:pt x="1390" y="748"/>
                  </a:lnTo>
                  <a:lnTo>
                    <a:pt x="1394" y="750"/>
                  </a:lnTo>
                  <a:lnTo>
                    <a:pt x="1398" y="750"/>
                  </a:lnTo>
                  <a:lnTo>
                    <a:pt x="1400" y="748"/>
                  </a:lnTo>
                  <a:lnTo>
                    <a:pt x="1400" y="746"/>
                  </a:lnTo>
                  <a:close/>
                  <a:moveTo>
                    <a:pt x="1252" y="182"/>
                  </a:moveTo>
                  <a:lnTo>
                    <a:pt x="1252" y="182"/>
                  </a:lnTo>
                  <a:lnTo>
                    <a:pt x="1256" y="186"/>
                  </a:lnTo>
                  <a:lnTo>
                    <a:pt x="1256" y="188"/>
                  </a:lnTo>
                  <a:lnTo>
                    <a:pt x="1258" y="190"/>
                  </a:lnTo>
                  <a:lnTo>
                    <a:pt x="1258" y="192"/>
                  </a:lnTo>
                  <a:lnTo>
                    <a:pt x="1262" y="192"/>
                  </a:lnTo>
                  <a:lnTo>
                    <a:pt x="1272" y="190"/>
                  </a:lnTo>
                  <a:lnTo>
                    <a:pt x="1290" y="186"/>
                  </a:lnTo>
                  <a:lnTo>
                    <a:pt x="1306" y="186"/>
                  </a:lnTo>
                  <a:lnTo>
                    <a:pt x="1312" y="184"/>
                  </a:lnTo>
                  <a:lnTo>
                    <a:pt x="1316" y="182"/>
                  </a:lnTo>
                  <a:lnTo>
                    <a:pt x="1318" y="178"/>
                  </a:lnTo>
                  <a:lnTo>
                    <a:pt x="1318" y="172"/>
                  </a:lnTo>
                  <a:lnTo>
                    <a:pt x="1316" y="166"/>
                  </a:lnTo>
                  <a:lnTo>
                    <a:pt x="1312" y="162"/>
                  </a:lnTo>
                  <a:lnTo>
                    <a:pt x="1306" y="160"/>
                  </a:lnTo>
                  <a:lnTo>
                    <a:pt x="1300" y="158"/>
                  </a:lnTo>
                  <a:lnTo>
                    <a:pt x="1284" y="158"/>
                  </a:lnTo>
                  <a:lnTo>
                    <a:pt x="1266" y="162"/>
                  </a:lnTo>
                  <a:lnTo>
                    <a:pt x="1250" y="166"/>
                  </a:lnTo>
                  <a:lnTo>
                    <a:pt x="1238" y="168"/>
                  </a:lnTo>
                  <a:lnTo>
                    <a:pt x="1238" y="170"/>
                  </a:lnTo>
                  <a:lnTo>
                    <a:pt x="1238" y="174"/>
                  </a:lnTo>
                  <a:lnTo>
                    <a:pt x="1252" y="182"/>
                  </a:lnTo>
                  <a:close/>
                  <a:moveTo>
                    <a:pt x="1236" y="808"/>
                  </a:moveTo>
                  <a:lnTo>
                    <a:pt x="1236" y="808"/>
                  </a:lnTo>
                  <a:lnTo>
                    <a:pt x="1238" y="806"/>
                  </a:lnTo>
                  <a:lnTo>
                    <a:pt x="1236" y="804"/>
                  </a:lnTo>
                  <a:lnTo>
                    <a:pt x="1228" y="802"/>
                  </a:lnTo>
                  <a:lnTo>
                    <a:pt x="1224" y="798"/>
                  </a:lnTo>
                  <a:lnTo>
                    <a:pt x="1220" y="796"/>
                  </a:lnTo>
                  <a:lnTo>
                    <a:pt x="1216" y="794"/>
                  </a:lnTo>
                  <a:lnTo>
                    <a:pt x="1216" y="798"/>
                  </a:lnTo>
                  <a:lnTo>
                    <a:pt x="1216" y="802"/>
                  </a:lnTo>
                  <a:lnTo>
                    <a:pt x="1220" y="806"/>
                  </a:lnTo>
                  <a:lnTo>
                    <a:pt x="1228" y="810"/>
                  </a:lnTo>
                  <a:lnTo>
                    <a:pt x="1236" y="808"/>
                  </a:lnTo>
                  <a:close/>
                  <a:moveTo>
                    <a:pt x="902" y="108"/>
                  </a:moveTo>
                  <a:lnTo>
                    <a:pt x="902" y="108"/>
                  </a:lnTo>
                  <a:lnTo>
                    <a:pt x="902" y="114"/>
                  </a:lnTo>
                  <a:lnTo>
                    <a:pt x="904" y="120"/>
                  </a:lnTo>
                  <a:lnTo>
                    <a:pt x="906" y="124"/>
                  </a:lnTo>
                  <a:lnTo>
                    <a:pt x="910" y="126"/>
                  </a:lnTo>
                  <a:lnTo>
                    <a:pt x="912" y="128"/>
                  </a:lnTo>
                  <a:lnTo>
                    <a:pt x="910" y="128"/>
                  </a:lnTo>
                  <a:lnTo>
                    <a:pt x="900" y="130"/>
                  </a:lnTo>
                  <a:lnTo>
                    <a:pt x="886" y="130"/>
                  </a:lnTo>
                  <a:lnTo>
                    <a:pt x="884" y="132"/>
                  </a:lnTo>
                  <a:lnTo>
                    <a:pt x="886" y="136"/>
                  </a:lnTo>
                  <a:lnTo>
                    <a:pt x="898" y="148"/>
                  </a:lnTo>
                  <a:lnTo>
                    <a:pt x="922" y="172"/>
                  </a:lnTo>
                  <a:lnTo>
                    <a:pt x="936" y="184"/>
                  </a:lnTo>
                  <a:lnTo>
                    <a:pt x="948" y="192"/>
                  </a:lnTo>
                  <a:lnTo>
                    <a:pt x="960" y="194"/>
                  </a:lnTo>
                  <a:lnTo>
                    <a:pt x="970" y="192"/>
                  </a:lnTo>
                  <a:lnTo>
                    <a:pt x="980" y="188"/>
                  </a:lnTo>
                  <a:lnTo>
                    <a:pt x="990" y="182"/>
                  </a:lnTo>
                  <a:lnTo>
                    <a:pt x="1018" y="164"/>
                  </a:lnTo>
                  <a:lnTo>
                    <a:pt x="1038" y="152"/>
                  </a:lnTo>
                  <a:lnTo>
                    <a:pt x="1040" y="152"/>
                  </a:lnTo>
                  <a:lnTo>
                    <a:pt x="1042" y="154"/>
                  </a:lnTo>
                  <a:lnTo>
                    <a:pt x="1042" y="158"/>
                  </a:lnTo>
                  <a:lnTo>
                    <a:pt x="1048" y="160"/>
                  </a:lnTo>
                  <a:lnTo>
                    <a:pt x="1056" y="164"/>
                  </a:lnTo>
                  <a:lnTo>
                    <a:pt x="1072" y="166"/>
                  </a:lnTo>
                  <a:lnTo>
                    <a:pt x="1088" y="168"/>
                  </a:lnTo>
                  <a:lnTo>
                    <a:pt x="1096" y="170"/>
                  </a:lnTo>
                  <a:lnTo>
                    <a:pt x="1094" y="172"/>
                  </a:lnTo>
                  <a:lnTo>
                    <a:pt x="1088" y="176"/>
                  </a:lnTo>
                  <a:lnTo>
                    <a:pt x="1058" y="186"/>
                  </a:lnTo>
                  <a:lnTo>
                    <a:pt x="1014" y="198"/>
                  </a:lnTo>
                  <a:lnTo>
                    <a:pt x="994" y="206"/>
                  </a:lnTo>
                  <a:lnTo>
                    <a:pt x="980" y="210"/>
                  </a:lnTo>
                  <a:lnTo>
                    <a:pt x="972" y="216"/>
                  </a:lnTo>
                  <a:lnTo>
                    <a:pt x="970" y="218"/>
                  </a:lnTo>
                  <a:lnTo>
                    <a:pt x="970" y="220"/>
                  </a:lnTo>
                  <a:lnTo>
                    <a:pt x="976" y="222"/>
                  </a:lnTo>
                  <a:lnTo>
                    <a:pt x="988" y="224"/>
                  </a:lnTo>
                  <a:lnTo>
                    <a:pt x="1008" y="224"/>
                  </a:lnTo>
                  <a:lnTo>
                    <a:pt x="1034" y="222"/>
                  </a:lnTo>
                  <a:lnTo>
                    <a:pt x="1058" y="220"/>
                  </a:lnTo>
                  <a:lnTo>
                    <a:pt x="1072" y="220"/>
                  </a:lnTo>
                  <a:lnTo>
                    <a:pt x="1074" y="222"/>
                  </a:lnTo>
                  <a:lnTo>
                    <a:pt x="1076" y="222"/>
                  </a:lnTo>
                  <a:lnTo>
                    <a:pt x="1072" y="226"/>
                  </a:lnTo>
                  <a:lnTo>
                    <a:pt x="1064" y="232"/>
                  </a:lnTo>
                  <a:lnTo>
                    <a:pt x="1050" y="236"/>
                  </a:lnTo>
                  <a:lnTo>
                    <a:pt x="1036" y="242"/>
                  </a:lnTo>
                  <a:lnTo>
                    <a:pt x="1018" y="244"/>
                  </a:lnTo>
                  <a:lnTo>
                    <a:pt x="994" y="250"/>
                  </a:lnTo>
                  <a:lnTo>
                    <a:pt x="988" y="252"/>
                  </a:lnTo>
                  <a:lnTo>
                    <a:pt x="984" y="256"/>
                  </a:lnTo>
                  <a:lnTo>
                    <a:pt x="986" y="260"/>
                  </a:lnTo>
                  <a:lnTo>
                    <a:pt x="990" y="264"/>
                  </a:lnTo>
                  <a:lnTo>
                    <a:pt x="1014" y="274"/>
                  </a:lnTo>
                  <a:lnTo>
                    <a:pt x="1028" y="280"/>
                  </a:lnTo>
                  <a:lnTo>
                    <a:pt x="1036" y="286"/>
                  </a:lnTo>
                  <a:lnTo>
                    <a:pt x="1048" y="296"/>
                  </a:lnTo>
                  <a:lnTo>
                    <a:pt x="1052" y="302"/>
                  </a:lnTo>
                  <a:lnTo>
                    <a:pt x="1060" y="308"/>
                  </a:lnTo>
                  <a:lnTo>
                    <a:pt x="1072" y="312"/>
                  </a:lnTo>
                  <a:lnTo>
                    <a:pt x="1090" y="318"/>
                  </a:lnTo>
                  <a:lnTo>
                    <a:pt x="1098" y="320"/>
                  </a:lnTo>
                  <a:lnTo>
                    <a:pt x="1104" y="320"/>
                  </a:lnTo>
                  <a:lnTo>
                    <a:pt x="1110" y="318"/>
                  </a:lnTo>
                  <a:lnTo>
                    <a:pt x="1114" y="316"/>
                  </a:lnTo>
                  <a:lnTo>
                    <a:pt x="1116" y="312"/>
                  </a:lnTo>
                  <a:lnTo>
                    <a:pt x="1116" y="306"/>
                  </a:lnTo>
                  <a:lnTo>
                    <a:pt x="1118" y="294"/>
                  </a:lnTo>
                  <a:lnTo>
                    <a:pt x="1120" y="282"/>
                  </a:lnTo>
                  <a:lnTo>
                    <a:pt x="1124" y="268"/>
                  </a:lnTo>
                  <a:lnTo>
                    <a:pt x="1128" y="262"/>
                  </a:lnTo>
                  <a:lnTo>
                    <a:pt x="1132" y="256"/>
                  </a:lnTo>
                  <a:lnTo>
                    <a:pt x="1138" y="252"/>
                  </a:lnTo>
                  <a:lnTo>
                    <a:pt x="1146" y="248"/>
                  </a:lnTo>
                  <a:lnTo>
                    <a:pt x="1160" y="242"/>
                  </a:lnTo>
                  <a:lnTo>
                    <a:pt x="1166" y="236"/>
                  </a:lnTo>
                  <a:lnTo>
                    <a:pt x="1166" y="230"/>
                  </a:lnTo>
                  <a:lnTo>
                    <a:pt x="1164" y="224"/>
                  </a:lnTo>
                  <a:lnTo>
                    <a:pt x="1162" y="218"/>
                  </a:lnTo>
                  <a:lnTo>
                    <a:pt x="1162" y="214"/>
                  </a:lnTo>
                  <a:lnTo>
                    <a:pt x="1162" y="212"/>
                  </a:lnTo>
                  <a:lnTo>
                    <a:pt x="1166" y="208"/>
                  </a:lnTo>
                  <a:lnTo>
                    <a:pt x="1176" y="204"/>
                  </a:lnTo>
                  <a:lnTo>
                    <a:pt x="1182" y="202"/>
                  </a:lnTo>
                  <a:lnTo>
                    <a:pt x="1188" y="200"/>
                  </a:lnTo>
                  <a:lnTo>
                    <a:pt x="1190" y="196"/>
                  </a:lnTo>
                  <a:lnTo>
                    <a:pt x="1192" y="192"/>
                  </a:lnTo>
                  <a:lnTo>
                    <a:pt x="1194" y="186"/>
                  </a:lnTo>
                  <a:lnTo>
                    <a:pt x="1194" y="178"/>
                  </a:lnTo>
                  <a:lnTo>
                    <a:pt x="1196" y="170"/>
                  </a:lnTo>
                  <a:lnTo>
                    <a:pt x="1198" y="166"/>
                  </a:lnTo>
                  <a:lnTo>
                    <a:pt x="1202" y="164"/>
                  </a:lnTo>
                  <a:lnTo>
                    <a:pt x="1206" y="160"/>
                  </a:lnTo>
                  <a:lnTo>
                    <a:pt x="1212" y="158"/>
                  </a:lnTo>
                  <a:lnTo>
                    <a:pt x="1234" y="156"/>
                  </a:lnTo>
                  <a:lnTo>
                    <a:pt x="1272" y="152"/>
                  </a:lnTo>
                  <a:lnTo>
                    <a:pt x="1284" y="148"/>
                  </a:lnTo>
                  <a:lnTo>
                    <a:pt x="1290" y="146"/>
                  </a:lnTo>
                  <a:lnTo>
                    <a:pt x="1290" y="144"/>
                  </a:lnTo>
                  <a:lnTo>
                    <a:pt x="1290" y="142"/>
                  </a:lnTo>
                  <a:lnTo>
                    <a:pt x="1284" y="138"/>
                  </a:lnTo>
                  <a:lnTo>
                    <a:pt x="1274" y="136"/>
                  </a:lnTo>
                  <a:lnTo>
                    <a:pt x="1260" y="130"/>
                  </a:lnTo>
                  <a:lnTo>
                    <a:pt x="1244" y="126"/>
                  </a:lnTo>
                  <a:lnTo>
                    <a:pt x="1236" y="124"/>
                  </a:lnTo>
                  <a:lnTo>
                    <a:pt x="1226" y="118"/>
                  </a:lnTo>
                  <a:lnTo>
                    <a:pt x="1224" y="116"/>
                  </a:lnTo>
                  <a:lnTo>
                    <a:pt x="1220" y="114"/>
                  </a:lnTo>
                  <a:lnTo>
                    <a:pt x="1202" y="114"/>
                  </a:lnTo>
                  <a:lnTo>
                    <a:pt x="1190" y="112"/>
                  </a:lnTo>
                  <a:lnTo>
                    <a:pt x="1186" y="110"/>
                  </a:lnTo>
                  <a:lnTo>
                    <a:pt x="1184" y="106"/>
                  </a:lnTo>
                  <a:lnTo>
                    <a:pt x="1182" y="102"/>
                  </a:lnTo>
                  <a:lnTo>
                    <a:pt x="1182" y="96"/>
                  </a:lnTo>
                  <a:lnTo>
                    <a:pt x="1182" y="90"/>
                  </a:lnTo>
                  <a:lnTo>
                    <a:pt x="1178" y="84"/>
                  </a:lnTo>
                  <a:lnTo>
                    <a:pt x="1170" y="78"/>
                  </a:lnTo>
                  <a:lnTo>
                    <a:pt x="1162" y="74"/>
                  </a:lnTo>
                  <a:lnTo>
                    <a:pt x="1156" y="76"/>
                  </a:lnTo>
                  <a:lnTo>
                    <a:pt x="1152" y="82"/>
                  </a:lnTo>
                  <a:lnTo>
                    <a:pt x="1148" y="88"/>
                  </a:lnTo>
                  <a:lnTo>
                    <a:pt x="1144" y="96"/>
                  </a:lnTo>
                  <a:lnTo>
                    <a:pt x="1144" y="98"/>
                  </a:lnTo>
                  <a:lnTo>
                    <a:pt x="1142" y="94"/>
                  </a:lnTo>
                  <a:lnTo>
                    <a:pt x="1140" y="84"/>
                  </a:lnTo>
                  <a:lnTo>
                    <a:pt x="1140" y="78"/>
                  </a:lnTo>
                  <a:lnTo>
                    <a:pt x="1142" y="74"/>
                  </a:lnTo>
                  <a:lnTo>
                    <a:pt x="1144" y="70"/>
                  </a:lnTo>
                  <a:lnTo>
                    <a:pt x="1150" y="66"/>
                  </a:lnTo>
                  <a:lnTo>
                    <a:pt x="1152" y="64"/>
                  </a:lnTo>
                  <a:lnTo>
                    <a:pt x="1132" y="54"/>
                  </a:lnTo>
                  <a:lnTo>
                    <a:pt x="1124" y="50"/>
                  </a:lnTo>
                  <a:lnTo>
                    <a:pt x="1108" y="50"/>
                  </a:lnTo>
                  <a:lnTo>
                    <a:pt x="1100" y="50"/>
                  </a:lnTo>
                  <a:lnTo>
                    <a:pt x="1092" y="48"/>
                  </a:lnTo>
                  <a:lnTo>
                    <a:pt x="1084" y="42"/>
                  </a:lnTo>
                  <a:lnTo>
                    <a:pt x="1080" y="40"/>
                  </a:lnTo>
                  <a:lnTo>
                    <a:pt x="1076" y="40"/>
                  </a:lnTo>
                  <a:lnTo>
                    <a:pt x="1070" y="40"/>
                  </a:lnTo>
                  <a:lnTo>
                    <a:pt x="1062" y="44"/>
                  </a:lnTo>
                  <a:lnTo>
                    <a:pt x="1058" y="48"/>
                  </a:lnTo>
                  <a:lnTo>
                    <a:pt x="1056" y="54"/>
                  </a:lnTo>
                  <a:lnTo>
                    <a:pt x="1054" y="58"/>
                  </a:lnTo>
                  <a:lnTo>
                    <a:pt x="1056" y="66"/>
                  </a:lnTo>
                  <a:lnTo>
                    <a:pt x="1060" y="80"/>
                  </a:lnTo>
                  <a:lnTo>
                    <a:pt x="1068" y="94"/>
                  </a:lnTo>
                  <a:lnTo>
                    <a:pt x="1084" y="120"/>
                  </a:lnTo>
                  <a:lnTo>
                    <a:pt x="1086" y="130"/>
                  </a:lnTo>
                  <a:lnTo>
                    <a:pt x="1086" y="132"/>
                  </a:lnTo>
                  <a:lnTo>
                    <a:pt x="1084" y="132"/>
                  </a:lnTo>
                  <a:lnTo>
                    <a:pt x="1080" y="132"/>
                  </a:lnTo>
                  <a:lnTo>
                    <a:pt x="1076" y="130"/>
                  </a:lnTo>
                  <a:lnTo>
                    <a:pt x="1068" y="122"/>
                  </a:lnTo>
                  <a:lnTo>
                    <a:pt x="1048" y="96"/>
                  </a:lnTo>
                  <a:lnTo>
                    <a:pt x="1036" y="82"/>
                  </a:lnTo>
                  <a:lnTo>
                    <a:pt x="1026" y="72"/>
                  </a:lnTo>
                  <a:lnTo>
                    <a:pt x="1020" y="68"/>
                  </a:lnTo>
                  <a:lnTo>
                    <a:pt x="1014" y="66"/>
                  </a:lnTo>
                  <a:lnTo>
                    <a:pt x="1008" y="64"/>
                  </a:lnTo>
                  <a:lnTo>
                    <a:pt x="1004" y="66"/>
                  </a:lnTo>
                  <a:lnTo>
                    <a:pt x="998" y="68"/>
                  </a:lnTo>
                  <a:lnTo>
                    <a:pt x="994" y="70"/>
                  </a:lnTo>
                  <a:lnTo>
                    <a:pt x="990" y="78"/>
                  </a:lnTo>
                  <a:lnTo>
                    <a:pt x="988" y="88"/>
                  </a:lnTo>
                  <a:lnTo>
                    <a:pt x="986" y="96"/>
                  </a:lnTo>
                  <a:lnTo>
                    <a:pt x="986" y="108"/>
                  </a:lnTo>
                  <a:lnTo>
                    <a:pt x="984" y="106"/>
                  </a:lnTo>
                  <a:lnTo>
                    <a:pt x="980" y="100"/>
                  </a:lnTo>
                  <a:lnTo>
                    <a:pt x="974" y="90"/>
                  </a:lnTo>
                  <a:lnTo>
                    <a:pt x="968" y="84"/>
                  </a:lnTo>
                  <a:lnTo>
                    <a:pt x="960" y="80"/>
                  </a:lnTo>
                  <a:lnTo>
                    <a:pt x="954" y="78"/>
                  </a:lnTo>
                  <a:lnTo>
                    <a:pt x="950" y="76"/>
                  </a:lnTo>
                  <a:lnTo>
                    <a:pt x="948" y="76"/>
                  </a:lnTo>
                  <a:lnTo>
                    <a:pt x="960" y="72"/>
                  </a:lnTo>
                  <a:lnTo>
                    <a:pt x="972" y="70"/>
                  </a:lnTo>
                  <a:lnTo>
                    <a:pt x="978" y="66"/>
                  </a:lnTo>
                  <a:lnTo>
                    <a:pt x="984" y="62"/>
                  </a:lnTo>
                  <a:lnTo>
                    <a:pt x="984" y="60"/>
                  </a:lnTo>
                  <a:lnTo>
                    <a:pt x="982" y="56"/>
                  </a:lnTo>
                  <a:lnTo>
                    <a:pt x="978" y="56"/>
                  </a:lnTo>
                  <a:lnTo>
                    <a:pt x="970" y="56"/>
                  </a:lnTo>
                  <a:lnTo>
                    <a:pt x="958" y="60"/>
                  </a:lnTo>
                  <a:lnTo>
                    <a:pt x="946" y="62"/>
                  </a:lnTo>
                  <a:lnTo>
                    <a:pt x="938" y="62"/>
                  </a:lnTo>
                  <a:lnTo>
                    <a:pt x="934" y="62"/>
                  </a:lnTo>
                  <a:lnTo>
                    <a:pt x="930" y="58"/>
                  </a:lnTo>
                  <a:lnTo>
                    <a:pt x="928" y="56"/>
                  </a:lnTo>
                  <a:lnTo>
                    <a:pt x="926" y="56"/>
                  </a:lnTo>
                  <a:lnTo>
                    <a:pt x="922" y="58"/>
                  </a:lnTo>
                  <a:lnTo>
                    <a:pt x="916" y="60"/>
                  </a:lnTo>
                  <a:lnTo>
                    <a:pt x="908" y="64"/>
                  </a:lnTo>
                  <a:lnTo>
                    <a:pt x="904" y="64"/>
                  </a:lnTo>
                  <a:lnTo>
                    <a:pt x="902" y="64"/>
                  </a:lnTo>
                  <a:lnTo>
                    <a:pt x="900" y="60"/>
                  </a:lnTo>
                  <a:lnTo>
                    <a:pt x="896" y="58"/>
                  </a:lnTo>
                  <a:lnTo>
                    <a:pt x="892" y="58"/>
                  </a:lnTo>
                  <a:lnTo>
                    <a:pt x="884" y="60"/>
                  </a:lnTo>
                  <a:lnTo>
                    <a:pt x="874" y="64"/>
                  </a:lnTo>
                  <a:lnTo>
                    <a:pt x="862" y="72"/>
                  </a:lnTo>
                  <a:lnTo>
                    <a:pt x="856" y="78"/>
                  </a:lnTo>
                  <a:lnTo>
                    <a:pt x="854" y="82"/>
                  </a:lnTo>
                  <a:lnTo>
                    <a:pt x="854" y="88"/>
                  </a:lnTo>
                  <a:lnTo>
                    <a:pt x="858" y="92"/>
                  </a:lnTo>
                  <a:lnTo>
                    <a:pt x="862" y="98"/>
                  </a:lnTo>
                  <a:lnTo>
                    <a:pt x="872" y="112"/>
                  </a:lnTo>
                  <a:lnTo>
                    <a:pt x="878" y="116"/>
                  </a:lnTo>
                  <a:lnTo>
                    <a:pt x="884" y="118"/>
                  </a:lnTo>
                  <a:lnTo>
                    <a:pt x="890" y="114"/>
                  </a:lnTo>
                  <a:lnTo>
                    <a:pt x="894" y="110"/>
                  </a:lnTo>
                  <a:lnTo>
                    <a:pt x="902" y="104"/>
                  </a:lnTo>
                  <a:lnTo>
                    <a:pt x="902" y="108"/>
                  </a:lnTo>
                  <a:close/>
                  <a:moveTo>
                    <a:pt x="1272" y="818"/>
                  </a:moveTo>
                  <a:lnTo>
                    <a:pt x="1272" y="818"/>
                  </a:lnTo>
                  <a:lnTo>
                    <a:pt x="1272" y="816"/>
                  </a:lnTo>
                  <a:lnTo>
                    <a:pt x="1270" y="814"/>
                  </a:lnTo>
                  <a:lnTo>
                    <a:pt x="1266" y="812"/>
                  </a:lnTo>
                  <a:lnTo>
                    <a:pt x="1264" y="814"/>
                  </a:lnTo>
                  <a:lnTo>
                    <a:pt x="1264" y="818"/>
                  </a:lnTo>
                  <a:lnTo>
                    <a:pt x="1264" y="820"/>
                  </a:lnTo>
                  <a:lnTo>
                    <a:pt x="1272" y="818"/>
                  </a:lnTo>
                  <a:close/>
                  <a:moveTo>
                    <a:pt x="1168" y="848"/>
                  </a:moveTo>
                  <a:lnTo>
                    <a:pt x="1168" y="848"/>
                  </a:lnTo>
                  <a:lnTo>
                    <a:pt x="1176" y="848"/>
                  </a:lnTo>
                  <a:lnTo>
                    <a:pt x="1180" y="848"/>
                  </a:lnTo>
                  <a:lnTo>
                    <a:pt x="1182" y="844"/>
                  </a:lnTo>
                  <a:lnTo>
                    <a:pt x="1184" y="840"/>
                  </a:lnTo>
                  <a:lnTo>
                    <a:pt x="1190" y="836"/>
                  </a:lnTo>
                  <a:lnTo>
                    <a:pt x="1192" y="834"/>
                  </a:lnTo>
                  <a:lnTo>
                    <a:pt x="1192" y="832"/>
                  </a:lnTo>
                  <a:lnTo>
                    <a:pt x="1192" y="830"/>
                  </a:lnTo>
                  <a:lnTo>
                    <a:pt x="1188" y="828"/>
                  </a:lnTo>
                  <a:lnTo>
                    <a:pt x="1182" y="826"/>
                  </a:lnTo>
                  <a:lnTo>
                    <a:pt x="1180" y="826"/>
                  </a:lnTo>
                  <a:lnTo>
                    <a:pt x="1180" y="828"/>
                  </a:lnTo>
                  <a:lnTo>
                    <a:pt x="1176" y="830"/>
                  </a:lnTo>
                  <a:lnTo>
                    <a:pt x="1174" y="830"/>
                  </a:lnTo>
                  <a:lnTo>
                    <a:pt x="1172" y="832"/>
                  </a:lnTo>
                  <a:lnTo>
                    <a:pt x="1170" y="832"/>
                  </a:lnTo>
                  <a:lnTo>
                    <a:pt x="1166" y="832"/>
                  </a:lnTo>
                  <a:lnTo>
                    <a:pt x="1164" y="832"/>
                  </a:lnTo>
                  <a:lnTo>
                    <a:pt x="1162" y="834"/>
                  </a:lnTo>
                  <a:lnTo>
                    <a:pt x="1162" y="838"/>
                  </a:lnTo>
                  <a:lnTo>
                    <a:pt x="1160" y="842"/>
                  </a:lnTo>
                  <a:lnTo>
                    <a:pt x="1156" y="842"/>
                  </a:lnTo>
                  <a:lnTo>
                    <a:pt x="1154" y="842"/>
                  </a:lnTo>
                  <a:lnTo>
                    <a:pt x="1152" y="844"/>
                  </a:lnTo>
                  <a:lnTo>
                    <a:pt x="1152" y="846"/>
                  </a:lnTo>
                  <a:lnTo>
                    <a:pt x="1154" y="848"/>
                  </a:lnTo>
                  <a:lnTo>
                    <a:pt x="1168" y="848"/>
                  </a:lnTo>
                  <a:close/>
                  <a:moveTo>
                    <a:pt x="1214" y="822"/>
                  </a:moveTo>
                  <a:lnTo>
                    <a:pt x="1214" y="822"/>
                  </a:lnTo>
                  <a:lnTo>
                    <a:pt x="1218" y="816"/>
                  </a:lnTo>
                  <a:lnTo>
                    <a:pt x="1218" y="814"/>
                  </a:lnTo>
                  <a:lnTo>
                    <a:pt x="1216" y="814"/>
                  </a:lnTo>
                  <a:lnTo>
                    <a:pt x="1212" y="812"/>
                  </a:lnTo>
                  <a:lnTo>
                    <a:pt x="1208" y="814"/>
                  </a:lnTo>
                  <a:lnTo>
                    <a:pt x="1206" y="814"/>
                  </a:lnTo>
                  <a:lnTo>
                    <a:pt x="1202" y="812"/>
                  </a:lnTo>
                  <a:lnTo>
                    <a:pt x="1198" y="810"/>
                  </a:lnTo>
                  <a:lnTo>
                    <a:pt x="1196" y="812"/>
                  </a:lnTo>
                  <a:lnTo>
                    <a:pt x="1192" y="814"/>
                  </a:lnTo>
                  <a:lnTo>
                    <a:pt x="1190" y="814"/>
                  </a:lnTo>
                  <a:lnTo>
                    <a:pt x="1188" y="814"/>
                  </a:lnTo>
                  <a:lnTo>
                    <a:pt x="1188" y="816"/>
                  </a:lnTo>
                  <a:lnTo>
                    <a:pt x="1184" y="820"/>
                  </a:lnTo>
                  <a:lnTo>
                    <a:pt x="1182" y="822"/>
                  </a:lnTo>
                  <a:lnTo>
                    <a:pt x="1184" y="824"/>
                  </a:lnTo>
                  <a:lnTo>
                    <a:pt x="1190" y="824"/>
                  </a:lnTo>
                  <a:lnTo>
                    <a:pt x="1196" y="828"/>
                  </a:lnTo>
                  <a:lnTo>
                    <a:pt x="1200" y="830"/>
                  </a:lnTo>
                  <a:lnTo>
                    <a:pt x="1204" y="830"/>
                  </a:lnTo>
                  <a:lnTo>
                    <a:pt x="1214" y="822"/>
                  </a:lnTo>
                  <a:close/>
                  <a:moveTo>
                    <a:pt x="1352" y="792"/>
                  </a:moveTo>
                  <a:lnTo>
                    <a:pt x="1352" y="792"/>
                  </a:lnTo>
                  <a:lnTo>
                    <a:pt x="1348" y="790"/>
                  </a:lnTo>
                  <a:lnTo>
                    <a:pt x="1344" y="788"/>
                  </a:lnTo>
                  <a:lnTo>
                    <a:pt x="1338" y="788"/>
                  </a:lnTo>
                  <a:lnTo>
                    <a:pt x="1330" y="790"/>
                  </a:lnTo>
                  <a:lnTo>
                    <a:pt x="1328" y="792"/>
                  </a:lnTo>
                  <a:lnTo>
                    <a:pt x="1330" y="794"/>
                  </a:lnTo>
                  <a:lnTo>
                    <a:pt x="1340" y="798"/>
                  </a:lnTo>
                  <a:lnTo>
                    <a:pt x="1350" y="796"/>
                  </a:lnTo>
                  <a:lnTo>
                    <a:pt x="1352" y="796"/>
                  </a:lnTo>
                  <a:lnTo>
                    <a:pt x="1352" y="792"/>
                  </a:lnTo>
                  <a:close/>
                  <a:moveTo>
                    <a:pt x="1326" y="780"/>
                  </a:moveTo>
                  <a:lnTo>
                    <a:pt x="1326" y="780"/>
                  </a:lnTo>
                  <a:lnTo>
                    <a:pt x="1330" y="778"/>
                  </a:lnTo>
                  <a:lnTo>
                    <a:pt x="1334" y="776"/>
                  </a:lnTo>
                  <a:lnTo>
                    <a:pt x="1338" y="776"/>
                  </a:lnTo>
                  <a:lnTo>
                    <a:pt x="1342" y="776"/>
                  </a:lnTo>
                  <a:lnTo>
                    <a:pt x="1346" y="778"/>
                  </a:lnTo>
                  <a:lnTo>
                    <a:pt x="1350" y="776"/>
                  </a:lnTo>
                  <a:lnTo>
                    <a:pt x="1364" y="766"/>
                  </a:lnTo>
                  <a:lnTo>
                    <a:pt x="1372" y="760"/>
                  </a:lnTo>
                  <a:lnTo>
                    <a:pt x="1372" y="758"/>
                  </a:lnTo>
                  <a:lnTo>
                    <a:pt x="1372" y="756"/>
                  </a:lnTo>
                  <a:lnTo>
                    <a:pt x="1368" y="756"/>
                  </a:lnTo>
                  <a:lnTo>
                    <a:pt x="1362" y="756"/>
                  </a:lnTo>
                  <a:lnTo>
                    <a:pt x="1356" y="758"/>
                  </a:lnTo>
                  <a:lnTo>
                    <a:pt x="1358" y="760"/>
                  </a:lnTo>
                  <a:lnTo>
                    <a:pt x="1358" y="762"/>
                  </a:lnTo>
                  <a:lnTo>
                    <a:pt x="1356" y="764"/>
                  </a:lnTo>
                  <a:lnTo>
                    <a:pt x="1350" y="762"/>
                  </a:lnTo>
                  <a:lnTo>
                    <a:pt x="1348" y="762"/>
                  </a:lnTo>
                  <a:lnTo>
                    <a:pt x="1346" y="762"/>
                  </a:lnTo>
                  <a:lnTo>
                    <a:pt x="1342" y="766"/>
                  </a:lnTo>
                  <a:lnTo>
                    <a:pt x="1342" y="770"/>
                  </a:lnTo>
                  <a:lnTo>
                    <a:pt x="1340" y="768"/>
                  </a:lnTo>
                  <a:lnTo>
                    <a:pt x="1338" y="766"/>
                  </a:lnTo>
                  <a:lnTo>
                    <a:pt x="1332" y="766"/>
                  </a:lnTo>
                  <a:lnTo>
                    <a:pt x="1318" y="770"/>
                  </a:lnTo>
                  <a:lnTo>
                    <a:pt x="1314" y="774"/>
                  </a:lnTo>
                  <a:lnTo>
                    <a:pt x="1318" y="776"/>
                  </a:lnTo>
                  <a:lnTo>
                    <a:pt x="1320" y="776"/>
                  </a:lnTo>
                  <a:lnTo>
                    <a:pt x="1322" y="778"/>
                  </a:lnTo>
                  <a:lnTo>
                    <a:pt x="1320" y="780"/>
                  </a:lnTo>
                  <a:lnTo>
                    <a:pt x="1326" y="780"/>
                  </a:lnTo>
                  <a:close/>
                  <a:moveTo>
                    <a:pt x="1414" y="220"/>
                  </a:moveTo>
                  <a:lnTo>
                    <a:pt x="1414" y="220"/>
                  </a:lnTo>
                  <a:lnTo>
                    <a:pt x="1408" y="216"/>
                  </a:lnTo>
                  <a:lnTo>
                    <a:pt x="1402" y="216"/>
                  </a:lnTo>
                  <a:lnTo>
                    <a:pt x="1392" y="218"/>
                  </a:lnTo>
                  <a:lnTo>
                    <a:pt x="1388" y="220"/>
                  </a:lnTo>
                  <a:lnTo>
                    <a:pt x="1382" y="220"/>
                  </a:lnTo>
                  <a:lnTo>
                    <a:pt x="1374" y="218"/>
                  </a:lnTo>
                  <a:lnTo>
                    <a:pt x="1364" y="214"/>
                  </a:lnTo>
                  <a:lnTo>
                    <a:pt x="1356" y="208"/>
                  </a:lnTo>
                  <a:lnTo>
                    <a:pt x="1354" y="204"/>
                  </a:lnTo>
                  <a:lnTo>
                    <a:pt x="1356" y="200"/>
                  </a:lnTo>
                  <a:lnTo>
                    <a:pt x="1360" y="198"/>
                  </a:lnTo>
                  <a:lnTo>
                    <a:pt x="1370" y="194"/>
                  </a:lnTo>
                  <a:lnTo>
                    <a:pt x="1370" y="192"/>
                  </a:lnTo>
                  <a:lnTo>
                    <a:pt x="1366" y="190"/>
                  </a:lnTo>
                  <a:lnTo>
                    <a:pt x="1354" y="188"/>
                  </a:lnTo>
                  <a:lnTo>
                    <a:pt x="1336" y="188"/>
                  </a:lnTo>
                  <a:lnTo>
                    <a:pt x="1316" y="188"/>
                  </a:lnTo>
                  <a:lnTo>
                    <a:pt x="1296" y="190"/>
                  </a:lnTo>
                  <a:lnTo>
                    <a:pt x="1280" y="194"/>
                  </a:lnTo>
                  <a:lnTo>
                    <a:pt x="1274" y="196"/>
                  </a:lnTo>
                  <a:lnTo>
                    <a:pt x="1270" y="198"/>
                  </a:lnTo>
                  <a:lnTo>
                    <a:pt x="1270" y="202"/>
                  </a:lnTo>
                  <a:lnTo>
                    <a:pt x="1272" y="204"/>
                  </a:lnTo>
                  <a:lnTo>
                    <a:pt x="1276" y="208"/>
                  </a:lnTo>
                  <a:lnTo>
                    <a:pt x="1286" y="212"/>
                  </a:lnTo>
                  <a:lnTo>
                    <a:pt x="1292" y="214"/>
                  </a:lnTo>
                  <a:lnTo>
                    <a:pt x="1292" y="216"/>
                  </a:lnTo>
                  <a:lnTo>
                    <a:pt x="1292" y="218"/>
                  </a:lnTo>
                  <a:lnTo>
                    <a:pt x="1286" y="224"/>
                  </a:lnTo>
                  <a:lnTo>
                    <a:pt x="1272" y="236"/>
                  </a:lnTo>
                  <a:lnTo>
                    <a:pt x="1264" y="242"/>
                  </a:lnTo>
                  <a:lnTo>
                    <a:pt x="1262" y="246"/>
                  </a:lnTo>
                  <a:lnTo>
                    <a:pt x="1264" y="248"/>
                  </a:lnTo>
                  <a:lnTo>
                    <a:pt x="1270" y="250"/>
                  </a:lnTo>
                  <a:lnTo>
                    <a:pt x="1288" y="250"/>
                  </a:lnTo>
                  <a:lnTo>
                    <a:pt x="1314" y="246"/>
                  </a:lnTo>
                  <a:lnTo>
                    <a:pt x="1324" y="248"/>
                  </a:lnTo>
                  <a:lnTo>
                    <a:pt x="1328" y="248"/>
                  </a:lnTo>
                  <a:lnTo>
                    <a:pt x="1328" y="250"/>
                  </a:lnTo>
                  <a:lnTo>
                    <a:pt x="1328" y="256"/>
                  </a:lnTo>
                  <a:lnTo>
                    <a:pt x="1328" y="260"/>
                  </a:lnTo>
                  <a:lnTo>
                    <a:pt x="1326" y="264"/>
                  </a:lnTo>
                  <a:lnTo>
                    <a:pt x="1326" y="266"/>
                  </a:lnTo>
                  <a:lnTo>
                    <a:pt x="1328" y="266"/>
                  </a:lnTo>
                  <a:lnTo>
                    <a:pt x="1336" y="266"/>
                  </a:lnTo>
                  <a:lnTo>
                    <a:pt x="1350" y="260"/>
                  </a:lnTo>
                  <a:lnTo>
                    <a:pt x="1376" y="250"/>
                  </a:lnTo>
                  <a:lnTo>
                    <a:pt x="1402" y="238"/>
                  </a:lnTo>
                  <a:lnTo>
                    <a:pt x="1412" y="234"/>
                  </a:lnTo>
                  <a:lnTo>
                    <a:pt x="1418" y="228"/>
                  </a:lnTo>
                  <a:lnTo>
                    <a:pt x="1420" y="226"/>
                  </a:lnTo>
                  <a:lnTo>
                    <a:pt x="1420" y="224"/>
                  </a:lnTo>
                  <a:lnTo>
                    <a:pt x="1418" y="222"/>
                  </a:lnTo>
                  <a:lnTo>
                    <a:pt x="1414" y="220"/>
                  </a:lnTo>
                  <a:close/>
                  <a:moveTo>
                    <a:pt x="1370" y="792"/>
                  </a:moveTo>
                  <a:lnTo>
                    <a:pt x="1370" y="792"/>
                  </a:lnTo>
                  <a:lnTo>
                    <a:pt x="1378" y="782"/>
                  </a:lnTo>
                  <a:lnTo>
                    <a:pt x="1380" y="776"/>
                  </a:lnTo>
                  <a:lnTo>
                    <a:pt x="1378" y="774"/>
                  </a:lnTo>
                  <a:lnTo>
                    <a:pt x="1376" y="772"/>
                  </a:lnTo>
                  <a:lnTo>
                    <a:pt x="1372" y="770"/>
                  </a:lnTo>
                  <a:lnTo>
                    <a:pt x="1370" y="774"/>
                  </a:lnTo>
                  <a:lnTo>
                    <a:pt x="1362" y="776"/>
                  </a:lnTo>
                  <a:lnTo>
                    <a:pt x="1354" y="780"/>
                  </a:lnTo>
                  <a:lnTo>
                    <a:pt x="1350" y="784"/>
                  </a:lnTo>
                  <a:lnTo>
                    <a:pt x="1350" y="786"/>
                  </a:lnTo>
                  <a:lnTo>
                    <a:pt x="1350" y="788"/>
                  </a:lnTo>
                  <a:lnTo>
                    <a:pt x="1356" y="792"/>
                  </a:lnTo>
                  <a:lnTo>
                    <a:pt x="1364" y="794"/>
                  </a:lnTo>
                  <a:lnTo>
                    <a:pt x="1366" y="794"/>
                  </a:lnTo>
                  <a:lnTo>
                    <a:pt x="1370" y="792"/>
                  </a:lnTo>
                  <a:close/>
                  <a:moveTo>
                    <a:pt x="1388" y="762"/>
                  </a:moveTo>
                  <a:lnTo>
                    <a:pt x="1388" y="762"/>
                  </a:lnTo>
                  <a:lnTo>
                    <a:pt x="1384" y="762"/>
                  </a:lnTo>
                  <a:lnTo>
                    <a:pt x="1380" y="764"/>
                  </a:lnTo>
                  <a:lnTo>
                    <a:pt x="1380" y="766"/>
                  </a:lnTo>
                  <a:lnTo>
                    <a:pt x="1380" y="770"/>
                  </a:lnTo>
                  <a:lnTo>
                    <a:pt x="1384" y="776"/>
                  </a:lnTo>
                  <a:lnTo>
                    <a:pt x="1386" y="778"/>
                  </a:lnTo>
                  <a:lnTo>
                    <a:pt x="1388" y="778"/>
                  </a:lnTo>
                  <a:lnTo>
                    <a:pt x="1394" y="776"/>
                  </a:lnTo>
                  <a:lnTo>
                    <a:pt x="1396" y="772"/>
                  </a:lnTo>
                  <a:lnTo>
                    <a:pt x="1396" y="770"/>
                  </a:lnTo>
                  <a:lnTo>
                    <a:pt x="1396" y="766"/>
                  </a:lnTo>
                  <a:lnTo>
                    <a:pt x="1392" y="764"/>
                  </a:lnTo>
                  <a:lnTo>
                    <a:pt x="1388" y="762"/>
                  </a:lnTo>
                  <a:close/>
                  <a:moveTo>
                    <a:pt x="1264" y="804"/>
                  </a:moveTo>
                  <a:lnTo>
                    <a:pt x="1264" y="804"/>
                  </a:lnTo>
                  <a:lnTo>
                    <a:pt x="1264" y="800"/>
                  </a:lnTo>
                  <a:lnTo>
                    <a:pt x="1262" y="798"/>
                  </a:lnTo>
                  <a:lnTo>
                    <a:pt x="1258" y="798"/>
                  </a:lnTo>
                  <a:lnTo>
                    <a:pt x="1252" y="802"/>
                  </a:lnTo>
                  <a:lnTo>
                    <a:pt x="1248" y="804"/>
                  </a:lnTo>
                  <a:lnTo>
                    <a:pt x="1248" y="808"/>
                  </a:lnTo>
                  <a:lnTo>
                    <a:pt x="1250" y="810"/>
                  </a:lnTo>
                  <a:lnTo>
                    <a:pt x="1254" y="812"/>
                  </a:lnTo>
                  <a:lnTo>
                    <a:pt x="1260" y="814"/>
                  </a:lnTo>
                  <a:lnTo>
                    <a:pt x="1262" y="812"/>
                  </a:lnTo>
                  <a:lnTo>
                    <a:pt x="1264" y="804"/>
                  </a:lnTo>
                  <a:close/>
                  <a:moveTo>
                    <a:pt x="1102" y="904"/>
                  </a:moveTo>
                  <a:lnTo>
                    <a:pt x="1102" y="904"/>
                  </a:lnTo>
                  <a:lnTo>
                    <a:pt x="1102" y="908"/>
                  </a:lnTo>
                  <a:lnTo>
                    <a:pt x="1104" y="908"/>
                  </a:lnTo>
                  <a:lnTo>
                    <a:pt x="1112" y="908"/>
                  </a:lnTo>
                  <a:lnTo>
                    <a:pt x="1114" y="906"/>
                  </a:lnTo>
                  <a:lnTo>
                    <a:pt x="1112" y="902"/>
                  </a:lnTo>
                  <a:lnTo>
                    <a:pt x="1106" y="902"/>
                  </a:lnTo>
                  <a:lnTo>
                    <a:pt x="1104" y="902"/>
                  </a:lnTo>
                  <a:lnTo>
                    <a:pt x="1102" y="904"/>
                  </a:lnTo>
                  <a:close/>
                  <a:moveTo>
                    <a:pt x="1116" y="898"/>
                  </a:moveTo>
                  <a:lnTo>
                    <a:pt x="1116" y="898"/>
                  </a:lnTo>
                  <a:lnTo>
                    <a:pt x="1120" y="900"/>
                  </a:lnTo>
                  <a:lnTo>
                    <a:pt x="1122" y="898"/>
                  </a:lnTo>
                  <a:lnTo>
                    <a:pt x="1124" y="896"/>
                  </a:lnTo>
                  <a:lnTo>
                    <a:pt x="1124" y="894"/>
                  </a:lnTo>
                  <a:lnTo>
                    <a:pt x="1120" y="892"/>
                  </a:lnTo>
                  <a:lnTo>
                    <a:pt x="1116" y="894"/>
                  </a:lnTo>
                  <a:lnTo>
                    <a:pt x="1114" y="896"/>
                  </a:lnTo>
                  <a:lnTo>
                    <a:pt x="1116" y="898"/>
                  </a:lnTo>
                  <a:close/>
                  <a:moveTo>
                    <a:pt x="1150" y="850"/>
                  </a:moveTo>
                  <a:lnTo>
                    <a:pt x="1150" y="850"/>
                  </a:lnTo>
                  <a:lnTo>
                    <a:pt x="1148" y="850"/>
                  </a:lnTo>
                  <a:lnTo>
                    <a:pt x="1148" y="848"/>
                  </a:lnTo>
                  <a:lnTo>
                    <a:pt x="1146" y="846"/>
                  </a:lnTo>
                  <a:lnTo>
                    <a:pt x="1144" y="846"/>
                  </a:lnTo>
                  <a:lnTo>
                    <a:pt x="1142" y="848"/>
                  </a:lnTo>
                  <a:lnTo>
                    <a:pt x="1140" y="846"/>
                  </a:lnTo>
                  <a:lnTo>
                    <a:pt x="1138" y="844"/>
                  </a:lnTo>
                  <a:lnTo>
                    <a:pt x="1136" y="846"/>
                  </a:lnTo>
                  <a:lnTo>
                    <a:pt x="1136" y="848"/>
                  </a:lnTo>
                  <a:lnTo>
                    <a:pt x="1132" y="848"/>
                  </a:lnTo>
                  <a:lnTo>
                    <a:pt x="1130" y="846"/>
                  </a:lnTo>
                  <a:lnTo>
                    <a:pt x="1130" y="850"/>
                  </a:lnTo>
                  <a:lnTo>
                    <a:pt x="1130" y="852"/>
                  </a:lnTo>
                  <a:lnTo>
                    <a:pt x="1128" y="850"/>
                  </a:lnTo>
                  <a:lnTo>
                    <a:pt x="1124" y="850"/>
                  </a:lnTo>
                  <a:lnTo>
                    <a:pt x="1120" y="850"/>
                  </a:lnTo>
                  <a:lnTo>
                    <a:pt x="1118" y="854"/>
                  </a:lnTo>
                  <a:lnTo>
                    <a:pt x="1120" y="856"/>
                  </a:lnTo>
                  <a:lnTo>
                    <a:pt x="1124" y="856"/>
                  </a:lnTo>
                  <a:lnTo>
                    <a:pt x="1124" y="858"/>
                  </a:lnTo>
                  <a:lnTo>
                    <a:pt x="1120" y="860"/>
                  </a:lnTo>
                  <a:lnTo>
                    <a:pt x="1114" y="860"/>
                  </a:lnTo>
                  <a:lnTo>
                    <a:pt x="1108" y="860"/>
                  </a:lnTo>
                  <a:lnTo>
                    <a:pt x="1108" y="862"/>
                  </a:lnTo>
                  <a:lnTo>
                    <a:pt x="1110" y="862"/>
                  </a:lnTo>
                  <a:lnTo>
                    <a:pt x="1110" y="864"/>
                  </a:lnTo>
                  <a:lnTo>
                    <a:pt x="1108" y="866"/>
                  </a:lnTo>
                  <a:lnTo>
                    <a:pt x="1106" y="866"/>
                  </a:lnTo>
                  <a:lnTo>
                    <a:pt x="1108" y="868"/>
                  </a:lnTo>
                  <a:lnTo>
                    <a:pt x="1110" y="870"/>
                  </a:lnTo>
                  <a:lnTo>
                    <a:pt x="1108" y="870"/>
                  </a:lnTo>
                  <a:lnTo>
                    <a:pt x="1108" y="872"/>
                  </a:lnTo>
                  <a:lnTo>
                    <a:pt x="1108" y="874"/>
                  </a:lnTo>
                  <a:lnTo>
                    <a:pt x="1108" y="876"/>
                  </a:lnTo>
                  <a:lnTo>
                    <a:pt x="1108" y="878"/>
                  </a:lnTo>
                  <a:lnTo>
                    <a:pt x="1106" y="880"/>
                  </a:lnTo>
                  <a:lnTo>
                    <a:pt x="1104" y="882"/>
                  </a:lnTo>
                  <a:lnTo>
                    <a:pt x="1108" y="884"/>
                  </a:lnTo>
                  <a:lnTo>
                    <a:pt x="1114" y="884"/>
                  </a:lnTo>
                  <a:lnTo>
                    <a:pt x="1114" y="886"/>
                  </a:lnTo>
                  <a:lnTo>
                    <a:pt x="1114" y="888"/>
                  </a:lnTo>
                  <a:lnTo>
                    <a:pt x="1116" y="888"/>
                  </a:lnTo>
                  <a:lnTo>
                    <a:pt x="1120" y="884"/>
                  </a:lnTo>
                  <a:lnTo>
                    <a:pt x="1122" y="880"/>
                  </a:lnTo>
                  <a:lnTo>
                    <a:pt x="1126" y="876"/>
                  </a:lnTo>
                  <a:lnTo>
                    <a:pt x="1130" y="874"/>
                  </a:lnTo>
                  <a:lnTo>
                    <a:pt x="1132" y="876"/>
                  </a:lnTo>
                  <a:lnTo>
                    <a:pt x="1132" y="878"/>
                  </a:lnTo>
                  <a:lnTo>
                    <a:pt x="1134" y="878"/>
                  </a:lnTo>
                  <a:lnTo>
                    <a:pt x="1142" y="878"/>
                  </a:lnTo>
                  <a:lnTo>
                    <a:pt x="1146" y="876"/>
                  </a:lnTo>
                  <a:lnTo>
                    <a:pt x="1148" y="874"/>
                  </a:lnTo>
                  <a:lnTo>
                    <a:pt x="1146" y="870"/>
                  </a:lnTo>
                  <a:lnTo>
                    <a:pt x="1146" y="866"/>
                  </a:lnTo>
                  <a:lnTo>
                    <a:pt x="1148" y="864"/>
                  </a:lnTo>
                  <a:lnTo>
                    <a:pt x="1150" y="862"/>
                  </a:lnTo>
                  <a:lnTo>
                    <a:pt x="1150" y="860"/>
                  </a:lnTo>
                  <a:lnTo>
                    <a:pt x="1152" y="852"/>
                  </a:lnTo>
                  <a:lnTo>
                    <a:pt x="1152" y="850"/>
                  </a:lnTo>
                  <a:lnTo>
                    <a:pt x="1150" y="850"/>
                  </a:lnTo>
                  <a:close/>
                  <a:moveTo>
                    <a:pt x="1254" y="830"/>
                  </a:moveTo>
                  <a:lnTo>
                    <a:pt x="1254" y="830"/>
                  </a:lnTo>
                  <a:lnTo>
                    <a:pt x="1260" y="826"/>
                  </a:lnTo>
                  <a:lnTo>
                    <a:pt x="1262" y="824"/>
                  </a:lnTo>
                  <a:lnTo>
                    <a:pt x="1260" y="820"/>
                  </a:lnTo>
                  <a:lnTo>
                    <a:pt x="1258" y="822"/>
                  </a:lnTo>
                  <a:lnTo>
                    <a:pt x="1256" y="826"/>
                  </a:lnTo>
                  <a:lnTo>
                    <a:pt x="1254" y="830"/>
                  </a:lnTo>
                  <a:close/>
                  <a:moveTo>
                    <a:pt x="1226" y="818"/>
                  </a:moveTo>
                  <a:lnTo>
                    <a:pt x="1226" y="818"/>
                  </a:lnTo>
                  <a:lnTo>
                    <a:pt x="1222" y="818"/>
                  </a:lnTo>
                  <a:lnTo>
                    <a:pt x="1218" y="820"/>
                  </a:lnTo>
                  <a:lnTo>
                    <a:pt x="1214" y="826"/>
                  </a:lnTo>
                  <a:lnTo>
                    <a:pt x="1216" y="826"/>
                  </a:lnTo>
                  <a:lnTo>
                    <a:pt x="1220" y="824"/>
                  </a:lnTo>
                  <a:lnTo>
                    <a:pt x="1224" y="822"/>
                  </a:lnTo>
                  <a:lnTo>
                    <a:pt x="1226" y="818"/>
                  </a:lnTo>
                  <a:close/>
                  <a:moveTo>
                    <a:pt x="1074" y="928"/>
                  </a:moveTo>
                  <a:lnTo>
                    <a:pt x="1074" y="928"/>
                  </a:lnTo>
                  <a:lnTo>
                    <a:pt x="1074" y="930"/>
                  </a:lnTo>
                  <a:lnTo>
                    <a:pt x="1074" y="932"/>
                  </a:lnTo>
                  <a:lnTo>
                    <a:pt x="1078" y="932"/>
                  </a:lnTo>
                  <a:lnTo>
                    <a:pt x="1082" y="930"/>
                  </a:lnTo>
                  <a:lnTo>
                    <a:pt x="1084" y="926"/>
                  </a:lnTo>
                  <a:lnTo>
                    <a:pt x="1084" y="924"/>
                  </a:lnTo>
                  <a:lnTo>
                    <a:pt x="1080" y="924"/>
                  </a:lnTo>
                  <a:lnTo>
                    <a:pt x="1076" y="924"/>
                  </a:lnTo>
                  <a:lnTo>
                    <a:pt x="1074" y="928"/>
                  </a:lnTo>
                  <a:close/>
                  <a:moveTo>
                    <a:pt x="772" y="1274"/>
                  </a:moveTo>
                  <a:lnTo>
                    <a:pt x="772" y="1274"/>
                  </a:lnTo>
                  <a:lnTo>
                    <a:pt x="784" y="1270"/>
                  </a:lnTo>
                  <a:lnTo>
                    <a:pt x="788" y="1270"/>
                  </a:lnTo>
                  <a:lnTo>
                    <a:pt x="790" y="1268"/>
                  </a:lnTo>
                  <a:lnTo>
                    <a:pt x="790" y="1266"/>
                  </a:lnTo>
                  <a:lnTo>
                    <a:pt x="788" y="1264"/>
                  </a:lnTo>
                  <a:lnTo>
                    <a:pt x="786" y="1264"/>
                  </a:lnTo>
                  <a:lnTo>
                    <a:pt x="784" y="1262"/>
                  </a:lnTo>
                  <a:lnTo>
                    <a:pt x="784" y="1260"/>
                  </a:lnTo>
                  <a:lnTo>
                    <a:pt x="778" y="1262"/>
                  </a:lnTo>
                  <a:lnTo>
                    <a:pt x="768" y="1266"/>
                  </a:lnTo>
                  <a:lnTo>
                    <a:pt x="760" y="1268"/>
                  </a:lnTo>
                  <a:lnTo>
                    <a:pt x="758" y="1270"/>
                  </a:lnTo>
                  <a:lnTo>
                    <a:pt x="756" y="1274"/>
                  </a:lnTo>
                  <a:lnTo>
                    <a:pt x="758" y="1276"/>
                  </a:lnTo>
                  <a:lnTo>
                    <a:pt x="760" y="1276"/>
                  </a:lnTo>
                  <a:lnTo>
                    <a:pt x="772" y="1274"/>
                  </a:lnTo>
                  <a:close/>
                  <a:moveTo>
                    <a:pt x="776" y="1258"/>
                  </a:moveTo>
                  <a:lnTo>
                    <a:pt x="776" y="1258"/>
                  </a:lnTo>
                  <a:lnTo>
                    <a:pt x="780" y="1256"/>
                  </a:lnTo>
                  <a:lnTo>
                    <a:pt x="778" y="1252"/>
                  </a:lnTo>
                  <a:lnTo>
                    <a:pt x="776" y="1250"/>
                  </a:lnTo>
                  <a:lnTo>
                    <a:pt x="774" y="1252"/>
                  </a:lnTo>
                  <a:lnTo>
                    <a:pt x="772" y="1254"/>
                  </a:lnTo>
                  <a:lnTo>
                    <a:pt x="764" y="1256"/>
                  </a:lnTo>
                  <a:lnTo>
                    <a:pt x="760" y="1258"/>
                  </a:lnTo>
                  <a:lnTo>
                    <a:pt x="758" y="1258"/>
                  </a:lnTo>
                  <a:lnTo>
                    <a:pt x="758" y="1260"/>
                  </a:lnTo>
                  <a:lnTo>
                    <a:pt x="764" y="1260"/>
                  </a:lnTo>
                  <a:lnTo>
                    <a:pt x="776" y="1258"/>
                  </a:lnTo>
                  <a:close/>
                  <a:moveTo>
                    <a:pt x="892" y="180"/>
                  </a:moveTo>
                  <a:lnTo>
                    <a:pt x="892" y="180"/>
                  </a:lnTo>
                  <a:lnTo>
                    <a:pt x="904" y="186"/>
                  </a:lnTo>
                  <a:lnTo>
                    <a:pt x="912" y="188"/>
                  </a:lnTo>
                  <a:lnTo>
                    <a:pt x="912" y="186"/>
                  </a:lnTo>
                  <a:lnTo>
                    <a:pt x="910" y="182"/>
                  </a:lnTo>
                  <a:lnTo>
                    <a:pt x="906" y="176"/>
                  </a:lnTo>
                  <a:lnTo>
                    <a:pt x="900" y="170"/>
                  </a:lnTo>
                  <a:lnTo>
                    <a:pt x="894" y="164"/>
                  </a:lnTo>
                  <a:lnTo>
                    <a:pt x="888" y="164"/>
                  </a:lnTo>
                  <a:lnTo>
                    <a:pt x="882" y="162"/>
                  </a:lnTo>
                  <a:lnTo>
                    <a:pt x="878" y="158"/>
                  </a:lnTo>
                  <a:lnTo>
                    <a:pt x="870" y="144"/>
                  </a:lnTo>
                  <a:lnTo>
                    <a:pt x="866" y="138"/>
                  </a:lnTo>
                  <a:lnTo>
                    <a:pt x="860" y="134"/>
                  </a:lnTo>
                  <a:lnTo>
                    <a:pt x="856" y="132"/>
                  </a:lnTo>
                  <a:lnTo>
                    <a:pt x="850" y="132"/>
                  </a:lnTo>
                  <a:lnTo>
                    <a:pt x="846" y="136"/>
                  </a:lnTo>
                  <a:lnTo>
                    <a:pt x="846" y="142"/>
                  </a:lnTo>
                  <a:lnTo>
                    <a:pt x="860" y="164"/>
                  </a:lnTo>
                  <a:lnTo>
                    <a:pt x="866" y="174"/>
                  </a:lnTo>
                  <a:lnTo>
                    <a:pt x="868" y="174"/>
                  </a:lnTo>
                  <a:lnTo>
                    <a:pt x="870" y="174"/>
                  </a:lnTo>
                  <a:lnTo>
                    <a:pt x="872" y="172"/>
                  </a:lnTo>
                  <a:lnTo>
                    <a:pt x="876" y="172"/>
                  </a:lnTo>
                  <a:lnTo>
                    <a:pt x="884" y="174"/>
                  </a:lnTo>
                  <a:lnTo>
                    <a:pt x="892" y="180"/>
                  </a:lnTo>
                  <a:close/>
                  <a:moveTo>
                    <a:pt x="1006" y="948"/>
                  </a:moveTo>
                  <a:lnTo>
                    <a:pt x="1006" y="948"/>
                  </a:lnTo>
                  <a:lnTo>
                    <a:pt x="1016" y="944"/>
                  </a:lnTo>
                  <a:lnTo>
                    <a:pt x="1026" y="934"/>
                  </a:lnTo>
                  <a:lnTo>
                    <a:pt x="1030" y="932"/>
                  </a:lnTo>
                  <a:lnTo>
                    <a:pt x="1030" y="930"/>
                  </a:lnTo>
                  <a:lnTo>
                    <a:pt x="1026" y="930"/>
                  </a:lnTo>
                  <a:lnTo>
                    <a:pt x="1018" y="930"/>
                  </a:lnTo>
                  <a:lnTo>
                    <a:pt x="1008" y="932"/>
                  </a:lnTo>
                  <a:lnTo>
                    <a:pt x="1004" y="934"/>
                  </a:lnTo>
                  <a:lnTo>
                    <a:pt x="1006" y="936"/>
                  </a:lnTo>
                  <a:lnTo>
                    <a:pt x="1006" y="938"/>
                  </a:lnTo>
                  <a:lnTo>
                    <a:pt x="1002" y="938"/>
                  </a:lnTo>
                  <a:lnTo>
                    <a:pt x="998" y="938"/>
                  </a:lnTo>
                  <a:lnTo>
                    <a:pt x="998" y="940"/>
                  </a:lnTo>
                  <a:lnTo>
                    <a:pt x="1000" y="942"/>
                  </a:lnTo>
                  <a:lnTo>
                    <a:pt x="998" y="946"/>
                  </a:lnTo>
                  <a:lnTo>
                    <a:pt x="996" y="948"/>
                  </a:lnTo>
                  <a:lnTo>
                    <a:pt x="1000" y="948"/>
                  </a:lnTo>
                  <a:lnTo>
                    <a:pt x="1006" y="948"/>
                  </a:lnTo>
                  <a:close/>
                  <a:moveTo>
                    <a:pt x="1028" y="900"/>
                  </a:moveTo>
                  <a:lnTo>
                    <a:pt x="1028" y="900"/>
                  </a:lnTo>
                  <a:lnTo>
                    <a:pt x="1024" y="900"/>
                  </a:lnTo>
                  <a:lnTo>
                    <a:pt x="1022" y="902"/>
                  </a:lnTo>
                  <a:lnTo>
                    <a:pt x="1022" y="904"/>
                  </a:lnTo>
                  <a:lnTo>
                    <a:pt x="1018" y="906"/>
                  </a:lnTo>
                  <a:lnTo>
                    <a:pt x="1016" y="904"/>
                  </a:lnTo>
                  <a:lnTo>
                    <a:pt x="1014" y="902"/>
                  </a:lnTo>
                  <a:lnTo>
                    <a:pt x="1012" y="902"/>
                  </a:lnTo>
                  <a:lnTo>
                    <a:pt x="1010" y="904"/>
                  </a:lnTo>
                  <a:lnTo>
                    <a:pt x="1008" y="904"/>
                  </a:lnTo>
                  <a:lnTo>
                    <a:pt x="1006" y="904"/>
                  </a:lnTo>
                  <a:lnTo>
                    <a:pt x="1004" y="906"/>
                  </a:lnTo>
                  <a:lnTo>
                    <a:pt x="1004" y="910"/>
                  </a:lnTo>
                  <a:lnTo>
                    <a:pt x="1002" y="912"/>
                  </a:lnTo>
                  <a:lnTo>
                    <a:pt x="1002" y="914"/>
                  </a:lnTo>
                  <a:lnTo>
                    <a:pt x="1004" y="916"/>
                  </a:lnTo>
                  <a:lnTo>
                    <a:pt x="1008" y="918"/>
                  </a:lnTo>
                  <a:lnTo>
                    <a:pt x="1012" y="916"/>
                  </a:lnTo>
                  <a:lnTo>
                    <a:pt x="1016" y="914"/>
                  </a:lnTo>
                  <a:lnTo>
                    <a:pt x="1026" y="910"/>
                  </a:lnTo>
                  <a:lnTo>
                    <a:pt x="1030" y="910"/>
                  </a:lnTo>
                  <a:lnTo>
                    <a:pt x="1026" y="914"/>
                  </a:lnTo>
                  <a:lnTo>
                    <a:pt x="1020" y="918"/>
                  </a:lnTo>
                  <a:lnTo>
                    <a:pt x="1020" y="920"/>
                  </a:lnTo>
                  <a:lnTo>
                    <a:pt x="1030" y="918"/>
                  </a:lnTo>
                  <a:lnTo>
                    <a:pt x="1040" y="916"/>
                  </a:lnTo>
                  <a:lnTo>
                    <a:pt x="1042" y="914"/>
                  </a:lnTo>
                  <a:lnTo>
                    <a:pt x="1042" y="912"/>
                  </a:lnTo>
                  <a:lnTo>
                    <a:pt x="1042" y="910"/>
                  </a:lnTo>
                  <a:lnTo>
                    <a:pt x="1040" y="906"/>
                  </a:lnTo>
                  <a:lnTo>
                    <a:pt x="1040" y="904"/>
                  </a:lnTo>
                  <a:lnTo>
                    <a:pt x="1042" y="902"/>
                  </a:lnTo>
                  <a:lnTo>
                    <a:pt x="1042" y="900"/>
                  </a:lnTo>
                  <a:lnTo>
                    <a:pt x="1038" y="896"/>
                  </a:lnTo>
                  <a:lnTo>
                    <a:pt x="1034" y="890"/>
                  </a:lnTo>
                  <a:lnTo>
                    <a:pt x="1032" y="890"/>
                  </a:lnTo>
                  <a:lnTo>
                    <a:pt x="1030" y="890"/>
                  </a:lnTo>
                  <a:lnTo>
                    <a:pt x="1028" y="890"/>
                  </a:lnTo>
                  <a:lnTo>
                    <a:pt x="1028" y="892"/>
                  </a:lnTo>
                  <a:lnTo>
                    <a:pt x="1030" y="896"/>
                  </a:lnTo>
                  <a:lnTo>
                    <a:pt x="1032" y="900"/>
                  </a:lnTo>
                  <a:lnTo>
                    <a:pt x="1028" y="900"/>
                  </a:lnTo>
                  <a:close/>
                  <a:moveTo>
                    <a:pt x="996" y="942"/>
                  </a:moveTo>
                  <a:lnTo>
                    <a:pt x="996" y="942"/>
                  </a:lnTo>
                  <a:lnTo>
                    <a:pt x="996" y="940"/>
                  </a:lnTo>
                  <a:lnTo>
                    <a:pt x="994" y="938"/>
                  </a:lnTo>
                  <a:lnTo>
                    <a:pt x="990" y="938"/>
                  </a:lnTo>
                  <a:lnTo>
                    <a:pt x="988" y="938"/>
                  </a:lnTo>
                  <a:lnTo>
                    <a:pt x="990" y="940"/>
                  </a:lnTo>
                  <a:lnTo>
                    <a:pt x="992" y="942"/>
                  </a:lnTo>
                  <a:lnTo>
                    <a:pt x="994" y="942"/>
                  </a:lnTo>
                  <a:lnTo>
                    <a:pt x="996" y="942"/>
                  </a:lnTo>
                  <a:close/>
                  <a:moveTo>
                    <a:pt x="942" y="966"/>
                  </a:moveTo>
                  <a:lnTo>
                    <a:pt x="942" y="966"/>
                  </a:lnTo>
                  <a:lnTo>
                    <a:pt x="940" y="974"/>
                  </a:lnTo>
                  <a:lnTo>
                    <a:pt x="946" y="970"/>
                  </a:lnTo>
                  <a:lnTo>
                    <a:pt x="948" y="968"/>
                  </a:lnTo>
                  <a:lnTo>
                    <a:pt x="950" y="964"/>
                  </a:lnTo>
                  <a:lnTo>
                    <a:pt x="950" y="958"/>
                  </a:lnTo>
                  <a:lnTo>
                    <a:pt x="950" y="956"/>
                  </a:lnTo>
                  <a:lnTo>
                    <a:pt x="948" y="956"/>
                  </a:lnTo>
                  <a:lnTo>
                    <a:pt x="942" y="966"/>
                  </a:lnTo>
                  <a:close/>
                  <a:moveTo>
                    <a:pt x="970" y="956"/>
                  </a:moveTo>
                  <a:lnTo>
                    <a:pt x="970" y="956"/>
                  </a:lnTo>
                  <a:lnTo>
                    <a:pt x="972" y="956"/>
                  </a:lnTo>
                  <a:lnTo>
                    <a:pt x="974" y="956"/>
                  </a:lnTo>
                  <a:lnTo>
                    <a:pt x="976" y="956"/>
                  </a:lnTo>
                  <a:lnTo>
                    <a:pt x="978" y="954"/>
                  </a:lnTo>
                  <a:lnTo>
                    <a:pt x="982" y="952"/>
                  </a:lnTo>
                  <a:lnTo>
                    <a:pt x="984" y="950"/>
                  </a:lnTo>
                  <a:lnTo>
                    <a:pt x="988" y="946"/>
                  </a:lnTo>
                  <a:lnTo>
                    <a:pt x="992" y="946"/>
                  </a:lnTo>
                  <a:lnTo>
                    <a:pt x="990" y="944"/>
                  </a:lnTo>
                  <a:lnTo>
                    <a:pt x="980" y="942"/>
                  </a:lnTo>
                  <a:lnTo>
                    <a:pt x="976" y="940"/>
                  </a:lnTo>
                  <a:lnTo>
                    <a:pt x="972" y="942"/>
                  </a:lnTo>
                  <a:lnTo>
                    <a:pt x="970" y="944"/>
                  </a:lnTo>
                  <a:lnTo>
                    <a:pt x="966" y="948"/>
                  </a:lnTo>
                  <a:lnTo>
                    <a:pt x="966" y="952"/>
                  </a:lnTo>
                  <a:lnTo>
                    <a:pt x="966" y="954"/>
                  </a:lnTo>
                  <a:lnTo>
                    <a:pt x="964" y="956"/>
                  </a:lnTo>
                  <a:lnTo>
                    <a:pt x="966" y="958"/>
                  </a:lnTo>
                  <a:lnTo>
                    <a:pt x="968" y="958"/>
                  </a:lnTo>
                  <a:lnTo>
                    <a:pt x="970" y="956"/>
                  </a:lnTo>
                  <a:close/>
                  <a:moveTo>
                    <a:pt x="958" y="954"/>
                  </a:moveTo>
                  <a:lnTo>
                    <a:pt x="958" y="954"/>
                  </a:lnTo>
                  <a:lnTo>
                    <a:pt x="958" y="956"/>
                  </a:lnTo>
                  <a:lnTo>
                    <a:pt x="956" y="956"/>
                  </a:lnTo>
                  <a:lnTo>
                    <a:pt x="954" y="956"/>
                  </a:lnTo>
                  <a:lnTo>
                    <a:pt x="954" y="960"/>
                  </a:lnTo>
                  <a:lnTo>
                    <a:pt x="956" y="962"/>
                  </a:lnTo>
                  <a:lnTo>
                    <a:pt x="962" y="958"/>
                  </a:lnTo>
                  <a:lnTo>
                    <a:pt x="964" y="954"/>
                  </a:lnTo>
                  <a:lnTo>
                    <a:pt x="962" y="950"/>
                  </a:lnTo>
                  <a:lnTo>
                    <a:pt x="960" y="950"/>
                  </a:lnTo>
                  <a:lnTo>
                    <a:pt x="958" y="954"/>
                  </a:lnTo>
                  <a:close/>
                  <a:moveTo>
                    <a:pt x="1028" y="966"/>
                  </a:moveTo>
                  <a:lnTo>
                    <a:pt x="1028" y="966"/>
                  </a:lnTo>
                  <a:lnTo>
                    <a:pt x="1032" y="966"/>
                  </a:lnTo>
                  <a:lnTo>
                    <a:pt x="1034" y="964"/>
                  </a:lnTo>
                  <a:lnTo>
                    <a:pt x="1030" y="962"/>
                  </a:lnTo>
                  <a:lnTo>
                    <a:pt x="1028" y="962"/>
                  </a:lnTo>
                  <a:lnTo>
                    <a:pt x="1026" y="964"/>
                  </a:lnTo>
                  <a:lnTo>
                    <a:pt x="1026" y="966"/>
                  </a:lnTo>
                  <a:lnTo>
                    <a:pt x="1028" y="966"/>
                  </a:lnTo>
                  <a:close/>
                  <a:moveTo>
                    <a:pt x="1078" y="890"/>
                  </a:moveTo>
                  <a:lnTo>
                    <a:pt x="1078" y="890"/>
                  </a:lnTo>
                  <a:lnTo>
                    <a:pt x="1080" y="892"/>
                  </a:lnTo>
                  <a:lnTo>
                    <a:pt x="1082" y="894"/>
                  </a:lnTo>
                  <a:lnTo>
                    <a:pt x="1088" y="896"/>
                  </a:lnTo>
                  <a:lnTo>
                    <a:pt x="1092" y="896"/>
                  </a:lnTo>
                  <a:lnTo>
                    <a:pt x="1092" y="894"/>
                  </a:lnTo>
                  <a:lnTo>
                    <a:pt x="1088" y="892"/>
                  </a:lnTo>
                  <a:lnTo>
                    <a:pt x="1082" y="890"/>
                  </a:lnTo>
                  <a:lnTo>
                    <a:pt x="1078" y="890"/>
                  </a:lnTo>
                  <a:close/>
                  <a:moveTo>
                    <a:pt x="1054" y="890"/>
                  </a:moveTo>
                  <a:lnTo>
                    <a:pt x="1054" y="890"/>
                  </a:lnTo>
                  <a:lnTo>
                    <a:pt x="1060" y="890"/>
                  </a:lnTo>
                  <a:lnTo>
                    <a:pt x="1062" y="888"/>
                  </a:lnTo>
                  <a:lnTo>
                    <a:pt x="1068" y="878"/>
                  </a:lnTo>
                  <a:lnTo>
                    <a:pt x="1072" y="872"/>
                  </a:lnTo>
                  <a:lnTo>
                    <a:pt x="1074" y="868"/>
                  </a:lnTo>
                  <a:lnTo>
                    <a:pt x="1072" y="868"/>
                  </a:lnTo>
                  <a:lnTo>
                    <a:pt x="1066" y="870"/>
                  </a:lnTo>
                  <a:lnTo>
                    <a:pt x="1054" y="878"/>
                  </a:lnTo>
                  <a:lnTo>
                    <a:pt x="1050" y="882"/>
                  </a:lnTo>
                  <a:lnTo>
                    <a:pt x="1046" y="890"/>
                  </a:lnTo>
                  <a:lnTo>
                    <a:pt x="1044" y="894"/>
                  </a:lnTo>
                  <a:lnTo>
                    <a:pt x="1044" y="896"/>
                  </a:lnTo>
                  <a:lnTo>
                    <a:pt x="1046" y="898"/>
                  </a:lnTo>
                  <a:lnTo>
                    <a:pt x="1048" y="898"/>
                  </a:lnTo>
                  <a:lnTo>
                    <a:pt x="1048" y="894"/>
                  </a:lnTo>
                  <a:lnTo>
                    <a:pt x="1050" y="892"/>
                  </a:lnTo>
                  <a:lnTo>
                    <a:pt x="1054" y="890"/>
                  </a:lnTo>
                  <a:close/>
                  <a:moveTo>
                    <a:pt x="752" y="1276"/>
                  </a:moveTo>
                  <a:lnTo>
                    <a:pt x="752" y="1276"/>
                  </a:lnTo>
                  <a:lnTo>
                    <a:pt x="750" y="1274"/>
                  </a:lnTo>
                  <a:lnTo>
                    <a:pt x="742" y="1274"/>
                  </a:lnTo>
                  <a:lnTo>
                    <a:pt x="738" y="1276"/>
                  </a:lnTo>
                  <a:lnTo>
                    <a:pt x="736" y="1278"/>
                  </a:lnTo>
                  <a:lnTo>
                    <a:pt x="742" y="1282"/>
                  </a:lnTo>
                  <a:lnTo>
                    <a:pt x="748" y="1282"/>
                  </a:lnTo>
                  <a:lnTo>
                    <a:pt x="750" y="1278"/>
                  </a:lnTo>
                  <a:lnTo>
                    <a:pt x="752" y="1276"/>
                  </a:lnTo>
                  <a:close/>
                  <a:moveTo>
                    <a:pt x="1156" y="42"/>
                  </a:moveTo>
                  <a:lnTo>
                    <a:pt x="1156" y="42"/>
                  </a:lnTo>
                  <a:lnTo>
                    <a:pt x="1164" y="44"/>
                  </a:lnTo>
                  <a:lnTo>
                    <a:pt x="1166" y="46"/>
                  </a:lnTo>
                  <a:lnTo>
                    <a:pt x="1164" y="48"/>
                  </a:lnTo>
                  <a:lnTo>
                    <a:pt x="1162" y="48"/>
                  </a:lnTo>
                  <a:lnTo>
                    <a:pt x="1160" y="50"/>
                  </a:lnTo>
                  <a:lnTo>
                    <a:pt x="1162" y="52"/>
                  </a:lnTo>
                  <a:lnTo>
                    <a:pt x="1166" y="56"/>
                  </a:lnTo>
                  <a:lnTo>
                    <a:pt x="1176" y="62"/>
                  </a:lnTo>
                  <a:lnTo>
                    <a:pt x="1186" y="66"/>
                  </a:lnTo>
                  <a:lnTo>
                    <a:pt x="1194" y="68"/>
                  </a:lnTo>
                  <a:lnTo>
                    <a:pt x="1204" y="68"/>
                  </a:lnTo>
                  <a:lnTo>
                    <a:pt x="1214" y="66"/>
                  </a:lnTo>
                  <a:lnTo>
                    <a:pt x="1238" y="62"/>
                  </a:lnTo>
                  <a:lnTo>
                    <a:pt x="1252" y="60"/>
                  </a:lnTo>
                  <a:lnTo>
                    <a:pt x="1270" y="58"/>
                  </a:lnTo>
                  <a:lnTo>
                    <a:pt x="1296" y="58"/>
                  </a:lnTo>
                  <a:lnTo>
                    <a:pt x="1298" y="60"/>
                  </a:lnTo>
                  <a:lnTo>
                    <a:pt x="1294" y="62"/>
                  </a:lnTo>
                  <a:lnTo>
                    <a:pt x="1274" y="66"/>
                  </a:lnTo>
                  <a:lnTo>
                    <a:pt x="1236" y="74"/>
                  </a:lnTo>
                  <a:lnTo>
                    <a:pt x="1220" y="78"/>
                  </a:lnTo>
                  <a:lnTo>
                    <a:pt x="1216" y="80"/>
                  </a:lnTo>
                  <a:lnTo>
                    <a:pt x="1216" y="82"/>
                  </a:lnTo>
                  <a:lnTo>
                    <a:pt x="1216" y="84"/>
                  </a:lnTo>
                  <a:lnTo>
                    <a:pt x="1220" y="86"/>
                  </a:lnTo>
                  <a:lnTo>
                    <a:pt x="1232" y="88"/>
                  </a:lnTo>
                  <a:lnTo>
                    <a:pt x="1270" y="92"/>
                  </a:lnTo>
                  <a:lnTo>
                    <a:pt x="1308" y="94"/>
                  </a:lnTo>
                  <a:lnTo>
                    <a:pt x="1324" y="96"/>
                  </a:lnTo>
                  <a:lnTo>
                    <a:pt x="1336" y="100"/>
                  </a:lnTo>
                  <a:lnTo>
                    <a:pt x="1360" y="110"/>
                  </a:lnTo>
                  <a:lnTo>
                    <a:pt x="1370" y="114"/>
                  </a:lnTo>
                  <a:lnTo>
                    <a:pt x="1380" y="114"/>
                  </a:lnTo>
                  <a:lnTo>
                    <a:pt x="1390" y="112"/>
                  </a:lnTo>
                  <a:lnTo>
                    <a:pt x="1402" y="106"/>
                  </a:lnTo>
                  <a:lnTo>
                    <a:pt x="1412" y="98"/>
                  </a:lnTo>
                  <a:lnTo>
                    <a:pt x="1420" y="96"/>
                  </a:lnTo>
                  <a:lnTo>
                    <a:pt x="1424" y="94"/>
                  </a:lnTo>
                  <a:lnTo>
                    <a:pt x="1430" y="96"/>
                  </a:lnTo>
                  <a:lnTo>
                    <a:pt x="1438" y="98"/>
                  </a:lnTo>
                  <a:lnTo>
                    <a:pt x="1446" y="98"/>
                  </a:lnTo>
                  <a:lnTo>
                    <a:pt x="1456" y="96"/>
                  </a:lnTo>
                  <a:lnTo>
                    <a:pt x="1464" y="92"/>
                  </a:lnTo>
                  <a:lnTo>
                    <a:pt x="1468" y="88"/>
                  </a:lnTo>
                  <a:lnTo>
                    <a:pt x="1468" y="84"/>
                  </a:lnTo>
                  <a:lnTo>
                    <a:pt x="1468" y="80"/>
                  </a:lnTo>
                  <a:lnTo>
                    <a:pt x="1470" y="76"/>
                  </a:lnTo>
                  <a:lnTo>
                    <a:pt x="1476" y="72"/>
                  </a:lnTo>
                  <a:lnTo>
                    <a:pt x="1488" y="66"/>
                  </a:lnTo>
                  <a:lnTo>
                    <a:pt x="1506" y="58"/>
                  </a:lnTo>
                  <a:lnTo>
                    <a:pt x="1516" y="54"/>
                  </a:lnTo>
                  <a:lnTo>
                    <a:pt x="1522" y="48"/>
                  </a:lnTo>
                  <a:lnTo>
                    <a:pt x="1520" y="42"/>
                  </a:lnTo>
                  <a:lnTo>
                    <a:pt x="1516" y="38"/>
                  </a:lnTo>
                  <a:lnTo>
                    <a:pt x="1510" y="34"/>
                  </a:lnTo>
                  <a:lnTo>
                    <a:pt x="1502" y="30"/>
                  </a:lnTo>
                  <a:lnTo>
                    <a:pt x="1492" y="28"/>
                  </a:lnTo>
                  <a:lnTo>
                    <a:pt x="1484" y="28"/>
                  </a:lnTo>
                  <a:lnTo>
                    <a:pt x="1468" y="28"/>
                  </a:lnTo>
                  <a:lnTo>
                    <a:pt x="1450" y="24"/>
                  </a:lnTo>
                  <a:lnTo>
                    <a:pt x="1430" y="18"/>
                  </a:lnTo>
                  <a:lnTo>
                    <a:pt x="1406" y="14"/>
                  </a:lnTo>
                  <a:lnTo>
                    <a:pt x="1394" y="12"/>
                  </a:lnTo>
                  <a:lnTo>
                    <a:pt x="1388" y="14"/>
                  </a:lnTo>
                  <a:lnTo>
                    <a:pt x="1384" y="16"/>
                  </a:lnTo>
                  <a:lnTo>
                    <a:pt x="1382" y="20"/>
                  </a:lnTo>
                  <a:lnTo>
                    <a:pt x="1378" y="28"/>
                  </a:lnTo>
                  <a:lnTo>
                    <a:pt x="1374" y="30"/>
                  </a:lnTo>
                  <a:lnTo>
                    <a:pt x="1366" y="30"/>
                  </a:lnTo>
                  <a:lnTo>
                    <a:pt x="1360" y="28"/>
                  </a:lnTo>
                  <a:lnTo>
                    <a:pt x="1358" y="24"/>
                  </a:lnTo>
                  <a:lnTo>
                    <a:pt x="1358" y="20"/>
                  </a:lnTo>
                  <a:lnTo>
                    <a:pt x="1360" y="16"/>
                  </a:lnTo>
                  <a:lnTo>
                    <a:pt x="1362" y="10"/>
                  </a:lnTo>
                  <a:lnTo>
                    <a:pt x="1362" y="6"/>
                  </a:lnTo>
                  <a:lnTo>
                    <a:pt x="1360" y="4"/>
                  </a:lnTo>
                  <a:lnTo>
                    <a:pt x="1350" y="0"/>
                  </a:lnTo>
                  <a:lnTo>
                    <a:pt x="1344" y="0"/>
                  </a:lnTo>
                  <a:lnTo>
                    <a:pt x="1340" y="2"/>
                  </a:lnTo>
                  <a:lnTo>
                    <a:pt x="1334" y="4"/>
                  </a:lnTo>
                  <a:lnTo>
                    <a:pt x="1332" y="8"/>
                  </a:lnTo>
                  <a:lnTo>
                    <a:pt x="1328" y="14"/>
                  </a:lnTo>
                  <a:lnTo>
                    <a:pt x="1326" y="22"/>
                  </a:lnTo>
                  <a:lnTo>
                    <a:pt x="1324" y="36"/>
                  </a:lnTo>
                  <a:lnTo>
                    <a:pt x="1322" y="40"/>
                  </a:lnTo>
                  <a:lnTo>
                    <a:pt x="1320" y="40"/>
                  </a:lnTo>
                  <a:lnTo>
                    <a:pt x="1318" y="40"/>
                  </a:lnTo>
                  <a:lnTo>
                    <a:pt x="1314" y="36"/>
                  </a:lnTo>
                  <a:lnTo>
                    <a:pt x="1306" y="24"/>
                  </a:lnTo>
                  <a:lnTo>
                    <a:pt x="1300" y="20"/>
                  </a:lnTo>
                  <a:lnTo>
                    <a:pt x="1296" y="18"/>
                  </a:lnTo>
                  <a:lnTo>
                    <a:pt x="1292" y="18"/>
                  </a:lnTo>
                  <a:lnTo>
                    <a:pt x="1286" y="18"/>
                  </a:lnTo>
                  <a:lnTo>
                    <a:pt x="1278" y="20"/>
                  </a:lnTo>
                  <a:lnTo>
                    <a:pt x="1268" y="18"/>
                  </a:lnTo>
                  <a:lnTo>
                    <a:pt x="1252" y="16"/>
                  </a:lnTo>
                  <a:lnTo>
                    <a:pt x="1232" y="8"/>
                  </a:lnTo>
                  <a:lnTo>
                    <a:pt x="1216" y="2"/>
                  </a:lnTo>
                  <a:lnTo>
                    <a:pt x="1208" y="2"/>
                  </a:lnTo>
                  <a:lnTo>
                    <a:pt x="1208" y="4"/>
                  </a:lnTo>
                  <a:lnTo>
                    <a:pt x="1212" y="10"/>
                  </a:lnTo>
                  <a:lnTo>
                    <a:pt x="1216" y="16"/>
                  </a:lnTo>
                  <a:lnTo>
                    <a:pt x="1216" y="20"/>
                  </a:lnTo>
                  <a:lnTo>
                    <a:pt x="1216" y="22"/>
                  </a:lnTo>
                  <a:lnTo>
                    <a:pt x="1212" y="22"/>
                  </a:lnTo>
                  <a:lnTo>
                    <a:pt x="1200" y="16"/>
                  </a:lnTo>
                  <a:lnTo>
                    <a:pt x="1188" y="12"/>
                  </a:lnTo>
                  <a:lnTo>
                    <a:pt x="1182" y="12"/>
                  </a:lnTo>
                  <a:lnTo>
                    <a:pt x="1184" y="14"/>
                  </a:lnTo>
                  <a:lnTo>
                    <a:pt x="1188" y="18"/>
                  </a:lnTo>
                  <a:lnTo>
                    <a:pt x="1192" y="24"/>
                  </a:lnTo>
                  <a:lnTo>
                    <a:pt x="1194" y="28"/>
                  </a:lnTo>
                  <a:lnTo>
                    <a:pt x="1194" y="30"/>
                  </a:lnTo>
                  <a:lnTo>
                    <a:pt x="1190" y="30"/>
                  </a:lnTo>
                  <a:lnTo>
                    <a:pt x="1180" y="28"/>
                  </a:lnTo>
                  <a:lnTo>
                    <a:pt x="1166" y="26"/>
                  </a:lnTo>
                  <a:lnTo>
                    <a:pt x="1154" y="24"/>
                  </a:lnTo>
                  <a:lnTo>
                    <a:pt x="1148" y="24"/>
                  </a:lnTo>
                  <a:lnTo>
                    <a:pt x="1142" y="26"/>
                  </a:lnTo>
                  <a:lnTo>
                    <a:pt x="1142" y="30"/>
                  </a:lnTo>
                  <a:lnTo>
                    <a:pt x="1144" y="34"/>
                  </a:lnTo>
                  <a:lnTo>
                    <a:pt x="1148" y="38"/>
                  </a:lnTo>
                  <a:lnTo>
                    <a:pt x="1156" y="42"/>
                  </a:lnTo>
                  <a:close/>
                  <a:moveTo>
                    <a:pt x="388" y="1446"/>
                  </a:moveTo>
                  <a:lnTo>
                    <a:pt x="388" y="1446"/>
                  </a:lnTo>
                  <a:lnTo>
                    <a:pt x="384" y="1448"/>
                  </a:lnTo>
                  <a:lnTo>
                    <a:pt x="384" y="1450"/>
                  </a:lnTo>
                  <a:lnTo>
                    <a:pt x="384" y="1452"/>
                  </a:lnTo>
                  <a:lnTo>
                    <a:pt x="386" y="1456"/>
                  </a:lnTo>
                  <a:lnTo>
                    <a:pt x="388" y="1454"/>
                  </a:lnTo>
                  <a:lnTo>
                    <a:pt x="390" y="1452"/>
                  </a:lnTo>
                  <a:lnTo>
                    <a:pt x="390" y="1448"/>
                  </a:lnTo>
                  <a:lnTo>
                    <a:pt x="388" y="1446"/>
                  </a:lnTo>
                  <a:close/>
                  <a:moveTo>
                    <a:pt x="164" y="1358"/>
                  </a:moveTo>
                  <a:lnTo>
                    <a:pt x="164" y="1358"/>
                  </a:lnTo>
                  <a:lnTo>
                    <a:pt x="166" y="1356"/>
                  </a:lnTo>
                  <a:lnTo>
                    <a:pt x="168" y="1358"/>
                  </a:lnTo>
                  <a:lnTo>
                    <a:pt x="170" y="1356"/>
                  </a:lnTo>
                  <a:lnTo>
                    <a:pt x="172" y="1354"/>
                  </a:lnTo>
                  <a:lnTo>
                    <a:pt x="170" y="1354"/>
                  </a:lnTo>
                  <a:lnTo>
                    <a:pt x="168" y="1350"/>
                  </a:lnTo>
                  <a:lnTo>
                    <a:pt x="164" y="1346"/>
                  </a:lnTo>
                  <a:lnTo>
                    <a:pt x="164" y="1348"/>
                  </a:lnTo>
                  <a:lnTo>
                    <a:pt x="164" y="1350"/>
                  </a:lnTo>
                  <a:lnTo>
                    <a:pt x="164" y="1352"/>
                  </a:lnTo>
                  <a:lnTo>
                    <a:pt x="164" y="1354"/>
                  </a:lnTo>
                  <a:lnTo>
                    <a:pt x="164" y="1358"/>
                  </a:lnTo>
                  <a:close/>
                  <a:moveTo>
                    <a:pt x="148" y="1644"/>
                  </a:moveTo>
                  <a:lnTo>
                    <a:pt x="148" y="1644"/>
                  </a:lnTo>
                  <a:lnTo>
                    <a:pt x="150" y="1642"/>
                  </a:lnTo>
                  <a:lnTo>
                    <a:pt x="150" y="1640"/>
                  </a:lnTo>
                  <a:lnTo>
                    <a:pt x="152" y="1636"/>
                  </a:lnTo>
                  <a:lnTo>
                    <a:pt x="156" y="1634"/>
                  </a:lnTo>
                  <a:lnTo>
                    <a:pt x="160" y="1634"/>
                  </a:lnTo>
                  <a:lnTo>
                    <a:pt x="162" y="1634"/>
                  </a:lnTo>
                  <a:lnTo>
                    <a:pt x="162" y="1632"/>
                  </a:lnTo>
                  <a:lnTo>
                    <a:pt x="162" y="1630"/>
                  </a:lnTo>
                  <a:lnTo>
                    <a:pt x="164" y="1630"/>
                  </a:lnTo>
                  <a:lnTo>
                    <a:pt x="166" y="1628"/>
                  </a:lnTo>
                  <a:lnTo>
                    <a:pt x="166" y="1626"/>
                  </a:lnTo>
                  <a:lnTo>
                    <a:pt x="164" y="1624"/>
                  </a:lnTo>
                  <a:lnTo>
                    <a:pt x="166" y="1622"/>
                  </a:lnTo>
                  <a:lnTo>
                    <a:pt x="164" y="1620"/>
                  </a:lnTo>
                  <a:lnTo>
                    <a:pt x="166" y="1618"/>
                  </a:lnTo>
                  <a:lnTo>
                    <a:pt x="168" y="1618"/>
                  </a:lnTo>
                  <a:lnTo>
                    <a:pt x="170" y="1618"/>
                  </a:lnTo>
                  <a:lnTo>
                    <a:pt x="174" y="1616"/>
                  </a:lnTo>
                  <a:lnTo>
                    <a:pt x="176" y="1614"/>
                  </a:lnTo>
                  <a:lnTo>
                    <a:pt x="172" y="1614"/>
                  </a:lnTo>
                  <a:lnTo>
                    <a:pt x="168" y="1614"/>
                  </a:lnTo>
                  <a:lnTo>
                    <a:pt x="172" y="1610"/>
                  </a:lnTo>
                  <a:lnTo>
                    <a:pt x="174" y="1606"/>
                  </a:lnTo>
                  <a:lnTo>
                    <a:pt x="174" y="1600"/>
                  </a:lnTo>
                  <a:lnTo>
                    <a:pt x="172" y="1598"/>
                  </a:lnTo>
                  <a:lnTo>
                    <a:pt x="170" y="1598"/>
                  </a:lnTo>
                  <a:lnTo>
                    <a:pt x="164" y="1602"/>
                  </a:lnTo>
                  <a:lnTo>
                    <a:pt x="158" y="1606"/>
                  </a:lnTo>
                  <a:lnTo>
                    <a:pt x="150" y="1610"/>
                  </a:lnTo>
                  <a:lnTo>
                    <a:pt x="148" y="1612"/>
                  </a:lnTo>
                  <a:lnTo>
                    <a:pt x="148" y="1614"/>
                  </a:lnTo>
                  <a:lnTo>
                    <a:pt x="148" y="1616"/>
                  </a:lnTo>
                  <a:lnTo>
                    <a:pt x="148" y="1620"/>
                  </a:lnTo>
                  <a:lnTo>
                    <a:pt x="146" y="1620"/>
                  </a:lnTo>
                  <a:lnTo>
                    <a:pt x="144" y="1618"/>
                  </a:lnTo>
                  <a:lnTo>
                    <a:pt x="142" y="1616"/>
                  </a:lnTo>
                  <a:lnTo>
                    <a:pt x="140" y="1616"/>
                  </a:lnTo>
                  <a:lnTo>
                    <a:pt x="136" y="1622"/>
                  </a:lnTo>
                  <a:lnTo>
                    <a:pt x="136" y="1624"/>
                  </a:lnTo>
                  <a:lnTo>
                    <a:pt x="138" y="1628"/>
                  </a:lnTo>
                  <a:lnTo>
                    <a:pt x="140" y="1630"/>
                  </a:lnTo>
                  <a:lnTo>
                    <a:pt x="138" y="1632"/>
                  </a:lnTo>
                  <a:lnTo>
                    <a:pt x="144" y="1636"/>
                  </a:lnTo>
                  <a:lnTo>
                    <a:pt x="146" y="1636"/>
                  </a:lnTo>
                  <a:lnTo>
                    <a:pt x="142" y="1638"/>
                  </a:lnTo>
                  <a:lnTo>
                    <a:pt x="138" y="1642"/>
                  </a:lnTo>
                  <a:lnTo>
                    <a:pt x="136" y="1644"/>
                  </a:lnTo>
                  <a:lnTo>
                    <a:pt x="138" y="1646"/>
                  </a:lnTo>
                  <a:lnTo>
                    <a:pt x="140" y="1648"/>
                  </a:lnTo>
                  <a:lnTo>
                    <a:pt x="142" y="1648"/>
                  </a:lnTo>
                  <a:lnTo>
                    <a:pt x="144" y="1644"/>
                  </a:lnTo>
                  <a:lnTo>
                    <a:pt x="148" y="1644"/>
                  </a:lnTo>
                  <a:close/>
                  <a:moveTo>
                    <a:pt x="84" y="2020"/>
                  </a:moveTo>
                  <a:lnTo>
                    <a:pt x="84" y="2020"/>
                  </a:lnTo>
                  <a:lnTo>
                    <a:pt x="88" y="2008"/>
                  </a:lnTo>
                  <a:lnTo>
                    <a:pt x="90" y="2008"/>
                  </a:lnTo>
                  <a:lnTo>
                    <a:pt x="92" y="2012"/>
                  </a:lnTo>
                  <a:lnTo>
                    <a:pt x="94" y="2014"/>
                  </a:lnTo>
                  <a:lnTo>
                    <a:pt x="96" y="2014"/>
                  </a:lnTo>
                  <a:lnTo>
                    <a:pt x="106" y="2008"/>
                  </a:lnTo>
                  <a:lnTo>
                    <a:pt x="120" y="2000"/>
                  </a:lnTo>
                  <a:lnTo>
                    <a:pt x="126" y="1996"/>
                  </a:lnTo>
                  <a:lnTo>
                    <a:pt x="132" y="1994"/>
                  </a:lnTo>
                  <a:lnTo>
                    <a:pt x="142" y="1992"/>
                  </a:lnTo>
                  <a:lnTo>
                    <a:pt x="148" y="1990"/>
                  </a:lnTo>
                  <a:lnTo>
                    <a:pt x="152" y="1990"/>
                  </a:lnTo>
                  <a:lnTo>
                    <a:pt x="160" y="1990"/>
                  </a:lnTo>
                  <a:lnTo>
                    <a:pt x="166" y="1992"/>
                  </a:lnTo>
                  <a:lnTo>
                    <a:pt x="168" y="1988"/>
                  </a:lnTo>
                  <a:lnTo>
                    <a:pt x="168" y="1980"/>
                  </a:lnTo>
                  <a:lnTo>
                    <a:pt x="168" y="1974"/>
                  </a:lnTo>
                  <a:lnTo>
                    <a:pt x="172" y="1966"/>
                  </a:lnTo>
                  <a:lnTo>
                    <a:pt x="176" y="1958"/>
                  </a:lnTo>
                  <a:lnTo>
                    <a:pt x="178" y="1950"/>
                  </a:lnTo>
                  <a:lnTo>
                    <a:pt x="180" y="1934"/>
                  </a:lnTo>
                  <a:lnTo>
                    <a:pt x="178" y="1920"/>
                  </a:lnTo>
                  <a:lnTo>
                    <a:pt x="174" y="1906"/>
                  </a:lnTo>
                  <a:lnTo>
                    <a:pt x="168" y="1888"/>
                  </a:lnTo>
                  <a:lnTo>
                    <a:pt x="166" y="1884"/>
                  </a:lnTo>
                  <a:lnTo>
                    <a:pt x="170" y="1884"/>
                  </a:lnTo>
                  <a:lnTo>
                    <a:pt x="172" y="1882"/>
                  </a:lnTo>
                  <a:lnTo>
                    <a:pt x="172" y="1880"/>
                  </a:lnTo>
                  <a:lnTo>
                    <a:pt x="168" y="1874"/>
                  </a:lnTo>
                  <a:lnTo>
                    <a:pt x="172" y="1874"/>
                  </a:lnTo>
                  <a:lnTo>
                    <a:pt x="176" y="1876"/>
                  </a:lnTo>
                  <a:lnTo>
                    <a:pt x="178" y="1878"/>
                  </a:lnTo>
                  <a:lnTo>
                    <a:pt x="180" y="1878"/>
                  </a:lnTo>
                  <a:lnTo>
                    <a:pt x="186" y="1870"/>
                  </a:lnTo>
                  <a:lnTo>
                    <a:pt x="190" y="1866"/>
                  </a:lnTo>
                  <a:lnTo>
                    <a:pt x="194" y="1866"/>
                  </a:lnTo>
                  <a:lnTo>
                    <a:pt x="196" y="1864"/>
                  </a:lnTo>
                  <a:lnTo>
                    <a:pt x="198" y="1862"/>
                  </a:lnTo>
                  <a:lnTo>
                    <a:pt x="196" y="1858"/>
                  </a:lnTo>
                  <a:lnTo>
                    <a:pt x="194" y="1858"/>
                  </a:lnTo>
                  <a:lnTo>
                    <a:pt x="192" y="1858"/>
                  </a:lnTo>
                  <a:lnTo>
                    <a:pt x="194" y="1854"/>
                  </a:lnTo>
                  <a:lnTo>
                    <a:pt x="196" y="1850"/>
                  </a:lnTo>
                  <a:lnTo>
                    <a:pt x="196" y="1848"/>
                  </a:lnTo>
                  <a:lnTo>
                    <a:pt x="196" y="1850"/>
                  </a:lnTo>
                  <a:lnTo>
                    <a:pt x="200" y="1858"/>
                  </a:lnTo>
                  <a:lnTo>
                    <a:pt x="202" y="1858"/>
                  </a:lnTo>
                  <a:lnTo>
                    <a:pt x="204" y="1856"/>
                  </a:lnTo>
                  <a:lnTo>
                    <a:pt x="204" y="1850"/>
                  </a:lnTo>
                  <a:lnTo>
                    <a:pt x="202" y="1844"/>
                  </a:lnTo>
                  <a:lnTo>
                    <a:pt x="198" y="1840"/>
                  </a:lnTo>
                  <a:lnTo>
                    <a:pt x="196" y="1838"/>
                  </a:lnTo>
                  <a:lnTo>
                    <a:pt x="194" y="1838"/>
                  </a:lnTo>
                  <a:lnTo>
                    <a:pt x="186" y="1840"/>
                  </a:lnTo>
                  <a:lnTo>
                    <a:pt x="184" y="1840"/>
                  </a:lnTo>
                  <a:lnTo>
                    <a:pt x="186" y="1838"/>
                  </a:lnTo>
                  <a:lnTo>
                    <a:pt x="192" y="1834"/>
                  </a:lnTo>
                  <a:lnTo>
                    <a:pt x="194" y="1832"/>
                  </a:lnTo>
                  <a:lnTo>
                    <a:pt x="192" y="1828"/>
                  </a:lnTo>
                  <a:lnTo>
                    <a:pt x="190" y="1828"/>
                  </a:lnTo>
                  <a:lnTo>
                    <a:pt x="186" y="1826"/>
                  </a:lnTo>
                  <a:lnTo>
                    <a:pt x="182" y="1820"/>
                  </a:lnTo>
                  <a:lnTo>
                    <a:pt x="176" y="1808"/>
                  </a:lnTo>
                  <a:lnTo>
                    <a:pt x="174" y="1806"/>
                  </a:lnTo>
                  <a:lnTo>
                    <a:pt x="172" y="1804"/>
                  </a:lnTo>
                  <a:lnTo>
                    <a:pt x="164" y="1806"/>
                  </a:lnTo>
                  <a:lnTo>
                    <a:pt x="156" y="1808"/>
                  </a:lnTo>
                  <a:lnTo>
                    <a:pt x="148" y="1808"/>
                  </a:lnTo>
                  <a:lnTo>
                    <a:pt x="142" y="1810"/>
                  </a:lnTo>
                  <a:lnTo>
                    <a:pt x="140" y="1812"/>
                  </a:lnTo>
                  <a:lnTo>
                    <a:pt x="138" y="1814"/>
                  </a:lnTo>
                  <a:lnTo>
                    <a:pt x="130" y="1816"/>
                  </a:lnTo>
                  <a:lnTo>
                    <a:pt x="126" y="1818"/>
                  </a:lnTo>
                  <a:lnTo>
                    <a:pt x="124" y="1822"/>
                  </a:lnTo>
                  <a:lnTo>
                    <a:pt x="122" y="1828"/>
                  </a:lnTo>
                  <a:lnTo>
                    <a:pt x="120" y="1834"/>
                  </a:lnTo>
                  <a:lnTo>
                    <a:pt x="116" y="1836"/>
                  </a:lnTo>
                  <a:lnTo>
                    <a:pt x="112" y="1836"/>
                  </a:lnTo>
                  <a:lnTo>
                    <a:pt x="116" y="1836"/>
                  </a:lnTo>
                  <a:lnTo>
                    <a:pt x="120" y="1832"/>
                  </a:lnTo>
                  <a:lnTo>
                    <a:pt x="122" y="1826"/>
                  </a:lnTo>
                  <a:lnTo>
                    <a:pt x="124" y="1818"/>
                  </a:lnTo>
                  <a:lnTo>
                    <a:pt x="128" y="1816"/>
                  </a:lnTo>
                  <a:lnTo>
                    <a:pt x="132" y="1814"/>
                  </a:lnTo>
                  <a:lnTo>
                    <a:pt x="132" y="1810"/>
                  </a:lnTo>
                  <a:lnTo>
                    <a:pt x="134" y="1808"/>
                  </a:lnTo>
                  <a:lnTo>
                    <a:pt x="138" y="1806"/>
                  </a:lnTo>
                  <a:lnTo>
                    <a:pt x="140" y="1804"/>
                  </a:lnTo>
                  <a:lnTo>
                    <a:pt x="134" y="1798"/>
                  </a:lnTo>
                  <a:lnTo>
                    <a:pt x="130" y="1796"/>
                  </a:lnTo>
                  <a:lnTo>
                    <a:pt x="126" y="1796"/>
                  </a:lnTo>
                  <a:lnTo>
                    <a:pt x="124" y="1798"/>
                  </a:lnTo>
                  <a:lnTo>
                    <a:pt x="122" y="1800"/>
                  </a:lnTo>
                  <a:lnTo>
                    <a:pt x="118" y="1804"/>
                  </a:lnTo>
                  <a:lnTo>
                    <a:pt x="116" y="1804"/>
                  </a:lnTo>
                  <a:lnTo>
                    <a:pt x="112" y="1804"/>
                  </a:lnTo>
                  <a:lnTo>
                    <a:pt x="104" y="1806"/>
                  </a:lnTo>
                  <a:lnTo>
                    <a:pt x="94" y="1810"/>
                  </a:lnTo>
                  <a:lnTo>
                    <a:pt x="86" y="1816"/>
                  </a:lnTo>
                  <a:lnTo>
                    <a:pt x="84" y="1820"/>
                  </a:lnTo>
                  <a:lnTo>
                    <a:pt x="84" y="1824"/>
                  </a:lnTo>
                  <a:lnTo>
                    <a:pt x="84" y="1828"/>
                  </a:lnTo>
                  <a:lnTo>
                    <a:pt x="82" y="1830"/>
                  </a:lnTo>
                  <a:lnTo>
                    <a:pt x="76" y="1834"/>
                  </a:lnTo>
                  <a:lnTo>
                    <a:pt x="70" y="1836"/>
                  </a:lnTo>
                  <a:lnTo>
                    <a:pt x="68" y="1838"/>
                  </a:lnTo>
                  <a:lnTo>
                    <a:pt x="68" y="1840"/>
                  </a:lnTo>
                  <a:lnTo>
                    <a:pt x="70" y="1842"/>
                  </a:lnTo>
                  <a:lnTo>
                    <a:pt x="76" y="1842"/>
                  </a:lnTo>
                  <a:lnTo>
                    <a:pt x="86" y="1842"/>
                  </a:lnTo>
                  <a:lnTo>
                    <a:pt x="94" y="1844"/>
                  </a:lnTo>
                  <a:lnTo>
                    <a:pt x="94" y="1846"/>
                  </a:lnTo>
                  <a:lnTo>
                    <a:pt x="90" y="1848"/>
                  </a:lnTo>
                  <a:lnTo>
                    <a:pt x="82" y="1856"/>
                  </a:lnTo>
                  <a:lnTo>
                    <a:pt x="78" y="1862"/>
                  </a:lnTo>
                  <a:lnTo>
                    <a:pt x="74" y="1866"/>
                  </a:lnTo>
                  <a:lnTo>
                    <a:pt x="70" y="1866"/>
                  </a:lnTo>
                  <a:lnTo>
                    <a:pt x="62" y="1864"/>
                  </a:lnTo>
                  <a:lnTo>
                    <a:pt x="58" y="1866"/>
                  </a:lnTo>
                  <a:lnTo>
                    <a:pt x="54" y="1866"/>
                  </a:lnTo>
                  <a:lnTo>
                    <a:pt x="48" y="1864"/>
                  </a:lnTo>
                  <a:lnTo>
                    <a:pt x="40" y="1860"/>
                  </a:lnTo>
                  <a:lnTo>
                    <a:pt x="30" y="1860"/>
                  </a:lnTo>
                  <a:lnTo>
                    <a:pt x="22" y="1862"/>
                  </a:lnTo>
                  <a:lnTo>
                    <a:pt x="14" y="1868"/>
                  </a:lnTo>
                  <a:lnTo>
                    <a:pt x="14" y="1870"/>
                  </a:lnTo>
                  <a:lnTo>
                    <a:pt x="18" y="1870"/>
                  </a:lnTo>
                  <a:lnTo>
                    <a:pt x="20" y="1870"/>
                  </a:lnTo>
                  <a:lnTo>
                    <a:pt x="20" y="1872"/>
                  </a:lnTo>
                  <a:lnTo>
                    <a:pt x="20" y="1874"/>
                  </a:lnTo>
                  <a:lnTo>
                    <a:pt x="18" y="1878"/>
                  </a:lnTo>
                  <a:lnTo>
                    <a:pt x="16" y="1884"/>
                  </a:lnTo>
                  <a:lnTo>
                    <a:pt x="18" y="1886"/>
                  </a:lnTo>
                  <a:lnTo>
                    <a:pt x="22" y="1888"/>
                  </a:lnTo>
                  <a:lnTo>
                    <a:pt x="28" y="1888"/>
                  </a:lnTo>
                  <a:lnTo>
                    <a:pt x="38" y="1888"/>
                  </a:lnTo>
                  <a:lnTo>
                    <a:pt x="38" y="1890"/>
                  </a:lnTo>
                  <a:lnTo>
                    <a:pt x="34" y="1892"/>
                  </a:lnTo>
                  <a:lnTo>
                    <a:pt x="24" y="1898"/>
                  </a:lnTo>
                  <a:lnTo>
                    <a:pt x="22" y="1900"/>
                  </a:lnTo>
                  <a:lnTo>
                    <a:pt x="20" y="1904"/>
                  </a:lnTo>
                  <a:lnTo>
                    <a:pt x="16" y="1908"/>
                  </a:lnTo>
                  <a:lnTo>
                    <a:pt x="14" y="1912"/>
                  </a:lnTo>
                  <a:lnTo>
                    <a:pt x="16" y="1914"/>
                  </a:lnTo>
                  <a:lnTo>
                    <a:pt x="24" y="1922"/>
                  </a:lnTo>
                  <a:lnTo>
                    <a:pt x="36" y="1928"/>
                  </a:lnTo>
                  <a:lnTo>
                    <a:pt x="40" y="1928"/>
                  </a:lnTo>
                  <a:lnTo>
                    <a:pt x="44" y="1928"/>
                  </a:lnTo>
                  <a:lnTo>
                    <a:pt x="52" y="1926"/>
                  </a:lnTo>
                  <a:lnTo>
                    <a:pt x="58" y="1928"/>
                  </a:lnTo>
                  <a:lnTo>
                    <a:pt x="60" y="1928"/>
                  </a:lnTo>
                  <a:lnTo>
                    <a:pt x="60" y="1930"/>
                  </a:lnTo>
                  <a:lnTo>
                    <a:pt x="50" y="1934"/>
                  </a:lnTo>
                  <a:lnTo>
                    <a:pt x="44" y="1936"/>
                  </a:lnTo>
                  <a:lnTo>
                    <a:pt x="42" y="1938"/>
                  </a:lnTo>
                  <a:lnTo>
                    <a:pt x="42" y="1940"/>
                  </a:lnTo>
                  <a:lnTo>
                    <a:pt x="42" y="1944"/>
                  </a:lnTo>
                  <a:lnTo>
                    <a:pt x="42" y="1948"/>
                  </a:lnTo>
                  <a:lnTo>
                    <a:pt x="40" y="1952"/>
                  </a:lnTo>
                  <a:lnTo>
                    <a:pt x="36" y="1956"/>
                  </a:lnTo>
                  <a:lnTo>
                    <a:pt x="28" y="1962"/>
                  </a:lnTo>
                  <a:lnTo>
                    <a:pt x="22" y="1966"/>
                  </a:lnTo>
                  <a:lnTo>
                    <a:pt x="22" y="1968"/>
                  </a:lnTo>
                  <a:lnTo>
                    <a:pt x="26" y="1968"/>
                  </a:lnTo>
                  <a:lnTo>
                    <a:pt x="30" y="1968"/>
                  </a:lnTo>
                  <a:lnTo>
                    <a:pt x="58" y="1960"/>
                  </a:lnTo>
                  <a:lnTo>
                    <a:pt x="64" y="1960"/>
                  </a:lnTo>
                  <a:lnTo>
                    <a:pt x="66" y="1960"/>
                  </a:lnTo>
                  <a:lnTo>
                    <a:pt x="66" y="1962"/>
                  </a:lnTo>
                  <a:lnTo>
                    <a:pt x="66" y="1964"/>
                  </a:lnTo>
                  <a:lnTo>
                    <a:pt x="62" y="1966"/>
                  </a:lnTo>
                  <a:lnTo>
                    <a:pt x="50" y="1968"/>
                  </a:lnTo>
                  <a:lnTo>
                    <a:pt x="36" y="1970"/>
                  </a:lnTo>
                  <a:lnTo>
                    <a:pt x="28" y="1974"/>
                  </a:lnTo>
                  <a:lnTo>
                    <a:pt x="24" y="1978"/>
                  </a:lnTo>
                  <a:lnTo>
                    <a:pt x="26" y="1982"/>
                  </a:lnTo>
                  <a:lnTo>
                    <a:pt x="28" y="1984"/>
                  </a:lnTo>
                  <a:lnTo>
                    <a:pt x="26" y="1986"/>
                  </a:lnTo>
                  <a:lnTo>
                    <a:pt x="22" y="1984"/>
                  </a:lnTo>
                  <a:lnTo>
                    <a:pt x="14" y="1984"/>
                  </a:lnTo>
                  <a:lnTo>
                    <a:pt x="10" y="1986"/>
                  </a:lnTo>
                  <a:lnTo>
                    <a:pt x="4" y="1988"/>
                  </a:lnTo>
                  <a:lnTo>
                    <a:pt x="0" y="1994"/>
                  </a:lnTo>
                  <a:lnTo>
                    <a:pt x="0" y="1996"/>
                  </a:lnTo>
                  <a:lnTo>
                    <a:pt x="2" y="1996"/>
                  </a:lnTo>
                  <a:lnTo>
                    <a:pt x="6" y="1996"/>
                  </a:lnTo>
                  <a:lnTo>
                    <a:pt x="10" y="1996"/>
                  </a:lnTo>
                  <a:lnTo>
                    <a:pt x="14" y="1996"/>
                  </a:lnTo>
                  <a:lnTo>
                    <a:pt x="14" y="2000"/>
                  </a:lnTo>
                  <a:lnTo>
                    <a:pt x="10" y="2004"/>
                  </a:lnTo>
                  <a:lnTo>
                    <a:pt x="6" y="2010"/>
                  </a:lnTo>
                  <a:lnTo>
                    <a:pt x="4" y="2012"/>
                  </a:lnTo>
                  <a:lnTo>
                    <a:pt x="8" y="2014"/>
                  </a:lnTo>
                  <a:lnTo>
                    <a:pt x="12" y="2016"/>
                  </a:lnTo>
                  <a:lnTo>
                    <a:pt x="18" y="2018"/>
                  </a:lnTo>
                  <a:lnTo>
                    <a:pt x="20" y="2020"/>
                  </a:lnTo>
                  <a:lnTo>
                    <a:pt x="16" y="2024"/>
                  </a:lnTo>
                  <a:lnTo>
                    <a:pt x="14" y="2026"/>
                  </a:lnTo>
                  <a:lnTo>
                    <a:pt x="16" y="2026"/>
                  </a:lnTo>
                  <a:lnTo>
                    <a:pt x="28" y="2022"/>
                  </a:lnTo>
                  <a:lnTo>
                    <a:pt x="36" y="2020"/>
                  </a:lnTo>
                  <a:lnTo>
                    <a:pt x="36" y="2022"/>
                  </a:lnTo>
                  <a:lnTo>
                    <a:pt x="30" y="2026"/>
                  </a:lnTo>
                  <a:lnTo>
                    <a:pt x="28" y="2030"/>
                  </a:lnTo>
                  <a:lnTo>
                    <a:pt x="28" y="2032"/>
                  </a:lnTo>
                  <a:lnTo>
                    <a:pt x="30" y="2034"/>
                  </a:lnTo>
                  <a:lnTo>
                    <a:pt x="38" y="2034"/>
                  </a:lnTo>
                  <a:lnTo>
                    <a:pt x="48" y="2032"/>
                  </a:lnTo>
                  <a:lnTo>
                    <a:pt x="70" y="2028"/>
                  </a:lnTo>
                  <a:lnTo>
                    <a:pt x="78" y="2024"/>
                  </a:lnTo>
                  <a:lnTo>
                    <a:pt x="84" y="2020"/>
                  </a:lnTo>
                  <a:close/>
                  <a:moveTo>
                    <a:pt x="154" y="1672"/>
                  </a:moveTo>
                  <a:lnTo>
                    <a:pt x="154" y="1672"/>
                  </a:lnTo>
                  <a:lnTo>
                    <a:pt x="156" y="1672"/>
                  </a:lnTo>
                  <a:lnTo>
                    <a:pt x="158" y="1670"/>
                  </a:lnTo>
                  <a:lnTo>
                    <a:pt x="162" y="1672"/>
                  </a:lnTo>
                  <a:lnTo>
                    <a:pt x="162" y="1674"/>
                  </a:lnTo>
                  <a:lnTo>
                    <a:pt x="162" y="1676"/>
                  </a:lnTo>
                  <a:lnTo>
                    <a:pt x="162" y="1678"/>
                  </a:lnTo>
                  <a:lnTo>
                    <a:pt x="164" y="1682"/>
                  </a:lnTo>
                  <a:lnTo>
                    <a:pt x="168" y="1684"/>
                  </a:lnTo>
                  <a:lnTo>
                    <a:pt x="170" y="1684"/>
                  </a:lnTo>
                  <a:lnTo>
                    <a:pt x="174" y="1682"/>
                  </a:lnTo>
                  <a:lnTo>
                    <a:pt x="180" y="1682"/>
                  </a:lnTo>
                  <a:lnTo>
                    <a:pt x="182" y="1684"/>
                  </a:lnTo>
                  <a:lnTo>
                    <a:pt x="182" y="1688"/>
                  </a:lnTo>
                  <a:lnTo>
                    <a:pt x="180" y="1692"/>
                  </a:lnTo>
                  <a:lnTo>
                    <a:pt x="180" y="1694"/>
                  </a:lnTo>
                  <a:lnTo>
                    <a:pt x="182" y="1692"/>
                  </a:lnTo>
                  <a:lnTo>
                    <a:pt x="186" y="1688"/>
                  </a:lnTo>
                  <a:lnTo>
                    <a:pt x="192" y="1678"/>
                  </a:lnTo>
                  <a:lnTo>
                    <a:pt x="192" y="1676"/>
                  </a:lnTo>
                  <a:lnTo>
                    <a:pt x="190" y="1676"/>
                  </a:lnTo>
                  <a:lnTo>
                    <a:pt x="184" y="1678"/>
                  </a:lnTo>
                  <a:lnTo>
                    <a:pt x="180" y="1676"/>
                  </a:lnTo>
                  <a:lnTo>
                    <a:pt x="178" y="1674"/>
                  </a:lnTo>
                  <a:lnTo>
                    <a:pt x="176" y="1672"/>
                  </a:lnTo>
                  <a:lnTo>
                    <a:pt x="174" y="1662"/>
                  </a:lnTo>
                  <a:lnTo>
                    <a:pt x="172" y="1654"/>
                  </a:lnTo>
                  <a:lnTo>
                    <a:pt x="170" y="1652"/>
                  </a:lnTo>
                  <a:lnTo>
                    <a:pt x="168" y="1650"/>
                  </a:lnTo>
                  <a:lnTo>
                    <a:pt x="166" y="1650"/>
                  </a:lnTo>
                  <a:lnTo>
                    <a:pt x="166" y="1652"/>
                  </a:lnTo>
                  <a:lnTo>
                    <a:pt x="166" y="1656"/>
                  </a:lnTo>
                  <a:lnTo>
                    <a:pt x="166" y="1662"/>
                  </a:lnTo>
                  <a:lnTo>
                    <a:pt x="166" y="1664"/>
                  </a:lnTo>
                  <a:lnTo>
                    <a:pt x="162" y="1664"/>
                  </a:lnTo>
                  <a:lnTo>
                    <a:pt x="160" y="1660"/>
                  </a:lnTo>
                  <a:lnTo>
                    <a:pt x="158" y="1658"/>
                  </a:lnTo>
                  <a:lnTo>
                    <a:pt x="154" y="1656"/>
                  </a:lnTo>
                  <a:lnTo>
                    <a:pt x="154" y="1658"/>
                  </a:lnTo>
                  <a:lnTo>
                    <a:pt x="154" y="1660"/>
                  </a:lnTo>
                  <a:lnTo>
                    <a:pt x="156" y="1664"/>
                  </a:lnTo>
                  <a:lnTo>
                    <a:pt x="154" y="1666"/>
                  </a:lnTo>
                  <a:lnTo>
                    <a:pt x="150" y="1666"/>
                  </a:lnTo>
                  <a:lnTo>
                    <a:pt x="150" y="1668"/>
                  </a:lnTo>
                  <a:lnTo>
                    <a:pt x="154" y="1672"/>
                  </a:lnTo>
                  <a:close/>
                  <a:moveTo>
                    <a:pt x="146" y="1346"/>
                  </a:moveTo>
                  <a:lnTo>
                    <a:pt x="146" y="1346"/>
                  </a:lnTo>
                  <a:lnTo>
                    <a:pt x="142" y="1346"/>
                  </a:lnTo>
                  <a:lnTo>
                    <a:pt x="144" y="1352"/>
                  </a:lnTo>
                  <a:lnTo>
                    <a:pt x="148" y="1358"/>
                  </a:lnTo>
                  <a:lnTo>
                    <a:pt x="154" y="1362"/>
                  </a:lnTo>
                  <a:lnTo>
                    <a:pt x="158" y="1364"/>
                  </a:lnTo>
                  <a:lnTo>
                    <a:pt x="160" y="1364"/>
                  </a:lnTo>
                  <a:lnTo>
                    <a:pt x="162" y="1362"/>
                  </a:lnTo>
                  <a:lnTo>
                    <a:pt x="160" y="1360"/>
                  </a:lnTo>
                  <a:lnTo>
                    <a:pt x="158" y="1358"/>
                  </a:lnTo>
                  <a:lnTo>
                    <a:pt x="160" y="1358"/>
                  </a:lnTo>
                  <a:lnTo>
                    <a:pt x="160" y="1356"/>
                  </a:lnTo>
                  <a:lnTo>
                    <a:pt x="158" y="1356"/>
                  </a:lnTo>
                  <a:lnTo>
                    <a:pt x="154" y="1354"/>
                  </a:lnTo>
                  <a:lnTo>
                    <a:pt x="154" y="1352"/>
                  </a:lnTo>
                  <a:lnTo>
                    <a:pt x="154" y="1350"/>
                  </a:lnTo>
                  <a:lnTo>
                    <a:pt x="152" y="1350"/>
                  </a:lnTo>
                  <a:lnTo>
                    <a:pt x="148" y="1350"/>
                  </a:lnTo>
                  <a:lnTo>
                    <a:pt x="148" y="1348"/>
                  </a:lnTo>
                  <a:lnTo>
                    <a:pt x="148" y="1346"/>
                  </a:lnTo>
                  <a:lnTo>
                    <a:pt x="146" y="1346"/>
                  </a:lnTo>
                  <a:close/>
                  <a:moveTo>
                    <a:pt x="166" y="1740"/>
                  </a:moveTo>
                  <a:lnTo>
                    <a:pt x="166" y="1740"/>
                  </a:lnTo>
                  <a:lnTo>
                    <a:pt x="166" y="1742"/>
                  </a:lnTo>
                  <a:lnTo>
                    <a:pt x="168" y="1742"/>
                  </a:lnTo>
                  <a:lnTo>
                    <a:pt x="174" y="1740"/>
                  </a:lnTo>
                  <a:lnTo>
                    <a:pt x="188" y="1736"/>
                  </a:lnTo>
                  <a:lnTo>
                    <a:pt x="194" y="1734"/>
                  </a:lnTo>
                  <a:lnTo>
                    <a:pt x="192" y="1732"/>
                  </a:lnTo>
                  <a:lnTo>
                    <a:pt x="190" y="1728"/>
                  </a:lnTo>
                  <a:lnTo>
                    <a:pt x="184" y="1724"/>
                  </a:lnTo>
                  <a:lnTo>
                    <a:pt x="178" y="1722"/>
                  </a:lnTo>
                  <a:lnTo>
                    <a:pt x="176" y="1718"/>
                  </a:lnTo>
                  <a:lnTo>
                    <a:pt x="174" y="1718"/>
                  </a:lnTo>
                  <a:lnTo>
                    <a:pt x="170" y="1720"/>
                  </a:lnTo>
                  <a:lnTo>
                    <a:pt x="168" y="1722"/>
                  </a:lnTo>
                  <a:lnTo>
                    <a:pt x="166" y="1724"/>
                  </a:lnTo>
                  <a:lnTo>
                    <a:pt x="174" y="1728"/>
                  </a:lnTo>
                  <a:lnTo>
                    <a:pt x="176" y="1730"/>
                  </a:lnTo>
                  <a:lnTo>
                    <a:pt x="174" y="1730"/>
                  </a:lnTo>
                  <a:lnTo>
                    <a:pt x="172" y="1732"/>
                  </a:lnTo>
                  <a:lnTo>
                    <a:pt x="172" y="1734"/>
                  </a:lnTo>
                  <a:lnTo>
                    <a:pt x="172" y="1736"/>
                  </a:lnTo>
                  <a:lnTo>
                    <a:pt x="170" y="1736"/>
                  </a:lnTo>
                  <a:lnTo>
                    <a:pt x="168" y="1738"/>
                  </a:lnTo>
                  <a:lnTo>
                    <a:pt x="166" y="1740"/>
                  </a:lnTo>
                  <a:close/>
                  <a:moveTo>
                    <a:pt x="362" y="2084"/>
                  </a:moveTo>
                  <a:lnTo>
                    <a:pt x="362" y="2084"/>
                  </a:lnTo>
                  <a:lnTo>
                    <a:pt x="370" y="2088"/>
                  </a:lnTo>
                  <a:lnTo>
                    <a:pt x="376" y="2088"/>
                  </a:lnTo>
                  <a:lnTo>
                    <a:pt x="380" y="2086"/>
                  </a:lnTo>
                  <a:lnTo>
                    <a:pt x="378" y="2082"/>
                  </a:lnTo>
                  <a:lnTo>
                    <a:pt x="376" y="2080"/>
                  </a:lnTo>
                  <a:lnTo>
                    <a:pt x="372" y="2078"/>
                  </a:lnTo>
                  <a:lnTo>
                    <a:pt x="366" y="2080"/>
                  </a:lnTo>
                  <a:lnTo>
                    <a:pt x="362" y="2084"/>
                  </a:lnTo>
                  <a:close/>
                  <a:moveTo>
                    <a:pt x="174" y="1354"/>
                  </a:moveTo>
                  <a:lnTo>
                    <a:pt x="174" y="1354"/>
                  </a:lnTo>
                  <a:lnTo>
                    <a:pt x="176" y="1352"/>
                  </a:lnTo>
                  <a:lnTo>
                    <a:pt x="176" y="1350"/>
                  </a:lnTo>
                  <a:lnTo>
                    <a:pt x="174" y="1348"/>
                  </a:lnTo>
                  <a:lnTo>
                    <a:pt x="174" y="1350"/>
                  </a:lnTo>
                  <a:lnTo>
                    <a:pt x="172" y="1350"/>
                  </a:lnTo>
                  <a:lnTo>
                    <a:pt x="172" y="1352"/>
                  </a:lnTo>
                  <a:lnTo>
                    <a:pt x="174" y="1354"/>
                  </a:lnTo>
                  <a:close/>
                  <a:moveTo>
                    <a:pt x="168" y="1784"/>
                  </a:moveTo>
                  <a:lnTo>
                    <a:pt x="168" y="1784"/>
                  </a:lnTo>
                  <a:lnTo>
                    <a:pt x="170" y="1784"/>
                  </a:lnTo>
                  <a:lnTo>
                    <a:pt x="176" y="1780"/>
                  </a:lnTo>
                  <a:lnTo>
                    <a:pt x="178" y="1776"/>
                  </a:lnTo>
                  <a:lnTo>
                    <a:pt x="178" y="1772"/>
                  </a:lnTo>
                  <a:lnTo>
                    <a:pt x="176" y="1768"/>
                  </a:lnTo>
                  <a:lnTo>
                    <a:pt x="176" y="1764"/>
                  </a:lnTo>
                  <a:lnTo>
                    <a:pt x="176" y="1762"/>
                  </a:lnTo>
                  <a:lnTo>
                    <a:pt x="174" y="1762"/>
                  </a:lnTo>
                  <a:lnTo>
                    <a:pt x="172" y="1764"/>
                  </a:lnTo>
                  <a:lnTo>
                    <a:pt x="170" y="1766"/>
                  </a:lnTo>
                  <a:lnTo>
                    <a:pt x="168" y="1766"/>
                  </a:lnTo>
                  <a:lnTo>
                    <a:pt x="166" y="1764"/>
                  </a:lnTo>
                  <a:lnTo>
                    <a:pt x="166" y="1766"/>
                  </a:lnTo>
                  <a:lnTo>
                    <a:pt x="162" y="1768"/>
                  </a:lnTo>
                  <a:lnTo>
                    <a:pt x="158" y="1772"/>
                  </a:lnTo>
                  <a:lnTo>
                    <a:pt x="158" y="1774"/>
                  </a:lnTo>
                  <a:lnTo>
                    <a:pt x="160" y="1776"/>
                  </a:lnTo>
                  <a:lnTo>
                    <a:pt x="162" y="1776"/>
                  </a:lnTo>
                  <a:lnTo>
                    <a:pt x="166" y="1774"/>
                  </a:lnTo>
                  <a:lnTo>
                    <a:pt x="168" y="1774"/>
                  </a:lnTo>
                  <a:lnTo>
                    <a:pt x="170" y="1776"/>
                  </a:lnTo>
                  <a:lnTo>
                    <a:pt x="170" y="1778"/>
                  </a:lnTo>
                  <a:lnTo>
                    <a:pt x="168" y="1780"/>
                  </a:lnTo>
                  <a:lnTo>
                    <a:pt x="166" y="1782"/>
                  </a:lnTo>
                  <a:lnTo>
                    <a:pt x="168" y="1784"/>
                  </a:lnTo>
                  <a:close/>
                  <a:moveTo>
                    <a:pt x="190" y="1748"/>
                  </a:moveTo>
                  <a:lnTo>
                    <a:pt x="190" y="1748"/>
                  </a:lnTo>
                  <a:lnTo>
                    <a:pt x="186" y="1752"/>
                  </a:lnTo>
                  <a:lnTo>
                    <a:pt x="182" y="1756"/>
                  </a:lnTo>
                  <a:lnTo>
                    <a:pt x="178" y="1762"/>
                  </a:lnTo>
                  <a:lnTo>
                    <a:pt x="178" y="1768"/>
                  </a:lnTo>
                  <a:lnTo>
                    <a:pt x="180" y="1768"/>
                  </a:lnTo>
                  <a:lnTo>
                    <a:pt x="182" y="1766"/>
                  </a:lnTo>
                  <a:lnTo>
                    <a:pt x="188" y="1758"/>
                  </a:lnTo>
                  <a:lnTo>
                    <a:pt x="192" y="1750"/>
                  </a:lnTo>
                  <a:lnTo>
                    <a:pt x="192" y="1748"/>
                  </a:lnTo>
                  <a:lnTo>
                    <a:pt x="190" y="1748"/>
                  </a:lnTo>
                  <a:close/>
                  <a:moveTo>
                    <a:pt x="700" y="1324"/>
                  </a:moveTo>
                  <a:lnTo>
                    <a:pt x="700" y="1324"/>
                  </a:lnTo>
                  <a:lnTo>
                    <a:pt x="698" y="1322"/>
                  </a:lnTo>
                  <a:lnTo>
                    <a:pt x="694" y="1322"/>
                  </a:lnTo>
                  <a:lnTo>
                    <a:pt x="690" y="1324"/>
                  </a:lnTo>
                  <a:lnTo>
                    <a:pt x="690" y="1326"/>
                  </a:lnTo>
                  <a:lnTo>
                    <a:pt x="692" y="1326"/>
                  </a:lnTo>
                  <a:lnTo>
                    <a:pt x="696" y="1326"/>
                  </a:lnTo>
                  <a:lnTo>
                    <a:pt x="700" y="1326"/>
                  </a:lnTo>
                  <a:lnTo>
                    <a:pt x="700" y="1324"/>
                  </a:lnTo>
                  <a:close/>
                  <a:moveTo>
                    <a:pt x="494" y="1970"/>
                  </a:moveTo>
                  <a:lnTo>
                    <a:pt x="494" y="1970"/>
                  </a:lnTo>
                  <a:lnTo>
                    <a:pt x="492" y="1962"/>
                  </a:lnTo>
                  <a:lnTo>
                    <a:pt x="486" y="1954"/>
                  </a:lnTo>
                  <a:lnTo>
                    <a:pt x="478" y="1948"/>
                  </a:lnTo>
                  <a:lnTo>
                    <a:pt x="470" y="1944"/>
                  </a:lnTo>
                  <a:lnTo>
                    <a:pt x="460" y="1942"/>
                  </a:lnTo>
                  <a:lnTo>
                    <a:pt x="452" y="1942"/>
                  </a:lnTo>
                  <a:lnTo>
                    <a:pt x="446" y="1944"/>
                  </a:lnTo>
                  <a:lnTo>
                    <a:pt x="442" y="1948"/>
                  </a:lnTo>
                  <a:lnTo>
                    <a:pt x="438" y="1954"/>
                  </a:lnTo>
                  <a:lnTo>
                    <a:pt x="434" y="1954"/>
                  </a:lnTo>
                  <a:lnTo>
                    <a:pt x="432" y="1952"/>
                  </a:lnTo>
                  <a:lnTo>
                    <a:pt x="428" y="1950"/>
                  </a:lnTo>
                  <a:lnTo>
                    <a:pt x="424" y="1948"/>
                  </a:lnTo>
                  <a:lnTo>
                    <a:pt x="424" y="1946"/>
                  </a:lnTo>
                  <a:lnTo>
                    <a:pt x="428" y="1942"/>
                  </a:lnTo>
                  <a:lnTo>
                    <a:pt x="434" y="1938"/>
                  </a:lnTo>
                  <a:lnTo>
                    <a:pt x="436" y="1936"/>
                  </a:lnTo>
                  <a:lnTo>
                    <a:pt x="438" y="1932"/>
                  </a:lnTo>
                  <a:lnTo>
                    <a:pt x="434" y="1924"/>
                  </a:lnTo>
                  <a:lnTo>
                    <a:pt x="428" y="1914"/>
                  </a:lnTo>
                  <a:lnTo>
                    <a:pt x="418" y="1906"/>
                  </a:lnTo>
                  <a:lnTo>
                    <a:pt x="410" y="1902"/>
                  </a:lnTo>
                  <a:lnTo>
                    <a:pt x="408" y="1898"/>
                  </a:lnTo>
                  <a:lnTo>
                    <a:pt x="410" y="1898"/>
                  </a:lnTo>
                  <a:lnTo>
                    <a:pt x="418" y="1902"/>
                  </a:lnTo>
                  <a:lnTo>
                    <a:pt x="424" y="1906"/>
                  </a:lnTo>
                  <a:lnTo>
                    <a:pt x="428" y="1906"/>
                  </a:lnTo>
                  <a:lnTo>
                    <a:pt x="430" y="1904"/>
                  </a:lnTo>
                  <a:lnTo>
                    <a:pt x="428" y="1902"/>
                  </a:lnTo>
                  <a:lnTo>
                    <a:pt x="422" y="1894"/>
                  </a:lnTo>
                  <a:lnTo>
                    <a:pt x="418" y="1888"/>
                  </a:lnTo>
                  <a:lnTo>
                    <a:pt x="416" y="1884"/>
                  </a:lnTo>
                  <a:lnTo>
                    <a:pt x="416" y="1876"/>
                  </a:lnTo>
                  <a:lnTo>
                    <a:pt x="416" y="1872"/>
                  </a:lnTo>
                  <a:lnTo>
                    <a:pt x="416" y="1870"/>
                  </a:lnTo>
                  <a:lnTo>
                    <a:pt x="412" y="1868"/>
                  </a:lnTo>
                  <a:lnTo>
                    <a:pt x="408" y="1866"/>
                  </a:lnTo>
                  <a:lnTo>
                    <a:pt x="406" y="1864"/>
                  </a:lnTo>
                  <a:lnTo>
                    <a:pt x="404" y="1858"/>
                  </a:lnTo>
                  <a:lnTo>
                    <a:pt x="400" y="1852"/>
                  </a:lnTo>
                  <a:lnTo>
                    <a:pt x="396" y="1850"/>
                  </a:lnTo>
                  <a:lnTo>
                    <a:pt x="390" y="1848"/>
                  </a:lnTo>
                  <a:lnTo>
                    <a:pt x="380" y="1844"/>
                  </a:lnTo>
                  <a:lnTo>
                    <a:pt x="376" y="1842"/>
                  </a:lnTo>
                  <a:lnTo>
                    <a:pt x="372" y="1836"/>
                  </a:lnTo>
                  <a:lnTo>
                    <a:pt x="366" y="1822"/>
                  </a:lnTo>
                  <a:lnTo>
                    <a:pt x="360" y="1806"/>
                  </a:lnTo>
                  <a:lnTo>
                    <a:pt x="358" y="1794"/>
                  </a:lnTo>
                  <a:lnTo>
                    <a:pt x="356" y="1786"/>
                  </a:lnTo>
                  <a:lnTo>
                    <a:pt x="354" y="1782"/>
                  </a:lnTo>
                  <a:lnTo>
                    <a:pt x="352" y="1780"/>
                  </a:lnTo>
                  <a:lnTo>
                    <a:pt x="346" y="1774"/>
                  </a:lnTo>
                  <a:lnTo>
                    <a:pt x="342" y="1768"/>
                  </a:lnTo>
                  <a:lnTo>
                    <a:pt x="336" y="1762"/>
                  </a:lnTo>
                  <a:lnTo>
                    <a:pt x="322" y="1756"/>
                  </a:lnTo>
                  <a:lnTo>
                    <a:pt x="314" y="1754"/>
                  </a:lnTo>
                  <a:lnTo>
                    <a:pt x="310" y="1754"/>
                  </a:lnTo>
                  <a:lnTo>
                    <a:pt x="308" y="1754"/>
                  </a:lnTo>
                  <a:lnTo>
                    <a:pt x="306" y="1756"/>
                  </a:lnTo>
                  <a:lnTo>
                    <a:pt x="302" y="1758"/>
                  </a:lnTo>
                  <a:lnTo>
                    <a:pt x="298" y="1760"/>
                  </a:lnTo>
                  <a:lnTo>
                    <a:pt x="290" y="1758"/>
                  </a:lnTo>
                  <a:lnTo>
                    <a:pt x="286" y="1758"/>
                  </a:lnTo>
                  <a:lnTo>
                    <a:pt x="288" y="1756"/>
                  </a:lnTo>
                  <a:lnTo>
                    <a:pt x="294" y="1754"/>
                  </a:lnTo>
                  <a:lnTo>
                    <a:pt x="300" y="1748"/>
                  </a:lnTo>
                  <a:lnTo>
                    <a:pt x="302" y="1746"/>
                  </a:lnTo>
                  <a:lnTo>
                    <a:pt x="304" y="1746"/>
                  </a:lnTo>
                  <a:lnTo>
                    <a:pt x="308" y="1746"/>
                  </a:lnTo>
                  <a:lnTo>
                    <a:pt x="316" y="1742"/>
                  </a:lnTo>
                  <a:lnTo>
                    <a:pt x="318" y="1742"/>
                  </a:lnTo>
                  <a:lnTo>
                    <a:pt x="318" y="1740"/>
                  </a:lnTo>
                  <a:lnTo>
                    <a:pt x="316" y="1738"/>
                  </a:lnTo>
                  <a:lnTo>
                    <a:pt x="310" y="1736"/>
                  </a:lnTo>
                  <a:lnTo>
                    <a:pt x="308" y="1734"/>
                  </a:lnTo>
                  <a:lnTo>
                    <a:pt x="308" y="1730"/>
                  </a:lnTo>
                  <a:lnTo>
                    <a:pt x="304" y="1728"/>
                  </a:lnTo>
                  <a:lnTo>
                    <a:pt x="304" y="1726"/>
                  </a:lnTo>
                  <a:lnTo>
                    <a:pt x="306" y="1728"/>
                  </a:lnTo>
                  <a:lnTo>
                    <a:pt x="312" y="1728"/>
                  </a:lnTo>
                  <a:lnTo>
                    <a:pt x="314" y="1728"/>
                  </a:lnTo>
                  <a:lnTo>
                    <a:pt x="318" y="1726"/>
                  </a:lnTo>
                  <a:lnTo>
                    <a:pt x="326" y="1716"/>
                  </a:lnTo>
                  <a:lnTo>
                    <a:pt x="334" y="1696"/>
                  </a:lnTo>
                  <a:lnTo>
                    <a:pt x="342" y="1678"/>
                  </a:lnTo>
                  <a:lnTo>
                    <a:pt x="348" y="1668"/>
                  </a:lnTo>
                  <a:lnTo>
                    <a:pt x="350" y="1664"/>
                  </a:lnTo>
                  <a:lnTo>
                    <a:pt x="348" y="1656"/>
                  </a:lnTo>
                  <a:lnTo>
                    <a:pt x="346" y="1652"/>
                  </a:lnTo>
                  <a:lnTo>
                    <a:pt x="342" y="1650"/>
                  </a:lnTo>
                  <a:lnTo>
                    <a:pt x="332" y="1650"/>
                  </a:lnTo>
                  <a:lnTo>
                    <a:pt x="320" y="1650"/>
                  </a:lnTo>
                  <a:lnTo>
                    <a:pt x="302" y="1650"/>
                  </a:lnTo>
                  <a:lnTo>
                    <a:pt x="286" y="1650"/>
                  </a:lnTo>
                  <a:lnTo>
                    <a:pt x="274" y="1652"/>
                  </a:lnTo>
                  <a:lnTo>
                    <a:pt x="268" y="1656"/>
                  </a:lnTo>
                  <a:lnTo>
                    <a:pt x="262" y="1658"/>
                  </a:lnTo>
                  <a:lnTo>
                    <a:pt x="258" y="1658"/>
                  </a:lnTo>
                  <a:lnTo>
                    <a:pt x="258" y="1654"/>
                  </a:lnTo>
                  <a:lnTo>
                    <a:pt x="268" y="1644"/>
                  </a:lnTo>
                  <a:lnTo>
                    <a:pt x="270" y="1642"/>
                  </a:lnTo>
                  <a:lnTo>
                    <a:pt x="268" y="1642"/>
                  </a:lnTo>
                  <a:lnTo>
                    <a:pt x="264" y="1642"/>
                  </a:lnTo>
                  <a:lnTo>
                    <a:pt x="258" y="1642"/>
                  </a:lnTo>
                  <a:lnTo>
                    <a:pt x="260" y="1640"/>
                  </a:lnTo>
                  <a:lnTo>
                    <a:pt x="270" y="1632"/>
                  </a:lnTo>
                  <a:lnTo>
                    <a:pt x="284" y="1620"/>
                  </a:lnTo>
                  <a:lnTo>
                    <a:pt x="296" y="1608"/>
                  </a:lnTo>
                  <a:lnTo>
                    <a:pt x="300" y="1604"/>
                  </a:lnTo>
                  <a:lnTo>
                    <a:pt x="300" y="1600"/>
                  </a:lnTo>
                  <a:lnTo>
                    <a:pt x="298" y="1598"/>
                  </a:lnTo>
                  <a:lnTo>
                    <a:pt x="298" y="1596"/>
                  </a:lnTo>
                  <a:lnTo>
                    <a:pt x="300" y="1592"/>
                  </a:lnTo>
                  <a:lnTo>
                    <a:pt x="300" y="1590"/>
                  </a:lnTo>
                  <a:lnTo>
                    <a:pt x="292" y="1588"/>
                  </a:lnTo>
                  <a:lnTo>
                    <a:pt x="286" y="1588"/>
                  </a:lnTo>
                  <a:lnTo>
                    <a:pt x="284" y="1590"/>
                  </a:lnTo>
                  <a:lnTo>
                    <a:pt x="284" y="1592"/>
                  </a:lnTo>
                  <a:lnTo>
                    <a:pt x="280" y="1592"/>
                  </a:lnTo>
                  <a:lnTo>
                    <a:pt x="272" y="1592"/>
                  </a:lnTo>
                  <a:lnTo>
                    <a:pt x="262" y="1594"/>
                  </a:lnTo>
                  <a:lnTo>
                    <a:pt x="254" y="1596"/>
                  </a:lnTo>
                  <a:lnTo>
                    <a:pt x="246" y="1596"/>
                  </a:lnTo>
                  <a:lnTo>
                    <a:pt x="242" y="1594"/>
                  </a:lnTo>
                  <a:lnTo>
                    <a:pt x="238" y="1596"/>
                  </a:lnTo>
                  <a:lnTo>
                    <a:pt x="236" y="1596"/>
                  </a:lnTo>
                  <a:lnTo>
                    <a:pt x="232" y="1594"/>
                  </a:lnTo>
                  <a:lnTo>
                    <a:pt x="226" y="1592"/>
                  </a:lnTo>
                  <a:lnTo>
                    <a:pt x="222" y="1590"/>
                  </a:lnTo>
                  <a:lnTo>
                    <a:pt x="218" y="1594"/>
                  </a:lnTo>
                  <a:lnTo>
                    <a:pt x="218" y="1600"/>
                  </a:lnTo>
                  <a:lnTo>
                    <a:pt x="218" y="1602"/>
                  </a:lnTo>
                  <a:lnTo>
                    <a:pt x="218" y="1604"/>
                  </a:lnTo>
                  <a:lnTo>
                    <a:pt x="214" y="1606"/>
                  </a:lnTo>
                  <a:lnTo>
                    <a:pt x="212" y="1606"/>
                  </a:lnTo>
                  <a:lnTo>
                    <a:pt x="216" y="1612"/>
                  </a:lnTo>
                  <a:lnTo>
                    <a:pt x="218" y="1616"/>
                  </a:lnTo>
                  <a:lnTo>
                    <a:pt x="212" y="1616"/>
                  </a:lnTo>
                  <a:lnTo>
                    <a:pt x="206" y="1614"/>
                  </a:lnTo>
                  <a:lnTo>
                    <a:pt x="206" y="1618"/>
                  </a:lnTo>
                  <a:lnTo>
                    <a:pt x="210" y="1622"/>
                  </a:lnTo>
                  <a:lnTo>
                    <a:pt x="210" y="1624"/>
                  </a:lnTo>
                  <a:lnTo>
                    <a:pt x="210" y="1626"/>
                  </a:lnTo>
                  <a:lnTo>
                    <a:pt x="208" y="1626"/>
                  </a:lnTo>
                  <a:lnTo>
                    <a:pt x="204" y="1626"/>
                  </a:lnTo>
                  <a:lnTo>
                    <a:pt x="202" y="1626"/>
                  </a:lnTo>
                  <a:lnTo>
                    <a:pt x="204" y="1628"/>
                  </a:lnTo>
                  <a:lnTo>
                    <a:pt x="206" y="1632"/>
                  </a:lnTo>
                  <a:lnTo>
                    <a:pt x="206" y="1636"/>
                  </a:lnTo>
                  <a:lnTo>
                    <a:pt x="206" y="1638"/>
                  </a:lnTo>
                  <a:lnTo>
                    <a:pt x="202" y="1638"/>
                  </a:lnTo>
                  <a:lnTo>
                    <a:pt x="190" y="1638"/>
                  </a:lnTo>
                  <a:lnTo>
                    <a:pt x="188" y="1640"/>
                  </a:lnTo>
                  <a:lnTo>
                    <a:pt x="188" y="1646"/>
                  </a:lnTo>
                  <a:lnTo>
                    <a:pt x="190" y="1650"/>
                  </a:lnTo>
                  <a:lnTo>
                    <a:pt x="190" y="1654"/>
                  </a:lnTo>
                  <a:lnTo>
                    <a:pt x="188" y="1660"/>
                  </a:lnTo>
                  <a:lnTo>
                    <a:pt x="188" y="1668"/>
                  </a:lnTo>
                  <a:lnTo>
                    <a:pt x="188" y="1672"/>
                  </a:lnTo>
                  <a:lnTo>
                    <a:pt x="190" y="1674"/>
                  </a:lnTo>
                  <a:lnTo>
                    <a:pt x="194" y="1674"/>
                  </a:lnTo>
                  <a:lnTo>
                    <a:pt x="196" y="1676"/>
                  </a:lnTo>
                  <a:lnTo>
                    <a:pt x="194" y="1682"/>
                  </a:lnTo>
                  <a:lnTo>
                    <a:pt x="192" y="1686"/>
                  </a:lnTo>
                  <a:lnTo>
                    <a:pt x="190" y="1690"/>
                  </a:lnTo>
                  <a:lnTo>
                    <a:pt x="188" y="1690"/>
                  </a:lnTo>
                  <a:lnTo>
                    <a:pt x="190" y="1692"/>
                  </a:lnTo>
                  <a:lnTo>
                    <a:pt x="190" y="1694"/>
                  </a:lnTo>
                  <a:lnTo>
                    <a:pt x="190" y="1696"/>
                  </a:lnTo>
                  <a:lnTo>
                    <a:pt x="186" y="1698"/>
                  </a:lnTo>
                  <a:lnTo>
                    <a:pt x="184" y="1700"/>
                  </a:lnTo>
                  <a:lnTo>
                    <a:pt x="188" y="1702"/>
                  </a:lnTo>
                  <a:lnTo>
                    <a:pt x="188" y="1704"/>
                  </a:lnTo>
                  <a:lnTo>
                    <a:pt x="186" y="1706"/>
                  </a:lnTo>
                  <a:lnTo>
                    <a:pt x="182" y="1708"/>
                  </a:lnTo>
                  <a:lnTo>
                    <a:pt x="178" y="1708"/>
                  </a:lnTo>
                  <a:lnTo>
                    <a:pt x="174" y="1708"/>
                  </a:lnTo>
                  <a:lnTo>
                    <a:pt x="172" y="1710"/>
                  </a:lnTo>
                  <a:lnTo>
                    <a:pt x="172" y="1712"/>
                  </a:lnTo>
                  <a:lnTo>
                    <a:pt x="174" y="1714"/>
                  </a:lnTo>
                  <a:lnTo>
                    <a:pt x="182" y="1714"/>
                  </a:lnTo>
                  <a:lnTo>
                    <a:pt x="190" y="1712"/>
                  </a:lnTo>
                  <a:lnTo>
                    <a:pt x="192" y="1714"/>
                  </a:lnTo>
                  <a:lnTo>
                    <a:pt x="184" y="1716"/>
                  </a:lnTo>
                  <a:lnTo>
                    <a:pt x="180" y="1718"/>
                  </a:lnTo>
                  <a:lnTo>
                    <a:pt x="180" y="1720"/>
                  </a:lnTo>
                  <a:lnTo>
                    <a:pt x="184" y="1722"/>
                  </a:lnTo>
                  <a:lnTo>
                    <a:pt x="188" y="1722"/>
                  </a:lnTo>
                  <a:lnTo>
                    <a:pt x="190" y="1722"/>
                  </a:lnTo>
                  <a:lnTo>
                    <a:pt x="192" y="1724"/>
                  </a:lnTo>
                  <a:lnTo>
                    <a:pt x="196" y="1724"/>
                  </a:lnTo>
                  <a:lnTo>
                    <a:pt x="200" y="1720"/>
                  </a:lnTo>
                  <a:lnTo>
                    <a:pt x="208" y="1714"/>
                  </a:lnTo>
                  <a:lnTo>
                    <a:pt x="206" y="1720"/>
                  </a:lnTo>
                  <a:lnTo>
                    <a:pt x="202" y="1726"/>
                  </a:lnTo>
                  <a:lnTo>
                    <a:pt x="202" y="1730"/>
                  </a:lnTo>
                  <a:lnTo>
                    <a:pt x="202" y="1734"/>
                  </a:lnTo>
                  <a:lnTo>
                    <a:pt x="198" y="1738"/>
                  </a:lnTo>
                  <a:lnTo>
                    <a:pt x="196" y="1740"/>
                  </a:lnTo>
                  <a:lnTo>
                    <a:pt x="196" y="1744"/>
                  </a:lnTo>
                  <a:lnTo>
                    <a:pt x="198" y="1748"/>
                  </a:lnTo>
                  <a:lnTo>
                    <a:pt x="194" y="1754"/>
                  </a:lnTo>
                  <a:lnTo>
                    <a:pt x="192" y="1758"/>
                  </a:lnTo>
                  <a:lnTo>
                    <a:pt x="192" y="1762"/>
                  </a:lnTo>
                  <a:lnTo>
                    <a:pt x="194" y="1764"/>
                  </a:lnTo>
                  <a:lnTo>
                    <a:pt x="194" y="1768"/>
                  </a:lnTo>
                  <a:lnTo>
                    <a:pt x="194" y="1772"/>
                  </a:lnTo>
                  <a:lnTo>
                    <a:pt x="194" y="1774"/>
                  </a:lnTo>
                  <a:lnTo>
                    <a:pt x="200" y="1770"/>
                  </a:lnTo>
                  <a:lnTo>
                    <a:pt x="198" y="1774"/>
                  </a:lnTo>
                  <a:lnTo>
                    <a:pt x="194" y="1784"/>
                  </a:lnTo>
                  <a:lnTo>
                    <a:pt x="188" y="1794"/>
                  </a:lnTo>
                  <a:lnTo>
                    <a:pt x="188" y="1800"/>
                  </a:lnTo>
                  <a:lnTo>
                    <a:pt x="192" y="1802"/>
                  </a:lnTo>
                  <a:lnTo>
                    <a:pt x="194" y="1802"/>
                  </a:lnTo>
                  <a:lnTo>
                    <a:pt x="196" y="1800"/>
                  </a:lnTo>
                  <a:lnTo>
                    <a:pt x="198" y="1792"/>
                  </a:lnTo>
                  <a:lnTo>
                    <a:pt x="202" y="1780"/>
                  </a:lnTo>
                  <a:lnTo>
                    <a:pt x="204" y="1776"/>
                  </a:lnTo>
                  <a:lnTo>
                    <a:pt x="206" y="1772"/>
                  </a:lnTo>
                  <a:lnTo>
                    <a:pt x="208" y="1770"/>
                  </a:lnTo>
                  <a:lnTo>
                    <a:pt x="208" y="1768"/>
                  </a:lnTo>
                  <a:lnTo>
                    <a:pt x="204" y="1764"/>
                  </a:lnTo>
                  <a:lnTo>
                    <a:pt x="202" y="1760"/>
                  </a:lnTo>
                  <a:lnTo>
                    <a:pt x="204" y="1758"/>
                  </a:lnTo>
                  <a:lnTo>
                    <a:pt x="206" y="1756"/>
                  </a:lnTo>
                  <a:lnTo>
                    <a:pt x="210" y="1754"/>
                  </a:lnTo>
                  <a:lnTo>
                    <a:pt x="208" y="1756"/>
                  </a:lnTo>
                  <a:lnTo>
                    <a:pt x="208" y="1762"/>
                  </a:lnTo>
                  <a:lnTo>
                    <a:pt x="208" y="1764"/>
                  </a:lnTo>
                  <a:lnTo>
                    <a:pt x="210" y="1766"/>
                  </a:lnTo>
                  <a:lnTo>
                    <a:pt x="214" y="1766"/>
                  </a:lnTo>
                  <a:lnTo>
                    <a:pt x="216" y="1764"/>
                  </a:lnTo>
                  <a:lnTo>
                    <a:pt x="216" y="1762"/>
                  </a:lnTo>
                  <a:lnTo>
                    <a:pt x="220" y="1764"/>
                  </a:lnTo>
                  <a:lnTo>
                    <a:pt x="222" y="1764"/>
                  </a:lnTo>
                  <a:lnTo>
                    <a:pt x="224" y="1758"/>
                  </a:lnTo>
                  <a:lnTo>
                    <a:pt x="224" y="1756"/>
                  </a:lnTo>
                  <a:lnTo>
                    <a:pt x="228" y="1756"/>
                  </a:lnTo>
                  <a:lnTo>
                    <a:pt x="232" y="1758"/>
                  </a:lnTo>
                  <a:lnTo>
                    <a:pt x="238" y="1762"/>
                  </a:lnTo>
                  <a:lnTo>
                    <a:pt x="230" y="1764"/>
                  </a:lnTo>
                  <a:lnTo>
                    <a:pt x="224" y="1766"/>
                  </a:lnTo>
                  <a:lnTo>
                    <a:pt x="224" y="1768"/>
                  </a:lnTo>
                  <a:lnTo>
                    <a:pt x="224" y="1772"/>
                  </a:lnTo>
                  <a:lnTo>
                    <a:pt x="230" y="1780"/>
                  </a:lnTo>
                  <a:lnTo>
                    <a:pt x="234" y="1786"/>
                  </a:lnTo>
                  <a:lnTo>
                    <a:pt x="234" y="1790"/>
                  </a:lnTo>
                  <a:lnTo>
                    <a:pt x="234" y="1794"/>
                  </a:lnTo>
                  <a:lnTo>
                    <a:pt x="230" y="1798"/>
                  </a:lnTo>
                  <a:lnTo>
                    <a:pt x="224" y="1806"/>
                  </a:lnTo>
                  <a:lnTo>
                    <a:pt x="222" y="1810"/>
                  </a:lnTo>
                  <a:lnTo>
                    <a:pt x="220" y="1816"/>
                  </a:lnTo>
                  <a:lnTo>
                    <a:pt x="222" y="1822"/>
                  </a:lnTo>
                  <a:lnTo>
                    <a:pt x="220" y="1822"/>
                  </a:lnTo>
                  <a:lnTo>
                    <a:pt x="216" y="1818"/>
                  </a:lnTo>
                  <a:lnTo>
                    <a:pt x="214" y="1820"/>
                  </a:lnTo>
                  <a:lnTo>
                    <a:pt x="214" y="1822"/>
                  </a:lnTo>
                  <a:lnTo>
                    <a:pt x="214" y="1826"/>
                  </a:lnTo>
                  <a:lnTo>
                    <a:pt x="220" y="1834"/>
                  </a:lnTo>
                  <a:lnTo>
                    <a:pt x="224" y="1840"/>
                  </a:lnTo>
                  <a:lnTo>
                    <a:pt x="224" y="1838"/>
                  </a:lnTo>
                  <a:lnTo>
                    <a:pt x="224" y="1836"/>
                  </a:lnTo>
                  <a:lnTo>
                    <a:pt x="222" y="1830"/>
                  </a:lnTo>
                  <a:lnTo>
                    <a:pt x="224" y="1828"/>
                  </a:lnTo>
                  <a:lnTo>
                    <a:pt x="228" y="1828"/>
                  </a:lnTo>
                  <a:lnTo>
                    <a:pt x="234" y="1832"/>
                  </a:lnTo>
                  <a:lnTo>
                    <a:pt x="240" y="1838"/>
                  </a:lnTo>
                  <a:lnTo>
                    <a:pt x="244" y="1840"/>
                  </a:lnTo>
                  <a:lnTo>
                    <a:pt x="246" y="1838"/>
                  </a:lnTo>
                  <a:lnTo>
                    <a:pt x="246" y="1834"/>
                  </a:lnTo>
                  <a:lnTo>
                    <a:pt x="246" y="1828"/>
                  </a:lnTo>
                  <a:lnTo>
                    <a:pt x="246" y="1826"/>
                  </a:lnTo>
                  <a:lnTo>
                    <a:pt x="246" y="1828"/>
                  </a:lnTo>
                  <a:lnTo>
                    <a:pt x="252" y="1830"/>
                  </a:lnTo>
                  <a:lnTo>
                    <a:pt x="260" y="1834"/>
                  </a:lnTo>
                  <a:lnTo>
                    <a:pt x="264" y="1834"/>
                  </a:lnTo>
                  <a:lnTo>
                    <a:pt x="266" y="1830"/>
                  </a:lnTo>
                  <a:lnTo>
                    <a:pt x="270" y="1826"/>
                  </a:lnTo>
                  <a:lnTo>
                    <a:pt x="274" y="1826"/>
                  </a:lnTo>
                  <a:lnTo>
                    <a:pt x="276" y="1828"/>
                  </a:lnTo>
                  <a:lnTo>
                    <a:pt x="278" y="1824"/>
                  </a:lnTo>
                  <a:lnTo>
                    <a:pt x="282" y="1822"/>
                  </a:lnTo>
                  <a:lnTo>
                    <a:pt x="286" y="1820"/>
                  </a:lnTo>
                  <a:lnTo>
                    <a:pt x="292" y="1820"/>
                  </a:lnTo>
                  <a:lnTo>
                    <a:pt x="292" y="1822"/>
                  </a:lnTo>
                  <a:lnTo>
                    <a:pt x="288" y="1826"/>
                  </a:lnTo>
                  <a:lnTo>
                    <a:pt x="280" y="1838"/>
                  </a:lnTo>
                  <a:lnTo>
                    <a:pt x="276" y="1844"/>
                  </a:lnTo>
                  <a:lnTo>
                    <a:pt x="276" y="1850"/>
                  </a:lnTo>
                  <a:lnTo>
                    <a:pt x="276" y="1854"/>
                  </a:lnTo>
                  <a:lnTo>
                    <a:pt x="278" y="1858"/>
                  </a:lnTo>
                  <a:lnTo>
                    <a:pt x="286" y="1866"/>
                  </a:lnTo>
                  <a:lnTo>
                    <a:pt x="292" y="1872"/>
                  </a:lnTo>
                  <a:lnTo>
                    <a:pt x="294" y="1876"/>
                  </a:lnTo>
                  <a:lnTo>
                    <a:pt x="296" y="1874"/>
                  </a:lnTo>
                  <a:lnTo>
                    <a:pt x="300" y="1872"/>
                  </a:lnTo>
                  <a:lnTo>
                    <a:pt x="302" y="1870"/>
                  </a:lnTo>
                  <a:lnTo>
                    <a:pt x="304" y="1870"/>
                  </a:lnTo>
                  <a:lnTo>
                    <a:pt x="308" y="1870"/>
                  </a:lnTo>
                  <a:lnTo>
                    <a:pt x="308" y="1872"/>
                  </a:lnTo>
                  <a:lnTo>
                    <a:pt x="308" y="1874"/>
                  </a:lnTo>
                  <a:lnTo>
                    <a:pt x="306" y="1878"/>
                  </a:lnTo>
                  <a:lnTo>
                    <a:pt x="306" y="1880"/>
                  </a:lnTo>
                  <a:lnTo>
                    <a:pt x="306" y="1882"/>
                  </a:lnTo>
                  <a:lnTo>
                    <a:pt x="308" y="1882"/>
                  </a:lnTo>
                  <a:lnTo>
                    <a:pt x="306" y="1884"/>
                  </a:lnTo>
                  <a:lnTo>
                    <a:pt x="300" y="1888"/>
                  </a:lnTo>
                  <a:lnTo>
                    <a:pt x="298" y="1890"/>
                  </a:lnTo>
                  <a:lnTo>
                    <a:pt x="298" y="1892"/>
                  </a:lnTo>
                  <a:lnTo>
                    <a:pt x="298" y="1894"/>
                  </a:lnTo>
                  <a:lnTo>
                    <a:pt x="302" y="1896"/>
                  </a:lnTo>
                  <a:lnTo>
                    <a:pt x="304" y="1898"/>
                  </a:lnTo>
                  <a:lnTo>
                    <a:pt x="302" y="1900"/>
                  </a:lnTo>
                  <a:lnTo>
                    <a:pt x="300" y="1902"/>
                  </a:lnTo>
                  <a:lnTo>
                    <a:pt x="300" y="1906"/>
                  </a:lnTo>
                  <a:lnTo>
                    <a:pt x="300" y="1910"/>
                  </a:lnTo>
                  <a:lnTo>
                    <a:pt x="302" y="1916"/>
                  </a:lnTo>
                  <a:lnTo>
                    <a:pt x="308" y="1924"/>
                  </a:lnTo>
                  <a:lnTo>
                    <a:pt x="304" y="1922"/>
                  </a:lnTo>
                  <a:lnTo>
                    <a:pt x="300" y="1918"/>
                  </a:lnTo>
                  <a:lnTo>
                    <a:pt x="296" y="1916"/>
                  </a:lnTo>
                  <a:lnTo>
                    <a:pt x="294" y="1918"/>
                  </a:lnTo>
                  <a:lnTo>
                    <a:pt x="296" y="1922"/>
                  </a:lnTo>
                  <a:lnTo>
                    <a:pt x="298" y="1926"/>
                  </a:lnTo>
                  <a:lnTo>
                    <a:pt x="294" y="1924"/>
                  </a:lnTo>
                  <a:lnTo>
                    <a:pt x="290" y="1922"/>
                  </a:lnTo>
                  <a:lnTo>
                    <a:pt x="286" y="1922"/>
                  </a:lnTo>
                  <a:lnTo>
                    <a:pt x="282" y="1922"/>
                  </a:lnTo>
                  <a:lnTo>
                    <a:pt x="276" y="1924"/>
                  </a:lnTo>
                  <a:lnTo>
                    <a:pt x="272" y="1924"/>
                  </a:lnTo>
                  <a:lnTo>
                    <a:pt x="270" y="1922"/>
                  </a:lnTo>
                  <a:lnTo>
                    <a:pt x="266" y="1924"/>
                  </a:lnTo>
                  <a:lnTo>
                    <a:pt x="264" y="1926"/>
                  </a:lnTo>
                  <a:lnTo>
                    <a:pt x="260" y="1926"/>
                  </a:lnTo>
                  <a:lnTo>
                    <a:pt x="256" y="1928"/>
                  </a:lnTo>
                  <a:lnTo>
                    <a:pt x="252" y="1932"/>
                  </a:lnTo>
                  <a:lnTo>
                    <a:pt x="246" y="1940"/>
                  </a:lnTo>
                  <a:lnTo>
                    <a:pt x="240" y="1944"/>
                  </a:lnTo>
                  <a:lnTo>
                    <a:pt x="236" y="1946"/>
                  </a:lnTo>
                  <a:lnTo>
                    <a:pt x="232" y="1950"/>
                  </a:lnTo>
                  <a:lnTo>
                    <a:pt x="230" y="1956"/>
                  </a:lnTo>
                  <a:lnTo>
                    <a:pt x="234" y="1954"/>
                  </a:lnTo>
                  <a:lnTo>
                    <a:pt x="238" y="1954"/>
                  </a:lnTo>
                  <a:lnTo>
                    <a:pt x="240" y="1954"/>
                  </a:lnTo>
                  <a:lnTo>
                    <a:pt x="244" y="1952"/>
                  </a:lnTo>
                  <a:lnTo>
                    <a:pt x="252" y="1948"/>
                  </a:lnTo>
                  <a:lnTo>
                    <a:pt x="256" y="1946"/>
                  </a:lnTo>
                  <a:lnTo>
                    <a:pt x="258" y="1946"/>
                  </a:lnTo>
                  <a:lnTo>
                    <a:pt x="256" y="1948"/>
                  </a:lnTo>
                  <a:lnTo>
                    <a:pt x="256" y="1954"/>
                  </a:lnTo>
                  <a:lnTo>
                    <a:pt x="258" y="1954"/>
                  </a:lnTo>
                  <a:lnTo>
                    <a:pt x="260" y="1956"/>
                  </a:lnTo>
                  <a:lnTo>
                    <a:pt x="258" y="1960"/>
                  </a:lnTo>
                  <a:lnTo>
                    <a:pt x="256" y="1964"/>
                  </a:lnTo>
                  <a:lnTo>
                    <a:pt x="256" y="1968"/>
                  </a:lnTo>
                  <a:lnTo>
                    <a:pt x="258" y="1974"/>
                  </a:lnTo>
                  <a:lnTo>
                    <a:pt x="258" y="1978"/>
                  </a:lnTo>
                  <a:lnTo>
                    <a:pt x="256" y="1982"/>
                  </a:lnTo>
                  <a:lnTo>
                    <a:pt x="252" y="1986"/>
                  </a:lnTo>
                  <a:lnTo>
                    <a:pt x="246" y="1990"/>
                  </a:lnTo>
                  <a:lnTo>
                    <a:pt x="232" y="1998"/>
                  </a:lnTo>
                  <a:lnTo>
                    <a:pt x="222" y="2000"/>
                  </a:lnTo>
                  <a:lnTo>
                    <a:pt x="216" y="2000"/>
                  </a:lnTo>
                  <a:lnTo>
                    <a:pt x="210" y="2006"/>
                  </a:lnTo>
                  <a:lnTo>
                    <a:pt x="208" y="2008"/>
                  </a:lnTo>
                  <a:lnTo>
                    <a:pt x="208" y="2010"/>
                  </a:lnTo>
                  <a:lnTo>
                    <a:pt x="212" y="2012"/>
                  </a:lnTo>
                  <a:lnTo>
                    <a:pt x="216" y="2012"/>
                  </a:lnTo>
                  <a:lnTo>
                    <a:pt x="216" y="2014"/>
                  </a:lnTo>
                  <a:lnTo>
                    <a:pt x="214" y="2016"/>
                  </a:lnTo>
                  <a:lnTo>
                    <a:pt x="214" y="2020"/>
                  </a:lnTo>
                  <a:lnTo>
                    <a:pt x="216" y="2024"/>
                  </a:lnTo>
                  <a:lnTo>
                    <a:pt x="224" y="2024"/>
                  </a:lnTo>
                  <a:lnTo>
                    <a:pt x="232" y="2022"/>
                  </a:lnTo>
                  <a:lnTo>
                    <a:pt x="240" y="2018"/>
                  </a:lnTo>
                  <a:lnTo>
                    <a:pt x="246" y="2018"/>
                  </a:lnTo>
                  <a:lnTo>
                    <a:pt x="250" y="2022"/>
                  </a:lnTo>
                  <a:lnTo>
                    <a:pt x="250" y="2026"/>
                  </a:lnTo>
                  <a:lnTo>
                    <a:pt x="248" y="2028"/>
                  </a:lnTo>
                  <a:lnTo>
                    <a:pt x="250" y="2030"/>
                  </a:lnTo>
                  <a:lnTo>
                    <a:pt x="256" y="2028"/>
                  </a:lnTo>
                  <a:lnTo>
                    <a:pt x="260" y="2028"/>
                  </a:lnTo>
                  <a:lnTo>
                    <a:pt x="264" y="2028"/>
                  </a:lnTo>
                  <a:lnTo>
                    <a:pt x="270" y="2030"/>
                  </a:lnTo>
                  <a:lnTo>
                    <a:pt x="274" y="2034"/>
                  </a:lnTo>
                  <a:lnTo>
                    <a:pt x="280" y="2038"/>
                  </a:lnTo>
                  <a:lnTo>
                    <a:pt x="284" y="2040"/>
                  </a:lnTo>
                  <a:lnTo>
                    <a:pt x="288" y="2040"/>
                  </a:lnTo>
                  <a:lnTo>
                    <a:pt x="292" y="2038"/>
                  </a:lnTo>
                  <a:lnTo>
                    <a:pt x="298" y="2032"/>
                  </a:lnTo>
                  <a:lnTo>
                    <a:pt x="302" y="2030"/>
                  </a:lnTo>
                  <a:lnTo>
                    <a:pt x="304" y="2028"/>
                  </a:lnTo>
                  <a:lnTo>
                    <a:pt x="310" y="2026"/>
                  </a:lnTo>
                  <a:lnTo>
                    <a:pt x="314" y="2024"/>
                  </a:lnTo>
                  <a:lnTo>
                    <a:pt x="320" y="2020"/>
                  </a:lnTo>
                  <a:lnTo>
                    <a:pt x="326" y="2016"/>
                  </a:lnTo>
                  <a:lnTo>
                    <a:pt x="322" y="2022"/>
                  </a:lnTo>
                  <a:lnTo>
                    <a:pt x="318" y="2026"/>
                  </a:lnTo>
                  <a:lnTo>
                    <a:pt x="312" y="2032"/>
                  </a:lnTo>
                  <a:lnTo>
                    <a:pt x="306" y="2036"/>
                  </a:lnTo>
                  <a:lnTo>
                    <a:pt x="304" y="2044"/>
                  </a:lnTo>
                  <a:lnTo>
                    <a:pt x="302" y="2048"/>
                  </a:lnTo>
                  <a:lnTo>
                    <a:pt x="294" y="2050"/>
                  </a:lnTo>
                  <a:lnTo>
                    <a:pt x="284" y="2050"/>
                  </a:lnTo>
                  <a:lnTo>
                    <a:pt x="280" y="2050"/>
                  </a:lnTo>
                  <a:lnTo>
                    <a:pt x="274" y="2048"/>
                  </a:lnTo>
                  <a:lnTo>
                    <a:pt x="262" y="2048"/>
                  </a:lnTo>
                  <a:lnTo>
                    <a:pt x="256" y="2048"/>
                  </a:lnTo>
                  <a:lnTo>
                    <a:pt x="252" y="2050"/>
                  </a:lnTo>
                  <a:lnTo>
                    <a:pt x="252" y="2052"/>
                  </a:lnTo>
                  <a:lnTo>
                    <a:pt x="252" y="2054"/>
                  </a:lnTo>
                  <a:lnTo>
                    <a:pt x="252" y="2058"/>
                  </a:lnTo>
                  <a:lnTo>
                    <a:pt x="250" y="2058"/>
                  </a:lnTo>
                  <a:lnTo>
                    <a:pt x="246" y="2060"/>
                  </a:lnTo>
                  <a:lnTo>
                    <a:pt x="242" y="2060"/>
                  </a:lnTo>
                  <a:lnTo>
                    <a:pt x="238" y="2062"/>
                  </a:lnTo>
                  <a:lnTo>
                    <a:pt x="238" y="2066"/>
                  </a:lnTo>
                  <a:lnTo>
                    <a:pt x="238" y="2070"/>
                  </a:lnTo>
                  <a:lnTo>
                    <a:pt x="238" y="2074"/>
                  </a:lnTo>
                  <a:lnTo>
                    <a:pt x="236" y="2076"/>
                  </a:lnTo>
                  <a:lnTo>
                    <a:pt x="232" y="2078"/>
                  </a:lnTo>
                  <a:lnTo>
                    <a:pt x="230" y="2082"/>
                  </a:lnTo>
                  <a:lnTo>
                    <a:pt x="230" y="2084"/>
                  </a:lnTo>
                  <a:lnTo>
                    <a:pt x="226" y="2086"/>
                  </a:lnTo>
                  <a:lnTo>
                    <a:pt x="220" y="2092"/>
                  </a:lnTo>
                  <a:lnTo>
                    <a:pt x="214" y="2100"/>
                  </a:lnTo>
                  <a:lnTo>
                    <a:pt x="210" y="2106"/>
                  </a:lnTo>
                  <a:lnTo>
                    <a:pt x="206" y="2106"/>
                  </a:lnTo>
                  <a:lnTo>
                    <a:pt x="202" y="2108"/>
                  </a:lnTo>
                  <a:lnTo>
                    <a:pt x="198" y="2108"/>
                  </a:lnTo>
                  <a:lnTo>
                    <a:pt x="194" y="2108"/>
                  </a:lnTo>
                  <a:lnTo>
                    <a:pt x="192" y="2112"/>
                  </a:lnTo>
                  <a:lnTo>
                    <a:pt x="192" y="2114"/>
                  </a:lnTo>
                  <a:lnTo>
                    <a:pt x="192" y="2118"/>
                  </a:lnTo>
                  <a:lnTo>
                    <a:pt x="194" y="2118"/>
                  </a:lnTo>
                  <a:lnTo>
                    <a:pt x="196" y="2118"/>
                  </a:lnTo>
                  <a:lnTo>
                    <a:pt x="200" y="2116"/>
                  </a:lnTo>
                  <a:lnTo>
                    <a:pt x="202" y="2116"/>
                  </a:lnTo>
                  <a:lnTo>
                    <a:pt x="206" y="2118"/>
                  </a:lnTo>
                  <a:lnTo>
                    <a:pt x="210" y="2122"/>
                  </a:lnTo>
                  <a:lnTo>
                    <a:pt x="212" y="2122"/>
                  </a:lnTo>
                  <a:lnTo>
                    <a:pt x="214" y="2122"/>
                  </a:lnTo>
                  <a:lnTo>
                    <a:pt x="216" y="2120"/>
                  </a:lnTo>
                  <a:lnTo>
                    <a:pt x="216" y="2118"/>
                  </a:lnTo>
                  <a:lnTo>
                    <a:pt x="218" y="2116"/>
                  </a:lnTo>
                  <a:lnTo>
                    <a:pt x="222" y="2112"/>
                  </a:lnTo>
                  <a:lnTo>
                    <a:pt x="226" y="2110"/>
                  </a:lnTo>
                  <a:lnTo>
                    <a:pt x="230" y="2106"/>
                  </a:lnTo>
                  <a:lnTo>
                    <a:pt x="234" y="2102"/>
                  </a:lnTo>
                  <a:lnTo>
                    <a:pt x="244" y="2100"/>
                  </a:lnTo>
                  <a:lnTo>
                    <a:pt x="252" y="2100"/>
                  </a:lnTo>
                  <a:lnTo>
                    <a:pt x="258" y="2102"/>
                  </a:lnTo>
                  <a:lnTo>
                    <a:pt x="270" y="2108"/>
                  </a:lnTo>
                  <a:lnTo>
                    <a:pt x="274" y="2110"/>
                  </a:lnTo>
                  <a:lnTo>
                    <a:pt x="276" y="2108"/>
                  </a:lnTo>
                  <a:lnTo>
                    <a:pt x="280" y="2098"/>
                  </a:lnTo>
                  <a:lnTo>
                    <a:pt x="282" y="2088"/>
                  </a:lnTo>
                  <a:lnTo>
                    <a:pt x="284" y="2086"/>
                  </a:lnTo>
                  <a:lnTo>
                    <a:pt x="286" y="2084"/>
                  </a:lnTo>
                  <a:lnTo>
                    <a:pt x="288" y="2086"/>
                  </a:lnTo>
                  <a:lnTo>
                    <a:pt x="290" y="2084"/>
                  </a:lnTo>
                  <a:lnTo>
                    <a:pt x="298" y="2080"/>
                  </a:lnTo>
                  <a:lnTo>
                    <a:pt x="302" y="2078"/>
                  </a:lnTo>
                  <a:lnTo>
                    <a:pt x="306" y="2078"/>
                  </a:lnTo>
                  <a:lnTo>
                    <a:pt x="312" y="2080"/>
                  </a:lnTo>
                  <a:lnTo>
                    <a:pt x="316" y="2084"/>
                  </a:lnTo>
                  <a:lnTo>
                    <a:pt x="322" y="2088"/>
                  </a:lnTo>
                  <a:lnTo>
                    <a:pt x="324" y="2088"/>
                  </a:lnTo>
                  <a:lnTo>
                    <a:pt x="328" y="2086"/>
                  </a:lnTo>
                  <a:lnTo>
                    <a:pt x="330" y="2086"/>
                  </a:lnTo>
                  <a:lnTo>
                    <a:pt x="334" y="2086"/>
                  </a:lnTo>
                  <a:lnTo>
                    <a:pt x="342" y="2086"/>
                  </a:lnTo>
                  <a:lnTo>
                    <a:pt x="344" y="2084"/>
                  </a:lnTo>
                  <a:lnTo>
                    <a:pt x="346" y="2082"/>
                  </a:lnTo>
                  <a:lnTo>
                    <a:pt x="356" y="2078"/>
                  </a:lnTo>
                  <a:lnTo>
                    <a:pt x="366" y="2076"/>
                  </a:lnTo>
                  <a:lnTo>
                    <a:pt x="368" y="2074"/>
                  </a:lnTo>
                  <a:lnTo>
                    <a:pt x="368" y="2072"/>
                  </a:lnTo>
                  <a:lnTo>
                    <a:pt x="374" y="2074"/>
                  </a:lnTo>
                  <a:lnTo>
                    <a:pt x="380" y="2076"/>
                  </a:lnTo>
                  <a:lnTo>
                    <a:pt x="382" y="2076"/>
                  </a:lnTo>
                  <a:lnTo>
                    <a:pt x="384" y="2074"/>
                  </a:lnTo>
                  <a:lnTo>
                    <a:pt x="386" y="2076"/>
                  </a:lnTo>
                  <a:lnTo>
                    <a:pt x="388" y="2078"/>
                  </a:lnTo>
                  <a:lnTo>
                    <a:pt x="392" y="2078"/>
                  </a:lnTo>
                  <a:lnTo>
                    <a:pt x="400" y="2074"/>
                  </a:lnTo>
                  <a:lnTo>
                    <a:pt x="410" y="2072"/>
                  </a:lnTo>
                  <a:lnTo>
                    <a:pt x="416" y="2074"/>
                  </a:lnTo>
                  <a:lnTo>
                    <a:pt x="422" y="2074"/>
                  </a:lnTo>
                  <a:lnTo>
                    <a:pt x="428" y="2076"/>
                  </a:lnTo>
                  <a:lnTo>
                    <a:pt x="432" y="2076"/>
                  </a:lnTo>
                  <a:lnTo>
                    <a:pt x="440" y="2074"/>
                  </a:lnTo>
                  <a:lnTo>
                    <a:pt x="448" y="2070"/>
                  </a:lnTo>
                  <a:lnTo>
                    <a:pt x="456" y="2068"/>
                  </a:lnTo>
                  <a:lnTo>
                    <a:pt x="460" y="2068"/>
                  </a:lnTo>
                  <a:lnTo>
                    <a:pt x="462" y="2064"/>
                  </a:lnTo>
                  <a:lnTo>
                    <a:pt x="464" y="2060"/>
                  </a:lnTo>
                  <a:lnTo>
                    <a:pt x="470" y="2056"/>
                  </a:lnTo>
                  <a:lnTo>
                    <a:pt x="478" y="2052"/>
                  </a:lnTo>
                  <a:lnTo>
                    <a:pt x="480" y="2048"/>
                  </a:lnTo>
                  <a:lnTo>
                    <a:pt x="480" y="2044"/>
                  </a:lnTo>
                  <a:lnTo>
                    <a:pt x="480" y="2040"/>
                  </a:lnTo>
                  <a:lnTo>
                    <a:pt x="480" y="2038"/>
                  </a:lnTo>
                  <a:lnTo>
                    <a:pt x="478" y="2038"/>
                  </a:lnTo>
                  <a:lnTo>
                    <a:pt x="472" y="2038"/>
                  </a:lnTo>
                  <a:lnTo>
                    <a:pt x="462" y="2040"/>
                  </a:lnTo>
                  <a:lnTo>
                    <a:pt x="456" y="2040"/>
                  </a:lnTo>
                  <a:lnTo>
                    <a:pt x="450" y="2038"/>
                  </a:lnTo>
                  <a:lnTo>
                    <a:pt x="448" y="2036"/>
                  </a:lnTo>
                  <a:lnTo>
                    <a:pt x="450" y="2036"/>
                  </a:lnTo>
                  <a:lnTo>
                    <a:pt x="446" y="2034"/>
                  </a:lnTo>
                  <a:lnTo>
                    <a:pt x="444" y="2032"/>
                  </a:lnTo>
                  <a:lnTo>
                    <a:pt x="448" y="2030"/>
                  </a:lnTo>
                  <a:lnTo>
                    <a:pt x="456" y="2030"/>
                  </a:lnTo>
                  <a:lnTo>
                    <a:pt x="458" y="2028"/>
                  </a:lnTo>
                  <a:lnTo>
                    <a:pt x="460" y="2026"/>
                  </a:lnTo>
                  <a:lnTo>
                    <a:pt x="460" y="2020"/>
                  </a:lnTo>
                  <a:lnTo>
                    <a:pt x="458" y="2020"/>
                  </a:lnTo>
                  <a:lnTo>
                    <a:pt x="456" y="2020"/>
                  </a:lnTo>
                  <a:lnTo>
                    <a:pt x="458" y="2016"/>
                  </a:lnTo>
                  <a:lnTo>
                    <a:pt x="462" y="2014"/>
                  </a:lnTo>
                  <a:lnTo>
                    <a:pt x="464" y="2014"/>
                  </a:lnTo>
                  <a:lnTo>
                    <a:pt x="472" y="2014"/>
                  </a:lnTo>
                  <a:lnTo>
                    <a:pt x="476" y="2014"/>
                  </a:lnTo>
                  <a:lnTo>
                    <a:pt x="476" y="2012"/>
                  </a:lnTo>
                  <a:lnTo>
                    <a:pt x="474" y="2010"/>
                  </a:lnTo>
                  <a:lnTo>
                    <a:pt x="474" y="2008"/>
                  </a:lnTo>
                  <a:lnTo>
                    <a:pt x="474" y="2006"/>
                  </a:lnTo>
                  <a:lnTo>
                    <a:pt x="482" y="2000"/>
                  </a:lnTo>
                  <a:lnTo>
                    <a:pt x="486" y="1996"/>
                  </a:lnTo>
                  <a:lnTo>
                    <a:pt x="490" y="1990"/>
                  </a:lnTo>
                  <a:lnTo>
                    <a:pt x="494" y="1982"/>
                  </a:lnTo>
                  <a:lnTo>
                    <a:pt x="494" y="1970"/>
                  </a:lnTo>
                  <a:close/>
                  <a:moveTo>
                    <a:pt x="662" y="1344"/>
                  </a:moveTo>
                  <a:lnTo>
                    <a:pt x="662" y="1344"/>
                  </a:lnTo>
                  <a:lnTo>
                    <a:pt x="660" y="1344"/>
                  </a:lnTo>
                  <a:lnTo>
                    <a:pt x="656" y="1346"/>
                  </a:lnTo>
                  <a:lnTo>
                    <a:pt x="656" y="1350"/>
                  </a:lnTo>
                  <a:lnTo>
                    <a:pt x="656" y="1354"/>
                  </a:lnTo>
                  <a:lnTo>
                    <a:pt x="660" y="1354"/>
                  </a:lnTo>
                  <a:lnTo>
                    <a:pt x="662" y="1352"/>
                  </a:lnTo>
                  <a:lnTo>
                    <a:pt x="664" y="1348"/>
                  </a:lnTo>
                  <a:lnTo>
                    <a:pt x="664" y="1346"/>
                  </a:lnTo>
                  <a:lnTo>
                    <a:pt x="662" y="1344"/>
                  </a:lnTo>
                  <a:close/>
                  <a:moveTo>
                    <a:pt x="652" y="1354"/>
                  </a:moveTo>
                  <a:lnTo>
                    <a:pt x="652" y="1354"/>
                  </a:lnTo>
                  <a:lnTo>
                    <a:pt x="650" y="1352"/>
                  </a:lnTo>
                  <a:lnTo>
                    <a:pt x="648" y="1352"/>
                  </a:lnTo>
                  <a:lnTo>
                    <a:pt x="646" y="1352"/>
                  </a:lnTo>
                  <a:lnTo>
                    <a:pt x="644" y="1356"/>
                  </a:lnTo>
                  <a:lnTo>
                    <a:pt x="646" y="1358"/>
                  </a:lnTo>
                  <a:lnTo>
                    <a:pt x="648" y="1358"/>
                  </a:lnTo>
                  <a:lnTo>
                    <a:pt x="652" y="1356"/>
                  </a:lnTo>
                  <a:lnTo>
                    <a:pt x="652" y="1354"/>
                  </a:lnTo>
                  <a:close/>
                  <a:moveTo>
                    <a:pt x="150" y="1398"/>
                  </a:moveTo>
                  <a:lnTo>
                    <a:pt x="150" y="1398"/>
                  </a:lnTo>
                  <a:lnTo>
                    <a:pt x="148" y="1396"/>
                  </a:lnTo>
                  <a:lnTo>
                    <a:pt x="146" y="1394"/>
                  </a:lnTo>
                  <a:lnTo>
                    <a:pt x="146" y="1396"/>
                  </a:lnTo>
                  <a:lnTo>
                    <a:pt x="144" y="1398"/>
                  </a:lnTo>
                  <a:lnTo>
                    <a:pt x="146" y="1402"/>
                  </a:lnTo>
                  <a:lnTo>
                    <a:pt x="152" y="1410"/>
                  </a:lnTo>
                  <a:lnTo>
                    <a:pt x="154" y="1412"/>
                  </a:lnTo>
                  <a:lnTo>
                    <a:pt x="156" y="1412"/>
                  </a:lnTo>
                  <a:lnTo>
                    <a:pt x="158" y="1412"/>
                  </a:lnTo>
                  <a:lnTo>
                    <a:pt x="156" y="1410"/>
                  </a:lnTo>
                  <a:lnTo>
                    <a:pt x="154" y="1404"/>
                  </a:lnTo>
                  <a:lnTo>
                    <a:pt x="154" y="1400"/>
                  </a:lnTo>
                  <a:lnTo>
                    <a:pt x="150" y="1398"/>
                  </a:lnTo>
                  <a:close/>
                  <a:moveTo>
                    <a:pt x="732" y="1304"/>
                  </a:moveTo>
                  <a:lnTo>
                    <a:pt x="732" y="1304"/>
                  </a:lnTo>
                  <a:lnTo>
                    <a:pt x="734" y="1302"/>
                  </a:lnTo>
                  <a:lnTo>
                    <a:pt x="732" y="1300"/>
                  </a:lnTo>
                  <a:lnTo>
                    <a:pt x="730" y="1298"/>
                  </a:lnTo>
                  <a:lnTo>
                    <a:pt x="728" y="1300"/>
                  </a:lnTo>
                  <a:lnTo>
                    <a:pt x="726" y="1302"/>
                  </a:lnTo>
                  <a:lnTo>
                    <a:pt x="724" y="1302"/>
                  </a:lnTo>
                  <a:lnTo>
                    <a:pt x="722" y="1300"/>
                  </a:lnTo>
                  <a:lnTo>
                    <a:pt x="720" y="1302"/>
                  </a:lnTo>
                  <a:lnTo>
                    <a:pt x="720" y="1304"/>
                  </a:lnTo>
                  <a:lnTo>
                    <a:pt x="724" y="1306"/>
                  </a:lnTo>
                  <a:lnTo>
                    <a:pt x="732" y="1304"/>
                  </a:lnTo>
                  <a:close/>
                  <a:moveTo>
                    <a:pt x="618" y="1384"/>
                  </a:moveTo>
                  <a:lnTo>
                    <a:pt x="618" y="1384"/>
                  </a:lnTo>
                  <a:lnTo>
                    <a:pt x="622" y="1384"/>
                  </a:lnTo>
                  <a:lnTo>
                    <a:pt x="626" y="1382"/>
                  </a:lnTo>
                  <a:lnTo>
                    <a:pt x="628" y="1380"/>
                  </a:lnTo>
                  <a:lnTo>
                    <a:pt x="628" y="1378"/>
                  </a:lnTo>
                  <a:lnTo>
                    <a:pt x="622" y="1378"/>
                  </a:lnTo>
                  <a:lnTo>
                    <a:pt x="618" y="1378"/>
                  </a:lnTo>
                  <a:lnTo>
                    <a:pt x="616" y="1380"/>
                  </a:lnTo>
                  <a:lnTo>
                    <a:pt x="618" y="1384"/>
                  </a:lnTo>
                  <a:close/>
                  <a:moveTo>
                    <a:pt x="620" y="1456"/>
                  </a:moveTo>
                  <a:lnTo>
                    <a:pt x="620" y="1456"/>
                  </a:lnTo>
                  <a:lnTo>
                    <a:pt x="616" y="1454"/>
                  </a:lnTo>
                  <a:lnTo>
                    <a:pt x="618" y="1456"/>
                  </a:lnTo>
                  <a:lnTo>
                    <a:pt x="622" y="1462"/>
                  </a:lnTo>
                  <a:lnTo>
                    <a:pt x="624" y="1462"/>
                  </a:lnTo>
                  <a:lnTo>
                    <a:pt x="626" y="1464"/>
                  </a:lnTo>
                  <a:lnTo>
                    <a:pt x="624" y="1462"/>
                  </a:lnTo>
                  <a:lnTo>
                    <a:pt x="622" y="1458"/>
                  </a:lnTo>
                  <a:lnTo>
                    <a:pt x="620" y="1456"/>
                  </a:lnTo>
                  <a:close/>
                  <a:moveTo>
                    <a:pt x="630" y="1474"/>
                  </a:moveTo>
                  <a:lnTo>
                    <a:pt x="630" y="1474"/>
                  </a:lnTo>
                  <a:lnTo>
                    <a:pt x="626" y="1468"/>
                  </a:lnTo>
                  <a:lnTo>
                    <a:pt x="622" y="1466"/>
                  </a:lnTo>
                  <a:lnTo>
                    <a:pt x="622" y="1468"/>
                  </a:lnTo>
                  <a:lnTo>
                    <a:pt x="626" y="1474"/>
                  </a:lnTo>
                  <a:lnTo>
                    <a:pt x="628" y="1476"/>
                  </a:lnTo>
                  <a:lnTo>
                    <a:pt x="630" y="1474"/>
                  </a:lnTo>
                  <a:close/>
                  <a:moveTo>
                    <a:pt x="624" y="1490"/>
                  </a:moveTo>
                  <a:lnTo>
                    <a:pt x="624" y="1490"/>
                  </a:lnTo>
                  <a:lnTo>
                    <a:pt x="626" y="1490"/>
                  </a:lnTo>
                  <a:lnTo>
                    <a:pt x="626" y="1486"/>
                  </a:lnTo>
                  <a:lnTo>
                    <a:pt x="624" y="1476"/>
                  </a:lnTo>
                  <a:lnTo>
                    <a:pt x="622" y="1474"/>
                  </a:lnTo>
                  <a:lnTo>
                    <a:pt x="622" y="1476"/>
                  </a:lnTo>
                  <a:lnTo>
                    <a:pt x="622" y="1480"/>
                  </a:lnTo>
                  <a:lnTo>
                    <a:pt x="622" y="1486"/>
                  </a:lnTo>
                  <a:lnTo>
                    <a:pt x="622" y="1490"/>
                  </a:lnTo>
                  <a:lnTo>
                    <a:pt x="624" y="1490"/>
                  </a:lnTo>
                  <a:close/>
                  <a:moveTo>
                    <a:pt x="302" y="1578"/>
                  </a:moveTo>
                  <a:lnTo>
                    <a:pt x="302" y="1578"/>
                  </a:lnTo>
                  <a:lnTo>
                    <a:pt x="300" y="1580"/>
                  </a:lnTo>
                  <a:lnTo>
                    <a:pt x="300" y="1582"/>
                  </a:lnTo>
                  <a:lnTo>
                    <a:pt x="302" y="1582"/>
                  </a:lnTo>
                  <a:lnTo>
                    <a:pt x="304" y="1584"/>
                  </a:lnTo>
                  <a:lnTo>
                    <a:pt x="306" y="1582"/>
                  </a:lnTo>
                  <a:lnTo>
                    <a:pt x="306" y="1580"/>
                  </a:lnTo>
                  <a:lnTo>
                    <a:pt x="304" y="1578"/>
                  </a:lnTo>
                  <a:lnTo>
                    <a:pt x="302" y="1578"/>
                  </a:lnTo>
                  <a:close/>
                  <a:moveTo>
                    <a:pt x="160" y="1386"/>
                  </a:moveTo>
                  <a:lnTo>
                    <a:pt x="160" y="1386"/>
                  </a:lnTo>
                  <a:lnTo>
                    <a:pt x="158" y="1382"/>
                  </a:lnTo>
                  <a:lnTo>
                    <a:pt x="154" y="1378"/>
                  </a:lnTo>
                  <a:lnTo>
                    <a:pt x="150" y="1378"/>
                  </a:lnTo>
                  <a:lnTo>
                    <a:pt x="148" y="1378"/>
                  </a:lnTo>
                  <a:lnTo>
                    <a:pt x="148" y="1380"/>
                  </a:lnTo>
                  <a:lnTo>
                    <a:pt x="148" y="1382"/>
                  </a:lnTo>
                  <a:lnTo>
                    <a:pt x="152" y="1384"/>
                  </a:lnTo>
                  <a:lnTo>
                    <a:pt x="156" y="1386"/>
                  </a:lnTo>
                  <a:lnTo>
                    <a:pt x="160" y="1386"/>
                  </a:lnTo>
                  <a:close/>
                  <a:moveTo>
                    <a:pt x="320" y="1546"/>
                  </a:moveTo>
                  <a:lnTo>
                    <a:pt x="320" y="1546"/>
                  </a:lnTo>
                  <a:lnTo>
                    <a:pt x="318" y="1546"/>
                  </a:lnTo>
                  <a:lnTo>
                    <a:pt x="316" y="1546"/>
                  </a:lnTo>
                  <a:lnTo>
                    <a:pt x="314" y="1548"/>
                  </a:lnTo>
                  <a:lnTo>
                    <a:pt x="312" y="1552"/>
                  </a:lnTo>
                  <a:lnTo>
                    <a:pt x="314" y="1552"/>
                  </a:lnTo>
                  <a:lnTo>
                    <a:pt x="318" y="1552"/>
                  </a:lnTo>
                  <a:lnTo>
                    <a:pt x="318" y="1550"/>
                  </a:lnTo>
                  <a:lnTo>
                    <a:pt x="320" y="1548"/>
                  </a:lnTo>
                  <a:lnTo>
                    <a:pt x="322" y="1546"/>
                  </a:lnTo>
                  <a:lnTo>
                    <a:pt x="320" y="1546"/>
                  </a:lnTo>
                  <a:close/>
                  <a:moveTo>
                    <a:pt x="354" y="1486"/>
                  </a:moveTo>
                  <a:lnTo>
                    <a:pt x="354" y="1486"/>
                  </a:lnTo>
                  <a:lnTo>
                    <a:pt x="356" y="1488"/>
                  </a:lnTo>
                  <a:lnTo>
                    <a:pt x="356" y="1490"/>
                  </a:lnTo>
                  <a:lnTo>
                    <a:pt x="358" y="1488"/>
                  </a:lnTo>
                  <a:lnTo>
                    <a:pt x="362" y="1490"/>
                  </a:lnTo>
                  <a:lnTo>
                    <a:pt x="364" y="1492"/>
                  </a:lnTo>
                  <a:lnTo>
                    <a:pt x="364" y="1490"/>
                  </a:lnTo>
                  <a:lnTo>
                    <a:pt x="366" y="1488"/>
                  </a:lnTo>
                  <a:lnTo>
                    <a:pt x="370" y="1490"/>
                  </a:lnTo>
                  <a:lnTo>
                    <a:pt x="372" y="1492"/>
                  </a:lnTo>
                  <a:lnTo>
                    <a:pt x="372" y="1494"/>
                  </a:lnTo>
                  <a:lnTo>
                    <a:pt x="370" y="1500"/>
                  </a:lnTo>
                  <a:lnTo>
                    <a:pt x="368" y="1506"/>
                  </a:lnTo>
                  <a:lnTo>
                    <a:pt x="368" y="1508"/>
                  </a:lnTo>
                  <a:lnTo>
                    <a:pt x="370" y="1512"/>
                  </a:lnTo>
                  <a:lnTo>
                    <a:pt x="372" y="1512"/>
                  </a:lnTo>
                  <a:lnTo>
                    <a:pt x="372" y="1510"/>
                  </a:lnTo>
                  <a:lnTo>
                    <a:pt x="374" y="1502"/>
                  </a:lnTo>
                  <a:lnTo>
                    <a:pt x="376" y="1496"/>
                  </a:lnTo>
                  <a:lnTo>
                    <a:pt x="374" y="1490"/>
                  </a:lnTo>
                  <a:lnTo>
                    <a:pt x="374" y="1488"/>
                  </a:lnTo>
                  <a:lnTo>
                    <a:pt x="376" y="1484"/>
                  </a:lnTo>
                  <a:lnTo>
                    <a:pt x="380" y="1476"/>
                  </a:lnTo>
                  <a:lnTo>
                    <a:pt x="380" y="1472"/>
                  </a:lnTo>
                  <a:lnTo>
                    <a:pt x="378" y="1474"/>
                  </a:lnTo>
                  <a:lnTo>
                    <a:pt x="376" y="1476"/>
                  </a:lnTo>
                  <a:lnTo>
                    <a:pt x="376" y="1474"/>
                  </a:lnTo>
                  <a:lnTo>
                    <a:pt x="376" y="1472"/>
                  </a:lnTo>
                  <a:lnTo>
                    <a:pt x="374" y="1470"/>
                  </a:lnTo>
                  <a:lnTo>
                    <a:pt x="372" y="1470"/>
                  </a:lnTo>
                  <a:lnTo>
                    <a:pt x="372" y="1472"/>
                  </a:lnTo>
                  <a:lnTo>
                    <a:pt x="370" y="1474"/>
                  </a:lnTo>
                  <a:lnTo>
                    <a:pt x="370" y="1472"/>
                  </a:lnTo>
                  <a:lnTo>
                    <a:pt x="370" y="1462"/>
                  </a:lnTo>
                  <a:lnTo>
                    <a:pt x="370" y="1460"/>
                  </a:lnTo>
                  <a:lnTo>
                    <a:pt x="368" y="1460"/>
                  </a:lnTo>
                  <a:lnTo>
                    <a:pt x="364" y="1464"/>
                  </a:lnTo>
                  <a:lnTo>
                    <a:pt x="358" y="1468"/>
                  </a:lnTo>
                  <a:lnTo>
                    <a:pt x="358" y="1470"/>
                  </a:lnTo>
                  <a:lnTo>
                    <a:pt x="364" y="1474"/>
                  </a:lnTo>
                  <a:lnTo>
                    <a:pt x="368" y="1476"/>
                  </a:lnTo>
                  <a:lnTo>
                    <a:pt x="368" y="1480"/>
                  </a:lnTo>
                  <a:lnTo>
                    <a:pt x="366" y="1482"/>
                  </a:lnTo>
                  <a:lnTo>
                    <a:pt x="360" y="1482"/>
                  </a:lnTo>
                  <a:lnTo>
                    <a:pt x="356" y="1482"/>
                  </a:lnTo>
                  <a:lnTo>
                    <a:pt x="356" y="1484"/>
                  </a:lnTo>
                  <a:lnTo>
                    <a:pt x="354" y="1486"/>
                  </a:lnTo>
                  <a:close/>
                  <a:moveTo>
                    <a:pt x="312" y="1560"/>
                  </a:moveTo>
                  <a:lnTo>
                    <a:pt x="312" y="1560"/>
                  </a:lnTo>
                  <a:lnTo>
                    <a:pt x="312" y="1562"/>
                  </a:lnTo>
                  <a:lnTo>
                    <a:pt x="314" y="1562"/>
                  </a:lnTo>
                  <a:lnTo>
                    <a:pt x="318" y="1560"/>
                  </a:lnTo>
                  <a:lnTo>
                    <a:pt x="316" y="1558"/>
                  </a:lnTo>
                  <a:lnTo>
                    <a:pt x="314" y="1556"/>
                  </a:lnTo>
                  <a:lnTo>
                    <a:pt x="312" y="1560"/>
                  </a:lnTo>
                  <a:close/>
                  <a:moveTo>
                    <a:pt x="744" y="1294"/>
                  </a:moveTo>
                  <a:lnTo>
                    <a:pt x="744" y="1294"/>
                  </a:lnTo>
                  <a:lnTo>
                    <a:pt x="746" y="1296"/>
                  </a:lnTo>
                  <a:lnTo>
                    <a:pt x="748" y="1296"/>
                  </a:lnTo>
                  <a:lnTo>
                    <a:pt x="750" y="1294"/>
                  </a:lnTo>
                  <a:lnTo>
                    <a:pt x="752" y="1292"/>
                  </a:lnTo>
                  <a:lnTo>
                    <a:pt x="748" y="1288"/>
                  </a:lnTo>
                  <a:lnTo>
                    <a:pt x="746" y="1288"/>
                  </a:lnTo>
                  <a:lnTo>
                    <a:pt x="744" y="1290"/>
                  </a:lnTo>
                  <a:lnTo>
                    <a:pt x="744" y="1294"/>
                  </a:lnTo>
                  <a:close/>
                  <a:moveTo>
                    <a:pt x="380" y="1462"/>
                  </a:moveTo>
                  <a:lnTo>
                    <a:pt x="380" y="1462"/>
                  </a:lnTo>
                  <a:lnTo>
                    <a:pt x="382" y="1460"/>
                  </a:lnTo>
                  <a:lnTo>
                    <a:pt x="382" y="1456"/>
                  </a:lnTo>
                  <a:lnTo>
                    <a:pt x="382" y="1454"/>
                  </a:lnTo>
                  <a:lnTo>
                    <a:pt x="380" y="1454"/>
                  </a:lnTo>
                  <a:lnTo>
                    <a:pt x="378" y="1454"/>
                  </a:lnTo>
                  <a:lnTo>
                    <a:pt x="378" y="1456"/>
                  </a:lnTo>
                  <a:lnTo>
                    <a:pt x="376" y="1460"/>
                  </a:lnTo>
                  <a:lnTo>
                    <a:pt x="374" y="1462"/>
                  </a:lnTo>
                  <a:lnTo>
                    <a:pt x="376" y="1468"/>
                  </a:lnTo>
                  <a:lnTo>
                    <a:pt x="378" y="1468"/>
                  </a:lnTo>
                  <a:lnTo>
                    <a:pt x="378" y="1466"/>
                  </a:lnTo>
                  <a:lnTo>
                    <a:pt x="380" y="1464"/>
                  </a:lnTo>
                  <a:lnTo>
                    <a:pt x="380" y="1462"/>
                  </a:lnTo>
                  <a:close/>
                  <a:moveTo>
                    <a:pt x="134" y="1090"/>
                  </a:moveTo>
                  <a:lnTo>
                    <a:pt x="134" y="1090"/>
                  </a:lnTo>
                  <a:lnTo>
                    <a:pt x="148" y="1086"/>
                  </a:lnTo>
                  <a:lnTo>
                    <a:pt x="158" y="1086"/>
                  </a:lnTo>
                  <a:lnTo>
                    <a:pt x="190" y="1088"/>
                  </a:lnTo>
                  <a:lnTo>
                    <a:pt x="200" y="1088"/>
                  </a:lnTo>
                  <a:lnTo>
                    <a:pt x="202" y="1090"/>
                  </a:lnTo>
                  <a:lnTo>
                    <a:pt x="202" y="1092"/>
                  </a:lnTo>
                  <a:lnTo>
                    <a:pt x="198" y="1094"/>
                  </a:lnTo>
                  <a:lnTo>
                    <a:pt x="186" y="1100"/>
                  </a:lnTo>
                  <a:lnTo>
                    <a:pt x="182" y="1104"/>
                  </a:lnTo>
                  <a:lnTo>
                    <a:pt x="180" y="1108"/>
                  </a:lnTo>
                  <a:lnTo>
                    <a:pt x="182" y="1110"/>
                  </a:lnTo>
                  <a:lnTo>
                    <a:pt x="186" y="1112"/>
                  </a:lnTo>
                  <a:lnTo>
                    <a:pt x="196" y="1112"/>
                  </a:lnTo>
                  <a:lnTo>
                    <a:pt x="204" y="1114"/>
                  </a:lnTo>
                  <a:lnTo>
                    <a:pt x="198" y="1118"/>
                  </a:lnTo>
                  <a:lnTo>
                    <a:pt x="190" y="1120"/>
                  </a:lnTo>
                  <a:lnTo>
                    <a:pt x="182" y="1120"/>
                  </a:lnTo>
                  <a:lnTo>
                    <a:pt x="174" y="1118"/>
                  </a:lnTo>
                  <a:lnTo>
                    <a:pt x="166" y="1116"/>
                  </a:lnTo>
                  <a:lnTo>
                    <a:pt x="162" y="1116"/>
                  </a:lnTo>
                  <a:lnTo>
                    <a:pt x="156" y="1120"/>
                  </a:lnTo>
                  <a:lnTo>
                    <a:pt x="150" y="1122"/>
                  </a:lnTo>
                  <a:lnTo>
                    <a:pt x="144" y="1124"/>
                  </a:lnTo>
                  <a:lnTo>
                    <a:pt x="132" y="1124"/>
                  </a:lnTo>
                  <a:lnTo>
                    <a:pt x="122" y="1126"/>
                  </a:lnTo>
                  <a:lnTo>
                    <a:pt x="120" y="1130"/>
                  </a:lnTo>
                  <a:lnTo>
                    <a:pt x="120" y="1132"/>
                  </a:lnTo>
                  <a:lnTo>
                    <a:pt x="122" y="1136"/>
                  </a:lnTo>
                  <a:lnTo>
                    <a:pt x="124" y="1138"/>
                  </a:lnTo>
                  <a:lnTo>
                    <a:pt x="134" y="1136"/>
                  </a:lnTo>
                  <a:lnTo>
                    <a:pt x="152" y="1134"/>
                  </a:lnTo>
                  <a:lnTo>
                    <a:pt x="162" y="1134"/>
                  </a:lnTo>
                  <a:lnTo>
                    <a:pt x="174" y="1136"/>
                  </a:lnTo>
                  <a:lnTo>
                    <a:pt x="180" y="1138"/>
                  </a:lnTo>
                  <a:lnTo>
                    <a:pt x="184" y="1140"/>
                  </a:lnTo>
                  <a:lnTo>
                    <a:pt x="186" y="1142"/>
                  </a:lnTo>
                  <a:lnTo>
                    <a:pt x="186" y="1146"/>
                  </a:lnTo>
                  <a:lnTo>
                    <a:pt x="186" y="1152"/>
                  </a:lnTo>
                  <a:lnTo>
                    <a:pt x="188" y="1154"/>
                  </a:lnTo>
                  <a:lnTo>
                    <a:pt x="190" y="1156"/>
                  </a:lnTo>
                  <a:lnTo>
                    <a:pt x="198" y="1160"/>
                  </a:lnTo>
                  <a:lnTo>
                    <a:pt x="202" y="1166"/>
                  </a:lnTo>
                  <a:lnTo>
                    <a:pt x="202" y="1174"/>
                  </a:lnTo>
                  <a:lnTo>
                    <a:pt x="198" y="1184"/>
                  </a:lnTo>
                  <a:lnTo>
                    <a:pt x="196" y="1186"/>
                  </a:lnTo>
                  <a:lnTo>
                    <a:pt x="190" y="1186"/>
                  </a:lnTo>
                  <a:lnTo>
                    <a:pt x="180" y="1184"/>
                  </a:lnTo>
                  <a:lnTo>
                    <a:pt x="172" y="1184"/>
                  </a:lnTo>
                  <a:lnTo>
                    <a:pt x="170" y="1186"/>
                  </a:lnTo>
                  <a:lnTo>
                    <a:pt x="170" y="1190"/>
                  </a:lnTo>
                  <a:lnTo>
                    <a:pt x="172" y="1196"/>
                  </a:lnTo>
                  <a:lnTo>
                    <a:pt x="174" y="1198"/>
                  </a:lnTo>
                  <a:lnTo>
                    <a:pt x="176" y="1200"/>
                  </a:lnTo>
                  <a:lnTo>
                    <a:pt x="182" y="1202"/>
                  </a:lnTo>
                  <a:lnTo>
                    <a:pt x="196" y="1202"/>
                  </a:lnTo>
                  <a:lnTo>
                    <a:pt x="220" y="1200"/>
                  </a:lnTo>
                  <a:lnTo>
                    <a:pt x="232" y="1200"/>
                  </a:lnTo>
                  <a:lnTo>
                    <a:pt x="242" y="1202"/>
                  </a:lnTo>
                  <a:lnTo>
                    <a:pt x="252" y="1206"/>
                  </a:lnTo>
                  <a:lnTo>
                    <a:pt x="260" y="1208"/>
                  </a:lnTo>
                  <a:lnTo>
                    <a:pt x="274" y="1216"/>
                  </a:lnTo>
                  <a:lnTo>
                    <a:pt x="282" y="1218"/>
                  </a:lnTo>
                  <a:lnTo>
                    <a:pt x="292" y="1220"/>
                  </a:lnTo>
                  <a:lnTo>
                    <a:pt x="300" y="1220"/>
                  </a:lnTo>
                  <a:lnTo>
                    <a:pt x="308" y="1224"/>
                  </a:lnTo>
                  <a:lnTo>
                    <a:pt x="318" y="1228"/>
                  </a:lnTo>
                  <a:lnTo>
                    <a:pt x="322" y="1230"/>
                  </a:lnTo>
                  <a:lnTo>
                    <a:pt x="328" y="1232"/>
                  </a:lnTo>
                  <a:lnTo>
                    <a:pt x="336" y="1232"/>
                  </a:lnTo>
                  <a:lnTo>
                    <a:pt x="346" y="1230"/>
                  </a:lnTo>
                  <a:lnTo>
                    <a:pt x="356" y="1226"/>
                  </a:lnTo>
                  <a:lnTo>
                    <a:pt x="362" y="1222"/>
                  </a:lnTo>
                  <a:lnTo>
                    <a:pt x="368" y="1214"/>
                  </a:lnTo>
                  <a:lnTo>
                    <a:pt x="370" y="1210"/>
                  </a:lnTo>
                  <a:lnTo>
                    <a:pt x="374" y="1206"/>
                  </a:lnTo>
                  <a:lnTo>
                    <a:pt x="380" y="1206"/>
                  </a:lnTo>
                  <a:lnTo>
                    <a:pt x="388" y="1206"/>
                  </a:lnTo>
                  <a:lnTo>
                    <a:pt x="396" y="1204"/>
                  </a:lnTo>
                  <a:lnTo>
                    <a:pt x="404" y="1204"/>
                  </a:lnTo>
                  <a:lnTo>
                    <a:pt x="418" y="1198"/>
                  </a:lnTo>
                  <a:lnTo>
                    <a:pt x="452" y="1176"/>
                  </a:lnTo>
                  <a:lnTo>
                    <a:pt x="462" y="1172"/>
                  </a:lnTo>
                  <a:lnTo>
                    <a:pt x="470" y="1170"/>
                  </a:lnTo>
                  <a:lnTo>
                    <a:pt x="484" y="1168"/>
                  </a:lnTo>
                  <a:lnTo>
                    <a:pt x="488" y="1166"/>
                  </a:lnTo>
                  <a:lnTo>
                    <a:pt x="494" y="1164"/>
                  </a:lnTo>
                  <a:lnTo>
                    <a:pt x="500" y="1160"/>
                  </a:lnTo>
                  <a:lnTo>
                    <a:pt x="504" y="1154"/>
                  </a:lnTo>
                  <a:lnTo>
                    <a:pt x="514" y="1142"/>
                  </a:lnTo>
                  <a:lnTo>
                    <a:pt x="522" y="1136"/>
                  </a:lnTo>
                  <a:lnTo>
                    <a:pt x="528" y="1134"/>
                  </a:lnTo>
                  <a:lnTo>
                    <a:pt x="534" y="1126"/>
                  </a:lnTo>
                  <a:lnTo>
                    <a:pt x="540" y="1112"/>
                  </a:lnTo>
                  <a:lnTo>
                    <a:pt x="542" y="1104"/>
                  </a:lnTo>
                  <a:lnTo>
                    <a:pt x="542" y="1098"/>
                  </a:lnTo>
                  <a:lnTo>
                    <a:pt x="542" y="1090"/>
                  </a:lnTo>
                  <a:lnTo>
                    <a:pt x="538" y="1086"/>
                  </a:lnTo>
                  <a:lnTo>
                    <a:pt x="532" y="1082"/>
                  </a:lnTo>
                  <a:lnTo>
                    <a:pt x="526" y="1080"/>
                  </a:lnTo>
                  <a:lnTo>
                    <a:pt x="518" y="1078"/>
                  </a:lnTo>
                  <a:lnTo>
                    <a:pt x="514" y="1076"/>
                  </a:lnTo>
                  <a:lnTo>
                    <a:pt x="510" y="1072"/>
                  </a:lnTo>
                  <a:lnTo>
                    <a:pt x="506" y="1068"/>
                  </a:lnTo>
                  <a:lnTo>
                    <a:pt x="502" y="1066"/>
                  </a:lnTo>
                  <a:lnTo>
                    <a:pt x="496" y="1068"/>
                  </a:lnTo>
                  <a:lnTo>
                    <a:pt x="494" y="1066"/>
                  </a:lnTo>
                  <a:lnTo>
                    <a:pt x="492" y="1064"/>
                  </a:lnTo>
                  <a:lnTo>
                    <a:pt x="496" y="1058"/>
                  </a:lnTo>
                  <a:lnTo>
                    <a:pt x="500" y="1052"/>
                  </a:lnTo>
                  <a:lnTo>
                    <a:pt x="500" y="1048"/>
                  </a:lnTo>
                  <a:lnTo>
                    <a:pt x="496" y="1046"/>
                  </a:lnTo>
                  <a:lnTo>
                    <a:pt x="492" y="1046"/>
                  </a:lnTo>
                  <a:lnTo>
                    <a:pt x="486" y="1044"/>
                  </a:lnTo>
                  <a:lnTo>
                    <a:pt x="484" y="1044"/>
                  </a:lnTo>
                  <a:lnTo>
                    <a:pt x="484" y="1040"/>
                  </a:lnTo>
                  <a:lnTo>
                    <a:pt x="488" y="1036"/>
                  </a:lnTo>
                  <a:lnTo>
                    <a:pt x="500" y="1028"/>
                  </a:lnTo>
                  <a:lnTo>
                    <a:pt x="500" y="1024"/>
                  </a:lnTo>
                  <a:lnTo>
                    <a:pt x="500" y="1022"/>
                  </a:lnTo>
                  <a:lnTo>
                    <a:pt x="494" y="1022"/>
                  </a:lnTo>
                  <a:lnTo>
                    <a:pt x="484" y="1026"/>
                  </a:lnTo>
                  <a:lnTo>
                    <a:pt x="474" y="1032"/>
                  </a:lnTo>
                  <a:lnTo>
                    <a:pt x="466" y="1036"/>
                  </a:lnTo>
                  <a:lnTo>
                    <a:pt x="462" y="1036"/>
                  </a:lnTo>
                  <a:lnTo>
                    <a:pt x="460" y="1034"/>
                  </a:lnTo>
                  <a:lnTo>
                    <a:pt x="456" y="1028"/>
                  </a:lnTo>
                  <a:lnTo>
                    <a:pt x="450" y="1020"/>
                  </a:lnTo>
                  <a:lnTo>
                    <a:pt x="446" y="1016"/>
                  </a:lnTo>
                  <a:lnTo>
                    <a:pt x="442" y="1012"/>
                  </a:lnTo>
                  <a:lnTo>
                    <a:pt x="436" y="1012"/>
                  </a:lnTo>
                  <a:lnTo>
                    <a:pt x="430" y="1012"/>
                  </a:lnTo>
                  <a:lnTo>
                    <a:pt x="424" y="1014"/>
                  </a:lnTo>
                  <a:lnTo>
                    <a:pt x="420" y="1018"/>
                  </a:lnTo>
                  <a:lnTo>
                    <a:pt x="418" y="1022"/>
                  </a:lnTo>
                  <a:lnTo>
                    <a:pt x="420" y="1026"/>
                  </a:lnTo>
                  <a:lnTo>
                    <a:pt x="424" y="1034"/>
                  </a:lnTo>
                  <a:lnTo>
                    <a:pt x="424" y="1038"/>
                  </a:lnTo>
                  <a:lnTo>
                    <a:pt x="424" y="1040"/>
                  </a:lnTo>
                  <a:lnTo>
                    <a:pt x="420" y="1042"/>
                  </a:lnTo>
                  <a:lnTo>
                    <a:pt x="418" y="1042"/>
                  </a:lnTo>
                  <a:lnTo>
                    <a:pt x="406" y="1038"/>
                  </a:lnTo>
                  <a:lnTo>
                    <a:pt x="402" y="1036"/>
                  </a:lnTo>
                  <a:lnTo>
                    <a:pt x="396" y="1038"/>
                  </a:lnTo>
                  <a:lnTo>
                    <a:pt x="390" y="1046"/>
                  </a:lnTo>
                  <a:lnTo>
                    <a:pt x="386" y="1050"/>
                  </a:lnTo>
                  <a:lnTo>
                    <a:pt x="382" y="1052"/>
                  </a:lnTo>
                  <a:lnTo>
                    <a:pt x="378" y="1052"/>
                  </a:lnTo>
                  <a:lnTo>
                    <a:pt x="374" y="1048"/>
                  </a:lnTo>
                  <a:lnTo>
                    <a:pt x="362" y="1038"/>
                  </a:lnTo>
                  <a:lnTo>
                    <a:pt x="358" y="1038"/>
                  </a:lnTo>
                  <a:lnTo>
                    <a:pt x="356" y="1038"/>
                  </a:lnTo>
                  <a:lnTo>
                    <a:pt x="354" y="1038"/>
                  </a:lnTo>
                  <a:lnTo>
                    <a:pt x="352" y="1042"/>
                  </a:lnTo>
                  <a:lnTo>
                    <a:pt x="352" y="1052"/>
                  </a:lnTo>
                  <a:lnTo>
                    <a:pt x="352" y="1056"/>
                  </a:lnTo>
                  <a:lnTo>
                    <a:pt x="350" y="1058"/>
                  </a:lnTo>
                  <a:lnTo>
                    <a:pt x="350" y="1060"/>
                  </a:lnTo>
                  <a:lnTo>
                    <a:pt x="346" y="1058"/>
                  </a:lnTo>
                  <a:lnTo>
                    <a:pt x="342" y="1052"/>
                  </a:lnTo>
                  <a:lnTo>
                    <a:pt x="338" y="1042"/>
                  </a:lnTo>
                  <a:lnTo>
                    <a:pt x="336" y="1038"/>
                  </a:lnTo>
                  <a:lnTo>
                    <a:pt x="330" y="1036"/>
                  </a:lnTo>
                  <a:lnTo>
                    <a:pt x="326" y="1036"/>
                  </a:lnTo>
                  <a:lnTo>
                    <a:pt x="320" y="1038"/>
                  </a:lnTo>
                  <a:lnTo>
                    <a:pt x="314" y="1042"/>
                  </a:lnTo>
                  <a:lnTo>
                    <a:pt x="308" y="1048"/>
                  </a:lnTo>
                  <a:lnTo>
                    <a:pt x="306" y="1054"/>
                  </a:lnTo>
                  <a:lnTo>
                    <a:pt x="306" y="1060"/>
                  </a:lnTo>
                  <a:lnTo>
                    <a:pt x="304" y="1070"/>
                  </a:lnTo>
                  <a:lnTo>
                    <a:pt x="304" y="1072"/>
                  </a:lnTo>
                  <a:lnTo>
                    <a:pt x="302" y="1072"/>
                  </a:lnTo>
                  <a:lnTo>
                    <a:pt x="294" y="1066"/>
                  </a:lnTo>
                  <a:lnTo>
                    <a:pt x="286" y="1052"/>
                  </a:lnTo>
                  <a:lnTo>
                    <a:pt x="280" y="1044"/>
                  </a:lnTo>
                  <a:lnTo>
                    <a:pt x="276" y="1042"/>
                  </a:lnTo>
                  <a:lnTo>
                    <a:pt x="272" y="1040"/>
                  </a:lnTo>
                  <a:lnTo>
                    <a:pt x="268" y="1042"/>
                  </a:lnTo>
                  <a:lnTo>
                    <a:pt x="266" y="1046"/>
                  </a:lnTo>
                  <a:lnTo>
                    <a:pt x="266" y="1052"/>
                  </a:lnTo>
                  <a:lnTo>
                    <a:pt x="266" y="1056"/>
                  </a:lnTo>
                  <a:lnTo>
                    <a:pt x="268" y="1062"/>
                  </a:lnTo>
                  <a:lnTo>
                    <a:pt x="270" y="1074"/>
                  </a:lnTo>
                  <a:lnTo>
                    <a:pt x="270" y="1078"/>
                  </a:lnTo>
                  <a:lnTo>
                    <a:pt x="270" y="1080"/>
                  </a:lnTo>
                  <a:lnTo>
                    <a:pt x="266" y="1082"/>
                  </a:lnTo>
                  <a:lnTo>
                    <a:pt x="264" y="1082"/>
                  </a:lnTo>
                  <a:lnTo>
                    <a:pt x="260" y="1080"/>
                  </a:lnTo>
                  <a:lnTo>
                    <a:pt x="256" y="1074"/>
                  </a:lnTo>
                  <a:lnTo>
                    <a:pt x="252" y="1070"/>
                  </a:lnTo>
                  <a:lnTo>
                    <a:pt x="248" y="1072"/>
                  </a:lnTo>
                  <a:lnTo>
                    <a:pt x="246" y="1076"/>
                  </a:lnTo>
                  <a:lnTo>
                    <a:pt x="242" y="1082"/>
                  </a:lnTo>
                  <a:lnTo>
                    <a:pt x="240" y="1088"/>
                  </a:lnTo>
                  <a:lnTo>
                    <a:pt x="236" y="1090"/>
                  </a:lnTo>
                  <a:lnTo>
                    <a:pt x="234" y="1092"/>
                  </a:lnTo>
                  <a:lnTo>
                    <a:pt x="232" y="1090"/>
                  </a:lnTo>
                  <a:lnTo>
                    <a:pt x="228" y="1084"/>
                  </a:lnTo>
                  <a:lnTo>
                    <a:pt x="226" y="1076"/>
                  </a:lnTo>
                  <a:lnTo>
                    <a:pt x="226" y="1070"/>
                  </a:lnTo>
                  <a:lnTo>
                    <a:pt x="228" y="1060"/>
                  </a:lnTo>
                  <a:lnTo>
                    <a:pt x="228" y="1058"/>
                  </a:lnTo>
                  <a:lnTo>
                    <a:pt x="228" y="1054"/>
                  </a:lnTo>
                  <a:lnTo>
                    <a:pt x="224" y="1050"/>
                  </a:lnTo>
                  <a:lnTo>
                    <a:pt x="216" y="1046"/>
                  </a:lnTo>
                  <a:lnTo>
                    <a:pt x="204" y="1036"/>
                  </a:lnTo>
                  <a:lnTo>
                    <a:pt x="200" y="1030"/>
                  </a:lnTo>
                  <a:lnTo>
                    <a:pt x="194" y="1026"/>
                  </a:lnTo>
                  <a:lnTo>
                    <a:pt x="184" y="1020"/>
                  </a:lnTo>
                  <a:lnTo>
                    <a:pt x="174" y="1018"/>
                  </a:lnTo>
                  <a:lnTo>
                    <a:pt x="168" y="1018"/>
                  </a:lnTo>
                  <a:lnTo>
                    <a:pt x="162" y="1018"/>
                  </a:lnTo>
                  <a:lnTo>
                    <a:pt x="158" y="1020"/>
                  </a:lnTo>
                  <a:lnTo>
                    <a:pt x="154" y="1024"/>
                  </a:lnTo>
                  <a:lnTo>
                    <a:pt x="152" y="1026"/>
                  </a:lnTo>
                  <a:lnTo>
                    <a:pt x="152" y="1030"/>
                  </a:lnTo>
                  <a:lnTo>
                    <a:pt x="154" y="1032"/>
                  </a:lnTo>
                  <a:lnTo>
                    <a:pt x="162" y="1038"/>
                  </a:lnTo>
                  <a:lnTo>
                    <a:pt x="170" y="1042"/>
                  </a:lnTo>
                  <a:lnTo>
                    <a:pt x="180" y="1048"/>
                  </a:lnTo>
                  <a:lnTo>
                    <a:pt x="186" y="1054"/>
                  </a:lnTo>
                  <a:lnTo>
                    <a:pt x="188" y="1058"/>
                  </a:lnTo>
                  <a:lnTo>
                    <a:pt x="186" y="1058"/>
                  </a:lnTo>
                  <a:lnTo>
                    <a:pt x="178" y="1056"/>
                  </a:lnTo>
                  <a:lnTo>
                    <a:pt x="166" y="1048"/>
                  </a:lnTo>
                  <a:lnTo>
                    <a:pt x="154" y="1040"/>
                  </a:lnTo>
                  <a:lnTo>
                    <a:pt x="148" y="1038"/>
                  </a:lnTo>
                  <a:lnTo>
                    <a:pt x="144" y="1036"/>
                  </a:lnTo>
                  <a:lnTo>
                    <a:pt x="140" y="1038"/>
                  </a:lnTo>
                  <a:lnTo>
                    <a:pt x="136" y="1040"/>
                  </a:lnTo>
                  <a:lnTo>
                    <a:pt x="130" y="1048"/>
                  </a:lnTo>
                  <a:lnTo>
                    <a:pt x="128" y="1058"/>
                  </a:lnTo>
                  <a:lnTo>
                    <a:pt x="128" y="1064"/>
                  </a:lnTo>
                  <a:lnTo>
                    <a:pt x="126" y="1066"/>
                  </a:lnTo>
                  <a:lnTo>
                    <a:pt x="122" y="1068"/>
                  </a:lnTo>
                  <a:lnTo>
                    <a:pt x="118" y="1068"/>
                  </a:lnTo>
                  <a:lnTo>
                    <a:pt x="116" y="1070"/>
                  </a:lnTo>
                  <a:lnTo>
                    <a:pt x="116" y="1074"/>
                  </a:lnTo>
                  <a:lnTo>
                    <a:pt x="114" y="1080"/>
                  </a:lnTo>
                  <a:lnTo>
                    <a:pt x="112" y="1080"/>
                  </a:lnTo>
                  <a:lnTo>
                    <a:pt x="106" y="1078"/>
                  </a:lnTo>
                  <a:lnTo>
                    <a:pt x="102" y="1078"/>
                  </a:lnTo>
                  <a:lnTo>
                    <a:pt x="98" y="1080"/>
                  </a:lnTo>
                  <a:lnTo>
                    <a:pt x="96" y="1082"/>
                  </a:lnTo>
                  <a:lnTo>
                    <a:pt x="96" y="1084"/>
                  </a:lnTo>
                  <a:lnTo>
                    <a:pt x="100" y="1086"/>
                  </a:lnTo>
                  <a:lnTo>
                    <a:pt x="104" y="1090"/>
                  </a:lnTo>
                  <a:lnTo>
                    <a:pt x="118" y="1092"/>
                  </a:lnTo>
                  <a:lnTo>
                    <a:pt x="126" y="1092"/>
                  </a:lnTo>
                  <a:lnTo>
                    <a:pt x="134" y="1090"/>
                  </a:lnTo>
                  <a:close/>
                  <a:moveTo>
                    <a:pt x="306" y="1550"/>
                  </a:moveTo>
                  <a:lnTo>
                    <a:pt x="306" y="1550"/>
                  </a:lnTo>
                  <a:lnTo>
                    <a:pt x="304" y="1546"/>
                  </a:lnTo>
                  <a:lnTo>
                    <a:pt x="302" y="1544"/>
                  </a:lnTo>
                  <a:lnTo>
                    <a:pt x="300" y="1544"/>
                  </a:lnTo>
                  <a:lnTo>
                    <a:pt x="300" y="1546"/>
                  </a:lnTo>
                  <a:lnTo>
                    <a:pt x="302" y="1548"/>
                  </a:lnTo>
                  <a:lnTo>
                    <a:pt x="306" y="1550"/>
                  </a:lnTo>
                  <a:close/>
                  <a:moveTo>
                    <a:pt x="294" y="1582"/>
                  </a:moveTo>
                  <a:lnTo>
                    <a:pt x="294" y="1582"/>
                  </a:lnTo>
                  <a:lnTo>
                    <a:pt x="296" y="1580"/>
                  </a:lnTo>
                  <a:lnTo>
                    <a:pt x="294" y="1576"/>
                  </a:lnTo>
                  <a:lnTo>
                    <a:pt x="290" y="1572"/>
                  </a:lnTo>
                  <a:lnTo>
                    <a:pt x="288" y="1572"/>
                  </a:lnTo>
                  <a:lnTo>
                    <a:pt x="286" y="1574"/>
                  </a:lnTo>
                  <a:lnTo>
                    <a:pt x="286" y="1576"/>
                  </a:lnTo>
                  <a:lnTo>
                    <a:pt x="290" y="1580"/>
                  </a:lnTo>
                  <a:lnTo>
                    <a:pt x="294" y="1582"/>
                  </a:lnTo>
                  <a:close/>
                  <a:moveTo>
                    <a:pt x="134" y="1350"/>
                  </a:moveTo>
                  <a:lnTo>
                    <a:pt x="134" y="1350"/>
                  </a:lnTo>
                  <a:lnTo>
                    <a:pt x="134" y="1354"/>
                  </a:lnTo>
                  <a:lnTo>
                    <a:pt x="134" y="1356"/>
                  </a:lnTo>
                  <a:lnTo>
                    <a:pt x="138" y="1360"/>
                  </a:lnTo>
                  <a:lnTo>
                    <a:pt x="140" y="1362"/>
                  </a:lnTo>
                  <a:lnTo>
                    <a:pt x="144" y="1364"/>
                  </a:lnTo>
                  <a:lnTo>
                    <a:pt x="150" y="1372"/>
                  </a:lnTo>
                  <a:lnTo>
                    <a:pt x="154" y="1374"/>
                  </a:lnTo>
                  <a:lnTo>
                    <a:pt x="154" y="1370"/>
                  </a:lnTo>
                  <a:lnTo>
                    <a:pt x="152" y="1364"/>
                  </a:lnTo>
                  <a:lnTo>
                    <a:pt x="148" y="1360"/>
                  </a:lnTo>
                  <a:lnTo>
                    <a:pt x="146" y="1358"/>
                  </a:lnTo>
                  <a:lnTo>
                    <a:pt x="144" y="1358"/>
                  </a:lnTo>
                  <a:lnTo>
                    <a:pt x="142" y="1354"/>
                  </a:lnTo>
                  <a:lnTo>
                    <a:pt x="140" y="1350"/>
                  </a:lnTo>
                  <a:lnTo>
                    <a:pt x="136" y="1348"/>
                  </a:lnTo>
                  <a:lnTo>
                    <a:pt x="134" y="1348"/>
                  </a:lnTo>
                  <a:lnTo>
                    <a:pt x="134" y="1350"/>
                  </a:lnTo>
                  <a:close/>
                  <a:moveTo>
                    <a:pt x="138" y="1658"/>
                  </a:moveTo>
                  <a:lnTo>
                    <a:pt x="138" y="1658"/>
                  </a:lnTo>
                  <a:lnTo>
                    <a:pt x="140" y="1652"/>
                  </a:lnTo>
                  <a:lnTo>
                    <a:pt x="138" y="1650"/>
                  </a:lnTo>
                  <a:lnTo>
                    <a:pt x="136" y="1650"/>
                  </a:lnTo>
                  <a:lnTo>
                    <a:pt x="132" y="1652"/>
                  </a:lnTo>
                  <a:lnTo>
                    <a:pt x="128" y="1652"/>
                  </a:lnTo>
                  <a:lnTo>
                    <a:pt x="124" y="1652"/>
                  </a:lnTo>
                  <a:lnTo>
                    <a:pt x="122" y="1654"/>
                  </a:lnTo>
                  <a:lnTo>
                    <a:pt x="120" y="1656"/>
                  </a:lnTo>
                  <a:lnTo>
                    <a:pt x="122" y="1656"/>
                  </a:lnTo>
                  <a:lnTo>
                    <a:pt x="126" y="1660"/>
                  </a:lnTo>
                  <a:lnTo>
                    <a:pt x="134" y="1660"/>
                  </a:lnTo>
                  <a:lnTo>
                    <a:pt x="136" y="1660"/>
                  </a:lnTo>
                  <a:lnTo>
                    <a:pt x="138" y="1658"/>
                  </a:lnTo>
                  <a:close/>
                  <a:moveTo>
                    <a:pt x="124" y="1360"/>
                  </a:moveTo>
                  <a:lnTo>
                    <a:pt x="124" y="1360"/>
                  </a:lnTo>
                  <a:lnTo>
                    <a:pt x="122" y="1360"/>
                  </a:lnTo>
                  <a:lnTo>
                    <a:pt x="124" y="1362"/>
                  </a:lnTo>
                  <a:lnTo>
                    <a:pt x="132" y="1368"/>
                  </a:lnTo>
                  <a:lnTo>
                    <a:pt x="134" y="1370"/>
                  </a:lnTo>
                  <a:lnTo>
                    <a:pt x="138" y="1368"/>
                  </a:lnTo>
                  <a:lnTo>
                    <a:pt x="138" y="1366"/>
                  </a:lnTo>
                  <a:lnTo>
                    <a:pt x="136" y="1362"/>
                  </a:lnTo>
                  <a:lnTo>
                    <a:pt x="132" y="1358"/>
                  </a:lnTo>
                  <a:lnTo>
                    <a:pt x="130" y="1358"/>
                  </a:lnTo>
                  <a:lnTo>
                    <a:pt x="124" y="1360"/>
                  </a:lnTo>
                  <a:close/>
                  <a:moveTo>
                    <a:pt x="162" y="1352"/>
                  </a:moveTo>
                  <a:lnTo>
                    <a:pt x="162" y="1352"/>
                  </a:lnTo>
                  <a:lnTo>
                    <a:pt x="162" y="1348"/>
                  </a:lnTo>
                  <a:lnTo>
                    <a:pt x="160" y="1344"/>
                  </a:lnTo>
                  <a:lnTo>
                    <a:pt x="160" y="1350"/>
                  </a:lnTo>
                  <a:lnTo>
                    <a:pt x="160" y="1352"/>
                  </a:lnTo>
                  <a:lnTo>
                    <a:pt x="162" y="1352"/>
                  </a:lnTo>
                  <a:close/>
                  <a:moveTo>
                    <a:pt x="128" y="1670"/>
                  </a:moveTo>
                  <a:lnTo>
                    <a:pt x="128" y="1670"/>
                  </a:lnTo>
                  <a:lnTo>
                    <a:pt x="126" y="1670"/>
                  </a:lnTo>
                  <a:lnTo>
                    <a:pt x="124" y="1672"/>
                  </a:lnTo>
                  <a:lnTo>
                    <a:pt x="122" y="1678"/>
                  </a:lnTo>
                  <a:lnTo>
                    <a:pt x="124" y="1686"/>
                  </a:lnTo>
                  <a:lnTo>
                    <a:pt x="126" y="1688"/>
                  </a:lnTo>
                  <a:lnTo>
                    <a:pt x="128" y="1688"/>
                  </a:lnTo>
                  <a:lnTo>
                    <a:pt x="130" y="1688"/>
                  </a:lnTo>
                  <a:lnTo>
                    <a:pt x="130" y="1684"/>
                  </a:lnTo>
                  <a:lnTo>
                    <a:pt x="128" y="1682"/>
                  </a:lnTo>
                  <a:lnTo>
                    <a:pt x="128" y="1680"/>
                  </a:lnTo>
                  <a:lnTo>
                    <a:pt x="130" y="1678"/>
                  </a:lnTo>
                  <a:lnTo>
                    <a:pt x="132" y="1674"/>
                  </a:lnTo>
                  <a:lnTo>
                    <a:pt x="130" y="1672"/>
                  </a:lnTo>
                  <a:lnTo>
                    <a:pt x="128" y="1670"/>
                  </a:lnTo>
                  <a:close/>
                  <a:moveTo>
                    <a:pt x="238" y="1920"/>
                  </a:moveTo>
                  <a:lnTo>
                    <a:pt x="238" y="1920"/>
                  </a:lnTo>
                  <a:lnTo>
                    <a:pt x="236" y="1924"/>
                  </a:lnTo>
                  <a:lnTo>
                    <a:pt x="238" y="1926"/>
                  </a:lnTo>
                  <a:lnTo>
                    <a:pt x="240" y="1930"/>
                  </a:lnTo>
                  <a:lnTo>
                    <a:pt x="246" y="1930"/>
                  </a:lnTo>
                  <a:lnTo>
                    <a:pt x="248" y="1930"/>
                  </a:lnTo>
                  <a:lnTo>
                    <a:pt x="252" y="1926"/>
                  </a:lnTo>
                  <a:lnTo>
                    <a:pt x="252" y="1924"/>
                  </a:lnTo>
                  <a:lnTo>
                    <a:pt x="254" y="1920"/>
                  </a:lnTo>
                  <a:lnTo>
                    <a:pt x="252" y="1918"/>
                  </a:lnTo>
                  <a:lnTo>
                    <a:pt x="250" y="1916"/>
                  </a:lnTo>
                  <a:lnTo>
                    <a:pt x="248" y="1914"/>
                  </a:lnTo>
                  <a:lnTo>
                    <a:pt x="244" y="1916"/>
                  </a:lnTo>
                  <a:lnTo>
                    <a:pt x="240" y="1916"/>
                  </a:lnTo>
                  <a:lnTo>
                    <a:pt x="238" y="1920"/>
                  </a:lnTo>
                  <a:close/>
                  <a:moveTo>
                    <a:pt x="232" y="1878"/>
                  </a:moveTo>
                  <a:lnTo>
                    <a:pt x="232" y="1878"/>
                  </a:lnTo>
                  <a:lnTo>
                    <a:pt x="236" y="1878"/>
                  </a:lnTo>
                  <a:lnTo>
                    <a:pt x="240" y="1876"/>
                  </a:lnTo>
                  <a:lnTo>
                    <a:pt x="246" y="1870"/>
                  </a:lnTo>
                  <a:lnTo>
                    <a:pt x="248" y="1862"/>
                  </a:lnTo>
                  <a:lnTo>
                    <a:pt x="246" y="1858"/>
                  </a:lnTo>
                  <a:lnTo>
                    <a:pt x="244" y="1856"/>
                  </a:lnTo>
                  <a:lnTo>
                    <a:pt x="240" y="1858"/>
                  </a:lnTo>
                  <a:lnTo>
                    <a:pt x="234" y="1866"/>
                  </a:lnTo>
                  <a:lnTo>
                    <a:pt x="230" y="1874"/>
                  </a:lnTo>
                  <a:lnTo>
                    <a:pt x="230" y="1876"/>
                  </a:lnTo>
                  <a:lnTo>
                    <a:pt x="232" y="1878"/>
                  </a:lnTo>
                  <a:close/>
                  <a:moveTo>
                    <a:pt x="290" y="1568"/>
                  </a:moveTo>
                  <a:lnTo>
                    <a:pt x="290" y="1568"/>
                  </a:lnTo>
                  <a:lnTo>
                    <a:pt x="294" y="1572"/>
                  </a:lnTo>
                  <a:lnTo>
                    <a:pt x="298" y="1572"/>
                  </a:lnTo>
                  <a:lnTo>
                    <a:pt x="302" y="1572"/>
                  </a:lnTo>
                  <a:lnTo>
                    <a:pt x="304" y="1572"/>
                  </a:lnTo>
                  <a:lnTo>
                    <a:pt x="306" y="1574"/>
                  </a:lnTo>
                  <a:lnTo>
                    <a:pt x="310" y="1574"/>
                  </a:lnTo>
                  <a:lnTo>
                    <a:pt x="312" y="1572"/>
                  </a:lnTo>
                  <a:lnTo>
                    <a:pt x="312" y="1570"/>
                  </a:lnTo>
                  <a:lnTo>
                    <a:pt x="310" y="1568"/>
                  </a:lnTo>
                  <a:lnTo>
                    <a:pt x="310" y="1570"/>
                  </a:lnTo>
                  <a:lnTo>
                    <a:pt x="308" y="1570"/>
                  </a:lnTo>
                  <a:lnTo>
                    <a:pt x="308" y="1568"/>
                  </a:lnTo>
                  <a:lnTo>
                    <a:pt x="304" y="1566"/>
                  </a:lnTo>
                  <a:lnTo>
                    <a:pt x="302" y="1566"/>
                  </a:lnTo>
                  <a:lnTo>
                    <a:pt x="300" y="1566"/>
                  </a:lnTo>
                  <a:lnTo>
                    <a:pt x="300" y="1564"/>
                  </a:lnTo>
                  <a:lnTo>
                    <a:pt x="302" y="1560"/>
                  </a:lnTo>
                  <a:lnTo>
                    <a:pt x="300" y="1560"/>
                  </a:lnTo>
                  <a:lnTo>
                    <a:pt x="296" y="1556"/>
                  </a:lnTo>
                  <a:lnTo>
                    <a:pt x="292" y="1556"/>
                  </a:lnTo>
                  <a:lnTo>
                    <a:pt x="290" y="1560"/>
                  </a:lnTo>
                  <a:lnTo>
                    <a:pt x="288" y="1564"/>
                  </a:lnTo>
                  <a:lnTo>
                    <a:pt x="290" y="1568"/>
                  </a:lnTo>
                  <a:close/>
                  <a:moveTo>
                    <a:pt x="208" y="1778"/>
                  </a:moveTo>
                  <a:lnTo>
                    <a:pt x="208" y="1778"/>
                  </a:lnTo>
                  <a:lnTo>
                    <a:pt x="206" y="1784"/>
                  </a:lnTo>
                  <a:lnTo>
                    <a:pt x="206" y="1788"/>
                  </a:lnTo>
                  <a:lnTo>
                    <a:pt x="210" y="1792"/>
                  </a:lnTo>
                  <a:lnTo>
                    <a:pt x="214" y="1792"/>
                  </a:lnTo>
                  <a:lnTo>
                    <a:pt x="216" y="1792"/>
                  </a:lnTo>
                  <a:lnTo>
                    <a:pt x="218" y="1788"/>
                  </a:lnTo>
                  <a:lnTo>
                    <a:pt x="216" y="1782"/>
                  </a:lnTo>
                  <a:lnTo>
                    <a:pt x="212" y="1776"/>
                  </a:lnTo>
                  <a:lnTo>
                    <a:pt x="210" y="1776"/>
                  </a:lnTo>
                  <a:lnTo>
                    <a:pt x="208" y="1778"/>
                  </a:lnTo>
                  <a:close/>
                  <a:moveTo>
                    <a:pt x="618" y="1434"/>
                  </a:moveTo>
                  <a:lnTo>
                    <a:pt x="618" y="1434"/>
                  </a:lnTo>
                  <a:lnTo>
                    <a:pt x="620" y="1434"/>
                  </a:lnTo>
                  <a:lnTo>
                    <a:pt x="622" y="1430"/>
                  </a:lnTo>
                  <a:lnTo>
                    <a:pt x="622" y="1428"/>
                  </a:lnTo>
                  <a:lnTo>
                    <a:pt x="620" y="1426"/>
                  </a:lnTo>
                  <a:lnTo>
                    <a:pt x="616" y="1430"/>
                  </a:lnTo>
                  <a:lnTo>
                    <a:pt x="616" y="1432"/>
                  </a:lnTo>
                  <a:lnTo>
                    <a:pt x="618" y="1434"/>
                  </a:lnTo>
                  <a:close/>
                  <a:moveTo>
                    <a:pt x="882" y="1770"/>
                  </a:moveTo>
                  <a:lnTo>
                    <a:pt x="882" y="1770"/>
                  </a:lnTo>
                  <a:lnTo>
                    <a:pt x="876" y="1774"/>
                  </a:lnTo>
                  <a:lnTo>
                    <a:pt x="870" y="1774"/>
                  </a:lnTo>
                  <a:lnTo>
                    <a:pt x="866" y="1772"/>
                  </a:lnTo>
                  <a:lnTo>
                    <a:pt x="860" y="1774"/>
                  </a:lnTo>
                  <a:lnTo>
                    <a:pt x="860" y="1776"/>
                  </a:lnTo>
                  <a:lnTo>
                    <a:pt x="864" y="1778"/>
                  </a:lnTo>
                  <a:lnTo>
                    <a:pt x="870" y="1782"/>
                  </a:lnTo>
                  <a:lnTo>
                    <a:pt x="870" y="1784"/>
                  </a:lnTo>
                  <a:lnTo>
                    <a:pt x="870" y="1786"/>
                  </a:lnTo>
                  <a:lnTo>
                    <a:pt x="870" y="1788"/>
                  </a:lnTo>
                  <a:lnTo>
                    <a:pt x="872" y="1790"/>
                  </a:lnTo>
                  <a:lnTo>
                    <a:pt x="874" y="1792"/>
                  </a:lnTo>
                  <a:lnTo>
                    <a:pt x="872" y="1796"/>
                  </a:lnTo>
                  <a:lnTo>
                    <a:pt x="870" y="1798"/>
                  </a:lnTo>
                  <a:lnTo>
                    <a:pt x="872" y="1800"/>
                  </a:lnTo>
                  <a:lnTo>
                    <a:pt x="874" y="1800"/>
                  </a:lnTo>
                  <a:lnTo>
                    <a:pt x="876" y="1804"/>
                  </a:lnTo>
                  <a:lnTo>
                    <a:pt x="876" y="1806"/>
                  </a:lnTo>
                  <a:lnTo>
                    <a:pt x="878" y="1806"/>
                  </a:lnTo>
                  <a:lnTo>
                    <a:pt x="882" y="1806"/>
                  </a:lnTo>
                  <a:lnTo>
                    <a:pt x="886" y="1806"/>
                  </a:lnTo>
                  <a:lnTo>
                    <a:pt x="888" y="1808"/>
                  </a:lnTo>
                  <a:lnTo>
                    <a:pt x="892" y="1806"/>
                  </a:lnTo>
                  <a:lnTo>
                    <a:pt x="894" y="1808"/>
                  </a:lnTo>
                  <a:lnTo>
                    <a:pt x="896" y="1810"/>
                  </a:lnTo>
                  <a:lnTo>
                    <a:pt x="896" y="1814"/>
                  </a:lnTo>
                  <a:lnTo>
                    <a:pt x="894" y="1814"/>
                  </a:lnTo>
                  <a:lnTo>
                    <a:pt x="892" y="1814"/>
                  </a:lnTo>
                  <a:lnTo>
                    <a:pt x="890" y="1816"/>
                  </a:lnTo>
                  <a:lnTo>
                    <a:pt x="892" y="1816"/>
                  </a:lnTo>
                  <a:lnTo>
                    <a:pt x="894" y="1818"/>
                  </a:lnTo>
                  <a:lnTo>
                    <a:pt x="898" y="1820"/>
                  </a:lnTo>
                  <a:lnTo>
                    <a:pt x="898" y="1822"/>
                  </a:lnTo>
                  <a:lnTo>
                    <a:pt x="896" y="1824"/>
                  </a:lnTo>
                  <a:lnTo>
                    <a:pt x="896" y="1826"/>
                  </a:lnTo>
                  <a:lnTo>
                    <a:pt x="900" y="1832"/>
                  </a:lnTo>
                  <a:lnTo>
                    <a:pt x="902" y="1836"/>
                  </a:lnTo>
                  <a:lnTo>
                    <a:pt x="904" y="1840"/>
                  </a:lnTo>
                  <a:lnTo>
                    <a:pt x="904" y="1844"/>
                  </a:lnTo>
                  <a:lnTo>
                    <a:pt x="906" y="1846"/>
                  </a:lnTo>
                  <a:lnTo>
                    <a:pt x="906" y="1848"/>
                  </a:lnTo>
                  <a:lnTo>
                    <a:pt x="908" y="1848"/>
                  </a:lnTo>
                  <a:lnTo>
                    <a:pt x="908" y="1844"/>
                  </a:lnTo>
                  <a:lnTo>
                    <a:pt x="908" y="1838"/>
                  </a:lnTo>
                  <a:lnTo>
                    <a:pt x="910" y="1834"/>
                  </a:lnTo>
                  <a:lnTo>
                    <a:pt x="912" y="1832"/>
                  </a:lnTo>
                  <a:lnTo>
                    <a:pt x="912" y="1828"/>
                  </a:lnTo>
                  <a:lnTo>
                    <a:pt x="908" y="1824"/>
                  </a:lnTo>
                  <a:lnTo>
                    <a:pt x="902" y="1822"/>
                  </a:lnTo>
                  <a:lnTo>
                    <a:pt x="904" y="1822"/>
                  </a:lnTo>
                  <a:lnTo>
                    <a:pt x="906" y="1820"/>
                  </a:lnTo>
                  <a:lnTo>
                    <a:pt x="910" y="1820"/>
                  </a:lnTo>
                  <a:lnTo>
                    <a:pt x="912" y="1818"/>
                  </a:lnTo>
                  <a:lnTo>
                    <a:pt x="912" y="1816"/>
                  </a:lnTo>
                  <a:lnTo>
                    <a:pt x="912" y="1812"/>
                  </a:lnTo>
                  <a:lnTo>
                    <a:pt x="912" y="1810"/>
                  </a:lnTo>
                  <a:lnTo>
                    <a:pt x="912" y="1808"/>
                  </a:lnTo>
                  <a:lnTo>
                    <a:pt x="918" y="1804"/>
                  </a:lnTo>
                  <a:lnTo>
                    <a:pt x="924" y="1802"/>
                  </a:lnTo>
                  <a:lnTo>
                    <a:pt x="926" y="1800"/>
                  </a:lnTo>
                  <a:lnTo>
                    <a:pt x="924" y="1798"/>
                  </a:lnTo>
                  <a:lnTo>
                    <a:pt x="918" y="1794"/>
                  </a:lnTo>
                  <a:lnTo>
                    <a:pt x="914" y="1790"/>
                  </a:lnTo>
                  <a:lnTo>
                    <a:pt x="914" y="1788"/>
                  </a:lnTo>
                  <a:lnTo>
                    <a:pt x="916" y="1784"/>
                  </a:lnTo>
                  <a:lnTo>
                    <a:pt x="922" y="1782"/>
                  </a:lnTo>
                  <a:lnTo>
                    <a:pt x="926" y="1782"/>
                  </a:lnTo>
                  <a:lnTo>
                    <a:pt x="928" y="1778"/>
                  </a:lnTo>
                  <a:lnTo>
                    <a:pt x="928" y="1772"/>
                  </a:lnTo>
                  <a:lnTo>
                    <a:pt x="928" y="1764"/>
                  </a:lnTo>
                  <a:lnTo>
                    <a:pt x="930" y="1758"/>
                  </a:lnTo>
                  <a:lnTo>
                    <a:pt x="932" y="1754"/>
                  </a:lnTo>
                  <a:lnTo>
                    <a:pt x="930" y="1752"/>
                  </a:lnTo>
                  <a:lnTo>
                    <a:pt x="920" y="1750"/>
                  </a:lnTo>
                  <a:lnTo>
                    <a:pt x="914" y="1750"/>
                  </a:lnTo>
                  <a:lnTo>
                    <a:pt x="908" y="1752"/>
                  </a:lnTo>
                  <a:lnTo>
                    <a:pt x="904" y="1756"/>
                  </a:lnTo>
                  <a:lnTo>
                    <a:pt x="902" y="1760"/>
                  </a:lnTo>
                  <a:lnTo>
                    <a:pt x="904" y="1762"/>
                  </a:lnTo>
                  <a:lnTo>
                    <a:pt x="904" y="1764"/>
                  </a:lnTo>
                  <a:lnTo>
                    <a:pt x="900" y="1772"/>
                  </a:lnTo>
                  <a:lnTo>
                    <a:pt x="898" y="1776"/>
                  </a:lnTo>
                  <a:lnTo>
                    <a:pt x="896" y="1774"/>
                  </a:lnTo>
                  <a:lnTo>
                    <a:pt x="896" y="1770"/>
                  </a:lnTo>
                  <a:lnTo>
                    <a:pt x="898" y="1762"/>
                  </a:lnTo>
                  <a:lnTo>
                    <a:pt x="896" y="1760"/>
                  </a:lnTo>
                  <a:lnTo>
                    <a:pt x="894" y="1760"/>
                  </a:lnTo>
                  <a:lnTo>
                    <a:pt x="890" y="1760"/>
                  </a:lnTo>
                  <a:lnTo>
                    <a:pt x="884" y="1758"/>
                  </a:lnTo>
                  <a:lnTo>
                    <a:pt x="880" y="1758"/>
                  </a:lnTo>
                  <a:lnTo>
                    <a:pt x="876" y="1758"/>
                  </a:lnTo>
                  <a:lnTo>
                    <a:pt x="878" y="1760"/>
                  </a:lnTo>
                  <a:lnTo>
                    <a:pt x="882" y="1762"/>
                  </a:lnTo>
                  <a:lnTo>
                    <a:pt x="886" y="1764"/>
                  </a:lnTo>
                  <a:lnTo>
                    <a:pt x="884" y="1768"/>
                  </a:lnTo>
                  <a:lnTo>
                    <a:pt x="882" y="1770"/>
                  </a:lnTo>
                  <a:close/>
                  <a:moveTo>
                    <a:pt x="850" y="1762"/>
                  </a:moveTo>
                  <a:lnTo>
                    <a:pt x="850" y="1762"/>
                  </a:lnTo>
                  <a:lnTo>
                    <a:pt x="848" y="1760"/>
                  </a:lnTo>
                  <a:lnTo>
                    <a:pt x="846" y="1764"/>
                  </a:lnTo>
                  <a:lnTo>
                    <a:pt x="848" y="1768"/>
                  </a:lnTo>
                  <a:lnTo>
                    <a:pt x="848" y="1772"/>
                  </a:lnTo>
                  <a:lnTo>
                    <a:pt x="850" y="1772"/>
                  </a:lnTo>
                  <a:lnTo>
                    <a:pt x="850" y="1770"/>
                  </a:lnTo>
                  <a:lnTo>
                    <a:pt x="852" y="1766"/>
                  </a:lnTo>
                  <a:lnTo>
                    <a:pt x="850" y="1762"/>
                  </a:lnTo>
                  <a:close/>
                  <a:moveTo>
                    <a:pt x="834" y="1814"/>
                  </a:moveTo>
                  <a:lnTo>
                    <a:pt x="834" y="1814"/>
                  </a:lnTo>
                  <a:lnTo>
                    <a:pt x="846" y="1816"/>
                  </a:lnTo>
                  <a:lnTo>
                    <a:pt x="852" y="1814"/>
                  </a:lnTo>
                  <a:lnTo>
                    <a:pt x="856" y="1812"/>
                  </a:lnTo>
                  <a:lnTo>
                    <a:pt x="858" y="1808"/>
                  </a:lnTo>
                  <a:lnTo>
                    <a:pt x="858" y="1806"/>
                  </a:lnTo>
                  <a:lnTo>
                    <a:pt x="858" y="1800"/>
                  </a:lnTo>
                  <a:lnTo>
                    <a:pt x="856" y="1794"/>
                  </a:lnTo>
                  <a:lnTo>
                    <a:pt x="856" y="1790"/>
                  </a:lnTo>
                  <a:lnTo>
                    <a:pt x="856" y="1788"/>
                  </a:lnTo>
                  <a:lnTo>
                    <a:pt x="852" y="1784"/>
                  </a:lnTo>
                  <a:lnTo>
                    <a:pt x="850" y="1782"/>
                  </a:lnTo>
                  <a:lnTo>
                    <a:pt x="850" y="1784"/>
                  </a:lnTo>
                  <a:lnTo>
                    <a:pt x="848" y="1786"/>
                  </a:lnTo>
                  <a:lnTo>
                    <a:pt x="840" y="1782"/>
                  </a:lnTo>
                  <a:lnTo>
                    <a:pt x="836" y="1782"/>
                  </a:lnTo>
                  <a:lnTo>
                    <a:pt x="830" y="1784"/>
                  </a:lnTo>
                  <a:lnTo>
                    <a:pt x="824" y="1786"/>
                  </a:lnTo>
                  <a:lnTo>
                    <a:pt x="818" y="1786"/>
                  </a:lnTo>
                  <a:lnTo>
                    <a:pt x="816" y="1786"/>
                  </a:lnTo>
                  <a:lnTo>
                    <a:pt x="814" y="1788"/>
                  </a:lnTo>
                  <a:lnTo>
                    <a:pt x="814" y="1790"/>
                  </a:lnTo>
                  <a:lnTo>
                    <a:pt x="816" y="1792"/>
                  </a:lnTo>
                  <a:lnTo>
                    <a:pt x="820" y="1798"/>
                  </a:lnTo>
                  <a:lnTo>
                    <a:pt x="824" y="1806"/>
                  </a:lnTo>
                  <a:lnTo>
                    <a:pt x="824" y="1810"/>
                  </a:lnTo>
                  <a:lnTo>
                    <a:pt x="826" y="1808"/>
                  </a:lnTo>
                  <a:lnTo>
                    <a:pt x="828" y="1808"/>
                  </a:lnTo>
                  <a:lnTo>
                    <a:pt x="830" y="1808"/>
                  </a:lnTo>
                  <a:lnTo>
                    <a:pt x="830" y="1810"/>
                  </a:lnTo>
                  <a:lnTo>
                    <a:pt x="830" y="1812"/>
                  </a:lnTo>
                  <a:lnTo>
                    <a:pt x="830" y="1814"/>
                  </a:lnTo>
                  <a:lnTo>
                    <a:pt x="834" y="1814"/>
                  </a:lnTo>
                  <a:close/>
                  <a:moveTo>
                    <a:pt x="898" y="1832"/>
                  </a:moveTo>
                  <a:lnTo>
                    <a:pt x="898" y="1832"/>
                  </a:lnTo>
                  <a:lnTo>
                    <a:pt x="894" y="1826"/>
                  </a:lnTo>
                  <a:lnTo>
                    <a:pt x="892" y="1826"/>
                  </a:lnTo>
                  <a:lnTo>
                    <a:pt x="890" y="1828"/>
                  </a:lnTo>
                  <a:lnTo>
                    <a:pt x="890" y="1830"/>
                  </a:lnTo>
                  <a:lnTo>
                    <a:pt x="888" y="1830"/>
                  </a:lnTo>
                  <a:lnTo>
                    <a:pt x="878" y="1824"/>
                  </a:lnTo>
                  <a:lnTo>
                    <a:pt x="872" y="1822"/>
                  </a:lnTo>
                  <a:lnTo>
                    <a:pt x="868" y="1822"/>
                  </a:lnTo>
                  <a:lnTo>
                    <a:pt x="866" y="1826"/>
                  </a:lnTo>
                  <a:lnTo>
                    <a:pt x="866" y="1830"/>
                  </a:lnTo>
                  <a:lnTo>
                    <a:pt x="870" y="1834"/>
                  </a:lnTo>
                  <a:lnTo>
                    <a:pt x="876" y="1838"/>
                  </a:lnTo>
                  <a:lnTo>
                    <a:pt x="886" y="1840"/>
                  </a:lnTo>
                  <a:lnTo>
                    <a:pt x="894" y="1842"/>
                  </a:lnTo>
                  <a:lnTo>
                    <a:pt x="898" y="1842"/>
                  </a:lnTo>
                  <a:lnTo>
                    <a:pt x="900" y="1840"/>
                  </a:lnTo>
                  <a:lnTo>
                    <a:pt x="898" y="1832"/>
                  </a:lnTo>
                  <a:close/>
                  <a:moveTo>
                    <a:pt x="914" y="1822"/>
                  </a:moveTo>
                  <a:lnTo>
                    <a:pt x="914" y="1822"/>
                  </a:lnTo>
                  <a:lnTo>
                    <a:pt x="912" y="1824"/>
                  </a:lnTo>
                  <a:lnTo>
                    <a:pt x="914" y="1826"/>
                  </a:lnTo>
                  <a:lnTo>
                    <a:pt x="918" y="1824"/>
                  </a:lnTo>
                  <a:lnTo>
                    <a:pt x="924" y="1820"/>
                  </a:lnTo>
                  <a:lnTo>
                    <a:pt x="926" y="1820"/>
                  </a:lnTo>
                  <a:lnTo>
                    <a:pt x="926" y="1818"/>
                  </a:lnTo>
                  <a:lnTo>
                    <a:pt x="922" y="1816"/>
                  </a:lnTo>
                  <a:lnTo>
                    <a:pt x="918" y="1816"/>
                  </a:lnTo>
                  <a:lnTo>
                    <a:pt x="914" y="1822"/>
                  </a:lnTo>
                  <a:close/>
                  <a:moveTo>
                    <a:pt x="868" y="1848"/>
                  </a:moveTo>
                  <a:lnTo>
                    <a:pt x="868" y="1848"/>
                  </a:lnTo>
                  <a:lnTo>
                    <a:pt x="866" y="1850"/>
                  </a:lnTo>
                  <a:lnTo>
                    <a:pt x="868" y="1852"/>
                  </a:lnTo>
                  <a:lnTo>
                    <a:pt x="872" y="1854"/>
                  </a:lnTo>
                  <a:lnTo>
                    <a:pt x="876" y="1854"/>
                  </a:lnTo>
                  <a:lnTo>
                    <a:pt x="880" y="1854"/>
                  </a:lnTo>
                  <a:lnTo>
                    <a:pt x="878" y="1852"/>
                  </a:lnTo>
                  <a:lnTo>
                    <a:pt x="876" y="1848"/>
                  </a:lnTo>
                  <a:lnTo>
                    <a:pt x="872" y="1848"/>
                  </a:lnTo>
                  <a:lnTo>
                    <a:pt x="868" y="1848"/>
                  </a:lnTo>
                  <a:close/>
                  <a:moveTo>
                    <a:pt x="1030" y="1820"/>
                  </a:moveTo>
                  <a:lnTo>
                    <a:pt x="1030" y="1820"/>
                  </a:lnTo>
                  <a:lnTo>
                    <a:pt x="1032" y="1818"/>
                  </a:lnTo>
                  <a:lnTo>
                    <a:pt x="1034" y="1814"/>
                  </a:lnTo>
                  <a:lnTo>
                    <a:pt x="1032" y="1810"/>
                  </a:lnTo>
                  <a:lnTo>
                    <a:pt x="1030" y="1808"/>
                  </a:lnTo>
                  <a:lnTo>
                    <a:pt x="1022" y="1802"/>
                  </a:lnTo>
                  <a:lnTo>
                    <a:pt x="1018" y="1800"/>
                  </a:lnTo>
                  <a:lnTo>
                    <a:pt x="1016" y="1802"/>
                  </a:lnTo>
                  <a:lnTo>
                    <a:pt x="1014" y="1806"/>
                  </a:lnTo>
                  <a:lnTo>
                    <a:pt x="1016" y="1812"/>
                  </a:lnTo>
                  <a:lnTo>
                    <a:pt x="1022" y="1818"/>
                  </a:lnTo>
                  <a:lnTo>
                    <a:pt x="1026" y="1820"/>
                  </a:lnTo>
                  <a:lnTo>
                    <a:pt x="1030" y="1820"/>
                  </a:lnTo>
                  <a:close/>
                  <a:moveTo>
                    <a:pt x="952" y="1846"/>
                  </a:moveTo>
                  <a:lnTo>
                    <a:pt x="952" y="1846"/>
                  </a:lnTo>
                  <a:lnTo>
                    <a:pt x="952" y="1848"/>
                  </a:lnTo>
                  <a:lnTo>
                    <a:pt x="954" y="1850"/>
                  </a:lnTo>
                  <a:lnTo>
                    <a:pt x="954" y="1854"/>
                  </a:lnTo>
                  <a:lnTo>
                    <a:pt x="954" y="1856"/>
                  </a:lnTo>
                  <a:lnTo>
                    <a:pt x="952" y="1858"/>
                  </a:lnTo>
                  <a:lnTo>
                    <a:pt x="952" y="1860"/>
                  </a:lnTo>
                  <a:lnTo>
                    <a:pt x="960" y="1866"/>
                  </a:lnTo>
                  <a:lnTo>
                    <a:pt x="962" y="1866"/>
                  </a:lnTo>
                  <a:lnTo>
                    <a:pt x="964" y="1866"/>
                  </a:lnTo>
                  <a:lnTo>
                    <a:pt x="964" y="1864"/>
                  </a:lnTo>
                  <a:lnTo>
                    <a:pt x="964" y="1862"/>
                  </a:lnTo>
                  <a:lnTo>
                    <a:pt x="966" y="1860"/>
                  </a:lnTo>
                  <a:lnTo>
                    <a:pt x="968" y="1858"/>
                  </a:lnTo>
                  <a:lnTo>
                    <a:pt x="972" y="1862"/>
                  </a:lnTo>
                  <a:lnTo>
                    <a:pt x="976" y="1864"/>
                  </a:lnTo>
                  <a:lnTo>
                    <a:pt x="976" y="1862"/>
                  </a:lnTo>
                  <a:lnTo>
                    <a:pt x="976" y="1860"/>
                  </a:lnTo>
                  <a:lnTo>
                    <a:pt x="972" y="1858"/>
                  </a:lnTo>
                  <a:lnTo>
                    <a:pt x="972" y="1856"/>
                  </a:lnTo>
                  <a:lnTo>
                    <a:pt x="972" y="1854"/>
                  </a:lnTo>
                  <a:lnTo>
                    <a:pt x="974" y="1850"/>
                  </a:lnTo>
                  <a:lnTo>
                    <a:pt x="974" y="1846"/>
                  </a:lnTo>
                  <a:lnTo>
                    <a:pt x="972" y="1846"/>
                  </a:lnTo>
                  <a:lnTo>
                    <a:pt x="970" y="1844"/>
                  </a:lnTo>
                  <a:lnTo>
                    <a:pt x="966" y="1842"/>
                  </a:lnTo>
                  <a:lnTo>
                    <a:pt x="964" y="1840"/>
                  </a:lnTo>
                  <a:lnTo>
                    <a:pt x="960" y="1838"/>
                  </a:lnTo>
                  <a:lnTo>
                    <a:pt x="956" y="1840"/>
                  </a:lnTo>
                  <a:lnTo>
                    <a:pt x="954" y="1842"/>
                  </a:lnTo>
                  <a:lnTo>
                    <a:pt x="958" y="1844"/>
                  </a:lnTo>
                  <a:lnTo>
                    <a:pt x="964" y="1846"/>
                  </a:lnTo>
                  <a:lnTo>
                    <a:pt x="966" y="1848"/>
                  </a:lnTo>
                  <a:lnTo>
                    <a:pt x="964" y="1850"/>
                  </a:lnTo>
                  <a:lnTo>
                    <a:pt x="960" y="1850"/>
                  </a:lnTo>
                  <a:lnTo>
                    <a:pt x="952" y="1846"/>
                  </a:lnTo>
                  <a:close/>
                  <a:moveTo>
                    <a:pt x="862" y="1678"/>
                  </a:moveTo>
                  <a:lnTo>
                    <a:pt x="862" y="1678"/>
                  </a:lnTo>
                  <a:lnTo>
                    <a:pt x="864" y="1678"/>
                  </a:lnTo>
                  <a:lnTo>
                    <a:pt x="868" y="1678"/>
                  </a:lnTo>
                  <a:lnTo>
                    <a:pt x="872" y="1674"/>
                  </a:lnTo>
                  <a:lnTo>
                    <a:pt x="872" y="1672"/>
                  </a:lnTo>
                  <a:lnTo>
                    <a:pt x="868" y="1672"/>
                  </a:lnTo>
                  <a:lnTo>
                    <a:pt x="864" y="1674"/>
                  </a:lnTo>
                  <a:lnTo>
                    <a:pt x="862" y="1678"/>
                  </a:lnTo>
                  <a:close/>
                  <a:moveTo>
                    <a:pt x="860" y="1816"/>
                  </a:moveTo>
                  <a:lnTo>
                    <a:pt x="860" y="1816"/>
                  </a:lnTo>
                  <a:lnTo>
                    <a:pt x="860" y="1814"/>
                  </a:lnTo>
                  <a:lnTo>
                    <a:pt x="860" y="1812"/>
                  </a:lnTo>
                  <a:lnTo>
                    <a:pt x="858" y="1814"/>
                  </a:lnTo>
                  <a:lnTo>
                    <a:pt x="856" y="1818"/>
                  </a:lnTo>
                  <a:lnTo>
                    <a:pt x="850" y="1826"/>
                  </a:lnTo>
                  <a:lnTo>
                    <a:pt x="848" y="1830"/>
                  </a:lnTo>
                  <a:lnTo>
                    <a:pt x="848" y="1834"/>
                  </a:lnTo>
                  <a:lnTo>
                    <a:pt x="850" y="1836"/>
                  </a:lnTo>
                  <a:lnTo>
                    <a:pt x="852" y="1836"/>
                  </a:lnTo>
                  <a:lnTo>
                    <a:pt x="854" y="1830"/>
                  </a:lnTo>
                  <a:lnTo>
                    <a:pt x="860" y="1816"/>
                  </a:lnTo>
                  <a:close/>
                  <a:moveTo>
                    <a:pt x="1100" y="2508"/>
                  </a:moveTo>
                  <a:lnTo>
                    <a:pt x="1100" y="2508"/>
                  </a:lnTo>
                  <a:lnTo>
                    <a:pt x="1102" y="2508"/>
                  </a:lnTo>
                  <a:lnTo>
                    <a:pt x="1100" y="2506"/>
                  </a:lnTo>
                  <a:lnTo>
                    <a:pt x="1094" y="2504"/>
                  </a:lnTo>
                  <a:lnTo>
                    <a:pt x="1086" y="2504"/>
                  </a:lnTo>
                  <a:lnTo>
                    <a:pt x="1084" y="2504"/>
                  </a:lnTo>
                  <a:lnTo>
                    <a:pt x="1084" y="2506"/>
                  </a:lnTo>
                  <a:lnTo>
                    <a:pt x="1086" y="2508"/>
                  </a:lnTo>
                  <a:lnTo>
                    <a:pt x="1092" y="2510"/>
                  </a:lnTo>
                  <a:lnTo>
                    <a:pt x="1096" y="2510"/>
                  </a:lnTo>
                  <a:lnTo>
                    <a:pt x="1100" y="2508"/>
                  </a:lnTo>
                  <a:close/>
                  <a:moveTo>
                    <a:pt x="1092" y="2518"/>
                  </a:moveTo>
                  <a:lnTo>
                    <a:pt x="1092" y="2518"/>
                  </a:lnTo>
                  <a:lnTo>
                    <a:pt x="1108" y="2520"/>
                  </a:lnTo>
                  <a:lnTo>
                    <a:pt x="1110" y="2518"/>
                  </a:lnTo>
                  <a:lnTo>
                    <a:pt x="1108" y="2516"/>
                  </a:lnTo>
                  <a:lnTo>
                    <a:pt x="1100" y="2514"/>
                  </a:lnTo>
                  <a:lnTo>
                    <a:pt x="1086" y="2514"/>
                  </a:lnTo>
                  <a:lnTo>
                    <a:pt x="1084" y="2514"/>
                  </a:lnTo>
                  <a:lnTo>
                    <a:pt x="1082" y="2516"/>
                  </a:lnTo>
                  <a:lnTo>
                    <a:pt x="1092" y="2518"/>
                  </a:lnTo>
                  <a:close/>
                  <a:moveTo>
                    <a:pt x="1108" y="1672"/>
                  </a:moveTo>
                  <a:lnTo>
                    <a:pt x="1108" y="1672"/>
                  </a:lnTo>
                  <a:lnTo>
                    <a:pt x="1106" y="1672"/>
                  </a:lnTo>
                  <a:lnTo>
                    <a:pt x="1104" y="1674"/>
                  </a:lnTo>
                  <a:lnTo>
                    <a:pt x="1102" y="1682"/>
                  </a:lnTo>
                  <a:lnTo>
                    <a:pt x="1100" y="1692"/>
                  </a:lnTo>
                  <a:lnTo>
                    <a:pt x="1094" y="1700"/>
                  </a:lnTo>
                  <a:lnTo>
                    <a:pt x="1090" y="1710"/>
                  </a:lnTo>
                  <a:lnTo>
                    <a:pt x="1086" y="1722"/>
                  </a:lnTo>
                  <a:lnTo>
                    <a:pt x="1084" y="1734"/>
                  </a:lnTo>
                  <a:lnTo>
                    <a:pt x="1084" y="1740"/>
                  </a:lnTo>
                  <a:lnTo>
                    <a:pt x="1086" y="1744"/>
                  </a:lnTo>
                  <a:lnTo>
                    <a:pt x="1090" y="1734"/>
                  </a:lnTo>
                  <a:lnTo>
                    <a:pt x="1100" y="1708"/>
                  </a:lnTo>
                  <a:lnTo>
                    <a:pt x="1108" y="1684"/>
                  </a:lnTo>
                  <a:lnTo>
                    <a:pt x="1110" y="1676"/>
                  </a:lnTo>
                  <a:lnTo>
                    <a:pt x="1110" y="1674"/>
                  </a:lnTo>
                  <a:lnTo>
                    <a:pt x="1108" y="1672"/>
                  </a:lnTo>
                  <a:close/>
                  <a:moveTo>
                    <a:pt x="1804" y="2938"/>
                  </a:moveTo>
                  <a:lnTo>
                    <a:pt x="1804" y="2938"/>
                  </a:lnTo>
                  <a:lnTo>
                    <a:pt x="1810" y="2932"/>
                  </a:lnTo>
                  <a:lnTo>
                    <a:pt x="1812" y="2928"/>
                  </a:lnTo>
                  <a:lnTo>
                    <a:pt x="1808" y="2930"/>
                  </a:lnTo>
                  <a:lnTo>
                    <a:pt x="1800" y="2934"/>
                  </a:lnTo>
                  <a:lnTo>
                    <a:pt x="1790" y="2940"/>
                  </a:lnTo>
                  <a:lnTo>
                    <a:pt x="1776" y="2946"/>
                  </a:lnTo>
                  <a:lnTo>
                    <a:pt x="1768" y="2946"/>
                  </a:lnTo>
                  <a:lnTo>
                    <a:pt x="1760" y="2944"/>
                  </a:lnTo>
                  <a:lnTo>
                    <a:pt x="1754" y="2944"/>
                  </a:lnTo>
                  <a:lnTo>
                    <a:pt x="1750" y="2944"/>
                  </a:lnTo>
                  <a:lnTo>
                    <a:pt x="1748" y="2946"/>
                  </a:lnTo>
                  <a:lnTo>
                    <a:pt x="1748" y="2948"/>
                  </a:lnTo>
                  <a:lnTo>
                    <a:pt x="1748" y="2954"/>
                  </a:lnTo>
                  <a:lnTo>
                    <a:pt x="1746" y="2954"/>
                  </a:lnTo>
                  <a:lnTo>
                    <a:pt x="1742" y="2954"/>
                  </a:lnTo>
                  <a:lnTo>
                    <a:pt x="1736" y="2954"/>
                  </a:lnTo>
                  <a:lnTo>
                    <a:pt x="1732" y="2958"/>
                  </a:lnTo>
                  <a:lnTo>
                    <a:pt x="1730" y="2960"/>
                  </a:lnTo>
                  <a:lnTo>
                    <a:pt x="1726" y="2960"/>
                  </a:lnTo>
                  <a:lnTo>
                    <a:pt x="1722" y="2960"/>
                  </a:lnTo>
                  <a:lnTo>
                    <a:pt x="1722" y="2962"/>
                  </a:lnTo>
                  <a:lnTo>
                    <a:pt x="1726" y="2974"/>
                  </a:lnTo>
                  <a:lnTo>
                    <a:pt x="1728" y="2978"/>
                  </a:lnTo>
                  <a:lnTo>
                    <a:pt x="1732" y="2980"/>
                  </a:lnTo>
                  <a:lnTo>
                    <a:pt x="1736" y="2982"/>
                  </a:lnTo>
                  <a:lnTo>
                    <a:pt x="1742" y="2982"/>
                  </a:lnTo>
                  <a:lnTo>
                    <a:pt x="1748" y="2982"/>
                  </a:lnTo>
                  <a:lnTo>
                    <a:pt x="1750" y="2984"/>
                  </a:lnTo>
                  <a:lnTo>
                    <a:pt x="1752" y="2986"/>
                  </a:lnTo>
                  <a:lnTo>
                    <a:pt x="1754" y="2984"/>
                  </a:lnTo>
                  <a:lnTo>
                    <a:pt x="1754" y="2982"/>
                  </a:lnTo>
                  <a:lnTo>
                    <a:pt x="1756" y="2980"/>
                  </a:lnTo>
                  <a:lnTo>
                    <a:pt x="1764" y="2978"/>
                  </a:lnTo>
                  <a:lnTo>
                    <a:pt x="1770" y="2976"/>
                  </a:lnTo>
                  <a:lnTo>
                    <a:pt x="1774" y="2974"/>
                  </a:lnTo>
                  <a:lnTo>
                    <a:pt x="1776" y="2970"/>
                  </a:lnTo>
                  <a:lnTo>
                    <a:pt x="1780" y="2966"/>
                  </a:lnTo>
                  <a:lnTo>
                    <a:pt x="1782" y="2964"/>
                  </a:lnTo>
                  <a:lnTo>
                    <a:pt x="1790" y="2964"/>
                  </a:lnTo>
                  <a:lnTo>
                    <a:pt x="1794" y="2964"/>
                  </a:lnTo>
                  <a:lnTo>
                    <a:pt x="1796" y="2962"/>
                  </a:lnTo>
                  <a:lnTo>
                    <a:pt x="1794" y="2960"/>
                  </a:lnTo>
                  <a:lnTo>
                    <a:pt x="1790" y="2954"/>
                  </a:lnTo>
                  <a:lnTo>
                    <a:pt x="1790" y="2950"/>
                  </a:lnTo>
                  <a:lnTo>
                    <a:pt x="1796" y="2944"/>
                  </a:lnTo>
                  <a:lnTo>
                    <a:pt x="1804" y="2938"/>
                  </a:lnTo>
                  <a:close/>
                  <a:moveTo>
                    <a:pt x="1538" y="2902"/>
                  </a:moveTo>
                  <a:lnTo>
                    <a:pt x="1538" y="2902"/>
                  </a:lnTo>
                  <a:lnTo>
                    <a:pt x="1540" y="2906"/>
                  </a:lnTo>
                  <a:lnTo>
                    <a:pt x="1538" y="2910"/>
                  </a:lnTo>
                  <a:lnTo>
                    <a:pt x="1538" y="2914"/>
                  </a:lnTo>
                  <a:lnTo>
                    <a:pt x="1542" y="2918"/>
                  </a:lnTo>
                  <a:lnTo>
                    <a:pt x="1544" y="2918"/>
                  </a:lnTo>
                  <a:lnTo>
                    <a:pt x="1548" y="2914"/>
                  </a:lnTo>
                  <a:lnTo>
                    <a:pt x="1554" y="2904"/>
                  </a:lnTo>
                  <a:lnTo>
                    <a:pt x="1558" y="2894"/>
                  </a:lnTo>
                  <a:lnTo>
                    <a:pt x="1560" y="2888"/>
                  </a:lnTo>
                  <a:lnTo>
                    <a:pt x="1560" y="2886"/>
                  </a:lnTo>
                  <a:lnTo>
                    <a:pt x="1558" y="2886"/>
                  </a:lnTo>
                  <a:lnTo>
                    <a:pt x="1554" y="2886"/>
                  </a:lnTo>
                  <a:lnTo>
                    <a:pt x="1546" y="2892"/>
                  </a:lnTo>
                  <a:lnTo>
                    <a:pt x="1540" y="2898"/>
                  </a:lnTo>
                  <a:lnTo>
                    <a:pt x="1538" y="2900"/>
                  </a:lnTo>
                  <a:lnTo>
                    <a:pt x="1538" y="2902"/>
                  </a:lnTo>
                  <a:close/>
                  <a:moveTo>
                    <a:pt x="644" y="1508"/>
                  </a:moveTo>
                  <a:lnTo>
                    <a:pt x="644" y="1508"/>
                  </a:lnTo>
                  <a:lnTo>
                    <a:pt x="646" y="1510"/>
                  </a:lnTo>
                  <a:lnTo>
                    <a:pt x="648" y="1508"/>
                  </a:lnTo>
                  <a:lnTo>
                    <a:pt x="650" y="1500"/>
                  </a:lnTo>
                  <a:lnTo>
                    <a:pt x="650" y="1498"/>
                  </a:lnTo>
                  <a:lnTo>
                    <a:pt x="646" y="1498"/>
                  </a:lnTo>
                  <a:lnTo>
                    <a:pt x="640" y="1500"/>
                  </a:lnTo>
                  <a:lnTo>
                    <a:pt x="636" y="1504"/>
                  </a:lnTo>
                  <a:lnTo>
                    <a:pt x="634" y="1510"/>
                  </a:lnTo>
                  <a:lnTo>
                    <a:pt x="636" y="1514"/>
                  </a:lnTo>
                  <a:lnTo>
                    <a:pt x="638" y="1516"/>
                  </a:lnTo>
                  <a:lnTo>
                    <a:pt x="642" y="1518"/>
                  </a:lnTo>
                  <a:lnTo>
                    <a:pt x="644" y="1516"/>
                  </a:lnTo>
                  <a:lnTo>
                    <a:pt x="644" y="1514"/>
                  </a:lnTo>
                  <a:lnTo>
                    <a:pt x="642" y="1508"/>
                  </a:lnTo>
                  <a:lnTo>
                    <a:pt x="640" y="1506"/>
                  </a:lnTo>
                  <a:lnTo>
                    <a:pt x="644" y="1508"/>
                  </a:lnTo>
                  <a:close/>
                  <a:moveTo>
                    <a:pt x="632" y="1558"/>
                  </a:moveTo>
                  <a:lnTo>
                    <a:pt x="632" y="1558"/>
                  </a:lnTo>
                  <a:lnTo>
                    <a:pt x="634" y="1556"/>
                  </a:lnTo>
                  <a:lnTo>
                    <a:pt x="634" y="1554"/>
                  </a:lnTo>
                  <a:lnTo>
                    <a:pt x="634" y="1548"/>
                  </a:lnTo>
                  <a:lnTo>
                    <a:pt x="630" y="1544"/>
                  </a:lnTo>
                  <a:lnTo>
                    <a:pt x="630" y="1546"/>
                  </a:lnTo>
                  <a:lnTo>
                    <a:pt x="630" y="1554"/>
                  </a:lnTo>
                  <a:lnTo>
                    <a:pt x="630" y="1558"/>
                  </a:lnTo>
                  <a:lnTo>
                    <a:pt x="632" y="1558"/>
                  </a:lnTo>
                  <a:close/>
                  <a:moveTo>
                    <a:pt x="628" y="1528"/>
                  </a:moveTo>
                  <a:lnTo>
                    <a:pt x="628" y="1528"/>
                  </a:lnTo>
                  <a:lnTo>
                    <a:pt x="630" y="1528"/>
                  </a:lnTo>
                  <a:lnTo>
                    <a:pt x="630" y="1526"/>
                  </a:lnTo>
                  <a:lnTo>
                    <a:pt x="632" y="1522"/>
                  </a:lnTo>
                  <a:lnTo>
                    <a:pt x="632" y="1520"/>
                  </a:lnTo>
                  <a:lnTo>
                    <a:pt x="634" y="1520"/>
                  </a:lnTo>
                  <a:lnTo>
                    <a:pt x="634" y="1522"/>
                  </a:lnTo>
                  <a:lnTo>
                    <a:pt x="636" y="1522"/>
                  </a:lnTo>
                  <a:lnTo>
                    <a:pt x="638" y="1522"/>
                  </a:lnTo>
                  <a:lnTo>
                    <a:pt x="638" y="1520"/>
                  </a:lnTo>
                  <a:lnTo>
                    <a:pt x="636" y="1518"/>
                  </a:lnTo>
                  <a:lnTo>
                    <a:pt x="632" y="1514"/>
                  </a:lnTo>
                  <a:lnTo>
                    <a:pt x="628" y="1512"/>
                  </a:lnTo>
                  <a:lnTo>
                    <a:pt x="628" y="1516"/>
                  </a:lnTo>
                  <a:lnTo>
                    <a:pt x="628" y="1528"/>
                  </a:lnTo>
                  <a:close/>
                  <a:moveTo>
                    <a:pt x="1186" y="1636"/>
                  </a:moveTo>
                  <a:lnTo>
                    <a:pt x="1186" y="1636"/>
                  </a:lnTo>
                  <a:lnTo>
                    <a:pt x="1180" y="1640"/>
                  </a:lnTo>
                  <a:lnTo>
                    <a:pt x="1176" y="1638"/>
                  </a:lnTo>
                  <a:lnTo>
                    <a:pt x="1174" y="1638"/>
                  </a:lnTo>
                  <a:lnTo>
                    <a:pt x="1164" y="1646"/>
                  </a:lnTo>
                  <a:lnTo>
                    <a:pt x="1156" y="1656"/>
                  </a:lnTo>
                  <a:lnTo>
                    <a:pt x="1150" y="1666"/>
                  </a:lnTo>
                  <a:lnTo>
                    <a:pt x="1150" y="1676"/>
                  </a:lnTo>
                  <a:lnTo>
                    <a:pt x="1154" y="1682"/>
                  </a:lnTo>
                  <a:lnTo>
                    <a:pt x="1154" y="1686"/>
                  </a:lnTo>
                  <a:lnTo>
                    <a:pt x="1154" y="1690"/>
                  </a:lnTo>
                  <a:lnTo>
                    <a:pt x="1154" y="1696"/>
                  </a:lnTo>
                  <a:lnTo>
                    <a:pt x="1154" y="1700"/>
                  </a:lnTo>
                  <a:lnTo>
                    <a:pt x="1158" y="1700"/>
                  </a:lnTo>
                  <a:lnTo>
                    <a:pt x="1162" y="1696"/>
                  </a:lnTo>
                  <a:lnTo>
                    <a:pt x="1166" y="1690"/>
                  </a:lnTo>
                  <a:lnTo>
                    <a:pt x="1170" y="1682"/>
                  </a:lnTo>
                  <a:lnTo>
                    <a:pt x="1178" y="1674"/>
                  </a:lnTo>
                  <a:lnTo>
                    <a:pt x="1182" y="1670"/>
                  </a:lnTo>
                  <a:lnTo>
                    <a:pt x="1184" y="1666"/>
                  </a:lnTo>
                  <a:lnTo>
                    <a:pt x="1182" y="1662"/>
                  </a:lnTo>
                  <a:lnTo>
                    <a:pt x="1180" y="1658"/>
                  </a:lnTo>
                  <a:lnTo>
                    <a:pt x="1180" y="1656"/>
                  </a:lnTo>
                  <a:lnTo>
                    <a:pt x="1182" y="1652"/>
                  </a:lnTo>
                  <a:lnTo>
                    <a:pt x="1186" y="1646"/>
                  </a:lnTo>
                  <a:lnTo>
                    <a:pt x="1194" y="1638"/>
                  </a:lnTo>
                  <a:lnTo>
                    <a:pt x="1198" y="1632"/>
                  </a:lnTo>
                  <a:lnTo>
                    <a:pt x="1196" y="1630"/>
                  </a:lnTo>
                  <a:lnTo>
                    <a:pt x="1194" y="1632"/>
                  </a:lnTo>
                  <a:lnTo>
                    <a:pt x="1186" y="1636"/>
                  </a:lnTo>
                  <a:close/>
                  <a:moveTo>
                    <a:pt x="1058" y="962"/>
                  </a:moveTo>
                  <a:lnTo>
                    <a:pt x="1058" y="962"/>
                  </a:lnTo>
                  <a:lnTo>
                    <a:pt x="1050" y="960"/>
                  </a:lnTo>
                  <a:lnTo>
                    <a:pt x="1048" y="962"/>
                  </a:lnTo>
                  <a:lnTo>
                    <a:pt x="1046" y="964"/>
                  </a:lnTo>
                  <a:lnTo>
                    <a:pt x="1048" y="964"/>
                  </a:lnTo>
                  <a:lnTo>
                    <a:pt x="1054" y="964"/>
                  </a:lnTo>
                  <a:lnTo>
                    <a:pt x="1058" y="962"/>
                  </a:lnTo>
                  <a:close/>
                  <a:moveTo>
                    <a:pt x="1366" y="1568"/>
                  </a:moveTo>
                  <a:lnTo>
                    <a:pt x="1366" y="1568"/>
                  </a:lnTo>
                  <a:lnTo>
                    <a:pt x="1364" y="1566"/>
                  </a:lnTo>
                  <a:lnTo>
                    <a:pt x="1360" y="1564"/>
                  </a:lnTo>
                  <a:lnTo>
                    <a:pt x="1356" y="1564"/>
                  </a:lnTo>
                  <a:lnTo>
                    <a:pt x="1354" y="1566"/>
                  </a:lnTo>
                  <a:lnTo>
                    <a:pt x="1356" y="1568"/>
                  </a:lnTo>
                  <a:lnTo>
                    <a:pt x="1360" y="1570"/>
                  </a:lnTo>
                  <a:lnTo>
                    <a:pt x="1364" y="1570"/>
                  </a:lnTo>
                  <a:lnTo>
                    <a:pt x="1366" y="1568"/>
                  </a:lnTo>
                  <a:close/>
                  <a:moveTo>
                    <a:pt x="1332" y="1588"/>
                  </a:moveTo>
                  <a:lnTo>
                    <a:pt x="1332" y="1588"/>
                  </a:lnTo>
                  <a:lnTo>
                    <a:pt x="1336" y="1586"/>
                  </a:lnTo>
                  <a:lnTo>
                    <a:pt x="1338" y="1584"/>
                  </a:lnTo>
                  <a:lnTo>
                    <a:pt x="1338" y="1582"/>
                  </a:lnTo>
                  <a:lnTo>
                    <a:pt x="1342" y="1580"/>
                  </a:lnTo>
                  <a:lnTo>
                    <a:pt x="1344" y="1582"/>
                  </a:lnTo>
                  <a:lnTo>
                    <a:pt x="1346" y="1580"/>
                  </a:lnTo>
                  <a:lnTo>
                    <a:pt x="1346" y="1578"/>
                  </a:lnTo>
                  <a:lnTo>
                    <a:pt x="1348" y="1578"/>
                  </a:lnTo>
                  <a:lnTo>
                    <a:pt x="1350" y="1578"/>
                  </a:lnTo>
                  <a:lnTo>
                    <a:pt x="1352" y="1576"/>
                  </a:lnTo>
                  <a:lnTo>
                    <a:pt x="1350" y="1574"/>
                  </a:lnTo>
                  <a:lnTo>
                    <a:pt x="1346" y="1570"/>
                  </a:lnTo>
                  <a:lnTo>
                    <a:pt x="1336" y="1562"/>
                  </a:lnTo>
                  <a:lnTo>
                    <a:pt x="1334" y="1562"/>
                  </a:lnTo>
                  <a:lnTo>
                    <a:pt x="1330" y="1566"/>
                  </a:lnTo>
                  <a:lnTo>
                    <a:pt x="1326" y="1568"/>
                  </a:lnTo>
                  <a:lnTo>
                    <a:pt x="1320" y="1570"/>
                  </a:lnTo>
                  <a:lnTo>
                    <a:pt x="1316" y="1570"/>
                  </a:lnTo>
                  <a:lnTo>
                    <a:pt x="1312" y="1570"/>
                  </a:lnTo>
                  <a:lnTo>
                    <a:pt x="1310" y="1572"/>
                  </a:lnTo>
                  <a:lnTo>
                    <a:pt x="1312" y="1574"/>
                  </a:lnTo>
                  <a:lnTo>
                    <a:pt x="1322" y="1574"/>
                  </a:lnTo>
                  <a:lnTo>
                    <a:pt x="1324" y="1574"/>
                  </a:lnTo>
                  <a:lnTo>
                    <a:pt x="1326" y="1576"/>
                  </a:lnTo>
                  <a:lnTo>
                    <a:pt x="1326" y="1580"/>
                  </a:lnTo>
                  <a:lnTo>
                    <a:pt x="1328" y="1584"/>
                  </a:lnTo>
                  <a:lnTo>
                    <a:pt x="1330" y="1586"/>
                  </a:lnTo>
                  <a:lnTo>
                    <a:pt x="1332" y="1588"/>
                  </a:lnTo>
                  <a:close/>
                  <a:moveTo>
                    <a:pt x="1306" y="1608"/>
                  </a:moveTo>
                  <a:lnTo>
                    <a:pt x="1306" y="1608"/>
                  </a:lnTo>
                  <a:lnTo>
                    <a:pt x="1304" y="1610"/>
                  </a:lnTo>
                  <a:lnTo>
                    <a:pt x="1302" y="1612"/>
                  </a:lnTo>
                  <a:lnTo>
                    <a:pt x="1304" y="1616"/>
                  </a:lnTo>
                  <a:lnTo>
                    <a:pt x="1310" y="1618"/>
                  </a:lnTo>
                  <a:lnTo>
                    <a:pt x="1316" y="1622"/>
                  </a:lnTo>
                  <a:lnTo>
                    <a:pt x="1316" y="1624"/>
                  </a:lnTo>
                  <a:lnTo>
                    <a:pt x="1312" y="1628"/>
                  </a:lnTo>
                  <a:lnTo>
                    <a:pt x="1308" y="1630"/>
                  </a:lnTo>
                  <a:lnTo>
                    <a:pt x="1308" y="1634"/>
                  </a:lnTo>
                  <a:lnTo>
                    <a:pt x="1308" y="1636"/>
                  </a:lnTo>
                  <a:lnTo>
                    <a:pt x="1314" y="1636"/>
                  </a:lnTo>
                  <a:lnTo>
                    <a:pt x="1316" y="1634"/>
                  </a:lnTo>
                  <a:lnTo>
                    <a:pt x="1318" y="1630"/>
                  </a:lnTo>
                  <a:lnTo>
                    <a:pt x="1322" y="1620"/>
                  </a:lnTo>
                  <a:lnTo>
                    <a:pt x="1326" y="1618"/>
                  </a:lnTo>
                  <a:lnTo>
                    <a:pt x="1328" y="1616"/>
                  </a:lnTo>
                  <a:lnTo>
                    <a:pt x="1330" y="1616"/>
                  </a:lnTo>
                  <a:lnTo>
                    <a:pt x="1334" y="1618"/>
                  </a:lnTo>
                  <a:lnTo>
                    <a:pt x="1340" y="1614"/>
                  </a:lnTo>
                  <a:lnTo>
                    <a:pt x="1348" y="1610"/>
                  </a:lnTo>
                  <a:lnTo>
                    <a:pt x="1352" y="1604"/>
                  </a:lnTo>
                  <a:lnTo>
                    <a:pt x="1356" y="1602"/>
                  </a:lnTo>
                  <a:lnTo>
                    <a:pt x="1358" y="1602"/>
                  </a:lnTo>
                  <a:lnTo>
                    <a:pt x="1358" y="1604"/>
                  </a:lnTo>
                  <a:lnTo>
                    <a:pt x="1362" y="1604"/>
                  </a:lnTo>
                  <a:lnTo>
                    <a:pt x="1364" y="1602"/>
                  </a:lnTo>
                  <a:lnTo>
                    <a:pt x="1362" y="1602"/>
                  </a:lnTo>
                  <a:lnTo>
                    <a:pt x="1354" y="1596"/>
                  </a:lnTo>
                  <a:lnTo>
                    <a:pt x="1348" y="1594"/>
                  </a:lnTo>
                  <a:lnTo>
                    <a:pt x="1342" y="1594"/>
                  </a:lnTo>
                  <a:lnTo>
                    <a:pt x="1338" y="1594"/>
                  </a:lnTo>
                  <a:lnTo>
                    <a:pt x="1334" y="1592"/>
                  </a:lnTo>
                  <a:lnTo>
                    <a:pt x="1330" y="1590"/>
                  </a:lnTo>
                  <a:lnTo>
                    <a:pt x="1324" y="1592"/>
                  </a:lnTo>
                  <a:lnTo>
                    <a:pt x="1318" y="1594"/>
                  </a:lnTo>
                  <a:lnTo>
                    <a:pt x="1314" y="1600"/>
                  </a:lnTo>
                  <a:lnTo>
                    <a:pt x="1312" y="1602"/>
                  </a:lnTo>
                  <a:lnTo>
                    <a:pt x="1310" y="1602"/>
                  </a:lnTo>
                  <a:lnTo>
                    <a:pt x="1308" y="1598"/>
                  </a:lnTo>
                  <a:lnTo>
                    <a:pt x="1304" y="1598"/>
                  </a:lnTo>
                  <a:lnTo>
                    <a:pt x="1304" y="1600"/>
                  </a:lnTo>
                  <a:lnTo>
                    <a:pt x="1306" y="1604"/>
                  </a:lnTo>
                  <a:lnTo>
                    <a:pt x="1308" y="1606"/>
                  </a:lnTo>
                  <a:lnTo>
                    <a:pt x="1308" y="1608"/>
                  </a:lnTo>
                  <a:lnTo>
                    <a:pt x="1306" y="1608"/>
                  </a:lnTo>
                  <a:close/>
                  <a:moveTo>
                    <a:pt x="1364" y="1596"/>
                  </a:moveTo>
                  <a:lnTo>
                    <a:pt x="1364" y="1596"/>
                  </a:lnTo>
                  <a:lnTo>
                    <a:pt x="1364" y="1592"/>
                  </a:lnTo>
                  <a:lnTo>
                    <a:pt x="1360" y="1590"/>
                  </a:lnTo>
                  <a:lnTo>
                    <a:pt x="1356" y="1588"/>
                  </a:lnTo>
                  <a:lnTo>
                    <a:pt x="1354" y="1588"/>
                  </a:lnTo>
                  <a:lnTo>
                    <a:pt x="1354" y="1592"/>
                  </a:lnTo>
                  <a:lnTo>
                    <a:pt x="1356" y="1596"/>
                  </a:lnTo>
                  <a:lnTo>
                    <a:pt x="1360" y="1598"/>
                  </a:lnTo>
                  <a:lnTo>
                    <a:pt x="1364" y="1596"/>
                  </a:lnTo>
                  <a:close/>
                  <a:moveTo>
                    <a:pt x="1102" y="2532"/>
                  </a:moveTo>
                  <a:lnTo>
                    <a:pt x="1102" y="2532"/>
                  </a:lnTo>
                  <a:lnTo>
                    <a:pt x="1110" y="2530"/>
                  </a:lnTo>
                  <a:lnTo>
                    <a:pt x="1112" y="2530"/>
                  </a:lnTo>
                  <a:lnTo>
                    <a:pt x="1110" y="2528"/>
                  </a:lnTo>
                  <a:lnTo>
                    <a:pt x="1098" y="2526"/>
                  </a:lnTo>
                  <a:lnTo>
                    <a:pt x="1092" y="2528"/>
                  </a:lnTo>
                  <a:lnTo>
                    <a:pt x="1094" y="2530"/>
                  </a:lnTo>
                  <a:lnTo>
                    <a:pt x="1096" y="2532"/>
                  </a:lnTo>
                  <a:lnTo>
                    <a:pt x="1102" y="2532"/>
                  </a:lnTo>
                  <a:close/>
                  <a:moveTo>
                    <a:pt x="470" y="2754"/>
                  </a:moveTo>
                  <a:lnTo>
                    <a:pt x="470" y="2754"/>
                  </a:lnTo>
                  <a:lnTo>
                    <a:pt x="472" y="2756"/>
                  </a:lnTo>
                  <a:lnTo>
                    <a:pt x="476" y="2756"/>
                  </a:lnTo>
                  <a:lnTo>
                    <a:pt x="482" y="2752"/>
                  </a:lnTo>
                  <a:lnTo>
                    <a:pt x="486" y="2746"/>
                  </a:lnTo>
                  <a:lnTo>
                    <a:pt x="486" y="2744"/>
                  </a:lnTo>
                  <a:lnTo>
                    <a:pt x="484" y="2740"/>
                  </a:lnTo>
                  <a:lnTo>
                    <a:pt x="482" y="2740"/>
                  </a:lnTo>
                  <a:lnTo>
                    <a:pt x="480" y="2740"/>
                  </a:lnTo>
                  <a:lnTo>
                    <a:pt x="474" y="2744"/>
                  </a:lnTo>
                  <a:lnTo>
                    <a:pt x="470" y="2750"/>
                  </a:lnTo>
                  <a:lnTo>
                    <a:pt x="470" y="2752"/>
                  </a:lnTo>
                  <a:lnTo>
                    <a:pt x="470" y="2754"/>
                  </a:lnTo>
                  <a:close/>
                  <a:moveTo>
                    <a:pt x="808" y="2632"/>
                  </a:moveTo>
                  <a:lnTo>
                    <a:pt x="808" y="2632"/>
                  </a:lnTo>
                  <a:lnTo>
                    <a:pt x="804" y="2628"/>
                  </a:lnTo>
                  <a:lnTo>
                    <a:pt x="802" y="2626"/>
                  </a:lnTo>
                  <a:lnTo>
                    <a:pt x="798" y="2624"/>
                  </a:lnTo>
                  <a:lnTo>
                    <a:pt x="794" y="2626"/>
                  </a:lnTo>
                  <a:lnTo>
                    <a:pt x="790" y="2628"/>
                  </a:lnTo>
                  <a:lnTo>
                    <a:pt x="776" y="2638"/>
                  </a:lnTo>
                  <a:lnTo>
                    <a:pt x="768" y="2644"/>
                  </a:lnTo>
                  <a:lnTo>
                    <a:pt x="762" y="2646"/>
                  </a:lnTo>
                  <a:lnTo>
                    <a:pt x="758" y="2644"/>
                  </a:lnTo>
                  <a:lnTo>
                    <a:pt x="756" y="2642"/>
                  </a:lnTo>
                  <a:lnTo>
                    <a:pt x="752" y="2640"/>
                  </a:lnTo>
                  <a:lnTo>
                    <a:pt x="750" y="2650"/>
                  </a:lnTo>
                  <a:lnTo>
                    <a:pt x="752" y="2654"/>
                  </a:lnTo>
                  <a:lnTo>
                    <a:pt x="752" y="2658"/>
                  </a:lnTo>
                  <a:lnTo>
                    <a:pt x="756" y="2664"/>
                  </a:lnTo>
                  <a:lnTo>
                    <a:pt x="760" y="2672"/>
                  </a:lnTo>
                  <a:lnTo>
                    <a:pt x="762" y="2678"/>
                  </a:lnTo>
                  <a:lnTo>
                    <a:pt x="762" y="2686"/>
                  </a:lnTo>
                  <a:lnTo>
                    <a:pt x="762" y="2694"/>
                  </a:lnTo>
                  <a:lnTo>
                    <a:pt x="764" y="2698"/>
                  </a:lnTo>
                  <a:lnTo>
                    <a:pt x="764" y="2702"/>
                  </a:lnTo>
                  <a:lnTo>
                    <a:pt x="762" y="2714"/>
                  </a:lnTo>
                  <a:lnTo>
                    <a:pt x="760" y="2728"/>
                  </a:lnTo>
                  <a:lnTo>
                    <a:pt x="764" y="2742"/>
                  </a:lnTo>
                  <a:lnTo>
                    <a:pt x="766" y="2746"/>
                  </a:lnTo>
                  <a:lnTo>
                    <a:pt x="770" y="2750"/>
                  </a:lnTo>
                  <a:lnTo>
                    <a:pt x="774" y="2752"/>
                  </a:lnTo>
                  <a:lnTo>
                    <a:pt x="778" y="2752"/>
                  </a:lnTo>
                  <a:lnTo>
                    <a:pt x="782" y="2752"/>
                  </a:lnTo>
                  <a:lnTo>
                    <a:pt x="784" y="2748"/>
                  </a:lnTo>
                  <a:lnTo>
                    <a:pt x="788" y="2742"/>
                  </a:lnTo>
                  <a:lnTo>
                    <a:pt x="790" y="2738"/>
                  </a:lnTo>
                  <a:lnTo>
                    <a:pt x="792" y="2736"/>
                  </a:lnTo>
                  <a:lnTo>
                    <a:pt x="796" y="2738"/>
                  </a:lnTo>
                  <a:lnTo>
                    <a:pt x="802" y="2740"/>
                  </a:lnTo>
                  <a:lnTo>
                    <a:pt x="806" y="2740"/>
                  </a:lnTo>
                  <a:lnTo>
                    <a:pt x="808" y="2736"/>
                  </a:lnTo>
                  <a:lnTo>
                    <a:pt x="810" y="2726"/>
                  </a:lnTo>
                  <a:lnTo>
                    <a:pt x="814" y="2708"/>
                  </a:lnTo>
                  <a:lnTo>
                    <a:pt x="816" y="2698"/>
                  </a:lnTo>
                  <a:lnTo>
                    <a:pt x="814" y="2690"/>
                  </a:lnTo>
                  <a:lnTo>
                    <a:pt x="812" y="2682"/>
                  </a:lnTo>
                  <a:lnTo>
                    <a:pt x="810" y="2678"/>
                  </a:lnTo>
                  <a:lnTo>
                    <a:pt x="814" y="2672"/>
                  </a:lnTo>
                  <a:lnTo>
                    <a:pt x="818" y="2668"/>
                  </a:lnTo>
                  <a:lnTo>
                    <a:pt x="818" y="2662"/>
                  </a:lnTo>
                  <a:lnTo>
                    <a:pt x="818" y="2652"/>
                  </a:lnTo>
                  <a:lnTo>
                    <a:pt x="814" y="2642"/>
                  </a:lnTo>
                  <a:lnTo>
                    <a:pt x="808" y="2632"/>
                  </a:lnTo>
                  <a:close/>
                  <a:moveTo>
                    <a:pt x="576" y="2694"/>
                  </a:moveTo>
                  <a:lnTo>
                    <a:pt x="576" y="2694"/>
                  </a:lnTo>
                  <a:lnTo>
                    <a:pt x="578" y="2696"/>
                  </a:lnTo>
                  <a:lnTo>
                    <a:pt x="580" y="2696"/>
                  </a:lnTo>
                  <a:lnTo>
                    <a:pt x="584" y="2696"/>
                  </a:lnTo>
                  <a:lnTo>
                    <a:pt x="588" y="2698"/>
                  </a:lnTo>
                  <a:lnTo>
                    <a:pt x="592" y="2702"/>
                  </a:lnTo>
                  <a:lnTo>
                    <a:pt x="594" y="2700"/>
                  </a:lnTo>
                  <a:lnTo>
                    <a:pt x="596" y="2698"/>
                  </a:lnTo>
                  <a:lnTo>
                    <a:pt x="594" y="2692"/>
                  </a:lnTo>
                  <a:lnTo>
                    <a:pt x="594" y="2690"/>
                  </a:lnTo>
                  <a:lnTo>
                    <a:pt x="590" y="2688"/>
                  </a:lnTo>
                  <a:lnTo>
                    <a:pt x="584" y="2686"/>
                  </a:lnTo>
                  <a:lnTo>
                    <a:pt x="578" y="2688"/>
                  </a:lnTo>
                  <a:lnTo>
                    <a:pt x="576" y="2690"/>
                  </a:lnTo>
                  <a:lnTo>
                    <a:pt x="576" y="2694"/>
                  </a:lnTo>
                  <a:close/>
                  <a:moveTo>
                    <a:pt x="1022" y="2792"/>
                  </a:moveTo>
                  <a:lnTo>
                    <a:pt x="1022" y="2792"/>
                  </a:lnTo>
                  <a:lnTo>
                    <a:pt x="1016" y="2792"/>
                  </a:lnTo>
                  <a:lnTo>
                    <a:pt x="1010" y="2794"/>
                  </a:lnTo>
                  <a:lnTo>
                    <a:pt x="998" y="2800"/>
                  </a:lnTo>
                  <a:lnTo>
                    <a:pt x="990" y="2802"/>
                  </a:lnTo>
                  <a:lnTo>
                    <a:pt x="982" y="2802"/>
                  </a:lnTo>
                  <a:lnTo>
                    <a:pt x="974" y="2800"/>
                  </a:lnTo>
                  <a:lnTo>
                    <a:pt x="966" y="2796"/>
                  </a:lnTo>
                  <a:lnTo>
                    <a:pt x="960" y="2790"/>
                  </a:lnTo>
                  <a:lnTo>
                    <a:pt x="954" y="2790"/>
                  </a:lnTo>
                  <a:lnTo>
                    <a:pt x="950" y="2792"/>
                  </a:lnTo>
                  <a:lnTo>
                    <a:pt x="948" y="2794"/>
                  </a:lnTo>
                  <a:lnTo>
                    <a:pt x="944" y="2800"/>
                  </a:lnTo>
                  <a:lnTo>
                    <a:pt x="942" y="2800"/>
                  </a:lnTo>
                  <a:lnTo>
                    <a:pt x="938" y="2794"/>
                  </a:lnTo>
                  <a:lnTo>
                    <a:pt x="936" y="2794"/>
                  </a:lnTo>
                  <a:lnTo>
                    <a:pt x="934" y="2792"/>
                  </a:lnTo>
                  <a:lnTo>
                    <a:pt x="930" y="2796"/>
                  </a:lnTo>
                  <a:lnTo>
                    <a:pt x="926" y="2802"/>
                  </a:lnTo>
                  <a:lnTo>
                    <a:pt x="924" y="2814"/>
                  </a:lnTo>
                  <a:lnTo>
                    <a:pt x="926" y="2820"/>
                  </a:lnTo>
                  <a:lnTo>
                    <a:pt x="930" y="2822"/>
                  </a:lnTo>
                  <a:lnTo>
                    <a:pt x="944" y="2828"/>
                  </a:lnTo>
                  <a:lnTo>
                    <a:pt x="954" y="2832"/>
                  </a:lnTo>
                  <a:lnTo>
                    <a:pt x="966" y="2840"/>
                  </a:lnTo>
                  <a:lnTo>
                    <a:pt x="976" y="2848"/>
                  </a:lnTo>
                  <a:lnTo>
                    <a:pt x="982" y="2850"/>
                  </a:lnTo>
                  <a:lnTo>
                    <a:pt x="986" y="2850"/>
                  </a:lnTo>
                  <a:lnTo>
                    <a:pt x="994" y="2852"/>
                  </a:lnTo>
                  <a:lnTo>
                    <a:pt x="1000" y="2858"/>
                  </a:lnTo>
                  <a:lnTo>
                    <a:pt x="1008" y="2864"/>
                  </a:lnTo>
                  <a:lnTo>
                    <a:pt x="1016" y="2870"/>
                  </a:lnTo>
                  <a:lnTo>
                    <a:pt x="1030" y="2874"/>
                  </a:lnTo>
                  <a:lnTo>
                    <a:pt x="1032" y="2874"/>
                  </a:lnTo>
                  <a:lnTo>
                    <a:pt x="1032" y="2870"/>
                  </a:lnTo>
                  <a:lnTo>
                    <a:pt x="1034" y="2862"/>
                  </a:lnTo>
                  <a:lnTo>
                    <a:pt x="1036" y="2852"/>
                  </a:lnTo>
                  <a:lnTo>
                    <a:pt x="1036" y="2844"/>
                  </a:lnTo>
                  <a:lnTo>
                    <a:pt x="1034" y="2840"/>
                  </a:lnTo>
                  <a:lnTo>
                    <a:pt x="1032" y="2838"/>
                  </a:lnTo>
                  <a:lnTo>
                    <a:pt x="1030" y="2834"/>
                  </a:lnTo>
                  <a:lnTo>
                    <a:pt x="1030" y="2828"/>
                  </a:lnTo>
                  <a:lnTo>
                    <a:pt x="1036" y="2814"/>
                  </a:lnTo>
                  <a:lnTo>
                    <a:pt x="1050" y="2788"/>
                  </a:lnTo>
                  <a:lnTo>
                    <a:pt x="1052" y="2786"/>
                  </a:lnTo>
                  <a:lnTo>
                    <a:pt x="1050" y="2784"/>
                  </a:lnTo>
                  <a:lnTo>
                    <a:pt x="1042" y="2788"/>
                  </a:lnTo>
                  <a:lnTo>
                    <a:pt x="1032" y="2792"/>
                  </a:lnTo>
                  <a:lnTo>
                    <a:pt x="1026" y="2792"/>
                  </a:lnTo>
                  <a:lnTo>
                    <a:pt x="1022" y="2792"/>
                  </a:lnTo>
                  <a:close/>
                  <a:moveTo>
                    <a:pt x="802" y="2526"/>
                  </a:moveTo>
                  <a:lnTo>
                    <a:pt x="802" y="2526"/>
                  </a:lnTo>
                  <a:lnTo>
                    <a:pt x="800" y="2524"/>
                  </a:lnTo>
                  <a:lnTo>
                    <a:pt x="800" y="2526"/>
                  </a:lnTo>
                  <a:lnTo>
                    <a:pt x="798" y="2534"/>
                  </a:lnTo>
                  <a:lnTo>
                    <a:pt x="798" y="2540"/>
                  </a:lnTo>
                  <a:lnTo>
                    <a:pt x="798" y="2542"/>
                  </a:lnTo>
                  <a:lnTo>
                    <a:pt x="794" y="2542"/>
                  </a:lnTo>
                  <a:lnTo>
                    <a:pt x="790" y="2542"/>
                  </a:lnTo>
                  <a:lnTo>
                    <a:pt x="788" y="2542"/>
                  </a:lnTo>
                  <a:lnTo>
                    <a:pt x="782" y="2546"/>
                  </a:lnTo>
                  <a:lnTo>
                    <a:pt x="778" y="2548"/>
                  </a:lnTo>
                  <a:lnTo>
                    <a:pt x="774" y="2550"/>
                  </a:lnTo>
                  <a:lnTo>
                    <a:pt x="772" y="2550"/>
                  </a:lnTo>
                  <a:lnTo>
                    <a:pt x="772" y="2554"/>
                  </a:lnTo>
                  <a:lnTo>
                    <a:pt x="770" y="2568"/>
                  </a:lnTo>
                  <a:lnTo>
                    <a:pt x="770" y="2580"/>
                  </a:lnTo>
                  <a:lnTo>
                    <a:pt x="770" y="2584"/>
                  </a:lnTo>
                  <a:lnTo>
                    <a:pt x="772" y="2586"/>
                  </a:lnTo>
                  <a:lnTo>
                    <a:pt x="776" y="2586"/>
                  </a:lnTo>
                  <a:lnTo>
                    <a:pt x="776" y="2588"/>
                  </a:lnTo>
                  <a:lnTo>
                    <a:pt x="774" y="2592"/>
                  </a:lnTo>
                  <a:lnTo>
                    <a:pt x="772" y="2594"/>
                  </a:lnTo>
                  <a:lnTo>
                    <a:pt x="772" y="2596"/>
                  </a:lnTo>
                  <a:lnTo>
                    <a:pt x="778" y="2596"/>
                  </a:lnTo>
                  <a:lnTo>
                    <a:pt x="780" y="2598"/>
                  </a:lnTo>
                  <a:lnTo>
                    <a:pt x="778" y="2602"/>
                  </a:lnTo>
                  <a:lnTo>
                    <a:pt x="776" y="2604"/>
                  </a:lnTo>
                  <a:lnTo>
                    <a:pt x="776" y="2606"/>
                  </a:lnTo>
                  <a:lnTo>
                    <a:pt x="778" y="2608"/>
                  </a:lnTo>
                  <a:lnTo>
                    <a:pt x="786" y="2612"/>
                  </a:lnTo>
                  <a:lnTo>
                    <a:pt x="788" y="2614"/>
                  </a:lnTo>
                  <a:lnTo>
                    <a:pt x="790" y="2616"/>
                  </a:lnTo>
                  <a:lnTo>
                    <a:pt x="792" y="2616"/>
                  </a:lnTo>
                  <a:lnTo>
                    <a:pt x="794" y="2616"/>
                  </a:lnTo>
                  <a:lnTo>
                    <a:pt x="794" y="2612"/>
                  </a:lnTo>
                  <a:lnTo>
                    <a:pt x="794" y="2610"/>
                  </a:lnTo>
                  <a:lnTo>
                    <a:pt x="796" y="2606"/>
                  </a:lnTo>
                  <a:lnTo>
                    <a:pt x="800" y="2604"/>
                  </a:lnTo>
                  <a:lnTo>
                    <a:pt x="800" y="2600"/>
                  </a:lnTo>
                  <a:lnTo>
                    <a:pt x="802" y="2588"/>
                  </a:lnTo>
                  <a:lnTo>
                    <a:pt x="802" y="2582"/>
                  </a:lnTo>
                  <a:lnTo>
                    <a:pt x="804" y="2578"/>
                  </a:lnTo>
                  <a:lnTo>
                    <a:pt x="808" y="2574"/>
                  </a:lnTo>
                  <a:lnTo>
                    <a:pt x="808" y="2562"/>
                  </a:lnTo>
                  <a:lnTo>
                    <a:pt x="806" y="2552"/>
                  </a:lnTo>
                  <a:lnTo>
                    <a:pt x="804" y="2546"/>
                  </a:lnTo>
                  <a:lnTo>
                    <a:pt x="804" y="2544"/>
                  </a:lnTo>
                  <a:lnTo>
                    <a:pt x="804" y="2540"/>
                  </a:lnTo>
                  <a:lnTo>
                    <a:pt x="804" y="2530"/>
                  </a:lnTo>
                  <a:lnTo>
                    <a:pt x="804" y="2528"/>
                  </a:lnTo>
                  <a:lnTo>
                    <a:pt x="802" y="2526"/>
                  </a:lnTo>
                  <a:close/>
                  <a:moveTo>
                    <a:pt x="550" y="2700"/>
                  </a:moveTo>
                  <a:lnTo>
                    <a:pt x="550" y="2700"/>
                  </a:lnTo>
                  <a:lnTo>
                    <a:pt x="548" y="2696"/>
                  </a:lnTo>
                  <a:lnTo>
                    <a:pt x="544" y="2696"/>
                  </a:lnTo>
                  <a:lnTo>
                    <a:pt x="538" y="2698"/>
                  </a:lnTo>
                  <a:lnTo>
                    <a:pt x="532" y="2702"/>
                  </a:lnTo>
                  <a:lnTo>
                    <a:pt x="520" y="2712"/>
                  </a:lnTo>
                  <a:lnTo>
                    <a:pt x="518" y="2716"/>
                  </a:lnTo>
                  <a:lnTo>
                    <a:pt x="520" y="2718"/>
                  </a:lnTo>
                  <a:lnTo>
                    <a:pt x="520" y="2720"/>
                  </a:lnTo>
                  <a:lnTo>
                    <a:pt x="526" y="2718"/>
                  </a:lnTo>
                  <a:lnTo>
                    <a:pt x="530" y="2718"/>
                  </a:lnTo>
                  <a:lnTo>
                    <a:pt x="532" y="2720"/>
                  </a:lnTo>
                  <a:lnTo>
                    <a:pt x="536" y="2726"/>
                  </a:lnTo>
                  <a:lnTo>
                    <a:pt x="542" y="2730"/>
                  </a:lnTo>
                  <a:lnTo>
                    <a:pt x="546" y="2732"/>
                  </a:lnTo>
                  <a:lnTo>
                    <a:pt x="548" y="2732"/>
                  </a:lnTo>
                  <a:lnTo>
                    <a:pt x="554" y="2726"/>
                  </a:lnTo>
                  <a:lnTo>
                    <a:pt x="562" y="2708"/>
                  </a:lnTo>
                  <a:lnTo>
                    <a:pt x="564" y="2706"/>
                  </a:lnTo>
                  <a:lnTo>
                    <a:pt x="564" y="2704"/>
                  </a:lnTo>
                  <a:lnTo>
                    <a:pt x="558" y="2704"/>
                  </a:lnTo>
                  <a:lnTo>
                    <a:pt x="552" y="2706"/>
                  </a:lnTo>
                  <a:lnTo>
                    <a:pt x="550" y="2704"/>
                  </a:lnTo>
                  <a:lnTo>
                    <a:pt x="550" y="2700"/>
                  </a:lnTo>
                  <a:close/>
                  <a:moveTo>
                    <a:pt x="1254" y="2806"/>
                  </a:moveTo>
                  <a:lnTo>
                    <a:pt x="1254" y="2806"/>
                  </a:lnTo>
                  <a:lnTo>
                    <a:pt x="1252" y="2810"/>
                  </a:lnTo>
                  <a:lnTo>
                    <a:pt x="1254" y="2814"/>
                  </a:lnTo>
                  <a:lnTo>
                    <a:pt x="1260" y="2818"/>
                  </a:lnTo>
                  <a:lnTo>
                    <a:pt x="1264" y="2820"/>
                  </a:lnTo>
                  <a:lnTo>
                    <a:pt x="1266" y="2818"/>
                  </a:lnTo>
                  <a:lnTo>
                    <a:pt x="1266" y="2816"/>
                  </a:lnTo>
                  <a:lnTo>
                    <a:pt x="1264" y="2812"/>
                  </a:lnTo>
                  <a:lnTo>
                    <a:pt x="1258" y="2808"/>
                  </a:lnTo>
                  <a:lnTo>
                    <a:pt x="1254" y="2806"/>
                  </a:lnTo>
                  <a:close/>
                  <a:moveTo>
                    <a:pt x="1410" y="2874"/>
                  </a:moveTo>
                  <a:lnTo>
                    <a:pt x="1410" y="2874"/>
                  </a:lnTo>
                  <a:lnTo>
                    <a:pt x="1412" y="2870"/>
                  </a:lnTo>
                  <a:lnTo>
                    <a:pt x="1410" y="2868"/>
                  </a:lnTo>
                  <a:lnTo>
                    <a:pt x="1408" y="2868"/>
                  </a:lnTo>
                  <a:lnTo>
                    <a:pt x="1402" y="2870"/>
                  </a:lnTo>
                  <a:lnTo>
                    <a:pt x="1402" y="2872"/>
                  </a:lnTo>
                  <a:lnTo>
                    <a:pt x="1400" y="2874"/>
                  </a:lnTo>
                  <a:lnTo>
                    <a:pt x="1402" y="2876"/>
                  </a:lnTo>
                  <a:lnTo>
                    <a:pt x="1406" y="2876"/>
                  </a:lnTo>
                  <a:lnTo>
                    <a:pt x="1410" y="2874"/>
                  </a:lnTo>
                  <a:close/>
                  <a:moveTo>
                    <a:pt x="1214" y="2706"/>
                  </a:moveTo>
                  <a:lnTo>
                    <a:pt x="1214" y="2706"/>
                  </a:lnTo>
                  <a:lnTo>
                    <a:pt x="1214" y="2712"/>
                  </a:lnTo>
                  <a:lnTo>
                    <a:pt x="1218" y="2718"/>
                  </a:lnTo>
                  <a:lnTo>
                    <a:pt x="1224" y="2722"/>
                  </a:lnTo>
                  <a:lnTo>
                    <a:pt x="1230" y="2726"/>
                  </a:lnTo>
                  <a:lnTo>
                    <a:pt x="1232" y="2726"/>
                  </a:lnTo>
                  <a:lnTo>
                    <a:pt x="1230" y="2724"/>
                  </a:lnTo>
                  <a:lnTo>
                    <a:pt x="1228" y="2720"/>
                  </a:lnTo>
                  <a:lnTo>
                    <a:pt x="1224" y="2714"/>
                  </a:lnTo>
                  <a:lnTo>
                    <a:pt x="1222" y="2708"/>
                  </a:lnTo>
                  <a:lnTo>
                    <a:pt x="1222" y="2704"/>
                  </a:lnTo>
                  <a:lnTo>
                    <a:pt x="1218" y="2702"/>
                  </a:lnTo>
                  <a:lnTo>
                    <a:pt x="1216" y="2702"/>
                  </a:lnTo>
                  <a:lnTo>
                    <a:pt x="1214" y="2706"/>
                  </a:lnTo>
                  <a:close/>
                  <a:moveTo>
                    <a:pt x="1468" y="2954"/>
                  </a:moveTo>
                  <a:lnTo>
                    <a:pt x="1468" y="2954"/>
                  </a:lnTo>
                  <a:lnTo>
                    <a:pt x="1464" y="2956"/>
                  </a:lnTo>
                  <a:lnTo>
                    <a:pt x="1462" y="2956"/>
                  </a:lnTo>
                  <a:lnTo>
                    <a:pt x="1460" y="2952"/>
                  </a:lnTo>
                  <a:lnTo>
                    <a:pt x="1460" y="2948"/>
                  </a:lnTo>
                  <a:lnTo>
                    <a:pt x="1456" y="2946"/>
                  </a:lnTo>
                  <a:lnTo>
                    <a:pt x="1452" y="2946"/>
                  </a:lnTo>
                  <a:lnTo>
                    <a:pt x="1446" y="2948"/>
                  </a:lnTo>
                  <a:lnTo>
                    <a:pt x="1442" y="2946"/>
                  </a:lnTo>
                  <a:lnTo>
                    <a:pt x="1434" y="2944"/>
                  </a:lnTo>
                  <a:lnTo>
                    <a:pt x="1424" y="2942"/>
                  </a:lnTo>
                  <a:lnTo>
                    <a:pt x="1418" y="2942"/>
                  </a:lnTo>
                  <a:lnTo>
                    <a:pt x="1410" y="2944"/>
                  </a:lnTo>
                  <a:lnTo>
                    <a:pt x="1406" y="2944"/>
                  </a:lnTo>
                  <a:lnTo>
                    <a:pt x="1402" y="2942"/>
                  </a:lnTo>
                  <a:lnTo>
                    <a:pt x="1398" y="2938"/>
                  </a:lnTo>
                  <a:lnTo>
                    <a:pt x="1396" y="2934"/>
                  </a:lnTo>
                  <a:lnTo>
                    <a:pt x="1394" y="2932"/>
                  </a:lnTo>
                  <a:lnTo>
                    <a:pt x="1392" y="2934"/>
                  </a:lnTo>
                  <a:lnTo>
                    <a:pt x="1390" y="2934"/>
                  </a:lnTo>
                  <a:lnTo>
                    <a:pt x="1386" y="2934"/>
                  </a:lnTo>
                  <a:lnTo>
                    <a:pt x="1382" y="2932"/>
                  </a:lnTo>
                  <a:lnTo>
                    <a:pt x="1380" y="2928"/>
                  </a:lnTo>
                  <a:lnTo>
                    <a:pt x="1378" y="2928"/>
                  </a:lnTo>
                  <a:lnTo>
                    <a:pt x="1378" y="2930"/>
                  </a:lnTo>
                  <a:lnTo>
                    <a:pt x="1376" y="2934"/>
                  </a:lnTo>
                  <a:lnTo>
                    <a:pt x="1374" y="2936"/>
                  </a:lnTo>
                  <a:lnTo>
                    <a:pt x="1372" y="2938"/>
                  </a:lnTo>
                  <a:lnTo>
                    <a:pt x="1372" y="2946"/>
                  </a:lnTo>
                  <a:lnTo>
                    <a:pt x="1372" y="2950"/>
                  </a:lnTo>
                  <a:lnTo>
                    <a:pt x="1376" y="2952"/>
                  </a:lnTo>
                  <a:lnTo>
                    <a:pt x="1388" y="2952"/>
                  </a:lnTo>
                  <a:lnTo>
                    <a:pt x="1402" y="2954"/>
                  </a:lnTo>
                  <a:lnTo>
                    <a:pt x="1410" y="2958"/>
                  </a:lnTo>
                  <a:lnTo>
                    <a:pt x="1418" y="2962"/>
                  </a:lnTo>
                  <a:lnTo>
                    <a:pt x="1422" y="2964"/>
                  </a:lnTo>
                  <a:lnTo>
                    <a:pt x="1428" y="2966"/>
                  </a:lnTo>
                  <a:lnTo>
                    <a:pt x="1440" y="2966"/>
                  </a:lnTo>
                  <a:lnTo>
                    <a:pt x="1452" y="2964"/>
                  </a:lnTo>
                  <a:lnTo>
                    <a:pt x="1468" y="2964"/>
                  </a:lnTo>
                  <a:lnTo>
                    <a:pt x="1476" y="2962"/>
                  </a:lnTo>
                  <a:lnTo>
                    <a:pt x="1480" y="2960"/>
                  </a:lnTo>
                  <a:lnTo>
                    <a:pt x="1482" y="2958"/>
                  </a:lnTo>
                  <a:lnTo>
                    <a:pt x="1484" y="2954"/>
                  </a:lnTo>
                  <a:lnTo>
                    <a:pt x="1482" y="2952"/>
                  </a:lnTo>
                  <a:lnTo>
                    <a:pt x="1478" y="2950"/>
                  </a:lnTo>
                  <a:lnTo>
                    <a:pt x="1474" y="2950"/>
                  </a:lnTo>
                  <a:lnTo>
                    <a:pt x="1468" y="2954"/>
                  </a:lnTo>
                  <a:close/>
                  <a:moveTo>
                    <a:pt x="1518" y="2942"/>
                  </a:moveTo>
                  <a:lnTo>
                    <a:pt x="1518" y="2942"/>
                  </a:lnTo>
                  <a:lnTo>
                    <a:pt x="1520" y="2940"/>
                  </a:lnTo>
                  <a:lnTo>
                    <a:pt x="1520" y="2938"/>
                  </a:lnTo>
                  <a:lnTo>
                    <a:pt x="1518" y="2926"/>
                  </a:lnTo>
                  <a:lnTo>
                    <a:pt x="1516" y="2924"/>
                  </a:lnTo>
                  <a:lnTo>
                    <a:pt x="1516" y="2926"/>
                  </a:lnTo>
                  <a:lnTo>
                    <a:pt x="1514" y="2932"/>
                  </a:lnTo>
                  <a:lnTo>
                    <a:pt x="1514" y="2938"/>
                  </a:lnTo>
                  <a:lnTo>
                    <a:pt x="1516" y="2940"/>
                  </a:lnTo>
                  <a:lnTo>
                    <a:pt x="1518" y="2942"/>
                  </a:lnTo>
                  <a:close/>
                  <a:moveTo>
                    <a:pt x="1252" y="2768"/>
                  </a:moveTo>
                  <a:lnTo>
                    <a:pt x="1252" y="2768"/>
                  </a:lnTo>
                  <a:lnTo>
                    <a:pt x="1254" y="2768"/>
                  </a:lnTo>
                  <a:lnTo>
                    <a:pt x="1256" y="2766"/>
                  </a:lnTo>
                  <a:lnTo>
                    <a:pt x="1256" y="2764"/>
                  </a:lnTo>
                  <a:lnTo>
                    <a:pt x="1254" y="2760"/>
                  </a:lnTo>
                  <a:lnTo>
                    <a:pt x="1254" y="2758"/>
                  </a:lnTo>
                  <a:lnTo>
                    <a:pt x="1252" y="2758"/>
                  </a:lnTo>
                  <a:lnTo>
                    <a:pt x="1250" y="2762"/>
                  </a:lnTo>
                  <a:lnTo>
                    <a:pt x="1248" y="2766"/>
                  </a:lnTo>
                  <a:lnTo>
                    <a:pt x="1250" y="2768"/>
                  </a:lnTo>
                  <a:lnTo>
                    <a:pt x="1252" y="2768"/>
                  </a:lnTo>
                  <a:close/>
                  <a:moveTo>
                    <a:pt x="1256" y="2790"/>
                  </a:moveTo>
                  <a:lnTo>
                    <a:pt x="1256" y="2790"/>
                  </a:lnTo>
                  <a:lnTo>
                    <a:pt x="1254" y="2786"/>
                  </a:lnTo>
                  <a:lnTo>
                    <a:pt x="1252" y="2782"/>
                  </a:lnTo>
                  <a:lnTo>
                    <a:pt x="1252" y="2780"/>
                  </a:lnTo>
                  <a:lnTo>
                    <a:pt x="1250" y="2780"/>
                  </a:lnTo>
                  <a:lnTo>
                    <a:pt x="1248" y="2782"/>
                  </a:lnTo>
                  <a:lnTo>
                    <a:pt x="1244" y="2782"/>
                  </a:lnTo>
                  <a:lnTo>
                    <a:pt x="1242" y="2784"/>
                  </a:lnTo>
                  <a:lnTo>
                    <a:pt x="1242" y="2790"/>
                  </a:lnTo>
                  <a:lnTo>
                    <a:pt x="1244" y="2794"/>
                  </a:lnTo>
                  <a:lnTo>
                    <a:pt x="1246" y="2794"/>
                  </a:lnTo>
                  <a:lnTo>
                    <a:pt x="1250" y="2794"/>
                  </a:lnTo>
                  <a:lnTo>
                    <a:pt x="1256" y="2796"/>
                  </a:lnTo>
                  <a:lnTo>
                    <a:pt x="1260" y="2798"/>
                  </a:lnTo>
                  <a:lnTo>
                    <a:pt x="1260" y="2794"/>
                  </a:lnTo>
                  <a:lnTo>
                    <a:pt x="1256" y="2790"/>
                  </a:lnTo>
                  <a:close/>
                  <a:moveTo>
                    <a:pt x="1348" y="2902"/>
                  </a:moveTo>
                  <a:lnTo>
                    <a:pt x="1348" y="2902"/>
                  </a:lnTo>
                  <a:lnTo>
                    <a:pt x="1352" y="2904"/>
                  </a:lnTo>
                  <a:lnTo>
                    <a:pt x="1352" y="2902"/>
                  </a:lnTo>
                  <a:lnTo>
                    <a:pt x="1352" y="2898"/>
                  </a:lnTo>
                  <a:lnTo>
                    <a:pt x="1350" y="2892"/>
                  </a:lnTo>
                  <a:lnTo>
                    <a:pt x="1346" y="2890"/>
                  </a:lnTo>
                  <a:lnTo>
                    <a:pt x="1344" y="2892"/>
                  </a:lnTo>
                  <a:lnTo>
                    <a:pt x="1346" y="2896"/>
                  </a:lnTo>
                  <a:lnTo>
                    <a:pt x="1348" y="2902"/>
                  </a:lnTo>
                  <a:close/>
                  <a:moveTo>
                    <a:pt x="1448" y="2860"/>
                  </a:moveTo>
                  <a:lnTo>
                    <a:pt x="1448" y="2860"/>
                  </a:lnTo>
                  <a:lnTo>
                    <a:pt x="1450" y="2860"/>
                  </a:lnTo>
                  <a:lnTo>
                    <a:pt x="1452" y="2860"/>
                  </a:lnTo>
                  <a:lnTo>
                    <a:pt x="1454" y="2854"/>
                  </a:lnTo>
                  <a:lnTo>
                    <a:pt x="1452" y="2848"/>
                  </a:lnTo>
                  <a:lnTo>
                    <a:pt x="1452" y="2846"/>
                  </a:lnTo>
                  <a:lnTo>
                    <a:pt x="1448" y="2846"/>
                  </a:lnTo>
                  <a:lnTo>
                    <a:pt x="1446" y="2850"/>
                  </a:lnTo>
                  <a:lnTo>
                    <a:pt x="1444" y="2852"/>
                  </a:lnTo>
                  <a:lnTo>
                    <a:pt x="1446" y="2856"/>
                  </a:lnTo>
                  <a:lnTo>
                    <a:pt x="1448" y="2860"/>
                  </a:lnTo>
                  <a:close/>
                  <a:moveTo>
                    <a:pt x="1440" y="2848"/>
                  </a:moveTo>
                  <a:lnTo>
                    <a:pt x="1440" y="2848"/>
                  </a:lnTo>
                  <a:lnTo>
                    <a:pt x="1438" y="2848"/>
                  </a:lnTo>
                  <a:lnTo>
                    <a:pt x="1434" y="2850"/>
                  </a:lnTo>
                  <a:lnTo>
                    <a:pt x="1434" y="2854"/>
                  </a:lnTo>
                  <a:lnTo>
                    <a:pt x="1436" y="2856"/>
                  </a:lnTo>
                  <a:lnTo>
                    <a:pt x="1438" y="2856"/>
                  </a:lnTo>
                  <a:lnTo>
                    <a:pt x="1440" y="2854"/>
                  </a:lnTo>
                  <a:lnTo>
                    <a:pt x="1440" y="2850"/>
                  </a:lnTo>
                  <a:lnTo>
                    <a:pt x="1440" y="2848"/>
                  </a:lnTo>
                  <a:close/>
                  <a:moveTo>
                    <a:pt x="2822" y="3608"/>
                  </a:moveTo>
                  <a:lnTo>
                    <a:pt x="2822" y="3608"/>
                  </a:lnTo>
                  <a:lnTo>
                    <a:pt x="2818" y="3606"/>
                  </a:lnTo>
                  <a:lnTo>
                    <a:pt x="2814" y="3598"/>
                  </a:lnTo>
                  <a:lnTo>
                    <a:pt x="2802" y="3578"/>
                  </a:lnTo>
                  <a:lnTo>
                    <a:pt x="2798" y="3570"/>
                  </a:lnTo>
                  <a:lnTo>
                    <a:pt x="2792" y="3562"/>
                  </a:lnTo>
                  <a:lnTo>
                    <a:pt x="2786" y="3558"/>
                  </a:lnTo>
                  <a:lnTo>
                    <a:pt x="2782" y="3556"/>
                  </a:lnTo>
                  <a:lnTo>
                    <a:pt x="2780" y="3558"/>
                  </a:lnTo>
                  <a:lnTo>
                    <a:pt x="2776" y="3558"/>
                  </a:lnTo>
                  <a:lnTo>
                    <a:pt x="2774" y="3558"/>
                  </a:lnTo>
                  <a:lnTo>
                    <a:pt x="2768" y="3554"/>
                  </a:lnTo>
                  <a:lnTo>
                    <a:pt x="2762" y="3550"/>
                  </a:lnTo>
                  <a:lnTo>
                    <a:pt x="2756" y="3548"/>
                  </a:lnTo>
                  <a:lnTo>
                    <a:pt x="2746" y="3546"/>
                  </a:lnTo>
                  <a:lnTo>
                    <a:pt x="2738" y="3544"/>
                  </a:lnTo>
                  <a:lnTo>
                    <a:pt x="2728" y="3540"/>
                  </a:lnTo>
                  <a:lnTo>
                    <a:pt x="2720" y="3532"/>
                  </a:lnTo>
                  <a:lnTo>
                    <a:pt x="2712" y="3524"/>
                  </a:lnTo>
                  <a:lnTo>
                    <a:pt x="2706" y="3516"/>
                  </a:lnTo>
                  <a:lnTo>
                    <a:pt x="2700" y="3506"/>
                  </a:lnTo>
                  <a:lnTo>
                    <a:pt x="2696" y="3496"/>
                  </a:lnTo>
                  <a:lnTo>
                    <a:pt x="2694" y="3488"/>
                  </a:lnTo>
                  <a:lnTo>
                    <a:pt x="2694" y="3464"/>
                  </a:lnTo>
                  <a:lnTo>
                    <a:pt x="2694" y="3458"/>
                  </a:lnTo>
                  <a:lnTo>
                    <a:pt x="2692" y="3454"/>
                  </a:lnTo>
                  <a:lnTo>
                    <a:pt x="2692" y="3448"/>
                  </a:lnTo>
                  <a:lnTo>
                    <a:pt x="2694" y="3442"/>
                  </a:lnTo>
                  <a:lnTo>
                    <a:pt x="2696" y="3438"/>
                  </a:lnTo>
                  <a:lnTo>
                    <a:pt x="2696" y="3434"/>
                  </a:lnTo>
                  <a:lnTo>
                    <a:pt x="2696" y="3430"/>
                  </a:lnTo>
                  <a:lnTo>
                    <a:pt x="2698" y="3422"/>
                  </a:lnTo>
                  <a:lnTo>
                    <a:pt x="2700" y="3418"/>
                  </a:lnTo>
                  <a:lnTo>
                    <a:pt x="2698" y="3416"/>
                  </a:lnTo>
                  <a:lnTo>
                    <a:pt x="2696" y="3414"/>
                  </a:lnTo>
                  <a:lnTo>
                    <a:pt x="2694" y="3416"/>
                  </a:lnTo>
                  <a:lnTo>
                    <a:pt x="2692" y="3416"/>
                  </a:lnTo>
                  <a:lnTo>
                    <a:pt x="2692" y="3420"/>
                  </a:lnTo>
                  <a:lnTo>
                    <a:pt x="2694" y="3424"/>
                  </a:lnTo>
                  <a:lnTo>
                    <a:pt x="2692" y="3424"/>
                  </a:lnTo>
                  <a:lnTo>
                    <a:pt x="2688" y="3422"/>
                  </a:lnTo>
                  <a:lnTo>
                    <a:pt x="2686" y="3422"/>
                  </a:lnTo>
                  <a:lnTo>
                    <a:pt x="2684" y="3432"/>
                  </a:lnTo>
                  <a:lnTo>
                    <a:pt x="2680" y="3444"/>
                  </a:lnTo>
                  <a:lnTo>
                    <a:pt x="2678" y="3444"/>
                  </a:lnTo>
                  <a:lnTo>
                    <a:pt x="2676" y="3444"/>
                  </a:lnTo>
                  <a:lnTo>
                    <a:pt x="2674" y="3444"/>
                  </a:lnTo>
                  <a:lnTo>
                    <a:pt x="2670" y="3452"/>
                  </a:lnTo>
                  <a:lnTo>
                    <a:pt x="2666" y="3458"/>
                  </a:lnTo>
                  <a:lnTo>
                    <a:pt x="2660" y="3462"/>
                  </a:lnTo>
                  <a:lnTo>
                    <a:pt x="2654" y="3468"/>
                  </a:lnTo>
                  <a:lnTo>
                    <a:pt x="2646" y="3476"/>
                  </a:lnTo>
                  <a:lnTo>
                    <a:pt x="2638" y="3488"/>
                  </a:lnTo>
                  <a:lnTo>
                    <a:pt x="2628" y="3496"/>
                  </a:lnTo>
                  <a:lnTo>
                    <a:pt x="2614" y="3508"/>
                  </a:lnTo>
                  <a:lnTo>
                    <a:pt x="2616" y="3510"/>
                  </a:lnTo>
                  <a:lnTo>
                    <a:pt x="2618" y="3512"/>
                  </a:lnTo>
                  <a:lnTo>
                    <a:pt x="2618" y="3516"/>
                  </a:lnTo>
                  <a:lnTo>
                    <a:pt x="2614" y="3524"/>
                  </a:lnTo>
                  <a:lnTo>
                    <a:pt x="2606" y="3530"/>
                  </a:lnTo>
                  <a:lnTo>
                    <a:pt x="2598" y="3532"/>
                  </a:lnTo>
                  <a:lnTo>
                    <a:pt x="2588" y="3534"/>
                  </a:lnTo>
                  <a:lnTo>
                    <a:pt x="2578" y="3532"/>
                  </a:lnTo>
                  <a:lnTo>
                    <a:pt x="2558" y="3528"/>
                  </a:lnTo>
                  <a:lnTo>
                    <a:pt x="2546" y="3528"/>
                  </a:lnTo>
                  <a:lnTo>
                    <a:pt x="2538" y="3532"/>
                  </a:lnTo>
                  <a:lnTo>
                    <a:pt x="2522" y="3538"/>
                  </a:lnTo>
                  <a:lnTo>
                    <a:pt x="2514" y="3538"/>
                  </a:lnTo>
                  <a:lnTo>
                    <a:pt x="2512" y="3538"/>
                  </a:lnTo>
                  <a:lnTo>
                    <a:pt x="2510" y="3536"/>
                  </a:lnTo>
                  <a:lnTo>
                    <a:pt x="2510" y="3528"/>
                  </a:lnTo>
                  <a:lnTo>
                    <a:pt x="2510" y="3522"/>
                  </a:lnTo>
                  <a:lnTo>
                    <a:pt x="2506" y="3522"/>
                  </a:lnTo>
                  <a:lnTo>
                    <a:pt x="2502" y="3522"/>
                  </a:lnTo>
                  <a:lnTo>
                    <a:pt x="2496" y="3522"/>
                  </a:lnTo>
                  <a:lnTo>
                    <a:pt x="2492" y="3520"/>
                  </a:lnTo>
                  <a:lnTo>
                    <a:pt x="2490" y="3518"/>
                  </a:lnTo>
                  <a:lnTo>
                    <a:pt x="2492" y="3514"/>
                  </a:lnTo>
                  <a:lnTo>
                    <a:pt x="2496" y="3510"/>
                  </a:lnTo>
                  <a:lnTo>
                    <a:pt x="2496" y="3506"/>
                  </a:lnTo>
                  <a:lnTo>
                    <a:pt x="2492" y="3508"/>
                  </a:lnTo>
                  <a:lnTo>
                    <a:pt x="2490" y="3508"/>
                  </a:lnTo>
                  <a:lnTo>
                    <a:pt x="2488" y="3508"/>
                  </a:lnTo>
                  <a:lnTo>
                    <a:pt x="2486" y="3506"/>
                  </a:lnTo>
                  <a:lnTo>
                    <a:pt x="2488" y="3504"/>
                  </a:lnTo>
                  <a:lnTo>
                    <a:pt x="2490" y="3504"/>
                  </a:lnTo>
                  <a:lnTo>
                    <a:pt x="2494" y="3504"/>
                  </a:lnTo>
                  <a:lnTo>
                    <a:pt x="2496" y="3502"/>
                  </a:lnTo>
                  <a:lnTo>
                    <a:pt x="2498" y="3496"/>
                  </a:lnTo>
                  <a:lnTo>
                    <a:pt x="2502" y="3480"/>
                  </a:lnTo>
                  <a:lnTo>
                    <a:pt x="2502" y="3474"/>
                  </a:lnTo>
                  <a:lnTo>
                    <a:pt x="2500" y="3468"/>
                  </a:lnTo>
                  <a:lnTo>
                    <a:pt x="2496" y="3462"/>
                  </a:lnTo>
                  <a:lnTo>
                    <a:pt x="2496" y="3458"/>
                  </a:lnTo>
                  <a:lnTo>
                    <a:pt x="2498" y="3454"/>
                  </a:lnTo>
                  <a:lnTo>
                    <a:pt x="2500" y="3448"/>
                  </a:lnTo>
                  <a:lnTo>
                    <a:pt x="2498" y="3440"/>
                  </a:lnTo>
                  <a:lnTo>
                    <a:pt x="2494" y="3434"/>
                  </a:lnTo>
                  <a:lnTo>
                    <a:pt x="2490" y="3428"/>
                  </a:lnTo>
                  <a:lnTo>
                    <a:pt x="2486" y="3426"/>
                  </a:lnTo>
                  <a:lnTo>
                    <a:pt x="2484" y="3426"/>
                  </a:lnTo>
                  <a:lnTo>
                    <a:pt x="2480" y="3430"/>
                  </a:lnTo>
                  <a:lnTo>
                    <a:pt x="2476" y="3444"/>
                  </a:lnTo>
                  <a:lnTo>
                    <a:pt x="2470" y="3456"/>
                  </a:lnTo>
                  <a:lnTo>
                    <a:pt x="2470" y="3466"/>
                  </a:lnTo>
                  <a:lnTo>
                    <a:pt x="2468" y="3498"/>
                  </a:lnTo>
                  <a:lnTo>
                    <a:pt x="2464" y="3486"/>
                  </a:lnTo>
                  <a:lnTo>
                    <a:pt x="2460" y="3478"/>
                  </a:lnTo>
                  <a:lnTo>
                    <a:pt x="2458" y="3468"/>
                  </a:lnTo>
                  <a:lnTo>
                    <a:pt x="2452" y="3462"/>
                  </a:lnTo>
                  <a:lnTo>
                    <a:pt x="2448" y="3456"/>
                  </a:lnTo>
                  <a:lnTo>
                    <a:pt x="2448" y="3454"/>
                  </a:lnTo>
                  <a:lnTo>
                    <a:pt x="2448" y="3450"/>
                  </a:lnTo>
                  <a:lnTo>
                    <a:pt x="2444" y="3444"/>
                  </a:lnTo>
                  <a:lnTo>
                    <a:pt x="2442" y="3438"/>
                  </a:lnTo>
                  <a:lnTo>
                    <a:pt x="2442" y="3434"/>
                  </a:lnTo>
                  <a:lnTo>
                    <a:pt x="2442" y="3428"/>
                  </a:lnTo>
                  <a:lnTo>
                    <a:pt x="2444" y="3420"/>
                  </a:lnTo>
                  <a:lnTo>
                    <a:pt x="2442" y="3414"/>
                  </a:lnTo>
                  <a:lnTo>
                    <a:pt x="2440" y="3408"/>
                  </a:lnTo>
                  <a:lnTo>
                    <a:pt x="2438" y="3402"/>
                  </a:lnTo>
                  <a:lnTo>
                    <a:pt x="2438" y="3400"/>
                  </a:lnTo>
                  <a:lnTo>
                    <a:pt x="2442" y="3400"/>
                  </a:lnTo>
                  <a:lnTo>
                    <a:pt x="2444" y="3404"/>
                  </a:lnTo>
                  <a:lnTo>
                    <a:pt x="2448" y="3404"/>
                  </a:lnTo>
                  <a:lnTo>
                    <a:pt x="2448" y="3406"/>
                  </a:lnTo>
                  <a:lnTo>
                    <a:pt x="2446" y="3408"/>
                  </a:lnTo>
                  <a:lnTo>
                    <a:pt x="2444" y="3410"/>
                  </a:lnTo>
                  <a:lnTo>
                    <a:pt x="2448" y="3410"/>
                  </a:lnTo>
                  <a:lnTo>
                    <a:pt x="2450" y="3412"/>
                  </a:lnTo>
                  <a:lnTo>
                    <a:pt x="2448" y="3414"/>
                  </a:lnTo>
                  <a:lnTo>
                    <a:pt x="2450" y="3416"/>
                  </a:lnTo>
                  <a:lnTo>
                    <a:pt x="2454" y="3420"/>
                  </a:lnTo>
                  <a:lnTo>
                    <a:pt x="2456" y="3422"/>
                  </a:lnTo>
                  <a:lnTo>
                    <a:pt x="2458" y="3422"/>
                  </a:lnTo>
                  <a:lnTo>
                    <a:pt x="2460" y="3422"/>
                  </a:lnTo>
                  <a:lnTo>
                    <a:pt x="2460" y="3420"/>
                  </a:lnTo>
                  <a:lnTo>
                    <a:pt x="2460" y="3418"/>
                  </a:lnTo>
                  <a:lnTo>
                    <a:pt x="2462" y="3416"/>
                  </a:lnTo>
                  <a:lnTo>
                    <a:pt x="2464" y="3412"/>
                  </a:lnTo>
                  <a:lnTo>
                    <a:pt x="2466" y="3406"/>
                  </a:lnTo>
                  <a:lnTo>
                    <a:pt x="2466" y="3402"/>
                  </a:lnTo>
                  <a:lnTo>
                    <a:pt x="2468" y="3400"/>
                  </a:lnTo>
                  <a:lnTo>
                    <a:pt x="2468" y="3402"/>
                  </a:lnTo>
                  <a:lnTo>
                    <a:pt x="2474" y="3404"/>
                  </a:lnTo>
                  <a:lnTo>
                    <a:pt x="2476" y="3404"/>
                  </a:lnTo>
                  <a:lnTo>
                    <a:pt x="2476" y="3402"/>
                  </a:lnTo>
                  <a:lnTo>
                    <a:pt x="2478" y="3402"/>
                  </a:lnTo>
                  <a:lnTo>
                    <a:pt x="2480" y="3400"/>
                  </a:lnTo>
                  <a:lnTo>
                    <a:pt x="2480" y="3398"/>
                  </a:lnTo>
                  <a:lnTo>
                    <a:pt x="2482" y="3396"/>
                  </a:lnTo>
                  <a:lnTo>
                    <a:pt x="2482" y="3394"/>
                  </a:lnTo>
                  <a:lnTo>
                    <a:pt x="2482" y="3392"/>
                  </a:lnTo>
                  <a:lnTo>
                    <a:pt x="2482" y="3388"/>
                  </a:lnTo>
                  <a:lnTo>
                    <a:pt x="2480" y="3386"/>
                  </a:lnTo>
                  <a:lnTo>
                    <a:pt x="2482" y="3384"/>
                  </a:lnTo>
                  <a:lnTo>
                    <a:pt x="2480" y="3384"/>
                  </a:lnTo>
                  <a:lnTo>
                    <a:pt x="2478" y="3384"/>
                  </a:lnTo>
                  <a:lnTo>
                    <a:pt x="2478" y="3386"/>
                  </a:lnTo>
                  <a:lnTo>
                    <a:pt x="2476" y="3388"/>
                  </a:lnTo>
                  <a:lnTo>
                    <a:pt x="2472" y="3388"/>
                  </a:lnTo>
                  <a:lnTo>
                    <a:pt x="2470" y="3388"/>
                  </a:lnTo>
                  <a:lnTo>
                    <a:pt x="2468" y="3382"/>
                  </a:lnTo>
                  <a:lnTo>
                    <a:pt x="2466" y="3378"/>
                  </a:lnTo>
                  <a:lnTo>
                    <a:pt x="2468" y="3374"/>
                  </a:lnTo>
                  <a:lnTo>
                    <a:pt x="2468" y="3372"/>
                  </a:lnTo>
                  <a:lnTo>
                    <a:pt x="2466" y="3370"/>
                  </a:lnTo>
                  <a:lnTo>
                    <a:pt x="2464" y="3370"/>
                  </a:lnTo>
                  <a:lnTo>
                    <a:pt x="2464" y="3374"/>
                  </a:lnTo>
                  <a:lnTo>
                    <a:pt x="2462" y="3378"/>
                  </a:lnTo>
                  <a:lnTo>
                    <a:pt x="2462" y="3380"/>
                  </a:lnTo>
                  <a:lnTo>
                    <a:pt x="2460" y="3380"/>
                  </a:lnTo>
                  <a:lnTo>
                    <a:pt x="2456" y="3380"/>
                  </a:lnTo>
                  <a:lnTo>
                    <a:pt x="2452" y="3382"/>
                  </a:lnTo>
                  <a:lnTo>
                    <a:pt x="2450" y="3384"/>
                  </a:lnTo>
                  <a:lnTo>
                    <a:pt x="2446" y="3384"/>
                  </a:lnTo>
                  <a:lnTo>
                    <a:pt x="2444" y="3384"/>
                  </a:lnTo>
                  <a:lnTo>
                    <a:pt x="2444" y="3388"/>
                  </a:lnTo>
                  <a:lnTo>
                    <a:pt x="2442" y="3394"/>
                  </a:lnTo>
                  <a:lnTo>
                    <a:pt x="2434" y="3388"/>
                  </a:lnTo>
                  <a:lnTo>
                    <a:pt x="2422" y="3378"/>
                  </a:lnTo>
                  <a:lnTo>
                    <a:pt x="2414" y="3368"/>
                  </a:lnTo>
                  <a:lnTo>
                    <a:pt x="2410" y="3364"/>
                  </a:lnTo>
                  <a:lnTo>
                    <a:pt x="2410" y="3358"/>
                  </a:lnTo>
                  <a:lnTo>
                    <a:pt x="2410" y="3354"/>
                  </a:lnTo>
                  <a:lnTo>
                    <a:pt x="2408" y="3352"/>
                  </a:lnTo>
                  <a:lnTo>
                    <a:pt x="2402" y="3350"/>
                  </a:lnTo>
                  <a:lnTo>
                    <a:pt x="2394" y="3350"/>
                  </a:lnTo>
                  <a:lnTo>
                    <a:pt x="2392" y="3348"/>
                  </a:lnTo>
                  <a:lnTo>
                    <a:pt x="2392" y="3344"/>
                  </a:lnTo>
                  <a:lnTo>
                    <a:pt x="2390" y="3338"/>
                  </a:lnTo>
                  <a:lnTo>
                    <a:pt x="2386" y="3330"/>
                  </a:lnTo>
                  <a:lnTo>
                    <a:pt x="2382" y="3320"/>
                  </a:lnTo>
                  <a:lnTo>
                    <a:pt x="2376" y="3302"/>
                  </a:lnTo>
                  <a:lnTo>
                    <a:pt x="2370" y="3290"/>
                  </a:lnTo>
                  <a:lnTo>
                    <a:pt x="2366" y="3284"/>
                  </a:lnTo>
                  <a:lnTo>
                    <a:pt x="2364" y="3280"/>
                  </a:lnTo>
                  <a:lnTo>
                    <a:pt x="2362" y="3270"/>
                  </a:lnTo>
                  <a:lnTo>
                    <a:pt x="2360" y="3266"/>
                  </a:lnTo>
                  <a:lnTo>
                    <a:pt x="2358" y="3264"/>
                  </a:lnTo>
                  <a:lnTo>
                    <a:pt x="2352" y="3262"/>
                  </a:lnTo>
                  <a:lnTo>
                    <a:pt x="2346" y="3260"/>
                  </a:lnTo>
                  <a:lnTo>
                    <a:pt x="2346" y="3258"/>
                  </a:lnTo>
                  <a:lnTo>
                    <a:pt x="2346" y="3254"/>
                  </a:lnTo>
                  <a:lnTo>
                    <a:pt x="2350" y="3250"/>
                  </a:lnTo>
                  <a:lnTo>
                    <a:pt x="2354" y="3248"/>
                  </a:lnTo>
                  <a:lnTo>
                    <a:pt x="2360" y="3250"/>
                  </a:lnTo>
                  <a:lnTo>
                    <a:pt x="2362" y="3248"/>
                  </a:lnTo>
                  <a:lnTo>
                    <a:pt x="2362" y="3246"/>
                  </a:lnTo>
                  <a:lnTo>
                    <a:pt x="2354" y="3228"/>
                  </a:lnTo>
                  <a:lnTo>
                    <a:pt x="2354" y="3224"/>
                  </a:lnTo>
                  <a:lnTo>
                    <a:pt x="2356" y="3224"/>
                  </a:lnTo>
                  <a:lnTo>
                    <a:pt x="2364" y="3226"/>
                  </a:lnTo>
                  <a:lnTo>
                    <a:pt x="2372" y="3230"/>
                  </a:lnTo>
                  <a:lnTo>
                    <a:pt x="2376" y="3232"/>
                  </a:lnTo>
                  <a:lnTo>
                    <a:pt x="2378" y="3230"/>
                  </a:lnTo>
                  <a:lnTo>
                    <a:pt x="2384" y="3226"/>
                  </a:lnTo>
                  <a:lnTo>
                    <a:pt x="2390" y="3226"/>
                  </a:lnTo>
                  <a:lnTo>
                    <a:pt x="2392" y="3224"/>
                  </a:lnTo>
                  <a:lnTo>
                    <a:pt x="2394" y="3216"/>
                  </a:lnTo>
                  <a:lnTo>
                    <a:pt x="2396" y="3212"/>
                  </a:lnTo>
                  <a:lnTo>
                    <a:pt x="2398" y="3212"/>
                  </a:lnTo>
                  <a:lnTo>
                    <a:pt x="2406" y="3218"/>
                  </a:lnTo>
                  <a:lnTo>
                    <a:pt x="2412" y="3222"/>
                  </a:lnTo>
                  <a:lnTo>
                    <a:pt x="2416" y="3224"/>
                  </a:lnTo>
                  <a:lnTo>
                    <a:pt x="2424" y="3224"/>
                  </a:lnTo>
                  <a:lnTo>
                    <a:pt x="2430" y="3222"/>
                  </a:lnTo>
                  <a:lnTo>
                    <a:pt x="2436" y="3218"/>
                  </a:lnTo>
                  <a:lnTo>
                    <a:pt x="2438" y="3218"/>
                  </a:lnTo>
                  <a:lnTo>
                    <a:pt x="2440" y="3220"/>
                  </a:lnTo>
                  <a:lnTo>
                    <a:pt x="2442" y="3222"/>
                  </a:lnTo>
                  <a:lnTo>
                    <a:pt x="2444" y="3232"/>
                  </a:lnTo>
                  <a:lnTo>
                    <a:pt x="2448" y="3238"/>
                  </a:lnTo>
                  <a:lnTo>
                    <a:pt x="2452" y="3244"/>
                  </a:lnTo>
                  <a:lnTo>
                    <a:pt x="2452" y="3220"/>
                  </a:lnTo>
                  <a:lnTo>
                    <a:pt x="2414" y="3146"/>
                  </a:lnTo>
                  <a:lnTo>
                    <a:pt x="2378" y="3050"/>
                  </a:lnTo>
                  <a:lnTo>
                    <a:pt x="2372" y="3006"/>
                  </a:lnTo>
                  <a:lnTo>
                    <a:pt x="2378" y="2910"/>
                  </a:lnTo>
                  <a:lnTo>
                    <a:pt x="2378" y="2868"/>
                  </a:lnTo>
                  <a:lnTo>
                    <a:pt x="2392" y="2778"/>
                  </a:lnTo>
                  <a:lnTo>
                    <a:pt x="2386" y="2780"/>
                  </a:lnTo>
                  <a:lnTo>
                    <a:pt x="2382" y="2780"/>
                  </a:lnTo>
                  <a:lnTo>
                    <a:pt x="2380" y="2778"/>
                  </a:lnTo>
                  <a:lnTo>
                    <a:pt x="2380" y="2776"/>
                  </a:lnTo>
                  <a:lnTo>
                    <a:pt x="2378" y="2770"/>
                  </a:lnTo>
                  <a:lnTo>
                    <a:pt x="2376" y="2768"/>
                  </a:lnTo>
                  <a:lnTo>
                    <a:pt x="2374" y="2768"/>
                  </a:lnTo>
                  <a:lnTo>
                    <a:pt x="2376" y="2768"/>
                  </a:lnTo>
                  <a:lnTo>
                    <a:pt x="2378" y="2770"/>
                  </a:lnTo>
                  <a:lnTo>
                    <a:pt x="2380" y="2776"/>
                  </a:lnTo>
                  <a:lnTo>
                    <a:pt x="2380" y="2778"/>
                  </a:lnTo>
                  <a:lnTo>
                    <a:pt x="2382" y="2780"/>
                  </a:lnTo>
                  <a:lnTo>
                    <a:pt x="2386" y="2780"/>
                  </a:lnTo>
                  <a:lnTo>
                    <a:pt x="2392" y="2778"/>
                  </a:lnTo>
                  <a:lnTo>
                    <a:pt x="2390" y="2764"/>
                  </a:lnTo>
                  <a:lnTo>
                    <a:pt x="2394" y="2746"/>
                  </a:lnTo>
                  <a:lnTo>
                    <a:pt x="2390" y="2726"/>
                  </a:lnTo>
                  <a:lnTo>
                    <a:pt x="2386" y="2674"/>
                  </a:lnTo>
                  <a:lnTo>
                    <a:pt x="2384" y="2658"/>
                  </a:lnTo>
                  <a:lnTo>
                    <a:pt x="2386" y="2626"/>
                  </a:lnTo>
                  <a:lnTo>
                    <a:pt x="2360" y="2586"/>
                  </a:lnTo>
                  <a:lnTo>
                    <a:pt x="2336" y="2534"/>
                  </a:lnTo>
                  <a:lnTo>
                    <a:pt x="2284" y="2470"/>
                  </a:lnTo>
                  <a:lnTo>
                    <a:pt x="2274" y="2434"/>
                  </a:lnTo>
                  <a:lnTo>
                    <a:pt x="2302" y="2390"/>
                  </a:lnTo>
                  <a:lnTo>
                    <a:pt x="2334" y="2368"/>
                  </a:lnTo>
                  <a:lnTo>
                    <a:pt x="2352" y="2336"/>
                  </a:lnTo>
                  <a:lnTo>
                    <a:pt x="2346" y="2304"/>
                  </a:lnTo>
                  <a:lnTo>
                    <a:pt x="2318" y="2270"/>
                  </a:lnTo>
                  <a:lnTo>
                    <a:pt x="2280" y="2246"/>
                  </a:lnTo>
                  <a:lnTo>
                    <a:pt x="2264" y="2186"/>
                  </a:lnTo>
                  <a:lnTo>
                    <a:pt x="2274" y="2140"/>
                  </a:lnTo>
                  <a:lnTo>
                    <a:pt x="2288" y="2090"/>
                  </a:lnTo>
                  <a:lnTo>
                    <a:pt x="2290" y="2086"/>
                  </a:lnTo>
                  <a:lnTo>
                    <a:pt x="2296" y="2086"/>
                  </a:lnTo>
                  <a:lnTo>
                    <a:pt x="2308" y="2088"/>
                  </a:lnTo>
                  <a:lnTo>
                    <a:pt x="2328" y="2096"/>
                  </a:lnTo>
                  <a:lnTo>
                    <a:pt x="2370" y="2082"/>
                  </a:lnTo>
                  <a:lnTo>
                    <a:pt x="2376" y="2058"/>
                  </a:lnTo>
                  <a:lnTo>
                    <a:pt x="2440" y="2024"/>
                  </a:lnTo>
                  <a:lnTo>
                    <a:pt x="2384" y="1780"/>
                  </a:lnTo>
                  <a:lnTo>
                    <a:pt x="2264" y="1588"/>
                  </a:lnTo>
                  <a:lnTo>
                    <a:pt x="2204" y="1444"/>
                  </a:lnTo>
                  <a:lnTo>
                    <a:pt x="2204" y="1264"/>
                  </a:lnTo>
                  <a:lnTo>
                    <a:pt x="2212" y="1228"/>
                  </a:lnTo>
                  <a:lnTo>
                    <a:pt x="2224" y="1194"/>
                  </a:lnTo>
                  <a:lnTo>
                    <a:pt x="2232" y="1174"/>
                  </a:lnTo>
                  <a:lnTo>
                    <a:pt x="2240" y="1156"/>
                  </a:lnTo>
                  <a:lnTo>
                    <a:pt x="2248" y="1138"/>
                  </a:lnTo>
                  <a:lnTo>
                    <a:pt x="2258" y="1112"/>
                  </a:lnTo>
                  <a:lnTo>
                    <a:pt x="2282" y="1046"/>
                  </a:lnTo>
                  <a:lnTo>
                    <a:pt x="2276" y="1048"/>
                  </a:lnTo>
                  <a:lnTo>
                    <a:pt x="2274" y="1046"/>
                  </a:lnTo>
                  <a:lnTo>
                    <a:pt x="2270" y="1038"/>
                  </a:lnTo>
                  <a:lnTo>
                    <a:pt x="2266" y="1032"/>
                  </a:lnTo>
                  <a:lnTo>
                    <a:pt x="2262" y="1026"/>
                  </a:lnTo>
                  <a:lnTo>
                    <a:pt x="2256" y="1018"/>
                  </a:lnTo>
                  <a:lnTo>
                    <a:pt x="2246" y="1014"/>
                  </a:lnTo>
                  <a:lnTo>
                    <a:pt x="2236" y="1006"/>
                  </a:lnTo>
                  <a:lnTo>
                    <a:pt x="2234" y="1004"/>
                  </a:lnTo>
                  <a:lnTo>
                    <a:pt x="2232" y="1000"/>
                  </a:lnTo>
                  <a:lnTo>
                    <a:pt x="2234" y="998"/>
                  </a:lnTo>
                  <a:lnTo>
                    <a:pt x="2234" y="994"/>
                  </a:lnTo>
                  <a:lnTo>
                    <a:pt x="2242" y="988"/>
                  </a:lnTo>
                  <a:lnTo>
                    <a:pt x="2250" y="982"/>
                  </a:lnTo>
                  <a:lnTo>
                    <a:pt x="2262" y="978"/>
                  </a:lnTo>
                  <a:lnTo>
                    <a:pt x="2274" y="974"/>
                  </a:lnTo>
                  <a:lnTo>
                    <a:pt x="2286" y="974"/>
                  </a:lnTo>
                  <a:lnTo>
                    <a:pt x="2292" y="974"/>
                  </a:lnTo>
                  <a:lnTo>
                    <a:pt x="2296" y="972"/>
                  </a:lnTo>
                  <a:lnTo>
                    <a:pt x="2298" y="968"/>
                  </a:lnTo>
                  <a:lnTo>
                    <a:pt x="2300" y="966"/>
                  </a:lnTo>
                  <a:lnTo>
                    <a:pt x="2298" y="956"/>
                  </a:lnTo>
                  <a:lnTo>
                    <a:pt x="2294" y="946"/>
                  </a:lnTo>
                  <a:lnTo>
                    <a:pt x="2284" y="936"/>
                  </a:lnTo>
                  <a:lnTo>
                    <a:pt x="2272" y="928"/>
                  </a:lnTo>
                  <a:lnTo>
                    <a:pt x="2258" y="922"/>
                  </a:lnTo>
                  <a:lnTo>
                    <a:pt x="2250" y="922"/>
                  </a:lnTo>
                  <a:lnTo>
                    <a:pt x="2242" y="920"/>
                  </a:lnTo>
                  <a:lnTo>
                    <a:pt x="2224" y="920"/>
                  </a:lnTo>
                  <a:lnTo>
                    <a:pt x="2208" y="918"/>
                  </a:lnTo>
                  <a:lnTo>
                    <a:pt x="2182" y="912"/>
                  </a:lnTo>
                  <a:lnTo>
                    <a:pt x="2174" y="912"/>
                  </a:lnTo>
                  <a:lnTo>
                    <a:pt x="2172" y="912"/>
                  </a:lnTo>
                  <a:lnTo>
                    <a:pt x="2172" y="914"/>
                  </a:lnTo>
                  <a:lnTo>
                    <a:pt x="2174" y="918"/>
                  </a:lnTo>
                  <a:lnTo>
                    <a:pt x="2186" y="928"/>
                  </a:lnTo>
                  <a:lnTo>
                    <a:pt x="2192" y="934"/>
                  </a:lnTo>
                  <a:lnTo>
                    <a:pt x="2196" y="942"/>
                  </a:lnTo>
                  <a:lnTo>
                    <a:pt x="2198" y="948"/>
                  </a:lnTo>
                  <a:lnTo>
                    <a:pt x="2200" y="954"/>
                  </a:lnTo>
                  <a:lnTo>
                    <a:pt x="2196" y="966"/>
                  </a:lnTo>
                  <a:lnTo>
                    <a:pt x="2192" y="978"/>
                  </a:lnTo>
                  <a:lnTo>
                    <a:pt x="2188" y="990"/>
                  </a:lnTo>
                  <a:lnTo>
                    <a:pt x="2186" y="1000"/>
                  </a:lnTo>
                  <a:lnTo>
                    <a:pt x="2186" y="1006"/>
                  </a:lnTo>
                  <a:lnTo>
                    <a:pt x="2188" y="1012"/>
                  </a:lnTo>
                  <a:lnTo>
                    <a:pt x="2194" y="1016"/>
                  </a:lnTo>
                  <a:lnTo>
                    <a:pt x="2200" y="1022"/>
                  </a:lnTo>
                  <a:lnTo>
                    <a:pt x="2212" y="1032"/>
                  </a:lnTo>
                  <a:lnTo>
                    <a:pt x="2216" y="1036"/>
                  </a:lnTo>
                  <a:lnTo>
                    <a:pt x="2218" y="1040"/>
                  </a:lnTo>
                  <a:lnTo>
                    <a:pt x="2216" y="1046"/>
                  </a:lnTo>
                  <a:lnTo>
                    <a:pt x="2214" y="1054"/>
                  </a:lnTo>
                  <a:lnTo>
                    <a:pt x="2208" y="1062"/>
                  </a:lnTo>
                  <a:lnTo>
                    <a:pt x="2204" y="1072"/>
                  </a:lnTo>
                  <a:lnTo>
                    <a:pt x="2200" y="1084"/>
                  </a:lnTo>
                  <a:lnTo>
                    <a:pt x="2202" y="1098"/>
                  </a:lnTo>
                  <a:lnTo>
                    <a:pt x="2202" y="1106"/>
                  </a:lnTo>
                  <a:lnTo>
                    <a:pt x="2200" y="1104"/>
                  </a:lnTo>
                  <a:lnTo>
                    <a:pt x="2192" y="1096"/>
                  </a:lnTo>
                  <a:lnTo>
                    <a:pt x="2180" y="1084"/>
                  </a:lnTo>
                  <a:lnTo>
                    <a:pt x="2166" y="1072"/>
                  </a:lnTo>
                  <a:lnTo>
                    <a:pt x="2156" y="1068"/>
                  </a:lnTo>
                  <a:lnTo>
                    <a:pt x="2148" y="1066"/>
                  </a:lnTo>
                  <a:lnTo>
                    <a:pt x="2136" y="1064"/>
                  </a:lnTo>
                  <a:lnTo>
                    <a:pt x="2126" y="1066"/>
                  </a:lnTo>
                  <a:lnTo>
                    <a:pt x="2114" y="1070"/>
                  </a:lnTo>
                  <a:lnTo>
                    <a:pt x="2102" y="1076"/>
                  </a:lnTo>
                  <a:lnTo>
                    <a:pt x="2078" y="1092"/>
                  </a:lnTo>
                  <a:lnTo>
                    <a:pt x="2056" y="1104"/>
                  </a:lnTo>
                  <a:lnTo>
                    <a:pt x="2040" y="1114"/>
                  </a:lnTo>
                  <a:lnTo>
                    <a:pt x="2028" y="1122"/>
                  </a:lnTo>
                  <a:lnTo>
                    <a:pt x="2022" y="1130"/>
                  </a:lnTo>
                  <a:lnTo>
                    <a:pt x="2020" y="1134"/>
                  </a:lnTo>
                  <a:lnTo>
                    <a:pt x="2022" y="1140"/>
                  </a:lnTo>
                  <a:lnTo>
                    <a:pt x="2026" y="1150"/>
                  </a:lnTo>
                  <a:lnTo>
                    <a:pt x="2040" y="1166"/>
                  </a:lnTo>
                  <a:lnTo>
                    <a:pt x="2052" y="1180"/>
                  </a:lnTo>
                  <a:lnTo>
                    <a:pt x="2054" y="1186"/>
                  </a:lnTo>
                  <a:lnTo>
                    <a:pt x="2054" y="1192"/>
                  </a:lnTo>
                  <a:lnTo>
                    <a:pt x="2054" y="1196"/>
                  </a:lnTo>
                  <a:lnTo>
                    <a:pt x="2050" y="1198"/>
                  </a:lnTo>
                  <a:lnTo>
                    <a:pt x="2046" y="1200"/>
                  </a:lnTo>
                  <a:lnTo>
                    <a:pt x="2040" y="1202"/>
                  </a:lnTo>
                  <a:lnTo>
                    <a:pt x="2026" y="1202"/>
                  </a:lnTo>
                  <a:lnTo>
                    <a:pt x="2006" y="1198"/>
                  </a:lnTo>
                  <a:lnTo>
                    <a:pt x="1984" y="1190"/>
                  </a:lnTo>
                  <a:lnTo>
                    <a:pt x="1958" y="1180"/>
                  </a:lnTo>
                  <a:lnTo>
                    <a:pt x="1934" y="1170"/>
                  </a:lnTo>
                  <a:lnTo>
                    <a:pt x="1916" y="1164"/>
                  </a:lnTo>
                  <a:lnTo>
                    <a:pt x="1900" y="1162"/>
                  </a:lnTo>
                  <a:lnTo>
                    <a:pt x="1892" y="1164"/>
                  </a:lnTo>
                  <a:lnTo>
                    <a:pt x="1888" y="1166"/>
                  </a:lnTo>
                  <a:lnTo>
                    <a:pt x="1886" y="1170"/>
                  </a:lnTo>
                  <a:lnTo>
                    <a:pt x="1886" y="1176"/>
                  </a:lnTo>
                  <a:lnTo>
                    <a:pt x="1892" y="1186"/>
                  </a:lnTo>
                  <a:lnTo>
                    <a:pt x="1900" y="1196"/>
                  </a:lnTo>
                  <a:lnTo>
                    <a:pt x="1912" y="1206"/>
                  </a:lnTo>
                  <a:lnTo>
                    <a:pt x="1924" y="1214"/>
                  </a:lnTo>
                  <a:lnTo>
                    <a:pt x="1946" y="1222"/>
                  </a:lnTo>
                  <a:lnTo>
                    <a:pt x="1954" y="1226"/>
                  </a:lnTo>
                  <a:lnTo>
                    <a:pt x="1956" y="1228"/>
                  </a:lnTo>
                  <a:lnTo>
                    <a:pt x="1956" y="1232"/>
                  </a:lnTo>
                  <a:lnTo>
                    <a:pt x="1952" y="1238"/>
                  </a:lnTo>
                  <a:lnTo>
                    <a:pt x="1940" y="1246"/>
                  </a:lnTo>
                  <a:lnTo>
                    <a:pt x="1926" y="1252"/>
                  </a:lnTo>
                  <a:lnTo>
                    <a:pt x="1920" y="1252"/>
                  </a:lnTo>
                  <a:lnTo>
                    <a:pt x="1916" y="1252"/>
                  </a:lnTo>
                  <a:lnTo>
                    <a:pt x="1908" y="1248"/>
                  </a:lnTo>
                  <a:lnTo>
                    <a:pt x="1902" y="1240"/>
                  </a:lnTo>
                  <a:lnTo>
                    <a:pt x="1894" y="1232"/>
                  </a:lnTo>
                  <a:lnTo>
                    <a:pt x="1886" y="1224"/>
                  </a:lnTo>
                  <a:lnTo>
                    <a:pt x="1874" y="1216"/>
                  </a:lnTo>
                  <a:lnTo>
                    <a:pt x="1868" y="1212"/>
                  </a:lnTo>
                  <a:lnTo>
                    <a:pt x="1858" y="1210"/>
                  </a:lnTo>
                  <a:lnTo>
                    <a:pt x="1844" y="1206"/>
                  </a:lnTo>
                  <a:lnTo>
                    <a:pt x="1836" y="1202"/>
                  </a:lnTo>
                  <a:lnTo>
                    <a:pt x="1832" y="1196"/>
                  </a:lnTo>
                  <a:lnTo>
                    <a:pt x="1832" y="1188"/>
                  </a:lnTo>
                  <a:lnTo>
                    <a:pt x="1832" y="1182"/>
                  </a:lnTo>
                  <a:lnTo>
                    <a:pt x="1830" y="1174"/>
                  </a:lnTo>
                  <a:lnTo>
                    <a:pt x="1826" y="1164"/>
                  </a:lnTo>
                  <a:lnTo>
                    <a:pt x="1818" y="1156"/>
                  </a:lnTo>
                  <a:lnTo>
                    <a:pt x="1814" y="1152"/>
                  </a:lnTo>
                  <a:lnTo>
                    <a:pt x="1812" y="1148"/>
                  </a:lnTo>
                  <a:lnTo>
                    <a:pt x="1812" y="1144"/>
                  </a:lnTo>
                  <a:lnTo>
                    <a:pt x="1812" y="1140"/>
                  </a:lnTo>
                  <a:lnTo>
                    <a:pt x="1816" y="1134"/>
                  </a:lnTo>
                  <a:lnTo>
                    <a:pt x="1822" y="1128"/>
                  </a:lnTo>
                  <a:lnTo>
                    <a:pt x="1826" y="1122"/>
                  </a:lnTo>
                  <a:lnTo>
                    <a:pt x="1830" y="1114"/>
                  </a:lnTo>
                  <a:lnTo>
                    <a:pt x="1828" y="1110"/>
                  </a:lnTo>
                  <a:lnTo>
                    <a:pt x="1826" y="1106"/>
                  </a:lnTo>
                  <a:lnTo>
                    <a:pt x="1822" y="1100"/>
                  </a:lnTo>
                  <a:lnTo>
                    <a:pt x="1816" y="1096"/>
                  </a:lnTo>
                  <a:lnTo>
                    <a:pt x="1800" y="1084"/>
                  </a:lnTo>
                  <a:lnTo>
                    <a:pt x="1784" y="1076"/>
                  </a:lnTo>
                  <a:lnTo>
                    <a:pt x="1758" y="1060"/>
                  </a:lnTo>
                  <a:lnTo>
                    <a:pt x="1746" y="1054"/>
                  </a:lnTo>
                  <a:lnTo>
                    <a:pt x="1738" y="1046"/>
                  </a:lnTo>
                  <a:lnTo>
                    <a:pt x="1730" y="1036"/>
                  </a:lnTo>
                  <a:lnTo>
                    <a:pt x="1726" y="1026"/>
                  </a:lnTo>
                  <a:lnTo>
                    <a:pt x="1724" y="1018"/>
                  </a:lnTo>
                  <a:lnTo>
                    <a:pt x="1726" y="1016"/>
                  </a:lnTo>
                  <a:lnTo>
                    <a:pt x="1736" y="1026"/>
                  </a:lnTo>
                  <a:lnTo>
                    <a:pt x="1746" y="1036"/>
                  </a:lnTo>
                  <a:lnTo>
                    <a:pt x="1762" y="1044"/>
                  </a:lnTo>
                  <a:lnTo>
                    <a:pt x="1782" y="1054"/>
                  </a:lnTo>
                  <a:lnTo>
                    <a:pt x="1808" y="1060"/>
                  </a:lnTo>
                  <a:lnTo>
                    <a:pt x="1836" y="1066"/>
                  </a:lnTo>
                  <a:lnTo>
                    <a:pt x="1864" y="1074"/>
                  </a:lnTo>
                  <a:lnTo>
                    <a:pt x="1920" y="1092"/>
                  </a:lnTo>
                  <a:lnTo>
                    <a:pt x="1948" y="1098"/>
                  </a:lnTo>
                  <a:lnTo>
                    <a:pt x="1962" y="1100"/>
                  </a:lnTo>
                  <a:lnTo>
                    <a:pt x="1976" y="1100"/>
                  </a:lnTo>
                  <a:lnTo>
                    <a:pt x="1990" y="1098"/>
                  </a:lnTo>
                  <a:lnTo>
                    <a:pt x="2002" y="1096"/>
                  </a:lnTo>
                  <a:lnTo>
                    <a:pt x="2016" y="1092"/>
                  </a:lnTo>
                  <a:lnTo>
                    <a:pt x="2030" y="1084"/>
                  </a:lnTo>
                  <a:lnTo>
                    <a:pt x="2052" y="1070"/>
                  </a:lnTo>
                  <a:lnTo>
                    <a:pt x="2072" y="1056"/>
                  </a:lnTo>
                  <a:lnTo>
                    <a:pt x="2084" y="1042"/>
                  </a:lnTo>
                  <a:lnTo>
                    <a:pt x="2090" y="1036"/>
                  </a:lnTo>
                  <a:lnTo>
                    <a:pt x="2092" y="1030"/>
                  </a:lnTo>
                  <a:lnTo>
                    <a:pt x="2094" y="1022"/>
                  </a:lnTo>
                  <a:lnTo>
                    <a:pt x="2092" y="1016"/>
                  </a:lnTo>
                  <a:lnTo>
                    <a:pt x="2090" y="1010"/>
                  </a:lnTo>
                  <a:lnTo>
                    <a:pt x="2086" y="1002"/>
                  </a:lnTo>
                  <a:lnTo>
                    <a:pt x="2080" y="994"/>
                  </a:lnTo>
                  <a:lnTo>
                    <a:pt x="2072" y="988"/>
                  </a:lnTo>
                  <a:lnTo>
                    <a:pt x="2050" y="970"/>
                  </a:lnTo>
                  <a:lnTo>
                    <a:pt x="2010" y="946"/>
                  </a:lnTo>
                  <a:lnTo>
                    <a:pt x="1982" y="934"/>
                  </a:lnTo>
                  <a:lnTo>
                    <a:pt x="1954" y="920"/>
                  </a:lnTo>
                  <a:lnTo>
                    <a:pt x="1910" y="896"/>
                  </a:lnTo>
                  <a:lnTo>
                    <a:pt x="1884" y="882"/>
                  </a:lnTo>
                  <a:lnTo>
                    <a:pt x="1868" y="874"/>
                  </a:lnTo>
                  <a:lnTo>
                    <a:pt x="1854" y="870"/>
                  </a:lnTo>
                  <a:lnTo>
                    <a:pt x="1844" y="870"/>
                  </a:lnTo>
                  <a:lnTo>
                    <a:pt x="1834" y="872"/>
                  </a:lnTo>
                  <a:lnTo>
                    <a:pt x="1822" y="872"/>
                  </a:lnTo>
                  <a:lnTo>
                    <a:pt x="1808" y="870"/>
                  </a:lnTo>
                  <a:lnTo>
                    <a:pt x="1786" y="866"/>
                  </a:lnTo>
                  <a:lnTo>
                    <a:pt x="1768" y="858"/>
                  </a:lnTo>
                  <a:lnTo>
                    <a:pt x="1758" y="852"/>
                  </a:lnTo>
                  <a:lnTo>
                    <a:pt x="1756" y="850"/>
                  </a:lnTo>
                  <a:lnTo>
                    <a:pt x="1756" y="846"/>
                  </a:lnTo>
                  <a:lnTo>
                    <a:pt x="1758" y="844"/>
                  </a:lnTo>
                  <a:lnTo>
                    <a:pt x="1758" y="840"/>
                  </a:lnTo>
                  <a:lnTo>
                    <a:pt x="1752" y="834"/>
                  </a:lnTo>
                  <a:lnTo>
                    <a:pt x="1740" y="828"/>
                  </a:lnTo>
                  <a:lnTo>
                    <a:pt x="1726" y="824"/>
                  </a:lnTo>
                  <a:lnTo>
                    <a:pt x="1718" y="824"/>
                  </a:lnTo>
                  <a:lnTo>
                    <a:pt x="1712" y="826"/>
                  </a:lnTo>
                  <a:lnTo>
                    <a:pt x="1710" y="830"/>
                  </a:lnTo>
                  <a:lnTo>
                    <a:pt x="1706" y="834"/>
                  </a:lnTo>
                  <a:lnTo>
                    <a:pt x="1698" y="838"/>
                  </a:lnTo>
                  <a:lnTo>
                    <a:pt x="1686" y="838"/>
                  </a:lnTo>
                  <a:lnTo>
                    <a:pt x="1666" y="834"/>
                  </a:lnTo>
                  <a:lnTo>
                    <a:pt x="1658" y="832"/>
                  </a:lnTo>
                  <a:lnTo>
                    <a:pt x="1652" y="832"/>
                  </a:lnTo>
                  <a:lnTo>
                    <a:pt x="1648" y="832"/>
                  </a:lnTo>
                  <a:lnTo>
                    <a:pt x="1644" y="828"/>
                  </a:lnTo>
                  <a:lnTo>
                    <a:pt x="1640" y="828"/>
                  </a:lnTo>
                  <a:lnTo>
                    <a:pt x="1638" y="830"/>
                  </a:lnTo>
                  <a:lnTo>
                    <a:pt x="1636" y="834"/>
                  </a:lnTo>
                  <a:lnTo>
                    <a:pt x="1630" y="836"/>
                  </a:lnTo>
                  <a:lnTo>
                    <a:pt x="1620" y="838"/>
                  </a:lnTo>
                  <a:lnTo>
                    <a:pt x="1618" y="838"/>
                  </a:lnTo>
                  <a:lnTo>
                    <a:pt x="1618" y="834"/>
                  </a:lnTo>
                  <a:lnTo>
                    <a:pt x="1622" y="830"/>
                  </a:lnTo>
                  <a:lnTo>
                    <a:pt x="1622" y="826"/>
                  </a:lnTo>
                  <a:lnTo>
                    <a:pt x="1620" y="822"/>
                  </a:lnTo>
                  <a:lnTo>
                    <a:pt x="1618" y="820"/>
                  </a:lnTo>
                  <a:lnTo>
                    <a:pt x="1614" y="818"/>
                  </a:lnTo>
                  <a:lnTo>
                    <a:pt x="1608" y="818"/>
                  </a:lnTo>
                  <a:lnTo>
                    <a:pt x="1598" y="816"/>
                  </a:lnTo>
                  <a:lnTo>
                    <a:pt x="1590" y="814"/>
                  </a:lnTo>
                  <a:lnTo>
                    <a:pt x="1586" y="812"/>
                  </a:lnTo>
                  <a:lnTo>
                    <a:pt x="1580" y="810"/>
                  </a:lnTo>
                  <a:lnTo>
                    <a:pt x="1576" y="810"/>
                  </a:lnTo>
                  <a:lnTo>
                    <a:pt x="1580" y="808"/>
                  </a:lnTo>
                  <a:lnTo>
                    <a:pt x="1592" y="808"/>
                  </a:lnTo>
                  <a:lnTo>
                    <a:pt x="1612" y="812"/>
                  </a:lnTo>
                  <a:lnTo>
                    <a:pt x="1624" y="812"/>
                  </a:lnTo>
                  <a:lnTo>
                    <a:pt x="1634" y="812"/>
                  </a:lnTo>
                  <a:lnTo>
                    <a:pt x="1640" y="810"/>
                  </a:lnTo>
                  <a:lnTo>
                    <a:pt x="1646" y="808"/>
                  </a:lnTo>
                  <a:lnTo>
                    <a:pt x="1654" y="800"/>
                  </a:lnTo>
                  <a:lnTo>
                    <a:pt x="1658" y="800"/>
                  </a:lnTo>
                  <a:lnTo>
                    <a:pt x="1662" y="800"/>
                  </a:lnTo>
                  <a:lnTo>
                    <a:pt x="1668" y="800"/>
                  </a:lnTo>
                  <a:lnTo>
                    <a:pt x="1672" y="798"/>
                  </a:lnTo>
                  <a:lnTo>
                    <a:pt x="1674" y="796"/>
                  </a:lnTo>
                  <a:lnTo>
                    <a:pt x="1676" y="794"/>
                  </a:lnTo>
                  <a:lnTo>
                    <a:pt x="1676" y="790"/>
                  </a:lnTo>
                  <a:lnTo>
                    <a:pt x="1674" y="788"/>
                  </a:lnTo>
                  <a:lnTo>
                    <a:pt x="1672" y="786"/>
                  </a:lnTo>
                  <a:lnTo>
                    <a:pt x="1668" y="786"/>
                  </a:lnTo>
                  <a:lnTo>
                    <a:pt x="1660" y="786"/>
                  </a:lnTo>
                  <a:lnTo>
                    <a:pt x="1658" y="782"/>
                  </a:lnTo>
                  <a:lnTo>
                    <a:pt x="1656" y="780"/>
                  </a:lnTo>
                  <a:lnTo>
                    <a:pt x="1650" y="778"/>
                  </a:lnTo>
                  <a:lnTo>
                    <a:pt x="1648" y="776"/>
                  </a:lnTo>
                  <a:lnTo>
                    <a:pt x="1644" y="774"/>
                  </a:lnTo>
                  <a:lnTo>
                    <a:pt x="1640" y="770"/>
                  </a:lnTo>
                  <a:lnTo>
                    <a:pt x="1636" y="766"/>
                  </a:lnTo>
                  <a:lnTo>
                    <a:pt x="1634" y="766"/>
                  </a:lnTo>
                  <a:lnTo>
                    <a:pt x="1630" y="768"/>
                  </a:lnTo>
                  <a:lnTo>
                    <a:pt x="1624" y="768"/>
                  </a:lnTo>
                  <a:lnTo>
                    <a:pt x="1624" y="766"/>
                  </a:lnTo>
                  <a:lnTo>
                    <a:pt x="1620" y="764"/>
                  </a:lnTo>
                  <a:lnTo>
                    <a:pt x="1614" y="766"/>
                  </a:lnTo>
                  <a:lnTo>
                    <a:pt x="1606" y="768"/>
                  </a:lnTo>
                  <a:lnTo>
                    <a:pt x="1606" y="764"/>
                  </a:lnTo>
                  <a:lnTo>
                    <a:pt x="1606" y="762"/>
                  </a:lnTo>
                  <a:lnTo>
                    <a:pt x="1606" y="760"/>
                  </a:lnTo>
                  <a:lnTo>
                    <a:pt x="1602" y="758"/>
                  </a:lnTo>
                  <a:lnTo>
                    <a:pt x="1596" y="756"/>
                  </a:lnTo>
                  <a:lnTo>
                    <a:pt x="1588" y="754"/>
                  </a:lnTo>
                  <a:lnTo>
                    <a:pt x="1582" y="754"/>
                  </a:lnTo>
                  <a:lnTo>
                    <a:pt x="1578" y="758"/>
                  </a:lnTo>
                  <a:lnTo>
                    <a:pt x="1574" y="760"/>
                  </a:lnTo>
                  <a:lnTo>
                    <a:pt x="1572" y="766"/>
                  </a:lnTo>
                  <a:lnTo>
                    <a:pt x="1570" y="770"/>
                  </a:lnTo>
                  <a:lnTo>
                    <a:pt x="1570" y="780"/>
                  </a:lnTo>
                  <a:lnTo>
                    <a:pt x="1572" y="786"/>
                  </a:lnTo>
                  <a:lnTo>
                    <a:pt x="1568" y="786"/>
                  </a:lnTo>
                  <a:lnTo>
                    <a:pt x="1564" y="782"/>
                  </a:lnTo>
                  <a:lnTo>
                    <a:pt x="1560" y="782"/>
                  </a:lnTo>
                  <a:lnTo>
                    <a:pt x="1558" y="782"/>
                  </a:lnTo>
                  <a:lnTo>
                    <a:pt x="1550" y="784"/>
                  </a:lnTo>
                  <a:lnTo>
                    <a:pt x="1548" y="784"/>
                  </a:lnTo>
                  <a:lnTo>
                    <a:pt x="1548" y="782"/>
                  </a:lnTo>
                  <a:lnTo>
                    <a:pt x="1554" y="778"/>
                  </a:lnTo>
                  <a:lnTo>
                    <a:pt x="1560" y="772"/>
                  </a:lnTo>
                  <a:lnTo>
                    <a:pt x="1564" y="768"/>
                  </a:lnTo>
                  <a:lnTo>
                    <a:pt x="1564" y="766"/>
                  </a:lnTo>
                  <a:lnTo>
                    <a:pt x="1562" y="766"/>
                  </a:lnTo>
                  <a:lnTo>
                    <a:pt x="1556" y="766"/>
                  </a:lnTo>
                  <a:lnTo>
                    <a:pt x="1554" y="766"/>
                  </a:lnTo>
                  <a:lnTo>
                    <a:pt x="1554" y="762"/>
                  </a:lnTo>
                  <a:lnTo>
                    <a:pt x="1558" y="758"/>
                  </a:lnTo>
                  <a:lnTo>
                    <a:pt x="1564" y="756"/>
                  </a:lnTo>
                  <a:lnTo>
                    <a:pt x="1572" y="752"/>
                  </a:lnTo>
                  <a:lnTo>
                    <a:pt x="1574" y="750"/>
                  </a:lnTo>
                  <a:lnTo>
                    <a:pt x="1574" y="748"/>
                  </a:lnTo>
                  <a:lnTo>
                    <a:pt x="1572" y="746"/>
                  </a:lnTo>
                  <a:lnTo>
                    <a:pt x="1570" y="746"/>
                  </a:lnTo>
                  <a:lnTo>
                    <a:pt x="1566" y="746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2"/>
                  </a:lnTo>
                  <a:lnTo>
                    <a:pt x="1560" y="740"/>
                  </a:lnTo>
                  <a:lnTo>
                    <a:pt x="1558" y="740"/>
                  </a:lnTo>
                  <a:lnTo>
                    <a:pt x="1554" y="740"/>
                  </a:lnTo>
                  <a:lnTo>
                    <a:pt x="1548" y="742"/>
                  </a:lnTo>
                  <a:lnTo>
                    <a:pt x="1544" y="742"/>
                  </a:lnTo>
                  <a:lnTo>
                    <a:pt x="1540" y="740"/>
                  </a:lnTo>
                  <a:lnTo>
                    <a:pt x="1538" y="738"/>
                  </a:lnTo>
                  <a:lnTo>
                    <a:pt x="1536" y="738"/>
                  </a:lnTo>
                  <a:lnTo>
                    <a:pt x="1534" y="740"/>
                  </a:lnTo>
                  <a:lnTo>
                    <a:pt x="1532" y="744"/>
                  </a:lnTo>
                  <a:lnTo>
                    <a:pt x="1530" y="744"/>
                  </a:lnTo>
                  <a:lnTo>
                    <a:pt x="1528" y="744"/>
                  </a:lnTo>
                  <a:lnTo>
                    <a:pt x="1524" y="742"/>
                  </a:lnTo>
                  <a:lnTo>
                    <a:pt x="1522" y="744"/>
                  </a:lnTo>
                  <a:lnTo>
                    <a:pt x="1518" y="746"/>
                  </a:lnTo>
                  <a:lnTo>
                    <a:pt x="1518" y="750"/>
                  </a:lnTo>
                  <a:lnTo>
                    <a:pt x="1518" y="752"/>
                  </a:lnTo>
                  <a:lnTo>
                    <a:pt x="1520" y="752"/>
                  </a:lnTo>
                  <a:lnTo>
                    <a:pt x="1524" y="754"/>
                  </a:lnTo>
                  <a:lnTo>
                    <a:pt x="1530" y="754"/>
                  </a:lnTo>
                  <a:lnTo>
                    <a:pt x="1528" y="756"/>
                  </a:lnTo>
                  <a:lnTo>
                    <a:pt x="1522" y="760"/>
                  </a:lnTo>
                  <a:lnTo>
                    <a:pt x="1522" y="762"/>
                  </a:lnTo>
                  <a:lnTo>
                    <a:pt x="1520" y="764"/>
                  </a:lnTo>
                  <a:lnTo>
                    <a:pt x="1516" y="766"/>
                  </a:lnTo>
                  <a:lnTo>
                    <a:pt x="1516" y="768"/>
                  </a:lnTo>
                  <a:lnTo>
                    <a:pt x="1514" y="772"/>
                  </a:lnTo>
                  <a:lnTo>
                    <a:pt x="1512" y="772"/>
                  </a:lnTo>
                  <a:lnTo>
                    <a:pt x="1510" y="774"/>
                  </a:lnTo>
                  <a:lnTo>
                    <a:pt x="1510" y="780"/>
                  </a:lnTo>
                  <a:lnTo>
                    <a:pt x="1510" y="782"/>
                  </a:lnTo>
                  <a:lnTo>
                    <a:pt x="1510" y="784"/>
                  </a:lnTo>
                  <a:lnTo>
                    <a:pt x="1504" y="786"/>
                  </a:lnTo>
                  <a:lnTo>
                    <a:pt x="1496" y="790"/>
                  </a:lnTo>
                  <a:lnTo>
                    <a:pt x="1492" y="792"/>
                  </a:lnTo>
                  <a:lnTo>
                    <a:pt x="1490" y="790"/>
                  </a:lnTo>
                  <a:lnTo>
                    <a:pt x="1492" y="784"/>
                  </a:lnTo>
                  <a:lnTo>
                    <a:pt x="1494" y="776"/>
                  </a:lnTo>
                  <a:lnTo>
                    <a:pt x="1496" y="770"/>
                  </a:lnTo>
                  <a:lnTo>
                    <a:pt x="1496" y="766"/>
                  </a:lnTo>
                  <a:lnTo>
                    <a:pt x="1498" y="760"/>
                  </a:lnTo>
                  <a:lnTo>
                    <a:pt x="1500" y="754"/>
                  </a:lnTo>
                  <a:lnTo>
                    <a:pt x="1498" y="750"/>
                  </a:lnTo>
                  <a:lnTo>
                    <a:pt x="1494" y="750"/>
                  </a:lnTo>
                  <a:lnTo>
                    <a:pt x="1490" y="752"/>
                  </a:lnTo>
                  <a:lnTo>
                    <a:pt x="1480" y="762"/>
                  </a:lnTo>
                  <a:lnTo>
                    <a:pt x="1456" y="784"/>
                  </a:lnTo>
                  <a:lnTo>
                    <a:pt x="1450" y="790"/>
                  </a:lnTo>
                  <a:lnTo>
                    <a:pt x="1450" y="794"/>
                  </a:lnTo>
                  <a:lnTo>
                    <a:pt x="1450" y="798"/>
                  </a:lnTo>
                  <a:lnTo>
                    <a:pt x="1446" y="804"/>
                  </a:lnTo>
                  <a:lnTo>
                    <a:pt x="1440" y="810"/>
                  </a:lnTo>
                  <a:lnTo>
                    <a:pt x="1436" y="810"/>
                  </a:lnTo>
                  <a:lnTo>
                    <a:pt x="1434" y="810"/>
                  </a:lnTo>
                  <a:lnTo>
                    <a:pt x="1432" y="810"/>
                  </a:lnTo>
                  <a:lnTo>
                    <a:pt x="1428" y="812"/>
                  </a:lnTo>
                  <a:lnTo>
                    <a:pt x="1426" y="812"/>
                  </a:lnTo>
                  <a:lnTo>
                    <a:pt x="1428" y="808"/>
                  </a:lnTo>
                  <a:lnTo>
                    <a:pt x="1432" y="802"/>
                  </a:lnTo>
                  <a:lnTo>
                    <a:pt x="1436" y="798"/>
                  </a:lnTo>
                  <a:lnTo>
                    <a:pt x="1436" y="794"/>
                  </a:lnTo>
                  <a:lnTo>
                    <a:pt x="1436" y="792"/>
                  </a:lnTo>
                  <a:lnTo>
                    <a:pt x="1438" y="790"/>
                  </a:lnTo>
                  <a:lnTo>
                    <a:pt x="1442" y="784"/>
                  </a:lnTo>
                  <a:lnTo>
                    <a:pt x="1440" y="782"/>
                  </a:lnTo>
                  <a:lnTo>
                    <a:pt x="1440" y="778"/>
                  </a:lnTo>
                  <a:lnTo>
                    <a:pt x="1448" y="770"/>
                  </a:lnTo>
                  <a:lnTo>
                    <a:pt x="1466" y="756"/>
                  </a:lnTo>
                  <a:lnTo>
                    <a:pt x="1466" y="754"/>
                  </a:lnTo>
                  <a:lnTo>
                    <a:pt x="1458" y="754"/>
                  </a:lnTo>
                  <a:lnTo>
                    <a:pt x="1454" y="752"/>
                  </a:lnTo>
                  <a:lnTo>
                    <a:pt x="1450" y="752"/>
                  </a:lnTo>
                  <a:lnTo>
                    <a:pt x="1446" y="748"/>
                  </a:lnTo>
                  <a:lnTo>
                    <a:pt x="1446" y="746"/>
                  </a:lnTo>
                  <a:lnTo>
                    <a:pt x="1444" y="752"/>
                  </a:lnTo>
                  <a:lnTo>
                    <a:pt x="1442" y="758"/>
                  </a:lnTo>
                  <a:lnTo>
                    <a:pt x="1442" y="760"/>
                  </a:lnTo>
                  <a:lnTo>
                    <a:pt x="1440" y="758"/>
                  </a:lnTo>
                  <a:lnTo>
                    <a:pt x="1438" y="754"/>
                  </a:lnTo>
                  <a:lnTo>
                    <a:pt x="1434" y="750"/>
                  </a:lnTo>
                  <a:lnTo>
                    <a:pt x="1430" y="748"/>
                  </a:lnTo>
                  <a:lnTo>
                    <a:pt x="1426" y="750"/>
                  </a:lnTo>
                  <a:lnTo>
                    <a:pt x="1424" y="750"/>
                  </a:lnTo>
                  <a:lnTo>
                    <a:pt x="1420" y="748"/>
                  </a:lnTo>
                  <a:lnTo>
                    <a:pt x="1418" y="746"/>
                  </a:lnTo>
                  <a:lnTo>
                    <a:pt x="1414" y="746"/>
                  </a:lnTo>
                  <a:lnTo>
                    <a:pt x="1412" y="748"/>
                  </a:lnTo>
                  <a:lnTo>
                    <a:pt x="1414" y="752"/>
                  </a:lnTo>
                  <a:lnTo>
                    <a:pt x="1416" y="754"/>
                  </a:lnTo>
                  <a:lnTo>
                    <a:pt x="1416" y="758"/>
                  </a:lnTo>
                  <a:lnTo>
                    <a:pt x="1414" y="760"/>
                  </a:lnTo>
                  <a:lnTo>
                    <a:pt x="1408" y="758"/>
                  </a:lnTo>
                  <a:lnTo>
                    <a:pt x="1402" y="754"/>
                  </a:lnTo>
                  <a:lnTo>
                    <a:pt x="1400" y="756"/>
                  </a:lnTo>
                  <a:lnTo>
                    <a:pt x="1402" y="760"/>
                  </a:lnTo>
                  <a:lnTo>
                    <a:pt x="1410" y="764"/>
                  </a:lnTo>
                  <a:lnTo>
                    <a:pt x="1418" y="768"/>
                  </a:lnTo>
                  <a:lnTo>
                    <a:pt x="1422" y="770"/>
                  </a:lnTo>
                  <a:lnTo>
                    <a:pt x="1418" y="772"/>
                  </a:lnTo>
                  <a:lnTo>
                    <a:pt x="1410" y="770"/>
                  </a:lnTo>
                  <a:lnTo>
                    <a:pt x="1404" y="768"/>
                  </a:lnTo>
                  <a:lnTo>
                    <a:pt x="1402" y="768"/>
                  </a:lnTo>
                  <a:lnTo>
                    <a:pt x="1402" y="770"/>
                  </a:lnTo>
                  <a:lnTo>
                    <a:pt x="1400" y="774"/>
                  </a:lnTo>
                  <a:lnTo>
                    <a:pt x="1396" y="778"/>
                  </a:lnTo>
                  <a:lnTo>
                    <a:pt x="1388" y="782"/>
                  </a:lnTo>
                  <a:lnTo>
                    <a:pt x="1376" y="790"/>
                  </a:lnTo>
                  <a:lnTo>
                    <a:pt x="1372" y="792"/>
                  </a:lnTo>
                  <a:lnTo>
                    <a:pt x="1372" y="794"/>
                  </a:lnTo>
                  <a:lnTo>
                    <a:pt x="1366" y="798"/>
                  </a:lnTo>
                  <a:lnTo>
                    <a:pt x="1362" y="800"/>
                  </a:lnTo>
                  <a:lnTo>
                    <a:pt x="1360" y="802"/>
                  </a:lnTo>
                  <a:lnTo>
                    <a:pt x="1360" y="804"/>
                  </a:lnTo>
                  <a:lnTo>
                    <a:pt x="1362" y="808"/>
                  </a:lnTo>
                  <a:lnTo>
                    <a:pt x="1360" y="810"/>
                  </a:lnTo>
                  <a:lnTo>
                    <a:pt x="1358" y="810"/>
                  </a:lnTo>
                  <a:lnTo>
                    <a:pt x="1358" y="812"/>
                  </a:lnTo>
                  <a:lnTo>
                    <a:pt x="1362" y="816"/>
                  </a:lnTo>
                  <a:lnTo>
                    <a:pt x="1368" y="818"/>
                  </a:lnTo>
                  <a:lnTo>
                    <a:pt x="1370" y="818"/>
                  </a:lnTo>
                  <a:lnTo>
                    <a:pt x="1368" y="818"/>
                  </a:lnTo>
                  <a:lnTo>
                    <a:pt x="1362" y="818"/>
                  </a:lnTo>
                  <a:lnTo>
                    <a:pt x="1356" y="818"/>
                  </a:lnTo>
                  <a:lnTo>
                    <a:pt x="1350" y="816"/>
                  </a:lnTo>
                  <a:lnTo>
                    <a:pt x="1350" y="814"/>
                  </a:lnTo>
                  <a:lnTo>
                    <a:pt x="1350" y="810"/>
                  </a:lnTo>
                  <a:lnTo>
                    <a:pt x="1350" y="806"/>
                  </a:lnTo>
                  <a:lnTo>
                    <a:pt x="1350" y="804"/>
                  </a:lnTo>
                  <a:lnTo>
                    <a:pt x="1342" y="802"/>
                  </a:lnTo>
                  <a:lnTo>
                    <a:pt x="1334" y="800"/>
                  </a:lnTo>
                  <a:lnTo>
                    <a:pt x="1326" y="800"/>
                  </a:lnTo>
                  <a:lnTo>
                    <a:pt x="1324" y="798"/>
                  </a:lnTo>
                  <a:lnTo>
                    <a:pt x="1322" y="798"/>
                  </a:lnTo>
                  <a:lnTo>
                    <a:pt x="1320" y="796"/>
                  </a:lnTo>
                  <a:lnTo>
                    <a:pt x="1318" y="798"/>
                  </a:lnTo>
                  <a:lnTo>
                    <a:pt x="1312" y="796"/>
                  </a:lnTo>
                  <a:lnTo>
                    <a:pt x="1308" y="794"/>
                  </a:lnTo>
                  <a:lnTo>
                    <a:pt x="1306" y="794"/>
                  </a:lnTo>
                  <a:lnTo>
                    <a:pt x="1306" y="796"/>
                  </a:lnTo>
                  <a:lnTo>
                    <a:pt x="1304" y="802"/>
                  </a:lnTo>
                  <a:lnTo>
                    <a:pt x="1302" y="808"/>
                  </a:lnTo>
                  <a:lnTo>
                    <a:pt x="1300" y="802"/>
                  </a:lnTo>
                  <a:lnTo>
                    <a:pt x="1298" y="800"/>
                  </a:lnTo>
                  <a:lnTo>
                    <a:pt x="1294" y="796"/>
                  </a:lnTo>
                  <a:lnTo>
                    <a:pt x="1290" y="796"/>
                  </a:lnTo>
                  <a:lnTo>
                    <a:pt x="1284" y="798"/>
                  </a:lnTo>
                  <a:lnTo>
                    <a:pt x="1278" y="802"/>
                  </a:lnTo>
                  <a:lnTo>
                    <a:pt x="1280" y="804"/>
                  </a:lnTo>
                  <a:lnTo>
                    <a:pt x="1286" y="806"/>
                  </a:lnTo>
                  <a:lnTo>
                    <a:pt x="1288" y="808"/>
                  </a:lnTo>
                  <a:lnTo>
                    <a:pt x="1290" y="810"/>
                  </a:lnTo>
                  <a:lnTo>
                    <a:pt x="1294" y="812"/>
                  </a:lnTo>
                  <a:lnTo>
                    <a:pt x="1298" y="812"/>
                  </a:lnTo>
                  <a:lnTo>
                    <a:pt x="1302" y="814"/>
                  </a:lnTo>
                  <a:lnTo>
                    <a:pt x="1304" y="816"/>
                  </a:lnTo>
                  <a:lnTo>
                    <a:pt x="1308" y="816"/>
                  </a:lnTo>
                  <a:lnTo>
                    <a:pt x="1310" y="818"/>
                  </a:lnTo>
                  <a:lnTo>
                    <a:pt x="1308" y="820"/>
                  </a:lnTo>
                  <a:lnTo>
                    <a:pt x="1306" y="822"/>
                  </a:lnTo>
                  <a:lnTo>
                    <a:pt x="1306" y="824"/>
                  </a:lnTo>
                  <a:lnTo>
                    <a:pt x="1312" y="832"/>
                  </a:lnTo>
                  <a:lnTo>
                    <a:pt x="1314" y="836"/>
                  </a:lnTo>
                  <a:lnTo>
                    <a:pt x="1312" y="836"/>
                  </a:lnTo>
                  <a:lnTo>
                    <a:pt x="1296" y="824"/>
                  </a:lnTo>
                  <a:lnTo>
                    <a:pt x="1286" y="818"/>
                  </a:lnTo>
                  <a:lnTo>
                    <a:pt x="1280" y="816"/>
                  </a:lnTo>
                  <a:lnTo>
                    <a:pt x="1278" y="818"/>
                  </a:lnTo>
                  <a:lnTo>
                    <a:pt x="1278" y="822"/>
                  </a:lnTo>
                  <a:lnTo>
                    <a:pt x="1280" y="822"/>
                  </a:lnTo>
                  <a:lnTo>
                    <a:pt x="1280" y="824"/>
                  </a:lnTo>
                  <a:lnTo>
                    <a:pt x="1276" y="826"/>
                  </a:lnTo>
                  <a:lnTo>
                    <a:pt x="1274" y="826"/>
                  </a:lnTo>
                  <a:lnTo>
                    <a:pt x="1272" y="826"/>
                  </a:lnTo>
                  <a:lnTo>
                    <a:pt x="1272" y="824"/>
                  </a:lnTo>
                  <a:lnTo>
                    <a:pt x="1274" y="822"/>
                  </a:lnTo>
                  <a:lnTo>
                    <a:pt x="1272" y="822"/>
                  </a:lnTo>
                  <a:lnTo>
                    <a:pt x="1266" y="824"/>
                  </a:lnTo>
                  <a:lnTo>
                    <a:pt x="1252" y="834"/>
                  </a:lnTo>
                  <a:lnTo>
                    <a:pt x="1252" y="836"/>
                  </a:lnTo>
                  <a:lnTo>
                    <a:pt x="1250" y="838"/>
                  </a:lnTo>
                  <a:lnTo>
                    <a:pt x="1248" y="846"/>
                  </a:lnTo>
                  <a:lnTo>
                    <a:pt x="1246" y="850"/>
                  </a:lnTo>
                  <a:lnTo>
                    <a:pt x="1244" y="856"/>
                  </a:lnTo>
                  <a:lnTo>
                    <a:pt x="1238" y="862"/>
                  </a:lnTo>
                  <a:lnTo>
                    <a:pt x="1228" y="868"/>
                  </a:lnTo>
                  <a:lnTo>
                    <a:pt x="1238" y="856"/>
                  </a:lnTo>
                  <a:lnTo>
                    <a:pt x="1242" y="844"/>
                  </a:lnTo>
                  <a:lnTo>
                    <a:pt x="1244" y="832"/>
                  </a:lnTo>
                  <a:lnTo>
                    <a:pt x="1244" y="824"/>
                  </a:lnTo>
                  <a:lnTo>
                    <a:pt x="1242" y="820"/>
                  </a:lnTo>
                  <a:lnTo>
                    <a:pt x="1240" y="822"/>
                  </a:lnTo>
                  <a:lnTo>
                    <a:pt x="1238" y="824"/>
                  </a:lnTo>
                  <a:lnTo>
                    <a:pt x="1236" y="826"/>
                  </a:lnTo>
                  <a:lnTo>
                    <a:pt x="1236" y="824"/>
                  </a:lnTo>
                  <a:lnTo>
                    <a:pt x="1232" y="822"/>
                  </a:lnTo>
                  <a:lnTo>
                    <a:pt x="1230" y="822"/>
                  </a:lnTo>
                  <a:lnTo>
                    <a:pt x="1224" y="834"/>
                  </a:lnTo>
                  <a:lnTo>
                    <a:pt x="1222" y="840"/>
                  </a:lnTo>
                  <a:lnTo>
                    <a:pt x="1222" y="842"/>
                  </a:lnTo>
                  <a:lnTo>
                    <a:pt x="1222" y="844"/>
                  </a:lnTo>
                  <a:lnTo>
                    <a:pt x="1220" y="846"/>
                  </a:lnTo>
                  <a:lnTo>
                    <a:pt x="1216" y="848"/>
                  </a:lnTo>
                  <a:lnTo>
                    <a:pt x="1214" y="848"/>
                  </a:lnTo>
                  <a:lnTo>
                    <a:pt x="1214" y="846"/>
                  </a:lnTo>
                  <a:lnTo>
                    <a:pt x="1216" y="840"/>
                  </a:lnTo>
                  <a:lnTo>
                    <a:pt x="1218" y="836"/>
                  </a:lnTo>
                  <a:lnTo>
                    <a:pt x="1216" y="832"/>
                  </a:lnTo>
                  <a:lnTo>
                    <a:pt x="1214" y="830"/>
                  </a:lnTo>
                  <a:lnTo>
                    <a:pt x="1212" y="830"/>
                  </a:lnTo>
                  <a:lnTo>
                    <a:pt x="1204" y="832"/>
                  </a:lnTo>
                  <a:lnTo>
                    <a:pt x="1198" y="836"/>
                  </a:lnTo>
                  <a:lnTo>
                    <a:pt x="1186" y="844"/>
                  </a:lnTo>
                  <a:lnTo>
                    <a:pt x="1184" y="846"/>
                  </a:lnTo>
                  <a:lnTo>
                    <a:pt x="1188" y="848"/>
                  </a:lnTo>
                  <a:lnTo>
                    <a:pt x="1188" y="850"/>
                  </a:lnTo>
                  <a:lnTo>
                    <a:pt x="1188" y="854"/>
                  </a:lnTo>
                  <a:lnTo>
                    <a:pt x="1188" y="856"/>
                  </a:lnTo>
                  <a:lnTo>
                    <a:pt x="1190" y="858"/>
                  </a:lnTo>
                  <a:lnTo>
                    <a:pt x="1196" y="860"/>
                  </a:lnTo>
                  <a:lnTo>
                    <a:pt x="1200" y="862"/>
                  </a:lnTo>
                  <a:lnTo>
                    <a:pt x="1204" y="864"/>
                  </a:lnTo>
                  <a:lnTo>
                    <a:pt x="1208" y="868"/>
                  </a:lnTo>
                  <a:lnTo>
                    <a:pt x="1210" y="876"/>
                  </a:lnTo>
                  <a:lnTo>
                    <a:pt x="1200" y="872"/>
                  </a:lnTo>
                  <a:lnTo>
                    <a:pt x="1198" y="870"/>
                  </a:lnTo>
                  <a:lnTo>
                    <a:pt x="1200" y="868"/>
                  </a:lnTo>
                  <a:lnTo>
                    <a:pt x="1202" y="868"/>
                  </a:lnTo>
                  <a:lnTo>
                    <a:pt x="1196" y="864"/>
                  </a:lnTo>
                  <a:lnTo>
                    <a:pt x="1190" y="862"/>
                  </a:lnTo>
                  <a:lnTo>
                    <a:pt x="1186" y="860"/>
                  </a:lnTo>
                  <a:lnTo>
                    <a:pt x="1182" y="854"/>
                  </a:lnTo>
                  <a:lnTo>
                    <a:pt x="1180" y="852"/>
                  </a:lnTo>
                  <a:lnTo>
                    <a:pt x="1174" y="852"/>
                  </a:lnTo>
                  <a:lnTo>
                    <a:pt x="1166" y="854"/>
                  </a:lnTo>
                  <a:lnTo>
                    <a:pt x="1166" y="856"/>
                  </a:lnTo>
                  <a:lnTo>
                    <a:pt x="1174" y="862"/>
                  </a:lnTo>
                  <a:lnTo>
                    <a:pt x="1178" y="866"/>
                  </a:lnTo>
                  <a:lnTo>
                    <a:pt x="1176" y="868"/>
                  </a:lnTo>
                  <a:lnTo>
                    <a:pt x="1172" y="868"/>
                  </a:lnTo>
                  <a:lnTo>
                    <a:pt x="1168" y="862"/>
                  </a:lnTo>
                  <a:lnTo>
                    <a:pt x="1158" y="854"/>
                  </a:lnTo>
                  <a:lnTo>
                    <a:pt x="1154" y="854"/>
                  </a:lnTo>
                  <a:lnTo>
                    <a:pt x="1154" y="858"/>
                  </a:lnTo>
                  <a:lnTo>
                    <a:pt x="1154" y="860"/>
                  </a:lnTo>
                  <a:lnTo>
                    <a:pt x="1154" y="862"/>
                  </a:lnTo>
                  <a:lnTo>
                    <a:pt x="1152" y="864"/>
                  </a:lnTo>
                  <a:lnTo>
                    <a:pt x="1150" y="868"/>
                  </a:lnTo>
                  <a:lnTo>
                    <a:pt x="1150" y="872"/>
                  </a:lnTo>
                  <a:lnTo>
                    <a:pt x="1152" y="876"/>
                  </a:lnTo>
                  <a:lnTo>
                    <a:pt x="1152" y="878"/>
                  </a:lnTo>
                  <a:lnTo>
                    <a:pt x="1146" y="880"/>
                  </a:lnTo>
                  <a:lnTo>
                    <a:pt x="1138" y="884"/>
                  </a:lnTo>
                  <a:lnTo>
                    <a:pt x="1134" y="886"/>
                  </a:lnTo>
                  <a:lnTo>
                    <a:pt x="1130" y="888"/>
                  </a:lnTo>
                  <a:lnTo>
                    <a:pt x="1128" y="892"/>
                  </a:lnTo>
                  <a:lnTo>
                    <a:pt x="1128" y="894"/>
                  </a:lnTo>
                  <a:lnTo>
                    <a:pt x="1134" y="896"/>
                  </a:lnTo>
                  <a:lnTo>
                    <a:pt x="1138" y="898"/>
                  </a:lnTo>
                  <a:lnTo>
                    <a:pt x="1132" y="900"/>
                  </a:lnTo>
                  <a:lnTo>
                    <a:pt x="1122" y="902"/>
                  </a:lnTo>
                  <a:lnTo>
                    <a:pt x="1120" y="906"/>
                  </a:lnTo>
                  <a:lnTo>
                    <a:pt x="1118" y="908"/>
                  </a:lnTo>
                  <a:lnTo>
                    <a:pt x="1114" y="912"/>
                  </a:lnTo>
                  <a:lnTo>
                    <a:pt x="1108" y="912"/>
                  </a:lnTo>
                  <a:lnTo>
                    <a:pt x="1102" y="912"/>
                  </a:lnTo>
                  <a:lnTo>
                    <a:pt x="1096" y="916"/>
                  </a:lnTo>
                  <a:lnTo>
                    <a:pt x="1090" y="924"/>
                  </a:lnTo>
                  <a:lnTo>
                    <a:pt x="1088" y="928"/>
                  </a:lnTo>
                  <a:lnTo>
                    <a:pt x="1088" y="930"/>
                  </a:lnTo>
                  <a:lnTo>
                    <a:pt x="1092" y="930"/>
                  </a:lnTo>
                  <a:lnTo>
                    <a:pt x="1096" y="928"/>
                  </a:lnTo>
                  <a:lnTo>
                    <a:pt x="1106" y="926"/>
                  </a:lnTo>
                  <a:lnTo>
                    <a:pt x="1108" y="926"/>
                  </a:lnTo>
                  <a:lnTo>
                    <a:pt x="1108" y="930"/>
                  </a:lnTo>
                  <a:lnTo>
                    <a:pt x="1112" y="930"/>
                  </a:lnTo>
                  <a:lnTo>
                    <a:pt x="1124" y="924"/>
                  </a:lnTo>
                  <a:lnTo>
                    <a:pt x="1128" y="924"/>
                  </a:lnTo>
                  <a:lnTo>
                    <a:pt x="1130" y="924"/>
                  </a:lnTo>
                  <a:lnTo>
                    <a:pt x="1128" y="928"/>
                  </a:lnTo>
                  <a:lnTo>
                    <a:pt x="1120" y="932"/>
                  </a:lnTo>
                  <a:lnTo>
                    <a:pt x="1110" y="936"/>
                  </a:lnTo>
                  <a:lnTo>
                    <a:pt x="1102" y="936"/>
                  </a:lnTo>
                  <a:lnTo>
                    <a:pt x="1100" y="936"/>
                  </a:lnTo>
                  <a:lnTo>
                    <a:pt x="1096" y="934"/>
                  </a:lnTo>
                  <a:lnTo>
                    <a:pt x="1088" y="934"/>
                  </a:lnTo>
                  <a:lnTo>
                    <a:pt x="1078" y="936"/>
                  </a:lnTo>
                  <a:lnTo>
                    <a:pt x="1072" y="938"/>
                  </a:lnTo>
                  <a:lnTo>
                    <a:pt x="1070" y="940"/>
                  </a:lnTo>
                  <a:lnTo>
                    <a:pt x="1074" y="942"/>
                  </a:lnTo>
                  <a:lnTo>
                    <a:pt x="1076" y="944"/>
                  </a:lnTo>
                  <a:lnTo>
                    <a:pt x="1076" y="946"/>
                  </a:lnTo>
                  <a:lnTo>
                    <a:pt x="1080" y="948"/>
                  </a:lnTo>
                  <a:lnTo>
                    <a:pt x="1086" y="948"/>
                  </a:lnTo>
                  <a:lnTo>
                    <a:pt x="1084" y="952"/>
                  </a:lnTo>
                  <a:lnTo>
                    <a:pt x="1080" y="958"/>
                  </a:lnTo>
                  <a:lnTo>
                    <a:pt x="1078" y="960"/>
                  </a:lnTo>
                  <a:lnTo>
                    <a:pt x="1076" y="964"/>
                  </a:lnTo>
                  <a:lnTo>
                    <a:pt x="1076" y="968"/>
                  </a:lnTo>
                  <a:lnTo>
                    <a:pt x="1074" y="966"/>
                  </a:lnTo>
                  <a:lnTo>
                    <a:pt x="1070" y="960"/>
                  </a:lnTo>
                  <a:lnTo>
                    <a:pt x="1070" y="954"/>
                  </a:lnTo>
                  <a:lnTo>
                    <a:pt x="1070" y="948"/>
                  </a:lnTo>
                  <a:lnTo>
                    <a:pt x="1068" y="944"/>
                  </a:lnTo>
                  <a:lnTo>
                    <a:pt x="1066" y="944"/>
                  </a:lnTo>
                  <a:lnTo>
                    <a:pt x="1064" y="948"/>
                  </a:lnTo>
                  <a:lnTo>
                    <a:pt x="1060" y="954"/>
                  </a:lnTo>
                  <a:lnTo>
                    <a:pt x="1058" y="954"/>
                  </a:lnTo>
                  <a:lnTo>
                    <a:pt x="1056" y="954"/>
                  </a:lnTo>
                  <a:lnTo>
                    <a:pt x="1056" y="952"/>
                  </a:lnTo>
                  <a:lnTo>
                    <a:pt x="1052" y="950"/>
                  </a:lnTo>
                  <a:lnTo>
                    <a:pt x="1046" y="952"/>
                  </a:lnTo>
                  <a:lnTo>
                    <a:pt x="1042" y="956"/>
                  </a:lnTo>
                  <a:lnTo>
                    <a:pt x="1040" y="956"/>
                  </a:lnTo>
                  <a:lnTo>
                    <a:pt x="1040" y="958"/>
                  </a:lnTo>
                  <a:lnTo>
                    <a:pt x="1042" y="960"/>
                  </a:lnTo>
                  <a:lnTo>
                    <a:pt x="1044" y="960"/>
                  </a:lnTo>
                  <a:lnTo>
                    <a:pt x="1048" y="958"/>
                  </a:lnTo>
                  <a:lnTo>
                    <a:pt x="1054" y="958"/>
                  </a:lnTo>
                  <a:lnTo>
                    <a:pt x="1062" y="960"/>
                  </a:lnTo>
                  <a:lnTo>
                    <a:pt x="1064" y="962"/>
                  </a:lnTo>
                  <a:lnTo>
                    <a:pt x="1064" y="964"/>
                  </a:lnTo>
                  <a:lnTo>
                    <a:pt x="1060" y="966"/>
                  </a:lnTo>
                  <a:lnTo>
                    <a:pt x="1050" y="966"/>
                  </a:lnTo>
                  <a:lnTo>
                    <a:pt x="1032" y="970"/>
                  </a:lnTo>
                  <a:lnTo>
                    <a:pt x="1020" y="974"/>
                  </a:lnTo>
                  <a:lnTo>
                    <a:pt x="1018" y="976"/>
                  </a:lnTo>
                  <a:lnTo>
                    <a:pt x="1020" y="978"/>
                  </a:lnTo>
                  <a:lnTo>
                    <a:pt x="1022" y="980"/>
                  </a:lnTo>
                  <a:lnTo>
                    <a:pt x="1018" y="984"/>
                  </a:lnTo>
                  <a:lnTo>
                    <a:pt x="1016" y="986"/>
                  </a:lnTo>
                  <a:lnTo>
                    <a:pt x="1020" y="988"/>
                  </a:lnTo>
                  <a:lnTo>
                    <a:pt x="1026" y="988"/>
                  </a:lnTo>
                  <a:lnTo>
                    <a:pt x="1030" y="986"/>
                  </a:lnTo>
                  <a:lnTo>
                    <a:pt x="1036" y="980"/>
                  </a:lnTo>
                  <a:lnTo>
                    <a:pt x="1042" y="976"/>
                  </a:lnTo>
                  <a:lnTo>
                    <a:pt x="1046" y="976"/>
                  </a:lnTo>
                  <a:lnTo>
                    <a:pt x="1052" y="976"/>
                  </a:lnTo>
                  <a:lnTo>
                    <a:pt x="1060" y="980"/>
                  </a:lnTo>
                  <a:lnTo>
                    <a:pt x="1058" y="980"/>
                  </a:lnTo>
                  <a:lnTo>
                    <a:pt x="1050" y="980"/>
                  </a:lnTo>
                  <a:lnTo>
                    <a:pt x="1040" y="982"/>
                  </a:lnTo>
                  <a:lnTo>
                    <a:pt x="1034" y="986"/>
                  </a:lnTo>
                  <a:lnTo>
                    <a:pt x="1034" y="988"/>
                  </a:lnTo>
                  <a:lnTo>
                    <a:pt x="1036" y="990"/>
                  </a:lnTo>
                  <a:lnTo>
                    <a:pt x="1034" y="990"/>
                  </a:lnTo>
                  <a:lnTo>
                    <a:pt x="1026" y="992"/>
                  </a:lnTo>
                  <a:lnTo>
                    <a:pt x="1016" y="996"/>
                  </a:lnTo>
                  <a:lnTo>
                    <a:pt x="1016" y="998"/>
                  </a:lnTo>
                  <a:lnTo>
                    <a:pt x="1020" y="1002"/>
                  </a:lnTo>
                  <a:lnTo>
                    <a:pt x="1022" y="1002"/>
                  </a:lnTo>
                  <a:lnTo>
                    <a:pt x="1022" y="1004"/>
                  </a:lnTo>
                  <a:lnTo>
                    <a:pt x="1020" y="1006"/>
                  </a:lnTo>
                  <a:lnTo>
                    <a:pt x="1016" y="1004"/>
                  </a:lnTo>
                  <a:lnTo>
                    <a:pt x="1014" y="1002"/>
                  </a:lnTo>
                  <a:lnTo>
                    <a:pt x="1010" y="1004"/>
                  </a:lnTo>
                  <a:lnTo>
                    <a:pt x="1004" y="1012"/>
                  </a:lnTo>
                  <a:lnTo>
                    <a:pt x="1008" y="1014"/>
                  </a:lnTo>
                  <a:lnTo>
                    <a:pt x="1012" y="1014"/>
                  </a:lnTo>
                  <a:lnTo>
                    <a:pt x="1016" y="1012"/>
                  </a:lnTo>
                  <a:lnTo>
                    <a:pt x="1024" y="1012"/>
                  </a:lnTo>
                  <a:lnTo>
                    <a:pt x="1036" y="1012"/>
                  </a:lnTo>
                  <a:lnTo>
                    <a:pt x="1050" y="1016"/>
                  </a:lnTo>
                  <a:lnTo>
                    <a:pt x="1048" y="1016"/>
                  </a:lnTo>
                  <a:lnTo>
                    <a:pt x="1046" y="1018"/>
                  </a:lnTo>
                  <a:lnTo>
                    <a:pt x="1046" y="1022"/>
                  </a:lnTo>
                  <a:lnTo>
                    <a:pt x="1046" y="1024"/>
                  </a:lnTo>
                  <a:lnTo>
                    <a:pt x="1044" y="1022"/>
                  </a:lnTo>
                  <a:lnTo>
                    <a:pt x="1038" y="1018"/>
                  </a:lnTo>
                  <a:lnTo>
                    <a:pt x="1034" y="1016"/>
                  </a:lnTo>
                  <a:lnTo>
                    <a:pt x="1028" y="1016"/>
                  </a:lnTo>
                  <a:lnTo>
                    <a:pt x="1020" y="1016"/>
                  </a:lnTo>
                  <a:lnTo>
                    <a:pt x="1014" y="1018"/>
                  </a:lnTo>
                  <a:lnTo>
                    <a:pt x="1008" y="1020"/>
                  </a:lnTo>
                  <a:lnTo>
                    <a:pt x="1002" y="1020"/>
                  </a:lnTo>
                  <a:lnTo>
                    <a:pt x="998" y="1020"/>
                  </a:lnTo>
                  <a:lnTo>
                    <a:pt x="996" y="1020"/>
                  </a:lnTo>
                  <a:lnTo>
                    <a:pt x="994" y="1022"/>
                  </a:lnTo>
                  <a:lnTo>
                    <a:pt x="990" y="1022"/>
                  </a:lnTo>
                  <a:lnTo>
                    <a:pt x="988" y="1024"/>
                  </a:lnTo>
                  <a:lnTo>
                    <a:pt x="988" y="1026"/>
                  </a:lnTo>
                  <a:lnTo>
                    <a:pt x="988" y="1028"/>
                  </a:lnTo>
                  <a:lnTo>
                    <a:pt x="988" y="1030"/>
                  </a:lnTo>
                  <a:lnTo>
                    <a:pt x="986" y="1032"/>
                  </a:lnTo>
                  <a:lnTo>
                    <a:pt x="982" y="1034"/>
                  </a:lnTo>
                  <a:lnTo>
                    <a:pt x="976" y="1034"/>
                  </a:lnTo>
                  <a:lnTo>
                    <a:pt x="968" y="1036"/>
                  </a:lnTo>
                  <a:lnTo>
                    <a:pt x="970" y="1038"/>
                  </a:lnTo>
                  <a:lnTo>
                    <a:pt x="974" y="1042"/>
                  </a:lnTo>
                  <a:lnTo>
                    <a:pt x="974" y="1044"/>
                  </a:lnTo>
                  <a:lnTo>
                    <a:pt x="972" y="1046"/>
                  </a:lnTo>
                  <a:lnTo>
                    <a:pt x="966" y="1050"/>
                  </a:lnTo>
                  <a:lnTo>
                    <a:pt x="964" y="1050"/>
                  </a:lnTo>
                  <a:lnTo>
                    <a:pt x="962" y="1050"/>
                  </a:lnTo>
                  <a:lnTo>
                    <a:pt x="956" y="1052"/>
                  </a:lnTo>
                  <a:lnTo>
                    <a:pt x="954" y="1056"/>
                  </a:lnTo>
                  <a:lnTo>
                    <a:pt x="956" y="1058"/>
                  </a:lnTo>
                  <a:lnTo>
                    <a:pt x="958" y="1058"/>
                  </a:lnTo>
                  <a:lnTo>
                    <a:pt x="958" y="1060"/>
                  </a:lnTo>
                  <a:lnTo>
                    <a:pt x="954" y="1062"/>
                  </a:lnTo>
                  <a:lnTo>
                    <a:pt x="954" y="1064"/>
                  </a:lnTo>
                  <a:lnTo>
                    <a:pt x="956" y="1066"/>
                  </a:lnTo>
                  <a:lnTo>
                    <a:pt x="954" y="1064"/>
                  </a:lnTo>
                  <a:lnTo>
                    <a:pt x="950" y="1064"/>
                  </a:lnTo>
                  <a:lnTo>
                    <a:pt x="946" y="1064"/>
                  </a:lnTo>
                  <a:lnTo>
                    <a:pt x="946" y="1066"/>
                  </a:lnTo>
                  <a:lnTo>
                    <a:pt x="948" y="1068"/>
                  </a:lnTo>
                  <a:lnTo>
                    <a:pt x="950" y="1070"/>
                  </a:lnTo>
                  <a:lnTo>
                    <a:pt x="950" y="1072"/>
                  </a:lnTo>
                  <a:lnTo>
                    <a:pt x="948" y="1076"/>
                  </a:lnTo>
                  <a:lnTo>
                    <a:pt x="948" y="1080"/>
                  </a:lnTo>
                  <a:lnTo>
                    <a:pt x="954" y="1080"/>
                  </a:lnTo>
                  <a:lnTo>
                    <a:pt x="958" y="1080"/>
                  </a:lnTo>
                  <a:lnTo>
                    <a:pt x="954" y="1082"/>
                  </a:lnTo>
                  <a:lnTo>
                    <a:pt x="948" y="1084"/>
                  </a:lnTo>
                  <a:lnTo>
                    <a:pt x="946" y="1086"/>
                  </a:lnTo>
                  <a:lnTo>
                    <a:pt x="954" y="1086"/>
                  </a:lnTo>
                  <a:lnTo>
                    <a:pt x="964" y="1084"/>
                  </a:lnTo>
                  <a:lnTo>
                    <a:pt x="988" y="1078"/>
                  </a:lnTo>
                  <a:lnTo>
                    <a:pt x="994" y="1078"/>
                  </a:lnTo>
                  <a:lnTo>
                    <a:pt x="990" y="1080"/>
                  </a:lnTo>
                  <a:lnTo>
                    <a:pt x="982" y="1084"/>
                  </a:lnTo>
                  <a:lnTo>
                    <a:pt x="972" y="1086"/>
                  </a:lnTo>
                  <a:lnTo>
                    <a:pt x="954" y="1090"/>
                  </a:lnTo>
                  <a:lnTo>
                    <a:pt x="946" y="1092"/>
                  </a:lnTo>
                  <a:lnTo>
                    <a:pt x="936" y="1094"/>
                  </a:lnTo>
                  <a:lnTo>
                    <a:pt x="932" y="1096"/>
                  </a:lnTo>
                  <a:lnTo>
                    <a:pt x="936" y="1096"/>
                  </a:lnTo>
                  <a:lnTo>
                    <a:pt x="942" y="1098"/>
                  </a:lnTo>
                  <a:lnTo>
                    <a:pt x="944" y="1098"/>
                  </a:lnTo>
                  <a:lnTo>
                    <a:pt x="946" y="1100"/>
                  </a:lnTo>
                  <a:lnTo>
                    <a:pt x="944" y="1104"/>
                  </a:lnTo>
                  <a:lnTo>
                    <a:pt x="940" y="1106"/>
                  </a:lnTo>
                  <a:lnTo>
                    <a:pt x="934" y="1108"/>
                  </a:lnTo>
                  <a:lnTo>
                    <a:pt x="932" y="1114"/>
                  </a:lnTo>
                  <a:lnTo>
                    <a:pt x="930" y="1118"/>
                  </a:lnTo>
                  <a:lnTo>
                    <a:pt x="928" y="1120"/>
                  </a:lnTo>
                  <a:lnTo>
                    <a:pt x="924" y="1122"/>
                  </a:lnTo>
                  <a:lnTo>
                    <a:pt x="920" y="1122"/>
                  </a:lnTo>
                  <a:lnTo>
                    <a:pt x="920" y="1128"/>
                  </a:lnTo>
                  <a:lnTo>
                    <a:pt x="922" y="1132"/>
                  </a:lnTo>
                  <a:lnTo>
                    <a:pt x="924" y="1134"/>
                  </a:lnTo>
                  <a:lnTo>
                    <a:pt x="926" y="1134"/>
                  </a:lnTo>
                  <a:lnTo>
                    <a:pt x="928" y="1138"/>
                  </a:lnTo>
                  <a:lnTo>
                    <a:pt x="928" y="1140"/>
                  </a:lnTo>
                  <a:lnTo>
                    <a:pt x="928" y="1142"/>
                  </a:lnTo>
                  <a:lnTo>
                    <a:pt x="922" y="1146"/>
                  </a:lnTo>
                  <a:lnTo>
                    <a:pt x="918" y="1150"/>
                  </a:lnTo>
                  <a:lnTo>
                    <a:pt x="918" y="1152"/>
                  </a:lnTo>
                  <a:lnTo>
                    <a:pt x="920" y="1152"/>
                  </a:lnTo>
                  <a:lnTo>
                    <a:pt x="922" y="1156"/>
                  </a:lnTo>
                  <a:lnTo>
                    <a:pt x="922" y="1160"/>
                  </a:lnTo>
                  <a:lnTo>
                    <a:pt x="918" y="1164"/>
                  </a:lnTo>
                  <a:lnTo>
                    <a:pt x="910" y="1166"/>
                  </a:lnTo>
                  <a:lnTo>
                    <a:pt x="904" y="1168"/>
                  </a:lnTo>
                  <a:lnTo>
                    <a:pt x="900" y="1168"/>
                  </a:lnTo>
                  <a:lnTo>
                    <a:pt x="898" y="1170"/>
                  </a:lnTo>
                  <a:lnTo>
                    <a:pt x="892" y="1172"/>
                  </a:lnTo>
                  <a:lnTo>
                    <a:pt x="888" y="1174"/>
                  </a:lnTo>
                  <a:lnTo>
                    <a:pt x="884" y="1174"/>
                  </a:lnTo>
                  <a:lnTo>
                    <a:pt x="880" y="1176"/>
                  </a:lnTo>
                  <a:lnTo>
                    <a:pt x="876" y="1176"/>
                  </a:lnTo>
                  <a:lnTo>
                    <a:pt x="866" y="1176"/>
                  </a:lnTo>
                  <a:lnTo>
                    <a:pt x="862" y="1176"/>
                  </a:lnTo>
                  <a:lnTo>
                    <a:pt x="860" y="1178"/>
                  </a:lnTo>
                  <a:lnTo>
                    <a:pt x="860" y="1180"/>
                  </a:lnTo>
                  <a:lnTo>
                    <a:pt x="864" y="1180"/>
                  </a:lnTo>
                  <a:lnTo>
                    <a:pt x="868" y="1180"/>
                  </a:lnTo>
                  <a:lnTo>
                    <a:pt x="876" y="1180"/>
                  </a:lnTo>
                  <a:lnTo>
                    <a:pt x="878" y="1182"/>
                  </a:lnTo>
                  <a:lnTo>
                    <a:pt x="880" y="1184"/>
                  </a:lnTo>
                  <a:lnTo>
                    <a:pt x="878" y="1186"/>
                  </a:lnTo>
                  <a:lnTo>
                    <a:pt x="878" y="1188"/>
                  </a:lnTo>
                  <a:lnTo>
                    <a:pt x="886" y="1184"/>
                  </a:lnTo>
                  <a:lnTo>
                    <a:pt x="892" y="1182"/>
                  </a:lnTo>
                  <a:lnTo>
                    <a:pt x="892" y="1184"/>
                  </a:lnTo>
                  <a:lnTo>
                    <a:pt x="890" y="1186"/>
                  </a:lnTo>
                  <a:lnTo>
                    <a:pt x="886" y="1190"/>
                  </a:lnTo>
                  <a:lnTo>
                    <a:pt x="884" y="1190"/>
                  </a:lnTo>
                  <a:lnTo>
                    <a:pt x="882" y="1192"/>
                  </a:lnTo>
                  <a:lnTo>
                    <a:pt x="886" y="1194"/>
                  </a:lnTo>
                  <a:lnTo>
                    <a:pt x="890" y="1196"/>
                  </a:lnTo>
                  <a:lnTo>
                    <a:pt x="890" y="1198"/>
                  </a:lnTo>
                  <a:lnTo>
                    <a:pt x="890" y="1200"/>
                  </a:lnTo>
                  <a:lnTo>
                    <a:pt x="886" y="1204"/>
                  </a:lnTo>
                  <a:lnTo>
                    <a:pt x="886" y="1206"/>
                  </a:lnTo>
                  <a:lnTo>
                    <a:pt x="884" y="1208"/>
                  </a:lnTo>
                  <a:lnTo>
                    <a:pt x="878" y="1208"/>
                  </a:lnTo>
                  <a:lnTo>
                    <a:pt x="874" y="1208"/>
                  </a:lnTo>
                  <a:lnTo>
                    <a:pt x="872" y="1208"/>
                  </a:lnTo>
                  <a:lnTo>
                    <a:pt x="870" y="1204"/>
                  </a:lnTo>
                  <a:lnTo>
                    <a:pt x="868" y="1198"/>
                  </a:lnTo>
                  <a:lnTo>
                    <a:pt x="866" y="1198"/>
                  </a:lnTo>
                  <a:lnTo>
                    <a:pt x="864" y="1198"/>
                  </a:lnTo>
                  <a:lnTo>
                    <a:pt x="862" y="1198"/>
                  </a:lnTo>
                  <a:lnTo>
                    <a:pt x="862" y="1200"/>
                  </a:lnTo>
                  <a:lnTo>
                    <a:pt x="862" y="1202"/>
                  </a:lnTo>
                  <a:lnTo>
                    <a:pt x="860" y="1204"/>
                  </a:lnTo>
                  <a:lnTo>
                    <a:pt x="852" y="1204"/>
                  </a:lnTo>
                  <a:lnTo>
                    <a:pt x="848" y="1208"/>
                  </a:lnTo>
                  <a:lnTo>
                    <a:pt x="846" y="1210"/>
                  </a:lnTo>
                  <a:lnTo>
                    <a:pt x="846" y="1214"/>
                  </a:lnTo>
                  <a:lnTo>
                    <a:pt x="846" y="1216"/>
                  </a:lnTo>
                  <a:lnTo>
                    <a:pt x="844" y="1218"/>
                  </a:lnTo>
                  <a:lnTo>
                    <a:pt x="840" y="1220"/>
                  </a:lnTo>
                  <a:lnTo>
                    <a:pt x="834" y="1222"/>
                  </a:lnTo>
                  <a:lnTo>
                    <a:pt x="832" y="1224"/>
                  </a:lnTo>
                  <a:lnTo>
                    <a:pt x="830" y="1228"/>
                  </a:lnTo>
                  <a:lnTo>
                    <a:pt x="828" y="1234"/>
                  </a:lnTo>
                  <a:lnTo>
                    <a:pt x="824" y="1240"/>
                  </a:lnTo>
                  <a:lnTo>
                    <a:pt x="818" y="1246"/>
                  </a:lnTo>
                  <a:lnTo>
                    <a:pt x="812" y="1250"/>
                  </a:lnTo>
                  <a:lnTo>
                    <a:pt x="808" y="1252"/>
                  </a:lnTo>
                  <a:lnTo>
                    <a:pt x="806" y="1256"/>
                  </a:lnTo>
                  <a:lnTo>
                    <a:pt x="806" y="1258"/>
                  </a:lnTo>
                  <a:lnTo>
                    <a:pt x="806" y="1260"/>
                  </a:lnTo>
                  <a:lnTo>
                    <a:pt x="810" y="1260"/>
                  </a:lnTo>
                  <a:lnTo>
                    <a:pt x="816" y="1258"/>
                  </a:lnTo>
                  <a:lnTo>
                    <a:pt x="818" y="1258"/>
                  </a:lnTo>
                  <a:lnTo>
                    <a:pt x="818" y="1262"/>
                  </a:lnTo>
                  <a:lnTo>
                    <a:pt x="820" y="1262"/>
                  </a:lnTo>
                  <a:lnTo>
                    <a:pt x="822" y="1264"/>
                  </a:lnTo>
                  <a:lnTo>
                    <a:pt x="822" y="1268"/>
                  </a:lnTo>
                  <a:lnTo>
                    <a:pt x="824" y="1270"/>
                  </a:lnTo>
                  <a:lnTo>
                    <a:pt x="826" y="1270"/>
                  </a:lnTo>
                  <a:lnTo>
                    <a:pt x="834" y="1270"/>
                  </a:lnTo>
                  <a:lnTo>
                    <a:pt x="848" y="1264"/>
                  </a:lnTo>
                  <a:lnTo>
                    <a:pt x="862" y="1254"/>
                  </a:lnTo>
                  <a:lnTo>
                    <a:pt x="868" y="1250"/>
                  </a:lnTo>
                  <a:lnTo>
                    <a:pt x="868" y="1246"/>
                  </a:lnTo>
                  <a:lnTo>
                    <a:pt x="864" y="1244"/>
                  </a:lnTo>
                  <a:lnTo>
                    <a:pt x="858" y="1244"/>
                  </a:lnTo>
                  <a:lnTo>
                    <a:pt x="862" y="1242"/>
                  </a:lnTo>
                  <a:lnTo>
                    <a:pt x="870" y="1238"/>
                  </a:lnTo>
                  <a:lnTo>
                    <a:pt x="874" y="1236"/>
                  </a:lnTo>
                  <a:lnTo>
                    <a:pt x="876" y="1234"/>
                  </a:lnTo>
                  <a:lnTo>
                    <a:pt x="880" y="1236"/>
                  </a:lnTo>
                  <a:lnTo>
                    <a:pt x="884" y="1236"/>
                  </a:lnTo>
                  <a:lnTo>
                    <a:pt x="884" y="1238"/>
                  </a:lnTo>
                  <a:lnTo>
                    <a:pt x="878" y="1240"/>
                  </a:lnTo>
                  <a:lnTo>
                    <a:pt x="874" y="1242"/>
                  </a:lnTo>
                  <a:lnTo>
                    <a:pt x="872" y="1244"/>
                  </a:lnTo>
                  <a:lnTo>
                    <a:pt x="874" y="1246"/>
                  </a:lnTo>
                  <a:lnTo>
                    <a:pt x="880" y="1248"/>
                  </a:lnTo>
                  <a:lnTo>
                    <a:pt x="884" y="1250"/>
                  </a:lnTo>
                  <a:lnTo>
                    <a:pt x="880" y="1254"/>
                  </a:lnTo>
                  <a:lnTo>
                    <a:pt x="860" y="1262"/>
                  </a:lnTo>
                  <a:lnTo>
                    <a:pt x="854" y="1266"/>
                  </a:lnTo>
                  <a:lnTo>
                    <a:pt x="858" y="1268"/>
                  </a:lnTo>
                  <a:lnTo>
                    <a:pt x="856" y="1268"/>
                  </a:lnTo>
                  <a:lnTo>
                    <a:pt x="856" y="1270"/>
                  </a:lnTo>
                  <a:lnTo>
                    <a:pt x="856" y="1272"/>
                  </a:lnTo>
                  <a:lnTo>
                    <a:pt x="858" y="1272"/>
                  </a:lnTo>
                  <a:lnTo>
                    <a:pt x="862" y="1274"/>
                  </a:lnTo>
                  <a:lnTo>
                    <a:pt x="860" y="1276"/>
                  </a:lnTo>
                  <a:lnTo>
                    <a:pt x="856" y="1276"/>
                  </a:lnTo>
                  <a:lnTo>
                    <a:pt x="852" y="1276"/>
                  </a:lnTo>
                  <a:lnTo>
                    <a:pt x="844" y="1276"/>
                  </a:lnTo>
                  <a:lnTo>
                    <a:pt x="836" y="1276"/>
                  </a:lnTo>
                  <a:lnTo>
                    <a:pt x="830" y="1276"/>
                  </a:lnTo>
                  <a:lnTo>
                    <a:pt x="826" y="1280"/>
                  </a:lnTo>
                  <a:lnTo>
                    <a:pt x="822" y="1282"/>
                  </a:lnTo>
                  <a:lnTo>
                    <a:pt x="822" y="1276"/>
                  </a:lnTo>
                  <a:lnTo>
                    <a:pt x="818" y="1268"/>
                  </a:lnTo>
                  <a:lnTo>
                    <a:pt x="814" y="1262"/>
                  </a:lnTo>
                  <a:lnTo>
                    <a:pt x="810" y="1262"/>
                  </a:lnTo>
                  <a:lnTo>
                    <a:pt x="806" y="1266"/>
                  </a:lnTo>
                  <a:lnTo>
                    <a:pt x="798" y="1268"/>
                  </a:lnTo>
                  <a:lnTo>
                    <a:pt x="796" y="1268"/>
                  </a:lnTo>
                  <a:lnTo>
                    <a:pt x="794" y="1270"/>
                  </a:lnTo>
                  <a:lnTo>
                    <a:pt x="792" y="1274"/>
                  </a:lnTo>
                  <a:lnTo>
                    <a:pt x="792" y="1276"/>
                  </a:lnTo>
                  <a:lnTo>
                    <a:pt x="790" y="1274"/>
                  </a:lnTo>
                  <a:lnTo>
                    <a:pt x="784" y="1274"/>
                  </a:lnTo>
                  <a:lnTo>
                    <a:pt x="778" y="1274"/>
                  </a:lnTo>
                  <a:lnTo>
                    <a:pt x="762" y="1280"/>
                  </a:lnTo>
                  <a:lnTo>
                    <a:pt x="760" y="1282"/>
                  </a:lnTo>
                  <a:lnTo>
                    <a:pt x="760" y="1284"/>
                  </a:lnTo>
                  <a:lnTo>
                    <a:pt x="766" y="1288"/>
                  </a:lnTo>
                  <a:lnTo>
                    <a:pt x="768" y="1290"/>
                  </a:lnTo>
                  <a:lnTo>
                    <a:pt x="768" y="1292"/>
                  </a:lnTo>
                  <a:lnTo>
                    <a:pt x="766" y="1294"/>
                  </a:lnTo>
                  <a:lnTo>
                    <a:pt x="760" y="1294"/>
                  </a:lnTo>
                  <a:lnTo>
                    <a:pt x="754" y="1296"/>
                  </a:lnTo>
                  <a:lnTo>
                    <a:pt x="752" y="1298"/>
                  </a:lnTo>
                  <a:lnTo>
                    <a:pt x="752" y="1300"/>
                  </a:lnTo>
                  <a:lnTo>
                    <a:pt x="756" y="1302"/>
                  </a:lnTo>
                  <a:lnTo>
                    <a:pt x="746" y="1300"/>
                  </a:lnTo>
                  <a:lnTo>
                    <a:pt x="738" y="1298"/>
                  </a:lnTo>
                  <a:lnTo>
                    <a:pt x="742" y="1300"/>
                  </a:lnTo>
                  <a:lnTo>
                    <a:pt x="744" y="1304"/>
                  </a:lnTo>
                  <a:lnTo>
                    <a:pt x="744" y="1306"/>
                  </a:lnTo>
                  <a:lnTo>
                    <a:pt x="740" y="1308"/>
                  </a:lnTo>
                  <a:lnTo>
                    <a:pt x="728" y="1308"/>
                  </a:lnTo>
                  <a:lnTo>
                    <a:pt x="716" y="1308"/>
                  </a:lnTo>
                  <a:lnTo>
                    <a:pt x="708" y="1306"/>
                  </a:lnTo>
                  <a:lnTo>
                    <a:pt x="704" y="1308"/>
                  </a:lnTo>
                  <a:lnTo>
                    <a:pt x="702" y="1310"/>
                  </a:lnTo>
                  <a:lnTo>
                    <a:pt x="702" y="1316"/>
                  </a:lnTo>
                  <a:lnTo>
                    <a:pt x="704" y="1318"/>
                  </a:lnTo>
                  <a:lnTo>
                    <a:pt x="708" y="1320"/>
                  </a:lnTo>
                  <a:lnTo>
                    <a:pt x="712" y="1320"/>
                  </a:lnTo>
                  <a:lnTo>
                    <a:pt x="718" y="1320"/>
                  </a:lnTo>
                  <a:lnTo>
                    <a:pt x="726" y="1318"/>
                  </a:lnTo>
                  <a:lnTo>
                    <a:pt x="724" y="1320"/>
                  </a:lnTo>
                  <a:lnTo>
                    <a:pt x="720" y="1324"/>
                  </a:lnTo>
                  <a:lnTo>
                    <a:pt x="720" y="1328"/>
                  </a:lnTo>
                  <a:lnTo>
                    <a:pt x="722" y="1332"/>
                  </a:lnTo>
                  <a:lnTo>
                    <a:pt x="724" y="1334"/>
                  </a:lnTo>
                  <a:lnTo>
                    <a:pt x="718" y="1332"/>
                  </a:lnTo>
                  <a:lnTo>
                    <a:pt x="704" y="1328"/>
                  </a:lnTo>
                  <a:lnTo>
                    <a:pt x="696" y="1328"/>
                  </a:lnTo>
                  <a:lnTo>
                    <a:pt x="686" y="1330"/>
                  </a:lnTo>
                  <a:lnTo>
                    <a:pt x="678" y="1334"/>
                  </a:lnTo>
                  <a:lnTo>
                    <a:pt x="676" y="1336"/>
                  </a:lnTo>
                  <a:lnTo>
                    <a:pt x="678" y="1336"/>
                  </a:lnTo>
                  <a:lnTo>
                    <a:pt x="682" y="1338"/>
                  </a:lnTo>
                  <a:lnTo>
                    <a:pt x="694" y="1340"/>
                  </a:lnTo>
                  <a:lnTo>
                    <a:pt x="698" y="1342"/>
                  </a:lnTo>
                  <a:lnTo>
                    <a:pt x="702" y="1344"/>
                  </a:lnTo>
                  <a:lnTo>
                    <a:pt x="704" y="1348"/>
                  </a:lnTo>
                  <a:lnTo>
                    <a:pt x="700" y="1346"/>
                  </a:lnTo>
                  <a:lnTo>
                    <a:pt x="696" y="1344"/>
                  </a:lnTo>
                  <a:lnTo>
                    <a:pt x="692" y="1344"/>
                  </a:lnTo>
                  <a:lnTo>
                    <a:pt x="684" y="1344"/>
                  </a:lnTo>
                  <a:lnTo>
                    <a:pt x="676" y="1346"/>
                  </a:lnTo>
                  <a:lnTo>
                    <a:pt x="668" y="1350"/>
                  </a:lnTo>
                  <a:lnTo>
                    <a:pt x="664" y="1354"/>
                  </a:lnTo>
                  <a:lnTo>
                    <a:pt x="662" y="1356"/>
                  </a:lnTo>
                  <a:lnTo>
                    <a:pt x="662" y="1358"/>
                  </a:lnTo>
                  <a:lnTo>
                    <a:pt x="664" y="1358"/>
                  </a:lnTo>
                  <a:lnTo>
                    <a:pt x="658" y="1358"/>
                  </a:lnTo>
                  <a:lnTo>
                    <a:pt x="654" y="1358"/>
                  </a:lnTo>
                  <a:lnTo>
                    <a:pt x="652" y="1358"/>
                  </a:lnTo>
                  <a:lnTo>
                    <a:pt x="652" y="1360"/>
                  </a:lnTo>
                  <a:lnTo>
                    <a:pt x="654" y="1362"/>
                  </a:lnTo>
                  <a:lnTo>
                    <a:pt x="652" y="1364"/>
                  </a:lnTo>
                  <a:lnTo>
                    <a:pt x="646" y="1362"/>
                  </a:lnTo>
                  <a:lnTo>
                    <a:pt x="628" y="1360"/>
                  </a:lnTo>
                  <a:lnTo>
                    <a:pt x="628" y="1362"/>
                  </a:lnTo>
                  <a:lnTo>
                    <a:pt x="632" y="1366"/>
                  </a:lnTo>
                  <a:lnTo>
                    <a:pt x="632" y="1368"/>
                  </a:lnTo>
                  <a:lnTo>
                    <a:pt x="626" y="1370"/>
                  </a:lnTo>
                  <a:lnTo>
                    <a:pt x="622" y="1370"/>
                  </a:lnTo>
                  <a:lnTo>
                    <a:pt x="624" y="1372"/>
                  </a:lnTo>
                  <a:lnTo>
                    <a:pt x="628" y="1374"/>
                  </a:lnTo>
                  <a:lnTo>
                    <a:pt x="632" y="1376"/>
                  </a:lnTo>
                  <a:lnTo>
                    <a:pt x="644" y="1376"/>
                  </a:lnTo>
                  <a:lnTo>
                    <a:pt x="660" y="1378"/>
                  </a:lnTo>
                  <a:lnTo>
                    <a:pt x="666" y="1378"/>
                  </a:lnTo>
                  <a:lnTo>
                    <a:pt x="674" y="1382"/>
                  </a:lnTo>
                  <a:lnTo>
                    <a:pt x="682" y="1386"/>
                  </a:lnTo>
                  <a:lnTo>
                    <a:pt x="680" y="1386"/>
                  </a:lnTo>
                  <a:lnTo>
                    <a:pt x="672" y="1384"/>
                  </a:lnTo>
                  <a:lnTo>
                    <a:pt x="668" y="1384"/>
                  </a:lnTo>
                  <a:lnTo>
                    <a:pt x="664" y="1386"/>
                  </a:lnTo>
                  <a:lnTo>
                    <a:pt x="662" y="1386"/>
                  </a:lnTo>
                  <a:lnTo>
                    <a:pt x="660" y="1386"/>
                  </a:lnTo>
                  <a:lnTo>
                    <a:pt x="654" y="1382"/>
                  </a:lnTo>
                  <a:lnTo>
                    <a:pt x="648" y="1380"/>
                  </a:lnTo>
                  <a:lnTo>
                    <a:pt x="644" y="1378"/>
                  </a:lnTo>
                  <a:lnTo>
                    <a:pt x="638" y="1380"/>
                  </a:lnTo>
                  <a:lnTo>
                    <a:pt x="630" y="1384"/>
                  </a:lnTo>
                  <a:lnTo>
                    <a:pt x="624" y="1390"/>
                  </a:lnTo>
                  <a:lnTo>
                    <a:pt x="622" y="1394"/>
                  </a:lnTo>
                  <a:lnTo>
                    <a:pt x="624" y="1396"/>
                  </a:lnTo>
                  <a:lnTo>
                    <a:pt x="626" y="1398"/>
                  </a:lnTo>
                  <a:lnTo>
                    <a:pt x="632" y="1404"/>
                  </a:lnTo>
                  <a:lnTo>
                    <a:pt x="628" y="1406"/>
                  </a:lnTo>
                  <a:lnTo>
                    <a:pt x="622" y="1410"/>
                  </a:lnTo>
                  <a:lnTo>
                    <a:pt x="622" y="1412"/>
                  </a:lnTo>
                  <a:lnTo>
                    <a:pt x="624" y="1412"/>
                  </a:lnTo>
                  <a:lnTo>
                    <a:pt x="628" y="1416"/>
                  </a:lnTo>
                  <a:lnTo>
                    <a:pt x="626" y="1418"/>
                  </a:lnTo>
                  <a:lnTo>
                    <a:pt x="626" y="1420"/>
                  </a:lnTo>
                  <a:lnTo>
                    <a:pt x="624" y="1424"/>
                  </a:lnTo>
                  <a:lnTo>
                    <a:pt x="626" y="1426"/>
                  </a:lnTo>
                  <a:lnTo>
                    <a:pt x="628" y="1428"/>
                  </a:lnTo>
                  <a:lnTo>
                    <a:pt x="632" y="1430"/>
                  </a:lnTo>
                  <a:lnTo>
                    <a:pt x="636" y="1430"/>
                  </a:lnTo>
                  <a:lnTo>
                    <a:pt x="642" y="1430"/>
                  </a:lnTo>
                  <a:lnTo>
                    <a:pt x="648" y="1428"/>
                  </a:lnTo>
                  <a:lnTo>
                    <a:pt x="654" y="1424"/>
                  </a:lnTo>
                  <a:lnTo>
                    <a:pt x="660" y="1424"/>
                  </a:lnTo>
                  <a:lnTo>
                    <a:pt x="670" y="1426"/>
                  </a:lnTo>
                  <a:lnTo>
                    <a:pt x="678" y="1428"/>
                  </a:lnTo>
                  <a:lnTo>
                    <a:pt x="680" y="1426"/>
                  </a:lnTo>
                  <a:lnTo>
                    <a:pt x="684" y="1422"/>
                  </a:lnTo>
                  <a:lnTo>
                    <a:pt x="686" y="1420"/>
                  </a:lnTo>
                  <a:lnTo>
                    <a:pt x="688" y="1418"/>
                  </a:lnTo>
                  <a:lnTo>
                    <a:pt x="692" y="1420"/>
                  </a:lnTo>
                  <a:lnTo>
                    <a:pt x="700" y="1424"/>
                  </a:lnTo>
                  <a:lnTo>
                    <a:pt x="704" y="1426"/>
                  </a:lnTo>
                  <a:lnTo>
                    <a:pt x="710" y="1426"/>
                  </a:lnTo>
                  <a:lnTo>
                    <a:pt x="720" y="1424"/>
                  </a:lnTo>
                  <a:lnTo>
                    <a:pt x="726" y="1424"/>
                  </a:lnTo>
                  <a:lnTo>
                    <a:pt x="726" y="1426"/>
                  </a:lnTo>
                  <a:lnTo>
                    <a:pt x="724" y="1426"/>
                  </a:lnTo>
                  <a:lnTo>
                    <a:pt x="716" y="1430"/>
                  </a:lnTo>
                  <a:lnTo>
                    <a:pt x="710" y="1432"/>
                  </a:lnTo>
                  <a:lnTo>
                    <a:pt x="708" y="1434"/>
                  </a:lnTo>
                  <a:lnTo>
                    <a:pt x="708" y="1436"/>
                  </a:lnTo>
                  <a:lnTo>
                    <a:pt x="708" y="1438"/>
                  </a:lnTo>
                  <a:lnTo>
                    <a:pt x="708" y="1440"/>
                  </a:lnTo>
                  <a:lnTo>
                    <a:pt x="700" y="1434"/>
                  </a:lnTo>
                  <a:lnTo>
                    <a:pt x="694" y="1428"/>
                  </a:lnTo>
                  <a:lnTo>
                    <a:pt x="690" y="1428"/>
                  </a:lnTo>
                  <a:lnTo>
                    <a:pt x="688" y="1428"/>
                  </a:lnTo>
                  <a:lnTo>
                    <a:pt x="686" y="1430"/>
                  </a:lnTo>
                  <a:lnTo>
                    <a:pt x="682" y="1434"/>
                  </a:lnTo>
                  <a:lnTo>
                    <a:pt x="680" y="1434"/>
                  </a:lnTo>
                  <a:lnTo>
                    <a:pt x="676" y="1432"/>
                  </a:lnTo>
                  <a:lnTo>
                    <a:pt x="672" y="1430"/>
                  </a:lnTo>
                  <a:lnTo>
                    <a:pt x="666" y="1430"/>
                  </a:lnTo>
                  <a:lnTo>
                    <a:pt x="656" y="1432"/>
                  </a:lnTo>
                  <a:lnTo>
                    <a:pt x="646" y="1436"/>
                  </a:lnTo>
                  <a:lnTo>
                    <a:pt x="640" y="1436"/>
                  </a:lnTo>
                  <a:lnTo>
                    <a:pt x="636" y="1436"/>
                  </a:lnTo>
                  <a:lnTo>
                    <a:pt x="626" y="1434"/>
                  </a:lnTo>
                  <a:lnTo>
                    <a:pt x="624" y="1436"/>
                  </a:lnTo>
                  <a:lnTo>
                    <a:pt x="626" y="1442"/>
                  </a:lnTo>
                  <a:lnTo>
                    <a:pt x="626" y="1446"/>
                  </a:lnTo>
                  <a:lnTo>
                    <a:pt x="626" y="1448"/>
                  </a:lnTo>
                  <a:lnTo>
                    <a:pt x="632" y="1448"/>
                  </a:lnTo>
                  <a:lnTo>
                    <a:pt x="636" y="1448"/>
                  </a:lnTo>
                  <a:lnTo>
                    <a:pt x="636" y="1450"/>
                  </a:lnTo>
                  <a:lnTo>
                    <a:pt x="638" y="1454"/>
                  </a:lnTo>
                  <a:lnTo>
                    <a:pt x="636" y="1456"/>
                  </a:lnTo>
                  <a:lnTo>
                    <a:pt x="630" y="1454"/>
                  </a:lnTo>
                  <a:lnTo>
                    <a:pt x="626" y="1454"/>
                  </a:lnTo>
                  <a:lnTo>
                    <a:pt x="624" y="1454"/>
                  </a:lnTo>
                  <a:lnTo>
                    <a:pt x="626" y="1458"/>
                  </a:lnTo>
                  <a:lnTo>
                    <a:pt x="628" y="1460"/>
                  </a:lnTo>
                  <a:lnTo>
                    <a:pt x="630" y="1462"/>
                  </a:lnTo>
                  <a:lnTo>
                    <a:pt x="634" y="1462"/>
                  </a:lnTo>
                  <a:lnTo>
                    <a:pt x="638" y="1462"/>
                  </a:lnTo>
                  <a:lnTo>
                    <a:pt x="640" y="1464"/>
                  </a:lnTo>
                  <a:lnTo>
                    <a:pt x="638" y="1468"/>
                  </a:lnTo>
                  <a:lnTo>
                    <a:pt x="638" y="1472"/>
                  </a:lnTo>
                  <a:lnTo>
                    <a:pt x="636" y="1476"/>
                  </a:lnTo>
                  <a:lnTo>
                    <a:pt x="630" y="1478"/>
                  </a:lnTo>
                  <a:lnTo>
                    <a:pt x="626" y="1480"/>
                  </a:lnTo>
                  <a:lnTo>
                    <a:pt x="626" y="1482"/>
                  </a:lnTo>
                  <a:lnTo>
                    <a:pt x="636" y="1490"/>
                  </a:lnTo>
                  <a:lnTo>
                    <a:pt x="638" y="1492"/>
                  </a:lnTo>
                  <a:lnTo>
                    <a:pt x="642" y="1490"/>
                  </a:lnTo>
                  <a:lnTo>
                    <a:pt x="646" y="1488"/>
                  </a:lnTo>
                  <a:lnTo>
                    <a:pt x="648" y="1490"/>
                  </a:lnTo>
                  <a:lnTo>
                    <a:pt x="650" y="1494"/>
                  </a:lnTo>
                  <a:lnTo>
                    <a:pt x="652" y="1492"/>
                  </a:lnTo>
                  <a:lnTo>
                    <a:pt x="654" y="1492"/>
                  </a:lnTo>
                  <a:lnTo>
                    <a:pt x="654" y="1496"/>
                  </a:lnTo>
                  <a:lnTo>
                    <a:pt x="654" y="1500"/>
                  </a:lnTo>
                  <a:lnTo>
                    <a:pt x="654" y="1502"/>
                  </a:lnTo>
                  <a:lnTo>
                    <a:pt x="656" y="1502"/>
                  </a:lnTo>
                  <a:lnTo>
                    <a:pt x="658" y="1502"/>
                  </a:lnTo>
                  <a:lnTo>
                    <a:pt x="658" y="1500"/>
                  </a:lnTo>
                  <a:lnTo>
                    <a:pt x="660" y="1494"/>
                  </a:lnTo>
                  <a:lnTo>
                    <a:pt x="662" y="1488"/>
                  </a:lnTo>
                  <a:lnTo>
                    <a:pt x="662" y="1486"/>
                  </a:lnTo>
                  <a:lnTo>
                    <a:pt x="666" y="1486"/>
                  </a:lnTo>
                  <a:lnTo>
                    <a:pt x="668" y="1486"/>
                  </a:lnTo>
                  <a:lnTo>
                    <a:pt x="670" y="1488"/>
                  </a:lnTo>
                  <a:lnTo>
                    <a:pt x="666" y="1496"/>
                  </a:lnTo>
                  <a:lnTo>
                    <a:pt x="660" y="1504"/>
                  </a:lnTo>
                  <a:lnTo>
                    <a:pt x="654" y="1508"/>
                  </a:lnTo>
                  <a:lnTo>
                    <a:pt x="652" y="1510"/>
                  </a:lnTo>
                  <a:lnTo>
                    <a:pt x="650" y="1512"/>
                  </a:lnTo>
                  <a:lnTo>
                    <a:pt x="654" y="1514"/>
                  </a:lnTo>
                  <a:lnTo>
                    <a:pt x="658" y="1518"/>
                  </a:lnTo>
                  <a:lnTo>
                    <a:pt x="658" y="1520"/>
                  </a:lnTo>
                  <a:lnTo>
                    <a:pt x="656" y="1522"/>
                  </a:lnTo>
                  <a:lnTo>
                    <a:pt x="650" y="1524"/>
                  </a:lnTo>
                  <a:lnTo>
                    <a:pt x="648" y="1522"/>
                  </a:lnTo>
                  <a:lnTo>
                    <a:pt x="644" y="1522"/>
                  </a:lnTo>
                  <a:lnTo>
                    <a:pt x="636" y="1526"/>
                  </a:lnTo>
                  <a:lnTo>
                    <a:pt x="632" y="1530"/>
                  </a:lnTo>
                  <a:lnTo>
                    <a:pt x="632" y="1536"/>
                  </a:lnTo>
                  <a:lnTo>
                    <a:pt x="632" y="1540"/>
                  </a:lnTo>
                  <a:lnTo>
                    <a:pt x="634" y="1544"/>
                  </a:lnTo>
                  <a:lnTo>
                    <a:pt x="640" y="1548"/>
                  </a:lnTo>
                  <a:lnTo>
                    <a:pt x="644" y="1548"/>
                  </a:lnTo>
                  <a:lnTo>
                    <a:pt x="646" y="1548"/>
                  </a:lnTo>
                  <a:lnTo>
                    <a:pt x="646" y="1546"/>
                  </a:lnTo>
                  <a:lnTo>
                    <a:pt x="648" y="1546"/>
                  </a:lnTo>
                  <a:lnTo>
                    <a:pt x="650" y="1546"/>
                  </a:lnTo>
                  <a:lnTo>
                    <a:pt x="654" y="1548"/>
                  </a:lnTo>
                  <a:lnTo>
                    <a:pt x="656" y="1544"/>
                  </a:lnTo>
                  <a:lnTo>
                    <a:pt x="658" y="1542"/>
                  </a:lnTo>
                  <a:lnTo>
                    <a:pt x="660" y="1540"/>
                  </a:lnTo>
                  <a:lnTo>
                    <a:pt x="664" y="1542"/>
                  </a:lnTo>
                  <a:lnTo>
                    <a:pt x="666" y="1544"/>
                  </a:lnTo>
                  <a:lnTo>
                    <a:pt x="664" y="1548"/>
                  </a:lnTo>
                  <a:lnTo>
                    <a:pt x="662" y="1548"/>
                  </a:lnTo>
                  <a:lnTo>
                    <a:pt x="660" y="1550"/>
                  </a:lnTo>
                  <a:lnTo>
                    <a:pt x="660" y="1552"/>
                  </a:lnTo>
                  <a:lnTo>
                    <a:pt x="662" y="1554"/>
                  </a:lnTo>
                  <a:lnTo>
                    <a:pt x="664" y="1556"/>
                  </a:lnTo>
                  <a:lnTo>
                    <a:pt x="662" y="1558"/>
                  </a:lnTo>
                  <a:lnTo>
                    <a:pt x="660" y="1560"/>
                  </a:lnTo>
                  <a:lnTo>
                    <a:pt x="660" y="1562"/>
                  </a:lnTo>
                  <a:lnTo>
                    <a:pt x="662" y="1564"/>
                  </a:lnTo>
                  <a:lnTo>
                    <a:pt x="662" y="1568"/>
                  </a:lnTo>
                  <a:lnTo>
                    <a:pt x="658" y="1570"/>
                  </a:lnTo>
                  <a:lnTo>
                    <a:pt x="654" y="1572"/>
                  </a:lnTo>
                  <a:lnTo>
                    <a:pt x="652" y="1570"/>
                  </a:lnTo>
                  <a:lnTo>
                    <a:pt x="648" y="1568"/>
                  </a:lnTo>
                  <a:lnTo>
                    <a:pt x="646" y="1566"/>
                  </a:lnTo>
                  <a:lnTo>
                    <a:pt x="644" y="1576"/>
                  </a:lnTo>
                  <a:lnTo>
                    <a:pt x="642" y="1586"/>
                  </a:lnTo>
                  <a:lnTo>
                    <a:pt x="646" y="1592"/>
                  </a:lnTo>
                  <a:lnTo>
                    <a:pt x="652" y="1598"/>
                  </a:lnTo>
                  <a:lnTo>
                    <a:pt x="658" y="1600"/>
                  </a:lnTo>
                  <a:lnTo>
                    <a:pt x="662" y="1600"/>
                  </a:lnTo>
                  <a:lnTo>
                    <a:pt x="664" y="1604"/>
                  </a:lnTo>
                  <a:lnTo>
                    <a:pt x="668" y="1608"/>
                  </a:lnTo>
                  <a:lnTo>
                    <a:pt x="674" y="1612"/>
                  </a:lnTo>
                  <a:lnTo>
                    <a:pt x="688" y="1616"/>
                  </a:lnTo>
                  <a:lnTo>
                    <a:pt x="690" y="1618"/>
                  </a:lnTo>
                  <a:lnTo>
                    <a:pt x="688" y="1620"/>
                  </a:lnTo>
                  <a:lnTo>
                    <a:pt x="688" y="1624"/>
                  </a:lnTo>
                  <a:lnTo>
                    <a:pt x="690" y="1626"/>
                  </a:lnTo>
                  <a:lnTo>
                    <a:pt x="692" y="1628"/>
                  </a:lnTo>
                  <a:lnTo>
                    <a:pt x="694" y="1628"/>
                  </a:lnTo>
                  <a:lnTo>
                    <a:pt x="696" y="1626"/>
                  </a:lnTo>
                  <a:lnTo>
                    <a:pt x="700" y="1626"/>
                  </a:lnTo>
                  <a:lnTo>
                    <a:pt x="704" y="1630"/>
                  </a:lnTo>
                  <a:lnTo>
                    <a:pt x="706" y="1632"/>
                  </a:lnTo>
                  <a:lnTo>
                    <a:pt x="710" y="1630"/>
                  </a:lnTo>
                  <a:lnTo>
                    <a:pt x="720" y="1628"/>
                  </a:lnTo>
                  <a:lnTo>
                    <a:pt x="734" y="1628"/>
                  </a:lnTo>
                  <a:lnTo>
                    <a:pt x="746" y="1626"/>
                  </a:lnTo>
                  <a:lnTo>
                    <a:pt x="752" y="1624"/>
                  </a:lnTo>
                  <a:lnTo>
                    <a:pt x="756" y="1620"/>
                  </a:lnTo>
                  <a:lnTo>
                    <a:pt x="760" y="1618"/>
                  </a:lnTo>
                  <a:lnTo>
                    <a:pt x="766" y="1614"/>
                  </a:lnTo>
                  <a:lnTo>
                    <a:pt x="774" y="1608"/>
                  </a:lnTo>
                  <a:lnTo>
                    <a:pt x="780" y="1600"/>
                  </a:lnTo>
                  <a:lnTo>
                    <a:pt x="782" y="1596"/>
                  </a:lnTo>
                  <a:lnTo>
                    <a:pt x="784" y="1594"/>
                  </a:lnTo>
                  <a:lnTo>
                    <a:pt x="790" y="1592"/>
                  </a:lnTo>
                  <a:lnTo>
                    <a:pt x="792" y="1592"/>
                  </a:lnTo>
                  <a:lnTo>
                    <a:pt x="794" y="1588"/>
                  </a:lnTo>
                  <a:lnTo>
                    <a:pt x="794" y="1586"/>
                  </a:lnTo>
                  <a:lnTo>
                    <a:pt x="796" y="1586"/>
                  </a:lnTo>
                  <a:lnTo>
                    <a:pt x="800" y="1584"/>
                  </a:lnTo>
                  <a:lnTo>
                    <a:pt x="804" y="1582"/>
                  </a:lnTo>
                  <a:lnTo>
                    <a:pt x="800" y="1578"/>
                  </a:lnTo>
                  <a:lnTo>
                    <a:pt x="798" y="1576"/>
                  </a:lnTo>
                  <a:lnTo>
                    <a:pt x="802" y="1574"/>
                  </a:lnTo>
                  <a:lnTo>
                    <a:pt x="810" y="1572"/>
                  </a:lnTo>
                  <a:lnTo>
                    <a:pt x="812" y="1570"/>
                  </a:lnTo>
                  <a:lnTo>
                    <a:pt x="812" y="1566"/>
                  </a:lnTo>
                  <a:lnTo>
                    <a:pt x="812" y="1562"/>
                  </a:lnTo>
                  <a:lnTo>
                    <a:pt x="816" y="1564"/>
                  </a:lnTo>
                  <a:lnTo>
                    <a:pt x="820" y="1568"/>
                  </a:lnTo>
                  <a:lnTo>
                    <a:pt x="822" y="1570"/>
                  </a:lnTo>
                  <a:lnTo>
                    <a:pt x="824" y="1568"/>
                  </a:lnTo>
                  <a:lnTo>
                    <a:pt x="828" y="1566"/>
                  </a:lnTo>
                  <a:lnTo>
                    <a:pt x="834" y="1566"/>
                  </a:lnTo>
                  <a:lnTo>
                    <a:pt x="838" y="1564"/>
                  </a:lnTo>
                  <a:lnTo>
                    <a:pt x="838" y="1558"/>
                  </a:lnTo>
                  <a:lnTo>
                    <a:pt x="838" y="1554"/>
                  </a:lnTo>
                  <a:lnTo>
                    <a:pt x="840" y="1552"/>
                  </a:lnTo>
                  <a:lnTo>
                    <a:pt x="844" y="1550"/>
                  </a:lnTo>
                  <a:lnTo>
                    <a:pt x="846" y="1548"/>
                  </a:lnTo>
                  <a:lnTo>
                    <a:pt x="842" y="1540"/>
                  </a:lnTo>
                  <a:lnTo>
                    <a:pt x="840" y="1536"/>
                  </a:lnTo>
                  <a:lnTo>
                    <a:pt x="838" y="1532"/>
                  </a:lnTo>
                  <a:lnTo>
                    <a:pt x="840" y="1528"/>
                  </a:lnTo>
                  <a:lnTo>
                    <a:pt x="844" y="1532"/>
                  </a:lnTo>
                  <a:lnTo>
                    <a:pt x="846" y="1534"/>
                  </a:lnTo>
                  <a:lnTo>
                    <a:pt x="848" y="1534"/>
                  </a:lnTo>
                  <a:lnTo>
                    <a:pt x="850" y="1530"/>
                  </a:lnTo>
                  <a:lnTo>
                    <a:pt x="850" y="1528"/>
                  </a:lnTo>
                  <a:lnTo>
                    <a:pt x="852" y="1530"/>
                  </a:lnTo>
                  <a:lnTo>
                    <a:pt x="852" y="1536"/>
                  </a:lnTo>
                  <a:lnTo>
                    <a:pt x="850" y="1538"/>
                  </a:lnTo>
                  <a:lnTo>
                    <a:pt x="850" y="1540"/>
                  </a:lnTo>
                  <a:lnTo>
                    <a:pt x="852" y="1542"/>
                  </a:lnTo>
                  <a:lnTo>
                    <a:pt x="854" y="1548"/>
                  </a:lnTo>
                  <a:lnTo>
                    <a:pt x="854" y="1552"/>
                  </a:lnTo>
                  <a:lnTo>
                    <a:pt x="856" y="1554"/>
                  </a:lnTo>
                  <a:lnTo>
                    <a:pt x="862" y="1556"/>
                  </a:lnTo>
                  <a:lnTo>
                    <a:pt x="866" y="1556"/>
                  </a:lnTo>
                  <a:lnTo>
                    <a:pt x="866" y="1558"/>
                  </a:lnTo>
                  <a:lnTo>
                    <a:pt x="868" y="1558"/>
                  </a:lnTo>
                  <a:lnTo>
                    <a:pt x="876" y="1560"/>
                  </a:lnTo>
                  <a:lnTo>
                    <a:pt x="874" y="1564"/>
                  </a:lnTo>
                  <a:lnTo>
                    <a:pt x="872" y="1566"/>
                  </a:lnTo>
                  <a:lnTo>
                    <a:pt x="872" y="1570"/>
                  </a:lnTo>
                  <a:lnTo>
                    <a:pt x="874" y="1576"/>
                  </a:lnTo>
                  <a:lnTo>
                    <a:pt x="876" y="1584"/>
                  </a:lnTo>
                  <a:lnTo>
                    <a:pt x="876" y="1594"/>
                  </a:lnTo>
                  <a:lnTo>
                    <a:pt x="876" y="1602"/>
                  </a:lnTo>
                  <a:lnTo>
                    <a:pt x="876" y="1608"/>
                  </a:lnTo>
                  <a:lnTo>
                    <a:pt x="878" y="1612"/>
                  </a:lnTo>
                  <a:lnTo>
                    <a:pt x="882" y="1616"/>
                  </a:lnTo>
                  <a:lnTo>
                    <a:pt x="886" y="1616"/>
                  </a:lnTo>
                  <a:lnTo>
                    <a:pt x="890" y="1614"/>
                  </a:lnTo>
                  <a:lnTo>
                    <a:pt x="896" y="1610"/>
                  </a:lnTo>
                  <a:lnTo>
                    <a:pt x="898" y="1612"/>
                  </a:lnTo>
                  <a:lnTo>
                    <a:pt x="900" y="1614"/>
                  </a:lnTo>
                  <a:lnTo>
                    <a:pt x="902" y="1618"/>
                  </a:lnTo>
                  <a:lnTo>
                    <a:pt x="902" y="1622"/>
                  </a:lnTo>
                  <a:lnTo>
                    <a:pt x="900" y="1628"/>
                  </a:lnTo>
                  <a:lnTo>
                    <a:pt x="896" y="1638"/>
                  </a:lnTo>
                  <a:lnTo>
                    <a:pt x="898" y="1644"/>
                  </a:lnTo>
                  <a:lnTo>
                    <a:pt x="900" y="1652"/>
                  </a:lnTo>
                  <a:lnTo>
                    <a:pt x="906" y="1672"/>
                  </a:lnTo>
                  <a:lnTo>
                    <a:pt x="916" y="1694"/>
                  </a:lnTo>
                  <a:lnTo>
                    <a:pt x="928" y="1710"/>
                  </a:lnTo>
                  <a:lnTo>
                    <a:pt x="932" y="1716"/>
                  </a:lnTo>
                  <a:lnTo>
                    <a:pt x="936" y="1716"/>
                  </a:lnTo>
                  <a:lnTo>
                    <a:pt x="942" y="1716"/>
                  </a:lnTo>
                  <a:lnTo>
                    <a:pt x="944" y="1718"/>
                  </a:lnTo>
                  <a:lnTo>
                    <a:pt x="944" y="1720"/>
                  </a:lnTo>
                  <a:lnTo>
                    <a:pt x="942" y="1726"/>
                  </a:lnTo>
                  <a:lnTo>
                    <a:pt x="934" y="1728"/>
                  </a:lnTo>
                  <a:lnTo>
                    <a:pt x="932" y="1730"/>
                  </a:lnTo>
                  <a:lnTo>
                    <a:pt x="934" y="1732"/>
                  </a:lnTo>
                  <a:lnTo>
                    <a:pt x="936" y="1738"/>
                  </a:lnTo>
                  <a:lnTo>
                    <a:pt x="938" y="1742"/>
                  </a:lnTo>
                  <a:lnTo>
                    <a:pt x="932" y="1740"/>
                  </a:lnTo>
                  <a:lnTo>
                    <a:pt x="926" y="1740"/>
                  </a:lnTo>
                  <a:lnTo>
                    <a:pt x="934" y="1752"/>
                  </a:lnTo>
                  <a:lnTo>
                    <a:pt x="940" y="1760"/>
                  </a:lnTo>
                  <a:lnTo>
                    <a:pt x="944" y="1768"/>
                  </a:lnTo>
                  <a:lnTo>
                    <a:pt x="946" y="1778"/>
                  </a:lnTo>
                  <a:lnTo>
                    <a:pt x="946" y="1782"/>
                  </a:lnTo>
                  <a:lnTo>
                    <a:pt x="944" y="1786"/>
                  </a:lnTo>
                  <a:lnTo>
                    <a:pt x="940" y="1792"/>
                  </a:lnTo>
                  <a:lnTo>
                    <a:pt x="942" y="1796"/>
                  </a:lnTo>
                  <a:lnTo>
                    <a:pt x="946" y="1798"/>
                  </a:lnTo>
                  <a:lnTo>
                    <a:pt x="954" y="1798"/>
                  </a:lnTo>
                  <a:lnTo>
                    <a:pt x="972" y="1796"/>
                  </a:lnTo>
                  <a:lnTo>
                    <a:pt x="982" y="1794"/>
                  </a:lnTo>
                  <a:lnTo>
                    <a:pt x="990" y="1794"/>
                  </a:lnTo>
                  <a:lnTo>
                    <a:pt x="996" y="1794"/>
                  </a:lnTo>
                  <a:lnTo>
                    <a:pt x="998" y="1788"/>
                  </a:lnTo>
                  <a:lnTo>
                    <a:pt x="1000" y="1774"/>
                  </a:lnTo>
                  <a:lnTo>
                    <a:pt x="1000" y="1768"/>
                  </a:lnTo>
                  <a:lnTo>
                    <a:pt x="1002" y="1760"/>
                  </a:lnTo>
                  <a:lnTo>
                    <a:pt x="1004" y="1756"/>
                  </a:lnTo>
                  <a:lnTo>
                    <a:pt x="1010" y="1756"/>
                  </a:lnTo>
                  <a:lnTo>
                    <a:pt x="1018" y="1756"/>
                  </a:lnTo>
                  <a:lnTo>
                    <a:pt x="1018" y="1754"/>
                  </a:lnTo>
                  <a:lnTo>
                    <a:pt x="1018" y="1752"/>
                  </a:lnTo>
                  <a:lnTo>
                    <a:pt x="1020" y="1750"/>
                  </a:lnTo>
                  <a:lnTo>
                    <a:pt x="1024" y="1748"/>
                  </a:lnTo>
                  <a:lnTo>
                    <a:pt x="1034" y="1746"/>
                  </a:lnTo>
                  <a:lnTo>
                    <a:pt x="1042" y="1746"/>
                  </a:lnTo>
                  <a:lnTo>
                    <a:pt x="1050" y="1746"/>
                  </a:lnTo>
                  <a:lnTo>
                    <a:pt x="1058" y="1750"/>
                  </a:lnTo>
                  <a:lnTo>
                    <a:pt x="1062" y="1750"/>
                  </a:lnTo>
                  <a:lnTo>
                    <a:pt x="1064" y="1750"/>
                  </a:lnTo>
                  <a:lnTo>
                    <a:pt x="1070" y="1736"/>
                  </a:lnTo>
                  <a:lnTo>
                    <a:pt x="1076" y="1720"/>
                  </a:lnTo>
                  <a:lnTo>
                    <a:pt x="1082" y="1708"/>
                  </a:lnTo>
                  <a:lnTo>
                    <a:pt x="1086" y="1700"/>
                  </a:lnTo>
                  <a:lnTo>
                    <a:pt x="1088" y="1692"/>
                  </a:lnTo>
                  <a:lnTo>
                    <a:pt x="1088" y="1684"/>
                  </a:lnTo>
                  <a:lnTo>
                    <a:pt x="1090" y="1676"/>
                  </a:lnTo>
                  <a:lnTo>
                    <a:pt x="1092" y="1666"/>
                  </a:lnTo>
                  <a:lnTo>
                    <a:pt x="1092" y="1658"/>
                  </a:lnTo>
                  <a:lnTo>
                    <a:pt x="1090" y="1654"/>
                  </a:lnTo>
                  <a:lnTo>
                    <a:pt x="1092" y="1650"/>
                  </a:lnTo>
                  <a:lnTo>
                    <a:pt x="1094" y="1644"/>
                  </a:lnTo>
                  <a:lnTo>
                    <a:pt x="1098" y="1638"/>
                  </a:lnTo>
                  <a:lnTo>
                    <a:pt x="1098" y="1634"/>
                  </a:lnTo>
                  <a:lnTo>
                    <a:pt x="1098" y="1632"/>
                  </a:lnTo>
                  <a:lnTo>
                    <a:pt x="1096" y="1626"/>
                  </a:lnTo>
                  <a:lnTo>
                    <a:pt x="1098" y="1622"/>
                  </a:lnTo>
                  <a:lnTo>
                    <a:pt x="1100" y="1618"/>
                  </a:lnTo>
                  <a:lnTo>
                    <a:pt x="1098" y="1610"/>
                  </a:lnTo>
                  <a:lnTo>
                    <a:pt x="1096" y="1606"/>
                  </a:lnTo>
                  <a:lnTo>
                    <a:pt x="1096" y="1604"/>
                  </a:lnTo>
                  <a:lnTo>
                    <a:pt x="1098" y="1604"/>
                  </a:lnTo>
                  <a:lnTo>
                    <a:pt x="1100" y="1602"/>
                  </a:lnTo>
                  <a:lnTo>
                    <a:pt x="1102" y="1600"/>
                  </a:lnTo>
                  <a:lnTo>
                    <a:pt x="1100" y="1598"/>
                  </a:lnTo>
                  <a:lnTo>
                    <a:pt x="1100" y="1596"/>
                  </a:lnTo>
                  <a:lnTo>
                    <a:pt x="1102" y="1592"/>
                  </a:lnTo>
                  <a:lnTo>
                    <a:pt x="1112" y="1588"/>
                  </a:lnTo>
                  <a:lnTo>
                    <a:pt x="1124" y="1582"/>
                  </a:lnTo>
                  <a:lnTo>
                    <a:pt x="1130" y="1578"/>
                  </a:lnTo>
                  <a:lnTo>
                    <a:pt x="1132" y="1574"/>
                  </a:lnTo>
                  <a:lnTo>
                    <a:pt x="1134" y="1570"/>
                  </a:lnTo>
                  <a:lnTo>
                    <a:pt x="1134" y="1568"/>
                  </a:lnTo>
                  <a:lnTo>
                    <a:pt x="1138" y="1572"/>
                  </a:lnTo>
                  <a:lnTo>
                    <a:pt x="1142" y="1576"/>
                  </a:lnTo>
                  <a:lnTo>
                    <a:pt x="1144" y="1574"/>
                  </a:lnTo>
                  <a:lnTo>
                    <a:pt x="1146" y="1572"/>
                  </a:lnTo>
                  <a:lnTo>
                    <a:pt x="1152" y="1566"/>
                  </a:lnTo>
                  <a:lnTo>
                    <a:pt x="1158" y="1562"/>
                  </a:lnTo>
                  <a:lnTo>
                    <a:pt x="1164" y="1560"/>
                  </a:lnTo>
                  <a:lnTo>
                    <a:pt x="1164" y="1558"/>
                  </a:lnTo>
                  <a:lnTo>
                    <a:pt x="1164" y="1556"/>
                  </a:lnTo>
                  <a:lnTo>
                    <a:pt x="1166" y="1554"/>
                  </a:lnTo>
                  <a:lnTo>
                    <a:pt x="1170" y="1552"/>
                  </a:lnTo>
                  <a:lnTo>
                    <a:pt x="1172" y="1550"/>
                  </a:lnTo>
                  <a:lnTo>
                    <a:pt x="1172" y="1548"/>
                  </a:lnTo>
                  <a:lnTo>
                    <a:pt x="1172" y="1546"/>
                  </a:lnTo>
                  <a:lnTo>
                    <a:pt x="1170" y="1542"/>
                  </a:lnTo>
                  <a:lnTo>
                    <a:pt x="1168" y="1540"/>
                  </a:lnTo>
                  <a:lnTo>
                    <a:pt x="1164" y="1540"/>
                  </a:lnTo>
                  <a:lnTo>
                    <a:pt x="1152" y="1546"/>
                  </a:lnTo>
                  <a:lnTo>
                    <a:pt x="1144" y="1550"/>
                  </a:lnTo>
                  <a:lnTo>
                    <a:pt x="1136" y="1550"/>
                  </a:lnTo>
                  <a:lnTo>
                    <a:pt x="1128" y="1550"/>
                  </a:lnTo>
                  <a:lnTo>
                    <a:pt x="1122" y="1546"/>
                  </a:lnTo>
                  <a:lnTo>
                    <a:pt x="1112" y="1540"/>
                  </a:lnTo>
                  <a:lnTo>
                    <a:pt x="1104" y="1538"/>
                  </a:lnTo>
                  <a:lnTo>
                    <a:pt x="1094" y="1538"/>
                  </a:lnTo>
                  <a:lnTo>
                    <a:pt x="1086" y="1538"/>
                  </a:lnTo>
                  <a:lnTo>
                    <a:pt x="1076" y="1538"/>
                  </a:lnTo>
                  <a:lnTo>
                    <a:pt x="1084" y="1534"/>
                  </a:lnTo>
                  <a:lnTo>
                    <a:pt x="1092" y="1530"/>
                  </a:lnTo>
                  <a:lnTo>
                    <a:pt x="1098" y="1530"/>
                  </a:lnTo>
                  <a:lnTo>
                    <a:pt x="1110" y="1530"/>
                  </a:lnTo>
                  <a:lnTo>
                    <a:pt x="1118" y="1534"/>
                  </a:lnTo>
                  <a:lnTo>
                    <a:pt x="1122" y="1534"/>
                  </a:lnTo>
                  <a:lnTo>
                    <a:pt x="1124" y="1532"/>
                  </a:lnTo>
                  <a:lnTo>
                    <a:pt x="1126" y="1532"/>
                  </a:lnTo>
                  <a:lnTo>
                    <a:pt x="1128" y="1532"/>
                  </a:lnTo>
                  <a:lnTo>
                    <a:pt x="1134" y="1538"/>
                  </a:lnTo>
                  <a:lnTo>
                    <a:pt x="1142" y="1544"/>
                  </a:lnTo>
                  <a:lnTo>
                    <a:pt x="1146" y="1544"/>
                  </a:lnTo>
                  <a:lnTo>
                    <a:pt x="1150" y="1542"/>
                  </a:lnTo>
                  <a:lnTo>
                    <a:pt x="1178" y="1528"/>
                  </a:lnTo>
                  <a:lnTo>
                    <a:pt x="1190" y="1518"/>
                  </a:lnTo>
                  <a:lnTo>
                    <a:pt x="1192" y="1516"/>
                  </a:lnTo>
                  <a:lnTo>
                    <a:pt x="1192" y="1512"/>
                  </a:lnTo>
                  <a:lnTo>
                    <a:pt x="1184" y="1500"/>
                  </a:lnTo>
                  <a:lnTo>
                    <a:pt x="1178" y="1496"/>
                  </a:lnTo>
                  <a:lnTo>
                    <a:pt x="1172" y="1496"/>
                  </a:lnTo>
                  <a:lnTo>
                    <a:pt x="1168" y="1496"/>
                  </a:lnTo>
                  <a:lnTo>
                    <a:pt x="1168" y="1494"/>
                  </a:lnTo>
                  <a:lnTo>
                    <a:pt x="1168" y="1490"/>
                  </a:lnTo>
                  <a:lnTo>
                    <a:pt x="1170" y="1484"/>
                  </a:lnTo>
                  <a:lnTo>
                    <a:pt x="1168" y="1482"/>
                  </a:lnTo>
                  <a:lnTo>
                    <a:pt x="1164" y="1480"/>
                  </a:lnTo>
                  <a:lnTo>
                    <a:pt x="1158" y="1476"/>
                  </a:lnTo>
                  <a:lnTo>
                    <a:pt x="1154" y="1472"/>
                  </a:lnTo>
                  <a:lnTo>
                    <a:pt x="1148" y="1468"/>
                  </a:lnTo>
                  <a:lnTo>
                    <a:pt x="1144" y="1466"/>
                  </a:lnTo>
                  <a:lnTo>
                    <a:pt x="1138" y="1468"/>
                  </a:lnTo>
                  <a:lnTo>
                    <a:pt x="1132" y="1468"/>
                  </a:lnTo>
                  <a:lnTo>
                    <a:pt x="1132" y="1466"/>
                  </a:lnTo>
                  <a:lnTo>
                    <a:pt x="1132" y="1462"/>
                  </a:lnTo>
                  <a:lnTo>
                    <a:pt x="1130" y="1462"/>
                  </a:lnTo>
                  <a:lnTo>
                    <a:pt x="1126" y="1460"/>
                  </a:lnTo>
                  <a:lnTo>
                    <a:pt x="1124" y="1460"/>
                  </a:lnTo>
                  <a:lnTo>
                    <a:pt x="1122" y="1458"/>
                  </a:lnTo>
                  <a:lnTo>
                    <a:pt x="1118" y="1450"/>
                  </a:lnTo>
                  <a:lnTo>
                    <a:pt x="1116" y="1440"/>
                  </a:lnTo>
                  <a:lnTo>
                    <a:pt x="1116" y="1428"/>
                  </a:lnTo>
                  <a:lnTo>
                    <a:pt x="1116" y="1416"/>
                  </a:lnTo>
                  <a:lnTo>
                    <a:pt x="1116" y="1406"/>
                  </a:lnTo>
                  <a:lnTo>
                    <a:pt x="1120" y="1398"/>
                  </a:lnTo>
                  <a:lnTo>
                    <a:pt x="1120" y="1396"/>
                  </a:lnTo>
                  <a:lnTo>
                    <a:pt x="1124" y="1396"/>
                  </a:lnTo>
                  <a:lnTo>
                    <a:pt x="1126" y="1394"/>
                  </a:lnTo>
                  <a:lnTo>
                    <a:pt x="1128" y="1392"/>
                  </a:lnTo>
                  <a:lnTo>
                    <a:pt x="1126" y="1386"/>
                  </a:lnTo>
                  <a:lnTo>
                    <a:pt x="1126" y="1374"/>
                  </a:lnTo>
                  <a:lnTo>
                    <a:pt x="1126" y="1368"/>
                  </a:lnTo>
                  <a:lnTo>
                    <a:pt x="1128" y="1360"/>
                  </a:lnTo>
                  <a:lnTo>
                    <a:pt x="1132" y="1356"/>
                  </a:lnTo>
                  <a:lnTo>
                    <a:pt x="1132" y="1352"/>
                  </a:lnTo>
                  <a:lnTo>
                    <a:pt x="1130" y="1352"/>
                  </a:lnTo>
                  <a:lnTo>
                    <a:pt x="1128" y="1350"/>
                  </a:lnTo>
                  <a:lnTo>
                    <a:pt x="1124" y="1350"/>
                  </a:lnTo>
                  <a:lnTo>
                    <a:pt x="1122" y="1348"/>
                  </a:lnTo>
                  <a:lnTo>
                    <a:pt x="1122" y="1342"/>
                  </a:lnTo>
                  <a:lnTo>
                    <a:pt x="1122" y="1336"/>
                  </a:lnTo>
                  <a:lnTo>
                    <a:pt x="1124" y="1338"/>
                  </a:lnTo>
                  <a:lnTo>
                    <a:pt x="1130" y="1340"/>
                  </a:lnTo>
                  <a:lnTo>
                    <a:pt x="1136" y="1340"/>
                  </a:lnTo>
                  <a:lnTo>
                    <a:pt x="1142" y="1338"/>
                  </a:lnTo>
                  <a:lnTo>
                    <a:pt x="1148" y="1334"/>
                  </a:lnTo>
                  <a:lnTo>
                    <a:pt x="1148" y="1332"/>
                  </a:lnTo>
                  <a:lnTo>
                    <a:pt x="1148" y="1330"/>
                  </a:lnTo>
                  <a:lnTo>
                    <a:pt x="1146" y="1326"/>
                  </a:lnTo>
                  <a:lnTo>
                    <a:pt x="1144" y="1324"/>
                  </a:lnTo>
                  <a:lnTo>
                    <a:pt x="1142" y="1322"/>
                  </a:lnTo>
                  <a:lnTo>
                    <a:pt x="1144" y="1322"/>
                  </a:lnTo>
                  <a:lnTo>
                    <a:pt x="1152" y="1320"/>
                  </a:lnTo>
                  <a:lnTo>
                    <a:pt x="1160" y="1318"/>
                  </a:lnTo>
                  <a:lnTo>
                    <a:pt x="1166" y="1312"/>
                  </a:lnTo>
                  <a:lnTo>
                    <a:pt x="1170" y="1308"/>
                  </a:lnTo>
                  <a:lnTo>
                    <a:pt x="1172" y="1302"/>
                  </a:lnTo>
                  <a:lnTo>
                    <a:pt x="1178" y="1294"/>
                  </a:lnTo>
                  <a:lnTo>
                    <a:pt x="1180" y="1292"/>
                  </a:lnTo>
                  <a:lnTo>
                    <a:pt x="1186" y="1292"/>
                  </a:lnTo>
                  <a:lnTo>
                    <a:pt x="1190" y="1294"/>
                  </a:lnTo>
                  <a:lnTo>
                    <a:pt x="1194" y="1292"/>
                  </a:lnTo>
                  <a:lnTo>
                    <a:pt x="1196" y="1286"/>
                  </a:lnTo>
                  <a:lnTo>
                    <a:pt x="1200" y="1278"/>
                  </a:lnTo>
                  <a:lnTo>
                    <a:pt x="1204" y="1274"/>
                  </a:lnTo>
                  <a:lnTo>
                    <a:pt x="1208" y="1274"/>
                  </a:lnTo>
                  <a:lnTo>
                    <a:pt x="1214" y="1274"/>
                  </a:lnTo>
                  <a:lnTo>
                    <a:pt x="1218" y="1274"/>
                  </a:lnTo>
                  <a:lnTo>
                    <a:pt x="1222" y="1268"/>
                  </a:lnTo>
                  <a:lnTo>
                    <a:pt x="1226" y="1264"/>
                  </a:lnTo>
                  <a:lnTo>
                    <a:pt x="1228" y="1264"/>
                  </a:lnTo>
                  <a:lnTo>
                    <a:pt x="1232" y="1264"/>
                  </a:lnTo>
                  <a:lnTo>
                    <a:pt x="1236" y="1264"/>
                  </a:lnTo>
                  <a:lnTo>
                    <a:pt x="1238" y="1264"/>
                  </a:lnTo>
                  <a:lnTo>
                    <a:pt x="1240" y="1260"/>
                  </a:lnTo>
                  <a:lnTo>
                    <a:pt x="1244" y="1254"/>
                  </a:lnTo>
                  <a:lnTo>
                    <a:pt x="1246" y="1254"/>
                  </a:lnTo>
                  <a:lnTo>
                    <a:pt x="1250" y="1254"/>
                  </a:lnTo>
                  <a:lnTo>
                    <a:pt x="1254" y="1252"/>
                  </a:lnTo>
                  <a:lnTo>
                    <a:pt x="1258" y="1250"/>
                  </a:lnTo>
                  <a:lnTo>
                    <a:pt x="1262" y="1240"/>
                  </a:lnTo>
                  <a:lnTo>
                    <a:pt x="1268" y="1226"/>
                  </a:lnTo>
                  <a:lnTo>
                    <a:pt x="1274" y="1220"/>
                  </a:lnTo>
                  <a:lnTo>
                    <a:pt x="1284" y="1214"/>
                  </a:lnTo>
                  <a:lnTo>
                    <a:pt x="1290" y="1208"/>
                  </a:lnTo>
                  <a:lnTo>
                    <a:pt x="1292" y="1206"/>
                  </a:lnTo>
                  <a:lnTo>
                    <a:pt x="1292" y="1204"/>
                  </a:lnTo>
                  <a:lnTo>
                    <a:pt x="1290" y="1202"/>
                  </a:lnTo>
                  <a:lnTo>
                    <a:pt x="1284" y="1198"/>
                  </a:lnTo>
                  <a:lnTo>
                    <a:pt x="1280" y="1194"/>
                  </a:lnTo>
                  <a:lnTo>
                    <a:pt x="1276" y="1190"/>
                  </a:lnTo>
                  <a:lnTo>
                    <a:pt x="1276" y="1184"/>
                  </a:lnTo>
                  <a:lnTo>
                    <a:pt x="1276" y="1180"/>
                  </a:lnTo>
                  <a:lnTo>
                    <a:pt x="1282" y="1174"/>
                  </a:lnTo>
                  <a:lnTo>
                    <a:pt x="1288" y="1168"/>
                  </a:lnTo>
                  <a:lnTo>
                    <a:pt x="1290" y="1164"/>
                  </a:lnTo>
                  <a:lnTo>
                    <a:pt x="1292" y="1156"/>
                  </a:lnTo>
                  <a:lnTo>
                    <a:pt x="1292" y="1150"/>
                  </a:lnTo>
                  <a:lnTo>
                    <a:pt x="1294" y="1146"/>
                  </a:lnTo>
                  <a:lnTo>
                    <a:pt x="1298" y="1144"/>
                  </a:lnTo>
                  <a:lnTo>
                    <a:pt x="1300" y="1144"/>
                  </a:lnTo>
                  <a:lnTo>
                    <a:pt x="1306" y="1142"/>
                  </a:lnTo>
                  <a:lnTo>
                    <a:pt x="1310" y="1140"/>
                  </a:lnTo>
                  <a:lnTo>
                    <a:pt x="1310" y="1138"/>
                  </a:lnTo>
                  <a:lnTo>
                    <a:pt x="1314" y="1132"/>
                  </a:lnTo>
                  <a:lnTo>
                    <a:pt x="1320" y="1126"/>
                  </a:lnTo>
                  <a:lnTo>
                    <a:pt x="1338" y="1114"/>
                  </a:lnTo>
                  <a:lnTo>
                    <a:pt x="1340" y="1112"/>
                  </a:lnTo>
                  <a:lnTo>
                    <a:pt x="1344" y="1112"/>
                  </a:lnTo>
                  <a:lnTo>
                    <a:pt x="1346" y="1116"/>
                  </a:lnTo>
                  <a:lnTo>
                    <a:pt x="1348" y="1118"/>
                  </a:lnTo>
                  <a:lnTo>
                    <a:pt x="1350" y="1120"/>
                  </a:lnTo>
                  <a:lnTo>
                    <a:pt x="1354" y="1120"/>
                  </a:lnTo>
                  <a:lnTo>
                    <a:pt x="1358" y="1118"/>
                  </a:lnTo>
                  <a:lnTo>
                    <a:pt x="1364" y="1116"/>
                  </a:lnTo>
                  <a:lnTo>
                    <a:pt x="1368" y="1116"/>
                  </a:lnTo>
                  <a:lnTo>
                    <a:pt x="1378" y="1116"/>
                  </a:lnTo>
                  <a:lnTo>
                    <a:pt x="1386" y="1116"/>
                  </a:lnTo>
                  <a:lnTo>
                    <a:pt x="1392" y="1116"/>
                  </a:lnTo>
                  <a:lnTo>
                    <a:pt x="1396" y="1114"/>
                  </a:lnTo>
                  <a:lnTo>
                    <a:pt x="1408" y="1116"/>
                  </a:lnTo>
                  <a:lnTo>
                    <a:pt x="1414" y="1120"/>
                  </a:lnTo>
                  <a:lnTo>
                    <a:pt x="1418" y="1124"/>
                  </a:lnTo>
                  <a:lnTo>
                    <a:pt x="1428" y="1126"/>
                  </a:lnTo>
                  <a:lnTo>
                    <a:pt x="1438" y="1130"/>
                  </a:lnTo>
                  <a:lnTo>
                    <a:pt x="1440" y="1134"/>
                  </a:lnTo>
                  <a:lnTo>
                    <a:pt x="1442" y="1136"/>
                  </a:lnTo>
                  <a:lnTo>
                    <a:pt x="1442" y="1144"/>
                  </a:lnTo>
                  <a:lnTo>
                    <a:pt x="1440" y="1154"/>
                  </a:lnTo>
                  <a:lnTo>
                    <a:pt x="1440" y="1162"/>
                  </a:lnTo>
                  <a:lnTo>
                    <a:pt x="1442" y="1166"/>
                  </a:lnTo>
                  <a:lnTo>
                    <a:pt x="1446" y="1168"/>
                  </a:lnTo>
                  <a:lnTo>
                    <a:pt x="1444" y="1174"/>
                  </a:lnTo>
                  <a:lnTo>
                    <a:pt x="1442" y="1176"/>
                  </a:lnTo>
                  <a:lnTo>
                    <a:pt x="1440" y="1176"/>
                  </a:lnTo>
                  <a:lnTo>
                    <a:pt x="1434" y="1176"/>
                  </a:lnTo>
                  <a:lnTo>
                    <a:pt x="1422" y="1178"/>
                  </a:lnTo>
                  <a:lnTo>
                    <a:pt x="1416" y="1180"/>
                  </a:lnTo>
                  <a:lnTo>
                    <a:pt x="1412" y="1184"/>
                  </a:lnTo>
                  <a:lnTo>
                    <a:pt x="1406" y="1196"/>
                  </a:lnTo>
                  <a:lnTo>
                    <a:pt x="1398" y="1208"/>
                  </a:lnTo>
                  <a:lnTo>
                    <a:pt x="1390" y="1216"/>
                  </a:lnTo>
                  <a:lnTo>
                    <a:pt x="1382" y="1222"/>
                  </a:lnTo>
                  <a:lnTo>
                    <a:pt x="1372" y="1228"/>
                  </a:lnTo>
                  <a:lnTo>
                    <a:pt x="1368" y="1232"/>
                  </a:lnTo>
                  <a:lnTo>
                    <a:pt x="1366" y="1236"/>
                  </a:lnTo>
                  <a:lnTo>
                    <a:pt x="1366" y="1238"/>
                  </a:lnTo>
                  <a:lnTo>
                    <a:pt x="1366" y="1242"/>
                  </a:lnTo>
                  <a:lnTo>
                    <a:pt x="1358" y="1244"/>
                  </a:lnTo>
                  <a:lnTo>
                    <a:pt x="1354" y="1246"/>
                  </a:lnTo>
                  <a:lnTo>
                    <a:pt x="1350" y="1248"/>
                  </a:lnTo>
                  <a:lnTo>
                    <a:pt x="1346" y="1254"/>
                  </a:lnTo>
                  <a:lnTo>
                    <a:pt x="1344" y="1258"/>
                  </a:lnTo>
                  <a:lnTo>
                    <a:pt x="1342" y="1260"/>
                  </a:lnTo>
                  <a:lnTo>
                    <a:pt x="1338" y="1260"/>
                  </a:lnTo>
                  <a:lnTo>
                    <a:pt x="1334" y="1260"/>
                  </a:lnTo>
                  <a:lnTo>
                    <a:pt x="1332" y="1260"/>
                  </a:lnTo>
                  <a:lnTo>
                    <a:pt x="1328" y="1264"/>
                  </a:lnTo>
                  <a:lnTo>
                    <a:pt x="1326" y="1268"/>
                  </a:lnTo>
                  <a:lnTo>
                    <a:pt x="1324" y="1270"/>
                  </a:lnTo>
                  <a:lnTo>
                    <a:pt x="1322" y="1270"/>
                  </a:lnTo>
                  <a:lnTo>
                    <a:pt x="1320" y="1272"/>
                  </a:lnTo>
                  <a:lnTo>
                    <a:pt x="1318" y="1272"/>
                  </a:lnTo>
                  <a:lnTo>
                    <a:pt x="1318" y="1278"/>
                  </a:lnTo>
                  <a:lnTo>
                    <a:pt x="1318" y="1286"/>
                  </a:lnTo>
                  <a:lnTo>
                    <a:pt x="1318" y="1288"/>
                  </a:lnTo>
                  <a:lnTo>
                    <a:pt x="1314" y="1292"/>
                  </a:lnTo>
                  <a:lnTo>
                    <a:pt x="1310" y="1294"/>
                  </a:lnTo>
                  <a:lnTo>
                    <a:pt x="1308" y="1294"/>
                  </a:lnTo>
                  <a:lnTo>
                    <a:pt x="1300" y="1292"/>
                  </a:lnTo>
                  <a:lnTo>
                    <a:pt x="1294" y="1290"/>
                  </a:lnTo>
                  <a:lnTo>
                    <a:pt x="1292" y="1292"/>
                  </a:lnTo>
                  <a:lnTo>
                    <a:pt x="1290" y="1296"/>
                  </a:lnTo>
                  <a:lnTo>
                    <a:pt x="1290" y="1300"/>
                  </a:lnTo>
                  <a:lnTo>
                    <a:pt x="1286" y="1304"/>
                  </a:lnTo>
                  <a:lnTo>
                    <a:pt x="1278" y="1314"/>
                  </a:lnTo>
                  <a:lnTo>
                    <a:pt x="1276" y="1322"/>
                  </a:lnTo>
                  <a:lnTo>
                    <a:pt x="1274" y="1328"/>
                  </a:lnTo>
                  <a:lnTo>
                    <a:pt x="1274" y="1338"/>
                  </a:lnTo>
                  <a:lnTo>
                    <a:pt x="1278" y="1346"/>
                  </a:lnTo>
                  <a:lnTo>
                    <a:pt x="1282" y="1354"/>
                  </a:lnTo>
                  <a:lnTo>
                    <a:pt x="1282" y="1360"/>
                  </a:lnTo>
                  <a:lnTo>
                    <a:pt x="1282" y="1364"/>
                  </a:lnTo>
                  <a:lnTo>
                    <a:pt x="1280" y="1366"/>
                  </a:lnTo>
                  <a:lnTo>
                    <a:pt x="1278" y="1368"/>
                  </a:lnTo>
                  <a:lnTo>
                    <a:pt x="1278" y="1372"/>
                  </a:lnTo>
                  <a:lnTo>
                    <a:pt x="1280" y="1378"/>
                  </a:lnTo>
                  <a:lnTo>
                    <a:pt x="1288" y="1388"/>
                  </a:lnTo>
                  <a:lnTo>
                    <a:pt x="1292" y="1394"/>
                  </a:lnTo>
                  <a:lnTo>
                    <a:pt x="1294" y="1396"/>
                  </a:lnTo>
                  <a:lnTo>
                    <a:pt x="1294" y="1398"/>
                  </a:lnTo>
                  <a:lnTo>
                    <a:pt x="1292" y="1400"/>
                  </a:lnTo>
                  <a:lnTo>
                    <a:pt x="1288" y="1402"/>
                  </a:lnTo>
                  <a:lnTo>
                    <a:pt x="1286" y="1404"/>
                  </a:lnTo>
                  <a:lnTo>
                    <a:pt x="1286" y="1406"/>
                  </a:lnTo>
                  <a:lnTo>
                    <a:pt x="1288" y="1416"/>
                  </a:lnTo>
                  <a:lnTo>
                    <a:pt x="1288" y="1424"/>
                  </a:lnTo>
                  <a:lnTo>
                    <a:pt x="1282" y="1444"/>
                  </a:lnTo>
                  <a:lnTo>
                    <a:pt x="1280" y="1456"/>
                  </a:lnTo>
                  <a:lnTo>
                    <a:pt x="1280" y="1462"/>
                  </a:lnTo>
                  <a:lnTo>
                    <a:pt x="1282" y="1464"/>
                  </a:lnTo>
                  <a:lnTo>
                    <a:pt x="1286" y="1466"/>
                  </a:lnTo>
                  <a:lnTo>
                    <a:pt x="1298" y="1470"/>
                  </a:lnTo>
                  <a:lnTo>
                    <a:pt x="1322" y="1476"/>
                  </a:lnTo>
                  <a:lnTo>
                    <a:pt x="1328" y="1478"/>
                  </a:lnTo>
                  <a:lnTo>
                    <a:pt x="1330" y="1480"/>
                  </a:lnTo>
                  <a:lnTo>
                    <a:pt x="1328" y="1484"/>
                  </a:lnTo>
                  <a:lnTo>
                    <a:pt x="1328" y="1492"/>
                  </a:lnTo>
                  <a:lnTo>
                    <a:pt x="1328" y="1500"/>
                  </a:lnTo>
                  <a:lnTo>
                    <a:pt x="1330" y="1504"/>
                  </a:lnTo>
                  <a:lnTo>
                    <a:pt x="1334" y="1504"/>
                  </a:lnTo>
                  <a:lnTo>
                    <a:pt x="1336" y="1504"/>
                  </a:lnTo>
                  <a:lnTo>
                    <a:pt x="1340" y="1500"/>
                  </a:lnTo>
                  <a:lnTo>
                    <a:pt x="1346" y="1494"/>
                  </a:lnTo>
                  <a:lnTo>
                    <a:pt x="1352" y="1494"/>
                  </a:lnTo>
                  <a:lnTo>
                    <a:pt x="1354" y="1496"/>
                  </a:lnTo>
                  <a:lnTo>
                    <a:pt x="1354" y="1498"/>
                  </a:lnTo>
                  <a:lnTo>
                    <a:pt x="1354" y="1500"/>
                  </a:lnTo>
                  <a:lnTo>
                    <a:pt x="1352" y="1506"/>
                  </a:lnTo>
                  <a:lnTo>
                    <a:pt x="1346" y="1512"/>
                  </a:lnTo>
                  <a:lnTo>
                    <a:pt x="1346" y="1516"/>
                  </a:lnTo>
                  <a:lnTo>
                    <a:pt x="1352" y="1514"/>
                  </a:lnTo>
                  <a:lnTo>
                    <a:pt x="1366" y="1508"/>
                  </a:lnTo>
                  <a:lnTo>
                    <a:pt x="1376" y="1504"/>
                  </a:lnTo>
                  <a:lnTo>
                    <a:pt x="1390" y="1504"/>
                  </a:lnTo>
                  <a:lnTo>
                    <a:pt x="1408" y="1500"/>
                  </a:lnTo>
                  <a:lnTo>
                    <a:pt x="1436" y="1488"/>
                  </a:lnTo>
                  <a:lnTo>
                    <a:pt x="1448" y="1484"/>
                  </a:lnTo>
                  <a:lnTo>
                    <a:pt x="1454" y="1484"/>
                  </a:lnTo>
                  <a:lnTo>
                    <a:pt x="1458" y="1484"/>
                  </a:lnTo>
                  <a:lnTo>
                    <a:pt x="1462" y="1484"/>
                  </a:lnTo>
                  <a:lnTo>
                    <a:pt x="1466" y="1486"/>
                  </a:lnTo>
                  <a:lnTo>
                    <a:pt x="1470" y="1482"/>
                  </a:lnTo>
                  <a:lnTo>
                    <a:pt x="1476" y="1476"/>
                  </a:lnTo>
                  <a:lnTo>
                    <a:pt x="1478" y="1476"/>
                  </a:lnTo>
                  <a:lnTo>
                    <a:pt x="1484" y="1478"/>
                  </a:lnTo>
                  <a:lnTo>
                    <a:pt x="1490" y="1476"/>
                  </a:lnTo>
                  <a:lnTo>
                    <a:pt x="1498" y="1474"/>
                  </a:lnTo>
                  <a:lnTo>
                    <a:pt x="1506" y="1472"/>
                  </a:lnTo>
                  <a:lnTo>
                    <a:pt x="1512" y="1470"/>
                  </a:lnTo>
                  <a:lnTo>
                    <a:pt x="1522" y="1470"/>
                  </a:lnTo>
                  <a:lnTo>
                    <a:pt x="1532" y="1470"/>
                  </a:lnTo>
                  <a:lnTo>
                    <a:pt x="1538" y="1470"/>
                  </a:lnTo>
                  <a:lnTo>
                    <a:pt x="1546" y="1466"/>
                  </a:lnTo>
                  <a:lnTo>
                    <a:pt x="1550" y="1468"/>
                  </a:lnTo>
                  <a:lnTo>
                    <a:pt x="1556" y="1468"/>
                  </a:lnTo>
                  <a:lnTo>
                    <a:pt x="1566" y="1462"/>
                  </a:lnTo>
                  <a:lnTo>
                    <a:pt x="1574" y="1456"/>
                  </a:lnTo>
                  <a:lnTo>
                    <a:pt x="1578" y="1454"/>
                  </a:lnTo>
                  <a:lnTo>
                    <a:pt x="1580" y="1456"/>
                  </a:lnTo>
                  <a:lnTo>
                    <a:pt x="1582" y="1458"/>
                  </a:lnTo>
                  <a:lnTo>
                    <a:pt x="1578" y="1458"/>
                  </a:lnTo>
                  <a:lnTo>
                    <a:pt x="1576" y="1462"/>
                  </a:lnTo>
                  <a:lnTo>
                    <a:pt x="1578" y="1466"/>
                  </a:lnTo>
                  <a:lnTo>
                    <a:pt x="1580" y="1470"/>
                  </a:lnTo>
                  <a:lnTo>
                    <a:pt x="1578" y="1472"/>
                  </a:lnTo>
                  <a:lnTo>
                    <a:pt x="1572" y="1470"/>
                  </a:lnTo>
                  <a:lnTo>
                    <a:pt x="1568" y="1468"/>
                  </a:lnTo>
                  <a:lnTo>
                    <a:pt x="1572" y="1474"/>
                  </a:lnTo>
                  <a:lnTo>
                    <a:pt x="1578" y="1480"/>
                  </a:lnTo>
                  <a:lnTo>
                    <a:pt x="1582" y="1480"/>
                  </a:lnTo>
                  <a:lnTo>
                    <a:pt x="1584" y="1482"/>
                  </a:lnTo>
                  <a:lnTo>
                    <a:pt x="1588" y="1486"/>
                  </a:lnTo>
                  <a:lnTo>
                    <a:pt x="1592" y="1490"/>
                  </a:lnTo>
                  <a:lnTo>
                    <a:pt x="1596" y="1490"/>
                  </a:lnTo>
                  <a:lnTo>
                    <a:pt x="1608" y="1490"/>
                  </a:lnTo>
                  <a:lnTo>
                    <a:pt x="1618" y="1490"/>
                  </a:lnTo>
                  <a:lnTo>
                    <a:pt x="1622" y="1492"/>
                  </a:lnTo>
                  <a:lnTo>
                    <a:pt x="1626" y="1494"/>
                  </a:lnTo>
                  <a:lnTo>
                    <a:pt x="1628" y="1498"/>
                  </a:lnTo>
                  <a:lnTo>
                    <a:pt x="1632" y="1500"/>
                  </a:lnTo>
                  <a:lnTo>
                    <a:pt x="1638" y="1502"/>
                  </a:lnTo>
                  <a:lnTo>
                    <a:pt x="1642" y="1504"/>
                  </a:lnTo>
                  <a:lnTo>
                    <a:pt x="1642" y="1508"/>
                  </a:lnTo>
                  <a:lnTo>
                    <a:pt x="1638" y="1510"/>
                  </a:lnTo>
                  <a:lnTo>
                    <a:pt x="1634" y="1510"/>
                  </a:lnTo>
                  <a:lnTo>
                    <a:pt x="1610" y="1504"/>
                  </a:lnTo>
                  <a:lnTo>
                    <a:pt x="1602" y="1502"/>
                  </a:lnTo>
                  <a:lnTo>
                    <a:pt x="1596" y="1504"/>
                  </a:lnTo>
                  <a:lnTo>
                    <a:pt x="1594" y="1506"/>
                  </a:lnTo>
                  <a:lnTo>
                    <a:pt x="1592" y="1510"/>
                  </a:lnTo>
                  <a:lnTo>
                    <a:pt x="1590" y="1512"/>
                  </a:lnTo>
                  <a:lnTo>
                    <a:pt x="1588" y="1516"/>
                  </a:lnTo>
                  <a:lnTo>
                    <a:pt x="1584" y="1516"/>
                  </a:lnTo>
                  <a:lnTo>
                    <a:pt x="1578" y="1514"/>
                  </a:lnTo>
                  <a:lnTo>
                    <a:pt x="1574" y="1512"/>
                  </a:lnTo>
                  <a:lnTo>
                    <a:pt x="1570" y="1514"/>
                  </a:lnTo>
                  <a:lnTo>
                    <a:pt x="1568" y="1516"/>
                  </a:lnTo>
                  <a:lnTo>
                    <a:pt x="1568" y="1518"/>
                  </a:lnTo>
                  <a:lnTo>
                    <a:pt x="1568" y="1522"/>
                  </a:lnTo>
                  <a:lnTo>
                    <a:pt x="1568" y="1524"/>
                  </a:lnTo>
                  <a:lnTo>
                    <a:pt x="1564" y="1524"/>
                  </a:lnTo>
                  <a:lnTo>
                    <a:pt x="1560" y="1520"/>
                  </a:lnTo>
                  <a:lnTo>
                    <a:pt x="1556" y="1518"/>
                  </a:lnTo>
                  <a:lnTo>
                    <a:pt x="1552" y="1516"/>
                  </a:lnTo>
                  <a:lnTo>
                    <a:pt x="1552" y="1518"/>
                  </a:lnTo>
                  <a:lnTo>
                    <a:pt x="1552" y="1520"/>
                  </a:lnTo>
                  <a:lnTo>
                    <a:pt x="1554" y="1530"/>
                  </a:lnTo>
                  <a:lnTo>
                    <a:pt x="1554" y="1534"/>
                  </a:lnTo>
                  <a:lnTo>
                    <a:pt x="1552" y="1536"/>
                  </a:lnTo>
                  <a:lnTo>
                    <a:pt x="1540" y="1540"/>
                  </a:lnTo>
                  <a:lnTo>
                    <a:pt x="1530" y="1542"/>
                  </a:lnTo>
                  <a:lnTo>
                    <a:pt x="1518" y="1540"/>
                  </a:lnTo>
                  <a:lnTo>
                    <a:pt x="1508" y="1536"/>
                  </a:lnTo>
                  <a:lnTo>
                    <a:pt x="1498" y="1532"/>
                  </a:lnTo>
                  <a:lnTo>
                    <a:pt x="1488" y="1530"/>
                  </a:lnTo>
                  <a:lnTo>
                    <a:pt x="1476" y="1528"/>
                  </a:lnTo>
                  <a:lnTo>
                    <a:pt x="1460" y="1526"/>
                  </a:lnTo>
                  <a:lnTo>
                    <a:pt x="1454" y="1524"/>
                  </a:lnTo>
                  <a:lnTo>
                    <a:pt x="1450" y="1524"/>
                  </a:lnTo>
                  <a:lnTo>
                    <a:pt x="1448" y="1526"/>
                  </a:lnTo>
                  <a:lnTo>
                    <a:pt x="1448" y="1528"/>
                  </a:lnTo>
                  <a:lnTo>
                    <a:pt x="1446" y="1532"/>
                  </a:lnTo>
                  <a:lnTo>
                    <a:pt x="1442" y="1534"/>
                  </a:lnTo>
                  <a:lnTo>
                    <a:pt x="1436" y="1534"/>
                  </a:lnTo>
                  <a:lnTo>
                    <a:pt x="1422" y="1534"/>
                  </a:lnTo>
                  <a:lnTo>
                    <a:pt x="1408" y="1534"/>
                  </a:lnTo>
                  <a:lnTo>
                    <a:pt x="1398" y="1538"/>
                  </a:lnTo>
                  <a:lnTo>
                    <a:pt x="1394" y="1542"/>
                  </a:lnTo>
                  <a:lnTo>
                    <a:pt x="1392" y="1544"/>
                  </a:lnTo>
                  <a:lnTo>
                    <a:pt x="1390" y="1548"/>
                  </a:lnTo>
                  <a:lnTo>
                    <a:pt x="1388" y="1550"/>
                  </a:lnTo>
                  <a:lnTo>
                    <a:pt x="1380" y="1552"/>
                  </a:lnTo>
                  <a:lnTo>
                    <a:pt x="1374" y="1554"/>
                  </a:lnTo>
                  <a:lnTo>
                    <a:pt x="1372" y="1558"/>
                  </a:lnTo>
                  <a:lnTo>
                    <a:pt x="1370" y="1562"/>
                  </a:lnTo>
                  <a:lnTo>
                    <a:pt x="1368" y="1572"/>
                  </a:lnTo>
                  <a:lnTo>
                    <a:pt x="1368" y="1580"/>
                  </a:lnTo>
                  <a:lnTo>
                    <a:pt x="1370" y="1588"/>
                  </a:lnTo>
                  <a:lnTo>
                    <a:pt x="1372" y="1594"/>
                  </a:lnTo>
                  <a:lnTo>
                    <a:pt x="1378" y="1604"/>
                  </a:lnTo>
                  <a:lnTo>
                    <a:pt x="1382" y="1610"/>
                  </a:lnTo>
                  <a:lnTo>
                    <a:pt x="1386" y="1614"/>
                  </a:lnTo>
                  <a:lnTo>
                    <a:pt x="1390" y="1614"/>
                  </a:lnTo>
                  <a:lnTo>
                    <a:pt x="1396" y="1614"/>
                  </a:lnTo>
                  <a:lnTo>
                    <a:pt x="1402" y="1610"/>
                  </a:lnTo>
                  <a:lnTo>
                    <a:pt x="1410" y="1606"/>
                  </a:lnTo>
                  <a:lnTo>
                    <a:pt x="1410" y="1608"/>
                  </a:lnTo>
                  <a:lnTo>
                    <a:pt x="1410" y="1610"/>
                  </a:lnTo>
                  <a:lnTo>
                    <a:pt x="1402" y="1640"/>
                  </a:lnTo>
                  <a:lnTo>
                    <a:pt x="1402" y="1646"/>
                  </a:lnTo>
                  <a:lnTo>
                    <a:pt x="1404" y="1654"/>
                  </a:lnTo>
                  <a:lnTo>
                    <a:pt x="1406" y="1668"/>
                  </a:lnTo>
                  <a:lnTo>
                    <a:pt x="1408" y="1676"/>
                  </a:lnTo>
                  <a:lnTo>
                    <a:pt x="1406" y="1682"/>
                  </a:lnTo>
                  <a:lnTo>
                    <a:pt x="1402" y="1686"/>
                  </a:lnTo>
                  <a:lnTo>
                    <a:pt x="1392" y="1692"/>
                  </a:lnTo>
                  <a:lnTo>
                    <a:pt x="1380" y="1694"/>
                  </a:lnTo>
                  <a:lnTo>
                    <a:pt x="1370" y="1694"/>
                  </a:lnTo>
                  <a:lnTo>
                    <a:pt x="1364" y="1690"/>
                  </a:lnTo>
                  <a:lnTo>
                    <a:pt x="1360" y="1684"/>
                  </a:lnTo>
                  <a:lnTo>
                    <a:pt x="1354" y="1672"/>
                  </a:lnTo>
                  <a:lnTo>
                    <a:pt x="1348" y="1666"/>
                  </a:lnTo>
                  <a:lnTo>
                    <a:pt x="1342" y="1662"/>
                  </a:lnTo>
                  <a:lnTo>
                    <a:pt x="1336" y="1660"/>
                  </a:lnTo>
                  <a:lnTo>
                    <a:pt x="1334" y="1656"/>
                  </a:lnTo>
                  <a:lnTo>
                    <a:pt x="1332" y="1652"/>
                  </a:lnTo>
                  <a:lnTo>
                    <a:pt x="1332" y="1650"/>
                  </a:lnTo>
                  <a:lnTo>
                    <a:pt x="1332" y="1648"/>
                  </a:lnTo>
                  <a:lnTo>
                    <a:pt x="1324" y="1648"/>
                  </a:lnTo>
                  <a:lnTo>
                    <a:pt x="1302" y="1656"/>
                  </a:lnTo>
                  <a:lnTo>
                    <a:pt x="1294" y="1660"/>
                  </a:lnTo>
                  <a:lnTo>
                    <a:pt x="1292" y="1664"/>
                  </a:lnTo>
                  <a:lnTo>
                    <a:pt x="1286" y="1674"/>
                  </a:lnTo>
                  <a:lnTo>
                    <a:pt x="1284" y="1678"/>
                  </a:lnTo>
                  <a:lnTo>
                    <a:pt x="1286" y="1684"/>
                  </a:lnTo>
                  <a:lnTo>
                    <a:pt x="1286" y="1688"/>
                  </a:lnTo>
                  <a:lnTo>
                    <a:pt x="1286" y="1690"/>
                  </a:lnTo>
                  <a:lnTo>
                    <a:pt x="1280" y="1694"/>
                  </a:lnTo>
                  <a:lnTo>
                    <a:pt x="1274" y="1700"/>
                  </a:lnTo>
                  <a:lnTo>
                    <a:pt x="1272" y="1704"/>
                  </a:lnTo>
                  <a:lnTo>
                    <a:pt x="1270" y="1710"/>
                  </a:lnTo>
                  <a:lnTo>
                    <a:pt x="1266" y="1720"/>
                  </a:lnTo>
                  <a:lnTo>
                    <a:pt x="1266" y="1732"/>
                  </a:lnTo>
                  <a:lnTo>
                    <a:pt x="1268" y="1752"/>
                  </a:lnTo>
                  <a:lnTo>
                    <a:pt x="1268" y="1766"/>
                  </a:lnTo>
                  <a:lnTo>
                    <a:pt x="1270" y="1772"/>
                  </a:lnTo>
                  <a:lnTo>
                    <a:pt x="1274" y="1776"/>
                  </a:lnTo>
                  <a:lnTo>
                    <a:pt x="1278" y="1782"/>
                  </a:lnTo>
                  <a:lnTo>
                    <a:pt x="1280" y="1790"/>
                  </a:lnTo>
                  <a:lnTo>
                    <a:pt x="1280" y="1804"/>
                  </a:lnTo>
                  <a:lnTo>
                    <a:pt x="1278" y="1806"/>
                  </a:lnTo>
                  <a:lnTo>
                    <a:pt x="1276" y="1808"/>
                  </a:lnTo>
                  <a:lnTo>
                    <a:pt x="1276" y="1816"/>
                  </a:lnTo>
                  <a:lnTo>
                    <a:pt x="1278" y="1818"/>
                  </a:lnTo>
                  <a:lnTo>
                    <a:pt x="1276" y="1822"/>
                  </a:lnTo>
                  <a:lnTo>
                    <a:pt x="1270" y="1824"/>
                  </a:lnTo>
                  <a:lnTo>
                    <a:pt x="1264" y="1826"/>
                  </a:lnTo>
                  <a:lnTo>
                    <a:pt x="1258" y="1824"/>
                  </a:lnTo>
                  <a:lnTo>
                    <a:pt x="1256" y="1824"/>
                  </a:lnTo>
                  <a:lnTo>
                    <a:pt x="1256" y="1822"/>
                  </a:lnTo>
                  <a:lnTo>
                    <a:pt x="1258" y="1816"/>
                  </a:lnTo>
                  <a:lnTo>
                    <a:pt x="1268" y="1804"/>
                  </a:lnTo>
                  <a:lnTo>
                    <a:pt x="1270" y="1800"/>
                  </a:lnTo>
                  <a:lnTo>
                    <a:pt x="1268" y="1800"/>
                  </a:lnTo>
                  <a:lnTo>
                    <a:pt x="1256" y="1814"/>
                  </a:lnTo>
                  <a:lnTo>
                    <a:pt x="1248" y="1820"/>
                  </a:lnTo>
                  <a:lnTo>
                    <a:pt x="1246" y="1822"/>
                  </a:lnTo>
                  <a:lnTo>
                    <a:pt x="1240" y="1820"/>
                  </a:lnTo>
                  <a:lnTo>
                    <a:pt x="1232" y="1820"/>
                  </a:lnTo>
                  <a:lnTo>
                    <a:pt x="1226" y="1822"/>
                  </a:lnTo>
                  <a:lnTo>
                    <a:pt x="1224" y="1824"/>
                  </a:lnTo>
                  <a:lnTo>
                    <a:pt x="1224" y="1830"/>
                  </a:lnTo>
                  <a:lnTo>
                    <a:pt x="1224" y="1836"/>
                  </a:lnTo>
                  <a:lnTo>
                    <a:pt x="1224" y="1840"/>
                  </a:lnTo>
                  <a:lnTo>
                    <a:pt x="1220" y="1846"/>
                  </a:lnTo>
                  <a:lnTo>
                    <a:pt x="1214" y="1852"/>
                  </a:lnTo>
                  <a:lnTo>
                    <a:pt x="1202" y="1858"/>
                  </a:lnTo>
                  <a:lnTo>
                    <a:pt x="1188" y="1860"/>
                  </a:lnTo>
                  <a:lnTo>
                    <a:pt x="1182" y="1858"/>
                  </a:lnTo>
                  <a:lnTo>
                    <a:pt x="1176" y="1856"/>
                  </a:lnTo>
                  <a:lnTo>
                    <a:pt x="1172" y="1854"/>
                  </a:lnTo>
                  <a:lnTo>
                    <a:pt x="1170" y="1848"/>
                  </a:lnTo>
                  <a:lnTo>
                    <a:pt x="1166" y="1836"/>
                  </a:lnTo>
                  <a:lnTo>
                    <a:pt x="1172" y="1840"/>
                  </a:lnTo>
                  <a:lnTo>
                    <a:pt x="1180" y="1844"/>
                  </a:lnTo>
                  <a:lnTo>
                    <a:pt x="1184" y="1844"/>
                  </a:lnTo>
                  <a:lnTo>
                    <a:pt x="1184" y="1842"/>
                  </a:lnTo>
                  <a:lnTo>
                    <a:pt x="1180" y="1840"/>
                  </a:lnTo>
                  <a:lnTo>
                    <a:pt x="1168" y="1832"/>
                  </a:lnTo>
                  <a:lnTo>
                    <a:pt x="1160" y="1828"/>
                  </a:lnTo>
                  <a:lnTo>
                    <a:pt x="1152" y="1828"/>
                  </a:lnTo>
                  <a:lnTo>
                    <a:pt x="1136" y="1832"/>
                  </a:lnTo>
                  <a:lnTo>
                    <a:pt x="1118" y="1836"/>
                  </a:lnTo>
                  <a:lnTo>
                    <a:pt x="1112" y="1838"/>
                  </a:lnTo>
                  <a:lnTo>
                    <a:pt x="1110" y="1840"/>
                  </a:lnTo>
                  <a:lnTo>
                    <a:pt x="1098" y="1844"/>
                  </a:lnTo>
                  <a:lnTo>
                    <a:pt x="1090" y="1848"/>
                  </a:lnTo>
                  <a:lnTo>
                    <a:pt x="1086" y="1850"/>
                  </a:lnTo>
                  <a:lnTo>
                    <a:pt x="1082" y="1856"/>
                  </a:lnTo>
                  <a:lnTo>
                    <a:pt x="1080" y="1858"/>
                  </a:lnTo>
                  <a:lnTo>
                    <a:pt x="1074" y="1862"/>
                  </a:lnTo>
                  <a:lnTo>
                    <a:pt x="1066" y="1864"/>
                  </a:lnTo>
                  <a:lnTo>
                    <a:pt x="1054" y="1868"/>
                  </a:lnTo>
                  <a:lnTo>
                    <a:pt x="1034" y="1874"/>
                  </a:lnTo>
                  <a:lnTo>
                    <a:pt x="1020" y="1880"/>
                  </a:lnTo>
                  <a:lnTo>
                    <a:pt x="1008" y="1884"/>
                  </a:lnTo>
                  <a:lnTo>
                    <a:pt x="1002" y="1884"/>
                  </a:lnTo>
                  <a:lnTo>
                    <a:pt x="996" y="1884"/>
                  </a:lnTo>
                  <a:lnTo>
                    <a:pt x="992" y="1882"/>
                  </a:lnTo>
                  <a:lnTo>
                    <a:pt x="986" y="1878"/>
                  </a:lnTo>
                  <a:lnTo>
                    <a:pt x="980" y="1870"/>
                  </a:lnTo>
                  <a:lnTo>
                    <a:pt x="978" y="1870"/>
                  </a:lnTo>
                  <a:lnTo>
                    <a:pt x="980" y="1874"/>
                  </a:lnTo>
                  <a:lnTo>
                    <a:pt x="984" y="1884"/>
                  </a:lnTo>
                  <a:lnTo>
                    <a:pt x="984" y="1886"/>
                  </a:lnTo>
                  <a:lnTo>
                    <a:pt x="984" y="1888"/>
                  </a:lnTo>
                  <a:lnTo>
                    <a:pt x="982" y="1888"/>
                  </a:lnTo>
                  <a:lnTo>
                    <a:pt x="982" y="1890"/>
                  </a:lnTo>
                  <a:lnTo>
                    <a:pt x="984" y="1890"/>
                  </a:lnTo>
                  <a:lnTo>
                    <a:pt x="988" y="1890"/>
                  </a:lnTo>
                  <a:lnTo>
                    <a:pt x="992" y="1888"/>
                  </a:lnTo>
                  <a:lnTo>
                    <a:pt x="996" y="1890"/>
                  </a:lnTo>
                  <a:lnTo>
                    <a:pt x="998" y="1892"/>
                  </a:lnTo>
                  <a:lnTo>
                    <a:pt x="1002" y="1892"/>
                  </a:lnTo>
                  <a:lnTo>
                    <a:pt x="1004" y="1890"/>
                  </a:lnTo>
                  <a:lnTo>
                    <a:pt x="1008" y="1890"/>
                  </a:lnTo>
                  <a:lnTo>
                    <a:pt x="1010" y="1894"/>
                  </a:lnTo>
                  <a:lnTo>
                    <a:pt x="1010" y="1900"/>
                  </a:lnTo>
                  <a:lnTo>
                    <a:pt x="1010" y="1902"/>
                  </a:lnTo>
                  <a:lnTo>
                    <a:pt x="1008" y="1902"/>
                  </a:lnTo>
                  <a:lnTo>
                    <a:pt x="1004" y="1900"/>
                  </a:lnTo>
                  <a:lnTo>
                    <a:pt x="998" y="1898"/>
                  </a:lnTo>
                  <a:lnTo>
                    <a:pt x="996" y="1898"/>
                  </a:lnTo>
                  <a:lnTo>
                    <a:pt x="986" y="1896"/>
                  </a:lnTo>
                  <a:lnTo>
                    <a:pt x="980" y="1892"/>
                  </a:lnTo>
                  <a:lnTo>
                    <a:pt x="980" y="1890"/>
                  </a:lnTo>
                  <a:lnTo>
                    <a:pt x="980" y="1886"/>
                  </a:lnTo>
                  <a:lnTo>
                    <a:pt x="980" y="1884"/>
                  </a:lnTo>
                  <a:lnTo>
                    <a:pt x="978" y="1882"/>
                  </a:lnTo>
                  <a:lnTo>
                    <a:pt x="976" y="1878"/>
                  </a:lnTo>
                  <a:lnTo>
                    <a:pt x="976" y="1872"/>
                  </a:lnTo>
                  <a:lnTo>
                    <a:pt x="976" y="1870"/>
                  </a:lnTo>
                  <a:lnTo>
                    <a:pt x="974" y="1870"/>
                  </a:lnTo>
                  <a:lnTo>
                    <a:pt x="970" y="1872"/>
                  </a:lnTo>
                  <a:lnTo>
                    <a:pt x="962" y="1872"/>
                  </a:lnTo>
                  <a:lnTo>
                    <a:pt x="958" y="1870"/>
                  </a:lnTo>
                  <a:lnTo>
                    <a:pt x="954" y="1868"/>
                  </a:lnTo>
                  <a:lnTo>
                    <a:pt x="950" y="1860"/>
                  </a:lnTo>
                  <a:lnTo>
                    <a:pt x="948" y="1856"/>
                  </a:lnTo>
                  <a:lnTo>
                    <a:pt x="946" y="1854"/>
                  </a:lnTo>
                  <a:lnTo>
                    <a:pt x="944" y="1854"/>
                  </a:lnTo>
                  <a:lnTo>
                    <a:pt x="938" y="1854"/>
                  </a:lnTo>
                  <a:lnTo>
                    <a:pt x="932" y="1852"/>
                  </a:lnTo>
                  <a:lnTo>
                    <a:pt x="930" y="1850"/>
                  </a:lnTo>
                  <a:lnTo>
                    <a:pt x="926" y="1850"/>
                  </a:lnTo>
                  <a:lnTo>
                    <a:pt x="924" y="1854"/>
                  </a:lnTo>
                  <a:lnTo>
                    <a:pt x="920" y="1862"/>
                  </a:lnTo>
                  <a:lnTo>
                    <a:pt x="912" y="1868"/>
                  </a:lnTo>
                  <a:lnTo>
                    <a:pt x="908" y="1870"/>
                  </a:lnTo>
                  <a:lnTo>
                    <a:pt x="900" y="1870"/>
                  </a:lnTo>
                  <a:lnTo>
                    <a:pt x="894" y="1872"/>
                  </a:lnTo>
                  <a:lnTo>
                    <a:pt x="890" y="1874"/>
                  </a:lnTo>
                  <a:lnTo>
                    <a:pt x="886" y="1880"/>
                  </a:lnTo>
                  <a:lnTo>
                    <a:pt x="884" y="1884"/>
                  </a:lnTo>
                  <a:lnTo>
                    <a:pt x="882" y="1884"/>
                  </a:lnTo>
                  <a:lnTo>
                    <a:pt x="878" y="1882"/>
                  </a:lnTo>
                  <a:lnTo>
                    <a:pt x="874" y="1880"/>
                  </a:lnTo>
                  <a:lnTo>
                    <a:pt x="870" y="1880"/>
                  </a:lnTo>
                  <a:lnTo>
                    <a:pt x="864" y="1882"/>
                  </a:lnTo>
                  <a:lnTo>
                    <a:pt x="860" y="1882"/>
                  </a:lnTo>
                  <a:lnTo>
                    <a:pt x="858" y="1882"/>
                  </a:lnTo>
                  <a:lnTo>
                    <a:pt x="856" y="1880"/>
                  </a:lnTo>
                  <a:lnTo>
                    <a:pt x="856" y="1878"/>
                  </a:lnTo>
                  <a:lnTo>
                    <a:pt x="858" y="1876"/>
                  </a:lnTo>
                  <a:lnTo>
                    <a:pt x="864" y="1872"/>
                  </a:lnTo>
                  <a:lnTo>
                    <a:pt x="870" y="1870"/>
                  </a:lnTo>
                  <a:lnTo>
                    <a:pt x="870" y="1868"/>
                  </a:lnTo>
                  <a:lnTo>
                    <a:pt x="870" y="1864"/>
                  </a:lnTo>
                  <a:lnTo>
                    <a:pt x="870" y="1862"/>
                  </a:lnTo>
                  <a:lnTo>
                    <a:pt x="870" y="1858"/>
                  </a:lnTo>
                  <a:lnTo>
                    <a:pt x="870" y="1856"/>
                  </a:lnTo>
                  <a:lnTo>
                    <a:pt x="862" y="1858"/>
                  </a:lnTo>
                  <a:lnTo>
                    <a:pt x="856" y="1860"/>
                  </a:lnTo>
                  <a:lnTo>
                    <a:pt x="852" y="1860"/>
                  </a:lnTo>
                  <a:lnTo>
                    <a:pt x="848" y="1860"/>
                  </a:lnTo>
                  <a:lnTo>
                    <a:pt x="846" y="1858"/>
                  </a:lnTo>
                  <a:lnTo>
                    <a:pt x="842" y="1854"/>
                  </a:lnTo>
                  <a:lnTo>
                    <a:pt x="840" y="1854"/>
                  </a:lnTo>
                  <a:lnTo>
                    <a:pt x="838" y="1854"/>
                  </a:lnTo>
                  <a:lnTo>
                    <a:pt x="834" y="1856"/>
                  </a:lnTo>
                  <a:lnTo>
                    <a:pt x="832" y="1854"/>
                  </a:lnTo>
                  <a:lnTo>
                    <a:pt x="830" y="1852"/>
                  </a:lnTo>
                  <a:lnTo>
                    <a:pt x="826" y="1850"/>
                  </a:lnTo>
                  <a:lnTo>
                    <a:pt x="822" y="1850"/>
                  </a:lnTo>
                  <a:lnTo>
                    <a:pt x="824" y="1848"/>
                  </a:lnTo>
                  <a:lnTo>
                    <a:pt x="826" y="1844"/>
                  </a:lnTo>
                  <a:lnTo>
                    <a:pt x="828" y="1842"/>
                  </a:lnTo>
                  <a:lnTo>
                    <a:pt x="826" y="1838"/>
                  </a:lnTo>
                  <a:lnTo>
                    <a:pt x="824" y="1834"/>
                  </a:lnTo>
                  <a:lnTo>
                    <a:pt x="822" y="1832"/>
                  </a:lnTo>
                  <a:lnTo>
                    <a:pt x="820" y="1834"/>
                  </a:lnTo>
                  <a:lnTo>
                    <a:pt x="816" y="1832"/>
                  </a:lnTo>
                  <a:lnTo>
                    <a:pt x="812" y="1830"/>
                  </a:lnTo>
                  <a:lnTo>
                    <a:pt x="808" y="1830"/>
                  </a:lnTo>
                  <a:lnTo>
                    <a:pt x="806" y="1832"/>
                  </a:lnTo>
                  <a:lnTo>
                    <a:pt x="802" y="1830"/>
                  </a:lnTo>
                  <a:lnTo>
                    <a:pt x="808" y="1826"/>
                  </a:lnTo>
                  <a:lnTo>
                    <a:pt x="810" y="1824"/>
                  </a:lnTo>
                  <a:lnTo>
                    <a:pt x="810" y="1826"/>
                  </a:lnTo>
                  <a:lnTo>
                    <a:pt x="812" y="1828"/>
                  </a:lnTo>
                  <a:lnTo>
                    <a:pt x="816" y="1828"/>
                  </a:lnTo>
                  <a:lnTo>
                    <a:pt x="818" y="1826"/>
                  </a:lnTo>
                  <a:lnTo>
                    <a:pt x="820" y="1826"/>
                  </a:lnTo>
                  <a:lnTo>
                    <a:pt x="824" y="1828"/>
                  </a:lnTo>
                  <a:lnTo>
                    <a:pt x="826" y="1826"/>
                  </a:lnTo>
                  <a:lnTo>
                    <a:pt x="828" y="1824"/>
                  </a:lnTo>
                  <a:lnTo>
                    <a:pt x="828" y="1822"/>
                  </a:lnTo>
                  <a:lnTo>
                    <a:pt x="822" y="1818"/>
                  </a:lnTo>
                  <a:lnTo>
                    <a:pt x="816" y="1814"/>
                  </a:lnTo>
                  <a:lnTo>
                    <a:pt x="812" y="1816"/>
                  </a:lnTo>
                  <a:lnTo>
                    <a:pt x="810" y="1818"/>
                  </a:lnTo>
                  <a:lnTo>
                    <a:pt x="806" y="1814"/>
                  </a:lnTo>
                  <a:lnTo>
                    <a:pt x="806" y="1812"/>
                  </a:lnTo>
                  <a:lnTo>
                    <a:pt x="806" y="1810"/>
                  </a:lnTo>
                  <a:lnTo>
                    <a:pt x="810" y="1808"/>
                  </a:lnTo>
                  <a:lnTo>
                    <a:pt x="812" y="1804"/>
                  </a:lnTo>
                  <a:lnTo>
                    <a:pt x="814" y="1804"/>
                  </a:lnTo>
                  <a:lnTo>
                    <a:pt x="812" y="1802"/>
                  </a:lnTo>
                  <a:lnTo>
                    <a:pt x="810" y="1798"/>
                  </a:lnTo>
                  <a:lnTo>
                    <a:pt x="810" y="1794"/>
                  </a:lnTo>
                  <a:lnTo>
                    <a:pt x="810" y="1792"/>
                  </a:lnTo>
                  <a:lnTo>
                    <a:pt x="808" y="1790"/>
                  </a:lnTo>
                  <a:lnTo>
                    <a:pt x="808" y="1788"/>
                  </a:lnTo>
                  <a:lnTo>
                    <a:pt x="808" y="1786"/>
                  </a:lnTo>
                  <a:lnTo>
                    <a:pt x="814" y="1784"/>
                  </a:lnTo>
                  <a:lnTo>
                    <a:pt x="818" y="1782"/>
                  </a:lnTo>
                  <a:lnTo>
                    <a:pt x="818" y="1780"/>
                  </a:lnTo>
                  <a:lnTo>
                    <a:pt x="818" y="1778"/>
                  </a:lnTo>
                  <a:lnTo>
                    <a:pt x="818" y="1776"/>
                  </a:lnTo>
                  <a:lnTo>
                    <a:pt x="822" y="1776"/>
                  </a:lnTo>
                  <a:lnTo>
                    <a:pt x="826" y="1774"/>
                  </a:lnTo>
                  <a:lnTo>
                    <a:pt x="826" y="1772"/>
                  </a:lnTo>
                  <a:lnTo>
                    <a:pt x="824" y="1768"/>
                  </a:lnTo>
                  <a:lnTo>
                    <a:pt x="820" y="1764"/>
                  </a:lnTo>
                  <a:lnTo>
                    <a:pt x="824" y="1766"/>
                  </a:lnTo>
                  <a:lnTo>
                    <a:pt x="828" y="1768"/>
                  </a:lnTo>
                  <a:lnTo>
                    <a:pt x="832" y="1768"/>
                  </a:lnTo>
                  <a:lnTo>
                    <a:pt x="834" y="1766"/>
                  </a:lnTo>
                  <a:lnTo>
                    <a:pt x="834" y="1764"/>
                  </a:lnTo>
                  <a:lnTo>
                    <a:pt x="834" y="1760"/>
                  </a:lnTo>
                  <a:lnTo>
                    <a:pt x="834" y="1750"/>
                  </a:lnTo>
                  <a:lnTo>
                    <a:pt x="836" y="1742"/>
                  </a:lnTo>
                  <a:lnTo>
                    <a:pt x="836" y="1740"/>
                  </a:lnTo>
                  <a:lnTo>
                    <a:pt x="840" y="1738"/>
                  </a:lnTo>
                  <a:lnTo>
                    <a:pt x="844" y="1738"/>
                  </a:lnTo>
                  <a:lnTo>
                    <a:pt x="844" y="1742"/>
                  </a:lnTo>
                  <a:lnTo>
                    <a:pt x="842" y="1744"/>
                  </a:lnTo>
                  <a:lnTo>
                    <a:pt x="842" y="1746"/>
                  </a:lnTo>
                  <a:lnTo>
                    <a:pt x="844" y="1748"/>
                  </a:lnTo>
                  <a:lnTo>
                    <a:pt x="848" y="1750"/>
                  </a:lnTo>
                  <a:lnTo>
                    <a:pt x="848" y="1748"/>
                  </a:lnTo>
                  <a:lnTo>
                    <a:pt x="850" y="1746"/>
                  </a:lnTo>
                  <a:lnTo>
                    <a:pt x="852" y="1746"/>
                  </a:lnTo>
                  <a:lnTo>
                    <a:pt x="854" y="1748"/>
                  </a:lnTo>
                  <a:lnTo>
                    <a:pt x="856" y="1746"/>
                  </a:lnTo>
                  <a:lnTo>
                    <a:pt x="858" y="1744"/>
                  </a:lnTo>
                  <a:lnTo>
                    <a:pt x="864" y="1732"/>
                  </a:lnTo>
                  <a:lnTo>
                    <a:pt x="864" y="1730"/>
                  </a:lnTo>
                  <a:lnTo>
                    <a:pt x="864" y="1728"/>
                  </a:lnTo>
                  <a:lnTo>
                    <a:pt x="858" y="1726"/>
                  </a:lnTo>
                  <a:lnTo>
                    <a:pt x="844" y="1724"/>
                  </a:lnTo>
                  <a:lnTo>
                    <a:pt x="840" y="1722"/>
                  </a:lnTo>
                  <a:lnTo>
                    <a:pt x="838" y="1722"/>
                  </a:lnTo>
                  <a:lnTo>
                    <a:pt x="840" y="1718"/>
                  </a:lnTo>
                  <a:lnTo>
                    <a:pt x="842" y="1714"/>
                  </a:lnTo>
                  <a:lnTo>
                    <a:pt x="840" y="1710"/>
                  </a:lnTo>
                  <a:lnTo>
                    <a:pt x="838" y="1706"/>
                  </a:lnTo>
                  <a:lnTo>
                    <a:pt x="838" y="1700"/>
                  </a:lnTo>
                  <a:lnTo>
                    <a:pt x="840" y="1690"/>
                  </a:lnTo>
                  <a:lnTo>
                    <a:pt x="842" y="1686"/>
                  </a:lnTo>
                  <a:lnTo>
                    <a:pt x="844" y="1684"/>
                  </a:lnTo>
                  <a:lnTo>
                    <a:pt x="846" y="1680"/>
                  </a:lnTo>
                  <a:lnTo>
                    <a:pt x="848" y="1676"/>
                  </a:lnTo>
                  <a:lnTo>
                    <a:pt x="848" y="1670"/>
                  </a:lnTo>
                  <a:lnTo>
                    <a:pt x="846" y="1662"/>
                  </a:lnTo>
                  <a:lnTo>
                    <a:pt x="844" y="1658"/>
                  </a:lnTo>
                  <a:lnTo>
                    <a:pt x="844" y="1656"/>
                  </a:lnTo>
                  <a:lnTo>
                    <a:pt x="846" y="1652"/>
                  </a:lnTo>
                  <a:lnTo>
                    <a:pt x="850" y="1648"/>
                  </a:lnTo>
                  <a:lnTo>
                    <a:pt x="850" y="1646"/>
                  </a:lnTo>
                  <a:lnTo>
                    <a:pt x="846" y="1646"/>
                  </a:lnTo>
                  <a:lnTo>
                    <a:pt x="844" y="1650"/>
                  </a:lnTo>
                  <a:lnTo>
                    <a:pt x="838" y="1654"/>
                  </a:lnTo>
                  <a:lnTo>
                    <a:pt x="830" y="1656"/>
                  </a:lnTo>
                  <a:lnTo>
                    <a:pt x="824" y="1658"/>
                  </a:lnTo>
                  <a:lnTo>
                    <a:pt x="822" y="1660"/>
                  </a:lnTo>
                  <a:lnTo>
                    <a:pt x="814" y="1672"/>
                  </a:lnTo>
                  <a:lnTo>
                    <a:pt x="810" y="1676"/>
                  </a:lnTo>
                  <a:lnTo>
                    <a:pt x="804" y="1680"/>
                  </a:lnTo>
                  <a:lnTo>
                    <a:pt x="796" y="1684"/>
                  </a:lnTo>
                  <a:lnTo>
                    <a:pt x="786" y="1686"/>
                  </a:lnTo>
                  <a:lnTo>
                    <a:pt x="776" y="1686"/>
                  </a:lnTo>
                  <a:lnTo>
                    <a:pt x="768" y="1690"/>
                  </a:lnTo>
                  <a:lnTo>
                    <a:pt x="762" y="1694"/>
                  </a:lnTo>
                  <a:lnTo>
                    <a:pt x="758" y="1700"/>
                  </a:lnTo>
                  <a:lnTo>
                    <a:pt x="754" y="1708"/>
                  </a:lnTo>
                  <a:lnTo>
                    <a:pt x="752" y="1718"/>
                  </a:lnTo>
                  <a:lnTo>
                    <a:pt x="748" y="1736"/>
                  </a:lnTo>
                  <a:lnTo>
                    <a:pt x="748" y="1752"/>
                  </a:lnTo>
                  <a:lnTo>
                    <a:pt x="750" y="1762"/>
                  </a:lnTo>
                  <a:lnTo>
                    <a:pt x="752" y="1770"/>
                  </a:lnTo>
                  <a:lnTo>
                    <a:pt x="750" y="1778"/>
                  </a:lnTo>
                  <a:lnTo>
                    <a:pt x="746" y="1784"/>
                  </a:lnTo>
                  <a:lnTo>
                    <a:pt x="748" y="1786"/>
                  </a:lnTo>
                  <a:lnTo>
                    <a:pt x="750" y="1786"/>
                  </a:lnTo>
                  <a:lnTo>
                    <a:pt x="754" y="1790"/>
                  </a:lnTo>
                  <a:lnTo>
                    <a:pt x="758" y="1792"/>
                  </a:lnTo>
                  <a:lnTo>
                    <a:pt x="758" y="1790"/>
                  </a:lnTo>
                  <a:lnTo>
                    <a:pt x="758" y="1788"/>
                  </a:lnTo>
                  <a:lnTo>
                    <a:pt x="762" y="1790"/>
                  </a:lnTo>
                  <a:lnTo>
                    <a:pt x="764" y="1792"/>
                  </a:lnTo>
                  <a:lnTo>
                    <a:pt x="768" y="1792"/>
                  </a:lnTo>
                  <a:lnTo>
                    <a:pt x="772" y="1796"/>
                  </a:lnTo>
                  <a:lnTo>
                    <a:pt x="772" y="1804"/>
                  </a:lnTo>
                  <a:lnTo>
                    <a:pt x="770" y="1810"/>
                  </a:lnTo>
                  <a:lnTo>
                    <a:pt x="768" y="1808"/>
                  </a:lnTo>
                  <a:lnTo>
                    <a:pt x="766" y="1806"/>
                  </a:lnTo>
                  <a:lnTo>
                    <a:pt x="764" y="1806"/>
                  </a:lnTo>
                  <a:lnTo>
                    <a:pt x="764" y="1810"/>
                  </a:lnTo>
                  <a:lnTo>
                    <a:pt x="764" y="1814"/>
                  </a:lnTo>
                  <a:lnTo>
                    <a:pt x="768" y="1812"/>
                  </a:lnTo>
                  <a:lnTo>
                    <a:pt x="770" y="1812"/>
                  </a:lnTo>
                  <a:lnTo>
                    <a:pt x="770" y="1814"/>
                  </a:lnTo>
                  <a:lnTo>
                    <a:pt x="770" y="1826"/>
                  </a:lnTo>
                  <a:lnTo>
                    <a:pt x="770" y="1830"/>
                  </a:lnTo>
                  <a:lnTo>
                    <a:pt x="774" y="1836"/>
                  </a:lnTo>
                  <a:lnTo>
                    <a:pt x="784" y="1848"/>
                  </a:lnTo>
                  <a:lnTo>
                    <a:pt x="786" y="1850"/>
                  </a:lnTo>
                  <a:lnTo>
                    <a:pt x="786" y="1852"/>
                  </a:lnTo>
                  <a:lnTo>
                    <a:pt x="782" y="1854"/>
                  </a:lnTo>
                  <a:lnTo>
                    <a:pt x="774" y="1856"/>
                  </a:lnTo>
                  <a:lnTo>
                    <a:pt x="772" y="1858"/>
                  </a:lnTo>
                  <a:lnTo>
                    <a:pt x="770" y="1860"/>
                  </a:lnTo>
                  <a:lnTo>
                    <a:pt x="770" y="1864"/>
                  </a:lnTo>
                  <a:lnTo>
                    <a:pt x="776" y="1864"/>
                  </a:lnTo>
                  <a:lnTo>
                    <a:pt x="780" y="1862"/>
                  </a:lnTo>
                  <a:lnTo>
                    <a:pt x="780" y="1864"/>
                  </a:lnTo>
                  <a:lnTo>
                    <a:pt x="778" y="1866"/>
                  </a:lnTo>
                  <a:lnTo>
                    <a:pt x="778" y="1870"/>
                  </a:lnTo>
                  <a:lnTo>
                    <a:pt x="778" y="1872"/>
                  </a:lnTo>
                  <a:lnTo>
                    <a:pt x="782" y="1874"/>
                  </a:lnTo>
                  <a:lnTo>
                    <a:pt x="786" y="1876"/>
                  </a:lnTo>
                  <a:lnTo>
                    <a:pt x="784" y="1878"/>
                  </a:lnTo>
                  <a:lnTo>
                    <a:pt x="780" y="1880"/>
                  </a:lnTo>
                  <a:lnTo>
                    <a:pt x="780" y="1882"/>
                  </a:lnTo>
                  <a:lnTo>
                    <a:pt x="782" y="1886"/>
                  </a:lnTo>
                  <a:lnTo>
                    <a:pt x="790" y="1886"/>
                  </a:lnTo>
                  <a:lnTo>
                    <a:pt x="798" y="1890"/>
                  </a:lnTo>
                  <a:lnTo>
                    <a:pt x="804" y="1894"/>
                  </a:lnTo>
                  <a:lnTo>
                    <a:pt x="804" y="1898"/>
                  </a:lnTo>
                  <a:lnTo>
                    <a:pt x="800" y="1896"/>
                  </a:lnTo>
                  <a:lnTo>
                    <a:pt x="794" y="1892"/>
                  </a:lnTo>
                  <a:lnTo>
                    <a:pt x="786" y="1890"/>
                  </a:lnTo>
                  <a:lnTo>
                    <a:pt x="780" y="1890"/>
                  </a:lnTo>
                  <a:lnTo>
                    <a:pt x="772" y="1888"/>
                  </a:lnTo>
                  <a:lnTo>
                    <a:pt x="770" y="1888"/>
                  </a:lnTo>
                  <a:lnTo>
                    <a:pt x="768" y="1890"/>
                  </a:lnTo>
                  <a:lnTo>
                    <a:pt x="768" y="1900"/>
                  </a:lnTo>
                  <a:lnTo>
                    <a:pt x="770" y="1910"/>
                  </a:lnTo>
                  <a:lnTo>
                    <a:pt x="768" y="1916"/>
                  </a:lnTo>
                  <a:lnTo>
                    <a:pt x="766" y="1918"/>
                  </a:lnTo>
                  <a:lnTo>
                    <a:pt x="764" y="1920"/>
                  </a:lnTo>
                  <a:lnTo>
                    <a:pt x="764" y="1918"/>
                  </a:lnTo>
                  <a:lnTo>
                    <a:pt x="764" y="1914"/>
                  </a:lnTo>
                  <a:lnTo>
                    <a:pt x="764" y="1908"/>
                  </a:lnTo>
                  <a:lnTo>
                    <a:pt x="764" y="1906"/>
                  </a:lnTo>
                  <a:lnTo>
                    <a:pt x="762" y="1904"/>
                  </a:lnTo>
                  <a:lnTo>
                    <a:pt x="758" y="1904"/>
                  </a:lnTo>
                  <a:lnTo>
                    <a:pt x="756" y="1906"/>
                  </a:lnTo>
                  <a:lnTo>
                    <a:pt x="756" y="1912"/>
                  </a:lnTo>
                  <a:lnTo>
                    <a:pt x="754" y="1916"/>
                  </a:lnTo>
                  <a:lnTo>
                    <a:pt x="750" y="1914"/>
                  </a:lnTo>
                  <a:lnTo>
                    <a:pt x="748" y="1912"/>
                  </a:lnTo>
                  <a:lnTo>
                    <a:pt x="748" y="1910"/>
                  </a:lnTo>
                  <a:lnTo>
                    <a:pt x="750" y="1904"/>
                  </a:lnTo>
                  <a:lnTo>
                    <a:pt x="748" y="1902"/>
                  </a:lnTo>
                  <a:lnTo>
                    <a:pt x="746" y="1900"/>
                  </a:lnTo>
                  <a:lnTo>
                    <a:pt x="742" y="1898"/>
                  </a:lnTo>
                  <a:lnTo>
                    <a:pt x="734" y="1898"/>
                  </a:lnTo>
                  <a:lnTo>
                    <a:pt x="720" y="1898"/>
                  </a:lnTo>
                  <a:lnTo>
                    <a:pt x="714" y="1900"/>
                  </a:lnTo>
                  <a:lnTo>
                    <a:pt x="710" y="1906"/>
                  </a:lnTo>
                  <a:lnTo>
                    <a:pt x="708" y="1914"/>
                  </a:lnTo>
                  <a:lnTo>
                    <a:pt x="706" y="1916"/>
                  </a:lnTo>
                  <a:lnTo>
                    <a:pt x="706" y="1920"/>
                  </a:lnTo>
                  <a:lnTo>
                    <a:pt x="710" y="1922"/>
                  </a:lnTo>
                  <a:lnTo>
                    <a:pt x="714" y="1922"/>
                  </a:lnTo>
                  <a:lnTo>
                    <a:pt x="714" y="1924"/>
                  </a:lnTo>
                  <a:lnTo>
                    <a:pt x="712" y="1926"/>
                  </a:lnTo>
                  <a:lnTo>
                    <a:pt x="708" y="1926"/>
                  </a:lnTo>
                  <a:lnTo>
                    <a:pt x="706" y="1926"/>
                  </a:lnTo>
                  <a:lnTo>
                    <a:pt x="700" y="1918"/>
                  </a:lnTo>
                  <a:lnTo>
                    <a:pt x="696" y="1914"/>
                  </a:lnTo>
                  <a:lnTo>
                    <a:pt x="688" y="1914"/>
                  </a:lnTo>
                  <a:lnTo>
                    <a:pt x="664" y="1918"/>
                  </a:lnTo>
                  <a:lnTo>
                    <a:pt x="654" y="1920"/>
                  </a:lnTo>
                  <a:lnTo>
                    <a:pt x="646" y="1924"/>
                  </a:lnTo>
                  <a:lnTo>
                    <a:pt x="640" y="1926"/>
                  </a:lnTo>
                  <a:lnTo>
                    <a:pt x="636" y="1930"/>
                  </a:lnTo>
                  <a:lnTo>
                    <a:pt x="634" y="1934"/>
                  </a:lnTo>
                  <a:lnTo>
                    <a:pt x="634" y="1938"/>
                  </a:lnTo>
                  <a:lnTo>
                    <a:pt x="634" y="1940"/>
                  </a:lnTo>
                  <a:lnTo>
                    <a:pt x="636" y="1940"/>
                  </a:lnTo>
                  <a:lnTo>
                    <a:pt x="638" y="1940"/>
                  </a:lnTo>
                  <a:lnTo>
                    <a:pt x="640" y="1942"/>
                  </a:lnTo>
                  <a:lnTo>
                    <a:pt x="640" y="1946"/>
                  </a:lnTo>
                  <a:lnTo>
                    <a:pt x="640" y="1950"/>
                  </a:lnTo>
                  <a:lnTo>
                    <a:pt x="642" y="1950"/>
                  </a:lnTo>
                  <a:lnTo>
                    <a:pt x="644" y="1952"/>
                  </a:lnTo>
                  <a:lnTo>
                    <a:pt x="646" y="1952"/>
                  </a:lnTo>
                  <a:lnTo>
                    <a:pt x="646" y="1954"/>
                  </a:lnTo>
                  <a:lnTo>
                    <a:pt x="646" y="1958"/>
                  </a:lnTo>
                  <a:lnTo>
                    <a:pt x="646" y="1962"/>
                  </a:lnTo>
                  <a:lnTo>
                    <a:pt x="648" y="1964"/>
                  </a:lnTo>
                  <a:lnTo>
                    <a:pt x="650" y="1966"/>
                  </a:lnTo>
                  <a:lnTo>
                    <a:pt x="654" y="1968"/>
                  </a:lnTo>
                  <a:lnTo>
                    <a:pt x="656" y="1972"/>
                  </a:lnTo>
                  <a:lnTo>
                    <a:pt x="654" y="1976"/>
                  </a:lnTo>
                  <a:lnTo>
                    <a:pt x="652" y="1980"/>
                  </a:lnTo>
                  <a:lnTo>
                    <a:pt x="648" y="1984"/>
                  </a:lnTo>
                  <a:lnTo>
                    <a:pt x="644" y="1986"/>
                  </a:lnTo>
                  <a:lnTo>
                    <a:pt x="638" y="1988"/>
                  </a:lnTo>
                  <a:lnTo>
                    <a:pt x="634" y="1986"/>
                  </a:lnTo>
                  <a:lnTo>
                    <a:pt x="628" y="1980"/>
                  </a:lnTo>
                  <a:lnTo>
                    <a:pt x="624" y="1974"/>
                  </a:lnTo>
                  <a:lnTo>
                    <a:pt x="624" y="1970"/>
                  </a:lnTo>
                  <a:lnTo>
                    <a:pt x="624" y="1968"/>
                  </a:lnTo>
                  <a:lnTo>
                    <a:pt x="626" y="1966"/>
                  </a:lnTo>
                  <a:lnTo>
                    <a:pt x="630" y="1964"/>
                  </a:lnTo>
                  <a:lnTo>
                    <a:pt x="634" y="1960"/>
                  </a:lnTo>
                  <a:lnTo>
                    <a:pt x="632" y="1958"/>
                  </a:lnTo>
                  <a:lnTo>
                    <a:pt x="628" y="1956"/>
                  </a:lnTo>
                  <a:lnTo>
                    <a:pt x="626" y="1952"/>
                  </a:lnTo>
                  <a:lnTo>
                    <a:pt x="626" y="1946"/>
                  </a:lnTo>
                  <a:lnTo>
                    <a:pt x="630" y="1942"/>
                  </a:lnTo>
                  <a:lnTo>
                    <a:pt x="630" y="1940"/>
                  </a:lnTo>
                  <a:lnTo>
                    <a:pt x="628" y="1940"/>
                  </a:lnTo>
                  <a:lnTo>
                    <a:pt x="618" y="1946"/>
                  </a:lnTo>
                  <a:lnTo>
                    <a:pt x="614" y="1944"/>
                  </a:lnTo>
                  <a:lnTo>
                    <a:pt x="612" y="1946"/>
                  </a:lnTo>
                  <a:lnTo>
                    <a:pt x="610" y="1954"/>
                  </a:lnTo>
                  <a:lnTo>
                    <a:pt x="606" y="1968"/>
                  </a:lnTo>
                  <a:lnTo>
                    <a:pt x="604" y="1978"/>
                  </a:lnTo>
                  <a:lnTo>
                    <a:pt x="600" y="1986"/>
                  </a:lnTo>
                  <a:lnTo>
                    <a:pt x="592" y="2000"/>
                  </a:lnTo>
                  <a:lnTo>
                    <a:pt x="588" y="2004"/>
                  </a:lnTo>
                  <a:lnTo>
                    <a:pt x="586" y="2004"/>
                  </a:lnTo>
                  <a:lnTo>
                    <a:pt x="586" y="2008"/>
                  </a:lnTo>
                  <a:lnTo>
                    <a:pt x="586" y="2010"/>
                  </a:lnTo>
                  <a:lnTo>
                    <a:pt x="584" y="2012"/>
                  </a:lnTo>
                  <a:lnTo>
                    <a:pt x="578" y="2014"/>
                  </a:lnTo>
                  <a:lnTo>
                    <a:pt x="572" y="2016"/>
                  </a:lnTo>
                  <a:lnTo>
                    <a:pt x="570" y="2018"/>
                  </a:lnTo>
                  <a:lnTo>
                    <a:pt x="572" y="2020"/>
                  </a:lnTo>
                  <a:lnTo>
                    <a:pt x="578" y="2024"/>
                  </a:lnTo>
                  <a:lnTo>
                    <a:pt x="586" y="2024"/>
                  </a:lnTo>
                  <a:lnTo>
                    <a:pt x="590" y="2026"/>
                  </a:lnTo>
                  <a:lnTo>
                    <a:pt x="584" y="2030"/>
                  </a:lnTo>
                  <a:lnTo>
                    <a:pt x="570" y="2026"/>
                  </a:lnTo>
                  <a:lnTo>
                    <a:pt x="564" y="2026"/>
                  </a:lnTo>
                  <a:lnTo>
                    <a:pt x="562" y="2028"/>
                  </a:lnTo>
                  <a:lnTo>
                    <a:pt x="562" y="2030"/>
                  </a:lnTo>
                  <a:lnTo>
                    <a:pt x="562" y="2032"/>
                  </a:lnTo>
                  <a:lnTo>
                    <a:pt x="568" y="2034"/>
                  </a:lnTo>
                  <a:lnTo>
                    <a:pt x="574" y="2036"/>
                  </a:lnTo>
                  <a:lnTo>
                    <a:pt x="580" y="2036"/>
                  </a:lnTo>
                  <a:lnTo>
                    <a:pt x="586" y="2036"/>
                  </a:lnTo>
                  <a:lnTo>
                    <a:pt x="588" y="2036"/>
                  </a:lnTo>
                  <a:lnTo>
                    <a:pt x="588" y="2038"/>
                  </a:lnTo>
                  <a:lnTo>
                    <a:pt x="588" y="2040"/>
                  </a:lnTo>
                  <a:lnTo>
                    <a:pt x="580" y="2042"/>
                  </a:lnTo>
                  <a:lnTo>
                    <a:pt x="576" y="2042"/>
                  </a:lnTo>
                  <a:lnTo>
                    <a:pt x="572" y="2042"/>
                  </a:lnTo>
                  <a:lnTo>
                    <a:pt x="566" y="2038"/>
                  </a:lnTo>
                  <a:lnTo>
                    <a:pt x="564" y="2038"/>
                  </a:lnTo>
                  <a:lnTo>
                    <a:pt x="558" y="2040"/>
                  </a:lnTo>
                  <a:lnTo>
                    <a:pt x="550" y="2044"/>
                  </a:lnTo>
                  <a:lnTo>
                    <a:pt x="540" y="2048"/>
                  </a:lnTo>
                  <a:lnTo>
                    <a:pt x="532" y="2054"/>
                  </a:lnTo>
                  <a:lnTo>
                    <a:pt x="524" y="2058"/>
                  </a:lnTo>
                  <a:lnTo>
                    <a:pt x="504" y="2060"/>
                  </a:lnTo>
                  <a:lnTo>
                    <a:pt x="492" y="2064"/>
                  </a:lnTo>
                  <a:lnTo>
                    <a:pt x="488" y="2068"/>
                  </a:lnTo>
                  <a:lnTo>
                    <a:pt x="486" y="2070"/>
                  </a:lnTo>
                  <a:lnTo>
                    <a:pt x="484" y="2074"/>
                  </a:lnTo>
                  <a:lnTo>
                    <a:pt x="484" y="2078"/>
                  </a:lnTo>
                  <a:lnTo>
                    <a:pt x="486" y="2086"/>
                  </a:lnTo>
                  <a:lnTo>
                    <a:pt x="484" y="2090"/>
                  </a:lnTo>
                  <a:lnTo>
                    <a:pt x="484" y="2094"/>
                  </a:lnTo>
                  <a:lnTo>
                    <a:pt x="486" y="2098"/>
                  </a:lnTo>
                  <a:lnTo>
                    <a:pt x="486" y="2100"/>
                  </a:lnTo>
                  <a:lnTo>
                    <a:pt x="484" y="2100"/>
                  </a:lnTo>
                  <a:lnTo>
                    <a:pt x="484" y="2102"/>
                  </a:lnTo>
                  <a:lnTo>
                    <a:pt x="486" y="2106"/>
                  </a:lnTo>
                  <a:lnTo>
                    <a:pt x="488" y="2108"/>
                  </a:lnTo>
                  <a:lnTo>
                    <a:pt x="486" y="2110"/>
                  </a:lnTo>
                  <a:lnTo>
                    <a:pt x="482" y="2112"/>
                  </a:lnTo>
                  <a:lnTo>
                    <a:pt x="480" y="2114"/>
                  </a:lnTo>
                  <a:lnTo>
                    <a:pt x="478" y="2118"/>
                  </a:lnTo>
                  <a:lnTo>
                    <a:pt x="472" y="2120"/>
                  </a:lnTo>
                  <a:lnTo>
                    <a:pt x="444" y="2132"/>
                  </a:lnTo>
                  <a:lnTo>
                    <a:pt x="434" y="2136"/>
                  </a:lnTo>
                  <a:lnTo>
                    <a:pt x="428" y="2140"/>
                  </a:lnTo>
                  <a:lnTo>
                    <a:pt x="426" y="2144"/>
                  </a:lnTo>
                  <a:lnTo>
                    <a:pt x="426" y="2146"/>
                  </a:lnTo>
                  <a:lnTo>
                    <a:pt x="426" y="2150"/>
                  </a:lnTo>
                  <a:lnTo>
                    <a:pt x="428" y="2152"/>
                  </a:lnTo>
                  <a:lnTo>
                    <a:pt x="432" y="2154"/>
                  </a:lnTo>
                  <a:lnTo>
                    <a:pt x="434" y="2154"/>
                  </a:lnTo>
                  <a:lnTo>
                    <a:pt x="432" y="2156"/>
                  </a:lnTo>
                  <a:lnTo>
                    <a:pt x="420" y="2162"/>
                  </a:lnTo>
                  <a:lnTo>
                    <a:pt x="416" y="2164"/>
                  </a:lnTo>
                  <a:lnTo>
                    <a:pt x="412" y="2164"/>
                  </a:lnTo>
                  <a:lnTo>
                    <a:pt x="402" y="2162"/>
                  </a:lnTo>
                  <a:lnTo>
                    <a:pt x="392" y="2158"/>
                  </a:lnTo>
                  <a:lnTo>
                    <a:pt x="384" y="2158"/>
                  </a:lnTo>
                  <a:lnTo>
                    <a:pt x="376" y="2160"/>
                  </a:lnTo>
                  <a:lnTo>
                    <a:pt x="374" y="2160"/>
                  </a:lnTo>
                  <a:lnTo>
                    <a:pt x="372" y="2156"/>
                  </a:lnTo>
                  <a:lnTo>
                    <a:pt x="372" y="2148"/>
                  </a:lnTo>
                  <a:lnTo>
                    <a:pt x="370" y="2142"/>
                  </a:lnTo>
                  <a:lnTo>
                    <a:pt x="368" y="2140"/>
                  </a:lnTo>
                  <a:lnTo>
                    <a:pt x="364" y="2140"/>
                  </a:lnTo>
                  <a:lnTo>
                    <a:pt x="356" y="2140"/>
                  </a:lnTo>
                  <a:lnTo>
                    <a:pt x="348" y="2140"/>
                  </a:lnTo>
                  <a:lnTo>
                    <a:pt x="346" y="2138"/>
                  </a:lnTo>
                  <a:lnTo>
                    <a:pt x="346" y="2142"/>
                  </a:lnTo>
                  <a:lnTo>
                    <a:pt x="348" y="2148"/>
                  </a:lnTo>
                  <a:lnTo>
                    <a:pt x="348" y="2152"/>
                  </a:lnTo>
                  <a:lnTo>
                    <a:pt x="348" y="2156"/>
                  </a:lnTo>
                  <a:lnTo>
                    <a:pt x="352" y="2160"/>
                  </a:lnTo>
                  <a:lnTo>
                    <a:pt x="356" y="2164"/>
                  </a:lnTo>
                  <a:lnTo>
                    <a:pt x="358" y="2172"/>
                  </a:lnTo>
                  <a:lnTo>
                    <a:pt x="360" y="2180"/>
                  </a:lnTo>
                  <a:lnTo>
                    <a:pt x="360" y="2188"/>
                  </a:lnTo>
                  <a:lnTo>
                    <a:pt x="360" y="2192"/>
                  </a:lnTo>
                  <a:lnTo>
                    <a:pt x="360" y="2194"/>
                  </a:lnTo>
                  <a:lnTo>
                    <a:pt x="362" y="2200"/>
                  </a:lnTo>
                  <a:lnTo>
                    <a:pt x="364" y="2202"/>
                  </a:lnTo>
                  <a:lnTo>
                    <a:pt x="358" y="2204"/>
                  </a:lnTo>
                  <a:lnTo>
                    <a:pt x="352" y="2204"/>
                  </a:lnTo>
                  <a:lnTo>
                    <a:pt x="350" y="2202"/>
                  </a:lnTo>
                  <a:lnTo>
                    <a:pt x="348" y="2198"/>
                  </a:lnTo>
                  <a:lnTo>
                    <a:pt x="346" y="2198"/>
                  </a:lnTo>
                  <a:lnTo>
                    <a:pt x="344" y="2198"/>
                  </a:lnTo>
                  <a:lnTo>
                    <a:pt x="344" y="2200"/>
                  </a:lnTo>
                  <a:lnTo>
                    <a:pt x="342" y="2202"/>
                  </a:lnTo>
                  <a:lnTo>
                    <a:pt x="338" y="2202"/>
                  </a:lnTo>
                  <a:lnTo>
                    <a:pt x="334" y="2202"/>
                  </a:lnTo>
                  <a:lnTo>
                    <a:pt x="332" y="2200"/>
                  </a:lnTo>
                  <a:lnTo>
                    <a:pt x="330" y="2198"/>
                  </a:lnTo>
                  <a:lnTo>
                    <a:pt x="326" y="2200"/>
                  </a:lnTo>
                  <a:lnTo>
                    <a:pt x="318" y="2206"/>
                  </a:lnTo>
                  <a:lnTo>
                    <a:pt x="314" y="2208"/>
                  </a:lnTo>
                  <a:lnTo>
                    <a:pt x="310" y="2206"/>
                  </a:lnTo>
                  <a:lnTo>
                    <a:pt x="302" y="2192"/>
                  </a:lnTo>
                  <a:lnTo>
                    <a:pt x="298" y="2186"/>
                  </a:lnTo>
                  <a:lnTo>
                    <a:pt x="296" y="2186"/>
                  </a:lnTo>
                  <a:lnTo>
                    <a:pt x="292" y="2188"/>
                  </a:lnTo>
                  <a:lnTo>
                    <a:pt x="286" y="2190"/>
                  </a:lnTo>
                  <a:lnTo>
                    <a:pt x="282" y="2190"/>
                  </a:lnTo>
                  <a:lnTo>
                    <a:pt x="280" y="2190"/>
                  </a:lnTo>
                  <a:lnTo>
                    <a:pt x="278" y="2194"/>
                  </a:lnTo>
                  <a:lnTo>
                    <a:pt x="278" y="2198"/>
                  </a:lnTo>
                  <a:lnTo>
                    <a:pt x="276" y="2200"/>
                  </a:lnTo>
                  <a:lnTo>
                    <a:pt x="270" y="2200"/>
                  </a:lnTo>
                  <a:lnTo>
                    <a:pt x="264" y="2198"/>
                  </a:lnTo>
                  <a:lnTo>
                    <a:pt x="260" y="2196"/>
                  </a:lnTo>
                  <a:lnTo>
                    <a:pt x="258" y="2198"/>
                  </a:lnTo>
                  <a:lnTo>
                    <a:pt x="250" y="2200"/>
                  </a:lnTo>
                  <a:lnTo>
                    <a:pt x="240" y="2202"/>
                  </a:lnTo>
                  <a:lnTo>
                    <a:pt x="234" y="2206"/>
                  </a:lnTo>
                  <a:lnTo>
                    <a:pt x="230" y="2212"/>
                  </a:lnTo>
                  <a:lnTo>
                    <a:pt x="230" y="2216"/>
                  </a:lnTo>
                  <a:lnTo>
                    <a:pt x="232" y="2218"/>
                  </a:lnTo>
                  <a:lnTo>
                    <a:pt x="236" y="2218"/>
                  </a:lnTo>
                  <a:lnTo>
                    <a:pt x="240" y="2218"/>
                  </a:lnTo>
                  <a:lnTo>
                    <a:pt x="244" y="2218"/>
                  </a:lnTo>
                  <a:lnTo>
                    <a:pt x="246" y="2220"/>
                  </a:lnTo>
                  <a:lnTo>
                    <a:pt x="242" y="2220"/>
                  </a:lnTo>
                  <a:lnTo>
                    <a:pt x="238" y="2222"/>
                  </a:lnTo>
                  <a:lnTo>
                    <a:pt x="238" y="2224"/>
                  </a:lnTo>
                  <a:lnTo>
                    <a:pt x="236" y="2226"/>
                  </a:lnTo>
                  <a:lnTo>
                    <a:pt x="238" y="2228"/>
                  </a:lnTo>
                  <a:lnTo>
                    <a:pt x="242" y="2228"/>
                  </a:lnTo>
                  <a:lnTo>
                    <a:pt x="246" y="2228"/>
                  </a:lnTo>
                  <a:lnTo>
                    <a:pt x="250" y="2230"/>
                  </a:lnTo>
                  <a:lnTo>
                    <a:pt x="246" y="2232"/>
                  </a:lnTo>
                  <a:lnTo>
                    <a:pt x="240" y="2234"/>
                  </a:lnTo>
                  <a:lnTo>
                    <a:pt x="234" y="2234"/>
                  </a:lnTo>
                  <a:lnTo>
                    <a:pt x="234" y="2236"/>
                  </a:lnTo>
                  <a:lnTo>
                    <a:pt x="236" y="2238"/>
                  </a:lnTo>
                  <a:lnTo>
                    <a:pt x="242" y="2244"/>
                  </a:lnTo>
                  <a:lnTo>
                    <a:pt x="244" y="2248"/>
                  </a:lnTo>
                  <a:lnTo>
                    <a:pt x="248" y="2250"/>
                  </a:lnTo>
                  <a:lnTo>
                    <a:pt x="252" y="2250"/>
                  </a:lnTo>
                  <a:lnTo>
                    <a:pt x="258" y="2248"/>
                  </a:lnTo>
                  <a:lnTo>
                    <a:pt x="264" y="2248"/>
                  </a:lnTo>
                  <a:lnTo>
                    <a:pt x="280" y="2254"/>
                  </a:lnTo>
                  <a:lnTo>
                    <a:pt x="286" y="2258"/>
                  </a:lnTo>
                  <a:lnTo>
                    <a:pt x="292" y="2260"/>
                  </a:lnTo>
                  <a:lnTo>
                    <a:pt x="296" y="2262"/>
                  </a:lnTo>
                  <a:lnTo>
                    <a:pt x="302" y="2262"/>
                  </a:lnTo>
                  <a:lnTo>
                    <a:pt x="306" y="2262"/>
                  </a:lnTo>
                  <a:lnTo>
                    <a:pt x="306" y="2266"/>
                  </a:lnTo>
                  <a:lnTo>
                    <a:pt x="306" y="2268"/>
                  </a:lnTo>
                  <a:lnTo>
                    <a:pt x="314" y="2268"/>
                  </a:lnTo>
                  <a:lnTo>
                    <a:pt x="318" y="2268"/>
                  </a:lnTo>
                  <a:lnTo>
                    <a:pt x="322" y="2268"/>
                  </a:lnTo>
                  <a:lnTo>
                    <a:pt x="324" y="2270"/>
                  </a:lnTo>
                  <a:lnTo>
                    <a:pt x="322" y="2272"/>
                  </a:lnTo>
                  <a:lnTo>
                    <a:pt x="320" y="2276"/>
                  </a:lnTo>
                  <a:lnTo>
                    <a:pt x="320" y="2280"/>
                  </a:lnTo>
                  <a:lnTo>
                    <a:pt x="322" y="2282"/>
                  </a:lnTo>
                  <a:lnTo>
                    <a:pt x="330" y="2282"/>
                  </a:lnTo>
                  <a:lnTo>
                    <a:pt x="334" y="2282"/>
                  </a:lnTo>
                  <a:lnTo>
                    <a:pt x="334" y="2286"/>
                  </a:lnTo>
                  <a:lnTo>
                    <a:pt x="332" y="2290"/>
                  </a:lnTo>
                  <a:lnTo>
                    <a:pt x="334" y="2290"/>
                  </a:lnTo>
                  <a:lnTo>
                    <a:pt x="336" y="2292"/>
                  </a:lnTo>
                  <a:lnTo>
                    <a:pt x="340" y="2292"/>
                  </a:lnTo>
                  <a:lnTo>
                    <a:pt x="342" y="2294"/>
                  </a:lnTo>
                  <a:lnTo>
                    <a:pt x="342" y="2298"/>
                  </a:lnTo>
                  <a:lnTo>
                    <a:pt x="338" y="2300"/>
                  </a:lnTo>
                  <a:lnTo>
                    <a:pt x="336" y="2302"/>
                  </a:lnTo>
                  <a:lnTo>
                    <a:pt x="336" y="2306"/>
                  </a:lnTo>
                  <a:lnTo>
                    <a:pt x="340" y="2314"/>
                  </a:lnTo>
                  <a:lnTo>
                    <a:pt x="348" y="2324"/>
                  </a:lnTo>
                  <a:lnTo>
                    <a:pt x="358" y="2332"/>
                  </a:lnTo>
                  <a:lnTo>
                    <a:pt x="368" y="2336"/>
                  </a:lnTo>
                  <a:lnTo>
                    <a:pt x="374" y="2338"/>
                  </a:lnTo>
                  <a:lnTo>
                    <a:pt x="376" y="2338"/>
                  </a:lnTo>
                  <a:lnTo>
                    <a:pt x="374" y="2342"/>
                  </a:lnTo>
                  <a:lnTo>
                    <a:pt x="374" y="2346"/>
                  </a:lnTo>
                  <a:lnTo>
                    <a:pt x="376" y="2348"/>
                  </a:lnTo>
                  <a:lnTo>
                    <a:pt x="378" y="2352"/>
                  </a:lnTo>
                  <a:lnTo>
                    <a:pt x="378" y="2360"/>
                  </a:lnTo>
                  <a:lnTo>
                    <a:pt x="376" y="2364"/>
                  </a:lnTo>
                  <a:lnTo>
                    <a:pt x="374" y="2366"/>
                  </a:lnTo>
                  <a:lnTo>
                    <a:pt x="370" y="2368"/>
                  </a:lnTo>
                  <a:lnTo>
                    <a:pt x="370" y="2370"/>
                  </a:lnTo>
                  <a:lnTo>
                    <a:pt x="378" y="2376"/>
                  </a:lnTo>
                  <a:lnTo>
                    <a:pt x="388" y="2382"/>
                  </a:lnTo>
                  <a:lnTo>
                    <a:pt x="392" y="2388"/>
                  </a:lnTo>
                  <a:lnTo>
                    <a:pt x="394" y="2396"/>
                  </a:lnTo>
                  <a:lnTo>
                    <a:pt x="394" y="2402"/>
                  </a:lnTo>
                  <a:lnTo>
                    <a:pt x="394" y="2404"/>
                  </a:lnTo>
                  <a:lnTo>
                    <a:pt x="392" y="2398"/>
                  </a:lnTo>
                  <a:lnTo>
                    <a:pt x="388" y="2388"/>
                  </a:lnTo>
                  <a:lnTo>
                    <a:pt x="384" y="2384"/>
                  </a:lnTo>
                  <a:lnTo>
                    <a:pt x="380" y="2382"/>
                  </a:lnTo>
                  <a:lnTo>
                    <a:pt x="378" y="2390"/>
                  </a:lnTo>
                  <a:lnTo>
                    <a:pt x="372" y="2410"/>
                  </a:lnTo>
                  <a:lnTo>
                    <a:pt x="370" y="2426"/>
                  </a:lnTo>
                  <a:lnTo>
                    <a:pt x="372" y="2428"/>
                  </a:lnTo>
                  <a:lnTo>
                    <a:pt x="374" y="2426"/>
                  </a:lnTo>
                  <a:lnTo>
                    <a:pt x="376" y="2426"/>
                  </a:lnTo>
                  <a:lnTo>
                    <a:pt x="378" y="2426"/>
                  </a:lnTo>
                  <a:lnTo>
                    <a:pt x="378" y="2430"/>
                  </a:lnTo>
                  <a:lnTo>
                    <a:pt x="376" y="2432"/>
                  </a:lnTo>
                  <a:lnTo>
                    <a:pt x="374" y="2432"/>
                  </a:lnTo>
                  <a:lnTo>
                    <a:pt x="372" y="2436"/>
                  </a:lnTo>
                  <a:lnTo>
                    <a:pt x="370" y="2460"/>
                  </a:lnTo>
                  <a:lnTo>
                    <a:pt x="366" y="2480"/>
                  </a:lnTo>
                  <a:lnTo>
                    <a:pt x="362" y="2492"/>
                  </a:lnTo>
                  <a:lnTo>
                    <a:pt x="358" y="2500"/>
                  </a:lnTo>
                  <a:lnTo>
                    <a:pt x="352" y="2502"/>
                  </a:lnTo>
                  <a:lnTo>
                    <a:pt x="342" y="2506"/>
                  </a:lnTo>
                  <a:lnTo>
                    <a:pt x="334" y="2506"/>
                  </a:lnTo>
                  <a:lnTo>
                    <a:pt x="326" y="2504"/>
                  </a:lnTo>
                  <a:lnTo>
                    <a:pt x="314" y="2500"/>
                  </a:lnTo>
                  <a:lnTo>
                    <a:pt x="308" y="2500"/>
                  </a:lnTo>
                  <a:lnTo>
                    <a:pt x="300" y="2502"/>
                  </a:lnTo>
                  <a:lnTo>
                    <a:pt x="286" y="2498"/>
                  </a:lnTo>
                  <a:lnTo>
                    <a:pt x="278" y="2496"/>
                  </a:lnTo>
                  <a:lnTo>
                    <a:pt x="270" y="2496"/>
                  </a:lnTo>
                  <a:lnTo>
                    <a:pt x="252" y="2498"/>
                  </a:lnTo>
                  <a:lnTo>
                    <a:pt x="232" y="2498"/>
                  </a:lnTo>
                  <a:lnTo>
                    <a:pt x="220" y="2498"/>
                  </a:lnTo>
                  <a:lnTo>
                    <a:pt x="206" y="2494"/>
                  </a:lnTo>
                  <a:lnTo>
                    <a:pt x="192" y="2490"/>
                  </a:lnTo>
                  <a:lnTo>
                    <a:pt x="182" y="2490"/>
                  </a:lnTo>
                  <a:lnTo>
                    <a:pt x="172" y="2492"/>
                  </a:lnTo>
                  <a:lnTo>
                    <a:pt x="154" y="2492"/>
                  </a:lnTo>
                  <a:lnTo>
                    <a:pt x="142" y="2492"/>
                  </a:lnTo>
                  <a:lnTo>
                    <a:pt x="134" y="2490"/>
                  </a:lnTo>
                  <a:lnTo>
                    <a:pt x="120" y="2486"/>
                  </a:lnTo>
                  <a:lnTo>
                    <a:pt x="110" y="2482"/>
                  </a:lnTo>
                  <a:lnTo>
                    <a:pt x="104" y="2484"/>
                  </a:lnTo>
                  <a:lnTo>
                    <a:pt x="98" y="2486"/>
                  </a:lnTo>
                  <a:lnTo>
                    <a:pt x="92" y="2490"/>
                  </a:lnTo>
                  <a:lnTo>
                    <a:pt x="88" y="2492"/>
                  </a:lnTo>
                  <a:lnTo>
                    <a:pt x="86" y="2500"/>
                  </a:lnTo>
                  <a:lnTo>
                    <a:pt x="86" y="2504"/>
                  </a:lnTo>
                  <a:lnTo>
                    <a:pt x="82" y="2506"/>
                  </a:lnTo>
                  <a:lnTo>
                    <a:pt x="78" y="2506"/>
                  </a:lnTo>
                  <a:lnTo>
                    <a:pt x="72" y="2506"/>
                  </a:lnTo>
                  <a:lnTo>
                    <a:pt x="66" y="2508"/>
                  </a:lnTo>
                  <a:lnTo>
                    <a:pt x="54" y="2516"/>
                  </a:lnTo>
                  <a:lnTo>
                    <a:pt x="50" y="2520"/>
                  </a:lnTo>
                  <a:lnTo>
                    <a:pt x="48" y="2524"/>
                  </a:lnTo>
                  <a:lnTo>
                    <a:pt x="48" y="2528"/>
                  </a:lnTo>
                  <a:lnTo>
                    <a:pt x="50" y="2530"/>
                  </a:lnTo>
                  <a:lnTo>
                    <a:pt x="54" y="2534"/>
                  </a:lnTo>
                  <a:lnTo>
                    <a:pt x="56" y="2540"/>
                  </a:lnTo>
                  <a:lnTo>
                    <a:pt x="58" y="2546"/>
                  </a:lnTo>
                  <a:lnTo>
                    <a:pt x="60" y="2552"/>
                  </a:lnTo>
                  <a:lnTo>
                    <a:pt x="64" y="2560"/>
                  </a:lnTo>
                  <a:lnTo>
                    <a:pt x="64" y="2570"/>
                  </a:lnTo>
                  <a:lnTo>
                    <a:pt x="64" y="2578"/>
                  </a:lnTo>
                  <a:lnTo>
                    <a:pt x="66" y="2588"/>
                  </a:lnTo>
                  <a:lnTo>
                    <a:pt x="64" y="2594"/>
                  </a:lnTo>
                  <a:lnTo>
                    <a:pt x="66" y="2596"/>
                  </a:lnTo>
                  <a:lnTo>
                    <a:pt x="68" y="2600"/>
                  </a:lnTo>
                  <a:lnTo>
                    <a:pt x="66" y="2602"/>
                  </a:lnTo>
                  <a:lnTo>
                    <a:pt x="66" y="2606"/>
                  </a:lnTo>
                  <a:lnTo>
                    <a:pt x="66" y="2612"/>
                  </a:lnTo>
                  <a:lnTo>
                    <a:pt x="74" y="2628"/>
                  </a:lnTo>
                  <a:lnTo>
                    <a:pt x="74" y="2632"/>
                  </a:lnTo>
                  <a:lnTo>
                    <a:pt x="74" y="2640"/>
                  </a:lnTo>
                  <a:lnTo>
                    <a:pt x="70" y="2654"/>
                  </a:lnTo>
                  <a:lnTo>
                    <a:pt x="66" y="2670"/>
                  </a:lnTo>
                  <a:lnTo>
                    <a:pt x="64" y="2680"/>
                  </a:lnTo>
                  <a:lnTo>
                    <a:pt x="66" y="2684"/>
                  </a:lnTo>
                  <a:lnTo>
                    <a:pt x="64" y="2688"/>
                  </a:lnTo>
                  <a:lnTo>
                    <a:pt x="60" y="2694"/>
                  </a:lnTo>
                  <a:lnTo>
                    <a:pt x="56" y="2708"/>
                  </a:lnTo>
                  <a:lnTo>
                    <a:pt x="54" y="2716"/>
                  </a:lnTo>
                  <a:lnTo>
                    <a:pt x="50" y="2720"/>
                  </a:lnTo>
                  <a:lnTo>
                    <a:pt x="46" y="2724"/>
                  </a:lnTo>
                  <a:lnTo>
                    <a:pt x="44" y="2726"/>
                  </a:lnTo>
                  <a:lnTo>
                    <a:pt x="44" y="2730"/>
                  </a:lnTo>
                  <a:lnTo>
                    <a:pt x="44" y="2734"/>
                  </a:lnTo>
                  <a:lnTo>
                    <a:pt x="44" y="2740"/>
                  </a:lnTo>
                  <a:lnTo>
                    <a:pt x="40" y="2750"/>
                  </a:lnTo>
                  <a:lnTo>
                    <a:pt x="38" y="2756"/>
                  </a:lnTo>
                  <a:lnTo>
                    <a:pt x="38" y="2760"/>
                  </a:lnTo>
                  <a:lnTo>
                    <a:pt x="40" y="2762"/>
                  </a:lnTo>
                  <a:lnTo>
                    <a:pt x="44" y="2764"/>
                  </a:lnTo>
                  <a:lnTo>
                    <a:pt x="52" y="2764"/>
                  </a:lnTo>
                  <a:lnTo>
                    <a:pt x="50" y="2766"/>
                  </a:lnTo>
                  <a:lnTo>
                    <a:pt x="50" y="2770"/>
                  </a:lnTo>
                  <a:lnTo>
                    <a:pt x="50" y="2772"/>
                  </a:lnTo>
                  <a:lnTo>
                    <a:pt x="50" y="2776"/>
                  </a:lnTo>
                  <a:lnTo>
                    <a:pt x="50" y="2778"/>
                  </a:lnTo>
                  <a:lnTo>
                    <a:pt x="52" y="2778"/>
                  </a:lnTo>
                  <a:lnTo>
                    <a:pt x="58" y="2776"/>
                  </a:lnTo>
                  <a:lnTo>
                    <a:pt x="64" y="2778"/>
                  </a:lnTo>
                  <a:lnTo>
                    <a:pt x="66" y="2780"/>
                  </a:lnTo>
                  <a:lnTo>
                    <a:pt x="66" y="2782"/>
                  </a:lnTo>
                  <a:lnTo>
                    <a:pt x="68" y="2788"/>
                  </a:lnTo>
                  <a:lnTo>
                    <a:pt x="66" y="2794"/>
                  </a:lnTo>
                  <a:lnTo>
                    <a:pt x="64" y="2804"/>
                  </a:lnTo>
                  <a:lnTo>
                    <a:pt x="66" y="2810"/>
                  </a:lnTo>
                  <a:lnTo>
                    <a:pt x="66" y="2820"/>
                  </a:lnTo>
                  <a:lnTo>
                    <a:pt x="62" y="2842"/>
                  </a:lnTo>
                  <a:lnTo>
                    <a:pt x="60" y="2856"/>
                  </a:lnTo>
                  <a:lnTo>
                    <a:pt x="62" y="2856"/>
                  </a:lnTo>
                  <a:lnTo>
                    <a:pt x="64" y="2856"/>
                  </a:lnTo>
                  <a:lnTo>
                    <a:pt x="68" y="2852"/>
                  </a:lnTo>
                  <a:lnTo>
                    <a:pt x="72" y="2850"/>
                  </a:lnTo>
                  <a:lnTo>
                    <a:pt x="80" y="2850"/>
                  </a:lnTo>
                  <a:lnTo>
                    <a:pt x="92" y="2854"/>
                  </a:lnTo>
                  <a:lnTo>
                    <a:pt x="104" y="2858"/>
                  </a:lnTo>
                  <a:lnTo>
                    <a:pt x="110" y="2856"/>
                  </a:lnTo>
                  <a:lnTo>
                    <a:pt x="114" y="2852"/>
                  </a:lnTo>
                  <a:lnTo>
                    <a:pt x="124" y="2846"/>
                  </a:lnTo>
                  <a:lnTo>
                    <a:pt x="130" y="2844"/>
                  </a:lnTo>
                  <a:lnTo>
                    <a:pt x="136" y="2844"/>
                  </a:lnTo>
                  <a:lnTo>
                    <a:pt x="142" y="2846"/>
                  </a:lnTo>
                  <a:lnTo>
                    <a:pt x="148" y="2850"/>
                  </a:lnTo>
                  <a:lnTo>
                    <a:pt x="158" y="2858"/>
                  </a:lnTo>
                  <a:lnTo>
                    <a:pt x="160" y="2862"/>
                  </a:lnTo>
                  <a:lnTo>
                    <a:pt x="162" y="2866"/>
                  </a:lnTo>
                  <a:lnTo>
                    <a:pt x="162" y="2874"/>
                  </a:lnTo>
                  <a:lnTo>
                    <a:pt x="166" y="2882"/>
                  </a:lnTo>
                  <a:lnTo>
                    <a:pt x="174" y="2892"/>
                  </a:lnTo>
                  <a:lnTo>
                    <a:pt x="182" y="2902"/>
                  </a:lnTo>
                  <a:lnTo>
                    <a:pt x="190" y="2908"/>
                  </a:lnTo>
                  <a:lnTo>
                    <a:pt x="196" y="2910"/>
                  </a:lnTo>
                  <a:lnTo>
                    <a:pt x="198" y="2910"/>
                  </a:lnTo>
                  <a:lnTo>
                    <a:pt x="202" y="2906"/>
                  </a:lnTo>
                  <a:lnTo>
                    <a:pt x="206" y="2902"/>
                  </a:lnTo>
                  <a:lnTo>
                    <a:pt x="208" y="2898"/>
                  </a:lnTo>
                  <a:lnTo>
                    <a:pt x="212" y="2892"/>
                  </a:lnTo>
                  <a:lnTo>
                    <a:pt x="214" y="2888"/>
                  </a:lnTo>
                  <a:lnTo>
                    <a:pt x="218" y="2886"/>
                  </a:lnTo>
                  <a:lnTo>
                    <a:pt x="228" y="2884"/>
                  </a:lnTo>
                  <a:lnTo>
                    <a:pt x="236" y="2884"/>
                  </a:lnTo>
                  <a:lnTo>
                    <a:pt x="238" y="2882"/>
                  </a:lnTo>
                  <a:lnTo>
                    <a:pt x="240" y="2880"/>
                  </a:lnTo>
                  <a:lnTo>
                    <a:pt x="246" y="2874"/>
                  </a:lnTo>
                  <a:lnTo>
                    <a:pt x="254" y="2868"/>
                  </a:lnTo>
                  <a:lnTo>
                    <a:pt x="264" y="2868"/>
                  </a:lnTo>
                  <a:lnTo>
                    <a:pt x="270" y="2868"/>
                  </a:lnTo>
                  <a:lnTo>
                    <a:pt x="276" y="2870"/>
                  </a:lnTo>
                  <a:lnTo>
                    <a:pt x="284" y="2872"/>
                  </a:lnTo>
                  <a:lnTo>
                    <a:pt x="292" y="2874"/>
                  </a:lnTo>
                  <a:lnTo>
                    <a:pt x="310" y="2870"/>
                  </a:lnTo>
                  <a:lnTo>
                    <a:pt x="322" y="2868"/>
                  </a:lnTo>
                  <a:lnTo>
                    <a:pt x="328" y="2866"/>
                  </a:lnTo>
                  <a:lnTo>
                    <a:pt x="332" y="2868"/>
                  </a:lnTo>
                  <a:lnTo>
                    <a:pt x="336" y="2870"/>
                  </a:lnTo>
                  <a:lnTo>
                    <a:pt x="340" y="2866"/>
                  </a:lnTo>
                  <a:lnTo>
                    <a:pt x="346" y="2852"/>
                  </a:lnTo>
                  <a:lnTo>
                    <a:pt x="350" y="2844"/>
                  </a:lnTo>
                  <a:lnTo>
                    <a:pt x="356" y="2836"/>
                  </a:lnTo>
                  <a:lnTo>
                    <a:pt x="364" y="2830"/>
                  </a:lnTo>
                  <a:lnTo>
                    <a:pt x="374" y="2828"/>
                  </a:lnTo>
                  <a:lnTo>
                    <a:pt x="390" y="2826"/>
                  </a:lnTo>
                  <a:lnTo>
                    <a:pt x="392" y="2824"/>
                  </a:lnTo>
                  <a:lnTo>
                    <a:pt x="390" y="2818"/>
                  </a:lnTo>
                  <a:lnTo>
                    <a:pt x="392" y="2808"/>
                  </a:lnTo>
                  <a:lnTo>
                    <a:pt x="396" y="2798"/>
                  </a:lnTo>
                  <a:lnTo>
                    <a:pt x="402" y="2788"/>
                  </a:lnTo>
                  <a:lnTo>
                    <a:pt x="410" y="2780"/>
                  </a:lnTo>
                  <a:lnTo>
                    <a:pt x="424" y="2768"/>
                  </a:lnTo>
                  <a:lnTo>
                    <a:pt x="428" y="2764"/>
                  </a:lnTo>
                  <a:lnTo>
                    <a:pt x="430" y="2760"/>
                  </a:lnTo>
                  <a:lnTo>
                    <a:pt x="428" y="2756"/>
                  </a:lnTo>
                  <a:lnTo>
                    <a:pt x="422" y="2752"/>
                  </a:lnTo>
                  <a:lnTo>
                    <a:pt x="416" y="2746"/>
                  </a:lnTo>
                  <a:lnTo>
                    <a:pt x="412" y="2740"/>
                  </a:lnTo>
                  <a:lnTo>
                    <a:pt x="410" y="2734"/>
                  </a:lnTo>
                  <a:lnTo>
                    <a:pt x="410" y="2724"/>
                  </a:lnTo>
                  <a:lnTo>
                    <a:pt x="412" y="2714"/>
                  </a:lnTo>
                  <a:lnTo>
                    <a:pt x="418" y="2702"/>
                  </a:lnTo>
                  <a:lnTo>
                    <a:pt x="424" y="2690"/>
                  </a:lnTo>
                  <a:lnTo>
                    <a:pt x="438" y="2670"/>
                  </a:lnTo>
                  <a:lnTo>
                    <a:pt x="446" y="2664"/>
                  </a:lnTo>
                  <a:lnTo>
                    <a:pt x="450" y="2660"/>
                  </a:lnTo>
                  <a:lnTo>
                    <a:pt x="460" y="2656"/>
                  </a:lnTo>
                  <a:lnTo>
                    <a:pt x="460" y="2654"/>
                  </a:lnTo>
                  <a:lnTo>
                    <a:pt x="460" y="2652"/>
                  </a:lnTo>
                  <a:lnTo>
                    <a:pt x="454" y="2648"/>
                  </a:lnTo>
                  <a:lnTo>
                    <a:pt x="454" y="2646"/>
                  </a:lnTo>
                  <a:lnTo>
                    <a:pt x="454" y="2642"/>
                  </a:lnTo>
                  <a:lnTo>
                    <a:pt x="458" y="2638"/>
                  </a:lnTo>
                  <a:lnTo>
                    <a:pt x="466" y="2634"/>
                  </a:lnTo>
                  <a:lnTo>
                    <a:pt x="484" y="2628"/>
                  </a:lnTo>
                  <a:lnTo>
                    <a:pt x="502" y="2624"/>
                  </a:lnTo>
                  <a:lnTo>
                    <a:pt x="508" y="2620"/>
                  </a:lnTo>
                  <a:lnTo>
                    <a:pt x="510" y="2616"/>
                  </a:lnTo>
                  <a:lnTo>
                    <a:pt x="514" y="2612"/>
                  </a:lnTo>
                  <a:lnTo>
                    <a:pt x="520" y="2608"/>
                  </a:lnTo>
                  <a:lnTo>
                    <a:pt x="536" y="2600"/>
                  </a:lnTo>
                  <a:lnTo>
                    <a:pt x="544" y="2596"/>
                  </a:lnTo>
                  <a:lnTo>
                    <a:pt x="550" y="2590"/>
                  </a:lnTo>
                  <a:lnTo>
                    <a:pt x="552" y="2584"/>
                  </a:lnTo>
                  <a:lnTo>
                    <a:pt x="552" y="2580"/>
                  </a:lnTo>
                  <a:lnTo>
                    <a:pt x="550" y="2576"/>
                  </a:lnTo>
                  <a:lnTo>
                    <a:pt x="550" y="2572"/>
                  </a:lnTo>
                  <a:lnTo>
                    <a:pt x="550" y="2570"/>
                  </a:lnTo>
                  <a:lnTo>
                    <a:pt x="554" y="2566"/>
                  </a:lnTo>
                  <a:lnTo>
                    <a:pt x="556" y="2566"/>
                  </a:lnTo>
                  <a:lnTo>
                    <a:pt x="556" y="2562"/>
                  </a:lnTo>
                  <a:lnTo>
                    <a:pt x="554" y="2560"/>
                  </a:lnTo>
                  <a:lnTo>
                    <a:pt x="548" y="2554"/>
                  </a:lnTo>
                  <a:lnTo>
                    <a:pt x="548" y="2542"/>
                  </a:lnTo>
                  <a:lnTo>
                    <a:pt x="548" y="2536"/>
                  </a:lnTo>
                  <a:lnTo>
                    <a:pt x="548" y="2532"/>
                  </a:lnTo>
                  <a:lnTo>
                    <a:pt x="548" y="2524"/>
                  </a:lnTo>
                  <a:lnTo>
                    <a:pt x="548" y="2518"/>
                  </a:lnTo>
                  <a:lnTo>
                    <a:pt x="550" y="2514"/>
                  </a:lnTo>
                  <a:lnTo>
                    <a:pt x="556" y="2510"/>
                  </a:lnTo>
                  <a:lnTo>
                    <a:pt x="564" y="2508"/>
                  </a:lnTo>
                  <a:lnTo>
                    <a:pt x="572" y="2502"/>
                  </a:lnTo>
                  <a:lnTo>
                    <a:pt x="584" y="2494"/>
                  </a:lnTo>
                  <a:lnTo>
                    <a:pt x="586" y="2494"/>
                  </a:lnTo>
                  <a:lnTo>
                    <a:pt x="588" y="2494"/>
                  </a:lnTo>
                  <a:lnTo>
                    <a:pt x="590" y="2498"/>
                  </a:lnTo>
                  <a:lnTo>
                    <a:pt x="592" y="2500"/>
                  </a:lnTo>
                  <a:lnTo>
                    <a:pt x="598" y="2502"/>
                  </a:lnTo>
                  <a:lnTo>
                    <a:pt x="604" y="2502"/>
                  </a:lnTo>
                  <a:lnTo>
                    <a:pt x="608" y="2504"/>
                  </a:lnTo>
                  <a:lnTo>
                    <a:pt x="610" y="2506"/>
                  </a:lnTo>
                  <a:lnTo>
                    <a:pt x="616" y="2506"/>
                  </a:lnTo>
                  <a:lnTo>
                    <a:pt x="626" y="2504"/>
                  </a:lnTo>
                  <a:lnTo>
                    <a:pt x="630" y="2504"/>
                  </a:lnTo>
                  <a:lnTo>
                    <a:pt x="634" y="2506"/>
                  </a:lnTo>
                  <a:lnTo>
                    <a:pt x="640" y="2512"/>
                  </a:lnTo>
                  <a:lnTo>
                    <a:pt x="644" y="2516"/>
                  </a:lnTo>
                  <a:lnTo>
                    <a:pt x="646" y="2516"/>
                  </a:lnTo>
                  <a:lnTo>
                    <a:pt x="650" y="2514"/>
                  </a:lnTo>
                  <a:lnTo>
                    <a:pt x="654" y="2516"/>
                  </a:lnTo>
                  <a:lnTo>
                    <a:pt x="656" y="2518"/>
                  </a:lnTo>
                  <a:lnTo>
                    <a:pt x="660" y="2520"/>
                  </a:lnTo>
                  <a:lnTo>
                    <a:pt x="664" y="2520"/>
                  </a:lnTo>
                  <a:lnTo>
                    <a:pt x="678" y="2518"/>
                  </a:lnTo>
                  <a:lnTo>
                    <a:pt x="690" y="2512"/>
                  </a:lnTo>
                  <a:lnTo>
                    <a:pt x="692" y="2508"/>
                  </a:lnTo>
                  <a:lnTo>
                    <a:pt x="694" y="2506"/>
                  </a:lnTo>
                  <a:lnTo>
                    <a:pt x="694" y="2502"/>
                  </a:lnTo>
                  <a:lnTo>
                    <a:pt x="696" y="2500"/>
                  </a:lnTo>
                  <a:lnTo>
                    <a:pt x="704" y="2494"/>
                  </a:lnTo>
                  <a:lnTo>
                    <a:pt x="726" y="2482"/>
                  </a:lnTo>
                  <a:lnTo>
                    <a:pt x="738" y="2476"/>
                  </a:lnTo>
                  <a:lnTo>
                    <a:pt x="748" y="2472"/>
                  </a:lnTo>
                  <a:lnTo>
                    <a:pt x="754" y="2466"/>
                  </a:lnTo>
                  <a:lnTo>
                    <a:pt x="758" y="2462"/>
                  </a:lnTo>
                  <a:lnTo>
                    <a:pt x="762" y="2452"/>
                  </a:lnTo>
                  <a:lnTo>
                    <a:pt x="766" y="2448"/>
                  </a:lnTo>
                  <a:lnTo>
                    <a:pt x="774" y="2444"/>
                  </a:lnTo>
                  <a:lnTo>
                    <a:pt x="780" y="2444"/>
                  </a:lnTo>
                  <a:lnTo>
                    <a:pt x="786" y="2444"/>
                  </a:lnTo>
                  <a:lnTo>
                    <a:pt x="792" y="2448"/>
                  </a:lnTo>
                  <a:lnTo>
                    <a:pt x="798" y="2454"/>
                  </a:lnTo>
                  <a:lnTo>
                    <a:pt x="808" y="2462"/>
                  </a:lnTo>
                  <a:lnTo>
                    <a:pt x="814" y="2466"/>
                  </a:lnTo>
                  <a:lnTo>
                    <a:pt x="820" y="2466"/>
                  </a:lnTo>
                  <a:lnTo>
                    <a:pt x="826" y="2466"/>
                  </a:lnTo>
                  <a:lnTo>
                    <a:pt x="830" y="2468"/>
                  </a:lnTo>
                  <a:lnTo>
                    <a:pt x="832" y="2474"/>
                  </a:lnTo>
                  <a:lnTo>
                    <a:pt x="834" y="2480"/>
                  </a:lnTo>
                  <a:lnTo>
                    <a:pt x="836" y="2494"/>
                  </a:lnTo>
                  <a:lnTo>
                    <a:pt x="838" y="2500"/>
                  </a:lnTo>
                  <a:lnTo>
                    <a:pt x="842" y="2504"/>
                  </a:lnTo>
                  <a:lnTo>
                    <a:pt x="844" y="2508"/>
                  </a:lnTo>
                  <a:lnTo>
                    <a:pt x="846" y="2512"/>
                  </a:lnTo>
                  <a:lnTo>
                    <a:pt x="846" y="2518"/>
                  </a:lnTo>
                  <a:lnTo>
                    <a:pt x="846" y="2522"/>
                  </a:lnTo>
                  <a:lnTo>
                    <a:pt x="846" y="2526"/>
                  </a:lnTo>
                  <a:lnTo>
                    <a:pt x="848" y="2530"/>
                  </a:lnTo>
                  <a:lnTo>
                    <a:pt x="854" y="2536"/>
                  </a:lnTo>
                  <a:lnTo>
                    <a:pt x="870" y="2546"/>
                  </a:lnTo>
                  <a:lnTo>
                    <a:pt x="872" y="2550"/>
                  </a:lnTo>
                  <a:lnTo>
                    <a:pt x="872" y="2556"/>
                  </a:lnTo>
                  <a:lnTo>
                    <a:pt x="872" y="2560"/>
                  </a:lnTo>
                  <a:lnTo>
                    <a:pt x="874" y="2562"/>
                  </a:lnTo>
                  <a:lnTo>
                    <a:pt x="882" y="2564"/>
                  </a:lnTo>
                  <a:lnTo>
                    <a:pt x="890" y="2566"/>
                  </a:lnTo>
                  <a:lnTo>
                    <a:pt x="894" y="2570"/>
                  </a:lnTo>
                  <a:lnTo>
                    <a:pt x="898" y="2576"/>
                  </a:lnTo>
                  <a:lnTo>
                    <a:pt x="902" y="2584"/>
                  </a:lnTo>
                  <a:lnTo>
                    <a:pt x="906" y="2586"/>
                  </a:lnTo>
                  <a:lnTo>
                    <a:pt x="910" y="2588"/>
                  </a:lnTo>
                  <a:lnTo>
                    <a:pt x="920" y="2598"/>
                  </a:lnTo>
                  <a:lnTo>
                    <a:pt x="932" y="2612"/>
                  </a:lnTo>
                  <a:lnTo>
                    <a:pt x="944" y="2620"/>
                  </a:lnTo>
                  <a:lnTo>
                    <a:pt x="956" y="2624"/>
                  </a:lnTo>
                  <a:lnTo>
                    <a:pt x="970" y="2624"/>
                  </a:lnTo>
                  <a:lnTo>
                    <a:pt x="974" y="2626"/>
                  </a:lnTo>
                  <a:lnTo>
                    <a:pt x="978" y="2628"/>
                  </a:lnTo>
                  <a:lnTo>
                    <a:pt x="982" y="2638"/>
                  </a:lnTo>
                  <a:lnTo>
                    <a:pt x="988" y="2646"/>
                  </a:lnTo>
                  <a:lnTo>
                    <a:pt x="990" y="2650"/>
                  </a:lnTo>
                  <a:lnTo>
                    <a:pt x="996" y="2650"/>
                  </a:lnTo>
                  <a:lnTo>
                    <a:pt x="1002" y="2650"/>
                  </a:lnTo>
                  <a:lnTo>
                    <a:pt x="1004" y="2650"/>
                  </a:lnTo>
                  <a:lnTo>
                    <a:pt x="1004" y="2656"/>
                  </a:lnTo>
                  <a:lnTo>
                    <a:pt x="1002" y="2658"/>
                  </a:lnTo>
                  <a:lnTo>
                    <a:pt x="1004" y="2658"/>
                  </a:lnTo>
                  <a:lnTo>
                    <a:pt x="1006" y="2660"/>
                  </a:lnTo>
                  <a:lnTo>
                    <a:pt x="1012" y="2658"/>
                  </a:lnTo>
                  <a:lnTo>
                    <a:pt x="1018" y="2658"/>
                  </a:lnTo>
                  <a:lnTo>
                    <a:pt x="1020" y="2660"/>
                  </a:lnTo>
                  <a:lnTo>
                    <a:pt x="1022" y="2662"/>
                  </a:lnTo>
                  <a:lnTo>
                    <a:pt x="1022" y="2666"/>
                  </a:lnTo>
                  <a:lnTo>
                    <a:pt x="1022" y="2674"/>
                  </a:lnTo>
                  <a:lnTo>
                    <a:pt x="1024" y="2680"/>
                  </a:lnTo>
                  <a:lnTo>
                    <a:pt x="1030" y="2684"/>
                  </a:lnTo>
                  <a:lnTo>
                    <a:pt x="1040" y="2690"/>
                  </a:lnTo>
                  <a:lnTo>
                    <a:pt x="1050" y="2694"/>
                  </a:lnTo>
                  <a:lnTo>
                    <a:pt x="1054" y="2698"/>
                  </a:lnTo>
                  <a:lnTo>
                    <a:pt x="1058" y="2702"/>
                  </a:lnTo>
                  <a:lnTo>
                    <a:pt x="1062" y="2710"/>
                  </a:lnTo>
                  <a:lnTo>
                    <a:pt x="1066" y="2720"/>
                  </a:lnTo>
                  <a:lnTo>
                    <a:pt x="1070" y="2740"/>
                  </a:lnTo>
                  <a:lnTo>
                    <a:pt x="1072" y="2752"/>
                  </a:lnTo>
                  <a:lnTo>
                    <a:pt x="1072" y="2758"/>
                  </a:lnTo>
                  <a:lnTo>
                    <a:pt x="1066" y="2762"/>
                  </a:lnTo>
                  <a:lnTo>
                    <a:pt x="1064" y="2768"/>
                  </a:lnTo>
                  <a:lnTo>
                    <a:pt x="1064" y="2772"/>
                  </a:lnTo>
                  <a:lnTo>
                    <a:pt x="1062" y="2776"/>
                  </a:lnTo>
                  <a:lnTo>
                    <a:pt x="1060" y="2784"/>
                  </a:lnTo>
                  <a:lnTo>
                    <a:pt x="1054" y="2790"/>
                  </a:lnTo>
                  <a:lnTo>
                    <a:pt x="1052" y="2796"/>
                  </a:lnTo>
                  <a:lnTo>
                    <a:pt x="1054" y="2802"/>
                  </a:lnTo>
                  <a:lnTo>
                    <a:pt x="1058" y="2806"/>
                  </a:lnTo>
                  <a:lnTo>
                    <a:pt x="1064" y="2808"/>
                  </a:lnTo>
                  <a:lnTo>
                    <a:pt x="1068" y="2808"/>
                  </a:lnTo>
                  <a:lnTo>
                    <a:pt x="1070" y="2806"/>
                  </a:lnTo>
                  <a:lnTo>
                    <a:pt x="1072" y="2804"/>
                  </a:lnTo>
                  <a:lnTo>
                    <a:pt x="1076" y="2794"/>
                  </a:lnTo>
                  <a:lnTo>
                    <a:pt x="1084" y="2784"/>
                  </a:lnTo>
                  <a:lnTo>
                    <a:pt x="1088" y="2780"/>
                  </a:lnTo>
                  <a:lnTo>
                    <a:pt x="1090" y="2776"/>
                  </a:lnTo>
                  <a:lnTo>
                    <a:pt x="1092" y="2768"/>
                  </a:lnTo>
                  <a:lnTo>
                    <a:pt x="1096" y="2760"/>
                  </a:lnTo>
                  <a:lnTo>
                    <a:pt x="1098" y="2756"/>
                  </a:lnTo>
                  <a:lnTo>
                    <a:pt x="1104" y="2752"/>
                  </a:lnTo>
                  <a:lnTo>
                    <a:pt x="1110" y="2748"/>
                  </a:lnTo>
                  <a:lnTo>
                    <a:pt x="1114" y="2742"/>
                  </a:lnTo>
                  <a:lnTo>
                    <a:pt x="1116" y="2738"/>
                  </a:lnTo>
                  <a:lnTo>
                    <a:pt x="1114" y="2732"/>
                  </a:lnTo>
                  <a:lnTo>
                    <a:pt x="1112" y="2726"/>
                  </a:lnTo>
                  <a:lnTo>
                    <a:pt x="1108" y="2722"/>
                  </a:lnTo>
                  <a:lnTo>
                    <a:pt x="1104" y="2718"/>
                  </a:lnTo>
                  <a:lnTo>
                    <a:pt x="1098" y="2716"/>
                  </a:lnTo>
                  <a:lnTo>
                    <a:pt x="1090" y="2712"/>
                  </a:lnTo>
                  <a:lnTo>
                    <a:pt x="1086" y="2708"/>
                  </a:lnTo>
                  <a:lnTo>
                    <a:pt x="1086" y="2704"/>
                  </a:lnTo>
                  <a:lnTo>
                    <a:pt x="1090" y="2698"/>
                  </a:lnTo>
                  <a:lnTo>
                    <a:pt x="1092" y="2692"/>
                  </a:lnTo>
                  <a:lnTo>
                    <a:pt x="1094" y="2684"/>
                  </a:lnTo>
                  <a:lnTo>
                    <a:pt x="1096" y="2676"/>
                  </a:lnTo>
                  <a:lnTo>
                    <a:pt x="1100" y="2672"/>
                  </a:lnTo>
                  <a:lnTo>
                    <a:pt x="1104" y="2670"/>
                  </a:lnTo>
                  <a:lnTo>
                    <a:pt x="1112" y="2666"/>
                  </a:lnTo>
                  <a:lnTo>
                    <a:pt x="1116" y="2668"/>
                  </a:lnTo>
                  <a:lnTo>
                    <a:pt x="1124" y="2670"/>
                  </a:lnTo>
                  <a:lnTo>
                    <a:pt x="1134" y="2672"/>
                  </a:lnTo>
                  <a:lnTo>
                    <a:pt x="1140" y="2674"/>
                  </a:lnTo>
                  <a:lnTo>
                    <a:pt x="1144" y="2678"/>
                  </a:lnTo>
                  <a:lnTo>
                    <a:pt x="1148" y="2688"/>
                  </a:lnTo>
                  <a:lnTo>
                    <a:pt x="1150" y="2696"/>
                  </a:lnTo>
                  <a:lnTo>
                    <a:pt x="1154" y="2700"/>
                  </a:lnTo>
                  <a:lnTo>
                    <a:pt x="1158" y="2702"/>
                  </a:lnTo>
                  <a:lnTo>
                    <a:pt x="1166" y="2702"/>
                  </a:lnTo>
                  <a:lnTo>
                    <a:pt x="1166" y="2700"/>
                  </a:lnTo>
                  <a:lnTo>
                    <a:pt x="1166" y="2696"/>
                  </a:lnTo>
                  <a:lnTo>
                    <a:pt x="1168" y="2688"/>
                  </a:lnTo>
                  <a:lnTo>
                    <a:pt x="1168" y="2684"/>
                  </a:lnTo>
                  <a:lnTo>
                    <a:pt x="1168" y="2678"/>
                  </a:lnTo>
                  <a:lnTo>
                    <a:pt x="1166" y="2674"/>
                  </a:lnTo>
                  <a:lnTo>
                    <a:pt x="1162" y="2670"/>
                  </a:lnTo>
                  <a:lnTo>
                    <a:pt x="1152" y="2662"/>
                  </a:lnTo>
                  <a:lnTo>
                    <a:pt x="1142" y="2654"/>
                  </a:lnTo>
                  <a:lnTo>
                    <a:pt x="1126" y="2646"/>
                  </a:lnTo>
                  <a:lnTo>
                    <a:pt x="1120" y="2642"/>
                  </a:lnTo>
                  <a:lnTo>
                    <a:pt x="1114" y="2636"/>
                  </a:lnTo>
                  <a:lnTo>
                    <a:pt x="1110" y="2632"/>
                  </a:lnTo>
                  <a:lnTo>
                    <a:pt x="1102" y="2628"/>
                  </a:lnTo>
                  <a:lnTo>
                    <a:pt x="1082" y="2620"/>
                  </a:lnTo>
                  <a:lnTo>
                    <a:pt x="1074" y="2616"/>
                  </a:lnTo>
                  <a:lnTo>
                    <a:pt x="1068" y="2610"/>
                  </a:lnTo>
                  <a:lnTo>
                    <a:pt x="1066" y="2606"/>
                  </a:lnTo>
                  <a:lnTo>
                    <a:pt x="1066" y="2602"/>
                  </a:lnTo>
                  <a:lnTo>
                    <a:pt x="1070" y="2600"/>
                  </a:lnTo>
                  <a:lnTo>
                    <a:pt x="1074" y="2594"/>
                  </a:lnTo>
                  <a:lnTo>
                    <a:pt x="1076" y="2592"/>
                  </a:lnTo>
                  <a:lnTo>
                    <a:pt x="1074" y="2590"/>
                  </a:lnTo>
                  <a:lnTo>
                    <a:pt x="1068" y="2588"/>
                  </a:lnTo>
                  <a:lnTo>
                    <a:pt x="1060" y="2586"/>
                  </a:lnTo>
                  <a:lnTo>
                    <a:pt x="1036" y="2584"/>
                  </a:lnTo>
                  <a:lnTo>
                    <a:pt x="1026" y="2580"/>
                  </a:lnTo>
                  <a:lnTo>
                    <a:pt x="1016" y="2576"/>
                  </a:lnTo>
                  <a:lnTo>
                    <a:pt x="1002" y="2560"/>
                  </a:lnTo>
                  <a:lnTo>
                    <a:pt x="990" y="2544"/>
                  </a:lnTo>
                  <a:lnTo>
                    <a:pt x="984" y="2530"/>
                  </a:lnTo>
                  <a:lnTo>
                    <a:pt x="978" y="2518"/>
                  </a:lnTo>
                  <a:lnTo>
                    <a:pt x="974" y="2498"/>
                  </a:lnTo>
                  <a:lnTo>
                    <a:pt x="970" y="2492"/>
                  </a:lnTo>
                  <a:lnTo>
                    <a:pt x="966" y="2490"/>
                  </a:lnTo>
                  <a:lnTo>
                    <a:pt x="958" y="2488"/>
                  </a:lnTo>
                  <a:lnTo>
                    <a:pt x="950" y="2484"/>
                  </a:lnTo>
                  <a:lnTo>
                    <a:pt x="944" y="2476"/>
                  </a:lnTo>
                  <a:lnTo>
                    <a:pt x="934" y="2468"/>
                  </a:lnTo>
                  <a:lnTo>
                    <a:pt x="928" y="2462"/>
                  </a:lnTo>
                  <a:lnTo>
                    <a:pt x="922" y="2456"/>
                  </a:lnTo>
                  <a:lnTo>
                    <a:pt x="920" y="2448"/>
                  </a:lnTo>
                  <a:lnTo>
                    <a:pt x="918" y="2442"/>
                  </a:lnTo>
                  <a:lnTo>
                    <a:pt x="916" y="2434"/>
                  </a:lnTo>
                  <a:lnTo>
                    <a:pt x="918" y="2428"/>
                  </a:lnTo>
                  <a:lnTo>
                    <a:pt x="920" y="2424"/>
                  </a:lnTo>
                  <a:lnTo>
                    <a:pt x="922" y="2422"/>
                  </a:lnTo>
                  <a:lnTo>
                    <a:pt x="926" y="2420"/>
                  </a:lnTo>
                  <a:lnTo>
                    <a:pt x="928" y="2418"/>
                  </a:lnTo>
                  <a:lnTo>
                    <a:pt x="926" y="2414"/>
                  </a:lnTo>
                  <a:lnTo>
                    <a:pt x="918" y="2400"/>
                  </a:lnTo>
                  <a:lnTo>
                    <a:pt x="914" y="2394"/>
                  </a:lnTo>
                  <a:lnTo>
                    <a:pt x="916" y="2388"/>
                  </a:lnTo>
                  <a:lnTo>
                    <a:pt x="920" y="2384"/>
                  </a:lnTo>
                  <a:lnTo>
                    <a:pt x="924" y="2386"/>
                  </a:lnTo>
                  <a:lnTo>
                    <a:pt x="926" y="2388"/>
                  </a:lnTo>
                  <a:lnTo>
                    <a:pt x="930" y="2388"/>
                  </a:lnTo>
                  <a:lnTo>
                    <a:pt x="934" y="2384"/>
                  </a:lnTo>
                  <a:lnTo>
                    <a:pt x="940" y="2378"/>
                  </a:lnTo>
                  <a:lnTo>
                    <a:pt x="950" y="2372"/>
                  </a:lnTo>
                  <a:lnTo>
                    <a:pt x="956" y="2370"/>
                  </a:lnTo>
                  <a:lnTo>
                    <a:pt x="958" y="2372"/>
                  </a:lnTo>
                  <a:lnTo>
                    <a:pt x="960" y="2374"/>
                  </a:lnTo>
                  <a:lnTo>
                    <a:pt x="966" y="2374"/>
                  </a:lnTo>
                  <a:lnTo>
                    <a:pt x="972" y="2372"/>
                  </a:lnTo>
                  <a:lnTo>
                    <a:pt x="974" y="2374"/>
                  </a:lnTo>
                  <a:lnTo>
                    <a:pt x="974" y="2378"/>
                  </a:lnTo>
                  <a:lnTo>
                    <a:pt x="974" y="2380"/>
                  </a:lnTo>
                  <a:lnTo>
                    <a:pt x="972" y="2382"/>
                  </a:lnTo>
                  <a:lnTo>
                    <a:pt x="970" y="2382"/>
                  </a:lnTo>
                  <a:lnTo>
                    <a:pt x="968" y="2384"/>
                  </a:lnTo>
                  <a:lnTo>
                    <a:pt x="968" y="2386"/>
                  </a:lnTo>
                  <a:lnTo>
                    <a:pt x="970" y="2398"/>
                  </a:lnTo>
                  <a:lnTo>
                    <a:pt x="976" y="2414"/>
                  </a:lnTo>
                  <a:lnTo>
                    <a:pt x="982" y="2426"/>
                  </a:lnTo>
                  <a:lnTo>
                    <a:pt x="986" y="2428"/>
                  </a:lnTo>
                  <a:lnTo>
                    <a:pt x="988" y="2424"/>
                  </a:lnTo>
                  <a:lnTo>
                    <a:pt x="994" y="2402"/>
                  </a:lnTo>
                  <a:lnTo>
                    <a:pt x="996" y="2398"/>
                  </a:lnTo>
                  <a:lnTo>
                    <a:pt x="1000" y="2394"/>
                  </a:lnTo>
                  <a:lnTo>
                    <a:pt x="1004" y="2394"/>
                  </a:lnTo>
                  <a:lnTo>
                    <a:pt x="1008" y="2398"/>
                  </a:lnTo>
                  <a:lnTo>
                    <a:pt x="1016" y="2404"/>
                  </a:lnTo>
                  <a:lnTo>
                    <a:pt x="1020" y="2410"/>
                  </a:lnTo>
                  <a:lnTo>
                    <a:pt x="1022" y="2414"/>
                  </a:lnTo>
                  <a:lnTo>
                    <a:pt x="1022" y="2420"/>
                  </a:lnTo>
                  <a:lnTo>
                    <a:pt x="1024" y="2428"/>
                  </a:lnTo>
                  <a:lnTo>
                    <a:pt x="1026" y="2434"/>
                  </a:lnTo>
                  <a:lnTo>
                    <a:pt x="1030" y="2440"/>
                  </a:lnTo>
                  <a:lnTo>
                    <a:pt x="1034" y="2446"/>
                  </a:lnTo>
                  <a:lnTo>
                    <a:pt x="1036" y="2450"/>
                  </a:lnTo>
                  <a:lnTo>
                    <a:pt x="1036" y="2452"/>
                  </a:lnTo>
                  <a:lnTo>
                    <a:pt x="1034" y="2454"/>
                  </a:lnTo>
                  <a:lnTo>
                    <a:pt x="1034" y="2456"/>
                  </a:lnTo>
                  <a:lnTo>
                    <a:pt x="1034" y="2460"/>
                  </a:lnTo>
                  <a:lnTo>
                    <a:pt x="1038" y="2464"/>
                  </a:lnTo>
                  <a:lnTo>
                    <a:pt x="1046" y="2472"/>
                  </a:lnTo>
                  <a:lnTo>
                    <a:pt x="1056" y="2480"/>
                  </a:lnTo>
                  <a:lnTo>
                    <a:pt x="1062" y="2486"/>
                  </a:lnTo>
                  <a:lnTo>
                    <a:pt x="1066" y="2494"/>
                  </a:lnTo>
                  <a:lnTo>
                    <a:pt x="1066" y="2496"/>
                  </a:lnTo>
                  <a:lnTo>
                    <a:pt x="1068" y="2496"/>
                  </a:lnTo>
                  <a:lnTo>
                    <a:pt x="1076" y="2496"/>
                  </a:lnTo>
                  <a:lnTo>
                    <a:pt x="1084" y="2496"/>
                  </a:lnTo>
                  <a:lnTo>
                    <a:pt x="1090" y="2498"/>
                  </a:lnTo>
                  <a:lnTo>
                    <a:pt x="1102" y="2504"/>
                  </a:lnTo>
                  <a:lnTo>
                    <a:pt x="1114" y="2516"/>
                  </a:lnTo>
                  <a:lnTo>
                    <a:pt x="1128" y="2528"/>
                  </a:lnTo>
                  <a:lnTo>
                    <a:pt x="1114" y="2524"/>
                  </a:lnTo>
                  <a:lnTo>
                    <a:pt x="1110" y="2524"/>
                  </a:lnTo>
                  <a:lnTo>
                    <a:pt x="1110" y="2526"/>
                  </a:lnTo>
                  <a:lnTo>
                    <a:pt x="1116" y="2530"/>
                  </a:lnTo>
                  <a:lnTo>
                    <a:pt x="1134" y="2536"/>
                  </a:lnTo>
                  <a:lnTo>
                    <a:pt x="1144" y="2540"/>
                  </a:lnTo>
                  <a:lnTo>
                    <a:pt x="1152" y="2544"/>
                  </a:lnTo>
                  <a:lnTo>
                    <a:pt x="1160" y="2552"/>
                  </a:lnTo>
                  <a:lnTo>
                    <a:pt x="1162" y="2558"/>
                  </a:lnTo>
                  <a:lnTo>
                    <a:pt x="1164" y="2560"/>
                  </a:lnTo>
                  <a:lnTo>
                    <a:pt x="1166" y="2560"/>
                  </a:lnTo>
                  <a:lnTo>
                    <a:pt x="1174" y="2560"/>
                  </a:lnTo>
                  <a:lnTo>
                    <a:pt x="1176" y="2562"/>
                  </a:lnTo>
                  <a:lnTo>
                    <a:pt x="1184" y="2566"/>
                  </a:lnTo>
                  <a:lnTo>
                    <a:pt x="1188" y="2568"/>
                  </a:lnTo>
                  <a:lnTo>
                    <a:pt x="1190" y="2574"/>
                  </a:lnTo>
                  <a:lnTo>
                    <a:pt x="1190" y="2582"/>
                  </a:lnTo>
                  <a:lnTo>
                    <a:pt x="1192" y="2584"/>
                  </a:lnTo>
                  <a:lnTo>
                    <a:pt x="1196" y="2586"/>
                  </a:lnTo>
                  <a:lnTo>
                    <a:pt x="1204" y="2588"/>
                  </a:lnTo>
                  <a:lnTo>
                    <a:pt x="1208" y="2590"/>
                  </a:lnTo>
                  <a:lnTo>
                    <a:pt x="1208" y="2596"/>
                  </a:lnTo>
                  <a:lnTo>
                    <a:pt x="1208" y="2610"/>
                  </a:lnTo>
                  <a:lnTo>
                    <a:pt x="1206" y="2626"/>
                  </a:lnTo>
                  <a:lnTo>
                    <a:pt x="1206" y="2632"/>
                  </a:lnTo>
                  <a:lnTo>
                    <a:pt x="1206" y="2636"/>
                  </a:lnTo>
                  <a:lnTo>
                    <a:pt x="1206" y="2638"/>
                  </a:lnTo>
                  <a:lnTo>
                    <a:pt x="1206" y="2640"/>
                  </a:lnTo>
                  <a:lnTo>
                    <a:pt x="1204" y="2646"/>
                  </a:lnTo>
                  <a:lnTo>
                    <a:pt x="1200" y="2652"/>
                  </a:lnTo>
                  <a:lnTo>
                    <a:pt x="1200" y="2656"/>
                  </a:lnTo>
                  <a:lnTo>
                    <a:pt x="1202" y="2662"/>
                  </a:lnTo>
                  <a:lnTo>
                    <a:pt x="1202" y="2666"/>
                  </a:lnTo>
                  <a:lnTo>
                    <a:pt x="1202" y="2670"/>
                  </a:lnTo>
                  <a:lnTo>
                    <a:pt x="1202" y="2672"/>
                  </a:lnTo>
                  <a:lnTo>
                    <a:pt x="1200" y="2674"/>
                  </a:lnTo>
                  <a:lnTo>
                    <a:pt x="1202" y="2674"/>
                  </a:lnTo>
                  <a:lnTo>
                    <a:pt x="1208" y="2680"/>
                  </a:lnTo>
                  <a:lnTo>
                    <a:pt x="1216" y="2686"/>
                  </a:lnTo>
                  <a:lnTo>
                    <a:pt x="1222" y="2690"/>
                  </a:lnTo>
                  <a:lnTo>
                    <a:pt x="1224" y="2696"/>
                  </a:lnTo>
                  <a:lnTo>
                    <a:pt x="1224" y="2700"/>
                  </a:lnTo>
                  <a:lnTo>
                    <a:pt x="1226" y="2706"/>
                  </a:lnTo>
                  <a:lnTo>
                    <a:pt x="1228" y="2708"/>
                  </a:lnTo>
                  <a:lnTo>
                    <a:pt x="1230" y="2710"/>
                  </a:lnTo>
                  <a:lnTo>
                    <a:pt x="1240" y="2726"/>
                  </a:lnTo>
                  <a:lnTo>
                    <a:pt x="1246" y="2736"/>
                  </a:lnTo>
                  <a:lnTo>
                    <a:pt x="1250" y="2740"/>
                  </a:lnTo>
                  <a:lnTo>
                    <a:pt x="1254" y="2744"/>
                  </a:lnTo>
                  <a:lnTo>
                    <a:pt x="1258" y="2748"/>
                  </a:lnTo>
                  <a:lnTo>
                    <a:pt x="1260" y="2748"/>
                  </a:lnTo>
                  <a:lnTo>
                    <a:pt x="1260" y="2746"/>
                  </a:lnTo>
                  <a:lnTo>
                    <a:pt x="1262" y="2746"/>
                  </a:lnTo>
                  <a:lnTo>
                    <a:pt x="1266" y="2746"/>
                  </a:lnTo>
                  <a:lnTo>
                    <a:pt x="1272" y="2750"/>
                  </a:lnTo>
                  <a:lnTo>
                    <a:pt x="1274" y="2752"/>
                  </a:lnTo>
                  <a:lnTo>
                    <a:pt x="1266" y="2754"/>
                  </a:lnTo>
                  <a:lnTo>
                    <a:pt x="1258" y="2754"/>
                  </a:lnTo>
                  <a:lnTo>
                    <a:pt x="1258" y="2758"/>
                  </a:lnTo>
                  <a:lnTo>
                    <a:pt x="1260" y="2762"/>
                  </a:lnTo>
                  <a:lnTo>
                    <a:pt x="1268" y="2772"/>
                  </a:lnTo>
                  <a:lnTo>
                    <a:pt x="1272" y="2780"/>
                  </a:lnTo>
                  <a:lnTo>
                    <a:pt x="1274" y="2786"/>
                  </a:lnTo>
                  <a:lnTo>
                    <a:pt x="1276" y="2786"/>
                  </a:lnTo>
                  <a:lnTo>
                    <a:pt x="1280" y="2784"/>
                  </a:lnTo>
                  <a:lnTo>
                    <a:pt x="1284" y="2780"/>
                  </a:lnTo>
                  <a:lnTo>
                    <a:pt x="1286" y="2782"/>
                  </a:lnTo>
                  <a:lnTo>
                    <a:pt x="1290" y="2782"/>
                  </a:lnTo>
                  <a:lnTo>
                    <a:pt x="1300" y="2782"/>
                  </a:lnTo>
                  <a:lnTo>
                    <a:pt x="1312" y="2780"/>
                  </a:lnTo>
                  <a:lnTo>
                    <a:pt x="1316" y="2782"/>
                  </a:lnTo>
                  <a:lnTo>
                    <a:pt x="1318" y="2784"/>
                  </a:lnTo>
                  <a:lnTo>
                    <a:pt x="1324" y="2784"/>
                  </a:lnTo>
                  <a:lnTo>
                    <a:pt x="1330" y="2782"/>
                  </a:lnTo>
                  <a:lnTo>
                    <a:pt x="1336" y="2786"/>
                  </a:lnTo>
                  <a:lnTo>
                    <a:pt x="1342" y="2790"/>
                  </a:lnTo>
                  <a:lnTo>
                    <a:pt x="1348" y="2790"/>
                  </a:lnTo>
                  <a:lnTo>
                    <a:pt x="1354" y="2790"/>
                  </a:lnTo>
                  <a:lnTo>
                    <a:pt x="1358" y="2792"/>
                  </a:lnTo>
                  <a:lnTo>
                    <a:pt x="1358" y="2794"/>
                  </a:lnTo>
                  <a:lnTo>
                    <a:pt x="1358" y="2796"/>
                  </a:lnTo>
                  <a:lnTo>
                    <a:pt x="1350" y="2800"/>
                  </a:lnTo>
                  <a:lnTo>
                    <a:pt x="1342" y="2802"/>
                  </a:lnTo>
                  <a:lnTo>
                    <a:pt x="1336" y="2800"/>
                  </a:lnTo>
                  <a:lnTo>
                    <a:pt x="1322" y="2792"/>
                  </a:lnTo>
                  <a:lnTo>
                    <a:pt x="1312" y="2788"/>
                  </a:lnTo>
                  <a:lnTo>
                    <a:pt x="1306" y="2786"/>
                  </a:lnTo>
                  <a:lnTo>
                    <a:pt x="1302" y="2786"/>
                  </a:lnTo>
                  <a:lnTo>
                    <a:pt x="1298" y="2792"/>
                  </a:lnTo>
                  <a:lnTo>
                    <a:pt x="1296" y="2794"/>
                  </a:lnTo>
                  <a:lnTo>
                    <a:pt x="1292" y="2794"/>
                  </a:lnTo>
                  <a:lnTo>
                    <a:pt x="1288" y="2792"/>
                  </a:lnTo>
                  <a:lnTo>
                    <a:pt x="1282" y="2792"/>
                  </a:lnTo>
                  <a:lnTo>
                    <a:pt x="1282" y="2794"/>
                  </a:lnTo>
                  <a:lnTo>
                    <a:pt x="1280" y="2798"/>
                  </a:lnTo>
                  <a:lnTo>
                    <a:pt x="1280" y="2802"/>
                  </a:lnTo>
                  <a:lnTo>
                    <a:pt x="1278" y="2804"/>
                  </a:lnTo>
                  <a:lnTo>
                    <a:pt x="1274" y="2808"/>
                  </a:lnTo>
                  <a:lnTo>
                    <a:pt x="1272" y="2808"/>
                  </a:lnTo>
                  <a:lnTo>
                    <a:pt x="1276" y="2812"/>
                  </a:lnTo>
                  <a:lnTo>
                    <a:pt x="1280" y="2816"/>
                  </a:lnTo>
                  <a:lnTo>
                    <a:pt x="1280" y="2820"/>
                  </a:lnTo>
                  <a:lnTo>
                    <a:pt x="1280" y="2824"/>
                  </a:lnTo>
                  <a:lnTo>
                    <a:pt x="1286" y="2824"/>
                  </a:lnTo>
                  <a:lnTo>
                    <a:pt x="1288" y="2824"/>
                  </a:lnTo>
                  <a:lnTo>
                    <a:pt x="1292" y="2826"/>
                  </a:lnTo>
                  <a:lnTo>
                    <a:pt x="1294" y="2832"/>
                  </a:lnTo>
                  <a:lnTo>
                    <a:pt x="1294" y="2838"/>
                  </a:lnTo>
                  <a:lnTo>
                    <a:pt x="1292" y="2844"/>
                  </a:lnTo>
                  <a:lnTo>
                    <a:pt x="1292" y="2848"/>
                  </a:lnTo>
                  <a:lnTo>
                    <a:pt x="1292" y="2854"/>
                  </a:lnTo>
                  <a:lnTo>
                    <a:pt x="1298" y="2864"/>
                  </a:lnTo>
                  <a:lnTo>
                    <a:pt x="1300" y="2866"/>
                  </a:lnTo>
                  <a:lnTo>
                    <a:pt x="1304" y="2868"/>
                  </a:lnTo>
                  <a:lnTo>
                    <a:pt x="1306" y="2866"/>
                  </a:lnTo>
                  <a:lnTo>
                    <a:pt x="1308" y="2862"/>
                  </a:lnTo>
                  <a:lnTo>
                    <a:pt x="1308" y="2856"/>
                  </a:lnTo>
                  <a:lnTo>
                    <a:pt x="1310" y="2854"/>
                  </a:lnTo>
                  <a:lnTo>
                    <a:pt x="1314" y="2854"/>
                  </a:lnTo>
                  <a:lnTo>
                    <a:pt x="1316" y="2856"/>
                  </a:lnTo>
                  <a:lnTo>
                    <a:pt x="1320" y="2866"/>
                  </a:lnTo>
                  <a:lnTo>
                    <a:pt x="1322" y="2880"/>
                  </a:lnTo>
                  <a:lnTo>
                    <a:pt x="1324" y="2888"/>
                  </a:lnTo>
                  <a:lnTo>
                    <a:pt x="1326" y="2888"/>
                  </a:lnTo>
                  <a:lnTo>
                    <a:pt x="1328" y="2888"/>
                  </a:lnTo>
                  <a:lnTo>
                    <a:pt x="1330" y="2882"/>
                  </a:lnTo>
                  <a:lnTo>
                    <a:pt x="1332" y="2874"/>
                  </a:lnTo>
                  <a:lnTo>
                    <a:pt x="1334" y="2866"/>
                  </a:lnTo>
                  <a:lnTo>
                    <a:pt x="1336" y="2866"/>
                  </a:lnTo>
                  <a:lnTo>
                    <a:pt x="1338" y="2868"/>
                  </a:lnTo>
                  <a:lnTo>
                    <a:pt x="1342" y="2872"/>
                  </a:lnTo>
                  <a:lnTo>
                    <a:pt x="1348" y="2882"/>
                  </a:lnTo>
                  <a:lnTo>
                    <a:pt x="1350" y="2886"/>
                  </a:lnTo>
                  <a:lnTo>
                    <a:pt x="1354" y="2888"/>
                  </a:lnTo>
                  <a:lnTo>
                    <a:pt x="1356" y="2886"/>
                  </a:lnTo>
                  <a:lnTo>
                    <a:pt x="1356" y="2884"/>
                  </a:lnTo>
                  <a:lnTo>
                    <a:pt x="1356" y="2876"/>
                  </a:lnTo>
                  <a:lnTo>
                    <a:pt x="1348" y="2854"/>
                  </a:lnTo>
                  <a:lnTo>
                    <a:pt x="1340" y="2834"/>
                  </a:lnTo>
                  <a:lnTo>
                    <a:pt x="1338" y="2828"/>
                  </a:lnTo>
                  <a:lnTo>
                    <a:pt x="1338" y="2826"/>
                  </a:lnTo>
                  <a:lnTo>
                    <a:pt x="1340" y="2824"/>
                  </a:lnTo>
                  <a:lnTo>
                    <a:pt x="1346" y="2826"/>
                  </a:lnTo>
                  <a:lnTo>
                    <a:pt x="1350" y="2828"/>
                  </a:lnTo>
                  <a:lnTo>
                    <a:pt x="1352" y="2832"/>
                  </a:lnTo>
                  <a:lnTo>
                    <a:pt x="1354" y="2838"/>
                  </a:lnTo>
                  <a:lnTo>
                    <a:pt x="1356" y="2840"/>
                  </a:lnTo>
                  <a:lnTo>
                    <a:pt x="1358" y="2840"/>
                  </a:lnTo>
                  <a:lnTo>
                    <a:pt x="1368" y="2836"/>
                  </a:lnTo>
                  <a:lnTo>
                    <a:pt x="1370" y="2834"/>
                  </a:lnTo>
                  <a:lnTo>
                    <a:pt x="1372" y="2832"/>
                  </a:lnTo>
                  <a:lnTo>
                    <a:pt x="1370" y="2828"/>
                  </a:lnTo>
                  <a:lnTo>
                    <a:pt x="1366" y="2824"/>
                  </a:lnTo>
                  <a:lnTo>
                    <a:pt x="1360" y="2822"/>
                  </a:lnTo>
                  <a:lnTo>
                    <a:pt x="1356" y="2822"/>
                  </a:lnTo>
                  <a:lnTo>
                    <a:pt x="1356" y="2820"/>
                  </a:lnTo>
                  <a:lnTo>
                    <a:pt x="1356" y="2816"/>
                  </a:lnTo>
                  <a:lnTo>
                    <a:pt x="1354" y="2812"/>
                  </a:lnTo>
                  <a:lnTo>
                    <a:pt x="1352" y="2810"/>
                  </a:lnTo>
                  <a:lnTo>
                    <a:pt x="1354" y="2808"/>
                  </a:lnTo>
                  <a:lnTo>
                    <a:pt x="1360" y="2802"/>
                  </a:lnTo>
                  <a:lnTo>
                    <a:pt x="1368" y="2800"/>
                  </a:lnTo>
                  <a:lnTo>
                    <a:pt x="1370" y="2800"/>
                  </a:lnTo>
                  <a:lnTo>
                    <a:pt x="1374" y="2802"/>
                  </a:lnTo>
                  <a:lnTo>
                    <a:pt x="1382" y="2816"/>
                  </a:lnTo>
                  <a:lnTo>
                    <a:pt x="1388" y="2820"/>
                  </a:lnTo>
                  <a:lnTo>
                    <a:pt x="1390" y="2820"/>
                  </a:lnTo>
                  <a:lnTo>
                    <a:pt x="1392" y="2820"/>
                  </a:lnTo>
                  <a:lnTo>
                    <a:pt x="1394" y="2818"/>
                  </a:lnTo>
                  <a:lnTo>
                    <a:pt x="1394" y="2816"/>
                  </a:lnTo>
                  <a:lnTo>
                    <a:pt x="1394" y="2810"/>
                  </a:lnTo>
                  <a:lnTo>
                    <a:pt x="1392" y="2804"/>
                  </a:lnTo>
                  <a:lnTo>
                    <a:pt x="1392" y="2796"/>
                  </a:lnTo>
                  <a:lnTo>
                    <a:pt x="1392" y="2794"/>
                  </a:lnTo>
                  <a:lnTo>
                    <a:pt x="1390" y="2790"/>
                  </a:lnTo>
                  <a:lnTo>
                    <a:pt x="1386" y="2788"/>
                  </a:lnTo>
                  <a:lnTo>
                    <a:pt x="1378" y="2784"/>
                  </a:lnTo>
                  <a:lnTo>
                    <a:pt x="1376" y="2782"/>
                  </a:lnTo>
                  <a:lnTo>
                    <a:pt x="1374" y="2780"/>
                  </a:lnTo>
                  <a:lnTo>
                    <a:pt x="1370" y="2774"/>
                  </a:lnTo>
                  <a:lnTo>
                    <a:pt x="1366" y="2774"/>
                  </a:lnTo>
                  <a:lnTo>
                    <a:pt x="1364" y="2772"/>
                  </a:lnTo>
                  <a:lnTo>
                    <a:pt x="1360" y="2768"/>
                  </a:lnTo>
                  <a:lnTo>
                    <a:pt x="1358" y="2764"/>
                  </a:lnTo>
                  <a:lnTo>
                    <a:pt x="1352" y="2762"/>
                  </a:lnTo>
                  <a:lnTo>
                    <a:pt x="1340" y="2758"/>
                  </a:lnTo>
                  <a:lnTo>
                    <a:pt x="1332" y="2754"/>
                  </a:lnTo>
                  <a:lnTo>
                    <a:pt x="1332" y="2752"/>
                  </a:lnTo>
                  <a:lnTo>
                    <a:pt x="1338" y="2752"/>
                  </a:lnTo>
                  <a:lnTo>
                    <a:pt x="1346" y="2750"/>
                  </a:lnTo>
                  <a:lnTo>
                    <a:pt x="1348" y="2746"/>
                  </a:lnTo>
                  <a:lnTo>
                    <a:pt x="1348" y="2744"/>
                  </a:lnTo>
                  <a:lnTo>
                    <a:pt x="1346" y="2740"/>
                  </a:lnTo>
                  <a:lnTo>
                    <a:pt x="1344" y="2732"/>
                  </a:lnTo>
                  <a:lnTo>
                    <a:pt x="1344" y="2730"/>
                  </a:lnTo>
                  <a:lnTo>
                    <a:pt x="1348" y="2730"/>
                  </a:lnTo>
                  <a:lnTo>
                    <a:pt x="1352" y="2730"/>
                  </a:lnTo>
                  <a:lnTo>
                    <a:pt x="1354" y="2732"/>
                  </a:lnTo>
                  <a:lnTo>
                    <a:pt x="1354" y="2738"/>
                  </a:lnTo>
                  <a:lnTo>
                    <a:pt x="1354" y="2742"/>
                  </a:lnTo>
                  <a:lnTo>
                    <a:pt x="1356" y="2742"/>
                  </a:lnTo>
                  <a:lnTo>
                    <a:pt x="1358" y="2742"/>
                  </a:lnTo>
                  <a:lnTo>
                    <a:pt x="1360" y="2738"/>
                  </a:lnTo>
                  <a:lnTo>
                    <a:pt x="1360" y="2736"/>
                  </a:lnTo>
                  <a:lnTo>
                    <a:pt x="1360" y="2728"/>
                  </a:lnTo>
                  <a:lnTo>
                    <a:pt x="1354" y="2720"/>
                  </a:lnTo>
                  <a:lnTo>
                    <a:pt x="1348" y="2710"/>
                  </a:lnTo>
                  <a:lnTo>
                    <a:pt x="1340" y="2702"/>
                  </a:lnTo>
                  <a:lnTo>
                    <a:pt x="1334" y="2692"/>
                  </a:lnTo>
                  <a:lnTo>
                    <a:pt x="1330" y="2682"/>
                  </a:lnTo>
                  <a:lnTo>
                    <a:pt x="1330" y="2678"/>
                  </a:lnTo>
                  <a:lnTo>
                    <a:pt x="1332" y="2674"/>
                  </a:lnTo>
                  <a:lnTo>
                    <a:pt x="1336" y="2666"/>
                  </a:lnTo>
                  <a:lnTo>
                    <a:pt x="1340" y="2660"/>
                  </a:lnTo>
                  <a:lnTo>
                    <a:pt x="1344" y="2660"/>
                  </a:lnTo>
                  <a:lnTo>
                    <a:pt x="1346" y="2660"/>
                  </a:lnTo>
                  <a:lnTo>
                    <a:pt x="1346" y="2662"/>
                  </a:lnTo>
                  <a:lnTo>
                    <a:pt x="1346" y="2668"/>
                  </a:lnTo>
                  <a:lnTo>
                    <a:pt x="1346" y="2670"/>
                  </a:lnTo>
                  <a:lnTo>
                    <a:pt x="1346" y="2672"/>
                  </a:lnTo>
                  <a:lnTo>
                    <a:pt x="1352" y="2674"/>
                  </a:lnTo>
                  <a:lnTo>
                    <a:pt x="1358" y="2676"/>
                  </a:lnTo>
                  <a:lnTo>
                    <a:pt x="1360" y="2680"/>
                  </a:lnTo>
                  <a:lnTo>
                    <a:pt x="1362" y="2686"/>
                  </a:lnTo>
                  <a:lnTo>
                    <a:pt x="1362" y="2690"/>
                  </a:lnTo>
                  <a:lnTo>
                    <a:pt x="1366" y="2694"/>
                  </a:lnTo>
                  <a:lnTo>
                    <a:pt x="1372" y="2696"/>
                  </a:lnTo>
                  <a:lnTo>
                    <a:pt x="1374" y="2696"/>
                  </a:lnTo>
                  <a:lnTo>
                    <a:pt x="1376" y="2696"/>
                  </a:lnTo>
                  <a:lnTo>
                    <a:pt x="1376" y="2694"/>
                  </a:lnTo>
                  <a:lnTo>
                    <a:pt x="1374" y="2690"/>
                  </a:lnTo>
                  <a:lnTo>
                    <a:pt x="1368" y="2684"/>
                  </a:lnTo>
                  <a:lnTo>
                    <a:pt x="1368" y="2678"/>
                  </a:lnTo>
                  <a:lnTo>
                    <a:pt x="1370" y="2678"/>
                  </a:lnTo>
                  <a:lnTo>
                    <a:pt x="1378" y="2684"/>
                  </a:lnTo>
                  <a:lnTo>
                    <a:pt x="1386" y="2692"/>
                  </a:lnTo>
                  <a:lnTo>
                    <a:pt x="1390" y="2694"/>
                  </a:lnTo>
                  <a:lnTo>
                    <a:pt x="1392" y="2694"/>
                  </a:lnTo>
                  <a:lnTo>
                    <a:pt x="1390" y="2692"/>
                  </a:lnTo>
                  <a:lnTo>
                    <a:pt x="1386" y="2684"/>
                  </a:lnTo>
                  <a:lnTo>
                    <a:pt x="1380" y="2676"/>
                  </a:lnTo>
                  <a:lnTo>
                    <a:pt x="1380" y="2674"/>
                  </a:lnTo>
                  <a:lnTo>
                    <a:pt x="1382" y="2674"/>
                  </a:lnTo>
                  <a:lnTo>
                    <a:pt x="1394" y="2680"/>
                  </a:lnTo>
                  <a:lnTo>
                    <a:pt x="1402" y="2684"/>
                  </a:lnTo>
                  <a:lnTo>
                    <a:pt x="1406" y="2684"/>
                  </a:lnTo>
                  <a:lnTo>
                    <a:pt x="1404" y="2682"/>
                  </a:lnTo>
                  <a:lnTo>
                    <a:pt x="1400" y="2676"/>
                  </a:lnTo>
                  <a:lnTo>
                    <a:pt x="1392" y="2670"/>
                  </a:lnTo>
                  <a:lnTo>
                    <a:pt x="1386" y="2668"/>
                  </a:lnTo>
                  <a:lnTo>
                    <a:pt x="1384" y="2668"/>
                  </a:lnTo>
                  <a:lnTo>
                    <a:pt x="1384" y="2664"/>
                  </a:lnTo>
                  <a:lnTo>
                    <a:pt x="1384" y="2662"/>
                  </a:lnTo>
                  <a:lnTo>
                    <a:pt x="1384" y="2660"/>
                  </a:lnTo>
                  <a:lnTo>
                    <a:pt x="1380" y="2656"/>
                  </a:lnTo>
                  <a:lnTo>
                    <a:pt x="1380" y="2654"/>
                  </a:lnTo>
                  <a:lnTo>
                    <a:pt x="1388" y="2652"/>
                  </a:lnTo>
                  <a:lnTo>
                    <a:pt x="1392" y="2652"/>
                  </a:lnTo>
                  <a:lnTo>
                    <a:pt x="1398" y="2650"/>
                  </a:lnTo>
                  <a:lnTo>
                    <a:pt x="1404" y="2644"/>
                  </a:lnTo>
                  <a:lnTo>
                    <a:pt x="1408" y="2642"/>
                  </a:lnTo>
                  <a:lnTo>
                    <a:pt x="1412" y="2640"/>
                  </a:lnTo>
                  <a:lnTo>
                    <a:pt x="1418" y="2642"/>
                  </a:lnTo>
                  <a:lnTo>
                    <a:pt x="1422" y="2644"/>
                  </a:lnTo>
                  <a:lnTo>
                    <a:pt x="1426" y="2644"/>
                  </a:lnTo>
                  <a:lnTo>
                    <a:pt x="1430" y="2640"/>
                  </a:lnTo>
                  <a:lnTo>
                    <a:pt x="1436" y="2638"/>
                  </a:lnTo>
                  <a:lnTo>
                    <a:pt x="1438" y="2638"/>
                  </a:lnTo>
                  <a:lnTo>
                    <a:pt x="1444" y="2640"/>
                  </a:lnTo>
                  <a:lnTo>
                    <a:pt x="1450" y="2644"/>
                  </a:lnTo>
                  <a:lnTo>
                    <a:pt x="1454" y="2644"/>
                  </a:lnTo>
                  <a:lnTo>
                    <a:pt x="1464" y="2644"/>
                  </a:lnTo>
                  <a:lnTo>
                    <a:pt x="1470" y="2644"/>
                  </a:lnTo>
                  <a:lnTo>
                    <a:pt x="1472" y="2646"/>
                  </a:lnTo>
                  <a:lnTo>
                    <a:pt x="1472" y="2650"/>
                  </a:lnTo>
                  <a:lnTo>
                    <a:pt x="1474" y="2656"/>
                  </a:lnTo>
                  <a:lnTo>
                    <a:pt x="1480" y="2660"/>
                  </a:lnTo>
                  <a:lnTo>
                    <a:pt x="1486" y="2660"/>
                  </a:lnTo>
                  <a:lnTo>
                    <a:pt x="1492" y="2658"/>
                  </a:lnTo>
                  <a:lnTo>
                    <a:pt x="1504" y="2656"/>
                  </a:lnTo>
                  <a:lnTo>
                    <a:pt x="1504" y="2658"/>
                  </a:lnTo>
                  <a:lnTo>
                    <a:pt x="1502" y="2660"/>
                  </a:lnTo>
                  <a:lnTo>
                    <a:pt x="1484" y="2668"/>
                  </a:lnTo>
                  <a:lnTo>
                    <a:pt x="1480" y="2672"/>
                  </a:lnTo>
                  <a:lnTo>
                    <a:pt x="1478" y="2680"/>
                  </a:lnTo>
                  <a:lnTo>
                    <a:pt x="1480" y="2684"/>
                  </a:lnTo>
                  <a:lnTo>
                    <a:pt x="1482" y="2682"/>
                  </a:lnTo>
                  <a:lnTo>
                    <a:pt x="1494" y="2670"/>
                  </a:lnTo>
                  <a:lnTo>
                    <a:pt x="1506" y="2662"/>
                  </a:lnTo>
                  <a:lnTo>
                    <a:pt x="1514" y="2658"/>
                  </a:lnTo>
                  <a:lnTo>
                    <a:pt x="1522" y="2654"/>
                  </a:lnTo>
                  <a:lnTo>
                    <a:pt x="1528" y="2646"/>
                  </a:lnTo>
                  <a:lnTo>
                    <a:pt x="1532" y="2638"/>
                  </a:lnTo>
                  <a:lnTo>
                    <a:pt x="1536" y="2636"/>
                  </a:lnTo>
                  <a:lnTo>
                    <a:pt x="1538" y="2634"/>
                  </a:lnTo>
                  <a:lnTo>
                    <a:pt x="1540" y="2636"/>
                  </a:lnTo>
                  <a:lnTo>
                    <a:pt x="1544" y="2640"/>
                  </a:lnTo>
                  <a:lnTo>
                    <a:pt x="1548" y="2640"/>
                  </a:lnTo>
                  <a:lnTo>
                    <a:pt x="1552" y="2638"/>
                  </a:lnTo>
                  <a:lnTo>
                    <a:pt x="1556" y="2634"/>
                  </a:lnTo>
                  <a:lnTo>
                    <a:pt x="1562" y="2634"/>
                  </a:lnTo>
                  <a:lnTo>
                    <a:pt x="1572" y="2638"/>
                  </a:lnTo>
                  <a:lnTo>
                    <a:pt x="1580" y="2638"/>
                  </a:lnTo>
                  <a:lnTo>
                    <a:pt x="1586" y="2638"/>
                  </a:lnTo>
                  <a:lnTo>
                    <a:pt x="1590" y="2634"/>
                  </a:lnTo>
                  <a:lnTo>
                    <a:pt x="1594" y="2626"/>
                  </a:lnTo>
                  <a:lnTo>
                    <a:pt x="1594" y="2624"/>
                  </a:lnTo>
                  <a:lnTo>
                    <a:pt x="1592" y="2624"/>
                  </a:lnTo>
                  <a:lnTo>
                    <a:pt x="1584" y="2622"/>
                  </a:lnTo>
                  <a:lnTo>
                    <a:pt x="1572" y="2616"/>
                  </a:lnTo>
                  <a:lnTo>
                    <a:pt x="1560" y="2608"/>
                  </a:lnTo>
                  <a:lnTo>
                    <a:pt x="1554" y="2600"/>
                  </a:lnTo>
                  <a:lnTo>
                    <a:pt x="1552" y="2592"/>
                  </a:lnTo>
                  <a:lnTo>
                    <a:pt x="1552" y="2582"/>
                  </a:lnTo>
                  <a:lnTo>
                    <a:pt x="1552" y="2578"/>
                  </a:lnTo>
                  <a:lnTo>
                    <a:pt x="1550" y="2576"/>
                  </a:lnTo>
                  <a:lnTo>
                    <a:pt x="1546" y="2572"/>
                  </a:lnTo>
                  <a:lnTo>
                    <a:pt x="1542" y="2570"/>
                  </a:lnTo>
                  <a:lnTo>
                    <a:pt x="1540" y="2568"/>
                  </a:lnTo>
                  <a:lnTo>
                    <a:pt x="1540" y="2564"/>
                  </a:lnTo>
                  <a:lnTo>
                    <a:pt x="1540" y="2560"/>
                  </a:lnTo>
                  <a:lnTo>
                    <a:pt x="1538" y="2558"/>
                  </a:lnTo>
                  <a:lnTo>
                    <a:pt x="1530" y="2556"/>
                  </a:lnTo>
                  <a:lnTo>
                    <a:pt x="1528" y="2556"/>
                  </a:lnTo>
                  <a:lnTo>
                    <a:pt x="1528" y="2554"/>
                  </a:lnTo>
                  <a:lnTo>
                    <a:pt x="1536" y="2546"/>
                  </a:lnTo>
                  <a:lnTo>
                    <a:pt x="1542" y="2542"/>
                  </a:lnTo>
                  <a:lnTo>
                    <a:pt x="1546" y="2538"/>
                  </a:lnTo>
                  <a:lnTo>
                    <a:pt x="1546" y="2534"/>
                  </a:lnTo>
                  <a:lnTo>
                    <a:pt x="1546" y="2530"/>
                  </a:lnTo>
                  <a:lnTo>
                    <a:pt x="1546" y="2522"/>
                  </a:lnTo>
                  <a:lnTo>
                    <a:pt x="1546" y="2516"/>
                  </a:lnTo>
                  <a:lnTo>
                    <a:pt x="1550" y="2510"/>
                  </a:lnTo>
                  <a:lnTo>
                    <a:pt x="1554" y="2504"/>
                  </a:lnTo>
                  <a:lnTo>
                    <a:pt x="1560" y="2502"/>
                  </a:lnTo>
                  <a:lnTo>
                    <a:pt x="1566" y="2504"/>
                  </a:lnTo>
                  <a:lnTo>
                    <a:pt x="1570" y="2504"/>
                  </a:lnTo>
                  <a:lnTo>
                    <a:pt x="1572" y="2502"/>
                  </a:lnTo>
                  <a:lnTo>
                    <a:pt x="1574" y="2496"/>
                  </a:lnTo>
                  <a:lnTo>
                    <a:pt x="1574" y="2484"/>
                  </a:lnTo>
                  <a:lnTo>
                    <a:pt x="1578" y="2458"/>
                  </a:lnTo>
                  <a:lnTo>
                    <a:pt x="1580" y="2448"/>
                  </a:lnTo>
                  <a:lnTo>
                    <a:pt x="1584" y="2440"/>
                  </a:lnTo>
                  <a:lnTo>
                    <a:pt x="1588" y="2434"/>
                  </a:lnTo>
                  <a:lnTo>
                    <a:pt x="1594" y="2428"/>
                  </a:lnTo>
                  <a:lnTo>
                    <a:pt x="1600" y="2426"/>
                  </a:lnTo>
                  <a:lnTo>
                    <a:pt x="1608" y="2422"/>
                  </a:lnTo>
                  <a:lnTo>
                    <a:pt x="1614" y="2418"/>
                  </a:lnTo>
                  <a:lnTo>
                    <a:pt x="1618" y="2414"/>
                  </a:lnTo>
                  <a:lnTo>
                    <a:pt x="1620" y="2406"/>
                  </a:lnTo>
                  <a:lnTo>
                    <a:pt x="1620" y="2398"/>
                  </a:lnTo>
                  <a:lnTo>
                    <a:pt x="1620" y="2390"/>
                  </a:lnTo>
                  <a:lnTo>
                    <a:pt x="1620" y="2386"/>
                  </a:lnTo>
                  <a:lnTo>
                    <a:pt x="1618" y="2384"/>
                  </a:lnTo>
                  <a:lnTo>
                    <a:pt x="1616" y="2378"/>
                  </a:lnTo>
                  <a:lnTo>
                    <a:pt x="1616" y="2372"/>
                  </a:lnTo>
                  <a:lnTo>
                    <a:pt x="1620" y="2372"/>
                  </a:lnTo>
                  <a:lnTo>
                    <a:pt x="1626" y="2372"/>
                  </a:lnTo>
                  <a:lnTo>
                    <a:pt x="1630" y="2370"/>
                  </a:lnTo>
                  <a:lnTo>
                    <a:pt x="1636" y="2366"/>
                  </a:lnTo>
                  <a:lnTo>
                    <a:pt x="1646" y="2358"/>
                  </a:lnTo>
                  <a:lnTo>
                    <a:pt x="1654" y="2348"/>
                  </a:lnTo>
                  <a:lnTo>
                    <a:pt x="1660" y="2340"/>
                  </a:lnTo>
                  <a:lnTo>
                    <a:pt x="1662" y="2330"/>
                  </a:lnTo>
                  <a:lnTo>
                    <a:pt x="1662" y="2326"/>
                  </a:lnTo>
                  <a:lnTo>
                    <a:pt x="1664" y="2324"/>
                  </a:lnTo>
                  <a:lnTo>
                    <a:pt x="1668" y="2322"/>
                  </a:lnTo>
                  <a:lnTo>
                    <a:pt x="1672" y="2320"/>
                  </a:lnTo>
                  <a:lnTo>
                    <a:pt x="1682" y="2320"/>
                  </a:lnTo>
                  <a:lnTo>
                    <a:pt x="1690" y="2318"/>
                  </a:lnTo>
                  <a:lnTo>
                    <a:pt x="1698" y="2318"/>
                  </a:lnTo>
                  <a:lnTo>
                    <a:pt x="1702" y="2318"/>
                  </a:lnTo>
                  <a:lnTo>
                    <a:pt x="1704" y="2318"/>
                  </a:lnTo>
                  <a:lnTo>
                    <a:pt x="1706" y="2312"/>
                  </a:lnTo>
                  <a:lnTo>
                    <a:pt x="1708" y="2296"/>
                  </a:lnTo>
                  <a:lnTo>
                    <a:pt x="1708" y="2294"/>
                  </a:lnTo>
                  <a:lnTo>
                    <a:pt x="1710" y="2298"/>
                  </a:lnTo>
                  <a:lnTo>
                    <a:pt x="1712" y="2308"/>
                  </a:lnTo>
                  <a:lnTo>
                    <a:pt x="1712" y="2316"/>
                  </a:lnTo>
                  <a:lnTo>
                    <a:pt x="1714" y="2320"/>
                  </a:lnTo>
                  <a:lnTo>
                    <a:pt x="1718" y="2322"/>
                  </a:lnTo>
                  <a:lnTo>
                    <a:pt x="1724" y="2322"/>
                  </a:lnTo>
                  <a:lnTo>
                    <a:pt x="1732" y="2322"/>
                  </a:lnTo>
                  <a:lnTo>
                    <a:pt x="1726" y="2324"/>
                  </a:lnTo>
                  <a:lnTo>
                    <a:pt x="1720" y="2326"/>
                  </a:lnTo>
                  <a:lnTo>
                    <a:pt x="1708" y="2324"/>
                  </a:lnTo>
                  <a:lnTo>
                    <a:pt x="1700" y="2322"/>
                  </a:lnTo>
                  <a:lnTo>
                    <a:pt x="1696" y="2322"/>
                  </a:lnTo>
                  <a:lnTo>
                    <a:pt x="1696" y="2324"/>
                  </a:lnTo>
                  <a:lnTo>
                    <a:pt x="1696" y="2326"/>
                  </a:lnTo>
                  <a:lnTo>
                    <a:pt x="1700" y="2330"/>
                  </a:lnTo>
                  <a:lnTo>
                    <a:pt x="1708" y="2336"/>
                  </a:lnTo>
                  <a:lnTo>
                    <a:pt x="1718" y="2342"/>
                  </a:lnTo>
                  <a:lnTo>
                    <a:pt x="1722" y="2346"/>
                  </a:lnTo>
                  <a:lnTo>
                    <a:pt x="1722" y="2348"/>
                  </a:lnTo>
                  <a:lnTo>
                    <a:pt x="1724" y="2350"/>
                  </a:lnTo>
                  <a:lnTo>
                    <a:pt x="1728" y="2350"/>
                  </a:lnTo>
                  <a:lnTo>
                    <a:pt x="1740" y="2350"/>
                  </a:lnTo>
                  <a:lnTo>
                    <a:pt x="1754" y="2348"/>
                  </a:lnTo>
                  <a:lnTo>
                    <a:pt x="1760" y="2348"/>
                  </a:lnTo>
                  <a:lnTo>
                    <a:pt x="1764" y="2350"/>
                  </a:lnTo>
                  <a:lnTo>
                    <a:pt x="1766" y="2352"/>
                  </a:lnTo>
                  <a:lnTo>
                    <a:pt x="1768" y="2352"/>
                  </a:lnTo>
                  <a:lnTo>
                    <a:pt x="1772" y="2350"/>
                  </a:lnTo>
                  <a:lnTo>
                    <a:pt x="1776" y="2350"/>
                  </a:lnTo>
                  <a:lnTo>
                    <a:pt x="1780" y="2356"/>
                  </a:lnTo>
                  <a:lnTo>
                    <a:pt x="1780" y="2358"/>
                  </a:lnTo>
                  <a:lnTo>
                    <a:pt x="1778" y="2360"/>
                  </a:lnTo>
                  <a:lnTo>
                    <a:pt x="1774" y="2364"/>
                  </a:lnTo>
                  <a:lnTo>
                    <a:pt x="1756" y="2374"/>
                  </a:lnTo>
                  <a:lnTo>
                    <a:pt x="1738" y="2382"/>
                  </a:lnTo>
                  <a:lnTo>
                    <a:pt x="1732" y="2386"/>
                  </a:lnTo>
                  <a:lnTo>
                    <a:pt x="1732" y="2388"/>
                  </a:lnTo>
                  <a:lnTo>
                    <a:pt x="1732" y="2390"/>
                  </a:lnTo>
                  <a:lnTo>
                    <a:pt x="1736" y="2392"/>
                  </a:lnTo>
                  <a:lnTo>
                    <a:pt x="1742" y="2394"/>
                  </a:lnTo>
                  <a:lnTo>
                    <a:pt x="1756" y="2398"/>
                  </a:lnTo>
                  <a:lnTo>
                    <a:pt x="1762" y="2400"/>
                  </a:lnTo>
                  <a:lnTo>
                    <a:pt x="1768" y="2404"/>
                  </a:lnTo>
                  <a:lnTo>
                    <a:pt x="1772" y="2410"/>
                  </a:lnTo>
                  <a:lnTo>
                    <a:pt x="1774" y="2416"/>
                  </a:lnTo>
                  <a:lnTo>
                    <a:pt x="1774" y="2424"/>
                  </a:lnTo>
                  <a:lnTo>
                    <a:pt x="1772" y="2428"/>
                  </a:lnTo>
                  <a:lnTo>
                    <a:pt x="1768" y="2432"/>
                  </a:lnTo>
                  <a:lnTo>
                    <a:pt x="1766" y="2434"/>
                  </a:lnTo>
                  <a:lnTo>
                    <a:pt x="1768" y="2434"/>
                  </a:lnTo>
                  <a:lnTo>
                    <a:pt x="1774" y="2442"/>
                  </a:lnTo>
                  <a:lnTo>
                    <a:pt x="1780" y="2446"/>
                  </a:lnTo>
                  <a:lnTo>
                    <a:pt x="1788" y="2448"/>
                  </a:lnTo>
                  <a:lnTo>
                    <a:pt x="1794" y="2446"/>
                  </a:lnTo>
                  <a:lnTo>
                    <a:pt x="1800" y="2442"/>
                  </a:lnTo>
                  <a:lnTo>
                    <a:pt x="1810" y="2432"/>
                  </a:lnTo>
                  <a:lnTo>
                    <a:pt x="1822" y="2422"/>
                  </a:lnTo>
                  <a:lnTo>
                    <a:pt x="1826" y="2420"/>
                  </a:lnTo>
                  <a:lnTo>
                    <a:pt x="1830" y="2420"/>
                  </a:lnTo>
                  <a:lnTo>
                    <a:pt x="1832" y="2422"/>
                  </a:lnTo>
                  <a:lnTo>
                    <a:pt x="1836" y="2422"/>
                  </a:lnTo>
                  <a:lnTo>
                    <a:pt x="1844" y="2416"/>
                  </a:lnTo>
                  <a:lnTo>
                    <a:pt x="1850" y="2410"/>
                  </a:lnTo>
                  <a:lnTo>
                    <a:pt x="1856" y="2408"/>
                  </a:lnTo>
                  <a:lnTo>
                    <a:pt x="1860" y="2408"/>
                  </a:lnTo>
                  <a:lnTo>
                    <a:pt x="1862" y="2408"/>
                  </a:lnTo>
                  <a:lnTo>
                    <a:pt x="1870" y="2412"/>
                  </a:lnTo>
                  <a:lnTo>
                    <a:pt x="1876" y="2414"/>
                  </a:lnTo>
                  <a:lnTo>
                    <a:pt x="1882" y="2412"/>
                  </a:lnTo>
                  <a:lnTo>
                    <a:pt x="1892" y="2408"/>
                  </a:lnTo>
                  <a:lnTo>
                    <a:pt x="1894" y="2406"/>
                  </a:lnTo>
                  <a:lnTo>
                    <a:pt x="1892" y="2404"/>
                  </a:lnTo>
                  <a:lnTo>
                    <a:pt x="1892" y="2400"/>
                  </a:lnTo>
                  <a:lnTo>
                    <a:pt x="1892" y="2398"/>
                  </a:lnTo>
                  <a:lnTo>
                    <a:pt x="1894" y="2394"/>
                  </a:lnTo>
                  <a:lnTo>
                    <a:pt x="1896" y="2390"/>
                  </a:lnTo>
                  <a:lnTo>
                    <a:pt x="1894" y="2386"/>
                  </a:lnTo>
                  <a:lnTo>
                    <a:pt x="1886" y="2384"/>
                  </a:lnTo>
                  <a:lnTo>
                    <a:pt x="1874" y="2386"/>
                  </a:lnTo>
                  <a:lnTo>
                    <a:pt x="1868" y="2388"/>
                  </a:lnTo>
                  <a:lnTo>
                    <a:pt x="1862" y="2392"/>
                  </a:lnTo>
                  <a:lnTo>
                    <a:pt x="1854" y="2396"/>
                  </a:lnTo>
                  <a:lnTo>
                    <a:pt x="1852" y="2396"/>
                  </a:lnTo>
                  <a:lnTo>
                    <a:pt x="1848" y="2392"/>
                  </a:lnTo>
                  <a:lnTo>
                    <a:pt x="1842" y="2386"/>
                  </a:lnTo>
                  <a:lnTo>
                    <a:pt x="1836" y="2376"/>
                  </a:lnTo>
                  <a:lnTo>
                    <a:pt x="1826" y="2358"/>
                  </a:lnTo>
                  <a:lnTo>
                    <a:pt x="1824" y="2348"/>
                  </a:lnTo>
                  <a:lnTo>
                    <a:pt x="1824" y="2346"/>
                  </a:lnTo>
                  <a:lnTo>
                    <a:pt x="1824" y="2344"/>
                  </a:lnTo>
                  <a:lnTo>
                    <a:pt x="1830" y="2342"/>
                  </a:lnTo>
                  <a:lnTo>
                    <a:pt x="1836" y="2340"/>
                  </a:lnTo>
                  <a:lnTo>
                    <a:pt x="1838" y="2340"/>
                  </a:lnTo>
                  <a:lnTo>
                    <a:pt x="1838" y="2342"/>
                  </a:lnTo>
                  <a:lnTo>
                    <a:pt x="1838" y="2344"/>
                  </a:lnTo>
                  <a:lnTo>
                    <a:pt x="1838" y="2348"/>
                  </a:lnTo>
                  <a:lnTo>
                    <a:pt x="1842" y="2346"/>
                  </a:lnTo>
                  <a:lnTo>
                    <a:pt x="1852" y="2336"/>
                  </a:lnTo>
                  <a:lnTo>
                    <a:pt x="1862" y="2326"/>
                  </a:lnTo>
                  <a:lnTo>
                    <a:pt x="1872" y="2318"/>
                  </a:lnTo>
                  <a:lnTo>
                    <a:pt x="1876" y="2316"/>
                  </a:lnTo>
                  <a:lnTo>
                    <a:pt x="1880" y="2316"/>
                  </a:lnTo>
                  <a:lnTo>
                    <a:pt x="1886" y="2318"/>
                  </a:lnTo>
                  <a:lnTo>
                    <a:pt x="1896" y="2316"/>
                  </a:lnTo>
                  <a:lnTo>
                    <a:pt x="1906" y="2312"/>
                  </a:lnTo>
                  <a:lnTo>
                    <a:pt x="1916" y="2308"/>
                  </a:lnTo>
                  <a:lnTo>
                    <a:pt x="1934" y="2296"/>
                  </a:lnTo>
                  <a:lnTo>
                    <a:pt x="1944" y="2292"/>
                  </a:lnTo>
                  <a:lnTo>
                    <a:pt x="1952" y="2292"/>
                  </a:lnTo>
                  <a:lnTo>
                    <a:pt x="1956" y="2294"/>
                  </a:lnTo>
                  <a:lnTo>
                    <a:pt x="1960" y="2296"/>
                  </a:lnTo>
                  <a:lnTo>
                    <a:pt x="1964" y="2294"/>
                  </a:lnTo>
                  <a:lnTo>
                    <a:pt x="1972" y="2288"/>
                  </a:lnTo>
                  <a:lnTo>
                    <a:pt x="1976" y="2288"/>
                  </a:lnTo>
                  <a:lnTo>
                    <a:pt x="1980" y="2290"/>
                  </a:lnTo>
                  <a:lnTo>
                    <a:pt x="1986" y="2288"/>
                  </a:lnTo>
                  <a:lnTo>
                    <a:pt x="1992" y="2286"/>
                  </a:lnTo>
                  <a:lnTo>
                    <a:pt x="1998" y="2284"/>
                  </a:lnTo>
                  <a:lnTo>
                    <a:pt x="2002" y="2284"/>
                  </a:lnTo>
                  <a:lnTo>
                    <a:pt x="2004" y="2286"/>
                  </a:lnTo>
                  <a:lnTo>
                    <a:pt x="2004" y="2288"/>
                  </a:lnTo>
                  <a:lnTo>
                    <a:pt x="2004" y="2290"/>
                  </a:lnTo>
                  <a:lnTo>
                    <a:pt x="2000" y="2294"/>
                  </a:lnTo>
                  <a:lnTo>
                    <a:pt x="1996" y="2298"/>
                  </a:lnTo>
                  <a:lnTo>
                    <a:pt x="1988" y="2300"/>
                  </a:lnTo>
                  <a:lnTo>
                    <a:pt x="1980" y="2302"/>
                  </a:lnTo>
                  <a:lnTo>
                    <a:pt x="1974" y="2306"/>
                  </a:lnTo>
                  <a:lnTo>
                    <a:pt x="1968" y="2312"/>
                  </a:lnTo>
                  <a:lnTo>
                    <a:pt x="1962" y="2316"/>
                  </a:lnTo>
                  <a:lnTo>
                    <a:pt x="1948" y="2318"/>
                  </a:lnTo>
                  <a:lnTo>
                    <a:pt x="1944" y="2318"/>
                  </a:lnTo>
                  <a:lnTo>
                    <a:pt x="1944" y="2320"/>
                  </a:lnTo>
                  <a:lnTo>
                    <a:pt x="1944" y="2324"/>
                  </a:lnTo>
                  <a:lnTo>
                    <a:pt x="1946" y="2326"/>
                  </a:lnTo>
                  <a:lnTo>
                    <a:pt x="1952" y="2332"/>
                  </a:lnTo>
                  <a:lnTo>
                    <a:pt x="1956" y="2334"/>
                  </a:lnTo>
                  <a:lnTo>
                    <a:pt x="1958" y="2334"/>
                  </a:lnTo>
                  <a:lnTo>
                    <a:pt x="1962" y="2334"/>
                  </a:lnTo>
                  <a:lnTo>
                    <a:pt x="1968" y="2338"/>
                  </a:lnTo>
                  <a:lnTo>
                    <a:pt x="1974" y="2344"/>
                  </a:lnTo>
                  <a:lnTo>
                    <a:pt x="1978" y="2352"/>
                  </a:lnTo>
                  <a:lnTo>
                    <a:pt x="1976" y="2354"/>
                  </a:lnTo>
                  <a:lnTo>
                    <a:pt x="1972" y="2352"/>
                  </a:lnTo>
                  <a:lnTo>
                    <a:pt x="1964" y="2350"/>
                  </a:lnTo>
                  <a:lnTo>
                    <a:pt x="1958" y="2350"/>
                  </a:lnTo>
                  <a:lnTo>
                    <a:pt x="1952" y="2354"/>
                  </a:lnTo>
                  <a:lnTo>
                    <a:pt x="1948" y="2362"/>
                  </a:lnTo>
                  <a:lnTo>
                    <a:pt x="1942" y="2376"/>
                  </a:lnTo>
                  <a:lnTo>
                    <a:pt x="1940" y="2382"/>
                  </a:lnTo>
                  <a:lnTo>
                    <a:pt x="1942" y="2388"/>
                  </a:lnTo>
                  <a:lnTo>
                    <a:pt x="1944" y="2396"/>
                  </a:lnTo>
                  <a:lnTo>
                    <a:pt x="1942" y="2396"/>
                  </a:lnTo>
                  <a:lnTo>
                    <a:pt x="1940" y="2396"/>
                  </a:lnTo>
                  <a:lnTo>
                    <a:pt x="1934" y="2394"/>
                  </a:lnTo>
                  <a:lnTo>
                    <a:pt x="1930" y="2392"/>
                  </a:lnTo>
                  <a:lnTo>
                    <a:pt x="1926" y="2394"/>
                  </a:lnTo>
                  <a:lnTo>
                    <a:pt x="1922" y="2394"/>
                  </a:lnTo>
                  <a:lnTo>
                    <a:pt x="1918" y="2392"/>
                  </a:lnTo>
                  <a:lnTo>
                    <a:pt x="1910" y="2390"/>
                  </a:lnTo>
                  <a:lnTo>
                    <a:pt x="1904" y="2388"/>
                  </a:lnTo>
                  <a:lnTo>
                    <a:pt x="1904" y="2390"/>
                  </a:lnTo>
                  <a:lnTo>
                    <a:pt x="1904" y="2392"/>
                  </a:lnTo>
                  <a:lnTo>
                    <a:pt x="1904" y="2396"/>
                  </a:lnTo>
                  <a:lnTo>
                    <a:pt x="1904" y="2398"/>
                  </a:lnTo>
                  <a:lnTo>
                    <a:pt x="1900" y="2402"/>
                  </a:lnTo>
                  <a:lnTo>
                    <a:pt x="1900" y="2404"/>
                  </a:lnTo>
                  <a:lnTo>
                    <a:pt x="1912" y="2410"/>
                  </a:lnTo>
                  <a:lnTo>
                    <a:pt x="1918" y="2414"/>
                  </a:lnTo>
                  <a:lnTo>
                    <a:pt x="1924" y="2418"/>
                  </a:lnTo>
                  <a:lnTo>
                    <a:pt x="1928" y="2424"/>
                  </a:lnTo>
                  <a:lnTo>
                    <a:pt x="1934" y="2430"/>
                  </a:lnTo>
                  <a:lnTo>
                    <a:pt x="1938" y="2432"/>
                  </a:lnTo>
                  <a:lnTo>
                    <a:pt x="1944" y="2434"/>
                  </a:lnTo>
                  <a:lnTo>
                    <a:pt x="1950" y="2434"/>
                  </a:lnTo>
                  <a:lnTo>
                    <a:pt x="1954" y="2436"/>
                  </a:lnTo>
                  <a:lnTo>
                    <a:pt x="1956" y="2440"/>
                  </a:lnTo>
                  <a:lnTo>
                    <a:pt x="1958" y="2442"/>
                  </a:lnTo>
                  <a:lnTo>
                    <a:pt x="1960" y="2446"/>
                  </a:lnTo>
                  <a:lnTo>
                    <a:pt x="1966" y="2448"/>
                  </a:lnTo>
                  <a:lnTo>
                    <a:pt x="1976" y="2452"/>
                  </a:lnTo>
                  <a:lnTo>
                    <a:pt x="1990" y="2456"/>
                  </a:lnTo>
                  <a:lnTo>
                    <a:pt x="1994" y="2458"/>
                  </a:lnTo>
                  <a:lnTo>
                    <a:pt x="1996" y="2462"/>
                  </a:lnTo>
                  <a:lnTo>
                    <a:pt x="2006" y="2474"/>
                  </a:lnTo>
                  <a:lnTo>
                    <a:pt x="2034" y="2504"/>
                  </a:lnTo>
                  <a:lnTo>
                    <a:pt x="2042" y="2510"/>
                  </a:lnTo>
                  <a:lnTo>
                    <a:pt x="2050" y="2516"/>
                  </a:lnTo>
                  <a:lnTo>
                    <a:pt x="2062" y="2520"/>
                  </a:lnTo>
                  <a:lnTo>
                    <a:pt x="2070" y="2522"/>
                  </a:lnTo>
                  <a:lnTo>
                    <a:pt x="2074" y="2526"/>
                  </a:lnTo>
                  <a:lnTo>
                    <a:pt x="2076" y="2530"/>
                  </a:lnTo>
                  <a:lnTo>
                    <a:pt x="2080" y="2534"/>
                  </a:lnTo>
                  <a:lnTo>
                    <a:pt x="2082" y="2538"/>
                  </a:lnTo>
                  <a:lnTo>
                    <a:pt x="2088" y="2538"/>
                  </a:lnTo>
                  <a:lnTo>
                    <a:pt x="2092" y="2540"/>
                  </a:lnTo>
                  <a:lnTo>
                    <a:pt x="2094" y="2544"/>
                  </a:lnTo>
                  <a:lnTo>
                    <a:pt x="2098" y="2552"/>
                  </a:lnTo>
                  <a:lnTo>
                    <a:pt x="2100" y="2562"/>
                  </a:lnTo>
                  <a:lnTo>
                    <a:pt x="2104" y="2584"/>
                  </a:lnTo>
                  <a:lnTo>
                    <a:pt x="2104" y="2598"/>
                  </a:lnTo>
                  <a:lnTo>
                    <a:pt x="2100" y="2606"/>
                  </a:lnTo>
                  <a:lnTo>
                    <a:pt x="2096" y="2610"/>
                  </a:lnTo>
                  <a:lnTo>
                    <a:pt x="2086" y="2618"/>
                  </a:lnTo>
                  <a:lnTo>
                    <a:pt x="2066" y="2630"/>
                  </a:lnTo>
                  <a:lnTo>
                    <a:pt x="2054" y="2636"/>
                  </a:lnTo>
                  <a:lnTo>
                    <a:pt x="2044" y="2640"/>
                  </a:lnTo>
                  <a:lnTo>
                    <a:pt x="2032" y="2638"/>
                  </a:lnTo>
                  <a:lnTo>
                    <a:pt x="2028" y="2638"/>
                  </a:lnTo>
                  <a:lnTo>
                    <a:pt x="2024" y="2634"/>
                  </a:lnTo>
                  <a:lnTo>
                    <a:pt x="2014" y="2630"/>
                  </a:lnTo>
                  <a:lnTo>
                    <a:pt x="2006" y="2630"/>
                  </a:lnTo>
                  <a:lnTo>
                    <a:pt x="1996" y="2632"/>
                  </a:lnTo>
                  <a:lnTo>
                    <a:pt x="1986" y="2636"/>
                  </a:lnTo>
                  <a:lnTo>
                    <a:pt x="1976" y="2640"/>
                  </a:lnTo>
                  <a:lnTo>
                    <a:pt x="1968" y="2642"/>
                  </a:lnTo>
                  <a:lnTo>
                    <a:pt x="1960" y="2642"/>
                  </a:lnTo>
                  <a:lnTo>
                    <a:pt x="1956" y="2640"/>
                  </a:lnTo>
                  <a:lnTo>
                    <a:pt x="1952" y="2636"/>
                  </a:lnTo>
                  <a:lnTo>
                    <a:pt x="1942" y="2630"/>
                  </a:lnTo>
                  <a:lnTo>
                    <a:pt x="1940" y="2630"/>
                  </a:lnTo>
                  <a:lnTo>
                    <a:pt x="1938" y="2632"/>
                  </a:lnTo>
                  <a:lnTo>
                    <a:pt x="1936" y="2634"/>
                  </a:lnTo>
                  <a:lnTo>
                    <a:pt x="1932" y="2634"/>
                  </a:lnTo>
                  <a:lnTo>
                    <a:pt x="1924" y="2630"/>
                  </a:lnTo>
                  <a:lnTo>
                    <a:pt x="1918" y="2626"/>
                  </a:lnTo>
                  <a:lnTo>
                    <a:pt x="1914" y="2622"/>
                  </a:lnTo>
                  <a:lnTo>
                    <a:pt x="1910" y="2618"/>
                  </a:lnTo>
                  <a:lnTo>
                    <a:pt x="1908" y="2616"/>
                  </a:lnTo>
                  <a:lnTo>
                    <a:pt x="1906" y="2616"/>
                  </a:lnTo>
                  <a:lnTo>
                    <a:pt x="1896" y="2620"/>
                  </a:lnTo>
                  <a:lnTo>
                    <a:pt x="1890" y="2620"/>
                  </a:lnTo>
                  <a:lnTo>
                    <a:pt x="1886" y="2618"/>
                  </a:lnTo>
                  <a:lnTo>
                    <a:pt x="1884" y="2614"/>
                  </a:lnTo>
                  <a:lnTo>
                    <a:pt x="1882" y="2608"/>
                  </a:lnTo>
                  <a:lnTo>
                    <a:pt x="1880" y="2602"/>
                  </a:lnTo>
                  <a:lnTo>
                    <a:pt x="1876" y="2598"/>
                  </a:lnTo>
                  <a:lnTo>
                    <a:pt x="1870" y="2596"/>
                  </a:lnTo>
                  <a:lnTo>
                    <a:pt x="1860" y="2598"/>
                  </a:lnTo>
                  <a:lnTo>
                    <a:pt x="1850" y="2600"/>
                  </a:lnTo>
                  <a:lnTo>
                    <a:pt x="1844" y="2596"/>
                  </a:lnTo>
                  <a:lnTo>
                    <a:pt x="1842" y="2592"/>
                  </a:lnTo>
                  <a:lnTo>
                    <a:pt x="1840" y="2586"/>
                  </a:lnTo>
                  <a:lnTo>
                    <a:pt x="1840" y="2582"/>
                  </a:lnTo>
                  <a:lnTo>
                    <a:pt x="1838" y="2578"/>
                  </a:lnTo>
                  <a:lnTo>
                    <a:pt x="1836" y="2576"/>
                  </a:lnTo>
                  <a:lnTo>
                    <a:pt x="1830" y="2580"/>
                  </a:lnTo>
                  <a:lnTo>
                    <a:pt x="1822" y="2582"/>
                  </a:lnTo>
                  <a:lnTo>
                    <a:pt x="1814" y="2584"/>
                  </a:lnTo>
                  <a:lnTo>
                    <a:pt x="1798" y="2582"/>
                  </a:lnTo>
                  <a:lnTo>
                    <a:pt x="1788" y="2580"/>
                  </a:lnTo>
                  <a:lnTo>
                    <a:pt x="1778" y="2580"/>
                  </a:lnTo>
                  <a:lnTo>
                    <a:pt x="1766" y="2582"/>
                  </a:lnTo>
                  <a:lnTo>
                    <a:pt x="1752" y="2586"/>
                  </a:lnTo>
                  <a:lnTo>
                    <a:pt x="1724" y="2596"/>
                  </a:lnTo>
                  <a:lnTo>
                    <a:pt x="1706" y="2608"/>
                  </a:lnTo>
                  <a:lnTo>
                    <a:pt x="1694" y="2618"/>
                  </a:lnTo>
                  <a:lnTo>
                    <a:pt x="1688" y="2624"/>
                  </a:lnTo>
                  <a:lnTo>
                    <a:pt x="1684" y="2630"/>
                  </a:lnTo>
                  <a:lnTo>
                    <a:pt x="1678" y="2632"/>
                  </a:lnTo>
                  <a:lnTo>
                    <a:pt x="1668" y="2632"/>
                  </a:lnTo>
                  <a:lnTo>
                    <a:pt x="1656" y="2628"/>
                  </a:lnTo>
                  <a:lnTo>
                    <a:pt x="1646" y="2626"/>
                  </a:lnTo>
                  <a:lnTo>
                    <a:pt x="1638" y="2626"/>
                  </a:lnTo>
                  <a:lnTo>
                    <a:pt x="1630" y="2628"/>
                  </a:lnTo>
                  <a:lnTo>
                    <a:pt x="1618" y="2628"/>
                  </a:lnTo>
                  <a:lnTo>
                    <a:pt x="1608" y="2624"/>
                  </a:lnTo>
                  <a:lnTo>
                    <a:pt x="1602" y="2626"/>
                  </a:lnTo>
                  <a:lnTo>
                    <a:pt x="1598" y="2628"/>
                  </a:lnTo>
                  <a:lnTo>
                    <a:pt x="1596" y="2634"/>
                  </a:lnTo>
                  <a:lnTo>
                    <a:pt x="1594" y="2638"/>
                  </a:lnTo>
                  <a:lnTo>
                    <a:pt x="1596" y="2640"/>
                  </a:lnTo>
                  <a:lnTo>
                    <a:pt x="1600" y="2642"/>
                  </a:lnTo>
                  <a:lnTo>
                    <a:pt x="1604" y="2646"/>
                  </a:lnTo>
                  <a:lnTo>
                    <a:pt x="1608" y="2650"/>
                  </a:lnTo>
                  <a:lnTo>
                    <a:pt x="1612" y="2650"/>
                  </a:lnTo>
                  <a:lnTo>
                    <a:pt x="1620" y="2652"/>
                  </a:lnTo>
                  <a:lnTo>
                    <a:pt x="1622" y="2652"/>
                  </a:lnTo>
                  <a:lnTo>
                    <a:pt x="1620" y="2652"/>
                  </a:lnTo>
                  <a:lnTo>
                    <a:pt x="1606" y="2656"/>
                  </a:lnTo>
                  <a:lnTo>
                    <a:pt x="1584" y="2660"/>
                  </a:lnTo>
                  <a:lnTo>
                    <a:pt x="1584" y="2662"/>
                  </a:lnTo>
                  <a:lnTo>
                    <a:pt x="1584" y="2664"/>
                  </a:lnTo>
                  <a:lnTo>
                    <a:pt x="1592" y="2666"/>
                  </a:lnTo>
                  <a:lnTo>
                    <a:pt x="1594" y="2668"/>
                  </a:lnTo>
                  <a:lnTo>
                    <a:pt x="1594" y="2672"/>
                  </a:lnTo>
                  <a:lnTo>
                    <a:pt x="1586" y="2674"/>
                  </a:lnTo>
                  <a:lnTo>
                    <a:pt x="1570" y="2674"/>
                  </a:lnTo>
                  <a:lnTo>
                    <a:pt x="1558" y="2672"/>
                  </a:lnTo>
                  <a:lnTo>
                    <a:pt x="1554" y="2670"/>
                  </a:lnTo>
                  <a:lnTo>
                    <a:pt x="1552" y="2666"/>
                  </a:lnTo>
                  <a:lnTo>
                    <a:pt x="1552" y="2664"/>
                  </a:lnTo>
                  <a:lnTo>
                    <a:pt x="1550" y="2662"/>
                  </a:lnTo>
                  <a:lnTo>
                    <a:pt x="1544" y="2662"/>
                  </a:lnTo>
                  <a:lnTo>
                    <a:pt x="1538" y="2666"/>
                  </a:lnTo>
                  <a:lnTo>
                    <a:pt x="1536" y="2668"/>
                  </a:lnTo>
                  <a:lnTo>
                    <a:pt x="1538" y="2670"/>
                  </a:lnTo>
                  <a:lnTo>
                    <a:pt x="1540" y="2672"/>
                  </a:lnTo>
                  <a:lnTo>
                    <a:pt x="1540" y="2674"/>
                  </a:lnTo>
                  <a:lnTo>
                    <a:pt x="1536" y="2676"/>
                  </a:lnTo>
                  <a:lnTo>
                    <a:pt x="1530" y="2676"/>
                  </a:lnTo>
                  <a:lnTo>
                    <a:pt x="1528" y="2674"/>
                  </a:lnTo>
                  <a:lnTo>
                    <a:pt x="1526" y="2672"/>
                  </a:lnTo>
                  <a:lnTo>
                    <a:pt x="1524" y="2670"/>
                  </a:lnTo>
                  <a:lnTo>
                    <a:pt x="1520" y="2668"/>
                  </a:lnTo>
                  <a:lnTo>
                    <a:pt x="1516" y="2666"/>
                  </a:lnTo>
                  <a:lnTo>
                    <a:pt x="1510" y="2668"/>
                  </a:lnTo>
                  <a:lnTo>
                    <a:pt x="1506" y="2670"/>
                  </a:lnTo>
                  <a:lnTo>
                    <a:pt x="1500" y="2672"/>
                  </a:lnTo>
                  <a:lnTo>
                    <a:pt x="1494" y="2678"/>
                  </a:lnTo>
                  <a:lnTo>
                    <a:pt x="1488" y="2686"/>
                  </a:lnTo>
                  <a:lnTo>
                    <a:pt x="1482" y="2692"/>
                  </a:lnTo>
                  <a:lnTo>
                    <a:pt x="1480" y="2694"/>
                  </a:lnTo>
                  <a:lnTo>
                    <a:pt x="1478" y="2696"/>
                  </a:lnTo>
                  <a:lnTo>
                    <a:pt x="1476" y="2706"/>
                  </a:lnTo>
                  <a:lnTo>
                    <a:pt x="1474" y="2716"/>
                  </a:lnTo>
                  <a:lnTo>
                    <a:pt x="1474" y="2718"/>
                  </a:lnTo>
                  <a:lnTo>
                    <a:pt x="1476" y="2720"/>
                  </a:lnTo>
                  <a:lnTo>
                    <a:pt x="1482" y="2720"/>
                  </a:lnTo>
                  <a:lnTo>
                    <a:pt x="1496" y="2716"/>
                  </a:lnTo>
                  <a:lnTo>
                    <a:pt x="1504" y="2716"/>
                  </a:lnTo>
                  <a:lnTo>
                    <a:pt x="1506" y="2716"/>
                  </a:lnTo>
                  <a:lnTo>
                    <a:pt x="1506" y="2718"/>
                  </a:lnTo>
                  <a:lnTo>
                    <a:pt x="1504" y="2720"/>
                  </a:lnTo>
                  <a:lnTo>
                    <a:pt x="1500" y="2728"/>
                  </a:lnTo>
                  <a:lnTo>
                    <a:pt x="1498" y="2732"/>
                  </a:lnTo>
                  <a:lnTo>
                    <a:pt x="1502" y="2734"/>
                  </a:lnTo>
                  <a:lnTo>
                    <a:pt x="1504" y="2738"/>
                  </a:lnTo>
                  <a:lnTo>
                    <a:pt x="1504" y="2740"/>
                  </a:lnTo>
                  <a:lnTo>
                    <a:pt x="1502" y="2746"/>
                  </a:lnTo>
                  <a:lnTo>
                    <a:pt x="1502" y="2750"/>
                  </a:lnTo>
                  <a:lnTo>
                    <a:pt x="1504" y="2752"/>
                  </a:lnTo>
                  <a:lnTo>
                    <a:pt x="1506" y="2752"/>
                  </a:lnTo>
                  <a:lnTo>
                    <a:pt x="1510" y="2754"/>
                  </a:lnTo>
                  <a:lnTo>
                    <a:pt x="1510" y="2756"/>
                  </a:lnTo>
                  <a:lnTo>
                    <a:pt x="1504" y="2760"/>
                  </a:lnTo>
                  <a:lnTo>
                    <a:pt x="1498" y="2766"/>
                  </a:lnTo>
                  <a:lnTo>
                    <a:pt x="1498" y="2768"/>
                  </a:lnTo>
                  <a:lnTo>
                    <a:pt x="1502" y="2770"/>
                  </a:lnTo>
                  <a:lnTo>
                    <a:pt x="1508" y="2774"/>
                  </a:lnTo>
                  <a:lnTo>
                    <a:pt x="1510" y="2778"/>
                  </a:lnTo>
                  <a:lnTo>
                    <a:pt x="1510" y="2780"/>
                  </a:lnTo>
                  <a:lnTo>
                    <a:pt x="1508" y="2782"/>
                  </a:lnTo>
                  <a:lnTo>
                    <a:pt x="1504" y="2782"/>
                  </a:lnTo>
                  <a:lnTo>
                    <a:pt x="1500" y="2782"/>
                  </a:lnTo>
                  <a:lnTo>
                    <a:pt x="1496" y="2780"/>
                  </a:lnTo>
                  <a:lnTo>
                    <a:pt x="1494" y="2774"/>
                  </a:lnTo>
                  <a:lnTo>
                    <a:pt x="1492" y="2768"/>
                  </a:lnTo>
                  <a:lnTo>
                    <a:pt x="1488" y="2768"/>
                  </a:lnTo>
                  <a:lnTo>
                    <a:pt x="1486" y="2768"/>
                  </a:lnTo>
                  <a:lnTo>
                    <a:pt x="1486" y="2772"/>
                  </a:lnTo>
                  <a:lnTo>
                    <a:pt x="1484" y="2782"/>
                  </a:lnTo>
                  <a:lnTo>
                    <a:pt x="1486" y="2788"/>
                  </a:lnTo>
                  <a:lnTo>
                    <a:pt x="1490" y="2792"/>
                  </a:lnTo>
                  <a:lnTo>
                    <a:pt x="1494" y="2794"/>
                  </a:lnTo>
                  <a:lnTo>
                    <a:pt x="1498" y="2794"/>
                  </a:lnTo>
                  <a:lnTo>
                    <a:pt x="1500" y="2794"/>
                  </a:lnTo>
                  <a:lnTo>
                    <a:pt x="1504" y="2796"/>
                  </a:lnTo>
                  <a:lnTo>
                    <a:pt x="1508" y="2800"/>
                  </a:lnTo>
                  <a:lnTo>
                    <a:pt x="1510" y="2800"/>
                  </a:lnTo>
                  <a:lnTo>
                    <a:pt x="1518" y="2802"/>
                  </a:lnTo>
                  <a:lnTo>
                    <a:pt x="1520" y="2802"/>
                  </a:lnTo>
                  <a:lnTo>
                    <a:pt x="1522" y="2804"/>
                  </a:lnTo>
                  <a:lnTo>
                    <a:pt x="1522" y="2806"/>
                  </a:lnTo>
                  <a:lnTo>
                    <a:pt x="1520" y="2810"/>
                  </a:lnTo>
                  <a:lnTo>
                    <a:pt x="1516" y="2818"/>
                  </a:lnTo>
                  <a:lnTo>
                    <a:pt x="1516" y="2822"/>
                  </a:lnTo>
                  <a:lnTo>
                    <a:pt x="1520" y="2826"/>
                  </a:lnTo>
                  <a:lnTo>
                    <a:pt x="1520" y="2832"/>
                  </a:lnTo>
                  <a:lnTo>
                    <a:pt x="1520" y="2836"/>
                  </a:lnTo>
                  <a:lnTo>
                    <a:pt x="1522" y="2838"/>
                  </a:lnTo>
                  <a:lnTo>
                    <a:pt x="1526" y="2838"/>
                  </a:lnTo>
                  <a:lnTo>
                    <a:pt x="1528" y="2840"/>
                  </a:lnTo>
                  <a:lnTo>
                    <a:pt x="1530" y="2844"/>
                  </a:lnTo>
                  <a:lnTo>
                    <a:pt x="1530" y="2848"/>
                  </a:lnTo>
                  <a:lnTo>
                    <a:pt x="1530" y="2850"/>
                  </a:lnTo>
                  <a:lnTo>
                    <a:pt x="1524" y="2850"/>
                  </a:lnTo>
                  <a:lnTo>
                    <a:pt x="1518" y="2850"/>
                  </a:lnTo>
                  <a:lnTo>
                    <a:pt x="1520" y="2854"/>
                  </a:lnTo>
                  <a:lnTo>
                    <a:pt x="1522" y="2856"/>
                  </a:lnTo>
                  <a:lnTo>
                    <a:pt x="1528" y="2858"/>
                  </a:lnTo>
                  <a:lnTo>
                    <a:pt x="1542" y="2856"/>
                  </a:lnTo>
                  <a:lnTo>
                    <a:pt x="1552" y="2856"/>
                  </a:lnTo>
                  <a:lnTo>
                    <a:pt x="1556" y="2858"/>
                  </a:lnTo>
                  <a:lnTo>
                    <a:pt x="1554" y="2860"/>
                  </a:lnTo>
                  <a:lnTo>
                    <a:pt x="1550" y="2864"/>
                  </a:lnTo>
                  <a:lnTo>
                    <a:pt x="1546" y="2866"/>
                  </a:lnTo>
                  <a:lnTo>
                    <a:pt x="1534" y="2868"/>
                  </a:lnTo>
                  <a:lnTo>
                    <a:pt x="1526" y="2870"/>
                  </a:lnTo>
                  <a:lnTo>
                    <a:pt x="1524" y="2870"/>
                  </a:lnTo>
                  <a:lnTo>
                    <a:pt x="1526" y="2872"/>
                  </a:lnTo>
                  <a:lnTo>
                    <a:pt x="1528" y="2876"/>
                  </a:lnTo>
                  <a:lnTo>
                    <a:pt x="1532" y="2876"/>
                  </a:lnTo>
                  <a:lnTo>
                    <a:pt x="1540" y="2874"/>
                  </a:lnTo>
                  <a:lnTo>
                    <a:pt x="1548" y="2872"/>
                  </a:lnTo>
                  <a:lnTo>
                    <a:pt x="1550" y="2872"/>
                  </a:lnTo>
                  <a:lnTo>
                    <a:pt x="1552" y="2876"/>
                  </a:lnTo>
                  <a:lnTo>
                    <a:pt x="1552" y="2878"/>
                  </a:lnTo>
                  <a:lnTo>
                    <a:pt x="1554" y="2878"/>
                  </a:lnTo>
                  <a:lnTo>
                    <a:pt x="1560" y="2872"/>
                  </a:lnTo>
                  <a:lnTo>
                    <a:pt x="1564" y="2870"/>
                  </a:lnTo>
                  <a:lnTo>
                    <a:pt x="1568" y="2868"/>
                  </a:lnTo>
                  <a:lnTo>
                    <a:pt x="1572" y="2868"/>
                  </a:lnTo>
                  <a:lnTo>
                    <a:pt x="1576" y="2870"/>
                  </a:lnTo>
                  <a:lnTo>
                    <a:pt x="1580" y="2874"/>
                  </a:lnTo>
                  <a:lnTo>
                    <a:pt x="1582" y="2874"/>
                  </a:lnTo>
                  <a:lnTo>
                    <a:pt x="1588" y="2874"/>
                  </a:lnTo>
                  <a:lnTo>
                    <a:pt x="1590" y="2872"/>
                  </a:lnTo>
                  <a:lnTo>
                    <a:pt x="1592" y="2874"/>
                  </a:lnTo>
                  <a:lnTo>
                    <a:pt x="1594" y="2880"/>
                  </a:lnTo>
                  <a:lnTo>
                    <a:pt x="1598" y="2886"/>
                  </a:lnTo>
                  <a:lnTo>
                    <a:pt x="1602" y="2892"/>
                  </a:lnTo>
                  <a:lnTo>
                    <a:pt x="1610" y="2900"/>
                  </a:lnTo>
                  <a:lnTo>
                    <a:pt x="1616" y="2902"/>
                  </a:lnTo>
                  <a:lnTo>
                    <a:pt x="1620" y="2904"/>
                  </a:lnTo>
                  <a:lnTo>
                    <a:pt x="1624" y="2904"/>
                  </a:lnTo>
                  <a:lnTo>
                    <a:pt x="1628" y="2902"/>
                  </a:lnTo>
                  <a:lnTo>
                    <a:pt x="1634" y="2896"/>
                  </a:lnTo>
                  <a:lnTo>
                    <a:pt x="1638" y="2894"/>
                  </a:lnTo>
                  <a:lnTo>
                    <a:pt x="1640" y="2894"/>
                  </a:lnTo>
                  <a:lnTo>
                    <a:pt x="1642" y="2896"/>
                  </a:lnTo>
                  <a:lnTo>
                    <a:pt x="1646" y="2898"/>
                  </a:lnTo>
                  <a:lnTo>
                    <a:pt x="1648" y="2896"/>
                  </a:lnTo>
                  <a:lnTo>
                    <a:pt x="1652" y="2894"/>
                  </a:lnTo>
                  <a:lnTo>
                    <a:pt x="1654" y="2890"/>
                  </a:lnTo>
                  <a:lnTo>
                    <a:pt x="1654" y="2884"/>
                  </a:lnTo>
                  <a:lnTo>
                    <a:pt x="1654" y="2872"/>
                  </a:lnTo>
                  <a:lnTo>
                    <a:pt x="1656" y="2866"/>
                  </a:lnTo>
                  <a:lnTo>
                    <a:pt x="1662" y="2864"/>
                  </a:lnTo>
                  <a:lnTo>
                    <a:pt x="1670" y="2864"/>
                  </a:lnTo>
                  <a:lnTo>
                    <a:pt x="1686" y="2868"/>
                  </a:lnTo>
                  <a:lnTo>
                    <a:pt x="1700" y="2874"/>
                  </a:lnTo>
                  <a:lnTo>
                    <a:pt x="1712" y="2882"/>
                  </a:lnTo>
                  <a:lnTo>
                    <a:pt x="1720" y="2890"/>
                  </a:lnTo>
                  <a:lnTo>
                    <a:pt x="1728" y="2898"/>
                  </a:lnTo>
                  <a:lnTo>
                    <a:pt x="1732" y="2904"/>
                  </a:lnTo>
                  <a:lnTo>
                    <a:pt x="1738" y="2908"/>
                  </a:lnTo>
                  <a:lnTo>
                    <a:pt x="1744" y="2910"/>
                  </a:lnTo>
                  <a:lnTo>
                    <a:pt x="1752" y="2908"/>
                  </a:lnTo>
                  <a:lnTo>
                    <a:pt x="1766" y="2904"/>
                  </a:lnTo>
                  <a:lnTo>
                    <a:pt x="1778" y="2902"/>
                  </a:lnTo>
                  <a:lnTo>
                    <a:pt x="1782" y="2900"/>
                  </a:lnTo>
                  <a:lnTo>
                    <a:pt x="1788" y="2898"/>
                  </a:lnTo>
                  <a:lnTo>
                    <a:pt x="1794" y="2892"/>
                  </a:lnTo>
                  <a:lnTo>
                    <a:pt x="1802" y="2884"/>
                  </a:lnTo>
                  <a:lnTo>
                    <a:pt x="1814" y="2872"/>
                  </a:lnTo>
                  <a:lnTo>
                    <a:pt x="1822" y="2868"/>
                  </a:lnTo>
                  <a:lnTo>
                    <a:pt x="1828" y="2868"/>
                  </a:lnTo>
                  <a:lnTo>
                    <a:pt x="1834" y="2872"/>
                  </a:lnTo>
                  <a:lnTo>
                    <a:pt x="1838" y="2876"/>
                  </a:lnTo>
                  <a:lnTo>
                    <a:pt x="1844" y="2880"/>
                  </a:lnTo>
                  <a:lnTo>
                    <a:pt x="1848" y="2880"/>
                  </a:lnTo>
                  <a:lnTo>
                    <a:pt x="1856" y="2876"/>
                  </a:lnTo>
                  <a:lnTo>
                    <a:pt x="1868" y="2864"/>
                  </a:lnTo>
                  <a:lnTo>
                    <a:pt x="1876" y="2860"/>
                  </a:lnTo>
                  <a:lnTo>
                    <a:pt x="1878" y="2860"/>
                  </a:lnTo>
                  <a:lnTo>
                    <a:pt x="1880" y="2862"/>
                  </a:lnTo>
                  <a:lnTo>
                    <a:pt x="1882" y="2870"/>
                  </a:lnTo>
                  <a:lnTo>
                    <a:pt x="1882" y="2874"/>
                  </a:lnTo>
                  <a:lnTo>
                    <a:pt x="1880" y="2878"/>
                  </a:lnTo>
                  <a:lnTo>
                    <a:pt x="1872" y="2886"/>
                  </a:lnTo>
                  <a:lnTo>
                    <a:pt x="1866" y="2892"/>
                  </a:lnTo>
                  <a:lnTo>
                    <a:pt x="1864" y="2894"/>
                  </a:lnTo>
                  <a:lnTo>
                    <a:pt x="1866" y="2896"/>
                  </a:lnTo>
                  <a:lnTo>
                    <a:pt x="1872" y="2906"/>
                  </a:lnTo>
                  <a:lnTo>
                    <a:pt x="1872" y="2910"/>
                  </a:lnTo>
                  <a:lnTo>
                    <a:pt x="1872" y="2914"/>
                  </a:lnTo>
                  <a:lnTo>
                    <a:pt x="1868" y="2918"/>
                  </a:lnTo>
                  <a:lnTo>
                    <a:pt x="1864" y="2924"/>
                  </a:lnTo>
                  <a:lnTo>
                    <a:pt x="1862" y="2930"/>
                  </a:lnTo>
                  <a:lnTo>
                    <a:pt x="1866" y="2940"/>
                  </a:lnTo>
                  <a:lnTo>
                    <a:pt x="1870" y="2948"/>
                  </a:lnTo>
                  <a:lnTo>
                    <a:pt x="1870" y="2956"/>
                  </a:lnTo>
                  <a:lnTo>
                    <a:pt x="1870" y="2966"/>
                  </a:lnTo>
                  <a:lnTo>
                    <a:pt x="1872" y="2980"/>
                  </a:lnTo>
                  <a:lnTo>
                    <a:pt x="1872" y="2986"/>
                  </a:lnTo>
                  <a:lnTo>
                    <a:pt x="1870" y="2990"/>
                  </a:lnTo>
                  <a:lnTo>
                    <a:pt x="1866" y="2996"/>
                  </a:lnTo>
                  <a:lnTo>
                    <a:pt x="1860" y="3000"/>
                  </a:lnTo>
                  <a:lnTo>
                    <a:pt x="1858" y="3006"/>
                  </a:lnTo>
                  <a:lnTo>
                    <a:pt x="1858" y="3012"/>
                  </a:lnTo>
                  <a:lnTo>
                    <a:pt x="1858" y="3020"/>
                  </a:lnTo>
                  <a:lnTo>
                    <a:pt x="1856" y="3020"/>
                  </a:lnTo>
                  <a:lnTo>
                    <a:pt x="1854" y="3024"/>
                  </a:lnTo>
                  <a:lnTo>
                    <a:pt x="1850" y="3034"/>
                  </a:lnTo>
                  <a:lnTo>
                    <a:pt x="1848" y="3044"/>
                  </a:lnTo>
                  <a:lnTo>
                    <a:pt x="1846" y="3050"/>
                  </a:lnTo>
                  <a:lnTo>
                    <a:pt x="1842" y="3054"/>
                  </a:lnTo>
                  <a:lnTo>
                    <a:pt x="1838" y="3064"/>
                  </a:lnTo>
                  <a:lnTo>
                    <a:pt x="1824" y="3108"/>
                  </a:lnTo>
                  <a:lnTo>
                    <a:pt x="1818" y="3130"/>
                  </a:lnTo>
                  <a:lnTo>
                    <a:pt x="1814" y="3144"/>
                  </a:lnTo>
                  <a:lnTo>
                    <a:pt x="1806" y="3154"/>
                  </a:lnTo>
                  <a:lnTo>
                    <a:pt x="1800" y="3160"/>
                  </a:lnTo>
                  <a:lnTo>
                    <a:pt x="1768" y="3170"/>
                  </a:lnTo>
                  <a:lnTo>
                    <a:pt x="1764" y="3170"/>
                  </a:lnTo>
                  <a:lnTo>
                    <a:pt x="1760" y="3166"/>
                  </a:lnTo>
                  <a:lnTo>
                    <a:pt x="1756" y="3164"/>
                  </a:lnTo>
                  <a:lnTo>
                    <a:pt x="1754" y="3166"/>
                  </a:lnTo>
                  <a:lnTo>
                    <a:pt x="1748" y="3168"/>
                  </a:lnTo>
                  <a:lnTo>
                    <a:pt x="1744" y="3170"/>
                  </a:lnTo>
                  <a:lnTo>
                    <a:pt x="1740" y="3170"/>
                  </a:lnTo>
                  <a:lnTo>
                    <a:pt x="1734" y="3168"/>
                  </a:lnTo>
                  <a:lnTo>
                    <a:pt x="1728" y="3164"/>
                  </a:lnTo>
                  <a:lnTo>
                    <a:pt x="1726" y="3162"/>
                  </a:lnTo>
                  <a:lnTo>
                    <a:pt x="1724" y="3162"/>
                  </a:lnTo>
                  <a:lnTo>
                    <a:pt x="1724" y="3164"/>
                  </a:lnTo>
                  <a:lnTo>
                    <a:pt x="1724" y="3168"/>
                  </a:lnTo>
                  <a:lnTo>
                    <a:pt x="1720" y="3170"/>
                  </a:lnTo>
                  <a:lnTo>
                    <a:pt x="1734" y="3232"/>
                  </a:lnTo>
                  <a:lnTo>
                    <a:pt x="1734" y="3230"/>
                  </a:lnTo>
                  <a:lnTo>
                    <a:pt x="1738" y="3232"/>
                  </a:lnTo>
                  <a:lnTo>
                    <a:pt x="1738" y="3236"/>
                  </a:lnTo>
                  <a:lnTo>
                    <a:pt x="1738" y="3242"/>
                  </a:lnTo>
                  <a:lnTo>
                    <a:pt x="1740" y="3252"/>
                  </a:lnTo>
                  <a:lnTo>
                    <a:pt x="1744" y="3260"/>
                  </a:lnTo>
                  <a:lnTo>
                    <a:pt x="1750" y="3266"/>
                  </a:lnTo>
                  <a:lnTo>
                    <a:pt x="1754" y="3272"/>
                  </a:lnTo>
                  <a:lnTo>
                    <a:pt x="1758" y="3278"/>
                  </a:lnTo>
                  <a:lnTo>
                    <a:pt x="1760" y="3288"/>
                  </a:lnTo>
                  <a:lnTo>
                    <a:pt x="1762" y="3300"/>
                  </a:lnTo>
                  <a:lnTo>
                    <a:pt x="1766" y="3306"/>
                  </a:lnTo>
                  <a:lnTo>
                    <a:pt x="1770" y="3312"/>
                  </a:lnTo>
                  <a:lnTo>
                    <a:pt x="1784" y="3328"/>
                  </a:lnTo>
                  <a:lnTo>
                    <a:pt x="1792" y="3340"/>
                  </a:lnTo>
                  <a:lnTo>
                    <a:pt x="1796" y="3344"/>
                  </a:lnTo>
                  <a:lnTo>
                    <a:pt x="1800" y="3346"/>
                  </a:lnTo>
                  <a:lnTo>
                    <a:pt x="1802" y="3344"/>
                  </a:lnTo>
                  <a:lnTo>
                    <a:pt x="1804" y="3340"/>
                  </a:lnTo>
                  <a:lnTo>
                    <a:pt x="1810" y="3328"/>
                  </a:lnTo>
                  <a:lnTo>
                    <a:pt x="1812" y="3314"/>
                  </a:lnTo>
                  <a:lnTo>
                    <a:pt x="1816" y="3292"/>
                  </a:lnTo>
                  <a:lnTo>
                    <a:pt x="1830" y="3254"/>
                  </a:lnTo>
                  <a:lnTo>
                    <a:pt x="1832" y="3250"/>
                  </a:lnTo>
                  <a:lnTo>
                    <a:pt x="1832" y="3256"/>
                  </a:lnTo>
                  <a:lnTo>
                    <a:pt x="1832" y="3260"/>
                  </a:lnTo>
                  <a:lnTo>
                    <a:pt x="1826" y="3286"/>
                  </a:lnTo>
                  <a:lnTo>
                    <a:pt x="1826" y="3296"/>
                  </a:lnTo>
                  <a:lnTo>
                    <a:pt x="1826" y="3302"/>
                  </a:lnTo>
                  <a:lnTo>
                    <a:pt x="1822" y="3312"/>
                  </a:lnTo>
                  <a:lnTo>
                    <a:pt x="1818" y="3328"/>
                  </a:lnTo>
                  <a:lnTo>
                    <a:pt x="1818" y="3330"/>
                  </a:lnTo>
                  <a:lnTo>
                    <a:pt x="1824" y="3328"/>
                  </a:lnTo>
                  <a:lnTo>
                    <a:pt x="1828" y="3326"/>
                  </a:lnTo>
                  <a:lnTo>
                    <a:pt x="1834" y="3326"/>
                  </a:lnTo>
                  <a:lnTo>
                    <a:pt x="1838" y="3328"/>
                  </a:lnTo>
                  <a:lnTo>
                    <a:pt x="1840" y="3330"/>
                  </a:lnTo>
                  <a:lnTo>
                    <a:pt x="1848" y="3340"/>
                  </a:lnTo>
                  <a:lnTo>
                    <a:pt x="1864" y="3372"/>
                  </a:lnTo>
                  <a:lnTo>
                    <a:pt x="1880" y="3406"/>
                  </a:lnTo>
                  <a:lnTo>
                    <a:pt x="1888" y="3418"/>
                  </a:lnTo>
                  <a:lnTo>
                    <a:pt x="1896" y="3428"/>
                  </a:lnTo>
                  <a:lnTo>
                    <a:pt x="1900" y="3434"/>
                  </a:lnTo>
                  <a:lnTo>
                    <a:pt x="1900" y="3440"/>
                  </a:lnTo>
                  <a:lnTo>
                    <a:pt x="1902" y="3444"/>
                  </a:lnTo>
                  <a:lnTo>
                    <a:pt x="1908" y="3450"/>
                  </a:lnTo>
                  <a:lnTo>
                    <a:pt x="1916" y="3458"/>
                  </a:lnTo>
                  <a:lnTo>
                    <a:pt x="1922" y="3470"/>
                  </a:lnTo>
                  <a:lnTo>
                    <a:pt x="1926" y="3482"/>
                  </a:lnTo>
                  <a:lnTo>
                    <a:pt x="1926" y="3486"/>
                  </a:lnTo>
                  <a:lnTo>
                    <a:pt x="1924" y="3492"/>
                  </a:lnTo>
                  <a:lnTo>
                    <a:pt x="1922" y="3496"/>
                  </a:lnTo>
                  <a:lnTo>
                    <a:pt x="1924" y="3502"/>
                  </a:lnTo>
                  <a:lnTo>
                    <a:pt x="1926" y="3506"/>
                  </a:lnTo>
                  <a:lnTo>
                    <a:pt x="1928" y="3512"/>
                  </a:lnTo>
                  <a:lnTo>
                    <a:pt x="1938" y="3522"/>
                  </a:lnTo>
                  <a:lnTo>
                    <a:pt x="1944" y="3526"/>
                  </a:lnTo>
                  <a:lnTo>
                    <a:pt x="1952" y="3528"/>
                  </a:lnTo>
                  <a:lnTo>
                    <a:pt x="1958" y="3532"/>
                  </a:lnTo>
                  <a:lnTo>
                    <a:pt x="1964" y="3538"/>
                  </a:lnTo>
                  <a:lnTo>
                    <a:pt x="1970" y="3548"/>
                  </a:lnTo>
                  <a:lnTo>
                    <a:pt x="1976" y="3560"/>
                  </a:lnTo>
                  <a:lnTo>
                    <a:pt x="1988" y="3586"/>
                  </a:lnTo>
                  <a:lnTo>
                    <a:pt x="1996" y="3610"/>
                  </a:lnTo>
                  <a:lnTo>
                    <a:pt x="1998" y="3620"/>
                  </a:lnTo>
                  <a:lnTo>
                    <a:pt x="1998" y="3626"/>
                  </a:lnTo>
                  <a:lnTo>
                    <a:pt x="1998" y="3632"/>
                  </a:lnTo>
                  <a:lnTo>
                    <a:pt x="1996" y="3636"/>
                  </a:lnTo>
                  <a:lnTo>
                    <a:pt x="1994" y="3638"/>
                  </a:lnTo>
                  <a:lnTo>
                    <a:pt x="1992" y="3642"/>
                  </a:lnTo>
                  <a:lnTo>
                    <a:pt x="1994" y="3648"/>
                  </a:lnTo>
                  <a:lnTo>
                    <a:pt x="1996" y="3656"/>
                  </a:lnTo>
                  <a:lnTo>
                    <a:pt x="2000" y="3664"/>
                  </a:lnTo>
                  <a:lnTo>
                    <a:pt x="2000" y="3668"/>
                  </a:lnTo>
                  <a:lnTo>
                    <a:pt x="1998" y="3670"/>
                  </a:lnTo>
                  <a:lnTo>
                    <a:pt x="1998" y="3672"/>
                  </a:lnTo>
                  <a:lnTo>
                    <a:pt x="1996" y="3674"/>
                  </a:lnTo>
                  <a:lnTo>
                    <a:pt x="1996" y="3676"/>
                  </a:lnTo>
                  <a:lnTo>
                    <a:pt x="2004" y="3690"/>
                  </a:lnTo>
                  <a:lnTo>
                    <a:pt x="2014" y="3706"/>
                  </a:lnTo>
                  <a:lnTo>
                    <a:pt x="2020" y="3716"/>
                  </a:lnTo>
                  <a:lnTo>
                    <a:pt x="2026" y="3722"/>
                  </a:lnTo>
                  <a:lnTo>
                    <a:pt x="2036" y="3726"/>
                  </a:lnTo>
                  <a:lnTo>
                    <a:pt x="2042" y="3730"/>
                  </a:lnTo>
                  <a:lnTo>
                    <a:pt x="2048" y="3734"/>
                  </a:lnTo>
                  <a:lnTo>
                    <a:pt x="2058" y="3744"/>
                  </a:lnTo>
                  <a:lnTo>
                    <a:pt x="2064" y="3758"/>
                  </a:lnTo>
                  <a:lnTo>
                    <a:pt x="2072" y="3770"/>
                  </a:lnTo>
                  <a:lnTo>
                    <a:pt x="2078" y="3778"/>
                  </a:lnTo>
                  <a:lnTo>
                    <a:pt x="2082" y="3782"/>
                  </a:lnTo>
                  <a:lnTo>
                    <a:pt x="2084" y="3786"/>
                  </a:lnTo>
                  <a:lnTo>
                    <a:pt x="2084" y="3796"/>
                  </a:lnTo>
                  <a:lnTo>
                    <a:pt x="2086" y="3804"/>
                  </a:lnTo>
                  <a:lnTo>
                    <a:pt x="2088" y="3810"/>
                  </a:lnTo>
                  <a:lnTo>
                    <a:pt x="2092" y="3816"/>
                  </a:lnTo>
                  <a:lnTo>
                    <a:pt x="2094" y="3824"/>
                  </a:lnTo>
                  <a:lnTo>
                    <a:pt x="2096" y="3830"/>
                  </a:lnTo>
                  <a:lnTo>
                    <a:pt x="2098" y="3836"/>
                  </a:lnTo>
                  <a:lnTo>
                    <a:pt x="2108" y="3848"/>
                  </a:lnTo>
                  <a:lnTo>
                    <a:pt x="2120" y="3862"/>
                  </a:lnTo>
                  <a:lnTo>
                    <a:pt x="2124" y="3870"/>
                  </a:lnTo>
                  <a:lnTo>
                    <a:pt x="2126" y="3878"/>
                  </a:lnTo>
                  <a:lnTo>
                    <a:pt x="2128" y="3884"/>
                  </a:lnTo>
                  <a:lnTo>
                    <a:pt x="2130" y="3886"/>
                  </a:lnTo>
                  <a:lnTo>
                    <a:pt x="2134" y="3886"/>
                  </a:lnTo>
                  <a:lnTo>
                    <a:pt x="2138" y="3888"/>
                  </a:lnTo>
                  <a:lnTo>
                    <a:pt x="2140" y="3892"/>
                  </a:lnTo>
                  <a:lnTo>
                    <a:pt x="2144" y="3902"/>
                  </a:lnTo>
                  <a:lnTo>
                    <a:pt x="2146" y="3918"/>
                  </a:lnTo>
                  <a:lnTo>
                    <a:pt x="2148" y="3936"/>
                  </a:lnTo>
                  <a:lnTo>
                    <a:pt x="2146" y="3944"/>
                  </a:lnTo>
                  <a:lnTo>
                    <a:pt x="2142" y="3952"/>
                  </a:lnTo>
                  <a:lnTo>
                    <a:pt x="2142" y="3954"/>
                  </a:lnTo>
                  <a:lnTo>
                    <a:pt x="2142" y="3958"/>
                  </a:lnTo>
                  <a:lnTo>
                    <a:pt x="2144" y="3964"/>
                  </a:lnTo>
                  <a:lnTo>
                    <a:pt x="2146" y="3968"/>
                  </a:lnTo>
                  <a:lnTo>
                    <a:pt x="2146" y="3972"/>
                  </a:lnTo>
                  <a:lnTo>
                    <a:pt x="2144" y="3974"/>
                  </a:lnTo>
                  <a:lnTo>
                    <a:pt x="2140" y="3976"/>
                  </a:lnTo>
                  <a:lnTo>
                    <a:pt x="2142" y="3980"/>
                  </a:lnTo>
                  <a:lnTo>
                    <a:pt x="2146" y="3982"/>
                  </a:lnTo>
                  <a:lnTo>
                    <a:pt x="2148" y="3986"/>
                  </a:lnTo>
                  <a:lnTo>
                    <a:pt x="2150" y="3988"/>
                  </a:lnTo>
                  <a:lnTo>
                    <a:pt x="2150" y="3996"/>
                  </a:lnTo>
                  <a:lnTo>
                    <a:pt x="2152" y="4000"/>
                  </a:lnTo>
                  <a:lnTo>
                    <a:pt x="2154" y="4008"/>
                  </a:lnTo>
                  <a:lnTo>
                    <a:pt x="2156" y="4020"/>
                  </a:lnTo>
                  <a:lnTo>
                    <a:pt x="2158" y="4034"/>
                  </a:lnTo>
                  <a:lnTo>
                    <a:pt x="2162" y="4044"/>
                  </a:lnTo>
                  <a:lnTo>
                    <a:pt x="2166" y="4054"/>
                  </a:lnTo>
                  <a:lnTo>
                    <a:pt x="2166" y="4058"/>
                  </a:lnTo>
                  <a:lnTo>
                    <a:pt x="2166" y="4064"/>
                  </a:lnTo>
                  <a:lnTo>
                    <a:pt x="2164" y="4072"/>
                  </a:lnTo>
                  <a:lnTo>
                    <a:pt x="2166" y="4076"/>
                  </a:lnTo>
                  <a:lnTo>
                    <a:pt x="2168" y="4082"/>
                  </a:lnTo>
                  <a:lnTo>
                    <a:pt x="2172" y="4092"/>
                  </a:lnTo>
                  <a:lnTo>
                    <a:pt x="2176" y="4100"/>
                  </a:lnTo>
                  <a:lnTo>
                    <a:pt x="2178" y="4102"/>
                  </a:lnTo>
                  <a:lnTo>
                    <a:pt x="2180" y="4102"/>
                  </a:lnTo>
                  <a:lnTo>
                    <a:pt x="2184" y="4100"/>
                  </a:lnTo>
                  <a:lnTo>
                    <a:pt x="2186" y="4102"/>
                  </a:lnTo>
                  <a:lnTo>
                    <a:pt x="2190" y="4104"/>
                  </a:lnTo>
                  <a:lnTo>
                    <a:pt x="2196" y="4108"/>
                  </a:lnTo>
                  <a:lnTo>
                    <a:pt x="2200" y="4106"/>
                  </a:lnTo>
                  <a:lnTo>
                    <a:pt x="2204" y="4104"/>
                  </a:lnTo>
                  <a:lnTo>
                    <a:pt x="2208" y="4104"/>
                  </a:lnTo>
                  <a:lnTo>
                    <a:pt x="2212" y="4104"/>
                  </a:lnTo>
                  <a:lnTo>
                    <a:pt x="2214" y="4102"/>
                  </a:lnTo>
                  <a:lnTo>
                    <a:pt x="2218" y="4098"/>
                  </a:lnTo>
                  <a:lnTo>
                    <a:pt x="2226" y="4098"/>
                  </a:lnTo>
                  <a:lnTo>
                    <a:pt x="2232" y="4100"/>
                  </a:lnTo>
                  <a:lnTo>
                    <a:pt x="2236" y="4098"/>
                  </a:lnTo>
                  <a:lnTo>
                    <a:pt x="2238" y="4096"/>
                  </a:lnTo>
                  <a:lnTo>
                    <a:pt x="2240" y="4094"/>
                  </a:lnTo>
                  <a:lnTo>
                    <a:pt x="2242" y="4090"/>
                  </a:lnTo>
                  <a:lnTo>
                    <a:pt x="2244" y="4088"/>
                  </a:lnTo>
                  <a:lnTo>
                    <a:pt x="2248" y="4088"/>
                  </a:lnTo>
                  <a:lnTo>
                    <a:pt x="2252" y="4086"/>
                  </a:lnTo>
                  <a:lnTo>
                    <a:pt x="2254" y="4084"/>
                  </a:lnTo>
                  <a:lnTo>
                    <a:pt x="2258" y="4074"/>
                  </a:lnTo>
                  <a:lnTo>
                    <a:pt x="2262" y="4070"/>
                  </a:lnTo>
                  <a:lnTo>
                    <a:pt x="2266" y="4068"/>
                  </a:lnTo>
                  <a:lnTo>
                    <a:pt x="2274" y="4066"/>
                  </a:lnTo>
                  <a:lnTo>
                    <a:pt x="2284" y="4066"/>
                  </a:lnTo>
                  <a:lnTo>
                    <a:pt x="2300" y="4066"/>
                  </a:lnTo>
                  <a:lnTo>
                    <a:pt x="2312" y="4062"/>
                  </a:lnTo>
                  <a:lnTo>
                    <a:pt x="2324" y="4058"/>
                  </a:lnTo>
                  <a:lnTo>
                    <a:pt x="2334" y="4050"/>
                  </a:lnTo>
                  <a:lnTo>
                    <a:pt x="2348" y="4038"/>
                  </a:lnTo>
                  <a:lnTo>
                    <a:pt x="2356" y="4036"/>
                  </a:lnTo>
                  <a:lnTo>
                    <a:pt x="2364" y="4036"/>
                  </a:lnTo>
                  <a:lnTo>
                    <a:pt x="2370" y="4038"/>
                  </a:lnTo>
                  <a:lnTo>
                    <a:pt x="2374" y="4038"/>
                  </a:lnTo>
                  <a:lnTo>
                    <a:pt x="2382" y="4034"/>
                  </a:lnTo>
                  <a:lnTo>
                    <a:pt x="2390" y="4028"/>
                  </a:lnTo>
                  <a:lnTo>
                    <a:pt x="2398" y="4020"/>
                  </a:lnTo>
                  <a:lnTo>
                    <a:pt x="2406" y="4010"/>
                  </a:lnTo>
                  <a:lnTo>
                    <a:pt x="2416" y="4002"/>
                  </a:lnTo>
                  <a:lnTo>
                    <a:pt x="2426" y="3998"/>
                  </a:lnTo>
                  <a:lnTo>
                    <a:pt x="2432" y="3996"/>
                  </a:lnTo>
                  <a:lnTo>
                    <a:pt x="2438" y="3998"/>
                  </a:lnTo>
                  <a:lnTo>
                    <a:pt x="2442" y="3998"/>
                  </a:lnTo>
                  <a:lnTo>
                    <a:pt x="2446" y="3996"/>
                  </a:lnTo>
                  <a:lnTo>
                    <a:pt x="2452" y="3992"/>
                  </a:lnTo>
                  <a:lnTo>
                    <a:pt x="2462" y="3986"/>
                  </a:lnTo>
                  <a:lnTo>
                    <a:pt x="2468" y="3982"/>
                  </a:lnTo>
                  <a:lnTo>
                    <a:pt x="2480" y="3978"/>
                  </a:lnTo>
                  <a:lnTo>
                    <a:pt x="2500" y="3972"/>
                  </a:lnTo>
                  <a:lnTo>
                    <a:pt x="2506" y="3968"/>
                  </a:lnTo>
                  <a:lnTo>
                    <a:pt x="2510" y="3966"/>
                  </a:lnTo>
                  <a:lnTo>
                    <a:pt x="2520" y="3962"/>
                  </a:lnTo>
                  <a:lnTo>
                    <a:pt x="2526" y="3960"/>
                  </a:lnTo>
                  <a:lnTo>
                    <a:pt x="2528" y="3954"/>
                  </a:lnTo>
                  <a:lnTo>
                    <a:pt x="2528" y="3942"/>
                  </a:lnTo>
                  <a:lnTo>
                    <a:pt x="2528" y="3934"/>
                  </a:lnTo>
                  <a:lnTo>
                    <a:pt x="2532" y="3926"/>
                  </a:lnTo>
                  <a:lnTo>
                    <a:pt x="2542" y="3916"/>
                  </a:lnTo>
                  <a:lnTo>
                    <a:pt x="2562" y="3906"/>
                  </a:lnTo>
                  <a:lnTo>
                    <a:pt x="2566" y="3902"/>
                  </a:lnTo>
                  <a:lnTo>
                    <a:pt x="2572" y="3902"/>
                  </a:lnTo>
                  <a:lnTo>
                    <a:pt x="2578" y="3902"/>
                  </a:lnTo>
                  <a:lnTo>
                    <a:pt x="2584" y="3902"/>
                  </a:lnTo>
                  <a:lnTo>
                    <a:pt x="2586" y="3900"/>
                  </a:lnTo>
                  <a:lnTo>
                    <a:pt x="2594" y="3894"/>
                  </a:lnTo>
                  <a:lnTo>
                    <a:pt x="2600" y="3892"/>
                  </a:lnTo>
                  <a:lnTo>
                    <a:pt x="2606" y="3890"/>
                  </a:lnTo>
                  <a:lnTo>
                    <a:pt x="2614" y="3888"/>
                  </a:lnTo>
                  <a:lnTo>
                    <a:pt x="2624" y="3890"/>
                  </a:lnTo>
                  <a:lnTo>
                    <a:pt x="2630" y="3890"/>
                  </a:lnTo>
                  <a:lnTo>
                    <a:pt x="2634" y="3890"/>
                  </a:lnTo>
                  <a:lnTo>
                    <a:pt x="2638" y="3888"/>
                  </a:lnTo>
                  <a:lnTo>
                    <a:pt x="2642" y="3886"/>
                  </a:lnTo>
                  <a:lnTo>
                    <a:pt x="2646" y="3878"/>
                  </a:lnTo>
                  <a:lnTo>
                    <a:pt x="2650" y="3868"/>
                  </a:lnTo>
                  <a:lnTo>
                    <a:pt x="2654" y="3858"/>
                  </a:lnTo>
                  <a:lnTo>
                    <a:pt x="2658" y="3850"/>
                  </a:lnTo>
                  <a:lnTo>
                    <a:pt x="2664" y="3844"/>
                  </a:lnTo>
                  <a:lnTo>
                    <a:pt x="2670" y="3842"/>
                  </a:lnTo>
                  <a:lnTo>
                    <a:pt x="2676" y="3842"/>
                  </a:lnTo>
                  <a:lnTo>
                    <a:pt x="2690" y="3840"/>
                  </a:lnTo>
                  <a:lnTo>
                    <a:pt x="2698" y="3836"/>
                  </a:lnTo>
                  <a:lnTo>
                    <a:pt x="2702" y="3830"/>
                  </a:lnTo>
                  <a:lnTo>
                    <a:pt x="2704" y="3822"/>
                  </a:lnTo>
                  <a:lnTo>
                    <a:pt x="2708" y="3814"/>
                  </a:lnTo>
                  <a:lnTo>
                    <a:pt x="2712" y="3806"/>
                  </a:lnTo>
                  <a:lnTo>
                    <a:pt x="2720" y="3798"/>
                  </a:lnTo>
                  <a:lnTo>
                    <a:pt x="2734" y="3794"/>
                  </a:lnTo>
                  <a:lnTo>
                    <a:pt x="2746" y="3790"/>
                  </a:lnTo>
                  <a:lnTo>
                    <a:pt x="2752" y="3786"/>
                  </a:lnTo>
                  <a:lnTo>
                    <a:pt x="2754" y="3782"/>
                  </a:lnTo>
                  <a:lnTo>
                    <a:pt x="2752" y="3776"/>
                  </a:lnTo>
                  <a:lnTo>
                    <a:pt x="2750" y="3768"/>
                  </a:lnTo>
                  <a:lnTo>
                    <a:pt x="2750" y="3758"/>
                  </a:lnTo>
                  <a:lnTo>
                    <a:pt x="2750" y="3746"/>
                  </a:lnTo>
                  <a:lnTo>
                    <a:pt x="2754" y="3730"/>
                  </a:lnTo>
                  <a:lnTo>
                    <a:pt x="2760" y="3716"/>
                  </a:lnTo>
                  <a:lnTo>
                    <a:pt x="2764" y="3710"/>
                  </a:lnTo>
                  <a:lnTo>
                    <a:pt x="2768" y="3712"/>
                  </a:lnTo>
                  <a:lnTo>
                    <a:pt x="2770" y="3714"/>
                  </a:lnTo>
                  <a:lnTo>
                    <a:pt x="2772" y="3718"/>
                  </a:lnTo>
                  <a:lnTo>
                    <a:pt x="2776" y="3720"/>
                  </a:lnTo>
                  <a:lnTo>
                    <a:pt x="2780" y="3716"/>
                  </a:lnTo>
                  <a:lnTo>
                    <a:pt x="2786" y="3704"/>
                  </a:lnTo>
                  <a:lnTo>
                    <a:pt x="2792" y="3692"/>
                  </a:lnTo>
                  <a:lnTo>
                    <a:pt x="2796" y="3684"/>
                  </a:lnTo>
                  <a:lnTo>
                    <a:pt x="2806" y="3674"/>
                  </a:lnTo>
                  <a:lnTo>
                    <a:pt x="2816" y="3664"/>
                  </a:lnTo>
                  <a:lnTo>
                    <a:pt x="2820" y="3656"/>
                  </a:lnTo>
                  <a:lnTo>
                    <a:pt x="2824" y="3644"/>
                  </a:lnTo>
                  <a:lnTo>
                    <a:pt x="2830" y="3628"/>
                  </a:lnTo>
                  <a:lnTo>
                    <a:pt x="2834" y="3618"/>
                  </a:lnTo>
                  <a:lnTo>
                    <a:pt x="2834" y="3616"/>
                  </a:lnTo>
                  <a:lnTo>
                    <a:pt x="2832" y="3614"/>
                  </a:lnTo>
                  <a:lnTo>
                    <a:pt x="2822" y="3608"/>
                  </a:lnTo>
                  <a:close/>
                  <a:moveTo>
                    <a:pt x="2468" y="3400"/>
                  </a:moveTo>
                  <a:lnTo>
                    <a:pt x="2468" y="3400"/>
                  </a:lnTo>
                  <a:lnTo>
                    <a:pt x="2470" y="3400"/>
                  </a:lnTo>
                  <a:lnTo>
                    <a:pt x="2468" y="3400"/>
                  </a:lnTo>
                  <a:close/>
                  <a:moveTo>
                    <a:pt x="1836" y="3098"/>
                  </a:moveTo>
                  <a:lnTo>
                    <a:pt x="1836" y="3098"/>
                  </a:lnTo>
                  <a:lnTo>
                    <a:pt x="1838" y="3094"/>
                  </a:lnTo>
                  <a:lnTo>
                    <a:pt x="1842" y="3094"/>
                  </a:lnTo>
                  <a:lnTo>
                    <a:pt x="1838" y="3094"/>
                  </a:lnTo>
                  <a:lnTo>
                    <a:pt x="1836" y="3098"/>
                  </a:lnTo>
                  <a:close/>
                  <a:moveTo>
                    <a:pt x="1856" y="3100"/>
                  </a:moveTo>
                  <a:lnTo>
                    <a:pt x="1856" y="3100"/>
                  </a:lnTo>
                  <a:lnTo>
                    <a:pt x="1856" y="3102"/>
                  </a:lnTo>
                  <a:lnTo>
                    <a:pt x="1856" y="3100"/>
                  </a:lnTo>
                  <a:lnTo>
                    <a:pt x="1856" y="3090"/>
                  </a:lnTo>
                  <a:lnTo>
                    <a:pt x="1858" y="3084"/>
                  </a:lnTo>
                  <a:lnTo>
                    <a:pt x="1860" y="3082"/>
                  </a:lnTo>
                  <a:lnTo>
                    <a:pt x="1858" y="3084"/>
                  </a:lnTo>
                  <a:lnTo>
                    <a:pt x="1856" y="3090"/>
                  </a:lnTo>
                  <a:lnTo>
                    <a:pt x="1856" y="3100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06" name="Freeform 6156">
              <a:extLst>
                <a:ext uri="{FF2B5EF4-FFF2-40B4-BE49-F238E27FC236}">
                  <a16:creationId xmlns:a16="http://schemas.microsoft.com/office/drawing/2014/main" id="{C592A1CC-FA57-47B7-8D38-7B70F073B0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67288" y="879494"/>
              <a:ext cx="3719525" cy="3473436"/>
            </a:xfrm>
            <a:custGeom>
              <a:avLst/>
              <a:gdLst>
                <a:gd name="T0" fmla="*/ 334096 w 5856"/>
                <a:gd name="T1" fmla="*/ 341505 h 5472"/>
                <a:gd name="T2" fmla="*/ 374746 w 5856"/>
                <a:gd name="T3" fmla="*/ 60938 h 5472"/>
                <a:gd name="T4" fmla="*/ 2452998 w 5856"/>
                <a:gd name="T5" fmla="*/ 316114 h 5472"/>
                <a:gd name="T6" fmla="*/ 3177084 w 5856"/>
                <a:gd name="T7" fmla="*/ 608108 h 5472"/>
                <a:gd name="T8" fmla="*/ 2139228 w 5856"/>
                <a:gd name="T9" fmla="*/ 481154 h 5472"/>
                <a:gd name="T10" fmla="*/ 256606 w 5856"/>
                <a:gd name="T11" fmla="*/ 559865 h 5472"/>
                <a:gd name="T12" fmla="*/ 48272 w 5856"/>
                <a:gd name="T13" fmla="*/ 76172 h 5472"/>
                <a:gd name="T14" fmla="*/ 461128 w 5856"/>
                <a:gd name="T15" fmla="*/ 11426 h 5472"/>
                <a:gd name="T16" fmla="*/ 438262 w 5856"/>
                <a:gd name="T17" fmla="*/ 78711 h 5472"/>
                <a:gd name="T18" fmla="*/ 1814025 w 5856"/>
                <a:gd name="T19" fmla="*/ 3336340 h 5472"/>
                <a:gd name="T20" fmla="*/ 2066820 w 5856"/>
                <a:gd name="T21" fmla="*/ 2794248 h 5472"/>
                <a:gd name="T22" fmla="*/ 2090956 w 5856"/>
                <a:gd name="T23" fmla="*/ 2845030 h 5472"/>
                <a:gd name="T24" fmla="*/ 2021088 w 5856"/>
                <a:gd name="T25" fmla="*/ 2668564 h 5472"/>
                <a:gd name="T26" fmla="*/ 2068090 w 5856"/>
                <a:gd name="T27" fmla="*/ 2759971 h 5472"/>
                <a:gd name="T28" fmla="*/ 2012196 w 5856"/>
                <a:gd name="T29" fmla="*/ 2762510 h 5472"/>
                <a:gd name="T30" fmla="*/ 2125255 w 5856"/>
                <a:gd name="T31" fmla="*/ 3088781 h 5472"/>
                <a:gd name="T32" fmla="*/ 2097307 w 5856"/>
                <a:gd name="T33" fmla="*/ 1976667 h 5472"/>
                <a:gd name="T34" fmla="*/ 2010925 w 5856"/>
                <a:gd name="T35" fmla="*/ 3324914 h 5472"/>
                <a:gd name="T36" fmla="*/ 2102389 w 5856"/>
                <a:gd name="T37" fmla="*/ 1863679 h 5472"/>
                <a:gd name="T38" fmla="*/ 1256352 w 5856"/>
                <a:gd name="T39" fmla="*/ 2824717 h 5472"/>
                <a:gd name="T40" fmla="*/ 1637450 w 5856"/>
                <a:gd name="T41" fmla="*/ 2959288 h 5472"/>
                <a:gd name="T42" fmla="*/ 1636179 w 5856"/>
                <a:gd name="T43" fmla="*/ 3313488 h 5472"/>
                <a:gd name="T44" fmla="*/ 1580285 w 5856"/>
                <a:gd name="T45" fmla="*/ 3222082 h 5472"/>
                <a:gd name="T46" fmla="*/ 1342734 w 5856"/>
                <a:gd name="T47" fmla="*/ 2956749 h 5472"/>
                <a:gd name="T48" fmla="*/ 5081 w 5856"/>
                <a:gd name="T49" fmla="*/ 3446790 h 5472"/>
                <a:gd name="T50" fmla="*/ 2179879 w 5856"/>
                <a:gd name="T51" fmla="*/ 2182332 h 5472"/>
                <a:gd name="T52" fmla="*/ 2291667 w 5856"/>
                <a:gd name="T53" fmla="*/ 2007136 h 5472"/>
                <a:gd name="T54" fmla="*/ 1948679 w 5856"/>
                <a:gd name="T55" fmla="*/ 3044347 h 5472"/>
                <a:gd name="T56" fmla="*/ 1984248 w 5856"/>
                <a:gd name="T57" fmla="*/ 3100206 h 5472"/>
                <a:gd name="T58" fmla="*/ 1942328 w 5856"/>
                <a:gd name="T59" fmla="*/ 2744736 h 5472"/>
                <a:gd name="T60" fmla="*/ 2132876 w 5856"/>
                <a:gd name="T61" fmla="*/ 3114171 h 5472"/>
                <a:gd name="T62" fmla="*/ 2483486 w 5856"/>
                <a:gd name="T63" fmla="*/ 1744342 h 5472"/>
                <a:gd name="T64" fmla="*/ 2336129 w 5856"/>
                <a:gd name="T65" fmla="*/ 1971589 h 5472"/>
                <a:gd name="T66" fmla="*/ 2107470 w 5856"/>
                <a:gd name="T67" fmla="*/ 1984284 h 5472"/>
                <a:gd name="T68" fmla="*/ 2536840 w 5856"/>
                <a:gd name="T69" fmla="*/ 1350786 h 5472"/>
                <a:gd name="T70" fmla="*/ 2451728 w 5856"/>
                <a:gd name="T71" fmla="*/ 1727838 h 5472"/>
                <a:gd name="T72" fmla="*/ 2022358 w 5856"/>
                <a:gd name="T73" fmla="*/ 2660947 h 5472"/>
                <a:gd name="T74" fmla="*/ 1906759 w 5856"/>
                <a:gd name="T75" fmla="*/ 2780283 h 5472"/>
                <a:gd name="T76" fmla="*/ 2087145 w 5856"/>
                <a:gd name="T77" fmla="*/ 2730772 h 5472"/>
                <a:gd name="T78" fmla="*/ 1878811 w 5856"/>
                <a:gd name="T79" fmla="*/ 2870420 h 5472"/>
                <a:gd name="T80" fmla="*/ 1669208 w 5856"/>
                <a:gd name="T81" fmla="*/ 3111632 h 5472"/>
                <a:gd name="T82" fmla="*/ 2046494 w 5856"/>
                <a:gd name="T83" fmla="*/ 2306747 h 5472"/>
                <a:gd name="T84" fmla="*/ 3226627 w 5856"/>
                <a:gd name="T85" fmla="*/ 603030 h 5472"/>
                <a:gd name="T86" fmla="*/ 2160824 w 5856"/>
                <a:gd name="T87" fmla="*/ 505275 h 5472"/>
                <a:gd name="T88" fmla="*/ 1448171 w 5856"/>
                <a:gd name="T89" fmla="*/ 275489 h 5472"/>
                <a:gd name="T90" fmla="*/ 899390 w 5856"/>
                <a:gd name="T91" fmla="*/ 483693 h 5472"/>
                <a:gd name="T92" fmla="*/ 736789 w 5856"/>
                <a:gd name="T93" fmla="*/ 700784 h 5472"/>
                <a:gd name="T94" fmla="*/ 137195 w 5856"/>
                <a:gd name="T95" fmla="*/ 684280 h 5472"/>
                <a:gd name="T96" fmla="*/ 415396 w 5856"/>
                <a:gd name="T97" fmla="*/ 2273739 h 5472"/>
                <a:gd name="T98" fmla="*/ 814279 w 5856"/>
                <a:gd name="T99" fmla="*/ 2748545 h 5472"/>
                <a:gd name="T100" fmla="*/ 1185214 w 5856"/>
                <a:gd name="T101" fmla="*/ 2338485 h 5472"/>
                <a:gd name="T102" fmla="*/ 1393547 w 5856"/>
                <a:gd name="T103" fmla="*/ 2695225 h 5472"/>
                <a:gd name="T104" fmla="*/ 1451982 w 5856"/>
                <a:gd name="T105" fmla="*/ 2856456 h 5472"/>
                <a:gd name="T106" fmla="*/ 1629828 w 5856"/>
                <a:gd name="T107" fmla="*/ 2740928 h 5472"/>
                <a:gd name="T108" fmla="*/ 1744157 w 5856"/>
                <a:gd name="T109" fmla="*/ 2391805 h 5472"/>
                <a:gd name="T110" fmla="*/ 1933435 w 5856"/>
                <a:gd name="T111" fmla="*/ 2254696 h 5472"/>
                <a:gd name="T112" fmla="*/ 1986789 w 5856"/>
                <a:gd name="T113" fmla="*/ 2059187 h 5472"/>
                <a:gd name="T114" fmla="*/ 1905488 w 5856"/>
                <a:gd name="T115" fmla="*/ 1812897 h 5472"/>
                <a:gd name="T116" fmla="*/ 2103659 w 5856"/>
                <a:gd name="T117" fmla="*/ 1858600 h 5472"/>
                <a:gd name="T118" fmla="*/ 2129066 w 5856"/>
                <a:gd name="T119" fmla="*/ 1809089 h 5472"/>
                <a:gd name="T120" fmla="*/ 2413618 w 5856"/>
                <a:gd name="T121" fmla="*/ 1277153 h 5472"/>
                <a:gd name="T122" fmla="*/ 3003049 w 5856"/>
                <a:gd name="T123" fmla="*/ 983890 h 5472"/>
                <a:gd name="T124" fmla="*/ 3079269 w 5856"/>
                <a:gd name="T125" fmla="*/ 1027054 h 547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856"/>
                <a:gd name="T190" fmla="*/ 0 h 5472"/>
                <a:gd name="T191" fmla="*/ 5856 w 5856"/>
                <a:gd name="T192" fmla="*/ 5472 h 547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856" h="5472">
                  <a:moveTo>
                    <a:pt x="1912" y="64"/>
                  </a:moveTo>
                  <a:lnTo>
                    <a:pt x="1912" y="64"/>
                  </a:lnTo>
                  <a:lnTo>
                    <a:pt x="1910" y="60"/>
                  </a:lnTo>
                  <a:lnTo>
                    <a:pt x="1902" y="58"/>
                  </a:lnTo>
                  <a:lnTo>
                    <a:pt x="1882" y="54"/>
                  </a:lnTo>
                  <a:lnTo>
                    <a:pt x="1862" y="54"/>
                  </a:lnTo>
                  <a:lnTo>
                    <a:pt x="1854" y="56"/>
                  </a:lnTo>
                  <a:lnTo>
                    <a:pt x="1850" y="60"/>
                  </a:lnTo>
                  <a:lnTo>
                    <a:pt x="1850" y="62"/>
                  </a:lnTo>
                  <a:lnTo>
                    <a:pt x="1852" y="64"/>
                  </a:lnTo>
                  <a:lnTo>
                    <a:pt x="1858" y="68"/>
                  </a:lnTo>
                  <a:lnTo>
                    <a:pt x="1868" y="70"/>
                  </a:lnTo>
                  <a:lnTo>
                    <a:pt x="1880" y="70"/>
                  </a:lnTo>
                  <a:lnTo>
                    <a:pt x="1902" y="68"/>
                  </a:lnTo>
                  <a:lnTo>
                    <a:pt x="1908" y="66"/>
                  </a:lnTo>
                  <a:lnTo>
                    <a:pt x="1912" y="64"/>
                  </a:lnTo>
                  <a:close/>
                  <a:moveTo>
                    <a:pt x="1078" y="706"/>
                  </a:moveTo>
                  <a:lnTo>
                    <a:pt x="1078" y="706"/>
                  </a:lnTo>
                  <a:lnTo>
                    <a:pt x="1094" y="702"/>
                  </a:lnTo>
                  <a:lnTo>
                    <a:pt x="1100" y="700"/>
                  </a:lnTo>
                  <a:lnTo>
                    <a:pt x="1104" y="698"/>
                  </a:lnTo>
                  <a:lnTo>
                    <a:pt x="1104" y="694"/>
                  </a:lnTo>
                  <a:lnTo>
                    <a:pt x="1104" y="690"/>
                  </a:lnTo>
                  <a:lnTo>
                    <a:pt x="1102" y="684"/>
                  </a:lnTo>
                  <a:lnTo>
                    <a:pt x="1094" y="678"/>
                  </a:lnTo>
                  <a:lnTo>
                    <a:pt x="1082" y="674"/>
                  </a:lnTo>
                  <a:lnTo>
                    <a:pt x="1070" y="674"/>
                  </a:lnTo>
                  <a:lnTo>
                    <a:pt x="1058" y="676"/>
                  </a:lnTo>
                  <a:lnTo>
                    <a:pt x="1048" y="682"/>
                  </a:lnTo>
                  <a:lnTo>
                    <a:pt x="1040" y="688"/>
                  </a:lnTo>
                  <a:lnTo>
                    <a:pt x="1036" y="694"/>
                  </a:lnTo>
                  <a:lnTo>
                    <a:pt x="1036" y="700"/>
                  </a:lnTo>
                  <a:lnTo>
                    <a:pt x="1040" y="704"/>
                  </a:lnTo>
                  <a:lnTo>
                    <a:pt x="1048" y="708"/>
                  </a:lnTo>
                  <a:lnTo>
                    <a:pt x="1060" y="708"/>
                  </a:lnTo>
                  <a:lnTo>
                    <a:pt x="1078" y="706"/>
                  </a:lnTo>
                  <a:close/>
                  <a:moveTo>
                    <a:pt x="1928" y="154"/>
                  </a:moveTo>
                  <a:lnTo>
                    <a:pt x="1928" y="154"/>
                  </a:lnTo>
                  <a:lnTo>
                    <a:pt x="1914" y="152"/>
                  </a:lnTo>
                  <a:lnTo>
                    <a:pt x="1902" y="154"/>
                  </a:lnTo>
                  <a:lnTo>
                    <a:pt x="1894" y="156"/>
                  </a:lnTo>
                  <a:lnTo>
                    <a:pt x="1890" y="160"/>
                  </a:lnTo>
                  <a:lnTo>
                    <a:pt x="1890" y="164"/>
                  </a:lnTo>
                  <a:lnTo>
                    <a:pt x="1894" y="168"/>
                  </a:lnTo>
                  <a:lnTo>
                    <a:pt x="1900" y="172"/>
                  </a:lnTo>
                  <a:lnTo>
                    <a:pt x="1910" y="176"/>
                  </a:lnTo>
                  <a:lnTo>
                    <a:pt x="1920" y="178"/>
                  </a:lnTo>
                  <a:lnTo>
                    <a:pt x="1926" y="180"/>
                  </a:lnTo>
                  <a:lnTo>
                    <a:pt x="1932" y="186"/>
                  </a:lnTo>
                  <a:lnTo>
                    <a:pt x="1934" y="188"/>
                  </a:lnTo>
                  <a:lnTo>
                    <a:pt x="1938" y="190"/>
                  </a:lnTo>
                  <a:lnTo>
                    <a:pt x="1956" y="188"/>
                  </a:lnTo>
                  <a:lnTo>
                    <a:pt x="1982" y="180"/>
                  </a:lnTo>
                  <a:lnTo>
                    <a:pt x="1996" y="174"/>
                  </a:lnTo>
                  <a:lnTo>
                    <a:pt x="2000" y="172"/>
                  </a:lnTo>
                  <a:lnTo>
                    <a:pt x="2000" y="170"/>
                  </a:lnTo>
                  <a:lnTo>
                    <a:pt x="1998" y="168"/>
                  </a:lnTo>
                  <a:lnTo>
                    <a:pt x="1994" y="166"/>
                  </a:lnTo>
                  <a:lnTo>
                    <a:pt x="1982" y="162"/>
                  </a:lnTo>
                  <a:lnTo>
                    <a:pt x="1964" y="158"/>
                  </a:lnTo>
                  <a:lnTo>
                    <a:pt x="1928" y="154"/>
                  </a:lnTo>
                  <a:close/>
                  <a:moveTo>
                    <a:pt x="526" y="138"/>
                  </a:moveTo>
                  <a:lnTo>
                    <a:pt x="526" y="138"/>
                  </a:lnTo>
                  <a:lnTo>
                    <a:pt x="532" y="144"/>
                  </a:lnTo>
                  <a:lnTo>
                    <a:pt x="538" y="148"/>
                  </a:lnTo>
                  <a:lnTo>
                    <a:pt x="552" y="152"/>
                  </a:lnTo>
                  <a:lnTo>
                    <a:pt x="558" y="154"/>
                  </a:lnTo>
                  <a:lnTo>
                    <a:pt x="562" y="152"/>
                  </a:lnTo>
                  <a:lnTo>
                    <a:pt x="564" y="150"/>
                  </a:lnTo>
                  <a:lnTo>
                    <a:pt x="564" y="146"/>
                  </a:lnTo>
                  <a:lnTo>
                    <a:pt x="564" y="142"/>
                  </a:lnTo>
                  <a:lnTo>
                    <a:pt x="568" y="140"/>
                  </a:lnTo>
                  <a:lnTo>
                    <a:pt x="572" y="136"/>
                  </a:lnTo>
                  <a:lnTo>
                    <a:pt x="582" y="136"/>
                  </a:lnTo>
                  <a:lnTo>
                    <a:pt x="600" y="134"/>
                  </a:lnTo>
                  <a:lnTo>
                    <a:pt x="604" y="132"/>
                  </a:lnTo>
                  <a:lnTo>
                    <a:pt x="606" y="130"/>
                  </a:lnTo>
                  <a:lnTo>
                    <a:pt x="604" y="128"/>
                  </a:lnTo>
                  <a:lnTo>
                    <a:pt x="598" y="126"/>
                  </a:lnTo>
                  <a:lnTo>
                    <a:pt x="580" y="122"/>
                  </a:lnTo>
                  <a:lnTo>
                    <a:pt x="556" y="120"/>
                  </a:lnTo>
                  <a:lnTo>
                    <a:pt x="534" y="122"/>
                  </a:lnTo>
                  <a:lnTo>
                    <a:pt x="526" y="124"/>
                  </a:lnTo>
                  <a:lnTo>
                    <a:pt x="522" y="126"/>
                  </a:lnTo>
                  <a:lnTo>
                    <a:pt x="522" y="132"/>
                  </a:lnTo>
                  <a:lnTo>
                    <a:pt x="526" y="138"/>
                  </a:lnTo>
                  <a:close/>
                  <a:moveTo>
                    <a:pt x="658" y="948"/>
                  </a:moveTo>
                  <a:lnTo>
                    <a:pt x="658" y="948"/>
                  </a:lnTo>
                  <a:lnTo>
                    <a:pt x="658" y="944"/>
                  </a:lnTo>
                  <a:lnTo>
                    <a:pt x="656" y="942"/>
                  </a:lnTo>
                  <a:lnTo>
                    <a:pt x="644" y="936"/>
                  </a:lnTo>
                  <a:lnTo>
                    <a:pt x="628" y="926"/>
                  </a:lnTo>
                  <a:lnTo>
                    <a:pt x="620" y="920"/>
                  </a:lnTo>
                  <a:lnTo>
                    <a:pt x="612" y="912"/>
                  </a:lnTo>
                  <a:lnTo>
                    <a:pt x="602" y="904"/>
                  </a:lnTo>
                  <a:lnTo>
                    <a:pt x="594" y="904"/>
                  </a:lnTo>
                  <a:lnTo>
                    <a:pt x="588" y="906"/>
                  </a:lnTo>
                  <a:lnTo>
                    <a:pt x="582" y="908"/>
                  </a:lnTo>
                  <a:lnTo>
                    <a:pt x="580" y="910"/>
                  </a:lnTo>
                  <a:lnTo>
                    <a:pt x="580" y="912"/>
                  </a:lnTo>
                  <a:lnTo>
                    <a:pt x="582" y="916"/>
                  </a:lnTo>
                  <a:lnTo>
                    <a:pt x="584" y="920"/>
                  </a:lnTo>
                  <a:lnTo>
                    <a:pt x="582" y="920"/>
                  </a:lnTo>
                  <a:lnTo>
                    <a:pt x="578" y="918"/>
                  </a:lnTo>
                  <a:lnTo>
                    <a:pt x="576" y="918"/>
                  </a:lnTo>
                  <a:lnTo>
                    <a:pt x="574" y="920"/>
                  </a:lnTo>
                  <a:lnTo>
                    <a:pt x="576" y="924"/>
                  </a:lnTo>
                  <a:lnTo>
                    <a:pt x="580" y="930"/>
                  </a:lnTo>
                  <a:lnTo>
                    <a:pt x="588" y="940"/>
                  </a:lnTo>
                  <a:lnTo>
                    <a:pt x="594" y="944"/>
                  </a:lnTo>
                  <a:lnTo>
                    <a:pt x="596" y="946"/>
                  </a:lnTo>
                  <a:lnTo>
                    <a:pt x="600" y="944"/>
                  </a:lnTo>
                  <a:lnTo>
                    <a:pt x="600" y="942"/>
                  </a:lnTo>
                  <a:lnTo>
                    <a:pt x="604" y="942"/>
                  </a:lnTo>
                  <a:lnTo>
                    <a:pt x="610" y="942"/>
                  </a:lnTo>
                  <a:lnTo>
                    <a:pt x="618" y="946"/>
                  </a:lnTo>
                  <a:lnTo>
                    <a:pt x="620" y="948"/>
                  </a:lnTo>
                  <a:lnTo>
                    <a:pt x="620" y="952"/>
                  </a:lnTo>
                  <a:lnTo>
                    <a:pt x="620" y="956"/>
                  </a:lnTo>
                  <a:lnTo>
                    <a:pt x="624" y="958"/>
                  </a:lnTo>
                  <a:lnTo>
                    <a:pt x="638" y="956"/>
                  </a:lnTo>
                  <a:lnTo>
                    <a:pt x="652" y="954"/>
                  </a:lnTo>
                  <a:lnTo>
                    <a:pt x="656" y="950"/>
                  </a:lnTo>
                  <a:lnTo>
                    <a:pt x="658" y="948"/>
                  </a:lnTo>
                  <a:close/>
                  <a:moveTo>
                    <a:pt x="768" y="460"/>
                  </a:moveTo>
                  <a:lnTo>
                    <a:pt x="768" y="460"/>
                  </a:lnTo>
                  <a:lnTo>
                    <a:pt x="752" y="466"/>
                  </a:lnTo>
                  <a:lnTo>
                    <a:pt x="742" y="468"/>
                  </a:lnTo>
                  <a:lnTo>
                    <a:pt x="736" y="468"/>
                  </a:lnTo>
                  <a:lnTo>
                    <a:pt x="732" y="466"/>
                  </a:lnTo>
                  <a:lnTo>
                    <a:pt x="728" y="462"/>
                  </a:lnTo>
                  <a:lnTo>
                    <a:pt x="722" y="460"/>
                  </a:lnTo>
                  <a:lnTo>
                    <a:pt x="712" y="458"/>
                  </a:lnTo>
                  <a:lnTo>
                    <a:pt x="698" y="460"/>
                  </a:lnTo>
                  <a:lnTo>
                    <a:pt x="682" y="462"/>
                  </a:lnTo>
                  <a:lnTo>
                    <a:pt x="674" y="464"/>
                  </a:lnTo>
                  <a:lnTo>
                    <a:pt x="672" y="468"/>
                  </a:lnTo>
                  <a:lnTo>
                    <a:pt x="672" y="470"/>
                  </a:lnTo>
                  <a:lnTo>
                    <a:pt x="674" y="474"/>
                  </a:lnTo>
                  <a:lnTo>
                    <a:pt x="674" y="476"/>
                  </a:lnTo>
                  <a:lnTo>
                    <a:pt x="672" y="478"/>
                  </a:lnTo>
                  <a:lnTo>
                    <a:pt x="664" y="476"/>
                  </a:lnTo>
                  <a:lnTo>
                    <a:pt x="652" y="478"/>
                  </a:lnTo>
                  <a:lnTo>
                    <a:pt x="636" y="480"/>
                  </a:lnTo>
                  <a:lnTo>
                    <a:pt x="620" y="484"/>
                  </a:lnTo>
                  <a:lnTo>
                    <a:pt x="602" y="492"/>
                  </a:lnTo>
                  <a:lnTo>
                    <a:pt x="584" y="500"/>
                  </a:lnTo>
                  <a:lnTo>
                    <a:pt x="568" y="508"/>
                  </a:lnTo>
                  <a:lnTo>
                    <a:pt x="554" y="518"/>
                  </a:lnTo>
                  <a:lnTo>
                    <a:pt x="544" y="528"/>
                  </a:lnTo>
                  <a:lnTo>
                    <a:pt x="538" y="536"/>
                  </a:lnTo>
                  <a:lnTo>
                    <a:pt x="532" y="538"/>
                  </a:lnTo>
                  <a:lnTo>
                    <a:pt x="528" y="538"/>
                  </a:lnTo>
                  <a:lnTo>
                    <a:pt x="526" y="538"/>
                  </a:lnTo>
                  <a:lnTo>
                    <a:pt x="524" y="536"/>
                  </a:lnTo>
                  <a:lnTo>
                    <a:pt x="520" y="534"/>
                  </a:lnTo>
                  <a:lnTo>
                    <a:pt x="514" y="536"/>
                  </a:lnTo>
                  <a:lnTo>
                    <a:pt x="506" y="542"/>
                  </a:lnTo>
                  <a:lnTo>
                    <a:pt x="498" y="548"/>
                  </a:lnTo>
                  <a:lnTo>
                    <a:pt x="494" y="550"/>
                  </a:lnTo>
                  <a:lnTo>
                    <a:pt x="490" y="548"/>
                  </a:lnTo>
                  <a:lnTo>
                    <a:pt x="488" y="546"/>
                  </a:lnTo>
                  <a:lnTo>
                    <a:pt x="488" y="544"/>
                  </a:lnTo>
                  <a:lnTo>
                    <a:pt x="484" y="542"/>
                  </a:lnTo>
                  <a:lnTo>
                    <a:pt x="480" y="542"/>
                  </a:lnTo>
                  <a:lnTo>
                    <a:pt x="474" y="546"/>
                  </a:lnTo>
                  <a:lnTo>
                    <a:pt x="470" y="550"/>
                  </a:lnTo>
                  <a:lnTo>
                    <a:pt x="468" y="554"/>
                  </a:lnTo>
                  <a:lnTo>
                    <a:pt x="470" y="558"/>
                  </a:lnTo>
                  <a:lnTo>
                    <a:pt x="474" y="560"/>
                  </a:lnTo>
                  <a:lnTo>
                    <a:pt x="480" y="564"/>
                  </a:lnTo>
                  <a:lnTo>
                    <a:pt x="480" y="568"/>
                  </a:lnTo>
                  <a:lnTo>
                    <a:pt x="476" y="570"/>
                  </a:lnTo>
                  <a:lnTo>
                    <a:pt x="472" y="572"/>
                  </a:lnTo>
                  <a:lnTo>
                    <a:pt x="470" y="576"/>
                  </a:lnTo>
                  <a:lnTo>
                    <a:pt x="472" y="578"/>
                  </a:lnTo>
                  <a:lnTo>
                    <a:pt x="476" y="580"/>
                  </a:lnTo>
                  <a:lnTo>
                    <a:pt x="478" y="582"/>
                  </a:lnTo>
                  <a:lnTo>
                    <a:pt x="478" y="584"/>
                  </a:lnTo>
                  <a:lnTo>
                    <a:pt x="476" y="586"/>
                  </a:lnTo>
                  <a:lnTo>
                    <a:pt x="468" y="586"/>
                  </a:lnTo>
                  <a:lnTo>
                    <a:pt x="460" y="588"/>
                  </a:lnTo>
                  <a:lnTo>
                    <a:pt x="454" y="594"/>
                  </a:lnTo>
                  <a:lnTo>
                    <a:pt x="450" y="600"/>
                  </a:lnTo>
                  <a:lnTo>
                    <a:pt x="446" y="606"/>
                  </a:lnTo>
                  <a:lnTo>
                    <a:pt x="442" y="614"/>
                  </a:lnTo>
                  <a:lnTo>
                    <a:pt x="436" y="622"/>
                  </a:lnTo>
                  <a:lnTo>
                    <a:pt x="426" y="630"/>
                  </a:lnTo>
                  <a:lnTo>
                    <a:pt x="414" y="636"/>
                  </a:lnTo>
                  <a:lnTo>
                    <a:pt x="390" y="648"/>
                  </a:lnTo>
                  <a:lnTo>
                    <a:pt x="384" y="654"/>
                  </a:lnTo>
                  <a:lnTo>
                    <a:pt x="380" y="658"/>
                  </a:lnTo>
                  <a:lnTo>
                    <a:pt x="380" y="662"/>
                  </a:lnTo>
                  <a:lnTo>
                    <a:pt x="382" y="666"/>
                  </a:lnTo>
                  <a:lnTo>
                    <a:pt x="390" y="666"/>
                  </a:lnTo>
                  <a:lnTo>
                    <a:pt x="400" y="666"/>
                  </a:lnTo>
                  <a:lnTo>
                    <a:pt x="408" y="668"/>
                  </a:lnTo>
                  <a:lnTo>
                    <a:pt x="410" y="670"/>
                  </a:lnTo>
                  <a:lnTo>
                    <a:pt x="408" y="674"/>
                  </a:lnTo>
                  <a:lnTo>
                    <a:pt x="406" y="678"/>
                  </a:lnTo>
                  <a:lnTo>
                    <a:pt x="402" y="680"/>
                  </a:lnTo>
                  <a:lnTo>
                    <a:pt x="402" y="684"/>
                  </a:lnTo>
                  <a:lnTo>
                    <a:pt x="406" y="684"/>
                  </a:lnTo>
                  <a:lnTo>
                    <a:pt x="416" y="682"/>
                  </a:lnTo>
                  <a:lnTo>
                    <a:pt x="438" y="676"/>
                  </a:lnTo>
                  <a:lnTo>
                    <a:pt x="446" y="676"/>
                  </a:lnTo>
                  <a:lnTo>
                    <a:pt x="454" y="676"/>
                  </a:lnTo>
                  <a:lnTo>
                    <a:pt x="460" y="678"/>
                  </a:lnTo>
                  <a:lnTo>
                    <a:pt x="466" y="682"/>
                  </a:lnTo>
                  <a:lnTo>
                    <a:pt x="486" y="692"/>
                  </a:lnTo>
                  <a:lnTo>
                    <a:pt x="496" y="696"/>
                  </a:lnTo>
                  <a:lnTo>
                    <a:pt x="508" y="694"/>
                  </a:lnTo>
                  <a:lnTo>
                    <a:pt x="514" y="692"/>
                  </a:lnTo>
                  <a:lnTo>
                    <a:pt x="518" y="690"/>
                  </a:lnTo>
                  <a:lnTo>
                    <a:pt x="522" y="686"/>
                  </a:lnTo>
                  <a:lnTo>
                    <a:pt x="524" y="680"/>
                  </a:lnTo>
                  <a:lnTo>
                    <a:pt x="526" y="674"/>
                  </a:lnTo>
                  <a:lnTo>
                    <a:pt x="528" y="672"/>
                  </a:lnTo>
                  <a:lnTo>
                    <a:pt x="538" y="670"/>
                  </a:lnTo>
                  <a:lnTo>
                    <a:pt x="542" y="668"/>
                  </a:lnTo>
                  <a:lnTo>
                    <a:pt x="546" y="664"/>
                  </a:lnTo>
                  <a:lnTo>
                    <a:pt x="550" y="660"/>
                  </a:lnTo>
                  <a:lnTo>
                    <a:pt x="554" y="650"/>
                  </a:lnTo>
                  <a:lnTo>
                    <a:pt x="558" y="640"/>
                  </a:lnTo>
                  <a:lnTo>
                    <a:pt x="562" y="634"/>
                  </a:lnTo>
                  <a:lnTo>
                    <a:pt x="566" y="630"/>
                  </a:lnTo>
                  <a:lnTo>
                    <a:pt x="572" y="628"/>
                  </a:lnTo>
                  <a:lnTo>
                    <a:pt x="580" y="624"/>
                  </a:lnTo>
                  <a:lnTo>
                    <a:pt x="584" y="622"/>
                  </a:lnTo>
                  <a:lnTo>
                    <a:pt x="586" y="616"/>
                  </a:lnTo>
                  <a:lnTo>
                    <a:pt x="588" y="606"/>
                  </a:lnTo>
                  <a:lnTo>
                    <a:pt x="590" y="602"/>
                  </a:lnTo>
                  <a:lnTo>
                    <a:pt x="594" y="600"/>
                  </a:lnTo>
                  <a:lnTo>
                    <a:pt x="610" y="594"/>
                  </a:lnTo>
                  <a:lnTo>
                    <a:pt x="638" y="584"/>
                  </a:lnTo>
                  <a:lnTo>
                    <a:pt x="652" y="578"/>
                  </a:lnTo>
                  <a:lnTo>
                    <a:pt x="658" y="572"/>
                  </a:lnTo>
                  <a:lnTo>
                    <a:pt x="662" y="568"/>
                  </a:lnTo>
                  <a:lnTo>
                    <a:pt x="664" y="564"/>
                  </a:lnTo>
                  <a:lnTo>
                    <a:pt x="668" y="558"/>
                  </a:lnTo>
                  <a:lnTo>
                    <a:pt x="674" y="552"/>
                  </a:lnTo>
                  <a:lnTo>
                    <a:pt x="688" y="544"/>
                  </a:lnTo>
                  <a:lnTo>
                    <a:pt x="712" y="534"/>
                  </a:lnTo>
                  <a:lnTo>
                    <a:pt x="744" y="522"/>
                  </a:lnTo>
                  <a:lnTo>
                    <a:pt x="778" y="512"/>
                  </a:lnTo>
                  <a:lnTo>
                    <a:pt x="854" y="492"/>
                  </a:lnTo>
                  <a:lnTo>
                    <a:pt x="924" y="474"/>
                  </a:lnTo>
                  <a:lnTo>
                    <a:pt x="956" y="464"/>
                  </a:lnTo>
                  <a:lnTo>
                    <a:pt x="980" y="454"/>
                  </a:lnTo>
                  <a:lnTo>
                    <a:pt x="990" y="448"/>
                  </a:lnTo>
                  <a:lnTo>
                    <a:pt x="998" y="444"/>
                  </a:lnTo>
                  <a:lnTo>
                    <a:pt x="1002" y="438"/>
                  </a:lnTo>
                  <a:lnTo>
                    <a:pt x="1002" y="432"/>
                  </a:lnTo>
                  <a:lnTo>
                    <a:pt x="1002" y="428"/>
                  </a:lnTo>
                  <a:lnTo>
                    <a:pt x="1000" y="424"/>
                  </a:lnTo>
                  <a:lnTo>
                    <a:pt x="996" y="420"/>
                  </a:lnTo>
                  <a:lnTo>
                    <a:pt x="990" y="416"/>
                  </a:lnTo>
                  <a:lnTo>
                    <a:pt x="974" y="410"/>
                  </a:lnTo>
                  <a:lnTo>
                    <a:pt x="954" y="406"/>
                  </a:lnTo>
                  <a:lnTo>
                    <a:pt x="932" y="408"/>
                  </a:lnTo>
                  <a:lnTo>
                    <a:pt x="908" y="412"/>
                  </a:lnTo>
                  <a:lnTo>
                    <a:pt x="878" y="422"/>
                  </a:lnTo>
                  <a:lnTo>
                    <a:pt x="874" y="426"/>
                  </a:lnTo>
                  <a:lnTo>
                    <a:pt x="870" y="428"/>
                  </a:lnTo>
                  <a:lnTo>
                    <a:pt x="868" y="430"/>
                  </a:lnTo>
                  <a:lnTo>
                    <a:pt x="864" y="434"/>
                  </a:lnTo>
                  <a:lnTo>
                    <a:pt x="856" y="438"/>
                  </a:lnTo>
                  <a:lnTo>
                    <a:pt x="842" y="444"/>
                  </a:lnTo>
                  <a:lnTo>
                    <a:pt x="818" y="450"/>
                  </a:lnTo>
                  <a:lnTo>
                    <a:pt x="808" y="450"/>
                  </a:lnTo>
                  <a:lnTo>
                    <a:pt x="798" y="452"/>
                  </a:lnTo>
                  <a:lnTo>
                    <a:pt x="768" y="460"/>
                  </a:lnTo>
                  <a:close/>
                  <a:moveTo>
                    <a:pt x="484" y="70"/>
                  </a:moveTo>
                  <a:lnTo>
                    <a:pt x="484" y="70"/>
                  </a:lnTo>
                  <a:lnTo>
                    <a:pt x="482" y="70"/>
                  </a:lnTo>
                  <a:lnTo>
                    <a:pt x="484" y="70"/>
                  </a:lnTo>
                  <a:lnTo>
                    <a:pt x="490" y="72"/>
                  </a:lnTo>
                  <a:lnTo>
                    <a:pt x="500" y="74"/>
                  </a:lnTo>
                  <a:lnTo>
                    <a:pt x="510" y="78"/>
                  </a:lnTo>
                  <a:lnTo>
                    <a:pt x="528" y="86"/>
                  </a:lnTo>
                  <a:lnTo>
                    <a:pt x="538" y="86"/>
                  </a:lnTo>
                  <a:lnTo>
                    <a:pt x="554" y="86"/>
                  </a:lnTo>
                  <a:lnTo>
                    <a:pt x="568" y="86"/>
                  </a:lnTo>
                  <a:lnTo>
                    <a:pt x="568" y="84"/>
                  </a:lnTo>
                  <a:lnTo>
                    <a:pt x="566" y="82"/>
                  </a:lnTo>
                  <a:lnTo>
                    <a:pt x="544" y="76"/>
                  </a:lnTo>
                  <a:lnTo>
                    <a:pt x="530" y="72"/>
                  </a:lnTo>
                  <a:lnTo>
                    <a:pt x="512" y="70"/>
                  </a:lnTo>
                  <a:lnTo>
                    <a:pt x="496" y="68"/>
                  </a:lnTo>
                  <a:lnTo>
                    <a:pt x="484" y="70"/>
                  </a:lnTo>
                  <a:close/>
                  <a:moveTo>
                    <a:pt x="542" y="114"/>
                  </a:moveTo>
                  <a:lnTo>
                    <a:pt x="542" y="114"/>
                  </a:lnTo>
                  <a:lnTo>
                    <a:pt x="554" y="116"/>
                  </a:lnTo>
                  <a:lnTo>
                    <a:pt x="558" y="114"/>
                  </a:lnTo>
                  <a:lnTo>
                    <a:pt x="560" y="112"/>
                  </a:lnTo>
                  <a:lnTo>
                    <a:pt x="560" y="110"/>
                  </a:lnTo>
                  <a:lnTo>
                    <a:pt x="560" y="108"/>
                  </a:lnTo>
                  <a:lnTo>
                    <a:pt x="554" y="106"/>
                  </a:lnTo>
                  <a:lnTo>
                    <a:pt x="542" y="106"/>
                  </a:lnTo>
                  <a:lnTo>
                    <a:pt x="532" y="108"/>
                  </a:lnTo>
                  <a:lnTo>
                    <a:pt x="530" y="110"/>
                  </a:lnTo>
                  <a:lnTo>
                    <a:pt x="532" y="112"/>
                  </a:lnTo>
                  <a:lnTo>
                    <a:pt x="534" y="114"/>
                  </a:lnTo>
                  <a:lnTo>
                    <a:pt x="542" y="114"/>
                  </a:lnTo>
                  <a:close/>
                  <a:moveTo>
                    <a:pt x="590" y="96"/>
                  </a:moveTo>
                  <a:lnTo>
                    <a:pt x="590" y="96"/>
                  </a:lnTo>
                  <a:lnTo>
                    <a:pt x="596" y="94"/>
                  </a:lnTo>
                  <a:lnTo>
                    <a:pt x="598" y="92"/>
                  </a:lnTo>
                  <a:lnTo>
                    <a:pt x="598" y="90"/>
                  </a:lnTo>
                  <a:lnTo>
                    <a:pt x="596" y="88"/>
                  </a:lnTo>
                  <a:lnTo>
                    <a:pt x="592" y="86"/>
                  </a:lnTo>
                  <a:lnTo>
                    <a:pt x="584" y="86"/>
                  </a:lnTo>
                  <a:lnTo>
                    <a:pt x="574" y="88"/>
                  </a:lnTo>
                  <a:lnTo>
                    <a:pt x="562" y="90"/>
                  </a:lnTo>
                  <a:lnTo>
                    <a:pt x="556" y="92"/>
                  </a:lnTo>
                  <a:lnTo>
                    <a:pt x="556" y="94"/>
                  </a:lnTo>
                  <a:lnTo>
                    <a:pt x="560" y="96"/>
                  </a:lnTo>
                  <a:lnTo>
                    <a:pt x="576" y="96"/>
                  </a:lnTo>
                  <a:lnTo>
                    <a:pt x="590" y="96"/>
                  </a:lnTo>
                  <a:close/>
                  <a:moveTo>
                    <a:pt x="554" y="70"/>
                  </a:moveTo>
                  <a:lnTo>
                    <a:pt x="554" y="70"/>
                  </a:lnTo>
                  <a:lnTo>
                    <a:pt x="554" y="72"/>
                  </a:lnTo>
                  <a:lnTo>
                    <a:pt x="554" y="74"/>
                  </a:lnTo>
                  <a:lnTo>
                    <a:pt x="562" y="78"/>
                  </a:lnTo>
                  <a:lnTo>
                    <a:pt x="572" y="80"/>
                  </a:lnTo>
                  <a:lnTo>
                    <a:pt x="582" y="80"/>
                  </a:lnTo>
                  <a:lnTo>
                    <a:pt x="584" y="78"/>
                  </a:lnTo>
                  <a:lnTo>
                    <a:pt x="584" y="76"/>
                  </a:lnTo>
                  <a:lnTo>
                    <a:pt x="576" y="72"/>
                  </a:lnTo>
                  <a:lnTo>
                    <a:pt x="564" y="68"/>
                  </a:lnTo>
                  <a:lnTo>
                    <a:pt x="558" y="68"/>
                  </a:lnTo>
                  <a:lnTo>
                    <a:pt x="554" y="70"/>
                  </a:lnTo>
                  <a:close/>
                  <a:moveTo>
                    <a:pt x="1962" y="108"/>
                  </a:moveTo>
                  <a:lnTo>
                    <a:pt x="1962" y="108"/>
                  </a:lnTo>
                  <a:lnTo>
                    <a:pt x="1950" y="114"/>
                  </a:lnTo>
                  <a:lnTo>
                    <a:pt x="1938" y="120"/>
                  </a:lnTo>
                  <a:lnTo>
                    <a:pt x="1916" y="128"/>
                  </a:lnTo>
                  <a:lnTo>
                    <a:pt x="1908" y="132"/>
                  </a:lnTo>
                  <a:lnTo>
                    <a:pt x="1906" y="134"/>
                  </a:lnTo>
                  <a:lnTo>
                    <a:pt x="1908" y="136"/>
                  </a:lnTo>
                  <a:lnTo>
                    <a:pt x="1918" y="138"/>
                  </a:lnTo>
                  <a:lnTo>
                    <a:pt x="1930" y="138"/>
                  </a:lnTo>
                  <a:lnTo>
                    <a:pt x="1938" y="142"/>
                  </a:lnTo>
                  <a:lnTo>
                    <a:pt x="1952" y="146"/>
                  </a:lnTo>
                  <a:lnTo>
                    <a:pt x="1968" y="154"/>
                  </a:lnTo>
                  <a:lnTo>
                    <a:pt x="1980" y="156"/>
                  </a:lnTo>
                  <a:lnTo>
                    <a:pt x="1994" y="158"/>
                  </a:lnTo>
                  <a:lnTo>
                    <a:pt x="2010" y="158"/>
                  </a:lnTo>
                  <a:lnTo>
                    <a:pt x="2016" y="158"/>
                  </a:lnTo>
                  <a:lnTo>
                    <a:pt x="2020" y="156"/>
                  </a:lnTo>
                  <a:lnTo>
                    <a:pt x="2022" y="152"/>
                  </a:lnTo>
                  <a:lnTo>
                    <a:pt x="2024" y="150"/>
                  </a:lnTo>
                  <a:lnTo>
                    <a:pt x="2028" y="146"/>
                  </a:lnTo>
                  <a:lnTo>
                    <a:pt x="2040" y="142"/>
                  </a:lnTo>
                  <a:lnTo>
                    <a:pt x="2058" y="140"/>
                  </a:lnTo>
                  <a:lnTo>
                    <a:pt x="2100" y="140"/>
                  </a:lnTo>
                  <a:lnTo>
                    <a:pt x="2130" y="140"/>
                  </a:lnTo>
                  <a:lnTo>
                    <a:pt x="2138" y="138"/>
                  </a:lnTo>
                  <a:lnTo>
                    <a:pt x="2142" y="136"/>
                  </a:lnTo>
                  <a:lnTo>
                    <a:pt x="2142" y="130"/>
                  </a:lnTo>
                  <a:lnTo>
                    <a:pt x="2136" y="122"/>
                  </a:lnTo>
                  <a:lnTo>
                    <a:pt x="2132" y="114"/>
                  </a:lnTo>
                  <a:lnTo>
                    <a:pt x="2132" y="112"/>
                  </a:lnTo>
                  <a:lnTo>
                    <a:pt x="2134" y="110"/>
                  </a:lnTo>
                  <a:lnTo>
                    <a:pt x="2140" y="108"/>
                  </a:lnTo>
                  <a:lnTo>
                    <a:pt x="2146" y="106"/>
                  </a:lnTo>
                  <a:lnTo>
                    <a:pt x="2162" y="104"/>
                  </a:lnTo>
                  <a:lnTo>
                    <a:pt x="2164" y="102"/>
                  </a:lnTo>
                  <a:lnTo>
                    <a:pt x="2166" y="100"/>
                  </a:lnTo>
                  <a:lnTo>
                    <a:pt x="2164" y="96"/>
                  </a:lnTo>
                  <a:lnTo>
                    <a:pt x="2160" y="92"/>
                  </a:lnTo>
                  <a:lnTo>
                    <a:pt x="2154" y="90"/>
                  </a:lnTo>
                  <a:lnTo>
                    <a:pt x="2142" y="88"/>
                  </a:lnTo>
                  <a:lnTo>
                    <a:pt x="2136" y="88"/>
                  </a:lnTo>
                  <a:lnTo>
                    <a:pt x="2128" y="86"/>
                  </a:lnTo>
                  <a:lnTo>
                    <a:pt x="2118" y="82"/>
                  </a:lnTo>
                  <a:lnTo>
                    <a:pt x="2110" y="74"/>
                  </a:lnTo>
                  <a:lnTo>
                    <a:pt x="2090" y="60"/>
                  </a:lnTo>
                  <a:lnTo>
                    <a:pt x="2082" y="56"/>
                  </a:lnTo>
                  <a:lnTo>
                    <a:pt x="2076" y="52"/>
                  </a:lnTo>
                  <a:lnTo>
                    <a:pt x="2068" y="50"/>
                  </a:lnTo>
                  <a:lnTo>
                    <a:pt x="2060" y="50"/>
                  </a:lnTo>
                  <a:lnTo>
                    <a:pt x="2052" y="54"/>
                  </a:lnTo>
                  <a:lnTo>
                    <a:pt x="2044" y="58"/>
                  </a:lnTo>
                  <a:lnTo>
                    <a:pt x="2034" y="62"/>
                  </a:lnTo>
                  <a:lnTo>
                    <a:pt x="2026" y="66"/>
                  </a:lnTo>
                  <a:lnTo>
                    <a:pt x="2008" y="68"/>
                  </a:lnTo>
                  <a:lnTo>
                    <a:pt x="1988" y="74"/>
                  </a:lnTo>
                  <a:lnTo>
                    <a:pt x="1978" y="78"/>
                  </a:lnTo>
                  <a:lnTo>
                    <a:pt x="1964" y="84"/>
                  </a:lnTo>
                  <a:lnTo>
                    <a:pt x="1954" y="92"/>
                  </a:lnTo>
                  <a:lnTo>
                    <a:pt x="1952" y="94"/>
                  </a:lnTo>
                  <a:lnTo>
                    <a:pt x="1954" y="96"/>
                  </a:lnTo>
                  <a:lnTo>
                    <a:pt x="1960" y="98"/>
                  </a:lnTo>
                  <a:lnTo>
                    <a:pt x="1964" y="98"/>
                  </a:lnTo>
                  <a:lnTo>
                    <a:pt x="1968" y="98"/>
                  </a:lnTo>
                  <a:lnTo>
                    <a:pt x="1968" y="100"/>
                  </a:lnTo>
                  <a:lnTo>
                    <a:pt x="1968" y="102"/>
                  </a:lnTo>
                  <a:lnTo>
                    <a:pt x="1962" y="108"/>
                  </a:lnTo>
                  <a:close/>
                  <a:moveTo>
                    <a:pt x="3810" y="584"/>
                  </a:moveTo>
                  <a:lnTo>
                    <a:pt x="3810" y="584"/>
                  </a:lnTo>
                  <a:lnTo>
                    <a:pt x="3826" y="588"/>
                  </a:lnTo>
                  <a:lnTo>
                    <a:pt x="3834" y="588"/>
                  </a:lnTo>
                  <a:lnTo>
                    <a:pt x="3840" y="584"/>
                  </a:lnTo>
                  <a:lnTo>
                    <a:pt x="3842" y="580"/>
                  </a:lnTo>
                  <a:lnTo>
                    <a:pt x="3842" y="574"/>
                  </a:lnTo>
                  <a:lnTo>
                    <a:pt x="3846" y="570"/>
                  </a:lnTo>
                  <a:lnTo>
                    <a:pt x="3852" y="568"/>
                  </a:lnTo>
                  <a:lnTo>
                    <a:pt x="3864" y="570"/>
                  </a:lnTo>
                  <a:lnTo>
                    <a:pt x="3878" y="574"/>
                  </a:lnTo>
                  <a:lnTo>
                    <a:pt x="3890" y="572"/>
                  </a:lnTo>
                  <a:lnTo>
                    <a:pt x="3900" y="570"/>
                  </a:lnTo>
                  <a:lnTo>
                    <a:pt x="3910" y="566"/>
                  </a:lnTo>
                  <a:lnTo>
                    <a:pt x="3918" y="562"/>
                  </a:lnTo>
                  <a:lnTo>
                    <a:pt x="3926" y="560"/>
                  </a:lnTo>
                  <a:lnTo>
                    <a:pt x="3934" y="562"/>
                  </a:lnTo>
                  <a:lnTo>
                    <a:pt x="3942" y="566"/>
                  </a:lnTo>
                  <a:lnTo>
                    <a:pt x="3952" y="570"/>
                  </a:lnTo>
                  <a:lnTo>
                    <a:pt x="3962" y="572"/>
                  </a:lnTo>
                  <a:lnTo>
                    <a:pt x="3974" y="572"/>
                  </a:lnTo>
                  <a:lnTo>
                    <a:pt x="3986" y="570"/>
                  </a:lnTo>
                  <a:lnTo>
                    <a:pt x="4014" y="562"/>
                  </a:lnTo>
                  <a:lnTo>
                    <a:pt x="4048" y="552"/>
                  </a:lnTo>
                  <a:lnTo>
                    <a:pt x="4056" y="546"/>
                  </a:lnTo>
                  <a:lnTo>
                    <a:pt x="4060" y="542"/>
                  </a:lnTo>
                  <a:lnTo>
                    <a:pt x="4060" y="538"/>
                  </a:lnTo>
                  <a:lnTo>
                    <a:pt x="4056" y="534"/>
                  </a:lnTo>
                  <a:lnTo>
                    <a:pt x="4054" y="530"/>
                  </a:lnTo>
                  <a:lnTo>
                    <a:pt x="4054" y="528"/>
                  </a:lnTo>
                  <a:lnTo>
                    <a:pt x="4056" y="524"/>
                  </a:lnTo>
                  <a:lnTo>
                    <a:pt x="4066" y="524"/>
                  </a:lnTo>
                  <a:lnTo>
                    <a:pt x="4070" y="522"/>
                  </a:lnTo>
                  <a:lnTo>
                    <a:pt x="4074" y="520"/>
                  </a:lnTo>
                  <a:lnTo>
                    <a:pt x="4076" y="518"/>
                  </a:lnTo>
                  <a:lnTo>
                    <a:pt x="4074" y="516"/>
                  </a:lnTo>
                  <a:lnTo>
                    <a:pt x="4068" y="512"/>
                  </a:lnTo>
                  <a:lnTo>
                    <a:pt x="4056" y="506"/>
                  </a:lnTo>
                  <a:lnTo>
                    <a:pt x="4042" y="500"/>
                  </a:lnTo>
                  <a:lnTo>
                    <a:pt x="4026" y="498"/>
                  </a:lnTo>
                  <a:lnTo>
                    <a:pt x="4010" y="496"/>
                  </a:lnTo>
                  <a:lnTo>
                    <a:pt x="3994" y="498"/>
                  </a:lnTo>
                  <a:lnTo>
                    <a:pt x="3980" y="498"/>
                  </a:lnTo>
                  <a:lnTo>
                    <a:pt x="3968" y="496"/>
                  </a:lnTo>
                  <a:lnTo>
                    <a:pt x="3958" y="490"/>
                  </a:lnTo>
                  <a:lnTo>
                    <a:pt x="3948" y="484"/>
                  </a:lnTo>
                  <a:lnTo>
                    <a:pt x="3938" y="478"/>
                  </a:lnTo>
                  <a:lnTo>
                    <a:pt x="3928" y="472"/>
                  </a:lnTo>
                  <a:lnTo>
                    <a:pt x="3918" y="470"/>
                  </a:lnTo>
                  <a:lnTo>
                    <a:pt x="3912" y="472"/>
                  </a:lnTo>
                  <a:lnTo>
                    <a:pt x="3906" y="474"/>
                  </a:lnTo>
                  <a:lnTo>
                    <a:pt x="3898" y="480"/>
                  </a:lnTo>
                  <a:lnTo>
                    <a:pt x="3894" y="486"/>
                  </a:lnTo>
                  <a:lnTo>
                    <a:pt x="3892" y="492"/>
                  </a:lnTo>
                  <a:lnTo>
                    <a:pt x="3894" y="498"/>
                  </a:lnTo>
                  <a:lnTo>
                    <a:pt x="3900" y="506"/>
                  </a:lnTo>
                  <a:lnTo>
                    <a:pt x="3900" y="510"/>
                  </a:lnTo>
                  <a:lnTo>
                    <a:pt x="3896" y="512"/>
                  </a:lnTo>
                  <a:lnTo>
                    <a:pt x="3890" y="512"/>
                  </a:lnTo>
                  <a:lnTo>
                    <a:pt x="3882" y="508"/>
                  </a:lnTo>
                  <a:lnTo>
                    <a:pt x="3862" y="498"/>
                  </a:lnTo>
                  <a:lnTo>
                    <a:pt x="3842" y="484"/>
                  </a:lnTo>
                  <a:lnTo>
                    <a:pt x="3822" y="472"/>
                  </a:lnTo>
                  <a:lnTo>
                    <a:pt x="3814" y="468"/>
                  </a:lnTo>
                  <a:lnTo>
                    <a:pt x="3808" y="468"/>
                  </a:lnTo>
                  <a:lnTo>
                    <a:pt x="3800" y="466"/>
                  </a:lnTo>
                  <a:lnTo>
                    <a:pt x="3794" y="468"/>
                  </a:lnTo>
                  <a:lnTo>
                    <a:pt x="3778" y="476"/>
                  </a:lnTo>
                  <a:lnTo>
                    <a:pt x="3758" y="488"/>
                  </a:lnTo>
                  <a:lnTo>
                    <a:pt x="3748" y="496"/>
                  </a:lnTo>
                  <a:lnTo>
                    <a:pt x="3746" y="502"/>
                  </a:lnTo>
                  <a:lnTo>
                    <a:pt x="3746" y="508"/>
                  </a:lnTo>
                  <a:lnTo>
                    <a:pt x="3748" y="514"/>
                  </a:lnTo>
                  <a:lnTo>
                    <a:pt x="3752" y="524"/>
                  </a:lnTo>
                  <a:lnTo>
                    <a:pt x="3752" y="530"/>
                  </a:lnTo>
                  <a:lnTo>
                    <a:pt x="3746" y="532"/>
                  </a:lnTo>
                  <a:lnTo>
                    <a:pt x="3742" y="536"/>
                  </a:lnTo>
                  <a:lnTo>
                    <a:pt x="3742" y="542"/>
                  </a:lnTo>
                  <a:lnTo>
                    <a:pt x="3744" y="548"/>
                  </a:lnTo>
                  <a:lnTo>
                    <a:pt x="3752" y="554"/>
                  </a:lnTo>
                  <a:lnTo>
                    <a:pt x="3762" y="560"/>
                  </a:lnTo>
                  <a:lnTo>
                    <a:pt x="3776" y="568"/>
                  </a:lnTo>
                  <a:lnTo>
                    <a:pt x="3810" y="584"/>
                  </a:lnTo>
                  <a:close/>
                  <a:moveTo>
                    <a:pt x="4172" y="572"/>
                  </a:moveTo>
                  <a:lnTo>
                    <a:pt x="4172" y="572"/>
                  </a:lnTo>
                  <a:lnTo>
                    <a:pt x="4198" y="578"/>
                  </a:lnTo>
                  <a:lnTo>
                    <a:pt x="4218" y="578"/>
                  </a:lnTo>
                  <a:lnTo>
                    <a:pt x="4262" y="576"/>
                  </a:lnTo>
                  <a:lnTo>
                    <a:pt x="4276" y="574"/>
                  </a:lnTo>
                  <a:lnTo>
                    <a:pt x="4288" y="570"/>
                  </a:lnTo>
                  <a:lnTo>
                    <a:pt x="4294" y="566"/>
                  </a:lnTo>
                  <a:lnTo>
                    <a:pt x="4300" y="560"/>
                  </a:lnTo>
                  <a:lnTo>
                    <a:pt x="4300" y="556"/>
                  </a:lnTo>
                  <a:lnTo>
                    <a:pt x="4300" y="552"/>
                  </a:lnTo>
                  <a:lnTo>
                    <a:pt x="4296" y="550"/>
                  </a:lnTo>
                  <a:lnTo>
                    <a:pt x="4288" y="550"/>
                  </a:lnTo>
                  <a:lnTo>
                    <a:pt x="4280" y="550"/>
                  </a:lnTo>
                  <a:lnTo>
                    <a:pt x="4274" y="548"/>
                  </a:lnTo>
                  <a:lnTo>
                    <a:pt x="4266" y="540"/>
                  </a:lnTo>
                  <a:lnTo>
                    <a:pt x="4260" y="536"/>
                  </a:lnTo>
                  <a:lnTo>
                    <a:pt x="4252" y="534"/>
                  </a:lnTo>
                  <a:lnTo>
                    <a:pt x="4244" y="536"/>
                  </a:lnTo>
                  <a:lnTo>
                    <a:pt x="4230" y="540"/>
                  </a:lnTo>
                  <a:lnTo>
                    <a:pt x="4220" y="542"/>
                  </a:lnTo>
                  <a:lnTo>
                    <a:pt x="4214" y="542"/>
                  </a:lnTo>
                  <a:lnTo>
                    <a:pt x="4212" y="540"/>
                  </a:lnTo>
                  <a:lnTo>
                    <a:pt x="4212" y="536"/>
                  </a:lnTo>
                  <a:lnTo>
                    <a:pt x="4210" y="532"/>
                  </a:lnTo>
                  <a:lnTo>
                    <a:pt x="4204" y="528"/>
                  </a:lnTo>
                  <a:lnTo>
                    <a:pt x="4194" y="526"/>
                  </a:lnTo>
                  <a:lnTo>
                    <a:pt x="4174" y="528"/>
                  </a:lnTo>
                  <a:lnTo>
                    <a:pt x="4154" y="528"/>
                  </a:lnTo>
                  <a:lnTo>
                    <a:pt x="4142" y="526"/>
                  </a:lnTo>
                  <a:lnTo>
                    <a:pt x="4132" y="524"/>
                  </a:lnTo>
                  <a:lnTo>
                    <a:pt x="4126" y="520"/>
                  </a:lnTo>
                  <a:lnTo>
                    <a:pt x="4122" y="514"/>
                  </a:lnTo>
                  <a:lnTo>
                    <a:pt x="4122" y="516"/>
                  </a:lnTo>
                  <a:lnTo>
                    <a:pt x="4118" y="518"/>
                  </a:lnTo>
                  <a:lnTo>
                    <a:pt x="4112" y="530"/>
                  </a:lnTo>
                  <a:lnTo>
                    <a:pt x="4108" y="536"/>
                  </a:lnTo>
                  <a:lnTo>
                    <a:pt x="4110" y="542"/>
                  </a:lnTo>
                  <a:lnTo>
                    <a:pt x="4114" y="550"/>
                  </a:lnTo>
                  <a:lnTo>
                    <a:pt x="4126" y="556"/>
                  </a:lnTo>
                  <a:lnTo>
                    <a:pt x="4144" y="564"/>
                  </a:lnTo>
                  <a:lnTo>
                    <a:pt x="4172" y="572"/>
                  </a:lnTo>
                  <a:close/>
                  <a:moveTo>
                    <a:pt x="5478" y="870"/>
                  </a:moveTo>
                  <a:lnTo>
                    <a:pt x="5478" y="866"/>
                  </a:lnTo>
                  <a:lnTo>
                    <a:pt x="5548" y="856"/>
                  </a:lnTo>
                  <a:lnTo>
                    <a:pt x="5558" y="854"/>
                  </a:lnTo>
                  <a:lnTo>
                    <a:pt x="5564" y="852"/>
                  </a:lnTo>
                  <a:lnTo>
                    <a:pt x="5570" y="848"/>
                  </a:lnTo>
                  <a:lnTo>
                    <a:pt x="5572" y="846"/>
                  </a:lnTo>
                  <a:lnTo>
                    <a:pt x="5570" y="842"/>
                  </a:lnTo>
                  <a:lnTo>
                    <a:pt x="5568" y="838"/>
                  </a:lnTo>
                  <a:lnTo>
                    <a:pt x="5560" y="832"/>
                  </a:lnTo>
                  <a:lnTo>
                    <a:pt x="5546" y="826"/>
                  </a:lnTo>
                  <a:lnTo>
                    <a:pt x="5530" y="820"/>
                  </a:lnTo>
                  <a:lnTo>
                    <a:pt x="5512" y="818"/>
                  </a:lnTo>
                  <a:lnTo>
                    <a:pt x="5494" y="818"/>
                  </a:lnTo>
                  <a:lnTo>
                    <a:pt x="5478" y="820"/>
                  </a:lnTo>
                  <a:lnTo>
                    <a:pt x="5478" y="818"/>
                  </a:lnTo>
                  <a:lnTo>
                    <a:pt x="5454" y="826"/>
                  </a:lnTo>
                  <a:lnTo>
                    <a:pt x="5444" y="832"/>
                  </a:lnTo>
                  <a:lnTo>
                    <a:pt x="5434" y="838"/>
                  </a:lnTo>
                  <a:lnTo>
                    <a:pt x="5428" y="844"/>
                  </a:lnTo>
                  <a:lnTo>
                    <a:pt x="5422" y="850"/>
                  </a:lnTo>
                  <a:lnTo>
                    <a:pt x="5418" y="856"/>
                  </a:lnTo>
                  <a:lnTo>
                    <a:pt x="5418" y="864"/>
                  </a:lnTo>
                  <a:lnTo>
                    <a:pt x="5418" y="868"/>
                  </a:lnTo>
                  <a:lnTo>
                    <a:pt x="5422" y="872"/>
                  </a:lnTo>
                  <a:lnTo>
                    <a:pt x="5426" y="874"/>
                  </a:lnTo>
                  <a:lnTo>
                    <a:pt x="5434" y="874"/>
                  </a:lnTo>
                  <a:lnTo>
                    <a:pt x="5452" y="874"/>
                  </a:lnTo>
                  <a:lnTo>
                    <a:pt x="5478" y="870"/>
                  </a:lnTo>
                  <a:close/>
                  <a:moveTo>
                    <a:pt x="2060" y="404"/>
                  </a:moveTo>
                  <a:lnTo>
                    <a:pt x="2060" y="404"/>
                  </a:lnTo>
                  <a:lnTo>
                    <a:pt x="2068" y="408"/>
                  </a:lnTo>
                  <a:lnTo>
                    <a:pt x="2078" y="408"/>
                  </a:lnTo>
                  <a:lnTo>
                    <a:pt x="2088" y="406"/>
                  </a:lnTo>
                  <a:lnTo>
                    <a:pt x="2096" y="404"/>
                  </a:lnTo>
                  <a:lnTo>
                    <a:pt x="2104" y="400"/>
                  </a:lnTo>
                  <a:lnTo>
                    <a:pt x="2108" y="396"/>
                  </a:lnTo>
                  <a:lnTo>
                    <a:pt x="2112" y="392"/>
                  </a:lnTo>
                  <a:lnTo>
                    <a:pt x="2112" y="388"/>
                  </a:lnTo>
                  <a:lnTo>
                    <a:pt x="2106" y="386"/>
                  </a:lnTo>
                  <a:lnTo>
                    <a:pt x="2100" y="386"/>
                  </a:lnTo>
                  <a:lnTo>
                    <a:pt x="2080" y="392"/>
                  </a:lnTo>
                  <a:lnTo>
                    <a:pt x="2064" y="398"/>
                  </a:lnTo>
                  <a:lnTo>
                    <a:pt x="2060" y="402"/>
                  </a:lnTo>
                  <a:lnTo>
                    <a:pt x="2058" y="404"/>
                  </a:lnTo>
                  <a:lnTo>
                    <a:pt x="2060" y="404"/>
                  </a:lnTo>
                  <a:close/>
                  <a:moveTo>
                    <a:pt x="3868" y="678"/>
                  </a:moveTo>
                  <a:lnTo>
                    <a:pt x="3868" y="678"/>
                  </a:lnTo>
                  <a:lnTo>
                    <a:pt x="3858" y="686"/>
                  </a:lnTo>
                  <a:lnTo>
                    <a:pt x="3856" y="688"/>
                  </a:lnTo>
                  <a:lnTo>
                    <a:pt x="3858" y="690"/>
                  </a:lnTo>
                  <a:lnTo>
                    <a:pt x="3866" y="690"/>
                  </a:lnTo>
                  <a:lnTo>
                    <a:pt x="3896" y="688"/>
                  </a:lnTo>
                  <a:lnTo>
                    <a:pt x="3916" y="688"/>
                  </a:lnTo>
                  <a:lnTo>
                    <a:pt x="3940" y="692"/>
                  </a:lnTo>
                  <a:lnTo>
                    <a:pt x="3970" y="696"/>
                  </a:lnTo>
                  <a:lnTo>
                    <a:pt x="3990" y="696"/>
                  </a:lnTo>
                  <a:lnTo>
                    <a:pt x="4004" y="694"/>
                  </a:lnTo>
                  <a:lnTo>
                    <a:pt x="4006" y="692"/>
                  </a:lnTo>
                  <a:lnTo>
                    <a:pt x="4008" y="690"/>
                  </a:lnTo>
                  <a:lnTo>
                    <a:pt x="4008" y="686"/>
                  </a:lnTo>
                  <a:lnTo>
                    <a:pt x="4006" y="682"/>
                  </a:lnTo>
                  <a:lnTo>
                    <a:pt x="4000" y="674"/>
                  </a:lnTo>
                  <a:lnTo>
                    <a:pt x="3988" y="664"/>
                  </a:lnTo>
                  <a:lnTo>
                    <a:pt x="3972" y="654"/>
                  </a:lnTo>
                  <a:lnTo>
                    <a:pt x="3956" y="648"/>
                  </a:lnTo>
                  <a:lnTo>
                    <a:pt x="3940" y="644"/>
                  </a:lnTo>
                  <a:lnTo>
                    <a:pt x="3928" y="646"/>
                  </a:lnTo>
                  <a:lnTo>
                    <a:pt x="3916" y="648"/>
                  </a:lnTo>
                  <a:lnTo>
                    <a:pt x="3904" y="654"/>
                  </a:lnTo>
                  <a:lnTo>
                    <a:pt x="3894" y="662"/>
                  </a:lnTo>
                  <a:lnTo>
                    <a:pt x="3868" y="678"/>
                  </a:lnTo>
                  <a:close/>
                  <a:moveTo>
                    <a:pt x="5044" y="956"/>
                  </a:moveTo>
                  <a:lnTo>
                    <a:pt x="5044" y="956"/>
                  </a:lnTo>
                  <a:lnTo>
                    <a:pt x="5046" y="954"/>
                  </a:lnTo>
                  <a:lnTo>
                    <a:pt x="5046" y="950"/>
                  </a:lnTo>
                  <a:lnTo>
                    <a:pt x="5044" y="948"/>
                  </a:lnTo>
                  <a:lnTo>
                    <a:pt x="5042" y="946"/>
                  </a:lnTo>
                  <a:lnTo>
                    <a:pt x="5034" y="942"/>
                  </a:lnTo>
                  <a:lnTo>
                    <a:pt x="5024" y="940"/>
                  </a:lnTo>
                  <a:lnTo>
                    <a:pt x="5012" y="938"/>
                  </a:lnTo>
                  <a:lnTo>
                    <a:pt x="5000" y="938"/>
                  </a:lnTo>
                  <a:lnTo>
                    <a:pt x="4990" y="938"/>
                  </a:lnTo>
                  <a:lnTo>
                    <a:pt x="4984" y="942"/>
                  </a:lnTo>
                  <a:lnTo>
                    <a:pt x="4982" y="944"/>
                  </a:lnTo>
                  <a:lnTo>
                    <a:pt x="4982" y="946"/>
                  </a:lnTo>
                  <a:lnTo>
                    <a:pt x="4986" y="950"/>
                  </a:lnTo>
                  <a:lnTo>
                    <a:pt x="4992" y="954"/>
                  </a:lnTo>
                  <a:lnTo>
                    <a:pt x="5002" y="958"/>
                  </a:lnTo>
                  <a:lnTo>
                    <a:pt x="5014" y="960"/>
                  </a:lnTo>
                  <a:lnTo>
                    <a:pt x="5024" y="962"/>
                  </a:lnTo>
                  <a:lnTo>
                    <a:pt x="5034" y="960"/>
                  </a:lnTo>
                  <a:lnTo>
                    <a:pt x="5044" y="956"/>
                  </a:lnTo>
                  <a:close/>
                  <a:moveTo>
                    <a:pt x="3698" y="530"/>
                  </a:moveTo>
                  <a:lnTo>
                    <a:pt x="3698" y="530"/>
                  </a:lnTo>
                  <a:lnTo>
                    <a:pt x="3704" y="524"/>
                  </a:lnTo>
                  <a:lnTo>
                    <a:pt x="3706" y="518"/>
                  </a:lnTo>
                  <a:lnTo>
                    <a:pt x="3704" y="508"/>
                  </a:lnTo>
                  <a:lnTo>
                    <a:pt x="3696" y="498"/>
                  </a:lnTo>
                  <a:lnTo>
                    <a:pt x="3694" y="496"/>
                  </a:lnTo>
                  <a:lnTo>
                    <a:pt x="3692" y="496"/>
                  </a:lnTo>
                  <a:lnTo>
                    <a:pt x="3688" y="500"/>
                  </a:lnTo>
                  <a:lnTo>
                    <a:pt x="3684" y="506"/>
                  </a:lnTo>
                  <a:lnTo>
                    <a:pt x="3682" y="514"/>
                  </a:lnTo>
                  <a:lnTo>
                    <a:pt x="3680" y="524"/>
                  </a:lnTo>
                  <a:lnTo>
                    <a:pt x="3684" y="530"/>
                  </a:lnTo>
                  <a:lnTo>
                    <a:pt x="3686" y="532"/>
                  </a:lnTo>
                  <a:lnTo>
                    <a:pt x="3688" y="532"/>
                  </a:lnTo>
                  <a:lnTo>
                    <a:pt x="3692" y="532"/>
                  </a:lnTo>
                  <a:lnTo>
                    <a:pt x="3698" y="530"/>
                  </a:lnTo>
                  <a:close/>
                  <a:moveTo>
                    <a:pt x="2260" y="322"/>
                  </a:moveTo>
                  <a:lnTo>
                    <a:pt x="2260" y="322"/>
                  </a:lnTo>
                  <a:lnTo>
                    <a:pt x="2286" y="316"/>
                  </a:lnTo>
                  <a:lnTo>
                    <a:pt x="2314" y="310"/>
                  </a:lnTo>
                  <a:lnTo>
                    <a:pt x="2350" y="306"/>
                  </a:lnTo>
                  <a:lnTo>
                    <a:pt x="2398" y="304"/>
                  </a:lnTo>
                  <a:lnTo>
                    <a:pt x="2424" y="302"/>
                  </a:lnTo>
                  <a:lnTo>
                    <a:pt x="2442" y="298"/>
                  </a:lnTo>
                  <a:lnTo>
                    <a:pt x="2456" y="294"/>
                  </a:lnTo>
                  <a:lnTo>
                    <a:pt x="2464" y="288"/>
                  </a:lnTo>
                  <a:lnTo>
                    <a:pt x="2466" y="284"/>
                  </a:lnTo>
                  <a:lnTo>
                    <a:pt x="2466" y="282"/>
                  </a:lnTo>
                  <a:lnTo>
                    <a:pt x="2462" y="274"/>
                  </a:lnTo>
                  <a:lnTo>
                    <a:pt x="2456" y="266"/>
                  </a:lnTo>
                  <a:lnTo>
                    <a:pt x="2442" y="256"/>
                  </a:lnTo>
                  <a:lnTo>
                    <a:pt x="2420" y="240"/>
                  </a:lnTo>
                  <a:lnTo>
                    <a:pt x="2412" y="234"/>
                  </a:lnTo>
                  <a:lnTo>
                    <a:pt x="2406" y="232"/>
                  </a:lnTo>
                  <a:lnTo>
                    <a:pt x="2398" y="232"/>
                  </a:lnTo>
                  <a:lnTo>
                    <a:pt x="2388" y="236"/>
                  </a:lnTo>
                  <a:lnTo>
                    <a:pt x="2376" y="242"/>
                  </a:lnTo>
                  <a:lnTo>
                    <a:pt x="2360" y="254"/>
                  </a:lnTo>
                  <a:lnTo>
                    <a:pt x="2346" y="262"/>
                  </a:lnTo>
                  <a:lnTo>
                    <a:pt x="2344" y="264"/>
                  </a:lnTo>
                  <a:lnTo>
                    <a:pt x="2344" y="262"/>
                  </a:lnTo>
                  <a:lnTo>
                    <a:pt x="2356" y="248"/>
                  </a:lnTo>
                  <a:lnTo>
                    <a:pt x="2364" y="238"/>
                  </a:lnTo>
                  <a:lnTo>
                    <a:pt x="2372" y="226"/>
                  </a:lnTo>
                  <a:lnTo>
                    <a:pt x="2376" y="218"/>
                  </a:lnTo>
                  <a:lnTo>
                    <a:pt x="2374" y="214"/>
                  </a:lnTo>
                  <a:lnTo>
                    <a:pt x="2372" y="212"/>
                  </a:lnTo>
                  <a:lnTo>
                    <a:pt x="2354" y="208"/>
                  </a:lnTo>
                  <a:lnTo>
                    <a:pt x="2344" y="206"/>
                  </a:lnTo>
                  <a:lnTo>
                    <a:pt x="2336" y="206"/>
                  </a:lnTo>
                  <a:lnTo>
                    <a:pt x="2326" y="208"/>
                  </a:lnTo>
                  <a:lnTo>
                    <a:pt x="2316" y="212"/>
                  </a:lnTo>
                  <a:lnTo>
                    <a:pt x="2306" y="222"/>
                  </a:lnTo>
                  <a:lnTo>
                    <a:pt x="2294" y="236"/>
                  </a:lnTo>
                  <a:lnTo>
                    <a:pt x="2286" y="248"/>
                  </a:lnTo>
                  <a:lnTo>
                    <a:pt x="2278" y="256"/>
                  </a:lnTo>
                  <a:lnTo>
                    <a:pt x="2266" y="264"/>
                  </a:lnTo>
                  <a:lnTo>
                    <a:pt x="2260" y="270"/>
                  </a:lnTo>
                  <a:lnTo>
                    <a:pt x="2252" y="278"/>
                  </a:lnTo>
                  <a:lnTo>
                    <a:pt x="2242" y="292"/>
                  </a:lnTo>
                  <a:lnTo>
                    <a:pt x="2230" y="314"/>
                  </a:lnTo>
                  <a:lnTo>
                    <a:pt x="2226" y="324"/>
                  </a:lnTo>
                  <a:lnTo>
                    <a:pt x="2226" y="328"/>
                  </a:lnTo>
                  <a:lnTo>
                    <a:pt x="2228" y="330"/>
                  </a:lnTo>
                  <a:lnTo>
                    <a:pt x="2238" y="328"/>
                  </a:lnTo>
                  <a:lnTo>
                    <a:pt x="2260" y="322"/>
                  </a:lnTo>
                  <a:close/>
                  <a:moveTo>
                    <a:pt x="2156" y="150"/>
                  </a:moveTo>
                  <a:lnTo>
                    <a:pt x="2156" y="150"/>
                  </a:lnTo>
                  <a:lnTo>
                    <a:pt x="2132" y="150"/>
                  </a:lnTo>
                  <a:lnTo>
                    <a:pt x="2100" y="148"/>
                  </a:lnTo>
                  <a:lnTo>
                    <a:pt x="2084" y="150"/>
                  </a:lnTo>
                  <a:lnTo>
                    <a:pt x="2068" y="152"/>
                  </a:lnTo>
                  <a:lnTo>
                    <a:pt x="2054" y="156"/>
                  </a:lnTo>
                  <a:lnTo>
                    <a:pt x="2042" y="162"/>
                  </a:lnTo>
                  <a:lnTo>
                    <a:pt x="2016" y="178"/>
                  </a:lnTo>
                  <a:lnTo>
                    <a:pt x="1988" y="192"/>
                  </a:lnTo>
                  <a:lnTo>
                    <a:pt x="1980" y="198"/>
                  </a:lnTo>
                  <a:lnTo>
                    <a:pt x="1978" y="200"/>
                  </a:lnTo>
                  <a:lnTo>
                    <a:pt x="1978" y="202"/>
                  </a:lnTo>
                  <a:lnTo>
                    <a:pt x="1980" y="204"/>
                  </a:lnTo>
                  <a:lnTo>
                    <a:pt x="1982" y="204"/>
                  </a:lnTo>
                  <a:lnTo>
                    <a:pt x="1996" y="206"/>
                  </a:lnTo>
                  <a:lnTo>
                    <a:pt x="2012" y="206"/>
                  </a:lnTo>
                  <a:lnTo>
                    <a:pt x="2020" y="208"/>
                  </a:lnTo>
                  <a:lnTo>
                    <a:pt x="2024" y="210"/>
                  </a:lnTo>
                  <a:lnTo>
                    <a:pt x="2024" y="214"/>
                  </a:lnTo>
                  <a:lnTo>
                    <a:pt x="2024" y="218"/>
                  </a:lnTo>
                  <a:lnTo>
                    <a:pt x="2026" y="224"/>
                  </a:lnTo>
                  <a:lnTo>
                    <a:pt x="2030" y="230"/>
                  </a:lnTo>
                  <a:lnTo>
                    <a:pt x="2038" y="234"/>
                  </a:lnTo>
                  <a:lnTo>
                    <a:pt x="2046" y="238"/>
                  </a:lnTo>
                  <a:lnTo>
                    <a:pt x="2054" y="238"/>
                  </a:lnTo>
                  <a:lnTo>
                    <a:pt x="2074" y="240"/>
                  </a:lnTo>
                  <a:lnTo>
                    <a:pt x="2100" y="244"/>
                  </a:lnTo>
                  <a:lnTo>
                    <a:pt x="2118" y="246"/>
                  </a:lnTo>
                  <a:lnTo>
                    <a:pt x="2138" y="252"/>
                  </a:lnTo>
                  <a:lnTo>
                    <a:pt x="2158" y="258"/>
                  </a:lnTo>
                  <a:lnTo>
                    <a:pt x="2180" y="260"/>
                  </a:lnTo>
                  <a:lnTo>
                    <a:pt x="2200" y="260"/>
                  </a:lnTo>
                  <a:lnTo>
                    <a:pt x="2218" y="258"/>
                  </a:lnTo>
                  <a:lnTo>
                    <a:pt x="2232" y="252"/>
                  </a:lnTo>
                  <a:lnTo>
                    <a:pt x="2240" y="248"/>
                  </a:lnTo>
                  <a:lnTo>
                    <a:pt x="2244" y="244"/>
                  </a:lnTo>
                  <a:lnTo>
                    <a:pt x="2244" y="240"/>
                  </a:lnTo>
                  <a:lnTo>
                    <a:pt x="2242" y="238"/>
                  </a:lnTo>
                  <a:lnTo>
                    <a:pt x="2240" y="234"/>
                  </a:lnTo>
                  <a:lnTo>
                    <a:pt x="2236" y="232"/>
                  </a:lnTo>
                  <a:lnTo>
                    <a:pt x="2236" y="228"/>
                  </a:lnTo>
                  <a:lnTo>
                    <a:pt x="2236" y="220"/>
                  </a:lnTo>
                  <a:lnTo>
                    <a:pt x="2238" y="210"/>
                  </a:lnTo>
                  <a:lnTo>
                    <a:pt x="2244" y="202"/>
                  </a:lnTo>
                  <a:lnTo>
                    <a:pt x="2248" y="192"/>
                  </a:lnTo>
                  <a:lnTo>
                    <a:pt x="2252" y="184"/>
                  </a:lnTo>
                  <a:lnTo>
                    <a:pt x="2252" y="180"/>
                  </a:lnTo>
                  <a:lnTo>
                    <a:pt x="2252" y="176"/>
                  </a:lnTo>
                  <a:lnTo>
                    <a:pt x="2250" y="174"/>
                  </a:lnTo>
                  <a:lnTo>
                    <a:pt x="2246" y="172"/>
                  </a:lnTo>
                  <a:lnTo>
                    <a:pt x="2238" y="166"/>
                  </a:lnTo>
                  <a:lnTo>
                    <a:pt x="2234" y="162"/>
                  </a:lnTo>
                  <a:lnTo>
                    <a:pt x="2230" y="160"/>
                  </a:lnTo>
                  <a:lnTo>
                    <a:pt x="2226" y="156"/>
                  </a:lnTo>
                  <a:lnTo>
                    <a:pt x="2220" y="156"/>
                  </a:lnTo>
                  <a:lnTo>
                    <a:pt x="2212" y="156"/>
                  </a:lnTo>
                  <a:lnTo>
                    <a:pt x="2184" y="164"/>
                  </a:lnTo>
                  <a:lnTo>
                    <a:pt x="2170" y="170"/>
                  </a:lnTo>
                  <a:lnTo>
                    <a:pt x="2162" y="170"/>
                  </a:lnTo>
                  <a:lnTo>
                    <a:pt x="2160" y="168"/>
                  </a:lnTo>
                  <a:lnTo>
                    <a:pt x="2162" y="164"/>
                  </a:lnTo>
                  <a:lnTo>
                    <a:pt x="2164" y="158"/>
                  </a:lnTo>
                  <a:lnTo>
                    <a:pt x="2164" y="154"/>
                  </a:lnTo>
                  <a:lnTo>
                    <a:pt x="2164" y="150"/>
                  </a:lnTo>
                  <a:lnTo>
                    <a:pt x="2156" y="150"/>
                  </a:lnTo>
                  <a:close/>
                  <a:moveTo>
                    <a:pt x="3192" y="724"/>
                  </a:moveTo>
                  <a:lnTo>
                    <a:pt x="3192" y="724"/>
                  </a:lnTo>
                  <a:lnTo>
                    <a:pt x="3218" y="728"/>
                  </a:lnTo>
                  <a:lnTo>
                    <a:pt x="3242" y="734"/>
                  </a:lnTo>
                  <a:lnTo>
                    <a:pt x="3268" y="744"/>
                  </a:lnTo>
                  <a:lnTo>
                    <a:pt x="3300" y="758"/>
                  </a:lnTo>
                  <a:lnTo>
                    <a:pt x="3308" y="762"/>
                  </a:lnTo>
                  <a:lnTo>
                    <a:pt x="3314" y="764"/>
                  </a:lnTo>
                  <a:lnTo>
                    <a:pt x="3316" y="762"/>
                  </a:lnTo>
                  <a:lnTo>
                    <a:pt x="3316" y="760"/>
                  </a:lnTo>
                  <a:lnTo>
                    <a:pt x="3314" y="752"/>
                  </a:lnTo>
                  <a:lnTo>
                    <a:pt x="3316" y="748"/>
                  </a:lnTo>
                  <a:lnTo>
                    <a:pt x="3320" y="746"/>
                  </a:lnTo>
                  <a:lnTo>
                    <a:pt x="3332" y="746"/>
                  </a:lnTo>
                  <a:lnTo>
                    <a:pt x="3338" y="746"/>
                  </a:lnTo>
                  <a:lnTo>
                    <a:pt x="3368" y="758"/>
                  </a:lnTo>
                  <a:lnTo>
                    <a:pt x="3390" y="768"/>
                  </a:lnTo>
                  <a:lnTo>
                    <a:pt x="3412" y="778"/>
                  </a:lnTo>
                  <a:lnTo>
                    <a:pt x="3420" y="782"/>
                  </a:lnTo>
                  <a:lnTo>
                    <a:pt x="3428" y="782"/>
                  </a:lnTo>
                  <a:lnTo>
                    <a:pt x="3434" y="778"/>
                  </a:lnTo>
                  <a:lnTo>
                    <a:pt x="3440" y="772"/>
                  </a:lnTo>
                  <a:lnTo>
                    <a:pt x="3440" y="766"/>
                  </a:lnTo>
                  <a:lnTo>
                    <a:pt x="3440" y="762"/>
                  </a:lnTo>
                  <a:lnTo>
                    <a:pt x="3436" y="756"/>
                  </a:lnTo>
                  <a:lnTo>
                    <a:pt x="3430" y="752"/>
                  </a:lnTo>
                  <a:lnTo>
                    <a:pt x="3422" y="748"/>
                  </a:lnTo>
                  <a:lnTo>
                    <a:pt x="3414" y="746"/>
                  </a:lnTo>
                  <a:lnTo>
                    <a:pt x="3412" y="744"/>
                  </a:lnTo>
                  <a:lnTo>
                    <a:pt x="3412" y="742"/>
                  </a:lnTo>
                  <a:lnTo>
                    <a:pt x="3414" y="742"/>
                  </a:lnTo>
                  <a:lnTo>
                    <a:pt x="3422" y="738"/>
                  </a:lnTo>
                  <a:lnTo>
                    <a:pt x="3432" y="736"/>
                  </a:lnTo>
                  <a:lnTo>
                    <a:pt x="3432" y="734"/>
                  </a:lnTo>
                  <a:lnTo>
                    <a:pt x="3432" y="732"/>
                  </a:lnTo>
                  <a:lnTo>
                    <a:pt x="3426" y="730"/>
                  </a:lnTo>
                  <a:lnTo>
                    <a:pt x="3418" y="726"/>
                  </a:lnTo>
                  <a:lnTo>
                    <a:pt x="3410" y="724"/>
                  </a:lnTo>
                  <a:lnTo>
                    <a:pt x="3406" y="720"/>
                  </a:lnTo>
                  <a:lnTo>
                    <a:pt x="3406" y="718"/>
                  </a:lnTo>
                  <a:lnTo>
                    <a:pt x="3416" y="714"/>
                  </a:lnTo>
                  <a:lnTo>
                    <a:pt x="3428" y="710"/>
                  </a:lnTo>
                  <a:lnTo>
                    <a:pt x="3430" y="708"/>
                  </a:lnTo>
                  <a:lnTo>
                    <a:pt x="3430" y="706"/>
                  </a:lnTo>
                  <a:lnTo>
                    <a:pt x="3426" y="702"/>
                  </a:lnTo>
                  <a:lnTo>
                    <a:pt x="3418" y="696"/>
                  </a:lnTo>
                  <a:lnTo>
                    <a:pt x="3392" y="686"/>
                  </a:lnTo>
                  <a:lnTo>
                    <a:pt x="3364" y="676"/>
                  </a:lnTo>
                  <a:lnTo>
                    <a:pt x="3352" y="674"/>
                  </a:lnTo>
                  <a:lnTo>
                    <a:pt x="3342" y="676"/>
                  </a:lnTo>
                  <a:lnTo>
                    <a:pt x="3336" y="678"/>
                  </a:lnTo>
                  <a:lnTo>
                    <a:pt x="3330" y="684"/>
                  </a:lnTo>
                  <a:lnTo>
                    <a:pt x="3326" y="688"/>
                  </a:lnTo>
                  <a:lnTo>
                    <a:pt x="3322" y="690"/>
                  </a:lnTo>
                  <a:lnTo>
                    <a:pt x="3320" y="688"/>
                  </a:lnTo>
                  <a:lnTo>
                    <a:pt x="3316" y="682"/>
                  </a:lnTo>
                  <a:lnTo>
                    <a:pt x="3312" y="676"/>
                  </a:lnTo>
                  <a:lnTo>
                    <a:pt x="3306" y="672"/>
                  </a:lnTo>
                  <a:lnTo>
                    <a:pt x="3302" y="668"/>
                  </a:lnTo>
                  <a:lnTo>
                    <a:pt x="3294" y="668"/>
                  </a:lnTo>
                  <a:lnTo>
                    <a:pt x="3278" y="666"/>
                  </a:lnTo>
                  <a:lnTo>
                    <a:pt x="3270" y="664"/>
                  </a:lnTo>
                  <a:lnTo>
                    <a:pt x="3258" y="660"/>
                  </a:lnTo>
                  <a:lnTo>
                    <a:pt x="3244" y="656"/>
                  </a:lnTo>
                  <a:lnTo>
                    <a:pt x="3230" y="654"/>
                  </a:lnTo>
                  <a:lnTo>
                    <a:pt x="3216" y="656"/>
                  </a:lnTo>
                  <a:lnTo>
                    <a:pt x="3204" y="660"/>
                  </a:lnTo>
                  <a:lnTo>
                    <a:pt x="3194" y="666"/>
                  </a:lnTo>
                  <a:lnTo>
                    <a:pt x="3186" y="674"/>
                  </a:lnTo>
                  <a:lnTo>
                    <a:pt x="3186" y="676"/>
                  </a:lnTo>
                  <a:lnTo>
                    <a:pt x="3186" y="680"/>
                  </a:lnTo>
                  <a:lnTo>
                    <a:pt x="3188" y="684"/>
                  </a:lnTo>
                  <a:lnTo>
                    <a:pt x="3190" y="688"/>
                  </a:lnTo>
                  <a:lnTo>
                    <a:pt x="3194" y="692"/>
                  </a:lnTo>
                  <a:lnTo>
                    <a:pt x="3196" y="696"/>
                  </a:lnTo>
                  <a:lnTo>
                    <a:pt x="3196" y="700"/>
                  </a:lnTo>
                  <a:lnTo>
                    <a:pt x="3196" y="702"/>
                  </a:lnTo>
                  <a:lnTo>
                    <a:pt x="3190" y="706"/>
                  </a:lnTo>
                  <a:lnTo>
                    <a:pt x="3184" y="712"/>
                  </a:lnTo>
                  <a:lnTo>
                    <a:pt x="3178" y="714"/>
                  </a:lnTo>
                  <a:lnTo>
                    <a:pt x="3176" y="718"/>
                  </a:lnTo>
                  <a:lnTo>
                    <a:pt x="3180" y="720"/>
                  </a:lnTo>
                  <a:lnTo>
                    <a:pt x="3192" y="724"/>
                  </a:lnTo>
                  <a:close/>
                  <a:moveTo>
                    <a:pt x="614" y="10"/>
                  </a:moveTo>
                  <a:lnTo>
                    <a:pt x="614" y="10"/>
                  </a:lnTo>
                  <a:lnTo>
                    <a:pt x="614" y="8"/>
                  </a:lnTo>
                  <a:lnTo>
                    <a:pt x="612" y="6"/>
                  </a:lnTo>
                  <a:lnTo>
                    <a:pt x="606" y="4"/>
                  </a:lnTo>
                  <a:lnTo>
                    <a:pt x="588" y="0"/>
                  </a:lnTo>
                  <a:lnTo>
                    <a:pt x="576" y="0"/>
                  </a:lnTo>
                  <a:lnTo>
                    <a:pt x="566" y="2"/>
                  </a:lnTo>
                  <a:lnTo>
                    <a:pt x="558" y="4"/>
                  </a:lnTo>
                  <a:lnTo>
                    <a:pt x="554" y="10"/>
                  </a:lnTo>
                  <a:lnTo>
                    <a:pt x="552" y="12"/>
                  </a:lnTo>
                  <a:lnTo>
                    <a:pt x="554" y="14"/>
                  </a:lnTo>
                  <a:lnTo>
                    <a:pt x="558" y="18"/>
                  </a:lnTo>
                  <a:lnTo>
                    <a:pt x="568" y="18"/>
                  </a:lnTo>
                  <a:lnTo>
                    <a:pt x="578" y="18"/>
                  </a:lnTo>
                  <a:lnTo>
                    <a:pt x="602" y="16"/>
                  </a:lnTo>
                  <a:lnTo>
                    <a:pt x="610" y="12"/>
                  </a:lnTo>
                  <a:lnTo>
                    <a:pt x="614" y="10"/>
                  </a:lnTo>
                  <a:close/>
                  <a:moveTo>
                    <a:pt x="444" y="80"/>
                  </a:moveTo>
                  <a:lnTo>
                    <a:pt x="444" y="80"/>
                  </a:lnTo>
                  <a:lnTo>
                    <a:pt x="450" y="82"/>
                  </a:lnTo>
                  <a:lnTo>
                    <a:pt x="450" y="84"/>
                  </a:lnTo>
                  <a:lnTo>
                    <a:pt x="456" y="86"/>
                  </a:lnTo>
                  <a:lnTo>
                    <a:pt x="474" y="88"/>
                  </a:lnTo>
                  <a:lnTo>
                    <a:pt x="502" y="94"/>
                  </a:lnTo>
                  <a:lnTo>
                    <a:pt x="514" y="100"/>
                  </a:lnTo>
                  <a:lnTo>
                    <a:pt x="524" y="102"/>
                  </a:lnTo>
                  <a:lnTo>
                    <a:pt x="536" y="100"/>
                  </a:lnTo>
                  <a:lnTo>
                    <a:pt x="544" y="96"/>
                  </a:lnTo>
                  <a:lnTo>
                    <a:pt x="546" y="94"/>
                  </a:lnTo>
                  <a:lnTo>
                    <a:pt x="544" y="94"/>
                  </a:lnTo>
                  <a:lnTo>
                    <a:pt x="520" y="88"/>
                  </a:lnTo>
                  <a:lnTo>
                    <a:pt x="492" y="76"/>
                  </a:lnTo>
                  <a:lnTo>
                    <a:pt x="478" y="74"/>
                  </a:lnTo>
                  <a:lnTo>
                    <a:pt x="466" y="76"/>
                  </a:lnTo>
                  <a:lnTo>
                    <a:pt x="458" y="76"/>
                  </a:lnTo>
                  <a:lnTo>
                    <a:pt x="452" y="74"/>
                  </a:lnTo>
                  <a:lnTo>
                    <a:pt x="438" y="70"/>
                  </a:lnTo>
                  <a:lnTo>
                    <a:pt x="432" y="68"/>
                  </a:lnTo>
                  <a:lnTo>
                    <a:pt x="426" y="66"/>
                  </a:lnTo>
                  <a:lnTo>
                    <a:pt x="420" y="68"/>
                  </a:lnTo>
                  <a:lnTo>
                    <a:pt x="414" y="74"/>
                  </a:lnTo>
                  <a:lnTo>
                    <a:pt x="412" y="76"/>
                  </a:lnTo>
                  <a:lnTo>
                    <a:pt x="414" y="76"/>
                  </a:lnTo>
                  <a:lnTo>
                    <a:pt x="420" y="78"/>
                  </a:lnTo>
                  <a:lnTo>
                    <a:pt x="432" y="78"/>
                  </a:lnTo>
                  <a:lnTo>
                    <a:pt x="444" y="80"/>
                  </a:lnTo>
                  <a:close/>
                  <a:moveTo>
                    <a:pt x="296" y="786"/>
                  </a:moveTo>
                  <a:lnTo>
                    <a:pt x="296" y="786"/>
                  </a:lnTo>
                  <a:lnTo>
                    <a:pt x="290" y="806"/>
                  </a:lnTo>
                  <a:lnTo>
                    <a:pt x="288" y="812"/>
                  </a:lnTo>
                  <a:lnTo>
                    <a:pt x="288" y="818"/>
                  </a:lnTo>
                  <a:lnTo>
                    <a:pt x="292" y="822"/>
                  </a:lnTo>
                  <a:lnTo>
                    <a:pt x="300" y="826"/>
                  </a:lnTo>
                  <a:lnTo>
                    <a:pt x="310" y="828"/>
                  </a:lnTo>
                  <a:lnTo>
                    <a:pt x="324" y="828"/>
                  </a:lnTo>
                  <a:lnTo>
                    <a:pt x="340" y="828"/>
                  </a:lnTo>
                  <a:lnTo>
                    <a:pt x="338" y="830"/>
                  </a:lnTo>
                  <a:lnTo>
                    <a:pt x="334" y="832"/>
                  </a:lnTo>
                  <a:lnTo>
                    <a:pt x="330" y="836"/>
                  </a:lnTo>
                  <a:lnTo>
                    <a:pt x="330" y="842"/>
                  </a:lnTo>
                  <a:lnTo>
                    <a:pt x="330" y="844"/>
                  </a:lnTo>
                  <a:lnTo>
                    <a:pt x="332" y="848"/>
                  </a:lnTo>
                  <a:lnTo>
                    <a:pt x="344" y="856"/>
                  </a:lnTo>
                  <a:lnTo>
                    <a:pt x="350" y="858"/>
                  </a:lnTo>
                  <a:lnTo>
                    <a:pt x="356" y="860"/>
                  </a:lnTo>
                  <a:lnTo>
                    <a:pt x="360" y="860"/>
                  </a:lnTo>
                  <a:lnTo>
                    <a:pt x="362" y="858"/>
                  </a:lnTo>
                  <a:lnTo>
                    <a:pt x="364" y="852"/>
                  </a:lnTo>
                  <a:lnTo>
                    <a:pt x="366" y="844"/>
                  </a:lnTo>
                  <a:lnTo>
                    <a:pt x="366" y="838"/>
                  </a:lnTo>
                  <a:lnTo>
                    <a:pt x="366" y="834"/>
                  </a:lnTo>
                  <a:lnTo>
                    <a:pt x="368" y="832"/>
                  </a:lnTo>
                  <a:lnTo>
                    <a:pt x="370" y="834"/>
                  </a:lnTo>
                  <a:lnTo>
                    <a:pt x="376" y="842"/>
                  </a:lnTo>
                  <a:lnTo>
                    <a:pt x="380" y="848"/>
                  </a:lnTo>
                  <a:lnTo>
                    <a:pt x="382" y="852"/>
                  </a:lnTo>
                  <a:lnTo>
                    <a:pt x="382" y="856"/>
                  </a:lnTo>
                  <a:lnTo>
                    <a:pt x="382" y="860"/>
                  </a:lnTo>
                  <a:lnTo>
                    <a:pt x="378" y="866"/>
                  </a:lnTo>
                  <a:lnTo>
                    <a:pt x="372" y="870"/>
                  </a:lnTo>
                  <a:lnTo>
                    <a:pt x="368" y="874"/>
                  </a:lnTo>
                  <a:lnTo>
                    <a:pt x="368" y="876"/>
                  </a:lnTo>
                  <a:lnTo>
                    <a:pt x="374" y="878"/>
                  </a:lnTo>
                  <a:lnTo>
                    <a:pt x="388" y="880"/>
                  </a:lnTo>
                  <a:lnTo>
                    <a:pt x="404" y="882"/>
                  </a:lnTo>
                  <a:lnTo>
                    <a:pt x="414" y="884"/>
                  </a:lnTo>
                  <a:lnTo>
                    <a:pt x="420" y="886"/>
                  </a:lnTo>
                  <a:lnTo>
                    <a:pt x="424" y="888"/>
                  </a:lnTo>
                  <a:lnTo>
                    <a:pt x="426" y="890"/>
                  </a:lnTo>
                  <a:lnTo>
                    <a:pt x="430" y="892"/>
                  </a:lnTo>
                  <a:lnTo>
                    <a:pt x="450" y="892"/>
                  </a:lnTo>
                  <a:lnTo>
                    <a:pt x="464" y="894"/>
                  </a:lnTo>
                  <a:lnTo>
                    <a:pt x="476" y="894"/>
                  </a:lnTo>
                  <a:lnTo>
                    <a:pt x="494" y="898"/>
                  </a:lnTo>
                  <a:lnTo>
                    <a:pt x="504" y="898"/>
                  </a:lnTo>
                  <a:lnTo>
                    <a:pt x="514" y="898"/>
                  </a:lnTo>
                  <a:lnTo>
                    <a:pt x="524" y="894"/>
                  </a:lnTo>
                  <a:lnTo>
                    <a:pt x="536" y="888"/>
                  </a:lnTo>
                  <a:lnTo>
                    <a:pt x="540" y="886"/>
                  </a:lnTo>
                  <a:lnTo>
                    <a:pt x="540" y="884"/>
                  </a:lnTo>
                  <a:lnTo>
                    <a:pt x="540" y="882"/>
                  </a:lnTo>
                  <a:lnTo>
                    <a:pt x="538" y="878"/>
                  </a:lnTo>
                  <a:lnTo>
                    <a:pt x="530" y="874"/>
                  </a:lnTo>
                  <a:lnTo>
                    <a:pt x="518" y="868"/>
                  </a:lnTo>
                  <a:lnTo>
                    <a:pt x="506" y="862"/>
                  </a:lnTo>
                  <a:lnTo>
                    <a:pt x="494" y="854"/>
                  </a:lnTo>
                  <a:lnTo>
                    <a:pt x="484" y="846"/>
                  </a:lnTo>
                  <a:lnTo>
                    <a:pt x="476" y="836"/>
                  </a:lnTo>
                  <a:lnTo>
                    <a:pt x="472" y="826"/>
                  </a:lnTo>
                  <a:lnTo>
                    <a:pt x="466" y="820"/>
                  </a:lnTo>
                  <a:lnTo>
                    <a:pt x="456" y="808"/>
                  </a:lnTo>
                  <a:lnTo>
                    <a:pt x="452" y="800"/>
                  </a:lnTo>
                  <a:lnTo>
                    <a:pt x="448" y="792"/>
                  </a:lnTo>
                  <a:lnTo>
                    <a:pt x="448" y="780"/>
                  </a:lnTo>
                  <a:lnTo>
                    <a:pt x="450" y="764"/>
                  </a:lnTo>
                  <a:lnTo>
                    <a:pt x="452" y="756"/>
                  </a:lnTo>
                  <a:lnTo>
                    <a:pt x="456" y="748"/>
                  </a:lnTo>
                  <a:lnTo>
                    <a:pt x="464" y="736"/>
                  </a:lnTo>
                  <a:lnTo>
                    <a:pt x="474" y="726"/>
                  </a:lnTo>
                  <a:lnTo>
                    <a:pt x="482" y="718"/>
                  </a:lnTo>
                  <a:lnTo>
                    <a:pt x="490" y="712"/>
                  </a:lnTo>
                  <a:lnTo>
                    <a:pt x="492" y="706"/>
                  </a:lnTo>
                  <a:lnTo>
                    <a:pt x="492" y="704"/>
                  </a:lnTo>
                  <a:lnTo>
                    <a:pt x="488" y="702"/>
                  </a:lnTo>
                  <a:lnTo>
                    <a:pt x="478" y="696"/>
                  </a:lnTo>
                  <a:lnTo>
                    <a:pt x="458" y="688"/>
                  </a:lnTo>
                  <a:lnTo>
                    <a:pt x="454" y="686"/>
                  </a:lnTo>
                  <a:lnTo>
                    <a:pt x="448" y="686"/>
                  </a:lnTo>
                  <a:lnTo>
                    <a:pt x="434" y="688"/>
                  </a:lnTo>
                  <a:lnTo>
                    <a:pt x="400" y="694"/>
                  </a:lnTo>
                  <a:lnTo>
                    <a:pt x="378" y="698"/>
                  </a:lnTo>
                  <a:lnTo>
                    <a:pt x="366" y="700"/>
                  </a:lnTo>
                  <a:lnTo>
                    <a:pt x="362" y="702"/>
                  </a:lnTo>
                  <a:lnTo>
                    <a:pt x="362" y="706"/>
                  </a:lnTo>
                  <a:lnTo>
                    <a:pt x="362" y="708"/>
                  </a:lnTo>
                  <a:lnTo>
                    <a:pt x="362" y="712"/>
                  </a:lnTo>
                  <a:lnTo>
                    <a:pt x="358" y="716"/>
                  </a:lnTo>
                  <a:lnTo>
                    <a:pt x="348" y="720"/>
                  </a:lnTo>
                  <a:lnTo>
                    <a:pt x="338" y="726"/>
                  </a:lnTo>
                  <a:lnTo>
                    <a:pt x="334" y="730"/>
                  </a:lnTo>
                  <a:lnTo>
                    <a:pt x="332" y="734"/>
                  </a:lnTo>
                  <a:lnTo>
                    <a:pt x="334" y="736"/>
                  </a:lnTo>
                  <a:lnTo>
                    <a:pt x="338" y="742"/>
                  </a:lnTo>
                  <a:lnTo>
                    <a:pt x="340" y="746"/>
                  </a:lnTo>
                  <a:lnTo>
                    <a:pt x="340" y="754"/>
                  </a:lnTo>
                  <a:lnTo>
                    <a:pt x="336" y="764"/>
                  </a:lnTo>
                  <a:lnTo>
                    <a:pt x="330" y="774"/>
                  </a:lnTo>
                  <a:lnTo>
                    <a:pt x="324" y="778"/>
                  </a:lnTo>
                  <a:lnTo>
                    <a:pt x="320" y="778"/>
                  </a:lnTo>
                  <a:lnTo>
                    <a:pt x="316" y="776"/>
                  </a:lnTo>
                  <a:lnTo>
                    <a:pt x="310" y="774"/>
                  </a:lnTo>
                  <a:lnTo>
                    <a:pt x="306" y="774"/>
                  </a:lnTo>
                  <a:lnTo>
                    <a:pt x="302" y="778"/>
                  </a:lnTo>
                  <a:lnTo>
                    <a:pt x="296" y="786"/>
                  </a:lnTo>
                  <a:close/>
                  <a:moveTo>
                    <a:pt x="282" y="168"/>
                  </a:moveTo>
                  <a:lnTo>
                    <a:pt x="282" y="168"/>
                  </a:lnTo>
                  <a:lnTo>
                    <a:pt x="290" y="168"/>
                  </a:lnTo>
                  <a:lnTo>
                    <a:pt x="294" y="164"/>
                  </a:lnTo>
                  <a:lnTo>
                    <a:pt x="292" y="160"/>
                  </a:lnTo>
                  <a:lnTo>
                    <a:pt x="288" y="158"/>
                  </a:lnTo>
                  <a:lnTo>
                    <a:pt x="280" y="154"/>
                  </a:lnTo>
                  <a:lnTo>
                    <a:pt x="270" y="152"/>
                  </a:lnTo>
                  <a:lnTo>
                    <a:pt x="260" y="152"/>
                  </a:lnTo>
                  <a:lnTo>
                    <a:pt x="250" y="156"/>
                  </a:lnTo>
                  <a:lnTo>
                    <a:pt x="242" y="160"/>
                  </a:lnTo>
                  <a:lnTo>
                    <a:pt x="240" y="164"/>
                  </a:lnTo>
                  <a:lnTo>
                    <a:pt x="240" y="166"/>
                  </a:lnTo>
                  <a:lnTo>
                    <a:pt x="244" y="166"/>
                  </a:lnTo>
                  <a:lnTo>
                    <a:pt x="260" y="168"/>
                  </a:lnTo>
                  <a:lnTo>
                    <a:pt x="282" y="168"/>
                  </a:lnTo>
                  <a:close/>
                  <a:moveTo>
                    <a:pt x="416" y="96"/>
                  </a:moveTo>
                  <a:lnTo>
                    <a:pt x="416" y="96"/>
                  </a:lnTo>
                  <a:lnTo>
                    <a:pt x="424" y="96"/>
                  </a:lnTo>
                  <a:lnTo>
                    <a:pt x="428" y="100"/>
                  </a:lnTo>
                  <a:lnTo>
                    <a:pt x="432" y="100"/>
                  </a:lnTo>
                  <a:lnTo>
                    <a:pt x="440" y="100"/>
                  </a:lnTo>
                  <a:lnTo>
                    <a:pt x="452" y="98"/>
                  </a:lnTo>
                  <a:lnTo>
                    <a:pt x="464" y="96"/>
                  </a:lnTo>
                  <a:lnTo>
                    <a:pt x="470" y="96"/>
                  </a:lnTo>
                  <a:lnTo>
                    <a:pt x="472" y="96"/>
                  </a:lnTo>
                  <a:lnTo>
                    <a:pt x="470" y="94"/>
                  </a:lnTo>
                  <a:lnTo>
                    <a:pt x="452" y="88"/>
                  </a:lnTo>
                  <a:lnTo>
                    <a:pt x="440" y="86"/>
                  </a:lnTo>
                  <a:lnTo>
                    <a:pt x="436" y="86"/>
                  </a:lnTo>
                  <a:lnTo>
                    <a:pt x="432" y="88"/>
                  </a:lnTo>
                  <a:lnTo>
                    <a:pt x="428" y="90"/>
                  </a:lnTo>
                  <a:lnTo>
                    <a:pt x="424" y="90"/>
                  </a:lnTo>
                  <a:lnTo>
                    <a:pt x="414" y="88"/>
                  </a:lnTo>
                  <a:lnTo>
                    <a:pt x="404" y="86"/>
                  </a:lnTo>
                  <a:lnTo>
                    <a:pt x="398" y="88"/>
                  </a:lnTo>
                  <a:lnTo>
                    <a:pt x="396" y="92"/>
                  </a:lnTo>
                  <a:lnTo>
                    <a:pt x="394" y="94"/>
                  </a:lnTo>
                  <a:lnTo>
                    <a:pt x="398" y="96"/>
                  </a:lnTo>
                  <a:lnTo>
                    <a:pt x="416" y="96"/>
                  </a:lnTo>
                  <a:close/>
                  <a:moveTo>
                    <a:pt x="406" y="124"/>
                  </a:moveTo>
                  <a:lnTo>
                    <a:pt x="406" y="124"/>
                  </a:lnTo>
                  <a:lnTo>
                    <a:pt x="414" y="122"/>
                  </a:lnTo>
                  <a:lnTo>
                    <a:pt x="416" y="122"/>
                  </a:lnTo>
                  <a:lnTo>
                    <a:pt x="416" y="120"/>
                  </a:lnTo>
                  <a:lnTo>
                    <a:pt x="414" y="116"/>
                  </a:lnTo>
                  <a:lnTo>
                    <a:pt x="408" y="112"/>
                  </a:lnTo>
                  <a:lnTo>
                    <a:pt x="402" y="110"/>
                  </a:lnTo>
                  <a:lnTo>
                    <a:pt x="394" y="110"/>
                  </a:lnTo>
                  <a:lnTo>
                    <a:pt x="390" y="112"/>
                  </a:lnTo>
                  <a:lnTo>
                    <a:pt x="392" y="114"/>
                  </a:lnTo>
                  <a:lnTo>
                    <a:pt x="392" y="116"/>
                  </a:lnTo>
                  <a:lnTo>
                    <a:pt x="392" y="118"/>
                  </a:lnTo>
                  <a:lnTo>
                    <a:pt x="390" y="120"/>
                  </a:lnTo>
                  <a:lnTo>
                    <a:pt x="390" y="122"/>
                  </a:lnTo>
                  <a:lnTo>
                    <a:pt x="392" y="124"/>
                  </a:lnTo>
                  <a:lnTo>
                    <a:pt x="406" y="124"/>
                  </a:lnTo>
                  <a:close/>
                  <a:moveTo>
                    <a:pt x="382" y="134"/>
                  </a:moveTo>
                  <a:lnTo>
                    <a:pt x="382" y="134"/>
                  </a:lnTo>
                  <a:lnTo>
                    <a:pt x="372" y="126"/>
                  </a:lnTo>
                  <a:lnTo>
                    <a:pt x="368" y="124"/>
                  </a:lnTo>
                  <a:lnTo>
                    <a:pt x="364" y="124"/>
                  </a:lnTo>
                  <a:lnTo>
                    <a:pt x="350" y="128"/>
                  </a:lnTo>
                  <a:lnTo>
                    <a:pt x="330" y="136"/>
                  </a:lnTo>
                  <a:lnTo>
                    <a:pt x="328" y="138"/>
                  </a:lnTo>
                  <a:lnTo>
                    <a:pt x="326" y="140"/>
                  </a:lnTo>
                  <a:lnTo>
                    <a:pt x="328" y="142"/>
                  </a:lnTo>
                  <a:lnTo>
                    <a:pt x="332" y="144"/>
                  </a:lnTo>
                  <a:lnTo>
                    <a:pt x="342" y="146"/>
                  </a:lnTo>
                  <a:lnTo>
                    <a:pt x="356" y="148"/>
                  </a:lnTo>
                  <a:lnTo>
                    <a:pt x="370" y="148"/>
                  </a:lnTo>
                  <a:lnTo>
                    <a:pt x="380" y="146"/>
                  </a:lnTo>
                  <a:lnTo>
                    <a:pt x="384" y="144"/>
                  </a:lnTo>
                  <a:lnTo>
                    <a:pt x="386" y="142"/>
                  </a:lnTo>
                  <a:lnTo>
                    <a:pt x="386" y="138"/>
                  </a:lnTo>
                  <a:lnTo>
                    <a:pt x="382" y="134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54" y="118"/>
                  </a:lnTo>
                  <a:lnTo>
                    <a:pt x="62" y="114"/>
                  </a:lnTo>
                  <a:lnTo>
                    <a:pt x="66" y="114"/>
                  </a:lnTo>
                  <a:lnTo>
                    <a:pt x="70" y="116"/>
                  </a:lnTo>
                  <a:lnTo>
                    <a:pt x="76" y="120"/>
                  </a:lnTo>
                  <a:lnTo>
                    <a:pt x="80" y="122"/>
                  </a:lnTo>
                  <a:lnTo>
                    <a:pt x="86" y="124"/>
                  </a:lnTo>
                  <a:lnTo>
                    <a:pt x="92" y="122"/>
                  </a:lnTo>
                  <a:lnTo>
                    <a:pt x="102" y="118"/>
                  </a:lnTo>
                  <a:lnTo>
                    <a:pt x="118" y="110"/>
                  </a:lnTo>
                  <a:lnTo>
                    <a:pt x="130" y="104"/>
                  </a:lnTo>
                  <a:lnTo>
                    <a:pt x="134" y="102"/>
                  </a:lnTo>
                  <a:lnTo>
                    <a:pt x="140" y="102"/>
                  </a:lnTo>
                  <a:lnTo>
                    <a:pt x="148" y="102"/>
                  </a:lnTo>
                  <a:lnTo>
                    <a:pt x="158" y="106"/>
                  </a:lnTo>
                  <a:lnTo>
                    <a:pt x="168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82" y="106"/>
                  </a:lnTo>
                  <a:lnTo>
                    <a:pt x="182" y="102"/>
                  </a:lnTo>
                  <a:lnTo>
                    <a:pt x="176" y="98"/>
                  </a:lnTo>
                  <a:lnTo>
                    <a:pt x="166" y="94"/>
                  </a:lnTo>
                  <a:lnTo>
                    <a:pt x="150" y="90"/>
                  </a:lnTo>
                  <a:lnTo>
                    <a:pt x="126" y="86"/>
                  </a:lnTo>
                  <a:lnTo>
                    <a:pt x="122" y="88"/>
                  </a:lnTo>
                  <a:lnTo>
                    <a:pt x="120" y="90"/>
                  </a:lnTo>
                  <a:lnTo>
                    <a:pt x="118" y="92"/>
                  </a:lnTo>
                  <a:lnTo>
                    <a:pt x="114" y="94"/>
                  </a:lnTo>
                  <a:lnTo>
                    <a:pt x="108" y="98"/>
                  </a:lnTo>
                  <a:lnTo>
                    <a:pt x="96" y="100"/>
                  </a:lnTo>
                  <a:lnTo>
                    <a:pt x="64" y="104"/>
                  </a:lnTo>
                  <a:lnTo>
                    <a:pt x="42" y="108"/>
                  </a:lnTo>
                  <a:lnTo>
                    <a:pt x="34" y="110"/>
                  </a:lnTo>
                  <a:lnTo>
                    <a:pt x="32" y="112"/>
                  </a:lnTo>
                  <a:lnTo>
                    <a:pt x="36" y="114"/>
                  </a:lnTo>
                  <a:lnTo>
                    <a:pt x="46" y="116"/>
                  </a:lnTo>
                  <a:close/>
                  <a:moveTo>
                    <a:pt x="202" y="100"/>
                  </a:moveTo>
                  <a:lnTo>
                    <a:pt x="202" y="100"/>
                  </a:lnTo>
                  <a:lnTo>
                    <a:pt x="210" y="106"/>
                  </a:lnTo>
                  <a:lnTo>
                    <a:pt x="210" y="108"/>
                  </a:lnTo>
                  <a:lnTo>
                    <a:pt x="210" y="112"/>
                  </a:lnTo>
                  <a:lnTo>
                    <a:pt x="208" y="114"/>
                  </a:lnTo>
                  <a:lnTo>
                    <a:pt x="202" y="116"/>
                  </a:lnTo>
                  <a:lnTo>
                    <a:pt x="178" y="118"/>
                  </a:lnTo>
                  <a:lnTo>
                    <a:pt x="152" y="118"/>
                  </a:lnTo>
                  <a:lnTo>
                    <a:pt x="136" y="118"/>
                  </a:lnTo>
                  <a:lnTo>
                    <a:pt x="132" y="120"/>
                  </a:lnTo>
                  <a:lnTo>
                    <a:pt x="134" y="124"/>
                  </a:lnTo>
                  <a:lnTo>
                    <a:pt x="140" y="126"/>
                  </a:lnTo>
                  <a:lnTo>
                    <a:pt x="146" y="132"/>
                  </a:lnTo>
                  <a:lnTo>
                    <a:pt x="146" y="134"/>
                  </a:lnTo>
                  <a:lnTo>
                    <a:pt x="144" y="134"/>
                  </a:lnTo>
                  <a:lnTo>
                    <a:pt x="124" y="132"/>
                  </a:lnTo>
                  <a:lnTo>
                    <a:pt x="110" y="132"/>
                  </a:lnTo>
                  <a:lnTo>
                    <a:pt x="100" y="132"/>
                  </a:lnTo>
                  <a:lnTo>
                    <a:pt x="96" y="134"/>
                  </a:lnTo>
                  <a:lnTo>
                    <a:pt x="96" y="136"/>
                  </a:lnTo>
                  <a:lnTo>
                    <a:pt x="100" y="140"/>
                  </a:lnTo>
                  <a:lnTo>
                    <a:pt x="110" y="144"/>
                  </a:lnTo>
                  <a:lnTo>
                    <a:pt x="118" y="148"/>
                  </a:lnTo>
                  <a:lnTo>
                    <a:pt x="122" y="148"/>
                  </a:lnTo>
                  <a:lnTo>
                    <a:pt x="128" y="144"/>
                  </a:lnTo>
                  <a:lnTo>
                    <a:pt x="140" y="140"/>
                  </a:lnTo>
                  <a:lnTo>
                    <a:pt x="146" y="140"/>
                  </a:lnTo>
                  <a:lnTo>
                    <a:pt x="148" y="140"/>
                  </a:lnTo>
                  <a:lnTo>
                    <a:pt x="146" y="146"/>
                  </a:lnTo>
                  <a:lnTo>
                    <a:pt x="146" y="150"/>
                  </a:lnTo>
                  <a:lnTo>
                    <a:pt x="146" y="152"/>
                  </a:lnTo>
                  <a:lnTo>
                    <a:pt x="150" y="152"/>
                  </a:lnTo>
                  <a:lnTo>
                    <a:pt x="160" y="150"/>
                  </a:lnTo>
                  <a:lnTo>
                    <a:pt x="168" y="148"/>
                  </a:lnTo>
                  <a:lnTo>
                    <a:pt x="176" y="146"/>
                  </a:lnTo>
                  <a:lnTo>
                    <a:pt x="184" y="148"/>
                  </a:lnTo>
                  <a:lnTo>
                    <a:pt x="190" y="150"/>
                  </a:lnTo>
                  <a:lnTo>
                    <a:pt x="192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198" y="142"/>
                  </a:lnTo>
                  <a:lnTo>
                    <a:pt x="192" y="140"/>
                  </a:lnTo>
                  <a:lnTo>
                    <a:pt x="184" y="138"/>
                  </a:lnTo>
                  <a:lnTo>
                    <a:pt x="184" y="136"/>
                  </a:lnTo>
                  <a:lnTo>
                    <a:pt x="186" y="134"/>
                  </a:lnTo>
                  <a:lnTo>
                    <a:pt x="196" y="130"/>
                  </a:lnTo>
                  <a:lnTo>
                    <a:pt x="206" y="130"/>
                  </a:lnTo>
                  <a:lnTo>
                    <a:pt x="216" y="128"/>
                  </a:lnTo>
                  <a:lnTo>
                    <a:pt x="220" y="126"/>
                  </a:lnTo>
                  <a:lnTo>
                    <a:pt x="226" y="124"/>
                  </a:lnTo>
                  <a:lnTo>
                    <a:pt x="230" y="120"/>
                  </a:lnTo>
                  <a:lnTo>
                    <a:pt x="234" y="118"/>
                  </a:lnTo>
                  <a:lnTo>
                    <a:pt x="246" y="118"/>
                  </a:lnTo>
                  <a:lnTo>
                    <a:pt x="262" y="118"/>
                  </a:lnTo>
                  <a:lnTo>
                    <a:pt x="286" y="114"/>
                  </a:lnTo>
                  <a:lnTo>
                    <a:pt x="298" y="112"/>
                  </a:lnTo>
                  <a:lnTo>
                    <a:pt x="304" y="108"/>
                  </a:lnTo>
                  <a:lnTo>
                    <a:pt x="306" y="104"/>
                  </a:lnTo>
                  <a:lnTo>
                    <a:pt x="304" y="102"/>
                  </a:lnTo>
                  <a:lnTo>
                    <a:pt x="298" y="98"/>
                  </a:lnTo>
                  <a:lnTo>
                    <a:pt x="290" y="96"/>
                  </a:lnTo>
                  <a:lnTo>
                    <a:pt x="280" y="96"/>
                  </a:lnTo>
                  <a:lnTo>
                    <a:pt x="270" y="98"/>
                  </a:lnTo>
                  <a:lnTo>
                    <a:pt x="256" y="98"/>
                  </a:lnTo>
                  <a:lnTo>
                    <a:pt x="258" y="98"/>
                  </a:lnTo>
                  <a:lnTo>
                    <a:pt x="260" y="96"/>
                  </a:lnTo>
                  <a:lnTo>
                    <a:pt x="262" y="94"/>
                  </a:lnTo>
                  <a:lnTo>
                    <a:pt x="262" y="92"/>
                  </a:lnTo>
                  <a:lnTo>
                    <a:pt x="258" y="90"/>
                  </a:lnTo>
                  <a:lnTo>
                    <a:pt x="250" y="88"/>
                  </a:lnTo>
                  <a:lnTo>
                    <a:pt x="228" y="88"/>
                  </a:lnTo>
                  <a:lnTo>
                    <a:pt x="208" y="90"/>
                  </a:lnTo>
                  <a:lnTo>
                    <a:pt x="202" y="92"/>
                  </a:lnTo>
                  <a:lnTo>
                    <a:pt x="198" y="96"/>
                  </a:lnTo>
                  <a:lnTo>
                    <a:pt x="198" y="98"/>
                  </a:lnTo>
                  <a:lnTo>
                    <a:pt x="202" y="100"/>
                  </a:lnTo>
                  <a:close/>
                  <a:moveTo>
                    <a:pt x="272" y="70"/>
                  </a:moveTo>
                  <a:lnTo>
                    <a:pt x="272" y="70"/>
                  </a:lnTo>
                  <a:lnTo>
                    <a:pt x="276" y="66"/>
                  </a:lnTo>
                  <a:lnTo>
                    <a:pt x="278" y="64"/>
                  </a:lnTo>
                  <a:lnTo>
                    <a:pt x="276" y="62"/>
                  </a:lnTo>
                  <a:lnTo>
                    <a:pt x="274" y="60"/>
                  </a:lnTo>
                  <a:lnTo>
                    <a:pt x="268" y="60"/>
                  </a:lnTo>
                  <a:lnTo>
                    <a:pt x="262" y="60"/>
                  </a:lnTo>
                  <a:lnTo>
                    <a:pt x="256" y="62"/>
                  </a:lnTo>
                  <a:lnTo>
                    <a:pt x="250" y="66"/>
                  </a:lnTo>
                  <a:lnTo>
                    <a:pt x="246" y="72"/>
                  </a:lnTo>
                  <a:lnTo>
                    <a:pt x="244" y="76"/>
                  </a:lnTo>
                  <a:lnTo>
                    <a:pt x="244" y="78"/>
                  </a:lnTo>
                  <a:lnTo>
                    <a:pt x="248" y="78"/>
                  </a:lnTo>
                  <a:lnTo>
                    <a:pt x="258" y="74"/>
                  </a:lnTo>
                  <a:lnTo>
                    <a:pt x="272" y="70"/>
                  </a:lnTo>
                  <a:close/>
                  <a:moveTo>
                    <a:pt x="228" y="142"/>
                  </a:moveTo>
                  <a:lnTo>
                    <a:pt x="228" y="142"/>
                  </a:lnTo>
                  <a:lnTo>
                    <a:pt x="222" y="144"/>
                  </a:lnTo>
                  <a:lnTo>
                    <a:pt x="220" y="146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2" y="156"/>
                  </a:lnTo>
                  <a:lnTo>
                    <a:pt x="226" y="156"/>
                  </a:lnTo>
                  <a:lnTo>
                    <a:pt x="232" y="156"/>
                  </a:lnTo>
                  <a:lnTo>
                    <a:pt x="238" y="154"/>
                  </a:lnTo>
                  <a:lnTo>
                    <a:pt x="246" y="148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6" y="140"/>
                  </a:lnTo>
                  <a:lnTo>
                    <a:pt x="242" y="138"/>
                  </a:lnTo>
                  <a:lnTo>
                    <a:pt x="228" y="142"/>
                  </a:lnTo>
                  <a:close/>
                  <a:moveTo>
                    <a:pt x="790" y="22"/>
                  </a:moveTo>
                  <a:lnTo>
                    <a:pt x="790" y="22"/>
                  </a:lnTo>
                  <a:lnTo>
                    <a:pt x="792" y="20"/>
                  </a:lnTo>
                  <a:lnTo>
                    <a:pt x="792" y="18"/>
                  </a:lnTo>
                  <a:lnTo>
                    <a:pt x="788" y="14"/>
                  </a:lnTo>
                  <a:lnTo>
                    <a:pt x="780" y="12"/>
                  </a:lnTo>
                  <a:lnTo>
                    <a:pt x="770" y="12"/>
                  </a:lnTo>
                  <a:lnTo>
                    <a:pt x="748" y="12"/>
                  </a:lnTo>
                  <a:lnTo>
                    <a:pt x="736" y="14"/>
                  </a:lnTo>
                  <a:lnTo>
                    <a:pt x="728" y="18"/>
                  </a:lnTo>
                  <a:lnTo>
                    <a:pt x="726" y="18"/>
                  </a:lnTo>
                  <a:lnTo>
                    <a:pt x="726" y="20"/>
                  </a:lnTo>
                  <a:lnTo>
                    <a:pt x="730" y="22"/>
                  </a:lnTo>
                  <a:lnTo>
                    <a:pt x="750" y="26"/>
                  </a:lnTo>
                  <a:lnTo>
                    <a:pt x="774" y="26"/>
                  </a:lnTo>
                  <a:lnTo>
                    <a:pt x="784" y="26"/>
                  </a:lnTo>
                  <a:lnTo>
                    <a:pt x="790" y="22"/>
                  </a:lnTo>
                  <a:close/>
                  <a:moveTo>
                    <a:pt x="596" y="154"/>
                  </a:moveTo>
                  <a:lnTo>
                    <a:pt x="596" y="154"/>
                  </a:lnTo>
                  <a:lnTo>
                    <a:pt x="588" y="158"/>
                  </a:lnTo>
                  <a:lnTo>
                    <a:pt x="586" y="160"/>
                  </a:lnTo>
                  <a:lnTo>
                    <a:pt x="588" y="162"/>
                  </a:lnTo>
                  <a:lnTo>
                    <a:pt x="592" y="164"/>
                  </a:lnTo>
                  <a:lnTo>
                    <a:pt x="608" y="164"/>
                  </a:lnTo>
                  <a:lnTo>
                    <a:pt x="628" y="164"/>
                  </a:lnTo>
                  <a:lnTo>
                    <a:pt x="634" y="162"/>
                  </a:lnTo>
                  <a:lnTo>
                    <a:pt x="638" y="160"/>
                  </a:lnTo>
                  <a:lnTo>
                    <a:pt x="636" y="158"/>
                  </a:lnTo>
                  <a:lnTo>
                    <a:pt x="632" y="156"/>
                  </a:lnTo>
                  <a:lnTo>
                    <a:pt x="618" y="152"/>
                  </a:lnTo>
                  <a:lnTo>
                    <a:pt x="610" y="152"/>
                  </a:lnTo>
                  <a:lnTo>
                    <a:pt x="600" y="154"/>
                  </a:lnTo>
                  <a:lnTo>
                    <a:pt x="596" y="154"/>
                  </a:lnTo>
                  <a:close/>
                  <a:moveTo>
                    <a:pt x="482" y="98"/>
                  </a:moveTo>
                  <a:lnTo>
                    <a:pt x="482" y="98"/>
                  </a:lnTo>
                  <a:lnTo>
                    <a:pt x="460" y="100"/>
                  </a:lnTo>
                  <a:lnTo>
                    <a:pt x="458" y="102"/>
                  </a:lnTo>
                  <a:lnTo>
                    <a:pt x="462" y="106"/>
                  </a:lnTo>
                  <a:lnTo>
                    <a:pt x="470" y="108"/>
                  </a:lnTo>
                  <a:lnTo>
                    <a:pt x="482" y="108"/>
                  </a:lnTo>
                  <a:lnTo>
                    <a:pt x="510" y="106"/>
                  </a:lnTo>
                  <a:lnTo>
                    <a:pt x="514" y="106"/>
                  </a:lnTo>
                  <a:lnTo>
                    <a:pt x="516" y="104"/>
                  </a:lnTo>
                  <a:lnTo>
                    <a:pt x="508" y="100"/>
                  </a:lnTo>
                  <a:lnTo>
                    <a:pt x="496" y="98"/>
                  </a:lnTo>
                  <a:lnTo>
                    <a:pt x="482" y="98"/>
                  </a:lnTo>
                  <a:close/>
                  <a:moveTo>
                    <a:pt x="796" y="100"/>
                  </a:moveTo>
                  <a:lnTo>
                    <a:pt x="796" y="100"/>
                  </a:lnTo>
                  <a:lnTo>
                    <a:pt x="822" y="96"/>
                  </a:lnTo>
                  <a:lnTo>
                    <a:pt x="842" y="92"/>
                  </a:lnTo>
                  <a:lnTo>
                    <a:pt x="848" y="90"/>
                  </a:lnTo>
                  <a:lnTo>
                    <a:pt x="854" y="88"/>
                  </a:lnTo>
                  <a:lnTo>
                    <a:pt x="856" y="84"/>
                  </a:lnTo>
                  <a:lnTo>
                    <a:pt x="858" y="78"/>
                  </a:lnTo>
                  <a:lnTo>
                    <a:pt x="856" y="70"/>
                  </a:lnTo>
                  <a:lnTo>
                    <a:pt x="852" y="66"/>
                  </a:lnTo>
                  <a:lnTo>
                    <a:pt x="844" y="62"/>
                  </a:lnTo>
                  <a:lnTo>
                    <a:pt x="836" y="60"/>
                  </a:lnTo>
                  <a:lnTo>
                    <a:pt x="828" y="60"/>
                  </a:lnTo>
                  <a:lnTo>
                    <a:pt x="820" y="60"/>
                  </a:lnTo>
                  <a:lnTo>
                    <a:pt x="812" y="62"/>
                  </a:lnTo>
                  <a:lnTo>
                    <a:pt x="806" y="66"/>
                  </a:lnTo>
                  <a:lnTo>
                    <a:pt x="800" y="70"/>
                  </a:lnTo>
                  <a:lnTo>
                    <a:pt x="796" y="72"/>
                  </a:lnTo>
                  <a:lnTo>
                    <a:pt x="784" y="74"/>
                  </a:lnTo>
                  <a:lnTo>
                    <a:pt x="768" y="76"/>
                  </a:lnTo>
                  <a:lnTo>
                    <a:pt x="758" y="80"/>
                  </a:lnTo>
                  <a:lnTo>
                    <a:pt x="748" y="86"/>
                  </a:lnTo>
                  <a:lnTo>
                    <a:pt x="742" y="90"/>
                  </a:lnTo>
                  <a:lnTo>
                    <a:pt x="740" y="94"/>
                  </a:lnTo>
                  <a:lnTo>
                    <a:pt x="742" y="98"/>
                  </a:lnTo>
                  <a:lnTo>
                    <a:pt x="748" y="100"/>
                  </a:lnTo>
                  <a:lnTo>
                    <a:pt x="758" y="102"/>
                  </a:lnTo>
                  <a:lnTo>
                    <a:pt x="768" y="102"/>
                  </a:lnTo>
                  <a:lnTo>
                    <a:pt x="796" y="100"/>
                  </a:lnTo>
                  <a:close/>
                  <a:moveTo>
                    <a:pt x="506" y="132"/>
                  </a:moveTo>
                  <a:lnTo>
                    <a:pt x="506" y="132"/>
                  </a:lnTo>
                  <a:lnTo>
                    <a:pt x="494" y="134"/>
                  </a:lnTo>
                  <a:lnTo>
                    <a:pt x="482" y="132"/>
                  </a:lnTo>
                  <a:lnTo>
                    <a:pt x="476" y="134"/>
                  </a:lnTo>
                  <a:lnTo>
                    <a:pt x="472" y="136"/>
                  </a:lnTo>
                  <a:lnTo>
                    <a:pt x="468" y="140"/>
                  </a:lnTo>
                  <a:lnTo>
                    <a:pt x="466" y="148"/>
                  </a:lnTo>
                  <a:lnTo>
                    <a:pt x="466" y="154"/>
                  </a:lnTo>
                  <a:lnTo>
                    <a:pt x="468" y="156"/>
                  </a:lnTo>
                  <a:lnTo>
                    <a:pt x="472" y="158"/>
                  </a:lnTo>
                  <a:lnTo>
                    <a:pt x="478" y="158"/>
                  </a:lnTo>
                  <a:lnTo>
                    <a:pt x="494" y="158"/>
                  </a:lnTo>
                  <a:lnTo>
                    <a:pt x="512" y="158"/>
                  </a:lnTo>
                  <a:lnTo>
                    <a:pt x="520" y="156"/>
                  </a:lnTo>
                  <a:lnTo>
                    <a:pt x="524" y="154"/>
                  </a:lnTo>
                  <a:lnTo>
                    <a:pt x="526" y="150"/>
                  </a:lnTo>
                  <a:lnTo>
                    <a:pt x="524" y="144"/>
                  </a:lnTo>
                  <a:lnTo>
                    <a:pt x="522" y="138"/>
                  </a:lnTo>
                  <a:lnTo>
                    <a:pt x="516" y="134"/>
                  </a:lnTo>
                  <a:lnTo>
                    <a:pt x="512" y="132"/>
                  </a:lnTo>
                  <a:lnTo>
                    <a:pt x="506" y="132"/>
                  </a:lnTo>
                  <a:close/>
                  <a:moveTo>
                    <a:pt x="456" y="58"/>
                  </a:moveTo>
                  <a:lnTo>
                    <a:pt x="456" y="58"/>
                  </a:lnTo>
                  <a:lnTo>
                    <a:pt x="460" y="58"/>
                  </a:lnTo>
                  <a:lnTo>
                    <a:pt x="464" y="58"/>
                  </a:lnTo>
                  <a:lnTo>
                    <a:pt x="470" y="58"/>
                  </a:lnTo>
                  <a:lnTo>
                    <a:pt x="480" y="58"/>
                  </a:lnTo>
                  <a:lnTo>
                    <a:pt x="486" y="58"/>
                  </a:lnTo>
                  <a:lnTo>
                    <a:pt x="492" y="62"/>
                  </a:lnTo>
                  <a:lnTo>
                    <a:pt x="496" y="64"/>
                  </a:lnTo>
                  <a:lnTo>
                    <a:pt x="500" y="64"/>
                  </a:lnTo>
                  <a:lnTo>
                    <a:pt x="508" y="60"/>
                  </a:lnTo>
                  <a:lnTo>
                    <a:pt x="524" y="56"/>
                  </a:lnTo>
                  <a:lnTo>
                    <a:pt x="548" y="52"/>
                  </a:lnTo>
                  <a:lnTo>
                    <a:pt x="552" y="52"/>
                  </a:lnTo>
                  <a:lnTo>
                    <a:pt x="550" y="50"/>
                  </a:lnTo>
                  <a:lnTo>
                    <a:pt x="540" y="48"/>
                  </a:lnTo>
                  <a:lnTo>
                    <a:pt x="498" y="44"/>
                  </a:lnTo>
                  <a:lnTo>
                    <a:pt x="492" y="44"/>
                  </a:lnTo>
                  <a:lnTo>
                    <a:pt x="488" y="44"/>
                  </a:lnTo>
                  <a:lnTo>
                    <a:pt x="488" y="46"/>
                  </a:lnTo>
                  <a:lnTo>
                    <a:pt x="490" y="48"/>
                  </a:lnTo>
                  <a:lnTo>
                    <a:pt x="494" y="52"/>
                  </a:lnTo>
                  <a:lnTo>
                    <a:pt x="492" y="54"/>
                  </a:lnTo>
                  <a:lnTo>
                    <a:pt x="488" y="54"/>
                  </a:lnTo>
                  <a:lnTo>
                    <a:pt x="462" y="52"/>
                  </a:lnTo>
                  <a:lnTo>
                    <a:pt x="454" y="54"/>
                  </a:lnTo>
                  <a:lnTo>
                    <a:pt x="454" y="56"/>
                  </a:lnTo>
                  <a:lnTo>
                    <a:pt x="456" y="58"/>
                  </a:lnTo>
                  <a:close/>
                  <a:moveTo>
                    <a:pt x="678" y="84"/>
                  </a:moveTo>
                  <a:lnTo>
                    <a:pt x="678" y="84"/>
                  </a:lnTo>
                  <a:lnTo>
                    <a:pt x="688" y="82"/>
                  </a:lnTo>
                  <a:lnTo>
                    <a:pt x="696" y="78"/>
                  </a:lnTo>
                  <a:lnTo>
                    <a:pt x="704" y="74"/>
                  </a:lnTo>
                  <a:lnTo>
                    <a:pt x="710" y="70"/>
                  </a:lnTo>
                  <a:lnTo>
                    <a:pt x="710" y="68"/>
                  </a:lnTo>
                  <a:lnTo>
                    <a:pt x="710" y="66"/>
                  </a:lnTo>
                  <a:lnTo>
                    <a:pt x="704" y="64"/>
                  </a:lnTo>
                  <a:lnTo>
                    <a:pt x="692" y="64"/>
                  </a:lnTo>
                  <a:lnTo>
                    <a:pt x="670" y="68"/>
                  </a:lnTo>
                  <a:lnTo>
                    <a:pt x="654" y="72"/>
                  </a:lnTo>
                  <a:lnTo>
                    <a:pt x="646" y="76"/>
                  </a:lnTo>
                  <a:lnTo>
                    <a:pt x="644" y="80"/>
                  </a:lnTo>
                  <a:lnTo>
                    <a:pt x="646" y="82"/>
                  </a:lnTo>
                  <a:lnTo>
                    <a:pt x="658" y="84"/>
                  </a:lnTo>
                  <a:lnTo>
                    <a:pt x="678" y="84"/>
                  </a:lnTo>
                  <a:close/>
                  <a:moveTo>
                    <a:pt x="568" y="44"/>
                  </a:moveTo>
                  <a:lnTo>
                    <a:pt x="568" y="44"/>
                  </a:lnTo>
                  <a:lnTo>
                    <a:pt x="580" y="44"/>
                  </a:lnTo>
                  <a:lnTo>
                    <a:pt x="582" y="44"/>
                  </a:lnTo>
                  <a:lnTo>
                    <a:pt x="580" y="42"/>
                  </a:lnTo>
                  <a:lnTo>
                    <a:pt x="570" y="38"/>
                  </a:lnTo>
                  <a:lnTo>
                    <a:pt x="556" y="34"/>
                  </a:lnTo>
                  <a:lnTo>
                    <a:pt x="544" y="30"/>
                  </a:lnTo>
                  <a:lnTo>
                    <a:pt x="536" y="28"/>
                  </a:lnTo>
                  <a:lnTo>
                    <a:pt x="528" y="30"/>
                  </a:lnTo>
                  <a:lnTo>
                    <a:pt x="518" y="34"/>
                  </a:lnTo>
                  <a:lnTo>
                    <a:pt x="510" y="38"/>
                  </a:lnTo>
                  <a:lnTo>
                    <a:pt x="508" y="40"/>
                  </a:lnTo>
                  <a:lnTo>
                    <a:pt x="510" y="40"/>
                  </a:lnTo>
                  <a:lnTo>
                    <a:pt x="520" y="40"/>
                  </a:lnTo>
                  <a:lnTo>
                    <a:pt x="542" y="42"/>
                  </a:lnTo>
                  <a:lnTo>
                    <a:pt x="568" y="44"/>
                  </a:lnTo>
                  <a:close/>
                  <a:moveTo>
                    <a:pt x="672" y="122"/>
                  </a:moveTo>
                  <a:lnTo>
                    <a:pt x="672" y="122"/>
                  </a:lnTo>
                  <a:lnTo>
                    <a:pt x="682" y="124"/>
                  </a:lnTo>
                  <a:lnTo>
                    <a:pt x="690" y="124"/>
                  </a:lnTo>
                  <a:lnTo>
                    <a:pt x="694" y="124"/>
                  </a:lnTo>
                  <a:lnTo>
                    <a:pt x="698" y="120"/>
                  </a:lnTo>
                  <a:lnTo>
                    <a:pt x="706" y="116"/>
                  </a:lnTo>
                  <a:lnTo>
                    <a:pt x="710" y="112"/>
                  </a:lnTo>
                  <a:lnTo>
                    <a:pt x="718" y="112"/>
                  </a:lnTo>
                  <a:lnTo>
                    <a:pt x="724" y="110"/>
                  </a:lnTo>
                  <a:lnTo>
                    <a:pt x="728" y="106"/>
                  </a:lnTo>
                  <a:lnTo>
                    <a:pt x="730" y="100"/>
                  </a:lnTo>
                  <a:lnTo>
                    <a:pt x="728" y="94"/>
                  </a:lnTo>
                  <a:lnTo>
                    <a:pt x="724" y="88"/>
                  </a:lnTo>
                  <a:lnTo>
                    <a:pt x="716" y="84"/>
                  </a:lnTo>
                  <a:lnTo>
                    <a:pt x="704" y="84"/>
                  </a:lnTo>
                  <a:lnTo>
                    <a:pt x="688" y="88"/>
                  </a:lnTo>
                  <a:lnTo>
                    <a:pt x="670" y="94"/>
                  </a:lnTo>
                  <a:lnTo>
                    <a:pt x="656" y="94"/>
                  </a:lnTo>
                  <a:lnTo>
                    <a:pt x="644" y="92"/>
                  </a:lnTo>
                  <a:lnTo>
                    <a:pt x="634" y="90"/>
                  </a:lnTo>
                  <a:lnTo>
                    <a:pt x="626" y="90"/>
                  </a:lnTo>
                  <a:lnTo>
                    <a:pt x="620" y="90"/>
                  </a:lnTo>
                  <a:lnTo>
                    <a:pt x="614" y="94"/>
                  </a:lnTo>
                  <a:lnTo>
                    <a:pt x="608" y="104"/>
                  </a:lnTo>
                  <a:lnTo>
                    <a:pt x="606" y="116"/>
                  </a:lnTo>
                  <a:lnTo>
                    <a:pt x="606" y="118"/>
                  </a:lnTo>
                  <a:lnTo>
                    <a:pt x="608" y="122"/>
                  </a:lnTo>
                  <a:lnTo>
                    <a:pt x="614" y="124"/>
                  </a:lnTo>
                  <a:lnTo>
                    <a:pt x="622" y="124"/>
                  </a:lnTo>
                  <a:lnTo>
                    <a:pt x="646" y="120"/>
                  </a:lnTo>
                  <a:lnTo>
                    <a:pt x="660" y="120"/>
                  </a:lnTo>
                  <a:lnTo>
                    <a:pt x="672" y="122"/>
                  </a:lnTo>
                  <a:close/>
                  <a:moveTo>
                    <a:pt x="4428" y="2314"/>
                  </a:moveTo>
                  <a:lnTo>
                    <a:pt x="4428" y="2314"/>
                  </a:lnTo>
                  <a:lnTo>
                    <a:pt x="4426" y="2314"/>
                  </a:lnTo>
                  <a:lnTo>
                    <a:pt x="4428" y="2314"/>
                  </a:lnTo>
                  <a:lnTo>
                    <a:pt x="4432" y="2310"/>
                  </a:lnTo>
                  <a:lnTo>
                    <a:pt x="4436" y="2306"/>
                  </a:lnTo>
                  <a:lnTo>
                    <a:pt x="4436" y="2302"/>
                  </a:lnTo>
                  <a:lnTo>
                    <a:pt x="4432" y="2304"/>
                  </a:lnTo>
                  <a:lnTo>
                    <a:pt x="4428" y="2314"/>
                  </a:lnTo>
                  <a:close/>
                  <a:moveTo>
                    <a:pt x="4510" y="2192"/>
                  </a:moveTo>
                  <a:lnTo>
                    <a:pt x="4510" y="2192"/>
                  </a:lnTo>
                  <a:lnTo>
                    <a:pt x="4508" y="2194"/>
                  </a:lnTo>
                  <a:lnTo>
                    <a:pt x="4506" y="2196"/>
                  </a:lnTo>
                  <a:lnTo>
                    <a:pt x="4502" y="2202"/>
                  </a:lnTo>
                  <a:lnTo>
                    <a:pt x="4498" y="2210"/>
                  </a:lnTo>
                  <a:lnTo>
                    <a:pt x="4496" y="2214"/>
                  </a:lnTo>
                  <a:lnTo>
                    <a:pt x="4492" y="2216"/>
                  </a:lnTo>
                  <a:lnTo>
                    <a:pt x="4482" y="2220"/>
                  </a:lnTo>
                  <a:lnTo>
                    <a:pt x="4476" y="2224"/>
                  </a:lnTo>
                  <a:lnTo>
                    <a:pt x="4476" y="2226"/>
                  </a:lnTo>
                  <a:lnTo>
                    <a:pt x="4474" y="2228"/>
                  </a:lnTo>
                  <a:lnTo>
                    <a:pt x="4478" y="2236"/>
                  </a:lnTo>
                  <a:lnTo>
                    <a:pt x="4480" y="2238"/>
                  </a:lnTo>
                  <a:lnTo>
                    <a:pt x="4482" y="2238"/>
                  </a:lnTo>
                  <a:lnTo>
                    <a:pt x="4484" y="2236"/>
                  </a:lnTo>
                  <a:lnTo>
                    <a:pt x="4490" y="2230"/>
                  </a:lnTo>
                  <a:lnTo>
                    <a:pt x="4494" y="2228"/>
                  </a:lnTo>
                  <a:lnTo>
                    <a:pt x="4498" y="2226"/>
                  </a:lnTo>
                  <a:lnTo>
                    <a:pt x="4504" y="2224"/>
                  </a:lnTo>
                  <a:lnTo>
                    <a:pt x="4508" y="2220"/>
                  </a:lnTo>
                  <a:lnTo>
                    <a:pt x="4510" y="2214"/>
                  </a:lnTo>
                  <a:lnTo>
                    <a:pt x="4512" y="2208"/>
                  </a:lnTo>
                  <a:lnTo>
                    <a:pt x="4512" y="2198"/>
                  </a:lnTo>
                  <a:lnTo>
                    <a:pt x="4512" y="2194"/>
                  </a:lnTo>
                  <a:lnTo>
                    <a:pt x="4510" y="2192"/>
                  </a:lnTo>
                  <a:close/>
                  <a:moveTo>
                    <a:pt x="4462" y="2262"/>
                  </a:moveTo>
                  <a:lnTo>
                    <a:pt x="4462" y="2262"/>
                  </a:lnTo>
                  <a:lnTo>
                    <a:pt x="4460" y="2260"/>
                  </a:lnTo>
                  <a:lnTo>
                    <a:pt x="4456" y="2262"/>
                  </a:lnTo>
                  <a:lnTo>
                    <a:pt x="4452" y="2272"/>
                  </a:lnTo>
                  <a:lnTo>
                    <a:pt x="4448" y="2284"/>
                  </a:lnTo>
                  <a:lnTo>
                    <a:pt x="4448" y="2292"/>
                  </a:lnTo>
                  <a:lnTo>
                    <a:pt x="4448" y="2294"/>
                  </a:lnTo>
                  <a:lnTo>
                    <a:pt x="4452" y="2292"/>
                  </a:lnTo>
                  <a:lnTo>
                    <a:pt x="4458" y="2282"/>
                  </a:lnTo>
                  <a:lnTo>
                    <a:pt x="4462" y="2272"/>
                  </a:lnTo>
                  <a:lnTo>
                    <a:pt x="4462" y="2266"/>
                  </a:lnTo>
                  <a:lnTo>
                    <a:pt x="4462" y="2262"/>
                  </a:lnTo>
                  <a:close/>
                  <a:moveTo>
                    <a:pt x="4486" y="4072"/>
                  </a:moveTo>
                  <a:lnTo>
                    <a:pt x="4486" y="4072"/>
                  </a:lnTo>
                  <a:lnTo>
                    <a:pt x="4482" y="4070"/>
                  </a:lnTo>
                  <a:lnTo>
                    <a:pt x="4482" y="4068"/>
                  </a:lnTo>
                  <a:lnTo>
                    <a:pt x="4480" y="4066"/>
                  </a:lnTo>
                  <a:lnTo>
                    <a:pt x="4478" y="4064"/>
                  </a:lnTo>
                  <a:lnTo>
                    <a:pt x="4474" y="4064"/>
                  </a:lnTo>
                  <a:lnTo>
                    <a:pt x="4470" y="4064"/>
                  </a:lnTo>
                  <a:lnTo>
                    <a:pt x="4460" y="4068"/>
                  </a:lnTo>
                  <a:lnTo>
                    <a:pt x="4450" y="4076"/>
                  </a:lnTo>
                  <a:lnTo>
                    <a:pt x="4448" y="4080"/>
                  </a:lnTo>
                  <a:lnTo>
                    <a:pt x="4448" y="4084"/>
                  </a:lnTo>
                  <a:lnTo>
                    <a:pt x="4446" y="4088"/>
                  </a:lnTo>
                  <a:lnTo>
                    <a:pt x="4442" y="4094"/>
                  </a:lnTo>
                  <a:lnTo>
                    <a:pt x="4440" y="4100"/>
                  </a:lnTo>
                  <a:lnTo>
                    <a:pt x="4438" y="4104"/>
                  </a:lnTo>
                  <a:lnTo>
                    <a:pt x="4440" y="4106"/>
                  </a:lnTo>
                  <a:lnTo>
                    <a:pt x="4442" y="4104"/>
                  </a:lnTo>
                  <a:lnTo>
                    <a:pt x="4448" y="4104"/>
                  </a:lnTo>
                  <a:lnTo>
                    <a:pt x="4458" y="4106"/>
                  </a:lnTo>
                  <a:lnTo>
                    <a:pt x="4462" y="4106"/>
                  </a:lnTo>
                  <a:lnTo>
                    <a:pt x="4466" y="4106"/>
                  </a:lnTo>
                  <a:lnTo>
                    <a:pt x="4470" y="4102"/>
                  </a:lnTo>
                  <a:lnTo>
                    <a:pt x="4474" y="4098"/>
                  </a:lnTo>
                  <a:lnTo>
                    <a:pt x="4478" y="4094"/>
                  </a:lnTo>
                  <a:lnTo>
                    <a:pt x="4480" y="4092"/>
                  </a:lnTo>
                  <a:lnTo>
                    <a:pt x="4482" y="4090"/>
                  </a:lnTo>
                  <a:lnTo>
                    <a:pt x="4484" y="4082"/>
                  </a:lnTo>
                  <a:lnTo>
                    <a:pt x="4488" y="4074"/>
                  </a:lnTo>
                  <a:lnTo>
                    <a:pt x="4488" y="4072"/>
                  </a:lnTo>
                  <a:lnTo>
                    <a:pt x="4486" y="4072"/>
                  </a:lnTo>
                  <a:close/>
                  <a:moveTo>
                    <a:pt x="2916" y="5240"/>
                  </a:moveTo>
                  <a:lnTo>
                    <a:pt x="2916" y="5240"/>
                  </a:lnTo>
                  <a:lnTo>
                    <a:pt x="2912" y="5240"/>
                  </a:lnTo>
                  <a:lnTo>
                    <a:pt x="2908" y="5240"/>
                  </a:lnTo>
                  <a:lnTo>
                    <a:pt x="2902" y="5244"/>
                  </a:lnTo>
                  <a:lnTo>
                    <a:pt x="2898" y="5248"/>
                  </a:lnTo>
                  <a:lnTo>
                    <a:pt x="2896" y="5252"/>
                  </a:lnTo>
                  <a:lnTo>
                    <a:pt x="2896" y="5260"/>
                  </a:lnTo>
                  <a:lnTo>
                    <a:pt x="2896" y="5264"/>
                  </a:lnTo>
                  <a:lnTo>
                    <a:pt x="2894" y="5266"/>
                  </a:lnTo>
                  <a:lnTo>
                    <a:pt x="2890" y="5266"/>
                  </a:lnTo>
                  <a:lnTo>
                    <a:pt x="2888" y="5270"/>
                  </a:lnTo>
                  <a:lnTo>
                    <a:pt x="2892" y="5272"/>
                  </a:lnTo>
                  <a:lnTo>
                    <a:pt x="2904" y="5274"/>
                  </a:lnTo>
                  <a:lnTo>
                    <a:pt x="2914" y="5274"/>
                  </a:lnTo>
                  <a:lnTo>
                    <a:pt x="2916" y="5272"/>
                  </a:lnTo>
                  <a:lnTo>
                    <a:pt x="2918" y="5272"/>
                  </a:lnTo>
                  <a:lnTo>
                    <a:pt x="2918" y="5266"/>
                  </a:lnTo>
                  <a:lnTo>
                    <a:pt x="2920" y="5258"/>
                  </a:lnTo>
                  <a:lnTo>
                    <a:pt x="2924" y="5250"/>
                  </a:lnTo>
                  <a:lnTo>
                    <a:pt x="2924" y="5246"/>
                  </a:lnTo>
                  <a:lnTo>
                    <a:pt x="2922" y="5242"/>
                  </a:lnTo>
                  <a:lnTo>
                    <a:pt x="2916" y="5240"/>
                  </a:lnTo>
                  <a:close/>
                  <a:moveTo>
                    <a:pt x="2868" y="5234"/>
                  </a:moveTo>
                  <a:lnTo>
                    <a:pt x="2868" y="5234"/>
                  </a:lnTo>
                  <a:lnTo>
                    <a:pt x="2866" y="5232"/>
                  </a:lnTo>
                  <a:lnTo>
                    <a:pt x="2864" y="5232"/>
                  </a:lnTo>
                  <a:lnTo>
                    <a:pt x="2860" y="5234"/>
                  </a:lnTo>
                  <a:lnTo>
                    <a:pt x="2854" y="5238"/>
                  </a:lnTo>
                  <a:lnTo>
                    <a:pt x="2850" y="5238"/>
                  </a:lnTo>
                  <a:lnTo>
                    <a:pt x="2844" y="5236"/>
                  </a:lnTo>
                  <a:lnTo>
                    <a:pt x="2838" y="5234"/>
                  </a:lnTo>
                  <a:lnTo>
                    <a:pt x="2836" y="5234"/>
                  </a:lnTo>
                  <a:lnTo>
                    <a:pt x="2834" y="5236"/>
                  </a:lnTo>
                  <a:lnTo>
                    <a:pt x="2834" y="5240"/>
                  </a:lnTo>
                  <a:lnTo>
                    <a:pt x="2836" y="5246"/>
                  </a:lnTo>
                  <a:lnTo>
                    <a:pt x="2840" y="5248"/>
                  </a:lnTo>
                  <a:lnTo>
                    <a:pt x="2844" y="5250"/>
                  </a:lnTo>
                  <a:lnTo>
                    <a:pt x="2850" y="5252"/>
                  </a:lnTo>
                  <a:lnTo>
                    <a:pt x="2856" y="5256"/>
                  </a:lnTo>
                  <a:lnTo>
                    <a:pt x="2860" y="5262"/>
                  </a:lnTo>
                  <a:lnTo>
                    <a:pt x="2860" y="5266"/>
                  </a:lnTo>
                  <a:lnTo>
                    <a:pt x="2860" y="5270"/>
                  </a:lnTo>
                  <a:lnTo>
                    <a:pt x="2862" y="5270"/>
                  </a:lnTo>
                  <a:lnTo>
                    <a:pt x="2866" y="5270"/>
                  </a:lnTo>
                  <a:lnTo>
                    <a:pt x="2868" y="5266"/>
                  </a:lnTo>
                  <a:lnTo>
                    <a:pt x="2870" y="5260"/>
                  </a:lnTo>
                  <a:lnTo>
                    <a:pt x="2876" y="5254"/>
                  </a:lnTo>
                  <a:lnTo>
                    <a:pt x="2882" y="5250"/>
                  </a:lnTo>
                  <a:lnTo>
                    <a:pt x="2882" y="5246"/>
                  </a:lnTo>
                  <a:lnTo>
                    <a:pt x="2882" y="5244"/>
                  </a:lnTo>
                  <a:lnTo>
                    <a:pt x="2876" y="5240"/>
                  </a:lnTo>
                  <a:lnTo>
                    <a:pt x="2868" y="5234"/>
                  </a:lnTo>
                  <a:close/>
                  <a:moveTo>
                    <a:pt x="2906" y="5026"/>
                  </a:moveTo>
                  <a:lnTo>
                    <a:pt x="2906" y="5026"/>
                  </a:lnTo>
                  <a:lnTo>
                    <a:pt x="2906" y="5016"/>
                  </a:lnTo>
                  <a:lnTo>
                    <a:pt x="2906" y="5006"/>
                  </a:lnTo>
                  <a:lnTo>
                    <a:pt x="2904" y="5000"/>
                  </a:lnTo>
                  <a:lnTo>
                    <a:pt x="2902" y="5000"/>
                  </a:lnTo>
                  <a:lnTo>
                    <a:pt x="2900" y="5002"/>
                  </a:lnTo>
                  <a:lnTo>
                    <a:pt x="2898" y="5010"/>
                  </a:lnTo>
                  <a:lnTo>
                    <a:pt x="2898" y="5018"/>
                  </a:lnTo>
                  <a:lnTo>
                    <a:pt x="2898" y="5026"/>
                  </a:lnTo>
                  <a:lnTo>
                    <a:pt x="2896" y="5036"/>
                  </a:lnTo>
                  <a:lnTo>
                    <a:pt x="2896" y="5038"/>
                  </a:lnTo>
                  <a:lnTo>
                    <a:pt x="2898" y="5038"/>
                  </a:lnTo>
                  <a:lnTo>
                    <a:pt x="2902" y="5034"/>
                  </a:lnTo>
                  <a:lnTo>
                    <a:pt x="2906" y="5026"/>
                  </a:lnTo>
                  <a:close/>
                  <a:moveTo>
                    <a:pt x="3284" y="4314"/>
                  </a:moveTo>
                  <a:lnTo>
                    <a:pt x="3284" y="4314"/>
                  </a:lnTo>
                  <a:lnTo>
                    <a:pt x="3286" y="4316"/>
                  </a:lnTo>
                  <a:lnTo>
                    <a:pt x="3288" y="4318"/>
                  </a:lnTo>
                  <a:lnTo>
                    <a:pt x="3290" y="4318"/>
                  </a:lnTo>
                  <a:lnTo>
                    <a:pt x="3290" y="4316"/>
                  </a:lnTo>
                  <a:lnTo>
                    <a:pt x="3290" y="4314"/>
                  </a:lnTo>
                  <a:lnTo>
                    <a:pt x="3288" y="4312"/>
                  </a:lnTo>
                  <a:lnTo>
                    <a:pt x="3284" y="4314"/>
                  </a:lnTo>
                  <a:close/>
                  <a:moveTo>
                    <a:pt x="3284" y="4332"/>
                  </a:moveTo>
                  <a:lnTo>
                    <a:pt x="3284" y="4332"/>
                  </a:lnTo>
                  <a:lnTo>
                    <a:pt x="3284" y="4330"/>
                  </a:lnTo>
                  <a:lnTo>
                    <a:pt x="3282" y="4330"/>
                  </a:lnTo>
                  <a:lnTo>
                    <a:pt x="3278" y="4336"/>
                  </a:lnTo>
                  <a:lnTo>
                    <a:pt x="3278" y="4344"/>
                  </a:lnTo>
                  <a:lnTo>
                    <a:pt x="3278" y="4350"/>
                  </a:lnTo>
                  <a:lnTo>
                    <a:pt x="3282" y="4354"/>
                  </a:lnTo>
                  <a:lnTo>
                    <a:pt x="3284" y="4358"/>
                  </a:lnTo>
                  <a:lnTo>
                    <a:pt x="3286" y="4358"/>
                  </a:lnTo>
                  <a:lnTo>
                    <a:pt x="3286" y="4354"/>
                  </a:lnTo>
                  <a:lnTo>
                    <a:pt x="3284" y="4332"/>
                  </a:lnTo>
                  <a:close/>
                  <a:moveTo>
                    <a:pt x="2868" y="5178"/>
                  </a:moveTo>
                  <a:lnTo>
                    <a:pt x="2868" y="5178"/>
                  </a:lnTo>
                  <a:lnTo>
                    <a:pt x="2870" y="5178"/>
                  </a:lnTo>
                  <a:lnTo>
                    <a:pt x="2872" y="5178"/>
                  </a:lnTo>
                  <a:lnTo>
                    <a:pt x="2874" y="5178"/>
                  </a:lnTo>
                  <a:lnTo>
                    <a:pt x="2876" y="5178"/>
                  </a:lnTo>
                  <a:lnTo>
                    <a:pt x="2876" y="5176"/>
                  </a:lnTo>
                  <a:lnTo>
                    <a:pt x="2874" y="5174"/>
                  </a:lnTo>
                  <a:lnTo>
                    <a:pt x="2872" y="5172"/>
                  </a:lnTo>
                  <a:lnTo>
                    <a:pt x="2866" y="5172"/>
                  </a:lnTo>
                  <a:lnTo>
                    <a:pt x="2862" y="5174"/>
                  </a:lnTo>
                  <a:lnTo>
                    <a:pt x="2864" y="5176"/>
                  </a:lnTo>
                  <a:lnTo>
                    <a:pt x="2866" y="5178"/>
                  </a:lnTo>
                  <a:lnTo>
                    <a:pt x="2868" y="5178"/>
                  </a:lnTo>
                  <a:close/>
                  <a:moveTo>
                    <a:pt x="2798" y="5190"/>
                  </a:moveTo>
                  <a:lnTo>
                    <a:pt x="2798" y="5190"/>
                  </a:lnTo>
                  <a:lnTo>
                    <a:pt x="2804" y="5186"/>
                  </a:lnTo>
                  <a:lnTo>
                    <a:pt x="2812" y="5182"/>
                  </a:lnTo>
                  <a:lnTo>
                    <a:pt x="2818" y="5180"/>
                  </a:lnTo>
                  <a:lnTo>
                    <a:pt x="2818" y="5178"/>
                  </a:lnTo>
                  <a:lnTo>
                    <a:pt x="2818" y="5176"/>
                  </a:lnTo>
                  <a:lnTo>
                    <a:pt x="2814" y="5174"/>
                  </a:lnTo>
                  <a:lnTo>
                    <a:pt x="2810" y="5174"/>
                  </a:lnTo>
                  <a:lnTo>
                    <a:pt x="2804" y="5176"/>
                  </a:lnTo>
                  <a:lnTo>
                    <a:pt x="2794" y="5176"/>
                  </a:lnTo>
                  <a:lnTo>
                    <a:pt x="2780" y="5174"/>
                  </a:lnTo>
                  <a:lnTo>
                    <a:pt x="2770" y="5176"/>
                  </a:lnTo>
                  <a:lnTo>
                    <a:pt x="2764" y="5180"/>
                  </a:lnTo>
                  <a:lnTo>
                    <a:pt x="2764" y="5182"/>
                  </a:lnTo>
                  <a:lnTo>
                    <a:pt x="2764" y="5186"/>
                  </a:lnTo>
                  <a:lnTo>
                    <a:pt x="2768" y="5188"/>
                  </a:lnTo>
                  <a:lnTo>
                    <a:pt x="2780" y="5192"/>
                  </a:lnTo>
                  <a:lnTo>
                    <a:pt x="2790" y="5192"/>
                  </a:lnTo>
                  <a:lnTo>
                    <a:pt x="2796" y="5192"/>
                  </a:lnTo>
                  <a:lnTo>
                    <a:pt x="2798" y="5190"/>
                  </a:lnTo>
                  <a:close/>
                  <a:moveTo>
                    <a:pt x="4914" y="1916"/>
                  </a:moveTo>
                  <a:lnTo>
                    <a:pt x="4914" y="1916"/>
                  </a:lnTo>
                  <a:lnTo>
                    <a:pt x="4910" y="1920"/>
                  </a:lnTo>
                  <a:lnTo>
                    <a:pt x="4910" y="1924"/>
                  </a:lnTo>
                  <a:lnTo>
                    <a:pt x="4912" y="1928"/>
                  </a:lnTo>
                  <a:lnTo>
                    <a:pt x="4914" y="1934"/>
                  </a:lnTo>
                  <a:lnTo>
                    <a:pt x="4926" y="1944"/>
                  </a:lnTo>
                  <a:lnTo>
                    <a:pt x="4938" y="1954"/>
                  </a:lnTo>
                  <a:lnTo>
                    <a:pt x="4942" y="1958"/>
                  </a:lnTo>
                  <a:lnTo>
                    <a:pt x="4942" y="1954"/>
                  </a:lnTo>
                  <a:lnTo>
                    <a:pt x="4940" y="1946"/>
                  </a:lnTo>
                  <a:lnTo>
                    <a:pt x="4936" y="1936"/>
                  </a:lnTo>
                  <a:lnTo>
                    <a:pt x="4930" y="1926"/>
                  </a:lnTo>
                  <a:lnTo>
                    <a:pt x="4924" y="1918"/>
                  </a:lnTo>
                  <a:lnTo>
                    <a:pt x="4918" y="1914"/>
                  </a:lnTo>
                  <a:lnTo>
                    <a:pt x="4916" y="1914"/>
                  </a:lnTo>
                  <a:lnTo>
                    <a:pt x="4914" y="1916"/>
                  </a:lnTo>
                  <a:close/>
                  <a:moveTo>
                    <a:pt x="4520" y="2200"/>
                  </a:moveTo>
                  <a:lnTo>
                    <a:pt x="4520" y="2200"/>
                  </a:lnTo>
                  <a:lnTo>
                    <a:pt x="4522" y="2200"/>
                  </a:lnTo>
                  <a:lnTo>
                    <a:pt x="4524" y="2200"/>
                  </a:lnTo>
                  <a:lnTo>
                    <a:pt x="4528" y="2196"/>
                  </a:lnTo>
                  <a:lnTo>
                    <a:pt x="4528" y="2192"/>
                  </a:lnTo>
                  <a:lnTo>
                    <a:pt x="4528" y="2188"/>
                  </a:lnTo>
                  <a:lnTo>
                    <a:pt x="4524" y="2188"/>
                  </a:lnTo>
                  <a:lnTo>
                    <a:pt x="4520" y="2190"/>
                  </a:lnTo>
                  <a:lnTo>
                    <a:pt x="4518" y="2194"/>
                  </a:lnTo>
                  <a:lnTo>
                    <a:pt x="4518" y="2196"/>
                  </a:lnTo>
                  <a:lnTo>
                    <a:pt x="4520" y="2200"/>
                  </a:lnTo>
                  <a:close/>
                  <a:moveTo>
                    <a:pt x="4814" y="1702"/>
                  </a:moveTo>
                  <a:lnTo>
                    <a:pt x="4814" y="1702"/>
                  </a:lnTo>
                  <a:lnTo>
                    <a:pt x="4812" y="1704"/>
                  </a:lnTo>
                  <a:lnTo>
                    <a:pt x="4812" y="1706"/>
                  </a:lnTo>
                  <a:lnTo>
                    <a:pt x="4816" y="1706"/>
                  </a:lnTo>
                  <a:lnTo>
                    <a:pt x="4832" y="1700"/>
                  </a:lnTo>
                  <a:lnTo>
                    <a:pt x="4842" y="1696"/>
                  </a:lnTo>
                  <a:lnTo>
                    <a:pt x="4850" y="1690"/>
                  </a:lnTo>
                  <a:lnTo>
                    <a:pt x="4856" y="1684"/>
                  </a:lnTo>
                  <a:lnTo>
                    <a:pt x="4858" y="1678"/>
                  </a:lnTo>
                  <a:lnTo>
                    <a:pt x="4856" y="1674"/>
                  </a:lnTo>
                  <a:lnTo>
                    <a:pt x="4852" y="1672"/>
                  </a:lnTo>
                  <a:lnTo>
                    <a:pt x="4848" y="1672"/>
                  </a:lnTo>
                  <a:lnTo>
                    <a:pt x="4842" y="1674"/>
                  </a:lnTo>
                  <a:lnTo>
                    <a:pt x="4828" y="1686"/>
                  </a:lnTo>
                  <a:lnTo>
                    <a:pt x="4814" y="1702"/>
                  </a:lnTo>
                  <a:close/>
                  <a:moveTo>
                    <a:pt x="3278" y="4364"/>
                  </a:moveTo>
                  <a:lnTo>
                    <a:pt x="3278" y="4364"/>
                  </a:lnTo>
                  <a:lnTo>
                    <a:pt x="3276" y="4362"/>
                  </a:lnTo>
                  <a:lnTo>
                    <a:pt x="3274" y="4362"/>
                  </a:lnTo>
                  <a:lnTo>
                    <a:pt x="3278" y="4384"/>
                  </a:lnTo>
                  <a:lnTo>
                    <a:pt x="3278" y="4398"/>
                  </a:lnTo>
                  <a:lnTo>
                    <a:pt x="3278" y="4400"/>
                  </a:lnTo>
                  <a:lnTo>
                    <a:pt x="3276" y="4402"/>
                  </a:lnTo>
                  <a:lnTo>
                    <a:pt x="3272" y="4402"/>
                  </a:lnTo>
                  <a:lnTo>
                    <a:pt x="3266" y="4398"/>
                  </a:lnTo>
                  <a:lnTo>
                    <a:pt x="3264" y="4400"/>
                  </a:lnTo>
                  <a:lnTo>
                    <a:pt x="3264" y="4406"/>
                  </a:lnTo>
                  <a:lnTo>
                    <a:pt x="3262" y="4408"/>
                  </a:lnTo>
                  <a:lnTo>
                    <a:pt x="3260" y="4408"/>
                  </a:lnTo>
                  <a:lnTo>
                    <a:pt x="3256" y="4404"/>
                  </a:lnTo>
                  <a:lnTo>
                    <a:pt x="3254" y="4402"/>
                  </a:lnTo>
                  <a:lnTo>
                    <a:pt x="3252" y="4400"/>
                  </a:lnTo>
                  <a:lnTo>
                    <a:pt x="3250" y="4402"/>
                  </a:lnTo>
                  <a:lnTo>
                    <a:pt x="3248" y="4404"/>
                  </a:lnTo>
                  <a:lnTo>
                    <a:pt x="3248" y="4424"/>
                  </a:lnTo>
                  <a:lnTo>
                    <a:pt x="3248" y="4426"/>
                  </a:lnTo>
                  <a:lnTo>
                    <a:pt x="3246" y="4426"/>
                  </a:lnTo>
                  <a:lnTo>
                    <a:pt x="3240" y="4422"/>
                  </a:lnTo>
                  <a:lnTo>
                    <a:pt x="3238" y="4422"/>
                  </a:lnTo>
                  <a:lnTo>
                    <a:pt x="3234" y="4420"/>
                  </a:lnTo>
                  <a:lnTo>
                    <a:pt x="3232" y="4422"/>
                  </a:lnTo>
                  <a:lnTo>
                    <a:pt x="3230" y="4428"/>
                  </a:lnTo>
                  <a:lnTo>
                    <a:pt x="3226" y="4438"/>
                  </a:lnTo>
                  <a:lnTo>
                    <a:pt x="3224" y="4440"/>
                  </a:lnTo>
                  <a:lnTo>
                    <a:pt x="3220" y="4440"/>
                  </a:lnTo>
                  <a:lnTo>
                    <a:pt x="3214" y="4444"/>
                  </a:lnTo>
                  <a:lnTo>
                    <a:pt x="3210" y="4446"/>
                  </a:lnTo>
                  <a:lnTo>
                    <a:pt x="3212" y="4440"/>
                  </a:lnTo>
                  <a:lnTo>
                    <a:pt x="3212" y="4432"/>
                  </a:lnTo>
                  <a:lnTo>
                    <a:pt x="3210" y="4424"/>
                  </a:lnTo>
                  <a:lnTo>
                    <a:pt x="3208" y="4420"/>
                  </a:lnTo>
                  <a:lnTo>
                    <a:pt x="3204" y="4418"/>
                  </a:lnTo>
                  <a:lnTo>
                    <a:pt x="3200" y="4418"/>
                  </a:lnTo>
                  <a:lnTo>
                    <a:pt x="3198" y="4420"/>
                  </a:lnTo>
                  <a:lnTo>
                    <a:pt x="3198" y="4418"/>
                  </a:lnTo>
                  <a:lnTo>
                    <a:pt x="3196" y="4416"/>
                  </a:lnTo>
                  <a:lnTo>
                    <a:pt x="3194" y="4414"/>
                  </a:lnTo>
                  <a:lnTo>
                    <a:pt x="3192" y="4416"/>
                  </a:lnTo>
                  <a:lnTo>
                    <a:pt x="3192" y="4420"/>
                  </a:lnTo>
                  <a:lnTo>
                    <a:pt x="3190" y="4422"/>
                  </a:lnTo>
                  <a:lnTo>
                    <a:pt x="3188" y="4424"/>
                  </a:lnTo>
                  <a:lnTo>
                    <a:pt x="3186" y="4424"/>
                  </a:lnTo>
                  <a:lnTo>
                    <a:pt x="3182" y="4424"/>
                  </a:lnTo>
                  <a:lnTo>
                    <a:pt x="3178" y="4428"/>
                  </a:lnTo>
                  <a:lnTo>
                    <a:pt x="3176" y="4432"/>
                  </a:lnTo>
                  <a:lnTo>
                    <a:pt x="3178" y="4438"/>
                  </a:lnTo>
                  <a:lnTo>
                    <a:pt x="3178" y="4440"/>
                  </a:lnTo>
                  <a:lnTo>
                    <a:pt x="3174" y="4442"/>
                  </a:lnTo>
                  <a:lnTo>
                    <a:pt x="3170" y="4444"/>
                  </a:lnTo>
                  <a:lnTo>
                    <a:pt x="3166" y="4442"/>
                  </a:lnTo>
                  <a:lnTo>
                    <a:pt x="3164" y="4442"/>
                  </a:lnTo>
                  <a:lnTo>
                    <a:pt x="3162" y="4442"/>
                  </a:lnTo>
                  <a:lnTo>
                    <a:pt x="3160" y="4444"/>
                  </a:lnTo>
                  <a:lnTo>
                    <a:pt x="3156" y="4446"/>
                  </a:lnTo>
                  <a:lnTo>
                    <a:pt x="3150" y="4448"/>
                  </a:lnTo>
                  <a:lnTo>
                    <a:pt x="3146" y="4452"/>
                  </a:lnTo>
                  <a:lnTo>
                    <a:pt x="3142" y="4458"/>
                  </a:lnTo>
                  <a:lnTo>
                    <a:pt x="3140" y="4462"/>
                  </a:lnTo>
                  <a:lnTo>
                    <a:pt x="3140" y="4472"/>
                  </a:lnTo>
                  <a:lnTo>
                    <a:pt x="3138" y="4478"/>
                  </a:lnTo>
                  <a:lnTo>
                    <a:pt x="3134" y="4488"/>
                  </a:lnTo>
                  <a:lnTo>
                    <a:pt x="3132" y="4492"/>
                  </a:lnTo>
                  <a:lnTo>
                    <a:pt x="3134" y="4496"/>
                  </a:lnTo>
                  <a:lnTo>
                    <a:pt x="3136" y="4500"/>
                  </a:lnTo>
                  <a:lnTo>
                    <a:pt x="3138" y="4504"/>
                  </a:lnTo>
                  <a:lnTo>
                    <a:pt x="3140" y="4504"/>
                  </a:lnTo>
                  <a:lnTo>
                    <a:pt x="3144" y="4500"/>
                  </a:lnTo>
                  <a:lnTo>
                    <a:pt x="3148" y="4488"/>
                  </a:lnTo>
                  <a:lnTo>
                    <a:pt x="3150" y="4480"/>
                  </a:lnTo>
                  <a:lnTo>
                    <a:pt x="3152" y="4478"/>
                  </a:lnTo>
                  <a:lnTo>
                    <a:pt x="3152" y="4476"/>
                  </a:lnTo>
                  <a:lnTo>
                    <a:pt x="3154" y="4474"/>
                  </a:lnTo>
                  <a:lnTo>
                    <a:pt x="3156" y="4472"/>
                  </a:lnTo>
                  <a:lnTo>
                    <a:pt x="3156" y="4470"/>
                  </a:lnTo>
                  <a:lnTo>
                    <a:pt x="3158" y="4466"/>
                  </a:lnTo>
                  <a:lnTo>
                    <a:pt x="3160" y="4462"/>
                  </a:lnTo>
                  <a:lnTo>
                    <a:pt x="3164" y="4460"/>
                  </a:lnTo>
                  <a:lnTo>
                    <a:pt x="3168" y="4462"/>
                  </a:lnTo>
                  <a:lnTo>
                    <a:pt x="3170" y="4466"/>
                  </a:lnTo>
                  <a:lnTo>
                    <a:pt x="3168" y="4472"/>
                  </a:lnTo>
                  <a:lnTo>
                    <a:pt x="3168" y="4474"/>
                  </a:lnTo>
                  <a:lnTo>
                    <a:pt x="3172" y="4474"/>
                  </a:lnTo>
                  <a:lnTo>
                    <a:pt x="3178" y="4472"/>
                  </a:lnTo>
                  <a:lnTo>
                    <a:pt x="3182" y="4466"/>
                  </a:lnTo>
                  <a:lnTo>
                    <a:pt x="3184" y="4462"/>
                  </a:lnTo>
                  <a:lnTo>
                    <a:pt x="3184" y="4466"/>
                  </a:lnTo>
                  <a:lnTo>
                    <a:pt x="3184" y="4472"/>
                  </a:lnTo>
                  <a:lnTo>
                    <a:pt x="3184" y="4474"/>
                  </a:lnTo>
                  <a:lnTo>
                    <a:pt x="3186" y="4476"/>
                  </a:lnTo>
                  <a:lnTo>
                    <a:pt x="3192" y="4478"/>
                  </a:lnTo>
                  <a:lnTo>
                    <a:pt x="3194" y="4480"/>
                  </a:lnTo>
                  <a:lnTo>
                    <a:pt x="3194" y="4476"/>
                  </a:lnTo>
                  <a:lnTo>
                    <a:pt x="3194" y="4470"/>
                  </a:lnTo>
                  <a:lnTo>
                    <a:pt x="3196" y="4466"/>
                  </a:lnTo>
                  <a:lnTo>
                    <a:pt x="3198" y="4464"/>
                  </a:lnTo>
                  <a:lnTo>
                    <a:pt x="3196" y="4462"/>
                  </a:lnTo>
                  <a:lnTo>
                    <a:pt x="3194" y="4460"/>
                  </a:lnTo>
                  <a:lnTo>
                    <a:pt x="3196" y="4458"/>
                  </a:lnTo>
                  <a:lnTo>
                    <a:pt x="3200" y="4458"/>
                  </a:lnTo>
                  <a:lnTo>
                    <a:pt x="3206" y="4460"/>
                  </a:lnTo>
                  <a:lnTo>
                    <a:pt x="3210" y="4464"/>
                  </a:lnTo>
                  <a:lnTo>
                    <a:pt x="3216" y="4466"/>
                  </a:lnTo>
                  <a:lnTo>
                    <a:pt x="3218" y="4468"/>
                  </a:lnTo>
                  <a:lnTo>
                    <a:pt x="3222" y="4472"/>
                  </a:lnTo>
                  <a:lnTo>
                    <a:pt x="3222" y="4476"/>
                  </a:lnTo>
                  <a:lnTo>
                    <a:pt x="3224" y="4478"/>
                  </a:lnTo>
                  <a:lnTo>
                    <a:pt x="3226" y="4478"/>
                  </a:lnTo>
                  <a:lnTo>
                    <a:pt x="3226" y="4482"/>
                  </a:lnTo>
                  <a:lnTo>
                    <a:pt x="3224" y="4486"/>
                  </a:lnTo>
                  <a:lnTo>
                    <a:pt x="3220" y="4492"/>
                  </a:lnTo>
                  <a:lnTo>
                    <a:pt x="3216" y="4500"/>
                  </a:lnTo>
                  <a:lnTo>
                    <a:pt x="3216" y="4502"/>
                  </a:lnTo>
                  <a:lnTo>
                    <a:pt x="3216" y="4506"/>
                  </a:lnTo>
                  <a:lnTo>
                    <a:pt x="3218" y="4520"/>
                  </a:lnTo>
                  <a:lnTo>
                    <a:pt x="3220" y="4526"/>
                  </a:lnTo>
                  <a:lnTo>
                    <a:pt x="3222" y="4532"/>
                  </a:lnTo>
                  <a:lnTo>
                    <a:pt x="3224" y="4534"/>
                  </a:lnTo>
                  <a:lnTo>
                    <a:pt x="3224" y="4536"/>
                  </a:lnTo>
                  <a:lnTo>
                    <a:pt x="3226" y="4538"/>
                  </a:lnTo>
                  <a:lnTo>
                    <a:pt x="3234" y="4544"/>
                  </a:lnTo>
                  <a:lnTo>
                    <a:pt x="3252" y="4552"/>
                  </a:lnTo>
                  <a:lnTo>
                    <a:pt x="3256" y="4554"/>
                  </a:lnTo>
                  <a:lnTo>
                    <a:pt x="3260" y="4548"/>
                  </a:lnTo>
                  <a:lnTo>
                    <a:pt x="3264" y="4542"/>
                  </a:lnTo>
                  <a:lnTo>
                    <a:pt x="3266" y="4542"/>
                  </a:lnTo>
                  <a:lnTo>
                    <a:pt x="3268" y="4544"/>
                  </a:lnTo>
                  <a:lnTo>
                    <a:pt x="3266" y="4550"/>
                  </a:lnTo>
                  <a:lnTo>
                    <a:pt x="3266" y="4556"/>
                  </a:lnTo>
                  <a:lnTo>
                    <a:pt x="3268" y="4564"/>
                  </a:lnTo>
                  <a:lnTo>
                    <a:pt x="3270" y="4566"/>
                  </a:lnTo>
                  <a:lnTo>
                    <a:pt x="3272" y="4568"/>
                  </a:lnTo>
                  <a:lnTo>
                    <a:pt x="3274" y="4566"/>
                  </a:lnTo>
                  <a:lnTo>
                    <a:pt x="3278" y="4564"/>
                  </a:lnTo>
                  <a:lnTo>
                    <a:pt x="3282" y="4554"/>
                  </a:lnTo>
                  <a:lnTo>
                    <a:pt x="3284" y="4546"/>
                  </a:lnTo>
                  <a:lnTo>
                    <a:pt x="3286" y="4540"/>
                  </a:lnTo>
                  <a:lnTo>
                    <a:pt x="3284" y="4534"/>
                  </a:lnTo>
                  <a:lnTo>
                    <a:pt x="3280" y="4524"/>
                  </a:lnTo>
                  <a:lnTo>
                    <a:pt x="3278" y="4520"/>
                  </a:lnTo>
                  <a:lnTo>
                    <a:pt x="3276" y="4518"/>
                  </a:lnTo>
                  <a:lnTo>
                    <a:pt x="3274" y="4516"/>
                  </a:lnTo>
                  <a:lnTo>
                    <a:pt x="3274" y="4514"/>
                  </a:lnTo>
                  <a:lnTo>
                    <a:pt x="3274" y="4508"/>
                  </a:lnTo>
                  <a:lnTo>
                    <a:pt x="3276" y="4500"/>
                  </a:lnTo>
                  <a:lnTo>
                    <a:pt x="3280" y="4496"/>
                  </a:lnTo>
                  <a:lnTo>
                    <a:pt x="3284" y="4494"/>
                  </a:lnTo>
                  <a:lnTo>
                    <a:pt x="3284" y="4490"/>
                  </a:lnTo>
                  <a:lnTo>
                    <a:pt x="3284" y="4486"/>
                  </a:lnTo>
                  <a:lnTo>
                    <a:pt x="3288" y="4484"/>
                  </a:lnTo>
                  <a:lnTo>
                    <a:pt x="3290" y="4482"/>
                  </a:lnTo>
                  <a:lnTo>
                    <a:pt x="3292" y="4482"/>
                  </a:lnTo>
                  <a:lnTo>
                    <a:pt x="3292" y="4490"/>
                  </a:lnTo>
                  <a:lnTo>
                    <a:pt x="3294" y="4498"/>
                  </a:lnTo>
                  <a:lnTo>
                    <a:pt x="3296" y="4502"/>
                  </a:lnTo>
                  <a:lnTo>
                    <a:pt x="3300" y="4506"/>
                  </a:lnTo>
                  <a:lnTo>
                    <a:pt x="3302" y="4510"/>
                  </a:lnTo>
                  <a:lnTo>
                    <a:pt x="3300" y="4512"/>
                  </a:lnTo>
                  <a:lnTo>
                    <a:pt x="3300" y="4518"/>
                  </a:lnTo>
                  <a:lnTo>
                    <a:pt x="3302" y="4528"/>
                  </a:lnTo>
                  <a:lnTo>
                    <a:pt x="3304" y="4530"/>
                  </a:lnTo>
                  <a:lnTo>
                    <a:pt x="3306" y="4530"/>
                  </a:lnTo>
                  <a:lnTo>
                    <a:pt x="3306" y="4526"/>
                  </a:lnTo>
                  <a:lnTo>
                    <a:pt x="3308" y="4518"/>
                  </a:lnTo>
                  <a:lnTo>
                    <a:pt x="3306" y="4508"/>
                  </a:lnTo>
                  <a:lnTo>
                    <a:pt x="3304" y="4502"/>
                  </a:lnTo>
                  <a:lnTo>
                    <a:pt x="3308" y="4504"/>
                  </a:lnTo>
                  <a:lnTo>
                    <a:pt x="3310" y="4506"/>
                  </a:lnTo>
                  <a:lnTo>
                    <a:pt x="3312" y="4506"/>
                  </a:lnTo>
                  <a:lnTo>
                    <a:pt x="3310" y="4504"/>
                  </a:lnTo>
                  <a:lnTo>
                    <a:pt x="3310" y="4500"/>
                  </a:lnTo>
                  <a:lnTo>
                    <a:pt x="3312" y="4498"/>
                  </a:lnTo>
                  <a:lnTo>
                    <a:pt x="3316" y="4498"/>
                  </a:lnTo>
                  <a:lnTo>
                    <a:pt x="3320" y="4492"/>
                  </a:lnTo>
                  <a:lnTo>
                    <a:pt x="3322" y="4488"/>
                  </a:lnTo>
                  <a:lnTo>
                    <a:pt x="3322" y="4482"/>
                  </a:lnTo>
                  <a:lnTo>
                    <a:pt x="3320" y="4468"/>
                  </a:lnTo>
                  <a:lnTo>
                    <a:pt x="3320" y="4464"/>
                  </a:lnTo>
                  <a:lnTo>
                    <a:pt x="3318" y="4462"/>
                  </a:lnTo>
                  <a:lnTo>
                    <a:pt x="3316" y="4460"/>
                  </a:lnTo>
                  <a:lnTo>
                    <a:pt x="3314" y="4458"/>
                  </a:lnTo>
                  <a:lnTo>
                    <a:pt x="3314" y="4452"/>
                  </a:lnTo>
                  <a:lnTo>
                    <a:pt x="3316" y="4446"/>
                  </a:lnTo>
                  <a:lnTo>
                    <a:pt x="3316" y="4442"/>
                  </a:lnTo>
                  <a:lnTo>
                    <a:pt x="3314" y="4438"/>
                  </a:lnTo>
                  <a:lnTo>
                    <a:pt x="3314" y="4432"/>
                  </a:lnTo>
                  <a:lnTo>
                    <a:pt x="3314" y="4428"/>
                  </a:lnTo>
                  <a:lnTo>
                    <a:pt x="3312" y="4424"/>
                  </a:lnTo>
                  <a:lnTo>
                    <a:pt x="3310" y="4424"/>
                  </a:lnTo>
                  <a:lnTo>
                    <a:pt x="3308" y="4424"/>
                  </a:lnTo>
                  <a:lnTo>
                    <a:pt x="3304" y="4424"/>
                  </a:lnTo>
                  <a:lnTo>
                    <a:pt x="3302" y="4422"/>
                  </a:lnTo>
                  <a:lnTo>
                    <a:pt x="3302" y="4420"/>
                  </a:lnTo>
                  <a:lnTo>
                    <a:pt x="3304" y="4418"/>
                  </a:lnTo>
                  <a:lnTo>
                    <a:pt x="3308" y="4416"/>
                  </a:lnTo>
                  <a:lnTo>
                    <a:pt x="3310" y="4412"/>
                  </a:lnTo>
                  <a:lnTo>
                    <a:pt x="3312" y="4406"/>
                  </a:lnTo>
                  <a:lnTo>
                    <a:pt x="3308" y="4400"/>
                  </a:lnTo>
                  <a:lnTo>
                    <a:pt x="3306" y="4396"/>
                  </a:lnTo>
                  <a:lnTo>
                    <a:pt x="3306" y="4390"/>
                  </a:lnTo>
                  <a:lnTo>
                    <a:pt x="3306" y="4386"/>
                  </a:lnTo>
                  <a:lnTo>
                    <a:pt x="3302" y="4388"/>
                  </a:lnTo>
                  <a:lnTo>
                    <a:pt x="3300" y="4388"/>
                  </a:lnTo>
                  <a:lnTo>
                    <a:pt x="3298" y="4384"/>
                  </a:lnTo>
                  <a:lnTo>
                    <a:pt x="3296" y="4380"/>
                  </a:lnTo>
                  <a:lnTo>
                    <a:pt x="3292" y="4376"/>
                  </a:lnTo>
                  <a:lnTo>
                    <a:pt x="3288" y="4374"/>
                  </a:lnTo>
                  <a:lnTo>
                    <a:pt x="3284" y="4372"/>
                  </a:lnTo>
                  <a:lnTo>
                    <a:pt x="3282" y="4368"/>
                  </a:lnTo>
                  <a:lnTo>
                    <a:pt x="3282" y="4366"/>
                  </a:lnTo>
                  <a:lnTo>
                    <a:pt x="3278" y="4364"/>
                  </a:lnTo>
                  <a:close/>
                  <a:moveTo>
                    <a:pt x="3136" y="4268"/>
                  </a:moveTo>
                  <a:lnTo>
                    <a:pt x="3136" y="4268"/>
                  </a:lnTo>
                  <a:lnTo>
                    <a:pt x="3138" y="4270"/>
                  </a:lnTo>
                  <a:lnTo>
                    <a:pt x="3140" y="4272"/>
                  </a:lnTo>
                  <a:lnTo>
                    <a:pt x="3140" y="4278"/>
                  </a:lnTo>
                  <a:lnTo>
                    <a:pt x="3138" y="4286"/>
                  </a:lnTo>
                  <a:lnTo>
                    <a:pt x="3138" y="4296"/>
                  </a:lnTo>
                  <a:lnTo>
                    <a:pt x="3140" y="4302"/>
                  </a:lnTo>
                  <a:lnTo>
                    <a:pt x="3136" y="4306"/>
                  </a:lnTo>
                  <a:lnTo>
                    <a:pt x="3134" y="4312"/>
                  </a:lnTo>
                  <a:lnTo>
                    <a:pt x="3134" y="4324"/>
                  </a:lnTo>
                  <a:lnTo>
                    <a:pt x="3134" y="4328"/>
                  </a:lnTo>
                  <a:lnTo>
                    <a:pt x="3136" y="4330"/>
                  </a:lnTo>
                  <a:lnTo>
                    <a:pt x="3138" y="4330"/>
                  </a:lnTo>
                  <a:lnTo>
                    <a:pt x="3140" y="4328"/>
                  </a:lnTo>
                  <a:lnTo>
                    <a:pt x="3146" y="4324"/>
                  </a:lnTo>
                  <a:lnTo>
                    <a:pt x="3148" y="4320"/>
                  </a:lnTo>
                  <a:lnTo>
                    <a:pt x="3152" y="4320"/>
                  </a:lnTo>
                  <a:lnTo>
                    <a:pt x="3158" y="4318"/>
                  </a:lnTo>
                  <a:lnTo>
                    <a:pt x="3166" y="4312"/>
                  </a:lnTo>
                  <a:lnTo>
                    <a:pt x="3178" y="4298"/>
                  </a:lnTo>
                  <a:lnTo>
                    <a:pt x="3182" y="4296"/>
                  </a:lnTo>
                  <a:lnTo>
                    <a:pt x="3182" y="4292"/>
                  </a:lnTo>
                  <a:lnTo>
                    <a:pt x="3184" y="4282"/>
                  </a:lnTo>
                  <a:lnTo>
                    <a:pt x="3182" y="4276"/>
                  </a:lnTo>
                  <a:lnTo>
                    <a:pt x="3180" y="4276"/>
                  </a:lnTo>
                  <a:lnTo>
                    <a:pt x="3178" y="4276"/>
                  </a:lnTo>
                  <a:lnTo>
                    <a:pt x="3176" y="4278"/>
                  </a:lnTo>
                  <a:lnTo>
                    <a:pt x="3172" y="4276"/>
                  </a:lnTo>
                  <a:lnTo>
                    <a:pt x="3168" y="4274"/>
                  </a:lnTo>
                  <a:lnTo>
                    <a:pt x="3166" y="4274"/>
                  </a:lnTo>
                  <a:lnTo>
                    <a:pt x="3164" y="4274"/>
                  </a:lnTo>
                  <a:lnTo>
                    <a:pt x="3162" y="4276"/>
                  </a:lnTo>
                  <a:lnTo>
                    <a:pt x="3160" y="4274"/>
                  </a:lnTo>
                  <a:lnTo>
                    <a:pt x="3154" y="4270"/>
                  </a:lnTo>
                  <a:lnTo>
                    <a:pt x="3146" y="4264"/>
                  </a:lnTo>
                  <a:lnTo>
                    <a:pt x="3138" y="4258"/>
                  </a:lnTo>
                  <a:lnTo>
                    <a:pt x="3132" y="4258"/>
                  </a:lnTo>
                  <a:lnTo>
                    <a:pt x="3130" y="4260"/>
                  </a:lnTo>
                  <a:lnTo>
                    <a:pt x="3130" y="4264"/>
                  </a:lnTo>
                  <a:lnTo>
                    <a:pt x="3136" y="4268"/>
                  </a:lnTo>
                  <a:close/>
                  <a:moveTo>
                    <a:pt x="3270" y="4928"/>
                  </a:moveTo>
                  <a:lnTo>
                    <a:pt x="3270" y="4928"/>
                  </a:lnTo>
                  <a:lnTo>
                    <a:pt x="3268" y="4926"/>
                  </a:lnTo>
                  <a:lnTo>
                    <a:pt x="3264" y="4924"/>
                  </a:lnTo>
                  <a:lnTo>
                    <a:pt x="3250" y="4920"/>
                  </a:lnTo>
                  <a:lnTo>
                    <a:pt x="3244" y="4920"/>
                  </a:lnTo>
                  <a:lnTo>
                    <a:pt x="3238" y="4920"/>
                  </a:lnTo>
                  <a:lnTo>
                    <a:pt x="3232" y="4924"/>
                  </a:lnTo>
                  <a:lnTo>
                    <a:pt x="3230" y="4930"/>
                  </a:lnTo>
                  <a:lnTo>
                    <a:pt x="3232" y="4934"/>
                  </a:lnTo>
                  <a:lnTo>
                    <a:pt x="3236" y="4936"/>
                  </a:lnTo>
                  <a:lnTo>
                    <a:pt x="3242" y="4936"/>
                  </a:lnTo>
                  <a:lnTo>
                    <a:pt x="3250" y="4936"/>
                  </a:lnTo>
                  <a:lnTo>
                    <a:pt x="3264" y="4934"/>
                  </a:lnTo>
                  <a:lnTo>
                    <a:pt x="3268" y="4932"/>
                  </a:lnTo>
                  <a:lnTo>
                    <a:pt x="3270" y="4928"/>
                  </a:lnTo>
                  <a:close/>
                  <a:moveTo>
                    <a:pt x="3148" y="4520"/>
                  </a:moveTo>
                  <a:lnTo>
                    <a:pt x="3148" y="4520"/>
                  </a:lnTo>
                  <a:lnTo>
                    <a:pt x="3146" y="4516"/>
                  </a:lnTo>
                  <a:lnTo>
                    <a:pt x="3138" y="4512"/>
                  </a:lnTo>
                  <a:lnTo>
                    <a:pt x="3136" y="4512"/>
                  </a:lnTo>
                  <a:lnTo>
                    <a:pt x="3132" y="4512"/>
                  </a:lnTo>
                  <a:lnTo>
                    <a:pt x="3130" y="4516"/>
                  </a:lnTo>
                  <a:lnTo>
                    <a:pt x="3130" y="4520"/>
                  </a:lnTo>
                  <a:lnTo>
                    <a:pt x="3130" y="4524"/>
                  </a:lnTo>
                  <a:lnTo>
                    <a:pt x="3132" y="4526"/>
                  </a:lnTo>
                  <a:lnTo>
                    <a:pt x="3136" y="4528"/>
                  </a:lnTo>
                  <a:lnTo>
                    <a:pt x="3140" y="4526"/>
                  </a:lnTo>
                  <a:lnTo>
                    <a:pt x="3146" y="4524"/>
                  </a:lnTo>
                  <a:lnTo>
                    <a:pt x="3148" y="4520"/>
                  </a:lnTo>
                  <a:close/>
                  <a:moveTo>
                    <a:pt x="3204" y="4288"/>
                  </a:moveTo>
                  <a:lnTo>
                    <a:pt x="3204" y="4288"/>
                  </a:lnTo>
                  <a:lnTo>
                    <a:pt x="3204" y="4290"/>
                  </a:lnTo>
                  <a:lnTo>
                    <a:pt x="3204" y="4294"/>
                  </a:lnTo>
                  <a:lnTo>
                    <a:pt x="3206" y="4296"/>
                  </a:lnTo>
                  <a:lnTo>
                    <a:pt x="3208" y="4296"/>
                  </a:lnTo>
                  <a:lnTo>
                    <a:pt x="3208" y="4294"/>
                  </a:lnTo>
                  <a:lnTo>
                    <a:pt x="3208" y="4292"/>
                  </a:lnTo>
                  <a:lnTo>
                    <a:pt x="3206" y="4288"/>
                  </a:lnTo>
                  <a:lnTo>
                    <a:pt x="3204" y="4288"/>
                  </a:lnTo>
                  <a:close/>
                  <a:moveTo>
                    <a:pt x="3186" y="4210"/>
                  </a:moveTo>
                  <a:lnTo>
                    <a:pt x="3186" y="4210"/>
                  </a:lnTo>
                  <a:lnTo>
                    <a:pt x="3184" y="4208"/>
                  </a:lnTo>
                  <a:lnTo>
                    <a:pt x="3182" y="4204"/>
                  </a:lnTo>
                  <a:lnTo>
                    <a:pt x="3178" y="4200"/>
                  </a:lnTo>
                  <a:lnTo>
                    <a:pt x="3174" y="4198"/>
                  </a:lnTo>
                  <a:lnTo>
                    <a:pt x="3174" y="4200"/>
                  </a:lnTo>
                  <a:lnTo>
                    <a:pt x="3174" y="4202"/>
                  </a:lnTo>
                  <a:lnTo>
                    <a:pt x="3178" y="4206"/>
                  </a:lnTo>
                  <a:lnTo>
                    <a:pt x="3180" y="4212"/>
                  </a:lnTo>
                  <a:lnTo>
                    <a:pt x="3184" y="4214"/>
                  </a:lnTo>
                  <a:lnTo>
                    <a:pt x="3190" y="4220"/>
                  </a:lnTo>
                  <a:lnTo>
                    <a:pt x="3192" y="4220"/>
                  </a:lnTo>
                  <a:lnTo>
                    <a:pt x="3190" y="4216"/>
                  </a:lnTo>
                  <a:lnTo>
                    <a:pt x="3188" y="4212"/>
                  </a:lnTo>
                  <a:lnTo>
                    <a:pt x="3186" y="4210"/>
                  </a:lnTo>
                  <a:close/>
                  <a:moveTo>
                    <a:pt x="3250" y="5238"/>
                  </a:moveTo>
                  <a:lnTo>
                    <a:pt x="3250" y="5238"/>
                  </a:lnTo>
                  <a:lnTo>
                    <a:pt x="3240" y="5236"/>
                  </a:lnTo>
                  <a:lnTo>
                    <a:pt x="3236" y="5234"/>
                  </a:lnTo>
                  <a:lnTo>
                    <a:pt x="3234" y="5234"/>
                  </a:lnTo>
                  <a:lnTo>
                    <a:pt x="3232" y="5242"/>
                  </a:lnTo>
                  <a:lnTo>
                    <a:pt x="3230" y="5250"/>
                  </a:lnTo>
                  <a:lnTo>
                    <a:pt x="3232" y="5250"/>
                  </a:lnTo>
                  <a:lnTo>
                    <a:pt x="3234" y="5250"/>
                  </a:lnTo>
                  <a:lnTo>
                    <a:pt x="3244" y="5248"/>
                  </a:lnTo>
                  <a:lnTo>
                    <a:pt x="3256" y="5248"/>
                  </a:lnTo>
                  <a:lnTo>
                    <a:pt x="3260" y="5246"/>
                  </a:lnTo>
                  <a:lnTo>
                    <a:pt x="3262" y="5246"/>
                  </a:lnTo>
                  <a:lnTo>
                    <a:pt x="3264" y="5244"/>
                  </a:lnTo>
                  <a:lnTo>
                    <a:pt x="3262" y="5242"/>
                  </a:lnTo>
                  <a:lnTo>
                    <a:pt x="3258" y="5238"/>
                  </a:lnTo>
                  <a:lnTo>
                    <a:pt x="3254" y="5236"/>
                  </a:lnTo>
                  <a:lnTo>
                    <a:pt x="3250" y="5238"/>
                  </a:lnTo>
                  <a:close/>
                  <a:moveTo>
                    <a:pt x="3160" y="4332"/>
                  </a:moveTo>
                  <a:lnTo>
                    <a:pt x="3160" y="4332"/>
                  </a:lnTo>
                  <a:lnTo>
                    <a:pt x="3162" y="4332"/>
                  </a:lnTo>
                  <a:lnTo>
                    <a:pt x="3166" y="4328"/>
                  </a:lnTo>
                  <a:lnTo>
                    <a:pt x="3168" y="4322"/>
                  </a:lnTo>
                  <a:lnTo>
                    <a:pt x="3166" y="4318"/>
                  </a:lnTo>
                  <a:lnTo>
                    <a:pt x="3164" y="4318"/>
                  </a:lnTo>
                  <a:lnTo>
                    <a:pt x="3162" y="4320"/>
                  </a:lnTo>
                  <a:lnTo>
                    <a:pt x="3160" y="4322"/>
                  </a:lnTo>
                  <a:lnTo>
                    <a:pt x="3160" y="4326"/>
                  </a:lnTo>
                  <a:lnTo>
                    <a:pt x="3160" y="4328"/>
                  </a:lnTo>
                  <a:lnTo>
                    <a:pt x="3158" y="4328"/>
                  </a:lnTo>
                  <a:lnTo>
                    <a:pt x="3158" y="4330"/>
                  </a:lnTo>
                  <a:lnTo>
                    <a:pt x="3160" y="4332"/>
                  </a:lnTo>
                  <a:close/>
                  <a:moveTo>
                    <a:pt x="3190" y="5244"/>
                  </a:moveTo>
                  <a:lnTo>
                    <a:pt x="3190" y="5244"/>
                  </a:lnTo>
                  <a:lnTo>
                    <a:pt x="3188" y="5242"/>
                  </a:lnTo>
                  <a:lnTo>
                    <a:pt x="3186" y="5240"/>
                  </a:lnTo>
                  <a:lnTo>
                    <a:pt x="3182" y="5242"/>
                  </a:lnTo>
                  <a:lnTo>
                    <a:pt x="3178" y="5244"/>
                  </a:lnTo>
                  <a:lnTo>
                    <a:pt x="3176" y="5248"/>
                  </a:lnTo>
                  <a:lnTo>
                    <a:pt x="3178" y="5248"/>
                  </a:lnTo>
                  <a:lnTo>
                    <a:pt x="3184" y="5248"/>
                  </a:lnTo>
                  <a:lnTo>
                    <a:pt x="3188" y="5248"/>
                  </a:lnTo>
                  <a:lnTo>
                    <a:pt x="3190" y="5244"/>
                  </a:lnTo>
                  <a:close/>
                  <a:moveTo>
                    <a:pt x="3176" y="5252"/>
                  </a:moveTo>
                  <a:lnTo>
                    <a:pt x="3176" y="5252"/>
                  </a:lnTo>
                  <a:lnTo>
                    <a:pt x="3172" y="5254"/>
                  </a:lnTo>
                  <a:lnTo>
                    <a:pt x="3172" y="5256"/>
                  </a:lnTo>
                  <a:lnTo>
                    <a:pt x="3176" y="5258"/>
                  </a:lnTo>
                  <a:lnTo>
                    <a:pt x="3180" y="5254"/>
                  </a:lnTo>
                  <a:lnTo>
                    <a:pt x="3182" y="5252"/>
                  </a:lnTo>
                  <a:lnTo>
                    <a:pt x="3182" y="5250"/>
                  </a:lnTo>
                  <a:lnTo>
                    <a:pt x="3176" y="5252"/>
                  </a:lnTo>
                  <a:close/>
                  <a:moveTo>
                    <a:pt x="3224" y="5242"/>
                  </a:moveTo>
                  <a:lnTo>
                    <a:pt x="3224" y="5242"/>
                  </a:lnTo>
                  <a:lnTo>
                    <a:pt x="3220" y="5246"/>
                  </a:lnTo>
                  <a:lnTo>
                    <a:pt x="3218" y="5246"/>
                  </a:lnTo>
                  <a:lnTo>
                    <a:pt x="3216" y="5244"/>
                  </a:lnTo>
                  <a:lnTo>
                    <a:pt x="3214" y="5248"/>
                  </a:lnTo>
                  <a:lnTo>
                    <a:pt x="3214" y="5250"/>
                  </a:lnTo>
                  <a:lnTo>
                    <a:pt x="3216" y="5254"/>
                  </a:lnTo>
                  <a:lnTo>
                    <a:pt x="3220" y="5256"/>
                  </a:lnTo>
                  <a:lnTo>
                    <a:pt x="3222" y="5254"/>
                  </a:lnTo>
                  <a:lnTo>
                    <a:pt x="3224" y="5252"/>
                  </a:lnTo>
                  <a:lnTo>
                    <a:pt x="3228" y="5246"/>
                  </a:lnTo>
                  <a:lnTo>
                    <a:pt x="3228" y="5240"/>
                  </a:lnTo>
                  <a:lnTo>
                    <a:pt x="3228" y="5238"/>
                  </a:lnTo>
                  <a:lnTo>
                    <a:pt x="3226" y="5238"/>
                  </a:lnTo>
                  <a:lnTo>
                    <a:pt x="3224" y="5242"/>
                  </a:lnTo>
                  <a:close/>
                  <a:moveTo>
                    <a:pt x="3202" y="5252"/>
                  </a:moveTo>
                  <a:lnTo>
                    <a:pt x="3202" y="5252"/>
                  </a:lnTo>
                  <a:lnTo>
                    <a:pt x="3204" y="5250"/>
                  </a:lnTo>
                  <a:lnTo>
                    <a:pt x="3206" y="5248"/>
                  </a:lnTo>
                  <a:lnTo>
                    <a:pt x="3206" y="5246"/>
                  </a:lnTo>
                  <a:lnTo>
                    <a:pt x="3210" y="5244"/>
                  </a:lnTo>
                  <a:lnTo>
                    <a:pt x="3212" y="5240"/>
                  </a:lnTo>
                  <a:lnTo>
                    <a:pt x="3208" y="5240"/>
                  </a:lnTo>
                  <a:lnTo>
                    <a:pt x="3198" y="5240"/>
                  </a:lnTo>
                  <a:lnTo>
                    <a:pt x="3194" y="5242"/>
                  </a:lnTo>
                  <a:lnTo>
                    <a:pt x="3194" y="5246"/>
                  </a:lnTo>
                  <a:lnTo>
                    <a:pt x="3194" y="5248"/>
                  </a:lnTo>
                  <a:lnTo>
                    <a:pt x="3188" y="5254"/>
                  </a:lnTo>
                  <a:lnTo>
                    <a:pt x="3184" y="5256"/>
                  </a:lnTo>
                  <a:lnTo>
                    <a:pt x="3186" y="5256"/>
                  </a:lnTo>
                  <a:lnTo>
                    <a:pt x="3196" y="5258"/>
                  </a:lnTo>
                  <a:lnTo>
                    <a:pt x="3200" y="5256"/>
                  </a:lnTo>
                  <a:lnTo>
                    <a:pt x="3200" y="5254"/>
                  </a:lnTo>
                  <a:lnTo>
                    <a:pt x="3202" y="5252"/>
                  </a:lnTo>
                  <a:close/>
                  <a:moveTo>
                    <a:pt x="3244" y="4390"/>
                  </a:moveTo>
                  <a:lnTo>
                    <a:pt x="3244" y="4390"/>
                  </a:lnTo>
                  <a:lnTo>
                    <a:pt x="3242" y="4392"/>
                  </a:lnTo>
                  <a:lnTo>
                    <a:pt x="3242" y="4394"/>
                  </a:lnTo>
                  <a:lnTo>
                    <a:pt x="3246" y="4396"/>
                  </a:lnTo>
                  <a:lnTo>
                    <a:pt x="3250" y="4396"/>
                  </a:lnTo>
                  <a:lnTo>
                    <a:pt x="3252" y="4394"/>
                  </a:lnTo>
                  <a:lnTo>
                    <a:pt x="3250" y="4392"/>
                  </a:lnTo>
                  <a:lnTo>
                    <a:pt x="3246" y="4390"/>
                  </a:lnTo>
                  <a:lnTo>
                    <a:pt x="3244" y="4390"/>
                  </a:lnTo>
                  <a:close/>
                  <a:moveTo>
                    <a:pt x="3228" y="4278"/>
                  </a:moveTo>
                  <a:lnTo>
                    <a:pt x="3228" y="4278"/>
                  </a:lnTo>
                  <a:lnTo>
                    <a:pt x="3228" y="4280"/>
                  </a:lnTo>
                  <a:lnTo>
                    <a:pt x="3230" y="4284"/>
                  </a:lnTo>
                  <a:lnTo>
                    <a:pt x="3234" y="4290"/>
                  </a:lnTo>
                  <a:lnTo>
                    <a:pt x="3234" y="4294"/>
                  </a:lnTo>
                  <a:lnTo>
                    <a:pt x="3232" y="4298"/>
                  </a:lnTo>
                  <a:lnTo>
                    <a:pt x="3234" y="4300"/>
                  </a:lnTo>
                  <a:lnTo>
                    <a:pt x="3234" y="4302"/>
                  </a:lnTo>
                  <a:lnTo>
                    <a:pt x="3232" y="4304"/>
                  </a:lnTo>
                  <a:lnTo>
                    <a:pt x="3232" y="4306"/>
                  </a:lnTo>
                  <a:lnTo>
                    <a:pt x="3234" y="4308"/>
                  </a:lnTo>
                  <a:lnTo>
                    <a:pt x="3238" y="4308"/>
                  </a:lnTo>
                  <a:lnTo>
                    <a:pt x="3240" y="4306"/>
                  </a:lnTo>
                  <a:lnTo>
                    <a:pt x="3240" y="4304"/>
                  </a:lnTo>
                  <a:lnTo>
                    <a:pt x="3242" y="4304"/>
                  </a:lnTo>
                  <a:lnTo>
                    <a:pt x="3246" y="4308"/>
                  </a:lnTo>
                  <a:lnTo>
                    <a:pt x="3248" y="4314"/>
                  </a:lnTo>
                  <a:lnTo>
                    <a:pt x="3248" y="4318"/>
                  </a:lnTo>
                  <a:lnTo>
                    <a:pt x="3248" y="4322"/>
                  </a:lnTo>
                  <a:lnTo>
                    <a:pt x="3246" y="4328"/>
                  </a:lnTo>
                  <a:lnTo>
                    <a:pt x="3248" y="4332"/>
                  </a:lnTo>
                  <a:lnTo>
                    <a:pt x="3248" y="4334"/>
                  </a:lnTo>
                  <a:lnTo>
                    <a:pt x="3248" y="4338"/>
                  </a:lnTo>
                  <a:lnTo>
                    <a:pt x="3246" y="4342"/>
                  </a:lnTo>
                  <a:lnTo>
                    <a:pt x="3248" y="4344"/>
                  </a:lnTo>
                  <a:lnTo>
                    <a:pt x="3256" y="4348"/>
                  </a:lnTo>
                  <a:lnTo>
                    <a:pt x="3258" y="4350"/>
                  </a:lnTo>
                  <a:lnTo>
                    <a:pt x="3258" y="4344"/>
                  </a:lnTo>
                  <a:lnTo>
                    <a:pt x="3256" y="4338"/>
                  </a:lnTo>
                  <a:lnTo>
                    <a:pt x="3256" y="4336"/>
                  </a:lnTo>
                  <a:lnTo>
                    <a:pt x="3256" y="4334"/>
                  </a:lnTo>
                  <a:lnTo>
                    <a:pt x="3258" y="4336"/>
                  </a:lnTo>
                  <a:lnTo>
                    <a:pt x="3260" y="4342"/>
                  </a:lnTo>
                  <a:lnTo>
                    <a:pt x="3262" y="4348"/>
                  </a:lnTo>
                  <a:lnTo>
                    <a:pt x="3266" y="4354"/>
                  </a:lnTo>
                  <a:lnTo>
                    <a:pt x="3270" y="4356"/>
                  </a:lnTo>
                  <a:lnTo>
                    <a:pt x="3270" y="4354"/>
                  </a:lnTo>
                  <a:lnTo>
                    <a:pt x="3266" y="4344"/>
                  </a:lnTo>
                  <a:lnTo>
                    <a:pt x="3264" y="4342"/>
                  </a:lnTo>
                  <a:lnTo>
                    <a:pt x="3266" y="4342"/>
                  </a:lnTo>
                  <a:lnTo>
                    <a:pt x="3268" y="4340"/>
                  </a:lnTo>
                  <a:lnTo>
                    <a:pt x="3270" y="4338"/>
                  </a:lnTo>
                  <a:lnTo>
                    <a:pt x="3268" y="4332"/>
                  </a:lnTo>
                  <a:lnTo>
                    <a:pt x="3266" y="4330"/>
                  </a:lnTo>
                  <a:lnTo>
                    <a:pt x="3266" y="4326"/>
                  </a:lnTo>
                  <a:lnTo>
                    <a:pt x="3264" y="4322"/>
                  </a:lnTo>
                  <a:lnTo>
                    <a:pt x="3260" y="4318"/>
                  </a:lnTo>
                  <a:lnTo>
                    <a:pt x="3260" y="4316"/>
                  </a:lnTo>
                  <a:lnTo>
                    <a:pt x="3258" y="4312"/>
                  </a:lnTo>
                  <a:lnTo>
                    <a:pt x="3258" y="4304"/>
                  </a:lnTo>
                  <a:lnTo>
                    <a:pt x="3258" y="4296"/>
                  </a:lnTo>
                  <a:lnTo>
                    <a:pt x="3258" y="4294"/>
                  </a:lnTo>
                  <a:lnTo>
                    <a:pt x="3256" y="4292"/>
                  </a:lnTo>
                  <a:lnTo>
                    <a:pt x="3254" y="4290"/>
                  </a:lnTo>
                  <a:lnTo>
                    <a:pt x="3256" y="4288"/>
                  </a:lnTo>
                  <a:lnTo>
                    <a:pt x="3256" y="4284"/>
                  </a:lnTo>
                  <a:lnTo>
                    <a:pt x="3252" y="4284"/>
                  </a:lnTo>
                  <a:lnTo>
                    <a:pt x="3248" y="4284"/>
                  </a:lnTo>
                  <a:lnTo>
                    <a:pt x="3246" y="4286"/>
                  </a:lnTo>
                  <a:lnTo>
                    <a:pt x="3244" y="4288"/>
                  </a:lnTo>
                  <a:lnTo>
                    <a:pt x="3240" y="4286"/>
                  </a:lnTo>
                  <a:lnTo>
                    <a:pt x="3234" y="4280"/>
                  </a:lnTo>
                  <a:lnTo>
                    <a:pt x="3230" y="4278"/>
                  </a:lnTo>
                  <a:lnTo>
                    <a:pt x="3228" y="4278"/>
                  </a:lnTo>
                  <a:close/>
                  <a:moveTo>
                    <a:pt x="3292" y="3100"/>
                  </a:moveTo>
                  <a:lnTo>
                    <a:pt x="3292" y="3100"/>
                  </a:lnTo>
                  <a:lnTo>
                    <a:pt x="3294" y="3100"/>
                  </a:lnTo>
                  <a:lnTo>
                    <a:pt x="3296" y="3094"/>
                  </a:lnTo>
                  <a:lnTo>
                    <a:pt x="3296" y="3092"/>
                  </a:lnTo>
                  <a:lnTo>
                    <a:pt x="3294" y="3094"/>
                  </a:lnTo>
                  <a:lnTo>
                    <a:pt x="3292" y="3096"/>
                  </a:lnTo>
                  <a:lnTo>
                    <a:pt x="3292" y="3100"/>
                  </a:lnTo>
                  <a:close/>
                  <a:moveTo>
                    <a:pt x="3208" y="4238"/>
                  </a:moveTo>
                  <a:lnTo>
                    <a:pt x="3208" y="4238"/>
                  </a:lnTo>
                  <a:lnTo>
                    <a:pt x="3210" y="4234"/>
                  </a:lnTo>
                  <a:lnTo>
                    <a:pt x="3208" y="4228"/>
                  </a:lnTo>
                  <a:lnTo>
                    <a:pt x="3204" y="4224"/>
                  </a:lnTo>
                  <a:lnTo>
                    <a:pt x="3202" y="4222"/>
                  </a:lnTo>
                  <a:lnTo>
                    <a:pt x="3200" y="4222"/>
                  </a:lnTo>
                  <a:lnTo>
                    <a:pt x="3200" y="4224"/>
                  </a:lnTo>
                  <a:lnTo>
                    <a:pt x="3204" y="4230"/>
                  </a:lnTo>
                  <a:lnTo>
                    <a:pt x="3208" y="4238"/>
                  </a:lnTo>
                  <a:close/>
                  <a:moveTo>
                    <a:pt x="3164" y="4238"/>
                  </a:moveTo>
                  <a:lnTo>
                    <a:pt x="3164" y="4238"/>
                  </a:lnTo>
                  <a:lnTo>
                    <a:pt x="3164" y="4232"/>
                  </a:lnTo>
                  <a:lnTo>
                    <a:pt x="3162" y="4230"/>
                  </a:lnTo>
                  <a:lnTo>
                    <a:pt x="3158" y="4230"/>
                  </a:lnTo>
                  <a:lnTo>
                    <a:pt x="3154" y="4232"/>
                  </a:lnTo>
                  <a:lnTo>
                    <a:pt x="3152" y="4232"/>
                  </a:lnTo>
                  <a:lnTo>
                    <a:pt x="3154" y="4234"/>
                  </a:lnTo>
                  <a:lnTo>
                    <a:pt x="3156" y="4236"/>
                  </a:lnTo>
                  <a:lnTo>
                    <a:pt x="3160" y="4240"/>
                  </a:lnTo>
                  <a:lnTo>
                    <a:pt x="3162" y="4240"/>
                  </a:lnTo>
                  <a:lnTo>
                    <a:pt x="3164" y="4238"/>
                  </a:lnTo>
                  <a:close/>
                  <a:moveTo>
                    <a:pt x="3196" y="4228"/>
                  </a:moveTo>
                  <a:lnTo>
                    <a:pt x="3196" y="4228"/>
                  </a:lnTo>
                  <a:lnTo>
                    <a:pt x="3192" y="4228"/>
                  </a:lnTo>
                  <a:lnTo>
                    <a:pt x="3190" y="4228"/>
                  </a:lnTo>
                  <a:lnTo>
                    <a:pt x="3188" y="4228"/>
                  </a:lnTo>
                  <a:lnTo>
                    <a:pt x="3186" y="4232"/>
                  </a:lnTo>
                  <a:lnTo>
                    <a:pt x="3188" y="4238"/>
                  </a:lnTo>
                  <a:lnTo>
                    <a:pt x="3186" y="4242"/>
                  </a:lnTo>
                  <a:lnTo>
                    <a:pt x="3182" y="4256"/>
                  </a:lnTo>
                  <a:lnTo>
                    <a:pt x="3182" y="4258"/>
                  </a:lnTo>
                  <a:lnTo>
                    <a:pt x="3184" y="4258"/>
                  </a:lnTo>
                  <a:lnTo>
                    <a:pt x="3186" y="4254"/>
                  </a:lnTo>
                  <a:lnTo>
                    <a:pt x="3196" y="4244"/>
                  </a:lnTo>
                  <a:lnTo>
                    <a:pt x="3198" y="4244"/>
                  </a:lnTo>
                  <a:lnTo>
                    <a:pt x="3200" y="4244"/>
                  </a:lnTo>
                  <a:lnTo>
                    <a:pt x="3202" y="4250"/>
                  </a:lnTo>
                  <a:lnTo>
                    <a:pt x="3204" y="4256"/>
                  </a:lnTo>
                  <a:lnTo>
                    <a:pt x="3206" y="4258"/>
                  </a:lnTo>
                  <a:lnTo>
                    <a:pt x="3208" y="4260"/>
                  </a:lnTo>
                  <a:lnTo>
                    <a:pt x="3212" y="4262"/>
                  </a:lnTo>
                  <a:lnTo>
                    <a:pt x="3218" y="4266"/>
                  </a:lnTo>
                  <a:lnTo>
                    <a:pt x="3222" y="4268"/>
                  </a:lnTo>
                  <a:lnTo>
                    <a:pt x="3220" y="4264"/>
                  </a:lnTo>
                  <a:lnTo>
                    <a:pt x="3218" y="4258"/>
                  </a:lnTo>
                  <a:lnTo>
                    <a:pt x="3216" y="4252"/>
                  </a:lnTo>
                  <a:lnTo>
                    <a:pt x="3214" y="4246"/>
                  </a:lnTo>
                  <a:lnTo>
                    <a:pt x="3210" y="4242"/>
                  </a:lnTo>
                  <a:lnTo>
                    <a:pt x="3206" y="4240"/>
                  </a:lnTo>
                  <a:lnTo>
                    <a:pt x="3202" y="4234"/>
                  </a:lnTo>
                  <a:lnTo>
                    <a:pt x="3198" y="4230"/>
                  </a:lnTo>
                  <a:lnTo>
                    <a:pt x="3196" y="4228"/>
                  </a:lnTo>
                  <a:close/>
                  <a:moveTo>
                    <a:pt x="3152" y="5104"/>
                  </a:moveTo>
                  <a:lnTo>
                    <a:pt x="3152" y="5104"/>
                  </a:lnTo>
                  <a:lnTo>
                    <a:pt x="3160" y="5100"/>
                  </a:lnTo>
                  <a:lnTo>
                    <a:pt x="3162" y="5098"/>
                  </a:lnTo>
                  <a:lnTo>
                    <a:pt x="3162" y="5094"/>
                  </a:lnTo>
                  <a:lnTo>
                    <a:pt x="3160" y="5090"/>
                  </a:lnTo>
                  <a:lnTo>
                    <a:pt x="3162" y="5084"/>
                  </a:lnTo>
                  <a:lnTo>
                    <a:pt x="3164" y="5078"/>
                  </a:lnTo>
                  <a:lnTo>
                    <a:pt x="3166" y="5070"/>
                  </a:lnTo>
                  <a:lnTo>
                    <a:pt x="3164" y="5066"/>
                  </a:lnTo>
                  <a:lnTo>
                    <a:pt x="3164" y="5064"/>
                  </a:lnTo>
                  <a:lnTo>
                    <a:pt x="3160" y="5064"/>
                  </a:lnTo>
                  <a:lnTo>
                    <a:pt x="3158" y="5064"/>
                  </a:lnTo>
                  <a:lnTo>
                    <a:pt x="3152" y="5070"/>
                  </a:lnTo>
                  <a:lnTo>
                    <a:pt x="3150" y="5074"/>
                  </a:lnTo>
                  <a:lnTo>
                    <a:pt x="3150" y="5078"/>
                  </a:lnTo>
                  <a:lnTo>
                    <a:pt x="3150" y="5090"/>
                  </a:lnTo>
                  <a:lnTo>
                    <a:pt x="3148" y="5098"/>
                  </a:lnTo>
                  <a:lnTo>
                    <a:pt x="3148" y="5104"/>
                  </a:lnTo>
                  <a:lnTo>
                    <a:pt x="3148" y="5106"/>
                  </a:lnTo>
                  <a:lnTo>
                    <a:pt x="3152" y="5104"/>
                  </a:lnTo>
                  <a:close/>
                  <a:moveTo>
                    <a:pt x="3192" y="4332"/>
                  </a:moveTo>
                  <a:lnTo>
                    <a:pt x="3192" y="4332"/>
                  </a:lnTo>
                  <a:lnTo>
                    <a:pt x="3198" y="4322"/>
                  </a:lnTo>
                  <a:lnTo>
                    <a:pt x="3198" y="4314"/>
                  </a:lnTo>
                  <a:lnTo>
                    <a:pt x="3196" y="4308"/>
                  </a:lnTo>
                  <a:lnTo>
                    <a:pt x="3196" y="4306"/>
                  </a:lnTo>
                  <a:lnTo>
                    <a:pt x="3192" y="4306"/>
                  </a:lnTo>
                  <a:lnTo>
                    <a:pt x="3190" y="4304"/>
                  </a:lnTo>
                  <a:lnTo>
                    <a:pt x="3186" y="4304"/>
                  </a:lnTo>
                  <a:lnTo>
                    <a:pt x="3184" y="4304"/>
                  </a:lnTo>
                  <a:lnTo>
                    <a:pt x="3178" y="4306"/>
                  </a:lnTo>
                  <a:lnTo>
                    <a:pt x="3176" y="4310"/>
                  </a:lnTo>
                  <a:lnTo>
                    <a:pt x="3174" y="4312"/>
                  </a:lnTo>
                  <a:lnTo>
                    <a:pt x="3174" y="4316"/>
                  </a:lnTo>
                  <a:lnTo>
                    <a:pt x="3176" y="4320"/>
                  </a:lnTo>
                  <a:lnTo>
                    <a:pt x="3174" y="4322"/>
                  </a:lnTo>
                  <a:lnTo>
                    <a:pt x="3172" y="4324"/>
                  </a:lnTo>
                  <a:lnTo>
                    <a:pt x="3170" y="4326"/>
                  </a:lnTo>
                  <a:lnTo>
                    <a:pt x="3170" y="4330"/>
                  </a:lnTo>
                  <a:lnTo>
                    <a:pt x="3172" y="4336"/>
                  </a:lnTo>
                  <a:lnTo>
                    <a:pt x="3172" y="4344"/>
                  </a:lnTo>
                  <a:lnTo>
                    <a:pt x="3172" y="4348"/>
                  </a:lnTo>
                  <a:lnTo>
                    <a:pt x="3168" y="4352"/>
                  </a:lnTo>
                  <a:lnTo>
                    <a:pt x="3164" y="4354"/>
                  </a:lnTo>
                  <a:lnTo>
                    <a:pt x="3162" y="4354"/>
                  </a:lnTo>
                  <a:lnTo>
                    <a:pt x="3158" y="4352"/>
                  </a:lnTo>
                  <a:lnTo>
                    <a:pt x="3154" y="4352"/>
                  </a:lnTo>
                  <a:lnTo>
                    <a:pt x="3152" y="4358"/>
                  </a:lnTo>
                  <a:lnTo>
                    <a:pt x="3152" y="4364"/>
                  </a:lnTo>
                  <a:lnTo>
                    <a:pt x="3156" y="4372"/>
                  </a:lnTo>
                  <a:lnTo>
                    <a:pt x="3162" y="4380"/>
                  </a:lnTo>
                  <a:lnTo>
                    <a:pt x="3166" y="4382"/>
                  </a:lnTo>
                  <a:lnTo>
                    <a:pt x="3170" y="4384"/>
                  </a:lnTo>
                  <a:lnTo>
                    <a:pt x="3172" y="4392"/>
                  </a:lnTo>
                  <a:lnTo>
                    <a:pt x="3176" y="4398"/>
                  </a:lnTo>
                  <a:lnTo>
                    <a:pt x="3178" y="4400"/>
                  </a:lnTo>
                  <a:lnTo>
                    <a:pt x="3180" y="4400"/>
                  </a:lnTo>
                  <a:lnTo>
                    <a:pt x="3184" y="4396"/>
                  </a:lnTo>
                  <a:lnTo>
                    <a:pt x="3188" y="4392"/>
                  </a:lnTo>
                  <a:lnTo>
                    <a:pt x="3190" y="4388"/>
                  </a:lnTo>
                  <a:lnTo>
                    <a:pt x="3190" y="4384"/>
                  </a:lnTo>
                  <a:lnTo>
                    <a:pt x="3186" y="4376"/>
                  </a:lnTo>
                  <a:lnTo>
                    <a:pt x="3182" y="4364"/>
                  </a:lnTo>
                  <a:lnTo>
                    <a:pt x="3182" y="4360"/>
                  </a:lnTo>
                  <a:lnTo>
                    <a:pt x="3184" y="4356"/>
                  </a:lnTo>
                  <a:lnTo>
                    <a:pt x="3188" y="4348"/>
                  </a:lnTo>
                  <a:lnTo>
                    <a:pt x="3188" y="4344"/>
                  </a:lnTo>
                  <a:lnTo>
                    <a:pt x="3190" y="4338"/>
                  </a:lnTo>
                  <a:lnTo>
                    <a:pt x="3192" y="4332"/>
                  </a:lnTo>
                  <a:close/>
                  <a:moveTo>
                    <a:pt x="3202" y="4390"/>
                  </a:moveTo>
                  <a:lnTo>
                    <a:pt x="3202" y="4390"/>
                  </a:lnTo>
                  <a:lnTo>
                    <a:pt x="3200" y="4392"/>
                  </a:lnTo>
                  <a:lnTo>
                    <a:pt x="3196" y="4392"/>
                  </a:lnTo>
                  <a:lnTo>
                    <a:pt x="3198" y="4394"/>
                  </a:lnTo>
                  <a:lnTo>
                    <a:pt x="3202" y="4396"/>
                  </a:lnTo>
                  <a:lnTo>
                    <a:pt x="3204" y="4396"/>
                  </a:lnTo>
                  <a:lnTo>
                    <a:pt x="3206" y="4394"/>
                  </a:lnTo>
                  <a:lnTo>
                    <a:pt x="3204" y="4390"/>
                  </a:lnTo>
                  <a:lnTo>
                    <a:pt x="3202" y="4388"/>
                  </a:lnTo>
                  <a:lnTo>
                    <a:pt x="3202" y="4390"/>
                  </a:lnTo>
                  <a:close/>
                  <a:moveTo>
                    <a:pt x="3218" y="4324"/>
                  </a:moveTo>
                  <a:lnTo>
                    <a:pt x="3218" y="4324"/>
                  </a:lnTo>
                  <a:lnTo>
                    <a:pt x="3218" y="4318"/>
                  </a:lnTo>
                  <a:lnTo>
                    <a:pt x="3220" y="4314"/>
                  </a:lnTo>
                  <a:lnTo>
                    <a:pt x="3222" y="4310"/>
                  </a:lnTo>
                  <a:lnTo>
                    <a:pt x="3222" y="4308"/>
                  </a:lnTo>
                  <a:lnTo>
                    <a:pt x="3220" y="4300"/>
                  </a:lnTo>
                  <a:lnTo>
                    <a:pt x="3220" y="4292"/>
                  </a:lnTo>
                  <a:lnTo>
                    <a:pt x="3218" y="4290"/>
                  </a:lnTo>
                  <a:lnTo>
                    <a:pt x="3216" y="4298"/>
                  </a:lnTo>
                  <a:lnTo>
                    <a:pt x="3210" y="4312"/>
                  </a:lnTo>
                  <a:lnTo>
                    <a:pt x="3208" y="4316"/>
                  </a:lnTo>
                  <a:lnTo>
                    <a:pt x="3206" y="4324"/>
                  </a:lnTo>
                  <a:lnTo>
                    <a:pt x="3204" y="4334"/>
                  </a:lnTo>
                  <a:lnTo>
                    <a:pt x="3198" y="4342"/>
                  </a:lnTo>
                  <a:lnTo>
                    <a:pt x="3194" y="4348"/>
                  </a:lnTo>
                  <a:lnTo>
                    <a:pt x="3192" y="4354"/>
                  </a:lnTo>
                  <a:lnTo>
                    <a:pt x="3192" y="4362"/>
                  </a:lnTo>
                  <a:lnTo>
                    <a:pt x="3190" y="4374"/>
                  </a:lnTo>
                  <a:lnTo>
                    <a:pt x="3190" y="4380"/>
                  </a:lnTo>
                  <a:lnTo>
                    <a:pt x="3192" y="4380"/>
                  </a:lnTo>
                  <a:lnTo>
                    <a:pt x="3194" y="4376"/>
                  </a:lnTo>
                  <a:lnTo>
                    <a:pt x="3198" y="4368"/>
                  </a:lnTo>
                  <a:lnTo>
                    <a:pt x="3200" y="4362"/>
                  </a:lnTo>
                  <a:lnTo>
                    <a:pt x="3202" y="4360"/>
                  </a:lnTo>
                  <a:lnTo>
                    <a:pt x="3204" y="4358"/>
                  </a:lnTo>
                  <a:lnTo>
                    <a:pt x="3204" y="4352"/>
                  </a:lnTo>
                  <a:lnTo>
                    <a:pt x="3204" y="4348"/>
                  </a:lnTo>
                  <a:lnTo>
                    <a:pt x="3206" y="4344"/>
                  </a:lnTo>
                  <a:lnTo>
                    <a:pt x="3212" y="4340"/>
                  </a:lnTo>
                  <a:lnTo>
                    <a:pt x="3218" y="4332"/>
                  </a:lnTo>
                  <a:lnTo>
                    <a:pt x="3220" y="4328"/>
                  </a:lnTo>
                  <a:lnTo>
                    <a:pt x="3218" y="4324"/>
                  </a:lnTo>
                  <a:close/>
                  <a:moveTo>
                    <a:pt x="3226" y="4342"/>
                  </a:moveTo>
                  <a:lnTo>
                    <a:pt x="3226" y="4342"/>
                  </a:lnTo>
                  <a:lnTo>
                    <a:pt x="3222" y="4350"/>
                  </a:lnTo>
                  <a:lnTo>
                    <a:pt x="3216" y="4354"/>
                  </a:lnTo>
                  <a:lnTo>
                    <a:pt x="3214" y="4356"/>
                  </a:lnTo>
                  <a:lnTo>
                    <a:pt x="3210" y="4360"/>
                  </a:lnTo>
                  <a:lnTo>
                    <a:pt x="3210" y="4364"/>
                  </a:lnTo>
                  <a:lnTo>
                    <a:pt x="3212" y="4368"/>
                  </a:lnTo>
                  <a:lnTo>
                    <a:pt x="3214" y="4370"/>
                  </a:lnTo>
                  <a:lnTo>
                    <a:pt x="3216" y="4372"/>
                  </a:lnTo>
                  <a:lnTo>
                    <a:pt x="3224" y="4372"/>
                  </a:lnTo>
                  <a:lnTo>
                    <a:pt x="3230" y="4370"/>
                  </a:lnTo>
                  <a:lnTo>
                    <a:pt x="3234" y="4368"/>
                  </a:lnTo>
                  <a:lnTo>
                    <a:pt x="3236" y="4366"/>
                  </a:lnTo>
                  <a:lnTo>
                    <a:pt x="3240" y="4366"/>
                  </a:lnTo>
                  <a:lnTo>
                    <a:pt x="3240" y="4364"/>
                  </a:lnTo>
                  <a:lnTo>
                    <a:pt x="3240" y="4362"/>
                  </a:lnTo>
                  <a:lnTo>
                    <a:pt x="3240" y="4356"/>
                  </a:lnTo>
                  <a:lnTo>
                    <a:pt x="3242" y="4352"/>
                  </a:lnTo>
                  <a:lnTo>
                    <a:pt x="3242" y="4346"/>
                  </a:lnTo>
                  <a:lnTo>
                    <a:pt x="3242" y="4344"/>
                  </a:lnTo>
                  <a:lnTo>
                    <a:pt x="3240" y="4344"/>
                  </a:lnTo>
                  <a:lnTo>
                    <a:pt x="3238" y="4346"/>
                  </a:lnTo>
                  <a:lnTo>
                    <a:pt x="3238" y="4348"/>
                  </a:lnTo>
                  <a:lnTo>
                    <a:pt x="3234" y="4348"/>
                  </a:lnTo>
                  <a:lnTo>
                    <a:pt x="3232" y="4346"/>
                  </a:lnTo>
                  <a:lnTo>
                    <a:pt x="3228" y="4342"/>
                  </a:lnTo>
                  <a:lnTo>
                    <a:pt x="3228" y="4340"/>
                  </a:lnTo>
                  <a:lnTo>
                    <a:pt x="3226" y="4342"/>
                  </a:lnTo>
                  <a:close/>
                  <a:moveTo>
                    <a:pt x="3240" y="4278"/>
                  </a:moveTo>
                  <a:lnTo>
                    <a:pt x="3240" y="4278"/>
                  </a:lnTo>
                  <a:lnTo>
                    <a:pt x="3242" y="4278"/>
                  </a:lnTo>
                  <a:lnTo>
                    <a:pt x="3242" y="4274"/>
                  </a:lnTo>
                  <a:lnTo>
                    <a:pt x="3240" y="4270"/>
                  </a:lnTo>
                  <a:lnTo>
                    <a:pt x="3236" y="4270"/>
                  </a:lnTo>
                  <a:lnTo>
                    <a:pt x="3234" y="4270"/>
                  </a:lnTo>
                  <a:lnTo>
                    <a:pt x="3234" y="4274"/>
                  </a:lnTo>
                  <a:lnTo>
                    <a:pt x="3236" y="4278"/>
                  </a:lnTo>
                  <a:lnTo>
                    <a:pt x="3240" y="4278"/>
                  </a:lnTo>
                  <a:close/>
                  <a:moveTo>
                    <a:pt x="3164" y="5116"/>
                  </a:moveTo>
                  <a:lnTo>
                    <a:pt x="3164" y="5116"/>
                  </a:lnTo>
                  <a:lnTo>
                    <a:pt x="3166" y="5118"/>
                  </a:lnTo>
                  <a:lnTo>
                    <a:pt x="3168" y="5116"/>
                  </a:lnTo>
                  <a:lnTo>
                    <a:pt x="3172" y="5110"/>
                  </a:lnTo>
                  <a:lnTo>
                    <a:pt x="3174" y="5106"/>
                  </a:lnTo>
                  <a:lnTo>
                    <a:pt x="3176" y="5104"/>
                  </a:lnTo>
                  <a:lnTo>
                    <a:pt x="3182" y="5102"/>
                  </a:lnTo>
                  <a:lnTo>
                    <a:pt x="3184" y="5102"/>
                  </a:lnTo>
                  <a:lnTo>
                    <a:pt x="3186" y="5100"/>
                  </a:lnTo>
                  <a:lnTo>
                    <a:pt x="3180" y="5092"/>
                  </a:lnTo>
                  <a:lnTo>
                    <a:pt x="3176" y="5086"/>
                  </a:lnTo>
                  <a:lnTo>
                    <a:pt x="3176" y="5082"/>
                  </a:lnTo>
                  <a:lnTo>
                    <a:pt x="3176" y="5078"/>
                  </a:lnTo>
                  <a:lnTo>
                    <a:pt x="3178" y="5076"/>
                  </a:lnTo>
                  <a:lnTo>
                    <a:pt x="3184" y="5070"/>
                  </a:lnTo>
                  <a:lnTo>
                    <a:pt x="3184" y="5064"/>
                  </a:lnTo>
                  <a:lnTo>
                    <a:pt x="3182" y="5058"/>
                  </a:lnTo>
                  <a:lnTo>
                    <a:pt x="3180" y="5054"/>
                  </a:lnTo>
                  <a:lnTo>
                    <a:pt x="3178" y="5052"/>
                  </a:lnTo>
                  <a:lnTo>
                    <a:pt x="3174" y="5054"/>
                  </a:lnTo>
                  <a:lnTo>
                    <a:pt x="3172" y="5058"/>
                  </a:lnTo>
                  <a:lnTo>
                    <a:pt x="3170" y="5070"/>
                  </a:lnTo>
                  <a:lnTo>
                    <a:pt x="3168" y="5086"/>
                  </a:lnTo>
                  <a:lnTo>
                    <a:pt x="3166" y="5094"/>
                  </a:lnTo>
                  <a:lnTo>
                    <a:pt x="3164" y="5100"/>
                  </a:lnTo>
                  <a:lnTo>
                    <a:pt x="3160" y="5108"/>
                  </a:lnTo>
                  <a:lnTo>
                    <a:pt x="3158" y="5110"/>
                  </a:lnTo>
                  <a:lnTo>
                    <a:pt x="3158" y="5112"/>
                  </a:lnTo>
                  <a:lnTo>
                    <a:pt x="3164" y="5116"/>
                  </a:lnTo>
                  <a:close/>
                  <a:moveTo>
                    <a:pt x="3346" y="4866"/>
                  </a:moveTo>
                  <a:lnTo>
                    <a:pt x="3346" y="4866"/>
                  </a:lnTo>
                  <a:lnTo>
                    <a:pt x="3348" y="4862"/>
                  </a:lnTo>
                  <a:lnTo>
                    <a:pt x="3348" y="4858"/>
                  </a:lnTo>
                  <a:lnTo>
                    <a:pt x="3348" y="4852"/>
                  </a:lnTo>
                  <a:lnTo>
                    <a:pt x="3346" y="4852"/>
                  </a:lnTo>
                  <a:lnTo>
                    <a:pt x="3344" y="4852"/>
                  </a:lnTo>
                  <a:lnTo>
                    <a:pt x="3342" y="4856"/>
                  </a:lnTo>
                  <a:lnTo>
                    <a:pt x="3342" y="4860"/>
                  </a:lnTo>
                  <a:lnTo>
                    <a:pt x="3342" y="4864"/>
                  </a:lnTo>
                  <a:lnTo>
                    <a:pt x="3344" y="4866"/>
                  </a:lnTo>
                  <a:lnTo>
                    <a:pt x="3346" y="4866"/>
                  </a:lnTo>
                  <a:close/>
                  <a:moveTo>
                    <a:pt x="3342" y="4998"/>
                  </a:moveTo>
                  <a:lnTo>
                    <a:pt x="3342" y="4998"/>
                  </a:lnTo>
                  <a:lnTo>
                    <a:pt x="3336" y="4992"/>
                  </a:lnTo>
                  <a:lnTo>
                    <a:pt x="3330" y="4990"/>
                  </a:lnTo>
                  <a:lnTo>
                    <a:pt x="3324" y="4986"/>
                  </a:lnTo>
                  <a:lnTo>
                    <a:pt x="3316" y="4986"/>
                  </a:lnTo>
                  <a:lnTo>
                    <a:pt x="3310" y="4986"/>
                  </a:lnTo>
                  <a:lnTo>
                    <a:pt x="3304" y="4988"/>
                  </a:lnTo>
                  <a:lnTo>
                    <a:pt x="3300" y="4992"/>
                  </a:lnTo>
                  <a:lnTo>
                    <a:pt x="3298" y="4996"/>
                  </a:lnTo>
                  <a:lnTo>
                    <a:pt x="3298" y="5002"/>
                  </a:lnTo>
                  <a:lnTo>
                    <a:pt x="3304" y="5010"/>
                  </a:lnTo>
                  <a:lnTo>
                    <a:pt x="3312" y="5016"/>
                  </a:lnTo>
                  <a:lnTo>
                    <a:pt x="3320" y="5024"/>
                  </a:lnTo>
                  <a:lnTo>
                    <a:pt x="3326" y="5026"/>
                  </a:lnTo>
                  <a:lnTo>
                    <a:pt x="3332" y="5026"/>
                  </a:lnTo>
                  <a:lnTo>
                    <a:pt x="3336" y="5024"/>
                  </a:lnTo>
                  <a:lnTo>
                    <a:pt x="3342" y="5020"/>
                  </a:lnTo>
                  <a:lnTo>
                    <a:pt x="3344" y="5016"/>
                  </a:lnTo>
                  <a:lnTo>
                    <a:pt x="3346" y="5010"/>
                  </a:lnTo>
                  <a:lnTo>
                    <a:pt x="3344" y="5004"/>
                  </a:lnTo>
                  <a:lnTo>
                    <a:pt x="3342" y="4998"/>
                  </a:lnTo>
                  <a:close/>
                  <a:moveTo>
                    <a:pt x="3330" y="5214"/>
                  </a:moveTo>
                  <a:lnTo>
                    <a:pt x="3330" y="5214"/>
                  </a:lnTo>
                  <a:lnTo>
                    <a:pt x="3328" y="5212"/>
                  </a:lnTo>
                  <a:lnTo>
                    <a:pt x="3326" y="5210"/>
                  </a:lnTo>
                  <a:lnTo>
                    <a:pt x="3314" y="5210"/>
                  </a:lnTo>
                  <a:lnTo>
                    <a:pt x="3302" y="5214"/>
                  </a:lnTo>
                  <a:lnTo>
                    <a:pt x="3296" y="5216"/>
                  </a:lnTo>
                  <a:lnTo>
                    <a:pt x="3290" y="5220"/>
                  </a:lnTo>
                  <a:lnTo>
                    <a:pt x="3290" y="5224"/>
                  </a:lnTo>
                  <a:lnTo>
                    <a:pt x="3292" y="5224"/>
                  </a:lnTo>
                  <a:lnTo>
                    <a:pt x="3306" y="5224"/>
                  </a:lnTo>
                  <a:lnTo>
                    <a:pt x="3322" y="5220"/>
                  </a:lnTo>
                  <a:lnTo>
                    <a:pt x="3328" y="5216"/>
                  </a:lnTo>
                  <a:lnTo>
                    <a:pt x="3330" y="5214"/>
                  </a:lnTo>
                  <a:close/>
                  <a:moveTo>
                    <a:pt x="3294" y="4936"/>
                  </a:moveTo>
                  <a:lnTo>
                    <a:pt x="3294" y="4936"/>
                  </a:lnTo>
                  <a:lnTo>
                    <a:pt x="3292" y="4938"/>
                  </a:lnTo>
                  <a:lnTo>
                    <a:pt x="3292" y="4942"/>
                  </a:lnTo>
                  <a:lnTo>
                    <a:pt x="3296" y="4956"/>
                  </a:lnTo>
                  <a:lnTo>
                    <a:pt x="3298" y="4960"/>
                  </a:lnTo>
                  <a:lnTo>
                    <a:pt x="3300" y="4960"/>
                  </a:lnTo>
                  <a:lnTo>
                    <a:pt x="3300" y="4956"/>
                  </a:lnTo>
                  <a:lnTo>
                    <a:pt x="3298" y="4950"/>
                  </a:lnTo>
                  <a:lnTo>
                    <a:pt x="3298" y="4944"/>
                  </a:lnTo>
                  <a:lnTo>
                    <a:pt x="3296" y="4938"/>
                  </a:lnTo>
                  <a:lnTo>
                    <a:pt x="3296" y="4936"/>
                  </a:lnTo>
                  <a:lnTo>
                    <a:pt x="3294" y="4936"/>
                  </a:lnTo>
                  <a:close/>
                  <a:moveTo>
                    <a:pt x="3344" y="5246"/>
                  </a:moveTo>
                  <a:lnTo>
                    <a:pt x="3344" y="5246"/>
                  </a:lnTo>
                  <a:lnTo>
                    <a:pt x="3340" y="5244"/>
                  </a:lnTo>
                  <a:lnTo>
                    <a:pt x="3336" y="5244"/>
                  </a:lnTo>
                  <a:lnTo>
                    <a:pt x="3330" y="5248"/>
                  </a:lnTo>
                  <a:lnTo>
                    <a:pt x="3322" y="5250"/>
                  </a:lnTo>
                  <a:lnTo>
                    <a:pt x="3316" y="5250"/>
                  </a:lnTo>
                  <a:lnTo>
                    <a:pt x="3312" y="5250"/>
                  </a:lnTo>
                  <a:lnTo>
                    <a:pt x="3306" y="5252"/>
                  </a:lnTo>
                  <a:lnTo>
                    <a:pt x="3300" y="5254"/>
                  </a:lnTo>
                  <a:lnTo>
                    <a:pt x="3296" y="5254"/>
                  </a:lnTo>
                  <a:lnTo>
                    <a:pt x="3292" y="5254"/>
                  </a:lnTo>
                  <a:lnTo>
                    <a:pt x="3286" y="5254"/>
                  </a:lnTo>
                  <a:lnTo>
                    <a:pt x="3268" y="5258"/>
                  </a:lnTo>
                  <a:lnTo>
                    <a:pt x="3260" y="5262"/>
                  </a:lnTo>
                  <a:lnTo>
                    <a:pt x="3258" y="5266"/>
                  </a:lnTo>
                  <a:lnTo>
                    <a:pt x="3256" y="5272"/>
                  </a:lnTo>
                  <a:lnTo>
                    <a:pt x="3248" y="5278"/>
                  </a:lnTo>
                  <a:lnTo>
                    <a:pt x="3240" y="5284"/>
                  </a:lnTo>
                  <a:lnTo>
                    <a:pt x="3234" y="5286"/>
                  </a:lnTo>
                  <a:lnTo>
                    <a:pt x="3226" y="5290"/>
                  </a:lnTo>
                  <a:lnTo>
                    <a:pt x="3216" y="5296"/>
                  </a:lnTo>
                  <a:lnTo>
                    <a:pt x="3206" y="5304"/>
                  </a:lnTo>
                  <a:lnTo>
                    <a:pt x="3202" y="5310"/>
                  </a:lnTo>
                  <a:lnTo>
                    <a:pt x="3200" y="5322"/>
                  </a:lnTo>
                  <a:lnTo>
                    <a:pt x="3198" y="5326"/>
                  </a:lnTo>
                  <a:lnTo>
                    <a:pt x="3200" y="5328"/>
                  </a:lnTo>
                  <a:lnTo>
                    <a:pt x="3202" y="5330"/>
                  </a:lnTo>
                  <a:lnTo>
                    <a:pt x="3204" y="5330"/>
                  </a:lnTo>
                  <a:lnTo>
                    <a:pt x="3202" y="5332"/>
                  </a:lnTo>
                  <a:lnTo>
                    <a:pt x="3198" y="5336"/>
                  </a:lnTo>
                  <a:lnTo>
                    <a:pt x="3194" y="5340"/>
                  </a:lnTo>
                  <a:lnTo>
                    <a:pt x="3194" y="5342"/>
                  </a:lnTo>
                  <a:lnTo>
                    <a:pt x="3194" y="5344"/>
                  </a:lnTo>
                  <a:lnTo>
                    <a:pt x="3202" y="5346"/>
                  </a:lnTo>
                  <a:lnTo>
                    <a:pt x="3206" y="5346"/>
                  </a:lnTo>
                  <a:lnTo>
                    <a:pt x="3210" y="5344"/>
                  </a:lnTo>
                  <a:lnTo>
                    <a:pt x="3216" y="5340"/>
                  </a:lnTo>
                  <a:lnTo>
                    <a:pt x="3220" y="5336"/>
                  </a:lnTo>
                  <a:lnTo>
                    <a:pt x="3222" y="5336"/>
                  </a:lnTo>
                  <a:lnTo>
                    <a:pt x="3226" y="5336"/>
                  </a:lnTo>
                  <a:lnTo>
                    <a:pt x="3230" y="5336"/>
                  </a:lnTo>
                  <a:lnTo>
                    <a:pt x="3234" y="5334"/>
                  </a:lnTo>
                  <a:lnTo>
                    <a:pt x="3244" y="5320"/>
                  </a:lnTo>
                  <a:lnTo>
                    <a:pt x="3252" y="5312"/>
                  </a:lnTo>
                  <a:lnTo>
                    <a:pt x="3256" y="5306"/>
                  </a:lnTo>
                  <a:lnTo>
                    <a:pt x="3260" y="5300"/>
                  </a:lnTo>
                  <a:lnTo>
                    <a:pt x="3268" y="5294"/>
                  </a:lnTo>
                  <a:lnTo>
                    <a:pt x="3280" y="5288"/>
                  </a:lnTo>
                  <a:lnTo>
                    <a:pt x="3288" y="5286"/>
                  </a:lnTo>
                  <a:lnTo>
                    <a:pt x="3294" y="5284"/>
                  </a:lnTo>
                  <a:lnTo>
                    <a:pt x="3300" y="5280"/>
                  </a:lnTo>
                  <a:lnTo>
                    <a:pt x="3304" y="5278"/>
                  </a:lnTo>
                  <a:lnTo>
                    <a:pt x="3308" y="5278"/>
                  </a:lnTo>
                  <a:lnTo>
                    <a:pt x="3314" y="5276"/>
                  </a:lnTo>
                  <a:lnTo>
                    <a:pt x="3318" y="5272"/>
                  </a:lnTo>
                  <a:lnTo>
                    <a:pt x="3324" y="5266"/>
                  </a:lnTo>
                  <a:lnTo>
                    <a:pt x="3328" y="5266"/>
                  </a:lnTo>
                  <a:lnTo>
                    <a:pt x="3334" y="5264"/>
                  </a:lnTo>
                  <a:lnTo>
                    <a:pt x="3340" y="5260"/>
                  </a:lnTo>
                  <a:lnTo>
                    <a:pt x="3348" y="5252"/>
                  </a:lnTo>
                  <a:lnTo>
                    <a:pt x="3348" y="5248"/>
                  </a:lnTo>
                  <a:lnTo>
                    <a:pt x="3344" y="5246"/>
                  </a:lnTo>
                  <a:close/>
                  <a:moveTo>
                    <a:pt x="3328" y="4618"/>
                  </a:moveTo>
                  <a:lnTo>
                    <a:pt x="3328" y="4618"/>
                  </a:lnTo>
                  <a:lnTo>
                    <a:pt x="3326" y="4622"/>
                  </a:lnTo>
                  <a:lnTo>
                    <a:pt x="3326" y="4628"/>
                  </a:lnTo>
                  <a:lnTo>
                    <a:pt x="3326" y="4630"/>
                  </a:lnTo>
                  <a:lnTo>
                    <a:pt x="3328" y="4632"/>
                  </a:lnTo>
                  <a:lnTo>
                    <a:pt x="3328" y="4634"/>
                  </a:lnTo>
                  <a:lnTo>
                    <a:pt x="3326" y="4638"/>
                  </a:lnTo>
                  <a:lnTo>
                    <a:pt x="3324" y="4642"/>
                  </a:lnTo>
                  <a:lnTo>
                    <a:pt x="3326" y="4644"/>
                  </a:lnTo>
                  <a:lnTo>
                    <a:pt x="3330" y="4642"/>
                  </a:lnTo>
                  <a:lnTo>
                    <a:pt x="3330" y="4640"/>
                  </a:lnTo>
                  <a:lnTo>
                    <a:pt x="3332" y="4636"/>
                  </a:lnTo>
                  <a:lnTo>
                    <a:pt x="3332" y="4632"/>
                  </a:lnTo>
                  <a:lnTo>
                    <a:pt x="3334" y="4630"/>
                  </a:lnTo>
                  <a:lnTo>
                    <a:pt x="3334" y="4628"/>
                  </a:lnTo>
                  <a:lnTo>
                    <a:pt x="3332" y="4624"/>
                  </a:lnTo>
                  <a:lnTo>
                    <a:pt x="3332" y="4620"/>
                  </a:lnTo>
                  <a:lnTo>
                    <a:pt x="3332" y="4618"/>
                  </a:lnTo>
                  <a:lnTo>
                    <a:pt x="3328" y="4618"/>
                  </a:lnTo>
                  <a:close/>
                  <a:moveTo>
                    <a:pt x="3302" y="3114"/>
                  </a:moveTo>
                  <a:lnTo>
                    <a:pt x="3302" y="3114"/>
                  </a:lnTo>
                  <a:lnTo>
                    <a:pt x="3304" y="3116"/>
                  </a:lnTo>
                  <a:lnTo>
                    <a:pt x="3308" y="3114"/>
                  </a:lnTo>
                  <a:lnTo>
                    <a:pt x="3310" y="3112"/>
                  </a:lnTo>
                  <a:lnTo>
                    <a:pt x="3310" y="3108"/>
                  </a:lnTo>
                  <a:lnTo>
                    <a:pt x="3306" y="3108"/>
                  </a:lnTo>
                  <a:lnTo>
                    <a:pt x="3302" y="3110"/>
                  </a:lnTo>
                  <a:lnTo>
                    <a:pt x="3300" y="3112"/>
                  </a:lnTo>
                  <a:lnTo>
                    <a:pt x="3302" y="3114"/>
                  </a:lnTo>
                  <a:close/>
                  <a:moveTo>
                    <a:pt x="3298" y="3086"/>
                  </a:moveTo>
                  <a:lnTo>
                    <a:pt x="3298" y="3086"/>
                  </a:lnTo>
                  <a:lnTo>
                    <a:pt x="3296" y="3088"/>
                  </a:lnTo>
                  <a:lnTo>
                    <a:pt x="3298" y="3090"/>
                  </a:lnTo>
                  <a:lnTo>
                    <a:pt x="3302" y="3096"/>
                  </a:lnTo>
                  <a:lnTo>
                    <a:pt x="3302" y="3098"/>
                  </a:lnTo>
                  <a:lnTo>
                    <a:pt x="3304" y="3094"/>
                  </a:lnTo>
                  <a:lnTo>
                    <a:pt x="3302" y="3088"/>
                  </a:lnTo>
                  <a:lnTo>
                    <a:pt x="3300" y="3086"/>
                  </a:lnTo>
                  <a:lnTo>
                    <a:pt x="3298" y="3086"/>
                  </a:lnTo>
                  <a:close/>
                  <a:moveTo>
                    <a:pt x="3298" y="4354"/>
                  </a:moveTo>
                  <a:lnTo>
                    <a:pt x="3298" y="4354"/>
                  </a:lnTo>
                  <a:lnTo>
                    <a:pt x="3296" y="4358"/>
                  </a:lnTo>
                  <a:lnTo>
                    <a:pt x="3296" y="4362"/>
                  </a:lnTo>
                  <a:lnTo>
                    <a:pt x="3298" y="4362"/>
                  </a:lnTo>
                  <a:lnTo>
                    <a:pt x="3300" y="4364"/>
                  </a:lnTo>
                  <a:lnTo>
                    <a:pt x="3304" y="4362"/>
                  </a:lnTo>
                  <a:lnTo>
                    <a:pt x="3304" y="4360"/>
                  </a:lnTo>
                  <a:lnTo>
                    <a:pt x="3302" y="4356"/>
                  </a:lnTo>
                  <a:lnTo>
                    <a:pt x="3300" y="4348"/>
                  </a:lnTo>
                  <a:lnTo>
                    <a:pt x="3298" y="4354"/>
                  </a:lnTo>
                  <a:close/>
                  <a:moveTo>
                    <a:pt x="3274" y="4930"/>
                  </a:moveTo>
                  <a:lnTo>
                    <a:pt x="3274" y="4930"/>
                  </a:lnTo>
                  <a:lnTo>
                    <a:pt x="3274" y="4932"/>
                  </a:lnTo>
                  <a:lnTo>
                    <a:pt x="3278" y="4934"/>
                  </a:lnTo>
                  <a:lnTo>
                    <a:pt x="3288" y="4934"/>
                  </a:lnTo>
                  <a:lnTo>
                    <a:pt x="3310" y="4928"/>
                  </a:lnTo>
                  <a:lnTo>
                    <a:pt x="3312" y="4926"/>
                  </a:lnTo>
                  <a:lnTo>
                    <a:pt x="3310" y="4926"/>
                  </a:lnTo>
                  <a:lnTo>
                    <a:pt x="3296" y="4924"/>
                  </a:lnTo>
                  <a:lnTo>
                    <a:pt x="3282" y="4924"/>
                  </a:lnTo>
                  <a:lnTo>
                    <a:pt x="3276" y="4926"/>
                  </a:lnTo>
                  <a:lnTo>
                    <a:pt x="3274" y="4930"/>
                  </a:lnTo>
                  <a:close/>
                  <a:moveTo>
                    <a:pt x="3132" y="5104"/>
                  </a:moveTo>
                  <a:lnTo>
                    <a:pt x="3132" y="5104"/>
                  </a:lnTo>
                  <a:lnTo>
                    <a:pt x="3136" y="5106"/>
                  </a:lnTo>
                  <a:lnTo>
                    <a:pt x="3138" y="5104"/>
                  </a:lnTo>
                  <a:lnTo>
                    <a:pt x="3136" y="5096"/>
                  </a:lnTo>
                  <a:lnTo>
                    <a:pt x="3134" y="5090"/>
                  </a:lnTo>
                  <a:lnTo>
                    <a:pt x="3132" y="5086"/>
                  </a:lnTo>
                  <a:lnTo>
                    <a:pt x="3130" y="5088"/>
                  </a:lnTo>
                  <a:lnTo>
                    <a:pt x="3130" y="5096"/>
                  </a:lnTo>
                  <a:lnTo>
                    <a:pt x="3132" y="5104"/>
                  </a:lnTo>
                  <a:close/>
                  <a:moveTo>
                    <a:pt x="3196" y="4912"/>
                  </a:moveTo>
                  <a:lnTo>
                    <a:pt x="3196" y="4912"/>
                  </a:lnTo>
                  <a:lnTo>
                    <a:pt x="3198" y="4908"/>
                  </a:lnTo>
                  <a:lnTo>
                    <a:pt x="3198" y="4904"/>
                  </a:lnTo>
                  <a:lnTo>
                    <a:pt x="3196" y="4900"/>
                  </a:lnTo>
                  <a:lnTo>
                    <a:pt x="3192" y="4900"/>
                  </a:lnTo>
                  <a:lnTo>
                    <a:pt x="3190" y="4902"/>
                  </a:lnTo>
                  <a:lnTo>
                    <a:pt x="3188" y="4904"/>
                  </a:lnTo>
                  <a:lnTo>
                    <a:pt x="3188" y="4908"/>
                  </a:lnTo>
                  <a:lnTo>
                    <a:pt x="3192" y="4912"/>
                  </a:lnTo>
                  <a:lnTo>
                    <a:pt x="3194" y="4912"/>
                  </a:lnTo>
                  <a:lnTo>
                    <a:pt x="3196" y="4912"/>
                  </a:lnTo>
                  <a:close/>
                  <a:moveTo>
                    <a:pt x="3180" y="4896"/>
                  </a:moveTo>
                  <a:lnTo>
                    <a:pt x="3180" y="4896"/>
                  </a:lnTo>
                  <a:lnTo>
                    <a:pt x="3176" y="4896"/>
                  </a:lnTo>
                  <a:lnTo>
                    <a:pt x="3172" y="4900"/>
                  </a:lnTo>
                  <a:lnTo>
                    <a:pt x="3170" y="4906"/>
                  </a:lnTo>
                  <a:lnTo>
                    <a:pt x="3172" y="4916"/>
                  </a:lnTo>
                  <a:lnTo>
                    <a:pt x="3174" y="4916"/>
                  </a:lnTo>
                  <a:lnTo>
                    <a:pt x="3180" y="4908"/>
                  </a:lnTo>
                  <a:lnTo>
                    <a:pt x="3184" y="4900"/>
                  </a:lnTo>
                  <a:lnTo>
                    <a:pt x="3182" y="4898"/>
                  </a:lnTo>
                  <a:lnTo>
                    <a:pt x="3180" y="4896"/>
                  </a:lnTo>
                  <a:close/>
                  <a:moveTo>
                    <a:pt x="3184" y="5356"/>
                  </a:moveTo>
                  <a:lnTo>
                    <a:pt x="3184" y="5356"/>
                  </a:lnTo>
                  <a:lnTo>
                    <a:pt x="3180" y="5360"/>
                  </a:lnTo>
                  <a:lnTo>
                    <a:pt x="3174" y="5364"/>
                  </a:lnTo>
                  <a:lnTo>
                    <a:pt x="3170" y="5366"/>
                  </a:lnTo>
                  <a:lnTo>
                    <a:pt x="3168" y="5370"/>
                  </a:lnTo>
                  <a:lnTo>
                    <a:pt x="3168" y="5372"/>
                  </a:lnTo>
                  <a:lnTo>
                    <a:pt x="3170" y="5372"/>
                  </a:lnTo>
                  <a:lnTo>
                    <a:pt x="3178" y="5370"/>
                  </a:lnTo>
                  <a:lnTo>
                    <a:pt x="3190" y="5362"/>
                  </a:lnTo>
                  <a:lnTo>
                    <a:pt x="3194" y="5358"/>
                  </a:lnTo>
                  <a:lnTo>
                    <a:pt x="3192" y="5352"/>
                  </a:lnTo>
                  <a:lnTo>
                    <a:pt x="3192" y="5350"/>
                  </a:lnTo>
                  <a:lnTo>
                    <a:pt x="3190" y="5350"/>
                  </a:lnTo>
                  <a:lnTo>
                    <a:pt x="3188" y="5352"/>
                  </a:lnTo>
                  <a:lnTo>
                    <a:pt x="3184" y="5356"/>
                  </a:lnTo>
                  <a:close/>
                  <a:moveTo>
                    <a:pt x="3074" y="5152"/>
                  </a:moveTo>
                  <a:lnTo>
                    <a:pt x="3074" y="5152"/>
                  </a:lnTo>
                  <a:lnTo>
                    <a:pt x="3076" y="5154"/>
                  </a:lnTo>
                  <a:lnTo>
                    <a:pt x="3078" y="5144"/>
                  </a:lnTo>
                  <a:lnTo>
                    <a:pt x="3076" y="5132"/>
                  </a:lnTo>
                  <a:lnTo>
                    <a:pt x="3076" y="5122"/>
                  </a:lnTo>
                  <a:lnTo>
                    <a:pt x="3074" y="5122"/>
                  </a:lnTo>
                  <a:lnTo>
                    <a:pt x="3074" y="5124"/>
                  </a:lnTo>
                  <a:lnTo>
                    <a:pt x="3072" y="5130"/>
                  </a:lnTo>
                  <a:lnTo>
                    <a:pt x="3072" y="5142"/>
                  </a:lnTo>
                  <a:lnTo>
                    <a:pt x="3074" y="5152"/>
                  </a:lnTo>
                  <a:close/>
                  <a:moveTo>
                    <a:pt x="3070" y="5308"/>
                  </a:moveTo>
                  <a:lnTo>
                    <a:pt x="3070" y="5308"/>
                  </a:lnTo>
                  <a:lnTo>
                    <a:pt x="3066" y="5308"/>
                  </a:lnTo>
                  <a:lnTo>
                    <a:pt x="3066" y="5306"/>
                  </a:lnTo>
                  <a:lnTo>
                    <a:pt x="3064" y="5304"/>
                  </a:lnTo>
                  <a:lnTo>
                    <a:pt x="3060" y="5298"/>
                  </a:lnTo>
                  <a:lnTo>
                    <a:pt x="3054" y="5294"/>
                  </a:lnTo>
                  <a:lnTo>
                    <a:pt x="3048" y="5294"/>
                  </a:lnTo>
                  <a:lnTo>
                    <a:pt x="3046" y="5296"/>
                  </a:lnTo>
                  <a:lnTo>
                    <a:pt x="3042" y="5296"/>
                  </a:lnTo>
                  <a:lnTo>
                    <a:pt x="3036" y="5294"/>
                  </a:lnTo>
                  <a:lnTo>
                    <a:pt x="3026" y="5294"/>
                  </a:lnTo>
                  <a:lnTo>
                    <a:pt x="3020" y="5296"/>
                  </a:lnTo>
                  <a:lnTo>
                    <a:pt x="3016" y="5298"/>
                  </a:lnTo>
                  <a:lnTo>
                    <a:pt x="3014" y="5302"/>
                  </a:lnTo>
                  <a:lnTo>
                    <a:pt x="3012" y="5306"/>
                  </a:lnTo>
                  <a:lnTo>
                    <a:pt x="3014" y="5310"/>
                  </a:lnTo>
                  <a:lnTo>
                    <a:pt x="3016" y="5312"/>
                  </a:lnTo>
                  <a:lnTo>
                    <a:pt x="3026" y="5316"/>
                  </a:lnTo>
                  <a:lnTo>
                    <a:pt x="3036" y="5318"/>
                  </a:lnTo>
                  <a:lnTo>
                    <a:pt x="3046" y="5322"/>
                  </a:lnTo>
                  <a:lnTo>
                    <a:pt x="3054" y="5328"/>
                  </a:lnTo>
                  <a:lnTo>
                    <a:pt x="3058" y="5334"/>
                  </a:lnTo>
                  <a:lnTo>
                    <a:pt x="3060" y="5338"/>
                  </a:lnTo>
                  <a:lnTo>
                    <a:pt x="3064" y="5340"/>
                  </a:lnTo>
                  <a:lnTo>
                    <a:pt x="3068" y="5340"/>
                  </a:lnTo>
                  <a:lnTo>
                    <a:pt x="3070" y="5342"/>
                  </a:lnTo>
                  <a:lnTo>
                    <a:pt x="3074" y="5342"/>
                  </a:lnTo>
                  <a:lnTo>
                    <a:pt x="3076" y="5340"/>
                  </a:lnTo>
                  <a:lnTo>
                    <a:pt x="3078" y="5338"/>
                  </a:lnTo>
                  <a:lnTo>
                    <a:pt x="3080" y="5338"/>
                  </a:lnTo>
                  <a:lnTo>
                    <a:pt x="3082" y="5336"/>
                  </a:lnTo>
                  <a:lnTo>
                    <a:pt x="3086" y="5332"/>
                  </a:lnTo>
                  <a:lnTo>
                    <a:pt x="3086" y="5330"/>
                  </a:lnTo>
                  <a:lnTo>
                    <a:pt x="3086" y="5326"/>
                  </a:lnTo>
                  <a:lnTo>
                    <a:pt x="3082" y="5320"/>
                  </a:lnTo>
                  <a:lnTo>
                    <a:pt x="3076" y="5312"/>
                  </a:lnTo>
                  <a:lnTo>
                    <a:pt x="3070" y="5308"/>
                  </a:lnTo>
                  <a:close/>
                  <a:moveTo>
                    <a:pt x="3176" y="5238"/>
                  </a:moveTo>
                  <a:lnTo>
                    <a:pt x="3176" y="5238"/>
                  </a:lnTo>
                  <a:lnTo>
                    <a:pt x="3174" y="5234"/>
                  </a:lnTo>
                  <a:lnTo>
                    <a:pt x="3172" y="5234"/>
                  </a:lnTo>
                  <a:lnTo>
                    <a:pt x="3168" y="5234"/>
                  </a:lnTo>
                  <a:lnTo>
                    <a:pt x="3166" y="5238"/>
                  </a:lnTo>
                  <a:lnTo>
                    <a:pt x="3166" y="5240"/>
                  </a:lnTo>
                  <a:lnTo>
                    <a:pt x="3168" y="5240"/>
                  </a:lnTo>
                  <a:lnTo>
                    <a:pt x="3170" y="5242"/>
                  </a:lnTo>
                  <a:lnTo>
                    <a:pt x="3168" y="5246"/>
                  </a:lnTo>
                  <a:lnTo>
                    <a:pt x="3160" y="5248"/>
                  </a:lnTo>
                  <a:lnTo>
                    <a:pt x="3156" y="5252"/>
                  </a:lnTo>
                  <a:lnTo>
                    <a:pt x="3156" y="5256"/>
                  </a:lnTo>
                  <a:lnTo>
                    <a:pt x="3156" y="5258"/>
                  </a:lnTo>
                  <a:lnTo>
                    <a:pt x="3152" y="5260"/>
                  </a:lnTo>
                  <a:lnTo>
                    <a:pt x="3148" y="5260"/>
                  </a:lnTo>
                  <a:lnTo>
                    <a:pt x="3146" y="5260"/>
                  </a:lnTo>
                  <a:lnTo>
                    <a:pt x="3142" y="5256"/>
                  </a:lnTo>
                  <a:lnTo>
                    <a:pt x="3136" y="5252"/>
                  </a:lnTo>
                  <a:lnTo>
                    <a:pt x="3134" y="5250"/>
                  </a:lnTo>
                  <a:lnTo>
                    <a:pt x="3132" y="5252"/>
                  </a:lnTo>
                  <a:lnTo>
                    <a:pt x="3128" y="5254"/>
                  </a:lnTo>
                  <a:lnTo>
                    <a:pt x="3124" y="5254"/>
                  </a:lnTo>
                  <a:lnTo>
                    <a:pt x="3120" y="5254"/>
                  </a:lnTo>
                  <a:lnTo>
                    <a:pt x="3116" y="5256"/>
                  </a:lnTo>
                  <a:lnTo>
                    <a:pt x="3114" y="5258"/>
                  </a:lnTo>
                  <a:lnTo>
                    <a:pt x="3112" y="5256"/>
                  </a:lnTo>
                  <a:lnTo>
                    <a:pt x="3106" y="5254"/>
                  </a:lnTo>
                  <a:lnTo>
                    <a:pt x="3100" y="5250"/>
                  </a:lnTo>
                  <a:lnTo>
                    <a:pt x="3092" y="5246"/>
                  </a:lnTo>
                  <a:lnTo>
                    <a:pt x="3076" y="5242"/>
                  </a:lnTo>
                  <a:lnTo>
                    <a:pt x="3068" y="5242"/>
                  </a:lnTo>
                  <a:lnTo>
                    <a:pt x="3064" y="5242"/>
                  </a:lnTo>
                  <a:lnTo>
                    <a:pt x="3060" y="5246"/>
                  </a:lnTo>
                  <a:lnTo>
                    <a:pt x="3056" y="5250"/>
                  </a:lnTo>
                  <a:lnTo>
                    <a:pt x="3050" y="5252"/>
                  </a:lnTo>
                  <a:lnTo>
                    <a:pt x="3048" y="5256"/>
                  </a:lnTo>
                  <a:lnTo>
                    <a:pt x="3048" y="5262"/>
                  </a:lnTo>
                  <a:lnTo>
                    <a:pt x="3050" y="5270"/>
                  </a:lnTo>
                  <a:lnTo>
                    <a:pt x="3050" y="5272"/>
                  </a:lnTo>
                  <a:lnTo>
                    <a:pt x="3052" y="5272"/>
                  </a:lnTo>
                  <a:lnTo>
                    <a:pt x="3056" y="5270"/>
                  </a:lnTo>
                  <a:lnTo>
                    <a:pt x="3062" y="5268"/>
                  </a:lnTo>
                  <a:lnTo>
                    <a:pt x="3078" y="5270"/>
                  </a:lnTo>
                  <a:lnTo>
                    <a:pt x="3086" y="5272"/>
                  </a:lnTo>
                  <a:lnTo>
                    <a:pt x="3092" y="5274"/>
                  </a:lnTo>
                  <a:lnTo>
                    <a:pt x="3096" y="5278"/>
                  </a:lnTo>
                  <a:lnTo>
                    <a:pt x="3098" y="5276"/>
                  </a:lnTo>
                  <a:lnTo>
                    <a:pt x="3102" y="5274"/>
                  </a:lnTo>
                  <a:lnTo>
                    <a:pt x="3106" y="5274"/>
                  </a:lnTo>
                  <a:lnTo>
                    <a:pt x="3108" y="5274"/>
                  </a:lnTo>
                  <a:lnTo>
                    <a:pt x="3110" y="5272"/>
                  </a:lnTo>
                  <a:lnTo>
                    <a:pt x="3112" y="5270"/>
                  </a:lnTo>
                  <a:lnTo>
                    <a:pt x="3120" y="5272"/>
                  </a:lnTo>
                  <a:lnTo>
                    <a:pt x="3124" y="5272"/>
                  </a:lnTo>
                  <a:lnTo>
                    <a:pt x="3128" y="5272"/>
                  </a:lnTo>
                  <a:lnTo>
                    <a:pt x="3134" y="5270"/>
                  </a:lnTo>
                  <a:lnTo>
                    <a:pt x="3138" y="5268"/>
                  </a:lnTo>
                  <a:lnTo>
                    <a:pt x="3142" y="5266"/>
                  </a:lnTo>
                  <a:lnTo>
                    <a:pt x="3150" y="5266"/>
                  </a:lnTo>
                  <a:lnTo>
                    <a:pt x="3158" y="5264"/>
                  </a:lnTo>
                  <a:lnTo>
                    <a:pt x="3166" y="5260"/>
                  </a:lnTo>
                  <a:lnTo>
                    <a:pt x="3168" y="5258"/>
                  </a:lnTo>
                  <a:lnTo>
                    <a:pt x="3170" y="5254"/>
                  </a:lnTo>
                  <a:lnTo>
                    <a:pt x="3170" y="5252"/>
                  </a:lnTo>
                  <a:lnTo>
                    <a:pt x="3174" y="5248"/>
                  </a:lnTo>
                  <a:lnTo>
                    <a:pt x="3176" y="5244"/>
                  </a:lnTo>
                  <a:lnTo>
                    <a:pt x="3176" y="5238"/>
                  </a:lnTo>
                  <a:close/>
                  <a:moveTo>
                    <a:pt x="3042" y="5268"/>
                  </a:moveTo>
                  <a:lnTo>
                    <a:pt x="3042" y="5268"/>
                  </a:lnTo>
                  <a:lnTo>
                    <a:pt x="3044" y="5266"/>
                  </a:lnTo>
                  <a:lnTo>
                    <a:pt x="3046" y="5264"/>
                  </a:lnTo>
                  <a:lnTo>
                    <a:pt x="3044" y="5262"/>
                  </a:lnTo>
                  <a:lnTo>
                    <a:pt x="3042" y="5260"/>
                  </a:lnTo>
                  <a:lnTo>
                    <a:pt x="3040" y="5262"/>
                  </a:lnTo>
                  <a:lnTo>
                    <a:pt x="3040" y="5266"/>
                  </a:lnTo>
                  <a:lnTo>
                    <a:pt x="3040" y="5268"/>
                  </a:lnTo>
                  <a:lnTo>
                    <a:pt x="3042" y="5268"/>
                  </a:lnTo>
                  <a:close/>
                  <a:moveTo>
                    <a:pt x="3038" y="5258"/>
                  </a:moveTo>
                  <a:lnTo>
                    <a:pt x="3038" y="5258"/>
                  </a:lnTo>
                  <a:lnTo>
                    <a:pt x="3040" y="5256"/>
                  </a:lnTo>
                  <a:lnTo>
                    <a:pt x="3040" y="5254"/>
                  </a:lnTo>
                  <a:lnTo>
                    <a:pt x="3038" y="5252"/>
                  </a:lnTo>
                  <a:lnTo>
                    <a:pt x="3034" y="5250"/>
                  </a:lnTo>
                  <a:lnTo>
                    <a:pt x="3032" y="5250"/>
                  </a:lnTo>
                  <a:lnTo>
                    <a:pt x="3032" y="5252"/>
                  </a:lnTo>
                  <a:lnTo>
                    <a:pt x="3032" y="5258"/>
                  </a:lnTo>
                  <a:lnTo>
                    <a:pt x="3030" y="5262"/>
                  </a:lnTo>
                  <a:lnTo>
                    <a:pt x="3032" y="5266"/>
                  </a:lnTo>
                  <a:lnTo>
                    <a:pt x="3032" y="5264"/>
                  </a:lnTo>
                  <a:lnTo>
                    <a:pt x="3034" y="5260"/>
                  </a:lnTo>
                  <a:lnTo>
                    <a:pt x="3038" y="5258"/>
                  </a:lnTo>
                  <a:close/>
                  <a:moveTo>
                    <a:pt x="2740" y="626"/>
                  </a:moveTo>
                  <a:lnTo>
                    <a:pt x="2740" y="626"/>
                  </a:lnTo>
                  <a:lnTo>
                    <a:pt x="2756" y="630"/>
                  </a:lnTo>
                  <a:lnTo>
                    <a:pt x="2768" y="628"/>
                  </a:lnTo>
                  <a:lnTo>
                    <a:pt x="2778" y="624"/>
                  </a:lnTo>
                  <a:lnTo>
                    <a:pt x="2784" y="618"/>
                  </a:lnTo>
                  <a:lnTo>
                    <a:pt x="2786" y="612"/>
                  </a:lnTo>
                  <a:lnTo>
                    <a:pt x="2786" y="608"/>
                  </a:lnTo>
                  <a:lnTo>
                    <a:pt x="2784" y="604"/>
                  </a:lnTo>
                  <a:lnTo>
                    <a:pt x="2782" y="602"/>
                  </a:lnTo>
                  <a:lnTo>
                    <a:pt x="2776" y="600"/>
                  </a:lnTo>
                  <a:lnTo>
                    <a:pt x="2764" y="598"/>
                  </a:lnTo>
                  <a:lnTo>
                    <a:pt x="2748" y="598"/>
                  </a:lnTo>
                  <a:lnTo>
                    <a:pt x="2736" y="598"/>
                  </a:lnTo>
                  <a:lnTo>
                    <a:pt x="2726" y="600"/>
                  </a:lnTo>
                  <a:lnTo>
                    <a:pt x="2720" y="604"/>
                  </a:lnTo>
                  <a:lnTo>
                    <a:pt x="2716" y="608"/>
                  </a:lnTo>
                  <a:lnTo>
                    <a:pt x="2720" y="614"/>
                  </a:lnTo>
                  <a:lnTo>
                    <a:pt x="2726" y="618"/>
                  </a:lnTo>
                  <a:lnTo>
                    <a:pt x="2740" y="626"/>
                  </a:lnTo>
                  <a:close/>
                  <a:moveTo>
                    <a:pt x="162" y="3354"/>
                  </a:moveTo>
                  <a:lnTo>
                    <a:pt x="162" y="3354"/>
                  </a:lnTo>
                  <a:lnTo>
                    <a:pt x="160" y="3358"/>
                  </a:lnTo>
                  <a:lnTo>
                    <a:pt x="162" y="3364"/>
                  </a:lnTo>
                  <a:lnTo>
                    <a:pt x="164" y="3366"/>
                  </a:lnTo>
                  <a:lnTo>
                    <a:pt x="166" y="3368"/>
                  </a:lnTo>
                  <a:lnTo>
                    <a:pt x="168" y="3366"/>
                  </a:lnTo>
                  <a:lnTo>
                    <a:pt x="168" y="3362"/>
                  </a:lnTo>
                  <a:lnTo>
                    <a:pt x="166" y="3356"/>
                  </a:lnTo>
                  <a:lnTo>
                    <a:pt x="164" y="3352"/>
                  </a:lnTo>
                  <a:lnTo>
                    <a:pt x="162" y="3352"/>
                  </a:lnTo>
                  <a:lnTo>
                    <a:pt x="162" y="3354"/>
                  </a:lnTo>
                  <a:close/>
                  <a:moveTo>
                    <a:pt x="3766" y="1952"/>
                  </a:moveTo>
                  <a:lnTo>
                    <a:pt x="3766" y="1952"/>
                  </a:lnTo>
                  <a:lnTo>
                    <a:pt x="3772" y="1954"/>
                  </a:lnTo>
                  <a:lnTo>
                    <a:pt x="3776" y="1954"/>
                  </a:lnTo>
                  <a:lnTo>
                    <a:pt x="3780" y="1950"/>
                  </a:lnTo>
                  <a:lnTo>
                    <a:pt x="3782" y="1944"/>
                  </a:lnTo>
                  <a:lnTo>
                    <a:pt x="3784" y="1940"/>
                  </a:lnTo>
                  <a:lnTo>
                    <a:pt x="3782" y="1934"/>
                  </a:lnTo>
                  <a:lnTo>
                    <a:pt x="3780" y="1930"/>
                  </a:lnTo>
                  <a:lnTo>
                    <a:pt x="3774" y="1928"/>
                  </a:lnTo>
                  <a:lnTo>
                    <a:pt x="3768" y="1928"/>
                  </a:lnTo>
                  <a:lnTo>
                    <a:pt x="3764" y="1930"/>
                  </a:lnTo>
                  <a:lnTo>
                    <a:pt x="3760" y="1932"/>
                  </a:lnTo>
                  <a:lnTo>
                    <a:pt x="3758" y="1936"/>
                  </a:lnTo>
                  <a:lnTo>
                    <a:pt x="3758" y="1938"/>
                  </a:lnTo>
                  <a:lnTo>
                    <a:pt x="3760" y="1944"/>
                  </a:lnTo>
                  <a:lnTo>
                    <a:pt x="3762" y="1948"/>
                  </a:lnTo>
                  <a:lnTo>
                    <a:pt x="3766" y="1952"/>
                  </a:lnTo>
                  <a:close/>
                  <a:moveTo>
                    <a:pt x="3314" y="2942"/>
                  </a:moveTo>
                  <a:lnTo>
                    <a:pt x="3314" y="2942"/>
                  </a:lnTo>
                  <a:lnTo>
                    <a:pt x="3316" y="2940"/>
                  </a:lnTo>
                  <a:lnTo>
                    <a:pt x="3318" y="2936"/>
                  </a:lnTo>
                  <a:lnTo>
                    <a:pt x="3316" y="2932"/>
                  </a:lnTo>
                  <a:lnTo>
                    <a:pt x="3312" y="2930"/>
                  </a:lnTo>
                  <a:lnTo>
                    <a:pt x="3310" y="2930"/>
                  </a:lnTo>
                  <a:lnTo>
                    <a:pt x="3310" y="2932"/>
                  </a:lnTo>
                  <a:lnTo>
                    <a:pt x="3310" y="2936"/>
                  </a:lnTo>
                  <a:lnTo>
                    <a:pt x="3312" y="2940"/>
                  </a:lnTo>
                  <a:lnTo>
                    <a:pt x="3314" y="2942"/>
                  </a:lnTo>
                  <a:close/>
                  <a:moveTo>
                    <a:pt x="3310" y="2998"/>
                  </a:moveTo>
                  <a:lnTo>
                    <a:pt x="3310" y="2998"/>
                  </a:lnTo>
                  <a:lnTo>
                    <a:pt x="3308" y="2998"/>
                  </a:lnTo>
                  <a:lnTo>
                    <a:pt x="3308" y="3002"/>
                  </a:lnTo>
                  <a:lnTo>
                    <a:pt x="3310" y="3004"/>
                  </a:lnTo>
                  <a:lnTo>
                    <a:pt x="3312" y="3006"/>
                  </a:lnTo>
                  <a:lnTo>
                    <a:pt x="3314" y="3006"/>
                  </a:lnTo>
                  <a:lnTo>
                    <a:pt x="3314" y="3002"/>
                  </a:lnTo>
                  <a:lnTo>
                    <a:pt x="3312" y="2998"/>
                  </a:lnTo>
                  <a:lnTo>
                    <a:pt x="3310" y="2998"/>
                  </a:lnTo>
                  <a:close/>
                  <a:moveTo>
                    <a:pt x="468" y="3506"/>
                  </a:moveTo>
                  <a:lnTo>
                    <a:pt x="468" y="3506"/>
                  </a:lnTo>
                  <a:lnTo>
                    <a:pt x="468" y="3508"/>
                  </a:lnTo>
                  <a:lnTo>
                    <a:pt x="466" y="3510"/>
                  </a:lnTo>
                  <a:lnTo>
                    <a:pt x="458" y="3514"/>
                  </a:lnTo>
                  <a:lnTo>
                    <a:pt x="452" y="3518"/>
                  </a:lnTo>
                  <a:lnTo>
                    <a:pt x="450" y="3520"/>
                  </a:lnTo>
                  <a:lnTo>
                    <a:pt x="450" y="3522"/>
                  </a:lnTo>
                  <a:lnTo>
                    <a:pt x="452" y="3524"/>
                  </a:lnTo>
                  <a:lnTo>
                    <a:pt x="456" y="3524"/>
                  </a:lnTo>
                  <a:lnTo>
                    <a:pt x="464" y="3520"/>
                  </a:lnTo>
                  <a:lnTo>
                    <a:pt x="476" y="3514"/>
                  </a:lnTo>
                  <a:lnTo>
                    <a:pt x="484" y="3504"/>
                  </a:lnTo>
                  <a:lnTo>
                    <a:pt x="486" y="3502"/>
                  </a:lnTo>
                  <a:lnTo>
                    <a:pt x="486" y="3500"/>
                  </a:lnTo>
                  <a:lnTo>
                    <a:pt x="480" y="3502"/>
                  </a:lnTo>
                  <a:lnTo>
                    <a:pt x="468" y="3506"/>
                  </a:lnTo>
                  <a:close/>
                  <a:moveTo>
                    <a:pt x="1966" y="4176"/>
                  </a:moveTo>
                  <a:lnTo>
                    <a:pt x="1966" y="4176"/>
                  </a:lnTo>
                  <a:lnTo>
                    <a:pt x="1964" y="4176"/>
                  </a:lnTo>
                  <a:lnTo>
                    <a:pt x="1960" y="4184"/>
                  </a:lnTo>
                  <a:lnTo>
                    <a:pt x="1958" y="4200"/>
                  </a:lnTo>
                  <a:lnTo>
                    <a:pt x="1956" y="4222"/>
                  </a:lnTo>
                  <a:lnTo>
                    <a:pt x="1954" y="4242"/>
                  </a:lnTo>
                  <a:lnTo>
                    <a:pt x="1952" y="4252"/>
                  </a:lnTo>
                  <a:lnTo>
                    <a:pt x="1950" y="4260"/>
                  </a:lnTo>
                  <a:lnTo>
                    <a:pt x="1952" y="4272"/>
                  </a:lnTo>
                  <a:lnTo>
                    <a:pt x="1954" y="4278"/>
                  </a:lnTo>
                  <a:lnTo>
                    <a:pt x="1956" y="4280"/>
                  </a:lnTo>
                  <a:lnTo>
                    <a:pt x="1958" y="4274"/>
                  </a:lnTo>
                  <a:lnTo>
                    <a:pt x="1962" y="4248"/>
                  </a:lnTo>
                  <a:lnTo>
                    <a:pt x="1962" y="4240"/>
                  </a:lnTo>
                  <a:lnTo>
                    <a:pt x="1962" y="4236"/>
                  </a:lnTo>
                  <a:lnTo>
                    <a:pt x="1962" y="4234"/>
                  </a:lnTo>
                  <a:lnTo>
                    <a:pt x="1964" y="4232"/>
                  </a:lnTo>
                  <a:lnTo>
                    <a:pt x="1966" y="4228"/>
                  </a:lnTo>
                  <a:lnTo>
                    <a:pt x="1966" y="4226"/>
                  </a:lnTo>
                  <a:lnTo>
                    <a:pt x="1964" y="4218"/>
                  </a:lnTo>
                  <a:lnTo>
                    <a:pt x="1964" y="4210"/>
                  </a:lnTo>
                  <a:lnTo>
                    <a:pt x="1964" y="4206"/>
                  </a:lnTo>
                  <a:lnTo>
                    <a:pt x="1964" y="4204"/>
                  </a:lnTo>
                  <a:lnTo>
                    <a:pt x="1968" y="4200"/>
                  </a:lnTo>
                  <a:lnTo>
                    <a:pt x="1970" y="4192"/>
                  </a:lnTo>
                  <a:lnTo>
                    <a:pt x="1970" y="4182"/>
                  </a:lnTo>
                  <a:lnTo>
                    <a:pt x="1966" y="4176"/>
                  </a:lnTo>
                  <a:close/>
                  <a:moveTo>
                    <a:pt x="1508" y="4454"/>
                  </a:moveTo>
                  <a:lnTo>
                    <a:pt x="1508" y="4454"/>
                  </a:lnTo>
                  <a:lnTo>
                    <a:pt x="1504" y="4444"/>
                  </a:lnTo>
                  <a:lnTo>
                    <a:pt x="1498" y="4430"/>
                  </a:lnTo>
                  <a:lnTo>
                    <a:pt x="1492" y="4416"/>
                  </a:lnTo>
                  <a:lnTo>
                    <a:pt x="1484" y="4404"/>
                  </a:lnTo>
                  <a:lnTo>
                    <a:pt x="1478" y="4396"/>
                  </a:lnTo>
                  <a:lnTo>
                    <a:pt x="1474" y="4388"/>
                  </a:lnTo>
                  <a:lnTo>
                    <a:pt x="1472" y="4380"/>
                  </a:lnTo>
                  <a:lnTo>
                    <a:pt x="1464" y="4372"/>
                  </a:lnTo>
                  <a:lnTo>
                    <a:pt x="1456" y="4364"/>
                  </a:lnTo>
                  <a:lnTo>
                    <a:pt x="1448" y="4360"/>
                  </a:lnTo>
                  <a:lnTo>
                    <a:pt x="1442" y="4360"/>
                  </a:lnTo>
                  <a:lnTo>
                    <a:pt x="1438" y="4362"/>
                  </a:lnTo>
                  <a:lnTo>
                    <a:pt x="1438" y="4364"/>
                  </a:lnTo>
                  <a:lnTo>
                    <a:pt x="1440" y="4368"/>
                  </a:lnTo>
                  <a:lnTo>
                    <a:pt x="1444" y="4372"/>
                  </a:lnTo>
                  <a:lnTo>
                    <a:pt x="1446" y="4382"/>
                  </a:lnTo>
                  <a:lnTo>
                    <a:pt x="1446" y="4392"/>
                  </a:lnTo>
                  <a:lnTo>
                    <a:pt x="1444" y="4398"/>
                  </a:lnTo>
                  <a:lnTo>
                    <a:pt x="1440" y="4404"/>
                  </a:lnTo>
                  <a:lnTo>
                    <a:pt x="1440" y="4410"/>
                  </a:lnTo>
                  <a:lnTo>
                    <a:pt x="1440" y="4420"/>
                  </a:lnTo>
                  <a:lnTo>
                    <a:pt x="1438" y="4430"/>
                  </a:lnTo>
                  <a:lnTo>
                    <a:pt x="1436" y="4438"/>
                  </a:lnTo>
                  <a:lnTo>
                    <a:pt x="1436" y="4436"/>
                  </a:lnTo>
                  <a:lnTo>
                    <a:pt x="1434" y="4432"/>
                  </a:lnTo>
                  <a:lnTo>
                    <a:pt x="1432" y="4432"/>
                  </a:lnTo>
                  <a:lnTo>
                    <a:pt x="1430" y="4440"/>
                  </a:lnTo>
                  <a:lnTo>
                    <a:pt x="1432" y="4456"/>
                  </a:lnTo>
                  <a:lnTo>
                    <a:pt x="1434" y="4476"/>
                  </a:lnTo>
                  <a:lnTo>
                    <a:pt x="1434" y="4500"/>
                  </a:lnTo>
                  <a:lnTo>
                    <a:pt x="1436" y="4512"/>
                  </a:lnTo>
                  <a:lnTo>
                    <a:pt x="1438" y="4524"/>
                  </a:lnTo>
                  <a:lnTo>
                    <a:pt x="1442" y="4534"/>
                  </a:lnTo>
                  <a:lnTo>
                    <a:pt x="1450" y="4544"/>
                  </a:lnTo>
                  <a:lnTo>
                    <a:pt x="1458" y="4548"/>
                  </a:lnTo>
                  <a:lnTo>
                    <a:pt x="1464" y="4550"/>
                  </a:lnTo>
                  <a:lnTo>
                    <a:pt x="1470" y="4550"/>
                  </a:lnTo>
                  <a:lnTo>
                    <a:pt x="1476" y="4548"/>
                  </a:lnTo>
                  <a:lnTo>
                    <a:pt x="1488" y="4540"/>
                  </a:lnTo>
                  <a:lnTo>
                    <a:pt x="1502" y="4532"/>
                  </a:lnTo>
                  <a:lnTo>
                    <a:pt x="1508" y="4526"/>
                  </a:lnTo>
                  <a:lnTo>
                    <a:pt x="1512" y="4520"/>
                  </a:lnTo>
                  <a:lnTo>
                    <a:pt x="1516" y="4510"/>
                  </a:lnTo>
                  <a:lnTo>
                    <a:pt x="1518" y="4502"/>
                  </a:lnTo>
                  <a:lnTo>
                    <a:pt x="1518" y="4484"/>
                  </a:lnTo>
                  <a:lnTo>
                    <a:pt x="1516" y="4476"/>
                  </a:lnTo>
                  <a:lnTo>
                    <a:pt x="1514" y="4472"/>
                  </a:lnTo>
                  <a:lnTo>
                    <a:pt x="1512" y="4466"/>
                  </a:lnTo>
                  <a:lnTo>
                    <a:pt x="1512" y="4462"/>
                  </a:lnTo>
                  <a:lnTo>
                    <a:pt x="1510" y="4458"/>
                  </a:lnTo>
                  <a:lnTo>
                    <a:pt x="1508" y="4454"/>
                  </a:lnTo>
                  <a:close/>
                  <a:moveTo>
                    <a:pt x="1946" y="4308"/>
                  </a:moveTo>
                  <a:lnTo>
                    <a:pt x="1946" y="4308"/>
                  </a:lnTo>
                  <a:lnTo>
                    <a:pt x="1942" y="4310"/>
                  </a:lnTo>
                  <a:lnTo>
                    <a:pt x="1940" y="4316"/>
                  </a:lnTo>
                  <a:lnTo>
                    <a:pt x="1940" y="4322"/>
                  </a:lnTo>
                  <a:lnTo>
                    <a:pt x="1942" y="4328"/>
                  </a:lnTo>
                  <a:lnTo>
                    <a:pt x="1944" y="4328"/>
                  </a:lnTo>
                  <a:lnTo>
                    <a:pt x="1946" y="4326"/>
                  </a:lnTo>
                  <a:lnTo>
                    <a:pt x="1948" y="4320"/>
                  </a:lnTo>
                  <a:lnTo>
                    <a:pt x="1950" y="4312"/>
                  </a:lnTo>
                  <a:lnTo>
                    <a:pt x="1948" y="4310"/>
                  </a:lnTo>
                  <a:lnTo>
                    <a:pt x="1946" y="4308"/>
                  </a:lnTo>
                  <a:close/>
                  <a:moveTo>
                    <a:pt x="1996" y="4488"/>
                  </a:moveTo>
                  <a:lnTo>
                    <a:pt x="1996" y="4488"/>
                  </a:lnTo>
                  <a:lnTo>
                    <a:pt x="1994" y="4492"/>
                  </a:lnTo>
                  <a:lnTo>
                    <a:pt x="1994" y="4496"/>
                  </a:lnTo>
                  <a:lnTo>
                    <a:pt x="1994" y="4504"/>
                  </a:lnTo>
                  <a:lnTo>
                    <a:pt x="1998" y="4508"/>
                  </a:lnTo>
                  <a:lnTo>
                    <a:pt x="2000" y="4510"/>
                  </a:lnTo>
                  <a:lnTo>
                    <a:pt x="2002" y="4508"/>
                  </a:lnTo>
                  <a:lnTo>
                    <a:pt x="2004" y="4506"/>
                  </a:lnTo>
                  <a:lnTo>
                    <a:pt x="2004" y="4502"/>
                  </a:lnTo>
                  <a:lnTo>
                    <a:pt x="2004" y="4494"/>
                  </a:lnTo>
                  <a:lnTo>
                    <a:pt x="2000" y="4488"/>
                  </a:lnTo>
                  <a:lnTo>
                    <a:pt x="1998" y="4488"/>
                  </a:lnTo>
                  <a:lnTo>
                    <a:pt x="1996" y="4488"/>
                  </a:lnTo>
                  <a:close/>
                  <a:moveTo>
                    <a:pt x="1980" y="4454"/>
                  </a:moveTo>
                  <a:lnTo>
                    <a:pt x="1980" y="4454"/>
                  </a:lnTo>
                  <a:lnTo>
                    <a:pt x="1982" y="4454"/>
                  </a:lnTo>
                  <a:lnTo>
                    <a:pt x="1984" y="4454"/>
                  </a:lnTo>
                  <a:lnTo>
                    <a:pt x="1982" y="4448"/>
                  </a:lnTo>
                  <a:lnTo>
                    <a:pt x="1980" y="4448"/>
                  </a:lnTo>
                  <a:lnTo>
                    <a:pt x="1978" y="4448"/>
                  </a:lnTo>
                  <a:lnTo>
                    <a:pt x="1978" y="4450"/>
                  </a:lnTo>
                  <a:lnTo>
                    <a:pt x="1980" y="4454"/>
                  </a:lnTo>
                  <a:close/>
                  <a:moveTo>
                    <a:pt x="1954" y="4386"/>
                  </a:moveTo>
                  <a:lnTo>
                    <a:pt x="1954" y="4386"/>
                  </a:lnTo>
                  <a:lnTo>
                    <a:pt x="1952" y="4390"/>
                  </a:lnTo>
                  <a:lnTo>
                    <a:pt x="1952" y="4394"/>
                  </a:lnTo>
                  <a:lnTo>
                    <a:pt x="1954" y="4396"/>
                  </a:lnTo>
                  <a:lnTo>
                    <a:pt x="1958" y="4396"/>
                  </a:lnTo>
                  <a:lnTo>
                    <a:pt x="1960" y="4394"/>
                  </a:lnTo>
                  <a:lnTo>
                    <a:pt x="1958" y="4390"/>
                  </a:lnTo>
                  <a:lnTo>
                    <a:pt x="1958" y="4386"/>
                  </a:lnTo>
                  <a:lnTo>
                    <a:pt x="1956" y="4386"/>
                  </a:lnTo>
                  <a:lnTo>
                    <a:pt x="1954" y="4386"/>
                  </a:lnTo>
                  <a:close/>
                  <a:moveTo>
                    <a:pt x="2078" y="4702"/>
                  </a:moveTo>
                  <a:lnTo>
                    <a:pt x="2078" y="4702"/>
                  </a:lnTo>
                  <a:lnTo>
                    <a:pt x="2078" y="4706"/>
                  </a:lnTo>
                  <a:lnTo>
                    <a:pt x="2080" y="4710"/>
                  </a:lnTo>
                  <a:lnTo>
                    <a:pt x="2084" y="4714"/>
                  </a:lnTo>
                  <a:lnTo>
                    <a:pt x="2090" y="4720"/>
                  </a:lnTo>
                  <a:lnTo>
                    <a:pt x="2102" y="4728"/>
                  </a:lnTo>
                  <a:lnTo>
                    <a:pt x="2106" y="4730"/>
                  </a:lnTo>
                  <a:lnTo>
                    <a:pt x="2106" y="4726"/>
                  </a:lnTo>
                  <a:lnTo>
                    <a:pt x="2102" y="4716"/>
                  </a:lnTo>
                  <a:lnTo>
                    <a:pt x="2094" y="4706"/>
                  </a:lnTo>
                  <a:lnTo>
                    <a:pt x="2084" y="4700"/>
                  </a:lnTo>
                  <a:lnTo>
                    <a:pt x="2080" y="4700"/>
                  </a:lnTo>
                  <a:lnTo>
                    <a:pt x="2078" y="4702"/>
                  </a:lnTo>
                  <a:close/>
                  <a:moveTo>
                    <a:pt x="2508" y="4960"/>
                  </a:moveTo>
                  <a:lnTo>
                    <a:pt x="2508" y="4960"/>
                  </a:lnTo>
                  <a:lnTo>
                    <a:pt x="2502" y="4956"/>
                  </a:lnTo>
                  <a:lnTo>
                    <a:pt x="2500" y="4950"/>
                  </a:lnTo>
                  <a:lnTo>
                    <a:pt x="2496" y="4932"/>
                  </a:lnTo>
                  <a:lnTo>
                    <a:pt x="2494" y="4924"/>
                  </a:lnTo>
                  <a:lnTo>
                    <a:pt x="2490" y="4918"/>
                  </a:lnTo>
                  <a:lnTo>
                    <a:pt x="2484" y="4914"/>
                  </a:lnTo>
                  <a:lnTo>
                    <a:pt x="2476" y="4912"/>
                  </a:lnTo>
                  <a:lnTo>
                    <a:pt x="2466" y="4916"/>
                  </a:lnTo>
                  <a:lnTo>
                    <a:pt x="2464" y="4920"/>
                  </a:lnTo>
                  <a:lnTo>
                    <a:pt x="2464" y="4926"/>
                  </a:lnTo>
                  <a:lnTo>
                    <a:pt x="2462" y="4928"/>
                  </a:lnTo>
                  <a:lnTo>
                    <a:pt x="2460" y="4932"/>
                  </a:lnTo>
                  <a:lnTo>
                    <a:pt x="2456" y="4936"/>
                  </a:lnTo>
                  <a:lnTo>
                    <a:pt x="2454" y="4938"/>
                  </a:lnTo>
                  <a:lnTo>
                    <a:pt x="2454" y="4940"/>
                  </a:lnTo>
                  <a:lnTo>
                    <a:pt x="2456" y="4942"/>
                  </a:lnTo>
                  <a:lnTo>
                    <a:pt x="2464" y="4944"/>
                  </a:lnTo>
                  <a:lnTo>
                    <a:pt x="2474" y="4942"/>
                  </a:lnTo>
                  <a:lnTo>
                    <a:pt x="2478" y="4944"/>
                  </a:lnTo>
                  <a:lnTo>
                    <a:pt x="2480" y="4948"/>
                  </a:lnTo>
                  <a:lnTo>
                    <a:pt x="2484" y="4958"/>
                  </a:lnTo>
                  <a:lnTo>
                    <a:pt x="2488" y="4972"/>
                  </a:lnTo>
                  <a:lnTo>
                    <a:pt x="2490" y="4976"/>
                  </a:lnTo>
                  <a:lnTo>
                    <a:pt x="2494" y="4978"/>
                  </a:lnTo>
                  <a:lnTo>
                    <a:pt x="2502" y="4984"/>
                  </a:lnTo>
                  <a:lnTo>
                    <a:pt x="2508" y="4988"/>
                  </a:lnTo>
                  <a:lnTo>
                    <a:pt x="2512" y="4990"/>
                  </a:lnTo>
                  <a:lnTo>
                    <a:pt x="2516" y="4990"/>
                  </a:lnTo>
                  <a:lnTo>
                    <a:pt x="2518" y="4990"/>
                  </a:lnTo>
                  <a:lnTo>
                    <a:pt x="2520" y="4988"/>
                  </a:lnTo>
                  <a:lnTo>
                    <a:pt x="2518" y="4984"/>
                  </a:lnTo>
                  <a:lnTo>
                    <a:pt x="2516" y="4978"/>
                  </a:lnTo>
                  <a:lnTo>
                    <a:pt x="2514" y="4976"/>
                  </a:lnTo>
                  <a:lnTo>
                    <a:pt x="2516" y="4974"/>
                  </a:lnTo>
                  <a:lnTo>
                    <a:pt x="2518" y="4970"/>
                  </a:lnTo>
                  <a:lnTo>
                    <a:pt x="2518" y="4966"/>
                  </a:lnTo>
                  <a:lnTo>
                    <a:pt x="2514" y="4964"/>
                  </a:lnTo>
                  <a:lnTo>
                    <a:pt x="2508" y="4960"/>
                  </a:lnTo>
                  <a:close/>
                  <a:moveTo>
                    <a:pt x="2428" y="4870"/>
                  </a:moveTo>
                  <a:lnTo>
                    <a:pt x="2428" y="4870"/>
                  </a:lnTo>
                  <a:lnTo>
                    <a:pt x="2432" y="4868"/>
                  </a:lnTo>
                  <a:lnTo>
                    <a:pt x="2434" y="4862"/>
                  </a:lnTo>
                  <a:lnTo>
                    <a:pt x="2434" y="4858"/>
                  </a:lnTo>
                  <a:lnTo>
                    <a:pt x="2432" y="4856"/>
                  </a:lnTo>
                  <a:lnTo>
                    <a:pt x="2430" y="4856"/>
                  </a:lnTo>
                  <a:lnTo>
                    <a:pt x="2426" y="4858"/>
                  </a:lnTo>
                  <a:lnTo>
                    <a:pt x="2424" y="4860"/>
                  </a:lnTo>
                  <a:lnTo>
                    <a:pt x="2420" y="4866"/>
                  </a:lnTo>
                  <a:lnTo>
                    <a:pt x="2420" y="4868"/>
                  </a:lnTo>
                  <a:lnTo>
                    <a:pt x="2420" y="4872"/>
                  </a:lnTo>
                  <a:lnTo>
                    <a:pt x="2424" y="4872"/>
                  </a:lnTo>
                  <a:lnTo>
                    <a:pt x="2428" y="4870"/>
                  </a:lnTo>
                  <a:close/>
                  <a:moveTo>
                    <a:pt x="2450" y="4852"/>
                  </a:moveTo>
                  <a:lnTo>
                    <a:pt x="2450" y="4852"/>
                  </a:lnTo>
                  <a:lnTo>
                    <a:pt x="2444" y="4848"/>
                  </a:lnTo>
                  <a:lnTo>
                    <a:pt x="2434" y="4840"/>
                  </a:lnTo>
                  <a:lnTo>
                    <a:pt x="2430" y="4836"/>
                  </a:lnTo>
                  <a:lnTo>
                    <a:pt x="2428" y="4838"/>
                  </a:lnTo>
                  <a:lnTo>
                    <a:pt x="2428" y="4846"/>
                  </a:lnTo>
                  <a:lnTo>
                    <a:pt x="2430" y="4848"/>
                  </a:lnTo>
                  <a:lnTo>
                    <a:pt x="2432" y="4850"/>
                  </a:lnTo>
                  <a:lnTo>
                    <a:pt x="2438" y="4854"/>
                  </a:lnTo>
                  <a:lnTo>
                    <a:pt x="2446" y="4854"/>
                  </a:lnTo>
                  <a:lnTo>
                    <a:pt x="2450" y="4852"/>
                  </a:lnTo>
                  <a:close/>
                  <a:moveTo>
                    <a:pt x="2378" y="4806"/>
                  </a:moveTo>
                  <a:lnTo>
                    <a:pt x="2378" y="4806"/>
                  </a:lnTo>
                  <a:lnTo>
                    <a:pt x="2376" y="4806"/>
                  </a:lnTo>
                  <a:lnTo>
                    <a:pt x="2376" y="4810"/>
                  </a:lnTo>
                  <a:lnTo>
                    <a:pt x="2376" y="4812"/>
                  </a:lnTo>
                  <a:lnTo>
                    <a:pt x="2378" y="4814"/>
                  </a:lnTo>
                  <a:lnTo>
                    <a:pt x="2382" y="4814"/>
                  </a:lnTo>
                  <a:lnTo>
                    <a:pt x="2382" y="4810"/>
                  </a:lnTo>
                  <a:lnTo>
                    <a:pt x="2380" y="4806"/>
                  </a:lnTo>
                  <a:lnTo>
                    <a:pt x="2378" y="4806"/>
                  </a:lnTo>
                  <a:close/>
                  <a:moveTo>
                    <a:pt x="2422" y="4774"/>
                  </a:moveTo>
                  <a:lnTo>
                    <a:pt x="2422" y="4774"/>
                  </a:lnTo>
                  <a:lnTo>
                    <a:pt x="2414" y="4778"/>
                  </a:lnTo>
                  <a:lnTo>
                    <a:pt x="2412" y="4782"/>
                  </a:lnTo>
                  <a:lnTo>
                    <a:pt x="2410" y="4784"/>
                  </a:lnTo>
                  <a:lnTo>
                    <a:pt x="2406" y="4788"/>
                  </a:lnTo>
                  <a:lnTo>
                    <a:pt x="2406" y="4790"/>
                  </a:lnTo>
                  <a:lnTo>
                    <a:pt x="2410" y="4792"/>
                  </a:lnTo>
                  <a:lnTo>
                    <a:pt x="2414" y="4790"/>
                  </a:lnTo>
                  <a:lnTo>
                    <a:pt x="2420" y="4796"/>
                  </a:lnTo>
                  <a:lnTo>
                    <a:pt x="2416" y="4796"/>
                  </a:lnTo>
                  <a:lnTo>
                    <a:pt x="2414" y="4796"/>
                  </a:lnTo>
                  <a:lnTo>
                    <a:pt x="2414" y="4798"/>
                  </a:lnTo>
                  <a:lnTo>
                    <a:pt x="2414" y="4800"/>
                  </a:lnTo>
                  <a:lnTo>
                    <a:pt x="2418" y="4804"/>
                  </a:lnTo>
                  <a:lnTo>
                    <a:pt x="2420" y="4804"/>
                  </a:lnTo>
                  <a:lnTo>
                    <a:pt x="2422" y="4802"/>
                  </a:lnTo>
                  <a:lnTo>
                    <a:pt x="2420" y="4798"/>
                  </a:lnTo>
                  <a:lnTo>
                    <a:pt x="2432" y="4808"/>
                  </a:lnTo>
                  <a:lnTo>
                    <a:pt x="2436" y="4808"/>
                  </a:lnTo>
                  <a:lnTo>
                    <a:pt x="2438" y="4804"/>
                  </a:lnTo>
                  <a:lnTo>
                    <a:pt x="2438" y="4798"/>
                  </a:lnTo>
                  <a:lnTo>
                    <a:pt x="2438" y="4790"/>
                  </a:lnTo>
                  <a:lnTo>
                    <a:pt x="2436" y="4782"/>
                  </a:lnTo>
                  <a:lnTo>
                    <a:pt x="2434" y="4776"/>
                  </a:lnTo>
                  <a:lnTo>
                    <a:pt x="2428" y="4774"/>
                  </a:lnTo>
                  <a:lnTo>
                    <a:pt x="2422" y="4774"/>
                  </a:lnTo>
                  <a:close/>
                  <a:moveTo>
                    <a:pt x="2384" y="4796"/>
                  </a:moveTo>
                  <a:lnTo>
                    <a:pt x="2384" y="4796"/>
                  </a:lnTo>
                  <a:lnTo>
                    <a:pt x="2384" y="4798"/>
                  </a:lnTo>
                  <a:lnTo>
                    <a:pt x="2384" y="4802"/>
                  </a:lnTo>
                  <a:lnTo>
                    <a:pt x="2386" y="4806"/>
                  </a:lnTo>
                  <a:lnTo>
                    <a:pt x="2390" y="4806"/>
                  </a:lnTo>
                  <a:lnTo>
                    <a:pt x="2392" y="4806"/>
                  </a:lnTo>
                  <a:lnTo>
                    <a:pt x="2390" y="4802"/>
                  </a:lnTo>
                  <a:lnTo>
                    <a:pt x="2388" y="4798"/>
                  </a:lnTo>
                  <a:lnTo>
                    <a:pt x="2384" y="4796"/>
                  </a:lnTo>
                  <a:close/>
                  <a:moveTo>
                    <a:pt x="2578" y="4662"/>
                  </a:moveTo>
                  <a:lnTo>
                    <a:pt x="2578" y="4662"/>
                  </a:lnTo>
                  <a:lnTo>
                    <a:pt x="2580" y="4662"/>
                  </a:lnTo>
                  <a:lnTo>
                    <a:pt x="2584" y="4660"/>
                  </a:lnTo>
                  <a:lnTo>
                    <a:pt x="2584" y="4650"/>
                  </a:lnTo>
                  <a:lnTo>
                    <a:pt x="2584" y="4640"/>
                  </a:lnTo>
                  <a:lnTo>
                    <a:pt x="2582" y="4634"/>
                  </a:lnTo>
                  <a:lnTo>
                    <a:pt x="2578" y="4634"/>
                  </a:lnTo>
                  <a:lnTo>
                    <a:pt x="2574" y="4640"/>
                  </a:lnTo>
                  <a:lnTo>
                    <a:pt x="2570" y="4646"/>
                  </a:lnTo>
                  <a:lnTo>
                    <a:pt x="2572" y="4650"/>
                  </a:lnTo>
                  <a:lnTo>
                    <a:pt x="2574" y="4652"/>
                  </a:lnTo>
                  <a:lnTo>
                    <a:pt x="2578" y="4656"/>
                  </a:lnTo>
                  <a:lnTo>
                    <a:pt x="2576" y="4658"/>
                  </a:lnTo>
                  <a:lnTo>
                    <a:pt x="2574" y="4660"/>
                  </a:lnTo>
                  <a:lnTo>
                    <a:pt x="2578" y="4662"/>
                  </a:lnTo>
                  <a:close/>
                  <a:moveTo>
                    <a:pt x="2136" y="4766"/>
                  </a:moveTo>
                  <a:lnTo>
                    <a:pt x="2136" y="4766"/>
                  </a:lnTo>
                  <a:lnTo>
                    <a:pt x="2134" y="4768"/>
                  </a:lnTo>
                  <a:lnTo>
                    <a:pt x="2134" y="4772"/>
                  </a:lnTo>
                  <a:lnTo>
                    <a:pt x="2138" y="4782"/>
                  </a:lnTo>
                  <a:lnTo>
                    <a:pt x="2154" y="4806"/>
                  </a:lnTo>
                  <a:lnTo>
                    <a:pt x="2158" y="4812"/>
                  </a:lnTo>
                  <a:lnTo>
                    <a:pt x="2162" y="4812"/>
                  </a:lnTo>
                  <a:lnTo>
                    <a:pt x="2164" y="4810"/>
                  </a:lnTo>
                  <a:lnTo>
                    <a:pt x="2166" y="4806"/>
                  </a:lnTo>
                  <a:lnTo>
                    <a:pt x="2166" y="4794"/>
                  </a:lnTo>
                  <a:lnTo>
                    <a:pt x="2164" y="4790"/>
                  </a:lnTo>
                  <a:lnTo>
                    <a:pt x="2160" y="4786"/>
                  </a:lnTo>
                  <a:lnTo>
                    <a:pt x="2154" y="4780"/>
                  </a:lnTo>
                  <a:lnTo>
                    <a:pt x="2150" y="4772"/>
                  </a:lnTo>
                  <a:lnTo>
                    <a:pt x="2144" y="4768"/>
                  </a:lnTo>
                  <a:lnTo>
                    <a:pt x="2140" y="4766"/>
                  </a:lnTo>
                  <a:lnTo>
                    <a:pt x="2136" y="4766"/>
                  </a:lnTo>
                  <a:close/>
                  <a:moveTo>
                    <a:pt x="2832" y="5258"/>
                  </a:moveTo>
                  <a:lnTo>
                    <a:pt x="2832" y="5258"/>
                  </a:lnTo>
                  <a:lnTo>
                    <a:pt x="2828" y="5254"/>
                  </a:lnTo>
                  <a:lnTo>
                    <a:pt x="2828" y="5248"/>
                  </a:lnTo>
                  <a:lnTo>
                    <a:pt x="2832" y="5234"/>
                  </a:lnTo>
                  <a:lnTo>
                    <a:pt x="2832" y="5226"/>
                  </a:lnTo>
                  <a:lnTo>
                    <a:pt x="2832" y="5220"/>
                  </a:lnTo>
                  <a:lnTo>
                    <a:pt x="2828" y="5214"/>
                  </a:lnTo>
                  <a:lnTo>
                    <a:pt x="2820" y="5212"/>
                  </a:lnTo>
                  <a:lnTo>
                    <a:pt x="2808" y="5212"/>
                  </a:lnTo>
                  <a:lnTo>
                    <a:pt x="2798" y="5214"/>
                  </a:lnTo>
                  <a:lnTo>
                    <a:pt x="2786" y="5216"/>
                  </a:lnTo>
                  <a:lnTo>
                    <a:pt x="2780" y="5216"/>
                  </a:lnTo>
                  <a:lnTo>
                    <a:pt x="2772" y="5212"/>
                  </a:lnTo>
                  <a:lnTo>
                    <a:pt x="2762" y="5208"/>
                  </a:lnTo>
                  <a:lnTo>
                    <a:pt x="2762" y="5206"/>
                  </a:lnTo>
                  <a:lnTo>
                    <a:pt x="2762" y="5204"/>
                  </a:lnTo>
                  <a:lnTo>
                    <a:pt x="2762" y="5196"/>
                  </a:lnTo>
                  <a:lnTo>
                    <a:pt x="2762" y="5190"/>
                  </a:lnTo>
                  <a:lnTo>
                    <a:pt x="2758" y="5184"/>
                  </a:lnTo>
                  <a:lnTo>
                    <a:pt x="2754" y="5178"/>
                  </a:lnTo>
                  <a:lnTo>
                    <a:pt x="2752" y="5174"/>
                  </a:lnTo>
                  <a:lnTo>
                    <a:pt x="2748" y="5174"/>
                  </a:lnTo>
                  <a:lnTo>
                    <a:pt x="2746" y="5176"/>
                  </a:lnTo>
                  <a:lnTo>
                    <a:pt x="2740" y="5178"/>
                  </a:lnTo>
                  <a:lnTo>
                    <a:pt x="2738" y="5178"/>
                  </a:lnTo>
                  <a:lnTo>
                    <a:pt x="2734" y="5174"/>
                  </a:lnTo>
                  <a:lnTo>
                    <a:pt x="2730" y="5168"/>
                  </a:lnTo>
                  <a:lnTo>
                    <a:pt x="2728" y="5170"/>
                  </a:lnTo>
                  <a:lnTo>
                    <a:pt x="2726" y="5170"/>
                  </a:lnTo>
                  <a:lnTo>
                    <a:pt x="2720" y="5166"/>
                  </a:lnTo>
                  <a:lnTo>
                    <a:pt x="2718" y="5164"/>
                  </a:lnTo>
                  <a:lnTo>
                    <a:pt x="2714" y="5162"/>
                  </a:lnTo>
                  <a:lnTo>
                    <a:pt x="2708" y="5164"/>
                  </a:lnTo>
                  <a:lnTo>
                    <a:pt x="2704" y="5166"/>
                  </a:lnTo>
                  <a:lnTo>
                    <a:pt x="2700" y="5166"/>
                  </a:lnTo>
                  <a:lnTo>
                    <a:pt x="2698" y="5162"/>
                  </a:lnTo>
                  <a:lnTo>
                    <a:pt x="2694" y="5154"/>
                  </a:lnTo>
                  <a:lnTo>
                    <a:pt x="2692" y="5150"/>
                  </a:lnTo>
                  <a:lnTo>
                    <a:pt x="2688" y="5148"/>
                  </a:lnTo>
                  <a:lnTo>
                    <a:pt x="2686" y="5150"/>
                  </a:lnTo>
                  <a:lnTo>
                    <a:pt x="2682" y="5152"/>
                  </a:lnTo>
                  <a:lnTo>
                    <a:pt x="2680" y="5156"/>
                  </a:lnTo>
                  <a:lnTo>
                    <a:pt x="2676" y="5166"/>
                  </a:lnTo>
                  <a:lnTo>
                    <a:pt x="2670" y="5178"/>
                  </a:lnTo>
                  <a:lnTo>
                    <a:pt x="2668" y="5180"/>
                  </a:lnTo>
                  <a:lnTo>
                    <a:pt x="2666" y="5180"/>
                  </a:lnTo>
                  <a:lnTo>
                    <a:pt x="2660" y="5176"/>
                  </a:lnTo>
                  <a:lnTo>
                    <a:pt x="2654" y="5174"/>
                  </a:lnTo>
                  <a:lnTo>
                    <a:pt x="2646" y="5172"/>
                  </a:lnTo>
                  <a:lnTo>
                    <a:pt x="2634" y="5174"/>
                  </a:lnTo>
                  <a:lnTo>
                    <a:pt x="2630" y="5174"/>
                  </a:lnTo>
                  <a:lnTo>
                    <a:pt x="2626" y="5176"/>
                  </a:lnTo>
                  <a:lnTo>
                    <a:pt x="2620" y="5174"/>
                  </a:lnTo>
                  <a:lnTo>
                    <a:pt x="2612" y="5172"/>
                  </a:lnTo>
                  <a:lnTo>
                    <a:pt x="2604" y="5172"/>
                  </a:lnTo>
                  <a:lnTo>
                    <a:pt x="2600" y="5170"/>
                  </a:lnTo>
                  <a:lnTo>
                    <a:pt x="2596" y="5168"/>
                  </a:lnTo>
                  <a:lnTo>
                    <a:pt x="2594" y="5162"/>
                  </a:lnTo>
                  <a:lnTo>
                    <a:pt x="2590" y="5154"/>
                  </a:lnTo>
                  <a:lnTo>
                    <a:pt x="2588" y="5148"/>
                  </a:lnTo>
                  <a:lnTo>
                    <a:pt x="2586" y="5144"/>
                  </a:lnTo>
                  <a:lnTo>
                    <a:pt x="2584" y="5144"/>
                  </a:lnTo>
                  <a:lnTo>
                    <a:pt x="2582" y="5144"/>
                  </a:lnTo>
                  <a:lnTo>
                    <a:pt x="2576" y="5146"/>
                  </a:lnTo>
                  <a:lnTo>
                    <a:pt x="2574" y="5146"/>
                  </a:lnTo>
                  <a:lnTo>
                    <a:pt x="2570" y="5142"/>
                  </a:lnTo>
                  <a:lnTo>
                    <a:pt x="2566" y="5140"/>
                  </a:lnTo>
                  <a:lnTo>
                    <a:pt x="2564" y="5140"/>
                  </a:lnTo>
                  <a:lnTo>
                    <a:pt x="2558" y="5140"/>
                  </a:lnTo>
                  <a:lnTo>
                    <a:pt x="2554" y="5142"/>
                  </a:lnTo>
                  <a:lnTo>
                    <a:pt x="2552" y="5140"/>
                  </a:lnTo>
                  <a:lnTo>
                    <a:pt x="2550" y="5138"/>
                  </a:lnTo>
                  <a:lnTo>
                    <a:pt x="2544" y="5132"/>
                  </a:lnTo>
                  <a:lnTo>
                    <a:pt x="2538" y="5128"/>
                  </a:lnTo>
                  <a:lnTo>
                    <a:pt x="2532" y="5128"/>
                  </a:lnTo>
                  <a:lnTo>
                    <a:pt x="2530" y="5130"/>
                  </a:lnTo>
                  <a:lnTo>
                    <a:pt x="2530" y="5132"/>
                  </a:lnTo>
                  <a:lnTo>
                    <a:pt x="2528" y="5136"/>
                  </a:lnTo>
                  <a:lnTo>
                    <a:pt x="2526" y="5136"/>
                  </a:lnTo>
                  <a:lnTo>
                    <a:pt x="2520" y="5136"/>
                  </a:lnTo>
                  <a:lnTo>
                    <a:pt x="2512" y="5132"/>
                  </a:lnTo>
                  <a:lnTo>
                    <a:pt x="2498" y="5130"/>
                  </a:lnTo>
                  <a:lnTo>
                    <a:pt x="2492" y="5130"/>
                  </a:lnTo>
                  <a:lnTo>
                    <a:pt x="2488" y="5132"/>
                  </a:lnTo>
                  <a:lnTo>
                    <a:pt x="2486" y="5136"/>
                  </a:lnTo>
                  <a:lnTo>
                    <a:pt x="2484" y="5140"/>
                  </a:lnTo>
                  <a:lnTo>
                    <a:pt x="2482" y="5150"/>
                  </a:lnTo>
                  <a:lnTo>
                    <a:pt x="2480" y="5152"/>
                  </a:lnTo>
                  <a:lnTo>
                    <a:pt x="2478" y="5154"/>
                  </a:lnTo>
                  <a:lnTo>
                    <a:pt x="2474" y="5156"/>
                  </a:lnTo>
                  <a:lnTo>
                    <a:pt x="2472" y="5160"/>
                  </a:lnTo>
                  <a:lnTo>
                    <a:pt x="2472" y="5164"/>
                  </a:lnTo>
                  <a:lnTo>
                    <a:pt x="2464" y="5164"/>
                  </a:lnTo>
                  <a:lnTo>
                    <a:pt x="2460" y="5166"/>
                  </a:lnTo>
                  <a:lnTo>
                    <a:pt x="2458" y="5168"/>
                  </a:lnTo>
                  <a:lnTo>
                    <a:pt x="2460" y="5172"/>
                  </a:lnTo>
                  <a:lnTo>
                    <a:pt x="2464" y="5174"/>
                  </a:lnTo>
                  <a:lnTo>
                    <a:pt x="2474" y="5174"/>
                  </a:lnTo>
                  <a:lnTo>
                    <a:pt x="2482" y="5174"/>
                  </a:lnTo>
                  <a:lnTo>
                    <a:pt x="2490" y="5174"/>
                  </a:lnTo>
                  <a:lnTo>
                    <a:pt x="2494" y="5174"/>
                  </a:lnTo>
                  <a:lnTo>
                    <a:pt x="2496" y="5178"/>
                  </a:lnTo>
                  <a:lnTo>
                    <a:pt x="2500" y="5180"/>
                  </a:lnTo>
                  <a:lnTo>
                    <a:pt x="2504" y="5180"/>
                  </a:lnTo>
                  <a:lnTo>
                    <a:pt x="2510" y="5180"/>
                  </a:lnTo>
                  <a:lnTo>
                    <a:pt x="2512" y="5180"/>
                  </a:lnTo>
                  <a:lnTo>
                    <a:pt x="2508" y="5188"/>
                  </a:lnTo>
                  <a:lnTo>
                    <a:pt x="2506" y="5194"/>
                  </a:lnTo>
                  <a:lnTo>
                    <a:pt x="2508" y="5198"/>
                  </a:lnTo>
                  <a:lnTo>
                    <a:pt x="2510" y="5200"/>
                  </a:lnTo>
                  <a:lnTo>
                    <a:pt x="2516" y="5200"/>
                  </a:lnTo>
                  <a:lnTo>
                    <a:pt x="2536" y="5204"/>
                  </a:lnTo>
                  <a:lnTo>
                    <a:pt x="2550" y="5210"/>
                  </a:lnTo>
                  <a:lnTo>
                    <a:pt x="2570" y="5218"/>
                  </a:lnTo>
                  <a:lnTo>
                    <a:pt x="2576" y="5220"/>
                  </a:lnTo>
                  <a:lnTo>
                    <a:pt x="2584" y="5220"/>
                  </a:lnTo>
                  <a:lnTo>
                    <a:pt x="2588" y="5220"/>
                  </a:lnTo>
                  <a:lnTo>
                    <a:pt x="2594" y="5218"/>
                  </a:lnTo>
                  <a:lnTo>
                    <a:pt x="2602" y="5214"/>
                  </a:lnTo>
                  <a:lnTo>
                    <a:pt x="2606" y="5214"/>
                  </a:lnTo>
                  <a:lnTo>
                    <a:pt x="2608" y="5214"/>
                  </a:lnTo>
                  <a:lnTo>
                    <a:pt x="2614" y="5218"/>
                  </a:lnTo>
                  <a:lnTo>
                    <a:pt x="2620" y="5216"/>
                  </a:lnTo>
                  <a:lnTo>
                    <a:pt x="2628" y="5216"/>
                  </a:lnTo>
                  <a:lnTo>
                    <a:pt x="2642" y="5218"/>
                  </a:lnTo>
                  <a:lnTo>
                    <a:pt x="2648" y="5220"/>
                  </a:lnTo>
                  <a:lnTo>
                    <a:pt x="2654" y="5224"/>
                  </a:lnTo>
                  <a:lnTo>
                    <a:pt x="2662" y="5230"/>
                  </a:lnTo>
                  <a:lnTo>
                    <a:pt x="2668" y="5234"/>
                  </a:lnTo>
                  <a:lnTo>
                    <a:pt x="2676" y="5238"/>
                  </a:lnTo>
                  <a:lnTo>
                    <a:pt x="2690" y="5242"/>
                  </a:lnTo>
                  <a:lnTo>
                    <a:pt x="2706" y="5246"/>
                  </a:lnTo>
                  <a:lnTo>
                    <a:pt x="2722" y="5248"/>
                  </a:lnTo>
                  <a:lnTo>
                    <a:pt x="2726" y="5246"/>
                  </a:lnTo>
                  <a:lnTo>
                    <a:pt x="2728" y="5244"/>
                  </a:lnTo>
                  <a:lnTo>
                    <a:pt x="2732" y="5244"/>
                  </a:lnTo>
                  <a:lnTo>
                    <a:pt x="2752" y="5248"/>
                  </a:lnTo>
                  <a:lnTo>
                    <a:pt x="2764" y="5250"/>
                  </a:lnTo>
                  <a:lnTo>
                    <a:pt x="2770" y="5248"/>
                  </a:lnTo>
                  <a:lnTo>
                    <a:pt x="2772" y="5246"/>
                  </a:lnTo>
                  <a:lnTo>
                    <a:pt x="2774" y="5244"/>
                  </a:lnTo>
                  <a:lnTo>
                    <a:pt x="2774" y="5242"/>
                  </a:lnTo>
                  <a:lnTo>
                    <a:pt x="2776" y="5242"/>
                  </a:lnTo>
                  <a:lnTo>
                    <a:pt x="2794" y="5250"/>
                  </a:lnTo>
                  <a:lnTo>
                    <a:pt x="2806" y="5256"/>
                  </a:lnTo>
                  <a:lnTo>
                    <a:pt x="2814" y="5258"/>
                  </a:lnTo>
                  <a:lnTo>
                    <a:pt x="2820" y="5260"/>
                  </a:lnTo>
                  <a:lnTo>
                    <a:pt x="2828" y="5264"/>
                  </a:lnTo>
                  <a:lnTo>
                    <a:pt x="2834" y="5268"/>
                  </a:lnTo>
                  <a:lnTo>
                    <a:pt x="2836" y="5268"/>
                  </a:lnTo>
                  <a:lnTo>
                    <a:pt x="2836" y="5266"/>
                  </a:lnTo>
                  <a:lnTo>
                    <a:pt x="2836" y="5262"/>
                  </a:lnTo>
                  <a:lnTo>
                    <a:pt x="2832" y="5258"/>
                  </a:lnTo>
                  <a:close/>
                  <a:moveTo>
                    <a:pt x="2398" y="4778"/>
                  </a:moveTo>
                  <a:lnTo>
                    <a:pt x="2398" y="4778"/>
                  </a:lnTo>
                  <a:lnTo>
                    <a:pt x="2400" y="4780"/>
                  </a:lnTo>
                  <a:lnTo>
                    <a:pt x="2402" y="4780"/>
                  </a:lnTo>
                  <a:lnTo>
                    <a:pt x="2406" y="4780"/>
                  </a:lnTo>
                  <a:lnTo>
                    <a:pt x="2410" y="4776"/>
                  </a:lnTo>
                  <a:lnTo>
                    <a:pt x="2410" y="4774"/>
                  </a:lnTo>
                  <a:lnTo>
                    <a:pt x="2408" y="4772"/>
                  </a:lnTo>
                  <a:lnTo>
                    <a:pt x="2402" y="4772"/>
                  </a:lnTo>
                  <a:lnTo>
                    <a:pt x="2398" y="4774"/>
                  </a:lnTo>
                  <a:lnTo>
                    <a:pt x="2398" y="4776"/>
                  </a:lnTo>
                  <a:lnTo>
                    <a:pt x="2398" y="4778"/>
                  </a:lnTo>
                  <a:close/>
                  <a:moveTo>
                    <a:pt x="2330" y="4760"/>
                  </a:moveTo>
                  <a:lnTo>
                    <a:pt x="2330" y="4760"/>
                  </a:lnTo>
                  <a:lnTo>
                    <a:pt x="2330" y="4762"/>
                  </a:lnTo>
                  <a:lnTo>
                    <a:pt x="2332" y="4764"/>
                  </a:lnTo>
                  <a:lnTo>
                    <a:pt x="2340" y="4770"/>
                  </a:lnTo>
                  <a:lnTo>
                    <a:pt x="2348" y="4774"/>
                  </a:lnTo>
                  <a:lnTo>
                    <a:pt x="2350" y="4774"/>
                  </a:lnTo>
                  <a:lnTo>
                    <a:pt x="2350" y="4770"/>
                  </a:lnTo>
                  <a:lnTo>
                    <a:pt x="2350" y="4768"/>
                  </a:lnTo>
                  <a:lnTo>
                    <a:pt x="2346" y="4764"/>
                  </a:lnTo>
                  <a:lnTo>
                    <a:pt x="2340" y="4760"/>
                  </a:lnTo>
                  <a:lnTo>
                    <a:pt x="2334" y="4758"/>
                  </a:lnTo>
                  <a:lnTo>
                    <a:pt x="2332" y="4758"/>
                  </a:lnTo>
                  <a:lnTo>
                    <a:pt x="2330" y="4760"/>
                  </a:lnTo>
                  <a:close/>
                  <a:moveTo>
                    <a:pt x="2230" y="4942"/>
                  </a:moveTo>
                  <a:lnTo>
                    <a:pt x="2230" y="4942"/>
                  </a:lnTo>
                  <a:lnTo>
                    <a:pt x="2230" y="4944"/>
                  </a:lnTo>
                  <a:lnTo>
                    <a:pt x="2230" y="4946"/>
                  </a:lnTo>
                  <a:lnTo>
                    <a:pt x="2234" y="4952"/>
                  </a:lnTo>
                  <a:lnTo>
                    <a:pt x="2238" y="4956"/>
                  </a:lnTo>
                  <a:lnTo>
                    <a:pt x="2242" y="4956"/>
                  </a:lnTo>
                  <a:lnTo>
                    <a:pt x="2244" y="4954"/>
                  </a:lnTo>
                  <a:lnTo>
                    <a:pt x="2244" y="4952"/>
                  </a:lnTo>
                  <a:lnTo>
                    <a:pt x="2244" y="4950"/>
                  </a:lnTo>
                  <a:lnTo>
                    <a:pt x="2240" y="4944"/>
                  </a:lnTo>
                  <a:lnTo>
                    <a:pt x="2236" y="4940"/>
                  </a:lnTo>
                  <a:lnTo>
                    <a:pt x="2232" y="4940"/>
                  </a:lnTo>
                  <a:lnTo>
                    <a:pt x="2230" y="4942"/>
                  </a:lnTo>
                  <a:close/>
                  <a:moveTo>
                    <a:pt x="2194" y="4886"/>
                  </a:moveTo>
                  <a:lnTo>
                    <a:pt x="2194" y="4886"/>
                  </a:lnTo>
                  <a:lnTo>
                    <a:pt x="2192" y="4890"/>
                  </a:lnTo>
                  <a:lnTo>
                    <a:pt x="2192" y="4896"/>
                  </a:lnTo>
                  <a:lnTo>
                    <a:pt x="2194" y="4904"/>
                  </a:lnTo>
                  <a:lnTo>
                    <a:pt x="2198" y="4910"/>
                  </a:lnTo>
                  <a:lnTo>
                    <a:pt x="2208" y="4920"/>
                  </a:lnTo>
                  <a:lnTo>
                    <a:pt x="2214" y="4924"/>
                  </a:lnTo>
                  <a:lnTo>
                    <a:pt x="2218" y="4924"/>
                  </a:lnTo>
                  <a:lnTo>
                    <a:pt x="2220" y="4920"/>
                  </a:lnTo>
                  <a:lnTo>
                    <a:pt x="2220" y="4914"/>
                  </a:lnTo>
                  <a:lnTo>
                    <a:pt x="2214" y="4900"/>
                  </a:lnTo>
                  <a:lnTo>
                    <a:pt x="2210" y="4894"/>
                  </a:lnTo>
                  <a:lnTo>
                    <a:pt x="2204" y="4888"/>
                  </a:lnTo>
                  <a:lnTo>
                    <a:pt x="2200" y="4886"/>
                  </a:lnTo>
                  <a:lnTo>
                    <a:pt x="2194" y="4886"/>
                  </a:lnTo>
                  <a:close/>
                  <a:moveTo>
                    <a:pt x="2182" y="4866"/>
                  </a:moveTo>
                  <a:lnTo>
                    <a:pt x="2182" y="4866"/>
                  </a:lnTo>
                  <a:lnTo>
                    <a:pt x="2184" y="4868"/>
                  </a:lnTo>
                  <a:lnTo>
                    <a:pt x="2186" y="4866"/>
                  </a:lnTo>
                  <a:lnTo>
                    <a:pt x="2188" y="4862"/>
                  </a:lnTo>
                  <a:lnTo>
                    <a:pt x="2188" y="4856"/>
                  </a:lnTo>
                  <a:lnTo>
                    <a:pt x="2186" y="4850"/>
                  </a:lnTo>
                  <a:lnTo>
                    <a:pt x="2184" y="4850"/>
                  </a:lnTo>
                  <a:lnTo>
                    <a:pt x="2182" y="4850"/>
                  </a:lnTo>
                  <a:lnTo>
                    <a:pt x="2180" y="4854"/>
                  </a:lnTo>
                  <a:lnTo>
                    <a:pt x="2180" y="4860"/>
                  </a:lnTo>
                  <a:lnTo>
                    <a:pt x="2180" y="4864"/>
                  </a:lnTo>
                  <a:lnTo>
                    <a:pt x="2182" y="4866"/>
                  </a:lnTo>
                  <a:close/>
                  <a:moveTo>
                    <a:pt x="2248" y="4964"/>
                  </a:moveTo>
                  <a:lnTo>
                    <a:pt x="2248" y="4964"/>
                  </a:lnTo>
                  <a:lnTo>
                    <a:pt x="2246" y="4968"/>
                  </a:lnTo>
                  <a:lnTo>
                    <a:pt x="2246" y="4974"/>
                  </a:lnTo>
                  <a:lnTo>
                    <a:pt x="2248" y="4976"/>
                  </a:lnTo>
                  <a:lnTo>
                    <a:pt x="2252" y="4978"/>
                  </a:lnTo>
                  <a:lnTo>
                    <a:pt x="2254" y="4978"/>
                  </a:lnTo>
                  <a:lnTo>
                    <a:pt x="2256" y="4980"/>
                  </a:lnTo>
                  <a:lnTo>
                    <a:pt x="2260" y="4990"/>
                  </a:lnTo>
                  <a:lnTo>
                    <a:pt x="2262" y="4996"/>
                  </a:lnTo>
                  <a:lnTo>
                    <a:pt x="2264" y="4996"/>
                  </a:lnTo>
                  <a:lnTo>
                    <a:pt x="2266" y="4994"/>
                  </a:lnTo>
                  <a:lnTo>
                    <a:pt x="2266" y="4990"/>
                  </a:lnTo>
                  <a:lnTo>
                    <a:pt x="2266" y="4984"/>
                  </a:lnTo>
                  <a:lnTo>
                    <a:pt x="2260" y="4974"/>
                  </a:lnTo>
                  <a:lnTo>
                    <a:pt x="2254" y="4964"/>
                  </a:lnTo>
                  <a:lnTo>
                    <a:pt x="2250" y="4964"/>
                  </a:lnTo>
                  <a:lnTo>
                    <a:pt x="2248" y="4964"/>
                  </a:lnTo>
                  <a:close/>
                  <a:moveTo>
                    <a:pt x="2354" y="4788"/>
                  </a:moveTo>
                  <a:lnTo>
                    <a:pt x="2354" y="4788"/>
                  </a:lnTo>
                  <a:lnTo>
                    <a:pt x="2352" y="4784"/>
                  </a:lnTo>
                  <a:lnTo>
                    <a:pt x="2350" y="4792"/>
                  </a:lnTo>
                  <a:lnTo>
                    <a:pt x="2348" y="4796"/>
                  </a:lnTo>
                  <a:lnTo>
                    <a:pt x="2348" y="4800"/>
                  </a:lnTo>
                  <a:lnTo>
                    <a:pt x="2352" y="4800"/>
                  </a:lnTo>
                  <a:lnTo>
                    <a:pt x="2358" y="4802"/>
                  </a:lnTo>
                  <a:lnTo>
                    <a:pt x="2364" y="4802"/>
                  </a:lnTo>
                  <a:lnTo>
                    <a:pt x="2370" y="4804"/>
                  </a:lnTo>
                  <a:lnTo>
                    <a:pt x="2372" y="4804"/>
                  </a:lnTo>
                  <a:lnTo>
                    <a:pt x="2372" y="4800"/>
                  </a:lnTo>
                  <a:lnTo>
                    <a:pt x="2372" y="4798"/>
                  </a:lnTo>
                  <a:lnTo>
                    <a:pt x="2370" y="4796"/>
                  </a:lnTo>
                  <a:lnTo>
                    <a:pt x="2364" y="4794"/>
                  </a:lnTo>
                  <a:lnTo>
                    <a:pt x="2358" y="4792"/>
                  </a:lnTo>
                  <a:lnTo>
                    <a:pt x="2354" y="4788"/>
                  </a:lnTo>
                  <a:close/>
                  <a:moveTo>
                    <a:pt x="2484" y="5128"/>
                  </a:moveTo>
                  <a:lnTo>
                    <a:pt x="2484" y="5128"/>
                  </a:lnTo>
                  <a:lnTo>
                    <a:pt x="2486" y="5124"/>
                  </a:lnTo>
                  <a:lnTo>
                    <a:pt x="2486" y="5120"/>
                  </a:lnTo>
                  <a:lnTo>
                    <a:pt x="2488" y="5108"/>
                  </a:lnTo>
                  <a:lnTo>
                    <a:pt x="2486" y="5092"/>
                  </a:lnTo>
                  <a:lnTo>
                    <a:pt x="2488" y="5076"/>
                  </a:lnTo>
                  <a:lnTo>
                    <a:pt x="2488" y="5062"/>
                  </a:lnTo>
                  <a:lnTo>
                    <a:pt x="2486" y="5056"/>
                  </a:lnTo>
                  <a:lnTo>
                    <a:pt x="2484" y="5050"/>
                  </a:lnTo>
                  <a:lnTo>
                    <a:pt x="2486" y="5038"/>
                  </a:lnTo>
                  <a:lnTo>
                    <a:pt x="2488" y="5028"/>
                  </a:lnTo>
                  <a:lnTo>
                    <a:pt x="2488" y="5020"/>
                  </a:lnTo>
                  <a:lnTo>
                    <a:pt x="2486" y="5014"/>
                  </a:lnTo>
                  <a:lnTo>
                    <a:pt x="2492" y="5004"/>
                  </a:lnTo>
                  <a:lnTo>
                    <a:pt x="2494" y="4998"/>
                  </a:lnTo>
                  <a:lnTo>
                    <a:pt x="2496" y="4994"/>
                  </a:lnTo>
                  <a:lnTo>
                    <a:pt x="2494" y="4990"/>
                  </a:lnTo>
                  <a:lnTo>
                    <a:pt x="2492" y="4988"/>
                  </a:lnTo>
                  <a:lnTo>
                    <a:pt x="2486" y="4982"/>
                  </a:lnTo>
                  <a:lnTo>
                    <a:pt x="2482" y="4978"/>
                  </a:lnTo>
                  <a:lnTo>
                    <a:pt x="2480" y="4972"/>
                  </a:lnTo>
                  <a:lnTo>
                    <a:pt x="2476" y="4962"/>
                  </a:lnTo>
                  <a:lnTo>
                    <a:pt x="2472" y="4956"/>
                  </a:lnTo>
                  <a:lnTo>
                    <a:pt x="2468" y="4954"/>
                  </a:lnTo>
                  <a:lnTo>
                    <a:pt x="2460" y="4956"/>
                  </a:lnTo>
                  <a:lnTo>
                    <a:pt x="2456" y="4958"/>
                  </a:lnTo>
                  <a:lnTo>
                    <a:pt x="2452" y="4956"/>
                  </a:lnTo>
                  <a:lnTo>
                    <a:pt x="2450" y="4956"/>
                  </a:lnTo>
                  <a:lnTo>
                    <a:pt x="2446" y="4958"/>
                  </a:lnTo>
                  <a:lnTo>
                    <a:pt x="2440" y="4962"/>
                  </a:lnTo>
                  <a:lnTo>
                    <a:pt x="2442" y="4956"/>
                  </a:lnTo>
                  <a:lnTo>
                    <a:pt x="2446" y="4946"/>
                  </a:lnTo>
                  <a:lnTo>
                    <a:pt x="2446" y="4942"/>
                  </a:lnTo>
                  <a:lnTo>
                    <a:pt x="2442" y="4940"/>
                  </a:lnTo>
                  <a:lnTo>
                    <a:pt x="2438" y="4938"/>
                  </a:lnTo>
                  <a:lnTo>
                    <a:pt x="2436" y="4932"/>
                  </a:lnTo>
                  <a:lnTo>
                    <a:pt x="2430" y="4914"/>
                  </a:lnTo>
                  <a:lnTo>
                    <a:pt x="2428" y="4904"/>
                  </a:lnTo>
                  <a:lnTo>
                    <a:pt x="2426" y="4898"/>
                  </a:lnTo>
                  <a:lnTo>
                    <a:pt x="2422" y="4892"/>
                  </a:lnTo>
                  <a:lnTo>
                    <a:pt x="2420" y="4890"/>
                  </a:lnTo>
                  <a:lnTo>
                    <a:pt x="2416" y="4890"/>
                  </a:lnTo>
                  <a:lnTo>
                    <a:pt x="2410" y="4890"/>
                  </a:lnTo>
                  <a:lnTo>
                    <a:pt x="2404" y="4890"/>
                  </a:lnTo>
                  <a:lnTo>
                    <a:pt x="2394" y="4884"/>
                  </a:lnTo>
                  <a:lnTo>
                    <a:pt x="2390" y="4880"/>
                  </a:lnTo>
                  <a:lnTo>
                    <a:pt x="2388" y="4876"/>
                  </a:lnTo>
                  <a:lnTo>
                    <a:pt x="2388" y="4872"/>
                  </a:lnTo>
                  <a:lnTo>
                    <a:pt x="2388" y="4868"/>
                  </a:lnTo>
                  <a:lnTo>
                    <a:pt x="2390" y="4862"/>
                  </a:lnTo>
                  <a:lnTo>
                    <a:pt x="2392" y="4858"/>
                  </a:lnTo>
                  <a:lnTo>
                    <a:pt x="2390" y="4852"/>
                  </a:lnTo>
                  <a:lnTo>
                    <a:pt x="2390" y="4848"/>
                  </a:lnTo>
                  <a:lnTo>
                    <a:pt x="2392" y="4846"/>
                  </a:lnTo>
                  <a:lnTo>
                    <a:pt x="2396" y="4844"/>
                  </a:lnTo>
                  <a:lnTo>
                    <a:pt x="2400" y="4842"/>
                  </a:lnTo>
                  <a:lnTo>
                    <a:pt x="2402" y="4836"/>
                  </a:lnTo>
                  <a:lnTo>
                    <a:pt x="2402" y="4832"/>
                  </a:lnTo>
                  <a:lnTo>
                    <a:pt x="2400" y="4826"/>
                  </a:lnTo>
                  <a:lnTo>
                    <a:pt x="2396" y="4822"/>
                  </a:lnTo>
                  <a:lnTo>
                    <a:pt x="2392" y="4818"/>
                  </a:lnTo>
                  <a:lnTo>
                    <a:pt x="2386" y="4816"/>
                  </a:lnTo>
                  <a:lnTo>
                    <a:pt x="2380" y="4818"/>
                  </a:lnTo>
                  <a:lnTo>
                    <a:pt x="2376" y="4820"/>
                  </a:lnTo>
                  <a:lnTo>
                    <a:pt x="2374" y="4820"/>
                  </a:lnTo>
                  <a:lnTo>
                    <a:pt x="2372" y="4814"/>
                  </a:lnTo>
                  <a:lnTo>
                    <a:pt x="2372" y="4812"/>
                  </a:lnTo>
                  <a:lnTo>
                    <a:pt x="2368" y="4808"/>
                  </a:lnTo>
                  <a:lnTo>
                    <a:pt x="2364" y="4806"/>
                  </a:lnTo>
                  <a:lnTo>
                    <a:pt x="2356" y="4804"/>
                  </a:lnTo>
                  <a:lnTo>
                    <a:pt x="2348" y="4802"/>
                  </a:lnTo>
                  <a:lnTo>
                    <a:pt x="2342" y="4796"/>
                  </a:lnTo>
                  <a:lnTo>
                    <a:pt x="2340" y="4790"/>
                  </a:lnTo>
                  <a:lnTo>
                    <a:pt x="2338" y="4784"/>
                  </a:lnTo>
                  <a:lnTo>
                    <a:pt x="2336" y="4776"/>
                  </a:lnTo>
                  <a:lnTo>
                    <a:pt x="2332" y="4768"/>
                  </a:lnTo>
                  <a:lnTo>
                    <a:pt x="2324" y="4762"/>
                  </a:lnTo>
                  <a:lnTo>
                    <a:pt x="2314" y="4758"/>
                  </a:lnTo>
                  <a:lnTo>
                    <a:pt x="2308" y="4756"/>
                  </a:lnTo>
                  <a:lnTo>
                    <a:pt x="2304" y="4754"/>
                  </a:lnTo>
                  <a:lnTo>
                    <a:pt x="2302" y="4748"/>
                  </a:lnTo>
                  <a:lnTo>
                    <a:pt x="2300" y="4740"/>
                  </a:lnTo>
                  <a:lnTo>
                    <a:pt x="2298" y="4738"/>
                  </a:lnTo>
                  <a:lnTo>
                    <a:pt x="2296" y="4734"/>
                  </a:lnTo>
                  <a:lnTo>
                    <a:pt x="2288" y="4728"/>
                  </a:lnTo>
                  <a:lnTo>
                    <a:pt x="2284" y="4728"/>
                  </a:lnTo>
                  <a:lnTo>
                    <a:pt x="2282" y="4730"/>
                  </a:lnTo>
                  <a:lnTo>
                    <a:pt x="2282" y="4732"/>
                  </a:lnTo>
                  <a:lnTo>
                    <a:pt x="2282" y="4740"/>
                  </a:lnTo>
                  <a:lnTo>
                    <a:pt x="2282" y="4742"/>
                  </a:lnTo>
                  <a:lnTo>
                    <a:pt x="2280" y="4740"/>
                  </a:lnTo>
                  <a:lnTo>
                    <a:pt x="2274" y="4736"/>
                  </a:lnTo>
                  <a:lnTo>
                    <a:pt x="2270" y="4732"/>
                  </a:lnTo>
                  <a:lnTo>
                    <a:pt x="2266" y="4728"/>
                  </a:lnTo>
                  <a:lnTo>
                    <a:pt x="2262" y="4718"/>
                  </a:lnTo>
                  <a:lnTo>
                    <a:pt x="2258" y="4710"/>
                  </a:lnTo>
                  <a:lnTo>
                    <a:pt x="2254" y="4708"/>
                  </a:lnTo>
                  <a:lnTo>
                    <a:pt x="2252" y="4708"/>
                  </a:lnTo>
                  <a:lnTo>
                    <a:pt x="2248" y="4702"/>
                  </a:lnTo>
                  <a:lnTo>
                    <a:pt x="2242" y="4692"/>
                  </a:lnTo>
                  <a:lnTo>
                    <a:pt x="2234" y="4680"/>
                  </a:lnTo>
                  <a:lnTo>
                    <a:pt x="2222" y="4670"/>
                  </a:lnTo>
                  <a:lnTo>
                    <a:pt x="2214" y="4666"/>
                  </a:lnTo>
                  <a:lnTo>
                    <a:pt x="2208" y="4664"/>
                  </a:lnTo>
                  <a:lnTo>
                    <a:pt x="2204" y="4662"/>
                  </a:lnTo>
                  <a:lnTo>
                    <a:pt x="2200" y="4658"/>
                  </a:lnTo>
                  <a:lnTo>
                    <a:pt x="2196" y="4652"/>
                  </a:lnTo>
                  <a:lnTo>
                    <a:pt x="2192" y="4646"/>
                  </a:lnTo>
                  <a:lnTo>
                    <a:pt x="2190" y="4644"/>
                  </a:lnTo>
                  <a:lnTo>
                    <a:pt x="2186" y="4642"/>
                  </a:lnTo>
                  <a:lnTo>
                    <a:pt x="2182" y="4640"/>
                  </a:lnTo>
                  <a:lnTo>
                    <a:pt x="2180" y="4638"/>
                  </a:lnTo>
                  <a:lnTo>
                    <a:pt x="2180" y="4632"/>
                  </a:lnTo>
                  <a:lnTo>
                    <a:pt x="2178" y="4626"/>
                  </a:lnTo>
                  <a:lnTo>
                    <a:pt x="2176" y="4624"/>
                  </a:lnTo>
                  <a:lnTo>
                    <a:pt x="2174" y="4622"/>
                  </a:lnTo>
                  <a:lnTo>
                    <a:pt x="2170" y="4620"/>
                  </a:lnTo>
                  <a:lnTo>
                    <a:pt x="2168" y="4618"/>
                  </a:lnTo>
                  <a:lnTo>
                    <a:pt x="2166" y="4612"/>
                  </a:lnTo>
                  <a:lnTo>
                    <a:pt x="2166" y="4604"/>
                  </a:lnTo>
                  <a:lnTo>
                    <a:pt x="2162" y="4598"/>
                  </a:lnTo>
                  <a:lnTo>
                    <a:pt x="2158" y="4592"/>
                  </a:lnTo>
                  <a:lnTo>
                    <a:pt x="2150" y="4582"/>
                  </a:lnTo>
                  <a:lnTo>
                    <a:pt x="2146" y="4582"/>
                  </a:lnTo>
                  <a:lnTo>
                    <a:pt x="2146" y="4584"/>
                  </a:lnTo>
                  <a:lnTo>
                    <a:pt x="2142" y="4586"/>
                  </a:lnTo>
                  <a:lnTo>
                    <a:pt x="2138" y="4586"/>
                  </a:lnTo>
                  <a:lnTo>
                    <a:pt x="2134" y="4584"/>
                  </a:lnTo>
                  <a:lnTo>
                    <a:pt x="2130" y="4582"/>
                  </a:lnTo>
                  <a:lnTo>
                    <a:pt x="2128" y="4580"/>
                  </a:lnTo>
                  <a:lnTo>
                    <a:pt x="2122" y="4582"/>
                  </a:lnTo>
                  <a:lnTo>
                    <a:pt x="2114" y="4584"/>
                  </a:lnTo>
                  <a:lnTo>
                    <a:pt x="2108" y="4584"/>
                  </a:lnTo>
                  <a:lnTo>
                    <a:pt x="2098" y="4584"/>
                  </a:lnTo>
                  <a:lnTo>
                    <a:pt x="2088" y="4580"/>
                  </a:lnTo>
                  <a:lnTo>
                    <a:pt x="2086" y="4578"/>
                  </a:lnTo>
                  <a:lnTo>
                    <a:pt x="2084" y="4576"/>
                  </a:lnTo>
                  <a:lnTo>
                    <a:pt x="2082" y="4572"/>
                  </a:lnTo>
                  <a:lnTo>
                    <a:pt x="2078" y="4568"/>
                  </a:lnTo>
                  <a:lnTo>
                    <a:pt x="2070" y="4566"/>
                  </a:lnTo>
                  <a:lnTo>
                    <a:pt x="2062" y="4564"/>
                  </a:lnTo>
                  <a:lnTo>
                    <a:pt x="2058" y="4566"/>
                  </a:lnTo>
                  <a:lnTo>
                    <a:pt x="2056" y="4570"/>
                  </a:lnTo>
                  <a:lnTo>
                    <a:pt x="2056" y="4576"/>
                  </a:lnTo>
                  <a:lnTo>
                    <a:pt x="2058" y="4584"/>
                  </a:lnTo>
                  <a:lnTo>
                    <a:pt x="2060" y="4594"/>
                  </a:lnTo>
                  <a:lnTo>
                    <a:pt x="2070" y="4612"/>
                  </a:lnTo>
                  <a:lnTo>
                    <a:pt x="2080" y="4626"/>
                  </a:lnTo>
                  <a:lnTo>
                    <a:pt x="2086" y="4634"/>
                  </a:lnTo>
                  <a:lnTo>
                    <a:pt x="2094" y="4640"/>
                  </a:lnTo>
                  <a:lnTo>
                    <a:pt x="2102" y="4650"/>
                  </a:lnTo>
                  <a:lnTo>
                    <a:pt x="2104" y="4654"/>
                  </a:lnTo>
                  <a:lnTo>
                    <a:pt x="2108" y="4658"/>
                  </a:lnTo>
                  <a:lnTo>
                    <a:pt x="2114" y="4658"/>
                  </a:lnTo>
                  <a:lnTo>
                    <a:pt x="2116" y="4658"/>
                  </a:lnTo>
                  <a:lnTo>
                    <a:pt x="2120" y="4660"/>
                  </a:lnTo>
                  <a:lnTo>
                    <a:pt x="2124" y="4664"/>
                  </a:lnTo>
                  <a:lnTo>
                    <a:pt x="2130" y="4672"/>
                  </a:lnTo>
                  <a:lnTo>
                    <a:pt x="2138" y="4686"/>
                  </a:lnTo>
                  <a:lnTo>
                    <a:pt x="2138" y="4690"/>
                  </a:lnTo>
                  <a:lnTo>
                    <a:pt x="2138" y="4692"/>
                  </a:lnTo>
                  <a:lnTo>
                    <a:pt x="2146" y="4698"/>
                  </a:lnTo>
                  <a:lnTo>
                    <a:pt x="2152" y="4702"/>
                  </a:lnTo>
                  <a:lnTo>
                    <a:pt x="2154" y="4706"/>
                  </a:lnTo>
                  <a:lnTo>
                    <a:pt x="2154" y="4716"/>
                  </a:lnTo>
                  <a:lnTo>
                    <a:pt x="2156" y="4720"/>
                  </a:lnTo>
                  <a:lnTo>
                    <a:pt x="2158" y="4724"/>
                  </a:lnTo>
                  <a:lnTo>
                    <a:pt x="2162" y="4730"/>
                  </a:lnTo>
                  <a:lnTo>
                    <a:pt x="2172" y="4736"/>
                  </a:lnTo>
                  <a:lnTo>
                    <a:pt x="2182" y="4742"/>
                  </a:lnTo>
                  <a:lnTo>
                    <a:pt x="2192" y="4748"/>
                  </a:lnTo>
                  <a:lnTo>
                    <a:pt x="2198" y="4756"/>
                  </a:lnTo>
                  <a:lnTo>
                    <a:pt x="2200" y="4760"/>
                  </a:lnTo>
                  <a:lnTo>
                    <a:pt x="2200" y="4762"/>
                  </a:lnTo>
                  <a:lnTo>
                    <a:pt x="2198" y="4766"/>
                  </a:lnTo>
                  <a:lnTo>
                    <a:pt x="2198" y="4772"/>
                  </a:lnTo>
                  <a:lnTo>
                    <a:pt x="2206" y="4794"/>
                  </a:lnTo>
                  <a:lnTo>
                    <a:pt x="2214" y="4820"/>
                  </a:lnTo>
                  <a:lnTo>
                    <a:pt x="2218" y="4828"/>
                  </a:lnTo>
                  <a:lnTo>
                    <a:pt x="2226" y="4834"/>
                  </a:lnTo>
                  <a:lnTo>
                    <a:pt x="2234" y="4838"/>
                  </a:lnTo>
                  <a:lnTo>
                    <a:pt x="2236" y="4844"/>
                  </a:lnTo>
                  <a:lnTo>
                    <a:pt x="2240" y="4854"/>
                  </a:lnTo>
                  <a:lnTo>
                    <a:pt x="2254" y="4870"/>
                  </a:lnTo>
                  <a:lnTo>
                    <a:pt x="2260" y="4876"/>
                  </a:lnTo>
                  <a:lnTo>
                    <a:pt x="2262" y="4882"/>
                  </a:lnTo>
                  <a:lnTo>
                    <a:pt x="2264" y="4886"/>
                  </a:lnTo>
                  <a:lnTo>
                    <a:pt x="2264" y="4890"/>
                  </a:lnTo>
                  <a:lnTo>
                    <a:pt x="2262" y="4898"/>
                  </a:lnTo>
                  <a:lnTo>
                    <a:pt x="2264" y="4900"/>
                  </a:lnTo>
                  <a:lnTo>
                    <a:pt x="2266" y="4904"/>
                  </a:lnTo>
                  <a:lnTo>
                    <a:pt x="2274" y="4912"/>
                  </a:lnTo>
                  <a:lnTo>
                    <a:pt x="2278" y="4922"/>
                  </a:lnTo>
                  <a:lnTo>
                    <a:pt x="2282" y="4934"/>
                  </a:lnTo>
                  <a:lnTo>
                    <a:pt x="2284" y="4946"/>
                  </a:lnTo>
                  <a:lnTo>
                    <a:pt x="2290" y="4960"/>
                  </a:lnTo>
                  <a:lnTo>
                    <a:pt x="2300" y="4976"/>
                  </a:lnTo>
                  <a:lnTo>
                    <a:pt x="2312" y="4992"/>
                  </a:lnTo>
                  <a:lnTo>
                    <a:pt x="2326" y="5008"/>
                  </a:lnTo>
                  <a:lnTo>
                    <a:pt x="2336" y="5018"/>
                  </a:lnTo>
                  <a:lnTo>
                    <a:pt x="2342" y="5028"/>
                  </a:lnTo>
                  <a:lnTo>
                    <a:pt x="2350" y="5038"/>
                  </a:lnTo>
                  <a:lnTo>
                    <a:pt x="2364" y="5054"/>
                  </a:lnTo>
                  <a:lnTo>
                    <a:pt x="2380" y="5072"/>
                  </a:lnTo>
                  <a:lnTo>
                    <a:pt x="2394" y="5084"/>
                  </a:lnTo>
                  <a:lnTo>
                    <a:pt x="2404" y="5094"/>
                  </a:lnTo>
                  <a:lnTo>
                    <a:pt x="2416" y="5108"/>
                  </a:lnTo>
                  <a:lnTo>
                    <a:pt x="2426" y="5122"/>
                  </a:lnTo>
                  <a:lnTo>
                    <a:pt x="2434" y="5132"/>
                  </a:lnTo>
                  <a:lnTo>
                    <a:pt x="2436" y="5134"/>
                  </a:lnTo>
                  <a:lnTo>
                    <a:pt x="2438" y="5134"/>
                  </a:lnTo>
                  <a:lnTo>
                    <a:pt x="2434" y="5120"/>
                  </a:lnTo>
                  <a:lnTo>
                    <a:pt x="2434" y="5112"/>
                  </a:lnTo>
                  <a:lnTo>
                    <a:pt x="2434" y="5110"/>
                  </a:lnTo>
                  <a:lnTo>
                    <a:pt x="2438" y="5112"/>
                  </a:lnTo>
                  <a:lnTo>
                    <a:pt x="2444" y="5114"/>
                  </a:lnTo>
                  <a:lnTo>
                    <a:pt x="2450" y="5118"/>
                  </a:lnTo>
                  <a:lnTo>
                    <a:pt x="2454" y="5120"/>
                  </a:lnTo>
                  <a:lnTo>
                    <a:pt x="2458" y="5118"/>
                  </a:lnTo>
                  <a:lnTo>
                    <a:pt x="2460" y="5114"/>
                  </a:lnTo>
                  <a:lnTo>
                    <a:pt x="2462" y="5108"/>
                  </a:lnTo>
                  <a:lnTo>
                    <a:pt x="2464" y="5108"/>
                  </a:lnTo>
                  <a:lnTo>
                    <a:pt x="2470" y="5116"/>
                  </a:lnTo>
                  <a:lnTo>
                    <a:pt x="2476" y="5126"/>
                  </a:lnTo>
                  <a:lnTo>
                    <a:pt x="2480" y="5128"/>
                  </a:lnTo>
                  <a:lnTo>
                    <a:pt x="2484" y="5128"/>
                  </a:lnTo>
                  <a:close/>
                  <a:moveTo>
                    <a:pt x="2344" y="4774"/>
                  </a:moveTo>
                  <a:lnTo>
                    <a:pt x="2344" y="4774"/>
                  </a:lnTo>
                  <a:lnTo>
                    <a:pt x="2340" y="4772"/>
                  </a:lnTo>
                  <a:lnTo>
                    <a:pt x="2338" y="4772"/>
                  </a:lnTo>
                  <a:lnTo>
                    <a:pt x="2338" y="4774"/>
                  </a:lnTo>
                  <a:lnTo>
                    <a:pt x="2338" y="4776"/>
                  </a:lnTo>
                  <a:lnTo>
                    <a:pt x="2340" y="4784"/>
                  </a:lnTo>
                  <a:lnTo>
                    <a:pt x="2344" y="4792"/>
                  </a:lnTo>
                  <a:lnTo>
                    <a:pt x="2346" y="4792"/>
                  </a:lnTo>
                  <a:lnTo>
                    <a:pt x="2348" y="4788"/>
                  </a:lnTo>
                  <a:lnTo>
                    <a:pt x="2348" y="4780"/>
                  </a:lnTo>
                  <a:lnTo>
                    <a:pt x="2346" y="4776"/>
                  </a:lnTo>
                  <a:lnTo>
                    <a:pt x="2344" y="4774"/>
                  </a:lnTo>
                  <a:close/>
                  <a:moveTo>
                    <a:pt x="2374" y="4792"/>
                  </a:moveTo>
                  <a:lnTo>
                    <a:pt x="2374" y="4792"/>
                  </a:lnTo>
                  <a:lnTo>
                    <a:pt x="2372" y="4786"/>
                  </a:lnTo>
                  <a:lnTo>
                    <a:pt x="2366" y="4784"/>
                  </a:lnTo>
                  <a:lnTo>
                    <a:pt x="2360" y="4782"/>
                  </a:lnTo>
                  <a:lnTo>
                    <a:pt x="2358" y="4782"/>
                  </a:lnTo>
                  <a:lnTo>
                    <a:pt x="2358" y="4784"/>
                  </a:lnTo>
                  <a:lnTo>
                    <a:pt x="2358" y="4788"/>
                  </a:lnTo>
                  <a:lnTo>
                    <a:pt x="2364" y="4790"/>
                  </a:lnTo>
                  <a:lnTo>
                    <a:pt x="2372" y="4794"/>
                  </a:lnTo>
                  <a:lnTo>
                    <a:pt x="2374" y="4794"/>
                  </a:lnTo>
                  <a:lnTo>
                    <a:pt x="2374" y="4792"/>
                  </a:lnTo>
                  <a:close/>
                  <a:moveTo>
                    <a:pt x="2316" y="4736"/>
                  </a:moveTo>
                  <a:lnTo>
                    <a:pt x="2316" y="4736"/>
                  </a:lnTo>
                  <a:lnTo>
                    <a:pt x="2312" y="4736"/>
                  </a:lnTo>
                  <a:lnTo>
                    <a:pt x="2310" y="4736"/>
                  </a:lnTo>
                  <a:lnTo>
                    <a:pt x="2306" y="4740"/>
                  </a:lnTo>
                  <a:lnTo>
                    <a:pt x="2306" y="4746"/>
                  </a:lnTo>
                  <a:lnTo>
                    <a:pt x="2308" y="4750"/>
                  </a:lnTo>
                  <a:lnTo>
                    <a:pt x="2310" y="4752"/>
                  </a:lnTo>
                  <a:lnTo>
                    <a:pt x="2312" y="4752"/>
                  </a:lnTo>
                  <a:lnTo>
                    <a:pt x="2314" y="4752"/>
                  </a:lnTo>
                  <a:lnTo>
                    <a:pt x="2318" y="4746"/>
                  </a:lnTo>
                  <a:lnTo>
                    <a:pt x="2318" y="4740"/>
                  </a:lnTo>
                  <a:lnTo>
                    <a:pt x="2318" y="4736"/>
                  </a:lnTo>
                  <a:lnTo>
                    <a:pt x="2316" y="4736"/>
                  </a:lnTo>
                  <a:close/>
                  <a:moveTo>
                    <a:pt x="36" y="5458"/>
                  </a:moveTo>
                  <a:lnTo>
                    <a:pt x="36" y="5458"/>
                  </a:lnTo>
                  <a:lnTo>
                    <a:pt x="32" y="5458"/>
                  </a:lnTo>
                  <a:lnTo>
                    <a:pt x="30" y="5460"/>
                  </a:lnTo>
                  <a:lnTo>
                    <a:pt x="32" y="5464"/>
                  </a:lnTo>
                  <a:lnTo>
                    <a:pt x="36" y="5470"/>
                  </a:lnTo>
                  <a:lnTo>
                    <a:pt x="38" y="5472"/>
                  </a:lnTo>
                  <a:lnTo>
                    <a:pt x="40" y="5472"/>
                  </a:lnTo>
                  <a:lnTo>
                    <a:pt x="40" y="5468"/>
                  </a:lnTo>
                  <a:lnTo>
                    <a:pt x="40" y="5462"/>
                  </a:lnTo>
                  <a:lnTo>
                    <a:pt x="36" y="5458"/>
                  </a:lnTo>
                  <a:close/>
                  <a:moveTo>
                    <a:pt x="2554" y="4992"/>
                  </a:moveTo>
                  <a:lnTo>
                    <a:pt x="2554" y="4992"/>
                  </a:lnTo>
                  <a:lnTo>
                    <a:pt x="2558" y="4998"/>
                  </a:lnTo>
                  <a:lnTo>
                    <a:pt x="2560" y="4998"/>
                  </a:lnTo>
                  <a:lnTo>
                    <a:pt x="2562" y="4996"/>
                  </a:lnTo>
                  <a:lnTo>
                    <a:pt x="2564" y="4994"/>
                  </a:lnTo>
                  <a:lnTo>
                    <a:pt x="2566" y="4994"/>
                  </a:lnTo>
                  <a:lnTo>
                    <a:pt x="2570" y="4994"/>
                  </a:lnTo>
                  <a:lnTo>
                    <a:pt x="2574" y="4994"/>
                  </a:lnTo>
                  <a:lnTo>
                    <a:pt x="2578" y="4988"/>
                  </a:lnTo>
                  <a:lnTo>
                    <a:pt x="2582" y="4980"/>
                  </a:lnTo>
                  <a:lnTo>
                    <a:pt x="2582" y="4976"/>
                  </a:lnTo>
                  <a:lnTo>
                    <a:pt x="2580" y="4974"/>
                  </a:lnTo>
                  <a:lnTo>
                    <a:pt x="2576" y="4968"/>
                  </a:lnTo>
                  <a:lnTo>
                    <a:pt x="2568" y="4964"/>
                  </a:lnTo>
                  <a:lnTo>
                    <a:pt x="2562" y="4962"/>
                  </a:lnTo>
                  <a:lnTo>
                    <a:pt x="2558" y="4964"/>
                  </a:lnTo>
                  <a:lnTo>
                    <a:pt x="2556" y="4968"/>
                  </a:lnTo>
                  <a:lnTo>
                    <a:pt x="2554" y="4972"/>
                  </a:lnTo>
                  <a:lnTo>
                    <a:pt x="2552" y="4982"/>
                  </a:lnTo>
                  <a:lnTo>
                    <a:pt x="2552" y="4988"/>
                  </a:lnTo>
                  <a:lnTo>
                    <a:pt x="2554" y="4992"/>
                  </a:lnTo>
                  <a:close/>
                  <a:moveTo>
                    <a:pt x="8" y="5430"/>
                  </a:moveTo>
                  <a:lnTo>
                    <a:pt x="8" y="5430"/>
                  </a:lnTo>
                  <a:lnTo>
                    <a:pt x="6" y="5434"/>
                  </a:lnTo>
                  <a:lnTo>
                    <a:pt x="6" y="5436"/>
                  </a:lnTo>
                  <a:lnTo>
                    <a:pt x="6" y="5440"/>
                  </a:lnTo>
                  <a:lnTo>
                    <a:pt x="10" y="5444"/>
                  </a:lnTo>
                  <a:lnTo>
                    <a:pt x="14" y="5442"/>
                  </a:lnTo>
                  <a:lnTo>
                    <a:pt x="14" y="5438"/>
                  </a:lnTo>
                  <a:lnTo>
                    <a:pt x="14" y="5434"/>
                  </a:lnTo>
                  <a:lnTo>
                    <a:pt x="12" y="5430"/>
                  </a:lnTo>
                  <a:lnTo>
                    <a:pt x="10" y="5430"/>
                  </a:lnTo>
                  <a:lnTo>
                    <a:pt x="8" y="5430"/>
                  </a:lnTo>
                  <a:close/>
                  <a:moveTo>
                    <a:pt x="3222" y="4178"/>
                  </a:moveTo>
                  <a:lnTo>
                    <a:pt x="3222" y="4178"/>
                  </a:lnTo>
                  <a:lnTo>
                    <a:pt x="3224" y="4178"/>
                  </a:lnTo>
                  <a:lnTo>
                    <a:pt x="3228" y="4176"/>
                  </a:lnTo>
                  <a:lnTo>
                    <a:pt x="3232" y="4172"/>
                  </a:lnTo>
                  <a:lnTo>
                    <a:pt x="3234" y="4166"/>
                  </a:lnTo>
                  <a:lnTo>
                    <a:pt x="3232" y="4162"/>
                  </a:lnTo>
                  <a:lnTo>
                    <a:pt x="3232" y="4160"/>
                  </a:lnTo>
                  <a:lnTo>
                    <a:pt x="3230" y="4160"/>
                  </a:lnTo>
                  <a:lnTo>
                    <a:pt x="3228" y="4156"/>
                  </a:lnTo>
                  <a:lnTo>
                    <a:pt x="3226" y="4152"/>
                  </a:lnTo>
                  <a:lnTo>
                    <a:pt x="3224" y="4150"/>
                  </a:lnTo>
                  <a:lnTo>
                    <a:pt x="3222" y="4154"/>
                  </a:lnTo>
                  <a:lnTo>
                    <a:pt x="3222" y="4160"/>
                  </a:lnTo>
                  <a:lnTo>
                    <a:pt x="3222" y="4168"/>
                  </a:lnTo>
                  <a:lnTo>
                    <a:pt x="3220" y="4172"/>
                  </a:lnTo>
                  <a:lnTo>
                    <a:pt x="3218" y="4174"/>
                  </a:lnTo>
                  <a:lnTo>
                    <a:pt x="3222" y="4178"/>
                  </a:lnTo>
                  <a:close/>
                  <a:moveTo>
                    <a:pt x="3526" y="3176"/>
                  </a:moveTo>
                  <a:lnTo>
                    <a:pt x="3526" y="3176"/>
                  </a:lnTo>
                  <a:lnTo>
                    <a:pt x="3522" y="3176"/>
                  </a:lnTo>
                  <a:lnTo>
                    <a:pt x="3520" y="3174"/>
                  </a:lnTo>
                  <a:lnTo>
                    <a:pt x="3522" y="3168"/>
                  </a:lnTo>
                  <a:lnTo>
                    <a:pt x="3526" y="3162"/>
                  </a:lnTo>
                  <a:lnTo>
                    <a:pt x="3526" y="3158"/>
                  </a:lnTo>
                  <a:lnTo>
                    <a:pt x="3526" y="3154"/>
                  </a:lnTo>
                  <a:lnTo>
                    <a:pt x="3522" y="3152"/>
                  </a:lnTo>
                  <a:lnTo>
                    <a:pt x="3518" y="3152"/>
                  </a:lnTo>
                  <a:lnTo>
                    <a:pt x="3510" y="3156"/>
                  </a:lnTo>
                  <a:lnTo>
                    <a:pt x="3506" y="3156"/>
                  </a:lnTo>
                  <a:lnTo>
                    <a:pt x="3504" y="3156"/>
                  </a:lnTo>
                  <a:lnTo>
                    <a:pt x="3500" y="3154"/>
                  </a:lnTo>
                  <a:lnTo>
                    <a:pt x="3500" y="3148"/>
                  </a:lnTo>
                  <a:lnTo>
                    <a:pt x="3498" y="3146"/>
                  </a:lnTo>
                  <a:lnTo>
                    <a:pt x="3496" y="3142"/>
                  </a:lnTo>
                  <a:lnTo>
                    <a:pt x="3490" y="3140"/>
                  </a:lnTo>
                  <a:lnTo>
                    <a:pt x="3486" y="3140"/>
                  </a:lnTo>
                  <a:lnTo>
                    <a:pt x="3482" y="3140"/>
                  </a:lnTo>
                  <a:lnTo>
                    <a:pt x="3478" y="3144"/>
                  </a:lnTo>
                  <a:lnTo>
                    <a:pt x="3476" y="3148"/>
                  </a:lnTo>
                  <a:lnTo>
                    <a:pt x="3474" y="3154"/>
                  </a:lnTo>
                  <a:lnTo>
                    <a:pt x="3470" y="3154"/>
                  </a:lnTo>
                  <a:lnTo>
                    <a:pt x="3466" y="3154"/>
                  </a:lnTo>
                  <a:lnTo>
                    <a:pt x="3464" y="3160"/>
                  </a:lnTo>
                  <a:lnTo>
                    <a:pt x="3462" y="3164"/>
                  </a:lnTo>
                  <a:lnTo>
                    <a:pt x="3460" y="3164"/>
                  </a:lnTo>
                  <a:lnTo>
                    <a:pt x="3456" y="3160"/>
                  </a:lnTo>
                  <a:lnTo>
                    <a:pt x="3454" y="3158"/>
                  </a:lnTo>
                  <a:lnTo>
                    <a:pt x="3452" y="3164"/>
                  </a:lnTo>
                  <a:lnTo>
                    <a:pt x="3452" y="3168"/>
                  </a:lnTo>
                  <a:lnTo>
                    <a:pt x="3448" y="3170"/>
                  </a:lnTo>
                  <a:lnTo>
                    <a:pt x="3444" y="3168"/>
                  </a:lnTo>
                  <a:lnTo>
                    <a:pt x="3440" y="3168"/>
                  </a:lnTo>
                  <a:lnTo>
                    <a:pt x="3442" y="3174"/>
                  </a:lnTo>
                  <a:lnTo>
                    <a:pt x="3444" y="3182"/>
                  </a:lnTo>
                  <a:lnTo>
                    <a:pt x="3444" y="3186"/>
                  </a:lnTo>
                  <a:lnTo>
                    <a:pt x="3444" y="3190"/>
                  </a:lnTo>
                  <a:lnTo>
                    <a:pt x="3446" y="3196"/>
                  </a:lnTo>
                  <a:lnTo>
                    <a:pt x="3448" y="3200"/>
                  </a:lnTo>
                  <a:lnTo>
                    <a:pt x="3450" y="3204"/>
                  </a:lnTo>
                  <a:lnTo>
                    <a:pt x="3450" y="3210"/>
                  </a:lnTo>
                  <a:lnTo>
                    <a:pt x="3456" y="3204"/>
                  </a:lnTo>
                  <a:lnTo>
                    <a:pt x="3460" y="3202"/>
                  </a:lnTo>
                  <a:lnTo>
                    <a:pt x="3464" y="3200"/>
                  </a:lnTo>
                  <a:lnTo>
                    <a:pt x="3464" y="3202"/>
                  </a:lnTo>
                  <a:lnTo>
                    <a:pt x="3464" y="3204"/>
                  </a:lnTo>
                  <a:lnTo>
                    <a:pt x="3466" y="3208"/>
                  </a:lnTo>
                  <a:lnTo>
                    <a:pt x="3468" y="3208"/>
                  </a:lnTo>
                  <a:lnTo>
                    <a:pt x="3472" y="3206"/>
                  </a:lnTo>
                  <a:lnTo>
                    <a:pt x="3474" y="3204"/>
                  </a:lnTo>
                  <a:lnTo>
                    <a:pt x="3474" y="3200"/>
                  </a:lnTo>
                  <a:lnTo>
                    <a:pt x="3472" y="3198"/>
                  </a:lnTo>
                  <a:lnTo>
                    <a:pt x="3468" y="3194"/>
                  </a:lnTo>
                  <a:lnTo>
                    <a:pt x="3466" y="3192"/>
                  </a:lnTo>
                  <a:lnTo>
                    <a:pt x="3464" y="3188"/>
                  </a:lnTo>
                  <a:lnTo>
                    <a:pt x="3466" y="3182"/>
                  </a:lnTo>
                  <a:lnTo>
                    <a:pt x="3466" y="3180"/>
                  </a:lnTo>
                  <a:lnTo>
                    <a:pt x="3468" y="3180"/>
                  </a:lnTo>
                  <a:lnTo>
                    <a:pt x="3470" y="3182"/>
                  </a:lnTo>
                  <a:lnTo>
                    <a:pt x="3474" y="3186"/>
                  </a:lnTo>
                  <a:lnTo>
                    <a:pt x="3480" y="3196"/>
                  </a:lnTo>
                  <a:lnTo>
                    <a:pt x="3482" y="3208"/>
                  </a:lnTo>
                  <a:lnTo>
                    <a:pt x="3480" y="3218"/>
                  </a:lnTo>
                  <a:lnTo>
                    <a:pt x="3474" y="3228"/>
                  </a:lnTo>
                  <a:lnTo>
                    <a:pt x="3468" y="3236"/>
                  </a:lnTo>
                  <a:lnTo>
                    <a:pt x="3466" y="3242"/>
                  </a:lnTo>
                  <a:lnTo>
                    <a:pt x="3470" y="3258"/>
                  </a:lnTo>
                  <a:lnTo>
                    <a:pt x="3470" y="3266"/>
                  </a:lnTo>
                  <a:lnTo>
                    <a:pt x="3468" y="3270"/>
                  </a:lnTo>
                  <a:lnTo>
                    <a:pt x="3466" y="3274"/>
                  </a:lnTo>
                  <a:lnTo>
                    <a:pt x="3466" y="3276"/>
                  </a:lnTo>
                  <a:lnTo>
                    <a:pt x="3476" y="3280"/>
                  </a:lnTo>
                  <a:lnTo>
                    <a:pt x="3482" y="3282"/>
                  </a:lnTo>
                  <a:lnTo>
                    <a:pt x="3486" y="3286"/>
                  </a:lnTo>
                  <a:lnTo>
                    <a:pt x="3486" y="3290"/>
                  </a:lnTo>
                  <a:lnTo>
                    <a:pt x="3486" y="3292"/>
                  </a:lnTo>
                  <a:lnTo>
                    <a:pt x="3488" y="3292"/>
                  </a:lnTo>
                  <a:lnTo>
                    <a:pt x="3496" y="3288"/>
                  </a:lnTo>
                  <a:lnTo>
                    <a:pt x="3500" y="3284"/>
                  </a:lnTo>
                  <a:lnTo>
                    <a:pt x="3502" y="3280"/>
                  </a:lnTo>
                  <a:lnTo>
                    <a:pt x="3502" y="3278"/>
                  </a:lnTo>
                  <a:lnTo>
                    <a:pt x="3502" y="3276"/>
                  </a:lnTo>
                  <a:lnTo>
                    <a:pt x="3500" y="3272"/>
                  </a:lnTo>
                  <a:lnTo>
                    <a:pt x="3502" y="3270"/>
                  </a:lnTo>
                  <a:lnTo>
                    <a:pt x="3506" y="3268"/>
                  </a:lnTo>
                  <a:lnTo>
                    <a:pt x="3508" y="3270"/>
                  </a:lnTo>
                  <a:lnTo>
                    <a:pt x="3510" y="3274"/>
                  </a:lnTo>
                  <a:lnTo>
                    <a:pt x="3514" y="3272"/>
                  </a:lnTo>
                  <a:lnTo>
                    <a:pt x="3516" y="3268"/>
                  </a:lnTo>
                  <a:lnTo>
                    <a:pt x="3518" y="3260"/>
                  </a:lnTo>
                  <a:lnTo>
                    <a:pt x="3522" y="3236"/>
                  </a:lnTo>
                  <a:lnTo>
                    <a:pt x="3528" y="3212"/>
                  </a:lnTo>
                  <a:lnTo>
                    <a:pt x="3532" y="3202"/>
                  </a:lnTo>
                  <a:lnTo>
                    <a:pt x="3534" y="3200"/>
                  </a:lnTo>
                  <a:lnTo>
                    <a:pt x="3538" y="3198"/>
                  </a:lnTo>
                  <a:lnTo>
                    <a:pt x="3540" y="3196"/>
                  </a:lnTo>
                  <a:lnTo>
                    <a:pt x="3542" y="3194"/>
                  </a:lnTo>
                  <a:lnTo>
                    <a:pt x="3540" y="3186"/>
                  </a:lnTo>
                  <a:lnTo>
                    <a:pt x="3534" y="3180"/>
                  </a:lnTo>
                  <a:lnTo>
                    <a:pt x="3530" y="3178"/>
                  </a:lnTo>
                  <a:lnTo>
                    <a:pt x="3526" y="3176"/>
                  </a:lnTo>
                  <a:close/>
                  <a:moveTo>
                    <a:pt x="3432" y="3438"/>
                  </a:moveTo>
                  <a:lnTo>
                    <a:pt x="3432" y="3438"/>
                  </a:lnTo>
                  <a:lnTo>
                    <a:pt x="3432" y="3442"/>
                  </a:lnTo>
                  <a:lnTo>
                    <a:pt x="3434" y="3442"/>
                  </a:lnTo>
                  <a:lnTo>
                    <a:pt x="3440" y="3436"/>
                  </a:lnTo>
                  <a:lnTo>
                    <a:pt x="3446" y="3428"/>
                  </a:lnTo>
                  <a:lnTo>
                    <a:pt x="3448" y="3424"/>
                  </a:lnTo>
                  <a:lnTo>
                    <a:pt x="3448" y="3422"/>
                  </a:lnTo>
                  <a:lnTo>
                    <a:pt x="3444" y="3422"/>
                  </a:lnTo>
                  <a:lnTo>
                    <a:pt x="3438" y="3424"/>
                  </a:lnTo>
                  <a:lnTo>
                    <a:pt x="3434" y="3430"/>
                  </a:lnTo>
                  <a:lnTo>
                    <a:pt x="3432" y="3434"/>
                  </a:lnTo>
                  <a:lnTo>
                    <a:pt x="3432" y="3438"/>
                  </a:lnTo>
                  <a:close/>
                  <a:moveTo>
                    <a:pt x="3434" y="3100"/>
                  </a:moveTo>
                  <a:lnTo>
                    <a:pt x="3434" y="3100"/>
                  </a:lnTo>
                  <a:lnTo>
                    <a:pt x="3432" y="3102"/>
                  </a:lnTo>
                  <a:lnTo>
                    <a:pt x="3430" y="3106"/>
                  </a:lnTo>
                  <a:lnTo>
                    <a:pt x="3430" y="3110"/>
                  </a:lnTo>
                  <a:lnTo>
                    <a:pt x="3428" y="3116"/>
                  </a:lnTo>
                  <a:lnTo>
                    <a:pt x="3426" y="3126"/>
                  </a:lnTo>
                  <a:lnTo>
                    <a:pt x="3426" y="3130"/>
                  </a:lnTo>
                  <a:lnTo>
                    <a:pt x="3428" y="3128"/>
                  </a:lnTo>
                  <a:lnTo>
                    <a:pt x="3430" y="3124"/>
                  </a:lnTo>
                  <a:lnTo>
                    <a:pt x="3432" y="3120"/>
                  </a:lnTo>
                  <a:lnTo>
                    <a:pt x="3434" y="3114"/>
                  </a:lnTo>
                  <a:lnTo>
                    <a:pt x="3436" y="3110"/>
                  </a:lnTo>
                  <a:lnTo>
                    <a:pt x="3438" y="3104"/>
                  </a:lnTo>
                  <a:lnTo>
                    <a:pt x="3438" y="3100"/>
                  </a:lnTo>
                  <a:lnTo>
                    <a:pt x="3436" y="3100"/>
                  </a:lnTo>
                  <a:lnTo>
                    <a:pt x="3434" y="3100"/>
                  </a:lnTo>
                  <a:close/>
                  <a:moveTo>
                    <a:pt x="4106" y="2564"/>
                  </a:moveTo>
                  <a:lnTo>
                    <a:pt x="4106" y="2564"/>
                  </a:lnTo>
                  <a:lnTo>
                    <a:pt x="4098" y="2576"/>
                  </a:lnTo>
                  <a:lnTo>
                    <a:pt x="4088" y="2586"/>
                  </a:lnTo>
                  <a:lnTo>
                    <a:pt x="4084" y="2594"/>
                  </a:lnTo>
                  <a:lnTo>
                    <a:pt x="4082" y="2598"/>
                  </a:lnTo>
                  <a:lnTo>
                    <a:pt x="4084" y="2604"/>
                  </a:lnTo>
                  <a:lnTo>
                    <a:pt x="4086" y="2604"/>
                  </a:lnTo>
                  <a:lnTo>
                    <a:pt x="4088" y="2602"/>
                  </a:lnTo>
                  <a:lnTo>
                    <a:pt x="4094" y="2592"/>
                  </a:lnTo>
                  <a:lnTo>
                    <a:pt x="4098" y="2586"/>
                  </a:lnTo>
                  <a:lnTo>
                    <a:pt x="4104" y="2580"/>
                  </a:lnTo>
                  <a:lnTo>
                    <a:pt x="4112" y="2574"/>
                  </a:lnTo>
                  <a:lnTo>
                    <a:pt x="4122" y="2570"/>
                  </a:lnTo>
                  <a:lnTo>
                    <a:pt x="4126" y="2568"/>
                  </a:lnTo>
                  <a:lnTo>
                    <a:pt x="4126" y="2566"/>
                  </a:lnTo>
                  <a:lnTo>
                    <a:pt x="4120" y="2562"/>
                  </a:lnTo>
                  <a:lnTo>
                    <a:pt x="4112" y="2562"/>
                  </a:lnTo>
                  <a:lnTo>
                    <a:pt x="4108" y="2562"/>
                  </a:lnTo>
                  <a:lnTo>
                    <a:pt x="4106" y="2564"/>
                  </a:lnTo>
                  <a:close/>
                  <a:moveTo>
                    <a:pt x="3472" y="4884"/>
                  </a:moveTo>
                  <a:lnTo>
                    <a:pt x="3472" y="4884"/>
                  </a:lnTo>
                  <a:lnTo>
                    <a:pt x="3474" y="4884"/>
                  </a:lnTo>
                  <a:lnTo>
                    <a:pt x="3476" y="4884"/>
                  </a:lnTo>
                  <a:lnTo>
                    <a:pt x="3484" y="4882"/>
                  </a:lnTo>
                  <a:lnTo>
                    <a:pt x="3488" y="4880"/>
                  </a:lnTo>
                  <a:lnTo>
                    <a:pt x="3490" y="4878"/>
                  </a:lnTo>
                  <a:lnTo>
                    <a:pt x="3488" y="4878"/>
                  </a:lnTo>
                  <a:lnTo>
                    <a:pt x="3478" y="4878"/>
                  </a:lnTo>
                  <a:lnTo>
                    <a:pt x="3472" y="4880"/>
                  </a:lnTo>
                  <a:lnTo>
                    <a:pt x="3472" y="4882"/>
                  </a:lnTo>
                  <a:lnTo>
                    <a:pt x="3472" y="4884"/>
                  </a:lnTo>
                  <a:close/>
                  <a:moveTo>
                    <a:pt x="3468" y="3214"/>
                  </a:moveTo>
                  <a:lnTo>
                    <a:pt x="3468" y="3214"/>
                  </a:lnTo>
                  <a:lnTo>
                    <a:pt x="3468" y="3212"/>
                  </a:lnTo>
                  <a:lnTo>
                    <a:pt x="3466" y="3212"/>
                  </a:lnTo>
                  <a:lnTo>
                    <a:pt x="3462" y="3212"/>
                  </a:lnTo>
                  <a:lnTo>
                    <a:pt x="3460" y="3218"/>
                  </a:lnTo>
                  <a:lnTo>
                    <a:pt x="3460" y="3224"/>
                  </a:lnTo>
                  <a:lnTo>
                    <a:pt x="3460" y="3226"/>
                  </a:lnTo>
                  <a:lnTo>
                    <a:pt x="3462" y="3226"/>
                  </a:lnTo>
                  <a:lnTo>
                    <a:pt x="3464" y="3224"/>
                  </a:lnTo>
                  <a:lnTo>
                    <a:pt x="3468" y="3220"/>
                  </a:lnTo>
                  <a:lnTo>
                    <a:pt x="3468" y="3214"/>
                  </a:lnTo>
                  <a:close/>
                  <a:moveTo>
                    <a:pt x="3482" y="3322"/>
                  </a:moveTo>
                  <a:lnTo>
                    <a:pt x="3482" y="3322"/>
                  </a:lnTo>
                  <a:lnTo>
                    <a:pt x="3478" y="3322"/>
                  </a:lnTo>
                  <a:lnTo>
                    <a:pt x="3476" y="3326"/>
                  </a:lnTo>
                  <a:lnTo>
                    <a:pt x="3478" y="3330"/>
                  </a:lnTo>
                  <a:lnTo>
                    <a:pt x="3482" y="3332"/>
                  </a:lnTo>
                  <a:lnTo>
                    <a:pt x="3486" y="3332"/>
                  </a:lnTo>
                  <a:lnTo>
                    <a:pt x="3486" y="3328"/>
                  </a:lnTo>
                  <a:lnTo>
                    <a:pt x="3484" y="3324"/>
                  </a:lnTo>
                  <a:lnTo>
                    <a:pt x="3482" y="3322"/>
                  </a:lnTo>
                  <a:close/>
                  <a:moveTo>
                    <a:pt x="3652" y="3124"/>
                  </a:moveTo>
                  <a:lnTo>
                    <a:pt x="3652" y="3124"/>
                  </a:lnTo>
                  <a:lnTo>
                    <a:pt x="3654" y="3126"/>
                  </a:lnTo>
                  <a:lnTo>
                    <a:pt x="3656" y="3124"/>
                  </a:lnTo>
                  <a:lnTo>
                    <a:pt x="3658" y="3118"/>
                  </a:lnTo>
                  <a:lnTo>
                    <a:pt x="3662" y="3112"/>
                  </a:lnTo>
                  <a:lnTo>
                    <a:pt x="3662" y="3106"/>
                  </a:lnTo>
                  <a:lnTo>
                    <a:pt x="3662" y="3104"/>
                  </a:lnTo>
                  <a:lnTo>
                    <a:pt x="3660" y="3104"/>
                  </a:lnTo>
                  <a:lnTo>
                    <a:pt x="3656" y="3110"/>
                  </a:lnTo>
                  <a:lnTo>
                    <a:pt x="3652" y="3116"/>
                  </a:lnTo>
                  <a:lnTo>
                    <a:pt x="3652" y="3120"/>
                  </a:lnTo>
                  <a:lnTo>
                    <a:pt x="3652" y="3124"/>
                  </a:lnTo>
                  <a:close/>
                  <a:moveTo>
                    <a:pt x="3482" y="4890"/>
                  </a:moveTo>
                  <a:lnTo>
                    <a:pt x="3482" y="4890"/>
                  </a:lnTo>
                  <a:lnTo>
                    <a:pt x="3486" y="4896"/>
                  </a:lnTo>
                  <a:lnTo>
                    <a:pt x="3492" y="4904"/>
                  </a:lnTo>
                  <a:lnTo>
                    <a:pt x="3494" y="4904"/>
                  </a:lnTo>
                  <a:lnTo>
                    <a:pt x="3498" y="4898"/>
                  </a:lnTo>
                  <a:lnTo>
                    <a:pt x="3498" y="4890"/>
                  </a:lnTo>
                  <a:lnTo>
                    <a:pt x="3498" y="4888"/>
                  </a:lnTo>
                  <a:lnTo>
                    <a:pt x="3496" y="4886"/>
                  </a:lnTo>
                  <a:lnTo>
                    <a:pt x="3492" y="4884"/>
                  </a:lnTo>
                  <a:lnTo>
                    <a:pt x="3486" y="4884"/>
                  </a:lnTo>
                  <a:lnTo>
                    <a:pt x="3482" y="4886"/>
                  </a:lnTo>
                  <a:lnTo>
                    <a:pt x="3482" y="4888"/>
                  </a:lnTo>
                  <a:lnTo>
                    <a:pt x="3482" y="4890"/>
                  </a:lnTo>
                  <a:close/>
                  <a:moveTo>
                    <a:pt x="3640" y="3122"/>
                  </a:moveTo>
                  <a:lnTo>
                    <a:pt x="3640" y="3122"/>
                  </a:lnTo>
                  <a:lnTo>
                    <a:pt x="3634" y="3120"/>
                  </a:lnTo>
                  <a:lnTo>
                    <a:pt x="3628" y="3116"/>
                  </a:lnTo>
                  <a:lnTo>
                    <a:pt x="3620" y="3116"/>
                  </a:lnTo>
                  <a:lnTo>
                    <a:pt x="3612" y="3120"/>
                  </a:lnTo>
                  <a:lnTo>
                    <a:pt x="3608" y="3122"/>
                  </a:lnTo>
                  <a:lnTo>
                    <a:pt x="3604" y="3126"/>
                  </a:lnTo>
                  <a:lnTo>
                    <a:pt x="3602" y="3132"/>
                  </a:lnTo>
                  <a:lnTo>
                    <a:pt x="3600" y="3136"/>
                  </a:lnTo>
                  <a:lnTo>
                    <a:pt x="3598" y="3138"/>
                  </a:lnTo>
                  <a:lnTo>
                    <a:pt x="3596" y="3136"/>
                  </a:lnTo>
                  <a:lnTo>
                    <a:pt x="3592" y="3136"/>
                  </a:lnTo>
                  <a:lnTo>
                    <a:pt x="3590" y="3136"/>
                  </a:lnTo>
                  <a:lnTo>
                    <a:pt x="3586" y="3138"/>
                  </a:lnTo>
                  <a:lnTo>
                    <a:pt x="3582" y="3140"/>
                  </a:lnTo>
                  <a:lnTo>
                    <a:pt x="3580" y="3136"/>
                  </a:lnTo>
                  <a:lnTo>
                    <a:pt x="3580" y="3130"/>
                  </a:lnTo>
                  <a:lnTo>
                    <a:pt x="3578" y="3128"/>
                  </a:lnTo>
                  <a:lnTo>
                    <a:pt x="3576" y="3128"/>
                  </a:lnTo>
                  <a:lnTo>
                    <a:pt x="3574" y="3132"/>
                  </a:lnTo>
                  <a:lnTo>
                    <a:pt x="3568" y="3144"/>
                  </a:lnTo>
                  <a:lnTo>
                    <a:pt x="3564" y="3150"/>
                  </a:lnTo>
                  <a:lnTo>
                    <a:pt x="3560" y="3156"/>
                  </a:lnTo>
                  <a:lnTo>
                    <a:pt x="3550" y="3164"/>
                  </a:lnTo>
                  <a:lnTo>
                    <a:pt x="3544" y="3168"/>
                  </a:lnTo>
                  <a:lnTo>
                    <a:pt x="3548" y="3168"/>
                  </a:lnTo>
                  <a:lnTo>
                    <a:pt x="3554" y="3168"/>
                  </a:lnTo>
                  <a:lnTo>
                    <a:pt x="3556" y="3170"/>
                  </a:lnTo>
                  <a:lnTo>
                    <a:pt x="3558" y="3172"/>
                  </a:lnTo>
                  <a:lnTo>
                    <a:pt x="3558" y="3174"/>
                  </a:lnTo>
                  <a:lnTo>
                    <a:pt x="3558" y="3182"/>
                  </a:lnTo>
                  <a:lnTo>
                    <a:pt x="3558" y="3186"/>
                  </a:lnTo>
                  <a:lnTo>
                    <a:pt x="3562" y="3190"/>
                  </a:lnTo>
                  <a:lnTo>
                    <a:pt x="3564" y="3192"/>
                  </a:lnTo>
                  <a:lnTo>
                    <a:pt x="3564" y="3196"/>
                  </a:lnTo>
                  <a:lnTo>
                    <a:pt x="3564" y="3198"/>
                  </a:lnTo>
                  <a:lnTo>
                    <a:pt x="3562" y="3200"/>
                  </a:lnTo>
                  <a:lnTo>
                    <a:pt x="3564" y="3200"/>
                  </a:lnTo>
                  <a:lnTo>
                    <a:pt x="3574" y="3202"/>
                  </a:lnTo>
                  <a:lnTo>
                    <a:pt x="3578" y="3202"/>
                  </a:lnTo>
                  <a:lnTo>
                    <a:pt x="3580" y="3198"/>
                  </a:lnTo>
                  <a:lnTo>
                    <a:pt x="3584" y="3186"/>
                  </a:lnTo>
                  <a:lnTo>
                    <a:pt x="3588" y="3178"/>
                  </a:lnTo>
                  <a:lnTo>
                    <a:pt x="3590" y="3172"/>
                  </a:lnTo>
                  <a:lnTo>
                    <a:pt x="3594" y="3166"/>
                  </a:lnTo>
                  <a:lnTo>
                    <a:pt x="3602" y="3164"/>
                  </a:lnTo>
                  <a:lnTo>
                    <a:pt x="3608" y="3162"/>
                  </a:lnTo>
                  <a:lnTo>
                    <a:pt x="3614" y="3164"/>
                  </a:lnTo>
                  <a:lnTo>
                    <a:pt x="3620" y="3170"/>
                  </a:lnTo>
                  <a:lnTo>
                    <a:pt x="3624" y="3172"/>
                  </a:lnTo>
                  <a:lnTo>
                    <a:pt x="3626" y="3172"/>
                  </a:lnTo>
                  <a:lnTo>
                    <a:pt x="3628" y="3170"/>
                  </a:lnTo>
                  <a:lnTo>
                    <a:pt x="3630" y="3166"/>
                  </a:lnTo>
                  <a:lnTo>
                    <a:pt x="3632" y="3160"/>
                  </a:lnTo>
                  <a:lnTo>
                    <a:pt x="3636" y="3156"/>
                  </a:lnTo>
                  <a:lnTo>
                    <a:pt x="3642" y="3150"/>
                  </a:lnTo>
                  <a:lnTo>
                    <a:pt x="3646" y="3148"/>
                  </a:lnTo>
                  <a:lnTo>
                    <a:pt x="3648" y="3144"/>
                  </a:lnTo>
                  <a:lnTo>
                    <a:pt x="3646" y="3140"/>
                  </a:lnTo>
                  <a:lnTo>
                    <a:pt x="3644" y="3132"/>
                  </a:lnTo>
                  <a:lnTo>
                    <a:pt x="3644" y="3128"/>
                  </a:lnTo>
                  <a:lnTo>
                    <a:pt x="3644" y="3126"/>
                  </a:lnTo>
                  <a:lnTo>
                    <a:pt x="3640" y="3122"/>
                  </a:lnTo>
                  <a:close/>
                  <a:moveTo>
                    <a:pt x="3450" y="4936"/>
                  </a:moveTo>
                  <a:lnTo>
                    <a:pt x="3450" y="4936"/>
                  </a:lnTo>
                  <a:lnTo>
                    <a:pt x="3456" y="4938"/>
                  </a:lnTo>
                  <a:lnTo>
                    <a:pt x="3462" y="4940"/>
                  </a:lnTo>
                  <a:lnTo>
                    <a:pt x="3468" y="4940"/>
                  </a:lnTo>
                  <a:lnTo>
                    <a:pt x="3470" y="4938"/>
                  </a:lnTo>
                  <a:lnTo>
                    <a:pt x="3472" y="4934"/>
                  </a:lnTo>
                  <a:lnTo>
                    <a:pt x="3474" y="4926"/>
                  </a:lnTo>
                  <a:lnTo>
                    <a:pt x="3472" y="4922"/>
                  </a:lnTo>
                  <a:lnTo>
                    <a:pt x="3466" y="4922"/>
                  </a:lnTo>
                  <a:lnTo>
                    <a:pt x="3458" y="4924"/>
                  </a:lnTo>
                  <a:lnTo>
                    <a:pt x="3448" y="4930"/>
                  </a:lnTo>
                  <a:lnTo>
                    <a:pt x="3448" y="4932"/>
                  </a:lnTo>
                  <a:lnTo>
                    <a:pt x="3450" y="4936"/>
                  </a:lnTo>
                  <a:close/>
                  <a:moveTo>
                    <a:pt x="3012" y="5270"/>
                  </a:moveTo>
                  <a:lnTo>
                    <a:pt x="3012" y="5270"/>
                  </a:lnTo>
                  <a:lnTo>
                    <a:pt x="3008" y="5266"/>
                  </a:lnTo>
                  <a:lnTo>
                    <a:pt x="3006" y="5264"/>
                  </a:lnTo>
                  <a:lnTo>
                    <a:pt x="3008" y="5262"/>
                  </a:lnTo>
                  <a:lnTo>
                    <a:pt x="3012" y="5264"/>
                  </a:lnTo>
                  <a:lnTo>
                    <a:pt x="3020" y="5266"/>
                  </a:lnTo>
                  <a:lnTo>
                    <a:pt x="3022" y="5266"/>
                  </a:lnTo>
                  <a:lnTo>
                    <a:pt x="3022" y="5264"/>
                  </a:lnTo>
                  <a:lnTo>
                    <a:pt x="3022" y="5258"/>
                  </a:lnTo>
                  <a:lnTo>
                    <a:pt x="3020" y="5250"/>
                  </a:lnTo>
                  <a:lnTo>
                    <a:pt x="3014" y="5244"/>
                  </a:lnTo>
                  <a:lnTo>
                    <a:pt x="3010" y="5242"/>
                  </a:lnTo>
                  <a:lnTo>
                    <a:pt x="3008" y="5244"/>
                  </a:lnTo>
                  <a:lnTo>
                    <a:pt x="3006" y="5246"/>
                  </a:lnTo>
                  <a:lnTo>
                    <a:pt x="3004" y="5246"/>
                  </a:lnTo>
                  <a:lnTo>
                    <a:pt x="3000" y="5242"/>
                  </a:lnTo>
                  <a:lnTo>
                    <a:pt x="2998" y="5240"/>
                  </a:lnTo>
                  <a:lnTo>
                    <a:pt x="2994" y="5240"/>
                  </a:lnTo>
                  <a:lnTo>
                    <a:pt x="2992" y="5242"/>
                  </a:lnTo>
                  <a:lnTo>
                    <a:pt x="2988" y="5244"/>
                  </a:lnTo>
                  <a:lnTo>
                    <a:pt x="2986" y="5244"/>
                  </a:lnTo>
                  <a:lnTo>
                    <a:pt x="2982" y="5240"/>
                  </a:lnTo>
                  <a:lnTo>
                    <a:pt x="2978" y="5236"/>
                  </a:lnTo>
                  <a:lnTo>
                    <a:pt x="2974" y="5234"/>
                  </a:lnTo>
                  <a:lnTo>
                    <a:pt x="2970" y="5234"/>
                  </a:lnTo>
                  <a:lnTo>
                    <a:pt x="2966" y="5236"/>
                  </a:lnTo>
                  <a:lnTo>
                    <a:pt x="2964" y="5238"/>
                  </a:lnTo>
                  <a:lnTo>
                    <a:pt x="2964" y="5240"/>
                  </a:lnTo>
                  <a:lnTo>
                    <a:pt x="2966" y="5244"/>
                  </a:lnTo>
                  <a:lnTo>
                    <a:pt x="2970" y="5250"/>
                  </a:lnTo>
                  <a:lnTo>
                    <a:pt x="2974" y="5252"/>
                  </a:lnTo>
                  <a:lnTo>
                    <a:pt x="2978" y="5252"/>
                  </a:lnTo>
                  <a:lnTo>
                    <a:pt x="2984" y="5256"/>
                  </a:lnTo>
                  <a:lnTo>
                    <a:pt x="2986" y="5260"/>
                  </a:lnTo>
                  <a:lnTo>
                    <a:pt x="2984" y="5260"/>
                  </a:lnTo>
                  <a:lnTo>
                    <a:pt x="2982" y="5260"/>
                  </a:lnTo>
                  <a:lnTo>
                    <a:pt x="2976" y="5262"/>
                  </a:lnTo>
                  <a:lnTo>
                    <a:pt x="2972" y="5264"/>
                  </a:lnTo>
                  <a:lnTo>
                    <a:pt x="2970" y="5264"/>
                  </a:lnTo>
                  <a:lnTo>
                    <a:pt x="2966" y="5260"/>
                  </a:lnTo>
                  <a:lnTo>
                    <a:pt x="2960" y="5252"/>
                  </a:lnTo>
                  <a:lnTo>
                    <a:pt x="2956" y="5252"/>
                  </a:lnTo>
                  <a:lnTo>
                    <a:pt x="2954" y="5252"/>
                  </a:lnTo>
                  <a:lnTo>
                    <a:pt x="2948" y="5250"/>
                  </a:lnTo>
                  <a:lnTo>
                    <a:pt x="2944" y="5248"/>
                  </a:lnTo>
                  <a:lnTo>
                    <a:pt x="2940" y="5246"/>
                  </a:lnTo>
                  <a:lnTo>
                    <a:pt x="2938" y="5248"/>
                  </a:lnTo>
                  <a:lnTo>
                    <a:pt x="2936" y="5250"/>
                  </a:lnTo>
                  <a:lnTo>
                    <a:pt x="2932" y="5254"/>
                  </a:lnTo>
                  <a:lnTo>
                    <a:pt x="2928" y="5256"/>
                  </a:lnTo>
                  <a:lnTo>
                    <a:pt x="2926" y="5258"/>
                  </a:lnTo>
                  <a:lnTo>
                    <a:pt x="2926" y="5266"/>
                  </a:lnTo>
                  <a:lnTo>
                    <a:pt x="2926" y="5270"/>
                  </a:lnTo>
                  <a:lnTo>
                    <a:pt x="2926" y="5276"/>
                  </a:lnTo>
                  <a:lnTo>
                    <a:pt x="2926" y="5278"/>
                  </a:lnTo>
                  <a:lnTo>
                    <a:pt x="2928" y="5280"/>
                  </a:lnTo>
                  <a:lnTo>
                    <a:pt x="2938" y="5282"/>
                  </a:lnTo>
                  <a:lnTo>
                    <a:pt x="2948" y="5282"/>
                  </a:lnTo>
                  <a:lnTo>
                    <a:pt x="2960" y="5278"/>
                  </a:lnTo>
                  <a:lnTo>
                    <a:pt x="2970" y="5274"/>
                  </a:lnTo>
                  <a:lnTo>
                    <a:pt x="2978" y="5272"/>
                  </a:lnTo>
                  <a:lnTo>
                    <a:pt x="2984" y="5272"/>
                  </a:lnTo>
                  <a:lnTo>
                    <a:pt x="2986" y="5268"/>
                  </a:lnTo>
                  <a:lnTo>
                    <a:pt x="2988" y="5268"/>
                  </a:lnTo>
                  <a:lnTo>
                    <a:pt x="2990" y="5270"/>
                  </a:lnTo>
                  <a:lnTo>
                    <a:pt x="2992" y="5272"/>
                  </a:lnTo>
                  <a:lnTo>
                    <a:pt x="2994" y="5270"/>
                  </a:lnTo>
                  <a:lnTo>
                    <a:pt x="2998" y="5270"/>
                  </a:lnTo>
                  <a:lnTo>
                    <a:pt x="3004" y="5270"/>
                  </a:lnTo>
                  <a:lnTo>
                    <a:pt x="3014" y="5272"/>
                  </a:lnTo>
                  <a:lnTo>
                    <a:pt x="3016" y="5272"/>
                  </a:lnTo>
                  <a:lnTo>
                    <a:pt x="3012" y="5270"/>
                  </a:lnTo>
                  <a:close/>
                  <a:moveTo>
                    <a:pt x="3240" y="4810"/>
                  </a:moveTo>
                  <a:lnTo>
                    <a:pt x="3240" y="4810"/>
                  </a:lnTo>
                  <a:lnTo>
                    <a:pt x="3258" y="4782"/>
                  </a:lnTo>
                  <a:lnTo>
                    <a:pt x="3262" y="4776"/>
                  </a:lnTo>
                  <a:lnTo>
                    <a:pt x="3264" y="4770"/>
                  </a:lnTo>
                  <a:lnTo>
                    <a:pt x="3264" y="4764"/>
                  </a:lnTo>
                  <a:lnTo>
                    <a:pt x="3262" y="4760"/>
                  </a:lnTo>
                  <a:lnTo>
                    <a:pt x="3258" y="4756"/>
                  </a:lnTo>
                  <a:lnTo>
                    <a:pt x="3254" y="4756"/>
                  </a:lnTo>
                  <a:lnTo>
                    <a:pt x="3250" y="4758"/>
                  </a:lnTo>
                  <a:lnTo>
                    <a:pt x="3246" y="4764"/>
                  </a:lnTo>
                  <a:lnTo>
                    <a:pt x="3236" y="4776"/>
                  </a:lnTo>
                  <a:lnTo>
                    <a:pt x="3228" y="4792"/>
                  </a:lnTo>
                  <a:lnTo>
                    <a:pt x="3222" y="4796"/>
                  </a:lnTo>
                  <a:lnTo>
                    <a:pt x="3216" y="4798"/>
                  </a:lnTo>
                  <a:lnTo>
                    <a:pt x="3208" y="4798"/>
                  </a:lnTo>
                  <a:lnTo>
                    <a:pt x="3198" y="4798"/>
                  </a:lnTo>
                  <a:lnTo>
                    <a:pt x="3182" y="4794"/>
                  </a:lnTo>
                  <a:lnTo>
                    <a:pt x="3176" y="4794"/>
                  </a:lnTo>
                  <a:lnTo>
                    <a:pt x="3174" y="4796"/>
                  </a:lnTo>
                  <a:lnTo>
                    <a:pt x="3170" y="4798"/>
                  </a:lnTo>
                  <a:lnTo>
                    <a:pt x="3168" y="4798"/>
                  </a:lnTo>
                  <a:lnTo>
                    <a:pt x="3158" y="4794"/>
                  </a:lnTo>
                  <a:lnTo>
                    <a:pt x="3146" y="4792"/>
                  </a:lnTo>
                  <a:lnTo>
                    <a:pt x="3138" y="4790"/>
                  </a:lnTo>
                  <a:lnTo>
                    <a:pt x="3130" y="4790"/>
                  </a:lnTo>
                  <a:lnTo>
                    <a:pt x="3122" y="4790"/>
                  </a:lnTo>
                  <a:lnTo>
                    <a:pt x="3118" y="4788"/>
                  </a:lnTo>
                  <a:lnTo>
                    <a:pt x="3116" y="4786"/>
                  </a:lnTo>
                  <a:lnTo>
                    <a:pt x="3114" y="4784"/>
                  </a:lnTo>
                  <a:lnTo>
                    <a:pt x="3114" y="4780"/>
                  </a:lnTo>
                  <a:lnTo>
                    <a:pt x="3114" y="4778"/>
                  </a:lnTo>
                  <a:lnTo>
                    <a:pt x="3112" y="4778"/>
                  </a:lnTo>
                  <a:lnTo>
                    <a:pt x="3104" y="4778"/>
                  </a:lnTo>
                  <a:lnTo>
                    <a:pt x="3098" y="4776"/>
                  </a:lnTo>
                  <a:lnTo>
                    <a:pt x="3092" y="4776"/>
                  </a:lnTo>
                  <a:lnTo>
                    <a:pt x="3090" y="4778"/>
                  </a:lnTo>
                  <a:lnTo>
                    <a:pt x="3088" y="4780"/>
                  </a:lnTo>
                  <a:lnTo>
                    <a:pt x="3084" y="4788"/>
                  </a:lnTo>
                  <a:lnTo>
                    <a:pt x="3080" y="4796"/>
                  </a:lnTo>
                  <a:lnTo>
                    <a:pt x="3078" y="4800"/>
                  </a:lnTo>
                  <a:lnTo>
                    <a:pt x="3074" y="4800"/>
                  </a:lnTo>
                  <a:lnTo>
                    <a:pt x="3072" y="4800"/>
                  </a:lnTo>
                  <a:lnTo>
                    <a:pt x="3068" y="4796"/>
                  </a:lnTo>
                  <a:lnTo>
                    <a:pt x="3066" y="4792"/>
                  </a:lnTo>
                  <a:lnTo>
                    <a:pt x="3064" y="4792"/>
                  </a:lnTo>
                  <a:lnTo>
                    <a:pt x="3060" y="4798"/>
                  </a:lnTo>
                  <a:lnTo>
                    <a:pt x="3056" y="4810"/>
                  </a:lnTo>
                  <a:lnTo>
                    <a:pt x="3052" y="4820"/>
                  </a:lnTo>
                  <a:lnTo>
                    <a:pt x="3048" y="4824"/>
                  </a:lnTo>
                  <a:lnTo>
                    <a:pt x="3048" y="4828"/>
                  </a:lnTo>
                  <a:lnTo>
                    <a:pt x="3048" y="4834"/>
                  </a:lnTo>
                  <a:lnTo>
                    <a:pt x="3048" y="4838"/>
                  </a:lnTo>
                  <a:lnTo>
                    <a:pt x="3046" y="4840"/>
                  </a:lnTo>
                  <a:lnTo>
                    <a:pt x="3044" y="4842"/>
                  </a:lnTo>
                  <a:lnTo>
                    <a:pt x="3040" y="4844"/>
                  </a:lnTo>
                  <a:lnTo>
                    <a:pt x="3040" y="4848"/>
                  </a:lnTo>
                  <a:lnTo>
                    <a:pt x="3042" y="4854"/>
                  </a:lnTo>
                  <a:lnTo>
                    <a:pt x="3044" y="4864"/>
                  </a:lnTo>
                  <a:lnTo>
                    <a:pt x="3040" y="4876"/>
                  </a:lnTo>
                  <a:lnTo>
                    <a:pt x="3034" y="4886"/>
                  </a:lnTo>
                  <a:lnTo>
                    <a:pt x="3030" y="4900"/>
                  </a:lnTo>
                  <a:lnTo>
                    <a:pt x="3030" y="4908"/>
                  </a:lnTo>
                  <a:lnTo>
                    <a:pt x="3030" y="4918"/>
                  </a:lnTo>
                  <a:lnTo>
                    <a:pt x="3030" y="4932"/>
                  </a:lnTo>
                  <a:lnTo>
                    <a:pt x="3028" y="4934"/>
                  </a:lnTo>
                  <a:lnTo>
                    <a:pt x="3026" y="4936"/>
                  </a:lnTo>
                  <a:lnTo>
                    <a:pt x="3024" y="4936"/>
                  </a:lnTo>
                  <a:lnTo>
                    <a:pt x="3024" y="4938"/>
                  </a:lnTo>
                  <a:lnTo>
                    <a:pt x="3022" y="4944"/>
                  </a:lnTo>
                  <a:lnTo>
                    <a:pt x="3020" y="4952"/>
                  </a:lnTo>
                  <a:lnTo>
                    <a:pt x="3020" y="4960"/>
                  </a:lnTo>
                  <a:lnTo>
                    <a:pt x="3016" y="4964"/>
                  </a:lnTo>
                  <a:lnTo>
                    <a:pt x="3014" y="4968"/>
                  </a:lnTo>
                  <a:lnTo>
                    <a:pt x="3010" y="4968"/>
                  </a:lnTo>
                  <a:lnTo>
                    <a:pt x="3006" y="4970"/>
                  </a:lnTo>
                  <a:lnTo>
                    <a:pt x="3006" y="4972"/>
                  </a:lnTo>
                  <a:lnTo>
                    <a:pt x="3008" y="4976"/>
                  </a:lnTo>
                  <a:lnTo>
                    <a:pt x="3010" y="4984"/>
                  </a:lnTo>
                  <a:lnTo>
                    <a:pt x="3008" y="4986"/>
                  </a:lnTo>
                  <a:lnTo>
                    <a:pt x="3006" y="4990"/>
                  </a:lnTo>
                  <a:lnTo>
                    <a:pt x="3008" y="5002"/>
                  </a:lnTo>
                  <a:lnTo>
                    <a:pt x="3012" y="5008"/>
                  </a:lnTo>
                  <a:lnTo>
                    <a:pt x="3014" y="5010"/>
                  </a:lnTo>
                  <a:lnTo>
                    <a:pt x="3018" y="5010"/>
                  </a:lnTo>
                  <a:lnTo>
                    <a:pt x="3020" y="5010"/>
                  </a:lnTo>
                  <a:lnTo>
                    <a:pt x="3024" y="5010"/>
                  </a:lnTo>
                  <a:lnTo>
                    <a:pt x="3028" y="5010"/>
                  </a:lnTo>
                  <a:lnTo>
                    <a:pt x="3032" y="5014"/>
                  </a:lnTo>
                  <a:lnTo>
                    <a:pt x="3036" y="5022"/>
                  </a:lnTo>
                  <a:lnTo>
                    <a:pt x="3040" y="5034"/>
                  </a:lnTo>
                  <a:lnTo>
                    <a:pt x="3040" y="5046"/>
                  </a:lnTo>
                  <a:lnTo>
                    <a:pt x="3038" y="5058"/>
                  </a:lnTo>
                  <a:lnTo>
                    <a:pt x="3036" y="5070"/>
                  </a:lnTo>
                  <a:lnTo>
                    <a:pt x="3032" y="5082"/>
                  </a:lnTo>
                  <a:lnTo>
                    <a:pt x="3030" y="5092"/>
                  </a:lnTo>
                  <a:lnTo>
                    <a:pt x="3030" y="5102"/>
                  </a:lnTo>
                  <a:lnTo>
                    <a:pt x="3034" y="5112"/>
                  </a:lnTo>
                  <a:lnTo>
                    <a:pt x="3038" y="5116"/>
                  </a:lnTo>
                  <a:lnTo>
                    <a:pt x="3042" y="5118"/>
                  </a:lnTo>
                  <a:lnTo>
                    <a:pt x="3046" y="5118"/>
                  </a:lnTo>
                  <a:lnTo>
                    <a:pt x="3050" y="5116"/>
                  </a:lnTo>
                  <a:lnTo>
                    <a:pt x="3058" y="5114"/>
                  </a:lnTo>
                  <a:lnTo>
                    <a:pt x="3068" y="5112"/>
                  </a:lnTo>
                  <a:lnTo>
                    <a:pt x="3072" y="5112"/>
                  </a:lnTo>
                  <a:lnTo>
                    <a:pt x="3072" y="5110"/>
                  </a:lnTo>
                  <a:lnTo>
                    <a:pt x="3070" y="5100"/>
                  </a:lnTo>
                  <a:lnTo>
                    <a:pt x="3068" y="5088"/>
                  </a:lnTo>
                  <a:lnTo>
                    <a:pt x="3068" y="5082"/>
                  </a:lnTo>
                  <a:lnTo>
                    <a:pt x="3070" y="5076"/>
                  </a:lnTo>
                  <a:lnTo>
                    <a:pt x="3072" y="5070"/>
                  </a:lnTo>
                  <a:lnTo>
                    <a:pt x="3074" y="5064"/>
                  </a:lnTo>
                  <a:lnTo>
                    <a:pt x="3072" y="5050"/>
                  </a:lnTo>
                  <a:lnTo>
                    <a:pt x="3072" y="5034"/>
                  </a:lnTo>
                  <a:lnTo>
                    <a:pt x="3072" y="5014"/>
                  </a:lnTo>
                  <a:lnTo>
                    <a:pt x="3074" y="5004"/>
                  </a:lnTo>
                  <a:lnTo>
                    <a:pt x="3072" y="4998"/>
                  </a:lnTo>
                  <a:lnTo>
                    <a:pt x="3068" y="4990"/>
                  </a:lnTo>
                  <a:lnTo>
                    <a:pt x="3068" y="4988"/>
                  </a:lnTo>
                  <a:lnTo>
                    <a:pt x="3068" y="4984"/>
                  </a:lnTo>
                  <a:lnTo>
                    <a:pt x="3076" y="4974"/>
                  </a:lnTo>
                  <a:lnTo>
                    <a:pt x="3084" y="4970"/>
                  </a:lnTo>
                  <a:lnTo>
                    <a:pt x="3090" y="4968"/>
                  </a:lnTo>
                  <a:lnTo>
                    <a:pt x="3094" y="4968"/>
                  </a:lnTo>
                  <a:lnTo>
                    <a:pt x="3098" y="4972"/>
                  </a:lnTo>
                  <a:lnTo>
                    <a:pt x="3100" y="4976"/>
                  </a:lnTo>
                  <a:lnTo>
                    <a:pt x="3100" y="4982"/>
                  </a:lnTo>
                  <a:lnTo>
                    <a:pt x="3098" y="4990"/>
                  </a:lnTo>
                  <a:lnTo>
                    <a:pt x="3094" y="4996"/>
                  </a:lnTo>
                  <a:lnTo>
                    <a:pt x="3092" y="5002"/>
                  </a:lnTo>
                  <a:lnTo>
                    <a:pt x="3090" y="5008"/>
                  </a:lnTo>
                  <a:lnTo>
                    <a:pt x="3092" y="5012"/>
                  </a:lnTo>
                  <a:lnTo>
                    <a:pt x="3094" y="5016"/>
                  </a:lnTo>
                  <a:lnTo>
                    <a:pt x="3102" y="5024"/>
                  </a:lnTo>
                  <a:lnTo>
                    <a:pt x="3112" y="5034"/>
                  </a:lnTo>
                  <a:lnTo>
                    <a:pt x="3116" y="5040"/>
                  </a:lnTo>
                  <a:lnTo>
                    <a:pt x="3116" y="5046"/>
                  </a:lnTo>
                  <a:lnTo>
                    <a:pt x="3114" y="5062"/>
                  </a:lnTo>
                  <a:lnTo>
                    <a:pt x="3114" y="5068"/>
                  </a:lnTo>
                  <a:lnTo>
                    <a:pt x="3116" y="5074"/>
                  </a:lnTo>
                  <a:lnTo>
                    <a:pt x="3120" y="5076"/>
                  </a:lnTo>
                  <a:lnTo>
                    <a:pt x="3130" y="5078"/>
                  </a:lnTo>
                  <a:lnTo>
                    <a:pt x="3136" y="5076"/>
                  </a:lnTo>
                  <a:lnTo>
                    <a:pt x="3138" y="5076"/>
                  </a:lnTo>
                  <a:lnTo>
                    <a:pt x="3140" y="5072"/>
                  </a:lnTo>
                  <a:lnTo>
                    <a:pt x="3140" y="5070"/>
                  </a:lnTo>
                  <a:lnTo>
                    <a:pt x="3140" y="5062"/>
                  </a:lnTo>
                  <a:lnTo>
                    <a:pt x="3142" y="5060"/>
                  </a:lnTo>
                  <a:lnTo>
                    <a:pt x="3148" y="5056"/>
                  </a:lnTo>
                  <a:lnTo>
                    <a:pt x="3152" y="5056"/>
                  </a:lnTo>
                  <a:lnTo>
                    <a:pt x="3156" y="5054"/>
                  </a:lnTo>
                  <a:lnTo>
                    <a:pt x="3164" y="5056"/>
                  </a:lnTo>
                  <a:lnTo>
                    <a:pt x="3166" y="5056"/>
                  </a:lnTo>
                  <a:lnTo>
                    <a:pt x="3168" y="5056"/>
                  </a:lnTo>
                  <a:lnTo>
                    <a:pt x="3172" y="5048"/>
                  </a:lnTo>
                  <a:lnTo>
                    <a:pt x="3172" y="5042"/>
                  </a:lnTo>
                  <a:lnTo>
                    <a:pt x="3170" y="5036"/>
                  </a:lnTo>
                  <a:lnTo>
                    <a:pt x="3164" y="5032"/>
                  </a:lnTo>
                  <a:lnTo>
                    <a:pt x="3158" y="5028"/>
                  </a:lnTo>
                  <a:lnTo>
                    <a:pt x="3152" y="5026"/>
                  </a:lnTo>
                  <a:lnTo>
                    <a:pt x="3148" y="5022"/>
                  </a:lnTo>
                  <a:lnTo>
                    <a:pt x="3146" y="5016"/>
                  </a:lnTo>
                  <a:lnTo>
                    <a:pt x="3148" y="5012"/>
                  </a:lnTo>
                  <a:lnTo>
                    <a:pt x="3152" y="5006"/>
                  </a:lnTo>
                  <a:lnTo>
                    <a:pt x="3152" y="4998"/>
                  </a:lnTo>
                  <a:lnTo>
                    <a:pt x="3150" y="4990"/>
                  </a:lnTo>
                  <a:lnTo>
                    <a:pt x="3148" y="4980"/>
                  </a:lnTo>
                  <a:lnTo>
                    <a:pt x="3136" y="4962"/>
                  </a:lnTo>
                  <a:lnTo>
                    <a:pt x="3122" y="4946"/>
                  </a:lnTo>
                  <a:lnTo>
                    <a:pt x="3118" y="4940"/>
                  </a:lnTo>
                  <a:lnTo>
                    <a:pt x="3118" y="4934"/>
                  </a:lnTo>
                  <a:lnTo>
                    <a:pt x="3122" y="4930"/>
                  </a:lnTo>
                  <a:lnTo>
                    <a:pt x="3128" y="4926"/>
                  </a:lnTo>
                  <a:lnTo>
                    <a:pt x="3146" y="4916"/>
                  </a:lnTo>
                  <a:lnTo>
                    <a:pt x="3154" y="4908"/>
                  </a:lnTo>
                  <a:lnTo>
                    <a:pt x="3162" y="4898"/>
                  </a:lnTo>
                  <a:lnTo>
                    <a:pt x="3168" y="4888"/>
                  </a:lnTo>
                  <a:lnTo>
                    <a:pt x="3172" y="4884"/>
                  </a:lnTo>
                  <a:lnTo>
                    <a:pt x="3176" y="4884"/>
                  </a:lnTo>
                  <a:lnTo>
                    <a:pt x="3180" y="4886"/>
                  </a:lnTo>
                  <a:lnTo>
                    <a:pt x="3186" y="4890"/>
                  </a:lnTo>
                  <a:lnTo>
                    <a:pt x="3190" y="4890"/>
                  </a:lnTo>
                  <a:lnTo>
                    <a:pt x="3192" y="4888"/>
                  </a:lnTo>
                  <a:lnTo>
                    <a:pt x="3196" y="4880"/>
                  </a:lnTo>
                  <a:lnTo>
                    <a:pt x="3196" y="4876"/>
                  </a:lnTo>
                  <a:lnTo>
                    <a:pt x="3194" y="4874"/>
                  </a:lnTo>
                  <a:lnTo>
                    <a:pt x="3192" y="4872"/>
                  </a:lnTo>
                  <a:lnTo>
                    <a:pt x="3188" y="4870"/>
                  </a:lnTo>
                  <a:lnTo>
                    <a:pt x="3170" y="4870"/>
                  </a:lnTo>
                  <a:lnTo>
                    <a:pt x="3160" y="4872"/>
                  </a:lnTo>
                  <a:lnTo>
                    <a:pt x="3152" y="4874"/>
                  </a:lnTo>
                  <a:lnTo>
                    <a:pt x="3144" y="4880"/>
                  </a:lnTo>
                  <a:lnTo>
                    <a:pt x="3136" y="4884"/>
                  </a:lnTo>
                  <a:lnTo>
                    <a:pt x="3130" y="4884"/>
                  </a:lnTo>
                  <a:lnTo>
                    <a:pt x="3124" y="4884"/>
                  </a:lnTo>
                  <a:lnTo>
                    <a:pt x="3116" y="4882"/>
                  </a:lnTo>
                  <a:lnTo>
                    <a:pt x="3112" y="4886"/>
                  </a:lnTo>
                  <a:lnTo>
                    <a:pt x="3108" y="4890"/>
                  </a:lnTo>
                  <a:lnTo>
                    <a:pt x="3106" y="4894"/>
                  </a:lnTo>
                  <a:lnTo>
                    <a:pt x="3104" y="4900"/>
                  </a:lnTo>
                  <a:lnTo>
                    <a:pt x="3100" y="4904"/>
                  </a:lnTo>
                  <a:lnTo>
                    <a:pt x="3096" y="4908"/>
                  </a:lnTo>
                  <a:lnTo>
                    <a:pt x="3088" y="4908"/>
                  </a:lnTo>
                  <a:lnTo>
                    <a:pt x="3082" y="4906"/>
                  </a:lnTo>
                  <a:lnTo>
                    <a:pt x="3078" y="4904"/>
                  </a:lnTo>
                  <a:lnTo>
                    <a:pt x="3078" y="4902"/>
                  </a:lnTo>
                  <a:lnTo>
                    <a:pt x="3078" y="4898"/>
                  </a:lnTo>
                  <a:lnTo>
                    <a:pt x="3076" y="4892"/>
                  </a:lnTo>
                  <a:lnTo>
                    <a:pt x="3074" y="4888"/>
                  </a:lnTo>
                  <a:lnTo>
                    <a:pt x="3068" y="4882"/>
                  </a:lnTo>
                  <a:lnTo>
                    <a:pt x="3064" y="4880"/>
                  </a:lnTo>
                  <a:lnTo>
                    <a:pt x="3062" y="4876"/>
                  </a:lnTo>
                  <a:lnTo>
                    <a:pt x="3058" y="4866"/>
                  </a:lnTo>
                  <a:lnTo>
                    <a:pt x="3058" y="4852"/>
                  </a:lnTo>
                  <a:lnTo>
                    <a:pt x="3060" y="4840"/>
                  </a:lnTo>
                  <a:lnTo>
                    <a:pt x="3066" y="4828"/>
                  </a:lnTo>
                  <a:lnTo>
                    <a:pt x="3072" y="4818"/>
                  </a:lnTo>
                  <a:lnTo>
                    <a:pt x="3074" y="4816"/>
                  </a:lnTo>
                  <a:lnTo>
                    <a:pt x="3078" y="4814"/>
                  </a:lnTo>
                  <a:lnTo>
                    <a:pt x="3082" y="4814"/>
                  </a:lnTo>
                  <a:lnTo>
                    <a:pt x="3086" y="4816"/>
                  </a:lnTo>
                  <a:lnTo>
                    <a:pt x="3092" y="4818"/>
                  </a:lnTo>
                  <a:lnTo>
                    <a:pt x="3096" y="4820"/>
                  </a:lnTo>
                  <a:lnTo>
                    <a:pt x="3106" y="4818"/>
                  </a:lnTo>
                  <a:lnTo>
                    <a:pt x="3116" y="4818"/>
                  </a:lnTo>
                  <a:lnTo>
                    <a:pt x="3122" y="4818"/>
                  </a:lnTo>
                  <a:lnTo>
                    <a:pt x="3126" y="4818"/>
                  </a:lnTo>
                  <a:lnTo>
                    <a:pt x="3132" y="4820"/>
                  </a:lnTo>
                  <a:lnTo>
                    <a:pt x="3140" y="4820"/>
                  </a:lnTo>
                  <a:lnTo>
                    <a:pt x="3156" y="4818"/>
                  </a:lnTo>
                  <a:lnTo>
                    <a:pt x="3172" y="4816"/>
                  </a:lnTo>
                  <a:lnTo>
                    <a:pt x="3178" y="4818"/>
                  </a:lnTo>
                  <a:lnTo>
                    <a:pt x="3182" y="4820"/>
                  </a:lnTo>
                  <a:lnTo>
                    <a:pt x="3186" y="4822"/>
                  </a:lnTo>
                  <a:lnTo>
                    <a:pt x="3192" y="4824"/>
                  </a:lnTo>
                  <a:lnTo>
                    <a:pt x="3200" y="4826"/>
                  </a:lnTo>
                  <a:lnTo>
                    <a:pt x="3208" y="4826"/>
                  </a:lnTo>
                  <a:lnTo>
                    <a:pt x="3218" y="4824"/>
                  </a:lnTo>
                  <a:lnTo>
                    <a:pt x="3226" y="4822"/>
                  </a:lnTo>
                  <a:lnTo>
                    <a:pt x="3234" y="4816"/>
                  </a:lnTo>
                  <a:lnTo>
                    <a:pt x="3240" y="4810"/>
                  </a:lnTo>
                  <a:close/>
                  <a:moveTo>
                    <a:pt x="2954" y="5244"/>
                  </a:moveTo>
                  <a:lnTo>
                    <a:pt x="2954" y="5244"/>
                  </a:lnTo>
                  <a:lnTo>
                    <a:pt x="2954" y="5248"/>
                  </a:lnTo>
                  <a:lnTo>
                    <a:pt x="2956" y="5246"/>
                  </a:lnTo>
                  <a:lnTo>
                    <a:pt x="2960" y="5240"/>
                  </a:lnTo>
                  <a:lnTo>
                    <a:pt x="2962" y="5238"/>
                  </a:lnTo>
                  <a:lnTo>
                    <a:pt x="2960" y="5236"/>
                  </a:lnTo>
                  <a:lnTo>
                    <a:pt x="2958" y="5236"/>
                  </a:lnTo>
                  <a:lnTo>
                    <a:pt x="2954" y="5240"/>
                  </a:lnTo>
                  <a:lnTo>
                    <a:pt x="2954" y="5244"/>
                  </a:lnTo>
                  <a:close/>
                  <a:moveTo>
                    <a:pt x="3346" y="4878"/>
                  </a:moveTo>
                  <a:lnTo>
                    <a:pt x="3346" y="4878"/>
                  </a:lnTo>
                  <a:lnTo>
                    <a:pt x="3350" y="4878"/>
                  </a:lnTo>
                  <a:lnTo>
                    <a:pt x="3352" y="4876"/>
                  </a:lnTo>
                  <a:lnTo>
                    <a:pt x="3350" y="4874"/>
                  </a:lnTo>
                  <a:lnTo>
                    <a:pt x="3348" y="4872"/>
                  </a:lnTo>
                  <a:lnTo>
                    <a:pt x="3346" y="4872"/>
                  </a:lnTo>
                  <a:lnTo>
                    <a:pt x="3344" y="4874"/>
                  </a:lnTo>
                  <a:lnTo>
                    <a:pt x="3344" y="4876"/>
                  </a:lnTo>
                  <a:lnTo>
                    <a:pt x="3346" y="4878"/>
                  </a:lnTo>
                  <a:close/>
                  <a:moveTo>
                    <a:pt x="3352" y="4858"/>
                  </a:moveTo>
                  <a:lnTo>
                    <a:pt x="3352" y="4858"/>
                  </a:lnTo>
                  <a:lnTo>
                    <a:pt x="3350" y="4862"/>
                  </a:lnTo>
                  <a:lnTo>
                    <a:pt x="3354" y="4868"/>
                  </a:lnTo>
                  <a:lnTo>
                    <a:pt x="3358" y="4874"/>
                  </a:lnTo>
                  <a:lnTo>
                    <a:pt x="3360" y="4876"/>
                  </a:lnTo>
                  <a:lnTo>
                    <a:pt x="3364" y="4874"/>
                  </a:lnTo>
                  <a:lnTo>
                    <a:pt x="3364" y="4866"/>
                  </a:lnTo>
                  <a:lnTo>
                    <a:pt x="3362" y="4858"/>
                  </a:lnTo>
                  <a:lnTo>
                    <a:pt x="3360" y="4854"/>
                  </a:lnTo>
                  <a:lnTo>
                    <a:pt x="3356" y="4854"/>
                  </a:lnTo>
                  <a:lnTo>
                    <a:pt x="3352" y="4858"/>
                  </a:lnTo>
                  <a:close/>
                  <a:moveTo>
                    <a:pt x="3452" y="4980"/>
                  </a:moveTo>
                  <a:lnTo>
                    <a:pt x="3452" y="4980"/>
                  </a:lnTo>
                  <a:lnTo>
                    <a:pt x="3440" y="4974"/>
                  </a:lnTo>
                  <a:lnTo>
                    <a:pt x="3438" y="4974"/>
                  </a:lnTo>
                  <a:lnTo>
                    <a:pt x="3436" y="4976"/>
                  </a:lnTo>
                  <a:lnTo>
                    <a:pt x="3428" y="4978"/>
                  </a:lnTo>
                  <a:lnTo>
                    <a:pt x="3422" y="4980"/>
                  </a:lnTo>
                  <a:lnTo>
                    <a:pt x="3414" y="4978"/>
                  </a:lnTo>
                  <a:lnTo>
                    <a:pt x="3404" y="4978"/>
                  </a:lnTo>
                  <a:lnTo>
                    <a:pt x="3396" y="4978"/>
                  </a:lnTo>
                  <a:lnTo>
                    <a:pt x="3390" y="4980"/>
                  </a:lnTo>
                  <a:lnTo>
                    <a:pt x="3384" y="4982"/>
                  </a:lnTo>
                  <a:lnTo>
                    <a:pt x="3378" y="4986"/>
                  </a:lnTo>
                  <a:lnTo>
                    <a:pt x="3376" y="4990"/>
                  </a:lnTo>
                  <a:lnTo>
                    <a:pt x="3374" y="4996"/>
                  </a:lnTo>
                  <a:lnTo>
                    <a:pt x="3374" y="5002"/>
                  </a:lnTo>
                  <a:lnTo>
                    <a:pt x="3376" y="5010"/>
                  </a:lnTo>
                  <a:lnTo>
                    <a:pt x="3378" y="5006"/>
                  </a:lnTo>
                  <a:lnTo>
                    <a:pt x="3380" y="4998"/>
                  </a:lnTo>
                  <a:lnTo>
                    <a:pt x="3382" y="4994"/>
                  </a:lnTo>
                  <a:lnTo>
                    <a:pt x="3384" y="4992"/>
                  </a:lnTo>
                  <a:lnTo>
                    <a:pt x="3386" y="4992"/>
                  </a:lnTo>
                  <a:lnTo>
                    <a:pt x="3388" y="4994"/>
                  </a:lnTo>
                  <a:lnTo>
                    <a:pt x="3392" y="5000"/>
                  </a:lnTo>
                  <a:lnTo>
                    <a:pt x="3396" y="5002"/>
                  </a:lnTo>
                  <a:lnTo>
                    <a:pt x="3400" y="5004"/>
                  </a:lnTo>
                  <a:lnTo>
                    <a:pt x="3404" y="5004"/>
                  </a:lnTo>
                  <a:lnTo>
                    <a:pt x="3408" y="5000"/>
                  </a:lnTo>
                  <a:lnTo>
                    <a:pt x="3414" y="4998"/>
                  </a:lnTo>
                  <a:lnTo>
                    <a:pt x="3418" y="4998"/>
                  </a:lnTo>
                  <a:lnTo>
                    <a:pt x="3428" y="5002"/>
                  </a:lnTo>
                  <a:lnTo>
                    <a:pt x="3436" y="5006"/>
                  </a:lnTo>
                  <a:lnTo>
                    <a:pt x="3438" y="5008"/>
                  </a:lnTo>
                  <a:lnTo>
                    <a:pt x="3440" y="5006"/>
                  </a:lnTo>
                  <a:lnTo>
                    <a:pt x="3442" y="5002"/>
                  </a:lnTo>
                  <a:lnTo>
                    <a:pt x="3446" y="5002"/>
                  </a:lnTo>
                  <a:lnTo>
                    <a:pt x="3456" y="5006"/>
                  </a:lnTo>
                  <a:lnTo>
                    <a:pt x="3468" y="5014"/>
                  </a:lnTo>
                  <a:lnTo>
                    <a:pt x="3482" y="5022"/>
                  </a:lnTo>
                  <a:lnTo>
                    <a:pt x="3488" y="5026"/>
                  </a:lnTo>
                  <a:lnTo>
                    <a:pt x="3492" y="5028"/>
                  </a:lnTo>
                  <a:lnTo>
                    <a:pt x="3494" y="5026"/>
                  </a:lnTo>
                  <a:lnTo>
                    <a:pt x="3496" y="5024"/>
                  </a:lnTo>
                  <a:lnTo>
                    <a:pt x="3494" y="5012"/>
                  </a:lnTo>
                  <a:lnTo>
                    <a:pt x="3484" y="4994"/>
                  </a:lnTo>
                  <a:lnTo>
                    <a:pt x="3478" y="4988"/>
                  </a:lnTo>
                  <a:lnTo>
                    <a:pt x="3476" y="4984"/>
                  </a:lnTo>
                  <a:lnTo>
                    <a:pt x="3472" y="4982"/>
                  </a:lnTo>
                  <a:lnTo>
                    <a:pt x="3470" y="4984"/>
                  </a:lnTo>
                  <a:lnTo>
                    <a:pt x="3464" y="4984"/>
                  </a:lnTo>
                  <a:lnTo>
                    <a:pt x="3458" y="4984"/>
                  </a:lnTo>
                  <a:lnTo>
                    <a:pt x="3452" y="4980"/>
                  </a:lnTo>
                  <a:close/>
                  <a:moveTo>
                    <a:pt x="3092" y="4546"/>
                  </a:moveTo>
                  <a:lnTo>
                    <a:pt x="3092" y="4546"/>
                  </a:lnTo>
                  <a:lnTo>
                    <a:pt x="3090" y="4552"/>
                  </a:lnTo>
                  <a:lnTo>
                    <a:pt x="3092" y="4552"/>
                  </a:lnTo>
                  <a:lnTo>
                    <a:pt x="3094" y="4552"/>
                  </a:lnTo>
                  <a:lnTo>
                    <a:pt x="3098" y="4552"/>
                  </a:lnTo>
                  <a:lnTo>
                    <a:pt x="3104" y="4552"/>
                  </a:lnTo>
                  <a:lnTo>
                    <a:pt x="3108" y="4554"/>
                  </a:lnTo>
                  <a:lnTo>
                    <a:pt x="3112" y="4552"/>
                  </a:lnTo>
                  <a:lnTo>
                    <a:pt x="3112" y="4548"/>
                  </a:lnTo>
                  <a:lnTo>
                    <a:pt x="3110" y="4548"/>
                  </a:lnTo>
                  <a:lnTo>
                    <a:pt x="3106" y="4546"/>
                  </a:lnTo>
                  <a:lnTo>
                    <a:pt x="3102" y="4542"/>
                  </a:lnTo>
                  <a:lnTo>
                    <a:pt x="3100" y="4540"/>
                  </a:lnTo>
                  <a:lnTo>
                    <a:pt x="3098" y="4540"/>
                  </a:lnTo>
                  <a:lnTo>
                    <a:pt x="3096" y="4542"/>
                  </a:lnTo>
                  <a:lnTo>
                    <a:pt x="3092" y="4546"/>
                  </a:lnTo>
                  <a:close/>
                  <a:moveTo>
                    <a:pt x="3058" y="4324"/>
                  </a:moveTo>
                  <a:lnTo>
                    <a:pt x="3058" y="4324"/>
                  </a:lnTo>
                  <a:lnTo>
                    <a:pt x="3056" y="4322"/>
                  </a:lnTo>
                  <a:lnTo>
                    <a:pt x="3052" y="4322"/>
                  </a:lnTo>
                  <a:lnTo>
                    <a:pt x="3048" y="4326"/>
                  </a:lnTo>
                  <a:lnTo>
                    <a:pt x="3048" y="4330"/>
                  </a:lnTo>
                  <a:lnTo>
                    <a:pt x="3050" y="4330"/>
                  </a:lnTo>
                  <a:lnTo>
                    <a:pt x="3058" y="4324"/>
                  </a:lnTo>
                  <a:close/>
                  <a:moveTo>
                    <a:pt x="3358" y="4790"/>
                  </a:moveTo>
                  <a:lnTo>
                    <a:pt x="3358" y="4790"/>
                  </a:lnTo>
                  <a:lnTo>
                    <a:pt x="3360" y="4800"/>
                  </a:lnTo>
                  <a:lnTo>
                    <a:pt x="3358" y="4806"/>
                  </a:lnTo>
                  <a:lnTo>
                    <a:pt x="3358" y="4812"/>
                  </a:lnTo>
                  <a:lnTo>
                    <a:pt x="3358" y="4816"/>
                  </a:lnTo>
                  <a:lnTo>
                    <a:pt x="3362" y="4820"/>
                  </a:lnTo>
                  <a:lnTo>
                    <a:pt x="3364" y="4826"/>
                  </a:lnTo>
                  <a:lnTo>
                    <a:pt x="3364" y="4830"/>
                  </a:lnTo>
                  <a:lnTo>
                    <a:pt x="3364" y="4838"/>
                  </a:lnTo>
                  <a:lnTo>
                    <a:pt x="3364" y="4846"/>
                  </a:lnTo>
                  <a:lnTo>
                    <a:pt x="3364" y="4850"/>
                  </a:lnTo>
                  <a:lnTo>
                    <a:pt x="3368" y="4856"/>
                  </a:lnTo>
                  <a:lnTo>
                    <a:pt x="3382" y="4876"/>
                  </a:lnTo>
                  <a:lnTo>
                    <a:pt x="3388" y="4882"/>
                  </a:lnTo>
                  <a:lnTo>
                    <a:pt x="3390" y="4884"/>
                  </a:lnTo>
                  <a:lnTo>
                    <a:pt x="3394" y="4884"/>
                  </a:lnTo>
                  <a:lnTo>
                    <a:pt x="3394" y="4882"/>
                  </a:lnTo>
                  <a:lnTo>
                    <a:pt x="3394" y="4880"/>
                  </a:lnTo>
                  <a:lnTo>
                    <a:pt x="3390" y="4876"/>
                  </a:lnTo>
                  <a:lnTo>
                    <a:pt x="3384" y="4868"/>
                  </a:lnTo>
                  <a:lnTo>
                    <a:pt x="3380" y="4860"/>
                  </a:lnTo>
                  <a:lnTo>
                    <a:pt x="3376" y="4848"/>
                  </a:lnTo>
                  <a:lnTo>
                    <a:pt x="3374" y="4836"/>
                  </a:lnTo>
                  <a:lnTo>
                    <a:pt x="3374" y="4826"/>
                  </a:lnTo>
                  <a:lnTo>
                    <a:pt x="3376" y="4820"/>
                  </a:lnTo>
                  <a:lnTo>
                    <a:pt x="3380" y="4818"/>
                  </a:lnTo>
                  <a:lnTo>
                    <a:pt x="3382" y="4818"/>
                  </a:lnTo>
                  <a:lnTo>
                    <a:pt x="3390" y="4820"/>
                  </a:lnTo>
                  <a:lnTo>
                    <a:pt x="3402" y="4824"/>
                  </a:lnTo>
                  <a:lnTo>
                    <a:pt x="3406" y="4826"/>
                  </a:lnTo>
                  <a:lnTo>
                    <a:pt x="3410" y="4826"/>
                  </a:lnTo>
                  <a:lnTo>
                    <a:pt x="3410" y="4822"/>
                  </a:lnTo>
                  <a:lnTo>
                    <a:pt x="3406" y="4816"/>
                  </a:lnTo>
                  <a:lnTo>
                    <a:pt x="3400" y="4812"/>
                  </a:lnTo>
                  <a:lnTo>
                    <a:pt x="3394" y="4810"/>
                  </a:lnTo>
                  <a:lnTo>
                    <a:pt x="3390" y="4806"/>
                  </a:lnTo>
                  <a:lnTo>
                    <a:pt x="3386" y="4804"/>
                  </a:lnTo>
                  <a:lnTo>
                    <a:pt x="3386" y="4802"/>
                  </a:lnTo>
                  <a:lnTo>
                    <a:pt x="3388" y="4800"/>
                  </a:lnTo>
                  <a:lnTo>
                    <a:pt x="3394" y="4796"/>
                  </a:lnTo>
                  <a:lnTo>
                    <a:pt x="3400" y="4792"/>
                  </a:lnTo>
                  <a:lnTo>
                    <a:pt x="3404" y="4788"/>
                  </a:lnTo>
                  <a:lnTo>
                    <a:pt x="3406" y="4784"/>
                  </a:lnTo>
                  <a:lnTo>
                    <a:pt x="3408" y="4774"/>
                  </a:lnTo>
                  <a:lnTo>
                    <a:pt x="3406" y="4770"/>
                  </a:lnTo>
                  <a:lnTo>
                    <a:pt x="3404" y="4766"/>
                  </a:lnTo>
                  <a:lnTo>
                    <a:pt x="3400" y="4766"/>
                  </a:lnTo>
                  <a:lnTo>
                    <a:pt x="3396" y="4766"/>
                  </a:lnTo>
                  <a:lnTo>
                    <a:pt x="3390" y="4770"/>
                  </a:lnTo>
                  <a:lnTo>
                    <a:pt x="3386" y="4774"/>
                  </a:lnTo>
                  <a:lnTo>
                    <a:pt x="3378" y="4788"/>
                  </a:lnTo>
                  <a:lnTo>
                    <a:pt x="3372" y="4800"/>
                  </a:lnTo>
                  <a:lnTo>
                    <a:pt x="3370" y="4800"/>
                  </a:lnTo>
                  <a:lnTo>
                    <a:pt x="3368" y="4798"/>
                  </a:lnTo>
                  <a:lnTo>
                    <a:pt x="3366" y="4792"/>
                  </a:lnTo>
                  <a:lnTo>
                    <a:pt x="3368" y="4788"/>
                  </a:lnTo>
                  <a:lnTo>
                    <a:pt x="3372" y="4782"/>
                  </a:lnTo>
                  <a:lnTo>
                    <a:pt x="3378" y="4772"/>
                  </a:lnTo>
                  <a:lnTo>
                    <a:pt x="3378" y="4766"/>
                  </a:lnTo>
                  <a:lnTo>
                    <a:pt x="3378" y="4762"/>
                  </a:lnTo>
                  <a:lnTo>
                    <a:pt x="3376" y="4754"/>
                  </a:lnTo>
                  <a:lnTo>
                    <a:pt x="3374" y="4750"/>
                  </a:lnTo>
                  <a:lnTo>
                    <a:pt x="3374" y="4748"/>
                  </a:lnTo>
                  <a:lnTo>
                    <a:pt x="3374" y="4744"/>
                  </a:lnTo>
                  <a:lnTo>
                    <a:pt x="3378" y="4734"/>
                  </a:lnTo>
                  <a:lnTo>
                    <a:pt x="3378" y="4732"/>
                  </a:lnTo>
                  <a:lnTo>
                    <a:pt x="3376" y="4732"/>
                  </a:lnTo>
                  <a:lnTo>
                    <a:pt x="3370" y="4736"/>
                  </a:lnTo>
                  <a:lnTo>
                    <a:pt x="3366" y="4740"/>
                  </a:lnTo>
                  <a:lnTo>
                    <a:pt x="3362" y="4746"/>
                  </a:lnTo>
                  <a:lnTo>
                    <a:pt x="3356" y="4760"/>
                  </a:lnTo>
                  <a:lnTo>
                    <a:pt x="3356" y="4776"/>
                  </a:lnTo>
                  <a:lnTo>
                    <a:pt x="3356" y="4784"/>
                  </a:lnTo>
                  <a:lnTo>
                    <a:pt x="3358" y="4790"/>
                  </a:lnTo>
                  <a:close/>
                  <a:moveTo>
                    <a:pt x="3086" y="4178"/>
                  </a:moveTo>
                  <a:lnTo>
                    <a:pt x="3086" y="4178"/>
                  </a:lnTo>
                  <a:lnTo>
                    <a:pt x="3076" y="4178"/>
                  </a:lnTo>
                  <a:lnTo>
                    <a:pt x="3070" y="4180"/>
                  </a:lnTo>
                  <a:lnTo>
                    <a:pt x="3068" y="4184"/>
                  </a:lnTo>
                  <a:lnTo>
                    <a:pt x="3072" y="4186"/>
                  </a:lnTo>
                  <a:lnTo>
                    <a:pt x="3076" y="4188"/>
                  </a:lnTo>
                  <a:lnTo>
                    <a:pt x="3076" y="4190"/>
                  </a:lnTo>
                  <a:lnTo>
                    <a:pt x="3078" y="4194"/>
                  </a:lnTo>
                  <a:lnTo>
                    <a:pt x="3080" y="4196"/>
                  </a:lnTo>
                  <a:lnTo>
                    <a:pt x="3084" y="4202"/>
                  </a:lnTo>
                  <a:lnTo>
                    <a:pt x="3088" y="4212"/>
                  </a:lnTo>
                  <a:lnTo>
                    <a:pt x="3092" y="4224"/>
                  </a:lnTo>
                  <a:lnTo>
                    <a:pt x="3098" y="4238"/>
                  </a:lnTo>
                  <a:lnTo>
                    <a:pt x="3102" y="4244"/>
                  </a:lnTo>
                  <a:lnTo>
                    <a:pt x="3104" y="4244"/>
                  </a:lnTo>
                  <a:lnTo>
                    <a:pt x="3106" y="4244"/>
                  </a:lnTo>
                  <a:lnTo>
                    <a:pt x="3112" y="4240"/>
                  </a:lnTo>
                  <a:lnTo>
                    <a:pt x="3116" y="4232"/>
                  </a:lnTo>
                  <a:lnTo>
                    <a:pt x="3118" y="4224"/>
                  </a:lnTo>
                  <a:lnTo>
                    <a:pt x="3118" y="4220"/>
                  </a:lnTo>
                  <a:lnTo>
                    <a:pt x="3116" y="4216"/>
                  </a:lnTo>
                  <a:lnTo>
                    <a:pt x="3116" y="4208"/>
                  </a:lnTo>
                  <a:lnTo>
                    <a:pt x="3118" y="4204"/>
                  </a:lnTo>
                  <a:lnTo>
                    <a:pt x="3116" y="4198"/>
                  </a:lnTo>
                  <a:lnTo>
                    <a:pt x="3114" y="4194"/>
                  </a:lnTo>
                  <a:lnTo>
                    <a:pt x="3110" y="4190"/>
                  </a:lnTo>
                  <a:lnTo>
                    <a:pt x="3100" y="4184"/>
                  </a:lnTo>
                  <a:lnTo>
                    <a:pt x="3086" y="4178"/>
                  </a:lnTo>
                  <a:close/>
                  <a:moveTo>
                    <a:pt x="3138" y="4192"/>
                  </a:moveTo>
                  <a:lnTo>
                    <a:pt x="3138" y="4192"/>
                  </a:lnTo>
                  <a:lnTo>
                    <a:pt x="3140" y="4190"/>
                  </a:lnTo>
                  <a:lnTo>
                    <a:pt x="3142" y="4186"/>
                  </a:lnTo>
                  <a:lnTo>
                    <a:pt x="3140" y="4180"/>
                  </a:lnTo>
                  <a:lnTo>
                    <a:pt x="3138" y="4178"/>
                  </a:lnTo>
                  <a:lnTo>
                    <a:pt x="3134" y="4178"/>
                  </a:lnTo>
                  <a:lnTo>
                    <a:pt x="3132" y="4178"/>
                  </a:lnTo>
                  <a:lnTo>
                    <a:pt x="3130" y="4178"/>
                  </a:lnTo>
                  <a:lnTo>
                    <a:pt x="3130" y="4184"/>
                  </a:lnTo>
                  <a:lnTo>
                    <a:pt x="3130" y="4188"/>
                  </a:lnTo>
                  <a:lnTo>
                    <a:pt x="3132" y="4192"/>
                  </a:lnTo>
                  <a:lnTo>
                    <a:pt x="3134" y="4194"/>
                  </a:lnTo>
                  <a:lnTo>
                    <a:pt x="3138" y="4192"/>
                  </a:lnTo>
                  <a:close/>
                  <a:moveTo>
                    <a:pt x="3386" y="4736"/>
                  </a:moveTo>
                  <a:lnTo>
                    <a:pt x="3386" y="4736"/>
                  </a:lnTo>
                  <a:lnTo>
                    <a:pt x="3388" y="4742"/>
                  </a:lnTo>
                  <a:lnTo>
                    <a:pt x="3392" y="4742"/>
                  </a:lnTo>
                  <a:lnTo>
                    <a:pt x="3396" y="4740"/>
                  </a:lnTo>
                  <a:lnTo>
                    <a:pt x="3398" y="4736"/>
                  </a:lnTo>
                  <a:lnTo>
                    <a:pt x="3402" y="4732"/>
                  </a:lnTo>
                  <a:lnTo>
                    <a:pt x="3404" y="4726"/>
                  </a:lnTo>
                  <a:lnTo>
                    <a:pt x="3404" y="4720"/>
                  </a:lnTo>
                  <a:lnTo>
                    <a:pt x="3404" y="4714"/>
                  </a:lnTo>
                  <a:lnTo>
                    <a:pt x="3400" y="4712"/>
                  </a:lnTo>
                  <a:lnTo>
                    <a:pt x="3398" y="4712"/>
                  </a:lnTo>
                  <a:lnTo>
                    <a:pt x="3394" y="4714"/>
                  </a:lnTo>
                  <a:lnTo>
                    <a:pt x="3392" y="4718"/>
                  </a:lnTo>
                  <a:lnTo>
                    <a:pt x="3388" y="4726"/>
                  </a:lnTo>
                  <a:lnTo>
                    <a:pt x="3386" y="4736"/>
                  </a:lnTo>
                  <a:close/>
                  <a:moveTo>
                    <a:pt x="3378" y="4912"/>
                  </a:moveTo>
                  <a:lnTo>
                    <a:pt x="3378" y="4912"/>
                  </a:lnTo>
                  <a:lnTo>
                    <a:pt x="3374" y="4908"/>
                  </a:lnTo>
                  <a:lnTo>
                    <a:pt x="3370" y="4906"/>
                  </a:lnTo>
                  <a:lnTo>
                    <a:pt x="3364" y="4904"/>
                  </a:lnTo>
                  <a:lnTo>
                    <a:pt x="3362" y="4904"/>
                  </a:lnTo>
                  <a:lnTo>
                    <a:pt x="3358" y="4906"/>
                  </a:lnTo>
                  <a:lnTo>
                    <a:pt x="3356" y="4908"/>
                  </a:lnTo>
                  <a:lnTo>
                    <a:pt x="3354" y="4912"/>
                  </a:lnTo>
                  <a:lnTo>
                    <a:pt x="3354" y="4916"/>
                  </a:lnTo>
                  <a:lnTo>
                    <a:pt x="3354" y="4922"/>
                  </a:lnTo>
                  <a:lnTo>
                    <a:pt x="3358" y="4924"/>
                  </a:lnTo>
                  <a:lnTo>
                    <a:pt x="3366" y="4922"/>
                  </a:lnTo>
                  <a:lnTo>
                    <a:pt x="3382" y="4922"/>
                  </a:lnTo>
                  <a:lnTo>
                    <a:pt x="3384" y="4922"/>
                  </a:lnTo>
                  <a:lnTo>
                    <a:pt x="3384" y="4920"/>
                  </a:lnTo>
                  <a:lnTo>
                    <a:pt x="3378" y="4912"/>
                  </a:lnTo>
                  <a:close/>
                  <a:moveTo>
                    <a:pt x="3378" y="5236"/>
                  </a:moveTo>
                  <a:lnTo>
                    <a:pt x="3378" y="5236"/>
                  </a:lnTo>
                  <a:lnTo>
                    <a:pt x="3374" y="5234"/>
                  </a:lnTo>
                  <a:lnTo>
                    <a:pt x="3370" y="5234"/>
                  </a:lnTo>
                  <a:lnTo>
                    <a:pt x="3368" y="5236"/>
                  </a:lnTo>
                  <a:lnTo>
                    <a:pt x="3372" y="5240"/>
                  </a:lnTo>
                  <a:lnTo>
                    <a:pt x="3376" y="5242"/>
                  </a:lnTo>
                  <a:lnTo>
                    <a:pt x="3380" y="5240"/>
                  </a:lnTo>
                  <a:lnTo>
                    <a:pt x="3380" y="5238"/>
                  </a:lnTo>
                  <a:lnTo>
                    <a:pt x="3378" y="5236"/>
                  </a:lnTo>
                  <a:close/>
                  <a:moveTo>
                    <a:pt x="3444" y="5230"/>
                  </a:moveTo>
                  <a:lnTo>
                    <a:pt x="3444" y="5230"/>
                  </a:lnTo>
                  <a:lnTo>
                    <a:pt x="3448" y="5232"/>
                  </a:lnTo>
                  <a:lnTo>
                    <a:pt x="3450" y="5230"/>
                  </a:lnTo>
                  <a:lnTo>
                    <a:pt x="3452" y="5228"/>
                  </a:lnTo>
                  <a:lnTo>
                    <a:pt x="3452" y="5224"/>
                  </a:lnTo>
                  <a:lnTo>
                    <a:pt x="3448" y="5220"/>
                  </a:lnTo>
                  <a:lnTo>
                    <a:pt x="3442" y="5218"/>
                  </a:lnTo>
                  <a:lnTo>
                    <a:pt x="3440" y="5220"/>
                  </a:lnTo>
                  <a:lnTo>
                    <a:pt x="3442" y="5224"/>
                  </a:lnTo>
                  <a:lnTo>
                    <a:pt x="3444" y="5230"/>
                  </a:lnTo>
                  <a:close/>
                  <a:moveTo>
                    <a:pt x="3364" y="4876"/>
                  </a:moveTo>
                  <a:lnTo>
                    <a:pt x="3364" y="4876"/>
                  </a:lnTo>
                  <a:lnTo>
                    <a:pt x="3364" y="4878"/>
                  </a:lnTo>
                  <a:lnTo>
                    <a:pt x="3366" y="4880"/>
                  </a:lnTo>
                  <a:lnTo>
                    <a:pt x="3370" y="4882"/>
                  </a:lnTo>
                  <a:lnTo>
                    <a:pt x="3372" y="4880"/>
                  </a:lnTo>
                  <a:lnTo>
                    <a:pt x="3374" y="4876"/>
                  </a:lnTo>
                  <a:lnTo>
                    <a:pt x="3372" y="4874"/>
                  </a:lnTo>
                  <a:lnTo>
                    <a:pt x="3368" y="4874"/>
                  </a:lnTo>
                  <a:lnTo>
                    <a:pt x="3364" y="4876"/>
                  </a:lnTo>
                  <a:close/>
                  <a:moveTo>
                    <a:pt x="3374" y="5022"/>
                  </a:moveTo>
                  <a:lnTo>
                    <a:pt x="3374" y="5022"/>
                  </a:lnTo>
                  <a:lnTo>
                    <a:pt x="3378" y="5024"/>
                  </a:lnTo>
                  <a:lnTo>
                    <a:pt x="3384" y="5022"/>
                  </a:lnTo>
                  <a:lnTo>
                    <a:pt x="3388" y="5018"/>
                  </a:lnTo>
                  <a:lnTo>
                    <a:pt x="3390" y="5012"/>
                  </a:lnTo>
                  <a:lnTo>
                    <a:pt x="3390" y="5010"/>
                  </a:lnTo>
                  <a:lnTo>
                    <a:pt x="3388" y="5010"/>
                  </a:lnTo>
                  <a:lnTo>
                    <a:pt x="3382" y="5012"/>
                  </a:lnTo>
                  <a:lnTo>
                    <a:pt x="3376" y="5018"/>
                  </a:lnTo>
                  <a:lnTo>
                    <a:pt x="3374" y="5020"/>
                  </a:lnTo>
                  <a:lnTo>
                    <a:pt x="3374" y="5022"/>
                  </a:lnTo>
                  <a:close/>
                  <a:moveTo>
                    <a:pt x="3412" y="3200"/>
                  </a:moveTo>
                  <a:lnTo>
                    <a:pt x="3412" y="3200"/>
                  </a:lnTo>
                  <a:lnTo>
                    <a:pt x="3408" y="3200"/>
                  </a:lnTo>
                  <a:lnTo>
                    <a:pt x="3406" y="3202"/>
                  </a:lnTo>
                  <a:lnTo>
                    <a:pt x="3404" y="3206"/>
                  </a:lnTo>
                  <a:lnTo>
                    <a:pt x="3406" y="3208"/>
                  </a:lnTo>
                  <a:lnTo>
                    <a:pt x="3408" y="3208"/>
                  </a:lnTo>
                  <a:lnTo>
                    <a:pt x="3414" y="3206"/>
                  </a:lnTo>
                  <a:lnTo>
                    <a:pt x="3416" y="3204"/>
                  </a:lnTo>
                  <a:lnTo>
                    <a:pt x="3416" y="3202"/>
                  </a:lnTo>
                  <a:lnTo>
                    <a:pt x="3412" y="3200"/>
                  </a:lnTo>
                  <a:close/>
                  <a:moveTo>
                    <a:pt x="3402" y="3084"/>
                  </a:moveTo>
                  <a:lnTo>
                    <a:pt x="3402" y="3084"/>
                  </a:lnTo>
                  <a:lnTo>
                    <a:pt x="3400" y="3088"/>
                  </a:lnTo>
                  <a:lnTo>
                    <a:pt x="3398" y="3092"/>
                  </a:lnTo>
                  <a:lnTo>
                    <a:pt x="3400" y="3096"/>
                  </a:lnTo>
                  <a:lnTo>
                    <a:pt x="3402" y="3098"/>
                  </a:lnTo>
                  <a:lnTo>
                    <a:pt x="3404" y="3096"/>
                  </a:lnTo>
                  <a:lnTo>
                    <a:pt x="3406" y="3092"/>
                  </a:lnTo>
                  <a:lnTo>
                    <a:pt x="3406" y="3088"/>
                  </a:lnTo>
                  <a:lnTo>
                    <a:pt x="3406" y="3084"/>
                  </a:lnTo>
                  <a:lnTo>
                    <a:pt x="3404" y="3084"/>
                  </a:lnTo>
                  <a:lnTo>
                    <a:pt x="3402" y="3084"/>
                  </a:lnTo>
                  <a:close/>
                  <a:moveTo>
                    <a:pt x="3416" y="3464"/>
                  </a:moveTo>
                  <a:lnTo>
                    <a:pt x="3416" y="3464"/>
                  </a:lnTo>
                  <a:lnTo>
                    <a:pt x="3420" y="3466"/>
                  </a:lnTo>
                  <a:lnTo>
                    <a:pt x="3422" y="3464"/>
                  </a:lnTo>
                  <a:lnTo>
                    <a:pt x="3422" y="3460"/>
                  </a:lnTo>
                  <a:lnTo>
                    <a:pt x="3420" y="3454"/>
                  </a:lnTo>
                  <a:lnTo>
                    <a:pt x="3418" y="3452"/>
                  </a:lnTo>
                  <a:lnTo>
                    <a:pt x="3416" y="3454"/>
                  </a:lnTo>
                  <a:lnTo>
                    <a:pt x="3414" y="3458"/>
                  </a:lnTo>
                  <a:lnTo>
                    <a:pt x="3416" y="3464"/>
                  </a:lnTo>
                  <a:close/>
                  <a:moveTo>
                    <a:pt x="2806" y="3776"/>
                  </a:moveTo>
                  <a:lnTo>
                    <a:pt x="2806" y="3776"/>
                  </a:lnTo>
                  <a:lnTo>
                    <a:pt x="2810" y="3778"/>
                  </a:lnTo>
                  <a:lnTo>
                    <a:pt x="2814" y="3778"/>
                  </a:lnTo>
                  <a:lnTo>
                    <a:pt x="2816" y="3776"/>
                  </a:lnTo>
                  <a:lnTo>
                    <a:pt x="2818" y="3774"/>
                  </a:lnTo>
                  <a:lnTo>
                    <a:pt x="2820" y="3768"/>
                  </a:lnTo>
                  <a:lnTo>
                    <a:pt x="2818" y="3762"/>
                  </a:lnTo>
                  <a:lnTo>
                    <a:pt x="2820" y="3758"/>
                  </a:lnTo>
                  <a:lnTo>
                    <a:pt x="2820" y="3754"/>
                  </a:lnTo>
                  <a:lnTo>
                    <a:pt x="2820" y="3752"/>
                  </a:lnTo>
                  <a:lnTo>
                    <a:pt x="2818" y="3752"/>
                  </a:lnTo>
                  <a:lnTo>
                    <a:pt x="2814" y="3752"/>
                  </a:lnTo>
                  <a:lnTo>
                    <a:pt x="2812" y="3752"/>
                  </a:lnTo>
                  <a:lnTo>
                    <a:pt x="2814" y="3752"/>
                  </a:lnTo>
                  <a:lnTo>
                    <a:pt x="2814" y="3750"/>
                  </a:lnTo>
                  <a:lnTo>
                    <a:pt x="2812" y="3748"/>
                  </a:lnTo>
                  <a:lnTo>
                    <a:pt x="2810" y="3750"/>
                  </a:lnTo>
                  <a:lnTo>
                    <a:pt x="2808" y="3752"/>
                  </a:lnTo>
                  <a:lnTo>
                    <a:pt x="2808" y="3756"/>
                  </a:lnTo>
                  <a:lnTo>
                    <a:pt x="2806" y="3758"/>
                  </a:lnTo>
                  <a:lnTo>
                    <a:pt x="2802" y="3760"/>
                  </a:lnTo>
                  <a:lnTo>
                    <a:pt x="2802" y="3766"/>
                  </a:lnTo>
                  <a:lnTo>
                    <a:pt x="2802" y="3774"/>
                  </a:lnTo>
                  <a:lnTo>
                    <a:pt x="2800" y="3774"/>
                  </a:lnTo>
                  <a:lnTo>
                    <a:pt x="2802" y="3774"/>
                  </a:lnTo>
                  <a:lnTo>
                    <a:pt x="2804" y="3774"/>
                  </a:lnTo>
                  <a:lnTo>
                    <a:pt x="2806" y="3776"/>
                  </a:lnTo>
                  <a:close/>
                  <a:moveTo>
                    <a:pt x="3380" y="3090"/>
                  </a:moveTo>
                  <a:lnTo>
                    <a:pt x="3380" y="3090"/>
                  </a:lnTo>
                  <a:lnTo>
                    <a:pt x="3378" y="3088"/>
                  </a:lnTo>
                  <a:lnTo>
                    <a:pt x="3376" y="3086"/>
                  </a:lnTo>
                  <a:lnTo>
                    <a:pt x="3372" y="3088"/>
                  </a:lnTo>
                  <a:lnTo>
                    <a:pt x="3370" y="3090"/>
                  </a:lnTo>
                  <a:lnTo>
                    <a:pt x="3370" y="3092"/>
                  </a:lnTo>
                  <a:lnTo>
                    <a:pt x="3376" y="3096"/>
                  </a:lnTo>
                  <a:lnTo>
                    <a:pt x="3378" y="3096"/>
                  </a:lnTo>
                  <a:lnTo>
                    <a:pt x="3380" y="3096"/>
                  </a:lnTo>
                  <a:lnTo>
                    <a:pt x="3380" y="3090"/>
                  </a:lnTo>
                  <a:close/>
                  <a:moveTo>
                    <a:pt x="3918" y="2740"/>
                  </a:moveTo>
                  <a:lnTo>
                    <a:pt x="3918" y="2740"/>
                  </a:lnTo>
                  <a:lnTo>
                    <a:pt x="3918" y="2736"/>
                  </a:lnTo>
                  <a:lnTo>
                    <a:pt x="3918" y="2734"/>
                  </a:lnTo>
                  <a:lnTo>
                    <a:pt x="3914" y="2732"/>
                  </a:lnTo>
                  <a:lnTo>
                    <a:pt x="3908" y="2730"/>
                  </a:lnTo>
                  <a:lnTo>
                    <a:pt x="3902" y="2728"/>
                  </a:lnTo>
                  <a:lnTo>
                    <a:pt x="3900" y="2726"/>
                  </a:lnTo>
                  <a:lnTo>
                    <a:pt x="3898" y="2728"/>
                  </a:lnTo>
                  <a:lnTo>
                    <a:pt x="3894" y="2736"/>
                  </a:lnTo>
                  <a:lnTo>
                    <a:pt x="3894" y="2740"/>
                  </a:lnTo>
                  <a:lnTo>
                    <a:pt x="3894" y="2744"/>
                  </a:lnTo>
                  <a:lnTo>
                    <a:pt x="3898" y="2746"/>
                  </a:lnTo>
                  <a:lnTo>
                    <a:pt x="3902" y="2744"/>
                  </a:lnTo>
                  <a:lnTo>
                    <a:pt x="3906" y="2744"/>
                  </a:lnTo>
                  <a:lnTo>
                    <a:pt x="3910" y="2746"/>
                  </a:lnTo>
                  <a:lnTo>
                    <a:pt x="3910" y="2748"/>
                  </a:lnTo>
                  <a:lnTo>
                    <a:pt x="3912" y="2752"/>
                  </a:lnTo>
                  <a:lnTo>
                    <a:pt x="3908" y="2760"/>
                  </a:lnTo>
                  <a:lnTo>
                    <a:pt x="3906" y="2762"/>
                  </a:lnTo>
                  <a:lnTo>
                    <a:pt x="3904" y="2760"/>
                  </a:lnTo>
                  <a:lnTo>
                    <a:pt x="3900" y="2758"/>
                  </a:lnTo>
                  <a:lnTo>
                    <a:pt x="3898" y="2760"/>
                  </a:lnTo>
                  <a:lnTo>
                    <a:pt x="3894" y="2762"/>
                  </a:lnTo>
                  <a:lnTo>
                    <a:pt x="3890" y="2764"/>
                  </a:lnTo>
                  <a:lnTo>
                    <a:pt x="3888" y="2762"/>
                  </a:lnTo>
                  <a:lnTo>
                    <a:pt x="3888" y="2756"/>
                  </a:lnTo>
                  <a:lnTo>
                    <a:pt x="3886" y="2746"/>
                  </a:lnTo>
                  <a:lnTo>
                    <a:pt x="3884" y="2742"/>
                  </a:lnTo>
                  <a:lnTo>
                    <a:pt x="3880" y="2740"/>
                  </a:lnTo>
                  <a:lnTo>
                    <a:pt x="3878" y="2742"/>
                  </a:lnTo>
                  <a:lnTo>
                    <a:pt x="3876" y="2744"/>
                  </a:lnTo>
                  <a:lnTo>
                    <a:pt x="3874" y="2750"/>
                  </a:lnTo>
                  <a:lnTo>
                    <a:pt x="3874" y="2758"/>
                  </a:lnTo>
                  <a:lnTo>
                    <a:pt x="3872" y="2764"/>
                  </a:lnTo>
                  <a:lnTo>
                    <a:pt x="3870" y="2768"/>
                  </a:lnTo>
                  <a:lnTo>
                    <a:pt x="3866" y="2768"/>
                  </a:lnTo>
                  <a:lnTo>
                    <a:pt x="3862" y="2770"/>
                  </a:lnTo>
                  <a:lnTo>
                    <a:pt x="3858" y="2770"/>
                  </a:lnTo>
                  <a:lnTo>
                    <a:pt x="3856" y="2772"/>
                  </a:lnTo>
                  <a:lnTo>
                    <a:pt x="3856" y="2776"/>
                  </a:lnTo>
                  <a:lnTo>
                    <a:pt x="3856" y="2786"/>
                  </a:lnTo>
                  <a:lnTo>
                    <a:pt x="3858" y="2796"/>
                  </a:lnTo>
                  <a:lnTo>
                    <a:pt x="3860" y="2802"/>
                  </a:lnTo>
                  <a:lnTo>
                    <a:pt x="3858" y="2806"/>
                  </a:lnTo>
                  <a:lnTo>
                    <a:pt x="3856" y="2808"/>
                  </a:lnTo>
                  <a:lnTo>
                    <a:pt x="3852" y="2810"/>
                  </a:lnTo>
                  <a:lnTo>
                    <a:pt x="3850" y="2812"/>
                  </a:lnTo>
                  <a:lnTo>
                    <a:pt x="3850" y="2814"/>
                  </a:lnTo>
                  <a:lnTo>
                    <a:pt x="3850" y="2816"/>
                  </a:lnTo>
                  <a:lnTo>
                    <a:pt x="3852" y="2818"/>
                  </a:lnTo>
                  <a:lnTo>
                    <a:pt x="3854" y="2818"/>
                  </a:lnTo>
                  <a:lnTo>
                    <a:pt x="3858" y="2820"/>
                  </a:lnTo>
                  <a:lnTo>
                    <a:pt x="3860" y="2824"/>
                  </a:lnTo>
                  <a:lnTo>
                    <a:pt x="3860" y="2832"/>
                  </a:lnTo>
                  <a:lnTo>
                    <a:pt x="3858" y="2846"/>
                  </a:lnTo>
                  <a:lnTo>
                    <a:pt x="3854" y="2866"/>
                  </a:lnTo>
                  <a:lnTo>
                    <a:pt x="3850" y="2884"/>
                  </a:lnTo>
                  <a:lnTo>
                    <a:pt x="3844" y="2896"/>
                  </a:lnTo>
                  <a:lnTo>
                    <a:pt x="3840" y="2904"/>
                  </a:lnTo>
                  <a:lnTo>
                    <a:pt x="3834" y="2912"/>
                  </a:lnTo>
                  <a:lnTo>
                    <a:pt x="3822" y="2926"/>
                  </a:lnTo>
                  <a:lnTo>
                    <a:pt x="3808" y="2942"/>
                  </a:lnTo>
                  <a:lnTo>
                    <a:pt x="3802" y="2952"/>
                  </a:lnTo>
                  <a:lnTo>
                    <a:pt x="3794" y="2960"/>
                  </a:lnTo>
                  <a:lnTo>
                    <a:pt x="3788" y="2964"/>
                  </a:lnTo>
                  <a:lnTo>
                    <a:pt x="3782" y="2968"/>
                  </a:lnTo>
                  <a:lnTo>
                    <a:pt x="3768" y="2974"/>
                  </a:lnTo>
                  <a:lnTo>
                    <a:pt x="3760" y="2978"/>
                  </a:lnTo>
                  <a:lnTo>
                    <a:pt x="3752" y="2984"/>
                  </a:lnTo>
                  <a:lnTo>
                    <a:pt x="3742" y="2990"/>
                  </a:lnTo>
                  <a:lnTo>
                    <a:pt x="3742" y="2988"/>
                  </a:lnTo>
                  <a:lnTo>
                    <a:pt x="3742" y="2986"/>
                  </a:lnTo>
                  <a:lnTo>
                    <a:pt x="3744" y="2978"/>
                  </a:lnTo>
                  <a:lnTo>
                    <a:pt x="3744" y="2974"/>
                  </a:lnTo>
                  <a:lnTo>
                    <a:pt x="3740" y="2970"/>
                  </a:lnTo>
                  <a:lnTo>
                    <a:pt x="3740" y="2968"/>
                  </a:lnTo>
                  <a:lnTo>
                    <a:pt x="3740" y="2966"/>
                  </a:lnTo>
                  <a:lnTo>
                    <a:pt x="3748" y="2960"/>
                  </a:lnTo>
                  <a:lnTo>
                    <a:pt x="3754" y="2952"/>
                  </a:lnTo>
                  <a:lnTo>
                    <a:pt x="3756" y="2948"/>
                  </a:lnTo>
                  <a:lnTo>
                    <a:pt x="3754" y="2944"/>
                  </a:lnTo>
                  <a:lnTo>
                    <a:pt x="3752" y="2944"/>
                  </a:lnTo>
                  <a:lnTo>
                    <a:pt x="3748" y="2944"/>
                  </a:lnTo>
                  <a:lnTo>
                    <a:pt x="3738" y="2948"/>
                  </a:lnTo>
                  <a:lnTo>
                    <a:pt x="3734" y="2952"/>
                  </a:lnTo>
                  <a:lnTo>
                    <a:pt x="3730" y="2956"/>
                  </a:lnTo>
                  <a:lnTo>
                    <a:pt x="3728" y="2962"/>
                  </a:lnTo>
                  <a:lnTo>
                    <a:pt x="3730" y="2966"/>
                  </a:lnTo>
                  <a:lnTo>
                    <a:pt x="3730" y="2976"/>
                  </a:lnTo>
                  <a:lnTo>
                    <a:pt x="3728" y="2986"/>
                  </a:lnTo>
                  <a:lnTo>
                    <a:pt x="3722" y="2996"/>
                  </a:lnTo>
                  <a:lnTo>
                    <a:pt x="3716" y="3006"/>
                  </a:lnTo>
                  <a:lnTo>
                    <a:pt x="3704" y="3022"/>
                  </a:lnTo>
                  <a:lnTo>
                    <a:pt x="3700" y="3026"/>
                  </a:lnTo>
                  <a:lnTo>
                    <a:pt x="3698" y="3030"/>
                  </a:lnTo>
                  <a:lnTo>
                    <a:pt x="3700" y="3036"/>
                  </a:lnTo>
                  <a:lnTo>
                    <a:pt x="3700" y="3044"/>
                  </a:lnTo>
                  <a:lnTo>
                    <a:pt x="3698" y="3046"/>
                  </a:lnTo>
                  <a:lnTo>
                    <a:pt x="3694" y="3050"/>
                  </a:lnTo>
                  <a:lnTo>
                    <a:pt x="3690" y="3052"/>
                  </a:lnTo>
                  <a:lnTo>
                    <a:pt x="3682" y="3054"/>
                  </a:lnTo>
                  <a:lnTo>
                    <a:pt x="3676" y="3054"/>
                  </a:lnTo>
                  <a:lnTo>
                    <a:pt x="3672" y="3052"/>
                  </a:lnTo>
                  <a:lnTo>
                    <a:pt x="3672" y="3048"/>
                  </a:lnTo>
                  <a:lnTo>
                    <a:pt x="3674" y="3044"/>
                  </a:lnTo>
                  <a:lnTo>
                    <a:pt x="3672" y="3042"/>
                  </a:lnTo>
                  <a:lnTo>
                    <a:pt x="3668" y="3040"/>
                  </a:lnTo>
                  <a:lnTo>
                    <a:pt x="3662" y="3042"/>
                  </a:lnTo>
                  <a:lnTo>
                    <a:pt x="3652" y="3044"/>
                  </a:lnTo>
                  <a:lnTo>
                    <a:pt x="3626" y="3052"/>
                  </a:lnTo>
                  <a:lnTo>
                    <a:pt x="3614" y="3056"/>
                  </a:lnTo>
                  <a:lnTo>
                    <a:pt x="3602" y="3058"/>
                  </a:lnTo>
                  <a:lnTo>
                    <a:pt x="3594" y="3058"/>
                  </a:lnTo>
                  <a:lnTo>
                    <a:pt x="3592" y="3056"/>
                  </a:lnTo>
                  <a:lnTo>
                    <a:pt x="3590" y="3054"/>
                  </a:lnTo>
                  <a:lnTo>
                    <a:pt x="3588" y="3050"/>
                  </a:lnTo>
                  <a:lnTo>
                    <a:pt x="3584" y="3050"/>
                  </a:lnTo>
                  <a:lnTo>
                    <a:pt x="3580" y="3050"/>
                  </a:lnTo>
                  <a:lnTo>
                    <a:pt x="3574" y="3052"/>
                  </a:lnTo>
                  <a:lnTo>
                    <a:pt x="3562" y="3062"/>
                  </a:lnTo>
                  <a:lnTo>
                    <a:pt x="3548" y="3080"/>
                  </a:lnTo>
                  <a:lnTo>
                    <a:pt x="3542" y="3088"/>
                  </a:lnTo>
                  <a:lnTo>
                    <a:pt x="3536" y="3092"/>
                  </a:lnTo>
                  <a:lnTo>
                    <a:pt x="3530" y="3096"/>
                  </a:lnTo>
                  <a:lnTo>
                    <a:pt x="3524" y="3098"/>
                  </a:lnTo>
                  <a:lnTo>
                    <a:pt x="3518" y="3106"/>
                  </a:lnTo>
                  <a:lnTo>
                    <a:pt x="3514" y="3112"/>
                  </a:lnTo>
                  <a:lnTo>
                    <a:pt x="3510" y="3114"/>
                  </a:lnTo>
                  <a:lnTo>
                    <a:pt x="3502" y="3114"/>
                  </a:lnTo>
                  <a:lnTo>
                    <a:pt x="3500" y="3116"/>
                  </a:lnTo>
                  <a:lnTo>
                    <a:pt x="3498" y="3116"/>
                  </a:lnTo>
                  <a:lnTo>
                    <a:pt x="3496" y="3120"/>
                  </a:lnTo>
                  <a:lnTo>
                    <a:pt x="3496" y="3126"/>
                  </a:lnTo>
                  <a:lnTo>
                    <a:pt x="3496" y="3132"/>
                  </a:lnTo>
                  <a:lnTo>
                    <a:pt x="3500" y="3136"/>
                  </a:lnTo>
                  <a:lnTo>
                    <a:pt x="3504" y="3136"/>
                  </a:lnTo>
                  <a:lnTo>
                    <a:pt x="3508" y="3136"/>
                  </a:lnTo>
                  <a:lnTo>
                    <a:pt x="3522" y="3134"/>
                  </a:lnTo>
                  <a:lnTo>
                    <a:pt x="3528" y="3134"/>
                  </a:lnTo>
                  <a:lnTo>
                    <a:pt x="3536" y="3138"/>
                  </a:lnTo>
                  <a:lnTo>
                    <a:pt x="3542" y="3140"/>
                  </a:lnTo>
                  <a:lnTo>
                    <a:pt x="3544" y="3140"/>
                  </a:lnTo>
                  <a:lnTo>
                    <a:pt x="3546" y="3138"/>
                  </a:lnTo>
                  <a:lnTo>
                    <a:pt x="3546" y="3134"/>
                  </a:lnTo>
                  <a:lnTo>
                    <a:pt x="3546" y="3124"/>
                  </a:lnTo>
                  <a:lnTo>
                    <a:pt x="3548" y="3120"/>
                  </a:lnTo>
                  <a:lnTo>
                    <a:pt x="3550" y="3118"/>
                  </a:lnTo>
                  <a:lnTo>
                    <a:pt x="3556" y="3116"/>
                  </a:lnTo>
                  <a:lnTo>
                    <a:pt x="3558" y="3118"/>
                  </a:lnTo>
                  <a:lnTo>
                    <a:pt x="3562" y="3120"/>
                  </a:lnTo>
                  <a:lnTo>
                    <a:pt x="3570" y="3120"/>
                  </a:lnTo>
                  <a:lnTo>
                    <a:pt x="3596" y="3116"/>
                  </a:lnTo>
                  <a:lnTo>
                    <a:pt x="3620" y="3108"/>
                  </a:lnTo>
                  <a:lnTo>
                    <a:pt x="3626" y="3104"/>
                  </a:lnTo>
                  <a:lnTo>
                    <a:pt x="3630" y="3102"/>
                  </a:lnTo>
                  <a:lnTo>
                    <a:pt x="3632" y="3098"/>
                  </a:lnTo>
                  <a:lnTo>
                    <a:pt x="3632" y="3096"/>
                  </a:lnTo>
                  <a:lnTo>
                    <a:pt x="3636" y="3096"/>
                  </a:lnTo>
                  <a:lnTo>
                    <a:pt x="3648" y="3098"/>
                  </a:lnTo>
                  <a:lnTo>
                    <a:pt x="3656" y="3100"/>
                  </a:lnTo>
                  <a:lnTo>
                    <a:pt x="3662" y="3100"/>
                  </a:lnTo>
                  <a:lnTo>
                    <a:pt x="3670" y="3098"/>
                  </a:lnTo>
                  <a:lnTo>
                    <a:pt x="3674" y="3098"/>
                  </a:lnTo>
                  <a:lnTo>
                    <a:pt x="3676" y="3102"/>
                  </a:lnTo>
                  <a:lnTo>
                    <a:pt x="3678" y="3106"/>
                  </a:lnTo>
                  <a:lnTo>
                    <a:pt x="3676" y="3110"/>
                  </a:lnTo>
                  <a:lnTo>
                    <a:pt x="3672" y="3114"/>
                  </a:lnTo>
                  <a:lnTo>
                    <a:pt x="3666" y="3118"/>
                  </a:lnTo>
                  <a:lnTo>
                    <a:pt x="3666" y="3120"/>
                  </a:lnTo>
                  <a:lnTo>
                    <a:pt x="3666" y="3124"/>
                  </a:lnTo>
                  <a:lnTo>
                    <a:pt x="3666" y="3130"/>
                  </a:lnTo>
                  <a:lnTo>
                    <a:pt x="3664" y="3136"/>
                  </a:lnTo>
                  <a:lnTo>
                    <a:pt x="3664" y="3142"/>
                  </a:lnTo>
                  <a:lnTo>
                    <a:pt x="3664" y="3144"/>
                  </a:lnTo>
                  <a:lnTo>
                    <a:pt x="3668" y="3146"/>
                  </a:lnTo>
                  <a:lnTo>
                    <a:pt x="3674" y="3150"/>
                  </a:lnTo>
                  <a:lnTo>
                    <a:pt x="3674" y="3152"/>
                  </a:lnTo>
                  <a:lnTo>
                    <a:pt x="3676" y="3156"/>
                  </a:lnTo>
                  <a:lnTo>
                    <a:pt x="3684" y="3162"/>
                  </a:lnTo>
                  <a:lnTo>
                    <a:pt x="3684" y="3164"/>
                  </a:lnTo>
                  <a:lnTo>
                    <a:pt x="3688" y="3166"/>
                  </a:lnTo>
                  <a:lnTo>
                    <a:pt x="3692" y="3164"/>
                  </a:lnTo>
                  <a:lnTo>
                    <a:pt x="3696" y="3160"/>
                  </a:lnTo>
                  <a:lnTo>
                    <a:pt x="3700" y="3156"/>
                  </a:lnTo>
                  <a:lnTo>
                    <a:pt x="3716" y="3130"/>
                  </a:lnTo>
                  <a:lnTo>
                    <a:pt x="3720" y="3124"/>
                  </a:lnTo>
                  <a:lnTo>
                    <a:pt x="3724" y="3122"/>
                  </a:lnTo>
                  <a:lnTo>
                    <a:pt x="3734" y="3118"/>
                  </a:lnTo>
                  <a:lnTo>
                    <a:pt x="3738" y="3116"/>
                  </a:lnTo>
                  <a:lnTo>
                    <a:pt x="3738" y="3114"/>
                  </a:lnTo>
                  <a:lnTo>
                    <a:pt x="3736" y="3112"/>
                  </a:lnTo>
                  <a:lnTo>
                    <a:pt x="3730" y="3108"/>
                  </a:lnTo>
                  <a:lnTo>
                    <a:pt x="3724" y="3104"/>
                  </a:lnTo>
                  <a:lnTo>
                    <a:pt x="3722" y="3098"/>
                  </a:lnTo>
                  <a:lnTo>
                    <a:pt x="3722" y="3090"/>
                  </a:lnTo>
                  <a:lnTo>
                    <a:pt x="3724" y="3086"/>
                  </a:lnTo>
                  <a:lnTo>
                    <a:pt x="3728" y="3082"/>
                  </a:lnTo>
                  <a:lnTo>
                    <a:pt x="3732" y="3080"/>
                  </a:lnTo>
                  <a:lnTo>
                    <a:pt x="3734" y="3082"/>
                  </a:lnTo>
                  <a:lnTo>
                    <a:pt x="3734" y="3086"/>
                  </a:lnTo>
                  <a:lnTo>
                    <a:pt x="3736" y="3092"/>
                  </a:lnTo>
                  <a:lnTo>
                    <a:pt x="3738" y="3094"/>
                  </a:lnTo>
                  <a:lnTo>
                    <a:pt x="3742" y="3096"/>
                  </a:lnTo>
                  <a:lnTo>
                    <a:pt x="3746" y="3096"/>
                  </a:lnTo>
                  <a:lnTo>
                    <a:pt x="3750" y="3096"/>
                  </a:lnTo>
                  <a:lnTo>
                    <a:pt x="3746" y="3100"/>
                  </a:lnTo>
                  <a:lnTo>
                    <a:pt x="3742" y="3104"/>
                  </a:lnTo>
                  <a:lnTo>
                    <a:pt x="3750" y="3104"/>
                  </a:lnTo>
                  <a:lnTo>
                    <a:pt x="3762" y="3102"/>
                  </a:lnTo>
                  <a:lnTo>
                    <a:pt x="3774" y="3102"/>
                  </a:lnTo>
                  <a:lnTo>
                    <a:pt x="3782" y="3104"/>
                  </a:lnTo>
                  <a:lnTo>
                    <a:pt x="3786" y="3104"/>
                  </a:lnTo>
                  <a:lnTo>
                    <a:pt x="3788" y="3100"/>
                  </a:lnTo>
                  <a:lnTo>
                    <a:pt x="3792" y="3092"/>
                  </a:lnTo>
                  <a:lnTo>
                    <a:pt x="3800" y="3082"/>
                  </a:lnTo>
                  <a:lnTo>
                    <a:pt x="3806" y="3076"/>
                  </a:lnTo>
                  <a:lnTo>
                    <a:pt x="3810" y="3076"/>
                  </a:lnTo>
                  <a:lnTo>
                    <a:pt x="3810" y="3078"/>
                  </a:lnTo>
                  <a:lnTo>
                    <a:pt x="3812" y="3082"/>
                  </a:lnTo>
                  <a:lnTo>
                    <a:pt x="3810" y="3090"/>
                  </a:lnTo>
                  <a:lnTo>
                    <a:pt x="3810" y="3096"/>
                  </a:lnTo>
                  <a:lnTo>
                    <a:pt x="3810" y="3102"/>
                  </a:lnTo>
                  <a:lnTo>
                    <a:pt x="3812" y="3104"/>
                  </a:lnTo>
                  <a:lnTo>
                    <a:pt x="3814" y="3104"/>
                  </a:lnTo>
                  <a:lnTo>
                    <a:pt x="3820" y="3098"/>
                  </a:lnTo>
                  <a:lnTo>
                    <a:pt x="3824" y="3086"/>
                  </a:lnTo>
                  <a:lnTo>
                    <a:pt x="3826" y="3076"/>
                  </a:lnTo>
                  <a:lnTo>
                    <a:pt x="3828" y="3068"/>
                  </a:lnTo>
                  <a:lnTo>
                    <a:pt x="3830" y="3066"/>
                  </a:lnTo>
                  <a:lnTo>
                    <a:pt x="3834" y="3066"/>
                  </a:lnTo>
                  <a:lnTo>
                    <a:pt x="3842" y="3070"/>
                  </a:lnTo>
                  <a:lnTo>
                    <a:pt x="3848" y="3074"/>
                  </a:lnTo>
                  <a:lnTo>
                    <a:pt x="3848" y="3072"/>
                  </a:lnTo>
                  <a:lnTo>
                    <a:pt x="3848" y="3064"/>
                  </a:lnTo>
                  <a:lnTo>
                    <a:pt x="3848" y="3060"/>
                  </a:lnTo>
                  <a:lnTo>
                    <a:pt x="3850" y="3054"/>
                  </a:lnTo>
                  <a:lnTo>
                    <a:pt x="3852" y="3050"/>
                  </a:lnTo>
                  <a:lnTo>
                    <a:pt x="3856" y="3048"/>
                  </a:lnTo>
                  <a:lnTo>
                    <a:pt x="3862" y="3046"/>
                  </a:lnTo>
                  <a:lnTo>
                    <a:pt x="3864" y="3048"/>
                  </a:lnTo>
                  <a:lnTo>
                    <a:pt x="3864" y="3050"/>
                  </a:lnTo>
                  <a:lnTo>
                    <a:pt x="3864" y="3052"/>
                  </a:lnTo>
                  <a:lnTo>
                    <a:pt x="3862" y="3056"/>
                  </a:lnTo>
                  <a:lnTo>
                    <a:pt x="3858" y="3066"/>
                  </a:lnTo>
                  <a:lnTo>
                    <a:pt x="3854" y="3080"/>
                  </a:lnTo>
                  <a:lnTo>
                    <a:pt x="3854" y="3090"/>
                  </a:lnTo>
                  <a:lnTo>
                    <a:pt x="3856" y="3090"/>
                  </a:lnTo>
                  <a:lnTo>
                    <a:pt x="3860" y="3086"/>
                  </a:lnTo>
                  <a:lnTo>
                    <a:pt x="3864" y="3080"/>
                  </a:lnTo>
                  <a:lnTo>
                    <a:pt x="3866" y="3078"/>
                  </a:lnTo>
                  <a:lnTo>
                    <a:pt x="3872" y="3076"/>
                  </a:lnTo>
                  <a:lnTo>
                    <a:pt x="3874" y="3076"/>
                  </a:lnTo>
                  <a:lnTo>
                    <a:pt x="3876" y="3072"/>
                  </a:lnTo>
                  <a:lnTo>
                    <a:pt x="3878" y="3060"/>
                  </a:lnTo>
                  <a:lnTo>
                    <a:pt x="3880" y="3052"/>
                  </a:lnTo>
                  <a:lnTo>
                    <a:pt x="3886" y="3048"/>
                  </a:lnTo>
                  <a:lnTo>
                    <a:pt x="3890" y="3048"/>
                  </a:lnTo>
                  <a:lnTo>
                    <a:pt x="3894" y="3048"/>
                  </a:lnTo>
                  <a:lnTo>
                    <a:pt x="3898" y="3048"/>
                  </a:lnTo>
                  <a:lnTo>
                    <a:pt x="3900" y="3046"/>
                  </a:lnTo>
                  <a:lnTo>
                    <a:pt x="3898" y="3042"/>
                  </a:lnTo>
                  <a:lnTo>
                    <a:pt x="3892" y="3034"/>
                  </a:lnTo>
                  <a:lnTo>
                    <a:pt x="3888" y="3028"/>
                  </a:lnTo>
                  <a:lnTo>
                    <a:pt x="3886" y="3022"/>
                  </a:lnTo>
                  <a:lnTo>
                    <a:pt x="3884" y="3010"/>
                  </a:lnTo>
                  <a:lnTo>
                    <a:pt x="3886" y="3000"/>
                  </a:lnTo>
                  <a:lnTo>
                    <a:pt x="3892" y="2988"/>
                  </a:lnTo>
                  <a:lnTo>
                    <a:pt x="3896" y="2978"/>
                  </a:lnTo>
                  <a:lnTo>
                    <a:pt x="3902" y="2966"/>
                  </a:lnTo>
                  <a:lnTo>
                    <a:pt x="3902" y="2952"/>
                  </a:lnTo>
                  <a:lnTo>
                    <a:pt x="3900" y="2938"/>
                  </a:lnTo>
                  <a:lnTo>
                    <a:pt x="3898" y="2928"/>
                  </a:lnTo>
                  <a:lnTo>
                    <a:pt x="3898" y="2920"/>
                  </a:lnTo>
                  <a:lnTo>
                    <a:pt x="3898" y="2912"/>
                  </a:lnTo>
                  <a:lnTo>
                    <a:pt x="3900" y="2906"/>
                  </a:lnTo>
                  <a:lnTo>
                    <a:pt x="3904" y="2902"/>
                  </a:lnTo>
                  <a:lnTo>
                    <a:pt x="3908" y="2900"/>
                  </a:lnTo>
                  <a:lnTo>
                    <a:pt x="3912" y="2900"/>
                  </a:lnTo>
                  <a:lnTo>
                    <a:pt x="3918" y="2902"/>
                  </a:lnTo>
                  <a:lnTo>
                    <a:pt x="3922" y="2906"/>
                  </a:lnTo>
                  <a:lnTo>
                    <a:pt x="3924" y="2906"/>
                  </a:lnTo>
                  <a:lnTo>
                    <a:pt x="3924" y="2898"/>
                  </a:lnTo>
                  <a:lnTo>
                    <a:pt x="3924" y="2884"/>
                  </a:lnTo>
                  <a:lnTo>
                    <a:pt x="3926" y="2876"/>
                  </a:lnTo>
                  <a:lnTo>
                    <a:pt x="3930" y="2868"/>
                  </a:lnTo>
                  <a:lnTo>
                    <a:pt x="3936" y="2860"/>
                  </a:lnTo>
                  <a:lnTo>
                    <a:pt x="3940" y="2850"/>
                  </a:lnTo>
                  <a:lnTo>
                    <a:pt x="3942" y="2840"/>
                  </a:lnTo>
                  <a:lnTo>
                    <a:pt x="3944" y="2830"/>
                  </a:lnTo>
                  <a:lnTo>
                    <a:pt x="3942" y="2820"/>
                  </a:lnTo>
                  <a:lnTo>
                    <a:pt x="3940" y="2810"/>
                  </a:lnTo>
                  <a:lnTo>
                    <a:pt x="3936" y="2802"/>
                  </a:lnTo>
                  <a:lnTo>
                    <a:pt x="3932" y="2794"/>
                  </a:lnTo>
                  <a:lnTo>
                    <a:pt x="3926" y="2788"/>
                  </a:lnTo>
                  <a:lnTo>
                    <a:pt x="3922" y="2780"/>
                  </a:lnTo>
                  <a:lnTo>
                    <a:pt x="3918" y="2766"/>
                  </a:lnTo>
                  <a:lnTo>
                    <a:pt x="3918" y="2752"/>
                  </a:lnTo>
                  <a:lnTo>
                    <a:pt x="3918" y="2740"/>
                  </a:lnTo>
                  <a:close/>
                  <a:moveTo>
                    <a:pt x="3276" y="3612"/>
                  </a:moveTo>
                  <a:lnTo>
                    <a:pt x="3276" y="3612"/>
                  </a:lnTo>
                  <a:lnTo>
                    <a:pt x="3274" y="3610"/>
                  </a:lnTo>
                  <a:lnTo>
                    <a:pt x="3270" y="3612"/>
                  </a:lnTo>
                  <a:lnTo>
                    <a:pt x="3268" y="3614"/>
                  </a:lnTo>
                  <a:lnTo>
                    <a:pt x="3268" y="3618"/>
                  </a:lnTo>
                  <a:lnTo>
                    <a:pt x="3272" y="3618"/>
                  </a:lnTo>
                  <a:lnTo>
                    <a:pt x="3274" y="3618"/>
                  </a:lnTo>
                  <a:lnTo>
                    <a:pt x="3276" y="3614"/>
                  </a:lnTo>
                  <a:lnTo>
                    <a:pt x="3276" y="3612"/>
                  </a:lnTo>
                  <a:close/>
                  <a:moveTo>
                    <a:pt x="3322" y="3130"/>
                  </a:moveTo>
                  <a:lnTo>
                    <a:pt x="3322" y="3130"/>
                  </a:lnTo>
                  <a:lnTo>
                    <a:pt x="3324" y="3128"/>
                  </a:lnTo>
                  <a:lnTo>
                    <a:pt x="3322" y="3126"/>
                  </a:lnTo>
                  <a:lnTo>
                    <a:pt x="3318" y="3126"/>
                  </a:lnTo>
                  <a:lnTo>
                    <a:pt x="3316" y="3128"/>
                  </a:lnTo>
                  <a:lnTo>
                    <a:pt x="3318" y="3130"/>
                  </a:lnTo>
                  <a:lnTo>
                    <a:pt x="3320" y="3130"/>
                  </a:lnTo>
                  <a:lnTo>
                    <a:pt x="3322" y="3130"/>
                  </a:lnTo>
                  <a:close/>
                  <a:moveTo>
                    <a:pt x="3302" y="3176"/>
                  </a:moveTo>
                  <a:lnTo>
                    <a:pt x="3302" y="3176"/>
                  </a:lnTo>
                  <a:lnTo>
                    <a:pt x="3304" y="3178"/>
                  </a:lnTo>
                  <a:lnTo>
                    <a:pt x="3310" y="3178"/>
                  </a:lnTo>
                  <a:lnTo>
                    <a:pt x="3320" y="3176"/>
                  </a:lnTo>
                  <a:lnTo>
                    <a:pt x="3330" y="3170"/>
                  </a:lnTo>
                  <a:lnTo>
                    <a:pt x="3334" y="3166"/>
                  </a:lnTo>
                  <a:lnTo>
                    <a:pt x="3334" y="3162"/>
                  </a:lnTo>
                  <a:lnTo>
                    <a:pt x="3332" y="3158"/>
                  </a:lnTo>
                  <a:lnTo>
                    <a:pt x="3326" y="3158"/>
                  </a:lnTo>
                  <a:lnTo>
                    <a:pt x="3322" y="3158"/>
                  </a:lnTo>
                  <a:lnTo>
                    <a:pt x="3314" y="3160"/>
                  </a:lnTo>
                  <a:lnTo>
                    <a:pt x="3310" y="3164"/>
                  </a:lnTo>
                  <a:lnTo>
                    <a:pt x="3304" y="3166"/>
                  </a:lnTo>
                  <a:lnTo>
                    <a:pt x="3302" y="3172"/>
                  </a:lnTo>
                  <a:lnTo>
                    <a:pt x="3302" y="3176"/>
                  </a:lnTo>
                  <a:close/>
                  <a:moveTo>
                    <a:pt x="3372" y="3542"/>
                  </a:moveTo>
                  <a:lnTo>
                    <a:pt x="3372" y="3542"/>
                  </a:lnTo>
                  <a:lnTo>
                    <a:pt x="3374" y="3538"/>
                  </a:lnTo>
                  <a:lnTo>
                    <a:pt x="3376" y="3534"/>
                  </a:lnTo>
                  <a:lnTo>
                    <a:pt x="3386" y="3520"/>
                  </a:lnTo>
                  <a:lnTo>
                    <a:pt x="3392" y="3512"/>
                  </a:lnTo>
                  <a:lnTo>
                    <a:pt x="3394" y="3508"/>
                  </a:lnTo>
                  <a:lnTo>
                    <a:pt x="3390" y="3508"/>
                  </a:lnTo>
                  <a:lnTo>
                    <a:pt x="3384" y="3512"/>
                  </a:lnTo>
                  <a:lnTo>
                    <a:pt x="3374" y="3522"/>
                  </a:lnTo>
                  <a:lnTo>
                    <a:pt x="3370" y="3528"/>
                  </a:lnTo>
                  <a:lnTo>
                    <a:pt x="3366" y="3538"/>
                  </a:lnTo>
                  <a:lnTo>
                    <a:pt x="3366" y="3544"/>
                  </a:lnTo>
                  <a:lnTo>
                    <a:pt x="3368" y="3546"/>
                  </a:lnTo>
                  <a:lnTo>
                    <a:pt x="3372" y="3544"/>
                  </a:lnTo>
                  <a:lnTo>
                    <a:pt x="3372" y="3542"/>
                  </a:lnTo>
                  <a:close/>
                  <a:moveTo>
                    <a:pt x="3932" y="2136"/>
                  </a:moveTo>
                  <a:lnTo>
                    <a:pt x="3932" y="2136"/>
                  </a:lnTo>
                  <a:lnTo>
                    <a:pt x="3930" y="2138"/>
                  </a:lnTo>
                  <a:lnTo>
                    <a:pt x="3932" y="2138"/>
                  </a:lnTo>
                  <a:lnTo>
                    <a:pt x="3936" y="2142"/>
                  </a:lnTo>
                  <a:lnTo>
                    <a:pt x="3942" y="2150"/>
                  </a:lnTo>
                  <a:lnTo>
                    <a:pt x="3950" y="2162"/>
                  </a:lnTo>
                  <a:lnTo>
                    <a:pt x="3952" y="2168"/>
                  </a:lnTo>
                  <a:lnTo>
                    <a:pt x="3952" y="2174"/>
                  </a:lnTo>
                  <a:lnTo>
                    <a:pt x="3948" y="2186"/>
                  </a:lnTo>
                  <a:lnTo>
                    <a:pt x="3944" y="2198"/>
                  </a:lnTo>
                  <a:lnTo>
                    <a:pt x="3944" y="2206"/>
                  </a:lnTo>
                  <a:lnTo>
                    <a:pt x="3946" y="2214"/>
                  </a:lnTo>
                  <a:lnTo>
                    <a:pt x="3948" y="2224"/>
                  </a:lnTo>
                  <a:lnTo>
                    <a:pt x="3948" y="2236"/>
                  </a:lnTo>
                  <a:lnTo>
                    <a:pt x="3948" y="2266"/>
                  </a:lnTo>
                  <a:lnTo>
                    <a:pt x="3944" y="2294"/>
                  </a:lnTo>
                  <a:lnTo>
                    <a:pt x="3940" y="2304"/>
                  </a:lnTo>
                  <a:lnTo>
                    <a:pt x="3938" y="2312"/>
                  </a:lnTo>
                  <a:lnTo>
                    <a:pt x="3936" y="2316"/>
                  </a:lnTo>
                  <a:lnTo>
                    <a:pt x="3938" y="2320"/>
                  </a:lnTo>
                  <a:lnTo>
                    <a:pt x="3944" y="2330"/>
                  </a:lnTo>
                  <a:lnTo>
                    <a:pt x="3946" y="2336"/>
                  </a:lnTo>
                  <a:lnTo>
                    <a:pt x="3948" y="2344"/>
                  </a:lnTo>
                  <a:lnTo>
                    <a:pt x="3946" y="2356"/>
                  </a:lnTo>
                  <a:lnTo>
                    <a:pt x="3942" y="2370"/>
                  </a:lnTo>
                  <a:lnTo>
                    <a:pt x="3940" y="2378"/>
                  </a:lnTo>
                  <a:lnTo>
                    <a:pt x="3940" y="2386"/>
                  </a:lnTo>
                  <a:lnTo>
                    <a:pt x="3942" y="2400"/>
                  </a:lnTo>
                  <a:lnTo>
                    <a:pt x="3944" y="2412"/>
                  </a:lnTo>
                  <a:lnTo>
                    <a:pt x="3944" y="2418"/>
                  </a:lnTo>
                  <a:lnTo>
                    <a:pt x="3940" y="2424"/>
                  </a:lnTo>
                  <a:lnTo>
                    <a:pt x="3936" y="2436"/>
                  </a:lnTo>
                  <a:lnTo>
                    <a:pt x="3934" y="2444"/>
                  </a:lnTo>
                  <a:lnTo>
                    <a:pt x="3936" y="2454"/>
                  </a:lnTo>
                  <a:lnTo>
                    <a:pt x="3938" y="2468"/>
                  </a:lnTo>
                  <a:lnTo>
                    <a:pt x="3942" y="2478"/>
                  </a:lnTo>
                  <a:lnTo>
                    <a:pt x="3944" y="2478"/>
                  </a:lnTo>
                  <a:lnTo>
                    <a:pt x="3946" y="2478"/>
                  </a:lnTo>
                  <a:lnTo>
                    <a:pt x="3950" y="2470"/>
                  </a:lnTo>
                  <a:lnTo>
                    <a:pt x="3954" y="2456"/>
                  </a:lnTo>
                  <a:lnTo>
                    <a:pt x="3958" y="2442"/>
                  </a:lnTo>
                  <a:lnTo>
                    <a:pt x="3962" y="2434"/>
                  </a:lnTo>
                  <a:lnTo>
                    <a:pt x="3966" y="2432"/>
                  </a:lnTo>
                  <a:lnTo>
                    <a:pt x="3968" y="2432"/>
                  </a:lnTo>
                  <a:lnTo>
                    <a:pt x="3972" y="2434"/>
                  </a:lnTo>
                  <a:lnTo>
                    <a:pt x="3976" y="2438"/>
                  </a:lnTo>
                  <a:lnTo>
                    <a:pt x="3980" y="2440"/>
                  </a:lnTo>
                  <a:lnTo>
                    <a:pt x="3984" y="2438"/>
                  </a:lnTo>
                  <a:lnTo>
                    <a:pt x="3990" y="2440"/>
                  </a:lnTo>
                  <a:lnTo>
                    <a:pt x="3994" y="2442"/>
                  </a:lnTo>
                  <a:lnTo>
                    <a:pt x="3996" y="2446"/>
                  </a:lnTo>
                  <a:lnTo>
                    <a:pt x="3998" y="2456"/>
                  </a:lnTo>
                  <a:lnTo>
                    <a:pt x="4000" y="2464"/>
                  </a:lnTo>
                  <a:lnTo>
                    <a:pt x="4000" y="2466"/>
                  </a:lnTo>
                  <a:lnTo>
                    <a:pt x="4002" y="2466"/>
                  </a:lnTo>
                  <a:lnTo>
                    <a:pt x="4006" y="2454"/>
                  </a:lnTo>
                  <a:lnTo>
                    <a:pt x="4006" y="2448"/>
                  </a:lnTo>
                  <a:lnTo>
                    <a:pt x="4004" y="2444"/>
                  </a:lnTo>
                  <a:lnTo>
                    <a:pt x="4002" y="2434"/>
                  </a:lnTo>
                  <a:lnTo>
                    <a:pt x="4002" y="2426"/>
                  </a:lnTo>
                  <a:lnTo>
                    <a:pt x="3998" y="2426"/>
                  </a:lnTo>
                  <a:lnTo>
                    <a:pt x="3992" y="2426"/>
                  </a:lnTo>
                  <a:lnTo>
                    <a:pt x="3990" y="2422"/>
                  </a:lnTo>
                  <a:lnTo>
                    <a:pt x="3986" y="2420"/>
                  </a:lnTo>
                  <a:lnTo>
                    <a:pt x="3984" y="2410"/>
                  </a:lnTo>
                  <a:lnTo>
                    <a:pt x="3980" y="2400"/>
                  </a:lnTo>
                  <a:lnTo>
                    <a:pt x="3976" y="2394"/>
                  </a:lnTo>
                  <a:lnTo>
                    <a:pt x="3972" y="2390"/>
                  </a:lnTo>
                  <a:lnTo>
                    <a:pt x="3966" y="2382"/>
                  </a:lnTo>
                  <a:lnTo>
                    <a:pt x="3964" y="2372"/>
                  </a:lnTo>
                  <a:lnTo>
                    <a:pt x="3964" y="2362"/>
                  </a:lnTo>
                  <a:lnTo>
                    <a:pt x="3964" y="2350"/>
                  </a:lnTo>
                  <a:lnTo>
                    <a:pt x="3970" y="2328"/>
                  </a:lnTo>
                  <a:lnTo>
                    <a:pt x="3978" y="2314"/>
                  </a:lnTo>
                  <a:lnTo>
                    <a:pt x="3980" y="2308"/>
                  </a:lnTo>
                  <a:lnTo>
                    <a:pt x="3982" y="2304"/>
                  </a:lnTo>
                  <a:lnTo>
                    <a:pt x="3982" y="2294"/>
                  </a:lnTo>
                  <a:lnTo>
                    <a:pt x="3984" y="2290"/>
                  </a:lnTo>
                  <a:lnTo>
                    <a:pt x="3984" y="2288"/>
                  </a:lnTo>
                  <a:lnTo>
                    <a:pt x="3988" y="2284"/>
                  </a:lnTo>
                  <a:lnTo>
                    <a:pt x="3994" y="2282"/>
                  </a:lnTo>
                  <a:lnTo>
                    <a:pt x="4004" y="2280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6" y="2294"/>
                  </a:lnTo>
                  <a:lnTo>
                    <a:pt x="4048" y="2314"/>
                  </a:lnTo>
                  <a:lnTo>
                    <a:pt x="4052" y="2316"/>
                  </a:lnTo>
                  <a:lnTo>
                    <a:pt x="4052" y="2312"/>
                  </a:lnTo>
                  <a:lnTo>
                    <a:pt x="4048" y="2302"/>
                  </a:lnTo>
                  <a:lnTo>
                    <a:pt x="4040" y="2294"/>
                  </a:lnTo>
                  <a:lnTo>
                    <a:pt x="4034" y="2282"/>
                  </a:lnTo>
                  <a:lnTo>
                    <a:pt x="4032" y="2276"/>
                  </a:lnTo>
                  <a:lnTo>
                    <a:pt x="4030" y="2268"/>
                  </a:lnTo>
                  <a:lnTo>
                    <a:pt x="4026" y="2252"/>
                  </a:lnTo>
                  <a:lnTo>
                    <a:pt x="4020" y="2234"/>
                  </a:lnTo>
                  <a:lnTo>
                    <a:pt x="4012" y="2214"/>
                  </a:lnTo>
                  <a:lnTo>
                    <a:pt x="4010" y="2206"/>
                  </a:lnTo>
                  <a:lnTo>
                    <a:pt x="4010" y="2196"/>
                  </a:lnTo>
                  <a:lnTo>
                    <a:pt x="4008" y="2180"/>
                  </a:lnTo>
                  <a:lnTo>
                    <a:pt x="4004" y="2168"/>
                  </a:lnTo>
                  <a:lnTo>
                    <a:pt x="4002" y="2158"/>
                  </a:lnTo>
                  <a:lnTo>
                    <a:pt x="3998" y="2148"/>
                  </a:lnTo>
                  <a:lnTo>
                    <a:pt x="3998" y="2144"/>
                  </a:lnTo>
                  <a:lnTo>
                    <a:pt x="3994" y="2146"/>
                  </a:lnTo>
                  <a:lnTo>
                    <a:pt x="3992" y="2146"/>
                  </a:lnTo>
                  <a:lnTo>
                    <a:pt x="3992" y="2138"/>
                  </a:lnTo>
                  <a:lnTo>
                    <a:pt x="3994" y="2128"/>
                  </a:lnTo>
                  <a:lnTo>
                    <a:pt x="3992" y="2128"/>
                  </a:lnTo>
                  <a:lnTo>
                    <a:pt x="3990" y="2128"/>
                  </a:lnTo>
                  <a:lnTo>
                    <a:pt x="3988" y="2124"/>
                  </a:lnTo>
                  <a:lnTo>
                    <a:pt x="3988" y="2116"/>
                  </a:lnTo>
                  <a:lnTo>
                    <a:pt x="3988" y="2108"/>
                  </a:lnTo>
                  <a:lnTo>
                    <a:pt x="3992" y="2096"/>
                  </a:lnTo>
                  <a:lnTo>
                    <a:pt x="3994" y="2090"/>
                  </a:lnTo>
                  <a:lnTo>
                    <a:pt x="3996" y="2082"/>
                  </a:lnTo>
                  <a:lnTo>
                    <a:pt x="3996" y="2072"/>
                  </a:lnTo>
                  <a:lnTo>
                    <a:pt x="3994" y="2058"/>
                  </a:lnTo>
                  <a:lnTo>
                    <a:pt x="3990" y="2042"/>
                  </a:lnTo>
                  <a:lnTo>
                    <a:pt x="3988" y="2036"/>
                  </a:lnTo>
                  <a:lnTo>
                    <a:pt x="3986" y="2034"/>
                  </a:lnTo>
                  <a:lnTo>
                    <a:pt x="3988" y="2032"/>
                  </a:lnTo>
                  <a:lnTo>
                    <a:pt x="3988" y="2028"/>
                  </a:lnTo>
                  <a:lnTo>
                    <a:pt x="3986" y="2026"/>
                  </a:lnTo>
                  <a:lnTo>
                    <a:pt x="3984" y="2026"/>
                  </a:lnTo>
                  <a:lnTo>
                    <a:pt x="3982" y="2022"/>
                  </a:lnTo>
                  <a:lnTo>
                    <a:pt x="3982" y="2014"/>
                  </a:lnTo>
                  <a:lnTo>
                    <a:pt x="3978" y="2010"/>
                  </a:lnTo>
                  <a:lnTo>
                    <a:pt x="3978" y="2006"/>
                  </a:lnTo>
                  <a:lnTo>
                    <a:pt x="3980" y="2000"/>
                  </a:lnTo>
                  <a:lnTo>
                    <a:pt x="3984" y="1994"/>
                  </a:lnTo>
                  <a:lnTo>
                    <a:pt x="3982" y="1988"/>
                  </a:lnTo>
                  <a:lnTo>
                    <a:pt x="3978" y="1984"/>
                  </a:lnTo>
                  <a:lnTo>
                    <a:pt x="3974" y="1976"/>
                  </a:lnTo>
                  <a:lnTo>
                    <a:pt x="3970" y="1972"/>
                  </a:lnTo>
                  <a:lnTo>
                    <a:pt x="3970" y="1974"/>
                  </a:lnTo>
                  <a:lnTo>
                    <a:pt x="3966" y="1978"/>
                  </a:lnTo>
                  <a:lnTo>
                    <a:pt x="3962" y="1980"/>
                  </a:lnTo>
                  <a:lnTo>
                    <a:pt x="3958" y="1982"/>
                  </a:lnTo>
                  <a:lnTo>
                    <a:pt x="3954" y="1982"/>
                  </a:lnTo>
                  <a:lnTo>
                    <a:pt x="3954" y="1984"/>
                  </a:lnTo>
                  <a:lnTo>
                    <a:pt x="3960" y="1990"/>
                  </a:lnTo>
                  <a:lnTo>
                    <a:pt x="3966" y="1998"/>
                  </a:lnTo>
                  <a:lnTo>
                    <a:pt x="3968" y="2004"/>
                  </a:lnTo>
                  <a:lnTo>
                    <a:pt x="3970" y="2008"/>
                  </a:lnTo>
                  <a:lnTo>
                    <a:pt x="3966" y="2016"/>
                  </a:lnTo>
                  <a:lnTo>
                    <a:pt x="3964" y="2018"/>
                  </a:lnTo>
                  <a:lnTo>
                    <a:pt x="3962" y="2018"/>
                  </a:lnTo>
                  <a:lnTo>
                    <a:pt x="3960" y="2020"/>
                  </a:lnTo>
                  <a:lnTo>
                    <a:pt x="3960" y="2024"/>
                  </a:lnTo>
                  <a:lnTo>
                    <a:pt x="3962" y="2024"/>
                  </a:lnTo>
                  <a:lnTo>
                    <a:pt x="3964" y="2026"/>
                  </a:lnTo>
                  <a:lnTo>
                    <a:pt x="3966" y="2028"/>
                  </a:lnTo>
                  <a:lnTo>
                    <a:pt x="3966" y="2030"/>
                  </a:lnTo>
                  <a:lnTo>
                    <a:pt x="3962" y="2034"/>
                  </a:lnTo>
                  <a:lnTo>
                    <a:pt x="3958" y="2038"/>
                  </a:lnTo>
                  <a:lnTo>
                    <a:pt x="3954" y="2038"/>
                  </a:lnTo>
                  <a:lnTo>
                    <a:pt x="3954" y="2036"/>
                  </a:lnTo>
                  <a:lnTo>
                    <a:pt x="3952" y="2034"/>
                  </a:lnTo>
                  <a:lnTo>
                    <a:pt x="3952" y="2030"/>
                  </a:lnTo>
                  <a:lnTo>
                    <a:pt x="3950" y="2028"/>
                  </a:lnTo>
                  <a:lnTo>
                    <a:pt x="3946" y="2030"/>
                  </a:lnTo>
                  <a:lnTo>
                    <a:pt x="3940" y="2032"/>
                  </a:lnTo>
                  <a:lnTo>
                    <a:pt x="3936" y="2034"/>
                  </a:lnTo>
                  <a:lnTo>
                    <a:pt x="3932" y="2036"/>
                  </a:lnTo>
                  <a:lnTo>
                    <a:pt x="3934" y="2044"/>
                  </a:lnTo>
                  <a:lnTo>
                    <a:pt x="3936" y="2054"/>
                  </a:lnTo>
                  <a:lnTo>
                    <a:pt x="3938" y="2066"/>
                  </a:lnTo>
                  <a:lnTo>
                    <a:pt x="3936" y="2078"/>
                  </a:lnTo>
                  <a:lnTo>
                    <a:pt x="3930" y="2090"/>
                  </a:lnTo>
                  <a:lnTo>
                    <a:pt x="3928" y="2098"/>
                  </a:lnTo>
                  <a:lnTo>
                    <a:pt x="3928" y="2104"/>
                  </a:lnTo>
                  <a:lnTo>
                    <a:pt x="3930" y="2108"/>
                  </a:lnTo>
                  <a:lnTo>
                    <a:pt x="3928" y="2118"/>
                  </a:lnTo>
                  <a:lnTo>
                    <a:pt x="3926" y="2124"/>
                  </a:lnTo>
                  <a:lnTo>
                    <a:pt x="3928" y="2128"/>
                  </a:lnTo>
                  <a:lnTo>
                    <a:pt x="3930" y="2132"/>
                  </a:lnTo>
                  <a:lnTo>
                    <a:pt x="3934" y="2134"/>
                  </a:lnTo>
                  <a:lnTo>
                    <a:pt x="3934" y="2136"/>
                  </a:lnTo>
                  <a:lnTo>
                    <a:pt x="3932" y="2136"/>
                  </a:lnTo>
                  <a:close/>
                  <a:moveTo>
                    <a:pt x="4070" y="2610"/>
                  </a:moveTo>
                  <a:lnTo>
                    <a:pt x="4070" y="2610"/>
                  </a:lnTo>
                  <a:lnTo>
                    <a:pt x="4068" y="2602"/>
                  </a:lnTo>
                  <a:lnTo>
                    <a:pt x="4068" y="2594"/>
                  </a:lnTo>
                  <a:lnTo>
                    <a:pt x="4070" y="2586"/>
                  </a:lnTo>
                  <a:lnTo>
                    <a:pt x="4072" y="2580"/>
                  </a:lnTo>
                  <a:lnTo>
                    <a:pt x="4078" y="2572"/>
                  </a:lnTo>
                  <a:lnTo>
                    <a:pt x="4078" y="2570"/>
                  </a:lnTo>
                  <a:lnTo>
                    <a:pt x="4076" y="2568"/>
                  </a:lnTo>
                  <a:lnTo>
                    <a:pt x="4072" y="2570"/>
                  </a:lnTo>
                  <a:lnTo>
                    <a:pt x="4068" y="2572"/>
                  </a:lnTo>
                  <a:lnTo>
                    <a:pt x="4062" y="2582"/>
                  </a:lnTo>
                  <a:lnTo>
                    <a:pt x="4054" y="2590"/>
                  </a:lnTo>
                  <a:lnTo>
                    <a:pt x="4050" y="2592"/>
                  </a:lnTo>
                  <a:lnTo>
                    <a:pt x="4044" y="2592"/>
                  </a:lnTo>
                  <a:lnTo>
                    <a:pt x="4040" y="2592"/>
                  </a:lnTo>
                  <a:lnTo>
                    <a:pt x="4038" y="2590"/>
                  </a:lnTo>
                  <a:lnTo>
                    <a:pt x="4036" y="2586"/>
                  </a:lnTo>
                  <a:lnTo>
                    <a:pt x="4034" y="2582"/>
                  </a:lnTo>
                  <a:lnTo>
                    <a:pt x="4032" y="2580"/>
                  </a:lnTo>
                  <a:lnTo>
                    <a:pt x="4028" y="2578"/>
                  </a:lnTo>
                  <a:lnTo>
                    <a:pt x="4022" y="2578"/>
                  </a:lnTo>
                  <a:lnTo>
                    <a:pt x="4012" y="2576"/>
                  </a:lnTo>
                  <a:lnTo>
                    <a:pt x="4004" y="2570"/>
                  </a:lnTo>
                  <a:lnTo>
                    <a:pt x="3994" y="2562"/>
                  </a:lnTo>
                  <a:lnTo>
                    <a:pt x="3984" y="2554"/>
                  </a:lnTo>
                  <a:lnTo>
                    <a:pt x="3966" y="2534"/>
                  </a:lnTo>
                  <a:lnTo>
                    <a:pt x="3952" y="2516"/>
                  </a:lnTo>
                  <a:lnTo>
                    <a:pt x="3946" y="2510"/>
                  </a:lnTo>
                  <a:lnTo>
                    <a:pt x="3940" y="2506"/>
                  </a:lnTo>
                  <a:lnTo>
                    <a:pt x="3934" y="2504"/>
                  </a:lnTo>
                  <a:lnTo>
                    <a:pt x="3930" y="2504"/>
                  </a:lnTo>
                  <a:lnTo>
                    <a:pt x="3926" y="2508"/>
                  </a:lnTo>
                  <a:lnTo>
                    <a:pt x="3924" y="2512"/>
                  </a:lnTo>
                  <a:lnTo>
                    <a:pt x="3924" y="2520"/>
                  </a:lnTo>
                  <a:lnTo>
                    <a:pt x="3928" y="2530"/>
                  </a:lnTo>
                  <a:lnTo>
                    <a:pt x="3932" y="2540"/>
                  </a:lnTo>
                  <a:lnTo>
                    <a:pt x="3932" y="2546"/>
                  </a:lnTo>
                  <a:lnTo>
                    <a:pt x="3932" y="2552"/>
                  </a:lnTo>
                  <a:lnTo>
                    <a:pt x="3930" y="2556"/>
                  </a:lnTo>
                  <a:lnTo>
                    <a:pt x="3928" y="2564"/>
                  </a:lnTo>
                  <a:lnTo>
                    <a:pt x="3926" y="2568"/>
                  </a:lnTo>
                  <a:lnTo>
                    <a:pt x="3928" y="2574"/>
                  </a:lnTo>
                  <a:lnTo>
                    <a:pt x="3928" y="2580"/>
                  </a:lnTo>
                  <a:lnTo>
                    <a:pt x="3928" y="2584"/>
                  </a:lnTo>
                  <a:lnTo>
                    <a:pt x="3922" y="2594"/>
                  </a:lnTo>
                  <a:lnTo>
                    <a:pt x="3918" y="2602"/>
                  </a:lnTo>
                  <a:lnTo>
                    <a:pt x="3916" y="2606"/>
                  </a:lnTo>
                  <a:lnTo>
                    <a:pt x="3916" y="2610"/>
                  </a:lnTo>
                  <a:lnTo>
                    <a:pt x="3918" y="2620"/>
                  </a:lnTo>
                  <a:lnTo>
                    <a:pt x="3918" y="2630"/>
                  </a:lnTo>
                  <a:lnTo>
                    <a:pt x="3914" y="2634"/>
                  </a:lnTo>
                  <a:lnTo>
                    <a:pt x="3912" y="2636"/>
                  </a:lnTo>
                  <a:lnTo>
                    <a:pt x="3906" y="2636"/>
                  </a:lnTo>
                  <a:lnTo>
                    <a:pt x="3900" y="2632"/>
                  </a:lnTo>
                  <a:lnTo>
                    <a:pt x="3886" y="2626"/>
                  </a:lnTo>
                  <a:lnTo>
                    <a:pt x="3876" y="2624"/>
                  </a:lnTo>
                  <a:lnTo>
                    <a:pt x="3874" y="2624"/>
                  </a:lnTo>
                  <a:lnTo>
                    <a:pt x="3872" y="2628"/>
                  </a:lnTo>
                  <a:lnTo>
                    <a:pt x="3874" y="2630"/>
                  </a:lnTo>
                  <a:lnTo>
                    <a:pt x="3878" y="2636"/>
                  </a:lnTo>
                  <a:lnTo>
                    <a:pt x="3880" y="2640"/>
                  </a:lnTo>
                  <a:lnTo>
                    <a:pt x="3880" y="2642"/>
                  </a:lnTo>
                  <a:lnTo>
                    <a:pt x="3878" y="2648"/>
                  </a:lnTo>
                  <a:lnTo>
                    <a:pt x="3872" y="2656"/>
                  </a:lnTo>
                  <a:lnTo>
                    <a:pt x="3866" y="2662"/>
                  </a:lnTo>
                  <a:lnTo>
                    <a:pt x="3858" y="2670"/>
                  </a:lnTo>
                  <a:lnTo>
                    <a:pt x="3854" y="2676"/>
                  </a:lnTo>
                  <a:lnTo>
                    <a:pt x="3852" y="2680"/>
                  </a:lnTo>
                  <a:lnTo>
                    <a:pt x="3852" y="2682"/>
                  </a:lnTo>
                  <a:lnTo>
                    <a:pt x="3854" y="2686"/>
                  </a:lnTo>
                  <a:lnTo>
                    <a:pt x="3856" y="2690"/>
                  </a:lnTo>
                  <a:lnTo>
                    <a:pt x="3862" y="2694"/>
                  </a:lnTo>
                  <a:lnTo>
                    <a:pt x="3866" y="2700"/>
                  </a:lnTo>
                  <a:lnTo>
                    <a:pt x="3866" y="2706"/>
                  </a:lnTo>
                  <a:lnTo>
                    <a:pt x="3864" y="2710"/>
                  </a:lnTo>
                  <a:lnTo>
                    <a:pt x="3860" y="2722"/>
                  </a:lnTo>
                  <a:lnTo>
                    <a:pt x="3862" y="2726"/>
                  </a:lnTo>
                  <a:lnTo>
                    <a:pt x="3864" y="2732"/>
                  </a:lnTo>
                  <a:lnTo>
                    <a:pt x="3866" y="2734"/>
                  </a:lnTo>
                  <a:lnTo>
                    <a:pt x="3870" y="2736"/>
                  </a:lnTo>
                  <a:lnTo>
                    <a:pt x="3874" y="2732"/>
                  </a:lnTo>
                  <a:lnTo>
                    <a:pt x="3880" y="2720"/>
                  </a:lnTo>
                  <a:lnTo>
                    <a:pt x="3884" y="2712"/>
                  </a:lnTo>
                  <a:lnTo>
                    <a:pt x="3888" y="2710"/>
                  </a:lnTo>
                  <a:lnTo>
                    <a:pt x="3890" y="2712"/>
                  </a:lnTo>
                  <a:lnTo>
                    <a:pt x="3896" y="2714"/>
                  </a:lnTo>
                  <a:lnTo>
                    <a:pt x="3900" y="2714"/>
                  </a:lnTo>
                  <a:lnTo>
                    <a:pt x="3908" y="2712"/>
                  </a:lnTo>
                  <a:lnTo>
                    <a:pt x="3912" y="2710"/>
                  </a:lnTo>
                  <a:lnTo>
                    <a:pt x="3910" y="2706"/>
                  </a:lnTo>
                  <a:lnTo>
                    <a:pt x="3894" y="2698"/>
                  </a:lnTo>
                  <a:lnTo>
                    <a:pt x="3886" y="2692"/>
                  </a:lnTo>
                  <a:lnTo>
                    <a:pt x="3878" y="2686"/>
                  </a:lnTo>
                  <a:lnTo>
                    <a:pt x="3874" y="2680"/>
                  </a:lnTo>
                  <a:lnTo>
                    <a:pt x="3874" y="2676"/>
                  </a:lnTo>
                  <a:lnTo>
                    <a:pt x="3876" y="2672"/>
                  </a:lnTo>
                  <a:lnTo>
                    <a:pt x="3882" y="2666"/>
                  </a:lnTo>
                  <a:lnTo>
                    <a:pt x="3886" y="2666"/>
                  </a:lnTo>
                  <a:lnTo>
                    <a:pt x="3888" y="2668"/>
                  </a:lnTo>
                  <a:lnTo>
                    <a:pt x="3892" y="2670"/>
                  </a:lnTo>
                  <a:lnTo>
                    <a:pt x="3896" y="2674"/>
                  </a:lnTo>
                  <a:lnTo>
                    <a:pt x="3900" y="2676"/>
                  </a:lnTo>
                  <a:lnTo>
                    <a:pt x="3906" y="2676"/>
                  </a:lnTo>
                  <a:lnTo>
                    <a:pt x="3912" y="2674"/>
                  </a:lnTo>
                  <a:lnTo>
                    <a:pt x="3918" y="2670"/>
                  </a:lnTo>
                  <a:lnTo>
                    <a:pt x="3924" y="2668"/>
                  </a:lnTo>
                  <a:lnTo>
                    <a:pt x="3930" y="2666"/>
                  </a:lnTo>
                  <a:lnTo>
                    <a:pt x="3936" y="2668"/>
                  </a:lnTo>
                  <a:lnTo>
                    <a:pt x="3954" y="2678"/>
                  </a:lnTo>
                  <a:lnTo>
                    <a:pt x="3984" y="2698"/>
                  </a:lnTo>
                  <a:lnTo>
                    <a:pt x="3992" y="2700"/>
                  </a:lnTo>
                  <a:lnTo>
                    <a:pt x="3996" y="2698"/>
                  </a:lnTo>
                  <a:lnTo>
                    <a:pt x="4000" y="2692"/>
                  </a:lnTo>
                  <a:lnTo>
                    <a:pt x="4002" y="2684"/>
                  </a:lnTo>
                  <a:lnTo>
                    <a:pt x="4008" y="2664"/>
                  </a:lnTo>
                  <a:lnTo>
                    <a:pt x="4012" y="2656"/>
                  </a:lnTo>
                  <a:lnTo>
                    <a:pt x="4018" y="2652"/>
                  </a:lnTo>
                  <a:lnTo>
                    <a:pt x="4030" y="2648"/>
                  </a:lnTo>
                  <a:lnTo>
                    <a:pt x="4042" y="2646"/>
                  </a:lnTo>
                  <a:lnTo>
                    <a:pt x="4054" y="2644"/>
                  </a:lnTo>
                  <a:lnTo>
                    <a:pt x="4068" y="2640"/>
                  </a:lnTo>
                  <a:lnTo>
                    <a:pt x="4090" y="2630"/>
                  </a:lnTo>
                  <a:lnTo>
                    <a:pt x="4096" y="2626"/>
                  </a:lnTo>
                  <a:lnTo>
                    <a:pt x="4096" y="2624"/>
                  </a:lnTo>
                  <a:lnTo>
                    <a:pt x="4094" y="2622"/>
                  </a:lnTo>
                  <a:lnTo>
                    <a:pt x="4092" y="2620"/>
                  </a:lnTo>
                  <a:lnTo>
                    <a:pt x="4090" y="2620"/>
                  </a:lnTo>
                  <a:lnTo>
                    <a:pt x="4084" y="2622"/>
                  </a:lnTo>
                  <a:lnTo>
                    <a:pt x="4082" y="2622"/>
                  </a:lnTo>
                  <a:lnTo>
                    <a:pt x="4078" y="2622"/>
                  </a:lnTo>
                  <a:lnTo>
                    <a:pt x="4074" y="2618"/>
                  </a:lnTo>
                  <a:lnTo>
                    <a:pt x="4070" y="2610"/>
                  </a:lnTo>
                  <a:close/>
                  <a:moveTo>
                    <a:pt x="3802" y="2924"/>
                  </a:moveTo>
                  <a:lnTo>
                    <a:pt x="3802" y="2924"/>
                  </a:lnTo>
                  <a:lnTo>
                    <a:pt x="3806" y="2916"/>
                  </a:lnTo>
                  <a:lnTo>
                    <a:pt x="3806" y="2908"/>
                  </a:lnTo>
                  <a:lnTo>
                    <a:pt x="3804" y="2906"/>
                  </a:lnTo>
                  <a:lnTo>
                    <a:pt x="3802" y="2904"/>
                  </a:lnTo>
                  <a:lnTo>
                    <a:pt x="3800" y="2906"/>
                  </a:lnTo>
                  <a:lnTo>
                    <a:pt x="3796" y="2910"/>
                  </a:lnTo>
                  <a:lnTo>
                    <a:pt x="3792" y="2914"/>
                  </a:lnTo>
                  <a:lnTo>
                    <a:pt x="3792" y="2918"/>
                  </a:lnTo>
                  <a:lnTo>
                    <a:pt x="3792" y="2922"/>
                  </a:lnTo>
                  <a:lnTo>
                    <a:pt x="3792" y="2924"/>
                  </a:lnTo>
                  <a:lnTo>
                    <a:pt x="3794" y="2926"/>
                  </a:lnTo>
                  <a:lnTo>
                    <a:pt x="3798" y="2928"/>
                  </a:lnTo>
                  <a:lnTo>
                    <a:pt x="3800" y="2926"/>
                  </a:lnTo>
                  <a:lnTo>
                    <a:pt x="3802" y="2924"/>
                  </a:lnTo>
                  <a:close/>
                  <a:moveTo>
                    <a:pt x="3594" y="3018"/>
                  </a:moveTo>
                  <a:lnTo>
                    <a:pt x="3594" y="3018"/>
                  </a:lnTo>
                  <a:lnTo>
                    <a:pt x="3596" y="3016"/>
                  </a:lnTo>
                  <a:lnTo>
                    <a:pt x="3596" y="3014"/>
                  </a:lnTo>
                  <a:lnTo>
                    <a:pt x="3594" y="3010"/>
                  </a:lnTo>
                  <a:lnTo>
                    <a:pt x="3592" y="3010"/>
                  </a:lnTo>
                  <a:lnTo>
                    <a:pt x="3590" y="3012"/>
                  </a:lnTo>
                  <a:lnTo>
                    <a:pt x="3588" y="3014"/>
                  </a:lnTo>
                  <a:lnTo>
                    <a:pt x="3590" y="3018"/>
                  </a:lnTo>
                  <a:lnTo>
                    <a:pt x="3594" y="3018"/>
                  </a:lnTo>
                  <a:close/>
                  <a:moveTo>
                    <a:pt x="3048" y="4040"/>
                  </a:moveTo>
                  <a:lnTo>
                    <a:pt x="3048" y="4040"/>
                  </a:lnTo>
                  <a:lnTo>
                    <a:pt x="3046" y="4042"/>
                  </a:lnTo>
                  <a:lnTo>
                    <a:pt x="3044" y="4044"/>
                  </a:lnTo>
                  <a:lnTo>
                    <a:pt x="3042" y="4050"/>
                  </a:lnTo>
                  <a:lnTo>
                    <a:pt x="3044" y="4056"/>
                  </a:lnTo>
                  <a:lnTo>
                    <a:pt x="3046" y="4062"/>
                  </a:lnTo>
                  <a:lnTo>
                    <a:pt x="3048" y="4064"/>
                  </a:lnTo>
                  <a:lnTo>
                    <a:pt x="3050" y="4068"/>
                  </a:lnTo>
                  <a:lnTo>
                    <a:pt x="3052" y="4098"/>
                  </a:lnTo>
                  <a:lnTo>
                    <a:pt x="3054" y="4116"/>
                  </a:lnTo>
                  <a:lnTo>
                    <a:pt x="3056" y="4120"/>
                  </a:lnTo>
                  <a:lnTo>
                    <a:pt x="3058" y="4120"/>
                  </a:lnTo>
                  <a:lnTo>
                    <a:pt x="3062" y="4120"/>
                  </a:lnTo>
                  <a:lnTo>
                    <a:pt x="3064" y="4122"/>
                  </a:lnTo>
                  <a:lnTo>
                    <a:pt x="3066" y="4126"/>
                  </a:lnTo>
                  <a:lnTo>
                    <a:pt x="3070" y="4134"/>
                  </a:lnTo>
                  <a:lnTo>
                    <a:pt x="3074" y="4138"/>
                  </a:lnTo>
                  <a:lnTo>
                    <a:pt x="3076" y="4134"/>
                  </a:lnTo>
                  <a:lnTo>
                    <a:pt x="3076" y="4128"/>
                  </a:lnTo>
                  <a:lnTo>
                    <a:pt x="3078" y="4120"/>
                  </a:lnTo>
                  <a:lnTo>
                    <a:pt x="3078" y="4118"/>
                  </a:lnTo>
                  <a:lnTo>
                    <a:pt x="3082" y="4118"/>
                  </a:lnTo>
                  <a:lnTo>
                    <a:pt x="3086" y="4122"/>
                  </a:lnTo>
                  <a:lnTo>
                    <a:pt x="3090" y="4126"/>
                  </a:lnTo>
                  <a:lnTo>
                    <a:pt x="3092" y="4130"/>
                  </a:lnTo>
                  <a:lnTo>
                    <a:pt x="3090" y="4134"/>
                  </a:lnTo>
                  <a:lnTo>
                    <a:pt x="3086" y="4140"/>
                  </a:lnTo>
                  <a:lnTo>
                    <a:pt x="3080" y="4146"/>
                  </a:lnTo>
                  <a:lnTo>
                    <a:pt x="3076" y="4156"/>
                  </a:lnTo>
                  <a:lnTo>
                    <a:pt x="3078" y="4164"/>
                  </a:lnTo>
                  <a:lnTo>
                    <a:pt x="3078" y="4166"/>
                  </a:lnTo>
                  <a:lnTo>
                    <a:pt x="3082" y="4166"/>
                  </a:lnTo>
                  <a:lnTo>
                    <a:pt x="3084" y="4164"/>
                  </a:lnTo>
                  <a:lnTo>
                    <a:pt x="3088" y="4166"/>
                  </a:lnTo>
                  <a:lnTo>
                    <a:pt x="3092" y="4170"/>
                  </a:lnTo>
                  <a:lnTo>
                    <a:pt x="3096" y="4174"/>
                  </a:lnTo>
                  <a:lnTo>
                    <a:pt x="3100" y="4176"/>
                  </a:lnTo>
                  <a:lnTo>
                    <a:pt x="3104" y="4178"/>
                  </a:lnTo>
                  <a:lnTo>
                    <a:pt x="3112" y="4176"/>
                  </a:lnTo>
                  <a:lnTo>
                    <a:pt x="3112" y="4174"/>
                  </a:lnTo>
                  <a:lnTo>
                    <a:pt x="3112" y="4168"/>
                  </a:lnTo>
                  <a:lnTo>
                    <a:pt x="3112" y="4166"/>
                  </a:lnTo>
                  <a:lnTo>
                    <a:pt x="3116" y="4164"/>
                  </a:lnTo>
                  <a:lnTo>
                    <a:pt x="3120" y="4160"/>
                  </a:lnTo>
                  <a:lnTo>
                    <a:pt x="3124" y="4160"/>
                  </a:lnTo>
                  <a:lnTo>
                    <a:pt x="3138" y="4172"/>
                  </a:lnTo>
                  <a:lnTo>
                    <a:pt x="3144" y="4176"/>
                  </a:lnTo>
                  <a:lnTo>
                    <a:pt x="3148" y="4180"/>
                  </a:lnTo>
                  <a:lnTo>
                    <a:pt x="3152" y="4188"/>
                  </a:lnTo>
                  <a:lnTo>
                    <a:pt x="3154" y="4196"/>
                  </a:lnTo>
                  <a:lnTo>
                    <a:pt x="3156" y="4198"/>
                  </a:lnTo>
                  <a:lnTo>
                    <a:pt x="3158" y="4198"/>
                  </a:lnTo>
                  <a:lnTo>
                    <a:pt x="3162" y="4198"/>
                  </a:lnTo>
                  <a:lnTo>
                    <a:pt x="3162" y="4196"/>
                  </a:lnTo>
                  <a:lnTo>
                    <a:pt x="3162" y="4188"/>
                  </a:lnTo>
                  <a:lnTo>
                    <a:pt x="3154" y="4170"/>
                  </a:lnTo>
                  <a:lnTo>
                    <a:pt x="3154" y="4166"/>
                  </a:lnTo>
                  <a:lnTo>
                    <a:pt x="3154" y="4164"/>
                  </a:lnTo>
                  <a:lnTo>
                    <a:pt x="3160" y="4164"/>
                  </a:lnTo>
                  <a:lnTo>
                    <a:pt x="3164" y="4168"/>
                  </a:lnTo>
                  <a:lnTo>
                    <a:pt x="3168" y="4174"/>
                  </a:lnTo>
                  <a:lnTo>
                    <a:pt x="3172" y="4180"/>
                  </a:lnTo>
                  <a:lnTo>
                    <a:pt x="3176" y="4182"/>
                  </a:lnTo>
                  <a:lnTo>
                    <a:pt x="3180" y="4186"/>
                  </a:lnTo>
                  <a:lnTo>
                    <a:pt x="3184" y="4192"/>
                  </a:lnTo>
                  <a:lnTo>
                    <a:pt x="3186" y="4198"/>
                  </a:lnTo>
                  <a:lnTo>
                    <a:pt x="3186" y="4202"/>
                  </a:lnTo>
                  <a:lnTo>
                    <a:pt x="3188" y="4206"/>
                  </a:lnTo>
                  <a:lnTo>
                    <a:pt x="3196" y="4210"/>
                  </a:lnTo>
                  <a:lnTo>
                    <a:pt x="3206" y="4216"/>
                  </a:lnTo>
                  <a:lnTo>
                    <a:pt x="3210" y="4218"/>
                  </a:lnTo>
                  <a:lnTo>
                    <a:pt x="3212" y="4222"/>
                  </a:lnTo>
                  <a:lnTo>
                    <a:pt x="3212" y="4228"/>
                  </a:lnTo>
                  <a:lnTo>
                    <a:pt x="3216" y="4232"/>
                  </a:lnTo>
                  <a:lnTo>
                    <a:pt x="3218" y="4230"/>
                  </a:lnTo>
                  <a:lnTo>
                    <a:pt x="3220" y="4224"/>
                  </a:lnTo>
                  <a:lnTo>
                    <a:pt x="3222" y="4216"/>
                  </a:lnTo>
                  <a:lnTo>
                    <a:pt x="3222" y="4208"/>
                  </a:lnTo>
                  <a:lnTo>
                    <a:pt x="3220" y="4204"/>
                  </a:lnTo>
                  <a:lnTo>
                    <a:pt x="3218" y="4202"/>
                  </a:lnTo>
                  <a:lnTo>
                    <a:pt x="3210" y="4200"/>
                  </a:lnTo>
                  <a:lnTo>
                    <a:pt x="3206" y="4200"/>
                  </a:lnTo>
                  <a:lnTo>
                    <a:pt x="3206" y="4196"/>
                  </a:lnTo>
                  <a:lnTo>
                    <a:pt x="3206" y="4194"/>
                  </a:lnTo>
                  <a:lnTo>
                    <a:pt x="3206" y="4192"/>
                  </a:lnTo>
                  <a:lnTo>
                    <a:pt x="3204" y="4186"/>
                  </a:lnTo>
                  <a:lnTo>
                    <a:pt x="3198" y="4182"/>
                  </a:lnTo>
                  <a:lnTo>
                    <a:pt x="3196" y="4178"/>
                  </a:lnTo>
                  <a:lnTo>
                    <a:pt x="3194" y="4174"/>
                  </a:lnTo>
                  <a:lnTo>
                    <a:pt x="3196" y="4174"/>
                  </a:lnTo>
                  <a:lnTo>
                    <a:pt x="3198" y="4174"/>
                  </a:lnTo>
                  <a:lnTo>
                    <a:pt x="3206" y="4174"/>
                  </a:lnTo>
                  <a:lnTo>
                    <a:pt x="3210" y="4172"/>
                  </a:lnTo>
                  <a:lnTo>
                    <a:pt x="3212" y="4172"/>
                  </a:lnTo>
                  <a:lnTo>
                    <a:pt x="3214" y="4168"/>
                  </a:lnTo>
                  <a:lnTo>
                    <a:pt x="3210" y="4164"/>
                  </a:lnTo>
                  <a:lnTo>
                    <a:pt x="3194" y="4156"/>
                  </a:lnTo>
                  <a:lnTo>
                    <a:pt x="3190" y="4154"/>
                  </a:lnTo>
                  <a:lnTo>
                    <a:pt x="3186" y="4156"/>
                  </a:lnTo>
                  <a:lnTo>
                    <a:pt x="3186" y="4158"/>
                  </a:lnTo>
                  <a:lnTo>
                    <a:pt x="3184" y="4162"/>
                  </a:lnTo>
                  <a:lnTo>
                    <a:pt x="3184" y="4170"/>
                  </a:lnTo>
                  <a:lnTo>
                    <a:pt x="3182" y="4172"/>
                  </a:lnTo>
                  <a:lnTo>
                    <a:pt x="3180" y="4170"/>
                  </a:lnTo>
                  <a:lnTo>
                    <a:pt x="3178" y="4168"/>
                  </a:lnTo>
                  <a:lnTo>
                    <a:pt x="3176" y="4164"/>
                  </a:lnTo>
                  <a:lnTo>
                    <a:pt x="3176" y="4158"/>
                  </a:lnTo>
                  <a:lnTo>
                    <a:pt x="3176" y="4154"/>
                  </a:lnTo>
                  <a:lnTo>
                    <a:pt x="3174" y="4150"/>
                  </a:lnTo>
                  <a:lnTo>
                    <a:pt x="3170" y="4146"/>
                  </a:lnTo>
                  <a:lnTo>
                    <a:pt x="3164" y="4142"/>
                  </a:lnTo>
                  <a:lnTo>
                    <a:pt x="3158" y="4140"/>
                  </a:lnTo>
                  <a:lnTo>
                    <a:pt x="3154" y="4140"/>
                  </a:lnTo>
                  <a:lnTo>
                    <a:pt x="3152" y="4140"/>
                  </a:lnTo>
                  <a:lnTo>
                    <a:pt x="3150" y="4142"/>
                  </a:lnTo>
                  <a:lnTo>
                    <a:pt x="3148" y="4146"/>
                  </a:lnTo>
                  <a:lnTo>
                    <a:pt x="3144" y="4146"/>
                  </a:lnTo>
                  <a:lnTo>
                    <a:pt x="3142" y="4146"/>
                  </a:lnTo>
                  <a:lnTo>
                    <a:pt x="3140" y="4148"/>
                  </a:lnTo>
                  <a:lnTo>
                    <a:pt x="3140" y="4152"/>
                  </a:lnTo>
                  <a:lnTo>
                    <a:pt x="3140" y="4158"/>
                  </a:lnTo>
                  <a:lnTo>
                    <a:pt x="3138" y="4158"/>
                  </a:lnTo>
                  <a:lnTo>
                    <a:pt x="3136" y="4158"/>
                  </a:lnTo>
                  <a:lnTo>
                    <a:pt x="3130" y="4156"/>
                  </a:lnTo>
                  <a:lnTo>
                    <a:pt x="3126" y="4152"/>
                  </a:lnTo>
                  <a:lnTo>
                    <a:pt x="3122" y="4142"/>
                  </a:lnTo>
                  <a:lnTo>
                    <a:pt x="3120" y="4132"/>
                  </a:lnTo>
                  <a:lnTo>
                    <a:pt x="3120" y="4124"/>
                  </a:lnTo>
                  <a:lnTo>
                    <a:pt x="3120" y="4120"/>
                  </a:lnTo>
                  <a:lnTo>
                    <a:pt x="3120" y="4116"/>
                  </a:lnTo>
                  <a:lnTo>
                    <a:pt x="3116" y="4104"/>
                  </a:lnTo>
                  <a:lnTo>
                    <a:pt x="3112" y="4092"/>
                  </a:lnTo>
                  <a:lnTo>
                    <a:pt x="3112" y="4086"/>
                  </a:lnTo>
                  <a:lnTo>
                    <a:pt x="3116" y="4082"/>
                  </a:lnTo>
                  <a:lnTo>
                    <a:pt x="3120" y="4072"/>
                  </a:lnTo>
                  <a:lnTo>
                    <a:pt x="3120" y="4066"/>
                  </a:lnTo>
                  <a:lnTo>
                    <a:pt x="3120" y="4062"/>
                  </a:lnTo>
                  <a:lnTo>
                    <a:pt x="3124" y="4054"/>
                  </a:lnTo>
                  <a:lnTo>
                    <a:pt x="3128" y="4052"/>
                  </a:lnTo>
                  <a:lnTo>
                    <a:pt x="3130" y="4050"/>
                  </a:lnTo>
                  <a:lnTo>
                    <a:pt x="3132" y="4052"/>
                  </a:lnTo>
                  <a:lnTo>
                    <a:pt x="3134" y="4052"/>
                  </a:lnTo>
                  <a:lnTo>
                    <a:pt x="3136" y="4056"/>
                  </a:lnTo>
                  <a:lnTo>
                    <a:pt x="3138" y="4056"/>
                  </a:lnTo>
                  <a:lnTo>
                    <a:pt x="3144" y="4046"/>
                  </a:lnTo>
                  <a:lnTo>
                    <a:pt x="3148" y="4034"/>
                  </a:lnTo>
                  <a:lnTo>
                    <a:pt x="3154" y="4008"/>
                  </a:lnTo>
                  <a:lnTo>
                    <a:pt x="3154" y="4006"/>
                  </a:lnTo>
                  <a:lnTo>
                    <a:pt x="3152" y="4002"/>
                  </a:lnTo>
                  <a:lnTo>
                    <a:pt x="3146" y="3992"/>
                  </a:lnTo>
                  <a:lnTo>
                    <a:pt x="3144" y="3986"/>
                  </a:lnTo>
                  <a:lnTo>
                    <a:pt x="3142" y="3978"/>
                  </a:lnTo>
                  <a:lnTo>
                    <a:pt x="3142" y="3970"/>
                  </a:lnTo>
                  <a:lnTo>
                    <a:pt x="3144" y="3960"/>
                  </a:lnTo>
                  <a:lnTo>
                    <a:pt x="3148" y="3944"/>
                  </a:lnTo>
                  <a:lnTo>
                    <a:pt x="3146" y="3936"/>
                  </a:lnTo>
                  <a:lnTo>
                    <a:pt x="3146" y="3934"/>
                  </a:lnTo>
                  <a:lnTo>
                    <a:pt x="3142" y="3934"/>
                  </a:lnTo>
                  <a:lnTo>
                    <a:pt x="3140" y="3936"/>
                  </a:lnTo>
                  <a:lnTo>
                    <a:pt x="3136" y="3942"/>
                  </a:lnTo>
                  <a:lnTo>
                    <a:pt x="3132" y="3946"/>
                  </a:lnTo>
                  <a:lnTo>
                    <a:pt x="3126" y="3944"/>
                  </a:lnTo>
                  <a:lnTo>
                    <a:pt x="3122" y="3942"/>
                  </a:lnTo>
                  <a:lnTo>
                    <a:pt x="3114" y="3938"/>
                  </a:lnTo>
                  <a:lnTo>
                    <a:pt x="3100" y="3930"/>
                  </a:lnTo>
                  <a:lnTo>
                    <a:pt x="3094" y="3926"/>
                  </a:lnTo>
                  <a:lnTo>
                    <a:pt x="3086" y="3928"/>
                  </a:lnTo>
                  <a:lnTo>
                    <a:pt x="3076" y="3932"/>
                  </a:lnTo>
                  <a:lnTo>
                    <a:pt x="3076" y="3936"/>
                  </a:lnTo>
                  <a:lnTo>
                    <a:pt x="3074" y="3938"/>
                  </a:lnTo>
                  <a:lnTo>
                    <a:pt x="3074" y="3946"/>
                  </a:lnTo>
                  <a:lnTo>
                    <a:pt x="3074" y="3952"/>
                  </a:lnTo>
                  <a:lnTo>
                    <a:pt x="3072" y="3958"/>
                  </a:lnTo>
                  <a:lnTo>
                    <a:pt x="3068" y="3966"/>
                  </a:lnTo>
                  <a:lnTo>
                    <a:pt x="3068" y="3972"/>
                  </a:lnTo>
                  <a:lnTo>
                    <a:pt x="3068" y="3986"/>
                  </a:lnTo>
                  <a:lnTo>
                    <a:pt x="3070" y="4000"/>
                  </a:lnTo>
                  <a:lnTo>
                    <a:pt x="3068" y="4010"/>
                  </a:lnTo>
                  <a:lnTo>
                    <a:pt x="3066" y="4018"/>
                  </a:lnTo>
                  <a:lnTo>
                    <a:pt x="3064" y="4026"/>
                  </a:lnTo>
                  <a:lnTo>
                    <a:pt x="3062" y="4032"/>
                  </a:lnTo>
                  <a:lnTo>
                    <a:pt x="3064" y="4038"/>
                  </a:lnTo>
                  <a:lnTo>
                    <a:pt x="3066" y="4040"/>
                  </a:lnTo>
                  <a:lnTo>
                    <a:pt x="3068" y="4046"/>
                  </a:lnTo>
                  <a:lnTo>
                    <a:pt x="3070" y="4050"/>
                  </a:lnTo>
                  <a:lnTo>
                    <a:pt x="3068" y="4054"/>
                  </a:lnTo>
                  <a:lnTo>
                    <a:pt x="3066" y="4058"/>
                  </a:lnTo>
                  <a:lnTo>
                    <a:pt x="3062" y="4060"/>
                  </a:lnTo>
                  <a:lnTo>
                    <a:pt x="3060" y="4056"/>
                  </a:lnTo>
                  <a:lnTo>
                    <a:pt x="3058" y="4054"/>
                  </a:lnTo>
                  <a:lnTo>
                    <a:pt x="3052" y="4044"/>
                  </a:lnTo>
                  <a:lnTo>
                    <a:pt x="3050" y="4042"/>
                  </a:lnTo>
                  <a:lnTo>
                    <a:pt x="3048" y="4040"/>
                  </a:lnTo>
                  <a:close/>
                  <a:moveTo>
                    <a:pt x="3012" y="4336"/>
                  </a:moveTo>
                  <a:lnTo>
                    <a:pt x="3012" y="4336"/>
                  </a:lnTo>
                  <a:lnTo>
                    <a:pt x="2996" y="4362"/>
                  </a:lnTo>
                  <a:lnTo>
                    <a:pt x="2978" y="4384"/>
                  </a:lnTo>
                  <a:lnTo>
                    <a:pt x="2960" y="4400"/>
                  </a:lnTo>
                  <a:lnTo>
                    <a:pt x="2950" y="4412"/>
                  </a:lnTo>
                  <a:lnTo>
                    <a:pt x="2948" y="4420"/>
                  </a:lnTo>
                  <a:lnTo>
                    <a:pt x="2944" y="4428"/>
                  </a:lnTo>
                  <a:lnTo>
                    <a:pt x="2944" y="4432"/>
                  </a:lnTo>
                  <a:lnTo>
                    <a:pt x="2946" y="4434"/>
                  </a:lnTo>
                  <a:lnTo>
                    <a:pt x="2950" y="4432"/>
                  </a:lnTo>
                  <a:lnTo>
                    <a:pt x="2954" y="4426"/>
                  </a:lnTo>
                  <a:lnTo>
                    <a:pt x="2960" y="4422"/>
                  </a:lnTo>
                  <a:lnTo>
                    <a:pt x="2968" y="4410"/>
                  </a:lnTo>
                  <a:lnTo>
                    <a:pt x="2994" y="4388"/>
                  </a:lnTo>
                  <a:lnTo>
                    <a:pt x="3002" y="4380"/>
                  </a:lnTo>
                  <a:lnTo>
                    <a:pt x="3006" y="4372"/>
                  </a:lnTo>
                  <a:lnTo>
                    <a:pt x="3008" y="4368"/>
                  </a:lnTo>
                  <a:lnTo>
                    <a:pt x="3008" y="4364"/>
                  </a:lnTo>
                  <a:lnTo>
                    <a:pt x="3010" y="4358"/>
                  </a:lnTo>
                  <a:lnTo>
                    <a:pt x="3012" y="4356"/>
                  </a:lnTo>
                  <a:lnTo>
                    <a:pt x="3016" y="4354"/>
                  </a:lnTo>
                  <a:lnTo>
                    <a:pt x="3022" y="4352"/>
                  </a:lnTo>
                  <a:lnTo>
                    <a:pt x="3024" y="4350"/>
                  </a:lnTo>
                  <a:lnTo>
                    <a:pt x="3028" y="4344"/>
                  </a:lnTo>
                  <a:lnTo>
                    <a:pt x="3030" y="4338"/>
                  </a:lnTo>
                  <a:lnTo>
                    <a:pt x="3030" y="4336"/>
                  </a:lnTo>
                  <a:lnTo>
                    <a:pt x="3034" y="4336"/>
                  </a:lnTo>
                  <a:lnTo>
                    <a:pt x="3038" y="4334"/>
                  </a:lnTo>
                  <a:lnTo>
                    <a:pt x="3042" y="4330"/>
                  </a:lnTo>
                  <a:lnTo>
                    <a:pt x="3044" y="4324"/>
                  </a:lnTo>
                  <a:lnTo>
                    <a:pt x="3042" y="4316"/>
                  </a:lnTo>
                  <a:lnTo>
                    <a:pt x="3040" y="4312"/>
                  </a:lnTo>
                  <a:lnTo>
                    <a:pt x="3040" y="4306"/>
                  </a:lnTo>
                  <a:lnTo>
                    <a:pt x="3040" y="4296"/>
                  </a:lnTo>
                  <a:lnTo>
                    <a:pt x="3040" y="4288"/>
                  </a:lnTo>
                  <a:lnTo>
                    <a:pt x="3038" y="4286"/>
                  </a:lnTo>
                  <a:lnTo>
                    <a:pt x="3036" y="4284"/>
                  </a:lnTo>
                  <a:lnTo>
                    <a:pt x="3034" y="4284"/>
                  </a:lnTo>
                  <a:lnTo>
                    <a:pt x="3032" y="4286"/>
                  </a:lnTo>
                  <a:lnTo>
                    <a:pt x="3032" y="4294"/>
                  </a:lnTo>
                  <a:lnTo>
                    <a:pt x="3030" y="4302"/>
                  </a:lnTo>
                  <a:lnTo>
                    <a:pt x="3028" y="4304"/>
                  </a:lnTo>
                  <a:lnTo>
                    <a:pt x="3026" y="4306"/>
                  </a:lnTo>
                  <a:lnTo>
                    <a:pt x="3024" y="4306"/>
                  </a:lnTo>
                  <a:lnTo>
                    <a:pt x="3024" y="4308"/>
                  </a:lnTo>
                  <a:lnTo>
                    <a:pt x="3026" y="4312"/>
                  </a:lnTo>
                  <a:lnTo>
                    <a:pt x="3028" y="4318"/>
                  </a:lnTo>
                  <a:lnTo>
                    <a:pt x="3028" y="4322"/>
                  </a:lnTo>
                  <a:lnTo>
                    <a:pt x="3026" y="4326"/>
                  </a:lnTo>
                  <a:lnTo>
                    <a:pt x="3022" y="4330"/>
                  </a:lnTo>
                  <a:lnTo>
                    <a:pt x="3020" y="4328"/>
                  </a:lnTo>
                  <a:lnTo>
                    <a:pt x="3018" y="4328"/>
                  </a:lnTo>
                  <a:lnTo>
                    <a:pt x="3012" y="4336"/>
                  </a:lnTo>
                  <a:close/>
                  <a:moveTo>
                    <a:pt x="3126" y="3596"/>
                  </a:moveTo>
                  <a:lnTo>
                    <a:pt x="3126" y="3596"/>
                  </a:lnTo>
                  <a:lnTo>
                    <a:pt x="3122" y="3592"/>
                  </a:lnTo>
                  <a:lnTo>
                    <a:pt x="3118" y="3590"/>
                  </a:lnTo>
                  <a:lnTo>
                    <a:pt x="3116" y="3590"/>
                  </a:lnTo>
                  <a:lnTo>
                    <a:pt x="3114" y="3590"/>
                  </a:lnTo>
                  <a:lnTo>
                    <a:pt x="3110" y="3594"/>
                  </a:lnTo>
                  <a:lnTo>
                    <a:pt x="3104" y="3598"/>
                  </a:lnTo>
                  <a:lnTo>
                    <a:pt x="3098" y="3600"/>
                  </a:lnTo>
                  <a:lnTo>
                    <a:pt x="3092" y="3608"/>
                  </a:lnTo>
                  <a:lnTo>
                    <a:pt x="3072" y="3644"/>
                  </a:lnTo>
                  <a:lnTo>
                    <a:pt x="3062" y="3662"/>
                  </a:lnTo>
                  <a:lnTo>
                    <a:pt x="3060" y="3678"/>
                  </a:lnTo>
                  <a:lnTo>
                    <a:pt x="3060" y="3694"/>
                  </a:lnTo>
                  <a:lnTo>
                    <a:pt x="3062" y="3712"/>
                  </a:lnTo>
                  <a:lnTo>
                    <a:pt x="3066" y="3726"/>
                  </a:lnTo>
                  <a:lnTo>
                    <a:pt x="3070" y="3730"/>
                  </a:lnTo>
                  <a:lnTo>
                    <a:pt x="3074" y="3734"/>
                  </a:lnTo>
                  <a:lnTo>
                    <a:pt x="3078" y="3742"/>
                  </a:lnTo>
                  <a:lnTo>
                    <a:pt x="3082" y="3752"/>
                  </a:lnTo>
                  <a:lnTo>
                    <a:pt x="3086" y="3762"/>
                  </a:lnTo>
                  <a:lnTo>
                    <a:pt x="3088" y="3764"/>
                  </a:lnTo>
                  <a:lnTo>
                    <a:pt x="3090" y="3762"/>
                  </a:lnTo>
                  <a:lnTo>
                    <a:pt x="3090" y="3756"/>
                  </a:lnTo>
                  <a:lnTo>
                    <a:pt x="3090" y="3748"/>
                  </a:lnTo>
                  <a:lnTo>
                    <a:pt x="3092" y="3738"/>
                  </a:lnTo>
                  <a:lnTo>
                    <a:pt x="3094" y="3730"/>
                  </a:lnTo>
                  <a:lnTo>
                    <a:pt x="3096" y="3726"/>
                  </a:lnTo>
                  <a:lnTo>
                    <a:pt x="3098" y="3722"/>
                  </a:lnTo>
                  <a:lnTo>
                    <a:pt x="3102" y="3718"/>
                  </a:lnTo>
                  <a:lnTo>
                    <a:pt x="3106" y="3712"/>
                  </a:lnTo>
                  <a:lnTo>
                    <a:pt x="3110" y="3702"/>
                  </a:lnTo>
                  <a:lnTo>
                    <a:pt x="3114" y="3690"/>
                  </a:lnTo>
                  <a:lnTo>
                    <a:pt x="3120" y="3662"/>
                  </a:lnTo>
                  <a:lnTo>
                    <a:pt x="3126" y="3644"/>
                  </a:lnTo>
                  <a:lnTo>
                    <a:pt x="3130" y="3632"/>
                  </a:lnTo>
                  <a:lnTo>
                    <a:pt x="3130" y="3628"/>
                  </a:lnTo>
                  <a:lnTo>
                    <a:pt x="3128" y="3622"/>
                  </a:lnTo>
                  <a:lnTo>
                    <a:pt x="3128" y="3618"/>
                  </a:lnTo>
                  <a:lnTo>
                    <a:pt x="3128" y="3614"/>
                  </a:lnTo>
                  <a:lnTo>
                    <a:pt x="3130" y="3610"/>
                  </a:lnTo>
                  <a:lnTo>
                    <a:pt x="3132" y="3608"/>
                  </a:lnTo>
                  <a:lnTo>
                    <a:pt x="3132" y="3604"/>
                  </a:lnTo>
                  <a:lnTo>
                    <a:pt x="3130" y="3600"/>
                  </a:lnTo>
                  <a:lnTo>
                    <a:pt x="3126" y="3596"/>
                  </a:lnTo>
                  <a:close/>
                  <a:moveTo>
                    <a:pt x="4186" y="2510"/>
                  </a:moveTo>
                  <a:lnTo>
                    <a:pt x="4186" y="2510"/>
                  </a:lnTo>
                  <a:lnTo>
                    <a:pt x="4182" y="2506"/>
                  </a:lnTo>
                  <a:lnTo>
                    <a:pt x="4182" y="2510"/>
                  </a:lnTo>
                  <a:lnTo>
                    <a:pt x="4180" y="2516"/>
                  </a:lnTo>
                  <a:lnTo>
                    <a:pt x="4180" y="2518"/>
                  </a:lnTo>
                  <a:lnTo>
                    <a:pt x="4176" y="2522"/>
                  </a:lnTo>
                  <a:lnTo>
                    <a:pt x="4166" y="2526"/>
                  </a:lnTo>
                  <a:lnTo>
                    <a:pt x="4156" y="2534"/>
                  </a:lnTo>
                  <a:lnTo>
                    <a:pt x="4148" y="2544"/>
                  </a:lnTo>
                  <a:lnTo>
                    <a:pt x="4140" y="2558"/>
                  </a:lnTo>
                  <a:lnTo>
                    <a:pt x="4140" y="2560"/>
                  </a:lnTo>
                  <a:lnTo>
                    <a:pt x="4140" y="2562"/>
                  </a:lnTo>
                  <a:lnTo>
                    <a:pt x="4142" y="2564"/>
                  </a:lnTo>
                  <a:lnTo>
                    <a:pt x="4144" y="2562"/>
                  </a:lnTo>
                  <a:lnTo>
                    <a:pt x="4152" y="2556"/>
                  </a:lnTo>
                  <a:lnTo>
                    <a:pt x="4162" y="2546"/>
                  </a:lnTo>
                  <a:lnTo>
                    <a:pt x="4170" y="2536"/>
                  </a:lnTo>
                  <a:lnTo>
                    <a:pt x="4176" y="2532"/>
                  </a:lnTo>
                  <a:lnTo>
                    <a:pt x="4182" y="2528"/>
                  </a:lnTo>
                  <a:lnTo>
                    <a:pt x="4192" y="2522"/>
                  </a:lnTo>
                  <a:lnTo>
                    <a:pt x="4196" y="2518"/>
                  </a:lnTo>
                  <a:lnTo>
                    <a:pt x="4202" y="2516"/>
                  </a:lnTo>
                  <a:lnTo>
                    <a:pt x="4212" y="2512"/>
                  </a:lnTo>
                  <a:lnTo>
                    <a:pt x="4216" y="2510"/>
                  </a:lnTo>
                  <a:lnTo>
                    <a:pt x="4218" y="2508"/>
                  </a:lnTo>
                  <a:lnTo>
                    <a:pt x="4218" y="2506"/>
                  </a:lnTo>
                  <a:lnTo>
                    <a:pt x="4216" y="2502"/>
                  </a:lnTo>
                  <a:lnTo>
                    <a:pt x="4214" y="2500"/>
                  </a:lnTo>
                  <a:lnTo>
                    <a:pt x="4210" y="2500"/>
                  </a:lnTo>
                  <a:lnTo>
                    <a:pt x="4204" y="2504"/>
                  </a:lnTo>
                  <a:lnTo>
                    <a:pt x="4194" y="2510"/>
                  </a:lnTo>
                  <a:lnTo>
                    <a:pt x="4190" y="2510"/>
                  </a:lnTo>
                  <a:lnTo>
                    <a:pt x="4186" y="2510"/>
                  </a:lnTo>
                  <a:close/>
                  <a:moveTo>
                    <a:pt x="3264" y="4226"/>
                  </a:moveTo>
                  <a:lnTo>
                    <a:pt x="3264" y="4226"/>
                  </a:lnTo>
                  <a:lnTo>
                    <a:pt x="3258" y="4226"/>
                  </a:lnTo>
                  <a:lnTo>
                    <a:pt x="3250" y="4226"/>
                  </a:lnTo>
                  <a:lnTo>
                    <a:pt x="3242" y="4228"/>
                  </a:lnTo>
                  <a:lnTo>
                    <a:pt x="3234" y="4226"/>
                  </a:lnTo>
                  <a:lnTo>
                    <a:pt x="3230" y="4226"/>
                  </a:lnTo>
                  <a:lnTo>
                    <a:pt x="3228" y="4228"/>
                  </a:lnTo>
                  <a:lnTo>
                    <a:pt x="3228" y="4234"/>
                  </a:lnTo>
                  <a:lnTo>
                    <a:pt x="3234" y="4244"/>
                  </a:lnTo>
                  <a:lnTo>
                    <a:pt x="3242" y="4252"/>
                  </a:lnTo>
                  <a:lnTo>
                    <a:pt x="3246" y="4258"/>
                  </a:lnTo>
                  <a:lnTo>
                    <a:pt x="3248" y="4260"/>
                  </a:lnTo>
                  <a:lnTo>
                    <a:pt x="3250" y="4262"/>
                  </a:lnTo>
                  <a:lnTo>
                    <a:pt x="3254" y="4264"/>
                  </a:lnTo>
                  <a:lnTo>
                    <a:pt x="3258" y="4266"/>
                  </a:lnTo>
                  <a:lnTo>
                    <a:pt x="3258" y="4268"/>
                  </a:lnTo>
                  <a:lnTo>
                    <a:pt x="3256" y="4272"/>
                  </a:lnTo>
                  <a:lnTo>
                    <a:pt x="3254" y="4276"/>
                  </a:lnTo>
                  <a:lnTo>
                    <a:pt x="3252" y="4276"/>
                  </a:lnTo>
                  <a:lnTo>
                    <a:pt x="3252" y="4278"/>
                  </a:lnTo>
                  <a:lnTo>
                    <a:pt x="3256" y="4282"/>
                  </a:lnTo>
                  <a:lnTo>
                    <a:pt x="3260" y="4288"/>
                  </a:lnTo>
                  <a:lnTo>
                    <a:pt x="3264" y="4296"/>
                  </a:lnTo>
                  <a:lnTo>
                    <a:pt x="3266" y="4298"/>
                  </a:lnTo>
                  <a:lnTo>
                    <a:pt x="3268" y="4300"/>
                  </a:lnTo>
                  <a:lnTo>
                    <a:pt x="3272" y="4298"/>
                  </a:lnTo>
                  <a:lnTo>
                    <a:pt x="3276" y="4298"/>
                  </a:lnTo>
                  <a:lnTo>
                    <a:pt x="3280" y="4298"/>
                  </a:lnTo>
                  <a:lnTo>
                    <a:pt x="3282" y="4300"/>
                  </a:lnTo>
                  <a:lnTo>
                    <a:pt x="3286" y="4302"/>
                  </a:lnTo>
                  <a:lnTo>
                    <a:pt x="3288" y="4300"/>
                  </a:lnTo>
                  <a:lnTo>
                    <a:pt x="3286" y="4296"/>
                  </a:lnTo>
                  <a:lnTo>
                    <a:pt x="3282" y="4292"/>
                  </a:lnTo>
                  <a:lnTo>
                    <a:pt x="3282" y="4290"/>
                  </a:lnTo>
                  <a:lnTo>
                    <a:pt x="3282" y="4288"/>
                  </a:lnTo>
                  <a:lnTo>
                    <a:pt x="3282" y="4284"/>
                  </a:lnTo>
                  <a:lnTo>
                    <a:pt x="3278" y="4280"/>
                  </a:lnTo>
                  <a:lnTo>
                    <a:pt x="3276" y="4276"/>
                  </a:lnTo>
                  <a:lnTo>
                    <a:pt x="3276" y="4272"/>
                  </a:lnTo>
                  <a:lnTo>
                    <a:pt x="3276" y="4260"/>
                  </a:lnTo>
                  <a:lnTo>
                    <a:pt x="3276" y="4248"/>
                  </a:lnTo>
                  <a:lnTo>
                    <a:pt x="3276" y="4242"/>
                  </a:lnTo>
                  <a:lnTo>
                    <a:pt x="3274" y="4240"/>
                  </a:lnTo>
                  <a:lnTo>
                    <a:pt x="3270" y="4236"/>
                  </a:lnTo>
                  <a:lnTo>
                    <a:pt x="3270" y="4234"/>
                  </a:lnTo>
                  <a:lnTo>
                    <a:pt x="3268" y="4230"/>
                  </a:lnTo>
                  <a:lnTo>
                    <a:pt x="3264" y="4226"/>
                  </a:lnTo>
                  <a:close/>
                  <a:moveTo>
                    <a:pt x="2906" y="4970"/>
                  </a:moveTo>
                  <a:lnTo>
                    <a:pt x="2906" y="4970"/>
                  </a:lnTo>
                  <a:lnTo>
                    <a:pt x="2908" y="4964"/>
                  </a:lnTo>
                  <a:lnTo>
                    <a:pt x="2910" y="4962"/>
                  </a:lnTo>
                  <a:lnTo>
                    <a:pt x="2914" y="4960"/>
                  </a:lnTo>
                  <a:lnTo>
                    <a:pt x="2918" y="4958"/>
                  </a:lnTo>
                  <a:lnTo>
                    <a:pt x="2918" y="4956"/>
                  </a:lnTo>
                  <a:lnTo>
                    <a:pt x="2918" y="4950"/>
                  </a:lnTo>
                  <a:lnTo>
                    <a:pt x="2916" y="4942"/>
                  </a:lnTo>
                  <a:lnTo>
                    <a:pt x="2914" y="4932"/>
                  </a:lnTo>
                  <a:lnTo>
                    <a:pt x="2914" y="4924"/>
                  </a:lnTo>
                  <a:lnTo>
                    <a:pt x="2916" y="4918"/>
                  </a:lnTo>
                  <a:lnTo>
                    <a:pt x="2920" y="4912"/>
                  </a:lnTo>
                  <a:lnTo>
                    <a:pt x="2930" y="4902"/>
                  </a:lnTo>
                  <a:lnTo>
                    <a:pt x="2934" y="4898"/>
                  </a:lnTo>
                  <a:lnTo>
                    <a:pt x="2938" y="4892"/>
                  </a:lnTo>
                  <a:lnTo>
                    <a:pt x="2940" y="4888"/>
                  </a:lnTo>
                  <a:lnTo>
                    <a:pt x="2944" y="4886"/>
                  </a:lnTo>
                  <a:lnTo>
                    <a:pt x="2952" y="4882"/>
                  </a:lnTo>
                  <a:lnTo>
                    <a:pt x="2954" y="4882"/>
                  </a:lnTo>
                  <a:lnTo>
                    <a:pt x="2958" y="4878"/>
                  </a:lnTo>
                  <a:lnTo>
                    <a:pt x="2958" y="4872"/>
                  </a:lnTo>
                  <a:lnTo>
                    <a:pt x="2958" y="4862"/>
                  </a:lnTo>
                  <a:lnTo>
                    <a:pt x="2956" y="4840"/>
                  </a:lnTo>
                  <a:lnTo>
                    <a:pt x="2958" y="4822"/>
                  </a:lnTo>
                  <a:lnTo>
                    <a:pt x="2962" y="4808"/>
                  </a:lnTo>
                  <a:lnTo>
                    <a:pt x="2964" y="4804"/>
                  </a:lnTo>
                  <a:lnTo>
                    <a:pt x="2968" y="4800"/>
                  </a:lnTo>
                  <a:lnTo>
                    <a:pt x="2972" y="4796"/>
                  </a:lnTo>
                  <a:lnTo>
                    <a:pt x="2974" y="4792"/>
                  </a:lnTo>
                  <a:lnTo>
                    <a:pt x="2978" y="4792"/>
                  </a:lnTo>
                  <a:lnTo>
                    <a:pt x="2982" y="4796"/>
                  </a:lnTo>
                  <a:lnTo>
                    <a:pt x="2988" y="4800"/>
                  </a:lnTo>
                  <a:lnTo>
                    <a:pt x="2992" y="4802"/>
                  </a:lnTo>
                  <a:lnTo>
                    <a:pt x="3002" y="4802"/>
                  </a:lnTo>
                  <a:lnTo>
                    <a:pt x="3010" y="4800"/>
                  </a:lnTo>
                  <a:lnTo>
                    <a:pt x="3012" y="4798"/>
                  </a:lnTo>
                  <a:lnTo>
                    <a:pt x="3014" y="4796"/>
                  </a:lnTo>
                  <a:lnTo>
                    <a:pt x="3012" y="4792"/>
                  </a:lnTo>
                  <a:lnTo>
                    <a:pt x="3006" y="4786"/>
                  </a:lnTo>
                  <a:lnTo>
                    <a:pt x="2988" y="4770"/>
                  </a:lnTo>
                  <a:lnTo>
                    <a:pt x="2980" y="4760"/>
                  </a:lnTo>
                  <a:lnTo>
                    <a:pt x="2972" y="4752"/>
                  </a:lnTo>
                  <a:lnTo>
                    <a:pt x="2970" y="4744"/>
                  </a:lnTo>
                  <a:lnTo>
                    <a:pt x="2970" y="4742"/>
                  </a:lnTo>
                  <a:lnTo>
                    <a:pt x="2970" y="4738"/>
                  </a:lnTo>
                  <a:lnTo>
                    <a:pt x="2974" y="4734"/>
                  </a:lnTo>
                  <a:lnTo>
                    <a:pt x="2976" y="4730"/>
                  </a:lnTo>
                  <a:lnTo>
                    <a:pt x="2974" y="4726"/>
                  </a:lnTo>
                  <a:lnTo>
                    <a:pt x="2972" y="4722"/>
                  </a:lnTo>
                  <a:lnTo>
                    <a:pt x="2966" y="4714"/>
                  </a:lnTo>
                  <a:lnTo>
                    <a:pt x="2964" y="4708"/>
                  </a:lnTo>
                  <a:lnTo>
                    <a:pt x="2962" y="4702"/>
                  </a:lnTo>
                  <a:lnTo>
                    <a:pt x="2960" y="4696"/>
                  </a:lnTo>
                  <a:lnTo>
                    <a:pt x="2958" y="4692"/>
                  </a:lnTo>
                  <a:lnTo>
                    <a:pt x="2954" y="4690"/>
                  </a:lnTo>
                  <a:lnTo>
                    <a:pt x="2950" y="4686"/>
                  </a:lnTo>
                  <a:lnTo>
                    <a:pt x="2948" y="4684"/>
                  </a:lnTo>
                  <a:lnTo>
                    <a:pt x="2950" y="4678"/>
                  </a:lnTo>
                  <a:lnTo>
                    <a:pt x="2950" y="4672"/>
                  </a:lnTo>
                  <a:lnTo>
                    <a:pt x="2952" y="4668"/>
                  </a:lnTo>
                  <a:lnTo>
                    <a:pt x="2956" y="4666"/>
                  </a:lnTo>
                  <a:lnTo>
                    <a:pt x="2958" y="4666"/>
                  </a:lnTo>
                  <a:lnTo>
                    <a:pt x="2964" y="4666"/>
                  </a:lnTo>
                  <a:lnTo>
                    <a:pt x="2966" y="4666"/>
                  </a:lnTo>
                  <a:lnTo>
                    <a:pt x="2966" y="4662"/>
                  </a:lnTo>
                  <a:lnTo>
                    <a:pt x="2964" y="4658"/>
                  </a:lnTo>
                  <a:lnTo>
                    <a:pt x="2956" y="4648"/>
                  </a:lnTo>
                  <a:lnTo>
                    <a:pt x="2954" y="4644"/>
                  </a:lnTo>
                  <a:lnTo>
                    <a:pt x="2954" y="4642"/>
                  </a:lnTo>
                  <a:lnTo>
                    <a:pt x="2954" y="4640"/>
                  </a:lnTo>
                  <a:lnTo>
                    <a:pt x="2956" y="4638"/>
                  </a:lnTo>
                  <a:lnTo>
                    <a:pt x="2958" y="4638"/>
                  </a:lnTo>
                  <a:lnTo>
                    <a:pt x="2960" y="4636"/>
                  </a:lnTo>
                  <a:lnTo>
                    <a:pt x="2958" y="4630"/>
                  </a:lnTo>
                  <a:lnTo>
                    <a:pt x="2958" y="4628"/>
                  </a:lnTo>
                  <a:lnTo>
                    <a:pt x="2966" y="4632"/>
                  </a:lnTo>
                  <a:lnTo>
                    <a:pt x="2972" y="4636"/>
                  </a:lnTo>
                  <a:lnTo>
                    <a:pt x="2976" y="4636"/>
                  </a:lnTo>
                  <a:lnTo>
                    <a:pt x="2980" y="4632"/>
                  </a:lnTo>
                  <a:lnTo>
                    <a:pt x="2986" y="4632"/>
                  </a:lnTo>
                  <a:lnTo>
                    <a:pt x="2992" y="4630"/>
                  </a:lnTo>
                  <a:lnTo>
                    <a:pt x="2998" y="4628"/>
                  </a:lnTo>
                  <a:lnTo>
                    <a:pt x="2998" y="4626"/>
                  </a:lnTo>
                  <a:lnTo>
                    <a:pt x="2998" y="4624"/>
                  </a:lnTo>
                  <a:lnTo>
                    <a:pt x="2990" y="4618"/>
                  </a:lnTo>
                  <a:lnTo>
                    <a:pt x="2982" y="4610"/>
                  </a:lnTo>
                  <a:lnTo>
                    <a:pt x="2980" y="4606"/>
                  </a:lnTo>
                  <a:lnTo>
                    <a:pt x="2982" y="4602"/>
                  </a:lnTo>
                  <a:lnTo>
                    <a:pt x="2986" y="4598"/>
                  </a:lnTo>
                  <a:lnTo>
                    <a:pt x="2988" y="4598"/>
                  </a:lnTo>
                  <a:lnTo>
                    <a:pt x="2990" y="4598"/>
                  </a:lnTo>
                  <a:lnTo>
                    <a:pt x="2994" y="4600"/>
                  </a:lnTo>
                  <a:lnTo>
                    <a:pt x="3002" y="4600"/>
                  </a:lnTo>
                  <a:lnTo>
                    <a:pt x="3014" y="4596"/>
                  </a:lnTo>
                  <a:lnTo>
                    <a:pt x="3020" y="4592"/>
                  </a:lnTo>
                  <a:lnTo>
                    <a:pt x="3024" y="4586"/>
                  </a:lnTo>
                  <a:lnTo>
                    <a:pt x="3024" y="4580"/>
                  </a:lnTo>
                  <a:lnTo>
                    <a:pt x="3022" y="4578"/>
                  </a:lnTo>
                  <a:lnTo>
                    <a:pt x="3022" y="4576"/>
                  </a:lnTo>
                  <a:lnTo>
                    <a:pt x="3018" y="4576"/>
                  </a:lnTo>
                  <a:lnTo>
                    <a:pt x="3014" y="4578"/>
                  </a:lnTo>
                  <a:lnTo>
                    <a:pt x="3012" y="4578"/>
                  </a:lnTo>
                  <a:lnTo>
                    <a:pt x="3010" y="4576"/>
                  </a:lnTo>
                  <a:lnTo>
                    <a:pt x="3006" y="4572"/>
                  </a:lnTo>
                  <a:lnTo>
                    <a:pt x="3004" y="4572"/>
                  </a:lnTo>
                  <a:lnTo>
                    <a:pt x="3000" y="4570"/>
                  </a:lnTo>
                  <a:lnTo>
                    <a:pt x="2998" y="4566"/>
                  </a:lnTo>
                  <a:lnTo>
                    <a:pt x="2994" y="4562"/>
                  </a:lnTo>
                  <a:lnTo>
                    <a:pt x="2988" y="4560"/>
                  </a:lnTo>
                  <a:lnTo>
                    <a:pt x="2984" y="4560"/>
                  </a:lnTo>
                  <a:lnTo>
                    <a:pt x="2982" y="4560"/>
                  </a:lnTo>
                  <a:lnTo>
                    <a:pt x="2976" y="4564"/>
                  </a:lnTo>
                  <a:lnTo>
                    <a:pt x="2974" y="4564"/>
                  </a:lnTo>
                  <a:lnTo>
                    <a:pt x="2972" y="4562"/>
                  </a:lnTo>
                  <a:lnTo>
                    <a:pt x="2972" y="4560"/>
                  </a:lnTo>
                  <a:lnTo>
                    <a:pt x="2974" y="4558"/>
                  </a:lnTo>
                  <a:lnTo>
                    <a:pt x="2976" y="4556"/>
                  </a:lnTo>
                  <a:lnTo>
                    <a:pt x="2976" y="4550"/>
                  </a:lnTo>
                  <a:lnTo>
                    <a:pt x="2974" y="4548"/>
                  </a:lnTo>
                  <a:lnTo>
                    <a:pt x="2972" y="4548"/>
                  </a:lnTo>
                  <a:lnTo>
                    <a:pt x="2968" y="4548"/>
                  </a:lnTo>
                  <a:lnTo>
                    <a:pt x="2964" y="4550"/>
                  </a:lnTo>
                  <a:lnTo>
                    <a:pt x="2962" y="4550"/>
                  </a:lnTo>
                  <a:lnTo>
                    <a:pt x="2960" y="4548"/>
                  </a:lnTo>
                  <a:lnTo>
                    <a:pt x="2960" y="4542"/>
                  </a:lnTo>
                  <a:lnTo>
                    <a:pt x="2960" y="4536"/>
                  </a:lnTo>
                  <a:lnTo>
                    <a:pt x="2962" y="4530"/>
                  </a:lnTo>
                  <a:lnTo>
                    <a:pt x="2958" y="4522"/>
                  </a:lnTo>
                  <a:lnTo>
                    <a:pt x="2954" y="4518"/>
                  </a:lnTo>
                  <a:lnTo>
                    <a:pt x="2952" y="4520"/>
                  </a:lnTo>
                  <a:lnTo>
                    <a:pt x="2948" y="4520"/>
                  </a:lnTo>
                  <a:lnTo>
                    <a:pt x="2946" y="4518"/>
                  </a:lnTo>
                  <a:lnTo>
                    <a:pt x="2944" y="4510"/>
                  </a:lnTo>
                  <a:lnTo>
                    <a:pt x="2942" y="4504"/>
                  </a:lnTo>
                  <a:lnTo>
                    <a:pt x="2940" y="4502"/>
                  </a:lnTo>
                  <a:lnTo>
                    <a:pt x="2938" y="4502"/>
                  </a:lnTo>
                  <a:lnTo>
                    <a:pt x="2936" y="4504"/>
                  </a:lnTo>
                  <a:lnTo>
                    <a:pt x="2934" y="4508"/>
                  </a:lnTo>
                  <a:lnTo>
                    <a:pt x="2932" y="4514"/>
                  </a:lnTo>
                  <a:lnTo>
                    <a:pt x="2928" y="4520"/>
                  </a:lnTo>
                  <a:lnTo>
                    <a:pt x="2926" y="4522"/>
                  </a:lnTo>
                  <a:lnTo>
                    <a:pt x="2924" y="4520"/>
                  </a:lnTo>
                  <a:lnTo>
                    <a:pt x="2926" y="4512"/>
                  </a:lnTo>
                  <a:lnTo>
                    <a:pt x="2928" y="4504"/>
                  </a:lnTo>
                  <a:lnTo>
                    <a:pt x="2926" y="4500"/>
                  </a:lnTo>
                  <a:lnTo>
                    <a:pt x="2924" y="4500"/>
                  </a:lnTo>
                  <a:lnTo>
                    <a:pt x="2920" y="4502"/>
                  </a:lnTo>
                  <a:lnTo>
                    <a:pt x="2918" y="4506"/>
                  </a:lnTo>
                  <a:lnTo>
                    <a:pt x="2916" y="4514"/>
                  </a:lnTo>
                  <a:lnTo>
                    <a:pt x="2910" y="4528"/>
                  </a:lnTo>
                  <a:lnTo>
                    <a:pt x="2904" y="4538"/>
                  </a:lnTo>
                  <a:lnTo>
                    <a:pt x="2900" y="4542"/>
                  </a:lnTo>
                  <a:lnTo>
                    <a:pt x="2896" y="4544"/>
                  </a:lnTo>
                  <a:lnTo>
                    <a:pt x="2896" y="4548"/>
                  </a:lnTo>
                  <a:lnTo>
                    <a:pt x="2894" y="4556"/>
                  </a:lnTo>
                  <a:lnTo>
                    <a:pt x="2892" y="4558"/>
                  </a:lnTo>
                  <a:lnTo>
                    <a:pt x="2890" y="4560"/>
                  </a:lnTo>
                  <a:lnTo>
                    <a:pt x="2890" y="4562"/>
                  </a:lnTo>
                  <a:lnTo>
                    <a:pt x="2888" y="4570"/>
                  </a:lnTo>
                  <a:lnTo>
                    <a:pt x="2884" y="4572"/>
                  </a:lnTo>
                  <a:lnTo>
                    <a:pt x="2882" y="4574"/>
                  </a:lnTo>
                  <a:lnTo>
                    <a:pt x="2880" y="4572"/>
                  </a:lnTo>
                  <a:lnTo>
                    <a:pt x="2876" y="4570"/>
                  </a:lnTo>
                  <a:lnTo>
                    <a:pt x="2874" y="4572"/>
                  </a:lnTo>
                  <a:lnTo>
                    <a:pt x="2868" y="4580"/>
                  </a:lnTo>
                  <a:lnTo>
                    <a:pt x="2868" y="4582"/>
                  </a:lnTo>
                  <a:lnTo>
                    <a:pt x="2868" y="4584"/>
                  </a:lnTo>
                  <a:lnTo>
                    <a:pt x="2872" y="4586"/>
                  </a:lnTo>
                  <a:lnTo>
                    <a:pt x="2876" y="4592"/>
                  </a:lnTo>
                  <a:lnTo>
                    <a:pt x="2874" y="4594"/>
                  </a:lnTo>
                  <a:lnTo>
                    <a:pt x="2872" y="4598"/>
                  </a:lnTo>
                  <a:lnTo>
                    <a:pt x="2868" y="4602"/>
                  </a:lnTo>
                  <a:lnTo>
                    <a:pt x="2864" y="4600"/>
                  </a:lnTo>
                  <a:lnTo>
                    <a:pt x="2862" y="4600"/>
                  </a:lnTo>
                  <a:lnTo>
                    <a:pt x="2858" y="4604"/>
                  </a:lnTo>
                  <a:lnTo>
                    <a:pt x="2854" y="4608"/>
                  </a:lnTo>
                  <a:lnTo>
                    <a:pt x="2854" y="4604"/>
                  </a:lnTo>
                  <a:lnTo>
                    <a:pt x="2856" y="4598"/>
                  </a:lnTo>
                  <a:lnTo>
                    <a:pt x="2856" y="4596"/>
                  </a:lnTo>
                  <a:lnTo>
                    <a:pt x="2854" y="4596"/>
                  </a:lnTo>
                  <a:lnTo>
                    <a:pt x="2850" y="4598"/>
                  </a:lnTo>
                  <a:lnTo>
                    <a:pt x="2844" y="4602"/>
                  </a:lnTo>
                  <a:lnTo>
                    <a:pt x="2836" y="4610"/>
                  </a:lnTo>
                  <a:lnTo>
                    <a:pt x="2828" y="4616"/>
                  </a:lnTo>
                  <a:lnTo>
                    <a:pt x="2822" y="4618"/>
                  </a:lnTo>
                  <a:lnTo>
                    <a:pt x="2816" y="4618"/>
                  </a:lnTo>
                  <a:lnTo>
                    <a:pt x="2814" y="4618"/>
                  </a:lnTo>
                  <a:lnTo>
                    <a:pt x="2812" y="4618"/>
                  </a:lnTo>
                  <a:lnTo>
                    <a:pt x="2812" y="4630"/>
                  </a:lnTo>
                  <a:lnTo>
                    <a:pt x="2810" y="4634"/>
                  </a:lnTo>
                  <a:lnTo>
                    <a:pt x="2806" y="4640"/>
                  </a:lnTo>
                  <a:lnTo>
                    <a:pt x="2798" y="4652"/>
                  </a:lnTo>
                  <a:lnTo>
                    <a:pt x="2786" y="4666"/>
                  </a:lnTo>
                  <a:lnTo>
                    <a:pt x="2780" y="4674"/>
                  </a:lnTo>
                  <a:lnTo>
                    <a:pt x="2778" y="4684"/>
                  </a:lnTo>
                  <a:lnTo>
                    <a:pt x="2774" y="4688"/>
                  </a:lnTo>
                  <a:lnTo>
                    <a:pt x="2766" y="4692"/>
                  </a:lnTo>
                  <a:lnTo>
                    <a:pt x="2746" y="4696"/>
                  </a:lnTo>
                  <a:lnTo>
                    <a:pt x="2724" y="4700"/>
                  </a:lnTo>
                  <a:lnTo>
                    <a:pt x="2716" y="4704"/>
                  </a:lnTo>
                  <a:lnTo>
                    <a:pt x="2712" y="4706"/>
                  </a:lnTo>
                  <a:lnTo>
                    <a:pt x="2710" y="4710"/>
                  </a:lnTo>
                  <a:lnTo>
                    <a:pt x="2708" y="4716"/>
                  </a:lnTo>
                  <a:lnTo>
                    <a:pt x="2710" y="4724"/>
                  </a:lnTo>
                  <a:lnTo>
                    <a:pt x="2708" y="4728"/>
                  </a:lnTo>
                  <a:lnTo>
                    <a:pt x="2704" y="4726"/>
                  </a:lnTo>
                  <a:lnTo>
                    <a:pt x="2702" y="4724"/>
                  </a:lnTo>
                  <a:lnTo>
                    <a:pt x="2700" y="4724"/>
                  </a:lnTo>
                  <a:lnTo>
                    <a:pt x="2698" y="4728"/>
                  </a:lnTo>
                  <a:lnTo>
                    <a:pt x="2698" y="4734"/>
                  </a:lnTo>
                  <a:lnTo>
                    <a:pt x="2700" y="4738"/>
                  </a:lnTo>
                  <a:lnTo>
                    <a:pt x="2702" y="4738"/>
                  </a:lnTo>
                  <a:lnTo>
                    <a:pt x="2702" y="4740"/>
                  </a:lnTo>
                  <a:lnTo>
                    <a:pt x="2700" y="4742"/>
                  </a:lnTo>
                  <a:lnTo>
                    <a:pt x="2698" y="4750"/>
                  </a:lnTo>
                  <a:lnTo>
                    <a:pt x="2696" y="4756"/>
                  </a:lnTo>
                  <a:lnTo>
                    <a:pt x="2692" y="4760"/>
                  </a:lnTo>
                  <a:lnTo>
                    <a:pt x="2692" y="4764"/>
                  </a:lnTo>
                  <a:lnTo>
                    <a:pt x="2696" y="4768"/>
                  </a:lnTo>
                  <a:lnTo>
                    <a:pt x="2698" y="4772"/>
                  </a:lnTo>
                  <a:lnTo>
                    <a:pt x="2698" y="4774"/>
                  </a:lnTo>
                  <a:lnTo>
                    <a:pt x="2690" y="4768"/>
                  </a:lnTo>
                  <a:lnTo>
                    <a:pt x="2684" y="4766"/>
                  </a:lnTo>
                  <a:lnTo>
                    <a:pt x="2678" y="4766"/>
                  </a:lnTo>
                  <a:lnTo>
                    <a:pt x="2672" y="4764"/>
                  </a:lnTo>
                  <a:lnTo>
                    <a:pt x="2672" y="4762"/>
                  </a:lnTo>
                  <a:lnTo>
                    <a:pt x="2672" y="4760"/>
                  </a:lnTo>
                  <a:lnTo>
                    <a:pt x="2674" y="4756"/>
                  </a:lnTo>
                  <a:lnTo>
                    <a:pt x="2672" y="4756"/>
                  </a:lnTo>
                  <a:lnTo>
                    <a:pt x="2670" y="4756"/>
                  </a:lnTo>
                  <a:lnTo>
                    <a:pt x="2666" y="4754"/>
                  </a:lnTo>
                  <a:lnTo>
                    <a:pt x="2664" y="4752"/>
                  </a:lnTo>
                  <a:lnTo>
                    <a:pt x="2664" y="4754"/>
                  </a:lnTo>
                  <a:lnTo>
                    <a:pt x="2662" y="4756"/>
                  </a:lnTo>
                  <a:lnTo>
                    <a:pt x="2656" y="4758"/>
                  </a:lnTo>
                  <a:lnTo>
                    <a:pt x="2650" y="4758"/>
                  </a:lnTo>
                  <a:lnTo>
                    <a:pt x="2644" y="4756"/>
                  </a:lnTo>
                  <a:lnTo>
                    <a:pt x="2640" y="4750"/>
                  </a:lnTo>
                  <a:lnTo>
                    <a:pt x="2638" y="4742"/>
                  </a:lnTo>
                  <a:lnTo>
                    <a:pt x="2632" y="4744"/>
                  </a:lnTo>
                  <a:lnTo>
                    <a:pt x="2628" y="4746"/>
                  </a:lnTo>
                  <a:lnTo>
                    <a:pt x="2622" y="4750"/>
                  </a:lnTo>
                  <a:lnTo>
                    <a:pt x="2620" y="4758"/>
                  </a:lnTo>
                  <a:lnTo>
                    <a:pt x="2618" y="4764"/>
                  </a:lnTo>
                  <a:lnTo>
                    <a:pt x="2614" y="4772"/>
                  </a:lnTo>
                  <a:lnTo>
                    <a:pt x="2610" y="4780"/>
                  </a:lnTo>
                  <a:lnTo>
                    <a:pt x="2606" y="4802"/>
                  </a:lnTo>
                  <a:lnTo>
                    <a:pt x="2606" y="4812"/>
                  </a:lnTo>
                  <a:lnTo>
                    <a:pt x="2608" y="4820"/>
                  </a:lnTo>
                  <a:lnTo>
                    <a:pt x="2610" y="4826"/>
                  </a:lnTo>
                  <a:lnTo>
                    <a:pt x="2616" y="4830"/>
                  </a:lnTo>
                  <a:lnTo>
                    <a:pt x="2620" y="4834"/>
                  </a:lnTo>
                  <a:lnTo>
                    <a:pt x="2620" y="4836"/>
                  </a:lnTo>
                  <a:lnTo>
                    <a:pt x="2616" y="4844"/>
                  </a:lnTo>
                  <a:lnTo>
                    <a:pt x="2614" y="4848"/>
                  </a:lnTo>
                  <a:lnTo>
                    <a:pt x="2614" y="4854"/>
                  </a:lnTo>
                  <a:lnTo>
                    <a:pt x="2614" y="4858"/>
                  </a:lnTo>
                  <a:lnTo>
                    <a:pt x="2618" y="4864"/>
                  </a:lnTo>
                  <a:lnTo>
                    <a:pt x="2622" y="4870"/>
                  </a:lnTo>
                  <a:lnTo>
                    <a:pt x="2624" y="4874"/>
                  </a:lnTo>
                  <a:lnTo>
                    <a:pt x="2624" y="4876"/>
                  </a:lnTo>
                  <a:lnTo>
                    <a:pt x="2622" y="4878"/>
                  </a:lnTo>
                  <a:lnTo>
                    <a:pt x="2620" y="4880"/>
                  </a:lnTo>
                  <a:lnTo>
                    <a:pt x="2626" y="4882"/>
                  </a:lnTo>
                  <a:lnTo>
                    <a:pt x="2630" y="4886"/>
                  </a:lnTo>
                  <a:lnTo>
                    <a:pt x="2632" y="4888"/>
                  </a:lnTo>
                  <a:lnTo>
                    <a:pt x="2632" y="4890"/>
                  </a:lnTo>
                  <a:lnTo>
                    <a:pt x="2630" y="4892"/>
                  </a:lnTo>
                  <a:lnTo>
                    <a:pt x="2628" y="4898"/>
                  </a:lnTo>
                  <a:lnTo>
                    <a:pt x="2626" y="4900"/>
                  </a:lnTo>
                  <a:lnTo>
                    <a:pt x="2628" y="4902"/>
                  </a:lnTo>
                  <a:lnTo>
                    <a:pt x="2632" y="4904"/>
                  </a:lnTo>
                  <a:lnTo>
                    <a:pt x="2634" y="4904"/>
                  </a:lnTo>
                  <a:lnTo>
                    <a:pt x="2640" y="4900"/>
                  </a:lnTo>
                  <a:lnTo>
                    <a:pt x="2646" y="4898"/>
                  </a:lnTo>
                  <a:lnTo>
                    <a:pt x="2650" y="4898"/>
                  </a:lnTo>
                  <a:lnTo>
                    <a:pt x="2652" y="4902"/>
                  </a:lnTo>
                  <a:lnTo>
                    <a:pt x="2652" y="4908"/>
                  </a:lnTo>
                  <a:lnTo>
                    <a:pt x="2652" y="4910"/>
                  </a:lnTo>
                  <a:lnTo>
                    <a:pt x="2650" y="4918"/>
                  </a:lnTo>
                  <a:lnTo>
                    <a:pt x="2648" y="4926"/>
                  </a:lnTo>
                  <a:lnTo>
                    <a:pt x="2648" y="4934"/>
                  </a:lnTo>
                  <a:lnTo>
                    <a:pt x="2652" y="4942"/>
                  </a:lnTo>
                  <a:lnTo>
                    <a:pt x="2658" y="4960"/>
                  </a:lnTo>
                  <a:lnTo>
                    <a:pt x="2660" y="4972"/>
                  </a:lnTo>
                  <a:lnTo>
                    <a:pt x="2660" y="4980"/>
                  </a:lnTo>
                  <a:lnTo>
                    <a:pt x="2660" y="4984"/>
                  </a:lnTo>
                  <a:lnTo>
                    <a:pt x="2660" y="4986"/>
                  </a:lnTo>
                  <a:lnTo>
                    <a:pt x="2666" y="4986"/>
                  </a:lnTo>
                  <a:lnTo>
                    <a:pt x="2678" y="4988"/>
                  </a:lnTo>
                  <a:lnTo>
                    <a:pt x="2684" y="4992"/>
                  </a:lnTo>
                  <a:lnTo>
                    <a:pt x="2692" y="4992"/>
                  </a:lnTo>
                  <a:lnTo>
                    <a:pt x="2698" y="4986"/>
                  </a:lnTo>
                  <a:lnTo>
                    <a:pt x="2702" y="4982"/>
                  </a:lnTo>
                  <a:lnTo>
                    <a:pt x="2706" y="4982"/>
                  </a:lnTo>
                  <a:lnTo>
                    <a:pt x="2712" y="4982"/>
                  </a:lnTo>
                  <a:lnTo>
                    <a:pt x="2716" y="4984"/>
                  </a:lnTo>
                  <a:lnTo>
                    <a:pt x="2720" y="4986"/>
                  </a:lnTo>
                  <a:lnTo>
                    <a:pt x="2722" y="4992"/>
                  </a:lnTo>
                  <a:lnTo>
                    <a:pt x="2724" y="4996"/>
                  </a:lnTo>
                  <a:lnTo>
                    <a:pt x="2724" y="5002"/>
                  </a:lnTo>
                  <a:lnTo>
                    <a:pt x="2724" y="5010"/>
                  </a:lnTo>
                  <a:lnTo>
                    <a:pt x="2726" y="5012"/>
                  </a:lnTo>
                  <a:lnTo>
                    <a:pt x="2728" y="5012"/>
                  </a:lnTo>
                  <a:lnTo>
                    <a:pt x="2734" y="5010"/>
                  </a:lnTo>
                  <a:lnTo>
                    <a:pt x="2740" y="5004"/>
                  </a:lnTo>
                  <a:lnTo>
                    <a:pt x="2742" y="5002"/>
                  </a:lnTo>
                  <a:lnTo>
                    <a:pt x="2746" y="5002"/>
                  </a:lnTo>
                  <a:lnTo>
                    <a:pt x="2754" y="5004"/>
                  </a:lnTo>
                  <a:lnTo>
                    <a:pt x="2756" y="5004"/>
                  </a:lnTo>
                  <a:lnTo>
                    <a:pt x="2760" y="5004"/>
                  </a:lnTo>
                  <a:lnTo>
                    <a:pt x="2764" y="5002"/>
                  </a:lnTo>
                  <a:lnTo>
                    <a:pt x="2768" y="4998"/>
                  </a:lnTo>
                  <a:lnTo>
                    <a:pt x="2770" y="4992"/>
                  </a:lnTo>
                  <a:lnTo>
                    <a:pt x="2774" y="4990"/>
                  </a:lnTo>
                  <a:lnTo>
                    <a:pt x="2776" y="4990"/>
                  </a:lnTo>
                  <a:lnTo>
                    <a:pt x="2778" y="4992"/>
                  </a:lnTo>
                  <a:lnTo>
                    <a:pt x="2784" y="4996"/>
                  </a:lnTo>
                  <a:lnTo>
                    <a:pt x="2788" y="4998"/>
                  </a:lnTo>
                  <a:lnTo>
                    <a:pt x="2792" y="4998"/>
                  </a:lnTo>
                  <a:lnTo>
                    <a:pt x="2794" y="4998"/>
                  </a:lnTo>
                  <a:lnTo>
                    <a:pt x="2796" y="5000"/>
                  </a:lnTo>
                  <a:lnTo>
                    <a:pt x="2796" y="5004"/>
                  </a:lnTo>
                  <a:lnTo>
                    <a:pt x="2796" y="5006"/>
                  </a:lnTo>
                  <a:lnTo>
                    <a:pt x="2798" y="5008"/>
                  </a:lnTo>
                  <a:lnTo>
                    <a:pt x="2800" y="5008"/>
                  </a:lnTo>
                  <a:lnTo>
                    <a:pt x="2806" y="5006"/>
                  </a:lnTo>
                  <a:lnTo>
                    <a:pt x="2814" y="5004"/>
                  </a:lnTo>
                  <a:lnTo>
                    <a:pt x="2820" y="5004"/>
                  </a:lnTo>
                  <a:lnTo>
                    <a:pt x="2826" y="5008"/>
                  </a:lnTo>
                  <a:lnTo>
                    <a:pt x="2830" y="5012"/>
                  </a:lnTo>
                  <a:lnTo>
                    <a:pt x="2834" y="5016"/>
                  </a:lnTo>
                  <a:lnTo>
                    <a:pt x="2836" y="5022"/>
                  </a:lnTo>
                  <a:lnTo>
                    <a:pt x="2836" y="5030"/>
                  </a:lnTo>
                  <a:lnTo>
                    <a:pt x="2836" y="5036"/>
                  </a:lnTo>
                  <a:lnTo>
                    <a:pt x="2836" y="5040"/>
                  </a:lnTo>
                  <a:lnTo>
                    <a:pt x="2840" y="5042"/>
                  </a:lnTo>
                  <a:lnTo>
                    <a:pt x="2846" y="5040"/>
                  </a:lnTo>
                  <a:lnTo>
                    <a:pt x="2852" y="5036"/>
                  </a:lnTo>
                  <a:lnTo>
                    <a:pt x="2868" y="5026"/>
                  </a:lnTo>
                  <a:lnTo>
                    <a:pt x="2876" y="5024"/>
                  </a:lnTo>
                  <a:lnTo>
                    <a:pt x="2882" y="5022"/>
                  </a:lnTo>
                  <a:lnTo>
                    <a:pt x="2886" y="5020"/>
                  </a:lnTo>
                  <a:lnTo>
                    <a:pt x="2890" y="5018"/>
                  </a:lnTo>
                  <a:lnTo>
                    <a:pt x="2894" y="5008"/>
                  </a:lnTo>
                  <a:lnTo>
                    <a:pt x="2896" y="4996"/>
                  </a:lnTo>
                  <a:lnTo>
                    <a:pt x="2898" y="4986"/>
                  </a:lnTo>
                  <a:lnTo>
                    <a:pt x="2898" y="4982"/>
                  </a:lnTo>
                  <a:lnTo>
                    <a:pt x="2902" y="4980"/>
                  </a:lnTo>
                  <a:lnTo>
                    <a:pt x="2904" y="4978"/>
                  </a:lnTo>
                  <a:lnTo>
                    <a:pt x="2906" y="4970"/>
                  </a:lnTo>
                  <a:close/>
                  <a:moveTo>
                    <a:pt x="2606" y="3938"/>
                  </a:moveTo>
                  <a:lnTo>
                    <a:pt x="2606" y="3938"/>
                  </a:lnTo>
                  <a:lnTo>
                    <a:pt x="2616" y="3942"/>
                  </a:lnTo>
                  <a:lnTo>
                    <a:pt x="2622" y="3944"/>
                  </a:lnTo>
                  <a:lnTo>
                    <a:pt x="2624" y="3944"/>
                  </a:lnTo>
                  <a:lnTo>
                    <a:pt x="2626" y="3944"/>
                  </a:lnTo>
                  <a:lnTo>
                    <a:pt x="2630" y="3948"/>
                  </a:lnTo>
                  <a:lnTo>
                    <a:pt x="2634" y="3950"/>
                  </a:lnTo>
                  <a:lnTo>
                    <a:pt x="2638" y="3948"/>
                  </a:lnTo>
                  <a:lnTo>
                    <a:pt x="2640" y="3942"/>
                  </a:lnTo>
                  <a:lnTo>
                    <a:pt x="2640" y="3940"/>
                  </a:lnTo>
                  <a:lnTo>
                    <a:pt x="2642" y="3940"/>
                  </a:lnTo>
                  <a:lnTo>
                    <a:pt x="2646" y="3940"/>
                  </a:lnTo>
                  <a:lnTo>
                    <a:pt x="2652" y="3938"/>
                  </a:lnTo>
                  <a:lnTo>
                    <a:pt x="2654" y="3938"/>
                  </a:lnTo>
                  <a:lnTo>
                    <a:pt x="2654" y="3934"/>
                  </a:lnTo>
                  <a:lnTo>
                    <a:pt x="2656" y="3930"/>
                  </a:lnTo>
                  <a:lnTo>
                    <a:pt x="2658" y="3928"/>
                  </a:lnTo>
                  <a:lnTo>
                    <a:pt x="2664" y="3926"/>
                  </a:lnTo>
                  <a:lnTo>
                    <a:pt x="2666" y="3924"/>
                  </a:lnTo>
                  <a:lnTo>
                    <a:pt x="2670" y="3922"/>
                  </a:lnTo>
                  <a:lnTo>
                    <a:pt x="2670" y="3918"/>
                  </a:lnTo>
                  <a:lnTo>
                    <a:pt x="2672" y="3912"/>
                  </a:lnTo>
                  <a:lnTo>
                    <a:pt x="2674" y="3902"/>
                  </a:lnTo>
                  <a:lnTo>
                    <a:pt x="2678" y="3892"/>
                  </a:lnTo>
                  <a:lnTo>
                    <a:pt x="2684" y="3884"/>
                  </a:lnTo>
                  <a:lnTo>
                    <a:pt x="2690" y="3878"/>
                  </a:lnTo>
                  <a:lnTo>
                    <a:pt x="2692" y="3874"/>
                  </a:lnTo>
                  <a:lnTo>
                    <a:pt x="2692" y="3868"/>
                  </a:lnTo>
                  <a:lnTo>
                    <a:pt x="2690" y="3862"/>
                  </a:lnTo>
                  <a:lnTo>
                    <a:pt x="2686" y="3858"/>
                  </a:lnTo>
                  <a:lnTo>
                    <a:pt x="2682" y="3856"/>
                  </a:lnTo>
                  <a:lnTo>
                    <a:pt x="2680" y="3854"/>
                  </a:lnTo>
                  <a:lnTo>
                    <a:pt x="2676" y="3852"/>
                  </a:lnTo>
                  <a:lnTo>
                    <a:pt x="2674" y="3854"/>
                  </a:lnTo>
                  <a:lnTo>
                    <a:pt x="2670" y="3856"/>
                  </a:lnTo>
                  <a:lnTo>
                    <a:pt x="2666" y="3856"/>
                  </a:lnTo>
                  <a:lnTo>
                    <a:pt x="2660" y="3856"/>
                  </a:lnTo>
                  <a:lnTo>
                    <a:pt x="2654" y="3858"/>
                  </a:lnTo>
                  <a:lnTo>
                    <a:pt x="2652" y="3860"/>
                  </a:lnTo>
                  <a:lnTo>
                    <a:pt x="2648" y="3860"/>
                  </a:lnTo>
                  <a:lnTo>
                    <a:pt x="2642" y="3858"/>
                  </a:lnTo>
                  <a:lnTo>
                    <a:pt x="2636" y="3858"/>
                  </a:lnTo>
                  <a:lnTo>
                    <a:pt x="2634" y="3858"/>
                  </a:lnTo>
                  <a:lnTo>
                    <a:pt x="2632" y="3862"/>
                  </a:lnTo>
                  <a:lnTo>
                    <a:pt x="2630" y="3864"/>
                  </a:lnTo>
                  <a:lnTo>
                    <a:pt x="2626" y="3864"/>
                  </a:lnTo>
                  <a:lnTo>
                    <a:pt x="2622" y="3862"/>
                  </a:lnTo>
                  <a:lnTo>
                    <a:pt x="2620" y="3864"/>
                  </a:lnTo>
                  <a:lnTo>
                    <a:pt x="2618" y="3866"/>
                  </a:lnTo>
                  <a:lnTo>
                    <a:pt x="2616" y="3870"/>
                  </a:lnTo>
                  <a:lnTo>
                    <a:pt x="2616" y="3872"/>
                  </a:lnTo>
                  <a:lnTo>
                    <a:pt x="2614" y="3874"/>
                  </a:lnTo>
                  <a:lnTo>
                    <a:pt x="2608" y="3882"/>
                  </a:lnTo>
                  <a:lnTo>
                    <a:pt x="2604" y="3886"/>
                  </a:lnTo>
                  <a:lnTo>
                    <a:pt x="2598" y="3890"/>
                  </a:lnTo>
                  <a:lnTo>
                    <a:pt x="2596" y="3896"/>
                  </a:lnTo>
                  <a:lnTo>
                    <a:pt x="2596" y="3908"/>
                  </a:lnTo>
                  <a:lnTo>
                    <a:pt x="2596" y="3920"/>
                  </a:lnTo>
                  <a:lnTo>
                    <a:pt x="2596" y="3926"/>
                  </a:lnTo>
                  <a:lnTo>
                    <a:pt x="2600" y="3932"/>
                  </a:lnTo>
                  <a:lnTo>
                    <a:pt x="2606" y="3938"/>
                  </a:lnTo>
                  <a:close/>
                  <a:moveTo>
                    <a:pt x="3234" y="3626"/>
                  </a:moveTo>
                  <a:lnTo>
                    <a:pt x="3234" y="3626"/>
                  </a:lnTo>
                  <a:lnTo>
                    <a:pt x="3234" y="3624"/>
                  </a:lnTo>
                  <a:lnTo>
                    <a:pt x="3232" y="3624"/>
                  </a:lnTo>
                  <a:lnTo>
                    <a:pt x="3226" y="3626"/>
                  </a:lnTo>
                  <a:lnTo>
                    <a:pt x="3222" y="3632"/>
                  </a:lnTo>
                  <a:lnTo>
                    <a:pt x="3222" y="3634"/>
                  </a:lnTo>
                  <a:lnTo>
                    <a:pt x="3224" y="3636"/>
                  </a:lnTo>
                  <a:lnTo>
                    <a:pt x="3226" y="3636"/>
                  </a:lnTo>
                  <a:lnTo>
                    <a:pt x="3230" y="3634"/>
                  </a:lnTo>
                  <a:lnTo>
                    <a:pt x="3234" y="3626"/>
                  </a:lnTo>
                  <a:close/>
                  <a:moveTo>
                    <a:pt x="3140" y="4236"/>
                  </a:moveTo>
                  <a:lnTo>
                    <a:pt x="3140" y="4236"/>
                  </a:lnTo>
                  <a:lnTo>
                    <a:pt x="3142" y="4224"/>
                  </a:lnTo>
                  <a:lnTo>
                    <a:pt x="3142" y="4222"/>
                  </a:lnTo>
                  <a:lnTo>
                    <a:pt x="3138" y="4224"/>
                  </a:lnTo>
                  <a:lnTo>
                    <a:pt x="3136" y="4226"/>
                  </a:lnTo>
                  <a:lnTo>
                    <a:pt x="3136" y="4230"/>
                  </a:lnTo>
                  <a:lnTo>
                    <a:pt x="3134" y="4236"/>
                  </a:lnTo>
                  <a:lnTo>
                    <a:pt x="3134" y="4240"/>
                  </a:lnTo>
                  <a:lnTo>
                    <a:pt x="3136" y="4242"/>
                  </a:lnTo>
                  <a:lnTo>
                    <a:pt x="3138" y="4242"/>
                  </a:lnTo>
                  <a:lnTo>
                    <a:pt x="3140" y="4236"/>
                  </a:lnTo>
                  <a:close/>
                  <a:moveTo>
                    <a:pt x="3216" y="3638"/>
                  </a:moveTo>
                  <a:lnTo>
                    <a:pt x="3216" y="3638"/>
                  </a:lnTo>
                  <a:lnTo>
                    <a:pt x="3216" y="3634"/>
                  </a:lnTo>
                  <a:lnTo>
                    <a:pt x="3212" y="3632"/>
                  </a:lnTo>
                  <a:lnTo>
                    <a:pt x="3208" y="3632"/>
                  </a:lnTo>
                  <a:lnTo>
                    <a:pt x="3206" y="3636"/>
                  </a:lnTo>
                  <a:lnTo>
                    <a:pt x="3208" y="3638"/>
                  </a:lnTo>
                  <a:lnTo>
                    <a:pt x="3210" y="3640"/>
                  </a:lnTo>
                  <a:lnTo>
                    <a:pt x="3214" y="3640"/>
                  </a:lnTo>
                  <a:lnTo>
                    <a:pt x="3216" y="3638"/>
                  </a:lnTo>
                  <a:close/>
                  <a:moveTo>
                    <a:pt x="3130" y="4102"/>
                  </a:moveTo>
                  <a:lnTo>
                    <a:pt x="3130" y="4102"/>
                  </a:lnTo>
                  <a:lnTo>
                    <a:pt x="3128" y="4106"/>
                  </a:lnTo>
                  <a:lnTo>
                    <a:pt x="3128" y="4108"/>
                  </a:lnTo>
                  <a:lnTo>
                    <a:pt x="3132" y="4120"/>
                  </a:lnTo>
                  <a:lnTo>
                    <a:pt x="3134" y="4124"/>
                  </a:lnTo>
                  <a:lnTo>
                    <a:pt x="3136" y="4124"/>
                  </a:lnTo>
                  <a:lnTo>
                    <a:pt x="3136" y="4120"/>
                  </a:lnTo>
                  <a:lnTo>
                    <a:pt x="3136" y="4116"/>
                  </a:lnTo>
                  <a:lnTo>
                    <a:pt x="3134" y="4104"/>
                  </a:lnTo>
                  <a:lnTo>
                    <a:pt x="3132" y="4102"/>
                  </a:lnTo>
                  <a:lnTo>
                    <a:pt x="3130" y="4102"/>
                  </a:lnTo>
                  <a:close/>
                  <a:moveTo>
                    <a:pt x="3462" y="5402"/>
                  </a:moveTo>
                  <a:lnTo>
                    <a:pt x="3462" y="5402"/>
                  </a:lnTo>
                  <a:lnTo>
                    <a:pt x="3462" y="5410"/>
                  </a:lnTo>
                  <a:lnTo>
                    <a:pt x="3462" y="5414"/>
                  </a:lnTo>
                  <a:lnTo>
                    <a:pt x="3466" y="5416"/>
                  </a:lnTo>
                  <a:lnTo>
                    <a:pt x="3472" y="5418"/>
                  </a:lnTo>
                  <a:lnTo>
                    <a:pt x="3476" y="5418"/>
                  </a:lnTo>
                  <a:lnTo>
                    <a:pt x="3478" y="5416"/>
                  </a:lnTo>
                  <a:lnTo>
                    <a:pt x="3478" y="5412"/>
                  </a:lnTo>
                  <a:lnTo>
                    <a:pt x="3474" y="5404"/>
                  </a:lnTo>
                  <a:lnTo>
                    <a:pt x="3468" y="5398"/>
                  </a:lnTo>
                  <a:lnTo>
                    <a:pt x="3464" y="5394"/>
                  </a:lnTo>
                  <a:lnTo>
                    <a:pt x="3462" y="5396"/>
                  </a:lnTo>
                  <a:lnTo>
                    <a:pt x="3462" y="5402"/>
                  </a:lnTo>
                  <a:close/>
                  <a:moveTo>
                    <a:pt x="4244" y="2492"/>
                  </a:moveTo>
                  <a:lnTo>
                    <a:pt x="4244" y="2492"/>
                  </a:lnTo>
                  <a:lnTo>
                    <a:pt x="4244" y="2496"/>
                  </a:lnTo>
                  <a:lnTo>
                    <a:pt x="4248" y="2496"/>
                  </a:lnTo>
                  <a:lnTo>
                    <a:pt x="4256" y="2492"/>
                  </a:lnTo>
                  <a:lnTo>
                    <a:pt x="4264" y="2486"/>
                  </a:lnTo>
                  <a:lnTo>
                    <a:pt x="4280" y="2470"/>
                  </a:lnTo>
                  <a:lnTo>
                    <a:pt x="4284" y="2464"/>
                  </a:lnTo>
                  <a:lnTo>
                    <a:pt x="4284" y="2460"/>
                  </a:lnTo>
                  <a:lnTo>
                    <a:pt x="4282" y="2460"/>
                  </a:lnTo>
                  <a:lnTo>
                    <a:pt x="4276" y="2460"/>
                  </a:lnTo>
                  <a:lnTo>
                    <a:pt x="4266" y="2466"/>
                  </a:lnTo>
                  <a:lnTo>
                    <a:pt x="4254" y="2476"/>
                  </a:lnTo>
                  <a:lnTo>
                    <a:pt x="4248" y="2484"/>
                  </a:lnTo>
                  <a:lnTo>
                    <a:pt x="4244" y="2492"/>
                  </a:lnTo>
                  <a:close/>
                  <a:moveTo>
                    <a:pt x="4364" y="2396"/>
                  </a:moveTo>
                  <a:lnTo>
                    <a:pt x="4364" y="2396"/>
                  </a:lnTo>
                  <a:lnTo>
                    <a:pt x="4368" y="2398"/>
                  </a:lnTo>
                  <a:lnTo>
                    <a:pt x="4370" y="2396"/>
                  </a:lnTo>
                  <a:lnTo>
                    <a:pt x="4370" y="2394"/>
                  </a:lnTo>
                  <a:lnTo>
                    <a:pt x="4368" y="2392"/>
                  </a:lnTo>
                  <a:lnTo>
                    <a:pt x="4366" y="2390"/>
                  </a:lnTo>
                  <a:lnTo>
                    <a:pt x="4364" y="2392"/>
                  </a:lnTo>
                  <a:lnTo>
                    <a:pt x="4364" y="2394"/>
                  </a:lnTo>
                  <a:lnTo>
                    <a:pt x="4364" y="2396"/>
                  </a:lnTo>
                  <a:close/>
                  <a:moveTo>
                    <a:pt x="4388" y="2374"/>
                  </a:moveTo>
                  <a:lnTo>
                    <a:pt x="4388" y="2374"/>
                  </a:lnTo>
                  <a:lnTo>
                    <a:pt x="4392" y="2376"/>
                  </a:lnTo>
                  <a:lnTo>
                    <a:pt x="4392" y="2374"/>
                  </a:lnTo>
                  <a:lnTo>
                    <a:pt x="4394" y="2370"/>
                  </a:lnTo>
                  <a:lnTo>
                    <a:pt x="4392" y="2368"/>
                  </a:lnTo>
                  <a:lnTo>
                    <a:pt x="4390" y="2366"/>
                  </a:lnTo>
                  <a:lnTo>
                    <a:pt x="4388" y="2368"/>
                  </a:lnTo>
                  <a:lnTo>
                    <a:pt x="4388" y="2372"/>
                  </a:lnTo>
                  <a:lnTo>
                    <a:pt x="4388" y="2374"/>
                  </a:lnTo>
                  <a:close/>
                  <a:moveTo>
                    <a:pt x="264" y="3518"/>
                  </a:moveTo>
                  <a:lnTo>
                    <a:pt x="264" y="3518"/>
                  </a:lnTo>
                  <a:lnTo>
                    <a:pt x="266" y="3518"/>
                  </a:lnTo>
                  <a:lnTo>
                    <a:pt x="264" y="3518"/>
                  </a:lnTo>
                  <a:close/>
                  <a:moveTo>
                    <a:pt x="5798" y="1166"/>
                  </a:moveTo>
                  <a:lnTo>
                    <a:pt x="5798" y="1166"/>
                  </a:lnTo>
                  <a:lnTo>
                    <a:pt x="5790" y="1156"/>
                  </a:lnTo>
                  <a:lnTo>
                    <a:pt x="5782" y="1148"/>
                  </a:lnTo>
                  <a:lnTo>
                    <a:pt x="5772" y="1144"/>
                  </a:lnTo>
                  <a:lnTo>
                    <a:pt x="5760" y="1140"/>
                  </a:lnTo>
                  <a:lnTo>
                    <a:pt x="5732" y="1138"/>
                  </a:lnTo>
                  <a:lnTo>
                    <a:pt x="5698" y="1136"/>
                  </a:lnTo>
                  <a:lnTo>
                    <a:pt x="5692" y="1138"/>
                  </a:lnTo>
                  <a:lnTo>
                    <a:pt x="5688" y="1140"/>
                  </a:lnTo>
                  <a:lnTo>
                    <a:pt x="5686" y="1144"/>
                  </a:lnTo>
                  <a:lnTo>
                    <a:pt x="5686" y="1148"/>
                  </a:lnTo>
                  <a:lnTo>
                    <a:pt x="5690" y="1160"/>
                  </a:lnTo>
                  <a:lnTo>
                    <a:pt x="5696" y="1172"/>
                  </a:lnTo>
                  <a:lnTo>
                    <a:pt x="5702" y="1184"/>
                  </a:lnTo>
                  <a:lnTo>
                    <a:pt x="5704" y="1190"/>
                  </a:lnTo>
                  <a:lnTo>
                    <a:pt x="5704" y="1192"/>
                  </a:lnTo>
                  <a:lnTo>
                    <a:pt x="5700" y="1192"/>
                  </a:lnTo>
                  <a:lnTo>
                    <a:pt x="5684" y="1186"/>
                  </a:lnTo>
                  <a:lnTo>
                    <a:pt x="5676" y="1180"/>
                  </a:lnTo>
                  <a:lnTo>
                    <a:pt x="5670" y="1174"/>
                  </a:lnTo>
                  <a:lnTo>
                    <a:pt x="5666" y="1168"/>
                  </a:lnTo>
                  <a:lnTo>
                    <a:pt x="5664" y="1162"/>
                  </a:lnTo>
                  <a:lnTo>
                    <a:pt x="5664" y="1150"/>
                  </a:lnTo>
                  <a:lnTo>
                    <a:pt x="5666" y="1138"/>
                  </a:lnTo>
                  <a:lnTo>
                    <a:pt x="5666" y="1126"/>
                  </a:lnTo>
                  <a:lnTo>
                    <a:pt x="5664" y="1120"/>
                  </a:lnTo>
                  <a:lnTo>
                    <a:pt x="5660" y="1114"/>
                  </a:lnTo>
                  <a:lnTo>
                    <a:pt x="5654" y="1106"/>
                  </a:lnTo>
                  <a:lnTo>
                    <a:pt x="5646" y="1100"/>
                  </a:lnTo>
                  <a:lnTo>
                    <a:pt x="5634" y="1092"/>
                  </a:lnTo>
                  <a:lnTo>
                    <a:pt x="5618" y="1084"/>
                  </a:lnTo>
                  <a:lnTo>
                    <a:pt x="5580" y="1068"/>
                  </a:lnTo>
                  <a:lnTo>
                    <a:pt x="5546" y="1050"/>
                  </a:lnTo>
                  <a:lnTo>
                    <a:pt x="5478" y="1014"/>
                  </a:lnTo>
                  <a:lnTo>
                    <a:pt x="5478" y="1008"/>
                  </a:lnTo>
                  <a:lnTo>
                    <a:pt x="5448" y="994"/>
                  </a:lnTo>
                  <a:lnTo>
                    <a:pt x="5418" y="982"/>
                  </a:lnTo>
                  <a:lnTo>
                    <a:pt x="5386" y="970"/>
                  </a:lnTo>
                  <a:lnTo>
                    <a:pt x="5356" y="962"/>
                  </a:lnTo>
                  <a:lnTo>
                    <a:pt x="5310" y="952"/>
                  </a:lnTo>
                  <a:lnTo>
                    <a:pt x="5294" y="946"/>
                  </a:lnTo>
                  <a:lnTo>
                    <a:pt x="5270" y="944"/>
                  </a:lnTo>
                  <a:lnTo>
                    <a:pt x="5210" y="940"/>
                  </a:lnTo>
                  <a:lnTo>
                    <a:pt x="5170" y="936"/>
                  </a:lnTo>
                  <a:lnTo>
                    <a:pt x="5144" y="930"/>
                  </a:lnTo>
                  <a:lnTo>
                    <a:pt x="5126" y="924"/>
                  </a:lnTo>
                  <a:lnTo>
                    <a:pt x="5116" y="918"/>
                  </a:lnTo>
                  <a:lnTo>
                    <a:pt x="5108" y="916"/>
                  </a:lnTo>
                  <a:lnTo>
                    <a:pt x="5102" y="918"/>
                  </a:lnTo>
                  <a:lnTo>
                    <a:pt x="5096" y="926"/>
                  </a:lnTo>
                  <a:lnTo>
                    <a:pt x="5086" y="942"/>
                  </a:lnTo>
                  <a:lnTo>
                    <a:pt x="5080" y="950"/>
                  </a:lnTo>
                  <a:lnTo>
                    <a:pt x="5078" y="958"/>
                  </a:lnTo>
                  <a:lnTo>
                    <a:pt x="5078" y="964"/>
                  </a:lnTo>
                  <a:lnTo>
                    <a:pt x="5080" y="968"/>
                  </a:lnTo>
                  <a:lnTo>
                    <a:pt x="5084" y="972"/>
                  </a:lnTo>
                  <a:lnTo>
                    <a:pt x="5088" y="974"/>
                  </a:lnTo>
                  <a:lnTo>
                    <a:pt x="5100" y="978"/>
                  </a:lnTo>
                  <a:lnTo>
                    <a:pt x="5110" y="982"/>
                  </a:lnTo>
                  <a:lnTo>
                    <a:pt x="5114" y="986"/>
                  </a:lnTo>
                  <a:lnTo>
                    <a:pt x="5116" y="988"/>
                  </a:lnTo>
                  <a:lnTo>
                    <a:pt x="5116" y="992"/>
                  </a:lnTo>
                  <a:lnTo>
                    <a:pt x="5114" y="998"/>
                  </a:lnTo>
                  <a:lnTo>
                    <a:pt x="5108" y="1004"/>
                  </a:lnTo>
                  <a:lnTo>
                    <a:pt x="5100" y="1012"/>
                  </a:lnTo>
                  <a:lnTo>
                    <a:pt x="5084" y="1024"/>
                  </a:lnTo>
                  <a:lnTo>
                    <a:pt x="5076" y="1028"/>
                  </a:lnTo>
                  <a:lnTo>
                    <a:pt x="5072" y="1030"/>
                  </a:lnTo>
                  <a:lnTo>
                    <a:pt x="5068" y="1028"/>
                  </a:lnTo>
                  <a:lnTo>
                    <a:pt x="5064" y="1026"/>
                  </a:lnTo>
                  <a:lnTo>
                    <a:pt x="5058" y="1020"/>
                  </a:lnTo>
                  <a:lnTo>
                    <a:pt x="5052" y="1012"/>
                  </a:lnTo>
                  <a:lnTo>
                    <a:pt x="5044" y="1004"/>
                  </a:lnTo>
                  <a:lnTo>
                    <a:pt x="5040" y="1000"/>
                  </a:lnTo>
                  <a:lnTo>
                    <a:pt x="5034" y="996"/>
                  </a:lnTo>
                  <a:lnTo>
                    <a:pt x="5028" y="996"/>
                  </a:lnTo>
                  <a:lnTo>
                    <a:pt x="5020" y="994"/>
                  </a:lnTo>
                  <a:lnTo>
                    <a:pt x="5012" y="994"/>
                  </a:lnTo>
                  <a:lnTo>
                    <a:pt x="5006" y="992"/>
                  </a:lnTo>
                  <a:lnTo>
                    <a:pt x="5004" y="990"/>
                  </a:lnTo>
                  <a:lnTo>
                    <a:pt x="5002" y="988"/>
                  </a:lnTo>
                  <a:lnTo>
                    <a:pt x="5000" y="978"/>
                  </a:lnTo>
                  <a:lnTo>
                    <a:pt x="5000" y="970"/>
                  </a:lnTo>
                  <a:lnTo>
                    <a:pt x="5000" y="962"/>
                  </a:lnTo>
                  <a:lnTo>
                    <a:pt x="4998" y="960"/>
                  </a:lnTo>
                  <a:lnTo>
                    <a:pt x="4994" y="958"/>
                  </a:lnTo>
                  <a:lnTo>
                    <a:pt x="4988" y="956"/>
                  </a:lnTo>
                  <a:lnTo>
                    <a:pt x="4980" y="958"/>
                  </a:lnTo>
                  <a:lnTo>
                    <a:pt x="4958" y="964"/>
                  </a:lnTo>
                  <a:lnTo>
                    <a:pt x="4944" y="968"/>
                  </a:lnTo>
                  <a:lnTo>
                    <a:pt x="4930" y="970"/>
                  </a:lnTo>
                  <a:lnTo>
                    <a:pt x="4920" y="972"/>
                  </a:lnTo>
                  <a:lnTo>
                    <a:pt x="4908" y="972"/>
                  </a:lnTo>
                  <a:lnTo>
                    <a:pt x="4890" y="968"/>
                  </a:lnTo>
                  <a:lnTo>
                    <a:pt x="4870" y="964"/>
                  </a:lnTo>
                  <a:lnTo>
                    <a:pt x="4850" y="958"/>
                  </a:lnTo>
                  <a:lnTo>
                    <a:pt x="4828" y="954"/>
                  </a:lnTo>
                  <a:lnTo>
                    <a:pt x="4814" y="954"/>
                  </a:lnTo>
                  <a:lnTo>
                    <a:pt x="4800" y="954"/>
                  </a:lnTo>
                  <a:lnTo>
                    <a:pt x="4784" y="956"/>
                  </a:lnTo>
                  <a:lnTo>
                    <a:pt x="4766" y="958"/>
                  </a:lnTo>
                  <a:lnTo>
                    <a:pt x="4732" y="966"/>
                  </a:lnTo>
                  <a:lnTo>
                    <a:pt x="4706" y="966"/>
                  </a:lnTo>
                  <a:lnTo>
                    <a:pt x="4686" y="964"/>
                  </a:lnTo>
                  <a:lnTo>
                    <a:pt x="4674" y="960"/>
                  </a:lnTo>
                  <a:lnTo>
                    <a:pt x="4668" y="956"/>
                  </a:lnTo>
                  <a:lnTo>
                    <a:pt x="4666" y="952"/>
                  </a:lnTo>
                  <a:lnTo>
                    <a:pt x="4662" y="944"/>
                  </a:lnTo>
                  <a:lnTo>
                    <a:pt x="4664" y="934"/>
                  </a:lnTo>
                  <a:lnTo>
                    <a:pt x="4668" y="924"/>
                  </a:lnTo>
                  <a:lnTo>
                    <a:pt x="4670" y="918"/>
                  </a:lnTo>
                  <a:lnTo>
                    <a:pt x="4670" y="912"/>
                  </a:lnTo>
                  <a:lnTo>
                    <a:pt x="4668" y="906"/>
                  </a:lnTo>
                  <a:lnTo>
                    <a:pt x="4662" y="898"/>
                  </a:lnTo>
                  <a:lnTo>
                    <a:pt x="4656" y="892"/>
                  </a:lnTo>
                  <a:lnTo>
                    <a:pt x="4648" y="884"/>
                  </a:lnTo>
                  <a:lnTo>
                    <a:pt x="4636" y="878"/>
                  </a:lnTo>
                  <a:lnTo>
                    <a:pt x="4624" y="872"/>
                  </a:lnTo>
                  <a:lnTo>
                    <a:pt x="4608" y="868"/>
                  </a:lnTo>
                  <a:lnTo>
                    <a:pt x="4592" y="862"/>
                  </a:lnTo>
                  <a:lnTo>
                    <a:pt x="4572" y="860"/>
                  </a:lnTo>
                  <a:lnTo>
                    <a:pt x="4552" y="856"/>
                  </a:lnTo>
                  <a:lnTo>
                    <a:pt x="4528" y="856"/>
                  </a:lnTo>
                  <a:lnTo>
                    <a:pt x="4504" y="856"/>
                  </a:lnTo>
                  <a:lnTo>
                    <a:pt x="4476" y="860"/>
                  </a:lnTo>
                  <a:lnTo>
                    <a:pt x="4448" y="864"/>
                  </a:lnTo>
                  <a:lnTo>
                    <a:pt x="4420" y="868"/>
                  </a:lnTo>
                  <a:lnTo>
                    <a:pt x="4396" y="870"/>
                  </a:lnTo>
                  <a:lnTo>
                    <a:pt x="4374" y="868"/>
                  </a:lnTo>
                  <a:lnTo>
                    <a:pt x="4358" y="866"/>
                  </a:lnTo>
                  <a:lnTo>
                    <a:pt x="4342" y="860"/>
                  </a:lnTo>
                  <a:lnTo>
                    <a:pt x="4328" y="854"/>
                  </a:lnTo>
                  <a:lnTo>
                    <a:pt x="4318" y="848"/>
                  </a:lnTo>
                  <a:lnTo>
                    <a:pt x="4308" y="840"/>
                  </a:lnTo>
                  <a:lnTo>
                    <a:pt x="4292" y="822"/>
                  </a:lnTo>
                  <a:lnTo>
                    <a:pt x="4278" y="804"/>
                  </a:lnTo>
                  <a:lnTo>
                    <a:pt x="4264" y="788"/>
                  </a:lnTo>
                  <a:lnTo>
                    <a:pt x="4256" y="782"/>
                  </a:lnTo>
                  <a:lnTo>
                    <a:pt x="4246" y="778"/>
                  </a:lnTo>
                  <a:lnTo>
                    <a:pt x="4228" y="772"/>
                  </a:lnTo>
                  <a:lnTo>
                    <a:pt x="4214" y="768"/>
                  </a:lnTo>
                  <a:lnTo>
                    <a:pt x="4186" y="768"/>
                  </a:lnTo>
                  <a:lnTo>
                    <a:pt x="4154" y="764"/>
                  </a:lnTo>
                  <a:lnTo>
                    <a:pt x="4130" y="762"/>
                  </a:lnTo>
                  <a:lnTo>
                    <a:pt x="4100" y="754"/>
                  </a:lnTo>
                  <a:lnTo>
                    <a:pt x="4068" y="748"/>
                  </a:lnTo>
                  <a:lnTo>
                    <a:pt x="4044" y="744"/>
                  </a:lnTo>
                  <a:lnTo>
                    <a:pt x="4002" y="740"/>
                  </a:lnTo>
                  <a:lnTo>
                    <a:pt x="3964" y="738"/>
                  </a:lnTo>
                  <a:lnTo>
                    <a:pt x="3944" y="734"/>
                  </a:lnTo>
                  <a:lnTo>
                    <a:pt x="3922" y="730"/>
                  </a:lnTo>
                  <a:lnTo>
                    <a:pt x="3902" y="724"/>
                  </a:lnTo>
                  <a:lnTo>
                    <a:pt x="3892" y="724"/>
                  </a:lnTo>
                  <a:lnTo>
                    <a:pt x="3892" y="726"/>
                  </a:lnTo>
                  <a:lnTo>
                    <a:pt x="3890" y="728"/>
                  </a:lnTo>
                  <a:lnTo>
                    <a:pt x="3890" y="734"/>
                  </a:lnTo>
                  <a:lnTo>
                    <a:pt x="3892" y="740"/>
                  </a:lnTo>
                  <a:lnTo>
                    <a:pt x="3890" y="744"/>
                  </a:lnTo>
                  <a:lnTo>
                    <a:pt x="3888" y="746"/>
                  </a:lnTo>
                  <a:lnTo>
                    <a:pt x="3882" y="750"/>
                  </a:lnTo>
                  <a:lnTo>
                    <a:pt x="3876" y="752"/>
                  </a:lnTo>
                  <a:lnTo>
                    <a:pt x="3854" y="754"/>
                  </a:lnTo>
                  <a:lnTo>
                    <a:pt x="3842" y="756"/>
                  </a:lnTo>
                  <a:lnTo>
                    <a:pt x="3834" y="758"/>
                  </a:lnTo>
                  <a:lnTo>
                    <a:pt x="3830" y="764"/>
                  </a:lnTo>
                  <a:lnTo>
                    <a:pt x="3830" y="768"/>
                  </a:lnTo>
                  <a:lnTo>
                    <a:pt x="3832" y="776"/>
                  </a:lnTo>
                  <a:lnTo>
                    <a:pt x="3836" y="782"/>
                  </a:lnTo>
                  <a:lnTo>
                    <a:pt x="3846" y="798"/>
                  </a:lnTo>
                  <a:lnTo>
                    <a:pt x="3856" y="812"/>
                  </a:lnTo>
                  <a:lnTo>
                    <a:pt x="3860" y="818"/>
                  </a:lnTo>
                  <a:lnTo>
                    <a:pt x="3862" y="822"/>
                  </a:lnTo>
                  <a:lnTo>
                    <a:pt x="3860" y="826"/>
                  </a:lnTo>
                  <a:lnTo>
                    <a:pt x="3856" y="828"/>
                  </a:lnTo>
                  <a:lnTo>
                    <a:pt x="3848" y="826"/>
                  </a:lnTo>
                  <a:lnTo>
                    <a:pt x="3836" y="824"/>
                  </a:lnTo>
                  <a:lnTo>
                    <a:pt x="3810" y="818"/>
                  </a:lnTo>
                  <a:lnTo>
                    <a:pt x="3792" y="818"/>
                  </a:lnTo>
                  <a:lnTo>
                    <a:pt x="3778" y="818"/>
                  </a:lnTo>
                  <a:lnTo>
                    <a:pt x="3770" y="820"/>
                  </a:lnTo>
                  <a:lnTo>
                    <a:pt x="3760" y="824"/>
                  </a:lnTo>
                  <a:lnTo>
                    <a:pt x="3750" y="824"/>
                  </a:lnTo>
                  <a:lnTo>
                    <a:pt x="3736" y="824"/>
                  </a:lnTo>
                  <a:lnTo>
                    <a:pt x="3716" y="820"/>
                  </a:lnTo>
                  <a:lnTo>
                    <a:pt x="3704" y="818"/>
                  </a:lnTo>
                  <a:lnTo>
                    <a:pt x="3694" y="818"/>
                  </a:lnTo>
                  <a:lnTo>
                    <a:pt x="3686" y="818"/>
                  </a:lnTo>
                  <a:lnTo>
                    <a:pt x="3676" y="820"/>
                  </a:lnTo>
                  <a:lnTo>
                    <a:pt x="3662" y="826"/>
                  </a:lnTo>
                  <a:lnTo>
                    <a:pt x="3650" y="832"/>
                  </a:lnTo>
                  <a:lnTo>
                    <a:pt x="3638" y="836"/>
                  </a:lnTo>
                  <a:lnTo>
                    <a:pt x="3632" y="838"/>
                  </a:lnTo>
                  <a:lnTo>
                    <a:pt x="3624" y="836"/>
                  </a:lnTo>
                  <a:lnTo>
                    <a:pt x="3616" y="836"/>
                  </a:lnTo>
                  <a:lnTo>
                    <a:pt x="3608" y="832"/>
                  </a:lnTo>
                  <a:lnTo>
                    <a:pt x="3598" y="826"/>
                  </a:lnTo>
                  <a:lnTo>
                    <a:pt x="3586" y="818"/>
                  </a:lnTo>
                  <a:lnTo>
                    <a:pt x="3576" y="812"/>
                  </a:lnTo>
                  <a:lnTo>
                    <a:pt x="3566" y="810"/>
                  </a:lnTo>
                  <a:lnTo>
                    <a:pt x="3558" y="810"/>
                  </a:lnTo>
                  <a:lnTo>
                    <a:pt x="3552" y="814"/>
                  </a:lnTo>
                  <a:lnTo>
                    <a:pt x="3546" y="820"/>
                  </a:lnTo>
                  <a:lnTo>
                    <a:pt x="3540" y="828"/>
                  </a:lnTo>
                  <a:lnTo>
                    <a:pt x="3530" y="848"/>
                  </a:lnTo>
                  <a:lnTo>
                    <a:pt x="3520" y="864"/>
                  </a:lnTo>
                  <a:lnTo>
                    <a:pt x="3514" y="872"/>
                  </a:lnTo>
                  <a:lnTo>
                    <a:pt x="3508" y="876"/>
                  </a:lnTo>
                  <a:lnTo>
                    <a:pt x="3500" y="878"/>
                  </a:lnTo>
                  <a:lnTo>
                    <a:pt x="3492" y="878"/>
                  </a:lnTo>
                  <a:lnTo>
                    <a:pt x="3482" y="872"/>
                  </a:lnTo>
                  <a:lnTo>
                    <a:pt x="3470" y="864"/>
                  </a:lnTo>
                  <a:lnTo>
                    <a:pt x="3428" y="824"/>
                  </a:lnTo>
                  <a:lnTo>
                    <a:pt x="3402" y="796"/>
                  </a:lnTo>
                  <a:lnTo>
                    <a:pt x="3390" y="784"/>
                  </a:lnTo>
                  <a:lnTo>
                    <a:pt x="3380" y="776"/>
                  </a:lnTo>
                  <a:lnTo>
                    <a:pt x="3368" y="768"/>
                  </a:lnTo>
                  <a:lnTo>
                    <a:pt x="3352" y="762"/>
                  </a:lnTo>
                  <a:lnTo>
                    <a:pt x="3346" y="760"/>
                  </a:lnTo>
                  <a:lnTo>
                    <a:pt x="3342" y="760"/>
                  </a:lnTo>
                  <a:lnTo>
                    <a:pt x="3338" y="762"/>
                  </a:lnTo>
                  <a:lnTo>
                    <a:pt x="3338" y="764"/>
                  </a:lnTo>
                  <a:lnTo>
                    <a:pt x="3340" y="772"/>
                  </a:lnTo>
                  <a:lnTo>
                    <a:pt x="3344" y="782"/>
                  </a:lnTo>
                  <a:lnTo>
                    <a:pt x="3348" y="792"/>
                  </a:lnTo>
                  <a:lnTo>
                    <a:pt x="3350" y="798"/>
                  </a:lnTo>
                  <a:lnTo>
                    <a:pt x="3348" y="798"/>
                  </a:lnTo>
                  <a:lnTo>
                    <a:pt x="3346" y="798"/>
                  </a:lnTo>
                  <a:lnTo>
                    <a:pt x="3336" y="790"/>
                  </a:lnTo>
                  <a:lnTo>
                    <a:pt x="3318" y="778"/>
                  </a:lnTo>
                  <a:lnTo>
                    <a:pt x="3296" y="766"/>
                  </a:lnTo>
                  <a:lnTo>
                    <a:pt x="3270" y="754"/>
                  </a:lnTo>
                  <a:lnTo>
                    <a:pt x="3242" y="744"/>
                  </a:lnTo>
                  <a:lnTo>
                    <a:pt x="3208" y="734"/>
                  </a:lnTo>
                  <a:lnTo>
                    <a:pt x="3170" y="728"/>
                  </a:lnTo>
                  <a:lnTo>
                    <a:pt x="3128" y="722"/>
                  </a:lnTo>
                  <a:lnTo>
                    <a:pt x="3082" y="716"/>
                  </a:lnTo>
                  <a:lnTo>
                    <a:pt x="3030" y="712"/>
                  </a:lnTo>
                  <a:lnTo>
                    <a:pt x="3012" y="708"/>
                  </a:lnTo>
                  <a:lnTo>
                    <a:pt x="3000" y="704"/>
                  </a:lnTo>
                  <a:lnTo>
                    <a:pt x="2994" y="702"/>
                  </a:lnTo>
                  <a:lnTo>
                    <a:pt x="2992" y="698"/>
                  </a:lnTo>
                  <a:lnTo>
                    <a:pt x="2992" y="694"/>
                  </a:lnTo>
                  <a:lnTo>
                    <a:pt x="2994" y="690"/>
                  </a:lnTo>
                  <a:lnTo>
                    <a:pt x="3002" y="684"/>
                  </a:lnTo>
                  <a:lnTo>
                    <a:pt x="3008" y="678"/>
                  </a:lnTo>
                  <a:lnTo>
                    <a:pt x="3008" y="676"/>
                  </a:lnTo>
                  <a:lnTo>
                    <a:pt x="3006" y="674"/>
                  </a:lnTo>
                  <a:lnTo>
                    <a:pt x="3002" y="672"/>
                  </a:lnTo>
                  <a:lnTo>
                    <a:pt x="2992" y="670"/>
                  </a:lnTo>
                  <a:lnTo>
                    <a:pt x="2946" y="666"/>
                  </a:lnTo>
                  <a:lnTo>
                    <a:pt x="2904" y="664"/>
                  </a:lnTo>
                  <a:lnTo>
                    <a:pt x="2864" y="664"/>
                  </a:lnTo>
                  <a:lnTo>
                    <a:pt x="2844" y="666"/>
                  </a:lnTo>
                  <a:lnTo>
                    <a:pt x="2822" y="670"/>
                  </a:lnTo>
                  <a:lnTo>
                    <a:pt x="2814" y="670"/>
                  </a:lnTo>
                  <a:lnTo>
                    <a:pt x="2806" y="670"/>
                  </a:lnTo>
                  <a:lnTo>
                    <a:pt x="2800" y="670"/>
                  </a:lnTo>
                  <a:lnTo>
                    <a:pt x="2794" y="668"/>
                  </a:lnTo>
                  <a:lnTo>
                    <a:pt x="2790" y="662"/>
                  </a:lnTo>
                  <a:lnTo>
                    <a:pt x="2786" y="654"/>
                  </a:lnTo>
                  <a:lnTo>
                    <a:pt x="2784" y="648"/>
                  </a:lnTo>
                  <a:lnTo>
                    <a:pt x="2780" y="644"/>
                  </a:lnTo>
                  <a:lnTo>
                    <a:pt x="2778" y="642"/>
                  </a:lnTo>
                  <a:lnTo>
                    <a:pt x="2774" y="642"/>
                  </a:lnTo>
                  <a:lnTo>
                    <a:pt x="2762" y="648"/>
                  </a:lnTo>
                  <a:lnTo>
                    <a:pt x="2748" y="654"/>
                  </a:lnTo>
                  <a:lnTo>
                    <a:pt x="2738" y="654"/>
                  </a:lnTo>
                  <a:lnTo>
                    <a:pt x="2730" y="652"/>
                  </a:lnTo>
                  <a:lnTo>
                    <a:pt x="2722" y="648"/>
                  </a:lnTo>
                  <a:lnTo>
                    <a:pt x="2714" y="644"/>
                  </a:lnTo>
                  <a:lnTo>
                    <a:pt x="2704" y="640"/>
                  </a:lnTo>
                  <a:lnTo>
                    <a:pt x="2692" y="638"/>
                  </a:lnTo>
                  <a:lnTo>
                    <a:pt x="2676" y="640"/>
                  </a:lnTo>
                  <a:lnTo>
                    <a:pt x="2660" y="644"/>
                  </a:lnTo>
                  <a:lnTo>
                    <a:pt x="2652" y="650"/>
                  </a:lnTo>
                  <a:lnTo>
                    <a:pt x="2650" y="658"/>
                  </a:lnTo>
                  <a:lnTo>
                    <a:pt x="2648" y="664"/>
                  </a:lnTo>
                  <a:lnTo>
                    <a:pt x="2642" y="672"/>
                  </a:lnTo>
                  <a:lnTo>
                    <a:pt x="2634" y="680"/>
                  </a:lnTo>
                  <a:lnTo>
                    <a:pt x="2614" y="686"/>
                  </a:lnTo>
                  <a:lnTo>
                    <a:pt x="2586" y="692"/>
                  </a:lnTo>
                  <a:lnTo>
                    <a:pt x="2554" y="696"/>
                  </a:lnTo>
                  <a:lnTo>
                    <a:pt x="2530" y="698"/>
                  </a:lnTo>
                  <a:lnTo>
                    <a:pt x="2516" y="696"/>
                  </a:lnTo>
                  <a:lnTo>
                    <a:pt x="2512" y="694"/>
                  </a:lnTo>
                  <a:lnTo>
                    <a:pt x="2512" y="692"/>
                  </a:lnTo>
                  <a:lnTo>
                    <a:pt x="2512" y="690"/>
                  </a:lnTo>
                  <a:lnTo>
                    <a:pt x="2516" y="686"/>
                  </a:lnTo>
                  <a:lnTo>
                    <a:pt x="2528" y="676"/>
                  </a:lnTo>
                  <a:lnTo>
                    <a:pt x="2550" y="666"/>
                  </a:lnTo>
                  <a:lnTo>
                    <a:pt x="2580" y="652"/>
                  </a:lnTo>
                  <a:lnTo>
                    <a:pt x="2610" y="640"/>
                  </a:lnTo>
                  <a:lnTo>
                    <a:pt x="2632" y="628"/>
                  </a:lnTo>
                  <a:lnTo>
                    <a:pt x="2660" y="610"/>
                  </a:lnTo>
                  <a:lnTo>
                    <a:pt x="2672" y="602"/>
                  </a:lnTo>
                  <a:lnTo>
                    <a:pt x="2688" y="594"/>
                  </a:lnTo>
                  <a:lnTo>
                    <a:pt x="2706" y="586"/>
                  </a:lnTo>
                  <a:lnTo>
                    <a:pt x="2734" y="576"/>
                  </a:lnTo>
                  <a:lnTo>
                    <a:pt x="2762" y="566"/>
                  </a:lnTo>
                  <a:lnTo>
                    <a:pt x="2782" y="554"/>
                  </a:lnTo>
                  <a:lnTo>
                    <a:pt x="2788" y="548"/>
                  </a:lnTo>
                  <a:lnTo>
                    <a:pt x="2794" y="542"/>
                  </a:lnTo>
                  <a:lnTo>
                    <a:pt x="2802" y="528"/>
                  </a:lnTo>
                  <a:lnTo>
                    <a:pt x="2806" y="514"/>
                  </a:lnTo>
                  <a:lnTo>
                    <a:pt x="2806" y="502"/>
                  </a:lnTo>
                  <a:lnTo>
                    <a:pt x="2802" y="490"/>
                  </a:lnTo>
                  <a:lnTo>
                    <a:pt x="2798" y="478"/>
                  </a:lnTo>
                  <a:lnTo>
                    <a:pt x="2792" y="470"/>
                  </a:lnTo>
                  <a:lnTo>
                    <a:pt x="2784" y="464"/>
                  </a:lnTo>
                  <a:lnTo>
                    <a:pt x="2776" y="462"/>
                  </a:lnTo>
                  <a:lnTo>
                    <a:pt x="2768" y="460"/>
                  </a:lnTo>
                  <a:lnTo>
                    <a:pt x="2748" y="454"/>
                  </a:lnTo>
                  <a:lnTo>
                    <a:pt x="2738" y="448"/>
                  </a:lnTo>
                  <a:lnTo>
                    <a:pt x="2724" y="438"/>
                  </a:lnTo>
                  <a:lnTo>
                    <a:pt x="2712" y="430"/>
                  </a:lnTo>
                  <a:lnTo>
                    <a:pt x="2700" y="426"/>
                  </a:lnTo>
                  <a:lnTo>
                    <a:pt x="2686" y="424"/>
                  </a:lnTo>
                  <a:lnTo>
                    <a:pt x="2672" y="424"/>
                  </a:lnTo>
                  <a:lnTo>
                    <a:pt x="2644" y="428"/>
                  </a:lnTo>
                  <a:lnTo>
                    <a:pt x="2628" y="428"/>
                  </a:lnTo>
                  <a:lnTo>
                    <a:pt x="2612" y="426"/>
                  </a:lnTo>
                  <a:lnTo>
                    <a:pt x="2598" y="424"/>
                  </a:lnTo>
                  <a:lnTo>
                    <a:pt x="2590" y="424"/>
                  </a:lnTo>
                  <a:lnTo>
                    <a:pt x="2582" y="426"/>
                  </a:lnTo>
                  <a:lnTo>
                    <a:pt x="2578" y="428"/>
                  </a:lnTo>
                  <a:lnTo>
                    <a:pt x="2574" y="432"/>
                  </a:lnTo>
                  <a:lnTo>
                    <a:pt x="2566" y="436"/>
                  </a:lnTo>
                  <a:lnTo>
                    <a:pt x="2554" y="440"/>
                  </a:lnTo>
                  <a:lnTo>
                    <a:pt x="2538" y="444"/>
                  </a:lnTo>
                  <a:lnTo>
                    <a:pt x="2516" y="444"/>
                  </a:lnTo>
                  <a:lnTo>
                    <a:pt x="2512" y="444"/>
                  </a:lnTo>
                  <a:lnTo>
                    <a:pt x="2512" y="442"/>
                  </a:lnTo>
                  <a:lnTo>
                    <a:pt x="2516" y="436"/>
                  </a:lnTo>
                  <a:lnTo>
                    <a:pt x="2528" y="428"/>
                  </a:lnTo>
                  <a:lnTo>
                    <a:pt x="2538" y="420"/>
                  </a:lnTo>
                  <a:lnTo>
                    <a:pt x="2540" y="416"/>
                  </a:lnTo>
                  <a:lnTo>
                    <a:pt x="2542" y="412"/>
                  </a:lnTo>
                  <a:lnTo>
                    <a:pt x="2540" y="410"/>
                  </a:lnTo>
                  <a:lnTo>
                    <a:pt x="2534" y="406"/>
                  </a:lnTo>
                  <a:lnTo>
                    <a:pt x="2524" y="404"/>
                  </a:lnTo>
                  <a:lnTo>
                    <a:pt x="2508" y="402"/>
                  </a:lnTo>
                  <a:lnTo>
                    <a:pt x="2478" y="400"/>
                  </a:lnTo>
                  <a:lnTo>
                    <a:pt x="2458" y="398"/>
                  </a:lnTo>
                  <a:lnTo>
                    <a:pt x="2448" y="394"/>
                  </a:lnTo>
                  <a:lnTo>
                    <a:pt x="2446" y="394"/>
                  </a:lnTo>
                  <a:lnTo>
                    <a:pt x="2446" y="392"/>
                  </a:lnTo>
                  <a:lnTo>
                    <a:pt x="2450" y="388"/>
                  </a:lnTo>
                  <a:lnTo>
                    <a:pt x="2458" y="386"/>
                  </a:lnTo>
                  <a:lnTo>
                    <a:pt x="2486" y="378"/>
                  </a:lnTo>
                  <a:lnTo>
                    <a:pt x="2492" y="376"/>
                  </a:lnTo>
                  <a:lnTo>
                    <a:pt x="2496" y="374"/>
                  </a:lnTo>
                  <a:lnTo>
                    <a:pt x="2496" y="370"/>
                  </a:lnTo>
                  <a:lnTo>
                    <a:pt x="2496" y="366"/>
                  </a:lnTo>
                  <a:lnTo>
                    <a:pt x="2492" y="364"/>
                  </a:lnTo>
                  <a:lnTo>
                    <a:pt x="2486" y="360"/>
                  </a:lnTo>
                  <a:lnTo>
                    <a:pt x="2470" y="352"/>
                  </a:lnTo>
                  <a:lnTo>
                    <a:pt x="2448" y="348"/>
                  </a:lnTo>
                  <a:lnTo>
                    <a:pt x="2422" y="348"/>
                  </a:lnTo>
                  <a:lnTo>
                    <a:pt x="2408" y="348"/>
                  </a:lnTo>
                  <a:lnTo>
                    <a:pt x="2392" y="352"/>
                  </a:lnTo>
                  <a:lnTo>
                    <a:pt x="2378" y="356"/>
                  </a:lnTo>
                  <a:lnTo>
                    <a:pt x="2362" y="362"/>
                  </a:lnTo>
                  <a:lnTo>
                    <a:pt x="2342" y="370"/>
                  </a:lnTo>
                  <a:lnTo>
                    <a:pt x="2326" y="380"/>
                  </a:lnTo>
                  <a:lnTo>
                    <a:pt x="2314" y="388"/>
                  </a:lnTo>
                  <a:lnTo>
                    <a:pt x="2304" y="396"/>
                  </a:lnTo>
                  <a:lnTo>
                    <a:pt x="2296" y="402"/>
                  </a:lnTo>
                  <a:lnTo>
                    <a:pt x="2292" y="408"/>
                  </a:lnTo>
                  <a:lnTo>
                    <a:pt x="2286" y="420"/>
                  </a:lnTo>
                  <a:lnTo>
                    <a:pt x="2284" y="428"/>
                  </a:lnTo>
                  <a:lnTo>
                    <a:pt x="2280" y="434"/>
                  </a:lnTo>
                  <a:lnTo>
                    <a:pt x="2276" y="436"/>
                  </a:lnTo>
                  <a:lnTo>
                    <a:pt x="2272" y="438"/>
                  </a:lnTo>
                  <a:lnTo>
                    <a:pt x="2256" y="440"/>
                  </a:lnTo>
                  <a:lnTo>
                    <a:pt x="2224" y="442"/>
                  </a:lnTo>
                  <a:lnTo>
                    <a:pt x="2208" y="444"/>
                  </a:lnTo>
                  <a:lnTo>
                    <a:pt x="2206" y="444"/>
                  </a:lnTo>
                  <a:lnTo>
                    <a:pt x="2206" y="446"/>
                  </a:lnTo>
                  <a:lnTo>
                    <a:pt x="2206" y="448"/>
                  </a:lnTo>
                  <a:lnTo>
                    <a:pt x="2210" y="452"/>
                  </a:lnTo>
                  <a:lnTo>
                    <a:pt x="2208" y="456"/>
                  </a:lnTo>
                  <a:lnTo>
                    <a:pt x="2206" y="458"/>
                  </a:lnTo>
                  <a:lnTo>
                    <a:pt x="2192" y="464"/>
                  </a:lnTo>
                  <a:lnTo>
                    <a:pt x="2162" y="472"/>
                  </a:lnTo>
                  <a:lnTo>
                    <a:pt x="2132" y="478"/>
                  </a:lnTo>
                  <a:lnTo>
                    <a:pt x="2118" y="478"/>
                  </a:lnTo>
                  <a:lnTo>
                    <a:pt x="2114" y="476"/>
                  </a:lnTo>
                  <a:lnTo>
                    <a:pt x="2112" y="474"/>
                  </a:lnTo>
                  <a:lnTo>
                    <a:pt x="2112" y="470"/>
                  </a:lnTo>
                  <a:lnTo>
                    <a:pt x="2110" y="468"/>
                  </a:lnTo>
                  <a:lnTo>
                    <a:pt x="2108" y="464"/>
                  </a:lnTo>
                  <a:lnTo>
                    <a:pt x="2106" y="462"/>
                  </a:lnTo>
                  <a:lnTo>
                    <a:pt x="2098" y="462"/>
                  </a:lnTo>
                  <a:lnTo>
                    <a:pt x="2076" y="460"/>
                  </a:lnTo>
                  <a:lnTo>
                    <a:pt x="2034" y="464"/>
                  </a:lnTo>
                  <a:lnTo>
                    <a:pt x="1994" y="472"/>
                  </a:lnTo>
                  <a:lnTo>
                    <a:pt x="1982" y="474"/>
                  </a:lnTo>
                  <a:lnTo>
                    <a:pt x="1974" y="478"/>
                  </a:lnTo>
                  <a:lnTo>
                    <a:pt x="1970" y="482"/>
                  </a:lnTo>
                  <a:lnTo>
                    <a:pt x="1968" y="484"/>
                  </a:lnTo>
                  <a:lnTo>
                    <a:pt x="1970" y="490"/>
                  </a:lnTo>
                  <a:lnTo>
                    <a:pt x="1970" y="494"/>
                  </a:lnTo>
                  <a:lnTo>
                    <a:pt x="1970" y="496"/>
                  </a:lnTo>
                  <a:lnTo>
                    <a:pt x="1968" y="500"/>
                  </a:lnTo>
                  <a:lnTo>
                    <a:pt x="1964" y="502"/>
                  </a:lnTo>
                  <a:lnTo>
                    <a:pt x="1954" y="504"/>
                  </a:lnTo>
                  <a:lnTo>
                    <a:pt x="1942" y="506"/>
                  </a:lnTo>
                  <a:lnTo>
                    <a:pt x="1898" y="512"/>
                  </a:lnTo>
                  <a:lnTo>
                    <a:pt x="1850" y="516"/>
                  </a:lnTo>
                  <a:lnTo>
                    <a:pt x="1818" y="522"/>
                  </a:lnTo>
                  <a:lnTo>
                    <a:pt x="1800" y="526"/>
                  </a:lnTo>
                  <a:lnTo>
                    <a:pt x="1790" y="532"/>
                  </a:lnTo>
                  <a:lnTo>
                    <a:pt x="1784" y="538"/>
                  </a:lnTo>
                  <a:lnTo>
                    <a:pt x="1776" y="542"/>
                  </a:lnTo>
                  <a:lnTo>
                    <a:pt x="1764" y="546"/>
                  </a:lnTo>
                  <a:lnTo>
                    <a:pt x="1742" y="550"/>
                  </a:lnTo>
                  <a:lnTo>
                    <a:pt x="1728" y="550"/>
                  </a:lnTo>
                  <a:lnTo>
                    <a:pt x="1718" y="554"/>
                  </a:lnTo>
                  <a:lnTo>
                    <a:pt x="1708" y="558"/>
                  </a:lnTo>
                  <a:lnTo>
                    <a:pt x="1698" y="562"/>
                  </a:lnTo>
                  <a:lnTo>
                    <a:pt x="1692" y="566"/>
                  </a:lnTo>
                  <a:lnTo>
                    <a:pt x="1686" y="572"/>
                  </a:lnTo>
                  <a:lnTo>
                    <a:pt x="1682" y="578"/>
                  </a:lnTo>
                  <a:lnTo>
                    <a:pt x="1680" y="584"/>
                  </a:lnTo>
                  <a:lnTo>
                    <a:pt x="1678" y="590"/>
                  </a:lnTo>
                  <a:lnTo>
                    <a:pt x="1678" y="596"/>
                  </a:lnTo>
                  <a:lnTo>
                    <a:pt x="1680" y="602"/>
                  </a:lnTo>
                  <a:lnTo>
                    <a:pt x="1682" y="608"/>
                  </a:lnTo>
                  <a:lnTo>
                    <a:pt x="1686" y="612"/>
                  </a:lnTo>
                  <a:lnTo>
                    <a:pt x="1690" y="616"/>
                  </a:lnTo>
                  <a:lnTo>
                    <a:pt x="1696" y="618"/>
                  </a:lnTo>
                  <a:lnTo>
                    <a:pt x="1704" y="620"/>
                  </a:lnTo>
                  <a:lnTo>
                    <a:pt x="1716" y="622"/>
                  </a:lnTo>
                  <a:lnTo>
                    <a:pt x="1724" y="624"/>
                  </a:lnTo>
                  <a:lnTo>
                    <a:pt x="1726" y="628"/>
                  </a:lnTo>
                  <a:lnTo>
                    <a:pt x="1724" y="634"/>
                  </a:lnTo>
                  <a:lnTo>
                    <a:pt x="1716" y="638"/>
                  </a:lnTo>
                  <a:lnTo>
                    <a:pt x="1704" y="644"/>
                  </a:lnTo>
                  <a:lnTo>
                    <a:pt x="1690" y="648"/>
                  </a:lnTo>
                  <a:lnTo>
                    <a:pt x="1672" y="652"/>
                  </a:lnTo>
                  <a:lnTo>
                    <a:pt x="1638" y="658"/>
                  </a:lnTo>
                  <a:lnTo>
                    <a:pt x="1604" y="662"/>
                  </a:lnTo>
                  <a:lnTo>
                    <a:pt x="1542" y="662"/>
                  </a:lnTo>
                  <a:lnTo>
                    <a:pt x="1514" y="662"/>
                  </a:lnTo>
                  <a:lnTo>
                    <a:pt x="1490" y="666"/>
                  </a:lnTo>
                  <a:lnTo>
                    <a:pt x="1480" y="668"/>
                  </a:lnTo>
                  <a:lnTo>
                    <a:pt x="1470" y="672"/>
                  </a:lnTo>
                  <a:lnTo>
                    <a:pt x="1462" y="676"/>
                  </a:lnTo>
                  <a:lnTo>
                    <a:pt x="1458" y="682"/>
                  </a:lnTo>
                  <a:lnTo>
                    <a:pt x="1450" y="692"/>
                  </a:lnTo>
                  <a:lnTo>
                    <a:pt x="1450" y="696"/>
                  </a:lnTo>
                  <a:lnTo>
                    <a:pt x="1452" y="698"/>
                  </a:lnTo>
                  <a:lnTo>
                    <a:pt x="1456" y="702"/>
                  </a:lnTo>
                  <a:lnTo>
                    <a:pt x="1462" y="704"/>
                  </a:lnTo>
                  <a:lnTo>
                    <a:pt x="1470" y="706"/>
                  </a:lnTo>
                  <a:lnTo>
                    <a:pt x="1476" y="710"/>
                  </a:lnTo>
                  <a:lnTo>
                    <a:pt x="1476" y="714"/>
                  </a:lnTo>
                  <a:lnTo>
                    <a:pt x="1476" y="718"/>
                  </a:lnTo>
                  <a:lnTo>
                    <a:pt x="1476" y="724"/>
                  </a:lnTo>
                  <a:lnTo>
                    <a:pt x="1472" y="732"/>
                  </a:lnTo>
                  <a:lnTo>
                    <a:pt x="1468" y="738"/>
                  </a:lnTo>
                  <a:lnTo>
                    <a:pt x="1468" y="744"/>
                  </a:lnTo>
                  <a:lnTo>
                    <a:pt x="1468" y="748"/>
                  </a:lnTo>
                  <a:lnTo>
                    <a:pt x="1472" y="752"/>
                  </a:lnTo>
                  <a:lnTo>
                    <a:pt x="1480" y="756"/>
                  </a:lnTo>
                  <a:lnTo>
                    <a:pt x="1492" y="758"/>
                  </a:lnTo>
                  <a:lnTo>
                    <a:pt x="1506" y="760"/>
                  </a:lnTo>
                  <a:lnTo>
                    <a:pt x="1520" y="764"/>
                  </a:lnTo>
                  <a:lnTo>
                    <a:pt x="1524" y="766"/>
                  </a:lnTo>
                  <a:lnTo>
                    <a:pt x="1528" y="770"/>
                  </a:lnTo>
                  <a:lnTo>
                    <a:pt x="1532" y="774"/>
                  </a:lnTo>
                  <a:lnTo>
                    <a:pt x="1532" y="780"/>
                  </a:lnTo>
                  <a:lnTo>
                    <a:pt x="1534" y="786"/>
                  </a:lnTo>
                  <a:lnTo>
                    <a:pt x="1536" y="790"/>
                  </a:lnTo>
                  <a:lnTo>
                    <a:pt x="1540" y="792"/>
                  </a:lnTo>
                  <a:lnTo>
                    <a:pt x="1546" y="794"/>
                  </a:lnTo>
                  <a:lnTo>
                    <a:pt x="1556" y="796"/>
                  </a:lnTo>
                  <a:lnTo>
                    <a:pt x="1568" y="796"/>
                  </a:lnTo>
                  <a:lnTo>
                    <a:pt x="1580" y="798"/>
                  </a:lnTo>
                  <a:lnTo>
                    <a:pt x="1584" y="800"/>
                  </a:lnTo>
                  <a:lnTo>
                    <a:pt x="1586" y="804"/>
                  </a:lnTo>
                  <a:lnTo>
                    <a:pt x="1588" y="806"/>
                  </a:lnTo>
                  <a:lnTo>
                    <a:pt x="1588" y="812"/>
                  </a:lnTo>
                  <a:lnTo>
                    <a:pt x="1586" y="818"/>
                  </a:lnTo>
                  <a:lnTo>
                    <a:pt x="1582" y="828"/>
                  </a:lnTo>
                  <a:lnTo>
                    <a:pt x="1578" y="836"/>
                  </a:lnTo>
                  <a:lnTo>
                    <a:pt x="1576" y="844"/>
                  </a:lnTo>
                  <a:lnTo>
                    <a:pt x="1576" y="852"/>
                  </a:lnTo>
                  <a:lnTo>
                    <a:pt x="1578" y="858"/>
                  </a:lnTo>
                  <a:lnTo>
                    <a:pt x="1582" y="868"/>
                  </a:lnTo>
                  <a:lnTo>
                    <a:pt x="1590" y="876"/>
                  </a:lnTo>
                  <a:lnTo>
                    <a:pt x="1596" y="882"/>
                  </a:lnTo>
                  <a:lnTo>
                    <a:pt x="1598" y="886"/>
                  </a:lnTo>
                  <a:lnTo>
                    <a:pt x="1598" y="890"/>
                  </a:lnTo>
                  <a:lnTo>
                    <a:pt x="1598" y="896"/>
                  </a:lnTo>
                  <a:lnTo>
                    <a:pt x="1596" y="900"/>
                  </a:lnTo>
                  <a:lnTo>
                    <a:pt x="1590" y="906"/>
                  </a:lnTo>
                  <a:lnTo>
                    <a:pt x="1584" y="912"/>
                  </a:lnTo>
                  <a:lnTo>
                    <a:pt x="1570" y="922"/>
                  </a:lnTo>
                  <a:lnTo>
                    <a:pt x="1566" y="924"/>
                  </a:lnTo>
                  <a:lnTo>
                    <a:pt x="1564" y="922"/>
                  </a:lnTo>
                  <a:lnTo>
                    <a:pt x="1566" y="912"/>
                  </a:lnTo>
                  <a:lnTo>
                    <a:pt x="1568" y="898"/>
                  </a:lnTo>
                  <a:lnTo>
                    <a:pt x="1572" y="884"/>
                  </a:lnTo>
                  <a:lnTo>
                    <a:pt x="1572" y="878"/>
                  </a:lnTo>
                  <a:lnTo>
                    <a:pt x="1572" y="872"/>
                  </a:lnTo>
                  <a:lnTo>
                    <a:pt x="1570" y="866"/>
                  </a:lnTo>
                  <a:lnTo>
                    <a:pt x="1566" y="864"/>
                  </a:lnTo>
                  <a:lnTo>
                    <a:pt x="1560" y="864"/>
                  </a:lnTo>
                  <a:lnTo>
                    <a:pt x="1552" y="866"/>
                  </a:lnTo>
                  <a:lnTo>
                    <a:pt x="1542" y="868"/>
                  </a:lnTo>
                  <a:lnTo>
                    <a:pt x="1538" y="868"/>
                  </a:lnTo>
                  <a:lnTo>
                    <a:pt x="1536" y="866"/>
                  </a:lnTo>
                  <a:lnTo>
                    <a:pt x="1536" y="864"/>
                  </a:lnTo>
                  <a:lnTo>
                    <a:pt x="1542" y="856"/>
                  </a:lnTo>
                  <a:lnTo>
                    <a:pt x="1550" y="844"/>
                  </a:lnTo>
                  <a:lnTo>
                    <a:pt x="1560" y="832"/>
                  </a:lnTo>
                  <a:lnTo>
                    <a:pt x="1562" y="826"/>
                  </a:lnTo>
                  <a:lnTo>
                    <a:pt x="1564" y="820"/>
                  </a:lnTo>
                  <a:lnTo>
                    <a:pt x="1562" y="816"/>
                  </a:lnTo>
                  <a:lnTo>
                    <a:pt x="1558" y="812"/>
                  </a:lnTo>
                  <a:lnTo>
                    <a:pt x="1552" y="810"/>
                  </a:lnTo>
                  <a:lnTo>
                    <a:pt x="1540" y="810"/>
                  </a:lnTo>
                  <a:lnTo>
                    <a:pt x="1518" y="810"/>
                  </a:lnTo>
                  <a:lnTo>
                    <a:pt x="1504" y="806"/>
                  </a:lnTo>
                  <a:lnTo>
                    <a:pt x="1492" y="798"/>
                  </a:lnTo>
                  <a:lnTo>
                    <a:pt x="1482" y="792"/>
                  </a:lnTo>
                  <a:lnTo>
                    <a:pt x="1472" y="782"/>
                  </a:lnTo>
                  <a:lnTo>
                    <a:pt x="1460" y="774"/>
                  </a:lnTo>
                  <a:lnTo>
                    <a:pt x="1442" y="768"/>
                  </a:lnTo>
                  <a:lnTo>
                    <a:pt x="1416" y="762"/>
                  </a:lnTo>
                  <a:lnTo>
                    <a:pt x="1400" y="760"/>
                  </a:lnTo>
                  <a:lnTo>
                    <a:pt x="1386" y="760"/>
                  </a:lnTo>
                  <a:lnTo>
                    <a:pt x="1374" y="760"/>
                  </a:lnTo>
                  <a:lnTo>
                    <a:pt x="1364" y="762"/>
                  </a:lnTo>
                  <a:lnTo>
                    <a:pt x="1358" y="764"/>
                  </a:lnTo>
                  <a:lnTo>
                    <a:pt x="1352" y="768"/>
                  </a:lnTo>
                  <a:lnTo>
                    <a:pt x="1346" y="776"/>
                  </a:lnTo>
                  <a:lnTo>
                    <a:pt x="1342" y="784"/>
                  </a:lnTo>
                  <a:lnTo>
                    <a:pt x="1340" y="790"/>
                  </a:lnTo>
                  <a:lnTo>
                    <a:pt x="1336" y="794"/>
                  </a:lnTo>
                  <a:lnTo>
                    <a:pt x="1334" y="794"/>
                  </a:lnTo>
                  <a:lnTo>
                    <a:pt x="1330" y="792"/>
                  </a:lnTo>
                  <a:lnTo>
                    <a:pt x="1316" y="788"/>
                  </a:lnTo>
                  <a:lnTo>
                    <a:pt x="1302" y="788"/>
                  </a:lnTo>
                  <a:lnTo>
                    <a:pt x="1292" y="792"/>
                  </a:lnTo>
                  <a:lnTo>
                    <a:pt x="1284" y="796"/>
                  </a:lnTo>
                  <a:lnTo>
                    <a:pt x="1282" y="800"/>
                  </a:lnTo>
                  <a:lnTo>
                    <a:pt x="1282" y="804"/>
                  </a:lnTo>
                  <a:lnTo>
                    <a:pt x="1282" y="808"/>
                  </a:lnTo>
                  <a:lnTo>
                    <a:pt x="1284" y="812"/>
                  </a:lnTo>
                  <a:lnTo>
                    <a:pt x="1288" y="816"/>
                  </a:lnTo>
                  <a:lnTo>
                    <a:pt x="1294" y="820"/>
                  </a:lnTo>
                  <a:lnTo>
                    <a:pt x="1314" y="828"/>
                  </a:lnTo>
                  <a:lnTo>
                    <a:pt x="1332" y="834"/>
                  </a:lnTo>
                  <a:lnTo>
                    <a:pt x="1342" y="840"/>
                  </a:lnTo>
                  <a:lnTo>
                    <a:pt x="1344" y="842"/>
                  </a:lnTo>
                  <a:lnTo>
                    <a:pt x="1344" y="844"/>
                  </a:lnTo>
                  <a:lnTo>
                    <a:pt x="1340" y="846"/>
                  </a:lnTo>
                  <a:lnTo>
                    <a:pt x="1332" y="848"/>
                  </a:lnTo>
                  <a:lnTo>
                    <a:pt x="1318" y="848"/>
                  </a:lnTo>
                  <a:lnTo>
                    <a:pt x="1280" y="844"/>
                  </a:lnTo>
                  <a:lnTo>
                    <a:pt x="1270" y="842"/>
                  </a:lnTo>
                  <a:lnTo>
                    <a:pt x="1264" y="840"/>
                  </a:lnTo>
                  <a:lnTo>
                    <a:pt x="1260" y="836"/>
                  </a:lnTo>
                  <a:lnTo>
                    <a:pt x="1256" y="830"/>
                  </a:lnTo>
                  <a:lnTo>
                    <a:pt x="1256" y="824"/>
                  </a:lnTo>
                  <a:lnTo>
                    <a:pt x="1256" y="818"/>
                  </a:lnTo>
                  <a:lnTo>
                    <a:pt x="1260" y="804"/>
                  </a:lnTo>
                  <a:lnTo>
                    <a:pt x="1264" y="788"/>
                  </a:lnTo>
                  <a:lnTo>
                    <a:pt x="1268" y="772"/>
                  </a:lnTo>
                  <a:lnTo>
                    <a:pt x="1270" y="758"/>
                  </a:lnTo>
                  <a:lnTo>
                    <a:pt x="1268" y="750"/>
                  </a:lnTo>
                  <a:lnTo>
                    <a:pt x="1266" y="744"/>
                  </a:lnTo>
                  <a:lnTo>
                    <a:pt x="1258" y="734"/>
                  </a:lnTo>
                  <a:lnTo>
                    <a:pt x="1250" y="726"/>
                  </a:lnTo>
                  <a:lnTo>
                    <a:pt x="1244" y="722"/>
                  </a:lnTo>
                  <a:lnTo>
                    <a:pt x="1240" y="722"/>
                  </a:lnTo>
                  <a:lnTo>
                    <a:pt x="1236" y="724"/>
                  </a:lnTo>
                  <a:lnTo>
                    <a:pt x="1234" y="730"/>
                  </a:lnTo>
                  <a:lnTo>
                    <a:pt x="1234" y="738"/>
                  </a:lnTo>
                  <a:lnTo>
                    <a:pt x="1238" y="752"/>
                  </a:lnTo>
                  <a:lnTo>
                    <a:pt x="1240" y="762"/>
                  </a:lnTo>
                  <a:lnTo>
                    <a:pt x="1238" y="772"/>
                  </a:lnTo>
                  <a:lnTo>
                    <a:pt x="1236" y="778"/>
                  </a:lnTo>
                  <a:lnTo>
                    <a:pt x="1230" y="784"/>
                  </a:lnTo>
                  <a:lnTo>
                    <a:pt x="1224" y="788"/>
                  </a:lnTo>
                  <a:lnTo>
                    <a:pt x="1216" y="792"/>
                  </a:lnTo>
                  <a:lnTo>
                    <a:pt x="1198" y="798"/>
                  </a:lnTo>
                  <a:lnTo>
                    <a:pt x="1182" y="804"/>
                  </a:lnTo>
                  <a:lnTo>
                    <a:pt x="1176" y="808"/>
                  </a:lnTo>
                  <a:lnTo>
                    <a:pt x="1170" y="812"/>
                  </a:lnTo>
                  <a:lnTo>
                    <a:pt x="1168" y="818"/>
                  </a:lnTo>
                  <a:lnTo>
                    <a:pt x="1168" y="824"/>
                  </a:lnTo>
                  <a:lnTo>
                    <a:pt x="1172" y="832"/>
                  </a:lnTo>
                  <a:lnTo>
                    <a:pt x="1178" y="842"/>
                  </a:lnTo>
                  <a:lnTo>
                    <a:pt x="1200" y="870"/>
                  </a:lnTo>
                  <a:lnTo>
                    <a:pt x="1208" y="878"/>
                  </a:lnTo>
                  <a:lnTo>
                    <a:pt x="1212" y="886"/>
                  </a:lnTo>
                  <a:lnTo>
                    <a:pt x="1212" y="894"/>
                  </a:lnTo>
                  <a:lnTo>
                    <a:pt x="1210" y="902"/>
                  </a:lnTo>
                  <a:lnTo>
                    <a:pt x="1204" y="912"/>
                  </a:lnTo>
                  <a:lnTo>
                    <a:pt x="1194" y="926"/>
                  </a:lnTo>
                  <a:lnTo>
                    <a:pt x="1184" y="940"/>
                  </a:lnTo>
                  <a:lnTo>
                    <a:pt x="1180" y="950"/>
                  </a:lnTo>
                  <a:lnTo>
                    <a:pt x="1180" y="956"/>
                  </a:lnTo>
                  <a:lnTo>
                    <a:pt x="1182" y="962"/>
                  </a:lnTo>
                  <a:lnTo>
                    <a:pt x="1190" y="974"/>
                  </a:lnTo>
                  <a:lnTo>
                    <a:pt x="1192" y="982"/>
                  </a:lnTo>
                  <a:lnTo>
                    <a:pt x="1194" y="992"/>
                  </a:lnTo>
                  <a:lnTo>
                    <a:pt x="1194" y="996"/>
                  </a:lnTo>
                  <a:lnTo>
                    <a:pt x="1196" y="1000"/>
                  </a:lnTo>
                  <a:lnTo>
                    <a:pt x="1200" y="1002"/>
                  </a:lnTo>
                  <a:lnTo>
                    <a:pt x="1204" y="1002"/>
                  </a:lnTo>
                  <a:lnTo>
                    <a:pt x="1218" y="1000"/>
                  </a:lnTo>
                  <a:lnTo>
                    <a:pt x="1234" y="996"/>
                  </a:lnTo>
                  <a:lnTo>
                    <a:pt x="1254" y="992"/>
                  </a:lnTo>
                  <a:lnTo>
                    <a:pt x="1276" y="992"/>
                  </a:lnTo>
                  <a:lnTo>
                    <a:pt x="1288" y="992"/>
                  </a:lnTo>
                  <a:lnTo>
                    <a:pt x="1298" y="994"/>
                  </a:lnTo>
                  <a:lnTo>
                    <a:pt x="1310" y="998"/>
                  </a:lnTo>
                  <a:lnTo>
                    <a:pt x="1322" y="1004"/>
                  </a:lnTo>
                  <a:lnTo>
                    <a:pt x="1340" y="1016"/>
                  </a:lnTo>
                  <a:lnTo>
                    <a:pt x="1352" y="1028"/>
                  </a:lnTo>
                  <a:lnTo>
                    <a:pt x="1358" y="1036"/>
                  </a:lnTo>
                  <a:lnTo>
                    <a:pt x="1360" y="1044"/>
                  </a:lnTo>
                  <a:lnTo>
                    <a:pt x="1360" y="1050"/>
                  </a:lnTo>
                  <a:lnTo>
                    <a:pt x="1356" y="1054"/>
                  </a:lnTo>
                  <a:lnTo>
                    <a:pt x="1350" y="1066"/>
                  </a:lnTo>
                  <a:lnTo>
                    <a:pt x="1342" y="1078"/>
                  </a:lnTo>
                  <a:lnTo>
                    <a:pt x="1334" y="1092"/>
                  </a:lnTo>
                  <a:lnTo>
                    <a:pt x="1332" y="1096"/>
                  </a:lnTo>
                  <a:lnTo>
                    <a:pt x="1330" y="1098"/>
                  </a:lnTo>
                  <a:lnTo>
                    <a:pt x="1330" y="1092"/>
                  </a:lnTo>
                  <a:lnTo>
                    <a:pt x="1332" y="1082"/>
                  </a:lnTo>
                  <a:lnTo>
                    <a:pt x="1334" y="1066"/>
                  </a:lnTo>
                  <a:lnTo>
                    <a:pt x="1334" y="1052"/>
                  </a:lnTo>
                  <a:lnTo>
                    <a:pt x="1330" y="1038"/>
                  </a:lnTo>
                  <a:lnTo>
                    <a:pt x="1322" y="1026"/>
                  </a:lnTo>
                  <a:lnTo>
                    <a:pt x="1318" y="1020"/>
                  </a:lnTo>
                  <a:lnTo>
                    <a:pt x="1312" y="1016"/>
                  </a:lnTo>
                  <a:lnTo>
                    <a:pt x="1304" y="1014"/>
                  </a:lnTo>
                  <a:lnTo>
                    <a:pt x="1298" y="1012"/>
                  </a:lnTo>
                  <a:lnTo>
                    <a:pt x="1288" y="1010"/>
                  </a:lnTo>
                  <a:lnTo>
                    <a:pt x="1278" y="1010"/>
                  </a:lnTo>
                  <a:lnTo>
                    <a:pt x="1266" y="1012"/>
                  </a:lnTo>
                  <a:lnTo>
                    <a:pt x="1254" y="1016"/>
                  </a:lnTo>
                  <a:lnTo>
                    <a:pt x="1242" y="1020"/>
                  </a:lnTo>
                  <a:lnTo>
                    <a:pt x="1234" y="1026"/>
                  </a:lnTo>
                  <a:lnTo>
                    <a:pt x="1228" y="1032"/>
                  </a:lnTo>
                  <a:lnTo>
                    <a:pt x="1224" y="1036"/>
                  </a:lnTo>
                  <a:lnTo>
                    <a:pt x="1222" y="1044"/>
                  </a:lnTo>
                  <a:lnTo>
                    <a:pt x="1222" y="1050"/>
                  </a:lnTo>
                  <a:lnTo>
                    <a:pt x="1226" y="1062"/>
                  </a:lnTo>
                  <a:lnTo>
                    <a:pt x="1230" y="1076"/>
                  </a:lnTo>
                  <a:lnTo>
                    <a:pt x="1234" y="1088"/>
                  </a:lnTo>
                  <a:lnTo>
                    <a:pt x="1234" y="1092"/>
                  </a:lnTo>
                  <a:lnTo>
                    <a:pt x="1232" y="1098"/>
                  </a:lnTo>
                  <a:lnTo>
                    <a:pt x="1228" y="1102"/>
                  </a:lnTo>
                  <a:lnTo>
                    <a:pt x="1222" y="1106"/>
                  </a:lnTo>
                  <a:lnTo>
                    <a:pt x="1210" y="1112"/>
                  </a:lnTo>
                  <a:lnTo>
                    <a:pt x="1202" y="1120"/>
                  </a:lnTo>
                  <a:lnTo>
                    <a:pt x="1198" y="1128"/>
                  </a:lnTo>
                  <a:lnTo>
                    <a:pt x="1196" y="1136"/>
                  </a:lnTo>
                  <a:lnTo>
                    <a:pt x="1194" y="1144"/>
                  </a:lnTo>
                  <a:lnTo>
                    <a:pt x="1188" y="1152"/>
                  </a:lnTo>
                  <a:lnTo>
                    <a:pt x="1180" y="1160"/>
                  </a:lnTo>
                  <a:lnTo>
                    <a:pt x="1166" y="1168"/>
                  </a:lnTo>
                  <a:lnTo>
                    <a:pt x="1152" y="1176"/>
                  </a:lnTo>
                  <a:lnTo>
                    <a:pt x="1144" y="1184"/>
                  </a:lnTo>
                  <a:lnTo>
                    <a:pt x="1136" y="1196"/>
                  </a:lnTo>
                  <a:lnTo>
                    <a:pt x="1130" y="1200"/>
                  </a:lnTo>
                  <a:lnTo>
                    <a:pt x="1118" y="1202"/>
                  </a:lnTo>
                  <a:lnTo>
                    <a:pt x="1100" y="1200"/>
                  </a:lnTo>
                  <a:lnTo>
                    <a:pt x="1070" y="1196"/>
                  </a:lnTo>
                  <a:lnTo>
                    <a:pt x="1044" y="1190"/>
                  </a:lnTo>
                  <a:lnTo>
                    <a:pt x="1036" y="1186"/>
                  </a:lnTo>
                  <a:lnTo>
                    <a:pt x="1040" y="1184"/>
                  </a:lnTo>
                  <a:lnTo>
                    <a:pt x="1052" y="1180"/>
                  </a:lnTo>
                  <a:lnTo>
                    <a:pt x="1072" y="1176"/>
                  </a:lnTo>
                  <a:lnTo>
                    <a:pt x="1094" y="1168"/>
                  </a:lnTo>
                  <a:lnTo>
                    <a:pt x="1104" y="1162"/>
                  </a:lnTo>
                  <a:lnTo>
                    <a:pt x="1114" y="1156"/>
                  </a:lnTo>
                  <a:lnTo>
                    <a:pt x="1122" y="1148"/>
                  </a:lnTo>
                  <a:lnTo>
                    <a:pt x="1128" y="1138"/>
                  </a:lnTo>
                  <a:lnTo>
                    <a:pt x="1138" y="1122"/>
                  </a:lnTo>
                  <a:lnTo>
                    <a:pt x="1146" y="1112"/>
                  </a:lnTo>
                  <a:lnTo>
                    <a:pt x="1154" y="1106"/>
                  </a:lnTo>
                  <a:lnTo>
                    <a:pt x="1160" y="1104"/>
                  </a:lnTo>
                  <a:lnTo>
                    <a:pt x="1166" y="1100"/>
                  </a:lnTo>
                  <a:lnTo>
                    <a:pt x="1170" y="1096"/>
                  </a:lnTo>
                  <a:lnTo>
                    <a:pt x="1174" y="1088"/>
                  </a:lnTo>
                  <a:lnTo>
                    <a:pt x="1176" y="1072"/>
                  </a:lnTo>
                  <a:lnTo>
                    <a:pt x="1176" y="1058"/>
                  </a:lnTo>
                  <a:lnTo>
                    <a:pt x="1174" y="1044"/>
                  </a:lnTo>
                  <a:lnTo>
                    <a:pt x="1166" y="1034"/>
                  </a:lnTo>
                  <a:lnTo>
                    <a:pt x="1160" y="1026"/>
                  </a:lnTo>
                  <a:lnTo>
                    <a:pt x="1152" y="1016"/>
                  </a:lnTo>
                  <a:lnTo>
                    <a:pt x="1146" y="1004"/>
                  </a:lnTo>
                  <a:lnTo>
                    <a:pt x="1142" y="988"/>
                  </a:lnTo>
                  <a:lnTo>
                    <a:pt x="1142" y="968"/>
                  </a:lnTo>
                  <a:lnTo>
                    <a:pt x="1150" y="928"/>
                  </a:lnTo>
                  <a:lnTo>
                    <a:pt x="1152" y="910"/>
                  </a:lnTo>
                  <a:lnTo>
                    <a:pt x="1154" y="896"/>
                  </a:lnTo>
                  <a:lnTo>
                    <a:pt x="1152" y="882"/>
                  </a:lnTo>
                  <a:lnTo>
                    <a:pt x="1148" y="868"/>
                  </a:lnTo>
                  <a:lnTo>
                    <a:pt x="1140" y="856"/>
                  </a:lnTo>
                  <a:lnTo>
                    <a:pt x="1126" y="844"/>
                  </a:lnTo>
                  <a:lnTo>
                    <a:pt x="1116" y="832"/>
                  </a:lnTo>
                  <a:lnTo>
                    <a:pt x="1114" y="828"/>
                  </a:lnTo>
                  <a:lnTo>
                    <a:pt x="1112" y="824"/>
                  </a:lnTo>
                  <a:lnTo>
                    <a:pt x="1114" y="822"/>
                  </a:lnTo>
                  <a:lnTo>
                    <a:pt x="1118" y="818"/>
                  </a:lnTo>
                  <a:lnTo>
                    <a:pt x="1126" y="812"/>
                  </a:lnTo>
                  <a:lnTo>
                    <a:pt x="1136" y="804"/>
                  </a:lnTo>
                  <a:lnTo>
                    <a:pt x="1146" y="796"/>
                  </a:lnTo>
                  <a:lnTo>
                    <a:pt x="1150" y="790"/>
                  </a:lnTo>
                  <a:lnTo>
                    <a:pt x="1154" y="782"/>
                  </a:lnTo>
                  <a:lnTo>
                    <a:pt x="1156" y="774"/>
                  </a:lnTo>
                  <a:lnTo>
                    <a:pt x="1156" y="764"/>
                  </a:lnTo>
                  <a:lnTo>
                    <a:pt x="1156" y="754"/>
                  </a:lnTo>
                  <a:lnTo>
                    <a:pt x="1152" y="744"/>
                  </a:lnTo>
                  <a:lnTo>
                    <a:pt x="1148" y="738"/>
                  </a:lnTo>
                  <a:lnTo>
                    <a:pt x="1142" y="732"/>
                  </a:lnTo>
                  <a:lnTo>
                    <a:pt x="1134" y="728"/>
                  </a:lnTo>
                  <a:lnTo>
                    <a:pt x="1126" y="724"/>
                  </a:lnTo>
                  <a:lnTo>
                    <a:pt x="1106" y="722"/>
                  </a:lnTo>
                  <a:lnTo>
                    <a:pt x="1086" y="722"/>
                  </a:lnTo>
                  <a:lnTo>
                    <a:pt x="1064" y="724"/>
                  </a:lnTo>
                  <a:lnTo>
                    <a:pt x="1044" y="724"/>
                  </a:lnTo>
                  <a:lnTo>
                    <a:pt x="1028" y="722"/>
                  </a:lnTo>
                  <a:lnTo>
                    <a:pt x="1020" y="722"/>
                  </a:lnTo>
                  <a:lnTo>
                    <a:pt x="1012" y="722"/>
                  </a:lnTo>
                  <a:lnTo>
                    <a:pt x="1006" y="726"/>
                  </a:lnTo>
                  <a:lnTo>
                    <a:pt x="1002" y="732"/>
                  </a:lnTo>
                  <a:lnTo>
                    <a:pt x="994" y="748"/>
                  </a:lnTo>
                  <a:lnTo>
                    <a:pt x="988" y="766"/>
                  </a:lnTo>
                  <a:lnTo>
                    <a:pt x="980" y="788"/>
                  </a:lnTo>
                  <a:lnTo>
                    <a:pt x="970" y="808"/>
                  </a:lnTo>
                  <a:lnTo>
                    <a:pt x="964" y="816"/>
                  </a:lnTo>
                  <a:lnTo>
                    <a:pt x="958" y="824"/>
                  </a:lnTo>
                  <a:lnTo>
                    <a:pt x="948" y="832"/>
                  </a:lnTo>
                  <a:lnTo>
                    <a:pt x="938" y="838"/>
                  </a:lnTo>
                  <a:lnTo>
                    <a:pt x="916" y="848"/>
                  </a:lnTo>
                  <a:lnTo>
                    <a:pt x="908" y="854"/>
                  </a:lnTo>
                  <a:lnTo>
                    <a:pt x="906" y="858"/>
                  </a:lnTo>
                  <a:lnTo>
                    <a:pt x="904" y="862"/>
                  </a:lnTo>
                  <a:lnTo>
                    <a:pt x="906" y="866"/>
                  </a:lnTo>
                  <a:lnTo>
                    <a:pt x="912" y="874"/>
                  </a:lnTo>
                  <a:lnTo>
                    <a:pt x="920" y="884"/>
                  </a:lnTo>
                  <a:lnTo>
                    <a:pt x="922" y="888"/>
                  </a:lnTo>
                  <a:lnTo>
                    <a:pt x="926" y="894"/>
                  </a:lnTo>
                  <a:lnTo>
                    <a:pt x="926" y="902"/>
                  </a:lnTo>
                  <a:lnTo>
                    <a:pt x="926" y="910"/>
                  </a:lnTo>
                  <a:lnTo>
                    <a:pt x="922" y="918"/>
                  </a:lnTo>
                  <a:lnTo>
                    <a:pt x="916" y="928"/>
                  </a:lnTo>
                  <a:lnTo>
                    <a:pt x="912" y="938"/>
                  </a:lnTo>
                  <a:lnTo>
                    <a:pt x="910" y="948"/>
                  </a:lnTo>
                  <a:lnTo>
                    <a:pt x="912" y="954"/>
                  </a:lnTo>
                  <a:lnTo>
                    <a:pt x="916" y="962"/>
                  </a:lnTo>
                  <a:lnTo>
                    <a:pt x="924" y="968"/>
                  </a:lnTo>
                  <a:lnTo>
                    <a:pt x="932" y="974"/>
                  </a:lnTo>
                  <a:lnTo>
                    <a:pt x="952" y="986"/>
                  </a:lnTo>
                  <a:lnTo>
                    <a:pt x="974" y="996"/>
                  </a:lnTo>
                  <a:lnTo>
                    <a:pt x="982" y="1002"/>
                  </a:lnTo>
                  <a:lnTo>
                    <a:pt x="990" y="1008"/>
                  </a:lnTo>
                  <a:lnTo>
                    <a:pt x="996" y="1014"/>
                  </a:lnTo>
                  <a:lnTo>
                    <a:pt x="998" y="1022"/>
                  </a:lnTo>
                  <a:lnTo>
                    <a:pt x="998" y="1030"/>
                  </a:lnTo>
                  <a:lnTo>
                    <a:pt x="992" y="1040"/>
                  </a:lnTo>
                  <a:lnTo>
                    <a:pt x="982" y="1054"/>
                  </a:lnTo>
                  <a:lnTo>
                    <a:pt x="978" y="1058"/>
                  </a:lnTo>
                  <a:lnTo>
                    <a:pt x="974" y="1060"/>
                  </a:lnTo>
                  <a:lnTo>
                    <a:pt x="970" y="1060"/>
                  </a:lnTo>
                  <a:lnTo>
                    <a:pt x="966" y="1060"/>
                  </a:lnTo>
                  <a:lnTo>
                    <a:pt x="956" y="1052"/>
                  </a:lnTo>
                  <a:lnTo>
                    <a:pt x="942" y="1040"/>
                  </a:lnTo>
                  <a:lnTo>
                    <a:pt x="918" y="1024"/>
                  </a:lnTo>
                  <a:lnTo>
                    <a:pt x="884" y="1004"/>
                  </a:lnTo>
                  <a:lnTo>
                    <a:pt x="862" y="994"/>
                  </a:lnTo>
                  <a:lnTo>
                    <a:pt x="838" y="984"/>
                  </a:lnTo>
                  <a:lnTo>
                    <a:pt x="810" y="974"/>
                  </a:lnTo>
                  <a:lnTo>
                    <a:pt x="786" y="966"/>
                  </a:lnTo>
                  <a:lnTo>
                    <a:pt x="762" y="960"/>
                  </a:lnTo>
                  <a:lnTo>
                    <a:pt x="742" y="956"/>
                  </a:lnTo>
                  <a:lnTo>
                    <a:pt x="724" y="954"/>
                  </a:lnTo>
                  <a:lnTo>
                    <a:pt x="706" y="952"/>
                  </a:lnTo>
                  <a:lnTo>
                    <a:pt x="692" y="952"/>
                  </a:lnTo>
                  <a:lnTo>
                    <a:pt x="678" y="954"/>
                  </a:lnTo>
                  <a:lnTo>
                    <a:pt x="668" y="956"/>
                  </a:lnTo>
                  <a:lnTo>
                    <a:pt x="660" y="960"/>
                  </a:lnTo>
                  <a:lnTo>
                    <a:pt x="654" y="964"/>
                  </a:lnTo>
                  <a:lnTo>
                    <a:pt x="650" y="968"/>
                  </a:lnTo>
                  <a:lnTo>
                    <a:pt x="650" y="974"/>
                  </a:lnTo>
                  <a:lnTo>
                    <a:pt x="650" y="980"/>
                  </a:lnTo>
                  <a:lnTo>
                    <a:pt x="654" y="986"/>
                  </a:lnTo>
                  <a:lnTo>
                    <a:pt x="660" y="994"/>
                  </a:lnTo>
                  <a:lnTo>
                    <a:pt x="664" y="998"/>
                  </a:lnTo>
                  <a:lnTo>
                    <a:pt x="664" y="1004"/>
                  </a:lnTo>
                  <a:lnTo>
                    <a:pt x="664" y="1010"/>
                  </a:lnTo>
                  <a:lnTo>
                    <a:pt x="662" y="1016"/>
                  </a:lnTo>
                  <a:lnTo>
                    <a:pt x="654" y="1028"/>
                  </a:lnTo>
                  <a:lnTo>
                    <a:pt x="642" y="1038"/>
                  </a:lnTo>
                  <a:lnTo>
                    <a:pt x="628" y="1044"/>
                  </a:lnTo>
                  <a:lnTo>
                    <a:pt x="622" y="1046"/>
                  </a:lnTo>
                  <a:lnTo>
                    <a:pt x="618" y="1046"/>
                  </a:lnTo>
                  <a:lnTo>
                    <a:pt x="612" y="1046"/>
                  </a:lnTo>
                  <a:lnTo>
                    <a:pt x="608" y="1042"/>
                  </a:lnTo>
                  <a:lnTo>
                    <a:pt x="606" y="1038"/>
                  </a:lnTo>
                  <a:lnTo>
                    <a:pt x="606" y="1030"/>
                  </a:lnTo>
                  <a:lnTo>
                    <a:pt x="604" y="1018"/>
                  </a:lnTo>
                  <a:lnTo>
                    <a:pt x="602" y="1010"/>
                  </a:lnTo>
                  <a:lnTo>
                    <a:pt x="596" y="1006"/>
                  </a:lnTo>
                  <a:lnTo>
                    <a:pt x="590" y="1006"/>
                  </a:lnTo>
                  <a:lnTo>
                    <a:pt x="582" y="1010"/>
                  </a:lnTo>
                  <a:lnTo>
                    <a:pt x="570" y="1016"/>
                  </a:lnTo>
                  <a:lnTo>
                    <a:pt x="542" y="1034"/>
                  </a:lnTo>
                  <a:lnTo>
                    <a:pt x="526" y="1042"/>
                  </a:lnTo>
                  <a:lnTo>
                    <a:pt x="520" y="1042"/>
                  </a:lnTo>
                  <a:lnTo>
                    <a:pt x="516" y="1042"/>
                  </a:lnTo>
                  <a:lnTo>
                    <a:pt x="506" y="1040"/>
                  </a:lnTo>
                  <a:lnTo>
                    <a:pt x="498" y="1036"/>
                  </a:lnTo>
                  <a:lnTo>
                    <a:pt x="488" y="1032"/>
                  </a:lnTo>
                  <a:lnTo>
                    <a:pt x="478" y="1032"/>
                  </a:lnTo>
                  <a:lnTo>
                    <a:pt x="470" y="1032"/>
                  </a:lnTo>
                  <a:lnTo>
                    <a:pt x="462" y="1034"/>
                  </a:lnTo>
                  <a:lnTo>
                    <a:pt x="440" y="1046"/>
                  </a:lnTo>
                  <a:lnTo>
                    <a:pt x="420" y="1056"/>
                  </a:lnTo>
                  <a:lnTo>
                    <a:pt x="412" y="1060"/>
                  </a:lnTo>
                  <a:lnTo>
                    <a:pt x="406" y="1060"/>
                  </a:lnTo>
                  <a:lnTo>
                    <a:pt x="400" y="1060"/>
                  </a:lnTo>
                  <a:lnTo>
                    <a:pt x="396" y="1058"/>
                  </a:lnTo>
                  <a:lnTo>
                    <a:pt x="392" y="1054"/>
                  </a:lnTo>
                  <a:lnTo>
                    <a:pt x="390" y="1052"/>
                  </a:lnTo>
                  <a:lnTo>
                    <a:pt x="388" y="1042"/>
                  </a:lnTo>
                  <a:lnTo>
                    <a:pt x="392" y="1030"/>
                  </a:lnTo>
                  <a:lnTo>
                    <a:pt x="396" y="1020"/>
                  </a:lnTo>
                  <a:lnTo>
                    <a:pt x="406" y="1012"/>
                  </a:lnTo>
                  <a:lnTo>
                    <a:pt x="410" y="1006"/>
                  </a:lnTo>
                  <a:lnTo>
                    <a:pt x="412" y="1004"/>
                  </a:lnTo>
                  <a:lnTo>
                    <a:pt x="410" y="1004"/>
                  </a:lnTo>
                  <a:lnTo>
                    <a:pt x="402" y="1004"/>
                  </a:lnTo>
                  <a:lnTo>
                    <a:pt x="388" y="1008"/>
                  </a:lnTo>
                  <a:lnTo>
                    <a:pt x="368" y="1014"/>
                  </a:lnTo>
                  <a:lnTo>
                    <a:pt x="342" y="1024"/>
                  </a:lnTo>
                  <a:lnTo>
                    <a:pt x="312" y="1038"/>
                  </a:lnTo>
                  <a:lnTo>
                    <a:pt x="276" y="1054"/>
                  </a:lnTo>
                  <a:lnTo>
                    <a:pt x="242" y="1070"/>
                  </a:lnTo>
                  <a:lnTo>
                    <a:pt x="216" y="1078"/>
                  </a:lnTo>
                  <a:lnTo>
                    <a:pt x="196" y="1084"/>
                  </a:lnTo>
                  <a:lnTo>
                    <a:pt x="180" y="1086"/>
                  </a:lnTo>
                  <a:lnTo>
                    <a:pt x="168" y="1088"/>
                  </a:lnTo>
                  <a:lnTo>
                    <a:pt x="158" y="1094"/>
                  </a:lnTo>
                  <a:lnTo>
                    <a:pt x="152" y="1106"/>
                  </a:lnTo>
                  <a:lnTo>
                    <a:pt x="144" y="1124"/>
                  </a:lnTo>
                  <a:lnTo>
                    <a:pt x="138" y="1142"/>
                  </a:lnTo>
                  <a:lnTo>
                    <a:pt x="132" y="1152"/>
                  </a:lnTo>
                  <a:lnTo>
                    <a:pt x="126" y="1158"/>
                  </a:lnTo>
                  <a:lnTo>
                    <a:pt x="120" y="1158"/>
                  </a:lnTo>
                  <a:lnTo>
                    <a:pt x="106" y="1156"/>
                  </a:lnTo>
                  <a:lnTo>
                    <a:pt x="98" y="1156"/>
                  </a:lnTo>
                  <a:lnTo>
                    <a:pt x="86" y="1160"/>
                  </a:lnTo>
                  <a:lnTo>
                    <a:pt x="78" y="1164"/>
                  </a:lnTo>
                  <a:lnTo>
                    <a:pt x="54" y="1230"/>
                  </a:lnTo>
                  <a:lnTo>
                    <a:pt x="44" y="1256"/>
                  </a:lnTo>
                  <a:lnTo>
                    <a:pt x="36" y="1274"/>
                  </a:lnTo>
                  <a:lnTo>
                    <a:pt x="28" y="1292"/>
                  </a:lnTo>
                  <a:lnTo>
                    <a:pt x="20" y="1312"/>
                  </a:lnTo>
                  <a:lnTo>
                    <a:pt x="8" y="1346"/>
                  </a:lnTo>
                  <a:lnTo>
                    <a:pt x="0" y="1382"/>
                  </a:lnTo>
                  <a:lnTo>
                    <a:pt x="0" y="1562"/>
                  </a:lnTo>
                  <a:lnTo>
                    <a:pt x="60" y="1706"/>
                  </a:lnTo>
                  <a:lnTo>
                    <a:pt x="180" y="1898"/>
                  </a:lnTo>
                  <a:lnTo>
                    <a:pt x="236" y="2142"/>
                  </a:lnTo>
                  <a:lnTo>
                    <a:pt x="172" y="2176"/>
                  </a:lnTo>
                  <a:lnTo>
                    <a:pt x="166" y="2200"/>
                  </a:lnTo>
                  <a:lnTo>
                    <a:pt x="124" y="2214"/>
                  </a:lnTo>
                  <a:lnTo>
                    <a:pt x="104" y="2206"/>
                  </a:lnTo>
                  <a:lnTo>
                    <a:pt x="92" y="2204"/>
                  </a:lnTo>
                  <a:lnTo>
                    <a:pt x="86" y="2204"/>
                  </a:lnTo>
                  <a:lnTo>
                    <a:pt x="84" y="2208"/>
                  </a:lnTo>
                  <a:lnTo>
                    <a:pt x="70" y="2258"/>
                  </a:lnTo>
                  <a:lnTo>
                    <a:pt x="60" y="2304"/>
                  </a:lnTo>
                  <a:lnTo>
                    <a:pt x="76" y="2364"/>
                  </a:lnTo>
                  <a:lnTo>
                    <a:pt x="114" y="2388"/>
                  </a:lnTo>
                  <a:lnTo>
                    <a:pt x="142" y="2422"/>
                  </a:lnTo>
                  <a:lnTo>
                    <a:pt x="148" y="2454"/>
                  </a:lnTo>
                  <a:lnTo>
                    <a:pt x="130" y="2486"/>
                  </a:lnTo>
                  <a:lnTo>
                    <a:pt x="98" y="2508"/>
                  </a:lnTo>
                  <a:lnTo>
                    <a:pt x="70" y="2552"/>
                  </a:lnTo>
                  <a:lnTo>
                    <a:pt x="80" y="2588"/>
                  </a:lnTo>
                  <a:lnTo>
                    <a:pt x="132" y="2652"/>
                  </a:lnTo>
                  <a:lnTo>
                    <a:pt x="156" y="2704"/>
                  </a:lnTo>
                  <a:lnTo>
                    <a:pt x="182" y="2744"/>
                  </a:lnTo>
                  <a:lnTo>
                    <a:pt x="180" y="2776"/>
                  </a:lnTo>
                  <a:lnTo>
                    <a:pt x="182" y="2792"/>
                  </a:lnTo>
                  <a:lnTo>
                    <a:pt x="186" y="2844"/>
                  </a:lnTo>
                  <a:lnTo>
                    <a:pt x="190" y="2864"/>
                  </a:lnTo>
                  <a:lnTo>
                    <a:pt x="186" y="2882"/>
                  </a:lnTo>
                  <a:lnTo>
                    <a:pt x="188" y="2896"/>
                  </a:lnTo>
                  <a:lnTo>
                    <a:pt x="182" y="2898"/>
                  </a:lnTo>
                  <a:lnTo>
                    <a:pt x="178" y="2898"/>
                  </a:lnTo>
                  <a:lnTo>
                    <a:pt x="176" y="2896"/>
                  </a:lnTo>
                  <a:lnTo>
                    <a:pt x="176" y="2894"/>
                  </a:lnTo>
                  <a:lnTo>
                    <a:pt x="174" y="2888"/>
                  </a:lnTo>
                  <a:lnTo>
                    <a:pt x="172" y="2886"/>
                  </a:lnTo>
                  <a:lnTo>
                    <a:pt x="170" y="2886"/>
                  </a:lnTo>
                  <a:lnTo>
                    <a:pt x="172" y="2886"/>
                  </a:lnTo>
                  <a:lnTo>
                    <a:pt x="174" y="2888"/>
                  </a:lnTo>
                  <a:lnTo>
                    <a:pt x="176" y="2894"/>
                  </a:lnTo>
                  <a:lnTo>
                    <a:pt x="176" y="2896"/>
                  </a:lnTo>
                  <a:lnTo>
                    <a:pt x="178" y="2898"/>
                  </a:lnTo>
                  <a:lnTo>
                    <a:pt x="182" y="2898"/>
                  </a:lnTo>
                  <a:lnTo>
                    <a:pt x="188" y="2896"/>
                  </a:lnTo>
                  <a:lnTo>
                    <a:pt x="174" y="2986"/>
                  </a:lnTo>
                  <a:lnTo>
                    <a:pt x="174" y="3028"/>
                  </a:lnTo>
                  <a:lnTo>
                    <a:pt x="168" y="3124"/>
                  </a:lnTo>
                  <a:lnTo>
                    <a:pt x="174" y="3168"/>
                  </a:lnTo>
                  <a:lnTo>
                    <a:pt x="210" y="3264"/>
                  </a:lnTo>
                  <a:lnTo>
                    <a:pt x="248" y="3338"/>
                  </a:lnTo>
                  <a:lnTo>
                    <a:pt x="248" y="3362"/>
                  </a:lnTo>
                  <a:lnTo>
                    <a:pt x="254" y="3368"/>
                  </a:lnTo>
                  <a:lnTo>
                    <a:pt x="258" y="3372"/>
                  </a:lnTo>
                  <a:lnTo>
                    <a:pt x="262" y="3384"/>
                  </a:lnTo>
                  <a:lnTo>
                    <a:pt x="264" y="3394"/>
                  </a:lnTo>
                  <a:lnTo>
                    <a:pt x="268" y="3400"/>
                  </a:lnTo>
                  <a:lnTo>
                    <a:pt x="272" y="3406"/>
                  </a:lnTo>
                  <a:lnTo>
                    <a:pt x="276" y="3412"/>
                  </a:lnTo>
                  <a:lnTo>
                    <a:pt x="278" y="3416"/>
                  </a:lnTo>
                  <a:lnTo>
                    <a:pt x="278" y="3424"/>
                  </a:lnTo>
                  <a:lnTo>
                    <a:pt x="280" y="3432"/>
                  </a:lnTo>
                  <a:lnTo>
                    <a:pt x="282" y="3438"/>
                  </a:lnTo>
                  <a:lnTo>
                    <a:pt x="286" y="3444"/>
                  </a:lnTo>
                  <a:lnTo>
                    <a:pt x="294" y="3452"/>
                  </a:lnTo>
                  <a:lnTo>
                    <a:pt x="302" y="3456"/>
                  </a:lnTo>
                  <a:lnTo>
                    <a:pt x="320" y="3464"/>
                  </a:lnTo>
                  <a:lnTo>
                    <a:pt x="334" y="3470"/>
                  </a:lnTo>
                  <a:lnTo>
                    <a:pt x="338" y="3474"/>
                  </a:lnTo>
                  <a:lnTo>
                    <a:pt x="338" y="3478"/>
                  </a:lnTo>
                  <a:lnTo>
                    <a:pt x="338" y="3480"/>
                  </a:lnTo>
                  <a:lnTo>
                    <a:pt x="340" y="3484"/>
                  </a:lnTo>
                  <a:lnTo>
                    <a:pt x="350" y="3490"/>
                  </a:lnTo>
                  <a:lnTo>
                    <a:pt x="360" y="3496"/>
                  </a:lnTo>
                  <a:lnTo>
                    <a:pt x="366" y="3500"/>
                  </a:lnTo>
                  <a:lnTo>
                    <a:pt x="374" y="3508"/>
                  </a:lnTo>
                  <a:lnTo>
                    <a:pt x="382" y="3512"/>
                  </a:lnTo>
                  <a:lnTo>
                    <a:pt x="388" y="3514"/>
                  </a:lnTo>
                  <a:lnTo>
                    <a:pt x="394" y="3514"/>
                  </a:lnTo>
                  <a:lnTo>
                    <a:pt x="404" y="3516"/>
                  </a:lnTo>
                  <a:lnTo>
                    <a:pt x="410" y="3516"/>
                  </a:lnTo>
                  <a:lnTo>
                    <a:pt x="414" y="3522"/>
                  </a:lnTo>
                  <a:lnTo>
                    <a:pt x="420" y="3524"/>
                  </a:lnTo>
                  <a:lnTo>
                    <a:pt x="424" y="3526"/>
                  </a:lnTo>
                  <a:lnTo>
                    <a:pt x="428" y="3524"/>
                  </a:lnTo>
                  <a:lnTo>
                    <a:pt x="432" y="3522"/>
                  </a:lnTo>
                  <a:lnTo>
                    <a:pt x="442" y="3514"/>
                  </a:lnTo>
                  <a:lnTo>
                    <a:pt x="446" y="3512"/>
                  </a:lnTo>
                  <a:lnTo>
                    <a:pt x="450" y="3512"/>
                  </a:lnTo>
                  <a:lnTo>
                    <a:pt x="456" y="3510"/>
                  </a:lnTo>
                  <a:lnTo>
                    <a:pt x="458" y="3508"/>
                  </a:lnTo>
                  <a:lnTo>
                    <a:pt x="462" y="3504"/>
                  </a:lnTo>
                  <a:lnTo>
                    <a:pt x="464" y="3502"/>
                  </a:lnTo>
                  <a:lnTo>
                    <a:pt x="468" y="3502"/>
                  </a:lnTo>
                  <a:lnTo>
                    <a:pt x="472" y="3500"/>
                  </a:lnTo>
                  <a:lnTo>
                    <a:pt x="476" y="3498"/>
                  </a:lnTo>
                  <a:lnTo>
                    <a:pt x="480" y="3494"/>
                  </a:lnTo>
                  <a:lnTo>
                    <a:pt x="482" y="3492"/>
                  </a:lnTo>
                  <a:lnTo>
                    <a:pt x="488" y="3490"/>
                  </a:lnTo>
                  <a:lnTo>
                    <a:pt x="492" y="3490"/>
                  </a:lnTo>
                  <a:lnTo>
                    <a:pt x="500" y="3492"/>
                  </a:lnTo>
                  <a:lnTo>
                    <a:pt x="508" y="3496"/>
                  </a:lnTo>
                  <a:lnTo>
                    <a:pt x="514" y="3502"/>
                  </a:lnTo>
                  <a:lnTo>
                    <a:pt x="518" y="3512"/>
                  </a:lnTo>
                  <a:lnTo>
                    <a:pt x="520" y="3522"/>
                  </a:lnTo>
                  <a:lnTo>
                    <a:pt x="524" y="3542"/>
                  </a:lnTo>
                  <a:lnTo>
                    <a:pt x="526" y="3558"/>
                  </a:lnTo>
                  <a:lnTo>
                    <a:pt x="528" y="3562"/>
                  </a:lnTo>
                  <a:lnTo>
                    <a:pt x="532" y="3564"/>
                  </a:lnTo>
                  <a:lnTo>
                    <a:pt x="542" y="3566"/>
                  </a:lnTo>
                  <a:lnTo>
                    <a:pt x="550" y="3568"/>
                  </a:lnTo>
                  <a:lnTo>
                    <a:pt x="554" y="3570"/>
                  </a:lnTo>
                  <a:lnTo>
                    <a:pt x="558" y="3572"/>
                  </a:lnTo>
                  <a:lnTo>
                    <a:pt x="562" y="3576"/>
                  </a:lnTo>
                  <a:lnTo>
                    <a:pt x="566" y="3574"/>
                  </a:lnTo>
                  <a:lnTo>
                    <a:pt x="570" y="3574"/>
                  </a:lnTo>
                  <a:lnTo>
                    <a:pt x="580" y="3574"/>
                  </a:lnTo>
                  <a:lnTo>
                    <a:pt x="586" y="3574"/>
                  </a:lnTo>
                  <a:lnTo>
                    <a:pt x="590" y="3576"/>
                  </a:lnTo>
                  <a:lnTo>
                    <a:pt x="596" y="3580"/>
                  </a:lnTo>
                  <a:lnTo>
                    <a:pt x="600" y="3584"/>
                  </a:lnTo>
                  <a:lnTo>
                    <a:pt x="604" y="3584"/>
                  </a:lnTo>
                  <a:lnTo>
                    <a:pt x="608" y="3582"/>
                  </a:lnTo>
                  <a:lnTo>
                    <a:pt x="614" y="3580"/>
                  </a:lnTo>
                  <a:lnTo>
                    <a:pt x="620" y="3582"/>
                  </a:lnTo>
                  <a:lnTo>
                    <a:pt x="636" y="3584"/>
                  </a:lnTo>
                  <a:lnTo>
                    <a:pt x="650" y="3588"/>
                  </a:lnTo>
                  <a:lnTo>
                    <a:pt x="652" y="3588"/>
                  </a:lnTo>
                  <a:lnTo>
                    <a:pt x="654" y="3586"/>
                  </a:lnTo>
                  <a:lnTo>
                    <a:pt x="654" y="3582"/>
                  </a:lnTo>
                  <a:lnTo>
                    <a:pt x="656" y="3580"/>
                  </a:lnTo>
                  <a:lnTo>
                    <a:pt x="658" y="3582"/>
                  </a:lnTo>
                  <a:lnTo>
                    <a:pt x="662" y="3586"/>
                  </a:lnTo>
                  <a:lnTo>
                    <a:pt x="664" y="3590"/>
                  </a:lnTo>
                  <a:lnTo>
                    <a:pt x="670" y="3592"/>
                  </a:lnTo>
                  <a:lnTo>
                    <a:pt x="678" y="3594"/>
                  </a:lnTo>
                  <a:lnTo>
                    <a:pt x="688" y="3598"/>
                  </a:lnTo>
                  <a:lnTo>
                    <a:pt x="692" y="3600"/>
                  </a:lnTo>
                  <a:lnTo>
                    <a:pt x="696" y="3600"/>
                  </a:lnTo>
                  <a:lnTo>
                    <a:pt x="696" y="3596"/>
                  </a:lnTo>
                  <a:lnTo>
                    <a:pt x="698" y="3592"/>
                  </a:lnTo>
                  <a:lnTo>
                    <a:pt x="700" y="3592"/>
                  </a:lnTo>
                  <a:lnTo>
                    <a:pt x="702" y="3592"/>
                  </a:lnTo>
                  <a:lnTo>
                    <a:pt x="706" y="3598"/>
                  </a:lnTo>
                  <a:lnTo>
                    <a:pt x="710" y="3600"/>
                  </a:lnTo>
                  <a:lnTo>
                    <a:pt x="712" y="3600"/>
                  </a:lnTo>
                  <a:lnTo>
                    <a:pt x="716" y="3598"/>
                  </a:lnTo>
                  <a:lnTo>
                    <a:pt x="724" y="3594"/>
                  </a:lnTo>
                  <a:lnTo>
                    <a:pt x="726" y="3592"/>
                  </a:lnTo>
                  <a:lnTo>
                    <a:pt x="730" y="3594"/>
                  </a:lnTo>
                  <a:lnTo>
                    <a:pt x="732" y="3594"/>
                  </a:lnTo>
                  <a:lnTo>
                    <a:pt x="734" y="3594"/>
                  </a:lnTo>
                  <a:lnTo>
                    <a:pt x="738" y="3590"/>
                  </a:lnTo>
                  <a:lnTo>
                    <a:pt x="740" y="3588"/>
                  </a:lnTo>
                  <a:lnTo>
                    <a:pt x="746" y="3588"/>
                  </a:lnTo>
                  <a:lnTo>
                    <a:pt x="752" y="3588"/>
                  </a:lnTo>
                  <a:lnTo>
                    <a:pt x="762" y="3590"/>
                  </a:lnTo>
                  <a:lnTo>
                    <a:pt x="770" y="3594"/>
                  </a:lnTo>
                  <a:lnTo>
                    <a:pt x="774" y="3594"/>
                  </a:lnTo>
                  <a:lnTo>
                    <a:pt x="776" y="3592"/>
                  </a:lnTo>
                  <a:lnTo>
                    <a:pt x="778" y="3590"/>
                  </a:lnTo>
                  <a:lnTo>
                    <a:pt x="780" y="3588"/>
                  </a:lnTo>
                  <a:lnTo>
                    <a:pt x="782" y="3586"/>
                  </a:lnTo>
                  <a:lnTo>
                    <a:pt x="786" y="3586"/>
                  </a:lnTo>
                  <a:lnTo>
                    <a:pt x="794" y="3586"/>
                  </a:lnTo>
                  <a:lnTo>
                    <a:pt x="810" y="3590"/>
                  </a:lnTo>
                  <a:lnTo>
                    <a:pt x="820" y="3594"/>
                  </a:lnTo>
                  <a:lnTo>
                    <a:pt x="824" y="3594"/>
                  </a:lnTo>
                  <a:lnTo>
                    <a:pt x="828" y="3590"/>
                  </a:lnTo>
                  <a:lnTo>
                    <a:pt x="832" y="3588"/>
                  </a:lnTo>
                  <a:lnTo>
                    <a:pt x="840" y="3586"/>
                  </a:lnTo>
                  <a:lnTo>
                    <a:pt x="866" y="3582"/>
                  </a:lnTo>
                  <a:lnTo>
                    <a:pt x="892" y="3582"/>
                  </a:lnTo>
                  <a:lnTo>
                    <a:pt x="900" y="3584"/>
                  </a:lnTo>
                  <a:lnTo>
                    <a:pt x="904" y="3586"/>
                  </a:lnTo>
                  <a:lnTo>
                    <a:pt x="904" y="3588"/>
                  </a:lnTo>
                  <a:lnTo>
                    <a:pt x="904" y="3598"/>
                  </a:lnTo>
                  <a:lnTo>
                    <a:pt x="904" y="3606"/>
                  </a:lnTo>
                  <a:lnTo>
                    <a:pt x="904" y="3608"/>
                  </a:lnTo>
                  <a:lnTo>
                    <a:pt x="906" y="3610"/>
                  </a:lnTo>
                  <a:lnTo>
                    <a:pt x="916" y="3612"/>
                  </a:lnTo>
                  <a:lnTo>
                    <a:pt x="920" y="3612"/>
                  </a:lnTo>
                  <a:lnTo>
                    <a:pt x="924" y="3614"/>
                  </a:lnTo>
                  <a:lnTo>
                    <a:pt x="926" y="3616"/>
                  </a:lnTo>
                  <a:lnTo>
                    <a:pt x="926" y="3620"/>
                  </a:lnTo>
                  <a:lnTo>
                    <a:pt x="926" y="3626"/>
                  </a:lnTo>
                  <a:lnTo>
                    <a:pt x="926" y="3630"/>
                  </a:lnTo>
                  <a:lnTo>
                    <a:pt x="928" y="3634"/>
                  </a:lnTo>
                  <a:lnTo>
                    <a:pt x="932" y="3638"/>
                  </a:lnTo>
                  <a:lnTo>
                    <a:pt x="932" y="3642"/>
                  </a:lnTo>
                  <a:lnTo>
                    <a:pt x="932" y="3646"/>
                  </a:lnTo>
                  <a:lnTo>
                    <a:pt x="934" y="3652"/>
                  </a:lnTo>
                  <a:lnTo>
                    <a:pt x="938" y="3654"/>
                  </a:lnTo>
                  <a:lnTo>
                    <a:pt x="936" y="3656"/>
                  </a:lnTo>
                  <a:lnTo>
                    <a:pt x="936" y="3658"/>
                  </a:lnTo>
                  <a:lnTo>
                    <a:pt x="940" y="3662"/>
                  </a:lnTo>
                  <a:lnTo>
                    <a:pt x="944" y="3664"/>
                  </a:lnTo>
                  <a:lnTo>
                    <a:pt x="946" y="3664"/>
                  </a:lnTo>
                  <a:lnTo>
                    <a:pt x="950" y="3664"/>
                  </a:lnTo>
                  <a:lnTo>
                    <a:pt x="952" y="3662"/>
                  </a:lnTo>
                  <a:lnTo>
                    <a:pt x="956" y="3664"/>
                  </a:lnTo>
                  <a:lnTo>
                    <a:pt x="958" y="3666"/>
                  </a:lnTo>
                  <a:lnTo>
                    <a:pt x="962" y="3670"/>
                  </a:lnTo>
                  <a:lnTo>
                    <a:pt x="966" y="3674"/>
                  </a:lnTo>
                  <a:lnTo>
                    <a:pt x="972" y="3676"/>
                  </a:lnTo>
                  <a:lnTo>
                    <a:pt x="976" y="3680"/>
                  </a:lnTo>
                  <a:lnTo>
                    <a:pt x="982" y="3690"/>
                  </a:lnTo>
                  <a:lnTo>
                    <a:pt x="986" y="3696"/>
                  </a:lnTo>
                  <a:lnTo>
                    <a:pt x="992" y="3702"/>
                  </a:lnTo>
                  <a:lnTo>
                    <a:pt x="1000" y="3708"/>
                  </a:lnTo>
                  <a:lnTo>
                    <a:pt x="1008" y="3712"/>
                  </a:lnTo>
                  <a:lnTo>
                    <a:pt x="1016" y="3716"/>
                  </a:lnTo>
                  <a:lnTo>
                    <a:pt x="1024" y="3716"/>
                  </a:lnTo>
                  <a:lnTo>
                    <a:pt x="1032" y="3716"/>
                  </a:lnTo>
                  <a:lnTo>
                    <a:pt x="1038" y="3712"/>
                  </a:lnTo>
                  <a:lnTo>
                    <a:pt x="1044" y="3708"/>
                  </a:lnTo>
                  <a:lnTo>
                    <a:pt x="1048" y="3708"/>
                  </a:lnTo>
                  <a:lnTo>
                    <a:pt x="1052" y="3710"/>
                  </a:lnTo>
                  <a:lnTo>
                    <a:pt x="1052" y="3714"/>
                  </a:lnTo>
                  <a:lnTo>
                    <a:pt x="1050" y="3720"/>
                  </a:lnTo>
                  <a:lnTo>
                    <a:pt x="1046" y="3726"/>
                  </a:lnTo>
                  <a:lnTo>
                    <a:pt x="1040" y="3730"/>
                  </a:lnTo>
                  <a:lnTo>
                    <a:pt x="1028" y="3734"/>
                  </a:lnTo>
                  <a:lnTo>
                    <a:pt x="1016" y="3736"/>
                  </a:lnTo>
                  <a:lnTo>
                    <a:pt x="1006" y="3734"/>
                  </a:lnTo>
                  <a:lnTo>
                    <a:pt x="992" y="3732"/>
                  </a:lnTo>
                  <a:lnTo>
                    <a:pt x="992" y="3734"/>
                  </a:lnTo>
                  <a:lnTo>
                    <a:pt x="994" y="3740"/>
                  </a:lnTo>
                  <a:lnTo>
                    <a:pt x="1018" y="3770"/>
                  </a:lnTo>
                  <a:lnTo>
                    <a:pt x="1048" y="3804"/>
                  </a:lnTo>
                  <a:lnTo>
                    <a:pt x="1060" y="3814"/>
                  </a:lnTo>
                  <a:lnTo>
                    <a:pt x="1070" y="3820"/>
                  </a:lnTo>
                  <a:lnTo>
                    <a:pt x="1078" y="3822"/>
                  </a:lnTo>
                  <a:lnTo>
                    <a:pt x="1090" y="3818"/>
                  </a:lnTo>
                  <a:lnTo>
                    <a:pt x="1102" y="3810"/>
                  </a:lnTo>
                  <a:lnTo>
                    <a:pt x="1116" y="3798"/>
                  </a:lnTo>
                  <a:lnTo>
                    <a:pt x="1124" y="3790"/>
                  </a:lnTo>
                  <a:lnTo>
                    <a:pt x="1128" y="3782"/>
                  </a:lnTo>
                  <a:lnTo>
                    <a:pt x="1128" y="3772"/>
                  </a:lnTo>
                  <a:lnTo>
                    <a:pt x="1128" y="3764"/>
                  </a:lnTo>
                  <a:lnTo>
                    <a:pt x="1128" y="3756"/>
                  </a:lnTo>
                  <a:lnTo>
                    <a:pt x="1128" y="3750"/>
                  </a:lnTo>
                  <a:lnTo>
                    <a:pt x="1132" y="3744"/>
                  </a:lnTo>
                  <a:lnTo>
                    <a:pt x="1138" y="3742"/>
                  </a:lnTo>
                  <a:lnTo>
                    <a:pt x="1144" y="3740"/>
                  </a:lnTo>
                  <a:lnTo>
                    <a:pt x="1148" y="3740"/>
                  </a:lnTo>
                  <a:lnTo>
                    <a:pt x="1148" y="3742"/>
                  </a:lnTo>
                  <a:lnTo>
                    <a:pt x="1146" y="3746"/>
                  </a:lnTo>
                  <a:lnTo>
                    <a:pt x="1142" y="3754"/>
                  </a:lnTo>
                  <a:lnTo>
                    <a:pt x="1142" y="3760"/>
                  </a:lnTo>
                  <a:lnTo>
                    <a:pt x="1144" y="3764"/>
                  </a:lnTo>
                  <a:lnTo>
                    <a:pt x="1146" y="3770"/>
                  </a:lnTo>
                  <a:lnTo>
                    <a:pt x="1146" y="3774"/>
                  </a:lnTo>
                  <a:lnTo>
                    <a:pt x="1144" y="3778"/>
                  </a:lnTo>
                  <a:lnTo>
                    <a:pt x="1144" y="3782"/>
                  </a:lnTo>
                  <a:lnTo>
                    <a:pt x="1144" y="3788"/>
                  </a:lnTo>
                  <a:lnTo>
                    <a:pt x="1146" y="3794"/>
                  </a:lnTo>
                  <a:lnTo>
                    <a:pt x="1150" y="3804"/>
                  </a:lnTo>
                  <a:lnTo>
                    <a:pt x="1154" y="3814"/>
                  </a:lnTo>
                  <a:lnTo>
                    <a:pt x="1154" y="3822"/>
                  </a:lnTo>
                  <a:lnTo>
                    <a:pt x="1150" y="3838"/>
                  </a:lnTo>
                  <a:lnTo>
                    <a:pt x="1148" y="3848"/>
                  </a:lnTo>
                  <a:lnTo>
                    <a:pt x="1148" y="3864"/>
                  </a:lnTo>
                  <a:lnTo>
                    <a:pt x="1148" y="3884"/>
                  </a:lnTo>
                  <a:lnTo>
                    <a:pt x="1152" y="3912"/>
                  </a:lnTo>
                  <a:lnTo>
                    <a:pt x="1170" y="4010"/>
                  </a:lnTo>
                  <a:lnTo>
                    <a:pt x="1176" y="4042"/>
                  </a:lnTo>
                  <a:lnTo>
                    <a:pt x="1184" y="4060"/>
                  </a:lnTo>
                  <a:lnTo>
                    <a:pt x="1194" y="4084"/>
                  </a:lnTo>
                  <a:lnTo>
                    <a:pt x="1210" y="4122"/>
                  </a:lnTo>
                  <a:lnTo>
                    <a:pt x="1224" y="4164"/>
                  </a:lnTo>
                  <a:lnTo>
                    <a:pt x="1230" y="4184"/>
                  </a:lnTo>
                  <a:lnTo>
                    <a:pt x="1232" y="4204"/>
                  </a:lnTo>
                  <a:lnTo>
                    <a:pt x="1236" y="4220"/>
                  </a:lnTo>
                  <a:lnTo>
                    <a:pt x="1240" y="4232"/>
                  </a:lnTo>
                  <a:lnTo>
                    <a:pt x="1254" y="4256"/>
                  </a:lnTo>
                  <a:lnTo>
                    <a:pt x="1262" y="4268"/>
                  </a:lnTo>
                  <a:lnTo>
                    <a:pt x="1268" y="4284"/>
                  </a:lnTo>
                  <a:lnTo>
                    <a:pt x="1276" y="4304"/>
                  </a:lnTo>
                  <a:lnTo>
                    <a:pt x="1282" y="4330"/>
                  </a:lnTo>
                  <a:lnTo>
                    <a:pt x="1290" y="4358"/>
                  </a:lnTo>
                  <a:lnTo>
                    <a:pt x="1296" y="4384"/>
                  </a:lnTo>
                  <a:lnTo>
                    <a:pt x="1306" y="4406"/>
                  </a:lnTo>
                  <a:lnTo>
                    <a:pt x="1314" y="4424"/>
                  </a:lnTo>
                  <a:lnTo>
                    <a:pt x="1324" y="4436"/>
                  </a:lnTo>
                  <a:lnTo>
                    <a:pt x="1328" y="4442"/>
                  </a:lnTo>
                  <a:lnTo>
                    <a:pt x="1334" y="4444"/>
                  </a:lnTo>
                  <a:lnTo>
                    <a:pt x="1338" y="4446"/>
                  </a:lnTo>
                  <a:lnTo>
                    <a:pt x="1344" y="4446"/>
                  </a:lnTo>
                  <a:lnTo>
                    <a:pt x="1348" y="4444"/>
                  </a:lnTo>
                  <a:lnTo>
                    <a:pt x="1354" y="4440"/>
                  </a:lnTo>
                  <a:lnTo>
                    <a:pt x="1362" y="4432"/>
                  </a:lnTo>
                  <a:lnTo>
                    <a:pt x="1366" y="4424"/>
                  </a:lnTo>
                  <a:lnTo>
                    <a:pt x="1368" y="4416"/>
                  </a:lnTo>
                  <a:lnTo>
                    <a:pt x="1368" y="4410"/>
                  </a:lnTo>
                  <a:lnTo>
                    <a:pt x="1368" y="4406"/>
                  </a:lnTo>
                  <a:lnTo>
                    <a:pt x="1372" y="4400"/>
                  </a:lnTo>
                  <a:lnTo>
                    <a:pt x="1376" y="4396"/>
                  </a:lnTo>
                  <a:lnTo>
                    <a:pt x="1384" y="4394"/>
                  </a:lnTo>
                  <a:lnTo>
                    <a:pt x="1402" y="4390"/>
                  </a:lnTo>
                  <a:lnTo>
                    <a:pt x="1412" y="4390"/>
                  </a:lnTo>
                  <a:lnTo>
                    <a:pt x="1418" y="4390"/>
                  </a:lnTo>
                  <a:lnTo>
                    <a:pt x="1420" y="4390"/>
                  </a:lnTo>
                  <a:lnTo>
                    <a:pt x="1420" y="4388"/>
                  </a:lnTo>
                  <a:lnTo>
                    <a:pt x="1420" y="4386"/>
                  </a:lnTo>
                  <a:lnTo>
                    <a:pt x="1416" y="4384"/>
                  </a:lnTo>
                  <a:lnTo>
                    <a:pt x="1408" y="4382"/>
                  </a:lnTo>
                  <a:lnTo>
                    <a:pt x="1404" y="4380"/>
                  </a:lnTo>
                  <a:lnTo>
                    <a:pt x="1400" y="4376"/>
                  </a:lnTo>
                  <a:lnTo>
                    <a:pt x="1402" y="4370"/>
                  </a:lnTo>
                  <a:lnTo>
                    <a:pt x="1406" y="4362"/>
                  </a:lnTo>
                  <a:lnTo>
                    <a:pt x="1410" y="4354"/>
                  </a:lnTo>
                  <a:lnTo>
                    <a:pt x="1412" y="4348"/>
                  </a:lnTo>
                  <a:lnTo>
                    <a:pt x="1412" y="4342"/>
                  </a:lnTo>
                  <a:lnTo>
                    <a:pt x="1414" y="4340"/>
                  </a:lnTo>
                  <a:lnTo>
                    <a:pt x="1428" y="4338"/>
                  </a:lnTo>
                  <a:lnTo>
                    <a:pt x="1434" y="4336"/>
                  </a:lnTo>
                  <a:lnTo>
                    <a:pt x="1436" y="4334"/>
                  </a:lnTo>
                  <a:lnTo>
                    <a:pt x="1438" y="4332"/>
                  </a:lnTo>
                  <a:lnTo>
                    <a:pt x="1438" y="4322"/>
                  </a:lnTo>
                  <a:lnTo>
                    <a:pt x="1436" y="4312"/>
                  </a:lnTo>
                  <a:lnTo>
                    <a:pt x="1434" y="4298"/>
                  </a:lnTo>
                  <a:lnTo>
                    <a:pt x="1432" y="4284"/>
                  </a:lnTo>
                  <a:lnTo>
                    <a:pt x="1434" y="4266"/>
                  </a:lnTo>
                  <a:lnTo>
                    <a:pt x="1440" y="4246"/>
                  </a:lnTo>
                  <a:lnTo>
                    <a:pt x="1448" y="4226"/>
                  </a:lnTo>
                  <a:lnTo>
                    <a:pt x="1454" y="4206"/>
                  </a:lnTo>
                  <a:lnTo>
                    <a:pt x="1456" y="4196"/>
                  </a:lnTo>
                  <a:lnTo>
                    <a:pt x="1454" y="4186"/>
                  </a:lnTo>
                  <a:lnTo>
                    <a:pt x="1452" y="4172"/>
                  </a:lnTo>
                  <a:lnTo>
                    <a:pt x="1448" y="4154"/>
                  </a:lnTo>
                  <a:lnTo>
                    <a:pt x="1448" y="4144"/>
                  </a:lnTo>
                  <a:lnTo>
                    <a:pt x="1450" y="4138"/>
                  </a:lnTo>
                  <a:lnTo>
                    <a:pt x="1450" y="4128"/>
                  </a:lnTo>
                  <a:lnTo>
                    <a:pt x="1446" y="4108"/>
                  </a:lnTo>
                  <a:lnTo>
                    <a:pt x="1444" y="4098"/>
                  </a:lnTo>
                  <a:lnTo>
                    <a:pt x="1442" y="4088"/>
                  </a:lnTo>
                  <a:lnTo>
                    <a:pt x="1444" y="4082"/>
                  </a:lnTo>
                  <a:lnTo>
                    <a:pt x="1444" y="4076"/>
                  </a:lnTo>
                  <a:lnTo>
                    <a:pt x="1448" y="4074"/>
                  </a:lnTo>
                  <a:lnTo>
                    <a:pt x="1452" y="4070"/>
                  </a:lnTo>
                  <a:lnTo>
                    <a:pt x="1460" y="4068"/>
                  </a:lnTo>
                  <a:lnTo>
                    <a:pt x="1470" y="4066"/>
                  </a:lnTo>
                  <a:lnTo>
                    <a:pt x="1480" y="4064"/>
                  </a:lnTo>
                  <a:lnTo>
                    <a:pt x="1488" y="4058"/>
                  </a:lnTo>
                  <a:lnTo>
                    <a:pt x="1490" y="4054"/>
                  </a:lnTo>
                  <a:lnTo>
                    <a:pt x="1492" y="4050"/>
                  </a:lnTo>
                  <a:lnTo>
                    <a:pt x="1494" y="4040"/>
                  </a:lnTo>
                  <a:lnTo>
                    <a:pt x="1496" y="4038"/>
                  </a:lnTo>
                  <a:lnTo>
                    <a:pt x="1498" y="4038"/>
                  </a:lnTo>
                  <a:lnTo>
                    <a:pt x="1502" y="4040"/>
                  </a:lnTo>
                  <a:lnTo>
                    <a:pt x="1506" y="4042"/>
                  </a:lnTo>
                  <a:lnTo>
                    <a:pt x="1512" y="4042"/>
                  </a:lnTo>
                  <a:lnTo>
                    <a:pt x="1520" y="4040"/>
                  </a:lnTo>
                  <a:lnTo>
                    <a:pt x="1530" y="4032"/>
                  </a:lnTo>
                  <a:lnTo>
                    <a:pt x="1536" y="4024"/>
                  </a:lnTo>
                  <a:lnTo>
                    <a:pt x="1538" y="4020"/>
                  </a:lnTo>
                  <a:lnTo>
                    <a:pt x="1538" y="4016"/>
                  </a:lnTo>
                  <a:lnTo>
                    <a:pt x="1538" y="4014"/>
                  </a:lnTo>
                  <a:lnTo>
                    <a:pt x="1538" y="4010"/>
                  </a:lnTo>
                  <a:lnTo>
                    <a:pt x="1542" y="4004"/>
                  </a:lnTo>
                  <a:lnTo>
                    <a:pt x="1550" y="3996"/>
                  </a:lnTo>
                  <a:lnTo>
                    <a:pt x="1566" y="3982"/>
                  </a:lnTo>
                  <a:lnTo>
                    <a:pt x="1584" y="3966"/>
                  </a:lnTo>
                  <a:lnTo>
                    <a:pt x="1600" y="3950"/>
                  </a:lnTo>
                  <a:lnTo>
                    <a:pt x="1624" y="3918"/>
                  </a:lnTo>
                  <a:lnTo>
                    <a:pt x="1644" y="3892"/>
                  </a:lnTo>
                  <a:lnTo>
                    <a:pt x="1654" y="3880"/>
                  </a:lnTo>
                  <a:lnTo>
                    <a:pt x="1666" y="3870"/>
                  </a:lnTo>
                  <a:lnTo>
                    <a:pt x="1674" y="3866"/>
                  </a:lnTo>
                  <a:lnTo>
                    <a:pt x="1680" y="3864"/>
                  </a:lnTo>
                  <a:lnTo>
                    <a:pt x="1688" y="3864"/>
                  </a:lnTo>
                  <a:lnTo>
                    <a:pt x="1692" y="3864"/>
                  </a:lnTo>
                  <a:lnTo>
                    <a:pt x="1696" y="3860"/>
                  </a:lnTo>
                  <a:lnTo>
                    <a:pt x="1704" y="3852"/>
                  </a:lnTo>
                  <a:lnTo>
                    <a:pt x="1714" y="3840"/>
                  </a:lnTo>
                  <a:lnTo>
                    <a:pt x="1722" y="3828"/>
                  </a:lnTo>
                  <a:lnTo>
                    <a:pt x="1724" y="3816"/>
                  </a:lnTo>
                  <a:lnTo>
                    <a:pt x="1724" y="3808"/>
                  </a:lnTo>
                  <a:lnTo>
                    <a:pt x="1722" y="3802"/>
                  </a:lnTo>
                  <a:lnTo>
                    <a:pt x="1720" y="3796"/>
                  </a:lnTo>
                  <a:lnTo>
                    <a:pt x="1720" y="3790"/>
                  </a:lnTo>
                  <a:lnTo>
                    <a:pt x="1724" y="3784"/>
                  </a:lnTo>
                  <a:lnTo>
                    <a:pt x="1736" y="3778"/>
                  </a:lnTo>
                  <a:lnTo>
                    <a:pt x="1748" y="3772"/>
                  </a:lnTo>
                  <a:lnTo>
                    <a:pt x="1756" y="3766"/>
                  </a:lnTo>
                  <a:lnTo>
                    <a:pt x="1768" y="3758"/>
                  </a:lnTo>
                  <a:lnTo>
                    <a:pt x="1770" y="3756"/>
                  </a:lnTo>
                  <a:lnTo>
                    <a:pt x="1772" y="3756"/>
                  </a:lnTo>
                  <a:lnTo>
                    <a:pt x="1774" y="3766"/>
                  </a:lnTo>
                  <a:lnTo>
                    <a:pt x="1774" y="3772"/>
                  </a:lnTo>
                  <a:lnTo>
                    <a:pt x="1778" y="3776"/>
                  </a:lnTo>
                  <a:lnTo>
                    <a:pt x="1780" y="3778"/>
                  </a:lnTo>
                  <a:lnTo>
                    <a:pt x="1784" y="3778"/>
                  </a:lnTo>
                  <a:lnTo>
                    <a:pt x="1790" y="3774"/>
                  </a:lnTo>
                  <a:lnTo>
                    <a:pt x="1794" y="3774"/>
                  </a:lnTo>
                  <a:lnTo>
                    <a:pt x="1798" y="3774"/>
                  </a:lnTo>
                  <a:lnTo>
                    <a:pt x="1804" y="3776"/>
                  </a:lnTo>
                  <a:lnTo>
                    <a:pt x="1808" y="3776"/>
                  </a:lnTo>
                  <a:lnTo>
                    <a:pt x="1810" y="3774"/>
                  </a:lnTo>
                  <a:lnTo>
                    <a:pt x="1808" y="3768"/>
                  </a:lnTo>
                  <a:lnTo>
                    <a:pt x="1806" y="3760"/>
                  </a:lnTo>
                  <a:lnTo>
                    <a:pt x="1806" y="3758"/>
                  </a:lnTo>
                  <a:lnTo>
                    <a:pt x="1810" y="3756"/>
                  </a:lnTo>
                  <a:lnTo>
                    <a:pt x="1812" y="3762"/>
                  </a:lnTo>
                  <a:lnTo>
                    <a:pt x="1816" y="3766"/>
                  </a:lnTo>
                  <a:lnTo>
                    <a:pt x="1818" y="3766"/>
                  </a:lnTo>
                  <a:lnTo>
                    <a:pt x="1820" y="3766"/>
                  </a:lnTo>
                  <a:lnTo>
                    <a:pt x="1824" y="3766"/>
                  </a:lnTo>
                  <a:lnTo>
                    <a:pt x="1826" y="3766"/>
                  </a:lnTo>
                  <a:lnTo>
                    <a:pt x="1828" y="3768"/>
                  </a:lnTo>
                  <a:lnTo>
                    <a:pt x="1830" y="3770"/>
                  </a:lnTo>
                  <a:lnTo>
                    <a:pt x="1832" y="3770"/>
                  </a:lnTo>
                  <a:lnTo>
                    <a:pt x="1836" y="3764"/>
                  </a:lnTo>
                  <a:lnTo>
                    <a:pt x="1842" y="3760"/>
                  </a:lnTo>
                  <a:lnTo>
                    <a:pt x="1844" y="3760"/>
                  </a:lnTo>
                  <a:lnTo>
                    <a:pt x="1848" y="3762"/>
                  </a:lnTo>
                  <a:lnTo>
                    <a:pt x="1852" y="3766"/>
                  </a:lnTo>
                  <a:lnTo>
                    <a:pt x="1856" y="3764"/>
                  </a:lnTo>
                  <a:lnTo>
                    <a:pt x="1860" y="3762"/>
                  </a:lnTo>
                  <a:lnTo>
                    <a:pt x="1864" y="3756"/>
                  </a:lnTo>
                  <a:lnTo>
                    <a:pt x="1866" y="3748"/>
                  </a:lnTo>
                  <a:lnTo>
                    <a:pt x="1868" y="3740"/>
                  </a:lnTo>
                  <a:lnTo>
                    <a:pt x="1868" y="3734"/>
                  </a:lnTo>
                  <a:lnTo>
                    <a:pt x="1866" y="3726"/>
                  </a:lnTo>
                  <a:lnTo>
                    <a:pt x="1864" y="3716"/>
                  </a:lnTo>
                  <a:lnTo>
                    <a:pt x="1866" y="3706"/>
                  </a:lnTo>
                  <a:lnTo>
                    <a:pt x="1866" y="3698"/>
                  </a:lnTo>
                  <a:lnTo>
                    <a:pt x="1866" y="3690"/>
                  </a:lnTo>
                  <a:lnTo>
                    <a:pt x="1864" y="3686"/>
                  </a:lnTo>
                  <a:lnTo>
                    <a:pt x="1866" y="3684"/>
                  </a:lnTo>
                  <a:lnTo>
                    <a:pt x="1868" y="3680"/>
                  </a:lnTo>
                  <a:lnTo>
                    <a:pt x="1870" y="3676"/>
                  </a:lnTo>
                  <a:lnTo>
                    <a:pt x="1872" y="3678"/>
                  </a:lnTo>
                  <a:lnTo>
                    <a:pt x="1872" y="3684"/>
                  </a:lnTo>
                  <a:lnTo>
                    <a:pt x="1876" y="3710"/>
                  </a:lnTo>
                  <a:lnTo>
                    <a:pt x="1880" y="3720"/>
                  </a:lnTo>
                  <a:lnTo>
                    <a:pt x="1882" y="3724"/>
                  </a:lnTo>
                  <a:lnTo>
                    <a:pt x="1884" y="3726"/>
                  </a:lnTo>
                  <a:lnTo>
                    <a:pt x="1888" y="3726"/>
                  </a:lnTo>
                  <a:lnTo>
                    <a:pt x="1890" y="3726"/>
                  </a:lnTo>
                  <a:lnTo>
                    <a:pt x="1898" y="3722"/>
                  </a:lnTo>
                  <a:lnTo>
                    <a:pt x="1900" y="3720"/>
                  </a:lnTo>
                  <a:lnTo>
                    <a:pt x="1904" y="3720"/>
                  </a:lnTo>
                  <a:lnTo>
                    <a:pt x="1906" y="3722"/>
                  </a:lnTo>
                  <a:lnTo>
                    <a:pt x="1910" y="3726"/>
                  </a:lnTo>
                  <a:lnTo>
                    <a:pt x="1916" y="3738"/>
                  </a:lnTo>
                  <a:lnTo>
                    <a:pt x="1922" y="3760"/>
                  </a:lnTo>
                  <a:lnTo>
                    <a:pt x="1926" y="3768"/>
                  </a:lnTo>
                  <a:lnTo>
                    <a:pt x="1928" y="3772"/>
                  </a:lnTo>
                  <a:lnTo>
                    <a:pt x="1928" y="3774"/>
                  </a:lnTo>
                  <a:lnTo>
                    <a:pt x="1928" y="3780"/>
                  </a:lnTo>
                  <a:lnTo>
                    <a:pt x="1926" y="3786"/>
                  </a:lnTo>
                  <a:lnTo>
                    <a:pt x="1926" y="3792"/>
                  </a:lnTo>
                  <a:lnTo>
                    <a:pt x="1930" y="3804"/>
                  </a:lnTo>
                  <a:lnTo>
                    <a:pt x="1934" y="3814"/>
                  </a:lnTo>
                  <a:lnTo>
                    <a:pt x="1936" y="3810"/>
                  </a:lnTo>
                  <a:lnTo>
                    <a:pt x="1936" y="3800"/>
                  </a:lnTo>
                  <a:lnTo>
                    <a:pt x="1938" y="3806"/>
                  </a:lnTo>
                  <a:lnTo>
                    <a:pt x="1942" y="3816"/>
                  </a:lnTo>
                  <a:lnTo>
                    <a:pt x="1946" y="3828"/>
                  </a:lnTo>
                  <a:lnTo>
                    <a:pt x="1952" y="3838"/>
                  </a:lnTo>
                  <a:lnTo>
                    <a:pt x="1968" y="3862"/>
                  </a:lnTo>
                  <a:lnTo>
                    <a:pt x="1972" y="3864"/>
                  </a:lnTo>
                  <a:lnTo>
                    <a:pt x="1974" y="3860"/>
                  </a:lnTo>
                  <a:lnTo>
                    <a:pt x="1976" y="3856"/>
                  </a:lnTo>
                  <a:lnTo>
                    <a:pt x="1978" y="3854"/>
                  </a:lnTo>
                  <a:lnTo>
                    <a:pt x="1980" y="3854"/>
                  </a:lnTo>
                  <a:lnTo>
                    <a:pt x="1982" y="3854"/>
                  </a:lnTo>
                  <a:lnTo>
                    <a:pt x="1990" y="3862"/>
                  </a:lnTo>
                  <a:lnTo>
                    <a:pt x="1994" y="3870"/>
                  </a:lnTo>
                  <a:lnTo>
                    <a:pt x="1998" y="3876"/>
                  </a:lnTo>
                  <a:lnTo>
                    <a:pt x="2004" y="3882"/>
                  </a:lnTo>
                  <a:lnTo>
                    <a:pt x="2008" y="3886"/>
                  </a:lnTo>
                  <a:lnTo>
                    <a:pt x="2008" y="3888"/>
                  </a:lnTo>
                  <a:lnTo>
                    <a:pt x="2006" y="3890"/>
                  </a:lnTo>
                  <a:lnTo>
                    <a:pt x="2002" y="3892"/>
                  </a:lnTo>
                  <a:lnTo>
                    <a:pt x="2000" y="3892"/>
                  </a:lnTo>
                  <a:lnTo>
                    <a:pt x="1996" y="3890"/>
                  </a:lnTo>
                  <a:lnTo>
                    <a:pt x="1992" y="3886"/>
                  </a:lnTo>
                  <a:lnTo>
                    <a:pt x="1990" y="3886"/>
                  </a:lnTo>
                  <a:lnTo>
                    <a:pt x="1988" y="3888"/>
                  </a:lnTo>
                  <a:lnTo>
                    <a:pt x="1986" y="3890"/>
                  </a:lnTo>
                  <a:lnTo>
                    <a:pt x="1986" y="3894"/>
                  </a:lnTo>
                  <a:lnTo>
                    <a:pt x="1992" y="3904"/>
                  </a:lnTo>
                  <a:lnTo>
                    <a:pt x="1998" y="3910"/>
                  </a:lnTo>
                  <a:lnTo>
                    <a:pt x="2000" y="3912"/>
                  </a:lnTo>
                  <a:lnTo>
                    <a:pt x="2000" y="3910"/>
                  </a:lnTo>
                  <a:lnTo>
                    <a:pt x="2002" y="3904"/>
                  </a:lnTo>
                  <a:lnTo>
                    <a:pt x="2004" y="3900"/>
                  </a:lnTo>
                  <a:lnTo>
                    <a:pt x="2006" y="3900"/>
                  </a:lnTo>
                  <a:lnTo>
                    <a:pt x="2010" y="3912"/>
                  </a:lnTo>
                  <a:lnTo>
                    <a:pt x="2016" y="3930"/>
                  </a:lnTo>
                  <a:lnTo>
                    <a:pt x="2024" y="3950"/>
                  </a:lnTo>
                  <a:lnTo>
                    <a:pt x="2028" y="3960"/>
                  </a:lnTo>
                  <a:lnTo>
                    <a:pt x="2032" y="3972"/>
                  </a:lnTo>
                  <a:lnTo>
                    <a:pt x="2032" y="3982"/>
                  </a:lnTo>
                  <a:lnTo>
                    <a:pt x="2030" y="3992"/>
                  </a:lnTo>
                  <a:lnTo>
                    <a:pt x="2016" y="4034"/>
                  </a:lnTo>
                  <a:lnTo>
                    <a:pt x="2014" y="4050"/>
                  </a:lnTo>
                  <a:lnTo>
                    <a:pt x="2014" y="4056"/>
                  </a:lnTo>
                  <a:lnTo>
                    <a:pt x="2016" y="4058"/>
                  </a:lnTo>
                  <a:lnTo>
                    <a:pt x="2020" y="4058"/>
                  </a:lnTo>
                  <a:lnTo>
                    <a:pt x="2022" y="4056"/>
                  </a:lnTo>
                  <a:lnTo>
                    <a:pt x="2026" y="4050"/>
                  </a:lnTo>
                  <a:lnTo>
                    <a:pt x="2028" y="4044"/>
                  </a:lnTo>
                  <a:lnTo>
                    <a:pt x="2030" y="4042"/>
                  </a:lnTo>
                  <a:lnTo>
                    <a:pt x="2034" y="4042"/>
                  </a:lnTo>
                  <a:lnTo>
                    <a:pt x="2036" y="4042"/>
                  </a:lnTo>
                  <a:lnTo>
                    <a:pt x="2036" y="4044"/>
                  </a:lnTo>
                  <a:lnTo>
                    <a:pt x="2032" y="4048"/>
                  </a:lnTo>
                  <a:lnTo>
                    <a:pt x="2032" y="4054"/>
                  </a:lnTo>
                  <a:lnTo>
                    <a:pt x="2032" y="4056"/>
                  </a:lnTo>
                  <a:lnTo>
                    <a:pt x="2036" y="4060"/>
                  </a:lnTo>
                  <a:lnTo>
                    <a:pt x="2040" y="4064"/>
                  </a:lnTo>
                  <a:lnTo>
                    <a:pt x="2042" y="4064"/>
                  </a:lnTo>
                  <a:lnTo>
                    <a:pt x="2046" y="4062"/>
                  </a:lnTo>
                  <a:lnTo>
                    <a:pt x="2048" y="4060"/>
                  </a:lnTo>
                  <a:lnTo>
                    <a:pt x="2050" y="4060"/>
                  </a:lnTo>
                  <a:lnTo>
                    <a:pt x="2052" y="4062"/>
                  </a:lnTo>
                  <a:lnTo>
                    <a:pt x="2056" y="4066"/>
                  </a:lnTo>
                  <a:lnTo>
                    <a:pt x="2062" y="4070"/>
                  </a:lnTo>
                  <a:lnTo>
                    <a:pt x="2066" y="4068"/>
                  </a:lnTo>
                  <a:lnTo>
                    <a:pt x="2068" y="4066"/>
                  </a:lnTo>
                  <a:lnTo>
                    <a:pt x="2072" y="4060"/>
                  </a:lnTo>
                  <a:lnTo>
                    <a:pt x="2080" y="4048"/>
                  </a:lnTo>
                  <a:lnTo>
                    <a:pt x="2086" y="4042"/>
                  </a:lnTo>
                  <a:lnTo>
                    <a:pt x="2092" y="4038"/>
                  </a:lnTo>
                  <a:lnTo>
                    <a:pt x="2106" y="4032"/>
                  </a:lnTo>
                  <a:lnTo>
                    <a:pt x="2112" y="4028"/>
                  </a:lnTo>
                  <a:lnTo>
                    <a:pt x="2118" y="4024"/>
                  </a:lnTo>
                  <a:lnTo>
                    <a:pt x="2122" y="4016"/>
                  </a:lnTo>
                  <a:lnTo>
                    <a:pt x="2124" y="4008"/>
                  </a:lnTo>
                  <a:lnTo>
                    <a:pt x="2126" y="3998"/>
                  </a:lnTo>
                  <a:lnTo>
                    <a:pt x="2122" y="3986"/>
                  </a:lnTo>
                  <a:lnTo>
                    <a:pt x="2128" y="3990"/>
                  </a:lnTo>
                  <a:lnTo>
                    <a:pt x="2130" y="3992"/>
                  </a:lnTo>
                  <a:lnTo>
                    <a:pt x="2132" y="3998"/>
                  </a:lnTo>
                  <a:lnTo>
                    <a:pt x="2132" y="4002"/>
                  </a:lnTo>
                  <a:lnTo>
                    <a:pt x="2136" y="4004"/>
                  </a:lnTo>
                  <a:lnTo>
                    <a:pt x="2138" y="4008"/>
                  </a:lnTo>
                  <a:lnTo>
                    <a:pt x="2140" y="4020"/>
                  </a:lnTo>
                  <a:lnTo>
                    <a:pt x="2144" y="4028"/>
                  </a:lnTo>
                  <a:lnTo>
                    <a:pt x="2146" y="4030"/>
                  </a:lnTo>
                  <a:lnTo>
                    <a:pt x="2148" y="4032"/>
                  </a:lnTo>
                  <a:lnTo>
                    <a:pt x="2152" y="4030"/>
                  </a:lnTo>
                  <a:lnTo>
                    <a:pt x="2156" y="4028"/>
                  </a:lnTo>
                  <a:lnTo>
                    <a:pt x="2158" y="4028"/>
                  </a:lnTo>
                  <a:lnTo>
                    <a:pt x="2156" y="4032"/>
                  </a:lnTo>
                  <a:lnTo>
                    <a:pt x="2152" y="4040"/>
                  </a:lnTo>
                  <a:lnTo>
                    <a:pt x="2150" y="4046"/>
                  </a:lnTo>
                  <a:lnTo>
                    <a:pt x="2150" y="4052"/>
                  </a:lnTo>
                  <a:lnTo>
                    <a:pt x="2154" y="4060"/>
                  </a:lnTo>
                  <a:lnTo>
                    <a:pt x="2156" y="4070"/>
                  </a:lnTo>
                  <a:lnTo>
                    <a:pt x="2158" y="4092"/>
                  </a:lnTo>
                  <a:lnTo>
                    <a:pt x="2160" y="4114"/>
                  </a:lnTo>
                  <a:lnTo>
                    <a:pt x="2164" y="4128"/>
                  </a:lnTo>
                  <a:lnTo>
                    <a:pt x="2168" y="4140"/>
                  </a:lnTo>
                  <a:lnTo>
                    <a:pt x="2172" y="4154"/>
                  </a:lnTo>
                  <a:lnTo>
                    <a:pt x="2172" y="4172"/>
                  </a:lnTo>
                  <a:lnTo>
                    <a:pt x="2174" y="4172"/>
                  </a:lnTo>
                  <a:lnTo>
                    <a:pt x="2176" y="4166"/>
                  </a:lnTo>
                  <a:lnTo>
                    <a:pt x="2178" y="4168"/>
                  </a:lnTo>
                  <a:lnTo>
                    <a:pt x="2180" y="4172"/>
                  </a:lnTo>
                  <a:lnTo>
                    <a:pt x="2184" y="4186"/>
                  </a:lnTo>
                  <a:lnTo>
                    <a:pt x="2188" y="4198"/>
                  </a:lnTo>
                  <a:lnTo>
                    <a:pt x="2190" y="4208"/>
                  </a:lnTo>
                  <a:lnTo>
                    <a:pt x="2192" y="4216"/>
                  </a:lnTo>
                  <a:lnTo>
                    <a:pt x="2194" y="4224"/>
                  </a:lnTo>
                  <a:lnTo>
                    <a:pt x="2192" y="4232"/>
                  </a:lnTo>
                  <a:lnTo>
                    <a:pt x="2192" y="4240"/>
                  </a:lnTo>
                  <a:lnTo>
                    <a:pt x="2192" y="4242"/>
                  </a:lnTo>
                  <a:lnTo>
                    <a:pt x="2194" y="4246"/>
                  </a:lnTo>
                  <a:lnTo>
                    <a:pt x="2194" y="4248"/>
                  </a:lnTo>
                  <a:lnTo>
                    <a:pt x="2194" y="4250"/>
                  </a:lnTo>
                  <a:lnTo>
                    <a:pt x="2192" y="4258"/>
                  </a:lnTo>
                  <a:lnTo>
                    <a:pt x="2190" y="4266"/>
                  </a:lnTo>
                  <a:lnTo>
                    <a:pt x="2192" y="4268"/>
                  </a:lnTo>
                  <a:lnTo>
                    <a:pt x="2196" y="4268"/>
                  </a:lnTo>
                  <a:lnTo>
                    <a:pt x="2198" y="4268"/>
                  </a:lnTo>
                  <a:lnTo>
                    <a:pt x="2200" y="4270"/>
                  </a:lnTo>
                  <a:lnTo>
                    <a:pt x="2200" y="4276"/>
                  </a:lnTo>
                  <a:lnTo>
                    <a:pt x="2196" y="4286"/>
                  </a:lnTo>
                  <a:lnTo>
                    <a:pt x="2196" y="4298"/>
                  </a:lnTo>
                  <a:lnTo>
                    <a:pt x="2194" y="4306"/>
                  </a:lnTo>
                  <a:lnTo>
                    <a:pt x="2192" y="4310"/>
                  </a:lnTo>
                  <a:lnTo>
                    <a:pt x="2190" y="4320"/>
                  </a:lnTo>
                  <a:lnTo>
                    <a:pt x="2188" y="4344"/>
                  </a:lnTo>
                  <a:lnTo>
                    <a:pt x="2188" y="4352"/>
                  </a:lnTo>
                  <a:lnTo>
                    <a:pt x="2190" y="4352"/>
                  </a:lnTo>
                  <a:lnTo>
                    <a:pt x="2198" y="4336"/>
                  </a:lnTo>
                  <a:lnTo>
                    <a:pt x="2198" y="4340"/>
                  </a:lnTo>
                  <a:lnTo>
                    <a:pt x="2198" y="4346"/>
                  </a:lnTo>
                  <a:lnTo>
                    <a:pt x="2190" y="4360"/>
                  </a:lnTo>
                  <a:lnTo>
                    <a:pt x="2186" y="4368"/>
                  </a:lnTo>
                  <a:lnTo>
                    <a:pt x="2188" y="4372"/>
                  </a:lnTo>
                  <a:lnTo>
                    <a:pt x="2188" y="4374"/>
                  </a:lnTo>
                  <a:lnTo>
                    <a:pt x="2186" y="4380"/>
                  </a:lnTo>
                  <a:lnTo>
                    <a:pt x="2182" y="4390"/>
                  </a:lnTo>
                  <a:lnTo>
                    <a:pt x="2182" y="4396"/>
                  </a:lnTo>
                  <a:lnTo>
                    <a:pt x="2182" y="4400"/>
                  </a:lnTo>
                  <a:lnTo>
                    <a:pt x="2180" y="4406"/>
                  </a:lnTo>
                  <a:lnTo>
                    <a:pt x="2178" y="4416"/>
                  </a:lnTo>
                  <a:lnTo>
                    <a:pt x="2176" y="4426"/>
                  </a:lnTo>
                  <a:lnTo>
                    <a:pt x="2178" y="4434"/>
                  </a:lnTo>
                  <a:lnTo>
                    <a:pt x="2180" y="4440"/>
                  </a:lnTo>
                  <a:lnTo>
                    <a:pt x="2182" y="4442"/>
                  </a:lnTo>
                  <a:lnTo>
                    <a:pt x="2184" y="4442"/>
                  </a:lnTo>
                  <a:lnTo>
                    <a:pt x="2186" y="4438"/>
                  </a:lnTo>
                  <a:lnTo>
                    <a:pt x="2190" y="4432"/>
                  </a:lnTo>
                  <a:lnTo>
                    <a:pt x="2190" y="4430"/>
                  </a:lnTo>
                  <a:lnTo>
                    <a:pt x="2192" y="4430"/>
                  </a:lnTo>
                  <a:lnTo>
                    <a:pt x="2198" y="4438"/>
                  </a:lnTo>
                  <a:lnTo>
                    <a:pt x="2204" y="4450"/>
                  </a:lnTo>
                  <a:lnTo>
                    <a:pt x="2210" y="4464"/>
                  </a:lnTo>
                  <a:lnTo>
                    <a:pt x="2220" y="4480"/>
                  </a:lnTo>
                  <a:lnTo>
                    <a:pt x="2224" y="4484"/>
                  </a:lnTo>
                  <a:lnTo>
                    <a:pt x="2228" y="4484"/>
                  </a:lnTo>
                  <a:lnTo>
                    <a:pt x="2232" y="4486"/>
                  </a:lnTo>
                  <a:lnTo>
                    <a:pt x="2234" y="4488"/>
                  </a:lnTo>
                  <a:lnTo>
                    <a:pt x="2234" y="4494"/>
                  </a:lnTo>
                  <a:lnTo>
                    <a:pt x="2234" y="4498"/>
                  </a:lnTo>
                  <a:lnTo>
                    <a:pt x="2236" y="4502"/>
                  </a:lnTo>
                  <a:lnTo>
                    <a:pt x="2238" y="4508"/>
                  </a:lnTo>
                  <a:lnTo>
                    <a:pt x="2248" y="4516"/>
                  </a:lnTo>
                  <a:lnTo>
                    <a:pt x="2254" y="4526"/>
                  </a:lnTo>
                  <a:lnTo>
                    <a:pt x="2258" y="4536"/>
                  </a:lnTo>
                  <a:lnTo>
                    <a:pt x="2262" y="4544"/>
                  </a:lnTo>
                  <a:lnTo>
                    <a:pt x="2266" y="4562"/>
                  </a:lnTo>
                  <a:lnTo>
                    <a:pt x="2266" y="4578"/>
                  </a:lnTo>
                  <a:lnTo>
                    <a:pt x="2266" y="4588"/>
                  </a:lnTo>
                  <a:lnTo>
                    <a:pt x="2264" y="4592"/>
                  </a:lnTo>
                  <a:lnTo>
                    <a:pt x="2264" y="4596"/>
                  </a:lnTo>
                  <a:lnTo>
                    <a:pt x="2268" y="4600"/>
                  </a:lnTo>
                  <a:lnTo>
                    <a:pt x="2270" y="4602"/>
                  </a:lnTo>
                  <a:lnTo>
                    <a:pt x="2272" y="4606"/>
                  </a:lnTo>
                  <a:lnTo>
                    <a:pt x="2274" y="4612"/>
                  </a:lnTo>
                  <a:lnTo>
                    <a:pt x="2272" y="4622"/>
                  </a:lnTo>
                  <a:lnTo>
                    <a:pt x="2272" y="4634"/>
                  </a:lnTo>
                  <a:lnTo>
                    <a:pt x="2276" y="4638"/>
                  </a:lnTo>
                  <a:lnTo>
                    <a:pt x="2278" y="4640"/>
                  </a:lnTo>
                  <a:lnTo>
                    <a:pt x="2278" y="4644"/>
                  </a:lnTo>
                  <a:lnTo>
                    <a:pt x="2278" y="4648"/>
                  </a:lnTo>
                  <a:lnTo>
                    <a:pt x="2282" y="4654"/>
                  </a:lnTo>
                  <a:lnTo>
                    <a:pt x="2292" y="4666"/>
                  </a:lnTo>
                  <a:lnTo>
                    <a:pt x="2296" y="4672"/>
                  </a:lnTo>
                  <a:lnTo>
                    <a:pt x="2300" y="4680"/>
                  </a:lnTo>
                  <a:lnTo>
                    <a:pt x="2302" y="4688"/>
                  </a:lnTo>
                  <a:lnTo>
                    <a:pt x="2302" y="4696"/>
                  </a:lnTo>
                  <a:lnTo>
                    <a:pt x="2302" y="4700"/>
                  </a:lnTo>
                  <a:lnTo>
                    <a:pt x="2302" y="4702"/>
                  </a:lnTo>
                  <a:lnTo>
                    <a:pt x="2308" y="4708"/>
                  </a:lnTo>
                  <a:lnTo>
                    <a:pt x="2320" y="4716"/>
                  </a:lnTo>
                  <a:lnTo>
                    <a:pt x="2330" y="4724"/>
                  </a:lnTo>
                  <a:lnTo>
                    <a:pt x="2344" y="4736"/>
                  </a:lnTo>
                  <a:lnTo>
                    <a:pt x="2354" y="4746"/>
                  </a:lnTo>
                  <a:lnTo>
                    <a:pt x="2364" y="4754"/>
                  </a:lnTo>
                  <a:lnTo>
                    <a:pt x="2376" y="4760"/>
                  </a:lnTo>
                  <a:lnTo>
                    <a:pt x="2382" y="4764"/>
                  </a:lnTo>
                  <a:lnTo>
                    <a:pt x="2384" y="4766"/>
                  </a:lnTo>
                  <a:lnTo>
                    <a:pt x="2386" y="4770"/>
                  </a:lnTo>
                  <a:lnTo>
                    <a:pt x="2390" y="4776"/>
                  </a:lnTo>
                  <a:lnTo>
                    <a:pt x="2392" y="4774"/>
                  </a:lnTo>
                  <a:lnTo>
                    <a:pt x="2396" y="4770"/>
                  </a:lnTo>
                  <a:lnTo>
                    <a:pt x="2400" y="4770"/>
                  </a:lnTo>
                  <a:lnTo>
                    <a:pt x="2404" y="4770"/>
                  </a:lnTo>
                  <a:lnTo>
                    <a:pt x="2408" y="4770"/>
                  </a:lnTo>
                  <a:lnTo>
                    <a:pt x="2410" y="4768"/>
                  </a:lnTo>
                  <a:lnTo>
                    <a:pt x="2410" y="4764"/>
                  </a:lnTo>
                  <a:lnTo>
                    <a:pt x="2414" y="4764"/>
                  </a:lnTo>
                  <a:lnTo>
                    <a:pt x="2416" y="4766"/>
                  </a:lnTo>
                  <a:lnTo>
                    <a:pt x="2414" y="4770"/>
                  </a:lnTo>
                  <a:lnTo>
                    <a:pt x="2414" y="4772"/>
                  </a:lnTo>
                  <a:lnTo>
                    <a:pt x="2418" y="4774"/>
                  </a:lnTo>
                  <a:lnTo>
                    <a:pt x="2420" y="4774"/>
                  </a:lnTo>
                  <a:lnTo>
                    <a:pt x="2422" y="4772"/>
                  </a:lnTo>
                  <a:lnTo>
                    <a:pt x="2422" y="4766"/>
                  </a:lnTo>
                  <a:lnTo>
                    <a:pt x="2420" y="4756"/>
                  </a:lnTo>
                  <a:lnTo>
                    <a:pt x="2416" y="4750"/>
                  </a:lnTo>
                  <a:lnTo>
                    <a:pt x="2414" y="4744"/>
                  </a:lnTo>
                  <a:lnTo>
                    <a:pt x="2412" y="4740"/>
                  </a:lnTo>
                  <a:lnTo>
                    <a:pt x="2410" y="4730"/>
                  </a:lnTo>
                  <a:lnTo>
                    <a:pt x="2406" y="4718"/>
                  </a:lnTo>
                  <a:lnTo>
                    <a:pt x="2402" y="4714"/>
                  </a:lnTo>
                  <a:lnTo>
                    <a:pt x="2398" y="4708"/>
                  </a:lnTo>
                  <a:lnTo>
                    <a:pt x="2392" y="4704"/>
                  </a:lnTo>
                  <a:lnTo>
                    <a:pt x="2388" y="4698"/>
                  </a:lnTo>
                  <a:lnTo>
                    <a:pt x="2388" y="4690"/>
                  </a:lnTo>
                  <a:lnTo>
                    <a:pt x="2388" y="4684"/>
                  </a:lnTo>
                  <a:lnTo>
                    <a:pt x="2390" y="4672"/>
                  </a:lnTo>
                  <a:lnTo>
                    <a:pt x="2390" y="4668"/>
                  </a:lnTo>
                  <a:lnTo>
                    <a:pt x="2386" y="4664"/>
                  </a:lnTo>
                  <a:lnTo>
                    <a:pt x="2384" y="4658"/>
                  </a:lnTo>
                  <a:lnTo>
                    <a:pt x="2386" y="4654"/>
                  </a:lnTo>
                  <a:lnTo>
                    <a:pt x="2386" y="4648"/>
                  </a:lnTo>
                  <a:lnTo>
                    <a:pt x="2388" y="4642"/>
                  </a:lnTo>
                  <a:lnTo>
                    <a:pt x="2388" y="4636"/>
                  </a:lnTo>
                  <a:lnTo>
                    <a:pt x="2388" y="4628"/>
                  </a:lnTo>
                  <a:lnTo>
                    <a:pt x="2390" y="4616"/>
                  </a:lnTo>
                  <a:lnTo>
                    <a:pt x="2386" y="4600"/>
                  </a:lnTo>
                  <a:lnTo>
                    <a:pt x="2384" y="4592"/>
                  </a:lnTo>
                  <a:lnTo>
                    <a:pt x="2378" y="4584"/>
                  </a:lnTo>
                  <a:lnTo>
                    <a:pt x="2366" y="4570"/>
                  </a:lnTo>
                  <a:lnTo>
                    <a:pt x="2354" y="4558"/>
                  </a:lnTo>
                  <a:lnTo>
                    <a:pt x="2350" y="4552"/>
                  </a:lnTo>
                  <a:lnTo>
                    <a:pt x="2348" y="4546"/>
                  </a:lnTo>
                  <a:lnTo>
                    <a:pt x="2344" y="4540"/>
                  </a:lnTo>
                  <a:lnTo>
                    <a:pt x="2342" y="4538"/>
                  </a:lnTo>
                  <a:lnTo>
                    <a:pt x="2334" y="4536"/>
                  </a:lnTo>
                  <a:lnTo>
                    <a:pt x="2324" y="4526"/>
                  </a:lnTo>
                  <a:lnTo>
                    <a:pt x="2310" y="4508"/>
                  </a:lnTo>
                  <a:lnTo>
                    <a:pt x="2306" y="4502"/>
                  </a:lnTo>
                  <a:lnTo>
                    <a:pt x="2304" y="4502"/>
                  </a:lnTo>
                  <a:lnTo>
                    <a:pt x="2300" y="4504"/>
                  </a:lnTo>
                  <a:lnTo>
                    <a:pt x="2296" y="4504"/>
                  </a:lnTo>
                  <a:lnTo>
                    <a:pt x="2292" y="4504"/>
                  </a:lnTo>
                  <a:lnTo>
                    <a:pt x="2286" y="4500"/>
                  </a:lnTo>
                  <a:lnTo>
                    <a:pt x="2276" y="4494"/>
                  </a:lnTo>
                  <a:lnTo>
                    <a:pt x="2272" y="4486"/>
                  </a:lnTo>
                  <a:lnTo>
                    <a:pt x="2270" y="4476"/>
                  </a:lnTo>
                  <a:lnTo>
                    <a:pt x="2264" y="4454"/>
                  </a:lnTo>
                  <a:lnTo>
                    <a:pt x="2262" y="4434"/>
                  </a:lnTo>
                  <a:lnTo>
                    <a:pt x="2260" y="4428"/>
                  </a:lnTo>
                  <a:lnTo>
                    <a:pt x="2258" y="4426"/>
                  </a:lnTo>
                  <a:lnTo>
                    <a:pt x="2254" y="4426"/>
                  </a:lnTo>
                  <a:lnTo>
                    <a:pt x="2252" y="4424"/>
                  </a:lnTo>
                  <a:lnTo>
                    <a:pt x="2248" y="4416"/>
                  </a:lnTo>
                  <a:lnTo>
                    <a:pt x="2244" y="4402"/>
                  </a:lnTo>
                  <a:lnTo>
                    <a:pt x="2244" y="4388"/>
                  </a:lnTo>
                  <a:lnTo>
                    <a:pt x="2242" y="4386"/>
                  </a:lnTo>
                  <a:lnTo>
                    <a:pt x="2240" y="4384"/>
                  </a:lnTo>
                  <a:lnTo>
                    <a:pt x="2230" y="4388"/>
                  </a:lnTo>
                  <a:lnTo>
                    <a:pt x="2226" y="4390"/>
                  </a:lnTo>
                  <a:lnTo>
                    <a:pt x="2222" y="4390"/>
                  </a:lnTo>
                  <a:lnTo>
                    <a:pt x="2220" y="4388"/>
                  </a:lnTo>
                  <a:lnTo>
                    <a:pt x="2220" y="4382"/>
                  </a:lnTo>
                  <a:lnTo>
                    <a:pt x="2218" y="4352"/>
                  </a:lnTo>
                  <a:lnTo>
                    <a:pt x="2218" y="4330"/>
                  </a:lnTo>
                  <a:lnTo>
                    <a:pt x="2220" y="4320"/>
                  </a:lnTo>
                  <a:lnTo>
                    <a:pt x="2224" y="4316"/>
                  </a:lnTo>
                  <a:lnTo>
                    <a:pt x="2226" y="4310"/>
                  </a:lnTo>
                  <a:lnTo>
                    <a:pt x="2228" y="4306"/>
                  </a:lnTo>
                  <a:lnTo>
                    <a:pt x="2232" y="4296"/>
                  </a:lnTo>
                  <a:lnTo>
                    <a:pt x="2234" y="4284"/>
                  </a:lnTo>
                  <a:lnTo>
                    <a:pt x="2236" y="4274"/>
                  </a:lnTo>
                  <a:lnTo>
                    <a:pt x="2242" y="4258"/>
                  </a:lnTo>
                  <a:lnTo>
                    <a:pt x="2248" y="4232"/>
                  </a:lnTo>
                  <a:lnTo>
                    <a:pt x="2252" y="4208"/>
                  </a:lnTo>
                  <a:lnTo>
                    <a:pt x="2252" y="4200"/>
                  </a:lnTo>
                  <a:lnTo>
                    <a:pt x="2252" y="4196"/>
                  </a:lnTo>
                  <a:lnTo>
                    <a:pt x="2248" y="4192"/>
                  </a:lnTo>
                  <a:lnTo>
                    <a:pt x="2248" y="4190"/>
                  </a:lnTo>
                  <a:lnTo>
                    <a:pt x="2248" y="4186"/>
                  </a:lnTo>
                  <a:lnTo>
                    <a:pt x="2250" y="4184"/>
                  </a:lnTo>
                  <a:lnTo>
                    <a:pt x="2252" y="4180"/>
                  </a:lnTo>
                  <a:lnTo>
                    <a:pt x="2256" y="4178"/>
                  </a:lnTo>
                  <a:lnTo>
                    <a:pt x="2272" y="4176"/>
                  </a:lnTo>
                  <a:lnTo>
                    <a:pt x="2278" y="4178"/>
                  </a:lnTo>
                  <a:lnTo>
                    <a:pt x="2282" y="4180"/>
                  </a:lnTo>
                  <a:lnTo>
                    <a:pt x="2286" y="4182"/>
                  </a:lnTo>
                  <a:lnTo>
                    <a:pt x="2286" y="4184"/>
                  </a:lnTo>
                  <a:lnTo>
                    <a:pt x="2284" y="4194"/>
                  </a:lnTo>
                  <a:lnTo>
                    <a:pt x="2282" y="4210"/>
                  </a:lnTo>
                  <a:lnTo>
                    <a:pt x="2282" y="4220"/>
                  </a:lnTo>
                  <a:lnTo>
                    <a:pt x="2284" y="4222"/>
                  </a:lnTo>
                  <a:lnTo>
                    <a:pt x="2286" y="4222"/>
                  </a:lnTo>
                  <a:lnTo>
                    <a:pt x="2292" y="4222"/>
                  </a:lnTo>
                  <a:lnTo>
                    <a:pt x="2296" y="4222"/>
                  </a:lnTo>
                  <a:lnTo>
                    <a:pt x="2300" y="4222"/>
                  </a:lnTo>
                  <a:lnTo>
                    <a:pt x="2304" y="4224"/>
                  </a:lnTo>
                  <a:lnTo>
                    <a:pt x="2306" y="4224"/>
                  </a:lnTo>
                  <a:lnTo>
                    <a:pt x="2310" y="4220"/>
                  </a:lnTo>
                  <a:lnTo>
                    <a:pt x="2316" y="4218"/>
                  </a:lnTo>
                  <a:lnTo>
                    <a:pt x="2318" y="4218"/>
                  </a:lnTo>
                  <a:lnTo>
                    <a:pt x="2322" y="4220"/>
                  </a:lnTo>
                  <a:lnTo>
                    <a:pt x="2330" y="4228"/>
                  </a:lnTo>
                  <a:lnTo>
                    <a:pt x="2336" y="4236"/>
                  </a:lnTo>
                  <a:lnTo>
                    <a:pt x="2342" y="4244"/>
                  </a:lnTo>
                  <a:lnTo>
                    <a:pt x="2346" y="4246"/>
                  </a:lnTo>
                  <a:lnTo>
                    <a:pt x="2350" y="4248"/>
                  </a:lnTo>
                  <a:lnTo>
                    <a:pt x="2354" y="4250"/>
                  </a:lnTo>
                  <a:lnTo>
                    <a:pt x="2356" y="4252"/>
                  </a:lnTo>
                  <a:lnTo>
                    <a:pt x="2360" y="4258"/>
                  </a:lnTo>
                  <a:lnTo>
                    <a:pt x="2362" y="4266"/>
                  </a:lnTo>
                  <a:lnTo>
                    <a:pt x="2364" y="4268"/>
                  </a:lnTo>
                  <a:lnTo>
                    <a:pt x="2368" y="4268"/>
                  </a:lnTo>
                  <a:lnTo>
                    <a:pt x="2362" y="4256"/>
                  </a:lnTo>
                  <a:lnTo>
                    <a:pt x="2362" y="4246"/>
                  </a:lnTo>
                  <a:lnTo>
                    <a:pt x="2362" y="4256"/>
                  </a:lnTo>
                  <a:lnTo>
                    <a:pt x="2368" y="4268"/>
                  </a:lnTo>
                  <a:lnTo>
                    <a:pt x="2374" y="4280"/>
                  </a:lnTo>
                  <a:lnTo>
                    <a:pt x="2376" y="4286"/>
                  </a:lnTo>
                  <a:lnTo>
                    <a:pt x="2374" y="4292"/>
                  </a:lnTo>
                  <a:lnTo>
                    <a:pt x="2374" y="4300"/>
                  </a:lnTo>
                  <a:lnTo>
                    <a:pt x="2376" y="4310"/>
                  </a:lnTo>
                  <a:lnTo>
                    <a:pt x="2378" y="4310"/>
                  </a:lnTo>
                  <a:lnTo>
                    <a:pt x="2380" y="4308"/>
                  </a:lnTo>
                  <a:lnTo>
                    <a:pt x="2386" y="4308"/>
                  </a:lnTo>
                  <a:lnTo>
                    <a:pt x="2388" y="4308"/>
                  </a:lnTo>
                  <a:lnTo>
                    <a:pt x="2388" y="4304"/>
                  </a:lnTo>
                  <a:lnTo>
                    <a:pt x="2388" y="4298"/>
                  </a:lnTo>
                  <a:lnTo>
                    <a:pt x="2388" y="4296"/>
                  </a:lnTo>
                  <a:lnTo>
                    <a:pt x="2390" y="4294"/>
                  </a:lnTo>
                  <a:lnTo>
                    <a:pt x="2392" y="4296"/>
                  </a:lnTo>
                  <a:lnTo>
                    <a:pt x="2396" y="4300"/>
                  </a:lnTo>
                  <a:lnTo>
                    <a:pt x="2398" y="4304"/>
                  </a:lnTo>
                  <a:lnTo>
                    <a:pt x="2398" y="4308"/>
                  </a:lnTo>
                  <a:lnTo>
                    <a:pt x="2394" y="4314"/>
                  </a:lnTo>
                  <a:lnTo>
                    <a:pt x="2390" y="4320"/>
                  </a:lnTo>
                  <a:lnTo>
                    <a:pt x="2390" y="4322"/>
                  </a:lnTo>
                  <a:lnTo>
                    <a:pt x="2392" y="4324"/>
                  </a:lnTo>
                  <a:lnTo>
                    <a:pt x="2396" y="4326"/>
                  </a:lnTo>
                  <a:lnTo>
                    <a:pt x="2398" y="4326"/>
                  </a:lnTo>
                  <a:lnTo>
                    <a:pt x="2402" y="4324"/>
                  </a:lnTo>
                  <a:lnTo>
                    <a:pt x="2404" y="4322"/>
                  </a:lnTo>
                  <a:lnTo>
                    <a:pt x="2406" y="4320"/>
                  </a:lnTo>
                  <a:lnTo>
                    <a:pt x="2406" y="4322"/>
                  </a:lnTo>
                  <a:lnTo>
                    <a:pt x="2412" y="4324"/>
                  </a:lnTo>
                  <a:lnTo>
                    <a:pt x="2416" y="4324"/>
                  </a:lnTo>
                  <a:lnTo>
                    <a:pt x="2422" y="4326"/>
                  </a:lnTo>
                  <a:lnTo>
                    <a:pt x="2424" y="4328"/>
                  </a:lnTo>
                  <a:lnTo>
                    <a:pt x="2428" y="4334"/>
                  </a:lnTo>
                  <a:lnTo>
                    <a:pt x="2430" y="4340"/>
                  </a:lnTo>
                  <a:lnTo>
                    <a:pt x="2434" y="4344"/>
                  </a:lnTo>
                  <a:lnTo>
                    <a:pt x="2436" y="4344"/>
                  </a:lnTo>
                  <a:lnTo>
                    <a:pt x="2438" y="4344"/>
                  </a:lnTo>
                  <a:lnTo>
                    <a:pt x="2444" y="4342"/>
                  </a:lnTo>
                  <a:lnTo>
                    <a:pt x="2446" y="4342"/>
                  </a:lnTo>
                  <a:lnTo>
                    <a:pt x="2450" y="4346"/>
                  </a:lnTo>
                  <a:lnTo>
                    <a:pt x="2452" y="4350"/>
                  </a:lnTo>
                  <a:lnTo>
                    <a:pt x="2452" y="4352"/>
                  </a:lnTo>
                  <a:lnTo>
                    <a:pt x="2448" y="4360"/>
                  </a:lnTo>
                  <a:lnTo>
                    <a:pt x="2444" y="4370"/>
                  </a:lnTo>
                  <a:lnTo>
                    <a:pt x="2442" y="4378"/>
                  </a:lnTo>
                  <a:lnTo>
                    <a:pt x="2440" y="4388"/>
                  </a:lnTo>
                  <a:lnTo>
                    <a:pt x="2440" y="4410"/>
                  </a:lnTo>
                  <a:lnTo>
                    <a:pt x="2442" y="4422"/>
                  </a:lnTo>
                  <a:lnTo>
                    <a:pt x="2444" y="4424"/>
                  </a:lnTo>
                  <a:lnTo>
                    <a:pt x="2446" y="4424"/>
                  </a:lnTo>
                  <a:lnTo>
                    <a:pt x="2450" y="4422"/>
                  </a:lnTo>
                  <a:lnTo>
                    <a:pt x="2456" y="4416"/>
                  </a:lnTo>
                  <a:lnTo>
                    <a:pt x="2478" y="4396"/>
                  </a:lnTo>
                  <a:lnTo>
                    <a:pt x="2488" y="4388"/>
                  </a:lnTo>
                  <a:lnTo>
                    <a:pt x="2496" y="4384"/>
                  </a:lnTo>
                  <a:lnTo>
                    <a:pt x="2500" y="4382"/>
                  </a:lnTo>
                  <a:lnTo>
                    <a:pt x="2502" y="4380"/>
                  </a:lnTo>
                  <a:lnTo>
                    <a:pt x="2502" y="4376"/>
                  </a:lnTo>
                  <a:lnTo>
                    <a:pt x="2502" y="4374"/>
                  </a:lnTo>
                  <a:lnTo>
                    <a:pt x="2508" y="4372"/>
                  </a:lnTo>
                  <a:lnTo>
                    <a:pt x="2512" y="4370"/>
                  </a:lnTo>
                  <a:lnTo>
                    <a:pt x="2516" y="4364"/>
                  </a:lnTo>
                  <a:lnTo>
                    <a:pt x="2520" y="4346"/>
                  </a:lnTo>
                  <a:lnTo>
                    <a:pt x="2524" y="4328"/>
                  </a:lnTo>
                  <a:lnTo>
                    <a:pt x="2526" y="4324"/>
                  </a:lnTo>
                  <a:lnTo>
                    <a:pt x="2526" y="4322"/>
                  </a:lnTo>
                  <a:lnTo>
                    <a:pt x="2528" y="4324"/>
                  </a:lnTo>
                  <a:lnTo>
                    <a:pt x="2534" y="4328"/>
                  </a:lnTo>
                  <a:lnTo>
                    <a:pt x="2536" y="4330"/>
                  </a:lnTo>
                  <a:lnTo>
                    <a:pt x="2538" y="4332"/>
                  </a:lnTo>
                  <a:lnTo>
                    <a:pt x="2544" y="4332"/>
                  </a:lnTo>
                  <a:lnTo>
                    <a:pt x="2548" y="4330"/>
                  </a:lnTo>
                  <a:lnTo>
                    <a:pt x="2556" y="4326"/>
                  </a:lnTo>
                  <a:lnTo>
                    <a:pt x="2566" y="4318"/>
                  </a:lnTo>
                  <a:lnTo>
                    <a:pt x="2576" y="4310"/>
                  </a:lnTo>
                  <a:lnTo>
                    <a:pt x="2584" y="4304"/>
                  </a:lnTo>
                  <a:lnTo>
                    <a:pt x="2598" y="4296"/>
                  </a:lnTo>
                  <a:lnTo>
                    <a:pt x="2604" y="4292"/>
                  </a:lnTo>
                  <a:lnTo>
                    <a:pt x="2610" y="4286"/>
                  </a:lnTo>
                  <a:lnTo>
                    <a:pt x="2614" y="4280"/>
                  </a:lnTo>
                  <a:lnTo>
                    <a:pt x="2618" y="4272"/>
                  </a:lnTo>
                  <a:lnTo>
                    <a:pt x="2622" y="4252"/>
                  </a:lnTo>
                  <a:lnTo>
                    <a:pt x="2622" y="4238"/>
                  </a:lnTo>
                  <a:lnTo>
                    <a:pt x="2624" y="4228"/>
                  </a:lnTo>
                  <a:lnTo>
                    <a:pt x="2624" y="4224"/>
                  </a:lnTo>
                  <a:lnTo>
                    <a:pt x="2626" y="4222"/>
                  </a:lnTo>
                  <a:lnTo>
                    <a:pt x="2628" y="4222"/>
                  </a:lnTo>
                  <a:lnTo>
                    <a:pt x="2630" y="4220"/>
                  </a:lnTo>
                  <a:lnTo>
                    <a:pt x="2630" y="4214"/>
                  </a:lnTo>
                  <a:lnTo>
                    <a:pt x="2628" y="4206"/>
                  </a:lnTo>
                  <a:lnTo>
                    <a:pt x="2624" y="4198"/>
                  </a:lnTo>
                  <a:lnTo>
                    <a:pt x="2622" y="4194"/>
                  </a:lnTo>
                  <a:lnTo>
                    <a:pt x="2622" y="4190"/>
                  </a:lnTo>
                  <a:lnTo>
                    <a:pt x="2624" y="4174"/>
                  </a:lnTo>
                  <a:lnTo>
                    <a:pt x="2624" y="4152"/>
                  </a:lnTo>
                  <a:lnTo>
                    <a:pt x="2622" y="4138"/>
                  </a:lnTo>
                  <a:lnTo>
                    <a:pt x="2616" y="4122"/>
                  </a:lnTo>
                  <a:lnTo>
                    <a:pt x="2606" y="4096"/>
                  </a:lnTo>
                  <a:lnTo>
                    <a:pt x="2598" y="4080"/>
                  </a:lnTo>
                  <a:lnTo>
                    <a:pt x="2590" y="4068"/>
                  </a:lnTo>
                  <a:lnTo>
                    <a:pt x="2584" y="4056"/>
                  </a:lnTo>
                  <a:lnTo>
                    <a:pt x="2580" y="4046"/>
                  </a:lnTo>
                  <a:lnTo>
                    <a:pt x="2572" y="4042"/>
                  </a:lnTo>
                  <a:lnTo>
                    <a:pt x="2562" y="4034"/>
                  </a:lnTo>
                  <a:lnTo>
                    <a:pt x="2548" y="4020"/>
                  </a:lnTo>
                  <a:lnTo>
                    <a:pt x="2534" y="4002"/>
                  </a:lnTo>
                  <a:lnTo>
                    <a:pt x="2522" y="3986"/>
                  </a:lnTo>
                  <a:lnTo>
                    <a:pt x="2514" y="3972"/>
                  </a:lnTo>
                  <a:lnTo>
                    <a:pt x="2510" y="3966"/>
                  </a:lnTo>
                  <a:lnTo>
                    <a:pt x="2510" y="3960"/>
                  </a:lnTo>
                  <a:lnTo>
                    <a:pt x="2508" y="3954"/>
                  </a:lnTo>
                  <a:lnTo>
                    <a:pt x="2506" y="3950"/>
                  </a:lnTo>
                  <a:lnTo>
                    <a:pt x="2500" y="3946"/>
                  </a:lnTo>
                  <a:lnTo>
                    <a:pt x="2492" y="3940"/>
                  </a:lnTo>
                  <a:lnTo>
                    <a:pt x="2486" y="3934"/>
                  </a:lnTo>
                  <a:lnTo>
                    <a:pt x="2482" y="3926"/>
                  </a:lnTo>
                  <a:lnTo>
                    <a:pt x="2478" y="3916"/>
                  </a:lnTo>
                  <a:lnTo>
                    <a:pt x="2478" y="3904"/>
                  </a:lnTo>
                  <a:lnTo>
                    <a:pt x="2480" y="3894"/>
                  </a:lnTo>
                  <a:lnTo>
                    <a:pt x="2482" y="3884"/>
                  </a:lnTo>
                  <a:lnTo>
                    <a:pt x="2486" y="3874"/>
                  </a:lnTo>
                  <a:lnTo>
                    <a:pt x="2492" y="3864"/>
                  </a:lnTo>
                  <a:lnTo>
                    <a:pt x="2498" y="3856"/>
                  </a:lnTo>
                  <a:lnTo>
                    <a:pt x="2506" y="3848"/>
                  </a:lnTo>
                  <a:lnTo>
                    <a:pt x="2512" y="3842"/>
                  </a:lnTo>
                  <a:lnTo>
                    <a:pt x="2516" y="3836"/>
                  </a:lnTo>
                  <a:lnTo>
                    <a:pt x="2518" y="3826"/>
                  </a:lnTo>
                  <a:lnTo>
                    <a:pt x="2520" y="3816"/>
                  </a:lnTo>
                  <a:lnTo>
                    <a:pt x="2522" y="3812"/>
                  </a:lnTo>
                  <a:lnTo>
                    <a:pt x="2526" y="3808"/>
                  </a:lnTo>
                  <a:lnTo>
                    <a:pt x="2532" y="3806"/>
                  </a:lnTo>
                  <a:lnTo>
                    <a:pt x="2534" y="3806"/>
                  </a:lnTo>
                  <a:lnTo>
                    <a:pt x="2536" y="3808"/>
                  </a:lnTo>
                  <a:lnTo>
                    <a:pt x="2540" y="3808"/>
                  </a:lnTo>
                  <a:lnTo>
                    <a:pt x="2544" y="3804"/>
                  </a:lnTo>
                  <a:lnTo>
                    <a:pt x="2546" y="3800"/>
                  </a:lnTo>
                  <a:lnTo>
                    <a:pt x="2548" y="3794"/>
                  </a:lnTo>
                  <a:lnTo>
                    <a:pt x="2554" y="3790"/>
                  </a:lnTo>
                  <a:lnTo>
                    <a:pt x="2562" y="3784"/>
                  </a:lnTo>
                  <a:lnTo>
                    <a:pt x="2568" y="3782"/>
                  </a:lnTo>
                  <a:lnTo>
                    <a:pt x="2572" y="3782"/>
                  </a:lnTo>
                  <a:lnTo>
                    <a:pt x="2574" y="3778"/>
                  </a:lnTo>
                  <a:lnTo>
                    <a:pt x="2576" y="3780"/>
                  </a:lnTo>
                  <a:lnTo>
                    <a:pt x="2578" y="3780"/>
                  </a:lnTo>
                  <a:lnTo>
                    <a:pt x="2582" y="3780"/>
                  </a:lnTo>
                  <a:lnTo>
                    <a:pt x="2584" y="3776"/>
                  </a:lnTo>
                  <a:lnTo>
                    <a:pt x="2584" y="3774"/>
                  </a:lnTo>
                  <a:lnTo>
                    <a:pt x="2586" y="3776"/>
                  </a:lnTo>
                  <a:lnTo>
                    <a:pt x="2590" y="3778"/>
                  </a:lnTo>
                  <a:lnTo>
                    <a:pt x="2592" y="3778"/>
                  </a:lnTo>
                  <a:lnTo>
                    <a:pt x="2594" y="3774"/>
                  </a:lnTo>
                  <a:lnTo>
                    <a:pt x="2592" y="3772"/>
                  </a:lnTo>
                  <a:lnTo>
                    <a:pt x="2592" y="3768"/>
                  </a:lnTo>
                  <a:lnTo>
                    <a:pt x="2592" y="3762"/>
                  </a:lnTo>
                  <a:lnTo>
                    <a:pt x="2592" y="3760"/>
                  </a:lnTo>
                  <a:lnTo>
                    <a:pt x="2594" y="3762"/>
                  </a:lnTo>
                  <a:lnTo>
                    <a:pt x="2596" y="3766"/>
                  </a:lnTo>
                  <a:lnTo>
                    <a:pt x="2602" y="3772"/>
                  </a:lnTo>
                  <a:lnTo>
                    <a:pt x="2604" y="3774"/>
                  </a:lnTo>
                  <a:lnTo>
                    <a:pt x="2610" y="3776"/>
                  </a:lnTo>
                  <a:lnTo>
                    <a:pt x="2614" y="3776"/>
                  </a:lnTo>
                  <a:lnTo>
                    <a:pt x="2616" y="3778"/>
                  </a:lnTo>
                  <a:lnTo>
                    <a:pt x="2614" y="3782"/>
                  </a:lnTo>
                  <a:lnTo>
                    <a:pt x="2614" y="3784"/>
                  </a:lnTo>
                  <a:lnTo>
                    <a:pt x="2616" y="3786"/>
                  </a:lnTo>
                  <a:lnTo>
                    <a:pt x="2620" y="3786"/>
                  </a:lnTo>
                  <a:lnTo>
                    <a:pt x="2630" y="3784"/>
                  </a:lnTo>
                  <a:lnTo>
                    <a:pt x="2632" y="3782"/>
                  </a:lnTo>
                  <a:lnTo>
                    <a:pt x="2634" y="3778"/>
                  </a:lnTo>
                  <a:lnTo>
                    <a:pt x="2632" y="3772"/>
                  </a:lnTo>
                  <a:lnTo>
                    <a:pt x="2634" y="3772"/>
                  </a:lnTo>
                  <a:lnTo>
                    <a:pt x="2636" y="3778"/>
                  </a:lnTo>
                  <a:lnTo>
                    <a:pt x="2640" y="3782"/>
                  </a:lnTo>
                  <a:lnTo>
                    <a:pt x="2642" y="3782"/>
                  </a:lnTo>
                  <a:lnTo>
                    <a:pt x="2644" y="3782"/>
                  </a:lnTo>
                  <a:lnTo>
                    <a:pt x="2648" y="3784"/>
                  </a:lnTo>
                  <a:lnTo>
                    <a:pt x="2648" y="3786"/>
                  </a:lnTo>
                  <a:lnTo>
                    <a:pt x="2646" y="3788"/>
                  </a:lnTo>
                  <a:lnTo>
                    <a:pt x="2642" y="3794"/>
                  </a:lnTo>
                  <a:lnTo>
                    <a:pt x="2640" y="3802"/>
                  </a:lnTo>
                  <a:lnTo>
                    <a:pt x="2638" y="3810"/>
                  </a:lnTo>
                  <a:lnTo>
                    <a:pt x="2640" y="3816"/>
                  </a:lnTo>
                  <a:lnTo>
                    <a:pt x="2642" y="3818"/>
                  </a:lnTo>
                  <a:lnTo>
                    <a:pt x="2642" y="3820"/>
                  </a:lnTo>
                  <a:lnTo>
                    <a:pt x="2642" y="3824"/>
                  </a:lnTo>
                  <a:lnTo>
                    <a:pt x="2644" y="3828"/>
                  </a:lnTo>
                  <a:lnTo>
                    <a:pt x="2646" y="3832"/>
                  </a:lnTo>
                  <a:lnTo>
                    <a:pt x="2648" y="3836"/>
                  </a:lnTo>
                  <a:lnTo>
                    <a:pt x="2648" y="3840"/>
                  </a:lnTo>
                  <a:lnTo>
                    <a:pt x="2648" y="3842"/>
                  </a:lnTo>
                  <a:lnTo>
                    <a:pt x="2652" y="3844"/>
                  </a:lnTo>
                  <a:lnTo>
                    <a:pt x="2664" y="3842"/>
                  </a:lnTo>
                  <a:lnTo>
                    <a:pt x="2672" y="3838"/>
                  </a:lnTo>
                  <a:lnTo>
                    <a:pt x="2674" y="3836"/>
                  </a:lnTo>
                  <a:lnTo>
                    <a:pt x="2674" y="3834"/>
                  </a:lnTo>
                  <a:lnTo>
                    <a:pt x="2670" y="3828"/>
                  </a:lnTo>
                  <a:lnTo>
                    <a:pt x="2668" y="3820"/>
                  </a:lnTo>
                  <a:lnTo>
                    <a:pt x="2666" y="3814"/>
                  </a:lnTo>
                  <a:lnTo>
                    <a:pt x="2662" y="3812"/>
                  </a:lnTo>
                  <a:lnTo>
                    <a:pt x="2660" y="3812"/>
                  </a:lnTo>
                  <a:lnTo>
                    <a:pt x="2658" y="3810"/>
                  </a:lnTo>
                  <a:lnTo>
                    <a:pt x="2660" y="3804"/>
                  </a:lnTo>
                  <a:lnTo>
                    <a:pt x="2666" y="3800"/>
                  </a:lnTo>
                  <a:lnTo>
                    <a:pt x="2684" y="3788"/>
                  </a:lnTo>
                  <a:lnTo>
                    <a:pt x="2692" y="3784"/>
                  </a:lnTo>
                  <a:lnTo>
                    <a:pt x="2698" y="3782"/>
                  </a:lnTo>
                  <a:lnTo>
                    <a:pt x="2704" y="3784"/>
                  </a:lnTo>
                  <a:lnTo>
                    <a:pt x="2716" y="3780"/>
                  </a:lnTo>
                  <a:lnTo>
                    <a:pt x="2722" y="3778"/>
                  </a:lnTo>
                  <a:lnTo>
                    <a:pt x="2726" y="3774"/>
                  </a:lnTo>
                  <a:lnTo>
                    <a:pt x="2730" y="3768"/>
                  </a:lnTo>
                  <a:lnTo>
                    <a:pt x="2730" y="3764"/>
                  </a:lnTo>
                  <a:lnTo>
                    <a:pt x="2736" y="3766"/>
                  </a:lnTo>
                  <a:lnTo>
                    <a:pt x="2740" y="3768"/>
                  </a:lnTo>
                  <a:lnTo>
                    <a:pt x="2742" y="3772"/>
                  </a:lnTo>
                  <a:lnTo>
                    <a:pt x="2746" y="3768"/>
                  </a:lnTo>
                  <a:lnTo>
                    <a:pt x="2750" y="3764"/>
                  </a:lnTo>
                  <a:lnTo>
                    <a:pt x="2752" y="3766"/>
                  </a:lnTo>
                  <a:lnTo>
                    <a:pt x="2754" y="3768"/>
                  </a:lnTo>
                  <a:lnTo>
                    <a:pt x="2758" y="3764"/>
                  </a:lnTo>
                  <a:lnTo>
                    <a:pt x="2762" y="3760"/>
                  </a:lnTo>
                  <a:lnTo>
                    <a:pt x="2764" y="3760"/>
                  </a:lnTo>
                  <a:lnTo>
                    <a:pt x="2768" y="3760"/>
                  </a:lnTo>
                  <a:lnTo>
                    <a:pt x="2772" y="3762"/>
                  </a:lnTo>
                  <a:lnTo>
                    <a:pt x="2774" y="3760"/>
                  </a:lnTo>
                  <a:lnTo>
                    <a:pt x="2774" y="3756"/>
                  </a:lnTo>
                  <a:lnTo>
                    <a:pt x="2776" y="3750"/>
                  </a:lnTo>
                  <a:lnTo>
                    <a:pt x="2778" y="3752"/>
                  </a:lnTo>
                  <a:lnTo>
                    <a:pt x="2780" y="3754"/>
                  </a:lnTo>
                  <a:lnTo>
                    <a:pt x="2782" y="3754"/>
                  </a:lnTo>
                  <a:lnTo>
                    <a:pt x="2784" y="3752"/>
                  </a:lnTo>
                  <a:lnTo>
                    <a:pt x="2788" y="3748"/>
                  </a:lnTo>
                  <a:lnTo>
                    <a:pt x="2790" y="3748"/>
                  </a:lnTo>
                  <a:lnTo>
                    <a:pt x="2792" y="3748"/>
                  </a:lnTo>
                  <a:lnTo>
                    <a:pt x="2796" y="3744"/>
                  </a:lnTo>
                  <a:lnTo>
                    <a:pt x="2798" y="3740"/>
                  </a:lnTo>
                  <a:lnTo>
                    <a:pt x="2798" y="3736"/>
                  </a:lnTo>
                  <a:lnTo>
                    <a:pt x="2794" y="3724"/>
                  </a:lnTo>
                  <a:lnTo>
                    <a:pt x="2792" y="3714"/>
                  </a:lnTo>
                  <a:lnTo>
                    <a:pt x="2790" y="3712"/>
                  </a:lnTo>
                  <a:lnTo>
                    <a:pt x="2792" y="3708"/>
                  </a:lnTo>
                  <a:lnTo>
                    <a:pt x="2794" y="3708"/>
                  </a:lnTo>
                  <a:lnTo>
                    <a:pt x="2796" y="3710"/>
                  </a:lnTo>
                  <a:lnTo>
                    <a:pt x="2804" y="3720"/>
                  </a:lnTo>
                  <a:lnTo>
                    <a:pt x="2808" y="3726"/>
                  </a:lnTo>
                  <a:lnTo>
                    <a:pt x="2812" y="3730"/>
                  </a:lnTo>
                  <a:lnTo>
                    <a:pt x="2810" y="3734"/>
                  </a:lnTo>
                  <a:lnTo>
                    <a:pt x="2810" y="3738"/>
                  </a:lnTo>
                  <a:lnTo>
                    <a:pt x="2812" y="3738"/>
                  </a:lnTo>
                  <a:lnTo>
                    <a:pt x="2818" y="3740"/>
                  </a:lnTo>
                  <a:lnTo>
                    <a:pt x="2820" y="3742"/>
                  </a:lnTo>
                  <a:lnTo>
                    <a:pt x="2824" y="3742"/>
                  </a:lnTo>
                  <a:lnTo>
                    <a:pt x="2826" y="3740"/>
                  </a:lnTo>
                  <a:lnTo>
                    <a:pt x="2828" y="3736"/>
                  </a:lnTo>
                  <a:lnTo>
                    <a:pt x="2828" y="3734"/>
                  </a:lnTo>
                  <a:lnTo>
                    <a:pt x="2826" y="3730"/>
                  </a:lnTo>
                  <a:lnTo>
                    <a:pt x="2826" y="3726"/>
                  </a:lnTo>
                  <a:lnTo>
                    <a:pt x="2826" y="3724"/>
                  </a:lnTo>
                  <a:lnTo>
                    <a:pt x="2828" y="3724"/>
                  </a:lnTo>
                  <a:lnTo>
                    <a:pt x="2830" y="3728"/>
                  </a:lnTo>
                  <a:lnTo>
                    <a:pt x="2834" y="3730"/>
                  </a:lnTo>
                  <a:lnTo>
                    <a:pt x="2836" y="3732"/>
                  </a:lnTo>
                  <a:lnTo>
                    <a:pt x="2838" y="3730"/>
                  </a:lnTo>
                  <a:lnTo>
                    <a:pt x="2840" y="3728"/>
                  </a:lnTo>
                  <a:lnTo>
                    <a:pt x="2838" y="3724"/>
                  </a:lnTo>
                  <a:lnTo>
                    <a:pt x="2836" y="3720"/>
                  </a:lnTo>
                  <a:lnTo>
                    <a:pt x="2838" y="3718"/>
                  </a:lnTo>
                  <a:lnTo>
                    <a:pt x="2840" y="3716"/>
                  </a:lnTo>
                  <a:lnTo>
                    <a:pt x="2842" y="3716"/>
                  </a:lnTo>
                  <a:lnTo>
                    <a:pt x="2844" y="3718"/>
                  </a:lnTo>
                  <a:lnTo>
                    <a:pt x="2846" y="3724"/>
                  </a:lnTo>
                  <a:lnTo>
                    <a:pt x="2846" y="3726"/>
                  </a:lnTo>
                  <a:lnTo>
                    <a:pt x="2848" y="3728"/>
                  </a:lnTo>
                  <a:lnTo>
                    <a:pt x="2850" y="3728"/>
                  </a:lnTo>
                  <a:lnTo>
                    <a:pt x="2854" y="3724"/>
                  </a:lnTo>
                  <a:lnTo>
                    <a:pt x="2860" y="3718"/>
                  </a:lnTo>
                  <a:lnTo>
                    <a:pt x="2864" y="3716"/>
                  </a:lnTo>
                  <a:lnTo>
                    <a:pt x="2874" y="3722"/>
                  </a:lnTo>
                  <a:lnTo>
                    <a:pt x="2876" y="3722"/>
                  </a:lnTo>
                  <a:lnTo>
                    <a:pt x="2878" y="3722"/>
                  </a:lnTo>
                  <a:lnTo>
                    <a:pt x="2878" y="3718"/>
                  </a:lnTo>
                  <a:lnTo>
                    <a:pt x="2878" y="3714"/>
                  </a:lnTo>
                  <a:lnTo>
                    <a:pt x="2878" y="3712"/>
                  </a:lnTo>
                  <a:lnTo>
                    <a:pt x="2880" y="3712"/>
                  </a:lnTo>
                  <a:lnTo>
                    <a:pt x="2882" y="3712"/>
                  </a:lnTo>
                  <a:lnTo>
                    <a:pt x="2884" y="3716"/>
                  </a:lnTo>
                  <a:lnTo>
                    <a:pt x="2886" y="3718"/>
                  </a:lnTo>
                  <a:lnTo>
                    <a:pt x="2894" y="3716"/>
                  </a:lnTo>
                  <a:lnTo>
                    <a:pt x="2902" y="3712"/>
                  </a:lnTo>
                  <a:lnTo>
                    <a:pt x="2910" y="3710"/>
                  </a:lnTo>
                  <a:lnTo>
                    <a:pt x="2914" y="3706"/>
                  </a:lnTo>
                  <a:lnTo>
                    <a:pt x="2916" y="3702"/>
                  </a:lnTo>
                  <a:lnTo>
                    <a:pt x="2918" y="3698"/>
                  </a:lnTo>
                  <a:lnTo>
                    <a:pt x="2918" y="3696"/>
                  </a:lnTo>
                  <a:lnTo>
                    <a:pt x="2922" y="3694"/>
                  </a:lnTo>
                  <a:lnTo>
                    <a:pt x="2926" y="3692"/>
                  </a:lnTo>
                  <a:lnTo>
                    <a:pt x="2924" y="3690"/>
                  </a:lnTo>
                  <a:lnTo>
                    <a:pt x="2922" y="3688"/>
                  </a:lnTo>
                  <a:lnTo>
                    <a:pt x="2924" y="3686"/>
                  </a:lnTo>
                  <a:lnTo>
                    <a:pt x="2926" y="3684"/>
                  </a:lnTo>
                  <a:lnTo>
                    <a:pt x="2930" y="3678"/>
                  </a:lnTo>
                  <a:lnTo>
                    <a:pt x="2932" y="3674"/>
                  </a:lnTo>
                  <a:lnTo>
                    <a:pt x="2936" y="3674"/>
                  </a:lnTo>
                  <a:lnTo>
                    <a:pt x="2940" y="3674"/>
                  </a:lnTo>
                  <a:lnTo>
                    <a:pt x="2944" y="3672"/>
                  </a:lnTo>
                  <a:lnTo>
                    <a:pt x="2948" y="3668"/>
                  </a:lnTo>
                  <a:lnTo>
                    <a:pt x="2954" y="3662"/>
                  </a:lnTo>
                  <a:lnTo>
                    <a:pt x="2956" y="3662"/>
                  </a:lnTo>
                  <a:lnTo>
                    <a:pt x="2956" y="3664"/>
                  </a:lnTo>
                  <a:lnTo>
                    <a:pt x="2958" y="3666"/>
                  </a:lnTo>
                  <a:lnTo>
                    <a:pt x="2960" y="3662"/>
                  </a:lnTo>
                  <a:lnTo>
                    <a:pt x="2974" y="3648"/>
                  </a:lnTo>
                  <a:lnTo>
                    <a:pt x="2980" y="3642"/>
                  </a:lnTo>
                  <a:lnTo>
                    <a:pt x="2980" y="3638"/>
                  </a:lnTo>
                  <a:lnTo>
                    <a:pt x="2978" y="3636"/>
                  </a:lnTo>
                  <a:lnTo>
                    <a:pt x="2976" y="3632"/>
                  </a:lnTo>
                  <a:lnTo>
                    <a:pt x="2978" y="3626"/>
                  </a:lnTo>
                  <a:lnTo>
                    <a:pt x="2980" y="3624"/>
                  </a:lnTo>
                  <a:lnTo>
                    <a:pt x="2982" y="3624"/>
                  </a:lnTo>
                  <a:lnTo>
                    <a:pt x="2984" y="3626"/>
                  </a:lnTo>
                  <a:lnTo>
                    <a:pt x="2986" y="3628"/>
                  </a:lnTo>
                  <a:lnTo>
                    <a:pt x="2988" y="3626"/>
                  </a:lnTo>
                  <a:lnTo>
                    <a:pt x="2990" y="3626"/>
                  </a:lnTo>
                  <a:lnTo>
                    <a:pt x="2994" y="3628"/>
                  </a:lnTo>
                  <a:lnTo>
                    <a:pt x="2998" y="3630"/>
                  </a:lnTo>
                  <a:lnTo>
                    <a:pt x="3000" y="3624"/>
                  </a:lnTo>
                  <a:lnTo>
                    <a:pt x="3004" y="3616"/>
                  </a:lnTo>
                  <a:lnTo>
                    <a:pt x="3008" y="3614"/>
                  </a:lnTo>
                  <a:lnTo>
                    <a:pt x="3012" y="3610"/>
                  </a:lnTo>
                  <a:lnTo>
                    <a:pt x="3016" y="3608"/>
                  </a:lnTo>
                  <a:lnTo>
                    <a:pt x="3016" y="3606"/>
                  </a:lnTo>
                  <a:lnTo>
                    <a:pt x="3012" y="3602"/>
                  </a:lnTo>
                  <a:lnTo>
                    <a:pt x="3010" y="3598"/>
                  </a:lnTo>
                  <a:lnTo>
                    <a:pt x="3010" y="3594"/>
                  </a:lnTo>
                  <a:lnTo>
                    <a:pt x="3012" y="3590"/>
                  </a:lnTo>
                  <a:lnTo>
                    <a:pt x="3014" y="3594"/>
                  </a:lnTo>
                  <a:lnTo>
                    <a:pt x="3018" y="3596"/>
                  </a:lnTo>
                  <a:lnTo>
                    <a:pt x="3022" y="3596"/>
                  </a:lnTo>
                  <a:lnTo>
                    <a:pt x="3026" y="3594"/>
                  </a:lnTo>
                  <a:lnTo>
                    <a:pt x="3030" y="3590"/>
                  </a:lnTo>
                  <a:lnTo>
                    <a:pt x="3030" y="3588"/>
                  </a:lnTo>
                  <a:lnTo>
                    <a:pt x="3028" y="3588"/>
                  </a:lnTo>
                  <a:lnTo>
                    <a:pt x="3024" y="3588"/>
                  </a:lnTo>
                  <a:lnTo>
                    <a:pt x="3020" y="3586"/>
                  </a:lnTo>
                  <a:lnTo>
                    <a:pt x="3020" y="3582"/>
                  </a:lnTo>
                  <a:lnTo>
                    <a:pt x="3022" y="3578"/>
                  </a:lnTo>
                  <a:lnTo>
                    <a:pt x="3024" y="3576"/>
                  </a:lnTo>
                  <a:lnTo>
                    <a:pt x="3026" y="3576"/>
                  </a:lnTo>
                  <a:lnTo>
                    <a:pt x="3030" y="3578"/>
                  </a:lnTo>
                  <a:lnTo>
                    <a:pt x="3032" y="3580"/>
                  </a:lnTo>
                  <a:lnTo>
                    <a:pt x="3038" y="3586"/>
                  </a:lnTo>
                  <a:lnTo>
                    <a:pt x="3040" y="3586"/>
                  </a:lnTo>
                  <a:lnTo>
                    <a:pt x="3042" y="3582"/>
                  </a:lnTo>
                  <a:lnTo>
                    <a:pt x="3038" y="3576"/>
                  </a:lnTo>
                  <a:lnTo>
                    <a:pt x="3036" y="3572"/>
                  </a:lnTo>
                  <a:lnTo>
                    <a:pt x="3038" y="3568"/>
                  </a:lnTo>
                  <a:lnTo>
                    <a:pt x="3042" y="3558"/>
                  </a:lnTo>
                  <a:lnTo>
                    <a:pt x="3044" y="3552"/>
                  </a:lnTo>
                  <a:lnTo>
                    <a:pt x="3040" y="3552"/>
                  </a:lnTo>
                  <a:lnTo>
                    <a:pt x="3038" y="3552"/>
                  </a:lnTo>
                  <a:lnTo>
                    <a:pt x="3036" y="3550"/>
                  </a:lnTo>
                  <a:lnTo>
                    <a:pt x="3038" y="3546"/>
                  </a:lnTo>
                  <a:lnTo>
                    <a:pt x="3042" y="3540"/>
                  </a:lnTo>
                  <a:lnTo>
                    <a:pt x="3048" y="3536"/>
                  </a:lnTo>
                  <a:lnTo>
                    <a:pt x="3052" y="3534"/>
                  </a:lnTo>
                  <a:lnTo>
                    <a:pt x="3052" y="3532"/>
                  </a:lnTo>
                  <a:lnTo>
                    <a:pt x="3050" y="3532"/>
                  </a:lnTo>
                  <a:lnTo>
                    <a:pt x="3046" y="3526"/>
                  </a:lnTo>
                  <a:lnTo>
                    <a:pt x="3042" y="3522"/>
                  </a:lnTo>
                  <a:lnTo>
                    <a:pt x="3040" y="3518"/>
                  </a:lnTo>
                  <a:lnTo>
                    <a:pt x="3038" y="3518"/>
                  </a:lnTo>
                  <a:lnTo>
                    <a:pt x="3042" y="3516"/>
                  </a:lnTo>
                  <a:lnTo>
                    <a:pt x="3046" y="3514"/>
                  </a:lnTo>
                  <a:lnTo>
                    <a:pt x="3046" y="3516"/>
                  </a:lnTo>
                  <a:lnTo>
                    <a:pt x="3048" y="3520"/>
                  </a:lnTo>
                  <a:lnTo>
                    <a:pt x="3050" y="3524"/>
                  </a:lnTo>
                  <a:lnTo>
                    <a:pt x="3054" y="3524"/>
                  </a:lnTo>
                  <a:lnTo>
                    <a:pt x="3058" y="3522"/>
                  </a:lnTo>
                  <a:lnTo>
                    <a:pt x="3060" y="3520"/>
                  </a:lnTo>
                  <a:lnTo>
                    <a:pt x="3062" y="3518"/>
                  </a:lnTo>
                  <a:lnTo>
                    <a:pt x="3062" y="3512"/>
                  </a:lnTo>
                  <a:lnTo>
                    <a:pt x="3060" y="3510"/>
                  </a:lnTo>
                  <a:lnTo>
                    <a:pt x="3060" y="3508"/>
                  </a:lnTo>
                  <a:lnTo>
                    <a:pt x="3062" y="3506"/>
                  </a:lnTo>
                  <a:lnTo>
                    <a:pt x="3068" y="3502"/>
                  </a:lnTo>
                  <a:lnTo>
                    <a:pt x="3074" y="3492"/>
                  </a:lnTo>
                  <a:lnTo>
                    <a:pt x="3080" y="3482"/>
                  </a:lnTo>
                  <a:lnTo>
                    <a:pt x="3080" y="3478"/>
                  </a:lnTo>
                  <a:lnTo>
                    <a:pt x="3080" y="3474"/>
                  </a:lnTo>
                  <a:lnTo>
                    <a:pt x="3080" y="3470"/>
                  </a:lnTo>
                  <a:lnTo>
                    <a:pt x="3080" y="3468"/>
                  </a:lnTo>
                  <a:lnTo>
                    <a:pt x="3084" y="3462"/>
                  </a:lnTo>
                  <a:lnTo>
                    <a:pt x="3090" y="3454"/>
                  </a:lnTo>
                  <a:lnTo>
                    <a:pt x="3098" y="3440"/>
                  </a:lnTo>
                  <a:lnTo>
                    <a:pt x="3100" y="3436"/>
                  </a:lnTo>
                  <a:lnTo>
                    <a:pt x="3102" y="3432"/>
                  </a:lnTo>
                  <a:lnTo>
                    <a:pt x="3104" y="3434"/>
                  </a:lnTo>
                  <a:lnTo>
                    <a:pt x="3106" y="3436"/>
                  </a:lnTo>
                  <a:lnTo>
                    <a:pt x="3108" y="3440"/>
                  </a:lnTo>
                  <a:lnTo>
                    <a:pt x="3110" y="3440"/>
                  </a:lnTo>
                  <a:lnTo>
                    <a:pt x="3112" y="3440"/>
                  </a:lnTo>
                  <a:lnTo>
                    <a:pt x="3116" y="3436"/>
                  </a:lnTo>
                  <a:lnTo>
                    <a:pt x="3120" y="3434"/>
                  </a:lnTo>
                  <a:lnTo>
                    <a:pt x="3122" y="3432"/>
                  </a:lnTo>
                  <a:lnTo>
                    <a:pt x="3118" y="3424"/>
                  </a:lnTo>
                  <a:lnTo>
                    <a:pt x="3116" y="3420"/>
                  </a:lnTo>
                  <a:lnTo>
                    <a:pt x="3116" y="3416"/>
                  </a:lnTo>
                  <a:lnTo>
                    <a:pt x="3118" y="3414"/>
                  </a:lnTo>
                  <a:lnTo>
                    <a:pt x="3122" y="3412"/>
                  </a:lnTo>
                  <a:lnTo>
                    <a:pt x="3122" y="3410"/>
                  </a:lnTo>
                  <a:lnTo>
                    <a:pt x="3122" y="3408"/>
                  </a:lnTo>
                  <a:lnTo>
                    <a:pt x="3122" y="3402"/>
                  </a:lnTo>
                  <a:lnTo>
                    <a:pt x="3122" y="3400"/>
                  </a:lnTo>
                  <a:lnTo>
                    <a:pt x="3124" y="3398"/>
                  </a:lnTo>
                  <a:lnTo>
                    <a:pt x="3120" y="3392"/>
                  </a:lnTo>
                  <a:lnTo>
                    <a:pt x="3118" y="3390"/>
                  </a:lnTo>
                  <a:lnTo>
                    <a:pt x="3124" y="3390"/>
                  </a:lnTo>
                  <a:lnTo>
                    <a:pt x="3128" y="3390"/>
                  </a:lnTo>
                  <a:lnTo>
                    <a:pt x="3132" y="3388"/>
                  </a:lnTo>
                  <a:lnTo>
                    <a:pt x="3134" y="3384"/>
                  </a:lnTo>
                  <a:lnTo>
                    <a:pt x="3134" y="3376"/>
                  </a:lnTo>
                  <a:lnTo>
                    <a:pt x="3134" y="3370"/>
                  </a:lnTo>
                  <a:lnTo>
                    <a:pt x="3132" y="3366"/>
                  </a:lnTo>
                  <a:lnTo>
                    <a:pt x="3128" y="3362"/>
                  </a:lnTo>
                  <a:lnTo>
                    <a:pt x="3136" y="3356"/>
                  </a:lnTo>
                  <a:lnTo>
                    <a:pt x="3140" y="3352"/>
                  </a:lnTo>
                  <a:lnTo>
                    <a:pt x="3136" y="3350"/>
                  </a:lnTo>
                  <a:lnTo>
                    <a:pt x="3128" y="3348"/>
                  </a:lnTo>
                  <a:lnTo>
                    <a:pt x="3122" y="3344"/>
                  </a:lnTo>
                  <a:lnTo>
                    <a:pt x="3118" y="3338"/>
                  </a:lnTo>
                  <a:lnTo>
                    <a:pt x="3112" y="3332"/>
                  </a:lnTo>
                  <a:lnTo>
                    <a:pt x="3108" y="3330"/>
                  </a:lnTo>
                  <a:lnTo>
                    <a:pt x="3102" y="3330"/>
                  </a:lnTo>
                  <a:lnTo>
                    <a:pt x="3096" y="3334"/>
                  </a:lnTo>
                  <a:lnTo>
                    <a:pt x="3086" y="3338"/>
                  </a:lnTo>
                  <a:lnTo>
                    <a:pt x="3082" y="3338"/>
                  </a:lnTo>
                  <a:lnTo>
                    <a:pt x="3078" y="3334"/>
                  </a:lnTo>
                  <a:lnTo>
                    <a:pt x="3076" y="3332"/>
                  </a:lnTo>
                  <a:lnTo>
                    <a:pt x="3074" y="3330"/>
                  </a:lnTo>
                  <a:lnTo>
                    <a:pt x="3070" y="3332"/>
                  </a:lnTo>
                  <a:lnTo>
                    <a:pt x="3070" y="3328"/>
                  </a:lnTo>
                  <a:lnTo>
                    <a:pt x="3072" y="3326"/>
                  </a:lnTo>
                  <a:lnTo>
                    <a:pt x="3074" y="3324"/>
                  </a:lnTo>
                  <a:lnTo>
                    <a:pt x="3082" y="3326"/>
                  </a:lnTo>
                  <a:lnTo>
                    <a:pt x="3088" y="3326"/>
                  </a:lnTo>
                  <a:lnTo>
                    <a:pt x="3090" y="3326"/>
                  </a:lnTo>
                  <a:lnTo>
                    <a:pt x="3092" y="3324"/>
                  </a:lnTo>
                  <a:lnTo>
                    <a:pt x="3098" y="3316"/>
                  </a:lnTo>
                  <a:lnTo>
                    <a:pt x="3106" y="3310"/>
                  </a:lnTo>
                  <a:lnTo>
                    <a:pt x="3116" y="3304"/>
                  </a:lnTo>
                  <a:lnTo>
                    <a:pt x="3124" y="3302"/>
                  </a:lnTo>
                  <a:lnTo>
                    <a:pt x="3128" y="3300"/>
                  </a:lnTo>
                  <a:lnTo>
                    <a:pt x="3132" y="3298"/>
                  </a:lnTo>
                  <a:lnTo>
                    <a:pt x="3132" y="3294"/>
                  </a:lnTo>
                  <a:lnTo>
                    <a:pt x="3130" y="3290"/>
                  </a:lnTo>
                  <a:lnTo>
                    <a:pt x="3122" y="3278"/>
                  </a:lnTo>
                  <a:lnTo>
                    <a:pt x="3110" y="3268"/>
                  </a:lnTo>
                  <a:lnTo>
                    <a:pt x="3100" y="3258"/>
                  </a:lnTo>
                  <a:lnTo>
                    <a:pt x="3090" y="3254"/>
                  </a:lnTo>
                  <a:lnTo>
                    <a:pt x="3086" y="3252"/>
                  </a:lnTo>
                  <a:lnTo>
                    <a:pt x="3086" y="3250"/>
                  </a:lnTo>
                  <a:lnTo>
                    <a:pt x="3086" y="3248"/>
                  </a:lnTo>
                  <a:lnTo>
                    <a:pt x="3086" y="3246"/>
                  </a:lnTo>
                  <a:lnTo>
                    <a:pt x="3086" y="3244"/>
                  </a:lnTo>
                  <a:lnTo>
                    <a:pt x="3082" y="3242"/>
                  </a:lnTo>
                  <a:lnTo>
                    <a:pt x="3078" y="3240"/>
                  </a:lnTo>
                  <a:lnTo>
                    <a:pt x="3074" y="3242"/>
                  </a:lnTo>
                  <a:lnTo>
                    <a:pt x="3068" y="3246"/>
                  </a:lnTo>
                  <a:lnTo>
                    <a:pt x="3062" y="3246"/>
                  </a:lnTo>
                  <a:lnTo>
                    <a:pt x="3056" y="3244"/>
                  </a:lnTo>
                  <a:lnTo>
                    <a:pt x="3050" y="3242"/>
                  </a:lnTo>
                  <a:lnTo>
                    <a:pt x="3046" y="3236"/>
                  </a:lnTo>
                  <a:lnTo>
                    <a:pt x="3044" y="3232"/>
                  </a:lnTo>
                  <a:lnTo>
                    <a:pt x="3042" y="3228"/>
                  </a:lnTo>
                  <a:lnTo>
                    <a:pt x="3044" y="3224"/>
                  </a:lnTo>
                  <a:lnTo>
                    <a:pt x="3046" y="3224"/>
                  </a:lnTo>
                  <a:lnTo>
                    <a:pt x="3048" y="3224"/>
                  </a:lnTo>
                  <a:lnTo>
                    <a:pt x="3052" y="3230"/>
                  </a:lnTo>
                  <a:lnTo>
                    <a:pt x="3056" y="3238"/>
                  </a:lnTo>
                  <a:lnTo>
                    <a:pt x="3060" y="3242"/>
                  </a:lnTo>
                  <a:lnTo>
                    <a:pt x="3062" y="3244"/>
                  </a:lnTo>
                  <a:lnTo>
                    <a:pt x="3066" y="3242"/>
                  </a:lnTo>
                  <a:lnTo>
                    <a:pt x="3072" y="3240"/>
                  </a:lnTo>
                  <a:lnTo>
                    <a:pt x="3078" y="3236"/>
                  </a:lnTo>
                  <a:lnTo>
                    <a:pt x="3080" y="3236"/>
                  </a:lnTo>
                  <a:lnTo>
                    <a:pt x="3084" y="3236"/>
                  </a:lnTo>
                  <a:lnTo>
                    <a:pt x="3088" y="3240"/>
                  </a:lnTo>
                  <a:lnTo>
                    <a:pt x="3090" y="3242"/>
                  </a:lnTo>
                  <a:lnTo>
                    <a:pt x="3092" y="3246"/>
                  </a:lnTo>
                  <a:lnTo>
                    <a:pt x="3094" y="3248"/>
                  </a:lnTo>
                  <a:lnTo>
                    <a:pt x="3098" y="3248"/>
                  </a:lnTo>
                  <a:lnTo>
                    <a:pt x="3104" y="3248"/>
                  </a:lnTo>
                  <a:lnTo>
                    <a:pt x="3110" y="3250"/>
                  </a:lnTo>
                  <a:lnTo>
                    <a:pt x="3122" y="3256"/>
                  </a:lnTo>
                  <a:lnTo>
                    <a:pt x="3128" y="3258"/>
                  </a:lnTo>
                  <a:lnTo>
                    <a:pt x="3130" y="3258"/>
                  </a:lnTo>
                  <a:lnTo>
                    <a:pt x="3132" y="3256"/>
                  </a:lnTo>
                  <a:lnTo>
                    <a:pt x="3132" y="3254"/>
                  </a:lnTo>
                  <a:lnTo>
                    <a:pt x="3128" y="3244"/>
                  </a:lnTo>
                  <a:lnTo>
                    <a:pt x="3120" y="3236"/>
                  </a:lnTo>
                  <a:lnTo>
                    <a:pt x="3114" y="3230"/>
                  </a:lnTo>
                  <a:lnTo>
                    <a:pt x="3112" y="3226"/>
                  </a:lnTo>
                  <a:lnTo>
                    <a:pt x="3108" y="3220"/>
                  </a:lnTo>
                  <a:lnTo>
                    <a:pt x="3100" y="3212"/>
                  </a:lnTo>
                  <a:lnTo>
                    <a:pt x="3092" y="3206"/>
                  </a:lnTo>
                  <a:lnTo>
                    <a:pt x="3090" y="3200"/>
                  </a:lnTo>
                  <a:lnTo>
                    <a:pt x="3090" y="3192"/>
                  </a:lnTo>
                  <a:lnTo>
                    <a:pt x="3088" y="3186"/>
                  </a:lnTo>
                  <a:lnTo>
                    <a:pt x="3086" y="3178"/>
                  </a:lnTo>
                  <a:lnTo>
                    <a:pt x="3082" y="3168"/>
                  </a:lnTo>
                  <a:lnTo>
                    <a:pt x="3078" y="3158"/>
                  </a:lnTo>
                  <a:lnTo>
                    <a:pt x="3072" y="3138"/>
                  </a:lnTo>
                  <a:lnTo>
                    <a:pt x="3070" y="3130"/>
                  </a:lnTo>
                  <a:lnTo>
                    <a:pt x="3066" y="3122"/>
                  </a:lnTo>
                  <a:lnTo>
                    <a:pt x="3060" y="3116"/>
                  </a:lnTo>
                  <a:lnTo>
                    <a:pt x="3052" y="3112"/>
                  </a:lnTo>
                  <a:lnTo>
                    <a:pt x="3044" y="3108"/>
                  </a:lnTo>
                  <a:lnTo>
                    <a:pt x="3040" y="3104"/>
                  </a:lnTo>
                  <a:lnTo>
                    <a:pt x="3036" y="3098"/>
                  </a:lnTo>
                  <a:lnTo>
                    <a:pt x="3034" y="3094"/>
                  </a:lnTo>
                  <a:lnTo>
                    <a:pt x="3032" y="3094"/>
                  </a:lnTo>
                  <a:lnTo>
                    <a:pt x="3026" y="3096"/>
                  </a:lnTo>
                  <a:lnTo>
                    <a:pt x="3022" y="3096"/>
                  </a:lnTo>
                  <a:lnTo>
                    <a:pt x="3022" y="3092"/>
                  </a:lnTo>
                  <a:lnTo>
                    <a:pt x="3024" y="3084"/>
                  </a:lnTo>
                  <a:lnTo>
                    <a:pt x="3026" y="3076"/>
                  </a:lnTo>
                  <a:lnTo>
                    <a:pt x="3038" y="3058"/>
                  </a:lnTo>
                  <a:lnTo>
                    <a:pt x="3044" y="3052"/>
                  </a:lnTo>
                  <a:lnTo>
                    <a:pt x="3048" y="3048"/>
                  </a:lnTo>
                  <a:lnTo>
                    <a:pt x="3054" y="3044"/>
                  </a:lnTo>
                  <a:lnTo>
                    <a:pt x="3056" y="3042"/>
                  </a:lnTo>
                  <a:lnTo>
                    <a:pt x="3058" y="3038"/>
                  </a:lnTo>
                  <a:lnTo>
                    <a:pt x="3062" y="3034"/>
                  </a:lnTo>
                  <a:lnTo>
                    <a:pt x="3064" y="3032"/>
                  </a:lnTo>
                  <a:lnTo>
                    <a:pt x="3064" y="3028"/>
                  </a:lnTo>
                  <a:lnTo>
                    <a:pt x="3062" y="3024"/>
                  </a:lnTo>
                  <a:lnTo>
                    <a:pt x="3060" y="3020"/>
                  </a:lnTo>
                  <a:lnTo>
                    <a:pt x="3060" y="3018"/>
                  </a:lnTo>
                  <a:lnTo>
                    <a:pt x="3062" y="3018"/>
                  </a:lnTo>
                  <a:lnTo>
                    <a:pt x="3064" y="3016"/>
                  </a:lnTo>
                  <a:lnTo>
                    <a:pt x="3066" y="3016"/>
                  </a:lnTo>
                  <a:lnTo>
                    <a:pt x="3066" y="3020"/>
                  </a:lnTo>
                  <a:lnTo>
                    <a:pt x="3068" y="3022"/>
                  </a:lnTo>
                  <a:lnTo>
                    <a:pt x="3070" y="3024"/>
                  </a:lnTo>
                  <a:lnTo>
                    <a:pt x="3072" y="3024"/>
                  </a:lnTo>
                  <a:lnTo>
                    <a:pt x="3076" y="3022"/>
                  </a:lnTo>
                  <a:lnTo>
                    <a:pt x="3080" y="3020"/>
                  </a:lnTo>
                  <a:lnTo>
                    <a:pt x="3082" y="3018"/>
                  </a:lnTo>
                  <a:lnTo>
                    <a:pt x="3084" y="3012"/>
                  </a:lnTo>
                  <a:lnTo>
                    <a:pt x="3086" y="3008"/>
                  </a:lnTo>
                  <a:lnTo>
                    <a:pt x="3088" y="3006"/>
                  </a:lnTo>
                  <a:lnTo>
                    <a:pt x="3090" y="3008"/>
                  </a:lnTo>
                  <a:lnTo>
                    <a:pt x="3092" y="3008"/>
                  </a:lnTo>
                  <a:lnTo>
                    <a:pt x="3094" y="3006"/>
                  </a:lnTo>
                  <a:lnTo>
                    <a:pt x="3096" y="3002"/>
                  </a:lnTo>
                  <a:lnTo>
                    <a:pt x="3100" y="2996"/>
                  </a:lnTo>
                  <a:lnTo>
                    <a:pt x="3106" y="2990"/>
                  </a:lnTo>
                  <a:lnTo>
                    <a:pt x="3114" y="2988"/>
                  </a:lnTo>
                  <a:lnTo>
                    <a:pt x="3118" y="2988"/>
                  </a:lnTo>
                  <a:lnTo>
                    <a:pt x="3122" y="2986"/>
                  </a:lnTo>
                  <a:lnTo>
                    <a:pt x="3128" y="2982"/>
                  </a:lnTo>
                  <a:lnTo>
                    <a:pt x="3134" y="2976"/>
                  </a:lnTo>
                  <a:lnTo>
                    <a:pt x="3136" y="2976"/>
                  </a:lnTo>
                  <a:lnTo>
                    <a:pt x="3138" y="2978"/>
                  </a:lnTo>
                  <a:lnTo>
                    <a:pt x="3140" y="2978"/>
                  </a:lnTo>
                  <a:lnTo>
                    <a:pt x="3142" y="2976"/>
                  </a:lnTo>
                  <a:lnTo>
                    <a:pt x="3142" y="2978"/>
                  </a:lnTo>
                  <a:lnTo>
                    <a:pt x="3144" y="2980"/>
                  </a:lnTo>
                  <a:lnTo>
                    <a:pt x="3144" y="2982"/>
                  </a:lnTo>
                  <a:lnTo>
                    <a:pt x="3148" y="2984"/>
                  </a:lnTo>
                  <a:lnTo>
                    <a:pt x="3152" y="2982"/>
                  </a:lnTo>
                  <a:lnTo>
                    <a:pt x="3156" y="2980"/>
                  </a:lnTo>
                  <a:lnTo>
                    <a:pt x="3158" y="2978"/>
                  </a:lnTo>
                  <a:lnTo>
                    <a:pt x="3156" y="2974"/>
                  </a:lnTo>
                  <a:lnTo>
                    <a:pt x="3156" y="2972"/>
                  </a:lnTo>
                  <a:lnTo>
                    <a:pt x="3156" y="2970"/>
                  </a:lnTo>
                  <a:lnTo>
                    <a:pt x="3158" y="2966"/>
                  </a:lnTo>
                  <a:lnTo>
                    <a:pt x="3162" y="2960"/>
                  </a:lnTo>
                  <a:lnTo>
                    <a:pt x="3164" y="2958"/>
                  </a:lnTo>
                  <a:lnTo>
                    <a:pt x="3164" y="2956"/>
                  </a:lnTo>
                  <a:lnTo>
                    <a:pt x="3158" y="2952"/>
                  </a:lnTo>
                  <a:lnTo>
                    <a:pt x="3150" y="2950"/>
                  </a:lnTo>
                  <a:lnTo>
                    <a:pt x="3144" y="2946"/>
                  </a:lnTo>
                  <a:lnTo>
                    <a:pt x="3140" y="2942"/>
                  </a:lnTo>
                  <a:lnTo>
                    <a:pt x="3138" y="2944"/>
                  </a:lnTo>
                  <a:lnTo>
                    <a:pt x="3134" y="2948"/>
                  </a:lnTo>
                  <a:lnTo>
                    <a:pt x="3132" y="2948"/>
                  </a:lnTo>
                  <a:lnTo>
                    <a:pt x="3126" y="2950"/>
                  </a:lnTo>
                  <a:lnTo>
                    <a:pt x="3116" y="2948"/>
                  </a:lnTo>
                  <a:lnTo>
                    <a:pt x="3114" y="2944"/>
                  </a:lnTo>
                  <a:lnTo>
                    <a:pt x="3112" y="2942"/>
                  </a:lnTo>
                  <a:lnTo>
                    <a:pt x="3108" y="2942"/>
                  </a:lnTo>
                  <a:lnTo>
                    <a:pt x="3102" y="2942"/>
                  </a:lnTo>
                  <a:lnTo>
                    <a:pt x="3100" y="2938"/>
                  </a:lnTo>
                  <a:lnTo>
                    <a:pt x="3096" y="2934"/>
                  </a:lnTo>
                  <a:lnTo>
                    <a:pt x="3094" y="2930"/>
                  </a:lnTo>
                  <a:lnTo>
                    <a:pt x="3090" y="2930"/>
                  </a:lnTo>
                  <a:lnTo>
                    <a:pt x="3080" y="2930"/>
                  </a:lnTo>
                  <a:lnTo>
                    <a:pt x="3072" y="2934"/>
                  </a:lnTo>
                  <a:lnTo>
                    <a:pt x="3066" y="2940"/>
                  </a:lnTo>
                  <a:lnTo>
                    <a:pt x="3062" y="2946"/>
                  </a:lnTo>
                  <a:lnTo>
                    <a:pt x="3056" y="2950"/>
                  </a:lnTo>
                  <a:lnTo>
                    <a:pt x="3052" y="2952"/>
                  </a:lnTo>
                  <a:lnTo>
                    <a:pt x="3050" y="2954"/>
                  </a:lnTo>
                  <a:lnTo>
                    <a:pt x="3050" y="2958"/>
                  </a:lnTo>
                  <a:lnTo>
                    <a:pt x="3052" y="2962"/>
                  </a:lnTo>
                  <a:lnTo>
                    <a:pt x="3050" y="2964"/>
                  </a:lnTo>
                  <a:lnTo>
                    <a:pt x="3044" y="2966"/>
                  </a:lnTo>
                  <a:lnTo>
                    <a:pt x="3032" y="2968"/>
                  </a:lnTo>
                  <a:lnTo>
                    <a:pt x="3026" y="2968"/>
                  </a:lnTo>
                  <a:lnTo>
                    <a:pt x="3020" y="2964"/>
                  </a:lnTo>
                  <a:lnTo>
                    <a:pt x="3018" y="2960"/>
                  </a:lnTo>
                  <a:lnTo>
                    <a:pt x="3014" y="2956"/>
                  </a:lnTo>
                  <a:lnTo>
                    <a:pt x="3014" y="2946"/>
                  </a:lnTo>
                  <a:lnTo>
                    <a:pt x="3014" y="2940"/>
                  </a:lnTo>
                  <a:lnTo>
                    <a:pt x="3016" y="2938"/>
                  </a:lnTo>
                  <a:lnTo>
                    <a:pt x="3018" y="2934"/>
                  </a:lnTo>
                  <a:lnTo>
                    <a:pt x="3018" y="2930"/>
                  </a:lnTo>
                  <a:lnTo>
                    <a:pt x="3014" y="2922"/>
                  </a:lnTo>
                  <a:lnTo>
                    <a:pt x="3008" y="2914"/>
                  </a:lnTo>
                  <a:lnTo>
                    <a:pt x="3004" y="2912"/>
                  </a:lnTo>
                  <a:lnTo>
                    <a:pt x="3002" y="2912"/>
                  </a:lnTo>
                  <a:lnTo>
                    <a:pt x="2996" y="2914"/>
                  </a:lnTo>
                  <a:lnTo>
                    <a:pt x="2988" y="2914"/>
                  </a:lnTo>
                  <a:lnTo>
                    <a:pt x="2980" y="2914"/>
                  </a:lnTo>
                  <a:lnTo>
                    <a:pt x="2976" y="2912"/>
                  </a:lnTo>
                  <a:lnTo>
                    <a:pt x="2974" y="2910"/>
                  </a:lnTo>
                  <a:lnTo>
                    <a:pt x="2970" y="2906"/>
                  </a:lnTo>
                  <a:lnTo>
                    <a:pt x="2966" y="2904"/>
                  </a:lnTo>
                  <a:lnTo>
                    <a:pt x="2962" y="2900"/>
                  </a:lnTo>
                  <a:lnTo>
                    <a:pt x="2958" y="2890"/>
                  </a:lnTo>
                  <a:lnTo>
                    <a:pt x="2958" y="2880"/>
                  </a:lnTo>
                  <a:lnTo>
                    <a:pt x="2960" y="2872"/>
                  </a:lnTo>
                  <a:lnTo>
                    <a:pt x="2962" y="2868"/>
                  </a:lnTo>
                  <a:lnTo>
                    <a:pt x="2964" y="2862"/>
                  </a:lnTo>
                  <a:lnTo>
                    <a:pt x="2966" y="2856"/>
                  </a:lnTo>
                  <a:lnTo>
                    <a:pt x="2970" y="2854"/>
                  </a:lnTo>
                  <a:lnTo>
                    <a:pt x="2976" y="2854"/>
                  </a:lnTo>
                  <a:lnTo>
                    <a:pt x="2982" y="2860"/>
                  </a:lnTo>
                  <a:lnTo>
                    <a:pt x="2986" y="2864"/>
                  </a:lnTo>
                  <a:lnTo>
                    <a:pt x="2988" y="2864"/>
                  </a:lnTo>
                  <a:lnTo>
                    <a:pt x="2992" y="2862"/>
                  </a:lnTo>
                  <a:lnTo>
                    <a:pt x="2996" y="2856"/>
                  </a:lnTo>
                  <a:lnTo>
                    <a:pt x="3000" y="2856"/>
                  </a:lnTo>
                  <a:lnTo>
                    <a:pt x="3002" y="2856"/>
                  </a:lnTo>
                  <a:lnTo>
                    <a:pt x="3010" y="2856"/>
                  </a:lnTo>
                  <a:lnTo>
                    <a:pt x="3018" y="2854"/>
                  </a:lnTo>
                  <a:lnTo>
                    <a:pt x="3024" y="2846"/>
                  </a:lnTo>
                  <a:lnTo>
                    <a:pt x="3026" y="2836"/>
                  </a:lnTo>
                  <a:lnTo>
                    <a:pt x="3026" y="2830"/>
                  </a:lnTo>
                  <a:lnTo>
                    <a:pt x="3032" y="2824"/>
                  </a:lnTo>
                  <a:lnTo>
                    <a:pt x="3044" y="2814"/>
                  </a:lnTo>
                  <a:lnTo>
                    <a:pt x="3058" y="2806"/>
                  </a:lnTo>
                  <a:lnTo>
                    <a:pt x="3070" y="2802"/>
                  </a:lnTo>
                  <a:lnTo>
                    <a:pt x="3076" y="2798"/>
                  </a:lnTo>
                  <a:lnTo>
                    <a:pt x="3078" y="2794"/>
                  </a:lnTo>
                  <a:lnTo>
                    <a:pt x="3080" y="2786"/>
                  </a:lnTo>
                  <a:lnTo>
                    <a:pt x="3088" y="2778"/>
                  </a:lnTo>
                  <a:lnTo>
                    <a:pt x="3094" y="2770"/>
                  </a:lnTo>
                  <a:lnTo>
                    <a:pt x="3094" y="2768"/>
                  </a:lnTo>
                  <a:lnTo>
                    <a:pt x="3096" y="2766"/>
                  </a:lnTo>
                  <a:lnTo>
                    <a:pt x="3100" y="2762"/>
                  </a:lnTo>
                  <a:lnTo>
                    <a:pt x="3104" y="2760"/>
                  </a:lnTo>
                  <a:lnTo>
                    <a:pt x="3108" y="2760"/>
                  </a:lnTo>
                  <a:lnTo>
                    <a:pt x="3114" y="2760"/>
                  </a:lnTo>
                  <a:lnTo>
                    <a:pt x="3120" y="2762"/>
                  </a:lnTo>
                  <a:lnTo>
                    <a:pt x="3122" y="2762"/>
                  </a:lnTo>
                  <a:lnTo>
                    <a:pt x="3124" y="2762"/>
                  </a:lnTo>
                  <a:lnTo>
                    <a:pt x="3128" y="2760"/>
                  </a:lnTo>
                  <a:lnTo>
                    <a:pt x="3130" y="2760"/>
                  </a:lnTo>
                  <a:lnTo>
                    <a:pt x="3132" y="2764"/>
                  </a:lnTo>
                  <a:lnTo>
                    <a:pt x="3138" y="2770"/>
                  </a:lnTo>
                  <a:lnTo>
                    <a:pt x="3144" y="2778"/>
                  </a:lnTo>
                  <a:lnTo>
                    <a:pt x="3146" y="2782"/>
                  </a:lnTo>
                  <a:lnTo>
                    <a:pt x="3144" y="2790"/>
                  </a:lnTo>
                  <a:lnTo>
                    <a:pt x="3138" y="2800"/>
                  </a:lnTo>
                  <a:lnTo>
                    <a:pt x="3132" y="2806"/>
                  </a:lnTo>
                  <a:lnTo>
                    <a:pt x="3128" y="2810"/>
                  </a:lnTo>
                  <a:lnTo>
                    <a:pt x="3120" y="2816"/>
                  </a:lnTo>
                  <a:lnTo>
                    <a:pt x="3114" y="2820"/>
                  </a:lnTo>
                  <a:lnTo>
                    <a:pt x="3114" y="2822"/>
                  </a:lnTo>
                  <a:lnTo>
                    <a:pt x="3114" y="2824"/>
                  </a:lnTo>
                  <a:lnTo>
                    <a:pt x="3116" y="2826"/>
                  </a:lnTo>
                  <a:lnTo>
                    <a:pt x="3114" y="2828"/>
                  </a:lnTo>
                  <a:lnTo>
                    <a:pt x="3110" y="2832"/>
                  </a:lnTo>
                  <a:lnTo>
                    <a:pt x="3104" y="2834"/>
                  </a:lnTo>
                  <a:lnTo>
                    <a:pt x="3104" y="2836"/>
                  </a:lnTo>
                  <a:lnTo>
                    <a:pt x="3106" y="2836"/>
                  </a:lnTo>
                  <a:lnTo>
                    <a:pt x="3110" y="2840"/>
                  </a:lnTo>
                  <a:lnTo>
                    <a:pt x="3116" y="2844"/>
                  </a:lnTo>
                  <a:lnTo>
                    <a:pt x="3120" y="2850"/>
                  </a:lnTo>
                  <a:lnTo>
                    <a:pt x="3122" y="2854"/>
                  </a:lnTo>
                  <a:lnTo>
                    <a:pt x="3122" y="2858"/>
                  </a:lnTo>
                  <a:lnTo>
                    <a:pt x="3120" y="2862"/>
                  </a:lnTo>
                  <a:lnTo>
                    <a:pt x="3118" y="2864"/>
                  </a:lnTo>
                  <a:lnTo>
                    <a:pt x="3116" y="2862"/>
                  </a:lnTo>
                  <a:lnTo>
                    <a:pt x="3112" y="2860"/>
                  </a:lnTo>
                  <a:lnTo>
                    <a:pt x="3110" y="2862"/>
                  </a:lnTo>
                  <a:lnTo>
                    <a:pt x="3108" y="2864"/>
                  </a:lnTo>
                  <a:lnTo>
                    <a:pt x="3106" y="2868"/>
                  </a:lnTo>
                  <a:lnTo>
                    <a:pt x="3102" y="2868"/>
                  </a:lnTo>
                  <a:lnTo>
                    <a:pt x="3100" y="2876"/>
                  </a:lnTo>
                  <a:lnTo>
                    <a:pt x="3100" y="2880"/>
                  </a:lnTo>
                  <a:lnTo>
                    <a:pt x="3102" y="2882"/>
                  </a:lnTo>
                  <a:lnTo>
                    <a:pt x="3104" y="2882"/>
                  </a:lnTo>
                  <a:lnTo>
                    <a:pt x="3106" y="2880"/>
                  </a:lnTo>
                  <a:lnTo>
                    <a:pt x="3112" y="2878"/>
                  </a:lnTo>
                  <a:lnTo>
                    <a:pt x="3120" y="2874"/>
                  </a:lnTo>
                  <a:lnTo>
                    <a:pt x="3124" y="2874"/>
                  </a:lnTo>
                  <a:lnTo>
                    <a:pt x="3124" y="2872"/>
                  </a:lnTo>
                  <a:lnTo>
                    <a:pt x="3124" y="2868"/>
                  </a:lnTo>
                  <a:lnTo>
                    <a:pt x="3124" y="2866"/>
                  </a:lnTo>
                  <a:lnTo>
                    <a:pt x="3128" y="2866"/>
                  </a:lnTo>
                  <a:lnTo>
                    <a:pt x="3132" y="2866"/>
                  </a:lnTo>
                  <a:lnTo>
                    <a:pt x="3136" y="2864"/>
                  </a:lnTo>
                  <a:lnTo>
                    <a:pt x="3142" y="2856"/>
                  </a:lnTo>
                  <a:lnTo>
                    <a:pt x="3148" y="2848"/>
                  </a:lnTo>
                  <a:lnTo>
                    <a:pt x="3152" y="2844"/>
                  </a:lnTo>
                  <a:lnTo>
                    <a:pt x="3156" y="2840"/>
                  </a:lnTo>
                  <a:lnTo>
                    <a:pt x="3162" y="2836"/>
                  </a:lnTo>
                  <a:lnTo>
                    <a:pt x="3164" y="2834"/>
                  </a:lnTo>
                  <a:lnTo>
                    <a:pt x="3168" y="2832"/>
                  </a:lnTo>
                  <a:lnTo>
                    <a:pt x="3176" y="2830"/>
                  </a:lnTo>
                  <a:lnTo>
                    <a:pt x="3182" y="2830"/>
                  </a:lnTo>
                  <a:lnTo>
                    <a:pt x="3186" y="2828"/>
                  </a:lnTo>
                  <a:lnTo>
                    <a:pt x="3188" y="2826"/>
                  </a:lnTo>
                  <a:lnTo>
                    <a:pt x="3190" y="2822"/>
                  </a:lnTo>
                  <a:lnTo>
                    <a:pt x="3194" y="2822"/>
                  </a:lnTo>
                  <a:lnTo>
                    <a:pt x="3196" y="2824"/>
                  </a:lnTo>
                  <a:lnTo>
                    <a:pt x="3200" y="2822"/>
                  </a:lnTo>
                  <a:lnTo>
                    <a:pt x="3202" y="2820"/>
                  </a:lnTo>
                  <a:lnTo>
                    <a:pt x="3206" y="2820"/>
                  </a:lnTo>
                  <a:lnTo>
                    <a:pt x="3212" y="2820"/>
                  </a:lnTo>
                  <a:lnTo>
                    <a:pt x="3220" y="2818"/>
                  </a:lnTo>
                  <a:lnTo>
                    <a:pt x="3226" y="2816"/>
                  </a:lnTo>
                  <a:lnTo>
                    <a:pt x="3230" y="2812"/>
                  </a:lnTo>
                  <a:lnTo>
                    <a:pt x="3232" y="2808"/>
                  </a:lnTo>
                  <a:lnTo>
                    <a:pt x="3230" y="2812"/>
                  </a:lnTo>
                  <a:lnTo>
                    <a:pt x="3232" y="2818"/>
                  </a:lnTo>
                  <a:lnTo>
                    <a:pt x="3236" y="2824"/>
                  </a:lnTo>
                  <a:lnTo>
                    <a:pt x="3242" y="2828"/>
                  </a:lnTo>
                  <a:lnTo>
                    <a:pt x="3244" y="2830"/>
                  </a:lnTo>
                  <a:lnTo>
                    <a:pt x="3246" y="2828"/>
                  </a:lnTo>
                  <a:lnTo>
                    <a:pt x="3250" y="2828"/>
                  </a:lnTo>
                  <a:lnTo>
                    <a:pt x="3254" y="2828"/>
                  </a:lnTo>
                  <a:lnTo>
                    <a:pt x="3264" y="2832"/>
                  </a:lnTo>
                  <a:lnTo>
                    <a:pt x="3268" y="2836"/>
                  </a:lnTo>
                  <a:lnTo>
                    <a:pt x="3272" y="2840"/>
                  </a:lnTo>
                  <a:lnTo>
                    <a:pt x="3274" y="2846"/>
                  </a:lnTo>
                  <a:lnTo>
                    <a:pt x="3272" y="2850"/>
                  </a:lnTo>
                  <a:lnTo>
                    <a:pt x="3264" y="2868"/>
                  </a:lnTo>
                  <a:lnTo>
                    <a:pt x="3262" y="2876"/>
                  </a:lnTo>
                  <a:lnTo>
                    <a:pt x="3262" y="2878"/>
                  </a:lnTo>
                  <a:lnTo>
                    <a:pt x="3264" y="2880"/>
                  </a:lnTo>
                  <a:lnTo>
                    <a:pt x="3266" y="2884"/>
                  </a:lnTo>
                  <a:lnTo>
                    <a:pt x="3262" y="2886"/>
                  </a:lnTo>
                  <a:lnTo>
                    <a:pt x="3258" y="2892"/>
                  </a:lnTo>
                  <a:lnTo>
                    <a:pt x="3254" y="2900"/>
                  </a:lnTo>
                  <a:lnTo>
                    <a:pt x="3250" y="2906"/>
                  </a:lnTo>
                  <a:lnTo>
                    <a:pt x="3248" y="2910"/>
                  </a:lnTo>
                  <a:lnTo>
                    <a:pt x="3244" y="2914"/>
                  </a:lnTo>
                  <a:lnTo>
                    <a:pt x="3242" y="2914"/>
                  </a:lnTo>
                  <a:lnTo>
                    <a:pt x="3252" y="2916"/>
                  </a:lnTo>
                  <a:lnTo>
                    <a:pt x="3258" y="2918"/>
                  </a:lnTo>
                  <a:lnTo>
                    <a:pt x="3260" y="2918"/>
                  </a:lnTo>
                  <a:lnTo>
                    <a:pt x="3258" y="2920"/>
                  </a:lnTo>
                  <a:lnTo>
                    <a:pt x="3258" y="2922"/>
                  </a:lnTo>
                  <a:lnTo>
                    <a:pt x="3254" y="2924"/>
                  </a:lnTo>
                  <a:lnTo>
                    <a:pt x="3256" y="2926"/>
                  </a:lnTo>
                  <a:lnTo>
                    <a:pt x="3262" y="2928"/>
                  </a:lnTo>
                  <a:lnTo>
                    <a:pt x="3268" y="2928"/>
                  </a:lnTo>
                  <a:lnTo>
                    <a:pt x="3270" y="2930"/>
                  </a:lnTo>
                  <a:lnTo>
                    <a:pt x="3270" y="2932"/>
                  </a:lnTo>
                  <a:lnTo>
                    <a:pt x="3270" y="2934"/>
                  </a:lnTo>
                  <a:lnTo>
                    <a:pt x="3270" y="2938"/>
                  </a:lnTo>
                  <a:lnTo>
                    <a:pt x="3274" y="2936"/>
                  </a:lnTo>
                  <a:lnTo>
                    <a:pt x="3278" y="2934"/>
                  </a:lnTo>
                  <a:lnTo>
                    <a:pt x="3280" y="2930"/>
                  </a:lnTo>
                  <a:lnTo>
                    <a:pt x="3282" y="2924"/>
                  </a:lnTo>
                  <a:lnTo>
                    <a:pt x="3284" y="2922"/>
                  </a:lnTo>
                  <a:lnTo>
                    <a:pt x="3292" y="2926"/>
                  </a:lnTo>
                  <a:lnTo>
                    <a:pt x="3300" y="2934"/>
                  </a:lnTo>
                  <a:lnTo>
                    <a:pt x="3302" y="2934"/>
                  </a:lnTo>
                  <a:lnTo>
                    <a:pt x="3304" y="2930"/>
                  </a:lnTo>
                  <a:lnTo>
                    <a:pt x="3304" y="2928"/>
                  </a:lnTo>
                  <a:lnTo>
                    <a:pt x="3306" y="2926"/>
                  </a:lnTo>
                  <a:lnTo>
                    <a:pt x="3312" y="2928"/>
                  </a:lnTo>
                  <a:lnTo>
                    <a:pt x="3318" y="2930"/>
                  </a:lnTo>
                  <a:lnTo>
                    <a:pt x="3324" y="2930"/>
                  </a:lnTo>
                  <a:lnTo>
                    <a:pt x="3324" y="2934"/>
                  </a:lnTo>
                  <a:lnTo>
                    <a:pt x="3322" y="2934"/>
                  </a:lnTo>
                  <a:lnTo>
                    <a:pt x="3320" y="2938"/>
                  </a:lnTo>
                  <a:lnTo>
                    <a:pt x="3320" y="2942"/>
                  </a:lnTo>
                  <a:lnTo>
                    <a:pt x="3324" y="2948"/>
                  </a:lnTo>
                  <a:lnTo>
                    <a:pt x="3326" y="2954"/>
                  </a:lnTo>
                  <a:lnTo>
                    <a:pt x="3326" y="2958"/>
                  </a:lnTo>
                  <a:lnTo>
                    <a:pt x="3324" y="2960"/>
                  </a:lnTo>
                  <a:lnTo>
                    <a:pt x="3324" y="2962"/>
                  </a:lnTo>
                  <a:lnTo>
                    <a:pt x="3324" y="2966"/>
                  </a:lnTo>
                  <a:lnTo>
                    <a:pt x="3328" y="2970"/>
                  </a:lnTo>
                  <a:lnTo>
                    <a:pt x="3332" y="2974"/>
                  </a:lnTo>
                  <a:lnTo>
                    <a:pt x="3334" y="2976"/>
                  </a:lnTo>
                  <a:lnTo>
                    <a:pt x="3334" y="2980"/>
                  </a:lnTo>
                  <a:lnTo>
                    <a:pt x="3332" y="2982"/>
                  </a:lnTo>
                  <a:lnTo>
                    <a:pt x="3330" y="2980"/>
                  </a:lnTo>
                  <a:lnTo>
                    <a:pt x="3328" y="2976"/>
                  </a:lnTo>
                  <a:lnTo>
                    <a:pt x="3326" y="2974"/>
                  </a:lnTo>
                  <a:lnTo>
                    <a:pt x="3322" y="2974"/>
                  </a:lnTo>
                  <a:lnTo>
                    <a:pt x="3312" y="2974"/>
                  </a:lnTo>
                  <a:lnTo>
                    <a:pt x="3310" y="2974"/>
                  </a:lnTo>
                  <a:lnTo>
                    <a:pt x="3312" y="2978"/>
                  </a:lnTo>
                  <a:lnTo>
                    <a:pt x="3312" y="2980"/>
                  </a:lnTo>
                  <a:lnTo>
                    <a:pt x="3312" y="2982"/>
                  </a:lnTo>
                  <a:lnTo>
                    <a:pt x="3310" y="2982"/>
                  </a:lnTo>
                  <a:lnTo>
                    <a:pt x="3308" y="2980"/>
                  </a:lnTo>
                  <a:lnTo>
                    <a:pt x="3306" y="2980"/>
                  </a:lnTo>
                  <a:lnTo>
                    <a:pt x="3302" y="2984"/>
                  </a:lnTo>
                  <a:lnTo>
                    <a:pt x="3302" y="2988"/>
                  </a:lnTo>
                  <a:lnTo>
                    <a:pt x="3304" y="2992"/>
                  </a:lnTo>
                  <a:lnTo>
                    <a:pt x="3308" y="2994"/>
                  </a:lnTo>
                  <a:lnTo>
                    <a:pt x="3312" y="2992"/>
                  </a:lnTo>
                  <a:lnTo>
                    <a:pt x="3314" y="2992"/>
                  </a:lnTo>
                  <a:lnTo>
                    <a:pt x="3316" y="2998"/>
                  </a:lnTo>
                  <a:lnTo>
                    <a:pt x="3318" y="3014"/>
                  </a:lnTo>
                  <a:lnTo>
                    <a:pt x="3318" y="3020"/>
                  </a:lnTo>
                  <a:lnTo>
                    <a:pt x="3320" y="3022"/>
                  </a:lnTo>
                  <a:lnTo>
                    <a:pt x="3324" y="3026"/>
                  </a:lnTo>
                  <a:lnTo>
                    <a:pt x="3324" y="3028"/>
                  </a:lnTo>
                  <a:lnTo>
                    <a:pt x="3322" y="3030"/>
                  </a:lnTo>
                  <a:lnTo>
                    <a:pt x="3324" y="3034"/>
                  </a:lnTo>
                  <a:lnTo>
                    <a:pt x="3326" y="3038"/>
                  </a:lnTo>
                  <a:lnTo>
                    <a:pt x="3324" y="3042"/>
                  </a:lnTo>
                  <a:lnTo>
                    <a:pt x="3320" y="3046"/>
                  </a:lnTo>
                  <a:lnTo>
                    <a:pt x="3316" y="3054"/>
                  </a:lnTo>
                  <a:lnTo>
                    <a:pt x="3308" y="3070"/>
                  </a:lnTo>
                  <a:lnTo>
                    <a:pt x="3308" y="3076"/>
                  </a:lnTo>
                  <a:lnTo>
                    <a:pt x="3308" y="3078"/>
                  </a:lnTo>
                  <a:lnTo>
                    <a:pt x="3310" y="3082"/>
                  </a:lnTo>
                  <a:lnTo>
                    <a:pt x="3310" y="3084"/>
                  </a:lnTo>
                  <a:lnTo>
                    <a:pt x="3312" y="3088"/>
                  </a:lnTo>
                  <a:lnTo>
                    <a:pt x="3312" y="3092"/>
                  </a:lnTo>
                  <a:lnTo>
                    <a:pt x="3314" y="3096"/>
                  </a:lnTo>
                  <a:lnTo>
                    <a:pt x="3312" y="3096"/>
                  </a:lnTo>
                  <a:lnTo>
                    <a:pt x="3308" y="3096"/>
                  </a:lnTo>
                  <a:lnTo>
                    <a:pt x="3308" y="3100"/>
                  </a:lnTo>
                  <a:lnTo>
                    <a:pt x="3310" y="3104"/>
                  </a:lnTo>
                  <a:lnTo>
                    <a:pt x="3312" y="3104"/>
                  </a:lnTo>
                  <a:lnTo>
                    <a:pt x="3316" y="3104"/>
                  </a:lnTo>
                  <a:lnTo>
                    <a:pt x="3316" y="3110"/>
                  </a:lnTo>
                  <a:lnTo>
                    <a:pt x="3316" y="3116"/>
                  </a:lnTo>
                  <a:lnTo>
                    <a:pt x="3318" y="3118"/>
                  </a:lnTo>
                  <a:lnTo>
                    <a:pt x="3322" y="3116"/>
                  </a:lnTo>
                  <a:lnTo>
                    <a:pt x="3326" y="3110"/>
                  </a:lnTo>
                  <a:lnTo>
                    <a:pt x="3330" y="3104"/>
                  </a:lnTo>
                  <a:lnTo>
                    <a:pt x="3330" y="3106"/>
                  </a:lnTo>
                  <a:lnTo>
                    <a:pt x="3330" y="3110"/>
                  </a:lnTo>
                  <a:lnTo>
                    <a:pt x="3330" y="3112"/>
                  </a:lnTo>
                  <a:lnTo>
                    <a:pt x="3334" y="3110"/>
                  </a:lnTo>
                  <a:lnTo>
                    <a:pt x="3334" y="3108"/>
                  </a:lnTo>
                  <a:lnTo>
                    <a:pt x="3338" y="3102"/>
                  </a:lnTo>
                  <a:lnTo>
                    <a:pt x="3342" y="3098"/>
                  </a:lnTo>
                  <a:lnTo>
                    <a:pt x="3346" y="3094"/>
                  </a:lnTo>
                  <a:lnTo>
                    <a:pt x="3348" y="3094"/>
                  </a:lnTo>
                  <a:lnTo>
                    <a:pt x="3348" y="3096"/>
                  </a:lnTo>
                  <a:lnTo>
                    <a:pt x="3346" y="3100"/>
                  </a:lnTo>
                  <a:lnTo>
                    <a:pt x="3344" y="3106"/>
                  </a:lnTo>
                  <a:lnTo>
                    <a:pt x="3346" y="3108"/>
                  </a:lnTo>
                  <a:lnTo>
                    <a:pt x="3350" y="3110"/>
                  </a:lnTo>
                  <a:lnTo>
                    <a:pt x="3354" y="3108"/>
                  </a:lnTo>
                  <a:lnTo>
                    <a:pt x="3356" y="3106"/>
                  </a:lnTo>
                  <a:lnTo>
                    <a:pt x="3356" y="3104"/>
                  </a:lnTo>
                  <a:lnTo>
                    <a:pt x="3354" y="3096"/>
                  </a:lnTo>
                  <a:lnTo>
                    <a:pt x="3354" y="3094"/>
                  </a:lnTo>
                  <a:lnTo>
                    <a:pt x="3356" y="3092"/>
                  </a:lnTo>
                  <a:lnTo>
                    <a:pt x="3358" y="3092"/>
                  </a:lnTo>
                  <a:lnTo>
                    <a:pt x="3358" y="3094"/>
                  </a:lnTo>
                  <a:lnTo>
                    <a:pt x="3360" y="3102"/>
                  </a:lnTo>
                  <a:lnTo>
                    <a:pt x="3362" y="3100"/>
                  </a:lnTo>
                  <a:lnTo>
                    <a:pt x="3366" y="3096"/>
                  </a:lnTo>
                  <a:lnTo>
                    <a:pt x="3368" y="3094"/>
                  </a:lnTo>
                  <a:lnTo>
                    <a:pt x="3368" y="3092"/>
                  </a:lnTo>
                  <a:lnTo>
                    <a:pt x="3364" y="3088"/>
                  </a:lnTo>
                  <a:lnTo>
                    <a:pt x="3362" y="3086"/>
                  </a:lnTo>
                  <a:lnTo>
                    <a:pt x="3366" y="3084"/>
                  </a:lnTo>
                  <a:lnTo>
                    <a:pt x="3376" y="3084"/>
                  </a:lnTo>
                  <a:lnTo>
                    <a:pt x="3384" y="3086"/>
                  </a:lnTo>
                  <a:lnTo>
                    <a:pt x="3390" y="3090"/>
                  </a:lnTo>
                  <a:lnTo>
                    <a:pt x="3394" y="3090"/>
                  </a:lnTo>
                  <a:lnTo>
                    <a:pt x="3396" y="3088"/>
                  </a:lnTo>
                  <a:lnTo>
                    <a:pt x="3396" y="3084"/>
                  </a:lnTo>
                  <a:lnTo>
                    <a:pt x="3396" y="3082"/>
                  </a:lnTo>
                  <a:lnTo>
                    <a:pt x="3400" y="3078"/>
                  </a:lnTo>
                  <a:lnTo>
                    <a:pt x="3406" y="3076"/>
                  </a:lnTo>
                  <a:lnTo>
                    <a:pt x="3412" y="3078"/>
                  </a:lnTo>
                  <a:lnTo>
                    <a:pt x="3418" y="3078"/>
                  </a:lnTo>
                  <a:lnTo>
                    <a:pt x="3422" y="3076"/>
                  </a:lnTo>
                  <a:lnTo>
                    <a:pt x="3428" y="3070"/>
                  </a:lnTo>
                  <a:lnTo>
                    <a:pt x="3434" y="3058"/>
                  </a:lnTo>
                  <a:lnTo>
                    <a:pt x="3438" y="3044"/>
                  </a:lnTo>
                  <a:lnTo>
                    <a:pt x="3440" y="3032"/>
                  </a:lnTo>
                  <a:lnTo>
                    <a:pt x="3440" y="3026"/>
                  </a:lnTo>
                  <a:lnTo>
                    <a:pt x="3436" y="3026"/>
                  </a:lnTo>
                  <a:lnTo>
                    <a:pt x="3434" y="3026"/>
                  </a:lnTo>
                  <a:lnTo>
                    <a:pt x="3432" y="3018"/>
                  </a:lnTo>
                  <a:lnTo>
                    <a:pt x="3434" y="3008"/>
                  </a:lnTo>
                  <a:lnTo>
                    <a:pt x="3436" y="3002"/>
                  </a:lnTo>
                  <a:lnTo>
                    <a:pt x="3436" y="2994"/>
                  </a:lnTo>
                  <a:lnTo>
                    <a:pt x="3436" y="2980"/>
                  </a:lnTo>
                  <a:lnTo>
                    <a:pt x="3432" y="2964"/>
                  </a:lnTo>
                  <a:lnTo>
                    <a:pt x="3426" y="2948"/>
                  </a:lnTo>
                  <a:lnTo>
                    <a:pt x="3418" y="2934"/>
                  </a:lnTo>
                  <a:lnTo>
                    <a:pt x="3410" y="2922"/>
                  </a:lnTo>
                  <a:lnTo>
                    <a:pt x="3402" y="2910"/>
                  </a:lnTo>
                  <a:lnTo>
                    <a:pt x="3398" y="2902"/>
                  </a:lnTo>
                  <a:lnTo>
                    <a:pt x="3392" y="2886"/>
                  </a:lnTo>
                  <a:lnTo>
                    <a:pt x="3388" y="2882"/>
                  </a:lnTo>
                  <a:lnTo>
                    <a:pt x="3386" y="2880"/>
                  </a:lnTo>
                  <a:lnTo>
                    <a:pt x="3380" y="2876"/>
                  </a:lnTo>
                  <a:lnTo>
                    <a:pt x="3374" y="2866"/>
                  </a:lnTo>
                  <a:lnTo>
                    <a:pt x="3370" y="2862"/>
                  </a:lnTo>
                  <a:lnTo>
                    <a:pt x="3366" y="2858"/>
                  </a:lnTo>
                  <a:lnTo>
                    <a:pt x="3360" y="2856"/>
                  </a:lnTo>
                  <a:lnTo>
                    <a:pt x="3354" y="2856"/>
                  </a:lnTo>
                  <a:lnTo>
                    <a:pt x="3352" y="2852"/>
                  </a:lnTo>
                  <a:lnTo>
                    <a:pt x="3352" y="2850"/>
                  </a:lnTo>
                  <a:lnTo>
                    <a:pt x="3354" y="2848"/>
                  </a:lnTo>
                  <a:lnTo>
                    <a:pt x="3356" y="2848"/>
                  </a:lnTo>
                  <a:lnTo>
                    <a:pt x="3358" y="2848"/>
                  </a:lnTo>
                  <a:lnTo>
                    <a:pt x="3360" y="2848"/>
                  </a:lnTo>
                  <a:lnTo>
                    <a:pt x="3360" y="2838"/>
                  </a:lnTo>
                  <a:lnTo>
                    <a:pt x="3358" y="2830"/>
                  </a:lnTo>
                  <a:lnTo>
                    <a:pt x="3358" y="2826"/>
                  </a:lnTo>
                  <a:lnTo>
                    <a:pt x="3360" y="2822"/>
                  </a:lnTo>
                  <a:lnTo>
                    <a:pt x="3362" y="2822"/>
                  </a:lnTo>
                  <a:lnTo>
                    <a:pt x="3368" y="2820"/>
                  </a:lnTo>
                  <a:lnTo>
                    <a:pt x="3372" y="2818"/>
                  </a:lnTo>
                  <a:lnTo>
                    <a:pt x="3374" y="2814"/>
                  </a:lnTo>
                  <a:lnTo>
                    <a:pt x="3376" y="2810"/>
                  </a:lnTo>
                  <a:lnTo>
                    <a:pt x="3378" y="2808"/>
                  </a:lnTo>
                  <a:lnTo>
                    <a:pt x="3384" y="2810"/>
                  </a:lnTo>
                  <a:lnTo>
                    <a:pt x="3386" y="2810"/>
                  </a:lnTo>
                  <a:lnTo>
                    <a:pt x="3390" y="2810"/>
                  </a:lnTo>
                  <a:lnTo>
                    <a:pt x="3396" y="2806"/>
                  </a:lnTo>
                  <a:lnTo>
                    <a:pt x="3402" y="2800"/>
                  </a:lnTo>
                  <a:lnTo>
                    <a:pt x="3426" y="2776"/>
                  </a:lnTo>
                  <a:lnTo>
                    <a:pt x="3434" y="2768"/>
                  </a:lnTo>
                  <a:lnTo>
                    <a:pt x="3442" y="2766"/>
                  </a:lnTo>
                  <a:lnTo>
                    <a:pt x="3444" y="2764"/>
                  </a:lnTo>
                  <a:lnTo>
                    <a:pt x="3446" y="2762"/>
                  </a:lnTo>
                  <a:lnTo>
                    <a:pt x="3448" y="2754"/>
                  </a:lnTo>
                  <a:lnTo>
                    <a:pt x="3448" y="2746"/>
                  </a:lnTo>
                  <a:lnTo>
                    <a:pt x="3448" y="2738"/>
                  </a:lnTo>
                  <a:lnTo>
                    <a:pt x="3448" y="2734"/>
                  </a:lnTo>
                  <a:lnTo>
                    <a:pt x="3448" y="2732"/>
                  </a:lnTo>
                  <a:lnTo>
                    <a:pt x="3446" y="2730"/>
                  </a:lnTo>
                  <a:lnTo>
                    <a:pt x="3444" y="2728"/>
                  </a:lnTo>
                  <a:lnTo>
                    <a:pt x="3444" y="2724"/>
                  </a:lnTo>
                  <a:lnTo>
                    <a:pt x="3450" y="2714"/>
                  </a:lnTo>
                  <a:lnTo>
                    <a:pt x="3464" y="2694"/>
                  </a:lnTo>
                  <a:lnTo>
                    <a:pt x="3474" y="2684"/>
                  </a:lnTo>
                  <a:lnTo>
                    <a:pt x="3478" y="2682"/>
                  </a:lnTo>
                  <a:lnTo>
                    <a:pt x="3480" y="2684"/>
                  </a:lnTo>
                  <a:lnTo>
                    <a:pt x="3482" y="2684"/>
                  </a:lnTo>
                  <a:lnTo>
                    <a:pt x="3488" y="2682"/>
                  </a:lnTo>
                  <a:lnTo>
                    <a:pt x="3492" y="2678"/>
                  </a:lnTo>
                  <a:lnTo>
                    <a:pt x="3492" y="2674"/>
                  </a:lnTo>
                  <a:lnTo>
                    <a:pt x="3492" y="2666"/>
                  </a:lnTo>
                  <a:lnTo>
                    <a:pt x="3492" y="2664"/>
                  </a:lnTo>
                  <a:lnTo>
                    <a:pt x="3498" y="2664"/>
                  </a:lnTo>
                  <a:lnTo>
                    <a:pt x="3506" y="2666"/>
                  </a:lnTo>
                  <a:lnTo>
                    <a:pt x="3510" y="2664"/>
                  </a:lnTo>
                  <a:lnTo>
                    <a:pt x="3514" y="2658"/>
                  </a:lnTo>
                  <a:lnTo>
                    <a:pt x="3518" y="2650"/>
                  </a:lnTo>
                  <a:lnTo>
                    <a:pt x="3524" y="2640"/>
                  </a:lnTo>
                  <a:lnTo>
                    <a:pt x="3524" y="2632"/>
                  </a:lnTo>
                  <a:lnTo>
                    <a:pt x="3526" y="2628"/>
                  </a:lnTo>
                  <a:lnTo>
                    <a:pt x="3528" y="2626"/>
                  </a:lnTo>
                  <a:lnTo>
                    <a:pt x="3532" y="2626"/>
                  </a:lnTo>
                  <a:lnTo>
                    <a:pt x="3536" y="2626"/>
                  </a:lnTo>
                  <a:lnTo>
                    <a:pt x="3536" y="2628"/>
                  </a:lnTo>
                  <a:lnTo>
                    <a:pt x="3536" y="2634"/>
                  </a:lnTo>
                  <a:lnTo>
                    <a:pt x="3534" y="2638"/>
                  </a:lnTo>
                  <a:lnTo>
                    <a:pt x="3536" y="2638"/>
                  </a:lnTo>
                  <a:lnTo>
                    <a:pt x="3538" y="2638"/>
                  </a:lnTo>
                  <a:lnTo>
                    <a:pt x="3542" y="2636"/>
                  </a:lnTo>
                  <a:lnTo>
                    <a:pt x="3548" y="2632"/>
                  </a:lnTo>
                  <a:lnTo>
                    <a:pt x="3550" y="2632"/>
                  </a:lnTo>
                  <a:lnTo>
                    <a:pt x="3552" y="2634"/>
                  </a:lnTo>
                  <a:lnTo>
                    <a:pt x="3552" y="2638"/>
                  </a:lnTo>
                  <a:lnTo>
                    <a:pt x="3552" y="2646"/>
                  </a:lnTo>
                  <a:lnTo>
                    <a:pt x="3554" y="2648"/>
                  </a:lnTo>
                  <a:lnTo>
                    <a:pt x="3556" y="2650"/>
                  </a:lnTo>
                  <a:lnTo>
                    <a:pt x="3570" y="2654"/>
                  </a:lnTo>
                  <a:lnTo>
                    <a:pt x="3580" y="2660"/>
                  </a:lnTo>
                  <a:lnTo>
                    <a:pt x="3584" y="2660"/>
                  </a:lnTo>
                  <a:lnTo>
                    <a:pt x="3590" y="2658"/>
                  </a:lnTo>
                  <a:lnTo>
                    <a:pt x="3598" y="2656"/>
                  </a:lnTo>
                  <a:lnTo>
                    <a:pt x="3608" y="2652"/>
                  </a:lnTo>
                  <a:lnTo>
                    <a:pt x="3616" y="2650"/>
                  </a:lnTo>
                  <a:lnTo>
                    <a:pt x="3622" y="2644"/>
                  </a:lnTo>
                  <a:lnTo>
                    <a:pt x="3632" y="2638"/>
                  </a:lnTo>
                  <a:lnTo>
                    <a:pt x="3648" y="2628"/>
                  </a:lnTo>
                  <a:lnTo>
                    <a:pt x="3658" y="2620"/>
                  </a:lnTo>
                  <a:lnTo>
                    <a:pt x="3666" y="2610"/>
                  </a:lnTo>
                  <a:lnTo>
                    <a:pt x="3686" y="2584"/>
                  </a:lnTo>
                  <a:lnTo>
                    <a:pt x="3712" y="2550"/>
                  </a:lnTo>
                  <a:lnTo>
                    <a:pt x="3728" y="2530"/>
                  </a:lnTo>
                  <a:lnTo>
                    <a:pt x="3748" y="2508"/>
                  </a:lnTo>
                  <a:lnTo>
                    <a:pt x="3768" y="2488"/>
                  </a:lnTo>
                  <a:lnTo>
                    <a:pt x="3780" y="2468"/>
                  </a:lnTo>
                  <a:lnTo>
                    <a:pt x="3790" y="2454"/>
                  </a:lnTo>
                  <a:lnTo>
                    <a:pt x="3796" y="2440"/>
                  </a:lnTo>
                  <a:lnTo>
                    <a:pt x="3804" y="2418"/>
                  </a:lnTo>
                  <a:lnTo>
                    <a:pt x="3808" y="2408"/>
                  </a:lnTo>
                  <a:lnTo>
                    <a:pt x="3816" y="2400"/>
                  </a:lnTo>
                  <a:lnTo>
                    <a:pt x="3824" y="2394"/>
                  </a:lnTo>
                  <a:lnTo>
                    <a:pt x="3828" y="2388"/>
                  </a:lnTo>
                  <a:lnTo>
                    <a:pt x="3832" y="2378"/>
                  </a:lnTo>
                  <a:lnTo>
                    <a:pt x="3834" y="2372"/>
                  </a:lnTo>
                  <a:lnTo>
                    <a:pt x="3838" y="2366"/>
                  </a:lnTo>
                  <a:lnTo>
                    <a:pt x="3844" y="2358"/>
                  </a:lnTo>
                  <a:lnTo>
                    <a:pt x="3854" y="2346"/>
                  </a:lnTo>
                  <a:lnTo>
                    <a:pt x="3860" y="2340"/>
                  </a:lnTo>
                  <a:lnTo>
                    <a:pt x="3866" y="2334"/>
                  </a:lnTo>
                  <a:lnTo>
                    <a:pt x="3874" y="2316"/>
                  </a:lnTo>
                  <a:lnTo>
                    <a:pt x="3880" y="2296"/>
                  </a:lnTo>
                  <a:lnTo>
                    <a:pt x="3882" y="2276"/>
                  </a:lnTo>
                  <a:lnTo>
                    <a:pt x="3884" y="2256"/>
                  </a:lnTo>
                  <a:lnTo>
                    <a:pt x="3884" y="2238"/>
                  </a:lnTo>
                  <a:lnTo>
                    <a:pt x="3882" y="2224"/>
                  </a:lnTo>
                  <a:lnTo>
                    <a:pt x="3880" y="2212"/>
                  </a:lnTo>
                  <a:lnTo>
                    <a:pt x="3878" y="2204"/>
                  </a:lnTo>
                  <a:lnTo>
                    <a:pt x="3878" y="2198"/>
                  </a:lnTo>
                  <a:lnTo>
                    <a:pt x="3880" y="2192"/>
                  </a:lnTo>
                  <a:lnTo>
                    <a:pt x="3882" y="2188"/>
                  </a:lnTo>
                  <a:lnTo>
                    <a:pt x="3888" y="2178"/>
                  </a:lnTo>
                  <a:lnTo>
                    <a:pt x="3892" y="2170"/>
                  </a:lnTo>
                  <a:lnTo>
                    <a:pt x="3896" y="2160"/>
                  </a:lnTo>
                  <a:lnTo>
                    <a:pt x="3898" y="2150"/>
                  </a:lnTo>
                  <a:lnTo>
                    <a:pt x="3904" y="2142"/>
                  </a:lnTo>
                  <a:lnTo>
                    <a:pt x="3914" y="2128"/>
                  </a:lnTo>
                  <a:lnTo>
                    <a:pt x="3920" y="2122"/>
                  </a:lnTo>
                  <a:lnTo>
                    <a:pt x="3922" y="2116"/>
                  </a:lnTo>
                  <a:lnTo>
                    <a:pt x="3920" y="2110"/>
                  </a:lnTo>
                  <a:lnTo>
                    <a:pt x="3916" y="2104"/>
                  </a:lnTo>
                  <a:lnTo>
                    <a:pt x="3910" y="2098"/>
                  </a:lnTo>
                  <a:lnTo>
                    <a:pt x="3908" y="2094"/>
                  </a:lnTo>
                  <a:lnTo>
                    <a:pt x="3908" y="2090"/>
                  </a:lnTo>
                  <a:lnTo>
                    <a:pt x="3910" y="2086"/>
                  </a:lnTo>
                  <a:lnTo>
                    <a:pt x="3910" y="2078"/>
                  </a:lnTo>
                  <a:lnTo>
                    <a:pt x="3910" y="2072"/>
                  </a:lnTo>
                  <a:lnTo>
                    <a:pt x="3906" y="2066"/>
                  </a:lnTo>
                  <a:lnTo>
                    <a:pt x="3904" y="2062"/>
                  </a:lnTo>
                  <a:lnTo>
                    <a:pt x="3906" y="2058"/>
                  </a:lnTo>
                  <a:lnTo>
                    <a:pt x="3914" y="2052"/>
                  </a:lnTo>
                  <a:lnTo>
                    <a:pt x="3918" y="2050"/>
                  </a:lnTo>
                  <a:lnTo>
                    <a:pt x="3920" y="2046"/>
                  </a:lnTo>
                  <a:lnTo>
                    <a:pt x="3918" y="2042"/>
                  </a:lnTo>
                  <a:lnTo>
                    <a:pt x="3910" y="2034"/>
                  </a:lnTo>
                  <a:lnTo>
                    <a:pt x="3892" y="2020"/>
                  </a:lnTo>
                  <a:lnTo>
                    <a:pt x="3880" y="2010"/>
                  </a:lnTo>
                  <a:lnTo>
                    <a:pt x="3864" y="1990"/>
                  </a:lnTo>
                  <a:lnTo>
                    <a:pt x="3858" y="1986"/>
                  </a:lnTo>
                  <a:lnTo>
                    <a:pt x="3854" y="1984"/>
                  </a:lnTo>
                  <a:lnTo>
                    <a:pt x="3842" y="1984"/>
                  </a:lnTo>
                  <a:lnTo>
                    <a:pt x="3832" y="1986"/>
                  </a:lnTo>
                  <a:lnTo>
                    <a:pt x="3826" y="1986"/>
                  </a:lnTo>
                  <a:lnTo>
                    <a:pt x="3820" y="1984"/>
                  </a:lnTo>
                  <a:lnTo>
                    <a:pt x="3814" y="1982"/>
                  </a:lnTo>
                  <a:lnTo>
                    <a:pt x="3812" y="1984"/>
                  </a:lnTo>
                  <a:lnTo>
                    <a:pt x="3808" y="1996"/>
                  </a:lnTo>
                  <a:lnTo>
                    <a:pt x="3804" y="2004"/>
                  </a:lnTo>
                  <a:lnTo>
                    <a:pt x="3800" y="2012"/>
                  </a:lnTo>
                  <a:lnTo>
                    <a:pt x="3792" y="2018"/>
                  </a:lnTo>
                  <a:lnTo>
                    <a:pt x="3780" y="2024"/>
                  </a:lnTo>
                  <a:lnTo>
                    <a:pt x="3772" y="2026"/>
                  </a:lnTo>
                  <a:lnTo>
                    <a:pt x="3766" y="2026"/>
                  </a:lnTo>
                  <a:lnTo>
                    <a:pt x="3764" y="2024"/>
                  </a:lnTo>
                  <a:lnTo>
                    <a:pt x="3762" y="2022"/>
                  </a:lnTo>
                  <a:lnTo>
                    <a:pt x="3760" y="2018"/>
                  </a:lnTo>
                  <a:lnTo>
                    <a:pt x="3762" y="2014"/>
                  </a:lnTo>
                  <a:lnTo>
                    <a:pt x="3764" y="2002"/>
                  </a:lnTo>
                  <a:lnTo>
                    <a:pt x="3768" y="1992"/>
                  </a:lnTo>
                  <a:lnTo>
                    <a:pt x="3772" y="1984"/>
                  </a:lnTo>
                  <a:lnTo>
                    <a:pt x="3770" y="1982"/>
                  </a:lnTo>
                  <a:lnTo>
                    <a:pt x="3768" y="1980"/>
                  </a:lnTo>
                  <a:lnTo>
                    <a:pt x="3766" y="1980"/>
                  </a:lnTo>
                  <a:lnTo>
                    <a:pt x="3760" y="1982"/>
                  </a:lnTo>
                  <a:lnTo>
                    <a:pt x="3750" y="1986"/>
                  </a:lnTo>
                  <a:lnTo>
                    <a:pt x="3746" y="1992"/>
                  </a:lnTo>
                  <a:lnTo>
                    <a:pt x="3746" y="1996"/>
                  </a:lnTo>
                  <a:lnTo>
                    <a:pt x="3748" y="2000"/>
                  </a:lnTo>
                  <a:lnTo>
                    <a:pt x="3750" y="2002"/>
                  </a:lnTo>
                  <a:lnTo>
                    <a:pt x="3750" y="2004"/>
                  </a:lnTo>
                  <a:lnTo>
                    <a:pt x="3746" y="2008"/>
                  </a:lnTo>
                  <a:lnTo>
                    <a:pt x="3738" y="2008"/>
                  </a:lnTo>
                  <a:lnTo>
                    <a:pt x="3732" y="2008"/>
                  </a:lnTo>
                  <a:lnTo>
                    <a:pt x="3730" y="2008"/>
                  </a:lnTo>
                  <a:lnTo>
                    <a:pt x="3728" y="2006"/>
                  </a:lnTo>
                  <a:lnTo>
                    <a:pt x="3728" y="2002"/>
                  </a:lnTo>
                  <a:lnTo>
                    <a:pt x="3730" y="1994"/>
                  </a:lnTo>
                  <a:lnTo>
                    <a:pt x="3734" y="1986"/>
                  </a:lnTo>
                  <a:lnTo>
                    <a:pt x="3736" y="1976"/>
                  </a:lnTo>
                  <a:lnTo>
                    <a:pt x="3736" y="1972"/>
                  </a:lnTo>
                  <a:lnTo>
                    <a:pt x="3734" y="1968"/>
                  </a:lnTo>
                  <a:lnTo>
                    <a:pt x="3732" y="1966"/>
                  </a:lnTo>
                  <a:lnTo>
                    <a:pt x="3728" y="1962"/>
                  </a:lnTo>
                  <a:lnTo>
                    <a:pt x="3722" y="1962"/>
                  </a:lnTo>
                  <a:lnTo>
                    <a:pt x="3714" y="1960"/>
                  </a:lnTo>
                  <a:lnTo>
                    <a:pt x="3696" y="1962"/>
                  </a:lnTo>
                  <a:lnTo>
                    <a:pt x="3682" y="1960"/>
                  </a:lnTo>
                  <a:lnTo>
                    <a:pt x="3672" y="1958"/>
                  </a:lnTo>
                  <a:lnTo>
                    <a:pt x="3666" y="1954"/>
                  </a:lnTo>
                  <a:lnTo>
                    <a:pt x="3666" y="1950"/>
                  </a:lnTo>
                  <a:lnTo>
                    <a:pt x="3666" y="1948"/>
                  </a:lnTo>
                  <a:lnTo>
                    <a:pt x="3674" y="1938"/>
                  </a:lnTo>
                  <a:lnTo>
                    <a:pt x="3686" y="1928"/>
                  </a:lnTo>
                  <a:lnTo>
                    <a:pt x="3706" y="1912"/>
                  </a:lnTo>
                  <a:lnTo>
                    <a:pt x="3746" y="1886"/>
                  </a:lnTo>
                  <a:lnTo>
                    <a:pt x="3768" y="1868"/>
                  </a:lnTo>
                  <a:lnTo>
                    <a:pt x="3776" y="1862"/>
                  </a:lnTo>
                  <a:lnTo>
                    <a:pt x="3782" y="1852"/>
                  </a:lnTo>
                  <a:lnTo>
                    <a:pt x="3788" y="1844"/>
                  </a:lnTo>
                  <a:lnTo>
                    <a:pt x="3794" y="1832"/>
                  </a:lnTo>
                  <a:lnTo>
                    <a:pt x="3802" y="1818"/>
                  </a:lnTo>
                  <a:lnTo>
                    <a:pt x="3812" y="1808"/>
                  </a:lnTo>
                  <a:lnTo>
                    <a:pt x="3824" y="1800"/>
                  </a:lnTo>
                  <a:lnTo>
                    <a:pt x="3838" y="1790"/>
                  </a:lnTo>
                  <a:lnTo>
                    <a:pt x="3852" y="1782"/>
                  </a:lnTo>
                  <a:lnTo>
                    <a:pt x="3866" y="1772"/>
                  </a:lnTo>
                  <a:lnTo>
                    <a:pt x="3878" y="1760"/>
                  </a:lnTo>
                  <a:lnTo>
                    <a:pt x="3882" y="1752"/>
                  </a:lnTo>
                  <a:lnTo>
                    <a:pt x="3886" y="1746"/>
                  </a:lnTo>
                  <a:lnTo>
                    <a:pt x="3894" y="1728"/>
                  </a:lnTo>
                  <a:lnTo>
                    <a:pt x="3908" y="1712"/>
                  </a:lnTo>
                  <a:lnTo>
                    <a:pt x="3926" y="1696"/>
                  </a:lnTo>
                  <a:lnTo>
                    <a:pt x="3944" y="1682"/>
                  </a:lnTo>
                  <a:lnTo>
                    <a:pt x="3966" y="1672"/>
                  </a:lnTo>
                  <a:lnTo>
                    <a:pt x="3986" y="1664"/>
                  </a:lnTo>
                  <a:lnTo>
                    <a:pt x="4006" y="1660"/>
                  </a:lnTo>
                  <a:lnTo>
                    <a:pt x="4014" y="1660"/>
                  </a:lnTo>
                  <a:lnTo>
                    <a:pt x="4022" y="1662"/>
                  </a:lnTo>
                  <a:lnTo>
                    <a:pt x="4036" y="1664"/>
                  </a:lnTo>
                  <a:lnTo>
                    <a:pt x="4048" y="1666"/>
                  </a:lnTo>
                  <a:lnTo>
                    <a:pt x="4068" y="1664"/>
                  </a:lnTo>
                  <a:lnTo>
                    <a:pt x="4082" y="1664"/>
                  </a:lnTo>
                  <a:lnTo>
                    <a:pt x="4090" y="1666"/>
                  </a:lnTo>
                  <a:lnTo>
                    <a:pt x="4098" y="1670"/>
                  </a:lnTo>
                  <a:lnTo>
                    <a:pt x="4104" y="1672"/>
                  </a:lnTo>
                  <a:lnTo>
                    <a:pt x="4108" y="1672"/>
                  </a:lnTo>
                  <a:lnTo>
                    <a:pt x="4110" y="1670"/>
                  </a:lnTo>
                  <a:lnTo>
                    <a:pt x="4112" y="1666"/>
                  </a:lnTo>
                  <a:lnTo>
                    <a:pt x="4116" y="1662"/>
                  </a:lnTo>
                  <a:lnTo>
                    <a:pt x="4124" y="1660"/>
                  </a:lnTo>
                  <a:lnTo>
                    <a:pt x="4136" y="1658"/>
                  </a:lnTo>
                  <a:lnTo>
                    <a:pt x="4154" y="1660"/>
                  </a:lnTo>
                  <a:lnTo>
                    <a:pt x="4188" y="1668"/>
                  </a:lnTo>
                  <a:lnTo>
                    <a:pt x="4200" y="1670"/>
                  </a:lnTo>
                  <a:lnTo>
                    <a:pt x="4208" y="1670"/>
                  </a:lnTo>
                  <a:lnTo>
                    <a:pt x="4214" y="1670"/>
                  </a:lnTo>
                  <a:lnTo>
                    <a:pt x="4220" y="1666"/>
                  </a:lnTo>
                  <a:lnTo>
                    <a:pt x="4224" y="1658"/>
                  </a:lnTo>
                  <a:lnTo>
                    <a:pt x="4228" y="1648"/>
                  </a:lnTo>
                  <a:lnTo>
                    <a:pt x="4230" y="1646"/>
                  </a:lnTo>
                  <a:lnTo>
                    <a:pt x="4236" y="1644"/>
                  </a:lnTo>
                  <a:lnTo>
                    <a:pt x="4250" y="1642"/>
                  </a:lnTo>
                  <a:lnTo>
                    <a:pt x="4272" y="1642"/>
                  </a:lnTo>
                  <a:lnTo>
                    <a:pt x="4294" y="1644"/>
                  </a:lnTo>
                  <a:lnTo>
                    <a:pt x="4314" y="1648"/>
                  </a:lnTo>
                  <a:lnTo>
                    <a:pt x="4322" y="1652"/>
                  </a:lnTo>
                  <a:lnTo>
                    <a:pt x="4328" y="1656"/>
                  </a:lnTo>
                  <a:lnTo>
                    <a:pt x="4330" y="1660"/>
                  </a:lnTo>
                  <a:lnTo>
                    <a:pt x="4330" y="1664"/>
                  </a:lnTo>
                  <a:lnTo>
                    <a:pt x="4328" y="1670"/>
                  </a:lnTo>
                  <a:lnTo>
                    <a:pt x="4320" y="1676"/>
                  </a:lnTo>
                  <a:lnTo>
                    <a:pt x="4314" y="1682"/>
                  </a:lnTo>
                  <a:lnTo>
                    <a:pt x="4312" y="1686"/>
                  </a:lnTo>
                  <a:lnTo>
                    <a:pt x="4312" y="1688"/>
                  </a:lnTo>
                  <a:lnTo>
                    <a:pt x="4314" y="1690"/>
                  </a:lnTo>
                  <a:lnTo>
                    <a:pt x="4324" y="1692"/>
                  </a:lnTo>
                  <a:lnTo>
                    <a:pt x="4340" y="1690"/>
                  </a:lnTo>
                  <a:lnTo>
                    <a:pt x="4358" y="1688"/>
                  </a:lnTo>
                  <a:lnTo>
                    <a:pt x="4374" y="1684"/>
                  </a:lnTo>
                  <a:lnTo>
                    <a:pt x="4386" y="1680"/>
                  </a:lnTo>
                  <a:lnTo>
                    <a:pt x="4394" y="1676"/>
                  </a:lnTo>
                  <a:lnTo>
                    <a:pt x="4398" y="1670"/>
                  </a:lnTo>
                  <a:lnTo>
                    <a:pt x="4404" y="1670"/>
                  </a:lnTo>
                  <a:lnTo>
                    <a:pt x="4410" y="1674"/>
                  </a:lnTo>
                  <a:lnTo>
                    <a:pt x="4418" y="1678"/>
                  </a:lnTo>
                  <a:lnTo>
                    <a:pt x="4426" y="1682"/>
                  </a:lnTo>
                  <a:lnTo>
                    <a:pt x="4436" y="1684"/>
                  </a:lnTo>
                  <a:lnTo>
                    <a:pt x="4448" y="1682"/>
                  </a:lnTo>
                  <a:lnTo>
                    <a:pt x="4454" y="1680"/>
                  </a:lnTo>
                  <a:lnTo>
                    <a:pt x="4462" y="1676"/>
                  </a:lnTo>
                  <a:lnTo>
                    <a:pt x="4466" y="1672"/>
                  </a:lnTo>
                  <a:lnTo>
                    <a:pt x="4468" y="1668"/>
                  </a:lnTo>
                  <a:lnTo>
                    <a:pt x="4468" y="1664"/>
                  </a:lnTo>
                  <a:lnTo>
                    <a:pt x="4466" y="1660"/>
                  </a:lnTo>
                  <a:lnTo>
                    <a:pt x="4458" y="1652"/>
                  </a:lnTo>
                  <a:lnTo>
                    <a:pt x="4448" y="1646"/>
                  </a:lnTo>
                  <a:lnTo>
                    <a:pt x="4442" y="1642"/>
                  </a:lnTo>
                  <a:lnTo>
                    <a:pt x="4440" y="1636"/>
                  </a:lnTo>
                  <a:lnTo>
                    <a:pt x="4438" y="1632"/>
                  </a:lnTo>
                  <a:lnTo>
                    <a:pt x="4438" y="1626"/>
                  </a:lnTo>
                  <a:lnTo>
                    <a:pt x="4440" y="1618"/>
                  </a:lnTo>
                  <a:lnTo>
                    <a:pt x="4446" y="1612"/>
                  </a:lnTo>
                  <a:lnTo>
                    <a:pt x="4456" y="1602"/>
                  </a:lnTo>
                  <a:lnTo>
                    <a:pt x="4468" y="1592"/>
                  </a:lnTo>
                  <a:lnTo>
                    <a:pt x="4496" y="1572"/>
                  </a:lnTo>
                  <a:lnTo>
                    <a:pt x="4514" y="1556"/>
                  </a:lnTo>
                  <a:lnTo>
                    <a:pt x="4536" y="1530"/>
                  </a:lnTo>
                  <a:lnTo>
                    <a:pt x="4546" y="1522"/>
                  </a:lnTo>
                  <a:lnTo>
                    <a:pt x="4562" y="1514"/>
                  </a:lnTo>
                  <a:lnTo>
                    <a:pt x="4584" y="1508"/>
                  </a:lnTo>
                  <a:lnTo>
                    <a:pt x="4616" y="1502"/>
                  </a:lnTo>
                  <a:lnTo>
                    <a:pt x="4630" y="1502"/>
                  </a:lnTo>
                  <a:lnTo>
                    <a:pt x="4642" y="1504"/>
                  </a:lnTo>
                  <a:lnTo>
                    <a:pt x="4650" y="1508"/>
                  </a:lnTo>
                  <a:lnTo>
                    <a:pt x="4656" y="1514"/>
                  </a:lnTo>
                  <a:lnTo>
                    <a:pt x="4660" y="1520"/>
                  </a:lnTo>
                  <a:lnTo>
                    <a:pt x="4664" y="1528"/>
                  </a:lnTo>
                  <a:lnTo>
                    <a:pt x="4664" y="1546"/>
                  </a:lnTo>
                  <a:lnTo>
                    <a:pt x="4666" y="1562"/>
                  </a:lnTo>
                  <a:lnTo>
                    <a:pt x="4666" y="1568"/>
                  </a:lnTo>
                  <a:lnTo>
                    <a:pt x="4668" y="1574"/>
                  </a:lnTo>
                  <a:lnTo>
                    <a:pt x="4672" y="1578"/>
                  </a:lnTo>
                  <a:lnTo>
                    <a:pt x="4676" y="1580"/>
                  </a:lnTo>
                  <a:lnTo>
                    <a:pt x="4684" y="1578"/>
                  </a:lnTo>
                  <a:lnTo>
                    <a:pt x="4694" y="1574"/>
                  </a:lnTo>
                  <a:lnTo>
                    <a:pt x="4714" y="1562"/>
                  </a:lnTo>
                  <a:lnTo>
                    <a:pt x="4728" y="1550"/>
                  </a:lnTo>
                  <a:lnTo>
                    <a:pt x="4738" y="1540"/>
                  </a:lnTo>
                  <a:lnTo>
                    <a:pt x="4746" y="1530"/>
                  </a:lnTo>
                  <a:lnTo>
                    <a:pt x="4752" y="1524"/>
                  </a:lnTo>
                  <a:lnTo>
                    <a:pt x="4758" y="1520"/>
                  </a:lnTo>
                  <a:lnTo>
                    <a:pt x="4766" y="1518"/>
                  </a:lnTo>
                  <a:lnTo>
                    <a:pt x="4778" y="1520"/>
                  </a:lnTo>
                  <a:lnTo>
                    <a:pt x="4784" y="1522"/>
                  </a:lnTo>
                  <a:lnTo>
                    <a:pt x="4788" y="1520"/>
                  </a:lnTo>
                  <a:lnTo>
                    <a:pt x="4790" y="1518"/>
                  </a:lnTo>
                  <a:lnTo>
                    <a:pt x="4792" y="1514"/>
                  </a:lnTo>
                  <a:lnTo>
                    <a:pt x="4790" y="1502"/>
                  </a:lnTo>
                  <a:lnTo>
                    <a:pt x="4788" y="1486"/>
                  </a:lnTo>
                  <a:lnTo>
                    <a:pt x="4788" y="1472"/>
                  </a:lnTo>
                  <a:lnTo>
                    <a:pt x="4790" y="1464"/>
                  </a:lnTo>
                  <a:lnTo>
                    <a:pt x="4792" y="1458"/>
                  </a:lnTo>
                  <a:lnTo>
                    <a:pt x="4796" y="1452"/>
                  </a:lnTo>
                  <a:lnTo>
                    <a:pt x="4802" y="1448"/>
                  </a:lnTo>
                  <a:lnTo>
                    <a:pt x="4812" y="1446"/>
                  </a:lnTo>
                  <a:lnTo>
                    <a:pt x="4824" y="1446"/>
                  </a:lnTo>
                  <a:lnTo>
                    <a:pt x="4854" y="1446"/>
                  </a:lnTo>
                  <a:lnTo>
                    <a:pt x="4856" y="1448"/>
                  </a:lnTo>
                  <a:lnTo>
                    <a:pt x="4858" y="1448"/>
                  </a:lnTo>
                  <a:lnTo>
                    <a:pt x="4854" y="1452"/>
                  </a:lnTo>
                  <a:lnTo>
                    <a:pt x="4848" y="1460"/>
                  </a:lnTo>
                  <a:lnTo>
                    <a:pt x="4838" y="1472"/>
                  </a:lnTo>
                  <a:lnTo>
                    <a:pt x="4830" y="1490"/>
                  </a:lnTo>
                  <a:lnTo>
                    <a:pt x="4828" y="1500"/>
                  </a:lnTo>
                  <a:lnTo>
                    <a:pt x="4824" y="1512"/>
                  </a:lnTo>
                  <a:lnTo>
                    <a:pt x="4822" y="1526"/>
                  </a:lnTo>
                  <a:lnTo>
                    <a:pt x="4818" y="1536"/>
                  </a:lnTo>
                  <a:lnTo>
                    <a:pt x="4814" y="1544"/>
                  </a:lnTo>
                  <a:lnTo>
                    <a:pt x="4810" y="1552"/>
                  </a:lnTo>
                  <a:lnTo>
                    <a:pt x="4798" y="1564"/>
                  </a:lnTo>
                  <a:lnTo>
                    <a:pt x="4784" y="1572"/>
                  </a:lnTo>
                  <a:lnTo>
                    <a:pt x="4766" y="1582"/>
                  </a:lnTo>
                  <a:lnTo>
                    <a:pt x="4748" y="1594"/>
                  </a:lnTo>
                  <a:lnTo>
                    <a:pt x="4726" y="1612"/>
                  </a:lnTo>
                  <a:lnTo>
                    <a:pt x="4716" y="1622"/>
                  </a:lnTo>
                  <a:lnTo>
                    <a:pt x="4704" y="1636"/>
                  </a:lnTo>
                  <a:lnTo>
                    <a:pt x="4664" y="1686"/>
                  </a:lnTo>
                  <a:lnTo>
                    <a:pt x="4646" y="1706"/>
                  </a:lnTo>
                  <a:lnTo>
                    <a:pt x="4630" y="1722"/>
                  </a:lnTo>
                  <a:lnTo>
                    <a:pt x="4614" y="1734"/>
                  </a:lnTo>
                  <a:lnTo>
                    <a:pt x="4600" y="1744"/>
                  </a:lnTo>
                  <a:lnTo>
                    <a:pt x="4584" y="1752"/>
                  </a:lnTo>
                  <a:lnTo>
                    <a:pt x="4568" y="1756"/>
                  </a:lnTo>
                  <a:lnTo>
                    <a:pt x="4554" y="1760"/>
                  </a:lnTo>
                  <a:lnTo>
                    <a:pt x="4546" y="1764"/>
                  </a:lnTo>
                  <a:lnTo>
                    <a:pt x="4544" y="1770"/>
                  </a:lnTo>
                  <a:lnTo>
                    <a:pt x="4542" y="1776"/>
                  </a:lnTo>
                  <a:lnTo>
                    <a:pt x="4542" y="1784"/>
                  </a:lnTo>
                  <a:lnTo>
                    <a:pt x="4540" y="1792"/>
                  </a:lnTo>
                  <a:lnTo>
                    <a:pt x="4532" y="1802"/>
                  </a:lnTo>
                  <a:lnTo>
                    <a:pt x="4520" y="1812"/>
                  </a:lnTo>
                  <a:lnTo>
                    <a:pt x="4514" y="1820"/>
                  </a:lnTo>
                  <a:lnTo>
                    <a:pt x="4508" y="1828"/>
                  </a:lnTo>
                  <a:lnTo>
                    <a:pt x="4502" y="1840"/>
                  </a:lnTo>
                  <a:lnTo>
                    <a:pt x="4498" y="1854"/>
                  </a:lnTo>
                  <a:lnTo>
                    <a:pt x="4496" y="1868"/>
                  </a:lnTo>
                  <a:lnTo>
                    <a:pt x="4494" y="1886"/>
                  </a:lnTo>
                  <a:lnTo>
                    <a:pt x="4494" y="1922"/>
                  </a:lnTo>
                  <a:lnTo>
                    <a:pt x="4496" y="1962"/>
                  </a:lnTo>
                  <a:lnTo>
                    <a:pt x="4502" y="2006"/>
                  </a:lnTo>
                  <a:lnTo>
                    <a:pt x="4508" y="2050"/>
                  </a:lnTo>
                  <a:lnTo>
                    <a:pt x="4518" y="2092"/>
                  </a:lnTo>
                  <a:lnTo>
                    <a:pt x="4520" y="2110"/>
                  </a:lnTo>
                  <a:lnTo>
                    <a:pt x="4522" y="2132"/>
                  </a:lnTo>
                  <a:lnTo>
                    <a:pt x="4526" y="2152"/>
                  </a:lnTo>
                  <a:lnTo>
                    <a:pt x="4530" y="2168"/>
                  </a:lnTo>
                  <a:lnTo>
                    <a:pt x="4532" y="2172"/>
                  </a:lnTo>
                  <a:lnTo>
                    <a:pt x="4536" y="2176"/>
                  </a:lnTo>
                  <a:lnTo>
                    <a:pt x="4542" y="2178"/>
                  </a:lnTo>
                  <a:lnTo>
                    <a:pt x="4548" y="2176"/>
                  </a:lnTo>
                  <a:lnTo>
                    <a:pt x="4556" y="2172"/>
                  </a:lnTo>
                  <a:lnTo>
                    <a:pt x="4564" y="2164"/>
                  </a:lnTo>
                  <a:lnTo>
                    <a:pt x="4574" y="2152"/>
                  </a:lnTo>
                  <a:lnTo>
                    <a:pt x="4588" y="2136"/>
                  </a:lnTo>
                  <a:lnTo>
                    <a:pt x="4594" y="2124"/>
                  </a:lnTo>
                  <a:lnTo>
                    <a:pt x="4600" y="2114"/>
                  </a:lnTo>
                  <a:lnTo>
                    <a:pt x="4608" y="2094"/>
                  </a:lnTo>
                  <a:lnTo>
                    <a:pt x="4610" y="2080"/>
                  </a:lnTo>
                  <a:lnTo>
                    <a:pt x="4612" y="2068"/>
                  </a:lnTo>
                  <a:lnTo>
                    <a:pt x="4612" y="2060"/>
                  </a:lnTo>
                  <a:lnTo>
                    <a:pt x="4614" y="2056"/>
                  </a:lnTo>
                  <a:lnTo>
                    <a:pt x="4618" y="2054"/>
                  </a:lnTo>
                  <a:lnTo>
                    <a:pt x="4626" y="2050"/>
                  </a:lnTo>
                  <a:lnTo>
                    <a:pt x="4644" y="2050"/>
                  </a:lnTo>
                  <a:lnTo>
                    <a:pt x="4654" y="2048"/>
                  </a:lnTo>
                  <a:lnTo>
                    <a:pt x="4660" y="2046"/>
                  </a:lnTo>
                  <a:lnTo>
                    <a:pt x="4664" y="2042"/>
                  </a:lnTo>
                  <a:lnTo>
                    <a:pt x="4668" y="2038"/>
                  </a:lnTo>
                  <a:lnTo>
                    <a:pt x="4670" y="2024"/>
                  </a:lnTo>
                  <a:lnTo>
                    <a:pt x="4670" y="2010"/>
                  </a:lnTo>
                  <a:lnTo>
                    <a:pt x="4670" y="1996"/>
                  </a:lnTo>
                  <a:lnTo>
                    <a:pt x="4672" y="1988"/>
                  </a:lnTo>
                  <a:lnTo>
                    <a:pt x="4676" y="1982"/>
                  </a:lnTo>
                  <a:lnTo>
                    <a:pt x="4680" y="1976"/>
                  </a:lnTo>
                  <a:lnTo>
                    <a:pt x="4686" y="1972"/>
                  </a:lnTo>
                  <a:lnTo>
                    <a:pt x="4694" y="1968"/>
                  </a:lnTo>
                  <a:lnTo>
                    <a:pt x="4704" y="1968"/>
                  </a:lnTo>
                  <a:lnTo>
                    <a:pt x="4730" y="1964"/>
                  </a:lnTo>
                  <a:lnTo>
                    <a:pt x="4740" y="1960"/>
                  </a:lnTo>
                  <a:lnTo>
                    <a:pt x="4744" y="1956"/>
                  </a:lnTo>
                  <a:lnTo>
                    <a:pt x="4748" y="1952"/>
                  </a:lnTo>
                  <a:lnTo>
                    <a:pt x="4750" y="1948"/>
                  </a:lnTo>
                  <a:lnTo>
                    <a:pt x="4750" y="1944"/>
                  </a:lnTo>
                  <a:lnTo>
                    <a:pt x="4748" y="1938"/>
                  </a:lnTo>
                  <a:lnTo>
                    <a:pt x="4744" y="1926"/>
                  </a:lnTo>
                  <a:lnTo>
                    <a:pt x="4740" y="1912"/>
                  </a:lnTo>
                  <a:lnTo>
                    <a:pt x="4738" y="1904"/>
                  </a:lnTo>
                  <a:lnTo>
                    <a:pt x="4738" y="1896"/>
                  </a:lnTo>
                  <a:lnTo>
                    <a:pt x="4740" y="1888"/>
                  </a:lnTo>
                  <a:lnTo>
                    <a:pt x="4744" y="1880"/>
                  </a:lnTo>
                  <a:lnTo>
                    <a:pt x="4748" y="1874"/>
                  </a:lnTo>
                  <a:lnTo>
                    <a:pt x="4752" y="1870"/>
                  </a:lnTo>
                  <a:lnTo>
                    <a:pt x="4756" y="1866"/>
                  </a:lnTo>
                  <a:lnTo>
                    <a:pt x="4760" y="1866"/>
                  </a:lnTo>
                  <a:lnTo>
                    <a:pt x="4770" y="1866"/>
                  </a:lnTo>
                  <a:lnTo>
                    <a:pt x="4778" y="1870"/>
                  </a:lnTo>
                  <a:lnTo>
                    <a:pt x="4784" y="1874"/>
                  </a:lnTo>
                  <a:lnTo>
                    <a:pt x="4792" y="1874"/>
                  </a:lnTo>
                  <a:lnTo>
                    <a:pt x="4794" y="1874"/>
                  </a:lnTo>
                  <a:lnTo>
                    <a:pt x="4796" y="1872"/>
                  </a:lnTo>
                  <a:lnTo>
                    <a:pt x="4800" y="1862"/>
                  </a:lnTo>
                  <a:lnTo>
                    <a:pt x="4800" y="1854"/>
                  </a:lnTo>
                  <a:lnTo>
                    <a:pt x="4800" y="1846"/>
                  </a:lnTo>
                  <a:lnTo>
                    <a:pt x="4798" y="1840"/>
                  </a:lnTo>
                  <a:lnTo>
                    <a:pt x="4796" y="1836"/>
                  </a:lnTo>
                  <a:lnTo>
                    <a:pt x="4788" y="1828"/>
                  </a:lnTo>
                  <a:lnTo>
                    <a:pt x="4782" y="1822"/>
                  </a:lnTo>
                  <a:lnTo>
                    <a:pt x="4774" y="1816"/>
                  </a:lnTo>
                  <a:lnTo>
                    <a:pt x="4772" y="1814"/>
                  </a:lnTo>
                  <a:lnTo>
                    <a:pt x="4772" y="1810"/>
                  </a:lnTo>
                  <a:lnTo>
                    <a:pt x="4772" y="1806"/>
                  </a:lnTo>
                  <a:lnTo>
                    <a:pt x="4774" y="1802"/>
                  </a:lnTo>
                  <a:lnTo>
                    <a:pt x="4782" y="1790"/>
                  </a:lnTo>
                  <a:lnTo>
                    <a:pt x="4790" y="1780"/>
                  </a:lnTo>
                  <a:lnTo>
                    <a:pt x="4794" y="1772"/>
                  </a:lnTo>
                  <a:lnTo>
                    <a:pt x="4794" y="1766"/>
                  </a:lnTo>
                  <a:lnTo>
                    <a:pt x="4792" y="1760"/>
                  </a:lnTo>
                  <a:lnTo>
                    <a:pt x="4788" y="1756"/>
                  </a:lnTo>
                  <a:lnTo>
                    <a:pt x="4782" y="1752"/>
                  </a:lnTo>
                  <a:lnTo>
                    <a:pt x="4768" y="1748"/>
                  </a:lnTo>
                  <a:lnTo>
                    <a:pt x="4756" y="1744"/>
                  </a:lnTo>
                  <a:lnTo>
                    <a:pt x="4750" y="1740"/>
                  </a:lnTo>
                  <a:lnTo>
                    <a:pt x="4746" y="1738"/>
                  </a:lnTo>
                  <a:lnTo>
                    <a:pt x="4746" y="1732"/>
                  </a:lnTo>
                  <a:lnTo>
                    <a:pt x="4748" y="1728"/>
                  </a:lnTo>
                  <a:lnTo>
                    <a:pt x="4752" y="1720"/>
                  </a:lnTo>
                  <a:lnTo>
                    <a:pt x="4762" y="1712"/>
                  </a:lnTo>
                  <a:lnTo>
                    <a:pt x="4782" y="1694"/>
                  </a:lnTo>
                  <a:lnTo>
                    <a:pt x="4794" y="1678"/>
                  </a:lnTo>
                  <a:lnTo>
                    <a:pt x="4800" y="1664"/>
                  </a:lnTo>
                  <a:lnTo>
                    <a:pt x="4804" y="1652"/>
                  </a:lnTo>
                  <a:lnTo>
                    <a:pt x="4806" y="1642"/>
                  </a:lnTo>
                  <a:lnTo>
                    <a:pt x="4810" y="1634"/>
                  </a:lnTo>
                  <a:lnTo>
                    <a:pt x="4816" y="1628"/>
                  </a:lnTo>
                  <a:lnTo>
                    <a:pt x="4828" y="1622"/>
                  </a:lnTo>
                  <a:lnTo>
                    <a:pt x="4840" y="1618"/>
                  </a:lnTo>
                  <a:lnTo>
                    <a:pt x="4848" y="1618"/>
                  </a:lnTo>
                  <a:lnTo>
                    <a:pt x="4852" y="1620"/>
                  </a:lnTo>
                  <a:lnTo>
                    <a:pt x="4854" y="1622"/>
                  </a:lnTo>
                  <a:lnTo>
                    <a:pt x="4856" y="1624"/>
                  </a:lnTo>
                  <a:lnTo>
                    <a:pt x="4862" y="1622"/>
                  </a:lnTo>
                  <a:lnTo>
                    <a:pt x="4872" y="1616"/>
                  </a:lnTo>
                  <a:lnTo>
                    <a:pt x="4888" y="1606"/>
                  </a:lnTo>
                  <a:lnTo>
                    <a:pt x="4900" y="1598"/>
                  </a:lnTo>
                  <a:lnTo>
                    <a:pt x="4908" y="1592"/>
                  </a:lnTo>
                  <a:lnTo>
                    <a:pt x="4914" y="1592"/>
                  </a:lnTo>
                  <a:lnTo>
                    <a:pt x="4916" y="1592"/>
                  </a:lnTo>
                  <a:lnTo>
                    <a:pt x="4918" y="1596"/>
                  </a:lnTo>
                  <a:lnTo>
                    <a:pt x="4918" y="1600"/>
                  </a:lnTo>
                  <a:lnTo>
                    <a:pt x="4914" y="1612"/>
                  </a:lnTo>
                  <a:lnTo>
                    <a:pt x="4910" y="1624"/>
                  </a:lnTo>
                  <a:lnTo>
                    <a:pt x="4910" y="1628"/>
                  </a:lnTo>
                  <a:lnTo>
                    <a:pt x="4910" y="1632"/>
                  </a:lnTo>
                  <a:lnTo>
                    <a:pt x="4912" y="1632"/>
                  </a:lnTo>
                  <a:lnTo>
                    <a:pt x="4916" y="1632"/>
                  </a:lnTo>
                  <a:lnTo>
                    <a:pt x="4934" y="1618"/>
                  </a:lnTo>
                  <a:lnTo>
                    <a:pt x="4958" y="1600"/>
                  </a:lnTo>
                  <a:lnTo>
                    <a:pt x="4980" y="1588"/>
                  </a:lnTo>
                  <a:lnTo>
                    <a:pt x="4990" y="1586"/>
                  </a:lnTo>
                  <a:lnTo>
                    <a:pt x="5000" y="1584"/>
                  </a:lnTo>
                  <a:lnTo>
                    <a:pt x="5016" y="1584"/>
                  </a:lnTo>
                  <a:lnTo>
                    <a:pt x="5032" y="1588"/>
                  </a:lnTo>
                  <a:lnTo>
                    <a:pt x="5048" y="1596"/>
                  </a:lnTo>
                  <a:lnTo>
                    <a:pt x="5060" y="1606"/>
                  </a:lnTo>
                  <a:lnTo>
                    <a:pt x="5072" y="1618"/>
                  </a:lnTo>
                  <a:lnTo>
                    <a:pt x="5080" y="1628"/>
                  </a:lnTo>
                  <a:lnTo>
                    <a:pt x="5082" y="1630"/>
                  </a:lnTo>
                  <a:lnTo>
                    <a:pt x="5084" y="1628"/>
                  </a:lnTo>
                  <a:lnTo>
                    <a:pt x="5086" y="1620"/>
                  </a:lnTo>
                  <a:lnTo>
                    <a:pt x="5094" y="1608"/>
                  </a:lnTo>
                  <a:lnTo>
                    <a:pt x="5108" y="1592"/>
                  </a:lnTo>
                  <a:lnTo>
                    <a:pt x="5118" y="1584"/>
                  </a:lnTo>
                  <a:lnTo>
                    <a:pt x="5132" y="1574"/>
                  </a:lnTo>
                  <a:lnTo>
                    <a:pt x="5148" y="1564"/>
                  </a:lnTo>
                  <a:lnTo>
                    <a:pt x="5168" y="1552"/>
                  </a:lnTo>
                  <a:lnTo>
                    <a:pt x="5186" y="1542"/>
                  </a:lnTo>
                  <a:lnTo>
                    <a:pt x="5202" y="1532"/>
                  </a:lnTo>
                  <a:lnTo>
                    <a:pt x="5236" y="1508"/>
                  </a:lnTo>
                  <a:lnTo>
                    <a:pt x="5252" y="1496"/>
                  </a:lnTo>
                  <a:lnTo>
                    <a:pt x="5272" y="1484"/>
                  </a:lnTo>
                  <a:lnTo>
                    <a:pt x="5290" y="1474"/>
                  </a:lnTo>
                  <a:lnTo>
                    <a:pt x="5312" y="1466"/>
                  </a:lnTo>
                  <a:lnTo>
                    <a:pt x="5330" y="1460"/>
                  </a:lnTo>
                  <a:lnTo>
                    <a:pt x="5348" y="1456"/>
                  </a:lnTo>
                  <a:lnTo>
                    <a:pt x="5362" y="1454"/>
                  </a:lnTo>
                  <a:lnTo>
                    <a:pt x="5374" y="1454"/>
                  </a:lnTo>
                  <a:lnTo>
                    <a:pt x="5396" y="1456"/>
                  </a:lnTo>
                  <a:lnTo>
                    <a:pt x="5410" y="1460"/>
                  </a:lnTo>
                  <a:lnTo>
                    <a:pt x="5422" y="1464"/>
                  </a:lnTo>
                  <a:lnTo>
                    <a:pt x="5430" y="1466"/>
                  </a:lnTo>
                  <a:lnTo>
                    <a:pt x="5434" y="1466"/>
                  </a:lnTo>
                  <a:lnTo>
                    <a:pt x="5438" y="1464"/>
                  </a:lnTo>
                  <a:lnTo>
                    <a:pt x="5448" y="1458"/>
                  </a:lnTo>
                  <a:lnTo>
                    <a:pt x="5454" y="1448"/>
                  </a:lnTo>
                  <a:lnTo>
                    <a:pt x="5458" y="1440"/>
                  </a:lnTo>
                  <a:lnTo>
                    <a:pt x="5456" y="1432"/>
                  </a:lnTo>
                  <a:lnTo>
                    <a:pt x="5450" y="1422"/>
                  </a:lnTo>
                  <a:lnTo>
                    <a:pt x="5436" y="1400"/>
                  </a:lnTo>
                  <a:lnTo>
                    <a:pt x="5428" y="1386"/>
                  </a:lnTo>
                  <a:lnTo>
                    <a:pt x="5420" y="1368"/>
                  </a:lnTo>
                  <a:lnTo>
                    <a:pt x="5412" y="1348"/>
                  </a:lnTo>
                  <a:lnTo>
                    <a:pt x="5404" y="1338"/>
                  </a:lnTo>
                  <a:lnTo>
                    <a:pt x="5400" y="1336"/>
                  </a:lnTo>
                  <a:lnTo>
                    <a:pt x="5396" y="1336"/>
                  </a:lnTo>
                  <a:lnTo>
                    <a:pt x="5390" y="1336"/>
                  </a:lnTo>
                  <a:lnTo>
                    <a:pt x="5384" y="1338"/>
                  </a:lnTo>
                  <a:lnTo>
                    <a:pt x="5378" y="1338"/>
                  </a:lnTo>
                  <a:lnTo>
                    <a:pt x="5376" y="1336"/>
                  </a:lnTo>
                  <a:lnTo>
                    <a:pt x="5374" y="1334"/>
                  </a:lnTo>
                  <a:lnTo>
                    <a:pt x="5368" y="1322"/>
                  </a:lnTo>
                  <a:lnTo>
                    <a:pt x="5368" y="1316"/>
                  </a:lnTo>
                  <a:lnTo>
                    <a:pt x="5368" y="1312"/>
                  </a:lnTo>
                  <a:lnTo>
                    <a:pt x="5372" y="1310"/>
                  </a:lnTo>
                  <a:lnTo>
                    <a:pt x="5374" y="1308"/>
                  </a:lnTo>
                  <a:lnTo>
                    <a:pt x="5384" y="1308"/>
                  </a:lnTo>
                  <a:lnTo>
                    <a:pt x="5398" y="1310"/>
                  </a:lnTo>
                  <a:lnTo>
                    <a:pt x="5414" y="1312"/>
                  </a:lnTo>
                  <a:lnTo>
                    <a:pt x="5432" y="1310"/>
                  </a:lnTo>
                  <a:lnTo>
                    <a:pt x="5440" y="1308"/>
                  </a:lnTo>
                  <a:lnTo>
                    <a:pt x="5448" y="1304"/>
                  </a:lnTo>
                  <a:lnTo>
                    <a:pt x="5454" y="1298"/>
                  </a:lnTo>
                  <a:lnTo>
                    <a:pt x="5462" y="1292"/>
                  </a:lnTo>
                  <a:lnTo>
                    <a:pt x="5478" y="1272"/>
                  </a:lnTo>
                  <a:lnTo>
                    <a:pt x="5478" y="1258"/>
                  </a:lnTo>
                  <a:lnTo>
                    <a:pt x="5486" y="1248"/>
                  </a:lnTo>
                  <a:lnTo>
                    <a:pt x="5490" y="1244"/>
                  </a:lnTo>
                  <a:lnTo>
                    <a:pt x="5490" y="1240"/>
                  </a:lnTo>
                  <a:lnTo>
                    <a:pt x="5490" y="1236"/>
                  </a:lnTo>
                  <a:lnTo>
                    <a:pt x="5488" y="1232"/>
                  </a:lnTo>
                  <a:lnTo>
                    <a:pt x="5480" y="1220"/>
                  </a:lnTo>
                  <a:lnTo>
                    <a:pt x="5478" y="1216"/>
                  </a:lnTo>
                  <a:lnTo>
                    <a:pt x="5478" y="1204"/>
                  </a:lnTo>
                  <a:lnTo>
                    <a:pt x="5480" y="1200"/>
                  </a:lnTo>
                  <a:lnTo>
                    <a:pt x="5484" y="1200"/>
                  </a:lnTo>
                  <a:lnTo>
                    <a:pt x="5490" y="1200"/>
                  </a:lnTo>
                  <a:lnTo>
                    <a:pt x="5496" y="1202"/>
                  </a:lnTo>
                  <a:lnTo>
                    <a:pt x="5502" y="1206"/>
                  </a:lnTo>
                  <a:lnTo>
                    <a:pt x="5510" y="1212"/>
                  </a:lnTo>
                  <a:lnTo>
                    <a:pt x="5516" y="1220"/>
                  </a:lnTo>
                  <a:lnTo>
                    <a:pt x="5520" y="1230"/>
                  </a:lnTo>
                  <a:lnTo>
                    <a:pt x="5524" y="1238"/>
                  </a:lnTo>
                  <a:lnTo>
                    <a:pt x="5530" y="1242"/>
                  </a:lnTo>
                  <a:lnTo>
                    <a:pt x="5536" y="1244"/>
                  </a:lnTo>
                  <a:lnTo>
                    <a:pt x="5542" y="1246"/>
                  </a:lnTo>
                  <a:lnTo>
                    <a:pt x="5556" y="1244"/>
                  </a:lnTo>
                  <a:lnTo>
                    <a:pt x="5572" y="1242"/>
                  </a:lnTo>
                  <a:lnTo>
                    <a:pt x="5588" y="1238"/>
                  </a:lnTo>
                  <a:lnTo>
                    <a:pt x="5596" y="1238"/>
                  </a:lnTo>
                  <a:lnTo>
                    <a:pt x="5604" y="1238"/>
                  </a:lnTo>
                  <a:lnTo>
                    <a:pt x="5610" y="1242"/>
                  </a:lnTo>
                  <a:lnTo>
                    <a:pt x="5618" y="1246"/>
                  </a:lnTo>
                  <a:lnTo>
                    <a:pt x="5624" y="1252"/>
                  </a:lnTo>
                  <a:lnTo>
                    <a:pt x="5628" y="1262"/>
                  </a:lnTo>
                  <a:lnTo>
                    <a:pt x="5638" y="1278"/>
                  </a:lnTo>
                  <a:lnTo>
                    <a:pt x="5648" y="1290"/>
                  </a:lnTo>
                  <a:lnTo>
                    <a:pt x="5656" y="1294"/>
                  </a:lnTo>
                  <a:lnTo>
                    <a:pt x="5664" y="1296"/>
                  </a:lnTo>
                  <a:lnTo>
                    <a:pt x="5674" y="1298"/>
                  </a:lnTo>
                  <a:lnTo>
                    <a:pt x="5682" y="1298"/>
                  </a:lnTo>
                  <a:lnTo>
                    <a:pt x="5690" y="1302"/>
                  </a:lnTo>
                  <a:lnTo>
                    <a:pt x="5696" y="1310"/>
                  </a:lnTo>
                  <a:lnTo>
                    <a:pt x="5700" y="1316"/>
                  </a:lnTo>
                  <a:lnTo>
                    <a:pt x="5706" y="1320"/>
                  </a:lnTo>
                  <a:lnTo>
                    <a:pt x="5710" y="1322"/>
                  </a:lnTo>
                  <a:lnTo>
                    <a:pt x="5716" y="1322"/>
                  </a:lnTo>
                  <a:lnTo>
                    <a:pt x="5726" y="1322"/>
                  </a:lnTo>
                  <a:lnTo>
                    <a:pt x="5738" y="1318"/>
                  </a:lnTo>
                  <a:lnTo>
                    <a:pt x="5748" y="1310"/>
                  </a:lnTo>
                  <a:lnTo>
                    <a:pt x="5756" y="1298"/>
                  </a:lnTo>
                  <a:lnTo>
                    <a:pt x="5764" y="1284"/>
                  </a:lnTo>
                  <a:lnTo>
                    <a:pt x="5766" y="1268"/>
                  </a:lnTo>
                  <a:lnTo>
                    <a:pt x="5768" y="1254"/>
                  </a:lnTo>
                  <a:lnTo>
                    <a:pt x="5770" y="1248"/>
                  </a:lnTo>
                  <a:lnTo>
                    <a:pt x="5774" y="1246"/>
                  </a:lnTo>
                  <a:lnTo>
                    <a:pt x="5782" y="1240"/>
                  </a:lnTo>
                  <a:lnTo>
                    <a:pt x="5792" y="1238"/>
                  </a:lnTo>
                  <a:lnTo>
                    <a:pt x="5802" y="1238"/>
                  </a:lnTo>
                  <a:lnTo>
                    <a:pt x="5816" y="1234"/>
                  </a:lnTo>
                  <a:lnTo>
                    <a:pt x="5830" y="1228"/>
                  </a:lnTo>
                  <a:lnTo>
                    <a:pt x="5836" y="1222"/>
                  </a:lnTo>
                  <a:lnTo>
                    <a:pt x="5844" y="1216"/>
                  </a:lnTo>
                  <a:lnTo>
                    <a:pt x="5854" y="1204"/>
                  </a:lnTo>
                  <a:lnTo>
                    <a:pt x="5856" y="1198"/>
                  </a:lnTo>
                  <a:lnTo>
                    <a:pt x="5856" y="1196"/>
                  </a:lnTo>
                  <a:lnTo>
                    <a:pt x="5854" y="1194"/>
                  </a:lnTo>
                  <a:lnTo>
                    <a:pt x="5846" y="1194"/>
                  </a:lnTo>
                  <a:lnTo>
                    <a:pt x="5836" y="1192"/>
                  </a:lnTo>
                  <a:lnTo>
                    <a:pt x="5824" y="1188"/>
                  </a:lnTo>
                  <a:lnTo>
                    <a:pt x="5816" y="1184"/>
                  </a:lnTo>
                  <a:lnTo>
                    <a:pt x="5810" y="1180"/>
                  </a:lnTo>
                  <a:lnTo>
                    <a:pt x="5804" y="1174"/>
                  </a:lnTo>
                  <a:lnTo>
                    <a:pt x="5798" y="116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08" name="Freeform 6004">
              <a:extLst>
                <a:ext uri="{FF2B5EF4-FFF2-40B4-BE49-F238E27FC236}">
                  <a16:creationId xmlns:a16="http://schemas.microsoft.com/office/drawing/2014/main" id="{3E9922BC-3836-4DFC-AFA8-21C19B8B6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599" y="3604608"/>
              <a:ext cx="5080" cy="6349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4" y="10"/>
                </a:cxn>
                <a:cxn ang="0">
                  <a:pos x="6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8" h="10">
                  <a:moveTo>
                    <a:pt x="0" y="6"/>
                  </a:moveTo>
                  <a:lnTo>
                    <a:pt x="0" y="6"/>
                  </a:lnTo>
                  <a:lnTo>
                    <a:pt x="2" y="8"/>
                  </a:lnTo>
                  <a:lnTo>
                    <a:pt x="4" y="10"/>
                  </a:lnTo>
                  <a:lnTo>
                    <a:pt x="6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grpSp>
          <p:nvGrpSpPr>
            <p:cNvPr id="110" name="Gruppe 224">
              <a:extLst>
                <a:ext uri="{FF2B5EF4-FFF2-40B4-BE49-F238E27FC236}">
                  <a16:creationId xmlns:a16="http://schemas.microsoft.com/office/drawing/2014/main" id="{0CA97E29-D233-4CB3-B06F-7009A984475D}"/>
                </a:ext>
              </a:extLst>
            </p:cNvPr>
            <p:cNvGrpSpPr/>
            <p:nvPr/>
          </p:nvGrpSpPr>
          <p:grpSpPr bwMode="auto">
            <a:xfrm>
              <a:off x="61885" y="752495"/>
              <a:ext cx="3986212" cy="2951162"/>
              <a:chOff x="93979" y="699453"/>
              <a:chExt cx="3986530" cy="2951480"/>
            </a:xfrm>
            <a:grpFill/>
          </p:grpSpPr>
          <p:sp>
            <p:nvSpPr>
              <p:cNvPr id="122" name="Freeform 6016">
                <a:extLst>
                  <a:ext uri="{FF2B5EF4-FFF2-40B4-BE49-F238E27FC236}">
                    <a16:creationId xmlns:a16="http://schemas.microsoft.com/office/drawing/2014/main" id="{1A79B1AF-7635-4076-8AD4-40B68AA8D6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2550" y="1099503"/>
                <a:ext cx="40640" cy="26670"/>
              </a:xfrm>
              <a:custGeom>
                <a:avLst/>
                <a:gdLst/>
                <a:ahLst/>
                <a:cxnLst>
                  <a:cxn ang="0">
                    <a:pos x="54" y="2"/>
                  </a:cxn>
                  <a:cxn ang="0">
                    <a:pos x="54" y="2"/>
                  </a:cxn>
                  <a:cxn ang="0">
                    <a:pos x="32" y="12"/>
                  </a:cxn>
                  <a:cxn ang="0">
                    <a:pos x="10" y="24"/>
                  </a:cxn>
                  <a:cxn ang="0">
                    <a:pos x="4" y="30"/>
                  </a:cxn>
                  <a:cxn ang="0">
                    <a:pos x="0" y="36"/>
                  </a:cxn>
                  <a:cxn ang="0">
                    <a:pos x="2" y="38"/>
                  </a:cxn>
                  <a:cxn ang="0">
                    <a:pos x="4" y="40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8" y="42"/>
                  </a:cxn>
                  <a:cxn ang="0">
                    <a:pos x="40" y="36"/>
                  </a:cxn>
                  <a:cxn ang="0">
                    <a:pos x="50" y="28"/>
                  </a:cxn>
                  <a:cxn ang="0">
                    <a:pos x="58" y="20"/>
                  </a:cxn>
                  <a:cxn ang="0">
                    <a:pos x="62" y="10"/>
                  </a:cxn>
                  <a:cxn ang="0">
                    <a:pos x="64" y="4"/>
                  </a:cxn>
                  <a:cxn ang="0">
                    <a:pos x="64" y="2"/>
                  </a:cxn>
                  <a:cxn ang="0">
                    <a:pos x="62" y="0"/>
                  </a:cxn>
                  <a:cxn ang="0">
                    <a:pos x="58" y="0"/>
                  </a:cxn>
                  <a:cxn ang="0">
                    <a:pos x="54" y="2"/>
                  </a:cxn>
                  <a:cxn ang="0">
                    <a:pos x="54" y="2"/>
                  </a:cxn>
                </a:cxnLst>
                <a:rect l="0" t="0" r="r" b="b"/>
                <a:pathLst>
                  <a:path w="64" h="42">
                    <a:moveTo>
                      <a:pt x="54" y="2"/>
                    </a:moveTo>
                    <a:lnTo>
                      <a:pt x="54" y="2"/>
                    </a:lnTo>
                    <a:lnTo>
                      <a:pt x="32" y="12"/>
                    </a:lnTo>
                    <a:lnTo>
                      <a:pt x="10" y="24"/>
                    </a:lnTo>
                    <a:lnTo>
                      <a:pt x="4" y="30"/>
                    </a:lnTo>
                    <a:lnTo>
                      <a:pt x="0" y="36"/>
                    </a:lnTo>
                    <a:lnTo>
                      <a:pt x="2" y="38"/>
                    </a:lnTo>
                    <a:lnTo>
                      <a:pt x="4" y="40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8" y="42"/>
                    </a:lnTo>
                    <a:lnTo>
                      <a:pt x="40" y="36"/>
                    </a:lnTo>
                    <a:lnTo>
                      <a:pt x="50" y="28"/>
                    </a:lnTo>
                    <a:lnTo>
                      <a:pt x="58" y="20"/>
                    </a:lnTo>
                    <a:lnTo>
                      <a:pt x="62" y="10"/>
                    </a:lnTo>
                    <a:lnTo>
                      <a:pt x="64" y="4"/>
                    </a:lnTo>
                    <a:lnTo>
                      <a:pt x="64" y="2"/>
                    </a:lnTo>
                    <a:lnTo>
                      <a:pt x="62" y="0"/>
                    </a:lnTo>
                    <a:lnTo>
                      <a:pt x="58" y="0"/>
                    </a:lnTo>
                    <a:lnTo>
                      <a:pt x="54" y="2"/>
                    </a:lnTo>
                    <a:lnTo>
                      <a:pt x="54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25" name="Freeform 6017">
                <a:extLst>
                  <a:ext uri="{FF2B5EF4-FFF2-40B4-BE49-F238E27FC236}">
                    <a16:creationId xmlns:a16="http://schemas.microsoft.com/office/drawing/2014/main" id="{D4AB7137-3126-44C1-86AE-BF4112EB7B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4910" y="1173163"/>
                <a:ext cx="270510" cy="165100"/>
              </a:xfrm>
              <a:custGeom>
                <a:avLst/>
                <a:gdLst/>
                <a:ahLst/>
                <a:cxnLst>
                  <a:cxn ang="0">
                    <a:pos x="20" y="198"/>
                  </a:cxn>
                  <a:cxn ang="0">
                    <a:pos x="68" y="214"/>
                  </a:cxn>
                  <a:cxn ang="0">
                    <a:pos x="92" y="232"/>
                  </a:cxn>
                  <a:cxn ang="0">
                    <a:pos x="106" y="256"/>
                  </a:cxn>
                  <a:cxn ang="0">
                    <a:pos x="116" y="260"/>
                  </a:cxn>
                  <a:cxn ang="0">
                    <a:pos x="146" y="248"/>
                  </a:cxn>
                  <a:cxn ang="0">
                    <a:pos x="168" y="236"/>
                  </a:cxn>
                  <a:cxn ang="0">
                    <a:pos x="184" y="238"/>
                  </a:cxn>
                  <a:cxn ang="0">
                    <a:pos x="208" y="232"/>
                  </a:cxn>
                  <a:cxn ang="0">
                    <a:pos x="216" y="226"/>
                  </a:cxn>
                  <a:cxn ang="0">
                    <a:pos x="224" y="200"/>
                  </a:cxn>
                  <a:cxn ang="0">
                    <a:pos x="232" y="178"/>
                  </a:cxn>
                  <a:cxn ang="0">
                    <a:pos x="254" y="172"/>
                  </a:cxn>
                  <a:cxn ang="0">
                    <a:pos x="266" y="158"/>
                  </a:cxn>
                  <a:cxn ang="0">
                    <a:pos x="280" y="140"/>
                  </a:cxn>
                  <a:cxn ang="0">
                    <a:pos x="322" y="124"/>
                  </a:cxn>
                  <a:cxn ang="0">
                    <a:pos x="392" y="94"/>
                  </a:cxn>
                  <a:cxn ang="0">
                    <a:pos x="418" y="86"/>
                  </a:cxn>
                  <a:cxn ang="0">
                    <a:pos x="424" y="72"/>
                  </a:cxn>
                  <a:cxn ang="0">
                    <a:pos x="408" y="64"/>
                  </a:cxn>
                  <a:cxn ang="0">
                    <a:pos x="370" y="40"/>
                  </a:cxn>
                  <a:cxn ang="0">
                    <a:pos x="334" y="22"/>
                  </a:cxn>
                  <a:cxn ang="0">
                    <a:pos x="302" y="22"/>
                  </a:cxn>
                  <a:cxn ang="0">
                    <a:pos x="284" y="30"/>
                  </a:cxn>
                  <a:cxn ang="0">
                    <a:pos x="276" y="40"/>
                  </a:cxn>
                  <a:cxn ang="0">
                    <a:pos x="272" y="36"/>
                  </a:cxn>
                  <a:cxn ang="0">
                    <a:pos x="268" y="26"/>
                  </a:cxn>
                  <a:cxn ang="0">
                    <a:pos x="260" y="26"/>
                  </a:cxn>
                  <a:cxn ang="0">
                    <a:pos x="234" y="22"/>
                  </a:cxn>
                  <a:cxn ang="0">
                    <a:pos x="192" y="2"/>
                  </a:cxn>
                  <a:cxn ang="0">
                    <a:pos x="168" y="0"/>
                  </a:cxn>
                  <a:cxn ang="0">
                    <a:pos x="138" y="6"/>
                  </a:cxn>
                  <a:cxn ang="0">
                    <a:pos x="54" y="16"/>
                  </a:cxn>
                  <a:cxn ang="0">
                    <a:pos x="50" y="20"/>
                  </a:cxn>
                  <a:cxn ang="0">
                    <a:pos x="56" y="28"/>
                  </a:cxn>
                  <a:cxn ang="0">
                    <a:pos x="64" y="46"/>
                  </a:cxn>
                  <a:cxn ang="0">
                    <a:pos x="76" y="52"/>
                  </a:cxn>
                  <a:cxn ang="0">
                    <a:pos x="86" y="60"/>
                  </a:cxn>
                  <a:cxn ang="0">
                    <a:pos x="74" y="72"/>
                  </a:cxn>
                  <a:cxn ang="0">
                    <a:pos x="72" y="80"/>
                  </a:cxn>
                  <a:cxn ang="0">
                    <a:pos x="58" y="84"/>
                  </a:cxn>
                  <a:cxn ang="0">
                    <a:pos x="56" y="90"/>
                  </a:cxn>
                  <a:cxn ang="0">
                    <a:pos x="48" y="106"/>
                  </a:cxn>
                  <a:cxn ang="0">
                    <a:pos x="46" y="114"/>
                  </a:cxn>
                  <a:cxn ang="0">
                    <a:pos x="56" y="122"/>
                  </a:cxn>
                  <a:cxn ang="0">
                    <a:pos x="44" y="126"/>
                  </a:cxn>
                  <a:cxn ang="0">
                    <a:pos x="30" y="130"/>
                  </a:cxn>
                  <a:cxn ang="0">
                    <a:pos x="34" y="140"/>
                  </a:cxn>
                  <a:cxn ang="0">
                    <a:pos x="22" y="160"/>
                  </a:cxn>
                  <a:cxn ang="0">
                    <a:pos x="4" y="182"/>
                  </a:cxn>
                  <a:cxn ang="0">
                    <a:pos x="0" y="192"/>
                  </a:cxn>
                  <a:cxn ang="0">
                    <a:pos x="2" y="196"/>
                  </a:cxn>
                </a:cxnLst>
                <a:rect l="0" t="0" r="r" b="b"/>
                <a:pathLst>
                  <a:path w="426" h="260">
                    <a:moveTo>
                      <a:pt x="2" y="196"/>
                    </a:moveTo>
                    <a:lnTo>
                      <a:pt x="2" y="196"/>
                    </a:lnTo>
                    <a:lnTo>
                      <a:pt x="20" y="198"/>
                    </a:lnTo>
                    <a:lnTo>
                      <a:pt x="38" y="204"/>
                    </a:lnTo>
                    <a:lnTo>
                      <a:pt x="68" y="214"/>
                    </a:lnTo>
                    <a:lnTo>
                      <a:pt x="68" y="214"/>
                    </a:lnTo>
                    <a:lnTo>
                      <a:pt x="78" y="220"/>
                    </a:lnTo>
                    <a:lnTo>
                      <a:pt x="86" y="226"/>
                    </a:lnTo>
                    <a:lnTo>
                      <a:pt x="92" y="232"/>
                    </a:lnTo>
                    <a:lnTo>
                      <a:pt x="96" y="240"/>
                    </a:lnTo>
                    <a:lnTo>
                      <a:pt x="102" y="252"/>
                    </a:lnTo>
                    <a:lnTo>
                      <a:pt x="106" y="256"/>
                    </a:lnTo>
                    <a:lnTo>
                      <a:pt x="110" y="260"/>
                    </a:lnTo>
                    <a:lnTo>
                      <a:pt x="110" y="260"/>
                    </a:lnTo>
                    <a:lnTo>
                      <a:pt x="116" y="260"/>
                    </a:lnTo>
                    <a:lnTo>
                      <a:pt x="122" y="260"/>
                    </a:lnTo>
                    <a:lnTo>
                      <a:pt x="134" y="256"/>
                    </a:lnTo>
                    <a:lnTo>
                      <a:pt x="146" y="248"/>
                    </a:lnTo>
                    <a:lnTo>
                      <a:pt x="160" y="240"/>
                    </a:lnTo>
                    <a:lnTo>
                      <a:pt x="160" y="240"/>
                    </a:lnTo>
                    <a:lnTo>
                      <a:pt x="168" y="236"/>
                    </a:lnTo>
                    <a:lnTo>
                      <a:pt x="172" y="234"/>
                    </a:lnTo>
                    <a:lnTo>
                      <a:pt x="180" y="236"/>
                    </a:lnTo>
                    <a:lnTo>
                      <a:pt x="184" y="238"/>
                    </a:lnTo>
                    <a:lnTo>
                      <a:pt x="190" y="238"/>
                    </a:lnTo>
                    <a:lnTo>
                      <a:pt x="198" y="236"/>
                    </a:lnTo>
                    <a:lnTo>
                      <a:pt x="208" y="232"/>
                    </a:lnTo>
                    <a:lnTo>
                      <a:pt x="208" y="232"/>
                    </a:lnTo>
                    <a:lnTo>
                      <a:pt x="212" y="230"/>
                    </a:lnTo>
                    <a:lnTo>
                      <a:pt x="216" y="226"/>
                    </a:lnTo>
                    <a:lnTo>
                      <a:pt x="222" y="218"/>
                    </a:lnTo>
                    <a:lnTo>
                      <a:pt x="224" y="210"/>
                    </a:lnTo>
                    <a:lnTo>
                      <a:pt x="224" y="200"/>
                    </a:lnTo>
                    <a:lnTo>
                      <a:pt x="224" y="192"/>
                    </a:lnTo>
                    <a:lnTo>
                      <a:pt x="226" y="184"/>
                    </a:lnTo>
                    <a:lnTo>
                      <a:pt x="232" y="178"/>
                    </a:lnTo>
                    <a:lnTo>
                      <a:pt x="244" y="174"/>
                    </a:lnTo>
                    <a:lnTo>
                      <a:pt x="244" y="174"/>
                    </a:lnTo>
                    <a:lnTo>
                      <a:pt x="254" y="172"/>
                    </a:lnTo>
                    <a:lnTo>
                      <a:pt x="260" y="170"/>
                    </a:lnTo>
                    <a:lnTo>
                      <a:pt x="264" y="164"/>
                    </a:lnTo>
                    <a:lnTo>
                      <a:pt x="266" y="158"/>
                    </a:lnTo>
                    <a:lnTo>
                      <a:pt x="268" y="152"/>
                    </a:lnTo>
                    <a:lnTo>
                      <a:pt x="272" y="146"/>
                    </a:lnTo>
                    <a:lnTo>
                      <a:pt x="280" y="140"/>
                    </a:lnTo>
                    <a:lnTo>
                      <a:pt x="292" y="136"/>
                    </a:lnTo>
                    <a:lnTo>
                      <a:pt x="292" y="136"/>
                    </a:lnTo>
                    <a:lnTo>
                      <a:pt x="322" y="124"/>
                    </a:lnTo>
                    <a:lnTo>
                      <a:pt x="348" y="112"/>
                    </a:lnTo>
                    <a:lnTo>
                      <a:pt x="370" y="102"/>
                    </a:lnTo>
                    <a:lnTo>
                      <a:pt x="392" y="94"/>
                    </a:lnTo>
                    <a:lnTo>
                      <a:pt x="392" y="94"/>
                    </a:lnTo>
                    <a:lnTo>
                      <a:pt x="408" y="90"/>
                    </a:lnTo>
                    <a:lnTo>
                      <a:pt x="418" y="86"/>
                    </a:lnTo>
                    <a:lnTo>
                      <a:pt x="424" y="82"/>
                    </a:lnTo>
                    <a:lnTo>
                      <a:pt x="426" y="76"/>
                    </a:lnTo>
                    <a:lnTo>
                      <a:pt x="424" y="72"/>
                    </a:lnTo>
                    <a:lnTo>
                      <a:pt x="420" y="70"/>
                    </a:lnTo>
                    <a:lnTo>
                      <a:pt x="408" y="64"/>
                    </a:lnTo>
                    <a:lnTo>
                      <a:pt x="408" y="64"/>
                    </a:lnTo>
                    <a:lnTo>
                      <a:pt x="398" y="60"/>
                    </a:lnTo>
                    <a:lnTo>
                      <a:pt x="390" y="54"/>
                    </a:lnTo>
                    <a:lnTo>
                      <a:pt x="370" y="40"/>
                    </a:lnTo>
                    <a:lnTo>
                      <a:pt x="360" y="32"/>
                    </a:lnTo>
                    <a:lnTo>
                      <a:pt x="348" y="26"/>
                    </a:lnTo>
                    <a:lnTo>
                      <a:pt x="334" y="22"/>
                    </a:lnTo>
                    <a:lnTo>
                      <a:pt x="318" y="22"/>
                    </a:lnTo>
                    <a:lnTo>
                      <a:pt x="318" y="22"/>
                    </a:lnTo>
                    <a:lnTo>
                      <a:pt x="302" y="22"/>
                    </a:lnTo>
                    <a:lnTo>
                      <a:pt x="294" y="24"/>
                    </a:lnTo>
                    <a:lnTo>
                      <a:pt x="288" y="26"/>
                    </a:lnTo>
                    <a:lnTo>
                      <a:pt x="284" y="30"/>
                    </a:lnTo>
                    <a:lnTo>
                      <a:pt x="282" y="36"/>
                    </a:lnTo>
                    <a:lnTo>
                      <a:pt x="280" y="38"/>
                    </a:lnTo>
                    <a:lnTo>
                      <a:pt x="276" y="40"/>
                    </a:lnTo>
                    <a:lnTo>
                      <a:pt x="276" y="40"/>
                    </a:lnTo>
                    <a:lnTo>
                      <a:pt x="272" y="40"/>
                    </a:lnTo>
                    <a:lnTo>
                      <a:pt x="272" y="36"/>
                    </a:lnTo>
                    <a:lnTo>
                      <a:pt x="272" y="32"/>
                    </a:lnTo>
                    <a:lnTo>
                      <a:pt x="272" y="30"/>
                    </a:lnTo>
                    <a:lnTo>
                      <a:pt x="268" y="26"/>
                    </a:lnTo>
                    <a:lnTo>
                      <a:pt x="268" y="26"/>
                    </a:lnTo>
                    <a:lnTo>
                      <a:pt x="266" y="26"/>
                    </a:lnTo>
                    <a:lnTo>
                      <a:pt x="260" y="26"/>
                    </a:lnTo>
                    <a:lnTo>
                      <a:pt x="250" y="24"/>
                    </a:lnTo>
                    <a:lnTo>
                      <a:pt x="234" y="22"/>
                    </a:lnTo>
                    <a:lnTo>
                      <a:pt x="234" y="22"/>
                    </a:lnTo>
                    <a:lnTo>
                      <a:pt x="218" y="16"/>
                    </a:lnTo>
                    <a:lnTo>
                      <a:pt x="208" y="12"/>
                    </a:lnTo>
                    <a:lnTo>
                      <a:pt x="192" y="2"/>
                    </a:lnTo>
                    <a:lnTo>
                      <a:pt x="186" y="0"/>
                    </a:lnTo>
                    <a:lnTo>
                      <a:pt x="178" y="0"/>
                    </a:lnTo>
                    <a:lnTo>
                      <a:pt x="168" y="0"/>
                    </a:lnTo>
                    <a:lnTo>
                      <a:pt x="154" y="2"/>
                    </a:lnTo>
                    <a:lnTo>
                      <a:pt x="154" y="2"/>
                    </a:lnTo>
                    <a:lnTo>
                      <a:pt x="138" y="6"/>
                    </a:lnTo>
                    <a:lnTo>
                      <a:pt x="120" y="8"/>
                    </a:lnTo>
                    <a:lnTo>
                      <a:pt x="82" y="12"/>
                    </a:lnTo>
                    <a:lnTo>
                      <a:pt x="54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4" y="24"/>
                    </a:lnTo>
                    <a:lnTo>
                      <a:pt x="56" y="28"/>
                    </a:lnTo>
                    <a:lnTo>
                      <a:pt x="58" y="36"/>
                    </a:lnTo>
                    <a:lnTo>
                      <a:pt x="60" y="42"/>
                    </a:lnTo>
                    <a:lnTo>
                      <a:pt x="64" y="46"/>
                    </a:lnTo>
                    <a:lnTo>
                      <a:pt x="68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4" y="56"/>
                    </a:lnTo>
                    <a:lnTo>
                      <a:pt x="86" y="58"/>
                    </a:lnTo>
                    <a:lnTo>
                      <a:pt x="86" y="60"/>
                    </a:lnTo>
                    <a:lnTo>
                      <a:pt x="84" y="64"/>
                    </a:lnTo>
                    <a:lnTo>
                      <a:pt x="76" y="68"/>
                    </a:lnTo>
                    <a:lnTo>
                      <a:pt x="74" y="72"/>
                    </a:lnTo>
                    <a:lnTo>
                      <a:pt x="72" y="76"/>
                    </a:lnTo>
                    <a:lnTo>
                      <a:pt x="72" y="76"/>
                    </a:lnTo>
                    <a:lnTo>
                      <a:pt x="72" y="80"/>
                    </a:lnTo>
                    <a:lnTo>
                      <a:pt x="70" y="82"/>
                    </a:lnTo>
                    <a:lnTo>
                      <a:pt x="64" y="82"/>
                    </a:lnTo>
                    <a:lnTo>
                      <a:pt x="58" y="84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54" y="98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12"/>
                    </a:lnTo>
                    <a:lnTo>
                      <a:pt x="46" y="114"/>
                    </a:lnTo>
                    <a:lnTo>
                      <a:pt x="46" y="114"/>
                    </a:lnTo>
                    <a:lnTo>
                      <a:pt x="54" y="118"/>
                    </a:lnTo>
                    <a:lnTo>
                      <a:pt x="56" y="122"/>
                    </a:lnTo>
                    <a:lnTo>
                      <a:pt x="56" y="124"/>
                    </a:lnTo>
                    <a:lnTo>
                      <a:pt x="54" y="124"/>
                    </a:lnTo>
                    <a:lnTo>
                      <a:pt x="44" y="126"/>
                    </a:lnTo>
                    <a:lnTo>
                      <a:pt x="44" y="126"/>
                    </a:lnTo>
                    <a:lnTo>
                      <a:pt x="34" y="128"/>
                    </a:lnTo>
                    <a:lnTo>
                      <a:pt x="30" y="130"/>
                    </a:lnTo>
                    <a:lnTo>
                      <a:pt x="30" y="134"/>
                    </a:lnTo>
                    <a:lnTo>
                      <a:pt x="34" y="140"/>
                    </a:lnTo>
                    <a:lnTo>
                      <a:pt x="34" y="140"/>
                    </a:lnTo>
                    <a:lnTo>
                      <a:pt x="34" y="144"/>
                    </a:lnTo>
                    <a:lnTo>
                      <a:pt x="32" y="150"/>
                    </a:lnTo>
                    <a:lnTo>
                      <a:pt x="22" y="160"/>
                    </a:lnTo>
                    <a:lnTo>
                      <a:pt x="10" y="172"/>
                    </a:lnTo>
                    <a:lnTo>
                      <a:pt x="6" y="178"/>
                    </a:lnTo>
                    <a:lnTo>
                      <a:pt x="4" y="182"/>
                    </a:lnTo>
                    <a:lnTo>
                      <a:pt x="4" y="182"/>
                    </a:lnTo>
                    <a:lnTo>
                      <a:pt x="2" y="188"/>
                    </a:lnTo>
                    <a:lnTo>
                      <a:pt x="0" y="192"/>
                    </a:lnTo>
                    <a:lnTo>
                      <a:pt x="0" y="194"/>
                    </a:lnTo>
                    <a:lnTo>
                      <a:pt x="2" y="196"/>
                    </a:lnTo>
                    <a:lnTo>
                      <a:pt x="2" y="19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27" name="Freeform 6018">
                <a:extLst>
                  <a:ext uri="{FF2B5EF4-FFF2-40B4-BE49-F238E27FC236}">
                    <a16:creationId xmlns:a16="http://schemas.microsoft.com/office/drawing/2014/main" id="{210DDF05-8315-461B-9EBA-30F63E06FE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8570" y="1024573"/>
                <a:ext cx="190500" cy="87630"/>
              </a:xfrm>
              <a:custGeom>
                <a:avLst/>
                <a:gdLst/>
                <a:ahLst/>
                <a:cxnLst>
                  <a:cxn ang="0">
                    <a:pos x="12" y="124"/>
                  </a:cxn>
                  <a:cxn ang="0">
                    <a:pos x="16" y="130"/>
                  </a:cxn>
                  <a:cxn ang="0">
                    <a:pos x="36" y="120"/>
                  </a:cxn>
                  <a:cxn ang="0">
                    <a:pos x="50" y="118"/>
                  </a:cxn>
                  <a:cxn ang="0">
                    <a:pos x="66" y="124"/>
                  </a:cxn>
                  <a:cxn ang="0">
                    <a:pos x="76" y="124"/>
                  </a:cxn>
                  <a:cxn ang="0">
                    <a:pos x="88" y="114"/>
                  </a:cxn>
                  <a:cxn ang="0">
                    <a:pos x="94" y="122"/>
                  </a:cxn>
                  <a:cxn ang="0">
                    <a:pos x="112" y="138"/>
                  </a:cxn>
                  <a:cxn ang="0">
                    <a:pos x="132" y="132"/>
                  </a:cxn>
                  <a:cxn ang="0">
                    <a:pos x="138" y="114"/>
                  </a:cxn>
                  <a:cxn ang="0">
                    <a:pos x="146" y="110"/>
                  </a:cxn>
                  <a:cxn ang="0">
                    <a:pos x="156" y="114"/>
                  </a:cxn>
                  <a:cxn ang="0">
                    <a:pos x="174" y="94"/>
                  </a:cxn>
                  <a:cxn ang="0">
                    <a:pos x="182" y="76"/>
                  </a:cxn>
                  <a:cxn ang="0">
                    <a:pos x="186" y="66"/>
                  </a:cxn>
                  <a:cxn ang="0">
                    <a:pos x="206" y="56"/>
                  </a:cxn>
                  <a:cxn ang="0">
                    <a:pos x="208" y="64"/>
                  </a:cxn>
                  <a:cxn ang="0">
                    <a:pos x="206" y="88"/>
                  </a:cxn>
                  <a:cxn ang="0">
                    <a:pos x="214" y="96"/>
                  </a:cxn>
                  <a:cxn ang="0">
                    <a:pos x="236" y="100"/>
                  </a:cxn>
                  <a:cxn ang="0">
                    <a:pos x="244" y="92"/>
                  </a:cxn>
                  <a:cxn ang="0">
                    <a:pos x="246" y="80"/>
                  </a:cxn>
                  <a:cxn ang="0">
                    <a:pos x="274" y="74"/>
                  </a:cxn>
                  <a:cxn ang="0">
                    <a:pos x="294" y="60"/>
                  </a:cxn>
                  <a:cxn ang="0">
                    <a:pos x="280" y="42"/>
                  </a:cxn>
                  <a:cxn ang="0">
                    <a:pos x="272" y="36"/>
                  </a:cxn>
                  <a:cxn ang="0">
                    <a:pos x="278" y="28"/>
                  </a:cxn>
                  <a:cxn ang="0">
                    <a:pos x="300" y="18"/>
                  </a:cxn>
                  <a:cxn ang="0">
                    <a:pos x="288" y="8"/>
                  </a:cxn>
                  <a:cxn ang="0">
                    <a:pos x="258" y="0"/>
                  </a:cxn>
                  <a:cxn ang="0">
                    <a:pos x="244" y="4"/>
                  </a:cxn>
                  <a:cxn ang="0">
                    <a:pos x="234" y="16"/>
                  </a:cxn>
                  <a:cxn ang="0">
                    <a:pos x="202" y="12"/>
                  </a:cxn>
                  <a:cxn ang="0">
                    <a:pos x="160" y="18"/>
                  </a:cxn>
                  <a:cxn ang="0">
                    <a:pos x="128" y="38"/>
                  </a:cxn>
                  <a:cxn ang="0">
                    <a:pos x="102" y="58"/>
                  </a:cxn>
                  <a:cxn ang="0">
                    <a:pos x="82" y="66"/>
                  </a:cxn>
                  <a:cxn ang="0">
                    <a:pos x="66" y="78"/>
                  </a:cxn>
                  <a:cxn ang="0">
                    <a:pos x="44" y="90"/>
                  </a:cxn>
                  <a:cxn ang="0">
                    <a:pos x="28" y="86"/>
                  </a:cxn>
                  <a:cxn ang="0">
                    <a:pos x="12" y="96"/>
                  </a:cxn>
                  <a:cxn ang="0">
                    <a:pos x="2" y="112"/>
                  </a:cxn>
                  <a:cxn ang="0">
                    <a:pos x="14" y="116"/>
                  </a:cxn>
                </a:cxnLst>
                <a:rect l="0" t="0" r="r" b="b"/>
                <a:pathLst>
                  <a:path w="300" h="138">
                    <a:moveTo>
                      <a:pt x="14" y="120"/>
                    </a:moveTo>
                    <a:lnTo>
                      <a:pt x="14" y="120"/>
                    </a:lnTo>
                    <a:lnTo>
                      <a:pt x="12" y="124"/>
                    </a:lnTo>
                    <a:lnTo>
                      <a:pt x="12" y="126"/>
                    </a:lnTo>
                    <a:lnTo>
                      <a:pt x="14" y="128"/>
                    </a:lnTo>
                    <a:lnTo>
                      <a:pt x="16" y="130"/>
                    </a:lnTo>
                    <a:lnTo>
                      <a:pt x="24" y="128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42" y="118"/>
                    </a:lnTo>
                    <a:lnTo>
                      <a:pt x="46" y="116"/>
                    </a:lnTo>
                    <a:lnTo>
                      <a:pt x="50" y="118"/>
                    </a:lnTo>
                    <a:lnTo>
                      <a:pt x="52" y="118"/>
                    </a:lnTo>
                    <a:lnTo>
                      <a:pt x="60" y="124"/>
                    </a:lnTo>
                    <a:lnTo>
                      <a:pt x="66" y="124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6" y="124"/>
                    </a:lnTo>
                    <a:lnTo>
                      <a:pt x="82" y="122"/>
                    </a:lnTo>
                    <a:lnTo>
                      <a:pt x="86" y="116"/>
                    </a:lnTo>
                    <a:lnTo>
                      <a:pt x="88" y="114"/>
                    </a:lnTo>
                    <a:lnTo>
                      <a:pt x="90" y="114"/>
                    </a:lnTo>
                    <a:lnTo>
                      <a:pt x="94" y="122"/>
                    </a:lnTo>
                    <a:lnTo>
                      <a:pt x="94" y="122"/>
                    </a:lnTo>
                    <a:lnTo>
                      <a:pt x="98" y="130"/>
                    </a:lnTo>
                    <a:lnTo>
                      <a:pt x="104" y="134"/>
                    </a:lnTo>
                    <a:lnTo>
                      <a:pt x="112" y="138"/>
                    </a:lnTo>
                    <a:lnTo>
                      <a:pt x="118" y="138"/>
                    </a:lnTo>
                    <a:lnTo>
                      <a:pt x="126" y="136"/>
                    </a:lnTo>
                    <a:lnTo>
                      <a:pt x="132" y="132"/>
                    </a:lnTo>
                    <a:lnTo>
                      <a:pt x="136" y="124"/>
                    </a:lnTo>
                    <a:lnTo>
                      <a:pt x="138" y="114"/>
                    </a:lnTo>
                    <a:lnTo>
                      <a:pt x="138" y="114"/>
                    </a:lnTo>
                    <a:lnTo>
                      <a:pt x="138" y="106"/>
                    </a:lnTo>
                    <a:lnTo>
                      <a:pt x="140" y="104"/>
                    </a:lnTo>
                    <a:lnTo>
                      <a:pt x="146" y="110"/>
                    </a:lnTo>
                    <a:lnTo>
                      <a:pt x="150" y="114"/>
                    </a:lnTo>
                    <a:lnTo>
                      <a:pt x="154" y="114"/>
                    </a:lnTo>
                    <a:lnTo>
                      <a:pt x="156" y="114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74" y="94"/>
                    </a:lnTo>
                    <a:lnTo>
                      <a:pt x="174" y="94"/>
                    </a:lnTo>
                    <a:lnTo>
                      <a:pt x="180" y="82"/>
                    </a:lnTo>
                    <a:lnTo>
                      <a:pt x="182" y="76"/>
                    </a:lnTo>
                    <a:lnTo>
                      <a:pt x="182" y="68"/>
                    </a:lnTo>
                    <a:lnTo>
                      <a:pt x="184" y="66"/>
                    </a:lnTo>
                    <a:lnTo>
                      <a:pt x="186" y="66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206" y="56"/>
                    </a:lnTo>
                    <a:lnTo>
                      <a:pt x="208" y="58"/>
                    </a:lnTo>
                    <a:lnTo>
                      <a:pt x="210" y="58"/>
                    </a:lnTo>
                    <a:lnTo>
                      <a:pt x="208" y="64"/>
                    </a:lnTo>
                    <a:lnTo>
                      <a:pt x="206" y="72"/>
                    </a:lnTo>
                    <a:lnTo>
                      <a:pt x="204" y="80"/>
                    </a:lnTo>
                    <a:lnTo>
                      <a:pt x="206" y="88"/>
                    </a:lnTo>
                    <a:lnTo>
                      <a:pt x="208" y="92"/>
                    </a:lnTo>
                    <a:lnTo>
                      <a:pt x="210" y="94"/>
                    </a:lnTo>
                    <a:lnTo>
                      <a:pt x="214" y="96"/>
                    </a:lnTo>
                    <a:lnTo>
                      <a:pt x="222" y="98"/>
                    </a:lnTo>
                    <a:lnTo>
                      <a:pt x="222" y="98"/>
                    </a:lnTo>
                    <a:lnTo>
                      <a:pt x="236" y="100"/>
                    </a:lnTo>
                    <a:lnTo>
                      <a:pt x="242" y="98"/>
                    </a:lnTo>
                    <a:lnTo>
                      <a:pt x="246" y="96"/>
                    </a:lnTo>
                    <a:lnTo>
                      <a:pt x="244" y="92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6" y="80"/>
                    </a:lnTo>
                    <a:lnTo>
                      <a:pt x="254" y="78"/>
                    </a:lnTo>
                    <a:lnTo>
                      <a:pt x="254" y="78"/>
                    </a:lnTo>
                    <a:lnTo>
                      <a:pt x="274" y="74"/>
                    </a:lnTo>
                    <a:lnTo>
                      <a:pt x="284" y="70"/>
                    </a:lnTo>
                    <a:lnTo>
                      <a:pt x="290" y="66"/>
                    </a:lnTo>
                    <a:lnTo>
                      <a:pt x="294" y="60"/>
                    </a:lnTo>
                    <a:lnTo>
                      <a:pt x="294" y="54"/>
                    </a:lnTo>
                    <a:lnTo>
                      <a:pt x="290" y="48"/>
                    </a:lnTo>
                    <a:lnTo>
                      <a:pt x="280" y="42"/>
                    </a:lnTo>
                    <a:lnTo>
                      <a:pt x="280" y="42"/>
                    </a:lnTo>
                    <a:lnTo>
                      <a:pt x="274" y="38"/>
                    </a:lnTo>
                    <a:lnTo>
                      <a:pt x="272" y="36"/>
                    </a:lnTo>
                    <a:lnTo>
                      <a:pt x="272" y="34"/>
                    </a:lnTo>
                    <a:lnTo>
                      <a:pt x="272" y="32"/>
                    </a:lnTo>
                    <a:lnTo>
                      <a:pt x="278" y="28"/>
                    </a:lnTo>
                    <a:lnTo>
                      <a:pt x="288" y="24"/>
                    </a:lnTo>
                    <a:lnTo>
                      <a:pt x="296" y="22"/>
                    </a:lnTo>
                    <a:lnTo>
                      <a:pt x="300" y="18"/>
                    </a:lnTo>
                    <a:lnTo>
                      <a:pt x="300" y="16"/>
                    </a:lnTo>
                    <a:lnTo>
                      <a:pt x="298" y="14"/>
                    </a:lnTo>
                    <a:lnTo>
                      <a:pt x="288" y="8"/>
                    </a:lnTo>
                    <a:lnTo>
                      <a:pt x="288" y="8"/>
                    </a:lnTo>
                    <a:lnTo>
                      <a:pt x="266" y="0"/>
                    </a:lnTo>
                    <a:lnTo>
                      <a:pt x="258" y="0"/>
                    </a:lnTo>
                    <a:lnTo>
                      <a:pt x="254" y="0"/>
                    </a:lnTo>
                    <a:lnTo>
                      <a:pt x="248" y="2"/>
                    </a:lnTo>
                    <a:lnTo>
                      <a:pt x="244" y="4"/>
                    </a:lnTo>
                    <a:lnTo>
                      <a:pt x="238" y="14"/>
                    </a:lnTo>
                    <a:lnTo>
                      <a:pt x="238" y="14"/>
                    </a:lnTo>
                    <a:lnTo>
                      <a:pt x="234" y="16"/>
                    </a:lnTo>
                    <a:lnTo>
                      <a:pt x="232" y="16"/>
                    </a:lnTo>
                    <a:lnTo>
                      <a:pt x="224" y="16"/>
                    </a:lnTo>
                    <a:lnTo>
                      <a:pt x="202" y="12"/>
                    </a:lnTo>
                    <a:lnTo>
                      <a:pt x="186" y="12"/>
                    </a:lnTo>
                    <a:lnTo>
                      <a:pt x="170" y="14"/>
                    </a:lnTo>
                    <a:lnTo>
                      <a:pt x="160" y="18"/>
                    </a:lnTo>
                    <a:lnTo>
                      <a:pt x="150" y="22"/>
                    </a:lnTo>
                    <a:lnTo>
                      <a:pt x="140" y="28"/>
                    </a:lnTo>
                    <a:lnTo>
                      <a:pt x="128" y="38"/>
                    </a:lnTo>
                    <a:lnTo>
                      <a:pt x="128" y="38"/>
                    </a:lnTo>
                    <a:lnTo>
                      <a:pt x="112" y="50"/>
                    </a:lnTo>
                    <a:lnTo>
                      <a:pt x="102" y="58"/>
                    </a:lnTo>
                    <a:lnTo>
                      <a:pt x="94" y="62"/>
                    </a:lnTo>
                    <a:lnTo>
                      <a:pt x="90" y="62"/>
                    </a:lnTo>
                    <a:lnTo>
                      <a:pt x="82" y="66"/>
                    </a:lnTo>
                    <a:lnTo>
                      <a:pt x="76" y="70"/>
                    </a:lnTo>
                    <a:lnTo>
                      <a:pt x="66" y="78"/>
                    </a:lnTo>
                    <a:lnTo>
                      <a:pt x="66" y="78"/>
                    </a:lnTo>
                    <a:lnTo>
                      <a:pt x="58" y="86"/>
                    </a:lnTo>
                    <a:lnTo>
                      <a:pt x="50" y="88"/>
                    </a:lnTo>
                    <a:lnTo>
                      <a:pt x="44" y="90"/>
                    </a:lnTo>
                    <a:lnTo>
                      <a:pt x="38" y="88"/>
                    </a:lnTo>
                    <a:lnTo>
                      <a:pt x="34" y="86"/>
                    </a:lnTo>
                    <a:lnTo>
                      <a:pt x="28" y="86"/>
                    </a:lnTo>
                    <a:lnTo>
                      <a:pt x="20" y="90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4" y="104"/>
                    </a:lnTo>
                    <a:lnTo>
                      <a:pt x="0" y="108"/>
                    </a:lnTo>
                    <a:lnTo>
                      <a:pt x="2" y="112"/>
                    </a:lnTo>
                    <a:lnTo>
                      <a:pt x="4" y="112"/>
                    </a:lnTo>
                    <a:lnTo>
                      <a:pt x="12" y="114"/>
                    </a:lnTo>
                    <a:lnTo>
                      <a:pt x="14" y="116"/>
                    </a:lnTo>
                    <a:lnTo>
                      <a:pt x="14" y="120"/>
                    </a:lnTo>
                    <a:lnTo>
                      <a:pt x="14" y="1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30" name="Freeform 6019">
                <a:extLst>
                  <a:ext uri="{FF2B5EF4-FFF2-40B4-BE49-F238E27FC236}">
                    <a16:creationId xmlns:a16="http://schemas.microsoft.com/office/drawing/2014/main" id="{B689D1B4-4FD2-47FB-AD1D-360D5441FE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8120" y="1056323"/>
                <a:ext cx="35560" cy="10160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18" y="16"/>
                  </a:cxn>
                  <a:cxn ang="0">
                    <a:pos x="38" y="16"/>
                  </a:cxn>
                  <a:cxn ang="0">
                    <a:pos x="46" y="14"/>
                  </a:cxn>
                  <a:cxn ang="0">
                    <a:pos x="54" y="12"/>
                  </a:cxn>
                  <a:cxn ang="0">
                    <a:pos x="54" y="12"/>
                  </a:cxn>
                  <a:cxn ang="0">
                    <a:pos x="56" y="10"/>
                  </a:cxn>
                  <a:cxn ang="0">
                    <a:pos x="56" y="8"/>
                  </a:cxn>
                  <a:cxn ang="0">
                    <a:pos x="54" y="6"/>
                  </a:cxn>
                  <a:cxn ang="0">
                    <a:pos x="46" y="2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</a:cxnLst>
                <a:rect l="0" t="0" r="r" b="b"/>
                <a:pathLst>
                  <a:path w="56" h="16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18" y="16"/>
                    </a:lnTo>
                    <a:lnTo>
                      <a:pt x="38" y="16"/>
                    </a:lnTo>
                    <a:lnTo>
                      <a:pt x="46" y="14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6" y="10"/>
                    </a:lnTo>
                    <a:lnTo>
                      <a:pt x="56" y="8"/>
                    </a:lnTo>
                    <a:lnTo>
                      <a:pt x="54" y="6"/>
                    </a:lnTo>
                    <a:lnTo>
                      <a:pt x="46" y="2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2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31" name="Freeform 6020">
                <a:extLst>
                  <a:ext uri="{FF2B5EF4-FFF2-40B4-BE49-F238E27FC236}">
                    <a16:creationId xmlns:a16="http://schemas.microsoft.com/office/drawing/2014/main" id="{C242C455-D4A1-4511-8A00-162B97AB0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310" y="996633"/>
                <a:ext cx="34290" cy="19050"/>
              </a:xfrm>
              <a:custGeom>
                <a:avLst/>
                <a:gdLst/>
                <a:ahLst/>
                <a:cxnLst>
                  <a:cxn ang="0">
                    <a:pos x="42" y="30"/>
                  </a:cxn>
                  <a:cxn ang="0">
                    <a:pos x="42" y="30"/>
                  </a:cxn>
                  <a:cxn ang="0">
                    <a:pos x="52" y="28"/>
                  </a:cxn>
                  <a:cxn ang="0">
                    <a:pos x="54" y="26"/>
                  </a:cxn>
                  <a:cxn ang="0">
                    <a:pos x="54" y="24"/>
                  </a:cxn>
                  <a:cxn ang="0">
                    <a:pos x="50" y="18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4"/>
                  </a:cxn>
                  <a:cxn ang="0">
                    <a:pos x="26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8" y="22"/>
                  </a:cxn>
                  <a:cxn ang="0">
                    <a:pos x="24" y="28"/>
                  </a:cxn>
                  <a:cxn ang="0">
                    <a:pos x="32" y="28"/>
                  </a:cxn>
                  <a:cxn ang="0">
                    <a:pos x="42" y="30"/>
                  </a:cxn>
                  <a:cxn ang="0">
                    <a:pos x="42" y="30"/>
                  </a:cxn>
                </a:cxnLst>
                <a:rect l="0" t="0" r="r" b="b"/>
                <a:pathLst>
                  <a:path w="54" h="30">
                    <a:moveTo>
                      <a:pt x="42" y="30"/>
                    </a:moveTo>
                    <a:lnTo>
                      <a:pt x="42" y="30"/>
                    </a:lnTo>
                    <a:lnTo>
                      <a:pt x="52" y="28"/>
                    </a:lnTo>
                    <a:lnTo>
                      <a:pt x="54" y="26"/>
                    </a:lnTo>
                    <a:lnTo>
                      <a:pt x="54" y="24"/>
                    </a:lnTo>
                    <a:lnTo>
                      <a:pt x="50" y="1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4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8" y="22"/>
                    </a:lnTo>
                    <a:lnTo>
                      <a:pt x="24" y="28"/>
                    </a:lnTo>
                    <a:lnTo>
                      <a:pt x="32" y="28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33" name="Freeform 6021">
                <a:extLst>
                  <a:ext uri="{FF2B5EF4-FFF2-40B4-BE49-F238E27FC236}">
                    <a16:creationId xmlns:a16="http://schemas.microsoft.com/office/drawing/2014/main" id="{8B56FFB8-48B3-4DB5-8AEE-7F59A0E966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4950" y="994093"/>
                <a:ext cx="97790" cy="39370"/>
              </a:xfrm>
              <a:custGeom>
                <a:avLst/>
                <a:gdLst/>
                <a:ahLst/>
                <a:cxnLst>
                  <a:cxn ang="0">
                    <a:pos x="106" y="56"/>
                  </a:cxn>
                  <a:cxn ang="0">
                    <a:pos x="106" y="56"/>
                  </a:cxn>
                  <a:cxn ang="0">
                    <a:pos x="120" y="52"/>
                  </a:cxn>
                  <a:cxn ang="0">
                    <a:pos x="130" y="48"/>
                  </a:cxn>
                  <a:cxn ang="0">
                    <a:pos x="136" y="44"/>
                  </a:cxn>
                  <a:cxn ang="0">
                    <a:pos x="138" y="40"/>
                  </a:cxn>
                  <a:cxn ang="0">
                    <a:pos x="138" y="34"/>
                  </a:cxn>
                  <a:cxn ang="0">
                    <a:pos x="132" y="30"/>
                  </a:cxn>
                  <a:cxn ang="0">
                    <a:pos x="124" y="28"/>
                  </a:cxn>
                  <a:cxn ang="0">
                    <a:pos x="114" y="26"/>
                  </a:cxn>
                  <a:cxn ang="0">
                    <a:pos x="114" y="26"/>
                  </a:cxn>
                  <a:cxn ang="0">
                    <a:pos x="104" y="24"/>
                  </a:cxn>
                  <a:cxn ang="0">
                    <a:pos x="104" y="24"/>
                  </a:cxn>
                  <a:cxn ang="0">
                    <a:pos x="118" y="22"/>
                  </a:cxn>
                  <a:cxn ang="0">
                    <a:pos x="138" y="16"/>
                  </a:cxn>
                  <a:cxn ang="0">
                    <a:pos x="148" y="12"/>
                  </a:cxn>
                  <a:cxn ang="0">
                    <a:pos x="152" y="8"/>
                  </a:cxn>
                  <a:cxn ang="0">
                    <a:pos x="152" y="8"/>
                  </a:cxn>
                  <a:cxn ang="0">
                    <a:pos x="154" y="4"/>
                  </a:cxn>
                  <a:cxn ang="0">
                    <a:pos x="152" y="2"/>
                  </a:cxn>
                  <a:cxn ang="0">
                    <a:pos x="148" y="0"/>
                  </a:cxn>
                  <a:cxn ang="0">
                    <a:pos x="138" y="0"/>
                  </a:cxn>
                  <a:cxn ang="0">
                    <a:pos x="124" y="0"/>
                  </a:cxn>
                  <a:cxn ang="0">
                    <a:pos x="90" y="4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18" y="14"/>
                  </a:cxn>
                  <a:cxn ang="0">
                    <a:pos x="8" y="18"/>
                  </a:cxn>
                  <a:cxn ang="0">
                    <a:pos x="4" y="22"/>
                  </a:cxn>
                  <a:cxn ang="0">
                    <a:pos x="0" y="26"/>
                  </a:cxn>
                  <a:cxn ang="0">
                    <a:pos x="0" y="30"/>
                  </a:cxn>
                  <a:cxn ang="0">
                    <a:pos x="8" y="46"/>
                  </a:cxn>
                  <a:cxn ang="0">
                    <a:pos x="8" y="46"/>
                  </a:cxn>
                  <a:cxn ang="0">
                    <a:pos x="14" y="52"/>
                  </a:cxn>
                  <a:cxn ang="0">
                    <a:pos x="22" y="58"/>
                  </a:cxn>
                  <a:cxn ang="0">
                    <a:pos x="32" y="60"/>
                  </a:cxn>
                  <a:cxn ang="0">
                    <a:pos x="46" y="62"/>
                  </a:cxn>
                  <a:cxn ang="0">
                    <a:pos x="74" y="60"/>
                  </a:cxn>
                  <a:cxn ang="0">
                    <a:pos x="106" y="56"/>
                  </a:cxn>
                  <a:cxn ang="0">
                    <a:pos x="106" y="56"/>
                  </a:cxn>
                </a:cxnLst>
                <a:rect l="0" t="0" r="r" b="b"/>
                <a:pathLst>
                  <a:path w="154" h="62">
                    <a:moveTo>
                      <a:pt x="106" y="56"/>
                    </a:moveTo>
                    <a:lnTo>
                      <a:pt x="106" y="56"/>
                    </a:lnTo>
                    <a:lnTo>
                      <a:pt x="120" y="52"/>
                    </a:lnTo>
                    <a:lnTo>
                      <a:pt x="130" y="48"/>
                    </a:lnTo>
                    <a:lnTo>
                      <a:pt x="136" y="44"/>
                    </a:lnTo>
                    <a:lnTo>
                      <a:pt x="138" y="40"/>
                    </a:lnTo>
                    <a:lnTo>
                      <a:pt x="138" y="34"/>
                    </a:lnTo>
                    <a:lnTo>
                      <a:pt x="132" y="30"/>
                    </a:lnTo>
                    <a:lnTo>
                      <a:pt x="124" y="28"/>
                    </a:lnTo>
                    <a:lnTo>
                      <a:pt x="114" y="26"/>
                    </a:lnTo>
                    <a:lnTo>
                      <a:pt x="114" y="26"/>
                    </a:lnTo>
                    <a:lnTo>
                      <a:pt x="104" y="24"/>
                    </a:lnTo>
                    <a:lnTo>
                      <a:pt x="104" y="24"/>
                    </a:lnTo>
                    <a:lnTo>
                      <a:pt x="118" y="22"/>
                    </a:lnTo>
                    <a:lnTo>
                      <a:pt x="138" y="16"/>
                    </a:lnTo>
                    <a:lnTo>
                      <a:pt x="148" y="12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54" y="4"/>
                    </a:lnTo>
                    <a:lnTo>
                      <a:pt x="152" y="2"/>
                    </a:lnTo>
                    <a:lnTo>
                      <a:pt x="148" y="0"/>
                    </a:lnTo>
                    <a:lnTo>
                      <a:pt x="138" y="0"/>
                    </a:lnTo>
                    <a:lnTo>
                      <a:pt x="124" y="0"/>
                    </a:lnTo>
                    <a:lnTo>
                      <a:pt x="9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18" y="14"/>
                    </a:lnTo>
                    <a:lnTo>
                      <a:pt x="8" y="18"/>
                    </a:lnTo>
                    <a:lnTo>
                      <a:pt x="4" y="22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4" y="52"/>
                    </a:lnTo>
                    <a:lnTo>
                      <a:pt x="22" y="58"/>
                    </a:lnTo>
                    <a:lnTo>
                      <a:pt x="32" y="60"/>
                    </a:lnTo>
                    <a:lnTo>
                      <a:pt x="46" y="62"/>
                    </a:lnTo>
                    <a:lnTo>
                      <a:pt x="74" y="60"/>
                    </a:lnTo>
                    <a:lnTo>
                      <a:pt x="106" y="56"/>
                    </a:lnTo>
                    <a:lnTo>
                      <a:pt x="106" y="5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34" name="Freeform 6022">
                <a:extLst>
                  <a:ext uri="{FF2B5EF4-FFF2-40B4-BE49-F238E27FC236}">
                    <a16:creationId xmlns:a16="http://schemas.microsoft.com/office/drawing/2014/main" id="{EE04FEB8-4001-468C-9D04-B162CECAD6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920" y="1067753"/>
                <a:ext cx="143510" cy="87630"/>
              </a:xfrm>
              <a:custGeom>
                <a:avLst/>
                <a:gdLst/>
                <a:ahLst/>
                <a:cxnLst>
                  <a:cxn ang="0">
                    <a:pos x="144" y="12"/>
                  </a:cxn>
                  <a:cxn ang="0">
                    <a:pos x="130" y="4"/>
                  </a:cxn>
                  <a:cxn ang="0">
                    <a:pos x="104" y="4"/>
                  </a:cxn>
                  <a:cxn ang="0">
                    <a:pos x="88" y="8"/>
                  </a:cxn>
                  <a:cxn ang="0">
                    <a:pos x="78" y="14"/>
                  </a:cxn>
                  <a:cxn ang="0">
                    <a:pos x="84" y="22"/>
                  </a:cxn>
                  <a:cxn ang="0">
                    <a:pos x="124" y="62"/>
                  </a:cxn>
                  <a:cxn ang="0">
                    <a:pos x="102" y="50"/>
                  </a:cxn>
                  <a:cxn ang="0">
                    <a:pos x="82" y="34"/>
                  </a:cxn>
                  <a:cxn ang="0">
                    <a:pos x="74" y="24"/>
                  </a:cxn>
                  <a:cxn ang="0">
                    <a:pos x="64" y="20"/>
                  </a:cxn>
                  <a:cxn ang="0">
                    <a:pos x="54" y="18"/>
                  </a:cxn>
                  <a:cxn ang="0">
                    <a:pos x="32" y="20"/>
                  </a:cxn>
                  <a:cxn ang="0">
                    <a:pos x="26" y="26"/>
                  </a:cxn>
                  <a:cxn ang="0">
                    <a:pos x="32" y="36"/>
                  </a:cxn>
                  <a:cxn ang="0">
                    <a:pos x="46" y="52"/>
                  </a:cxn>
                  <a:cxn ang="0">
                    <a:pos x="56" y="64"/>
                  </a:cxn>
                  <a:cxn ang="0">
                    <a:pos x="42" y="60"/>
                  </a:cxn>
                  <a:cxn ang="0">
                    <a:pos x="32" y="62"/>
                  </a:cxn>
                  <a:cxn ang="0">
                    <a:pos x="26" y="66"/>
                  </a:cxn>
                  <a:cxn ang="0">
                    <a:pos x="8" y="74"/>
                  </a:cxn>
                  <a:cxn ang="0">
                    <a:pos x="0" y="78"/>
                  </a:cxn>
                  <a:cxn ang="0">
                    <a:pos x="4" y="86"/>
                  </a:cxn>
                  <a:cxn ang="0">
                    <a:pos x="8" y="88"/>
                  </a:cxn>
                  <a:cxn ang="0">
                    <a:pos x="26" y="90"/>
                  </a:cxn>
                  <a:cxn ang="0">
                    <a:pos x="66" y="86"/>
                  </a:cxn>
                  <a:cxn ang="0">
                    <a:pos x="122" y="76"/>
                  </a:cxn>
                  <a:cxn ang="0">
                    <a:pos x="136" y="76"/>
                  </a:cxn>
                  <a:cxn ang="0">
                    <a:pos x="138" y="80"/>
                  </a:cxn>
                  <a:cxn ang="0">
                    <a:pos x="106" y="90"/>
                  </a:cxn>
                  <a:cxn ang="0">
                    <a:pos x="92" y="98"/>
                  </a:cxn>
                  <a:cxn ang="0">
                    <a:pos x="90" y="104"/>
                  </a:cxn>
                  <a:cxn ang="0">
                    <a:pos x="92" y="106"/>
                  </a:cxn>
                  <a:cxn ang="0">
                    <a:pos x="100" y="120"/>
                  </a:cxn>
                  <a:cxn ang="0">
                    <a:pos x="104" y="136"/>
                  </a:cxn>
                  <a:cxn ang="0">
                    <a:pos x="116" y="136"/>
                  </a:cxn>
                  <a:cxn ang="0">
                    <a:pos x="126" y="134"/>
                  </a:cxn>
                  <a:cxn ang="0">
                    <a:pos x="142" y="128"/>
                  </a:cxn>
                  <a:cxn ang="0">
                    <a:pos x="166" y="132"/>
                  </a:cxn>
                  <a:cxn ang="0">
                    <a:pos x="200" y="128"/>
                  </a:cxn>
                  <a:cxn ang="0">
                    <a:pos x="208" y="122"/>
                  </a:cxn>
                  <a:cxn ang="0">
                    <a:pos x="208" y="112"/>
                  </a:cxn>
                  <a:cxn ang="0">
                    <a:pos x="202" y="100"/>
                  </a:cxn>
                  <a:cxn ang="0">
                    <a:pos x="202" y="88"/>
                  </a:cxn>
                  <a:cxn ang="0">
                    <a:pos x="210" y="88"/>
                  </a:cxn>
                  <a:cxn ang="0">
                    <a:pos x="214" y="92"/>
                  </a:cxn>
                  <a:cxn ang="0">
                    <a:pos x="226" y="98"/>
                  </a:cxn>
                  <a:cxn ang="0">
                    <a:pos x="224" y="90"/>
                  </a:cxn>
                  <a:cxn ang="0">
                    <a:pos x="216" y="76"/>
                  </a:cxn>
                  <a:cxn ang="0">
                    <a:pos x="212" y="60"/>
                  </a:cxn>
                  <a:cxn ang="0">
                    <a:pos x="208" y="30"/>
                  </a:cxn>
                  <a:cxn ang="0">
                    <a:pos x="196" y="10"/>
                  </a:cxn>
                  <a:cxn ang="0">
                    <a:pos x="184" y="4"/>
                  </a:cxn>
                  <a:cxn ang="0">
                    <a:pos x="164" y="0"/>
                  </a:cxn>
                  <a:cxn ang="0">
                    <a:pos x="156" y="6"/>
                  </a:cxn>
                  <a:cxn ang="0">
                    <a:pos x="148" y="14"/>
                  </a:cxn>
                  <a:cxn ang="0">
                    <a:pos x="144" y="12"/>
                  </a:cxn>
                </a:cxnLst>
                <a:rect l="0" t="0" r="r" b="b"/>
                <a:pathLst>
                  <a:path w="226" h="138">
                    <a:moveTo>
                      <a:pt x="144" y="12"/>
                    </a:moveTo>
                    <a:lnTo>
                      <a:pt x="144" y="12"/>
                    </a:lnTo>
                    <a:lnTo>
                      <a:pt x="138" y="6"/>
                    </a:lnTo>
                    <a:lnTo>
                      <a:pt x="130" y="4"/>
                    </a:lnTo>
                    <a:lnTo>
                      <a:pt x="118" y="2"/>
                    </a:lnTo>
                    <a:lnTo>
                      <a:pt x="10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102" y="38"/>
                    </a:lnTo>
                    <a:lnTo>
                      <a:pt x="124" y="62"/>
                    </a:lnTo>
                    <a:lnTo>
                      <a:pt x="124" y="62"/>
                    </a:lnTo>
                    <a:lnTo>
                      <a:pt x="102" y="50"/>
                    </a:lnTo>
                    <a:lnTo>
                      <a:pt x="90" y="42"/>
                    </a:lnTo>
                    <a:lnTo>
                      <a:pt x="82" y="34"/>
                    </a:lnTo>
                    <a:lnTo>
                      <a:pt x="78" y="28"/>
                    </a:lnTo>
                    <a:lnTo>
                      <a:pt x="74" y="24"/>
                    </a:lnTo>
                    <a:lnTo>
                      <a:pt x="70" y="22"/>
                    </a:lnTo>
                    <a:lnTo>
                      <a:pt x="64" y="20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40" y="18"/>
                    </a:lnTo>
                    <a:lnTo>
                      <a:pt x="32" y="20"/>
                    </a:lnTo>
                    <a:lnTo>
                      <a:pt x="28" y="22"/>
                    </a:lnTo>
                    <a:lnTo>
                      <a:pt x="26" y="26"/>
                    </a:lnTo>
                    <a:lnTo>
                      <a:pt x="28" y="30"/>
                    </a:lnTo>
                    <a:lnTo>
                      <a:pt x="32" y="36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2"/>
                    </a:lnTo>
                    <a:lnTo>
                      <a:pt x="42" y="60"/>
                    </a:lnTo>
                    <a:lnTo>
                      <a:pt x="36" y="60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26" y="66"/>
                    </a:lnTo>
                    <a:lnTo>
                      <a:pt x="20" y="70"/>
                    </a:lnTo>
                    <a:lnTo>
                      <a:pt x="8" y="74"/>
                    </a:lnTo>
                    <a:lnTo>
                      <a:pt x="4" y="76"/>
                    </a:lnTo>
                    <a:lnTo>
                      <a:pt x="0" y="78"/>
                    </a:lnTo>
                    <a:lnTo>
                      <a:pt x="0" y="82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8" y="88"/>
                    </a:lnTo>
                    <a:lnTo>
                      <a:pt x="12" y="90"/>
                    </a:lnTo>
                    <a:lnTo>
                      <a:pt x="26" y="90"/>
                    </a:lnTo>
                    <a:lnTo>
                      <a:pt x="44" y="88"/>
                    </a:lnTo>
                    <a:lnTo>
                      <a:pt x="66" y="86"/>
                    </a:lnTo>
                    <a:lnTo>
                      <a:pt x="106" y="78"/>
                    </a:lnTo>
                    <a:lnTo>
                      <a:pt x="122" y="76"/>
                    </a:lnTo>
                    <a:lnTo>
                      <a:pt x="136" y="76"/>
                    </a:lnTo>
                    <a:lnTo>
                      <a:pt x="136" y="76"/>
                    </a:lnTo>
                    <a:lnTo>
                      <a:pt x="140" y="78"/>
                    </a:lnTo>
                    <a:lnTo>
                      <a:pt x="138" y="80"/>
                    </a:lnTo>
                    <a:lnTo>
                      <a:pt x="118" y="86"/>
                    </a:lnTo>
                    <a:lnTo>
                      <a:pt x="106" y="90"/>
                    </a:lnTo>
                    <a:lnTo>
                      <a:pt x="96" y="94"/>
                    </a:lnTo>
                    <a:lnTo>
                      <a:pt x="92" y="98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98" y="114"/>
                    </a:lnTo>
                    <a:lnTo>
                      <a:pt x="100" y="120"/>
                    </a:lnTo>
                    <a:lnTo>
                      <a:pt x="102" y="132"/>
                    </a:lnTo>
                    <a:lnTo>
                      <a:pt x="104" y="136"/>
                    </a:lnTo>
                    <a:lnTo>
                      <a:pt x="108" y="138"/>
                    </a:lnTo>
                    <a:lnTo>
                      <a:pt x="116" y="136"/>
                    </a:lnTo>
                    <a:lnTo>
                      <a:pt x="126" y="134"/>
                    </a:lnTo>
                    <a:lnTo>
                      <a:pt x="126" y="134"/>
                    </a:lnTo>
                    <a:lnTo>
                      <a:pt x="136" y="130"/>
                    </a:lnTo>
                    <a:lnTo>
                      <a:pt x="142" y="128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84" y="132"/>
                    </a:lnTo>
                    <a:lnTo>
                      <a:pt x="200" y="128"/>
                    </a:lnTo>
                    <a:lnTo>
                      <a:pt x="206" y="126"/>
                    </a:lnTo>
                    <a:lnTo>
                      <a:pt x="208" y="122"/>
                    </a:lnTo>
                    <a:lnTo>
                      <a:pt x="210" y="118"/>
                    </a:lnTo>
                    <a:lnTo>
                      <a:pt x="208" y="112"/>
                    </a:lnTo>
                    <a:lnTo>
                      <a:pt x="208" y="112"/>
                    </a:lnTo>
                    <a:lnTo>
                      <a:pt x="202" y="100"/>
                    </a:lnTo>
                    <a:lnTo>
                      <a:pt x="202" y="92"/>
                    </a:lnTo>
                    <a:lnTo>
                      <a:pt x="202" y="88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92"/>
                    </a:lnTo>
                    <a:lnTo>
                      <a:pt x="214" y="92"/>
                    </a:lnTo>
                    <a:lnTo>
                      <a:pt x="224" y="98"/>
                    </a:lnTo>
                    <a:lnTo>
                      <a:pt x="226" y="98"/>
                    </a:lnTo>
                    <a:lnTo>
                      <a:pt x="226" y="98"/>
                    </a:lnTo>
                    <a:lnTo>
                      <a:pt x="224" y="90"/>
                    </a:lnTo>
                    <a:lnTo>
                      <a:pt x="216" y="76"/>
                    </a:lnTo>
                    <a:lnTo>
                      <a:pt x="216" y="76"/>
                    </a:lnTo>
                    <a:lnTo>
                      <a:pt x="214" y="68"/>
                    </a:lnTo>
                    <a:lnTo>
                      <a:pt x="212" y="60"/>
                    </a:lnTo>
                    <a:lnTo>
                      <a:pt x="210" y="40"/>
                    </a:lnTo>
                    <a:lnTo>
                      <a:pt x="208" y="30"/>
                    </a:lnTo>
                    <a:lnTo>
                      <a:pt x="204" y="20"/>
                    </a:lnTo>
                    <a:lnTo>
                      <a:pt x="196" y="10"/>
                    </a:lnTo>
                    <a:lnTo>
                      <a:pt x="184" y="4"/>
                    </a:lnTo>
                    <a:lnTo>
                      <a:pt x="184" y="4"/>
                    </a:lnTo>
                    <a:lnTo>
                      <a:pt x="172" y="0"/>
                    </a:lnTo>
                    <a:lnTo>
                      <a:pt x="164" y="0"/>
                    </a:lnTo>
                    <a:lnTo>
                      <a:pt x="160" y="2"/>
                    </a:lnTo>
                    <a:lnTo>
                      <a:pt x="156" y="6"/>
                    </a:lnTo>
                    <a:lnTo>
                      <a:pt x="152" y="14"/>
                    </a:lnTo>
                    <a:lnTo>
                      <a:pt x="148" y="14"/>
                    </a:lnTo>
                    <a:lnTo>
                      <a:pt x="144" y="12"/>
                    </a:lnTo>
                    <a:lnTo>
                      <a:pt x="144" y="1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37" name="Freeform 6023">
                <a:extLst>
                  <a:ext uri="{FF2B5EF4-FFF2-40B4-BE49-F238E27FC236}">
                    <a16:creationId xmlns:a16="http://schemas.microsoft.com/office/drawing/2014/main" id="{9EB056F7-BCF1-40D1-AAFB-B8918C2F9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2770" y="887413"/>
                <a:ext cx="36830" cy="25400"/>
              </a:xfrm>
              <a:custGeom>
                <a:avLst/>
                <a:gdLst/>
                <a:ahLst/>
                <a:cxnLst>
                  <a:cxn ang="0">
                    <a:pos x="30" y="32"/>
                  </a:cxn>
                  <a:cxn ang="0">
                    <a:pos x="30" y="32"/>
                  </a:cxn>
                  <a:cxn ang="0">
                    <a:pos x="40" y="38"/>
                  </a:cxn>
                  <a:cxn ang="0">
                    <a:pos x="46" y="40"/>
                  </a:cxn>
                  <a:cxn ang="0">
                    <a:pos x="50" y="40"/>
                  </a:cxn>
                  <a:cxn ang="0">
                    <a:pos x="54" y="38"/>
                  </a:cxn>
                  <a:cxn ang="0">
                    <a:pos x="56" y="34"/>
                  </a:cxn>
                  <a:cxn ang="0">
                    <a:pos x="58" y="28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10" y="24"/>
                  </a:cxn>
                  <a:cxn ang="0">
                    <a:pos x="18" y="26"/>
                  </a:cxn>
                  <a:cxn ang="0">
                    <a:pos x="24" y="28"/>
                  </a:cxn>
                  <a:cxn ang="0">
                    <a:pos x="30" y="32"/>
                  </a:cxn>
                  <a:cxn ang="0">
                    <a:pos x="30" y="32"/>
                  </a:cxn>
                </a:cxnLst>
                <a:rect l="0" t="0" r="r" b="b"/>
                <a:pathLst>
                  <a:path w="58" h="40">
                    <a:moveTo>
                      <a:pt x="30" y="32"/>
                    </a:moveTo>
                    <a:lnTo>
                      <a:pt x="30" y="32"/>
                    </a:lnTo>
                    <a:lnTo>
                      <a:pt x="40" y="38"/>
                    </a:lnTo>
                    <a:lnTo>
                      <a:pt x="46" y="40"/>
                    </a:lnTo>
                    <a:lnTo>
                      <a:pt x="50" y="40"/>
                    </a:lnTo>
                    <a:lnTo>
                      <a:pt x="54" y="38"/>
                    </a:lnTo>
                    <a:lnTo>
                      <a:pt x="56" y="34"/>
                    </a:lnTo>
                    <a:lnTo>
                      <a:pt x="58" y="28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10" y="24"/>
                    </a:lnTo>
                    <a:lnTo>
                      <a:pt x="18" y="26"/>
                    </a:lnTo>
                    <a:lnTo>
                      <a:pt x="24" y="28"/>
                    </a:lnTo>
                    <a:lnTo>
                      <a:pt x="30" y="32"/>
                    </a:lnTo>
                    <a:lnTo>
                      <a:pt x="30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40" name="Freeform 6024">
                <a:extLst>
                  <a:ext uri="{FF2B5EF4-FFF2-40B4-BE49-F238E27FC236}">
                    <a16:creationId xmlns:a16="http://schemas.microsoft.com/office/drawing/2014/main" id="{708D989C-F665-4576-8447-32EB6908C0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7490" y="963613"/>
                <a:ext cx="102870" cy="24130"/>
              </a:xfrm>
              <a:custGeom>
                <a:avLst/>
                <a:gdLst/>
                <a:ahLst/>
                <a:cxnLst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4" y="32"/>
                  </a:cxn>
                  <a:cxn ang="0">
                    <a:pos x="60" y="36"/>
                  </a:cxn>
                  <a:cxn ang="0">
                    <a:pos x="60" y="36"/>
                  </a:cxn>
                  <a:cxn ang="0">
                    <a:pos x="72" y="38"/>
                  </a:cxn>
                  <a:cxn ang="0">
                    <a:pos x="76" y="36"/>
                  </a:cxn>
                  <a:cxn ang="0">
                    <a:pos x="84" y="34"/>
                  </a:cxn>
                  <a:cxn ang="0">
                    <a:pos x="108" y="34"/>
                  </a:cxn>
                  <a:cxn ang="0">
                    <a:pos x="108" y="34"/>
                  </a:cxn>
                  <a:cxn ang="0">
                    <a:pos x="124" y="36"/>
                  </a:cxn>
                  <a:cxn ang="0">
                    <a:pos x="138" y="34"/>
                  </a:cxn>
                  <a:cxn ang="0">
                    <a:pos x="150" y="32"/>
                  </a:cxn>
                  <a:cxn ang="0">
                    <a:pos x="158" y="28"/>
                  </a:cxn>
                  <a:cxn ang="0">
                    <a:pos x="162" y="24"/>
                  </a:cxn>
                  <a:cxn ang="0">
                    <a:pos x="162" y="22"/>
                  </a:cxn>
                  <a:cxn ang="0">
                    <a:pos x="160" y="18"/>
                  </a:cxn>
                  <a:cxn ang="0">
                    <a:pos x="152" y="12"/>
                  </a:cxn>
                  <a:cxn ang="0">
                    <a:pos x="138" y="6"/>
                  </a:cxn>
                  <a:cxn ang="0">
                    <a:pos x="138" y="6"/>
                  </a:cxn>
                  <a:cxn ang="0">
                    <a:pos x="122" y="0"/>
                  </a:cxn>
                  <a:cxn ang="0">
                    <a:pos x="108" y="0"/>
                  </a:cxn>
                  <a:cxn ang="0">
                    <a:pos x="96" y="0"/>
                  </a:cxn>
                  <a:cxn ang="0">
                    <a:pos x="86" y="2"/>
                  </a:cxn>
                  <a:cxn ang="0">
                    <a:pos x="64" y="10"/>
                  </a:cxn>
                  <a:cxn ang="0">
                    <a:pos x="52" y="14"/>
                  </a:cxn>
                  <a:cxn ang="0">
                    <a:pos x="36" y="16"/>
                  </a:cxn>
                  <a:cxn ang="0">
                    <a:pos x="36" y="16"/>
                  </a:cxn>
                  <a:cxn ang="0">
                    <a:pos x="22" y="20"/>
                  </a:cxn>
                  <a:cxn ang="0">
                    <a:pos x="10" y="24"/>
                  </a:cxn>
                  <a:cxn ang="0">
                    <a:pos x="4" y="28"/>
                  </a:cxn>
                  <a:cxn ang="0">
                    <a:pos x="0" y="30"/>
                  </a:cxn>
                  <a:cxn ang="0">
                    <a:pos x="0" y="34"/>
                  </a:cxn>
                  <a:cxn ang="0">
                    <a:pos x="4" y="36"/>
                  </a:cxn>
                  <a:cxn ang="0">
                    <a:pos x="10" y="36"/>
                  </a:cxn>
                  <a:cxn ang="0">
                    <a:pos x="20" y="34"/>
                  </a:cxn>
                  <a:cxn ang="0">
                    <a:pos x="20" y="34"/>
                  </a:cxn>
                </a:cxnLst>
                <a:rect l="0" t="0" r="r" b="b"/>
                <a:pathLst>
                  <a:path w="162" h="38">
                    <a:moveTo>
                      <a:pt x="20" y="34"/>
                    </a:moveTo>
                    <a:lnTo>
                      <a:pt x="20" y="34"/>
                    </a:lnTo>
                    <a:lnTo>
                      <a:pt x="26" y="32"/>
                    </a:lnTo>
                    <a:lnTo>
                      <a:pt x="34" y="32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72" y="38"/>
                    </a:lnTo>
                    <a:lnTo>
                      <a:pt x="76" y="36"/>
                    </a:lnTo>
                    <a:lnTo>
                      <a:pt x="84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24" y="36"/>
                    </a:lnTo>
                    <a:lnTo>
                      <a:pt x="138" y="34"/>
                    </a:lnTo>
                    <a:lnTo>
                      <a:pt x="150" y="32"/>
                    </a:lnTo>
                    <a:lnTo>
                      <a:pt x="158" y="28"/>
                    </a:lnTo>
                    <a:lnTo>
                      <a:pt x="162" y="24"/>
                    </a:lnTo>
                    <a:lnTo>
                      <a:pt x="162" y="22"/>
                    </a:lnTo>
                    <a:lnTo>
                      <a:pt x="160" y="18"/>
                    </a:lnTo>
                    <a:lnTo>
                      <a:pt x="152" y="12"/>
                    </a:lnTo>
                    <a:lnTo>
                      <a:pt x="138" y="6"/>
                    </a:lnTo>
                    <a:lnTo>
                      <a:pt x="138" y="6"/>
                    </a:lnTo>
                    <a:lnTo>
                      <a:pt x="122" y="0"/>
                    </a:lnTo>
                    <a:lnTo>
                      <a:pt x="108" y="0"/>
                    </a:lnTo>
                    <a:lnTo>
                      <a:pt x="96" y="0"/>
                    </a:lnTo>
                    <a:lnTo>
                      <a:pt x="86" y="2"/>
                    </a:lnTo>
                    <a:lnTo>
                      <a:pt x="64" y="10"/>
                    </a:lnTo>
                    <a:lnTo>
                      <a:pt x="52" y="14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22" y="20"/>
                    </a:lnTo>
                    <a:lnTo>
                      <a:pt x="10" y="24"/>
                    </a:lnTo>
                    <a:lnTo>
                      <a:pt x="4" y="28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10" y="36"/>
                    </a:lnTo>
                    <a:lnTo>
                      <a:pt x="20" y="34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41" name="Freeform 6025">
                <a:extLst>
                  <a:ext uri="{FF2B5EF4-FFF2-40B4-BE49-F238E27FC236}">
                    <a16:creationId xmlns:a16="http://schemas.microsoft.com/office/drawing/2014/main" id="{1827A21E-EB8C-48AC-95D1-899BF1D392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3070" y="928053"/>
                <a:ext cx="168910" cy="82550"/>
              </a:xfrm>
              <a:custGeom>
                <a:avLst/>
                <a:gdLst/>
                <a:ahLst/>
                <a:cxnLst>
                  <a:cxn ang="0">
                    <a:pos x="30" y="40"/>
                  </a:cxn>
                  <a:cxn ang="0">
                    <a:pos x="32" y="50"/>
                  </a:cxn>
                  <a:cxn ang="0">
                    <a:pos x="40" y="46"/>
                  </a:cxn>
                  <a:cxn ang="0">
                    <a:pos x="52" y="44"/>
                  </a:cxn>
                  <a:cxn ang="0">
                    <a:pos x="66" y="54"/>
                  </a:cxn>
                  <a:cxn ang="0">
                    <a:pos x="72" y="62"/>
                  </a:cxn>
                  <a:cxn ang="0">
                    <a:pos x="68" y="70"/>
                  </a:cxn>
                  <a:cxn ang="0">
                    <a:pos x="44" y="68"/>
                  </a:cxn>
                  <a:cxn ang="0">
                    <a:pos x="26" y="70"/>
                  </a:cxn>
                  <a:cxn ang="0">
                    <a:pos x="24" y="74"/>
                  </a:cxn>
                  <a:cxn ang="0">
                    <a:pos x="24" y="82"/>
                  </a:cxn>
                  <a:cxn ang="0">
                    <a:pos x="36" y="90"/>
                  </a:cxn>
                  <a:cxn ang="0">
                    <a:pos x="60" y="92"/>
                  </a:cxn>
                  <a:cxn ang="0">
                    <a:pos x="78" y="88"/>
                  </a:cxn>
                  <a:cxn ang="0">
                    <a:pos x="108" y="82"/>
                  </a:cxn>
                  <a:cxn ang="0">
                    <a:pos x="114" y="86"/>
                  </a:cxn>
                  <a:cxn ang="0">
                    <a:pos x="120" y="92"/>
                  </a:cxn>
                  <a:cxn ang="0">
                    <a:pos x="146" y="90"/>
                  </a:cxn>
                  <a:cxn ang="0">
                    <a:pos x="156" y="90"/>
                  </a:cxn>
                  <a:cxn ang="0">
                    <a:pos x="170" y="92"/>
                  </a:cxn>
                  <a:cxn ang="0">
                    <a:pos x="182" y="102"/>
                  </a:cxn>
                  <a:cxn ang="0">
                    <a:pos x="194" y="120"/>
                  </a:cxn>
                  <a:cxn ang="0">
                    <a:pos x="204" y="126"/>
                  </a:cxn>
                  <a:cxn ang="0">
                    <a:pos x="220" y="130"/>
                  </a:cxn>
                  <a:cxn ang="0">
                    <a:pos x="244" y="128"/>
                  </a:cxn>
                  <a:cxn ang="0">
                    <a:pos x="254" y="126"/>
                  </a:cxn>
                  <a:cxn ang="0">
                    <a:pos x="266" y="122"/>
                  </a:cxn>
                  <a:cxn ang="0">
                    <a:pos x="266" y="114"/>
                  </a:cxn>
                  <a:cxn ang="0">
                    <a:pos x="258" y="102"/>
                  </a:cxn>
                  <a:cxn ang="0">
                    <a:pos x="234" y="82"/>
                  </a:cxn>
                  <a:cxn ang="0">
                    <a:pos x="238" y="78"/>
                  </a:cxn>
                  <a:cxn ang="0">
                    <a:pos x="242" y="76"/>
                  </a:cxn>
                  <a:cxn ang="0">
                    <a:pos x="248" y="68"/>
                  </a:cxn>
                  <a:cxn ang="0">
                    <a:pos x="242" y="58"/>
                  </a:cxn>
                  <a:cxn ang="0">
                    <a:pos x="224" y="50"/>
                  </a:cxn>
                  <a:cxn ang="0">
                    <a:pos x="210" y="48"/>
                  </a:cxn>
                  <a:cxn ang="0">
                    <a:pos x="186" y="44"/>
                  </a:cxn>
                  <a:cxn ang="0">
                    <a:pos x="184" y="40"/>
                  </a:cxn>
                  <a:cxn ang="0">
                    <a:pos x="176" y="32"/>
                  </a:cxn>
                  <a:cxn ang="0">
                    <a:pos x="164" y="28"/>
                  </a:cxn>
                  <a:cxn ang="0">
                    <a:pos x="140" y="26"/>
                  </a:cxn>
                  <a:cxn ang="0">
                    <a:pos x="130" y="32"/>
                  </a:cxn>
                  <a:cxn ang="0">
                    <a:pos x="124" y="36"/>
                  </a:cxn>
                  <a:cxn ang="0">
                    <a:pos x="118" y="28"/>
                  </a:cxn>
                  <a:cxn ang="0">
                    <a:pos x="114" y="24"/>
                  </a:cxn>
                  <a:cxn ang="0">
                    <a:pos x="96" y="10"/>
                  </a:cxn>
                  <a:cxn ang="0">
                    <a:pos x="58" y="0"/>
                  </a:cxn>
                  <a:cxn ang="0">
                    <a:pos x="22" y="2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8" y="34"/>
                  </a:cxn>
                  <a:cxn ang="0">
                    <a:pos x="20" y="30"/>
                  </a:cxn>
                  <a:cxn ang="0">
                    <a:pos x="28" y="34"/>
                  </a:cxn>
                  <a:cxn ang="0">
                    <a:pos x="30" y="40"/>
                  </a:cxn>
                </a:cxnLst>
                <a:rect l="0" t="0" r="r" b="b"/>
                <a:pathLst>
                  <a:path w="266" h="130">
                    <a:moveTo>
                      <a:pt x="30" y="40"/>
                    </a:moveTo>
                    <a:lnTo>
                      <a:pt x="30" y="40"/>
                    </a:lnTo>
                    <a:lnTo>
                      <a:pt x="30" y="48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0" y="46"/>
                    </a:lnTo>
                    <a:lnTo>
                      <a:pt x="46" y="44"/>
                    </a:lnTo>
                    <a:lnTo>
                      <a:pt x="52" y="44"/>
                    </a:lnTo>
                    <a:lnTo>
                      <a:pt x="58" y="46"/>
                    </a:lnTo>
                    <a:lnTo>
                      <a:pt x="66" y="54"/>
                    </a:lnTo>
                    <a:lnTo>
                      <a:pt x="66" y="54"/>
                    </a:lnTo>
                    <a:lnTo>
                      <a:pt x="72" y="62"/>
                    </a:lnTo>
                    <a:lnTo>
                      <a:pt x="72" y="66"/>
                    </a:lnTo>
                    <a:lnTo>
                      <a:pt x="68" y="70"/>
                    </a:lnTo>
                    <a:lnTo>
                      <a:pt x="60" y="70"/>
                    </a:lnTo>
                    <a:lnTo>
                      <a:pt x="44" y="68"/>
                    </a:lnTo>
                    <a:lnTo>
                      <a:pt x="34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4" y="74"/>
                    </a:lnTo>
                    <a:lnTo>
                      <a:pt x="22" y="78"/>
                    </a:lnTo>
                    <a:lnTo>
                      <a:pt x="24" y="82"/>
                    </a:lnTo>
                    <a:lnTo>
                      <a:pt x="28" y="86"/>
                    </a:lnTo>
                    <a:lnTo>
                      <a:pt x="36" y="90"/>
                    </a:lnTo>
                    <a:lnTo>
                      <a:pt x="46" y="92"/>
                    </a:lnTo>
                    <a:lnTo>
                      <a:pt x="60" y="92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98" y="82"/>
                    </a:lnTo>
                    <a:lnTo>
                      <a:pt x="108" y="82"/>
                    </a:lnTo>
                    <a:lnTo>
                      <a:pt x="112" y="82"/>
                    </a:lnTo>
                    <a:lnTo>
                      <a:pt x="114" y="86"/>
                    </a:lnTo>
                    <a:lnTo>
                      <a:pt x="116" y="88"/>
                    </a:lnTo>
                    <a:lnTo>
                      <a:pt x="120" y="92"/>
                    </a:lnTo>
                    <a:lnTo>
                      <a:pt x="130" y="92"/>
                    </a:lnTo>
                    <a:lnTo>
                      <a:pt x="146" y="90"/>
                    </a:lnTo>
                    <a:lnTo>
                      <a:pt x="146" y="90"/>
                    </a:lnTo>
                    <a:lnTo>
                      <a:pt x="156" y="90"/>
                    </a:lnTo>
                    <a:lnTo>
                      <a:pt x="164" y="90"/>
                    </a:lnTo>
                    <a:lnTo>
                      <a:pt x="170" y="92"/>
                    </a:lnTo>
                    <a:lnTo>
                      <a:pt x="174" y="94"/>
                    </a:lnTo>
                    <a:lnTo>
                      <a:pt x="182" y="102"/>
                    </a:lnTo>
                    <a:lnTo>
                      <a:pt x="186" y="110"/>
                    </a:lnTo>
                    <a:lnTo>
                      <a:pt x="194" y="120"/>
                    </a:lnTo>
                    <a:lnTo>
                      <a:pt x="198" y="124"/>
                    </a:lnTo>
                    <a:lnTo>
                      <a:pt x="204" y="126"/>
                    </a:lnTo>
                    <a:lnTo>
                      <a:pt x="210" y="128"/>
                    </a:lnTo>
                    <a:lnTo>
                      <a:pt x="220" y="130"/>
                    </a:lnTo>
                    <a:lnTo>
                      <a:pt x="230" y="130"/>
                    </a:lnTo>
                    <a:lnTo>
                      <a:pt x="244" y="128"/>
                    </a:lnTo>
                    <a:lnTo>
                      <a:pt x="244" y="128"/>
                    </a:lnTo>
                    <a:lnTo>
                      <a:pt x="254" y="126"/>
                    </a:lnTo>
                    <a:lnTo>
                      <a:pt x="262" y="124"/>
                    </a:lnTo>
                    <a:lnTo>
                      <a:pt x="266" y="122"/>
                    </a:lnTo>
                    <a:lnTo>
                      <a:pt x="266" y="118"/>
                    </a:lnTo>
                    <a:lnTo>
                      <a:pt x="266" y="114"/>
                    </a:lnTo>
                    <a:lnTo>
                      <a:pt x="264" y="110"/>
                    </a:lnTo>
                    <a:lnTo>
                      <a:pt x="258" y="102"/>
                    </a:lnTo>
                    <a:lnTo>
                      <a:pt x="240" y="88"/>
                    </a:lnTo>
                    <a:lnTo>
                      <a:pt x="234" y="82"/>
                    </a:lnTo>
                    <a:lnTo>
                      <a:pt x="234" y="80"/>
                    </a:lnTo>
                    <a:lnTo>
                      <a:pt x="238" y="78"/>
                    </a:lnTo>
                    <a:lnTo>
                      <a:pt x="238" y="78"/>
                    </a:lnTo>
                    <a:lnTo>
                      <a:pt x="242" y="76"/>
                    </a:lnTo>
                    <a:lnTo>
                      <a:pt x="246" y="72"/>
                    </a:lnTo>
                    <a:lnTo>
                      <a:pt x="248" y="68"/>
                    </a:lnTo>
                    <a:lnTo>
                      <a:pt x="246" y="64"/>
                    </a:lnTo>
                    <a:lnTo>
                      <a:pt x="242" y="58"/>
                    </a:lnTo>
                    <a:lnTo>
                      <a:pt x="236" y="54"/>
                    </a:lnTo>
                    <a:lnTo>
                      <a:pt x="224" y="50"/>
                    </a:lnTo>
                    <a:lnTo>
                      <a:pt x="210" y="48"/>
                    </a:lnTo>
                    <a:lnTo>
                      <a:pt x="210" y="48"/>
                    </a:lnTo>
                    <a:lnTo>
                      <a:pt x="190" y="46"/>
                    </a:lnTo>
                    <a:lnTo>
                      <a:pt x="186" y="44"/>
                    </a:lnTo>
                    <a:lnTo>
                      <a:pt x="186" y="42"/>
                    </a:lnTo>
                    <a:lnTo>
                      <a:pt x="184" y="40"/>
                    </a:lnTo>
                    <a:lnTo>
                      <a:pt x="182" y="36"/>
                    </a:lnTo>
                    <a:lnTo>
                      <a:pt x="176" y="32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50" y="26"/>
                    </a:lnTo>
                    <a:lnTo>
                      <a:pt x="140" y="26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4"/>
                    </a:lnTo>
                    <a:lnTo>
                      <a:pt x="124" y="36"/>
                    </a:lnTo>
                    <a:lnTo>
                      <a:pt x="122" y="34"/>
                    </a:lnTo>
                    <a:lnTo>
                      <a:pt x="118" y="28"/>
                    </a:lnTo>
                    <a:lnTo>
                      <a:pt x="118" y="28"/>
                    </a:lnTo>
                    <a:lnTo>
                      <a:pt x="114" y="24"/>
                    </a:lnTo>
                    <a:lnTo>
                      <a:pt x="110" y="18"/>
                    </a:lnTo>
                    <a:lnTo>
                      <a:pt x="96" y="10"/>
                    </a:lnTo>
                    <a:lnTo>
                      <a:pt x="78" y="4"/>
                    </a:lnTo>
                    <a:lnTo>
                      <a:pt x="58" y="0"/>
                    </a:lnTo>
                    <a:lnTo>
                      <a:pt x="40" y="0"/>
                    </a:lnTo>
                    <a:lnTo>
                      <a:pt x="22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2"/>
                    </a:lnTo>
                    <a:lnTo>
                      <a:pt x="8" y="34"/>
                    </a:lnTo>
                    <a:lnTo>
                      <a:pt x="14" y="32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8" y="34"/>
                    </a:lnTo>
                    <a:lnTo>
                      <a:pt x="30" y="40"/>
                    </a:lnTo>
                    <a:lnTo>
                      <a:pt x="30" y="4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42" name="Freeform 6026">
                <a:extLst>
                  <a:ext uri="{FF2B5EF4-FFF2-40B4-BE49-F238E27FC236}">
                    <a16:creationId xmlns:a16="http://schemas.microsoft.com/office/drawing/2014/main" id="{3BC9D894-52F6-4C3D-9930-D7EEAB7A35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4180" y="1013143"/>
                <a:ext cx="44450" cy="33020"/>
              </a:xfrm>
              <a:custGeom>
                <a:avLst/>
                <a:gdLst/>
                <a:ahLst/>
                <a:cxnLst>
                  <a:cxn ang="0">
                    <a:pos x="56" y="52"/>
                  </a:cxn>
                  <a:cxn ang="0">
                    <a:pos x="56" y="52"/>
                  </a:cxn>
                  <a:cxn ang="0">
                    <a:pos x="66" y="50"/>
                  </a:cxn>
                  <a:cxn ang="0">
                    <a:pos x="68" y="48"/>
                  </a:cxn>
                  <a:cxn ang="0">
                    <a:pos x="70" y="46"/>
                  </a:cxn>
                  <a:cxn ang="0">
                    <a:pos x="70" y="44"/>
                  </a:cxn>
                  <a:cxn ang="0">
                    <a:pos x="68" y="40"/>
                  </a:cxn>
                  <a:cxn ang="0">
                    <a:pos x="56" y="26"/>
                  </a:cxn>
                  <a:cxn ang="0">
                    <a:pos x="56" y="26"/>
                  </a:cxn>
                  <a:cxn ang="0">
                    <a:pos x="46" y="18"/>
                  </a:cxn>
                  <a:cxn ang="0">
                    <a:pos x="36" y="12"/>
                  </a:cxn>
                  <a:cxn ang="0">
                    <a:pos x="26" y="6"/>
                  </a:cxn>
                  <a:cxn ang="0">
                    <a:pos x="16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8" y="22"/>
                  </a:cxn>
                  <a:cxn ang="0">
                    <a:pos x="18" y="36"/>
                  </a:cxn>
                  <a:cxn ang="0">
                    <a:pos x="24" y="44"/>
                  </a:cxn>
                  <a:cxn ang="0">
                    <a:pos x="32" y="48"/>
                  </a:cxn>
                  <a:cxn ang="0">
                    <a:pos x="42" y="52"/>
                  </a:cxn>
                  <a:cxn ang="0">
                    <a:pos x="56" y="52"/>
                  </a:cxn>
                  <a:cxn ang="0">
                    <a:pos x="56" y="52"/>
                  </a:cxn>
                </a:cxnLst>
                <a:rect l="0" t="0" r="r" b="b"/>
                <a:pathLst>
                  <a:path w="70" h="52">
                    <a:moveTo>
                      <a:pt x="56" y="52"/>
                    </a:moveTo>
                    <a:lnTo>
                      <a:pt x="56" y="52"/>
                    </a:lnTo>
                    <a:lnTo>
                      <a:pt x="66" y="50"/>
                    </a:lnTo>
                    <a:lnTo>
                      <a:pt x="68" y="48"/>
                    </a:lnTo>
                    <a:lnTo>
                      <a:pt x="70" y="46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46" y="18"/>
                    </a:lnTo>
                    <a:lnTo>
                      <a:pt x="36" y="12"/>
                    </a:lnTo>
                    <a:lnTo>
                      <a:pt x="26" y="6"/>
                    </a:lnTo>
                    <a:lnTo>
                      <a:pt x="16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8" y="22"/>
                    </a:lnTo>
                    <a:lnTo>
                      <a:pt x="18" y="36"/>
                    </a:lnTo>
                    <a:lnTo>
                      <a:pt x="24" y="44"/>
                    </a:lnTo>
                    <a:lnTo>
                      <a:pt x="32" y="48"/>
                    </a:lnTo>
                    <a:lnTo>
                      <a:pt x="42" y="52"/>
                    </a:lnTo>
                    <a:lnTo>
                      <a:pt x="56" y="52"/>
                    </a:lnTo>
                    <a:lnTo>
                      <a:pt x="56" y="5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43" name="Freeform 6027">
                <a:extLst>
                  <a:ext uri="{FF2B5EF4-FFF2-40B4-BE49-F238E27FC236}">
                    <a16:creationId xmlns:a16="http://schemas.microsoft.com/office/drawing/2014/main" id="{3229D8C0-F7D3-409D-AB34-2FFA6684A9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410" y="957263"/>
                <a:ext cx="95250" cy="54610"/>
              </a:xfrm>
              <a:custGeom>
                <a:avLst/>
                <a:gdLst/>
                <a:ahLst/>
                <a:cxnLst>
                  <a:cxn ang="0">
                    <a:pos x="14" y="38"/>
                  </a:cxn>
                  <a:cxn ang="0">
                    <a:pos x="22" y="44"/>
                  </a:cxn>
                  <a:cxn ang="0">
                    <a:pos x="44" y="54"/>
                  </a:cxn>
                  <a:cxn ang="0">
                    <a:pos x="50" y="56"/>
                  </a:cxn>
                  <a:cxn ang="0">
                    <a:pos x="52" y="58"/>
                  </a:cxn>
                  <a:cxn ang="0">
                    <a:pos x="42" y="64"/>
                  </a:cxn>
                  <a:cxn ang="0">
                    <a:pos x="32" y="68"/>
                  </a:cxn>
                  <a:cxn ang="0">
                    <a:pos x="40" y="68"/>
                  </a:cxn>
                  <a:cxn ang="0">
                    <a:pos x="50" y="70"/>
                  </a:cxn>
                  <a:cxn ang="0">
                    <a:pos x="56" y="76"/>
                  </a:cxn>
                  <a:cxn ang="0">
                    <a:pos x="60" y="84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98" y="76"/>
                  </a:cxn>
                  <a:cxn ang="0">
                    <a:pos x="132" y="70"/>
                  </a:cxn>
                  <a:cxn ang="0">
                    <a:pos x="142" y="64"/>
                  </a:cxn>
                  <a:cxn ang="0">
                    <a:pos x="140" y="60"/>
                  </a:cxn>
                  <a:cxn ang="0">
                    <a:pos x="140" y="52"/>
                  </a:cxn>
                  <a:cxn ang="0">
                    <a:pos x="150" y="42"/>
                  </a:cxn>
                  <a:cxn ang="0">
                    <a:pos x="148" y="36"/>
                  </a:cxn>
                  <a:cxn ang="0">
                    <a:pos x="140" y="32"/>
                  </a:cxn>
                  <a:cxn ang="0">
                    <a:pos x="122" y="24"/>
                  </a:cxn>
                  <a:cxn ang="0">
                    <a:pos x="100" y="22"/>
                  </a:cxn>
                  <a:cxn ang="0">
                    <a:pos x="82" y="14"/>
                  </a:cxn>
                  <a:cxn ang="0">
                    <a:pos x="68" y="8"/>
                  </a:cxn>
                  <a:cxn ang="0">
                    <a:pos x="42" y="0"/>
                  </a:cxn>
                  <a:cxn ang="0">
                    <a:pos x="18" y="0"/>
                  </a:cxn>
                  <a:cxn ang="0">
                    <a:pos x="8" y="8"/>
                  </a:cxn>
                  <a:cxn ang="0">
                    <a:pos x="8" y="14"/>
                  </a:cxn>
                  <a:cxn ang="0">
                    <a:pos x="10" y="20"/>
                  </a:cxn>
                  <a:cxn ang="0">
                    <a:pos x="6" y="28"/>
                  </a:cxn>
                  <a:cxn ang="0">
                    <a:pos x="0" y="30"/>
                  </a:cxn>
                  <a:cxn ang="0">
                    <a:pos x="14" y="38"/>
                  </a:cxn>
                </a:cxnLst>
                <a:rect l="0" t="0" r="r" b="b"/>
                <a:pathLst>
                  <a:path w="150" h="86">
                    <a:moveTo>
                      <a:pt x="14" y="38"/>
                    </a:moveTo>
                    <a:lnTo>
                      <a:pt x="14" y="38"/>
                    </a:lnTo>
                    <a:lnTo>
                      <a:pt x="20" y="42"/>
                    </a:lnTo>
                    <a:lnTo>
                      <a:pt x="22" y="44"/>
                    </a:lnTo>
                    <a:lnTo>
                      <a:pt x="28" y="4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50" y="56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48" y="62"/>
                    </a:lnTo>
                    <a:lnTo>
                      <a:pt x="42" y="64"/>
                    </a:lnTo>
                    <a:lnTo>
                      <a:pt x="32" y="66"/>
                    </a:lnTo>
                    <a:lnTo>
                      <a:pt x="32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50" y="70"/>
                    </a:lnTo>
                    <a:lnTo>
                      <a:pt x="54" y="74"/>
                    </a:lnTo>
                    <a:lnTo>
                      <a:pt x="56" y="76"/>
                    </a:lnTo>
                    <a:lnTo>
                      <a:pt x="58" y="80"/>
                    </a:lnTo>
                    <a:lnTo>
                      <a:pt x="60" y="84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86" y="78"/>
                    </a:lnTo>
                    <a:lnTo>
                      <a:pt x="98" y="76"/>
                    </a:lnTo>
                    <a:lnTo>
                      <a:pt x="122" y="72"/>
                    </a:lnTo>
                    <a:lnTo>
                      <a:pt x="132" y="70"/>
                    </a:lnTo>
                    <a:lnTo>
                      <a:pt x="138" y="68"/>
                    </a:lnTo>
                    <a:lnTo>
                      <a:pt x="142" y="64"/>
                    </a:lnTo>
                    <a:lnTo>
                      <a:pt x="140" y="60"/>
                    </a:lnTo>
                    <a:lnTo>
                      <a:pt x="140" y="60"/>
                    </a:lnTo>
                    <a:lnTo>
                      <a:pt x="138" y="54"/>
                    </a:lnTo>
                    <a:lnTo>
                      <a:pt x="140" y="52"/>
                    </a:lnTo>
                    <a:lnTo>
                      <a:pt x="146" y="46"/>
                    </a:lnTo>
                    <a:lnTo>
                      <a:pt x="150" y="42"/>
                    </a:lnTo>
                    <a:lnTo>
                      <a:pt x="150" y="40"/>
                    </a:lnTo>
                    <a:lnTo>
                      <a:pt x="148" y="36"/>
                    </a:lnTo>
                    <a:lnTo>
                      <a:pt x="140" y="32"/>
                    </a:lnTo>
                    <a:lnTo>
                      <a:pt x="140" y="32"/>
                    </a:lnTo>
                    <a:lnTo>
                      <a:pt x="128" y="26"/>
                    </a:lnTo>
                    <a:lnTo>
                      <a:pt x="122" y="24"/>
                    </a:lnTo>
                    <a:lnTo>
                      <a:pt x="110" y="24"/>
                    </a:lnTo>
                    <a:lnTo>
                      <a:pt x="100" y="22"/>
                    </a:lnTo>
                    <a:lnTo>
                      <a:pt x="92" y="20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68" y="8"/>
                    </a:lnTo>
                    <a:lnTo>
                      <a:pt x="56" y="2"/>
                    </a:lnTo>
                    <a:lnTo>
                      <a:pt x="42" y="0"/>
                    </a:lnTo>
                    <a:lnTo>
                      <a:pt x="30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8" y="8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20"/>
                    </a:lnTo>
                    <a:lnTo>
                      <a:pt x="10" y="24"/>
                    </a:lnTo>
                    <a:lnTo>
                      <a:pt x="6" y="28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46" name="Freeform 6033">
                <a:extLst>
                  <a:ext uri="{FF2B5EF4-FFF2-40B4-BE49-F238E27FC236}">
                    <a16:creationId xmlns:a16="http://schemas.microsoft.com/office/drawing/2014/main" id="{575B5F00-E05E-4006-9806-0A03477B6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430" y="1806893"/>
                <a:ext cx="15240" cy="889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4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</a:cxnLst>
                <a:rect l="0" t="0" r="r" b="b"/>
                <a:pathLst>
                  <a:path w="24" h="14">
                    <a:moveTo>
                      <a:pt x="14" y="0"/>
                    </a:moveTo>
                    <a:lnTo>
                      <a:pt x="14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49" name="Freeform 6037">
                <a:extLst>
                  <a:ext uri="{FF2B5EF4-FFF2-40B4-BE49-F238E27FC236}">
                    <a16:creationId xmlns:a16="http://schemas.microsoft.com/office/drawing/2014/main" id="{9D9F7DD3-1E2F-4E45-A899-EA3910B9CE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950" y="1811973"/>
                <a:ext cx="24130" cy="22860"/>
              </a:xfrm>
              <a:custGeom>
                <a:avLst/>
                <a:gdLst/>
                <a:ahLst/>
                <a:cxnLst>
                  <a:cxn ang="0">
                    <a:pos x="28" y="2"/>
                  </a:cxn>
                  <a:cxn ang="0">
                    <a:pos x="28" y="2"/>
                  </a:cxn>
                  <a:cxn ang="0">
                    <a:pos x="18" y="16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0" y="36"/>
                  </a:cxn>
                  <a:cxn ang="0">
                    <a:pos x="4" y="36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2" y="26"/>
                  </a:cxn>
                  <a:cxn ang="0">
                    <a:pos x="26" y="20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6" y="4"/>
                  </a:cxn>
                  <a:cxn ang="0">
                    <a:pos x="38" y="2"/>
                  </a:cxn>
                  <a:cxn ang="0">
                    <a:pos x="36" y="0"/>
                  </a:cxn>
                  <a:cxn ang="0">
                    <a:pos x="32" y="0"/>
                  </a:cxn>
                  <a:cxn ang="0">
                    <a:pos x="28" y="2"/>
                  </a:cxn>
                  <a:cxn ang="0">
                    <a:pos x="28" y="2"/>
                  </a:cxn>
                </a:cxnLst>
                <a:rect l="0" t="0" r="r" b="b"/>
                <a:pathLst>
                  <a:path w="38" h="36">
                    <a:moveTo>
                      <a:pt x="28" y="2"/>
                    </a:moveTo>
                    <a:lnTo>
                      <a:pt x="28" y="2"/>
                    </a:lnTo>
                    <a:lnTo>
                      <a:pt x="18" y="1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4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2" y="26"/>
                    </a:lnTo>
                    <a:lnTo>
                      <a:pt x="26" y="20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4"/>
                    </a:lnTo>
                    <a:lnTo>
                      <a:pt x="38" y="2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8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50" name="Freeform 6054">
                <a:extLst>
                  <a:ext uri="{FF2B5EF4-FFF2-40B4-BE49-F238E27FC236}">
                    <a16:creationId xmlns:a16="http://schemas.microsoft.com/office/drawing/2014/main" id="{94457C20-84F7-44C6-864E-1458421FFE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730" y="1058863"/>
                <a:ext cx="317500" cy="121920"/>
              </a:xfrm>
              <a:custGeom>
                <a:avLst/>
                <a:gdLst/>
                <a:ahLst/>
                <a:cxnLst>
                  <a:cxn ang="0">
                    <a:pos x="314" y="78"/>
                  </a:cxn>
                  <a:cxn ang="0">
                    <a:pos x="338" y="86"/>
                  </a:cxn>
                  <a:cxn ang="0">
                    <a:pos x="354" y="100"/>
                  </a:cxn>
                  <a:cxn ang="0">
                    <a:pos x="340" y="106"/>
                  </a:cxn>
                  <a:cxn ang="0">
                    <a:pos x="280" y="102"/>
                  </a:cxn>
                  <a:cxn ang="0">
                    <a:pos x="258" y="102"/>
                  </a:cxn>
                  <a:cxn ang="0">
                    <a:pos x="236" y="72"/>
                  </a:cxn>
                  <a:cxn ang="0">
                    <a:pos x="186" y="46"/>
                  </a:cxn>
                  <a:cxn ang="0">
                    <a:pos x="154" y="54"/>
                  </a:cxn>
                  <a:cxn ang="0">
                    <a:pos x="138" y="36"/>
                  </a:cxn>
                  <a:cxn ang="0">
                    <a:pos x="102" y="32"/>
                  </a:cxn>
                  <a:cxn ang="0">
                    <a:pos x="42" y="58"/>
                  </a:cxn>
                  <a:cxn ang="0">
                    <a:pos x="46" y="66"/>
                  </a:cxn>
                  <a:cxn ang="0">
                    <a:pos x="22" y="88"/>
                  </a:cxn>
                  <a:cxn ang="0">
                    <a:pos x="24" y="98"/>
                  </a:cxn>
                  <a:cxn ang="0">
                    <a:pos x="14" y="110"/>
                  </a:cxn>
                  <a:cxn ang="0">
                    <a:pos x="6" y="132"/>
                  </a:cxn>
                  <a:cxn ang="0">
                    <a:pos x="66" y="146"/>
                  </a:cxn>
                  <a:cxn ang="0">
                    <a:pos x="94" y="138"/>
                  </a:cxn>
                  <a:cxn ang="0">
                    <a:pos x="106" y="146"/>
                  </a:cxn>
                  <a:cxn ang="0">
                    <a:pos x="124" y="148"/>
                  </a:cxn>
                  <a:cxn ang="0">
                    <a:pos x="144" y="126"/>
                  </a:cxn>
                  <a:cxn ang="0">
                    <a:pos x="152" y="130"/>
                  </a:cxn>
                  <a:cxn ang="0">
                    <a:pos x="158" y="140"/>
                  </a:cxn>
                  <a:cxn ang="0">
                    <a:pos x="232" y="132"/>
                  </a:cxn>
                  <a:cxn ang="0">
                    <a:pos x="264" y="134"/>
                  </a:cxn>
                  <a:cxn ang="0">
                    <a:pos x="212" y="148"/>
                  </a:cxn>
                  <a:cxn ang="0">
                    <a:pos x="144" y="160"/>
                  </a:cxn>
                  <a:cxn ang="0">
                    <a:pos x="134" y="176"/>
                  </a:cxn>
                  <a:cxn ang="0">
                    <a:pos x="166" y="190"/>
                  </a:cxn>
                  <a:cxn ang="0">
                    <a:pos x="234" y="184"/>
                  </a:cxn>
                  <a:cxn ang="0">
                    <a:pos x="296" y="164"/>
                  </a:cxn>
                  <a:cxn ang="0">
                    <a:pos x="350" y="146"/>
                  </a:cxn>
                  <a:cxn ang="0">
                    <a:pos x="378" y="152"/>
                  </a:cxn>
                  <a:cxn ang="0">
                    <a:pos x="394" y="144"/>
                  </a:cxn>
                  <a:cxn ang="0">
                    <a:pos x="420" y="150"/>
                  </a:cxn>
                  <a:cxn ang="0">
                    <a:pos x="460" y="138"/>
                  </a:cxn>
                  <a:cxn ang="0">
                    <a:pos x="492" y="106"/>
                  </a:cxn>
                  <a:cxn ang="0">
                    <a:pos x="498" y="84"/>
                  </a:cxn>
                  <a:cxn ang="0">
                    <a:pos x="470" y="68"/>
                  </a:cxn>
                  <a:cxn ang="0">
                    <a:pos x="436" y="70"/>
                  </a:cxn>
                  <a:cxn ang="0">
                    <a:pos x="398" y="80"/>
                  </a:cxn>
                  <a:cxn ang="0">
                    <a:pos x="400" y="68"/>
                  </a:cxn>
                  <a:cxn ang="0">
                    <a:pos x="384" y="60"/>
                  </a:cxn>
                  <a:cxn ang="0">
                    <a:pos x="384" y="52"/>
                  </a:cxn>
                  <a:cxn ang="0">
                    <a:pos x="382" y="40"/>
                  </a:cxn>
                  <a:cxn ang="0">
                    <a:pos x="370" y="18"/>
                  </a:cxn>
                  <a:cxn ang="0">
                    <a:pos x="358" y="0"/>
                  </a:cxn>
                  <a:cxn ang="0">
                    <a:pos x="300" y="28"/>
                  </a:cxn>
                  <a:cxn ang="0">
                    <a:pos x="290" y="40"/>
                  </a:cxn>
                  <a:cxn ang="0">
                    <a:pos x="318" y="54"/>
                  </a:cxn>
                  <a:cxn ang="0">
                    <a:pos x="328" y="66"/>
                  </a:cxn>
                </a:cxnLst>
                <a:rect l="0" t="0" r="r" b="b"/>
                <a:pathLst>
                  <a:path w="500" h="192">
                    <a:moveTo>
                      <a:pt x="322" y="70"/>
                    </a:moveTo>
                    <a:lnTo>
                      <a:pt x="322" y="70"/>
                    </a:lnTo>
                    <a:lnTo>
                      <a:pt x="316" y="76"/>
                    </a:lnTo>
                    <a:lnTo>
                      <a:pt x="314" y="78"/>
                    </a:lnTo>
                    <a:lnTo>
                      <a:pt x="316" y="80"/>
                    </a:lnTo>
                    <a:lnTo>
                      <a:pt x="320" y="82"/>
                    </a:lnTo>
                    <a:lnTo>
                      <a:pt x="330" y="84"/>
                    </a:lnTo>
                    <a:lnTo>
                      <a:pt x="338" y="86"/>
                    </a:lnTo>
                    <a:lnTo>
                      <a:pt x="348" y="90"/>
                    </a:lnTo>
                    <a:lnTo>
                      <a:pt x="354" y="94"/>
                    </a:lnTo>
                    <a:lnTo>
                      <a:pt x="356" y="96"/>
                    </a:lnTo>
                    <a:lnTo>
                      <a:pt x="354" y="100"/>
                    </a:lnTo>
                    <a:lnTo>
                      <a:pt x="354" y="100"/>
                    </a:lnTo>
                    <a:lnTo>
                      <a:pt x="352" y="104"/>
                    </a:lnTo>
                    <a:lnTo>
                      <a:pt x="346" y="108"/>
                    </a:lnTo>
                    <a:lnTo>
                      <a:pt x="340" y="106"/>
                    </a:lnTo>
                    <a:lnTo>
                      <a:pt x="332" y="106"/>
                    </a:lnTo>
                    <a:lnTo>
                      <a:pt x="310" y="102"/>
                    </a:lnTo>
                    <a:lnTo>
                      <a:pt x="296" y="100"/>
                    </a:lnTo>
                    <a:lnTo>
                      <a:pt x="280" y="102"/>
                    </a:lnTo>
                    <a:lnTo>
                      <a:pt x="280" y="102"/>
                    </a:lnTo>
                    <a:lnTo>
                      <a:pt x="268" y="104"/>
                    </a:lnTo>
                    <a:lnTo>
                      <a:pt x="260" y="104"/>
                    </a:lnTo>
                    <a:lnTo>
                      <a:pt x="258" y="102"/>
                    </a:lnTo>
                    <a:lnTo>
                      <a:pt x="256" y="98"/>
                    </a:lnTo>
                    <a:lnTo>
                      <a:pt x="252" y="90"/>
                    </a:lnTo>
                    <a:lnTo>
                      <a:pt x="246" y="82"/>
                    </a:lnTo>
                    <a:lnTo>
                      <a:pt x="236" y="72"/>
                    </a:lnTo>
                    <a:lnTo>
                      <a:pt x="220" y="60"/>
                    </a:lnTo>
                    <a:lnTo>
                      <a:pt x="220" y="60"/>
                    </a:lnTo>
                    <a:lnTo>
                      <a:pt x="200" y="50"/>
                    </a:lnTo>
                    <a:lnTo>
                      <a:pt x="186" y="46"/>
                    </a:lnTo>
                    <a:lnTo>
                      <a:pt x="174" y="46"/>
                    </a:lnTo>
                    <a:lnTo>
                      <a:pt x="166" y="50"/>
                    </a:lnTo>
                    <a:lnTo>
                      <a:pt x="160" y="52"/>
                    </a:lnTo>
                    <a:lnTo>
                      <a:pt x="154" y="54"/>
                    </a:lnTo>
                    <a:lnTo>
                      <a:pt x="150" y="52"/>
                    </a:lnTo>
                    <a:lnTo>
                      <a:pt x="144" y="44"/>
                    </a:lnTo>
                    <a:lnTo>
                      <a:pt x="144" y="44"/>
                    </a:lnTo>
                    <a:lnTo>
                      <a:pt x="138" y="36"/>
                    </a:lnTo>
                    <a:lnTo>
                      <a:pt x="130" y="30"/>
                    </a:lnTo>
                    <a:lnTo>
                      <a:pt x="122" y="30"/>
                    </a:lnTo>
                    <a:lnTo>
                      <a:pt x="112" y="30"/>
                    </a:lnTo>
                    <a:lnTo>
                      <a:pt x="102" y="32"/>
                    </a:lnTo>
                    <a:lnTo>
                      <a:pt x="88" y="38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42" y="58"/>
                    </a:lnTo>
                    <a:lnTo>
                      <a:pt x="40" y="60"/>
                    </a:lnTo>
                    <a:lnTo>
                      <a:pt x="42" y="60"/>
                    </a:lnTo>
                    <a:lnTo>
                      <a:pt x="44" y="64"/>
                    </a:lnTo>
                    <a:lnTo>
                      <a:pt x="46" y="66"/>
                    </a:lnTo>
                    <a:lnTo>
                      <a:pt x="42" y="72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22" y="88"/>
                    </a:lnTo>
                    <a:lnTo>
                      <a:pt x="20" y="94"/>
                    </a:lnTo>
                    <a:lnTo>
                      <a:pt x="20" y="96"/>
                    </a:lnTo>
                    <a:lnTo>
                      <a:pt x="22" y="98"/>
                    </a:lnTo>
                    <a:lnTo>
                      <a:pt x="24" y="98"/>
                    </a:lnTo>
                    <a:lnTo>
                      <a:pt x="26" y="100"/>
                    </a:lnTo>
                    <a:lnTo>
                      <a:pt x="22" y="104"/>
                    </a:lnTo>
                    <a:lnTo>
                      <a:pt x="14" y="110"/>
                    </a:lnTo>
                    <a:lnTo>
                      <a:pt x="14" y="110"/>
                    </a:lnTo>
                    <a:lnTo>
                      <a:pt x="4" y="118"/>
                    </a:lnTo>
                    <a:lnTo>
                      <a:pt x="0" y="124"/>
                    </a:lnTo>
                    <a:lnTo>
                      <a:pt x="2" y="128"/>
                    </a:lnTo>
                    <a:lnTo>
                      <a:pt x="6" y="132"/>
                    </a:lnTo>
                    <a:lnTo>
                      <a:pt x="26" y="138"/>
                    </a:lnTo>
                    <a:lnTo>
                      <a:pt x="54" y="144"/>
                    </a:lnTo>
                    <a:lnTo>
                      <a:pt x="54" y="144"/>
                    </a:lnTo>
                    <a:lnTo>
                      <a:pt x="66" y="146"/>
                    </a:lnTo>
                    <a:lnTo>
                      <a:pt x="76" y="146"/>
                    </a:lnTo>
                    <a:lnTo>
                      <a:pt x="84" y="144"/>
                    </a:lnTo>
                    <a:lnTo>
                      <a:pt x="88" y="142"/>
                    </a:lnTo>
                    <a:lnTo>
                      <a:pt x="94" y="138"/>
                    </a:lnTo>
                    <a:lnTo>
                      <a:pt x="96" y="136"/>
                    </a:lnTo>
                    <a:lnTo>
                      <a:pt x="98" y="140"/>
                    </a:lnTo>
                    <a:lnTo>
                      <a:pt x="98" y="140"/>
                    </a:lnTo>
                    <a:lnTo>
                      <a:pt x="106" y="146"/>
                    </a:lnTo>
                    <a:lnTo>
                      <a:pt x="110" y="148"/>
                    </a:lnTo>
                    <a:lnTo>
                      <a:pt x="114" y="150"/>
                    </a:lnTo>
                    <a:lnTo>
                      <a:pt x="118" y="150"/>
                    </a:lnTo>
                    <a:lnTo>
                      <a:pt x="124" y="148"/>
                    </a:lnTo>
                    <a:lnTo>
                      <a:pt x="128" y="14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44" y="126"/>
                    </a:lnTo>
                    <a:lnTo>
                      <a:pt x="150" y="122"/>
                    </a:lnTo>
                    <a:lnTo>
                      <a:pt x="152" y="122"/>
                    </a:lnTo>
                    <a:lnTo>
                      <a:pt x="154" y="124"/>
                    </a:lnTo>
                    <a:lnTo>
                      <a:pt x="152" y="130"/>
                    </a:lnTo>
                    <a:lnTo>
                      <a:pt x="152" y="130"/>
                    </a:lnTo>
                    <a:lnTo>
                      <a:pt x="150" y="134"/>
                    </a:lnTo>
                    <a:lnTo>
                      <a:pt x="154" y="138"/>
                    </a:lnTo>
                    <a:lnTo>
                      <a:pt x="158" y="140"/>
                    </a:lnTo>
                    <a:lnTo>
                      <a:pt x="166" y="142"/>
                    </a:lnTo>
                    <a:lnTo>
                      <a:pt x="192" y="140"/>
                    </a:lnTo>
                    <a:lnTo>
                      <a:pt x="232" y="132"/>
                    </a:lnTo>
                    <a:lnTo>
                      <a:pt x="232" y="132"/>
                    </a:lnTo>
                    <a:lnTo>
                      <a:pt x="252" y="130"/>
                    </a:lnTo>
                    <a:lnTo>
                      <a:pt x="262" y="130"/>
                    </a:lnTo>
                    <a:lnTo>
                      <a:pt x="266" y="130"/>
                    </a:lnTo>
                    <a:lnTo>
                      <a:pt x="264" y="134"/>
                    </a:lnTo>
                    <a:lnTo>
                      <a:pt x="256" y="138"/>
                    </a:lnTo>
                    <a:lnTo>
                      <a:pt x="244" y="142"/>
                    </a:lnTo>
                    <a:lnTo>
                      <a:pt x="228" y="144"/>
                    </a:lnTo>
                    <a:lnTo>
                      <a:pt x="212" y="148"/>
                    </a:lnTo>
                    <a:lnTo>
                      <a:pt x="212" y="148"/>
                    </a:lnTo>
                    <a:lnTo>
                      <a:pt x="176" y="152"/>
                    </a:lnTo>
                    <a:lnTo>
                      <a:pt x="158" y="156"/>
                    </a:lnTo>
                    <a:lnTo>
                      <a:pt x="144" y="160"/>
                    </a:lnTo>
                    <a:lnTo>
                      <a:pt x="136" y="166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4" y="176"/>
                    </a:lnTo>
                    <a:lnTo>
                      <a:pt x="138" y="178"/>
                    </a:lnTo>
                    <a:lnTo>
                      <a:pt x="152" y="186"/>
                    </a:lnTo>
                    <a:lnTo>
                      <a:pt x="152" y="186"/>
                    </a:lnTo>
                    <a:lnTo>
                      <a:pt x="166" y="190"/>
                    </a:lnTo>
                    <a:lnTo>
                      <a:pt x="178" y="192"/>
                    </a:lnTo>
                    <a:lnTo>
                      <a:pt x="192" y="192"/>
                    </a:lnTo>
                    <a:lnTo>
                      <a:pt x="206" y="190"/>
                    </a:lnTo>
                    <a:lnTo>
                      <a:pt x="234" y="184"/>
                    </a:lnTo>
                    <a:lnTo>
                      <a:pt x="266" y="174"/>
                    </a:lnTo>
                    <a:lnTo>
                      <a:pt x="266" y="174"/>
                    </a:lnTo>
                    <a:lnTo>
                      <a:pt x="282" y="170"/>
                    </a:lnTo>
                    <a:lnTo>
                      <a:pt x="296" y="164"/>
                    </a:lnTo>
                    <a:lnTo>
                      <a:pt x="318" y="154"/>
                    </a:lnTo>
                    <a:lnTo>
                      <a:pt x="328" y="150"/>
                    </a:lnTo>
                    <a:lnTo>
                      <a:pt x="338" y="146"/>
                    </a:lnTo>
                    <a:lnTo>
                      <a:pt x="350" y="146"/>
                    </a:lnTo>
                    <a:lnTo>
                      <a:pt x="360" y="148"/>
                    </a:lnTo>
                    <a:lnTo>
                      <a:pt x="360" y="148"/>
                    </a:lnTo>
                    <a:lnTo>
                      <a:pt x="370" y="150"/>
                    </a:lnTo>
                    <a:lnTo>
                      <a:pt x="378" y="152"/>
                    </a:lnTo>
                    <a:lnTo>
                      <a:pt x="382" y="150"/>
                    </a:lnTo>
                    <a:lnTo>
                      <a:pt x="386" y="148"/>
                    </a:lnTo>
                    <a:lnTo>
                      <a:pt x="388" y="146"/>
                    </a:lnTo>
                    <a:lnTo>
                      <a:pt x="394" y="144"/>
                    </a:lnTo>
                    <a:lnTo>
                      <a:pt x="400" y="144"/>
                    </a:lnTo>
                    <a:lnTo>
                      <a:pt x="410" y="146"/>
                    </a:lnTo>
                    <a:lnTo>
                      <a:pt x="410" y="146"/>
                    </a:lnTo>
                    <a:lnTo>
                      <a:pt x="420" y="150"/>
                    </a:lnTo>
                    <a:lnTo>
                      <a:pt x="430" y="150"/>
                    </a:lnTo>
                    <a:lnTo>
                      <a:pt x="440" y="148"/>
                    </a:lnTo>
                    <a:lnTo>
                      <a:pt x="450" y="144"/>
                    </a:lnTo>
                    <a:lnTo>
                      <a:pt x="460" y="138"/>
                    </a:lnTo>
                    <a:lnTo>
                      <a:pt x="470" y="130"/>
                    </a:lnTo>
                    <a:lnTo>
                      <a:pt x="482" y="120"/>
                    </a:lnTo>
                    <a:lnTo>
                      <a:pt x="492" y="106"/>
                    </a:lnTo>
                    <a:lnTo>
                      <a:pt x="492" y="106"/>
                    </a:lnTo>
                    <a:lnTo>
                      <a:pt x="496" y="100"/>
                    </a:lnTo>
                    <a:lnTo>
                      <a:pt x="500" y="94"/>
                    </a:lnTo>
                    <a:lnTo>
                      <a:pt x="500" y="88"/>
                    </a:lnTo>
                    <a:lnTo>
                      <a:pt x="498" y="84"/>
                    </a:lnTo>
                    <a:lnTo>
                      <a:pt x="496" y="80"/>
                    </a:lnTo>
                    <a:lnTo>
                      <a:pt x="492" y="76"/>
                    </a:lnTo>
                    <a:lnTo>
                      <a:pt x="482" y="70"/>
                    </a:lnTo>
                    <a:lnTo>
                      <a:pt x="470" y="68"/>
                    </a:lnTo>
                    <a:lnTo>
                      <a:pt x="456" y="66"/>
                    </a:lnTo>
                    <a:lnTo>
                      <a:pt x="444" y="68"/>
                    </a:lnTo>
                    <a:lnTo>
                      <a:pt x="436" y="70"/>
                    </a:lnTo>
                    <a:lnTo>
                      <a:pt x="436" y="70"/>
                    </a:lnTo>
                    <a:lnTo>
                      <a:pt x="420" y="76"/>
                    </a:lnTo>
                    <a:lnTo>
                      <a:pt x="406" y="80"/>
                    </a:lnTo>
                    <a:lnTo>
                      <a:pt x="402" y="82"/>
                    </a:lnTo>
                    <a:lnTo>
                      <a:pt x="398" y="80"/>
                    </a:lnTo>
                    <a:lnTo>
                      <a:pt x="398" y="78"/>
                    </a:lnTo>
                    <a:lnTo>
                      <a:pt x="400" y="72"/>
                    </a:lnTo>
                    <a:lnTo>
                      <a:pt x="400" y="72"/>
                    </a:lnTo>
                    <a:lnTo>
                      <a:pt x="400" y="68"/>
                    </a:lnTo>
                    <a:lnTo>
                      <a:pt x="398" y="64"/>
                    </a:lnTo>
                    <a:lnTo>
                      <a:pt x="394" y="62"/>
                    </a:lnTo>
                    <a:lnTo>
                      <a:pt x="390" y="62"/>
                    </a:lnTo>
                    <a:lnTo>
                      <a:pt x="384" y="60"/>
                    </a:lnTo>
                    <a:lnTo>
                      <a:pt x="380" y="60"/>
                    </a:lnTo>
                    <a:lnTo>
                      <a:pt x="380" y="56"/>
                    </a:lnTo>
                    <a:lnTo>
                      <a:pt x="384" y="52"/>
                    </a:lnTo>
                    <a:lnTo>
                      <a:pt x="384" y="52"/>
                    </a:lnTo>
                    <a:lnTo>
                      <a:pt x="388" y="46"/>
                    </a:lnTo>
                    <a:lnTo>
                      <a:pt x="388" y="44"/>
                    </a:lnTo>
                    <a:lnTo>
                      <a:pt x="386" y="42"/>
                    </a:lnTo>
                    <a:lnTo>
                      <a:pt x="382" y="40"/>
                    </a:lnTo>
                    <a:lnTo>
                      <a:pt x="378" y="38"/>
                    </a:lnTo>
                    <a:lnTo>
                      <a:pt x="374" y="34"/>
                    </a:lnTo>
                    <a:lnTo>
                      <a:pt x="372" y="28"/>
                    </a:lnTo>
                    <a:lnTo>
                      <a:pt x="370" y="18"/>
                    </a:lnTo>
                    <a:lnTo>
                      <a:pt x="370" y="18"/>
                    </a:lnTo>
                    <a:lnTo>
                      <a:pt x="368" y="8"/>
                    </a:lnTo>
                    <a:lnTo>
                      <a:pt x="364" y="2"/>
                    </a:lnTo>
                    <a:lnTo>
                      <a:pt x="358" y="0"/>
                    </a:lnTo>
                    <a:lnTo>
                      <a:pt x="350" y="2"/>
                    </a:lnTo>
                    <a:lnTo>
                      <a:pt x="340" y="6"/>
                    </a:lnTo>
                    <a:lnTo>
                      <a:pt x="328" y="12"/>
                    </a:lnTo>
                    <a:lnTo>
                      <a:pt x="300" y="28"/>
                    </a:lnTo>
                    <a:lnTo>
                      <a:pt x="300" y="28"/>
                    </a:lnTo>
                    <a:lnTo>
                      <a:pt x="294" y="32"/>
                    </a:lnTo>
                    <a:lnTo>
                      <a:pt x="292" y="36"/>
                    </a:lnTo>
                    <a:lnTo>
                      <a:pt x="290" y="40"/>
                    </a:lnTo>
                    <a:lnTo>
                      <a:pt x="292" y="42"/>
                    </a:lnTo>
                    <a:lnTo>
                      <a:pt x="298" y="46"/>
                    </a:lnTo>
                    <a:lnTo>
                      <a:pt x="308" y="50"/>
                    </a:lnTo>
                    <a:lnTo>
                      <a:pt x="318" y="54"/>
                    </a:lnTo>
                    <a:lnTo>
                      <a:pt x="326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6"/>
                    </a:lnTo>
                    <a:lnTo>
                      <a:pt x="322" y="70"/>
                    </a:lnTo>
                    <a:lnTo>
                      <a:pt x="322" y="7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57" name="Freeform 6074">
                <a:extLst>
                  <a:ext uri="{FF2B5EF4-FFF2-40B4-BE49-F238E27FC236}">
                    <a16:creationId xmlns:a16="http://schemas.microsoft.com/office/drawing/2014/main" id="{EBADD3C8-CF2C-4BC9-85F9-4446646B36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3930" y="3139123"/>
                <a:ext cx="278130" cy="109220"/>
              </a:xfrm>
              <a:custGeom>
                <a:avLst/>
                <a:gdLst/>
                <a:ahLst/>
                <a:cxnLst>
                  <a:cxn ang="0">
                    <a:pos x="416" y="160"/>
                  </a:cxn>
                  <a:cxn ang="0">
                    <a:pos x="436" y="156"/>
                  </a:cxn>
                  <a:cxn ang="0">
                    <a:pos x="428" y="148"/>
                  </a:cxn>
                  <a:cxn ang="0">
                    <a:pos x="414" y="136"/>
                  </a:cxn>
                  <a:cxn ang="0">
                    <a:pos x="384" y="126"/>
                  </a:cxn>
                  <a:cxn ang="0">
                    <a:pos x="374" y="120"/>
                  </a:cxn>
                  <a:cxn ang="0">
                    <a:pos x="376" y="108"/>
                  </a:cxn>
                  <a:cxn ang="0">
                    <a:pos x="358" y="106"/>
                  </a:cxn>
                  <a:cxn ang="0">
                    <a:pos x="350" y="100"/>
                  </a:cxn>
                  <a:cxn ang="0">
                    <a:pos x="338" y="100"/>
                  </a:cxn>
                  <a:cxn ang="0">
                    <a:pos x="326" y="92"/>
                  </a:cxn>
                  <a:cxn ang="0">
                    <a:pos x="300" y="68"/>
                  </a:cxn>
                  <a:cxn ang="0">
                    <a:pos x="300" y="76"/>
                  </a:cxn>
                  <a:cxn ang="0">
                    <a:pos x="292" y="64"/>
                  </a:cxn>
                  <a:cxn ang="0">
                    <a:pos x="286" y="60"/>
                  </a:cxn>
                  <a:cxn ang="0">
                    <a:pos x="260" y="48"/>
                  </a:cxn>
                  <a:cxn ang="0">
                    <a:pos x="230" y="40"/>
                  </a:cxn>
                  <a:cxn ang="0">
                    <a:pos x="216" y="28"/>
                  </a:cxn>
                  <a:cxn ang="0">
                    <a:pos x="194" y="14"/>
                  </a:cxn>
                  <a:cxn ang="0">
                    <a:pos x="180" y="8"/>
                  </a:cxn>
                  <a:cxn ang="0">
                    <a:pos x="164" y="8"/>
                  </a:cxn>
                  <a:cxn ang="0">
                    <a:pos x="150" y="0"/>
                  </a:cxn>
                  <a:cxn ang="0">
                    <a:pos x="136" y="4"/>
                  </a:cxn>
                  <a:cxn ang="0">
                    <a:pos x="112" y="0"/>
                  </a:cxn>
                  <a:cxn ang="0">
                    <a:pos x="92" y="10"/>
                  </a:cxn>
                  <a:cxn ang="0">
                    <a:pos x="56" y="18"/>
                  </a:cxn>
                  <a:cxn ang="0">
                    <a:pos x="24" y="42"/>
                  </a:cxn>
                  <a:cxn ang="0">
                    <a:pos x="24" y="58"/>
                  </a:cxn>
                  <a:cxn ang="0">
                    <a:pos x="2" y="66"/>
                  </a:cxn>
                  <a:cxn ang="0">
                    <a:pos x="4" y="72"/>
                  </a:cxn>
                  <a:cxn ang="0">
                    <a:pos x="18" y="72"/>
                  </a:cxn>
                  <a:cxn ang="0">
                    <a:pos x="24" y="72"/>
                  </a:cxn>
                  <a:cxn ang="0">
                    <a:pos x="40" y="62"/>
                  </a:cxn>
                  <a:cxn ang="0">
                    <a:pos x="70" y="44"/>
                  </a:cxn>
                  <a:cxn ang="0">
                    <a:pos x="92" y="30"/>
                  </a:cxn>
                  <a:cxn ang="0">
                    <a:pos x="132" y="32"/>
                  </a:cxn>
                  <a:cxn ang="0">
                    <a:pos x="124" y="38"/>
                  </a:cxn>
                  <a:cxn ang="0">
                    <a:pos x="118" y="46"/>
                  </a:cxn>
                  <a:cxn ang="0">
                    <a:pos x="164" y="58"/>
                  </a:cxn>
                  <a:cxn ang="0">
                    <a:pos x="186" y="62"/>
                  </a:cxn>
                  <a:cxn ang="0">
                    <a:pos x="214" y="80"/>
                  </a:cxn>
                  <a:cxn ang="0">
                    <a:pos x="242" y="84"/>
                  </a:cxn>
                  <a:cxn ang="0">
                    <a:pos x="256" y="94"/>
                  </a:cxn>
                  <a:cxn ang="0">
                    <a:pos x="268" y="120"/>
                  </a:cxn>
                  <a:cxn ang="0">
                    <a:pos x="288" y="128"/>
                  </a:cxn>
                  <a:cxn ang="0">
                    <a:pos x="318" y="136"/>
                  </a:cxn>
                  <a:cxn ang="0">
                    <a:pos x="310" y="150"/>
                  </a:cxn>
                  <a:cxn ang="0">
                    <a:pos x="290" y="168"/>
                  </a:cxn>
                  <a:cxn ang="0">
                    <a:pos x="348" y="164"/>
                  </a:cxn>
                  <a:cxn ang="0">
                    <a:pos x="382" y="170"/>
                  </a:cxn>
                  <a:cxn ang="0">
                    <a:pos x="400" y="166"/>
                  </a:cxn>
                </a:cxnLst>
                <a:rect l="0" t="0" r="r" b="b"/>
                <a:pathLst>
                  <a:path w="438" h="172">
                    <a:moveTo>
                      <a:pt x="400" y="166"/>
                    </a:moveTo>
                    <a:lnTo>
                      <a:pt x="400" y="166"/>
                    </a:lnTo>
                    <a:lnTo>
                      <a:pt x="410" y="162"/>
                    </a:lnTo>
                    <a:lnTo>
                      <a:pt x="416" y="160"/>
                    </a:lnTo>
                    <a:lnTo>
                      <a:pt x="426" y="160"/>
                    </a:lnTo>
                    <a:lnTo>
                      <a:pt x="432" y="162"/>
                    </a:lnTo>
                    <a:lnTo>
                      <a:pt x="436" y="156"/>
                    </a:lnTo>
                    <a:lnTo>
                      <a:pt x="436" y="156"/>
                    </a:lnTo>
                    <a:lnTo>
                      <a:pt x="438" y="152"/>
                    </a:lnTo>
                    <a:lnTo>
                      <a:pt x="438" y="150"/>
                    </a:lnTo>
                    <a:lnTo>
                      <a:pt x="434" y="150"/>
                    </a:lnTo>
                    <a:lnTo>
                      <a:pt x="428" y="148"/>
                    </a:lnTo>
                    <a:lnTo>
                      <a:pt x="424" y="146"/>
                    </a:lnTo>
                    <a:lnTo>
                      <a:pt x="420" y="144"/>
                    </a:lnTo>
                    <a:lnTo>
                      <a:pt x="420" y="144"/>
                    </a:lnTo>
                    <a:lnTo>
                      <a:pt x="414" y="136"/>
                    </a:lnTo>
                    <a:lnTo>
                      <a:pt x="410" y="132"/>
                    </a:lnTo>
                    <a:lnTo>
                      <a:pt x="400" y="128"/>
                    </a:lnTo>
                    <a:lnTo>
                      <a:pt x="384" y="126"/>
                    </a:lnTo>
                    <a:lnTo>
                      <a:pt x="384" y="126"/>
                    </a:lnTo>
                    <a:lnTo>
                      <a:pt x="372" y="124"/>
                    </a:lnTo>
                    <a:lnTo>
                      <a:pt x="370" y="124"/>
                    </a:lnTo>
                    <a:lnTo>
                      <a:pt x="372" y="122"/>
                    </a:lnTo>
                    <a:lnTo>
                      <a:pt x="374" y="120"/>
                    </a:lnTo>
                    <a:lnTo>
                      <a:pt x="376" y="116"/>
                    </a:lnTo>
                    <a:lnTo>
                      <a:pt x="376" y="112"/>
                    </a:lnTo>
                    <a:lnTo>
                      <a:pt x="376" y="112"/>
                    </a:lnTo>
                    <a:lnTo>
                      <a:pt x="376" y="108"/>
                    </a:lnTo>
                    <a:lnTo>
                      <a:pt x="374" y="108"/>
                    </a:lnTo>
                    <a:lnTo>
                      <a:pt x="368" y="106"/>
                    </a:lnTo>
                    <a:lnTo>
                      <a:pt x="362" y="106"/>
                    </a:lnTo>
                    <a:lnTo>
                      <a:pt x="358" y="106"/>
                    </a:lnTo>
                    <a:lnTo>
                      <a:pt x="356" y="104"/>
                    </a:lnTo>
                    <a:lnTo>
                      <a:pt x="356" y="104"/>
                    </a:lnTo>
                    <a:lnTo>
                      <a:pt x="352" y="102"/>
                    </a:lnTo>
                    <a:lnTo>
                      <a:pt x="350" y="100"/>
                    </a:lnTo>
                    <a:lnTo>
                      <a:pt x="344" y="102"/>
                    </a:lnTo>
                    <a:lnTo>
                      <a:pt x="340" y="102"/>
                    </a:lnTo>
                    <a:lnTo>
                      <a:pt x="338" y="102"/>
                    </a:lnTo>
                    <a:lnTo>
                      <a:pt x="338" y="100"/>
                    </a:lnTo>
                    <a:lnTo>
                      <a:pt x="338" y="100"/>
                    </a:lnTo>
                    <a:lnTo>
                      <a:pt x="334" y="96"/>
                    </a:lnTo>
                    <a:lnTo>
                      <a:pt x="332" y="94"/>
                    </a:lnTo>
                    <a:lnTo>
                      <a:pt x="326" y="92"/>
                    </a:lnTo>
                    <a:lnTo>
                      <a:pt x="320" y="86"/>
                    </a:lnTo>
                    <a:lnTo>
                      <a:pt x="320" y="86"/>
                    </a:lnTo>
                    <a:lnTo>
                      <a:pt x="304" y="70"/>
                    </a:lnTo>
                    <a:lnTo>
                      <a:pt x="300" y="68"/>
                    </a:lnTo>
                    <a:lnTo>
                      <a:pt x="300" y="70"/>
                    </a:lnTo>
                    <a:lnTo>
                      <a:pt x="300" y="72"/>
                    </a:lnTo>
                    <a:lnTo>
                      <a:pt x="300" y="72"/>
                    </a:lnTo>
                    <a:lnTo>
                      <a:pt x="300" y="76"/>
                    </a:lnTo>
                    <a:lnTo>
                      <a:pt x="300" y="76"/>
                    </a:lnTo>
                    <a:lnTo>
                      <a:pt x="296" y="76"/>
                    </a:lnTo>
                    <a:lnTo>
                      <a:pt x="294" y="70"/>
                    </a:lnTo>
                    <a:lnTo>
                      <a:pt x="292" y="64"/>
                    </a:lnTo>
                    <a:lnTo>
                      <a:pt x="292" y="64"/>
                    </a:lnTo>
                    <a:lnTo>
                      <a:pt x="292" y="62"/>
                    </a:lnTo>
                    <a:lnTo>
                      <a:pt x="292" y="60"/>
                    </a:lnTo>
                    <a:lnTo>
                      <a:pt x="286" y="60"/>
                    </a:lnTo>
                    <a:lnTo>
                      <a:pt x="276" y="56"/>
                    </a:lnTo>
                    <a:lnTo>
                      <a:pt x="268" y="54"/>
                    </a:lnTo>
                    <a:lnTo>
                      <a:pt x="260" y="48"/>
                    </a:lnTo>
                    <a:lnTo>
                      <a:pt x="260" y="48"/>
                    </a:lnTo>
                    <a:lnTo>
                      <a:pt x="252" y="42"/>
                    </a:lnTo>
                    <a:lnTo>
                      <a:pt x="244" y="40"/>
                    </a:lnTo>
                    <a:lnTo>
                      <a:pt x="234" y="40"/>
                    </a:lnTo>
                    <a:lnTo>
                      <a:pt x="230" y="40"/>
                    </a:lnTo>
                    <a:lnTo>
                      <a:pt x="226" y="38"/>
                    </a:lnTo>
                    <a:lnTo>
                      <a:pt x="220" y="34"/>
                    </a:lnTo>
                    <a:lnTo>
                      <a:pt x="216" y="28"/>
                    </a:lnTo>
                    <a:lnTo>
                      <a:pt x="216" y="28"/>
                    </a:lnTo>
                    <a:lnTo>
                      <a:pt x="210" y="20"/>
                    </a:lnTo>
                    <a:lnTo>
                      <a:pt x="204" y="16"/>
                    </a:lnTo>
                    <a:lnTo>
                      <a:pt x="200" y="14"/>
                    </a:lnTo>
                    <a:lnTo>
                      <a:pt x="194" y="14"/>
                    </a:lnTo>
                    <a:lnTo>
                      <a:pt x="186" y="14"/>
                    </a:lnTo>
                    <a:lnTo>
                      <a:pt x="182" y="12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76" y="6"/>
                    </a:lnTo>
                    <a:lnTo>
                      <a:pt x="174" y="4"/>
                    </a:lnTo>
                    <a:lnTo>
                      <a:pt x="168" y="6"/>
                    </a:lnTo>
                    <a:lnTo>
                      <a:pt x="164" y="8"/>
                    </a:lnTo>
                    <a:lnTo>
                      <a:pt x="160" y="6"/>
                    </a:lnTo>
                    <a:lnTo>
                      <a:pt x="156" y="4"/>
                    </a:lnTo>
                    <a:lnTo>
                      <a:pt x="156" y="4"/>
                    </a:lnTo>
                    <a:lnTo>
                      <a:pt x="150" y="0"/>
                    </a:lnTo>
                    <a:lnTo>
                      <a:pt x="148" y="2"/>
                    </a:lnTo>
                    <a:lnTo>
                      <a:pt x="146" y="2"/>
                    </a:lnTo>
                    <a:lnTo>
                      <a:pt x="142" y="4"/>
                    </a:lnTo>
                    <a:lnTo>
                      <a:pt x="136" y="4"/>
                    </a:lnTo>
                    <a:lnTo>
                      <a:pt x="126" y="2"/>
                    </a:lnTo>
                    <a:lnTo>
                      <a:pt x="126" y="2"/>
                    </a:lnTo>
                    <a:lnTo>
                      <a:pt x="118" y="0"/>
                    </a:lnTo>
                    <a:lnTo>
                      <a:pt x="112" y="0"/>
                    </a:lnTo>
                    <a:lnTo>
                      <a:pt x="108" y="2"/>
                    </a:lnTo>
                    <a:lnTo>
                      <a:pt x="104" y="4"/>
                    </a:lnTo>
                    <a:lnTo>
                      <a:pt x="98" y="8"/>
                    </a:lnTo>
                    <a:lnTo>
                      <a:pt x="9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68" y="14"/>
                    </a:lnTo>
                    <a:lnTo>
                      <a:pt x="56" y="18"/>
                    </a:lnTo>
                    <a:lnTo>
                      <a:pt x="44" y="22"/>
                    </a:lnTo>
                    <a:lnTo>
                      <a:pt x="36" y="28"/>
                    </a:lnTo>
                    <a:lnTo>
                      <a:pt x="28" y="34"/>
                    </a:lnTo>
                    <a:lnTo>
                      <a:pt x="24" y="42"/>
                    </a:lnTo>
                    <a:lnTo>
                      <a:pt x="22" y="48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2" y="60"/>
                    </a:lnTo>
                    <a:lnTo>
                      <a:pt x="14" y="62"/>
                    </a:lnTo>
                    <a:lnTo>
                      <a:pt x="4" y="64"/>
                    </a:lnTo>
                    <a:lnTo>
                      <a:pt x="2" y="66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2" y="70"/>
                    </a:lnTo>
                    <a:lnTo>
                      <a:pt x="4" y="72"/>
                    </a:lnTo>
                    <a:lnTo>
                      <a:pt x="8" y="72"/>
                    </a:lnTo>
                    <a:lnTo>
                      <a:pt x="14" y="72"/>
                    </a:lnTo>
                    <a:lnTo>
                      <a:pt x="16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4" y="72"/>
                    </a:lnTo>
                    <a:lnTo>
                      <a:pt x="30" y="68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40" y="62"/>
                    </a:lnTo>
                    <a:lnTo>
                      <a:pt x="42" y="58"/>
                    </a:lnTo>
                    <a:lnTo>
                      <a:pt x="52" y="54"/>
                    </a:lnTo>
                    <a:lnTo>
                      <a:pt x="62" y="48"/>
                    </a:lnTo>
                    <a:lnTo>
                      <a:pt x="70" y="44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4" y="34"/>
                    </a:lnTo>
                    <a:lnTo>
                      <a:pt x="92" y="30"/>
                    </a:lnTo>
                    <a:lnTo>
                      <a:pt x="100" y="28"/>
                    </a:lnTo>
                    <a:lnTo>
                      <a:pt x="108" y="28"/>
                    </a:lnTo>
                    <a:lnTo>
                      <a:pt x="124" y="28"/>
                    </a:lnTo>
                    <a:lnTo>
                      <a:pt x="132" y="32"/>
                    </a:lnTo>
                    <a:lnTo>
                      <a:pt x="132" y="32"/>
                    </a:lnTo>
                    <a:lnTo>
                      <a:pt x="134" y="34"/>
                    </a:lnTo>
                    <a:lnTo>
                      <a:pt x="132" y="36"/>
                    </a:lnTo>
                    <a:lnTo>
                      <a:pt x="124" y="38"/>
                    </a:lnTo>
                    <a:lnTo>
                      <a:pt x="116" y="42"/>
                    </a:lnTo>
                    <a:lnTo>
                      <a:pt x="116" y="44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26" y="52"/>
                    </a:lnTo>
                    <a:lnTo>
                      <a:pt x="134" y="56"/>
                    </a:lnTo>
                    <a:lnTo>
                      <a:pt x="146" y="58"/>
                    </a:lnTo>
                    <a:lnTo>
                      <a:pt x="164" y="58"/>
                    </a:lnTo>
                    <a:lnTo>
                      <a:pt x="164" y="58"/>
                    </a:lnTo>
                    <a:lnTo>
                      <a:pt x="174" y="58"/>
                    </a:lnTo>
                    <a:lnTo>
                      <a:pt x="180" y="60"/>
                    </a:lnTo>
                    <a:lnTo>
                      <a:pt x="186" y="62"/>
                    </a:lnTo>
                    <a:lnTo>
                      <a:pt x="190" y="66"/>
                    </a:lnTo>
                    <a:lnTo>
                      <a:pt x="200" y="74"/>
                    </a:lnTo>
                    <a:lnTo>
                      <a:pt x="206" y="78"/>
                    </a:lnTo>
                    <a:lnTo>
                      <a:pt x="214" y="80"/>
                    </a:lnTo>
                    <a:lnTo>
                      <a:pt x="214" y="80"/>
                    </a:lnTo>
                    <a:lnTo>
                      <a:pt x="222" y="84"/>
                    </a:lnTo>
                    <a:lnTo>
                      <a:pt x="230" y="84"/>
                    </a:lnTo>
                    <a:lnTo>
                      <a:pt x="242" y="84"/>
                    </a:lnTo>
                    <a:lnTo>
                      <a:pt x="246" y="84"/>
                    </a:lnTo>
                    <a:lnTo>
                      <a:pt x="250" y="86"/>
                    </a:lnTo>
                    <a:lnTo>
                      <a:pt x="252" y="88"/>
                    </a:lnTo>
                    <a:lnTo>
                      <a:pt x="256" y="94"/>
                    </a:lnTo>
                    <a:lnTo>
                      <a:pt x="256" y="94"/>
                    </a:lnTo>
                    <a:lnTo>
                      <a:pt x="260" y="106"/>
                    </a:lnTo>
                    <a:lnTo>
                      <a:pt x="266" y="116"/>
                    </a:lnTo>
                    <a:lnTo>
                      <a:pt x="268" y="120"/>
                    </a:lnTo>
                    <a:lnTo>
                      <a:pt x="274" y="124"/>
                    </a:lnTo>
                    <a:lnTo>
                      <a:pt x="280" y="126"/>
                    </a:lnTo>
                    <a:lnTo>
                      <a:pt x="288" y="128"/>
                    </a:lnTo>
                    <a:lnTo>
                      <a:pt x="288" y="128"/>
                    </a:lnTo>
                    <a:lnTo>
                      <a:pt x="304" y="128"/>
                    </a:lnTo>
                    <a:lnTo>
                      <a:pt x="310" y="130"/>
                    </a:lnTo>
                    <a:lnTo>
                      <a:pt x="316" y="134"/>
                    </a:lnTo>
                    <a:lnTo>
                      <a:pt x="318" y="136"/>
                    </a:lnTo>
                    <a:lnTo>
                      <a:pt x="318" y="140"/>
                    </a:lnTo>
                    <a:lnTo>
                      <a:pt x="316" y="144"/>
                    </a:lnTo>
                    <a:lnTo>
                      <a:pt x="310" y="150"/>
                    </a:lnTo>
                    <a:lnTo>
                      <a:pt x="310" y="150"/>
                    </a:lnTo>
                    <a:lnTo>
                      <a:pt x="298" y="158"/>
                    </a:lnTo>
                    <a:lnTo>
                      <a:pt x="292" y="162"/>
                    </a:lnTo>
                    <a:lnTo>
                      <a:pt x="290" y="166"/>
                    </a:lnTo>
                    <a:lnTo>
                      <a:pt x="290" y="168"/>
                    </a:lnTo>
                    <a:lnTo>
                      <a:pt x="296" y="170"/>
                    </a:lnTo>
                    <a:lnTo>
                      <a:pt x="328" y="166"/>
                    </a:lnTo>
                    <a:lnTo>
                      <a:pt x="328" y="166"/>
                    </a:lnTo>
                    <a:lnTo>
                      <a:pt x="348" y="164"/>
                    </a:lnTo>
                    <a:lnTo>
                      <a:pt x="360" y="166"/>
                    </a:lnTo>
                    <a:lnTo>
                      <a:pt x="370" y="166"/>
                    </a:lnTo>
                    <a:lnTo>
                      <a:pt x="376" y="168"/>
                    </a:lnTo>
                    <a:lnTo>
                      <a:pt x="382" y="170"/>
                    </a:lnTo>
                    <a:lnTo>
                      <a:pt x="386" y="172"/>
                    </a:lnTo>
                    <a:lnTo>
                      <a:pt x="392" y="170"/>
                    </a:lnTo>
                    <a:lnTo>
                      <a:pt x="400" y="166"/>
                    </a:lnTo>
                    <a:lnTo>
                      <a:pt x="400" y="16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58" name="Freeform 6084">
                <a:extLst>
                  <a:ext uri="{FF2B5EF4-FFF2-40B4-BE49-F238E27FC236}">
                    <a16:creationId xmlns:a16="http://schemas.microsoft.com/office/drawing/2014/main" id="{F39526E5-D16B-44FA-8B0C-A0ABAD8B5E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1460" y="3296603"/>
                <a:ext cx="5080" cy="5080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</a:cxnLst>
                <a:rect l="0" t="0" r="r" b="b"/>
                <a:pathLst>
                  <a:path w="8" h="8">
                    <a:moveTo>
                      <a:pt x="0" y="6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59" name="Freeform 6086">
                <a:extLst>
                  <a:ext uri="{FF2B5EF4-FFF2-40B4-BE49-F238E27FC236}">
                    <a16:creationId xmlns:a16="http://schemas.microsoft.com/office/drawing/2014/main" id="{C3601D91-AA16-4A49-8B82-7D2B39A9D3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979" y="1296353"/>
                <a:ext cx="2874010" cy="2354580"/>
              </a:xfrm>
              <a:custGeom>
                <a:avLst/>
                <a:gdLst/>
                <a:ahLst/>
                <a:cxnLst>
                  <a:cxn ang="0">
                    <a:pos x="3400" y="3516"/>
                  </a:cxn>
                  <a:cxn ang="0">
                    <a:pos x="3292" y="3276"/>
                  </a:cxn>
                  <a:cxn ang="0">
                    <a:pos x="3246" y="3102"/>
                  </a:cxn>
                  <a:cxn ang="0">
                    <a:pos x="3116" y="3080"/>
                  </a:cxn>
                  <a:cxn ang="0">
                    <a:pos x="2830" y="2916"/>
                  </a:cxn>
                  <a:cxn ang="0">
                    <a:pos x="3078" y="2572"/>
                  </a:cxn>
                  <a:cxn ang="0">
                    <a:pos x="3134" y="2554"/>
                  </a:cxn>
                  <a:cxn ang="0">
                    <a:pos x="3436" y="2646"/>
                  </a:cxn>
                  <a:cxn ang="0">
                    <a:pos x="3526" y="2642"/>
                  </a:cxn>
                  <a:cxn ang="0">
                    <a:pos x="3686" y="2282"/>
                  </a:cxn>
                  <a:cxn ang="0">
                    <a:pos x="3698" y="2162"/>
                  </a:cxn>
                  <a:cxn ang="0">
                    <a:pos x="3748" y="2092"/>
                  </a:cxn>
                  <a:cxn ang="0">
                    <a:pos x="3924" y="1928"/>
                  </a:cxn>
                  <a:cxn ang="0">
                    <a:pos x="4006" y="1782"/>
                  </a:cxn>
                  <a:cxn ang="0">
                    <a:pos x="4138" y="1824"/>
                  </a:cxn>
                  <a:cxn ang="0">
                    <a:pos x="4150" y="1496"/>
                  </a:cxn>
                  <a:cxn ang="0">
                    <a:pos x="4522" y="1296"/>
                  </a:cxn>
                  <a:cxn ang="0">
                    <a:pos x="4314" y="1090"/>
                  </a:cxn>
                  <a:cxn ang="0">
                    <a:pos x="4060" y="934"/>
                  </a:cxn>
                  <a:cxn ang="0">
                    <a:pos x="3720" y="680"/>
                  </a:cxn>
                  <a:cxn ang="0">
                    <a:pos x="3570" y="1166"/>
                  </a:cxn>
                  <a:cxn ang="0">
                    <a:pos x="3346" y="1132"/>
                  </a:cxn>
                  <a:cxn ang="0">
                    <a:pos x="3060" y="648"/>
                  </a:cxn>
                  <a:cxn ang="0">
                    <a:pos x="3304" y="420"/>
                  </a:cxn>
                  <a:cxn ang="0">
                    <a:pos x="3452" y="258"/>
                  </a:cxn>
                  <a:cxn ang="0">
                    <a:pos x="3282" y="322"/>
                  </a:cxn>
                  <a:cxn ang="0">
                    <a:pos x="3048" y="164"/>
                  </a:cxn>
                  <a:cxn ang="0">
                    <a:pos x="2954" y="232"/>
                  </a:cxn>
                  <a:cxn ang="0">
                    <a:pos x="2726" y="298"/>
                  </a:cxn>
                  <a:cxn ang="0">
                    <a:pos x="2330" y="286"/>
                  </a:cxn>
                  <a:cxn ang="0">
                    <a:pos x="1732" y="136"/>
                  </a:cxn>
                  <a:cxn ang="0">
                    <a:pos x="1406" y="178"/>
                  </a:cxn>
                  <a:cxn ang="0">
                    <a:pos x="636" y="94"/>
                  </a:cxn>
                  <a:cxn ang="0">
                    <a:pos x="54" y="266"/>
                  </a:cxn>
                  <a:cxn ang="0">
                    <a:pos x="28" y="440"/>
                  </a:cxn>
                  <a:cxn ang="0">
                    <a:pos x="270" y="598"/>
                  </a:cxn>
                  <a:cxn ang="0">
                    <a:pos x="246" y="900"/>
                  </a:cxn>
                  <a:cxn ang="0">
                    <a:pos x="218" y="1124"/>
                  </a:cxn>
                  <a:cxn ang="0">
                    <a:pos x="548" y="956"/>
                  </a:cxn>
                  <a:cxn ang="0">
                    <a:pos x="648" y="882"/>
                  </a:cxn>
                  <a:cxn ang="0">
                    <a:pos x="1136" y="842"/>
                  </a:cxn>
                  <a:cxn ang="0">
                    <a:pos x="1412" y="1020"/>
                  </a:cxn>
                  <a:cxn ang="0">
                    <a:pos x="1524" y="1162"/>
                  </a:cxn>
                  <a:cxn ang="0">
                    <a:pos x="1646" y="1306"/>
                  </a:cxn>
                  <a:cxn ang="0">
                    <a:pos x="1750" y="1434"/>
                  </a:cxn>
                  <a:cxn ang="0">
                    <a:pos x="1840" y="1570"/>
                  </a:cxn>
                  <a:cxn ang="0">
                    <a:pos x="1838" y="2170"/>
                  </a:cxn>
                  <a:cxn ang="0">
                    <a:pos x="2146" y="2682"/>
                  </a:cxn>
                  <a:cxn ang="0">
                    <a:pos x="2168" y="2564"/>
                  </a:cxn>
                  <a:cxn ang="0">
                    <a:pos x="2530" y="2998"/>
                  </a:cxn>
                  <a:cxn ang="0">
                    <a:pos x="3202" y="3400"/>
                  </a:cxn>
                  <a:cxn ang="0">
                    <a:pos x="3330" y="3570"/>
                  </a:cxn>
                  <a:cxn ang="0">
                    <a:pos x="3432" y="3656"/>
                  </a:cxn>
                  <a:cxn ang="0">
                    <a:pos x="3562" y="3616"/>
                  </a:cxn>
                  <a:cxn ang="0">
                    <a:pos x="3408" y="1922"/>
                  </a:cxn>
                  <a:cxn ang="0">
                    <a:pos x="3590" y="1870"/>
                  </a:cxn>
                  <a:cxn ang="0">
                    <a:pos x="3578" y="1812"/>
                  </a:cxn>
                  <a:cxn ang="0">
                    <a:pos x="3344" y="1588"/>
                  </a:cxn>
                  <a:cxn ang="0">
                    <a:pos x="3548" y="1750"/>
                  </a:cxn>
                  <a:cxn ang="0">
                    <a:pos x="3418" y="1798"/>
                  </a:cxn>
                  <a:cxn ang="0">
                    <a:pos x="3294" y="1766"/>
                  </a:cxn>
                  <a:cxn ang="0">
                    <a:pos x="3244" y="1726"/>
                  </a:cxn>
                  <a:cxn ang="0">
                    <a:pos x="3258" y="1654"/>
                  </a:cxn>
                </a:cxnLst>
                <a:rect l="0" t="0" r="r" b="b"/>
                <a:pathLst>
                  <a:path w="4526" h="3708">
                    <a:moveTo>
                      <a:pt x="3654" y="3626"/>
                    </a:move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42" y="3614"/>
                    </a:lnTo>
                    <a:lnTo>
                      <a:pt x="3628" y="3600"/>
                    </a:lnTo>
                    <a:lnTo>
                      <a:pt x="3622" y="3596"/>
                    </a:lnTo>
                    <a:lnTo>
                      <a:pt x="3614" y="3592"/>
                    </a:lnTo>
                    <a:lnTo>
                      <a:pt x="3606" y="3590"/>
                    </a:lnTo>
                    <a:lnTo>
                      <a:pt x="3598" y="3588"/>
                    </a:lnTo>
                    <a:lnTo>
                      <a:pt x="3598" y="3588"/>
                    </a:lnTo>
                    <a:lnTo>
                      <a:pt x="3588" y="3590"/>
                    </a:lnTo>
                    <a:lnTo>
                      <a:pt x="3588" y="3588"/>
                    </a:lnTo>
                    <a:lnTo>
                      <a:pt x="3588" y="3588"/>
                    </a:lnTo>
                    <a:lnTo>
                      <a:pt x="3588" y="3586"/>
                    </a:lnTo>
                    <a:lnTo>
                      <a:pt x="3586" y="3584"/>
                    </a:lnTo>
                    <a:lnTo>
                      <a:pt x="3574" y="3582"/>
                    </a:lnTo>
                    <a:lnTo>
                      <a:pt x="3574" y="3582"/>
                    </a:lnTo>
                    <a:lnTo>
                      <a:pt x="3562" y="3582"/>
                    </a:lnTo>
                    <a:lnTo>
                      <a:pt x="3560" y="3582"/>
                    </a:lnTo>
                    <a:lnTo>
                      <a:pt x="3560" y="3584"/>
                    </a:lnTo>
                    <a:lnTo>
                      <a:pt x="3556" y="3590"/>
                    </a:lnTo>
                    <a:lnTo>
                      <a:pt x="3552" y="3594"/>
                    </a:lnTo>
                    <a:lnTo>
                      <a:pt x="3546" y="3598"/>
                    </a:lnTo>
                    <a:lnTo>
                      <a:pt x="3546" y="3598"/>
                    </a:lnTo>
                    <a:lnTo>
                      <a:pt x="3524" y="3608"/>
                    </a:lnTo>
                    <a:lnTo>
                      <a:pt x="3518" y="3612"/>
                    </a:lnTo>
                    <a:lnTo>
                      <a:pt x="3514" y="3616"/>
                    </a:lnTo>
                    <a:lnTo>
                      <a:pt x="3496" y="3622"/>
                    </a:lnTo>
                    <a:lnTo>
                      <a:pt x="3496" y="3622"/>
                    </a:lnTo>
                    <a:lnTo>
                      <a:pt x="3492" y="3622"/>
                    </a:lnTo>
                    <a:lnTo>
                      <a:pt x="3488" y="3620"/>
                    </a:lnTo>
                    <a:lnTo>
                      <a:pt x="3480" y="3612"/>
                    </a:lnTo>
                    <a:lnTo>
                      <a:pt x="3480" y="3612"/>
                    </a:lnTo>
                    <a:lnTo>
                      <a:pt x="3476" y="3608"/>
                    </a:lnTo>
                    <a:lnTo>
                      <a:pt x="3474" y="3604"/>
                    </a:lnTo>
                    <a:lnTo>
                      <a:pt x="3474" y="3604"/>
                    </a:lnTo>
                    <a:lnTo>
                      <a:pt x="3472" y="3602"/>
                    </a:lnTo>
                    <a:lnTo>
                      <a:pt x="3470" y="3602"/>
                    </a:lnTo>
                    <a:lnTo>
                      <a:pt x="3468" y="3604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68" y="3612"/>
                    </a:lnTo>
                    <a:lnTo>
                      <a:pt x="3464" y="3612"/>
                    </a:lnTo>
                    <a:lnTo>
                      <a:pt x="3460" y="3610"/>
                    </a:lnTo>
                    <a:lnTo>
                      <a:pt x="3456" y="3608"/>
                    </a:lnTo>
                    <a:lnTo>
                      <a:pt x="3456" y="3608"/>
                    </a:lnTo>
                    <a:lnTo>
                      <a:pt x="3458" y="3604"/>
                    </a:lnTo>
                    <a:lnTo>
                      <a:pt x="3460" y="3604"/>
                    </a:lnTo>
                    <a:lnTo>
                      <a:pt x="3460" y="3602"/>
                    </a:lnTo>
                    <a:lnTo>
                      <a:pt x="3460" y="3600"/>
                    </a:lnTo>
                    <a:lnTo>
                      <a:pt x="3460" y="3600"/>
                    </a:lnTo>
                    <a:lnTo>
                      <a:pt x="3458" y="3600"/>
                    </a:lnTo>
                    <a:lnTo>
                      <a:pt x="3454" y="3600"/>
                    </a:lnTo>
                    <a:lnTo>
                      <a:pt x="3452" y="3600"/>
                    </a:lnTo>
                    <a:lnTo>
                      <a:pt x="3452" y="3596"/>
                    </a:lnTo>
                    <a:lnTo>
                      <a:pt x="3452" y="3596"/>
                    </a:lnTo>
                    <a:lnTo>
                      <a:pt x="3452" y="3590"/>
                    </a:lnTo>
                    <a:lnTo>
                      <a:pt x="3450" y="3588"/>
                    </a:lnTo>
                    <a:lnTo>
                      <a:pt x="3444" y="3584"/>
                    </a:lnTo>
                    <a:lnTo>
                      <a:pt x="3444" y="3584"/>
                    </a:lnTo>
                    <a:lnTo>
                      <a:pt x="3440" y="3578"/>
                    </a:lnTo>
                    <a:lnTo>
                      <a:pt x="3432" y="3568"/>
                    </a:lnTo>
                    <a:lnTo>
                      <a:pt x="3422" y="3558"/>
                    </a:lnTo>
                    <a:lnTo>
                      <a:pt x="3412" y="3544"/>
                    </a:lnTo>
                    <a:lnTo>
                      <a:pt x="3412" y="3544"/>
                    </a:lnTo>
                    <a:lnTo>
                      <a:pt x="3406" y="3534"/>
                    </a:lnTo>
                    <a:lnTo>
                      <a:pt x="3404" y="3528"/>
                    </a:lnTo>
                    <a:lnTo>
                      <a:pt x="3404" y="3522"/>
                    </a:lnTo>
                    <a:lnTo>
                      <a:pt x="3400" y="3516"/>
                    </a:lnTo>
                    <a:lnTo>
                      <a:pt x="3400" y="3516"/>
                    </a:lnTo>
                    <a:lnTo>
                      <a:pt x="3396" y="3512"/>
                    </a:lnTo>
                    <a:lnTo>
                      <a:pt x="3392" y="3504"/>
                    </a:lnTo>
                    <a:lnTo>
                      <a:pt x="3392" y="3504"/>
                    </a:lnTo>
                    <a:lnTo>
                      <a:pt x="3392" y="3498"/>
                    </a:lnTo>
                    <a:lnTo>
                      <a:pt x="3392" y="3492"/>
                    </a:lnTo>
                    <a:lnTo>
                      <a:pt x="3396" y="3486"/>
                    </a:lnTo>
                    <a:lnTo>
                      <a:pt x="3398" y="3484"/>
                    </a:lnTo>
                    <a:lnTo>
                      <a:pt x="3398" y="3484"/>
                    </a:lnTo>
                    <a:lnTo>
                      <a:pt x="3400" y="3482"/>
                    </a:lnTo>
                    <a:lnTo>
                      <a:pt x="3400" y="3478"/>
                    </a:lnTo>
                    <a:lnTo>
                      <a:pt x="3398" y="3474"/>
                    </a:lnTo>
                    <a:lnTo>
                      <a:pt x="3396" y="3472"/>
                    </a:lnTo>
                    <a:lnTo>
                      <a:pt x="3396" y="3472"/>
                    </a:lnTo>
                    <a:lnTo>
                      <a:pt x="3396" y="3470"/>
                    </a:lnTo>
                    <a:lnTo>
                      <a:pt x="3394" y="3470"/>
                    </a:lnTo>
                    <a:lnTo>
                      <a:pt x="3396" y="3464"/>
                    </a:lnTo>
                    <a:lnTo>
                      <a:pt x="3400" y="3452"/>
                    </a:lnTo>
                    <a:lnTo>
                      <a:pt x="3400" y="3452"/>
                    </a:lnTo>
                    <a:lnTo>
                      <a:pt x="3400" y="3446"/>
                    </a:lnTo>
                    <a:lnTo>
                      <a:pt x="3402" y="3444"/>
                    </a:lnTo>
                    <a:lnTo>
                      <a:pt x="3404" y="3444"/>
                    </a:lnTo>
                    <a:lnTo>
                      <a:pt x="3404" y="3444"/>
                    </a:lnTo>
                    <a:lnTo>
                      <a:pt x="3408" y="3444"/>
                    </a:lnTo>
                    <a:lnTo>
                      <a:pt x="3406" y="3438"/>
                    </a:lnTo>
                    <a:lnTo>
                      <a:pt x="3406" y="3438"/>
                    </a:lnTo>
                    <a:lnTo>
                      <a:pt x="3406" y="3424"/>
                    </a:lnTo>
                    <a:lnTo>
                      <a:pt x="3404" y="3404"/>
                    </a:lnTo>
                    <a:lnTo>
                      <a:pt x="3404" y="3404"/>
                    </a:lnTo>
                    <a:lnTo>
                      <a:pt x="3402" y="3396"/>
                    </a:lnTo>
                    <a:lnTo>
                      <a:pt x="3404" y="3392"/>
                    </a:lnTo>
                    <a:lnTo>
                      <a:pt x="3406" y="3386"/>
                    </a:lnTo>
                    <a:lnTo>
                      <a:pt x="3408" y="3378"/>
                    </a:lnTo>
                    <a:lnTo>
                      <a:pt x="3408" y="3378"/>
                    </a:lnTo>
                    <a:lnTo>
                      <a:pt x="3410" y="3368"/>
                    </a:lnTo>
                    <a:lnTo>
                      <a:pt x="3414" y="3358"/>
                    </a:lnTo>
                    <a:lnTo>
                      <a:pt x="3418" y="3350"/>
                    </a:lnTo>
                    <a:lnTo>
                      <a:pt x="3418" y="3346"/>
                    </a:lnTo>
                    <a:lnTo>
                      <a:pt x="3418" y="3342"/>
                    </a:lnTo>
                    <a:lnTo>
                      <a:pt x="3418" y="3342"/>
                    </a:lnTo>
                    <a:lnTo>
                      <a:pt x="3416" y="3334"/>
                    </a:lnTo>
                    <a:lnTo>
                      <a:pt x="3416" y="3328"/>
                    </a:lnTo>
                    <a:lnTo>
                      <a:pt x="3418" y="3324"/>
                    </a:lnTo>
                    <a:lnTo>
                      <a:pt x="3420" y="3318"/>
                    </a:lnTo>
                    <a:lnTo>
                      <a:pt x="3420" y="3318"/>
                    </a:lnTo>
                    <a:lnTo>
                      <a:pt x="3420" y="3314"/>
                    </a:lnTo>
                    <a:lnTo>
                      <a:pt x="3418" y="3310"/>
                    </a:lnTo>
                    <a:lnTo>
                      <a:pt x="3412" y="3304"/>
                    </a:lnTo>
                    <a:lnTo>
                      <a:pt x="3406" y="3300"/>
                    </a:lnTo>
                    <a:lnTo>
                      <a:pt x="3406" y="3300"/>
                    </a:lnTo>
                    <a:lnTo>
                      <a:pt x="3388" y="3290"/>
                    </a:lnTo>
                    <a:lnTo>
                      <a:pt x="3380" y="3280"/>
                    </a:lnTo>
                    <a:lnTo>
                      <a:pt x="3380" y="3280"/>
                    </a:lnTo>
                    <a:lnTo>
                      <a:pt x="3372" y="3274"/>
                    </a:lnTo>
                    <a:lnTo>
                      <a:pt x="3360" y="3270"/>
                    </a:lnTo>
                    <a:lnTo>
                      <a:pt x="3350" y="3268"/>
                    </a:lnTo>
                    <a:lnTo>
                      <a:pt x="3344" y="3268"/>
                    </a:lnTo>
                    <a:lnTo>
                      <a:pt x="3344" y="3268"/>
                    </a:lnTo>
                    <a:lnTo>
                      <a:pt x="3340" y="3270"/>
                    </a:lnTo>
                    <a:lnTo>
                      <a:pt x="3334" y="3270"/>
                    </a:lnTo>
                    <a:lnTo>
                      <a:pt x="3326" y="3270"/>
                    </a:lnTo>
                    <a:lnTo>
                      <a:pt x="3320" y="3268"/>
                    </a:lnTo>
                    <a:lnTo>
                      <a:pt x="3320" y="3268"/>
                    </a:lnTo>
                    <a:lnTo>
                      <a:pt x="3308" y="3264"/>
                    </a:lnTo>
                    <a:lnTo>
                      <a:pt x="3306" y="3264"/>
                    </a:lnTo>
                    <a:lnTo>
                      <a:pt x="3308" y="3266"/>
                    </a:lnTo>
                    <a:lnTo>
                      <a:pt x="3308" y="3266"/>
                    </a:lnTo>
                    <a:lnTo>
                      <a:pt x="3308" y="3268"/>
                    </a:lnTo>
                    <a:lnTo>
                      <a:pt x="3308" y="3270"/>
                    </a:lnTo>
                    <a:lnTo>
                      <a:pt x="3304" y="3272"/>
                    </a:lnTo>
                    <a:lnTo>
                      <a:pt x="3292" y="3276"/>
                    </a:lnTo>
                    <a:lnTo>
                      <a:pt x="3292" y="3276"/>
                    </a:lnTo>
                    <a:lnTo>
                      <a:pt x="3278" y="3278"/>
                    </a:lnTo>
                    <a:lnTo>
                      <a:pt x="3266" y="3276"/>
                    </a:lnTo>
                    <a:lnTo>
                      <a:pt x="3258" y="3274"/>
                    </a:lnTo>
                    <a:lnTo>
                      <a:pt x="3248" y="3274"/>
                    </a:lnTo>
                    <a:lnTo>
                      <a:pt x="3248" y="3274"/>
                    </a:lnTo>
                    <a:lnTo>
                      <a:pt x="3244" y="3276"/>
                    </a:lnTo>
                    <a:lnTo>
                      <a:pt x="3242" y="3274"/>
                    </a:lnTo>
                    <a:lnTo>
                      <a:pt x="3240" y="3272"/>
                    </a:lnTo>
                    <a:lnTo>
                      <a:pt x="3238" y="3270"/>
                    </a:lnTo>
                    <a:lnTo>
                      <a:pt x="3238" y="3270"/>
                    </a:lnTo>
                    <a:lnTo>
                      <a:pt x="3236" y="3270"/>
                    </a:lnTo>
                    <a:lnTo>
                      <a:pt x="3232" y="3272"/>
                    </a:lnTo>
                    <a:lnTo>
                      <a:pt x="3226" y="3276"/>
                    </a:lnTo>
                    <a:lnTo>
                      <a:pt x="3222" y="3282"/>
                    </a:lnTo>
                    <a:lnTo>
                      <a:pt x="3218" y="3282"/>
                    </a:lnTo>
                    <a:lnTo>
                      <a:pt x="3216" y="3280"/>
                    </a:lnTo>
                    <a:lnTo>
                      <a:pt x="3216" y="3280"/>
                    </a:lnTo>
                    <a:lnTo>
                      <a:pt x="3206" y="3272"/>
                    </a:lnTo>
                    <a:lnTo>
                      <a:pt x="3202" y="3268"/>
                    </a:lnTo>
                    <a:lnTo>
                      <a:pt x="3200" y="3268"/>
                    </a:lnTo>
                    <a:lnTo>
                      <a:pt x="3202" y="3270"/>
                    </a:lnTo>
                    <a:lnTo>
                      <a:pt x="3202" y="3270"/>
                    </a:lnTo>
                    <a:lnTo>
                      <a:pt x="3204" y="3274"/>
                    </a:lnTo>
                    <a:lnTo>
                      <a:pt x="3202" y="3280"/>
                    </a:lnTo>
                    <a:lnTo>
                      <a:pt x="3202" y="3280"/>
                    </a:lnTo>
                    <a:lnTo>
                      <a:pt x="3200" y="3282"/>
                    </a:lnTo>
                    <a:lnTo>
                      <a:pt x="3198" y="3280"/>
                    </a:lnTo>
                    <a:lnTo>
                      <a:pt x="3194" y="3274"/>
                    </a:lnTo>
                    <a:lnTo>
                      <a:pt x="3188" y="3270"/>
                    </a:lnTo>
                    <a:lnTo>
                      <a:pt x="3188" y="3270"/>
                    </a:lnTo>
                    <a:lnTo>
                      <a:pt x="3188" y="3268"/>
                    </a:lnTo>
                    <a:lnTo>
                      <a:pt x="3190" y="3264"/>
                    </a:lnTo>
                    <a:lnTo>
                      <a:pt x="3196" y="3256"/>
                    </a:lnTo>
                    <a:lnTo>
                      <a:pt x="3202" y="3250"/>
                    </a:lnTo>
                    <a:lnTo>
                      <a:pt x="3208" y="3242"/>
                    </a:lnTo>
                    <a:lnTo>
                      <a:pt x="3208" y="3242"/>
                    </a:lnTo>
                    <a:lnTo>
                      <a:pt x="3212" y="3236"/>
                    </a:lnTo>
                    <a:lnTo>
                      <a:pt x="3214" y="3228"/>
                    </a:lnTo>
                    <a:lnTo>
                      <a:pt x="3216" y="3206"/>
                    </a:lnTo>
                    <a:lnTo>
                      <a:pt x="3218" y="3182"/>
                    </a:lnTo>
                    <a:lnTo>
                      <a:pt x="3222" y="3160"/>
                    </a:lnTo>
                    <a:lnTo>
                      <a:pt x="3222" y="3160"/>
                    </a:lnTo>
                    <a:lnTo>
                      <a:pt x="3222" y="3154"/>
                    </a:lnTo>
                    <a:lnTo>
                      <a:pt x="3220" y="3150"/>
                    </a:lnTo>
                    <a:lnTo>
                      <a:pt x="3218" y="3148"/>
                    </a:lnTo>
                    <a:lnTo>
                      <a:pt x="3216" y="3148"/>
                    </a:lnTo>
                    <a:lnTo>
                      <a:pt x="3216" y="3148"/>
                    </a:lnTo>
                    <a:lnTo>
                      <a:pt x="3214" y="3150"/>
                    </a:lnTo>
                    <a:lnTo>
                      <a:pt x="3212" y="3150"/>
                    </a:lnTo>
                    <a:lnTo>
                      <a:pt x="3212" y="3144"/>
                    </a:lnTo>
                    <a:lnTo>
                      <a:pt x="3212" y="3144"/>
                    </a:lnTo>
                    <a:lnTo>
                      <a:pt x="3220" y="3128"/>
                    </a:lnTo>
                    <a:lnTo>
                      <a:pt x="3220" y="3128"/>
                    </a:lnTo>
                    <a:lnTo>
                      <a:pt x="3222" y="3124"/>
                    </a:lnTo>
                    <a:lnTo>
                      <a:pt x="3224" y="3124"/>
                    </a:lnTo>
                    <a:lnTo>
                      <a:pt x="3224" y="3128"/>
                    </a:lnTo>
                    <a:lnTo>
                      <a:pt x="3222" y="3134"/>
                    </a:lnTo>
                    <a:lnTo>
                      <a:pt x="3222" y="3134"/>
                    </a:lnTo>
                    <a:lnTo>
                      <a:pt x="3222" y="3140"/>
                    </a:lnTo>
                    <a:lnTo>
                      <a:pt x="3224" y="3144"/>
                    </a:lnTo>
                    <a:lnTo>
                      <a:pt x="3226" y="3148"/>
                    </a:lnTo>
                    <a:lnTo>
                      <a:pt x="3230" y="3154"/>
                    </a:lnTo>
                    <a:lnTo>
                      <a:pt x="3230" y="3154"/>
                    </a:lnTo>
                    <a:lnTo>
                      <a:pt x="3232" y="3156"/>
                    </a:lnTo>
                    <a:lnTo>
                      <a:pt x="3232" y="3152"/>
                    </a:lnTo>
                    <a:lnTo>
                      <a:pt x="3236" y="3138"/>
                    </a:lnTo>
                    <a:lnTo>
                      <a:pt x="3242" y="3118"/>
                    </a:lnTo>
                    <a:lnTo>
                      <a:pt x="3244" y="3104"/>
                    </a:lnTo>
                    <a:lnTo>
                      <a:pt x="3244" y="3104"/>
                    </a:lnTo>
                    <a:lnTo>
                      <a:pt x="3246" y="3102"/>
                    </a:lnTo>
                    <a:lnTo>
                      <a:pt x="3244" y="3102"/>
                    </a:lnTo>
                    <a:lnTo>
                      <a:pt x="3240" y="3102"/>
                    </a:lnTo>
                    <a:lnTo>
                      <a:pt x="3238" y="3102"/>
                    </a:lnTo>
                    <a:lnTo>
                      <a:pt x="3242" y="3098"/>
                    </a:lnTo>
                    <a:lnTo>
                      <a:pt x="3242" y="3098"/>
                    </a:lnTo>
                    <a:lnTo>
                      <a:pt x="3250" y="3088"/>
                    </a:lnTo>
                    <a:lnTo>
                      <a:pt x="3248" y="3086"/>
                    </a:lnTo>
                    <a:lnTo>
                      <a:pt x="3244" y="3088"/>
                    </a:lnTo>
                    <a:lnTo>
                      <a:pt x="3244" y="3088"/>
                    </a:lnTo>
                    <a:lnTo>
                      <a:pt x="3238" y="3090"/>
                    </a:lnTo>
                    <a:lnTo>
                      <a:pt x="3236" y="3088"/>
                    </a:lnTo>
                    <a:lnTo>
                      <a:pt x="3236" y="3084"/>
                    </a:lnTo>
                    <a:lnTo>
                      <a:pt x="3242" y="3078"/>
                    </a:lnTo>
                    <a:lnTo>
                      <a:pt x="3242" y="3078"/>
                    </a:lnTo>
                    <a:lnTo>
                      <a:pt x="3246" y="3076"/>
                    </a:lnTo>
                    <a:lnTo>
                      <a:pt x="3248" y="3072"/>
                    </a:lnTo>
                    <a:lnTo>
                      <a:pt x="3248" y="3064"/>
                    </a:lnTo>
                    <a:lnTo>
                      <a:pt x="3252" y="3050"/>
                    </a:lnTo>
                    <a:lnTo>
                      <a:pt x="3256" y="3040"/>
                    </a:lnTo>
                    <a:lnTo>
                      <a:pt x="3264" y="3030"/>
                    </a:lnTo>
                    <a:lnTo>
                      <a:pt x="3264" y="3030"/>
                    </a:lnTo>
                    <a:lnTo>
                      <a:pt x="3274" y="3016"/>
                    </a:lnTo>
                    <a:lnTo>
                      <a:pt x="3276" y="3010"/>
                    </a:lnTo>
                    <a:lnTo>
                      <a:pt x="3274" y="3006"/>
                    </a:lnTo>
                    <a:lnTo>
                      <a:pt x="3272" y="3002"/>
                    </a:lnTo>
                    <a:lnTo>
                      <a:pt x="3272" y="3002"/>
                    </a:lnTo>
                    <a:lnTo>
                      <a:pt x="3272" y="2996"/>
                    </a:lnTo>
                    <a:lnTo>
                      <a:pt x="3272" y="2994"/>
                    </a:lnTo>
                    <a:lnTo>
                      <a:pt x="3268" y="2992"/>
                    </a:lnTo>
                    <a:lnTo>
                      <a:pt x="3266" y="2988"/>
                    </a:lnTo>
                    <a:lnTo>
                      <a:pt x="3266" y="2988"/>
                    </a:lnTo>
                    <a:lnTo>
                      <a:pt x="3264" y="2986"/>
                    </a:lnTo>
                    <a:lnTo>
                      <a:pt x="3260" y="2986"/>
                    </a:lnTo>
                    <a:lnTo>
                      <a:pt x="3256" y="2986"/>
                    </a:lnTo>
                    <a:lnTo>
                      <a:pt x="3252" y="2988"/>
                    </a:lnTo>
                    <a:lnTo>
                      <a:pt x="3252" y="2988"/>
                    </a:lnTo>
                    <a:lnTo>
                      <a:pt x="3254" y="2990"/>
                    </a:lnTo>
                    <a:lnTo>
                      <a:pt x="3254" y="2990"/>
                    </a:lnTo>
                    <a:lnTo>
                      <a:pt x="3260" y="2990"/>
                    </a:lnTo>
                    <a:lnTo>
                      <a:pt x="3260" y="2992"/>
                    </a:lnTo>
                    <a:lnTo>
                      <a:pt x="3256" y="2994"/>
                    </a:lnTo>
                    <a:lnTo>
                      <a:pt x="3256" y="2994"/>
                    </a:lnTo>
                    <a:lnTo>
                      <a:pt x="3254" y="2994"/>
                    </a:lnTo>
                    <a:lnTo>
                      <a:pt x="3250" y="2994"/>
                    </a:lnTo>
                    <a:lnTo>
                      <a:pt x="3242" y="2990"/>
                    </a:lnTo>
                    <a:lnTo>
                      <a:pt x="3230" y="2988"/>
                    </a:lnTo>
                    <a:lnTo>
                      <a:pt x="3222" y="2986"/>
                    </a:lnTo>
                    <a:lnTo>
                      <a:pt x="3214" y="2986"/>
                    </a:lnTo>
                    <a:lnTo>
                      <a:pt x="3214" y="2986"/>
                    </a:lnTo>
                    <a:lnTo>
                      <a:pt x="3202" y="2990"/>
                    </a:lnTo>
                    <a:lnTo>
                      <a:pt x="3196" y="2992"/>
                    </a:lnTo>
                    <a:lnTo>
                      <a:pt x="3190" y="2996"/>
                    </a:lnTo>
                    <a:lnTo>
                      <a:pt x="3180" y="2998"/>
                    </a:lnTo>
                    <a:lnTo>
                      <a:pt x="3180" y="2998"/>
                    </a:lnTo>
                    <a:lnTo>
                      <a:pt x="3162" y="3000"/>
                    </a:lnTo>
                    <a:lnTo>
                      <a:pt x="3146" y="3004"/>
                    </a:lnTo>
                    <a:lnTo>
                      <a:pt x="3140" y="3008"/>
                    </a:lnTo>
                    <a:lnTo>
                      <a:pt x="3134" y="3012"/>
                    </a:lnTo>
                    <a:lnTo>
                      <a:pt x="3130" y="3016"/>
                    </a:lnTo>
                    <a:lnTo>
                      <a:pt x="3130" y="3020"/>
                    </a:lnTo>
                    <a:lnTo>
                      <a:pt x="3130" y="3020"/>
                    </a:lnTo>
                    <a:lnTo>
                      <a:pt x="3128" y="3028"/>
                    </a:lnTo>
                    <a:lnTo>
                      <a:pt x="3126" y="3034"/>
                    </a:lnTo>
                    <a:lnTo>
                      <a:pt x="3124" y="3040"/>
                    </a:lnTo>
                    <a:lnTo>
                      <a:pt x="3124" y="3056"/>
                    </a:lnTo>
                    <a:lnTo>
                      <a:pt x="3124" y="3056"/>
                    </a:lnTo>
                    <a:lnTo>
                      <a:pt x="3126" y="3068"/>
                    </a:lnTo>
                    <a:lnTo>
                      <a:pt x="3124" y="3070"/>
                    </a:lnTo>
                    <a:lnTo>
                      <a:pt x="3122" y="3072"/>
                    </a:lnTo>
                    <a:lnTo>
                      <a:pt x="3118" y="3076"/>
                    </a:lnTo>
                    <a:lnTo>
                      <a:pt x="3116" y="3080"/>
                    </a:lnTo>
                    <a:lnTo>
                      <a:pt x="3116" y="3088"/>
                    </a:lnTo>
                    <a:lnTo>
                      <a:pt x="3116" y="3088"/>
                    </a:lnTo>
                    <a:lnTo>
                      <a:pt x="3114" y="3096"/>
                    </a:lnTo>
                    <a:lnTo>
                      <a:pt x="3112" y="3102"/>
                    </a:lnTo>
                    <a:lnTo>
                      <a:pt x="3108" y="3108"/>
                    </a:lnTo>
                    <a:lnTo>
                      <a:pt x="3104" y="3112"/>
                    </a:lnTo>
                    <a:lnTo>
                      <a:pt x="3094" y="3118"/>
                    </a:lnTo>
                    <a:lnTo>
                      <a:pt x="3086" y="3122"/>
                    </a:lnTo>
                    <a:lnTo>
                      <a:pt x="3086" y="3122"/>
                    </a:lnTo>
                    <a:lnTo>
                      <a:pt x="3084" y="3126"/>
                    </a:lnTo>
                    <a:lnTo>
                      <a:pt x="3084" y="3126"/>
                    </a:lnTo>
                    <a:lnTo>
                      <a:pt x="3088" y="3128"/>
                    </a:lnTo>
                    <a:lnTo>
                      <a:pt x="3092" y="3132"/>
                    </a:lnTo>
                    <a:lnTo>
                      <a:pt x="3092" y="3134"/>
                    </a:lnTo>
                    <a:lnTo>
                      <a:pt x="3090" y="3138"/>
                    </a:lnTo>
                    <a:lnTo>
                      <a:pt x="3090" y="3138"/>
                    </a:lnTo>
                    <a:lnTo>
                      <a:pt x="3086" y="3142"/>
                    </a:lnTo>
                    <a:lnTo>
                      <a:pt x="3078" y="3144"/>
                    </a:lnTo>
                    <a:lnTo>
                      <a:pt x="3072" y="3144"/>
                    </a:lnTo>
                    <a:lnTo>
                      <a:pt x="3070" y="3142"/>
                    </a:lnTo>
                    <a:lnTo>
                      <a:pt x="3070" y="3140"/>
                    </a:lnTo>
                    <a:lnTo>
                      <a:pt x="3070" y="3140"/>
                    </a:lnTo>
                    <a:lnTo>
                      <a:pt x="3068" y="3134"/>
                    </a:lnTo>
                    <a:lnTo>
                      <a:pt x="3066" y="3132"/>
                    </a:lnTo>
                    <a:lnTo>
                      <a:pt x="3058" y="3132"/>
                    </a:lnTo>
                    <a:lnTo>
                      <a:pt x="3046" y="3132"/>
                    </a:lnTo>
                    <a:lnTo>
                      <a:pt x="3046" y="3132"/>
                    </a:lnTo>
                    <a:lnTo>
                      <a:pt x="3038" y="3134"/>
                    </a:lnTo>
                    <a:lnTo>
                      <a:pt x="3034" y="3138"/>
                    </a:lnTo>
                    <a:lnTo>
                      <a:pt x="3028" y="3142"/>
                    </a:lnTo>
                    <a:lnTo>
                      <a:pt x="3010" y="3144"/>
                    </a:lnTo>
                    <a:lnTo>
                      <a:pt x="3010" y="3144"/>
                    </a:lnTo>
                    <a:lnTo>
                      <a:pt x="2996" y="3146"/>
                    </a:lnTo>
                    <a:lnTo>
                      <a:pt x="2986" y="3152"/>
                    </a:lnTo>
                    <a:lnTo>
                      <a:pt x="2978" y="3156"/>
                    </a:lnTo>
                    <a:lnTo>
                      <a:pt x="2968" y="3160"/>
                    </a:lnTo>
                    <a:lnTo>
                      <a:pt x="2968" y="3160"/>
                    </a:lnTo>
                    <a:lnTo>
                      <a:pt x="2964" y="3160"/>
                    </a:lnTo>
                    <a:lnTo>
                      <a:pt x="2960" y="3158"/>
                    </a:lnTo>
                    <a:lnTo>
                      <a:pt x="2956" y="3148"/>
                    </a:lnTo>
                    <a:lnTo>
                      <a:pt x="2952" y="3144"/>
                    </a:lnTo>
                    <a:lnTo>
                      <a:pt x="2946" y="3138"/>
                    </a:lnTo>
                    <a:lnTo>
                      <a:pt x="2938" y="3134"/>
                    </a:lnTo>
                    <a:lnTo>
                      <a:pt x="2924" y="3130"/>
                    </a:lnTo>
                    <a:lnTo>
                      <a:pt x="2924" y="3130"/>
                    </a:lnTo>
                    <a:lnTo>
                      <a:pt x="2912" y="3126"/>
                    </a:lnTo>
                    <a:lnTo>
                      <a:pt x="2904" y="3120"/>
                    </a:lnTo>
                    <a:lnTo>
                      <a:pt x="2898" y="3112"/>
                    </a:lnTo>
                    <a:lnTo>
                      <a:pt x="2894" y="3102"/>
                    </a:lnTo>
                    <a:lnTo>
                      <a:pt x="2884" y="3076"/>
                    </a:lnTo>
                    <a:lnTo>
                      <a:pt x="2876" y="3062"/>
                    </a:lnTo>
                    <a:lnTo>
                      <a:pt x="2864" y="3046"/>
                    </a:lnTo>
                    <a:lnTo>
                      <a:pt x="2864" y="3046"/>
                    </a:lnTo>
                    <a:lnTo>
                      <a:pt x="2858" y="3036"/>
                    </a:lnTo>
                    <a:lnTo>
                      <a:pt x="2852" y="3028"/>
                    </a:lnTo>
                    <a:lnTo>
                      <a:pt x="2848" y="3010"/>
                    </a:lnTo>
                    <a:lnTo>
                      <a:pt x="2844" y="2998"/>
                    </a:lnTo>
                    <a:lnTo>
                      <a:pt x="2844" y="2994"/>
                    </a:lnTo>
                    <a:lnTo>
                      <a:pt x="2842" y="2992"/>
                    </a:lnTo>
                    <a:lnTo>
                      <a:pt x="2842" y="2992"/>
                    </a:lnTo>
                    <a:lnTo>
                      <a:pt x="2838" y="2990"/>
                    </a:lnTo>
                    <a:lnTo>
                      <a:pt x="2836" y="2988"/>
                    </a:lnTo>
                    <a:lnTo>
                      <a:pt x="2834" y="2976"/>
                    </a:lnTo>
                    <a:lnTo>
                      <a:pt x="2830" y="2948"/>
                    </a:lnTo>
                    <a:lnTo>
                      <a:pt x="2830" y="2948"/>
                    </a:lnTo>
                    <a:lnTo>
                      <a:pt x="2830" y="2938"/>
                    </a:lnTo>
                    <a:lnTo>
                      <a:pt x="2828" y="2934"/>
                    </a:lnTo>
                    <a:lnTo>
                      <a:pt x="2828" y="2932"/>
                    </a:lnTo>
                    <a:lnTo>
                      <a:pt x="2830" y="2926"/>
                    </a:lnTo>
                    <a:lnTo>
                      <a:pt x="2830" y="2926"/>
                    </a:lnTo>
                    <a:lnTo>
                      <a:pt x="2830" y="2916"/>
                    </a:lnTo>
                    <a:lnTo>
                      <a:pt x="2830" y="2906"/>
                    </a:lnTo>
                    <a:lnTo>
                      <a:pt x="2830" y="2886"/>
                    </a:lnTo>
                    <a:lnTo>
                      <a:pt x="2834" y="2854"/>
                    </a:lnTo>
                    <a:lnTo>
                      <a:pt x="2834" y="2854"/>
                    </a:lnTo>
                    <a:lnTo>
                      <a:pt x="2840" y="2820"/>
                    </a:lnTo>
                    <a:lnTo>
                      <a:pt x="2846" y="2800"/>
                    </a:lnTo>
                    <a:lnTo>
                      <a:pt x="2852" y="2784"/>
                    </a:lnTo>
                    <a:lnTo>
                      <a:pt x="2856" y="2766"/>
                    </a:lnTo>
                    <a:lnTo>
                      <a:pt x="2856" y="2766"/>
                    </a:lnTo>
                    <a:lnTo>
                      <a:pt x="2854" y="2748"/>
                    </a:lnTo>
                    <a:lnTo>
                      <a:pt x="2850" y="2728"/>
                    </a:lnTo>
                    <a:lnTo>
                      <a:pt x="2846" y="2710"/>
                    </a:lnTo>
                    <a:lnTo>
                      <a:pt x="2846" y="2696"/>
                    </a:lnTo>
                    <a:lnTo>
                      <a:pt x="2846" y="2696"/>
                    </a:lnTo>
                    <a:lnTo>
                      <a:pt x="2850" y="2686"/>
                    </a:lnTo>
                    <a:lnTo>
                      <a:pt x="2854" y="2678"/>
                    </a:lnTo>
                    <a:lnTo>
                      <a:pt x="2858" y="2672"/>
                    </a:lnTo>
                    <a:lnTo>
                      <a:pt x="2864" y="2662"/>
                    </a:lnTo>
                    <a:lnTo>
                      <a:pt x="2864" y="2662"/>
                    </a:lnTo>
                    <a:lnTo>
                      <a:pt x="2866" y="2658"/>
                    </a:lnTo>
                    <a:lnTo>
                      <a:pt x="2870" y="2654"/>
                    </a:lnTo>
                    <a:lnTo>
                      <a:pt x="2880" y="2646"/>
                    </a:lnTo>
                    <a:lnTo>
                      <a:pt x="2886" y="2642"/>
                    </a:lnTo>
                    <a:lnTo>
                      <a:pt x="2888" y="2640"/>
                    </a:lnTo>
                    <a:lnTo>
                      <a:pt x="2886" y="2638"/>
                    </a:lnTo>
                    <a:lnTo>
                      <a:pt x="2886" y="2638"/>
                    </a:lnTo>
                    <a:lnTo>
                      <a:pt x="2880" y="2628"/>
                    </a:lnTo>
                    <a:lnTo>
                      <a:pt x="2878" y="2626"/>
                    </a:lnTo>
                    <a:lnTo>
                      <a:pt x="2882" y="2628"/>
                    </a:lnTo>
                    <a:lnTo>
                      <a:pt x="2882" y="2628"/>
                    </a:lnTo>
                    <a:lnTo>
                      <a:pt x="2886" y="2628"/>
                    </a:lnTo>
                    <a:lnTo>
                      <a:pt x="2890" y="2628"/>
                    </a:lnTo>
                    <a:lnTo>
                      <a:pt x="2892" y="2626"/>
                    </a:lnTo>
                    <a:lnTo>
                      <a:pt x="2894" y="2628"/>
                    </a:lnTo>
                    <a:lnTo>
                      <a:pt x="2894" y="2628"/>
                    </a:lnTo>
                    <a:lnTo>
                      <a:pt x="2896" y="2628"/>
                    </a:lnTo>
                    <a:lnTo>
                      <a:pt x="2902" y="2628"/>
                    </a:lnTo>
                    <a:lnTo>
                      <a:pt x="2912" y="2624"/>
                    </a:lnTo>
                    <a:lnTo>
                      <a:pt x="2926" y="2616"/>
                    </a:lnTo>
                    <a:lnTo>
                      <a:pt x="2936" y="2606"/>
                    </a:lnTo>
                    <a:lnTo>
                      <a:pt x="2936" y="2606"/>
                    </a:lnTo>
                    <a:lnTo>
                      <a:pt x="2942" y="2600"/>
                    </a:lnTo>
                    <a:lnTo>
                      <a:pt x="2948" y="2594"/>
                    </a:lnTo>
                    <a:lnTo>
                      <a:pt x="2964" y="2584"/>
                    </a:lnTo>
                    <a:lnTo>
                      <a:pt x="2964" y="2584"/>
                    </a:lnTo>
                    <a:lnTo>
                      <a:pt x="2980" y="2572"/>
                    </a:lnTo>
                    <a:lnTo>
                      <a:pt x="2990" y="2570"/>
                    </a:lnTo>
                    <a:lnTo>
                      <a:pt x="3006" y="2568"/>
                    </a:lnTo>
                    <a:lnTo>
                      <a:pt x="3006" y="2568"/>
                    </a:lnTo>
                    <a:lnTo>
                      <a:pt x="3014" y="2568"/>
                    </a:lnTo>
                    <a:lnTo>
                      <a:pt x="3020" y="2570"/>
                    </a:lnTo>
                    <a:lnTo>
                      <a:pt x="3032" y="2574"/>
                    </a:lnTo>
                    <a:lnTo>
                      <a:pt x="3040" y="2580"/>
                    </a:lnTo>
                    <a:lnTo>
                      <a:pt x="3046" y="2580"/>
                    </a:lnTo>
                    <a:lnTo>
                      <a:pt x="3050" y="2580"/>
                    </a:lnTo>
                    <a:lnTo>
                      <a:pt x="3050" y="2580"/>
                    </a:lnTo>
                    <a:lnTo>
                      <a:pt x="3060" y="2578"/>
                    </a:lnTo>
                    <a:lnTo>
                      <a:pt x="3064" y="2580"/>
                    </a:lnTo>
                    <a:lnTo>
                      <a:pt x="3068" y="2582"/>
                    </a:lnTo>
                    <a:lnTo>
                      <a:pt x="3072" y="2580"/>
                    </a:lnTo>
                    <a:lnTo>
                      <a:pt x="3072" y="2580"/>
                    </a:lnTo>
                    <a:lnTo>
                      <a:pt x="3074" y="2578"/>
                    </a:lnTo>
                    <a:lnTo>
                      <a:pt x="3072" y="2578"/>
                    </a:lnTo>
                    <a:lnTo>
                      <a:pt x="3066" y="2576"/>
                    </a:lnTo>
                    <a:lnTo>
                      <a:pt x="3058" y="2572"/>
                    </a:lnTo>
                    <a:lnTo>
                      <a:pt x="3058" y="2572"/>
                    </a:lnTo>
                    <a:lnTo>
                      <a:pt x="3060" y="2568"/>
                    </a:lnTo>
                    <a:lnTo>
                      <a:pt x="3060" y="2568"/>
                    </a:lnTo>
                    <a:lnTo>
                      <a:pt x="3068" y="2566"/>
                    </a:lnTo>
                    <a:lnTo>
                      <a:pt x="3074" y="2568"/>
                    </a:lnTo>
                    <a:lnTo>
                      <a:pt x="3078" y="2572"/>
                    </a:lnTo>
                    <a:lnTo>
                      <a:pt x="3082" y="2578"/>
                    </a:lnTo>
                    <a:lnTo>
                      <a:pt x="3082" y="2578"/>
                    </a:lnTo>
                    <a:lnTo>
                      <a:pt x="3084" y="2580"/>
                    </a:lnTo>
                    <a:lnTo>
                      <a:pt x="3086" y="2582"/>
                    </a:lnTo>
                    <a:lnTo>
                      <a:pt x="3092" y="2584"/>
                    </a:lnTo>
                    <a:lnTo>
                      <a:pt x="3096" y="2586"/>
                    </a:lnTo>
                    <a:lnTo>
                      <a:pt x="3094" y="2588"/>
                    </a:lnTo>
                    <a:lnTo>
                      <a:pt x="3092" y="2590"/>
                    </a:lnTo>
                    <a:lnTo>
                      <a:pt x="3092" y="2590"/>
                    </a:lnTo>
                    <a:lnTo>
                      <a:pt x="3092" y="2594"/>
                    </a:lnTo>
                    <a:lnTo>
                      <a:pt x="3094" y="2596"/>
                    </a:lnTo>
                    <a:lnTo>
                      <a:pt x="3102" y="2600"/>
                    </a:lnTo>
                    <a:lnTo>
                      <a:pt x="3112" y="2600"/>
                    </a:lnTo>
                    <a:lnTo>
                      <a:pt x="3118" y="2600"/>
                    </a:lnTo>
                    <a:lnTo>
                      <a:pt x="3118" y="2600"/>
                    </a:lnTo>
                    <a:lnTo>
                      <a:pt x="3120" y="2596"/>
                    </a:lnTo>
                    <a:lnTo>
                      <a:pt x="3126" y="2594"/>
                    </a:lnTo>
                    <a:lnTo>
                      <a:pt x="3130" y="2594"/>
                    </a:lnTo>
                    <a:lnTo>
                      <a:pt x="3134" y="2600"/>
                    </a:lnTo>
                    <a:lnTo>
                      <a:pt x="3134" y="2600"/>
                    </a:lnTo>
                    <a:lnTo>
                      <a:pt x="3136" y="2602"/>
                    </a:lnTo>
                    <a:lnTo>
                      <a:pt x="3138" y="2604"/>
                    </a:lnTo>
                    <a:lnTo>
                      <a:pt x="3142" y="2602"/>
                    </a:lnTo>
                    <a:lnTo>
                      <a:pt x="3144" y="2596"/>
                    </a:lnTo>
                    <a:lnTo>
                      <a:pt x="3144" y="2592"/>
                    </a:lnTo>
                    <a:lnTo>
                      <a:pt x="3142" y="2588"/>
                    </a:lnTo>
                    <a:lnTo>
                      <a:pt x="3142" y="2588"/>
                    </a:lnTo>
                    <a:lnTo>
                      <a:pt x="3142" y="2584"/>
                    </a:lnTo>
                    <a:lnTo>
                      <a:pt x="3146" y="2584"/>
                    </a:lnTo>
                    <a:lnTo>
                      <a:pt x="3152" y="2586"/>
                    </a:lnTo>
                    <a:lnTo>
                      <a:pt x="3160" y="2594"/>
                    </a:lnTo>
                    <a:lnTo>
                      <a:pt x="3160" y="2594"/>
                    </a:lnTo>
                    <a:lnTo>
                      <a:pt x="3166" y="2602"/>
                    </a:lnTo>
                    <a:lnTo>
                      <a:pt x="3168" y="2608"/>
                    </a:lnTo>
                    <a:lnTo>
                      <a:pt x="3168" y="2610"/>
                    </a:lnTo>
                    <a:lnTo>
                      <a:pt x="3170" y="2610"/>
                    </a:lnTo>
                    <a:lnTo>
                      <a:pt x="3176" y="2606"/>
                    </a:lnTo>
                    <a:lnTo>
                      <a:pt x="3176" y="2606"/>
                    </a:lnTo>
                    <a:lnTo>
                      <a:pt x="3180" y="2602"/>
                    </a:lnTo>
                    <a:lnTo>
                      <a:pt x="3182" y="2600"/>
                    </a:lnTo>
                    <a:lnTo>
                      <a:pt x="3182" y="2596"/>
                    </a:lnTo>
                    <a:lnTo>
                      <a:pt x="3180" y="2594"/>
                    </a:lnTo>
                    <a:lnTo>
                      <a:pt x="3174" y="2590"/>
                    </a:lnTo>
                    <a:lnTo>
                      <a:pt x="3162" y="2584"/>
                    </a:lnTo>
                    <a:lnTo>
                      <a:pt x="3162" y="2584"/>
                    </a:lnTo>
                    <a:lnTo>
                      <a:pt x="3158" y="2580"/>
                    </a:lnTo>
                    <a:lnTo>
                      <a:pt x="3158" y="2578"/>
                    </a:lnTo>
                    <a:lnTo>
                      <a:pt x="3160" y="2576"/>
                    </a:lnTo>
                    <a:lnTo>
                      <a:pt x="3164" y="2574"/>
                    </a:lnTo>
                    <a:lnTo>
                      <a:pt x="3170" y="2568"/>
                    </a:lnTo>
                    <a:lnTo>
                      <a:pt x="3172" y="2564"/>
                    </a:lnTo>
                    <a:lnTo>
                      <a:pt x="3172" y="2560"/>
                    </a:lnTo>
                    <a:lnTo>
                      <a:pt x="3172" y="2560"/>
                    </a:lnTo>
                    <a:lnTo>
                      <a:pt x="3170" y="2556"/>
                    </a:lnTo>
                    <a:lnTo>
                      <a:pt x="3168" y="2556"/>
                    </a:lnTo>
                    <a:lnTo>
                      <a:pt x="3164" y="2558"/>
                    </a:lnTo>
                    <a:lnTo>
                      <a:pt x="3160" y="2562"/>
                    </a:lnTo>
                    <a:lnTo>
                      <a:pt x="3158" y="2562"/>
                    </a:lnTo>
                    <a:lnTo>
                      <a:pt x="3156" y="2562"/>
                    </a:lnTo>
                    <a:lnTo>
                      <a:pt x="3156" y="2562"/>
                    </a:lnTo>
                    <a:lnTo>
                      <a:pt x="3154" y="2560"/>
                    </a:lnTo>
                    <a:lnTo>
                      <a:pt x="3154" y="2558"/>
                    </a:lnTo>
                    <a:lnTo>
                      <a:pt x="3156" y="2556"/>
                    </a:lnTo>
                    <a:lnTo>
                      <a:pt x="3158" y="2552"/>
                    </a:lnTo>
                    <a:lnTo>
                      <a:pt x="3154" y="2550"/>
                    </a:lnTo>
                    <a:lnTo>
                      <a:pt x="3154" y="2550"/>
                    </a:lnTo>
                    <a:lnTo>
                      <a:pt x="3148" y="2550"/>
                    </a:lnTo>
                    <a:lnTo>
                      <a:pt x="3144" y="2554"/>
                    </a:lnTo>
                    <a:lnTo>
                      <a:pt x="3142" y="2556"/>
                    </a:lnTo>
                    <a:lnTo>
                      <a:pt x="3134" y="2554"/>
                    </a:lnTo>
                    <a:lnTo>
                      <a:pt x="3134" y="2554"/>
                    </a:lnTo>
                    <a:lnTo>
                      <a:pt x="3130" y="2550"/>
                    </a:lnTo>
                    <a:lnTo>
                      <a:pt x="3128" y="2548"/>
                    </a:lnTo>
                    <a:lnTo>
                      <a:pt x="3128" y="2544"/>
                    </a:lnTo>
                    <a:lnTo>
                      <a:pt x="3130" y="2540"/>
                    </a:lnTo>
                    <a:lnTo>
                      <a:pt x="3132" y="2538"/>
                    </a:lnTo>
                    <a:lnTo>
                      <a:pt x="3136" y="2536"/>
                    </a:lnTo>
                    <a:lnTo>
                      <a:pt x="3142" y="2536"/>
                    </a:lnTo>
                    <a:lnTo>
                      <a:pt x="3148" y="2538"/>
                    </a:lnTo>
                    <a:lnTo>
                      <a:pt x="3148" y="2538"/>
                    </a:lnTo>
                    <a:lnTo>
                      <a:pt x="3156" y="2544"/>
                    </a:lnTo>
                    <a:lnTo>
                      <a:pt x="3164" y="2546"/>
                    </a:lnTo>
                    <a:lnTo>
                      <a:pt x="3170" y="2544"/>
                    </a:lnTo>
                    <a:lnTo>
                      <a:pt x="3178" y="2538"/>
                    </a:lnTo>
                    <a:lnTo>
                      <a:pt x="3178" y="2538"/>
                    </a:lnTo>
                    <a:lnTo>
                      <a:pt x="3182" y="2536"/>
                    </a:lnTo>
                    <a:lnTo>
                      <a:pt x="3190" y="2536"/>
                    </a:lnTo>
                    <a:lnTo>
                      <a:pt x="3202" y="2536"/>
                    </a:lnTo>
                    <a:lnTo>
                      <a:pt x="3214" y="2538"/>
                    </a:lnTo>
                    <a:lnTo>
                      <a:pt x="3218" y="2538"/>
                    </a:lnTo>
                    <a:lnTo>
                      <a:pt x="3220" y="2536"/>
                    </a:lnTo>
                    <a:lnTo>
                      <a:pt x="3220" y="2536"/>
                    </a:lnTo>
                    <a:lnTo>
                      <a:pt x="3222" y="2522"/>
                    </a:lnTo>
                    <a:lnTo>
                      <a:pt x="3224" y="2520"/>
                    </a:lnTo>
                    <a:lnTo>
                      <a:pt x="3226" y="2522"/>
                    </a:lnTo>
                    <a:lnTo>
                      <a:pt x="3232" y="2534"/>
                    </a:lnTo>
                    <a:lnTo>
                      <a:pt x="3232" y="2534"/>
                    </a:lnTo>
                    <a:lnTo>
                      <a:pt x="3232" y="2538"/>
                    </a:lnTo>
                    <a:lnTo>
                      <a:pt x="3230" y="2540"/>
                    </a:lnTo>
                    <a:lnTo>
                      <a:pt x="3226" y="2544"/>
                    </a:lnTo>
                    <a:lnTo>
                      <a:pt x="3224" y="2546"/>
                    </a:lnTo>
                    <a:lnTo>
                      <a:pt x="3234" y="2544"/>
                    </a:lnTo>
                    <a:lnTo>
                      <a:pt x="3234" y="2544"/>
                    </a:lnTo>
                    <a:lnTo>
                      <a:pt x="3268" y="2536"/>
                    </a:lnTo>
                    <a:lnTo>
                      <a:pt x="3282" y="2536"/>
                    </a:lnTo>
                    <a:lnTo>
                      <a:pt x="3296" y="2538"/>
                    </a:lnTo>
                    <a:lnTo>
                      <a:pt x="3296" y="2538"/>
                    </a:lnTo>
                    <a:lnTo>
                      <a:pt x="3312" y="2544"/>
                    </a:lnTo>
                    <a:lnTo>
                      <a:pt x="3318" y="2546"/>
                    </a:lnTo>
                    <a:lnTo>
                      <a:pt x="3320" y="2552"/>
                    </a:lnTo>
                    <a:lnTo>
                      <a:pt x="3320" y="2552"/>
                    </a:lnTo>
                    <a:lnTo>
                      <a:pt x="3324" y="2556"/>
                    </a:lnTo>
                    <a:lnTo>
                      <a:pt x="3326" y="2556"/>
                    </a:lnTo>
                    <a:lnTo>
                      <a:pt x="3330" y="2560"/>
                    </a:lnTo>
                    <a:lnTo>
                      <a:pt x="3330" y="2566"/>
                    </a:lnTo>
                    <a:lnTo>
                      <a:pt x="3330" y="2566"/>
                    </a:lnTo>
                    <a:lnTo>
                      <a:pt x="3332" y="2570"/>
                    </a:lnTo>
                    <a:lnTo>
                      <a:pt x="3336" y="2572"/>
                    </a:lnTo>
                    <a:lnTo>
                      <a:pt x="3340" y="2570"/>
                    </a:lnTo>
                    <a:lnTo>
                      <a:pt x="3346" y="2570"/>
                    </a:lnTo>
                    <a:lnTo>
                      <a:pt x="3360" y="2564"/>
                    </a:lnTo>
                    <a:lnTo>
                      <a:pt x="3368" y="2562"/>
                    </a:lnTo>
                    <a:lnTo>
                      <a:pt x="3368" y="2562"/>
                    </a:lnTo>
                    <a:lnTo>
                      <a:pt x="3370" y="2560"/>
                    </a:lnTo>
                    <a:lnTo>
                      <a:pt x="3372" y="2560"/>
                    </a:lnTo>
                    <a:lnTo>
                      <a:pt x="3372" y="2556"/>
                    </a:lnTo>
                    <a:lnTo>
                      <a:pt x="3376" y="2552"/>
                    </a:lnTo>
                    <a:lnTo>
                      <a:pt x="3382" y="2552"/>
                    </a:lnTo>
                    <a:lnTo>
                      <a:pt x="3382" y="2552"/>
                    </a:lnTo>
                    <a:lnTo>
                      <a:pt x="3388" y="2554"/>
                    </a:lnTo>
                    <a:lnTo>
                      <a:pt x="3394" y="2558"/>
                    </a:lnTo>
                    <a:lnTo>
                      <a:pt x="3406" y="2574"/>
                    </a:lnTo>
                    <a:lnTo>
                      <a:pt x="3418" y="2592"/>
                    </a:lnTo>
                    <a:lnTo>
                      <a:pt x="3424" y="2596"/>
                    </a:lnTo>
                    <a:lnTo>
                      <a:pt x="3428" y="2598"/>
                    </a:lnTo>
                    <a:lnTo>
                      <a:pt x="3428" y="2598"/>
                    </a:lnTo>
                    <a:lnTo>
                      <a:pt x="3432" y="2600"/>
                    </a:lnTo>
                    <a:lnTo>
                      <a:pt x="3434" y="2604"/>
                    </a:lnTo>
                    <a:lnTo>
                      <a:pt x="3438" y="2616"/>
                    </a:lnTo>
                    <a:lnTo>
                      <a:pt x="3440" y="2630"/>
                    </a:lnTo>
                    <a:lnTo>
                      <a:pt x="3436" y="2646"/>
                    </a:lnTo>
                    <a:lnTo>
                      <a:pt x="3436" y="2646"/>
                    </a:lnTo>
                    <a:lnTo>
                      <a:pt x="3434" y="2658"/>
                    </a:lnTo>
                    <a:lnTo>
                      <a:pt x="3434" y="2670"/>
                    </a:lnTo>
                    <a:lnTo>
                      <a:pt x="3436" y="2676"/>
                    </a:lnTo>
                    <a:lnTo>
                      <a:pt x="3438" y="2678"/>
                    </a:lnTo>
                    <a:lnTo>
                      <a:pt x="3440" y="2676"/>
                    </a:lnTo>
                    <a:lnTo>
                      <a:pt x="3440" y="2676"/>
                    </a:lnTo>
                    <a:lnTo>
                      <a:pt x="3446" y="2672"/>
                    </a:lnTo>
                    <a:lnTo>
                      <a:pt x="3450" y="2670"/>
                    </a:lnTo>
                    <a:lnTo>
                      <a:pt x="3450" y="2670"/>
                    </a:lnTo>
                    <a:lnTo>
                      <a:pt x="3452" y="2672"/>
                    </a:lnTo>
                    <a:lnTo>
                      <a:pt x="3448" y="2678"/>
                    </a:lnTo>
                    <a:lnTo>
                      <a:pt x="3448" y="2678"/>
                    </a:lnTo>
                    <a:lnTo>
                      <a:pt x="3444" y="2682"/>
                    </a:lnTo>
                    <a:lnTo>
                      <a:pt x="3444" y="2688"/>
                    </a:lnTo>
                    <a:lnTo>
                      <a:pt x="3446" y="2698"/>
                    </a:lnTo>
                    <a:lnTo>
                      <a:pt x="3450" y="2710"/>
                    </a:lnTo>
                    <a:lnTo>
                      <a:pt x="3456" y="2718"/>
                    </a:lnTo>
                    <a:lnTo>
                      <a:pt x="3456" y="2718"/>
                    </a:lnTo>
                    <a:lnTo>
                      <a:pt x="3458" y="2720"/>
                    </a:lnTo>
                    <a:lnTo>
                      <a:pt x="3460" y="2720"/>
                    </a:lnTo>
                    <a:lnTo>
                      <a:pt x="3462" y="2720"/>
                    </a:lnTo>
                    <a:lnTo>
                      <a:pt x="3462" y="2718"/>
                    </a:lnTo>
                    <a:lnTo>
                      <a:pt x="3462" y="2720"/>
                    </a:lnTo>
                    <a:lnTo>
                      <a:pt x="3464" y="2726"/>
                    </a:lnTo>
                    <a:lnTo>
                      <a:pt x="3464" y="2726"/>
                    </a:lnTo>
                    <a:lnTo>
                      <a:pt x="3466" y="2734"/>
                    </a:lnTo>
                    <a:lnTo>
                      <a:pt x="3470" y="2738"/>
                    </a:lnTo>
                    <a:lnTo>
                      <a:pt x="3474" y="2742"/>
                    </a:lnTo>
                    <a:lnTo>
                      <a:pt x="3476" y="2754"/>
                    </a:lnTo>
                    <a:lnTo>
                      <a:pt x="3476" y="2754"/>
                    </a:lnTo>
                    <a:lnTo>
                      <a:pt x="3478" y="2760"/>
                    </a:lnTo>
                    <a:lnTo>
                      <a:pt x="3480" y="2764"/>
                    </a:lnTo>
                    <a:lnTo>
                      <a:pt x="3484" y="2768"/>
                    </a:lnTo>
                    <a:lnTo>
                      <a:pt x="3486" y="2768"/>
                    </a:lnTo>
                    <a:lnTo>
                      <a:pt x="3492" y="2772"/>
                    </a:lnTo>
                    <a:lnTo>
                      <a:pt x="3496" y="2776"/>
                    </a:lnTo>
                    <a:lnTo>
                      <a:pt x="3498" y="2782"/>
                    </a:lnTo>
                    <a:lnTo>
                      <a:pt x="3498" y="2782"/>
                    </a:lnTo>
                    <a:lnTo>
                      <a:pt x="3500" y="2792"/>
                    </a:lnTo>
                    <a:lnTo>
                      <a:pt x="3504" y="2796"/>
                    </a:lnTo>
                    <a:lnTo>
                      <a:pt x="3506" y="2796"/>
                    </a:lnTo>
                    <a:lnTo>
                      <a:pt x="3504" y="2798"/>
                    </a:lnTo>
                    <a:lnTo>
                      <a:pt x="3504" y="2798"/>
                    </a:lnTo>
                    <a:lnTo>
                      <a:pt x="3502" y="2804"/>
                    </a:lnTo>
                    <a:lnTo>
                      <a:pt x="3504" y="2808"/>
                    </a:lnTo>
                    <a:lnTo>
                      <a:pt x="3508" y="2808"/>
                    </a:lnTo>
                    <a:lnTo>
                      <a:pt x="3518" y="2806"/>
                    </a:lnTo>
                    <a:lnTo>
                      <a:pt x="3518" y="2806"/>
                    </a:lnTo>
                    <a:lnTo>
                      <a:pt x="3522" y="2806"/>
                    </a:lnTo>
                    <a:lnTo>
                      <a:pt x="3524" y="2806"/>
                    </a:lnTo>
                    <a:lnTo>
                      <a:pt x="3526" y="2810"/>
                    </a:lnTo>
                    <a:lnTo>
                      <a:pt x="3526" y="2810"/>
                    </a:lnTo>
                    <a:lnTo>
                      <a:pt x="3530" y="2804"/>
                    </a:lnTo>
                    <a:lnTo>
                      <a:pt x="3530" y="2804"/>
                    </a:lnTo>
                    <a:lnTo>
                      <a:pt x="3534" y="2796"/>
                    </a:lnTo>
                    <a:lnTo>
                      <a:pt x="3536" y="2790"/>
                    </a:lnTo>
                    <a:lnTo>
                      <a:pt x="3536" y="2786"/>
                    </a:lnTo>
                    <a:lnTo>
                      <a:pt x="3540" y="2778"/>
                    </a:lnTo>
                    <a:lnTo>
                      <a:pt x="3540" y="2778"/>
                    </a:lnTo>
                    <a:lnTo>
                      <a:pt x="3544" y="2768"/>
                    </a:lnTo>
                    <a:lnTo>
                      <a:pt x="3544" y="2758"/>
                    </a:lnTo>
                    <a:lnTo>
                      <a:pt x="3544" y="2746"/>
                    </a:lnTo>
                    <a:lnTo>
                      <a:pt x="3546" y="2732"/>
                    </a:lnTo>
                    <a:lnTo>
                      <a:pt x="3546" y="2732"/>
                    </a:lnTo>
                    <a:lnTo>
                      <a:pt x="3546" y="2722"/>
                    </a:lnTo>
                    <a:lnTo>
                      <a:pt x="3544" y="2712"/>
                    </a:lnTo>
                    <a:lnTo>
                      <a:pt x="3536" y="2686"/>
                    </a:lnTo>
                    <a:lnTo>
                      <a:pt x="3526" y="2662"/>
                    </a:lnTo>
                    <a:lnTo>
                      <a:pt x="3526" y="2650"/>
                    </a:lnTo>
                    <a:lnTo>
                      <a:pt x="3526" y="2642"/>
                    </a:lnTo>
                    <a:lnTo>
                      <a:pt x="3526" y="2642"/>
                    </a:lnTo>
                    <a:lnTo>
                      <a:pt x="3526" y="2636"/>
                    </a:lnTo>
                    <a:lnTo>
                      <a:pt x="3524" y="2630"/>
                    </a:lnTo>
                    <a:lnTo>
                      <a:pt x="3514" y="2610"/>
                    </a:lnTo>
                    <a:lnTo>
                      <a:pt x="3506" y="2598"/>
                    </a:lnTo>
                    <a:lnTo>
                      <a:pt x="3500" y="2582"/>
                    </a:lnTo>
                    <a:lnTo>
                      <a:pt x="3496" y="2564"/>
                    </a:lnTo>
                    <a:lnTo>
                      <a:pt x="3492" y="2542"/>
                    </a:lnTo>
                    <a:lnTo>
                      <a:pt x="3492" y="2542"/>
                    </a:lnTo>
                    <a:lnTo>
                      <a:pt x="3490" y="2520"/>
                    </a:lnTo>
                    <a:lnTo>
                      <a:pt x="3492" y="2500"/>
                    </a:lnTo>
                    <a:lnTo>
                      <a:pt x="3496" y="2484"/>
                    </a:lnTo>
                    <a:lnTo>
                      <a:pt x="3502" y="2470"/>
                    </a:lnTo>
                    <a:lnTo>
                      <a:pt x="3508" y="2458"/>
                    </a:lnTo>
                    <a:lnTo>
                      <a:pt x="3514" y="2448"/>
                    </a:lnTo>
                    <a:lnTo>
                      <a:pt x="3524" y="2438"/>
                    </a:lnTo>
                    <a:lnTo>
                      <a:pt x="3524" y="2438"/>
                    </a:lnTo>
                    <a:lnTo>
                      <a:pt x="3528" y="2434"/>
                    </a:lnTo>
                    <a:lnTo>
                      <a:pt x="3528" y="2432"/>
                    </a:lnTo>
                    <a:lnTo>
                      <a:pt x="3528" y="2428"/>
                    </a:lnTo>
                    <a:lnTo>
                      <a:pt x="3528" y="2426"/>
                    </a:lnTo>
                    <a:lnTo>
                      <a:pt x="3528" y="2426"/>
                    </a:lnTo>
                    <a:lnTo>
                      <a:pt x="3536" y="2424"/>
                    </a:lnTo>
                    <a:lnTo>
                      <a:pt x="3536" y="2424"/>
                    </a:lnTo>
                    <a:lnTo>
                      <a:pt x="3542" y="2424"/>
                    </a:lnTo>
                    <a:lnTo>
                      <a:pt x="3548" y="2420"/>
                    </a:lnTo>
                    <a:lnTo>
                      <a:pt x="3556" y="2412"/>
                    </a:lnTo>
                    <a:lnTo>
                      <a:pt x="3564" y="2402"/>
                    </a:lnTo>
                    <a:lnTo>
                      <a:pt x="3568" y="2400"/>
                    </a:lnTo>
                    <a:lnTo>
                      <a:pt x="3570" y="2398"/>
                    </a:lnTo>
                    <a:lnTo>
                      <a:pt x="3570" y="2398"/>
                    </a:lnTo>
                    <a:lnTo>
                      <a:pt x="3574" y="2398"/>
                    </a:lnTo>
                    <a:lnTo>
                      <a:pt x="3576" y="2394"/>
                    </a:lnTo>
                    <a:lnTo>
                      <a:pt x="3580" y="2384"/>
                    </a:lnTo>
                    <a:lnTo>
                      <a:pt x="3588" y="2370"/>
                    </a:lnTo>
                    <a:lnTo>
                      <a:pt x="3592" y="2362"/>
                    </a:lnTo>
                    <a:lnTo>
                      <a:pt x="3600" y="2356"/>
                    </a:lnTo>
                    <a:lnTo>
                      <a:pt x="3600" y="2356"/>
                    </a:lnTo>
                    <a:lnTo>
                      <a:pt x="3606" y="2352"/>
                    </a:lnTo>
                    <a:lnTo>
                      <a:pt x="3612" y="2350"/>
                    </a:lnTo>
                    <a:lnTo>
                      <a:pt x="3624" y="2350"/>
                    </a:lnTo>
                    <a:lnTo>
                      <a:pt x="3628" y="2350"/>
                    </a:lnTo>
                    <a:lnTo>
                      <a:pt x="3630" y="2350"/>
                    </a:lnTo>
                    <a:lnTo>
                      <a:pt x="3634" y="2346"/>
                    </a:lnTo>
                    <a:lnTo>
                      <a:pt x="3636" y="2342"/>
                    </a:lnTo>
                    <a:lnTo>
                      <a:pt x="3636" y="2342"/>
                    </a:lnTo>
                    <a:lnTo>
                      <a:pt x="3638" y="2334"/>
                    </a:lnTo>
                    <a:lnTo>
                      <a:pt x="3642" y="2328"/>
                    </a:lnTo>
                    <a:lnTo>
                      <a:pt x="3654" y="2318"/>
                    </a:lnTo>
                    <a:lnTo>
                      <a:pt x="3666" y="2310"/>
                    </a:lnTo>
                    <a:lnTo>
                      <a:pt x="3680" y="2306"/>
                    </a:lnTo>
                    <a:lnTo>
                      <a:pt x="3680" y="2306"/>
                    </a:lnTo>
                    <a:lnTo>
                      <a:pt x="3690" y="2304"/>
                    </a:lnTo>
                    <a:lnTo>
                      <a:pt x="3696" y="2300"/>
                    </a:lnTo>
                    <a:lnTo>
                      <a:pt x="3698" y="2294"/>
                    </a:lnTo>
                    <a:lnTo>
                      <a:pt x="3698" y="2292"/>
                    </a:lnTo>
                    <a:lnTo>
                      <a:pt x="3696" y="2290"/>
                    </a:lnTo>
                    <a:lnTo>
                      <a:pt x="3696" y="2290"/>
                    </a:lnTo>
                    <a:lnTo>
                      <a:pt x="3694" y="2290"/>
                    </a:lnTo>
                    <a:lnTo>
                      <a:pt x="3690" y="2290"/>
                    </a:lnTo>
                    <a:lnTo>
                      <a:pt x="3686" y="2294"/>
                    </a:lnTo>
                    <a:lnTo>
                      <a:pt x="3680" y="2296"/>
                    </a:lnTo>
                    <a:lnTo>
                      <a:pt x="3676" y="2298"/>
                    </a:lnTo>
                    <a:lnTo>
                      <a:pt x="3674" y="2296"/>
                    </a:lnTo>
                    <a:lnTo>
                      <a:pt x="3674" y="2296"/>
                    </a:lnTo>
                    <a:lnTo>
                      <a:pt x="3672" y="2294"/>
                    </a:lnTo>
                    <a:lnTo>
                      <a:pt x="3674" y="2292"/>
                    </a:lnTo>
                    <a:lnTo>
                      <a:pt x="3680" y="2290"/>
                    </a:lnTo>
                    <a:lnTo>
                      <a:pt x="3682" y="2288"/>
                    </a:lnTo>
                    <a:lnTo>
                      <a:pt x="3684" y="2286"/>
                    </a:lnTo>
                    <a:lnTo>
                      <a:pt x="3684" y="2286"/>
                    </a:lnTo>
                    <a:lnTo>
                      <a:pt x="3686" y="2282"/>
                    </a:lnTo>
                    <a:lnTo>
                      <a:pt x="3684" y="2278"/>
                    </a:lnTo>
                    <a:lnTo>
                      <a:pt x="3678" y="2272"/>
                    </a:lnTo>
                    <a:lnTo>
                      <a:pt x="3676" y="2268"/>
                    </a:lnTo>
                    <a:lnTo>
                      <a:pt x="3682" y="2268"/>
                    </a:lnTo>
                    <a:lnTo>
                      <a:pt x="3682" y="2268"/>
                    </a:lnTo>
                    <a:lnTo>
                      <a:pt x="3692" y="2272"/>
                    </a:lnTo>
                    <a:lnTo>
                      <a:pt x="3696" y="2274"/>
                    </a:lnTo>
                    <a:lnTo>
                      <a:pt x="3698" y="2276"/>
                    </a:lnTo>
                    <a:lnTo>
                      <a:pt x="3700" y="2274"/>
                    </a:lnTo>
                    <a:lnTo>
                      <a:pt x="3706" y="2270"/>
                    </a:lnTo>
                    <a:lnTo>
                      <a:pt x="3706" y="2270"/>
                    </a:lnTo>
                    <a:lnTo>
                      <a:pt x="3710" y="2264"/>
                    </a:lnTo>
                    <a:lnTo>
                      <a:pt x="3714" y="2262"/>
                    </a:lnTo>
                    <a:lnTo>
                      <a:pt x="3716" y="2260"/>
                    </a:lnTo>
                    <a:lnTo>
                      <a:pt x="3718" y="2254"/>
                    </a:lnTo>
                    <a:lnTo>
                      <a:pt x="3718" y="2254"/>
                    </a:lnTo>
                    <a:lnTo>
                      <a:pt x="3720" y="2246"/>
                    </a:lnTo>
                    <a:lnTo>
                      <a:pt x="3718" y="2242"/>
                    </a:lnTo>
                    <a:lnTo>
                      <a:pt x="3714" y="2240"/>
                    </a:lnTo>
                    <a:lnTo>
                      <a:pt x="3710" y="2244"/>
                    </a:lnTo>
                    <a:lnTo>
                      <a:pt x="3710" y="2244"/>
                    </a:lnTo>
                    <a:lnTo>
                      <a:pt x="3708" y="2244"/>
                    </a:lnTo>
                    <a:lnTo>
                      <a:pt x="3708" y="2242"/>
                    </a:lnTo>
                    <a:lnTo>
                      <a:pt x="3704" y="2240"/>
                    </a:lnTo>
                    <a:lnTo>
                      <a:pt x="3694" y="2240"/>
                    </a:lnTo>
                    <a:lnTo>
                      <a:pt x="3694" y="2240"/>
                    </a:lnTo>
                    <a:lnTo>
                      <a:pt x="3684" y="2242"/>
                    </a:lnTo>
                    <a:lnTo>
                      <a:pt x="3678" y="2240"/>
                    </a:lnTo>
                    <a:lnTo>
                      <a:pt x="3678" y="2236"/>
                    </a:lnTo>
                    <a:lnTo>
                      <a:pt x="3678" y="2230"/>
                    </a:lnTo>
                    <a:lnTo>
                      <a:pt x="3678" y="2230"/>
                    </a:lnTo>
                    <a:lnTo>
                      <a:pt x="3678" y="2228"/>
                    </a:lnTo>
                    <a:lnTo>
                      <a:pt x="3678" y="2228"/>
                    </a:lnTo>
                    <a:lnTo>
                      <a:pt x="3680" y="2232"/>
                    </a:lnTo>
                    <a:lnTo>
                      <a:pt x="3684" y="2236"/>
                    </a:lnTo>
                    <a:lnTo>
                      <a:pt x="3686" y="2236"/>
                    </a:lnTo>
                    <a:lnTo>
                      <a:pt x="3690" y="2236"/>
                    </a:lnTo>
                    <a:lnTo>
                      <a:pt x="3696" y="2234"/>
                    </a:lnTo>
                    <a:lnTo>
                      <a:pt x="3696" y="2234"/>
                    </a:lnTo>
                    <a:lnTo>
                      <a:pt x="3704" y="2230"/>
                    </a:lnTo>
                    <a:lnTo>
                      <a:pt x="3708" y="2230"/>
                    </a:lnTo>
                    <a:lnTo>
                      <a:pt x="3714" y="2232"/>
                    </a:lnTo>
                    <a:lnTo>
                      <a:pt x="3718" y="2236"/>
                    </a:lnTo>
                    <a:lnTo>
                      <a:pt x="3724" y="2244"/>
                    </a:lnTo>
                    <a:lnTo>
                      <a:pt x="3726" y="2248"/>
                    </a:lnTo>
                    <a:lnTo>
                      <a:pt x="3728" y="2248"/>
                    </a:lnTo>
                    <a:lnTo>
                      <a:pt x="3728" y="2248"/>
                    </a:lnTo>
                    <a:lnTo>
                      <a:pt x="3728" y="2246"/>
                    </a:lnTo>
                    <a:lnTo>
                      <a:pt x="3728" y="2244"/>
                    </a:lnTo>
                    <a:lnTo>
                      <a:pt x="3724" y="2236"/>
                    </a:lnTo>
                    <a:lnTo>
                      <a:pt x="3718" y="2222"/>
                    </a:lnTo>
                    <a:lnTo>
                      <a:pt x="3712" y="2198"/>
                    </a:lnTo>
                    <a:lnTo>
                      <a:pt x="3712" y="2198"/>
                    </a:lnTo>
                    <a:lnTo>
                      <a:pt x="3708" y="2188"/>
                    </a:lnTo>
                    <a:lnTo>
                      <a:pt x="3706" y="2186"/>
                    </a:lnTo>
                    <a:lnTo>
                      <a:pt x="3704" y="2186"/>
                    </a:lnTo>
                    <a:lnTo>
                      <a:pt x="3700" y="2188"/>
                    </a:lnTo>
                    <a:lnTo>
                      <a:pt x="3694" y="2190"/>
                    </a:lnTo>
                    <a:lnTo>
                      <a:pt x="3694" y="2190"/>
                    </a:lnTo>
                    <a:lnTo>
                      <a:pt x="3692" y="2190"/>
                    </a:lnTo>
                    <a:lnTo>
                      <a:pt x="3692" y="2190"/>
                    </a:lnTo>
                    <a:lnTo>
                      <a:pt x="3696" y="2186"/>
                    </a:lnTo>
                    <a:lnTo>
                      <a:pt x="3698" y="2180"/>
                    </a:lnTo>
                    <a:lnTo>
                      <a:pt x="3698" y="2176"/>
                    </a:lnTo>
                    <a:lnTo>
                      <a:pt x="3694" y="2174"/>
                    </a:lnTo>
                    <a:lnTo>
                      <a:pt x="3694" y="2174"/>
                    </a:lnTo>
                    <a:lnTo>
                      <a:pt x="3690" y="2170"/>
                    </a:lnTo>
                    <a:lnTo>
                      <a:pt x="3692" y="2170"/>
                    </a:lnTo>
                    <a:lnTo>
                      <a:pt x="3696" y="2168"/>
                    </a:lnTo>
                    <a:lnTo>
                      <a:pt x="3698" y="2166"/>
                    </a:lnTo>
                    <a:lnTo>
                      <a:pt x="3698" y="2162"/>
                    </a:lnTo>
                    <a:lnTo>
                      <a:pt x="3698" y="2156"/>
                    </a:lnTo>
                    <a:lnTo>
                      <a:pt x="3698" y="2156"/>
                    </a:lnTo>
                    <a:lnTo>
                      <a:pt x="3696" y="2144"/>
                    </a:lnTo>
                    <a:lnTo>
                      <a:pt x="3696" y="2140"/>
                    </a:lnTo>
                    <a:lnTo>
                      <a:pt x="3696" y="2136"/>
                    </a:lnTo>
                    <a:lnTo>
                      <a:pt x="3690" y="2130"/>
                    </a:lnTo>
                    <a:lnTo>
                      <a:pt x="3690" y="2130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86" y="2122"/>
                    </a:lnTo>
                    <a:lnTo>
                      <a:pt x="3686" y="2122"/>
                    </a:lnTo>
                    <a:lnTo>
                      <a:pt x="3694" y="2126"/>
                    </a:lnTo>
                    <a:lnTo>
                      <a:pt x="3696" y="2124"/>
                    </a:lnTo>
                    <a:lnTo>
                      <a:pt x="3696" y="2124"/>
                    </a:lnTo>
                    <a:lnTo>
                      <a:pt x="3692" y="2108"/>
                    </a:lnTo>
                    <a:lnTo>
                      <a:pt x="3692" y="2108"/>
                    </a:lnTo>
                    <a:lnTo>
                      <a:pt x="3688" y="2092"/>
                    </a:lnTo>
                    <a:lnTo>
                      <a:pt x="3690" y="2076"/>
                    </a:lnTo>
                    <a:lnTo>
                      <a:pt x="3690" y="2076"/>
                    </a:lnTo>
                    <a:lnTo>
                      <a:pt x="3692" y="2064"/>
                    </a:lnTo>
                    <a:lnTo>
                      <a:pt x="3696" y="2058"/>
                    </a:lnTo>
                    <a:lnTo>
                      <a:pt x="3702" y="2054"/>
                    </a:lnTo>
                    <a:lnTo>
                      <a:pt x="3702" y="2054"/>
                    </a:lnTo>
                    <a:lnTo>
                      <a:pt x="3704" y="2050"/>
                    </a:lnTo>
                    <a:lnTo>
                      <a:pt x="3704" y="2052"/>
                    </a:lnTo>
                    <a:lnTo>
                      <a:pt x="3700" y="2058"/>
                    </a:lnTo>
                    <a:lnTo>
                      <a:pt x="3698" y="2064"/>
                    </a:lnTo>
                    <a:lnTo>
                      <a:pt x="3698" y="2064"/>
                    </a:lnTo>
                    <a:lnTo>
                      <a:pt x="3694" y="2076"/>
                    </a:lnTo>
                    <a:lnTo>
                      <a:pt x="3694" y="2082"/>
                    </a:lnTo>
                    <a:lnTo>
                      <a:pt x="3696" y="2086"/>
                    </a:lnTo>
                    <a:lnTo>
                      <a:pt x="3696" y="2086"/>
                    </a:lnTo>
                    <a:lnTo>
                      <a:pt x="3696" y="2088"/>
                    </a:lnTo>
                    <a:lnTo>
                      <a:pt x="3696" y="2090"/>
                    </a:lnTo>
                    <a:lnTo>
                      <a:pt x="3694" y="2094"/>
                    </a:lnTo>
                    <a:lnTo>
                      <a:pt x="3696" y="2098"/>
                    </a:lnTo>
                    <a:lnTo>
                      <a:pt x="3696" y="2098"/>
                    </a:lnTo>
                    <a:lnTo>
                      <a:pt x="3698" y="2104"/>
                    </a:lnTo>
                    <a:lnTo>
                      <a:pt x="3696" y="2106"/>
                    </a:lnTo>
                    <a:lnTo>
                      <a:pt x="3696" y="2110"/>
                    </a:lnTo>
                    <a:lnTo>
                      <a:pt x="3700" y="2114"/>
                    </a:lnTo>
                    <a:lnTo>
                      <a:pt x="3700" y="2114"/>
                    </a:lnTo>
                    <a:lnTo>
                      <a:pt x="3706" y="2116"/>
                    </a:lnTo>
                    <a:lnTo>
                      <a:pt x="3708" y="2116"/>
                    </a:lnTo>
                    <a:lnTo>
                      <a:pt x="3710" y="2116"/>
                    </a:lnTo>
                    <a:lnTo>
                      <a:pt x="3712" y="2120"/>
                    </a:lnTo>
                    <a:lnTo>
                      <a:pt x="3712" y="2120"/>
                    </a:lnTo>
                    <a:lnTo>
                      <a:pt x="3712" y="2126"/>
                    </a:lnTo>
                    <a:lnTo>
                      <a:pt x="3712" y="2130"/>
                    </a:lnTo>
                    <a:lnTo>
                      <a:pt x="3712" y="2134"/>
                    </a:lnTo>
                    <a:lnTo>
                      <a:pt x="3716" y="2136"/>
                    </a:lnTo>
                    <a:lnTo>
                      <a:pt x="3716" y="2136"/>
                    </a:lnTo>
                    <a:lnTo>
                      <a:pt x="3718" y="2138"/>
                    </a:lnTo>
                    <a:lnTo>
                      <a:pt x="3716" y="2142"/>
                    </a:lnTo>
                    <a:lnTo>
                      <a:pt x="3710" y="2154"/>
                    </a:lnTo>
                    <a:lnTo>
                      <a:pt x="3706" y="2166"/>
                    </a:lnTo>
                    <a:lnTo>
                      <a:pt x="3706" y="2172"/>
                    </a:lnTo>
                    <a:lnTo>
                      <a:pt x="3710" y="2176"/>
                    </a:lnTo>
                    <a:lnTo>
                      <a:pt x="3710" y="2176"/>
                    </a:lnTo>
                    <a:lnTo>
                      <a:pt x="3712" y="2176"/>
                    </a:lnTo>
                    <a:lnTo>
                      <a:pt x="3714" y="2172"/>
                    </a:lnTo>
                    <a:lnTo>
                      <a:pt x="3720" y="2158"/>
                    </a:lnTo>
                    <a:lnTo>
                      <a:pt x="3728" y="2138"/>
                    </a:lnTo>
                    <a:lnTo>
                      <a:pt x="3738" y="2122"/>
                    </a:lnTo>
                    <a:lnTo>
                      <a:pt x="3738" y="2122"/>
                    </a:lnTo>
                    <a:lnTo>
                      <a:pt x="3744" y="2114"/>
                    </a:lnTo>
                    <a:lnTo>
                      <a:pt x="3746" y="2108"/>
                    </a:lnTo>
                    <a:lnTo>
                      <a:pt x="3748" y="2102"/>
                    </a:lnTo>
                    <a:lnTo>
                      <a:pt x="3748" y="2096"/>
                    </a:lnTo>
                    <a:lnTo>
                      <a:pt x="3748" y="2092"/>
                    </a:lnTo>
                    <a:lnTo>
                      <a:pt x="3746" y="2088"/>
                    </a:lnTo>
                    <a:lnTo>
                      <a:pt x="3744" y="2086"/>
                    </a:lnTo>
                    <a:lnTo>
                      <a:pt x="3740" y="2086"/>
                    </a:lnTo>
                    <a:lnTo>
                      <a:pt x="3740" y="2086"/>
                    </a:lnTo>
                    <a:lnTo>
                      <a:pt x="3738" y="2084"/>
                    </a:lnTo>
                    <a:lnTo>
                      <a:pt x="3736" y="2082"/>
                    </a:lnTo>
                    <a:lnTo>
                      <a:pt x="3732" y="2074"/>
                    </a:lnTo>
                    <a:lnTo>
                      <a:pt x="3726" y="2054"/>
                    </a:lnTo>
                    <a:lnTo>
                      <a:pt x="3726" y="2054"/>
                    </a:lnTo>
                    <a:lnTo>
                      <a:pt x="3724" y="2044"/>
                    </a:lnTo>
                    <a:lnTo>
                      <a:pt x="3726" y="2036"/>
                    </a:lnTo>
                    <a:lnTo>
                      <a:pt x="3730" y="2030"/>
                    </a:lnTo>
                    <a:lnTo>
                      <a:pt x="3738" y="2024"/>
                    </a:lnTo>
                    <a:lnTo>
                      <a:pt x="3738" y="2024"/>
                    </a:lnTo>
                    <a:lnTo>
                      <a:pt x="3742" y="2024"/>
                    </a:lnTo>
                    <a:lnTo>
                      <a:pt x="3736" y="2030"/>
                    </a:lnTo>
                    <a:lnTo>
                      <a:pt x="3732" y="2034"/>
                    </a:lnTo>
                    <a:lnTo>
                      <a:pt x="3730" y="2040"/>
                    </a:lnTo>
                    <a:lnTo>
                      <a:pt x="3730" y="2046"/>
                    </a:lnTo>
                    <a:lnTo>
                      <a:pt x="3732" y="2054"/>
                    </a:lnTo>
                    <a:lnTo>
                      <a:pt x="3732" y="2054"/>
                    </a:lnTo>
                    <a:lnTo>
                      <a:pt x="3738" y="2060"/>
                    </a:lnTo>
                    <a:lnTo>
                      <a:pt x="3742" y="2062"/>
                    </a:lnTo>
                    <a:lnTo>
                      <a:pt x="3748" y="2064"/>
                    </a:lnTo>
                    <a:lnTo>
                      <a:pt x="3750" y="2066"/>
                    </a:lnTo>
                    <a:lnTo>
                      <a:pt x="3750" y="2072"/>
                    </a:lnTo>
                    <a:lnTo>
                      <a:pt x="3750" y="2072"/>
                    </a:lnTo>
                    <a:lnTo>
                      <a:pt x="3750" y="2078"/>
                    </a:lnTo>
                    <a:lnTo>
                      <a:pt x="3752" y="2078"/>
                    </a:lnTo>
                    <a:lnTo>
                      <a:pt x="3754" y="2078"/>
                    </a:lnTo>
                    <a:lnTo>
                      <a:pt x="3758" y="2074"/>
                    </a:lnTo>
                    <a:lnTo>
                      <a:pt x="3766" y="2062"/>
                    </a:lnTo>
                    <a:lnTo>
                      <a:pt x="3774" y="2048"/>
                    </a:lnTo>
                    <a:lnTo>
                      <a:pt x="3774" y="2048"/>
                    </a:lnTo>
                    <a:lnTo>
                      <a:pt x="3784" y="2030"/>
                    </a:lnTo>
                    <a:lnTo>
                      <a:pt x="3790" y="2014"/>
                    </a:lnTo>
                    <a:lnTo>
                      <a:pt x="3790" y="2008"/>
                    </a:lnTo>
                    <a:lnTo>
                      <a:pt x="3790" y="2002"/>
                    </a:lnTo>
                    <a:lnTo>
                      <a:pt x="3790" y="2000"/>
                    </a:lnTo>
                    <a:lnTo>
                      <a:pt x="3786" y="1998"/>
                    </a:lnTo>
                    <a:lnTo>
                      <a:pt x="3786" y="1998"/>
                    </a:lnTo>
                    <a:lnTo>
                      <a:pt x="3778" y="1996"/>
                    </a:lnTo>
                    <a:lnTo>
                      <a:pt x="3776" y="1996"/>
                    </a:lnTo>
                    <a:lnTo>
                      <a:pt x="3776" y="1994"/>
                    </a:lnTo>
                    <a:lnTo>
                      <a:pt x="3778" y="1988"/>
                    </a:lnTo>
                    <a:lnTo>
                      <a:pt x="3784" y="1980"/>
                    </a:lnTo>
                    <a:lnTo>
                      <a:pt x="3784" y="1980"/>
                    </a:lnTo>
                    <a:lnTo>
                      <a:pt x="3796" y="1972"/>
                    </a:lnTo>
                    <a:lnTo>
                      <a:pt x="3808" y="1962"/>
                    </a:lnTo>
                    <a:lnTo>
                      <a:pt x="3824" y="1956"/>
                    </a:lnTo>
                    <a:lnTo>
                      <a:pt x="3838" y="1950"/>
                    </a:lnTo>
                    <a:lnTo>
                      <a:pt x="3838" y="1950"/>
                    </a:lnTo>
                    <a:lnTo>
                      <a:pt x="3854" y="1948"/>
                    </a:lnTo>
                    <a:lnTo>
                      <a:pt x="3870" y="1946"/>
                    </a:lnTo>
                    <a:lnTo>
                      <a:pt x="3886" y="1944"/>
                    </a:lnTo>
                    <a:lnTo>
                      <a:pt x="3890" y="1944"/>
                    </a:lnTo>
                    <a:lnTo>
                      <a:pt x="3892" y="1940"/>
                    </a:lnTo>
                    <a:lnTo>
                      <a:pt x="3892" y="1940"/>
                    </a:lnTo>
                    <a:lnTo>
                      <a:pt x="3894" y="1926"/>
                    </a:lnTo>
                    <a:lnTo>
                      <a:pt x="3896" y="1924"/>
                    </a:lnTo>
                    <a:lnTo>
                      <a:pt x="3898" y="1928"/>
                    </a:lnTo>
                    <a:lnTo>
                      <a:pt x="3898" y="1928"/>
                    </a:lnTo>
                    <a:lnTo>
                      <a:pt x="3900" y="1936"/>
                    </a:lnTo>
                    <a:lnTo>
                      <a:pt x="3904" y="1940"/>
                    </a:lnTo>
                    <a:lnTo>
                      <a:pt x="3906" y="1940"/>
                    </a:lnTo>
                    <a:lnTo>
                      <a:pt x="3908" y="1940"/>
                    </a:lnTo>
                    <a:lnTo>
                      <a:pt x="3914" y="1932"/>
                    </a:lnTo>
                    <a:lnTo>
                      <a:pt x="3914" y="1932"/>
                    </a:lnTo>
                    <a:lnTo>
                      <a:pt x="3920" y="1928"/>
                    </a:lnTo>
                    <a:lnTo>
                      <a:pt x="3922" y="1926"/>
                    </a:lnTo>
                    <a:lnTo>
                      <a:pt x="3924" y="1928"/>
                    </a:lnTo>
                    <a:lnTo>
                      <a:pt x="3924" y="1930"/>
                    </a:lnTo>
                    <a:lnTo>
                      <a:pt x="3924" y="1936"/>
                    </a:lnTo>
                    <a:lnTo>
                      <a:pt x="3926" y="1936"/>
                    </a:lnTo>
                    <a:lnTo>
                      <a:pt x="3928" y="1934"/>
                    </a:lnTo>
                    <a:lnTo>
                      <a:pt x="3928" y="1934"/>
                    </a:lnTo>
                    <a:lnTo>
                      <a:pt x="3932" y="1932"/>
                    </a:lnTo>
                    <a:lnTo>
                      <a:pt x="3936" y="1930"/>
                    </a:lnTo>
                    <a:lnTo>
                      <a:pt x="3946" y="1930"/>
                    </a:lnTo>
                    <a:lnTo>
                      <a:pt x="3952" y="1928"/>
                    </a:lnTo>
                    <a:lnTo>
                      <a:pt x="3952" y="1924"/>
                    </a:lnTo>
                    <a:lnTo>
                      <a:pt x="3952" y="1920"/>
                    </a:lnTo>
                    <a:lnTo>
                      <a:pt x="3952" y="1920"/>
                    </a:lnTo>
                    <a:lnTo>
                      <a:pt x="3948" y="1906"/>
                    </a:lnTo>
                    <a:lnTo>
                      <a:pt x="3946" y="1904"/>
                    </a:lnTo>
                    <a:lnTo>
                      <a:pt x="3942" y="1904"/>
                    </a:lnTo>
                    <a:lnTo>
                      <a:pt x="3942" y="1904"/>
                    </a:lnTo>
                    <a:lnTo>
                      <a:pt x="3940" y="1904"/>
                    </a:lnTo>
                    <a:lnTo>
                      <a:pt x="3942" y="1906"/>
                    </a:lnTo>
                    <a:lnTo>
                      <a:pt x="3946" y="1908"/>
                    </a:lnTo>
                    <a:lnTo>
                      <a:pt x="3948" y="1914"/>
                    </a:lnTo>
                    <a:lnTo>
                      <a:pt x="3948" y="1914"/>
                    </a:lnTo>
                    <a:lnTo>
                      <a:pt x="3944" y="1920"/>
                    </a:lnTo>
                    <a:lnTo>
                      <a:pt x="3940" y="1924"/>
                    </a:lnTo>
                    <a:lnTo>
                      <a:pt x="3936" y="1926"/>
                    </a:lnTo>
                    <a:lnTo>
                      <a:pt x="3932" y="1926"/>
                    </a:lnTo>
                    <a:lnTo>
                      <a:pt x="3930" y="1922"/>
                    </a:lnTo>
                    <a:lnTo>
                      <a:pt x="3928" y="1918"/>
                    </a:lnTo>
                    <a:lnTo>
                      <a:pt x="3928" y="1918"/>
                    </a:lnTo>
                    <a:lnTo>
                      <a:pt x="3924" y="1908"/>
                    </a:lnTo>
                    <a:lnTo>
                      <a:pt x="3924" y="1902"/>
                    </a:lnTo>
                    <a:lnTo>
                      <a:pt x="3920" y="1896"/>
                    </a:lnTo>
                    <a:lnTo>
                      <a:pt x="3912" y="1894"/>
                    </a:lnTo>
                    <a:lnTo>
                      <a:pt x="3912" y="1894"/>
                    </a:lnTo>
                    <a:lnTo>
                      <a:pt x="3910" y="1894"/>
                    </a:lnTo>
                    <a:lnTo>
                      <a:pt x="3910" y="1892"/>
                    </a:lnTo>
                    <a:lnTo>
                      <a:pt x="3918" y="1884"/>
                    </a:lnTo>
                    <a:lnTo>
                      <a:pt x="3926" y="1876"/>
                    </a:lnTo>
                    <a:lnTo>
                      <a:pt x="3926" y="1874"/>
                    </a:lnTo>
                    <a:lnTo>
                      <a:pt x="3924" y="1872"/>
                    </a:lnTo>
                    <a:lnTo>
                      <a:pt x="3924" y="1872"/>
                    </a:lnTo>
                    <a:lnTo>
                      <a:pt x="3922" y="1868"/>
                    </a:lnTo>
                    <a:lnTo>
                      <a:pt x="3920" y="1864"/>
                    </a:lnTo>
                    <a:lnTo>
                      <a:pt x="3922" y="1850"/>
                    </a:lnTo>
                    <a:lnTo>
                      <a:pt x="3928" y="1836"/>
                    </a:lnTo>
                    <a:lnTo>
                      <a:pt x="3936" y="1826"/>
                    </a:lnTo>
                    <a:lnTo>
                      <a:pt x="3936" y="1826"/>
                    </a:lnTo>
                    <a:lnTo>
                      <a:pt x="3940" y="1820"/>
                    </a:lnTo>
                    <a:lnTo>
                      <a:pt x="3940" y="1816"/>
                    </a:lnTo>
                    <a:lnTo>
                      <a:pt x="3940" y="1814"/>
                    </a:lnTo>
                    <a:lnTo>
                      <a:pt x="3942" y="1810"/>
                    </a:lnTo>
                    <a:lnTo>
                      <a:pt x="3942" y="1810"/>
                    </a:lnTo>
                    <a:lnTo>
                      <a:pt x="3944" y="1808"/>
                    </a:lnTo>
                    <a:lnTo>
                      <a:pt x="3946" y="1808"/>
                    </a:lnTo>
                    <a:lnTo>
                      <a:pt x="3948" y="1812"/>
                    </a:lnTo>
                    <a:lnTo>
                      <a:pt x="3952" y="1814"/>
                    </a:lnTo>
                    <a:lnTo>
                      <a:pt x="3954" y="1814"/>
                    </a:lnTo>
                    <a:lnTo>
                      <a:pt x="3958" y="1812"/>
                    </a:lnTo>
                    <a:lnTo>
                      <a:pt x="3958" y="1812"/>
                    </a:lnTo>
                    <a:lnTo>
                      <a:pt x="3966" y="1806"/>
                    </a:lnTo>
                    <a:lnTo>
                      <a:pt x="3970" y="1802"/>
                    </a:lnTo>
                    <a:lnTo>
                      <a:pt x="3974" y="1800"/>
                    </a:lnTo>
                    <a:lnTo>
                      <a:pt x="3976" y="1800"/>
                    </a:lnTo>
                    <a:lnTo>
                      <a:pt x="3976" y="1800"/>
                    </a:lnTo>
                    <a:lnTo>
                      <a:pt x="3982" y="1798"/>
                    </a:lnTo>
                    <a:lnTo>
                      <a:pt x="3984" y="1796"/>
                    </a:lnTo>
                    <a:lnTo>
                      <a:pt x="3988" y="1786"/>
                    </a:lnTo>
                    <a:lnTo>
                      <a:pt x="3992" y="1778"/>
                    </a:lnTo>
                    <a:lnTo>
                      <a:pt x="3996" y="1776"/>
                    </a:lnTo>
                    <a:lnTo>
                      <a:pt x="4000" y="1778"/>
                    </a:lnTo>
                    <a:lnTo>
                      <a:pt x="4000" y="1778"/>
                    </a:lnTo>
                    <a:lnTo>
                      <a:pt x="4006" y="1782"/>
                    </a:lnTo>
                    <a:lnTo>
                      <a:pt x="4008" y="1780"/>
                    </a:lnTo>
                    <a:lnTo>
                      <a:pt x="4010" y="1780"/>
                    </a:lnTo>
                    <a:lnTo>
                      <a:pt x="4012" y="1776"/>
                    </a:lnTo>
                    <a:lnTo>
                      <a:pt x="4016" y="1772"/>
                    </a:lnTo>
                    <a:lnTo>
                      <a:pt x="4016" y="1772"/>
                    </a:lnTo>
                    <a:lnTo>
                      <a:pt x="4022" y="1772"/>
                    </a:lnTo>
                    <a:lnTo>
                      <a:pt x="4024" y="1774"/>
                    </a:lnTo>
                    <a:lnTo>
                      <a:pt x="4028" y="1776"/>
                    </a:lnTo>
                    <a:lnTo>
                      <a:pt x="4036" y="1772"/>
                    </a:lnTo>
                    <a:lnTo>
                      <a:pt x="4036" y="1772"/>
                    </a:lnTo>
                    <a:lnTo>
                      <a:pt x="4044" y="1766"/>
                    </a:lnTo>
                    <a:lnTo>
                      <a:pt x="4052" y="1764"/>
                    </a:lnTo>
                    <a:lnTo>
                      <a:pt x="4060" y="1762"/>
                    </a:lnTo>
                    <a:lnTo>
                      <a:pt x="4066" y="1756"/>
                    </a:lnTo>
                    <a:lnTo>
                      <a:pt x="4066" y="1756"/>
                    </a:lnTo>
                    <a:lnTo>
                      <a:pt x="4070" y="1752"/>
                    </a:lnTo>
                    <a:lnTo>
                      <a:pt x="4070" y="1748"/>
                    </a:lnTo>
                    <a:lnTo>
                      <a:pt x="4068" y="1746"/>
                    </a:lnTo>
                    <a:lnTo>
                      <a:pt x="4066" y="1742"/>
                    </a:lnTo>
                    <a:lnTo>
                      <a:pt x="4066" y="1742"/>
                    </a:lnTo>
                    <a:lnTo>
                      <a:pt x="4064" y="1736"/>
                    </a:lnTo>
                    <a:lnTo>
                      <a:pt x="4062" y="1734"/>
                    </a:lnTo>
                    <a:lnTo>
                      <a:pt x="4054" y="1730"/>
                    </a:lnTo>
                    <a:lnTo>
                      <a:pt x="4054" y="1730"/>
                    </a:lnTo>
                    <a:lnTo>
                      <a:pt x="4052" y="1726"/>
                    </a:lnTo>
                    <a:lnTo>
                      <a:pt x="4050" y="1718"/>
                    </a:lnTo>
                    <a:lnTo>
                      <a:pt x="4050" y="1704"/>
                    </a:lnTo>
                    <a:lnTo>
                      <a:pt x="4050" y="1704"/>
                    </a:lnTo>
                    <a:lnTo>
                      <a:pt x="4052" y="1706"/>
                    </a:lnTo>
                    <a:lnTo>
                      <a:pt x="4054" y="1708"/>
                    </a:lnTo>
                    <a:lnTo>
                      <a:pt x="4054" y="1716"/>
                    </a:lnTo>
                    <a:lnTo>
                      <a:pt x="4054" y="1716"/>
                    </a:lnTo>
                    <a:lnTo>
                      <a:pt x="4054" y="1720"/>
                    </a:lnTo>
                    <a:lnTo>
                      <a:pt x="4056" y="1724"/>
                    </a:lnTo>
                    <a:lnTo>
                      <a:pt x="4060" y="1728"/>
                    </a:lnTo>
                    <a:lnTo>
                      <a:pt x="4066" y="1730"/>
                    </a:lnTo>
                    <a:lnTo>
                      <a:pt x="4066" y="1730"/>
                    </a:lnTo>
                    <a:lnTo>
                      <a:pt x="4078" y="1734"/>
                    </a:lnTo>
                    <a:lnTo>
                      <a:pt x="4088" y="1734"/>
                    </a:lnTo>
                    <a:lnTo>
                      <a:pt x="4096" y="1734"/>
                    </a:lnTo>
                    <a:lnTo>
                      <a:pt x="4106" y="1732"/>
                    </a:lnTo>
                    <a:lnTo>
                      <a:pt x="4122" y="1724"/>
                    </a:lnTo>
                    <a:lnTo>
                      <a:pt x="4144" y="1714"/>
                    </a:lnTo>
                    <a:lnTo>
                      <a:pt x="4144" y="1714"/>
                    </a:lnTo>
                    <a:lnTo>
                      <a:pt x="4152" y="1708"/>
                    </a:lnTo>
                    <a:lnTo>
                      <a:pt x="4156" y="1708"/>
                    </a:lnTo>
                    <a:lnTo>
                      <a:pt x="4156" y="1708"/>
                    </a:lnTo>
                    <a:lnTo>
                      <a:pt x="4158" y="1712"/>
                    </a:lnTo>
                    <a:lnTo>
                      <a:pt x="4160" y="1714"/>
                    </a:lnTo>
                    <a:lnTo>
                      <a:pt x="4164" y="1718"/>
                    </a:lnTo>
                    <a:lnTo>
                      <a:pt x="4172" y="1718"/>
                    </a:lnTo>
                    <a:lnTo>
                      <a:pt x="4188" y="1716"/>
                    </a:lnTo>
                    <a:lnTo>
                      <a:pt x="4188" y="1716"/>
                    </a:lnTo>
                    <a:lnTo>
                      <a:pt x="4202" y="1716"/>
                    </a:lnTo>
                    <a:lnTo>
                      <a:pt x="4194" y="1720"/>
                    </a:lnTo>
                    <a:lnTo>
                      <a:pt x="4172" y="1728"/>
                    </a:lnTo>
                    <a:lnTo>
                      <a:pt x="4148" y="1740"/>
                    </a:lnTo>
                    <a:lnTo>
                      <a:pt x="4148" y="1740"/>
                    </a:lnTo>
                    <a:lnTo>
                      <a:pt x="4136" y="1746"/>
                    </a:lnTo>
                    <a:lnTo>
                      <a:pt x="4126" y="1754"/>
                    </a:lnTo>
                    <a:lnTo>
                      <a:pt x="4118" y="1762"/>
                    </a:lnTo>
                    <a:lnTo>
                      <a:pt x="4110" y="1770"/>
                    </a:lnTo>
                    <a:lnTo>
                      <a:pt x="4106" y="1780"/>
                    </a:lnTo>
                    <a:lnTo>
                      <a:pt x="4104" y="1790"/>
                    </a:lnTo>
                    <a:lnTo>
                      <a:pt x="4106" y="1802"/>
                    </a:lnTo>
                    <a:lnTo>
                      <a:pt x="4110" y="1812"/>
                    </a:lnTo>
                    <a:lnTo>
                      <a:pt x="4110" y="1812"/>
                    </a:lnTo>
                    <a:lnTo>
                      <a:pt x="4116" y="1822"/>
                    </a:lnTo>
                    <a:lnTo>
                      <a:pt x="4124" y="1826"/>
                    </a:lnTo>
                    <a:lnTo>
                      <a:pt x="4130" y="1828"/>
                    </a:lnTo>
                    <a:lnTo>
                      <a:pt x="4138" y="1824"/>
                    </a:lnTo>
                    <a:lnTo>
                      <a:pt x="4146" y="1818"/>
                    </a:lnTo>
                    <a:lnTo>
                      <a:pt x="4154" y="1810"/>
                    </a:lnTo>
                    <a:lnTo>
                      <a:pt x="4174" y="1786"/>
                    </a:lnTo>
                    <a:lnTo>
                      <a:pt x="4174" y="1786"/>
                    </a:lnTo>
                    <a:lnTo>
                      <a:pt x="4182" y="1776"/>
                    </a:lnTo>
                    <a:lnTo>
                      <a:pt x="4190" y="1770"/>
                    </a:lnTo>
                    <a:lnTo>
                      <a:pt x="4196" y="1768"/>
                    </a:lnTo>
                    <a:lnTo>
                      <a:pt x="4202" y="1768"/>
                    </a:lnTo>
                    <a:lnTo>
                      <a:pt x="4208" y="1768"/>
                    </a:lnTo>
                    <a:lnTo>
                      <a:pt x="4216" y="1766"/>
                    </a:lnTo>
                    <a:lnTo>
                      <a:pt x="4224" y="1764"/>
                    </a:lnTo>
                    <a:lnTo>
                      <a:pt x="4238" y="1756"/>
                    </a:lnTo>
                    <a:lnTo>
                      <a:pt x="4238" y="1756"/>
                    </a:lnTo>
                    <a:lnTo>
                      <a:pt x="4252" y="1748"/>
                    </a:lnTo>
                    <a:lnTo>
                      <a:pt x="4266" y="1742"/>
                    </a:lnTo>
                    <a:lnTo>
                      <a:pt x="4290" y="1734"/>
                    </a:lnTo>
                    <a:lnTo>
                      <a:pt x="4300" y="1730"/>
                    </a:lnTo>
                    <a:lnTo>
                      <a:pt x="4306" y="1728"/>
                    </a:lnTo>
                    <a:lnTo>
                      <a:pt x="4308" y="1724"/>
                    </a:lnTo>
                    <a:lnTo>
                      <a:pt x="4304" y="1720"/>
                    </a:lnTo>
                    <a:lnTo>
                      <a:pt x="4304" y="1720"/>
                    </a:lnTo>
                    <a:lnTo>
                      <a:pt x="4284" y="1700"/>
                    </a:lnTo>
                    <a:lnTo>
                      <a:pt x="4280" y="1698"/>
                    </a:lnTo>
                    <a:lnTo>
                      <a:pt x="4276" y="1696"/>
                    </a:lnTo>
                    <a:lnTo>
                      <a:pt x="4270" y="1696"/>
                    </a:lnTo>
                    <a:lnTo>
                      <a:pt x="4264" y="1698"/>
                    </a:lnTo>
                    <a:lnTo>
                      <a:pt x="4264" y="1698"/>
                    </a:lnTo>
                    <a:lnTo>
                      <a:pt x="4258" y="1700"/>
                    </a:lnTo>
                    <a:lnTo>
                      <a:pt x="4246" y="1700"/>
                    </a:lnTo>
                    <a:lnTo>
                      <a:pt x="4236" y="1700"/>
                    </a:lnTo>
                    <a:lnTo>
                      <a:pt x="4224" y="1696"/>
                    </a:lnTo>
                    <a:lnTo>
                      <a:pt x="4212" y="1694"/>
                    </a:lnTo>
                    <a:lnTo>
                      <a:pt x="4204" y="1690"/>
                    </a:lnTo>
                    <a:lnTo>
                      <a:pt x="4198" y="1684"/>
                    </a:lnTo>
                    <a:lnTo>
                      <a:pt x="4196" y="1682"/>
                    </a:lnTo>
                    <a:lnTo>
                      <a:pt x="4196" y="1680"/>
                    </a:lnTo>
                    <a:lnTo>
                      <a:pt x="4196" y="1680"/>
                    </a:lnTo>
                    <a:lnTo>
                      <a:pt x="4196" y="1676"/>
                    </a:lnTo>
                    <a:lnTo>
                      <a:pt x="4194" y="1674"/>
                    </a:lnTo>
                    <a:lnTo>
                      <a:pt x="4186" y="1672"/>
                    </a:lnTo>
                    <a:lnTo>
                      <a:pt x="4178" y="1668"/>
                    </a:lnTo>
                    <a:lnTo>
                      <a:pt x="4172" y="1664"/>
                    </a:lnTo>
                    <a:lnTo>
                      <a:pt x="4166" y="1654"/>
                    </a:lnTo>
                    <a:lnTo>
                      <a:pt x="4160" y="1640"/>
                    </a:lnTo>
                    <a:lnTo>
                      <a:pt x="4160" y="1640"/>
                    </a:lnTo>
                    <a:lnTo>
                      <a:pt x="4156" y="1624"/>
                    </a:lnTo>
                    <a:lnTo>
                      <a:pt x="4156" y="1610"/>
                    </a:lnTo>
                    <a:lnTo>
                      <a:pt x="4158" y="1598"/>
                    </a:lnTo>
                    <a:lnTo>
                      <a:pt x="4160" y="1588"/>
                    </a:lnTo>
                    <a:lnTo>
                      <a:pt x="4162" y="1580"/>
                    </a:lnTo>
                    <a:lnTo>
                      <a:pt x="4162" y="1576"/>
                    </a:lnTo>
                    <a:lnTo>
                      <a:pt x="4158" y="1574"/>
                    </a:lnTo>
                    <a:lnTo>
                      <a:pt x="4148" y="1576"/>
                    </a:lnTo>
                    <a:lnTo>
                      <a:pt x="4148" y="1576"/>
                    </a:lnTo>
                    <a:lnTo>
                      <a:pt x="4134" y="1578"/>
                    </a:lnTo>
                    <a:lnTo>
                      <a:pt x="4126" y="1580"/>
                    </a:lnTo>
                    <a:lnTo>
                      <a:pt x="4124" y="1578"/>
                    </a:lnTo>
                    <a:lnTo>
                      <a:pt x="4126" y="1574"/>
                    </a:lnTo>
                    <a:lnTo>
                      <a:pt x="4140" y="1564"/>
                    </a:lnTo>
                    <a:lnTo>
                      <a:pt x="4164" y="1550"/>
                    </a:lnTo>
                    <a:lnTo>
                      <a:pt x="4164" y="1550"/>
                    </a:lnTo>
                    <a:lnTo>
                      <a:pt x="4178" y="1538"/>
                    </a:lnTo>
                    <a:lnTo>
                      <a:pt x="4182" y="1532"/>
                    </a:lnTo>
                    <a:lnTo>
                      <a:pt x="4184" y="1528"/>
                    </a:lnTo>
                    <a:lnTo>
                      <a:pt x="4184" y="1522"/>
                    </a:lnTo>
                    <a:lnTo>
                      <a:pt x="4180" y="1516"/>
                    </a:lnTo>
                    <a:lnTo>
                      <a:pt x="4174" y="1508"/>
                    </a:lnTo>
                    <a:lnTo>
                      <a:pt x="4166" y="1502"/>
                    </a:lnTo>
                    <a:lnTo>
                      <a:pt x="4166" y="1502"/>
                    </a:lnTo>
                    <a:lnTo>
                      <a:pt x="4160" y="1498"/>
                    </a:lnTo>
                    <a:lnTo>
                      <a:pt x="4150" y="1496"/>
                    </a:lnTo>
                    <a:lnTo>
                      <a:pt x="4140" y="1496"/>
                    </a:lnTo>
                    <a:lnTo>
                      <a:pt x="4130" y="1496"/>
                    </a:lnTo>
                    <a:lnTo>
                      <a:pt x="4102" y="1500"/>
                    </a:lnTo>
                    <a:lnTo>
                      <a:pt x="4074" y="1508"/>
                    </a:lnTo>
                    <a:lnTo>
                      <a:pt x="4044" y="1518"/>
                    </a:lnTo>
                    <a:lnTo>
                      <a:pt x="4018" y="1532"/>
                    </a:lnTo>
                    <a:lnTo>
                      <a:pt x="3996" y="1546"/>
                    </a:lnTo>
                    <a:lnTo>
                      <a:pt x="3988" y="1554"/>
                    </a:lnTo>
                    <a:lnTo>
                      <a:pt x="3982" y="1560"/>
                    </a:lnTo>
                    <a:lnTo>
                      <a:pt x="3982" y="1560"/>
                    </a:lnTo>
                    <a:lnTo>
                      <a:pt x="3964" y="1584"/>
                    </a:lnTo>
                    <a:lnTo>
                      <a:pt x="3948" y="1602"/>
                    </a:lnTo>
                    <a:lnTo>
                      <a:pt x="3934" y="1616"/>
                    </a:lnTo>
                    <a:lnTo>
                      <a:pt x="3922" y="1626"/>
                    </a:lnTo>
                    <a:lnTo>
                      <a:pt x="3914" y="1634"/>
                    </a:lnTo>
                    <a:lnTo>
                      <a:pt x="3908" y="1636"/>
                    </a:lnTo>
                    <a:lnTo>
                      <a:pt x="3908" y="1636"/>
                    </a:lnTo>
                    <a:lnTo>
                      <a:pt x="3908" y="1634"/>
                    </a:lnTo>
                    <a:lnTo>
                      <a:pt x="3914" y="1628"/>
                    </a:lnTo>
                    <a:lnTo>
                      <a:pt x="3914" y="1628"/>
                    </a:lnTo>
                    <a:lnTo>
                      <a:pt x="3924" y="1616"/>
                    </a:lnTo>
                    <a:lnTo>
                      <a:pt x="3936" y="1600"/>
                    </a:lnTo>
                    <a:lnTo>
                      <a:pt x="3964" y="1560"/>
                    </a:lnTo>
                    <a:lnTo>
                      <a:pt x="3978" y="1542"/>
                    </a:lnTo>
                    <a:lnTo>
                      <a:pt x="3994" y="1524"/>
                    </a:lnTo>
                    <a:lnTo>
                      <a:pt x="4010" y="1510"/>
                    </a:lnTo>
                    <a:lnTo>
                      <a:pt x="4020" y="1504"/>
                    </a:lnTo>
                    <a:lnTo>
                      <a:pt x="4030" y="1500"/>
                    </a:lnTo>
                    <a:lnTo>
                      <a:pt x="4030" y="1500"/>
                    </a:lnTo>
                    <a:lnTo>
                      <a:pt x="4040" y="1496"/>
                    </a:lnTo>
                    <a:lnTo>
                      <a:pt x="4050" y="1490"/>
                    </a:lnTo>
                    <a:lnTo>
                      <a:pt x="4056" y="1486"/>
                    </a:lnTo>
                    <a:lnTo>
                      <a:pt x="4060" y="1482"/>
                    </a:lnTo>
                    <a:lnTo>
                      <a:pt x="4066" y="1472"/>
                    </a:lnTo>
                    <a:lnTo>
                      <a:pt x="4068" y="1464"/>
                    </a:lnTo>
                    <a:lnTo>
                      <a:pt x="4072" y="1456"/>
                    </a:lnTo>
                    <a:lnTo>
                      <a:pt x="4076" y="1452"/>
                    </a:lnTo>
                    <a:lnTo>
                      <a:pt x="4082" y="1448"/>
                    </a:lnTo>
                    <a:lnTo>
                      <a:pt x="4090" y="1444"/>
                    </a:lnTo>
                    <a:lnTo>
                      <a:pt x="4102" y="1440"/>
                    </a:lnTo>
                    <a:lnTo>
                      <a:pt x="4136" y="1432"/>
                    </a:lnTo>
                    <a:lnTo>
                      <a:pt x="4136" y="1432"/>
                    </a:lnTo>
                    <a:lnTo>
                      <a:pt x="4160" y="1430"/>
                    </a:lnTo>
                    <a:lnTo>
                      <a:pt x="4182" y="1428"/>
                    </a:lnTo>
                    <a:lnTo>
                      <a:pt x="4202" y="1430"/>
                    </a:lnTo>
                    <a:lnTo>
                      <a:pt x="4220" y="1432"/>
                    </a:lnTo>
                    <a:lnTo>
                      <a:pt x="4252" y="1436"/>
                    </a:lnTo>
                    <a:lnTo>
                      <a:pt x="4278" y="1442"/>
                    </a:lnTo>
                    <a:lnTo>
                      <a:pt x="4304" y="1446"/>
                    </a:lnTo>
                    <a:lnTo>
                      <a:pt x="4316" y="1444"/>
                    </a:lnTo>
                    <a:lnTo>
                      <a:pt x="4330" y="1442"/>
                    </a:lnTo>
                    <a:lnTo>
                      <a:pt x="4342" y="1438"/>
                    </a:lnTo>
                    <a:lnTo>
                      <a:pt x="4356" y="1430"/>
                    </a:lnTo>
                    <a:lnTo>
                      <a:pt x="4370" y="1420"/>
                    </a:lnTo>
                    <a:lnTo>
                      <a:pt x="4386" y="1406"/>
                    </a:lnTo>
                    <a:lnTo>
                      <a:pt x="4386" y="1406"/>
                    </a:lnTo>
                    <a:lnTo>
                      <a:pt x="4414" y="1382"/>
                    </a:lnTo>
                    <a:lnTo>
                      <a:pt x="4434" y="1368"/>
                    </a:lnTo>
                    <a:lnTo>
                      <a:pt x="4448" y="1362"/>
                    </a:lnTo>
                    <a:lnTo>
                      <a:pt x="4458" y="1362"/>
                    </a:lnTo>
                    <a:lnTo>
                      <a:pt x="4470" y="1366"/>
                    </a:lnTo>
                    <a:lnTo>
                      <a:pt x="4474" y="1366"/>
                    </a:lnTo>
                    <a:lnTo>
                      <a:pt x="4482" y="1358"/>
                    </a:lnTo>
                    <a:lnTo>
                      <a:pt x="4482" y="1358"/>
                    </a:lnTo>
                    <a:lnTo>
                      <a:pt x="4492" y="1348"/>
                    </a:lnTo>
                    <a:lnTo>
                      <a:pt x="4502" y="1342"/>
                    </a:lnTo>
                    <a:lnTo>
                      <a:pt x="4518" y="1330"/>
                    </a:lnTo>
                    <a:lnTo>
                      <a:pt x="4524" y="1324"/>
                    </a:lnTo>
                    <a:lnTo>
                      <a:pt x="4526" y="1316"/>
                    </a:lnTo>
                    <a:lnTo>
                      <a:pt x="4526" y="1308"/>
                    </a:lnTo>
                    <a:lnTo>
                      <a:pt x="4522" y="1296"/>
                    </a:lnTo>
                    <a:lnTo>
                      <a:pt x="4522" y="1296"/>
                    </a:lnTo>
                    <a:lnTo>
                      <a:pt x="4518" y="1284"/>
                    </a:lnTo>
                    <a:lnTo>
                      <a:pt x="4518" y="1278"/>
                    </a:lnTo>
                    <a:lnTo>
                      <a:pt x="4518" y="1274"/>
                    </a:lnTo>
                    <a:lnTo>
                      <a:pt x="4522" y="1270"/>
                    </a:lnTo>
                    <a:lnTo>
                      <a:pt x="4524" y="1268"/>
                    </a:lnTo>
                    <a:lnTo>
                      <a:pt x="4526" y="1264"/>
                    </a:lnTo>
                    <a:lnTo>
                      <a:pt x="4524" y="1258"/>
                    </a:lnTo>
                    <a:lnTo>
                      <a:pt x="4522" y="1248"/>
                    </a:lnTo>
                    <a:lnTo>
                      <a:pt x="4522" y="1248"/>
                    </a:lnTo>
                    <a:lnTo>
                      <a:pt x="4516" y="1238"/>
                    </a:lnTo>
                    <a:lnTo>
                      <a:pt x="4510" y="1234"/>
                    </a:lnTo>
                    <a:lnTo>
                      <a:pt x="4502" y="1232"/>
                    </a:lnTo>
                    <a:lnTo>
                      <a:pt x="4496" y="1230"/>
                    </a:lnTo>
                    <a:lnTo>
                      <a:pt x="4488" y="1230"/>
                    </a:lnTo>
                    <a:lnTo>
                      <a:pt x="4480" y="1228"/>
                    </a:lnTo>
                    <a:lnTo>
                      <a:pt x="4472" y="1222"/>
                    </a:lnTo>
                    <a:lnTo>
                      <a:pt x="4464" y="1214"/>
                    </a:lnTo>
                    <a:lnTo>
                      <a:pt x="4464" y="1214"/>
                    </a:lnTo>
                    <a:lnTo>
                      <a:pt x="4454" y="1204"/>
                    </a:lnTo>
                    <a:lnTo>
                      <a:pt x="4446" y="1198"/>
                    </a:lnTo>
                    <a:lnTo>
                      <a:pt x="4436" y="1198"/>
                    </a:lnTo>
                    <a:lnTo>
                      <a:pt x="4428" y="1200"/>
                    </a:lnTo>
                    <a:lnTo>
                      <a:pt x="4416" y="1204"/>
                    </a:lnTo>
                    <a:lnTo>
                      <a:pt x="4406" y="1212"/>
                    </a:lnTo>
                    <a:lnTo>
                      <a:pt x="4376" y="1234"/>
                    </a:lnTo>
                    <a:lnTo>
                      <a:pt x="4376" y="1234"/>
                    </a:lnTo>
                    <a:lnTo>
                      <a:pt x="4362" y="1242"/>
                    </a:lnTo>
                    <a:lnTo>
                      <a:pt x="4352" y="1246"/>
                    </a:lnTo>
                    <a:lnTo>
                      <a:pt x="4344" y="1246"/>
                    </a:lnTo>
                    <a:lnTo>
                      <a:pt x="4342" y="1242"/>
                    </a:lnTo>
                    <a:lnTo>
                      <a:pt x="4342" y="1238"/>
                    </a:lnTo>
                    <a:lnTo>
                      <a:pt x="4346" y="1230"/>
                    </a:lnTo>
                    <a:lnTo>
                      <a:pt x="4354" y="1226"/>
                    </a:lnTo>
                    <a:lnTo>
                      <a:pt x="4364" y="1220"/>
                    </a:lnTo>
                    <a:lnTo>
                      <a:pt x="4364" y="1220"/>
                    </a:lnTo>
                    <a:lnTo>
                      <a:pt x="4376" y="1218"/>
                    </a:lnTo>
                    <a:lnTo>
                      <a:pt x="4386" y="1214"/>
                    </a:lnTo>
                    <a:lnTo>
                      <a:pt x="4400" y="1204"/>
                    </a:lnTo>
                    <a:lnTo>
                      <a:pt x="4414" y="1196"/>
                    </a:lnTo>
                    <a:lnTo>
                      <a:pt x="4424" y="1192"/>
                    </a:lnTo>
                    <a:lnTo>
                      <a:pt x="4438" y="1190"/>
                    </a:lnTo>
                    <a:lnTo>
                      <a:pt x="4438" y="1190"/>
                    </a:lnTo>
                    <a:lnTo>
                      <a:pt x="4450" y="1186"/>
                    </a:lnTo>
                    <a:lnTo>
                      <a:pt x="4456" y="1184"/>
                    </a:lnTo>
                    <a:lnTo>
                      <a:pt x="4458" y="1178"/>
                    </a:lnTo>
                    <a:lnTo>
                      <a:pt x="4456" y="1174"/>
                    </a:lnTo>
                    <a:lnTo>
                      <a:pt x="4450" y="1170"/>
                    </a:lnTo>
                    <a:lnTo>
                      <a:pt x="4442" y="1166"/>
                    </a:lnTo>
                    <a:lnTo>
                      <a:pt x="4432" y="1162"/>
                    </a:lnTo>
                    <a:lnTo>
                      <a:pt x="4418" y="1160"/>
                    </a:lnTo>
                    <a:lnTo>
                      <a:pt x="4418" y="1160"/>
                    </a:lnTo>
                    <a:lnTo>
                      <a:pt x="4406" y="1158"/>
                    </a:lnTo>
                    <a:lnTo>
                      <a:pt x="4400" y="1154"/>
                    </a:lnTo>
                    <a:lnTo>
                      <a:pt x="4396" y="1150"/>
                    </a:lnTo>
                    <a:lnTo>
                      <a:pt x="4394" y="1146"/>
                    </a:lnTo>
                    <a:lnTo>
                      <a:pt x="4392" y="1142"/>
                    </a:lnTo>
                    <a:lnTo>
                      <a:pt x="4388" y="1138"/>
                    </a:lnTo>
                    <a:lnTo>
                      <a:pt x="4378" y="1136"/>
                    </a:lnTo>
                    <a:lnTo>
                      <a:pt x="4364" y="1132"/>
                    </a:lnTo>
                    <a:lnTo>
                      <a:pt x="4364" y="1132"/>
                    </a:lnTo>
                    <a:lnTo>
                      <a:pt x="4350" y="1130"/>
                    </a:lnTo>
                    <a:lnTo>
                      <a:pt x="4342" y="1126"/>
                    </a:lnTo>
                    <a:lnTo>
                      <a:pt x="4340" y="1122"/>
                    </a:lnTo>
                    <a:lnTo>
                      <a:pt x="4338" y="1116"/>
                    </a:lnTo>
                    <a:lnTo>
                      <a:pt x="4340" y="1112"/>
                    </a:lnTo>
                    <a:lnTo>
                      <a:pt x="4338" y="1106"/>
                    </a:lnTo>
                    <a:lnTo>
                      <a:pt x="4334" y="1102"/>
                    </a:lnTo>
                    <a:lnTo>
                      <a:pt x="4324" y="1096"/>
                    </a:lnTo>
                    <a:lnTo>
                      <a:pt x="4324" y="1096"/>
                    </a:lnTo>
                    <a:lnTo>
                      <a:pt x="4314" y="1090"/>
                    </a:lnTo>
                    <a:lnTo>
                      <a:pt x="4304" y="1084"/>
                    </a:lnTo>
                    <a:lnTo>
                      <a:pt x="4296" y="1078"/>
                    </a:lnTo>
                    <a:lnTo>
                      <a:pt x="4290" y="1070"/>
                    </a:lnTo>
                    <a:lnTo>
                      <a:pt x="4286" y="1062"/>
                    </a:lnTo>
                    <a:lnTo>
                      <a:pt x="4286" y="1052"/>
                    </a:lnTo>
                    <a:lnTo>
                      <a:pt x="4288" y="1042"/>
                    </a:lnTo>
                    <a:lnTo>
                      <a:pt x="4294" y="1030"/>
                    </a:lnTo>
                    <a:lnTo>
                      <a:pt x="4294" y="1030"/>
                    </a:lnTo>
                    <a:lnTo>
                      <a:pt x="4298" y="1024"/>
                    </a:lnTo>
                    <a:lnTo>
                      <a:pt x="4298" y="1020"/>
                    </a:lnTo>
                    <a:lnTo>
                      <a:pt x="4298" y="1016"/>
                    </a:lnTo>
                    <a:lnTo>
                      <a:pt x="4296" y="1012"/>
                    </a:lnTo>
                    <a:lnTo>
                      <a:pt x="4290" y="1008"/>
                    </a:lnTo>
                    <a:lnTo>
                      <a:pt x="4282" y="1004"/>
                    </a:lnTo>
                    <a:lnTo>
                      <a:pt x="4274" y="1002"/>
                    </a:lnTo>
                    <a:lnTo>
                      <a:pt x="4268" y="998"/>
                    </a:lnTo>
                    <a:lnTo>
                      <a:pt x="4266" y="996"/>
                    </a:lnTo>
                    <a:lnTo>
                      <a:pt x="4266" y="994"/>
                    </a:lnTo>
                    <a:lnTo>
                      <a:pt x="4266" y="990"/>
                    </a:lnTo>
                    <a:lnTo>
                      <a:pt x="4270" y="986"/>
                    </a:lnTo>
                    <a:lnTo>
                      <a:pt x="4270" y="986"/>
                    </a:lnTo>
                    <a:lnTo>
                      <a:pt x="4274" y="978"/>
                    </a:lnTo>
                    <a:lnTo>
                      <a:pt x="4274" y="970"/>
                    </a:lnTo>
                    <a:lnTo>
                      <a:pt x="4270" y="966"/>
                    </a:lnTo>
                    <a:lnTo>
                      <a:pt x="4264" y="960"/>
                    </a:lnTo>
                    <a:lnTo>
                      <a:pt x="4258" y="954"/>
                    </a:lnTo>
                    <a:lnTo>
                      <a:pt x="4252" y="948"/>
                    </a:lnTo>
                    <a:lnTo>
                      <a:pt x="4246" y="940"/>
                    </a:lnTo>
                    <a:lnTo>
                      <a:pt x="4244" y="928"/>
                    </a:lnTo>
                    <a:lnTo>
                      <a:pt x="4244" y="928"/>
                    </a:lnTo>
                    <a:lnTo>
                      <a:pt x="4240" y="912"/>
                    </a:lnTo>
                    <a:lnTo>
                      <a:pt x="4238" y="908"/>
                    </a:lnTo>
                    <a:lnTo>
                      <a:pt x="4236" y="906"/>
                    </a:lnTo>
                    <a:lnTo>
                      <a:pt x="4230" y="902"/>
                    </a:lnTo>
                    <a:lnTo>
                      <a:pt x="4228" y="898"/>
                    </a:lnTo>
                    <a:lnTo>
                      <a:pt x="4226" y="890"/>
                    </a:lnTo>
                    <a:lnTo>
                      <a:pt x="4226" y="890"/>
                    </a:lnTo>
                    <a:lnTo>
                      <a:pt x="4222" y="882"/>
                    </a:lnTo>
                    <a:lnTo>
                      <a:pt x="4218" y="878"/>
                    </a:lnTo>
                    <a:lnTo>
                      <a:pt x="4210" y="872"/>
                    </a:lnTo>
                    <a:lnTo>
                      <a:pt x="4206" y="868"/>
                    </a:lnTo>
                    <a:lnTo>
                      <a:pt x="4200" y="862"/>
                    </a:lnTo>
                    <a:lnTo>
                      <a:pt x="4194" y="852"/>
                    </a:lnTo>
                    <a:lnTo>
                      <a:pt x="4186" y="838"/>
                    </a:lnTo>
                    <a:lnTo>
                      <a:pt x="4186" y="838"/>
                    </a:lnTo>
                    <a:lnTo>
                      <a:pt x="4180" y="824"/>
                    </a:lnTo>
                    <a:lnTo>
                      <a:pt x="4174" y="816"/>
                    </a:lnTo>
                    <a:lnTo>
                      <a:pt x="4168" y="812"/>
                    </a:lnTo>
                    <a:lnTo>
                      <a:pt x="4164" y="812"/>
                    </a:lnTo>
                    <a:lnTo>
                      <a:pt x="4158" y="814"/>
                    </a:lnTo>
                    <a:lnTo>
                      <a:pt x="4154" y="820"/>
                    </a:lnTo>
                    <a:lnTo>
                      <a:pt x="4140" y="836"/>
                    </a:lnTo>
                    <a:lnTo>
                      <a:pt x="4140" y="836"/>
                    </a:lnTo>
                    <a:lnTo>
                      <a:pt x="4132" y="848"/>
                    </a:lnTo>
                    <a:lnTo>
                      <a:pt x="4128" y="860"/>
                    </a:lnTo>
                    <a:lnTo>
                      <a:pt x="4124" y="884"/>
                    </a:lnTo>
                    <a:lnTo>
                      <a:pt x="4120" y="896"/>
                    </a:lnTo>
                    <a:lnTo>
                      <a:pt x="4116" y="904"/>
                    </a:lnTo>
                    <a:lnTo>
                      <a:pt x="4114" y="906"/>
                    </a:lnTo>
                    <a:lnTo>
                      <a:pt x="4110" y="908"/>
                    </a:lnTo>
                    <a:lnTo>
                      <a:pt x="4106" y="908"/>
                    </a:lnTo>
                    <a:lnTo>
                      <a:pt x="4100" y="906"/>
                    </a:lnTo>
                    <a:lnTo>
                      <a:pt x="4100" y="906"/>
                    </a:lnTo>
                    <a:lnTo>
                      <a:pt x="4090" y="904"/>
                    </a:lnTo>
                    <a:lnTo>
                      <a:pt x="4086" y="906"/>
                    </a:lnTo>
                    <a:lnTo>
                      <a:pt x="4084" y="908"/>
                    </a:lnTo>
                    <a:lnTo>
                      <a:pt x="4084" y="912"/>
                    </a:lnTo>
                    <a:lnTo>
                      <a:pt x="4082" y="916"/>
                    </a:lnTo>
                    <a:lnTo>
                      <a:pt x="4080" y="922"/>
                    </a:lnTo>
                    <a:lnTo>
                      <a:pt x="4074" y="928"/>
                    </a:lnTo>
                    <a:lnTo>
                      <a:pt x="4060" y="934"/>
                    </a:lnTo>
                    <a:lnTo>
                      <a:pt x="4060" y="934"/>
                    </a:lnTo>
                    <a:lnTo>
                      <a:pt x="4048" y="936"/>
                    </a:lnTo>
                    <a:lnTo>
                      <a:pt x="4038" y="934"/>
                    </a:lnTo>
                    <a:lnTo>
                      <a:pt x="4030" y="930"/>
                    </a:lnTo>
                    <a:lnTo>
                      <a:pt x="4024" y="922"/>
                    </a:lnTo>
                    <a:lnTo>
                      <a:pt x="4018" y="914"/>
                    </a:lnTo>
                    <a:lnTo>
                      <a:pt x="4010" y="908"/>
                    </a:lnTo>
                    <a:lnTo>
                      <a:pt x="4002" y="902"/>
                    </a:lnTo>
                    <a:lnTo>
                      <a:pt x="3988" y="900"/>
                    </a:lnTo>
                    <a:lnTo>
                      <a:pt x="3988" y="900"/>
                    </a:lnTo>
                    <a:lnTo>
                      <a:pt x="3976" y="900"/>
                    </a:lnTo>
                    <a:lnTo>
                      <a:pt x="3972" y="900"/>
                    </a:lnTo>
                    <a:lnTo>
                      <a:pt x="3970" y="896"/>
                    </a:lnTo>
                    <a:lnTo>
                      <a:pt x="3972" y="892"/>
                    </a:lnTo>
                    <a:lnTo>
                      <a:pt x="3974" y="888"/>
                    </a:lnTo>
                    <a:lnTo>
                      <a:pt x="3976" y="884"/>
                    </a:lnTo>
                    <a:lnTo>
                      <a:pt x="3974" y="880"/>
                    </a:lnTo>
                    <a:lnTo>
                      <a:pt x="3968" y="874"/>
                    </a:lnTo>
                    <a:lnTo>
                      <a:pt x="3968" y="874"/>
                    </a:lnTo>
                    <a:lnTo>
                      <a:pt x="3962" y="870"/>
                    </a:lnTo>
                    <a:lnTo>
                      <a:pt x="3960" y="866"/>
                    </a:lnTo>
                    <a:lnTo>
                      <a:pt x="3962" y="864"/>
                    </a:lnTo>
                    <a:lnTo>
                      <a:pt x="3964" y="860"/>
                    </a:lnTo>
                    <a:lnTo>
                      <a:pt x="3966" y="856"/>
                    </a:lnTo>
                    <a:lnTo>
                      <a:pt x="3968" y="850"/>
                    </a:lnTo>
                    <a:lnTo>
                      <a:pt x="3968" y="844"/>
                    </a:lnTo>
                    <a:lnTo>
                      <a:pt x="3964" y="836"/>
                    </a:lnTo>
                    <a:lnTo>
                      <a:pt x="3964" y="836"/>
                    </a:lnTo>
                    <a:lnTo>
                      <a:pt x="3960" y="824"/>
                    </a:lnTo>
                    <a:lnTo>
                      <a:pt x="3958" y="814"/>
                    </a:lnTo>
                    <a:lnTo>
                      <a:pt x="3962" y="802"/>
                    </a:lnTo>
                    <a:lnTo>
                      <a:pt x="3966" y="794"/>
                    </a:lnTo>
                    <a:lnTo>
                      <a:pt x="3974" y="776"/>
                    </a:lnTo>
                    <a:lnTo>
                      <a:pt x="3974" y="770"/>
                    </a:lnTo>
                    <a:lnTo>
                      <a:pt x="3972" y="764"/>
                    </a:lnTo>
                    <a:lnTo>
                      <a:pt x="3972" y="764"/>
                    </a:lnTo>
                    <a:lnTo>
                      <a:pt x="3968" y="758"/>
                    </a:lnTo>
                    <a:lnTo>
                      <a:pt x="3964" y="758"/>
                    </a:lnTo>
                    <a:lnTo>
                      <a:pt x="3960" y="760"/>
                    </a:lnTo>
                    <a:lnTo>
                      <a:pt x="3958" y="764"/>
                    </a:lnTo>
                    <a:lnTo>
                      <a:pt x="3954" y="770"/>
                    </a:lnTo>
                    <a:lnTo>
                      <a:pt x="3952" y="772"/>
                    </a:lnTo>
                    <a:lnTo>
                      <a:pt x="3950" y="770"/>
                    </a:lnTo>
                    <a:lnTo>
                      <a:pt x="3950" y="770"/>
                    </a:lnTo>
                    <a:lnTo>
                      <a:pt x="3944" y="766"/>
                    </a:lnTo>
                    <a:lnTo>
                      <a:pt x="3936" y="762"/>
                    </a:lnTo>
                    <a:lnTo>
                      <a:pt x="3914" y="756"/>
                    </a:lnTo>
                    <a:lnTo>
                      <a:pt x="3902" y="752"/>
                    </a:lnTo>
                    <a:lnTo>
                      <a:pt x="3894" y="748"/>
                    </a:lnTo>
                    <a:lnTo>
                      <a:pt x="3888" y="742"/>
                    </a:lnTo>
                    <a:lnTo>
                      <a:pt x="3886" y="740"/>
                    </a:lnTo>
                    <a:lnTo>
                      <a:pt x="3886" y="736"/>
                    </a:lnTo>
                    <a:lnTo>
                      <a:pt x="3886" y="736"/>
                    </a:lnTo>
                    <a:lnTo>
                      <a:pt x="3886" y="728"/>
                    </a:lnTo>
                    <a:lnTo>
                      <a:pt x="3882" y="722"/>
                    </a:lnTo>
                    <a:lnTo>
                      <a:pt x="3878" y="716"/>
                    </a:lnTo>
                    <a:lnTo>
                      <a:pt x="3870" y="710"/>
                    </a:lnTo>
                    <a:lnTo>
                      <a:pt x="3826" y="680"/>
                    </a:lnTo>
                    <a:lnTo>
                      <a:pt x="3826" y="680"/>
                    </a:lnTo>
                    <a:lnTo>
                      <a:pt x="3806" y="668"/>
                    </a:lnTo>
                    <a:lnTo>
                      <a:pt x="3800" y="668"/>
                    </a:lnTo>
                    <a:lnTo>
                      <a:pt x="3796" y="666"/>
                    </a:lnTo>
                    <a:lnTo>
                      <a:pt x="3790" y="668"/>
                    </a:lnTo>
                    <a:lnTo>
                      <a:pt x="3788" y="670"/>
                    </a:lnTo>
                    <a:lnTo>
                      <a:pt x="3780" y="678"/>
                    </a:lnTo>
                    <a:lnTo>
                      <a:pt x="3774" y="680"/>
                    </a:lnTo>
                    <a:lnTo>
                      <a:pt x="3768" y="684"/>
                    </a:lnTo>
                    <a:lnTo>
                      <a:pt x="3760" y="684"/>
                    </a:lnTo>
                    <a:lnTo>
                      <a:pt x="3750" y="686"/>
                    </a:lnTo>
                    <a:lnTo>
                      <a:pt x="3736" y="684"/>
                    </a:lnTo>
                    <a:lnTo>
                      <a:pt x="3720" y="680"/>
                    </a:lnTo>
                    <a:lnTo>
                      <a:pt x="3700" y="674"/>
                    </a:lnTo>
                    <a:lnTo>
                      <a:pt x="3676" y="664"/>
                    </a:lnTo>
                    <a:lnTo>
                      <a:pt x="3676" y="664"/>
                    </a:lnTo>
                    <a:lnTo>
                      <a:pt x="3666" y="662"/>
                    </a:lnTo>
                    <a:lnTo>
                      <a:pt x="3656" y="660"/>
                    </a:lnTo>
                    <a:lnTo>
                      <a:pt x="3648" y="660"/>
                    </a:lnTo>
                    <a:lnTo>
                      <a:pt x="3642" y="662"/>
                    </a:lnTo>
                    <a:lnTo>
                      <a:pt x="3636" y="664"/>
                    </a:lnTo>
                    <a:lnTo>
                      <a:pt x="3632" y="668"/>
                    </a:lnTo>
                    <a:lnTo>
                      <a:pt x="3626" y="678"/>
                    </a:lnTo>
                    <a:lnTo>
                      <a:pt x="3622" y="690"/>
                    </a:lnTo>
                    <a:lnTo>
                      <a:pt x="3622" y="702"/>
                    </a:lnTo>
                    <a:lnTo>
                      <a:pt x="3626" y="712"/>
                    </a:lnTo>
                    <a:lnTo>
                      <a:pt x="3630" y="720"/>
                    </a:lnTo>
                    <a:lnTo>
                      <a:pt x="3630" y="720"/>
                    </a:lnTo>
                    <a:lnTo>
                      <a:pt x="3634" y="726"/>
                    </a:lnTo>
                    <a:lnTo>
                      <a:pt x="3636" y="732"/>
                    </a:lnTo>
                    <a:lnTo>
                      <a:pt x="3638" y="738"/>
                    </a:lnTo>
                    <a:lnTo>
                      <a:pt x="3638" y="746"/>
                    </a:lnTo>
                    <a:lnTo>
                      <a:pt x="3634" y="760"/>
                    </a:lnTo>
                    <a:lnTo>
                      <a:pt x="3626" y="772"/>
                    </a:lnTo>
                    <a:lnTo>
                      <a:pt x="3626" y="772"/>
                    </a:lnTo>
                    <a:lnTo>
                      <a:pt x="3622" y="776"/>
                    </a:lnTo>
                    <a:lnTo>
                      <a:pt x="3622" y="780"/>
                    </a:lnTo>
                    <a:lnTo>
                      <a:pt x="3624" y="782"/>
                    </a:lnTo>
                    <a:lnTo>
                      <a:pt x="3626" y="786"/>
                    </a:lnTo>
                    <a:lnTo>
                      <a:pt x="3634" y="794"/>
                    </a:lnTo>
                    <a:lnTo>
                      <a:pt x="3640" y="802"/>
                    </a:lnTo>
                    <a:lnTo>
                      <a:pt x="3644" y="814"/>
                    </a:lnTo>
                    <a:lnTo>
                      <a:pt x="3644" y="814"/>
                    </a:lnTo>
                    <a:lnTo>
                      <a:pt x="3648" y="824"/>
                    </a:lnTo>
                    <a:lnTo>
                      <a:pt x="3650" y="832"/>
                    </a:lnTo>
                    <a:lnTo>
                      <a:pt x="3650" y="840"/>
                    </a:lnTo>
                    <a:lnTo>
                      <a:pt x="3648" y="844"/>
                    </a:lnTo>
                    <a:lnTo>
                      <a:pt x="3642" y="854"/>
                    </a:lnTo>
                    <a:lnTo>
                      <a:pt x="3636" y="870"/>
                    </a:lnTo>
                    <a:lnTo>
                      <a:pt x="3636" y="870"/>
                    </a:lnTo>
                    <a:lnTo>
                      <a:pt x="3634" y="878"/>
                    </a:lnTo>
                    <a:lnTo>
                      <a:pt x="3630" y="882"/>
                    </a:lnTo>
                    <a:lnTo>
                      <a:pt x="3620" y="888"/>
                    </a:lnTo>
                    <a:lnTo>
                      <a:pt x="3616" y="890"/>
                    </a:lnTo>
                    <a:lnTo>
                      <a:pt x="3612" y="894"/>
                    </a:lnTo>
                    <a:lnTo>
                      <a:pt x="3610" y="900"/>
                    </a:lnTo>
                    <a:lnTo>
                      <a:pt x="3606" y="910"/>
                    </a:lnTo>
                    <a:lnTo>
                      <a:pt x="3606" y="910"/>
                    </a:lnTo>
                    <a:lnTo>
                      <a:pt x="3606" y="916"/>
                    </a:lnTo>
                    <a:lnTo>
                      <a:pt x="3608" y="920"/>
                    </a:lnTo>
                    <a:lnTo>
                      <a:pt x="3614" y="926"/>
                    </a:lnTo>
                    <a:lnTo>
                      <a:pt x="3622" y="932"/>
                    </a:lnTo>
                    <a:lnTo>
                      <a:pt x="3634" y="940"/>
                    </a:lnTo>
                    <a:lnTo>
                      <a:pt x="3648" y="950"/>
                    </a:lnTo>
                    <a:lnTo>
                      <a:pt x="3660" y="964"/>
                    </a:lnTo>
                    <a:lnTo>
                      <a:pt x="3666" y="972"/>
                    </a:lnTo>
                    <a:lnTo>
                      <a:pt x="3672" y="984"/>
                    </a:lnTo>
                    <a:lnTo>
                      <a:pt x="3678" y="996"/>
                    </a:lnTo>
                    <a:lnTo>
                      <a:pt x="3684" y="1010"/>
                    </a:lnTo>
                    <a:lnTo>
                      <a:pt x="3684" y="1010"/>
                    </a:lnTo>
                    <a:lnTo>
                      <a:pt x="3686" y="1026"/>
                    </a:lnTo>
                    <a:lnTo>
                      <a:pt x="3688" y="1040"/>
                    </a:lnTo>
                    <a:lnTo>
                      <a:pt x="3688" y="1052"/>
                    </a:lnTo>
                    <a:lnTo>
                      <a:pt x="3684" y="1066"/>
                    </a:lnTo>
                    <a:lnTo>
                      <a:pt x="3680" y="1078"/>
                    </a:lnTo>
                    <a:lnTo>
                      <a:pt x="3674" y="1088"/>
                    </a:lnTo>
                    <a:lnTo>
                      <a:pt x="3668" y="1100"/>
                    </a:lnTo>
                    <a:lnTo>
                      <a:pt x="3660" y="1108"/>
                    </a:lnTo>
                    <a:lnTo>
                      <a:pt x="3642" y="1126"/>
                    </a:lnTo>
                    <a:lnTo>
                      <a:pt x="3624" y="1140"/>
                    </a:lnTo>
                    <a:lnTo>
                      <a:pt x="3604" y="1150"/>
                    </a:lnTo>
                    <a:lnTo>
                      <a:pt x="3584" y="1158"/>
                    </a:lnTo>
                    <a:lnTo>
                      <a:pt x="3584" y="1158"/>
                    </a:lnTo>
                    <a:lnTo>
                      <a:pt x="3570" y="1166"/>
                    </a:lnTo>
                    <a:lnTo>
                      <a:pt x="3562" y="1172"/>
                    </a:lnTo>
                    <a:lnTo>
                      <a:pt x="3562" y="1174"/>
                    </a:lnTo>
                    <a:lnTo>
                      <a:pt x="3562" y="1176"/>
                    </a:lnTo>
                    <a:lnTo>
                      <a:pt x="3566" y="1184"/>
                    </a:lnTo>
                    <a:lnTo>
                      <a:pt x="3572" y="1190"/>
                    </a:lnTo>
                    <a:lnTo>
                      <a:pt x="3578" y="1200"/>
                    </a:lnTo>
                    <a:lnTo>
                      <a:pt x="3582" y="1212"/>
                    </a:lnTo>
                    <a:lnTo>
                      <a:pt x="3584" y="1220"/>
                    </a:lnTo>
                    <a:lnTo>
                      <a:pt x="3584" y="1228"/>
                    </a:lnTo>
                    <a:lnTo>
                      <a:pt x="3584" y="1228"/>
                    </a:lnTo>
                    <a:lnTo>
                      <a:pt x="3586" y="1244"/>
                    </a:lnTo>
                    <a:lnTo>
                      <a:pt x="3588" y="1260"/>
                    </a:lnTo>
                    <a:lnTo>
                      <a:pt x="3598" y="1290"/>
                    </a:lnTo>
                    <a:lnTo>
                      <a:pt x="3602" y="1302"/>
                    </a:lnTo>
                    <a:lnTo>
                      <a:pt x="3604" y="1314"/>
                    </a:lnTo>
                    <a:lnTo>
                      <a:pt x="3604" y="1324"/>
                    </a:lnTo>
                    <a:lnTo>
                      <a:pt x="3600" y="1328"/>
                    </a:lnTo>
                    <a:lnTo>
                      <a:pt x="3598" y="1330"/>
                    </a:lnTo>
                    <a:lnTo>
                      <a:pt x="3598" y="1330"/>
                    </a:lnTo>
                    <a:lnTo>
                      <a:pt x="3594" y="1334"/>
                    </a:lnTo>
                    <a:lnTo>
                      <a:pt x="3592" y="1336"/>
                    </a:lnTo>
                    <a:lnTo>
                      <a:pt x="3590" y="1344"/>
                    </a:lnTo>
                    <a:lnTo>
                      <a:pt x="3592" y="1352"/>
                    </a:lnTo>
                    <a:lnTo>
                      <a:pt x="3594" y="1358"/>
                    </a:lnTo>
                    <a:lnTo>
                      <a:pt x="3596" y="1362"/>
                    </a:lnTo>
                    <a:lnTo>
                      <a:pt x="3594" y="1366"/>
                    </a:lnTo>
                    <a:lnTo>
                      <a:pt x="3590" y="1364"/>
                    </a:lnTo>
                    <a:lnTo>
                      <a:pt x="3580" y="1358"/>
                    </a:lnTo>
                    <a:lnTo>
                      <a:pt x="3580" y="1358"/>
                    </a:lnTo>
                    <a:lnTo>
                      <a:pt x="3570" y="1354"/>
                    </a:lnTo>
                    <a:lnTo>
                      <a:pt x="3568" y="1354"/>
                    </a:lnTo>
                    <a:lnTo>
                      <a:pt x="3566" y="1356"/>
                    </a:lnTo>
                    <a:lnTo>
                      <a:pt x="3562" y="1362"/>
                    </a:lnTo>
                    <a:lnTo>
                      <a:pt x="3562" y="1370"/>
                    </a:lnTo>
                    <a:lnTo>
                      <a:pt x="3562" y="1376"/>
                    </a:lnTo>
                    <a:lnTo>
                      <a:pt x="3560" y="1382"/>
                    </a:lnTo>
                    <a:lnTo>
                      <a:pt x="3558" y="1384"/>
                    </a:lnTo>
                    <a:lnTo>
                      <a:pt x="3554" y="1384"/>
                    </a:lnTo>
                    <a:lnTo>
                      <a:pt x="3546" y="1380"/>
                    </a:lnTo>
                    <a:lnTo>
                      <a:pt x="3546" y="1380"/>
                    </a:lnTo>
                    <a:lnTo>
                      <a:pt x="3536" y="1372"/>
                    </a:lnTo>
                    <a:lnTo>
                      <a:pt x="3530" y="1366"/>
                    </a:lnTo>
                    <a:lnTo>
                      <a:pt x="3522" y="1352"/>
                    </a:lnTo>
                    <a:lnTo>
                      <a:pt x="3516" y="1342"/>
                    </a:lnTo>
                    <a:lnTo>
                      <a:pt x="3508" y="1332"/>
                    </a:lnTo>
                    <a:lnTo>
                      <a:pt x="3494" y="1316"/>
                    </a:lnTo>
                    <a:lnTo>
                      <a:pt x="3474" y="1298"/>
                    </a:lnTo>
                    <a:lnTo>
                      <a:pt x="3474" y="1298"/>
                    </a:lnTo>
                    <a:lnTo>
                      <a:pt x="3464" y="1286"/>
                    </a:lnTo>
                    <a:lnTo>
                      <a:pt x="3458" y="1276"/>
                    </a:lnTo>
                    <a:lnTo>
                      <a:pt x="3456" y="1266"/>
                    </a:lnTo>
                    <a:lnTo>
                      <a:pt x="3456" y="1254"/>
                    </a:lnTo>
                    <a:lnTo>
                      <a:pt x="3456" y="1234"/>
                    </a:lnTo>
                    <a:lnTo>
                      <a:pt x="3456" y="1222"/>
                    </a:lnTo>
                    <a:lnTo>
                      <a:pt x="3454" y="1210"/>
                    </a:lnTo>
                    <a:lnTo>
                      <a:pt x="3454" y="1210"/>
                    </a:lnTo>
                    <a:lnTo>
                      <a:pt x="3450" y="1194"/>
                    </a:lnTo>
                    <a:lnTo>
                      <a:pt x="3450" y="1182"/>
                    </a:lnTo>
                    <a:lnTo>
                      <a:pt x="3454" y="1172"/>
                    </a:lnTo>
                    <a:lnTo>
                      <a:pt x="3456" y="1162"/>
                    </a:lnTo>
                    <a:lnTo>
                      <a:pt x="3458" y="1154"/>
                    </a:lnTo>
                    <a:lnTo>
                      <a:pt x="3456" y="1148"/>
                    </a:lnTo>
                    <a:lnTo>
                      <a:pt x="3452" y="1142"/>
                    </a:lnTo>
                    <a:lnTo>
                      <a:pt x="3440" y="1138"/>
                    </a:lnTo>
                    <a:lnTo>
                      <a:pt x="3440" y="1138"/>
                    </a:lnTo>
                    <a:lnTo>
                      <a:pt x="3414" y="1134"/>
                    </a:lnTo>
                    <a:lnTo>
                      <a:pt x="3394" y="1130"/>
                    </a:lnTo>
                    <a:lnTo>
                      <a:pt x="3378" y="1130"/>
                    </a:lnTo>
                    <a:lnTo>
                      <a:pt x="3368" y="1130"/>
                    </a:lnTo>
                    <a:lnTo>
                      <a:pt x="3354" y="1132"/>
                    </a:lnTo>
                    <a:lnTo>
                      <a:pt x="3346" y="1132"/>
                    </a:lnTo>
                    <a:lnTo>
                      <a:pt x="3340" y="1130"/>
                    </a:lnTo>
                    <a:lnTo>
                      <a:pt x="3340" y="1130"/>
                    </a:lnTo>
                    <a:lnTo>
                      <a:pt x="3334" y="1128"/>
                    </a:lnTo>
                    <a:lnTo>
                      <a:pt x="3330" y="1124"/>
                    </a:lnTo>
                    <a:lnTo>
                      <a:pt x="3322" y="1116"/>
                    </a:lnTo>
                    <a:lnTo>
                      <a:pt x="3316" y="1110"/>
                    </a:lnTo>
                    <a:lnTo>
                      <a:pt x="3306" y="1104"/>
                    </a:lnTo>
                    <a:lnTo>
                      <a:pt x="3290" y="1098"/>
                    </a:lnTo>
                    <a:lnTo>
                      <a:pt x="3268" y="1092"/>
                    </a:lnTo>
                    <a:lnTo>
                      <a:pt x="3268" y="1092"/>
                    </a:lnTo>
                    <a:lnTo>
                      <a:pt x="3246" y="1084"/>
                    </a:lnTo>
                    <a:lnTo>
                      <a:pt x="3236" y="1078"/>
                    </a:lnTo>
                    <a:lnTo>
                      <a:pt x="3232" y="1072"/>
                    </a:lnTo>
                    <a:lnTo>
                      <a:pt x="3230" y="1066"/>
                    </a:lnTo>
                    <a:lnTo>
                      <a:pt x="3226" y="1058"/>
                    </a:lnTo>
                    <a:lnTo>
                      <a:pt x="3216" y="1048"/>
                    </a:lnTo>
                    <a:lnTo>
                      <a:pt x="3198" y="1036"/>
                    </a:lnTo>
                    <a:lnTo>
                      <a:pt x="3166" y="1022"/>
                    </a:lnTo>
                    <a:lnTo>
                      <a:pt x="3166" y="1022"/>
                    </a:lnTo>
                    <a:lnTo>
                      <a:pt x="3146" y="1016"/>
                    </a:lnTo>
                    <a:lnTo>
                      <a:pt x="3130" y="1012"/>
                    </a:lnTo>
                    <a:lnTo>
                      <a:pt x="3114" y="1010"/>
                    </a:lnTo>
                    <a:lnTo>
                      <a:pt x="3102" y="1010"/>
                    </a:lnTo>
                    <a:lnTo>
                      <a:pt x="3090" y="1012"/>
                    </a:lnTo>
                    <a:lnTo>
                      <a:pt x="3080" y="1014"/>
                    </a:lnTo>
                    <a:lnTo>
                      <a:pt x="3064" y="1020"/>
                    </a:lnTo>
                    <a:lnTo>
                      <a:pt x="3052" y="1026"/>
                    </a:lnTo>
                    <a:lnTo>
                      <a:pt x="3046" y="1028"/>
                    </a:lnTo>
                    <a:lnTo>
                      <a:pt x="3044" y="1026"/>
                    </a:lnTo>
                    <a:lnTo>
                      <a:pt x="3042" y="1022"/>
                    </a:lnTo>
                    <a:lnTo>
                      <a:pt x="3040" y="1008"/>
                    </a:lnTo>
                    <a:lnTo>
                      <a:pt x="3040" y="1008"/>
                    </a:lnTo>
                    <a:lnTo>
                      <a:pt x="3040" y="992"/>
                    </a:lnTo>
                    <a:lnTo>
                      <a:pt x="3038" y="978"/>
                    </a:lnTo>
                    <a:lnTo>
                      <a:pt x="3032" y="962"/>
                    </a:lnTo>
                    <a:lnTo>
                      <a:pt x="3026" y="948"/>
                    </a:lnTo>
                    <a:lnTo>
                      <a:pt x="3024" y="938"/>
                    </a:lnTo>
                    <a:lnTo>
                      <a:pt x="3020" y="928"/>
                    </a:lnTo>
                    <a:lnTo>
                      <a:pt x="3020" y="928"/>
                    </a:lnTo>
                    <a:lnTo>
                      <a:pt x="3018" y="922"/>
                    </a:lnTo>
                    <a:lnTo>
                      <a:pt x="3016" y="918"/>
                    </a:lnTo>
                    <a:lnTo>
                      <a:pt x="3012" y="914"/>
                    </a:lnTo>
                    <a:lnTo>
                      <a:pt x="3008" y="914"/>
                    </a:lnTo>
                    <a:lnTo>
                      <a:pt x="2998" y="912"/>
                    </a:lnTo>
                    <a:lnTo>
                      <a:pt x="2986" y="912"/>
                    </a:lnTo>
                    <a:lnTo>
                      <a:pt x="2974" y="910"/>
                    </a:lnTo>
                    <a:lnTo>
                      <a:pt x="2968" y="908"/>
                    </a:lnTo>
                    <a:lnTo>
                      <a:pt x="2962" y="904"/>
                    </a:lnTo>
                    <a:lnTo>
                      <a:pt x="2958" y="898"/>
                    </a:lnTo>
                    <a:lnTo>
                      <a:pt x="2954" y="890"/>
                    </a:lnTo>
                    <a:lnTo>
                      <a:pt x="2950" y="882"/>
                    </a:lnTo>
                    <a:lnTo>
                      <a:pt x="2948" y="868"/>
                    </a:lnTo>
                    <a:lnTo>
                      <a:pt x="2948" y="868"/>
                    </a:lnTo>
                    <a:lnTo>
                      <a:pt x="2948" y="854"/>
                    </a:lnTo>
                    <a:lnTo>
                      <a:pt x="2948" y="840"/>
                    </a:lnTo>
                    <a:lnTo>
                      <a:pt x="2952" y="824"/>
                    </a:lnTo>
                    <a:lnTo>
                      <a:pt x="2956" y="808"/>
                    </a:lnTo>
                    <a:lnTo>
                      <a:pt x="2968" y="778"/>
                    </a:lnTo>
                    <a:lnTo>
                      <a:pt x="2982" y="750"/>
                    </a:lnTo>
                    <a:lnTo>
                      <a:pt x="2998" y="724"/>
                    </a:lnTo>
                    <a:lnTo>
                      <a:pt x="3014" y="706"/>
                    </a:lnTo>
                    <a:lnTo>
                      <a:pt x="3026" y="692"/>
                    </a:lnTo>
                    <a:lnTo>
                      <a:pt x="3030" y="690"/>
                    </a:lnTo>
                    <a:lnTo>
                      <a:pt x="3034" y="690"/>
                    </a:lnTo>
                    <a:lnTo>
                      <a:pt x="3034" y="690"/>
                    </a:lnTo>
                    <a:lnTo>
                      <a:pt x="3038" y="688"/>
                    </a:lnTo>
                    <a:lnTo>
                      <a:pt x="3042" y="684"/>
                    </a:lnTo>
                    <a:lnTo>
                      <a:pt x="3044" y="670"/>
                    </a:lnTo>
                    <a:lnTo>
                      <a:pt x="3048" y="662"/>
                    </a:lnTo>
                    <a:lnTo>
                      <a:pt x="3052" y="654"/>
                    </a:lnTo>
                    <a:lnTo>
                      <a:pt x="3060" y="648"/>
                    </a:lnTo>
                    <a:lnTo>
                      <a:pt x="3070" y="646"/>
                    </a:lnTo>
                    <a:lnTo>
                      <a:pt x="3070" y="646"/>
                    </a:lnTo>
                    <a:lnTo>
                      <a:pt x="3096" y="644"/>
                    </a:lnTo>
                    <a:lnTo>
                      <a:pt x="3106" y="640"/>
                    </a:lnTo>
                    <a:lnTo>
                      <a:pt x="3116" y="636"/>
                    </a:lnTo>
                    <a:lnTo>
                      <a:pt x="3120" y="630"/>
                    </a:lnTo>
                    <a:lnTo>
                      <a:pt x="3120" y="624"/>
                    </a:lnTo>
                    <a:lnTo>
                      <a:pt x="3116" y="614"/>
                    </a:lnTo>
                    <a:lnTo>
                      <a:pt x="3106" y="604"/>
                    </a:lnTo>
                    <a:lnTo>
                      <a:pt x="3106" y="604"/>
                    </a:lnTo>
                    <a:lnTo>
                      <a:pt x="3098" y="596"/>
                    </a:lnTo>
                    <a:lnTo>
                      <a:pt x="3098" y="594"/>
                    </a:lnTo>
                    <a:lnTo>
                      <a:pt x="3098" y="592"/>
                    </a:lnTo>
                    <a:lnTo>
                      <a:pt x="3104" y="590"/>
                    </a:lnTo>
                    <a:lnTo>
                      <a:pt x="3112" y="590"/>
                    </a:lnTo>
                    <a:lnTo>
                      <a:pt x="3124" y="590"/>
                    </a:lnTo>
                    <a:lnTo>
                      <a:pt x="3136" y="586"/>
                    </a:lnTo>
                    <a:lnTo>
                      <a:pt x="3140" y="584"/>
                    </a:lnTo>
                    <a:lnTo>
                      <a:pt x="3144" y="580"/>
                    </a:lnTo>
                    <a:lnTo>
                      <a:pt x="3148" y="576"/>
                    </a:lnTo>
                    <a:lnTo>
                      <a:pt x="3150" y="568"/>
                    </a:lnTo>
                    <a:lnTo>
                      <a:pt x="3150" y="568"/>
                    </a:lnTo>
                    <a:lnTo>
                      <a:pt x="3152" y="562"/>
                    </a:lnTo>
                    <a:lnTo>
                      <a:pt x="3154" y="558"/>
                    </a:lnTo>
                    <a:lnTo>
                      <a:pt x="3156" y="556"/>
                    </a:lnTo>
                    <a:lnTo>
                      <a:pt x="3158" y="556"/>
                    </a:lnTo>
                    <a:lnTo>
                      <a:pt x="3166" y="560"/>
                    </a:lnTo>
                    <a:lnTo>
                      <a:pt x="3176" y="566"/>
                    </a:lnTo>
                    <a:lnTo>
                      <a:pt x="3188" y="570"/>
                    </a:lnTo>
                    <a:lnTo>
                      <a:pt x="3194" y="572"/>
                    </a:lnTo>
                    <a:lnTo>
                      <a:pt x="3200" y="570"/>
                    </a:lnTo>
                    <a:lnTo>
                      <a:pt x="3206" y="568"/>
                    </a:lnTo>
                    <a:lnTo>
                      <a:pt x="3214" y="562"/>
                    </a:lnTo>
                    <a:lnTo>
                      <a:pt x="3220" y="554"/>
                    </a:lnTo>
                    <a:lnTo>
                      <a:pt x="3228" y="542"/>
                    </a:lnTo>
                    <a:lnTo>
                      <a:pt x="3228" y="542"/>
                    </a:lnTo>
                    <a:lnTo>
                      <a:pt x="3242" y="520"/>
                    </a:lnTo>
                    <a:lnTo>
                      <a:pt x="3252" y="506"/>
                    </a:lnTo>
                    <a:lnTo>
                      <a:pt x="3258" y="496"/>
                    </a:lnTo>
                    <a:lnTo>
                      <a:pt x="3260" y="492"/>
                    </a:lnTo>
                    <a:lnTo>
                      <a:pt x="3258" y="490"/>
                    </a:lnTo>
                    <a:lnTo>
                      <a:pt x="3256" y="488"/>
                    </a:lnTo>
                    <a:lnTo>
                      <a:pt x="3244" y="486"/>
                    </a:lnTo>
                    <a:lnTo>
                      <a:pt x="3228" y="484"/>
                    </a:lnTo>
                    <a:lnTo>
                      <a:pt x="3204" y="478"/>
                    </a:lnTo>
                    <a:lnTo>
                      <a:pt x="3204" y="478"/>
                    </a:lnTo>
                    <a:lnTo>
                      <a:pt x="3186" y="474"/>
                    </a:lnTo>
                    <a:lnTo>
                      <a:pt x="3176" y="470"/>
                    </a:lnTo>
                    <a:lnTo>
                      <a:pt x="3170" y="464"/>
                    </a:lnTo>
                    <a:lnTo>
                      <a:pt x="3164" y="460"/>
                    </a:lnTo>
                    <a:lnTo>
                      <a:pt x="3154" y="450"/>
                    </a:lnTo>
                    <a:lnTo>
                      <a:pt x="3144" y="444"/>
                    </a:lnTo>
                    <a:lnTo>
                      <a:pt x="3132" y="438"/>
                    </a:lnTo>
                    <a:lnTo>
                      <a:pt x="3132" y="438"/>
                    </a:lnTo>
                    <a:lnTo>
                      <a:pt x="3140" y="438"/>
                    </a:lnTo>
                    <a:lnTo>
                      <a:pt x="3148" y="438"/>
                    </a:lnTo>
                    <a:lnTo>
                      <a:pt x="3158" y="440"/>
                    </a:lnTo>
                    <a:lnTo>
                      <a:pt x="3166" y="442"/>
                    </a:lnTo>
                    <a:lnTo>
                      <a:pt x="3184" y="452"/>
                    </a:lnTo>
                    <a:lnTo>
                      <a:pt x="3202" y="462"/>
                    </a:lnTo>
                    <a:lnTo>
                      <a:pt x="3220" y="470"/>
                    </a:lnTo>
                    <a:lnTo>
                      <a:pt x="3230" y="472"/>
                    </a:lnTo>
                    <a:lnTo>
                      <a:pt x="3238" y="474"/>
                    </a:lnTo>
                    <a:lnTo>
                      <a:pt x="3246" y="474"/>
                    </a:lnTo>
                    <a:lnTo>
                      <a:pt x="3254" y="472"/>
                    </a:lnTo>
                    <a:lnTo>
                      <a:pt x="3262" y="466"/>
                    </a:lnTo>
                    <a:lnTo>
                      <a:pt x="3270" y="460"/>
                    </a:lnTo>
                    <a:lnTo>
                      <a:pt x="3270" y="460"/>
                    </a:lnTo>
                    <a:lnTo>
                      <a:pt x="3296" y="434"/>
                    </a:lnTo>
                    <a:lnTo>
                      <a:pt x="3302" y="426"/>
                    </a:lnTo>
                    <a:lnTo>
                      <a:pt x="3304" y="420"/>
                    </a:lnTo>
                    <a:lnTo>
                      <a:pt x="3304" y="416"/>
                    </a:lnTo>
                    <a:lnTo>
                      <a:pt x="3298" y="412"/>
                    </a:lnTo>
                    <a:lnTo>
                      <a:pt x="3278" y="402"/>
                    </a:lnTo>
                    <a:lnTo>
                      <a:pt x="3278" y="402"/>
                    </a:lnTo>
                    <a:lnTo>
                      <a:pt x="3270" y="394"/>
                    </a:lnTo>
                    <a:lnTo>
                      <a:pt x="3270" y="392"/>
                    </a:lnTo>
                    <a:lnTo>
                      <a:pt x="3270" y="390"/>
                    </a:lnTo>
                    <a:lnTo>
                      <a:pt x="3278" y="388"/>
                    </a:lnTo>
                    <a:lnTo>
                      <a:pt x="3288" y="388"/>
                    </a:lnTo>
                    <a:lnTo>
                      <a:pt x="3302" y="388"/>
                    </a:lnTo>
                    <a:lnTo>
                      <a:pt x="3316" y="390"/>
                    </a:lnTo>
                    <a:lnTo>
                      <a:pt x="3328" y="394"/>
                    </a:lnTo>
                    <a:lnTo>
                      <a:pt x="3336" y="400"/>
                    </a:lnTo>
                    <a:lnTo>
                      <a:pt x="3336" y="400"/>
                    </a:lnTo>
                    <a:lnTo>
                      <a:pt x="3346" y="410"/>
                    </a:lnTo>
                    <a:lnTo>
                      <a:pt x="3356" y="418"/>
                    </a:lnTo>
                    <a:lnTo>
                      <a:pt x="3366" y="426"/>
                    </a:lnTo>
                    <a:lnTo>
                      <a:pt x="3374" y="438"/>
                    </a:lnTo>
                    <a:lnTo>
                      <a:pt x="3374" y="438"/>
                    </a:lnTo>
                    <a:lnTo>
                      <a:pt x="3380" y="448"/>
                    </a:lnTo>
                    <a:lnTo>
                      <a:pt x="3388" y="452"/>
                    </a:lnTo>
                    <a:lnTo>
                      <a:pt x="3398" y="454"/>
                    </a:lnTo>
                    <a:lnTo>
                      <a:pt x="3410" y="452"/>
                    </a:lnTo>
                    <a:lnTo>
                      <a:pt x="3410" y="452"/>
                    </a:lnTo>
                    <a:lnTo>
                      <a:pt x="3412" y="450"/>
                    </a:lnTo>
                    <a:lnTo>
                      <a:pt x="3414" y="448"/>
                    </a:lnTo>
                    <a:lnTo>
                      <a:pt x="3412" y="444"/>
                    </a:lnTo>
                    <a:lnTo>
                      <a:pt x="3398" y="436"/>
                    </a:lnTo>
                    <a:lnTo>
                      <a:pt x="3392" y="432"/>
                    </a:lnTo>
                    <a:lnTo>
                      <a:pt x="3386" y="426"/>
                    </a:lnTo>
                    <a:lnTo>
                      <a:pt x="3384" y="424"/>
                    </a:lnTo>
                    <a:lnTo>
                      <a:pt x="3384" y="422"/>
                    </a:lnTo>
                    <a:lnTo>
                      <a:pt x="3386" y="418"/>
                    </a:lnTo>
                    <a:lnTo>
                      <a:pt x="3390" y="416"/>
                    </a:lnTo>
                    <a:lnTo>
                      <a:pt x="3390" y="416"/>
                    </a:lnTo>
                    <a:lnTo>
                      <a:pt x="3398" y="412"/>
                    </a:lnTo>
                    <a:lnTo>
                      <a:pt x="3404" y="406"/>
                    </a:lnTo>
                    <a:lnTo>
                      <a:pt x="3414" y="396"/>
                    </a:lnTo>
                    <a:lnTo>
                      <a:pt x="3426" y="388"/>
                    </a:lnTo>
                    <a:lnTo>
                      <a:pt x="3432" y="386"/>
                    </a:lnTo>
                    <a:lnTo>
                      <a:pt x="3438" y="386"/>
                    </a:lnTo>
                    <a:lnTo>
                      <a:pt x="3438" y="386"/>
                    </a:lnTo>
                    <a:lnTo>
                      <a:pt x="3444" y="386"/>
                    </a:lnTo>
                    <a:lnTo>
                      <a:pt x="3450" y="384"/>
                    </a:lnTo>
                    <a:lnTo>
                      <a:pt x="3456" y="380"/>
                    </a:lnTo>
                    <a:lnTo>
                      <a:pt x="3460" y="374"/>
                    </a:lnTo>
                    <a:lnTo>
                      <a:pt x="3468" y="364"/>
                    </a:lnTo>
                    <a:lnTo>
                      <a:pt x="3474" y="360"/>
                    </a:lnTo>
                    <a:lnTo>
                      <a:pt x="3478" y="360"/>
                    </a:lnTo>
                    <a:lnTo>
                      <a:pt x="3478" y="360"/>
                    </a:lnTo>
                    <a:lnTo>
                      <a:pt x="3484" y="358"/>
                    </a:lnTo>
                    <a:lnTo>
                      <a:pt x="3490" y="354"/>
                    </a:lnTo>
                    <a:lnTo>
                      <a:pt x="3492" y="348"/>
                    </a:lnTo>
                    <a:lnTo>
                      <a:pt x="3494" y="342"/>
                    </a:lnTo>
                    <a:lnTo>
                      <a:pt x="3492" y="334"/>
                    </a:lnTo>
                    <a:lnTo>
                      <a:pt x="3488" y="324"/>
                    </a:lnTo>
                    <a:lnTo>
                      <a:pt x="3482" y="316"/>
                    </a:lnTo>
                    <a:lnTo>
                      <a:pt x="3472" y="306"/>
                    </a:lnTo>
                    <a:lnTo>
                      <a:pt x="3472" y="306"/>
                    </a:lnTo>
                    <a:lnTo>
                      <a:pt x="3464" y="298"/>
                    </a:lnTo>
                    <a:lnTo>
                      <a:pt x="3460" y="292"/>
                    </a:lnTo>
                    <a:lnTo>
                      <a:pt x="3460" y="288"/>
                    </a:lnTo>
                    <a:lnTo>
                      <a:pt x="3462" y="284"/>
                    </a:lnTo>
                    <a:lnTo>
                      <a:pt x="3464" y="282"/>
                    </a:lnTo>
                    <a:lnTo>
                      <a:pt x="3466" y="278"/>
                    </a:lnTo>
                    <a:lnTo>
                      <a:pt x="3464" y="272"/>
                    </a:lnTo>
                    <a:lnTo>
                      <a:pt x="3458" y="266"/>
                    </a:lnTo>
                    <a:lnTo>
                      <a:pt x="3458" y="266"/>
                    </a:lnTo>
                    <a:lnTo>
                      <a:pt x="3452" y="260"/>
                    </a:lnTo>
                    <a:lnTo>
                      <a:pt x="3452" y="258"/>
                    </a:lnTo>
                    <a:lnTo>
                      <a:pt x="3452" y="258"/>
                    </a:lnTo>
                    <a:lnTo>
                      <a:pt x="3458" y="256"/>
                    </a:lnTo>
                    <a:lnTo>
                      <a:pt x="3466" y="256"/>
                    </a:lnTo>
                    <a:lnTo>
                      <a:pt x="3476" y="256"/>
                    </a:lnTo>
                    <a:lnTo>
                      <a:pt x="3484" y="254"/>
                    </a:lnTo>
                    <a:lnTo>
                      <a:pt x="3492" y="250"/>
                    </a:lnTo>
                    <a:lnTo>
                      <a:pt x="3494" y="248"/>
                    </a:lnTo>
                    <a:lnTo>
                      <a:pt x="3496" y="242"/>
                    </a:lnTo>
                    <a:lnTo>
                      <a:pt x="3496" y="242"/>
                    </a:lnTo>
                    <a:lnTo>
                      <a:pt x="3498" y="234"/>
                    </a:lnTo>
                    <a:lnTo>
                      <a:pt x="3496" y="230"/>
                    </a:lnTo>
                    <a:lnTo>
                      <a:pt x="3492" y="228"/>
                    </a:lnTo>
                    <a:lnTo>
                      <a:pt x="3488" y="226"/>
                    </a:lnTo>
                    <a:lnTo>
                      <a:pt x="3486" y="224"/>
                    </a:lnTo>
                    <a:lnTo>
                      <a:pt x="3484" y="222"/>
                    </a:lnTo>
                    <a:lnTo>
                      <a:pt x="3484" y="220"/>
                    </a:lnTo>
                    <a:lnTo>
                      <a:pt x="3490" y="214"/>
                    </a:lnTo>
                    <a:lnTo>
                      <a:pt x="3490" y="214"/>
                    </a:lnTo>
                    <a:lnTo>
                      <a:pt x="3492" y="206"/>
                    </a:lnTo>
                    <a:lnTo>
                      <a:pt x="3492" y="204"/>
                    </a:lnTo>
                    <a:lnTo>
                      <a:pt x="3486" y="202"/>
                    </a:lnTo>
                    <a:lnTo>
                      <a:pt x="3480" y="200"/>
                    </a:lnTo>
                    <a:lnTo>
                      <a:pt x="3472" y="198"/>
                    </a:lnTo>
                    <a:lnTo>
                      <a:pt x="3464" y="196"/>
                    </a:lnTo>
                    <a:lnTo>
                      <a:pt x="3458" y="192"/>
                    </a:lnTo>
                    <a:lnTo>
                      <a:pt x="3454" y="182"/>
                    </a:lnTo>
                    <a:lnTo>
                      <a:pt x="3454" y="182"/>
                    </a:lnTo>
                    <a:lnTo>
                      <a:pt x="3452" y="174"/>
                    </a:lnTo>
                    <a:lnTo>
                      <a:pt x="3446" y="170"/>
                    </a:lnTo>
                    <a:lnTo>
                      <a:pt x="3438" y="168"/>
                    </a:lnTo>
                    <a:lnTo>
                      <a:pt x="3428" y="168"/>
                    </a:lnTo>
                    <a:lnTo>
                      <a:pt x="3404" y="166"/>
                    </a:lnTo>
                    <a:lnTo>
                      <a:pt x="3392" y="164"/>
                    </a:lnTo>
                    <a:lnTo>
                      <a:pt x="3378" y="160"/>
                    </a:lnTo>
                    <a:lnTo>
                      <a:pt x="3378" y="160"/>
                    </a:lnTo>
                    <a:lnTo>
                      <a:pt x="3360" y="152"/>
                    </a:lnTo>
                    <a:lnTo>
                      <a:pt x="3356" y="152"/>
                    </a:lnTo>
                    <a:lnTo>
                      <a:pt x="3354" y="152"/>
                    </a:lnTo>
                    <a:lnTo>
                      <a:pt x="3348" y="156"/>
                    </a:lnTo>
                    <a:lnTo>
                      <a:pt x="3344" y="158"/>
                    </a:lnTo>
                    <a:lnTo>
                      <a:pt x="3334" y="158"/>
                    </a:lnTo>
                    <a:lnTo>
                      <a:pt x="3334" y="158"/>
                    </a:lnTo>
                    <a:lnTo>
                      <a:pt x="3326" y="160"/>
                    </a:lnTo>
                    <a:lnTo>
                      <a:pt x="3320" y="164"/>
                    </a:lnTo>
                    <a:lnTo>
                      <a:pt x="3318" y="172"/>
                    </a:lnTo>
                    <a:lnTo>
                      <a:pt x="3318" y="180"/>
                    </a:lnTo>
                    <a:lnTo>
                      <a:pt x="3322" y="190"/>
                    </a:lnTo>
                    <a:lnTo>
                      <a:pt x="3326" y="198"/>
                    </a:lnTo>
                    <a:lnTo>
                      <a:pt x="3330" y="206"/>
                    </a:lnTo>
                    <a:lnTo>
                      <a:pt x="3338" y="210"/>
                    </a:lnTo>
                    <a:lnTo>
                      <a:pt x="3338" y="210"/>
                    </a:lnTo>
                    <a:lnTo>
                      <a:pt x="3342" y="212"/>
                    </a:lnTo>
                    <a:lnTo>
                      <a:pt x="3346" y="216"/>
                    </a:lnTo>
                    <a:lnTo>
                      <a:pt x="3346" y="222"/>
                    </a:lnTo>
                    <a:lnTo>
                      <a:pt x="3344" y="226"/>
                    </a:lnTo>
                    <a:lnTo>
                      <a:pt x="3342" y="230"/>
                    </a:lnTo>
                    <a:lnTo>
                      <a:pt x="3338" y="232"/>
                    </a:lnTo>
                    <a:lnTo>
                      <a:pt x="3332" y="234"/>
                    </a:lnTo>
                    <a:lnTo>
                      <a:pt x="3326" y="234"/>
                    </a:lnTo>
                    <a:lnTo>
                      <a:pt x="3326" y="234"/>
                    </a:lnTo>
                    <a:lnTo>
                      <a:pt x="3322" y="236"/>
                    </a:lnTo>
                    <a:lnTo>
                      <a:pt x="3320" y="240"/>
                    </a:lnTo>
                    <a:lnTo>
                      <a:pt x="3318" y="256"/>
                    </a:lnTo>
                    <a:lnTo>
                      <a:pt x="3318" y="266"/>
                    </a:lnTo>
                    <a:lnTo>
                      <a:pt x="3316" y="278"/>
                    </a:lnTo>
                    <a:lnTo>
                      <a:pt x="3310" y="288"/>
                    </a:lnTo>
                    <a:lnTo>
                      <a:pt x="3300" y="296"/>
                    </a:lnTo>
                    <a:lnTo>
                      <a:pt x="3300" y="296"/>
                    </a:lnTo>
                    <a:lnTo>
                      <a:pt x="3292" y="302"/>
                    </a:lnTo>
                    <a:lnTo>
                      <a:pt x="3286" y="310"/>
                    </a:lnTo>
                    <a:lnTo>
                      <a:pt x="3284" y="316"/>
                    </a:lnTo>
                    <a:lnTo>
                      <a:pt x="3282" y="322"/>
                    </a:lnTo>
                    <a:lnTo>
                      <a:pt x="3280" y="328"/>
                    </a:lnTo>
                    <a:lnTo>
                      <a:pt x="3278" y="332"/>
                    </a:lnTo>
                    <a:lnTo>
                      <a:pt x="3274" y="338"/>
                    </a:lnTo>
                    <a:lnTo>
                      <a:pt x="3264" y="342"/>
                    </a:lnTo>
                    <a:lnTo>
                      <a:pt x="3264" y="342"/>
                    </a:lnTo>
                    <a:lnTo>
                      <a:pt x="3250" y="344"/>
                    </a:lnTo>
                    <a:lnTo>
                      <a:pt x="3246" y="344"/>
                    </a:lnTo>
                    <a:lnTo>
                      <a:pt x="3244" y="340"/>
                    </a:lnTo>
                    <a:lnTo>
                      <a:pt x="3238" y="330"/>
                    </a:lnTo>
                    <a:lnTo>
                      <a:pt x="3232" y="322"/>
                    </a:lnTo>
                    <a:lnTo>
                      <a:pt x="3222" y="312"/>
                    </a:lnTo>
                    <a:lnTo>
                      <a:pt x="3222" y="312"/>
                    </a:lnTo>
                    <a:lnTo>
                      <a:pt x="3214" y="304"/>
                    </a:lnTo>
                    <a:lnTo>
                      <a:pt x="3210" y="298"/>
                    </a:lnTo>
                    <a:lnTo>
                      <a:pt x="3212" y="292"/>
                    </a:lnTo>
                    <a:lnTo>
                      <a:pt x="3216" y="288"/>
                    </a:lnTo>
                    <a:lnTo>
                      <a:pt x="3226" y="280"/>
                    </a:lnTo>
                    <a:lnTo>
                      <a:pt x="3232" y="276"/>
                    </a:lnTo>
                    <a:lnTo>
                      <a:pt x="3234" y="270"/>
                    </a:lnTo>
                    <a:lnTo>
                      <a:pt x="3234" y="270"/>
                    </a:lnTo>
                    <a:lnTo>
                      <a:pt x="3232" y="260"/>
                    </a:lnTo>
                    <a:lnTo>
                      <a:pt x="3228" y="248"/>
                    </a:lnTo>
                    <a:lnTo>
                      <a:pt x="3220" y="234"/>
                    </a:lnTo>
                    <a:lnTo>
                      <a:pt x="3212" y="220"/>
                    </a:lnTo>
                    <a:lnTo>
                      <a:pt x="3200" y="210"/>
                    </a:lnTo>
                    <a:lnTo>
                      <a:pt x="3190" y="202"/>
                    </a:lnTo>
                    <a:lnTo>
                      <a:pt x="3184" y="200"/>
                    </a:lnTo>
                    <a:lnTo>
                      <a:pt x="3178" y="200"/>
                    </a:lnTo>
                    <a:lnTo>
                      <a:pt x="3172" y="202"/>
                    </a:lnTo>
                    <a:lnTo>
                      <a:pt x="3168" y="206"/>
                    </a:lnTo>
                    <a:lnTo>
                      <a:pt x="3168" y="206"/>
                    </a:lnTo>
                    <a:lnTo>
                      <a:pt x="3158" y="216"/>
                    </a:lnTo>
                    <a:lnTo>
                      <a:pt x="3154" y="230"/>
                    </a:lnTo>
                    <a:lnTo>
                      <a:pt x="3148" y="254"/>
                    </a:lnTo>
                    <a:lnTo>
                      <a:pt x="3146" y="262"/>
                    </a:lnTo>
                    <a:lnTo>
                      <a:pt x="3142" y="268"/>
                    </a:lnTo>
                    <a:lnTo>
                      <a:pt x="3140" y="268"/>
                    </a:lnTo>
                    <a:lnTo>
                      <a:pt x="3138" y="268"/>
                    </a:lnTo>
                    <a:lnTo>
                      <a:pt x="3130" y="260"/>
                    </a:lnTo>
                    <a:lnTo>
                      <a:pt x="3130" y="260"/>
                    </a:lnTo>
                    <a:lnTo>
                      <a:pt x="3124" y="252"/>
                    </a:lnTo>
                    <a:lnTo>
                      <a:pt x="3122" y="246"/>
                    </a:lnTo>
                    <a:lnTo>
                      <a:pt x="3122" y="242"/>
                    </a:lnTo>
                    <a:lnTo>
                      <a:pt x="3124" y="238"/>
                    </a:lnTo>
                    <a:lnTo>
                      <a:pt x="3126" y="236"/>
                    </a:lnTo>
                    <a:lnTo>
                      <a:pt x="3128" y="232"/>
                    </a:lnTo>
                    <a:lnTo>
                      <a:pt x="3124" y="226"/>
                    </a:lnTo>
                    <a:lnTo>
                      <a:pt x="3118" y="216"/>
                    </a:lnTo>
                    <a:lnTo>
                      <a:pt x="3118" y="216"/>
                    </a:lnTo>
                    <a:lnTo>
                      <a:pt x="3112" y="208"/>
                    </a:lnTo>
                    <a:lnTo>
                      <a:pt x="3110" y="204"/>
                    </a:lnTo>
                    <a:lnTo>
                      <a:pt x="3110" y="202"/>
                    </a:lnTo>
                    <a:lnTo>
                      <a:pt x="3114" y="198"/>
                    </a:lnTo>
                    <a:lnTo>
                      <a:pt x="3120" y="194"/>
                    </a:lnTo>
                    <a:lnTo>
                      <a:pt x="3126" y="192"/>
                    </a:lnTo>
                    <a:lnTo>
                      <a:pt x="3128" y="190"/>
                    </a:lnTo>
                    <a:lnTo>
                      <a:pt x="3126" y="186"/>
                    </a:lnTo>
                    <a:lnTo>
                      <a:pt x="3116" y="180"/>
                    </a:lnTo>
                    <a:lnTo>
                      <a:pt x="3116" y="180"/>
                    </a:lnTo>
                    <a:lnTo>
                      <a:pt x="3104" y="174"/>
                    </a:lnTo>
                    <a:lnTo>
                      <a:pt x="3094" y="172"/>
                    </a:lnTo>
                    <a:lnTo>
                      <a:pt x="3088" y="172"/>
                    </a:lnTo>
                    <a:lnTo>
                      <a:pt x="3082" y="174"/>
                    </a:lnTo>
                    <a:lnTo>
                      <a:pt x="3076" y="176"/>
                    </a:lnTo>
                    <a:lnTo>
                      <a:pt x="3070" y="178"/>
                    </a:lnTo>
                    <a:lnTo>
                      <a:pt x="3064" y="176"/>
                    </a:lnTo>
                    <a:lnTo>
                      <a:pt x="3054" y="172"/>
                    </a:lnTo>
                    <a:lnTo>
                      <a:pt x="3054" y="172"/>
                    </a:lnTo>
                    <a:lnTo>
                      <a:pt x="3050" y="170"/>
                    </a:lnTo>
                    <a:lnTo>
                      <a:pt x="3048" y="168"/>
                    </a:lnTo>
                    <a:lnTo>
                      <a:pt x="3048" y="164"/>
                    </a:lnTo>
                    <a:lnTo>
                      <a:pt x="3048" y="162"/>
                    </a:lnTo>
                    <a:lnTo>
                      <a:pt x="3054" y="154"/>
                    </a:lnTo>
                    <a:lnTo>
                      <a:pt x="3062" y="148"/>
                    </a:lnTo>
                    <a:lnTo>
                      <a:pt x="3076" y="134"/>
                    </a:lnTo>
                    <a:lnTo>
                      <a:pt x="3080" y="130"/>
                    </a:lnTo>
                    <a:lnTo>
                      <a:pt x="3080" y="126"/>
                    </a:lnTo>
                    <a:lnTo>
                      <a:pt x="3078" y="124"/>
                    </a:lnTo>
                    <a:lnTo>
                      <a:pt x="3078" y="124"/>
                    </a:lnTo>
                    <a:lnTo>
                      <a:pt x="3064" y="114"/>
                    </a:lnTo>
                    <a:lnTo>
                      <a:pt x="3046" y="102"/>
                    </a:lnTo>
                    <a:lnTo>
                      <a:pt x="3038" y="94"/>
                    </a:lnTo>
                    <a:lnTo>
                      <a:pt x="3032" y="86"/>
                    </a:lnTo>
                    <a:lnTo>
                      <a:pt x="3028" y="78"/>
                    </a:lnTo>
                    <a:lnTo>
                      <a:pt x="3026" y="66"/>
                    </a:lnTo>
                    <a:lnTo>
                      <a:pt x="3026" y="66"/>
                    </a:lnTo>
                    <a:lnTo>
                      <a:pt x="3026" y="62"/>
                    </a:lnTo>
                    <a:lnTo>
                      <a:pt x="3026" y="56"/>
                    </a:lnTo>
                    <a:lnTo>
                      <a:pt x="3020" y="44"/>
                    </a:lnTo>
                    <a:lnTo>
                      <a:pt x="3010" y="34"/>
                    </a:lnTo>
                    <a:lnTo>
                      <a:pt x="2998" y="24"/>
                    </a:lnTo>
                    <a:lnTo>
                      <a:pt x="2986" y="14"/>
                    </a:lnTo>
                    <a:lnTo>
                      <a:pt x="2972" y="8"/>
                    </a:lnTo>
                    <a:lnTo>
                      <a:pt x="2960" y="2"/>
                    </a:lnTo>
                    <a:lnTo>
                      <a:pt x="2948" y="0"/>
                    </a:lnTo>
                    <a:lnTo>
                      <a:pt x="2948" y="0"/>
                    </a:lnTo>
                    <a:lnTo>
                      <a:pt x="2940" y="0"/>
                    </a:lnTo>
                    <a:lnTo>
                      <a:pt x="2936" y="2"/>
                    </a:lnTo>
                    <a:lnTo>
                      <a:pt x="2934" y="4"/>
                    </a:lnTo>
                    <a:lnTo>
                      <a:pt x="2932" y="8"/>
                    </a:lnTo>
                    <a:lnTo>
                      <a:pt x="2932" y="12"/>
                    </a:lnTo>
                    <a:lnTo>
                      <a:pt x="2928" y="16"/>
                    </a:lnTo>
                    <a:lnTo>
                      <a:pt x="2924" y="20"/>
                    </a:lnTo>
                    <a:lnTo>
                      <a:pt x="2916" y="22"/>
                    </a:lnTo>
                    <a:lnTo>
                      <a:pt x="2916" y="22"/>
                    </a:lnTo>
                    <a:lnTo>
                      <a:pt x="2908" y="26"/>
                    </a:lnTo>
                    <a:lnTo>
                      <a:pt x="2904" y="28"/>
                    </a:lnTo>
                    <a:lnTo>
                      <a:pt x="2902" y="30"/>
                    </a:lnTo>
                    <a:lnTo>
                      <a:pt x="2902" y="34"/>
                    </a:lnTo>
                    <a:lnTo>
                      <a:pt x="2902" y="38"/>
                    </a:lnTo>
                    <a:lnTo>
                      <a:pt x="2900" y="42"/>
                    </a:lnTo>
                    <a:lnTo>
                      <a:pt x="2894" y="46"/>
                    </a:lnTo>
                    <a:lnTo>
                      <a:pt x="2886" y="50"/>
                    </a:lnTo>
                    <a:lnTo>
                      <a:pt x="2886" y="50"/>
                    </a:lnTo>
                    <a:lnTo>
                      <a:pt x="2878" y="56"/>
                    </a:lnTo>
                    <a:lnTo>
                      <a:pt x="2876" y="62"/>
                    </a:lnTo>
                    <a:lnTo>
                      <a:pt x="2876" y="70"/>
                    </a:lnTo>
                    <a:lnTo>
                      <a:pt x="2878" y="80"/>
                    </a:lnTo>
                    <a:lnTo>
                      <a:pt x="2886" y="98"/>
                    </a:lnTo>
                    <a:lnTo>
                      <a:pt x="2888" y="106"/>
                    </a:lnTo>
                    <a:lnTo>
                      <a:pt x="2886" y="114"/>
                    </a:lnTo>
                    <a:lnTo>
                      <a:pt x="2886" y="114"/>
                    </a:lnTo>
                    <a:lnTo>
                      <a:pt x="2884" y="128"/>
                    </a:lnTo>
                    <a:lnTo>
                      <a:pt x="2884" y="136"/>
                    </a:lnTo>
                    <a:lnTo>
                      <a:pt x="2886" y="142"/>
                    </a:lnTo>
                    <a:lnTo>
                      <a:pt x="2890" y="150"/>
                    </a:lnTo>
                    <a:lnTo>
                      <a:pt x="2898" y="156"/>
                    </a:lnTo>
                    <a:lnTo>
                      <a:pt x="2910" y="162"/>
                    </a:lnTo>
                    <a:lnTo>
                      <a:pt x="2924" y="168"/>
                    </a:lnTo>
                    <a:lnTo>
                      <a:pt x="2924" y="168"/>
                    </a:lnTo>
                    <a:lnTo>
                      <a:pt x="2940" y="172"/>
                    </a:lnTo>
                    <a:lnTo>
                      <a:pt x="2954" y="180"/>
                    </a:lnTo>
                    <a:lnTo>
                      <a:pt x="2964" y="186"/>
                    </a:lnTo>
                    <a:lnTo>
                      <a:pt x="2970" y="194"/>
                    </a:lnTo>
                    <a:lnTo>
                      <a:pt x="2974" y="202"/>
                    </a:lnTo>
                    <a:lnTo>
                      <a:pt x="2974" y="208"/>
                    </a:lnTo>
                    <a:lnTo>
                      <a:pt x="2972" y="214"/>
                    </a:lnTo>
                    <a:lnTo>
                      <a:pt x="2966" y="218"/>
                    </a:lnTo>
                    <a:lnTo>
                      <a:pt x="2966" y="218"/>
                    </a:lnTo>
                    <a:lnTo>
                      <a:pt x="2958" y="222"/>
                    </a:lnTo>
                    <a:lnTo>
                      <a:pt x="2954" y="226"/>
                    </a:lnTo>
                    <a:lnTo>
                      <a:pt x="2954" y="232"/>
                    </a:lnTo>
                    <a:lnTo>
                      <a:pt x="2956" y="234"/>
                    </a:lnTo>
                    <a:lnTo>
                      <a:pt x="2960" y="238"/>
                    </a:lnTo>
                    <a:lnTo>
                      <a:pt x="2966" y="238"/>
                    </a:lnTo>
                    <a:lnTo>
                      <a:pt x="2972" y="236"/>
                    </a:lnTo>
                    <a:lnTo>
                      <a:pt x="2980" y="234"/>
                    </a:lnTo>
                    <a:lnTo>
                      <a:pt x="2980" y="234"/>
                    </a:lnTo>
                    <a:lnTo>
                      <a:pt x="2986" y="230"/>
                    </a:lnTo>
                    <a:lnTo>
                      <a:pt x="2992" y="230"/>
                    </a:lnTo>
                    <a:lnTo>
                      <a:pt x="2996" y="232"/>
                    </a:lnTo>
                    <a:lnTo>
                      <a:pt x="2996" y="238"/>
                    </a:lnTo>
                    <a:lnTo>
                      <a:pt x="2994" y="246"/>
                    </a:lnTo>
                    <a:lnTo>
                      <a:pt x="2988" y="254"/>
                    </a:lnTo>
                    <a:lnTo>
                      <a:pt x="2980" y="262"/>
                    </a:lnTo>
                    <a:lnTo>
                      <a:pt x="2968" y="272"/>
                    </a:lnTo>
                    <a:lnTo>
                      <a:pt x="2968" y="272"/>
                    </a:lnTo>
                    <a:lnTo>
                      <a:pt x="2956" y="280"/>
                    </a:lnTo>
                    <a:lnTo>
                      <a:pt x="2946" y="282"/>
                    </a:lnTo>
                    <a:lnTo>
                      <a:pt x="2940" y="284"/>
                    </a:lnTo>
                    <a:lnTo>
                      <a:pt x="2934" y="282"/>
                    </a:lnTo>
                    <a:lnTo>
                      <a:pt x="2930" y="280"/>
                    </a:lnTo>
                    <a:lnTo>
                      <a:pt x="2928" y="282"/>
                    </a:lnTo>
                    <a:lnTo>
                      <a:pt x="2926" y="284"/>
                    </a:lnTo>
                    <a:lnTo>
                      <a:pt x="2922" y="290"/>
                    </a:lnTo>
                    <a:lnTo>
                      <a:pt x="2922" y="290"/>
                    </a:lnTo>
                    <a:lnTo>
                      <a:pt x="2920" y="300"/>
                    </a:lnTo>
                    <a:lnTo>
                      <a:pt x="2924" y="312"/>
                    </a:lnTo>
                    <a:lnTo>
                      <a:pt x="2930" y="334"/>
                    </a:lnTo>
                    <a:lnTo>
                      <a:pt x="2934" y="342"/>
                    </a:lnTo>
                    <a:lnTo>
                      <a:pt x="2934" y="348"/>
                    </a:lnTo>
                    <a:lnTo>
                      <a:pt x="2934" y="350"/>
                    </a:lnTo>
                    <a:lnTo>
                      <a:pt x="2930" y="348"/>
                    </a:lnTo>
                    <a:lnTo>
                      <a:pt x="2922" y="344"/>
                    </a:lnTo>
                    <a:lnTo>
                      <a:pt x="2922" y="344"/>
                    </a:lnTo>
                    <a:lnTo>
                      <a:pt x="2902" y="330"/>
                    </a:lnTo>
                    <a:lnTo>
                      <a:pt x="2896" y="326"/>
                    </a:lnTo>
                    <a:lnTo>
                      <a:pt x="2892" y="320"/>
                    </a:lnTo>
                    <a:lnTo>
                      <a:pt x="2892" y="316"/>
                    </a:lnTo>
                    <a:lnTo>
                      <a:pt x="2892" y="312"/>
                    </a:lnTo>
                    <a:lnTo>
                      <a:pt x="2896" y="298"/>
                    </a:lnTo>
                    <a:lnTo>
                      <a:pt x="2896" y="298"/>
                    </a:lnTo>
                    <a:lnTo>
                      <a:pt x="2900" y="286"/>
                    </a:lnTo>
                    <a:lnTo>
                      <a:pt x="2902" y="280"/>
                    </a:lnTo>
                    <a:lnTo>
                      <a:pt x="2900" y="276"/>
                    </a:lnTo>
                    <a:lnTo>
                      <a:pt x="2898" y="272"/>
                    </a:lnTo>
                    <a:lnTo>
                      <a:pt x="2892" y="270"/>
                    </a:lnTo>
                    <a:lnTo>
                      <a:pt x="2886" y="270"/>
                    </a:lnTo>
                    <a:lnTo>
                      <a:pt x="2876" y="270"/>
                    </a:lnTo>
                    <a:lnTo>
                      <a:pt x="2876" y="270"/>
                    </a:lnTo>
                    <a:lnTo>
                      <a:pt x="2866" y="270"/>
                    </a:lnTo>
                    <a:lnTo>
                      <a:pt x="2858" y="268"/>
                    </a:lnTo>
                    <a:lnTo>
                      <a:pt x="2844" y="260"/>
                    </a:lnTo>
                    <a:lnTo>
                      <a:pt x="2838" y="256"/>
                    </a:lnTo>
                    <a:lnTo>
                      <a:pt x="2830" y="254"/>
                    </a:lnTo>
                    <a:lnTo>
                      <a:pt x="2820" y="254"/>
                    </a:lnTo>
                    <a:lnTo>
                      <a:pt x="2810" y="258"/>
                    </a:lnTo>
                    <a:lnTo>
                      <a:pt x="2810" y="258"/>
                    </a:lnTo>
                    <a:lnTo>
                      <a:pt x="2800" y="264"/>
                    </a:lnTo>
                    <a:lnTo>
                      <a:pt x="2796" y="272"/>
                    </a:lnTo>
                    <a:lnTo>
                      <a:pt x="2796" y="278"/>
                    </a:lnTo>
                    <a:lnTo>
                      <a:pt x="2796" y="286"/>
                    </a:lnTo>
                    <a:lnTo>
                      <a:pt x="2798" y="292"/>
                    </a:lnTo>
                    <a:lnTo>
                      <a:pt x="2798" y="298"/>
                    </a:lnTo>
                    <a:lnTo>
                      <a:pt x="2794" y="304"/>
                    </a:lnTo>
                    <a:lnTo>
                      <a:pt x="2786" y="308"/>
                    </a:lnTo>
                    <a:lnTo>
                      <a:pt x="2786" y="308"/>
                    </a:lnTo>
                    <a:lnTo>
                      <a:pt x="2778" y="310"/>
                    </a:lnTo>
                    <a:lnTo>
                      <a:pt x="2772" y="308"/>
                    </a:lnTo>
                    <a:lnTo>
                      <a:pt x="2760" y="302"/>
                    </a:lnTo>
                    <a:lnTo>
                      <a:pt x="2752" y="300"/>
                    </a:lnTo>
                    <a:lnTo>
                      <a:pt x="2742" y="298"/>
                    </a:lnTo>
                    <a:lnTo>
                      <a:pt x="2726" y="298"/>
                    </a:lnTo>
                    <a:lnTo>
                      <a:pt x="2708" y="302"/>
                    </a:lnTo>
                    <a:lnTo>
                      <a:pt x="2708" y="302"/>
                    </a:lnTo>
                    <a:lnTo>
                      <a:pt x="2680" y="306"/>
                    </a:lnTo>
                    <a:lnTo>
                      <a:pt x="2658" y="306"/>
                    </a:lnTo>
                    <a:lnTo>
                      <a:pt x="2640" y="302"/>
                    </a:lnTo>
                    <a:lnTo>
                      <a:pt x="2626" y="298"/>
                    </a:lnTo>
                    <a:lnTo>
                      <a:pt x="2606" y="286"/>
                    </a:lnTo>
                    <a:lnTo>
                      <a:pt x="2598" y="284"/>
                    </a:lnTo>
                    <a:lnTo>
                      <a:pt x="2590" y="286"/>
                    </a:lnTo>
                    <a:lnTo>
                      <a:pt x="2590" y="286"/>
                    </a:lnTo>
                    <a:lnTo>
                      <a:pt x="2580" y="288"/>
                    </a:lnTo>
                    <a:lnTo>
                      <a:pt x="2572" y="288"/>
                    </a:lnTo>
                    <a:lnTo>
                      <a:pt x="2564" y="286"/>
                    </a:lnTo>
                    <a:lnTo>
                      <a:pt x="2556" y="282"/>
                    </a:lnTo>
                    <a:lnTo>
                      <a:pt x="2544" y="272"/>
                    </a:lnTo>
                    <a:lnTo>
                      <a:pt x="2532" y="260"/>
                    </a:lnTo>
                    <a:lnTo>
                      <a:pt x="2520" y="246"/>
                    </a:lnTo>
                    <a:lnTo>
                      <a:pt x="2510" y="234"/>
                    </a:lnTo>
                    <a:lnTo>
                      <a:pt x="2504" y="230"/>
                    </a:lnTo>
                    <a:lnTo>
                      <a:pt x="2498" y="226"/>
                    </a:lnTo>
                    <a:lnTo>
                      <a:pt x="2492" y="224"/>
                    </a:lnTo>
                    <a:lnTo>
                      <a:pt x="2486" y="224"/>
                    </a:lnTo>
                    <a:lnTo>
                      <a:pt x="2486" y="224"/>
                    </a:lnTo>
                    <a:lnTo>
                      <a:pt x="2456" y="230"/>
                    </a:lnTo>
                    <a:lnTo>
                      <a:pt x="2438" y="234"/>
                    </a:lnTo>
                    <a:lnTo>
                      <a:pt x="2422" y="240"/>
                    </a:lnTo>
                    <a:lnTo>
                      <a:pt x="2408" y="246"/>
                    </a:lnTo>
                    <a:lnTo>
                      <a:pt x="2398" y="252"/>
                    </a:lnTo>
                    <a:lnTo>
                      <a:pt x="2394" y="256"/>
                    </a:lnTo>
                    <a:lnTo>
                      <a:pt x="2392" y="262"/>
                    </a:lnTo>
                    <a:lnTo>
                      <a:pt x="2392" y="266"/>
                    </a:lnTo>
                    <a:lnTo>
                      <a:pt x="2394" y="270"/>
                    </a:lnTo>
                    <a:lnTo>
                      <a:pt x="2394" y="270"/>
                    </a:lnTo>
                    <a:lnTo>
                      <a:pt x="2398" y="274"/>
                    </a:lnTo>
                    <a:lnTo>
                      <a:pt x="2400" y="278"/>
                    </a:lnTo>
                    <a:lnTo>
                      <a:pt x="2406" y="280"/>
                    </a:lnTo>
                    <a:lnTo>
                      <a:pt x="2410" y="280"/>
                    </a:lnTo>
                    <a:lnTo>
                      <a:pt x="2420" y="278"/>
                    </a:lnTo>
                    <a:lnTo>
                      <a:pt x="2432" y="274"/>
                    </a:lnTo>
                    <a:lnTo>
                      <a:pt x="2456" y="264"/>
                    </a:lnTo>
                    <a:lnTo>
                      <a:pt x="2464" y="262"/>
                    </a:lnTo>
                    <a:lnTo>
                      <a:pt x="2468" y="262"/>
                    </a:lnTo>
                    <a:lnTo>
                      <a:pt x="2472" y="264"/>
                    </a:lnTo>
                    <a:lnTo>
                      <a:pt x="2472" y="264"/>
                    </a:lnTo>
                    <a:lnTo>
                      <a:pt x="2474" y="266"/>
                    </a:lnTo>
                    <a:lnTo>
                      <a:pt x="2476" y="268"/>
                    </a:lnTo>
                    <a:lnTo>
                      <a:pt x="2472" y="272"/>
                    </a:lnTo>
                    <a:lnTo>
                      <a:pt x="2456" y="278"/>
                    </a:lnTo>
                    <a:lnTo>
                      <a:pt x="2436" y="286"/>
                    </a:lnTo>
                    <a:lnTo>
                      <a:pt x="2428" y="292"/>
                    </a:lnTo>
                    <a:lnTo>
                      <a:pt x="2422" y="298"/>
                    </a:lnTo>
                    <a:lnTo>
                      <a:pt x="2422" y="298"/>
                    </a:lnTo>
                    <a:lnTo>
                      <a:pt x="2422" y="304"/>
                    </a:lnTo>
                    <a:lnTo>
                      <a:pt x="2424" y="308"/>
                    </a:lnTo>
                    <a:lnTo>
                      <a:pt x="2428" y="320"/>
                    </a:lnTo>
                    <a:lnTo>
                      <a:pt x="2440" y="342"/>
                    </a:lnTo>
                    <a:lnTo>
                      <a:pt x="2444" y="350"/>
                    </a:lnTo>
                    <a:lnTo>
                      <a:pt x="2444" y="352"/>
                    </a:lnTo>
                    <a:lnTo>
                      <a:pt x="2444" y="354"/>
                    </a:lnTo>
                    <a:lnTo>
                      <a:pt x="2436" y="350"/>
                    </a:lnTo>
                    <a:lnTo>
                      <a:pt x="2418" y="340"/>
                    </a:lnTo>
                    <a:lnTo>
                      <a:pt x="2418" y="340"/>
                    </a:lnTo>
                    <a:lnTo>
                      <a:pt x="2398" y="326"/>
                    </a:lnTo>
                    <a:lnTo>
                      <a:pt x="2382" y="318"/>
                    </a:lnTo>
                    <a:lnTo>
                      <a:pt x="2364" y="310"/>
                    </a:lnTo>
                    <a:lnTo>
                      <a:pt x="2354" y="306"/>
                    </a:lnTo>
                    <a:lnTo>
                      <a:pt x="2348" y="302"/>
                    </a:lnTo>
                    <a:lnTo>
                      <a:pt x="2340" y="294"/>
                    </a:lnTo>
                    <a:lnTo>
                      <a:pt x="2340" y="294"/>
                    </a:lnTo>
                    <a:lnTo>
                      <a:pt x="2334" y="288"/>
                    </a:lnTo>
                    <a:lnTo>
                      <a:pt x="2330" y="286"/>
                    </a:lnTo>
                    <a:lnTo>
                      <a:pt x="2326" y="288"/>
                    </a:lnTo>
                    <a:lnTo>
                      <a:pt x="2320" y="290"/>
                    </a:lnTo>
                    <a:lnTo>
                      <a:pt x="2314" y="296"/>
                    </a:lnTo>
                    <a:lnTo>
                      <a:pt x="2304" y="300"/>
                    </a:lnTo>
                    <a:lnTo>
                      <a:pt x="2286" y="304"/>
                    </a:lnTo>
                    <a:lnTo>
                      <a:pt x="2262" y="308"/>
                    </a:lnTo>
                    <a:lnTo>
                      <a:pt x="2262" y="308"/>
                    </a:lnTo>
                    <a:lnTo>
                      <a:pt x="2206" y="308"/>
                    </a:lnTo>
                    <a:lnTo>
                      <a:pt x="2180" y="308"/>
                    </a:lnTo>
                    <a:lnTo>
                      <a:pt x="2156" y="306"/>
                    </a:lnTo>
                    <a:lnTo>
                      <a:pt x="2140" y="302"/>
                    </a:lnTo>
                    <a:lnTo>
                      <a:pt x="2128" y="298"/>
                    </a:lnTo>
                    <a:lnTo>
                      <a:pt x="2124" y="296"/>
                    </a:lnTo>
                    <a:lnTo>
                      <a:pt x="2124" y="292"/>
                    </a:lnTo>
                    <a:lnTo>
                      <a:pt x="2126" y="288"/>
                    </a:lnTo>
                    <a:lnTo>
                      <a:pt x="2130" y="284"/>
                    </a:lnTo>
                    <a:lnTo>
                      <a:pt x="2130" y="284"/>
                    </a:lnTo>
                    <a:lnTo>
                      <a:pt x="2142" y="278"/>
                    </a:lnTo>
                    <a:lnTo>
                      <a:pt x="2154" y="274"/>
                    </a:lnTo>
                    <a:lnTo>
                      <a:pt x="2172" y="272"/>
                    </a:lnTo>
                    <a:lnTo>
                      <a:pt x="2178" y="270"/>
                    </a:lnTo>
                    <a:lnTo>
                      <a:pt x="2180" y="268"/>
                    </a:lnTo>
                    <a:lnTo>
                      <a:pt x="2178" y="264"/>
                    </a:lnTo>
                    <a:lnTo>
                      <a:pt x="2170" y="256"/>
                    </a:lnTo>
                    <a:lnTo>
                      <a:pt x="2170" y="256"/>
                    </a:lnTo>
                    <a:lnTo>
                      <a:pt x="2154" y="240"/>
                    </a:lnTo>
                    <a:lnTo>
                      <a:pt x="2144" y="232"/>
                    </a:lnTo>
                    <a:lnTo>
                      <a:pt x="2134" y="228"/>
                    </a:lnTo>
                    <a:lnTo>
                      <a:pt x="2124" y="222"/>
                    </a:lnTo>
                    <a:lnTo>
                      <a:pt x="2110" y="220"/>
                    </a:lnTo>
                    <a:lnTo>
                      <a:pt x="2096" y="220"/>
                    </a:lnTo>
                    <a:lnTo>
                      <a:pt x="2080" y="220"/>
                    </a:lnTo>
                    <a:lnTo>
                      <a:pt x="2080" y="220"/>
                    </a:lnTo>
                    <a:lnTo>
                      <a:pt x="2064" y="222"/>
                    </a:lnTo>
                    <a:lnTo>
                      <a:pt x="2046" y="220"/>
                    </a:lnTo>
                    <a:lnTo>
                      <a:pt x="2030" y="218"/>
                    </a:lnTo>
                    <a:lnTo>
                      <a:pt x="2014" y="212"/>
                    </a:lnTo>
                    <a:lnTo>
                      <a:pt x="1982" y="202"/>
                    </a:lnTo>
                    <a:lnTo>
                      <a:pt x="1948" y="194"/>
                    </a:lnTo>
                    <a:lnTo>
                      <a:pt x="1948" y="194"/>
                    </a:lnTo>
                    <a:lnTo>
                      <a:pt x="1932" y="190"/>
                    </a:lnTo>
                    <a:lnTo>
                      <a:pt x="1918" y="184"/>
                    </a:lnTo>
                    <a:lnTo>
                      <a:pt x="1890" y="172"/>
                    </a:lnTo>
                    <a:lnTo>
                      <a:pt x="1876" y="166"/>
                    </a:lnTo>
                    <a:lnTo>
                      <a:pt x="1862" y="160"/>
                    </a:lnTo>
                    <a:lnTo>
                      <a:pt x="1848" y="158"/>
                    </a:lnTo>
                    <a:lnTo>
                      <a:pt x="1832" y="158"/>
                    </a:lnTo>
                    <a:lnTo>
                      <a:pt x="1832" y="158"/>
                    </a:lnTo>
                    <a:lnTo>
                      <a:pt x="1820" y="160"/>
                    </a:lnTo>
                    <a:lnTo>
                      <a:pt x="1812" y="164"/>
                    </a:lnTo>
                    <a:lnTo>
                      <a:pt x="1808" y="170"/>
                    </a:lnTo>
                    <a:lnTo>
                      <a:pt x="1806" y="176"/>
                    </a:lnTo>
                    <a:lnTo>
                      <a:pt x="1804" y="182"/>
                    </a:lnTo>
                    <a:lnTo>
                      <a:pt x="1800" y="186"/>
                    </a:lnTo>
                    <a:lnTo>
                      <a:pt x="1792" y="188"/>
                    </a:lnTo>
                    <a:lnTo>
                      <a:pt x="1780" y="188"/>
                    </a:lnTo>
                    <a:lnTo>
                      <a:pt x="1780" y="188"/>
                    </a:lnTo>
                    <a:lnTo>
                      <a:pt x="1774" y="186"/>
                    </a:lnTo>
                    <a:lnTo>
                      <a:pt x="1768" y="184"/>
                    </a:lnTo>
                    <a:lnTo>
                      <a:pt x="1764" y="180"/>
                    </a:lnTo>
                    <a:lnTo>
                      <a:pt x="1762" y="176"/>
                    </a:lnTo>
                    <a:lnTo>
                      <a:pt x="1760" y="166"/>
                    </a:lnTo>
                    <a:lnTo>
                      <a:pt x="1760" y="156"/>
                    </a:lnTo>
                    <a:lnTo>
                      <a:pt x="1760" y="146"/>
                    </a:lnTo>
                    <a:lnTo>
                      <a:pt x="1758" y="138"/>
                    </a:lnTo>
                    <a:lnTo>
                      <a:pt x="1756" y="136"/>
                    </a:lnTo>
                    <a:lnTo>
                      <a:pt x="1750" y="134"/>
                    </a:lnTo>
                    <a:lnTo>
                      <a:pt x="1744" y="134"/>
                    </a:lnTo>
                    <a:lnTo>
                      <a:pt x="1736" y="134"/>
                    </a:lnTo>
                    <a:lnTo>
                      <a:pt x="1736" y="134"/>
                    </a:lnTo>
                    <a:lnTo>
                      <a:pt x="1732" y="136"/>
                    </a:lnTo>
                    <a:lnTo>
                      <a:pt x="1730" y="140"/>
                    </a:lnTo>
                    <a:lnTo>
                      <a:pt x="1726" y="148"/>
                    </a:lnTo>
                    <a:lnTo>
                      <a:pt x="1724" y="172"/>
                    </a:lnTo>
                    <a:lnTo>
                      <a:pt x="1720" y="182"/>
                    </a:lnTo>
                    <a:lnTo>
                      <a:pt x="1718" y="186"/>
                    </a:lnTo>
                    <a:lnTo>
                      <a:pt x="1716" y="190"/>
                    </a:lnTo>
                    <a:lnTo>
                      <a:pt x="1712" y="190"/>
                    </a:lnTo>
                    <a:lnTo>
                      <a:pt x="1706" y="190"/>
                    </a:lnTo>
                    <a:lnTo>
                      <a:pt x="1698" y="188"/>
                    </a:lnTo>
                    <a:lnTo>
                      <a:pt x="1688" y="184"/>
                    </a:lnTo>
                    <a:lnTo>
                      <a:pt x="1688" y="184"/>
                    </a:lnTo>
                    <a:lnTo>
                      <a:pt x="1684" y="182"/>
                    </a:lnTo>
                    <a:lnTo>
                      <a:pt x="1678" y="176"/>
                    </a:lnTo>
                    <a:lnTo>
                      <a:pt x="1668" y="162"/>
                    </a:lnTo>
                    <a:lnTo>
                      <a:pt x="1650" y="132"/>
                    </a:lnTo>
                    <a:lnTo>
                      <a:pt x="1640" y="116"/>
                    </a:lnTo>
                    <a:lnTo>
                      <a:pt x="1630" y="106"/>
                    </a:lnTo>
                    <a:lnTo>
                      <a:pt x="1624" y="104"/>
                    </a:lnTo>
                    <a:lnTo>
                      <a:pt x="1620" y="102"/>
                    </a:lnTo>
                    <a:lnTo>
                      <a:pt x="1614" y="102"/>
                    </a:lnTo>
                    <a:lnTo>
                      <a:pt x="1608" y="106"/>
                    </a:lnTo>
                    <a:lnTo>
                      <a:pt x="1608" y="106"/>
                    </a:lnTo>
                    <a:lnTo>
                      <a:pt x="1600" y="114"/>
                    </a:lnTo>
                    <a:lnTo>
                      <a:pt x="1598" y="116"/>
                    </a:lnTo>
                    <a:lnTo>
                      <a:pt x="1600" y="118"/>
                    </a:lnTo>
                    <a:lnTo>
                      <a:pt x="1604" y="120"/>
                    </a:lnTo>
                    <a:lnTo>
                      <a:pt x="1610" y="122"/>
                    </a:lnTo>
                    <a:lnTo>
                      <a:pt x="1616" y="124"/>
                    </a:lnTo>
                    <a:lnTo>
                      <a:pt x="1616" y="126"/>
                    </a:lnTo>
                    <a:lnTo>
                      <a:pt x="1616" y="130"/>
                    </a:lnTo>
                    <a:lnTo>
                      <a:pt x="1610" y="138"/>
                    </a:lnTo>
                    <a:lnTo>
                      <a:pt x="1592" y="150"/>
                    </a:lnTo>
                    <a:lnTo>
                      <a:pt x="1592" y="150"/>
                    </a:lnTo>
                    <a:lnTo>
                      <a:pt x="1574" y="160"/>
                    </a:lnTo>
                    <a:lnTo>
                      <a:pt x="1572" y="160"/>
                    </a:lnTo>
                    <a:lnTo>
                      <a:pt x="1570" y="158"/>
                    </a:lnTo>
                    <a:lnTo>
                      <a:pt x="1568" y="156"/>
                    </a:lnTo>
                    <a:lnTo>
                      <a:pt x="1560" y="156"/>
                    </a:lnTo>
                    <a:lnTo>
                      <a:pt x="1546" y="160"/>
                    </a:lnTo>
                    <a:lnTo>
                      <a:pt x="1522" y="168"/>
                    </a:lnTo>
                    <a:lnTo>
                      <a:pt x="1522" y="168"/>
                    </a:lnTo>
                    <a:lnTo>
                      <a:pt x="1482" y="180"/>
                    </a:lnTo>
                    <a:lnTo>
                      <a:pt x="1476" y="182"/>
                    </a:lnTo>
                    <a:lnTo>
                      <a:pt x="1476" y="180"/>
                    </a:lnTo>
                    <a:lnTo>
                      <a:pt x="1476" y="180"/>
                    </a:lnTo>
                    <a:lnTo>
                      <a:pt x="1494" y="168"/>
                    </a:lnTo>
                    <a:lnTo>
                      <a:pt x="1526" y="152"/>
                    </a:lnTo>
                    <a:lnTo>
                      <a:pt x="1526" y="152"/>
                    </a:lnTo>
                    <a:lnTo>
                      <a:pt x="1552" y="140"/>
                    </a:lnTo>
                    <a:lnTo>
                      <a:pt x="1558" y="136"/>
                    </a:lnTo>
                    <a:lnTo>
                      <a:pt x="1560" y="132"/>
                    </a:lnTo>
                    <a:lnTo>
                      <a:pt x="1560" y="132"/>
                    </a:lnTo>
                    <a:lnTo>
                      <a:pt x="1556" y="132"/>
                    </a:lnTo>
                    <a:lnTo>
                      <a:pt x="1538" y="134"/>
                    </a:lnTo>
                    <a:lnTo>
                      <a:pt x="1538" y="134"/>
                    </a:lnTo>
                    <a:lnTo>
                      <a:pt x="1530" y="136"/>
                    </a:lnTo>
                    <a:lnTo>
                      <a:pt x="1522" y="134"/>
                    </a:lnTo>
                    <a:lnTo>
                      <a:pt x="1510" y="134"/>
                    </a:lnTo>
                    <a:lnTo>
                      <a:pt x="1506" y="134"/>
                    </a:lnTo>
                    <a:lnTo>
                      <a:pt x="1498" y="136"/>
                    </a:lnTo>
                    <a:lnTo>
                      <a:pt x="1488" y="140"/>
                    </a:lnTo>
                    <a:lnTo>
                      <a:pt x="1474" y="148"/>
                    </a:lnTo>
                    <a:lnTo>
                      <a:pt x="1474" y="148"/>
                    </a:lnTo>
                    <a:lnTo>
                      <a:pt x="1462" y="156"/>
                    </a:lnTo>
                    <a:lnTo>
                      <a:pt x="1454" y="160"/>
                    </a:lnTo>
                    <a:lnTo>
                      <a:pt x="1448" y="160"/>
                    </a:lnTo>
                    <a:lnTo>
                      <a:pt x="1442" y="162"/>
                    </a:lnTo>
                    <a:lnTo>
                      <a:pt x="1438" y="162"/>
                    </a:lnTo>
                    <a:lnTo>
                      <a:pt x="1432" y="164"/>
                    </a:lnTo>
                    <a:lnTo>
                      <a:pt x="1422" y="168"/>
                    </a:lnTo>
                    <a:lnTo>
                      <a:pt x="1406" y="178"/>
                    </a:lnTo>
                    <a:lnTo>
                      <a:pt x="1406" y="178"/>
                    </a:lnTo>
                    <a:lnTo>
                      <a:pt x="1378" y="198"/>
                    </a:lnTo>
                    <a:lnTo>
                      <a:pt x="1358" y="210"/>
                    </a:lnTo>
                    <a:lnTo>
                      <a:pt x="1352" y="214"/>
                    </a:lnTo>
                    <a:lnTo>
                      <a:pt x="1350" y="218"/>
                    </a:lnTo>
                    <a:lnTo>
                      <a:pt x="1350" y="224"/>
                    </a:lnTo>
                    <a:lnTo>
                      <a:pt x="1352" y="230"/>
                    </a:lnTo>
                    <a:lnTo>
                      <a:pt x="1352" y="230"/>
                    </a:lnTo>
                    <a:lnTo>
                      <a:pt x="1352" y="234"/>
                    </a:lnTo>
                    <a:lnTo>
                      <a:pt x="1352" y="236"/>
                    </a:lnTo>
                    <a:lnTo>
                      <a:pt x="1340" y="232"/>
                    </a:lnTo>
                    <a:lnTo>
                      <a:pt x="1332" y="230"/>
                    </a:lnTo>
                    <a:lnTo>
                      <a:pt x="1324" y="228"/>
                    </a:lnTo>
                    <a:lnTo>
                      <a:pt x="1316" y="230"/>
                    </a:lnTo>
                    <a:lnTo>
                      <a:pt x="1308" y="232"/>
                    </a:lnTo>
                    <a:lnTo>
                      <a:pt x="1308" y="232"/>
                    </a:lnTo>
                    <a:lnTo>
                      <a:pt x="1300" y="236"/>
                    </a:lnTo>
                    <a:lnTo>
                      <a:pt x="1296" y="236"/>
                    </a:lnTo>
                    <a:lnTo>
                      <a:pt x="1294" y="236"/>
                    </a:lnTo>
                    <a:lnTo>
                      <a:pt x="1290" y="232"/>
                    </a:lnTo>
                    <a:lnTo>
                      <a:pt x="1286" y="228"/>
                    </a:lnTo>
                    <a:lnTo>
                      <a:pt x="1280" y="226"/>
                    </a:lnTo>
                    <a:lnTo>
                      <a:pt x="1270" y="224"/>
                    </a:lnTo>
                    <a:lnTo>
                      <a:pt x="1258" y="222"/>
                    </a:lnTo>
                    <a:lnTo>
                      <a:pt x="1258" y="222"/>
                    </a:lnTo>
                    <a:lnTo>
                      <a:pt x="1236" y="220"/>
                    </a:lnTo>
                    <a:lnTo>
                      <a:pt x="1216" y="214"/>
                    </a:lnTo>
                    <a:lnTo>
                      <a:pt x="1198" y="206"/>
                    </a:lnTo>
                    <a:lnTo>
                      <a:pt x="1178" y="196"/>
                    </a:lnTo>
                    <a:lnTo>
                      <a:pt x="1160" y="186"/>
                    </a:lnTo>
                    <a:lnTo>
                      <a:pt x="1138" y="178"/>
                    </a:lnTo>
                    <a:lnTo>
                      <a:pt x="1114" y="172"/>
                    </a:lnTo>
                    <a:lnTo>
                      <a:pt x="1102" y="172"/>
                    </a:lnTo>
                    <a:lnTo>
                      <a:pt x="1088" y="172"/>
                    </a:lnTo>
                    <a:lnTo>
                      <a:pt x="1088" y="172"/>
                    </a:lnTo>
                    <a:lnTo>
                      <a:pt x="1074" y="170"/>
                    </a:lnTo>
                    <a:lnTo>
                      <a:pt x="1062" y="168"/>
                    </a:lnTo>
                    <a:lnTo>
                      <a:pt x="1052" y="162"/>
                    </a:lnTo>
                    <a:lnTo>
                      <a:pt x="1044" y="158"/>
                    </a:lnTo>
                    <a:lnTo>
                      <a:pt x="1036" y="152"/>
                    </a:lnTo>
                    <a:lnTo>
                      <a:pt x="1026" y="146"/>
                    </a:lnTo>
                    <a:lnTo>
                      <a:pt x="1014" y="142"/>
                    </a:lnTo>
                    <a:lnTo>
                      <a:pt x="998" y="140"/>
                    </a:lnTo>
                    <a:lnTo>
                      <a:pt x="998" y="140"/>
                    </a:lnTo>
                    <a:lnTo>
                      <a:pt x="982" y="138"/>
                    </a:lnTo>
                    <a:lnTo>
                      <a:pt x="970" y="140"/>
                    </a:lnTo>
                    <a:lnTo>
                      <a:pt x="950" y="144"/>
                    </a:lnTo>
                    <a:lnTo>
                      <a:pt x="940" y="146"/>
                    </a:lnTo>
                    <a:lnTo>
                      <a:pt x="932" y="146"/>
                    </a:lnTo>
                    <a:lnTo>
                      <a:pt x="922" y="146"/>
                    </a:lnTo>
                    <a:lnTo>
                      <a:pt x="912" y="142"/>
                    </a:lnTo>
                    <a:lnTo>
                      <a:pt x="912" y="142"/>
                    </a:lnTo>
                    <a:lnTo>
                      <a:pt x="898" y="138"/>
                    </a:lnTo>
                    <a:lnTo>
                      <a:pt x="884" y="134"/>
                    </a:lnTo>
                    <a:lnTo>
                      <a:pt x="852" y="132"/>
                    </a:lnTo>
                    <a:lnTo>
                      <a:pt x="816" y="128"/>
                    </a:lnTo>
                    <a:lnTo>
                      <a:pt x="798" y="122"/>
                    </a:lnTo>
                    <a:lnTo>
                      <a:pt x="778" y="116"/>
                    </a:lnTo>
                    <a:lnTo>
                      <a:pt x="778" y="116"/>
                    </a:lnTo>
                    <a:lnTo>
                      <a:pt x="758" y="110"/>
                    </a:lnTo>
                    <a:lnTo>
                      <a:pt x="744" y="108"/>
                    </a:lnTo>
                    <a:lnTo>
                      <a:pt x="732" y="108"/>
                    </a:lnTo>
                    <a:lnTo>
                      <a:pt x="722" y="110"/>
                    </a:lnTo>
                    <a:lnTo>
                      <a:pt x="710" y="114"/>
                    </a:lnTo>
                    <a:lnTo>
                      <a:pt x="698" y="116"/>
                    </a:lnTo>
                    <a:lnTo>
                      <a:pt x="682" y="114"/>
                    </a:lnTo>
                    <a:lnTo>
                      <a:pt x="664" y="110"/>
                    </a:lnTo>
                    <a:lnTo>
                      <a:pt x="664" y="110"/>
                    </a:lnTo>
                    <a:lnTo>
                      <a:pt x="648" y="104"/>
                    </a:lnTo>
                    <a:lnTo>
                      <a:pt x="640" y="98"/>
                    </a:lnTo>
                    <a:lnTo>
                      <a:pt x="636" y="94"/>
                    </a:lnTo>
                    <a:lnTo>
                      <a:pt x="636" y="90"/>
                    </a:lnTo>
                    <a:lnTo>
                      <a:pt x="634" y="86"/>
                    </a:lnTo>
                    <a:lnTo>
                      <a:pt x="630" y="82"/>
                    </a:lnTo>
                    <a:lnTo>
                      <a:pt x="622" y="82"/>
                    </a:lnTo>
                    <a:lnTo>
                      <a:pt x="604" y="80"/>
                    </a:lnTo>
                    <a:lnTo>
                      <a:pt x="604" y="80"/>
                    </a:lnTo>
                    <a:lnTo>
                      <a:pt x="572" y="82"/>
                    </a:lnTo>
                    <a:lnTo>
                      <a:pt x="556" y="82"/>
                    </a:lnTo>
                    <a:lnTo>
                      <a:pt x="552" y="82"/>
                    </a:lnTo>
                    <a:lnTo>
                      <a:pt x="548" y="80"/>
                    </a:lnTo>
                    <a:lnTo>
                      <a:pt x="540" y="72"/>
                    </a:lnTo>
                    <a:lnTo>
                      <a:pt x="540" y="72"/>
                    </a:lnTo>
                    <a:lnTo>
                      <a:pt x="534" y="66"/>
                    </a:lnTo>
                    <a:lnTo>
                      <a:pt x="528" y="66"/>
                    </a:lnTo>
                    <a:lnTo>
                      <a:pt x="524" y="66"/>
                    </a:lnTo>
                    <a:lnTo>
                      <a:pt x="518" y="68"/>
                    </a:lnTo>
                    <a:lnTo>
                      <a:pt x="510" y="70"/>
                    </a:lnTo>
                    <a:lnTo>
                      <a:pt x="506" y="70"/>
                    </a:lnTo>
                    <a:lnTo>
                      <a:pt x="500" y="66"/>
                    </a:lnTo>
                    <a:lnTo>
                      <a:pt x="500" y="66"/>
                    </a:lnTo>
                    <a:lnTo>
                      <a:pt x="488" y="56"/>
                    </a:lnTo>
                    <a:lnTo>
                      <a:pt x="482" y="52"/>
                    </a:lnTo>
                    <a:lnTo>
                      <a:pt x="474" y="50"/>
                    </a:lnTo>
                    <a:lnTo>
                      <a:pt x="466" y="50"/>
                    </a:lnTo>
                    <a:lnTo>
                      <a:pt x="456" y="52"/>
                    </a:lnTo>
                    <a:lnTo>
                      <a:pt x="444" y="58"/>
                    </a:lnTo>
                    <a:lnTo>
                      <a:pt x="432" y="68"/>
                    </a:lnTo>
                    <a:lnTo>
                      <a:pt x="432" y="68"/>
                    </a:lnTo>
                    <a:lnTo>
                      <a:pt x="418" y="78"/>
                    </a:lnTo>
                    <a:lnTo>
                      <a:pt x="404" y="82"/>
                    </a:lnTo>
                    <a:lnTo>
                      <a:pt x="392" y="84"/>
                    </a:lnTo>
                    <a:lnTo>
                      <a:pt x="378" y="84"/>
                    </a:lnTo>
                    <a:lnTo>
                      <a:pt x="364" y="84"/>
                    </a:lnTo>
                    <a:lnTo>
                      <a:pt x="348" y="86"/>
                    </a:lnTo>
                    <a:lnTo>
                      <a:pt x="330" y="94"/>
                    </a:lnTo>
                    <a:lnTo>
                      <a:pt x="310" y="106"/>
                    </a:lnTo>
                    <a:lnTo>
                      <a:pt x="310" y="106"/>
                    </a:lnTo>
                    <a:lnTo>
                      <a:pt x="300" y="114"/>
                    </a:lnTo>
                    <a:lnTo>
                      <a:pt x="290" y="120"/>
                    </a:lnTo>
                    <a:lnTo>
                      <a:pt x="282" y="122"/>
                    </a:lnTo>
                    <a:lnTo>
                      <a:pt x="274" y="124"/>
                    </a:lnTo>
                    <a:lnTo>
                      <a:pt x="260" y="126"/>
                    </a:lnTo>
                    <a:lnTo>
                      <a:pt x="250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0" y="126"/>
                    </a:lnTo>
                    <a:lnTo>
                      <a:pt x="226" y="130"/>
                    </a:lnTo>
                    <a:lnTo>
                      <a:pt x="222" y="134"/>
                    </a:lnTo>
                    <a:lnTo>
                      <a:pt x="212" y="152"/>
                    </a:lnTo>
                    <a:lnTo>
                      <a:pt x="212" y="152"/>
                    </a:lnTo>
                    <a:lnTo>
                      <a:pt x="202" y="172"/>
                    </a:lnTo>
                    <a:lnTo>
                      <a:pt x="192" y="188"/>
                    </a:lnTo>
                    <a:lnTo>
                      <a:pt x="182" y="202"/>
                    </a:lnTo>
                    <a:lnTo>
                      <a:pt x="172" y="212"/>
                    </a:lnTo>
                    <a:lnTo>
                      <a:pt x="158" y="220"/>
                    </a:lnTo>
                    <a:lnTo>
                      <a:pt x="142" y="224"/>
                    </a:lnTo>
                    <a:lnTo>
                      <a:pt x="122" y="228"/>
                    </a:lnTo>
                    <a:lnTo>
                      <a:pt x="96" y="228"/>
                    </a:lnTo>
                    <a:lnTo>
                      <a:pt x="96" y="228"/>
                    </a:lnTo>
                    <a:lnTo>
                      <a:pt x="84" y="230"/>
                    </a:lnTo>
                    <a:lnTo>
                      <a:pt x="78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4" y="244"/>
                    </a:lnTo>
                    <a:lnTo>
                      <a:pt x="72" y="250"/>
                    </a:lnTo>
                    <a:lnTo>
                      <a:pt x="66" y="254"/>
                    </a:lnTo>
                    <a:lnTo>
                      <a:pt x="58" y="258"/>
                    </a:lnTo>
                    <a:lnTo>
                      <a:pt x="58" y="258"/>
                    </a:lnTo>
                    <a:lnTo>
                      <a:pt x="54" y="260"/>
                    </a:lnTo>
                    <a:lnTo>
                      <a:pt x="52" y="262"/>
                    </a:lnTo>
                    <a:lnTo>
                      <a:pt x="54" y="266"/>
                    </a:lnTo>
                    <a:lnTo>
                      <a:pt x="58" y="268"/>
                    </a:lnTo>
                    <a:lnTo>
                      <a:pt x="72" y="274"/>
                    </a:lnTo>
                    <a:lnTo>
                      <a:pt x="92" y="282"/>
                    </a:lnTo>
                    <a:lnTo>
                      <a:pt x="114" y="292"/>
                    </a:lnTo>
                    <a:lnTo>
                      <a:pt x="136" y="304"/>
                    </a:lnTo>
                    <a:lnTo>
                      <a:pt x="156" y="318"/>
                    </a:lnTo>
                    <a:lnTo>
                      <a:pt x="162" y="326"/>
                    </a:lnTo>
                    <a:lnTo>
                      <a:pt x="168" y="334"/>
                    </a:lnTo>
                    <a:lnTo>
                      <a:pt x="168" y="334"/>
                    </a:lnTo>
                    <a:lnTo>
                      <a:pt x="172" y="342"/>
                    </a:lnTo>
                    <a:lnTo>
                      <a:pt x="176" y="346"/>
                    </a:lnTo>
                    <a:lnTo>
                      <a:pt x="186" y="354"/>
                    </a:lnTo>
                    <a:lnTo>
                      <a:pt x="196" y="356"/>
                    </a:lnTo>
                    <a:lnTo>
                      <a:pt x="206" y="356"/>
                    </a:lnTo>
                    <a:lnTo>
                      <a:pt x="212" y="356"/>
                    </a:lnTo>
                    <a:lnTo>
                      <a:pt x="218" y="356"/>
                    </a:lnTo>
                    <a:lnTo>
                      <a:pt x="220" y="356"/>
                    </a:lnTo>
                    <a:lnTo>
                      <a:pt x="222" y="358"/>
                    </a:lnTo>
                    <a:lnTo>
                      <a:pt x="220" y="364"/>
                    </a:lnTo>
                    <a:lnTo>
                      <a:pt x="220" y="364"/>
                    </a:lnTo>
                    <a:lnTo>
                      <a:pt x="220" y="372"/>
                    </a:lnTo>
                    <a:lnTo>
                      <a:pt x="220" y="376"/>
                    </a:lnTo>
                    <a:lnTo>
                      <a:pt x="224" y="378"/>
                    </a:lnTo>
                    <a:lnTo>
                      <a:pt x="228" y="380"/>
                    </a:lnTo>
                    <a:lnTo>
                      <a:pt x="232" y="380"/>
                    </a:lnTo>
                    <a:lnTo>
                      <a:pt x="236" y="382"/>
                    </a:lnTo>
                    <a:lnTo>
                      <a:pt x="240" y="386"/>
                    </a:lnTo>
                    <a:lnTo>
                      <a:pt x="242" y="392"/>
                    </a:lnTo>
                    <a:lnTo>
                      <a:pt x="242" y="392"/>
                    </a:lnTo>
                    <a:lnTo>
                      <a:pt x="244" y="400"/>
                    </a:lnTo>
                    <a:lnTo>
                      <a:pt x="248" y="402"/>
                    </a:lnTo>
                    <a:lnTo>
                      <a:pt x="254" y="404"/>
                    </a:lnTo>
                    <a:lnTo>
                      <a:pt x="260" y="402"/>
                    </a:lnTo>
                    <a:lnTo>
                      <a:pt x="266" y="402"/>
                    </a:lnTo>
                    <a:lnTo>
                      <a:pt x="270" y="402"/>
                    </a:lnTo>
                    <a:lnTo>
                      <a:pt x="274" y="404"/>
                    </a:lnTo>
                    <a:lnTo>
                      <a:pt x="276" y="410"/>
                    </a:lnTo>
                    <a:lnTo>
                      <a:pt x="276" y="410"/>
                    </a:lnTo>
                    <a:lnTo>
                      <a:pt x="274" y="418"/>
                    </a:lnTo>
                    <a:lnTo>
                      <a:pt x="272" y="418"/>
                    </a:lnTo>
                    <a:lnTo>
                      <a:pt x="270" y="418"/>
                    </a:lnTo>
                    <a:lnTo>
                      <a:pt x="266" y="416"/>
                    </a:lnTo>
                    <a:lnTo>
                      <a:pt x="262" y="416"/>
                    </a:lnTo>
                    <a:lnTo>
                      <a:pt x="258" y="418"/>
                    </a:lnTo>
                    <a:lnTo>
                      <a:pt x="252" y="424"/>
                    </a:lnTo>
                    <a:lnTo>
                      <a:pt x="252" y="424"/>
                    </a:lnTo>
                    <a:lnTo>
                      <a:pt x="250" y="426"/>
                    </a:lnTo>
                    <a:lnTo>
                      <a:pt x="248" y="426"/>
                    </a:lnTo>
                    <a:lnTo>
                      <a:pt x="240" y="422"/>
                    </a:lnTo>
                    <a:lnTo>
                      <a:pt x="234" y="420"/>
                    </a:lnTo>
                    <a:lnTo>
                      <a:pt x="224" y="420"/>
                    </a:lnTo>
                    <a:lnTo>
                      <a:pt x="212" y="420"/>
                    </a:lnTo>
                    <a:lnTo>
                      <a:pt x="194" y="422"/>
                    </a:lnTo>
                    <a:lnTo>
                      <a:pt x="194" y="422"/>
                    </a:lnTo>
                    <a:lnTo>
                      <a:pt x="186" y="422"/>
                    </a:lnTo>
                    <a:lnTo>
                      <a:pt x="180" y="420"/>
                    </a:lnTo>
                    <a:lnTo>
                      <a:pt x="176" y="418"/>
                    </a:lnTo>
                    <a:lnTo>
                      <a:pt x="174" y="416"/>
                    </a:lnTo>
                    <a:lnTo>
                      <a:pt x="174" y="408"/>
                    </a:lnTo>
                    <a:lnTo>
                      <a:pt x="176" y="398"/>
                    </a:lnTo>
                    <a:lnTo>
                      <a:pt x="176" y="390"/>
                    </a:lnTo>
                    <a:lnTo>
                      <a:pt x="174" y="388"/>
                    </a:lnTo>
                    <a:lnTo>
                      <a:pt x="172" y="384"/>
                    </a:lnTo>
                    <a:lnTo>
                      <a:pt x="168" y="384"/>
                    </a:lnTo>
                    <a:lnTo>
                      <a:pt x="162" y="384"/>
                    </a:lnTo>
                    <a:lnTo>
                      <a:pt x="140" y="388"/>
                    </a:lnTo>
                    <a:lnTo>
                      <a:pt x="140" y="388"/>
                    </a:lnTo>
                    <a:lnTo>
                      <a:pt x="116" y="396"/>
                    </a:lnTo>
                    <a:lnTo>
                      <a:pt x="92" y="406"/>
                    </a:lnTo>
                    <a:lnTo>
                      <a:pt x="56" y="424"/>
                    </a:lnTo>
                    <a:lnTo>
                      <a:pt x="28" y="440"/>
                    </a:lnTo>
                    <a:lnTo>
                      <a:pt x="18" y="444"/>
                    </a:lnTo>
                    <a:lnTo>
                      <a:pt x="10" y="446"/>
                    </a:lnTo>
                    <a:lnTo>
                      <a:pt x="10" y="446"/>
                    </a:lnTo>
                    <a:lnTo>
                      <a:pt x="4" y="448"/>
                    </a:lnTo>
                    <a:lnTo>
                      <a:pt x="0" y="452"/>
                    </a:lnTo>
                    <a:lnTo>
                      <a:pt x="0" y="456"/>
                    </a:lnTo>
                    <a:lnTo>
                      <a:pt x="2" y="460"/>
                    </a:lnTo>
                    <a:lnTo>
                      <a:pt x="8" y="466"/>
                    </a:lnTo>
                    <a:lnTo>
                      <a:pt x="16" y="470"/>
                    </a:lnTo>
                    <a:lnTo>
                      <a:pt x="28" y="472"/>
                    </a:lnTo>
                    <a:lnTo>
                      <a:pt x="42" y="474"/>
                    </a:lnTo>
                    <a:lnTo>
                      <a:pt x="42" y="474"/>
                    </a:lnTo>
                    <a:lnTo>
                      <a:pt x="54" y="474"/>
                    </a:lnTo>
                    <a:lnTo>
                      <a:pt x="60" y="478"/>
                    </a:lnTo>
                    <a:lnTo>
                      <a:pt x="58" y="480"/>
                    </a:lnTo>
                    <a:lnTo>
                      <a:pt x="56" y="484"/>
                    </a:lnTo>
                    <a:lnTo>
                      <a:pt x="52" y="488"/>
                    </a:lnTo>
                    <a:lnTo>
                      <a:pt x="50" y="492"/>
                    </a:lnTo>
                    <a:lnTo>
                      <a:pt x="50" y="498"/>
                    </a:lnTo>
                    <a:lnTo>
                      <a:pt x="56" y="502"/>
                    </a:lnTo>
                    <a:lnTo>
                      <a:pt x="56" y="502"/>
                    </a:lnTo>
                    <a:lnTo>
                      <a:pt x="64" y="506"/>
                    </a:lnTo>
                    <a:lnTo>
                      <a:pt x="66" y="512"/>
                    </a:lnTo>
                    <a:lnTo>
                      <a:pt x="68" y="520"/>
                    </a:lnTo>
                    <a:lnTo>
                      <a:pt x="70" y="524"/>
                    </a:lnTo>
                    <a:lnTo>
                      <a:pt x="74" y="528"/>
                    </a:lnTo>
                    <a:lnTo>
                      <a:pt x="82" y="532"/>
                    </a:lnTo>
                    <a:lnTo>
                      <a:pt x="94" y="534"/>
                    </a:lnTo>
                    <a:lnTo>
                      <a:pt x="94" y="534"/>
                    </a:lnTo>
                    <a:lnTo>
                      <a:pt x="110" y="534"/>
                    </a:lnTo>
                    <a:lnTo>
                      <a:pt x="122" y="534"/>
                    </a:lnTo>
                    <a:lnTo>
                      <a:pt x="144" y="528"/>
                    </a:lnTo>
                    <a:lnTo>
                      <a:pt x="154" y="526"/>
                    </a:lnTo>
                    <a:lnTo>
                      <a:pt x="166" y="526"/>
                    </a:lnTo>
                    <a:lnTo>
                      <a:pt x="176" y="528"/>
                    </a:lnTo>
                    <a:lnTo>
                      <a:pt x="190" y="534"/>
                    </a:lnTo>
                    <a:lnTo>
                      <a:pt x="190" y="534"/>
                    </a:lnTo>
                    <a:lnTo>
                      <a:pt x="198" y="536"/>
                    </a:lnTo>
                    <a:lnTo>
                      <a:pt x="204" y="538"/>
                    </a:lnTo>
                    <a:lnTo>
                      <a:pt x="210" y="538"/>
                    </a:lnTo>
                    <a:lnTo>
                      <a:pt x="218" y="536"/>
                    </a:lnTo>
                    <a:lnTo>
                      <a:pt x="230" y="530"/>
                    </a:lnTo>
                    <a:lnTo>
                      <a:pt x="242" y="522"/>
                    </a:lnTo>
                    <a:lnTo>
                      <a:pt x="254" y="512"/>
                    </a:lnTo>
                    <a:lnTo>
                      <a:pt x="266" y="506"/>
                    </a:lnTo>
                    <a:lnTo>
                      <a:pt x="270" y="506"/>
                    </a:lnTo>
                    <a:lnTo>
                      <a:pt x="276" y="506"/>
                    </a:lnTo>
                    <a:lnTo>
                      <a:pt x="280" y="508"/>
                    </a:lnTo>
                    <a:lnTo>
                      <a:pt x="286" y="510"/>
                    </a:lnTo>
                    <a:lnTo>
                      <a:pt x="286" y="510"/>
                    </a:lnTo>
                    <a:lnTo>
                      <a:pt x="290" y="516"/>
                    </a:lnTo>
                    <a:lnTo>
                      <a:pt x="290" y="518"/>
                    </a:lnTo>
                    <a:lnTo>
                      <a:pt x="290" y="522"/>
                    </a:lnTo>
                    <a:lnTo>
                      <a:pt x="288" y="524"/>
                    </a:lnTo>
                    <a:lnTo>
                      <a:pt x="282" y="526"/>
                    </a:lnTo>
                    <a:lnTo>
                      <a:pt x="272" y="528"/>
                    </a:lnTo>
                    <a:lnTo>
                      <a:pt x="264" y="530"/>
                    </a:lnTo>
                    <a:lnTo>
                      <a:pt x="260" y="534"/>
                    </a:lnTo>
                    <a:lnTo>
                      <a:pt x="260" y="536"/>
                    </a:lnTo>
                    <a:lnTo>
                      <a:pt x="262" y="538"/>
                    </a:lnTo>
                    <a:lnTo>
                      <a:pt x="274" y="544"/>
                    </a:lnTo>
                    <a:lnTo>
                      <a:pt x="274" y="544"/>
                    </a:lnTo>
                    <a:lnTo>
                      <a:pt x="280" y="550"/>
                    </a:lnTo>
                    <a:lnTo>
                      <a:pt x="286" y="554"/>
                    </a:lnTo>
                    <a:lnTo>
                      <a:pt x="290" y="558"/>
                    </a:lnTo>
                    <a:lnTo>
                      <a:pt x="292" y="564"/>
                    </a:lnTo>
                    <a:lnTo>
                      <a:pt x="292" y="570"/>
                    </a:lnTo>
                    <a:lnTo>
                      <a:pt x="292" y="574"/>
                    </a:lnTo>
                    <a:lnTo>
                      <a:pt x="288" y="584"/>
                    </a:lnTo>
                    <a:lnTo>
                      <a:pt x="280" y="592"/>
                    </a:lnTo>
                    <a:lnTo>
                      <a:pt x="270" y="598"/>
                    </a:lnTo>
                    <a:lnTo>
                      <a:pt x="258" y="600"/>
                    </a:lnTo>
                    <a:lnTo>
                      <a:pt x="244" y="598"/>
                    </a:lnTo>
                    <a:lnTo>
                      <a:pt x="244" y="598"/>
                    </a:lnTo>
                    <a:lnTo>
                      <a:pt x="240" y="598"/>
                    </a:lnTo>
                    <a:lnTo>
                      <a:pt x="234" y="598"/>
                    </a:lnTo>
                    <a:lnTo>
                      <a:pt x="226" y="602"/>
                    </a:lnTo>
                    <a:lnTo>
                      <a:pt x="220" y="610"/>
                    </a:lnTo>
                    <a:lnTo>
                      <a:pt x="214" y="618"/>
                    </a:lnTo>
                    <a:lnTo>
                      <a:pt x="210" y="624"/>
                    </a:lnTo>
                    <a:lnTo>
                      <a:pt x="202" y="630"/>
                    </a:lnTo>
                    <a:lnTo>
                      <a:pt x="198" y="630"/>
                    </a:lnTo>
                    <a:lnTo>
                      <a:pt x="192" y="630"/>
                    </a:lnTo>
                    <a:lnTo>
                      <a:pt x="186" y="628"/>
                    </a:lnTo>
                    <a:lnTo>
                      <a:pt x="180" y="624"/>
                    </a:lnTo>
                    <a:lnTo>
                      <a:pt x="180" y="624"/>
                    </a:lnTo>
                    <a:lnTo>
                      <a:pt x="172" y="620"/>
                    </a:lnTo>
                    <a:lnTo>
                      <a:pt x="166" y="618"/>
                    </a:lnTo>
                    <a:lnTo>
                      <a:pt x="160" y="618"/>
                    </a:lnTo>
                    <a:lnTo>
                      <a:pt x="154" y="620"/>
                    </a:lnTo>
                    <a:lnTo>
                      <a:pt x="144" y="626"/>
                    </a:lnTo>
                    <a:lnTo>
                      <a:pt x="136" y="636"/>
                    </a:lnTo>
                    <a:lnTo>
                      <a:pt x="124" y="658"/>
                    </a:lnTo>
                    <a:lnTo>
                      <a:pt x="118" y="666"/>
                    </a:lnTo>
                    <a:lnTo>
                      <a:pt x="112" y="672"/>
                    </a:lnTo>
                    <a:lnTo>
                      <a:pt x="112" y="672"/>
                    </a:lnTo>
                    <a:lnTo>
                      <a:pt x="106" y="674"/>
                    </a:lnTo>
                    <a:lnTo>
                      <a:pt x="102" y="678"/>
                    </a:lnTo>
                    <a:lnTo>
                      <a:pt x="96" y="690"/>
                    </a:lnTo>
                    <a:lnTo>
                      <a:pt x="92" y="702"/>
                    </a:lnTo>
                    <a:lnTo>
                      <a:pt x="88" y="708"/>
                    </a:lnTo>
                    <a:lnTo>
                      <a:pt x="82" y="712"/>
                    </a:lnTo>
                    <a:lnTo>
                      <a:pt x="82" y="712"/>
                    </a:lnTo>
                    <a:lnTo>
                      <a:pt x="76" y="716"/>
                    </a:lnTo>
                    <a:lnTo>
                      <a:pt x="74" y="720"/>
                    </a:lnTo>
                    <a:lnTo>
                      <a:pt x="74" y="726"/>
                    </a:lnTo>
                    <a:lnTo>
                      <a:pt x="76" y="730"/>
                    </a:lnTo>
                    <a:lnTo>
                      <a:pt x="88" y="740"/>
                    </a:lnTo>
                    <a:lnTo>
                      <a:pt x="108" y="756"/>
                    </a:lnTo>
                    <a:lnTo>
                      <a:pt x="108" y="756"/>
                    </a:lnTo>
                    <a:lnTo>
                      <a:pt x="116" y="764"/>
                    </a:lnTo>
                    <a:lnTo>
                      <a:pt x="118" y="772"/>
                    </a:lnTo>
                    <a:lnTo>
                      <a:pt x="118" y="778"/>
                    </a:lnTo>
                    <a:lnTo>
                      <a:pt x="116" y="784"/>
                    </a:lnTo>
                    <a:lnTo>
                      <a:pt x="114" y="790"/>
                    </a:lnTo>
                    <a:lnTo>
                      <a:pt x="112" y="794"/>
                    </a:lnTo>
                    <a:lnTo>
                      <a:pt x="112" y="800"/>
                    </a:lnTo>
                    <a:lnTo>
                      <a:pt x="116" y="804"/>
                    </a:lnTo>
                    <a:lnTo>
                      <a:pt x="116" y="804"/>
                    </a:lnTo>
                    <a:lnTo>
                      <a:pt x="132" y="818"/>
                    </a:lnTo>
                    <a:lnTo>
                      <a:pt x="148" y="834"/>
                    </a:lnTo>
                    <a:lnTo>
                      <a:pt x="158" y="840"/>
                    </a:lnTo>
                    <a:lnTo>
                      <a:pt x="168" y="844"/>
                    </a:lnTo>
                    <a:lnTo>
                      <a:pt x="180" y="844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208" y="836"/>
                    </a:lnTo>
                    <a:lnTo>
                      <a:pt x="218" y="834"/>
                    </a:lnTo>
                    <a:lnTo>
                      <a:pt x="228" y="836"/>
                    </a:lnTo>
                    <a:lnTo>
                      <a:pt x="234" y="838"/>
                    </a:lnTo>
                    <a:lnTo>
                      <a:pt x="240" y="842"/>
                    </a:lnTo>
                    <a:lnTo>
                      <a:pt x="242" y="848"/>
                    </a:lnTo>
                    <a:lnTo>
                      <a:pt x="242" y="858"/>
                    </a:lnTo>
                    <a:lnTo>
                      <a:pt x="238" y="868"/>
                    </a:lnTo>
                    <a:lnTo>
                      <a:pt x="238" y="868"/>
                    </a:lnTo>
                    <a:lnTo>
                      <a:pt x="236" y="878"/>
                    </a:lnTo>
                    <a:lnTo>
                      <a:pt x="236" y="884"/>
                    </a:lnTo>
                    <a:lnTo>
                      <a:pt x="238" y="888"/>
                    </a:lnTo>
                    <a:lnTo>
                      <a:pt x="242" y="890"/>
                    </a:lnTo>
                    <a:lnTo>
                      <a:pt x="244" y="892"/>
                    </a:lnTo>
                    <a:lnTo>
                      <a:pt x="246" y="896"/>
                    </a:lnTo>
                    <a:lnTo>
                      <a:pt x="246" y="900"/>
                    </a:lnTo>
                    <a:lnTo>
                      <a:pt x="244" y="908"/>
                    </a:lnTo>
                    <a:lnTo>
                      <a:pt x="244" y="908"/>
                    </a:lnTo>
                    <a:lnTo>
                      <a:pt x="242" y="918"/>
                    </a:lnTo>
                    <a:lnTo>
                      <a:pt x="244" y="922"/>
                    </a:lnTo>
                    <a:lnTo>
                      <a:pt x="248" y="924"/>
                    </a:lnTo>
                    <a:lnTo>
                      <a:pt x="254" y="924"/>
                    </a:lnTo>
                    <a:lnTo>
                      <a:pt x="262" y="920"/>
                    </a:lnTo>
                    <a:lnTo>
                      <a:pt x="270" y="916"/>
                    </a:lnTo>
                    <a:lnTo>
                      <a:pt x="284" y="904"/>
                    </a:lnTo>
                    <a:lnTo>
                      <a:pt x="284" y="904"/>
                    </a:lnTo>
                    <a:lnTo>
                      <a:pt x="292" y="900"/>
                    </a:lnTo>
                    <a:lnTo>
                      <a:pt x="300" y="898"/>
                    </a:lnTo>
                    <a:lnTo>
                      <a:pt x="308" y="898"/>
                    </a:lnTo>
                    <a:lnTo>
                      <a:pt x="316" y="902"/>
                    </a:lnTo>
                    <a:lnTo>
                      <a:pt x="326" y="906"/>
                    </a:lnTo>
                    <a:lnTo>
                      <a:pt x="336" y="912"/>
                    </a:lnTo>
                    <a:lnTo>
                      <a:pt x="352" y="926"/>
                    </a:lnTo>
                    <a:lnTo>
                      <a:pt x="352" y="926"/>
                    </a:lnTo>
                    <a:lnTo>
                      <a:pt x="358" y="930"/>
                    </a:lnTo>
                    <a:lnTo>
                      <a:pt x="362" y="932"/>
                    </a:lnTo>
                    <a:lnTo>
                      <a:pt x="366" y="930"/>
                    </a:lnTo>
                    <a:lnTo>
                      <a:pt x="370" y="926"/>
                    </a:lnTo>
                    <a:lnTo>
                      <a:pt x="376" y="918"/>
                    </a:lnTo>
                    <a:lnTo>
                      <a:pt x="380" y="916"/>
                    </a:lnTo>
                    <a:lnTo>
                      <a:pt x="386" y="918"/>
                    </a:lnTo>
                    <a:lnTo>
                      <a:pt x="386" y="918"/>
                    </a:lnTo>
                    <a:lnTo>
                      <a:pt x="392" y="920"/>
                    </a:lnTo>
                    <a:lnTo>
                      <a:pt x="402" y="918"/>
                    </a:lnTo>
                    <a:lnTo>
                      <a:pt x="420" y="912"/>
                    </a:lnTo>
                    <a:lnTo>
                      <a:pt x="432" y="908"/>
                    </a:lnTo>
                    <a:lnTo>
                      <a:pt x="432" y="908"/>
                    </a:lnTo>
                    <a:lnTo>
                      <a:pt x="432" y="910"/>
                    </a:lnTo>
                    <a:lnTo>
                      <a:pt x="430" y="916"/>
                    </a:lnTo>
                    <a:lnTo>
                      <a:pt x="430" y="916"/>
                    </a:lnTo>
                    <a:lnTo>
                      <a:pt x="418" y="932"/>
                    </a:lnTo>
                    <a:lnTo>
                      <a:pt x="412" y="946"/>
                    </a:lnTo>
                    <a:lnTo>
                      <a:pt x="410" y="962"/>
                    </a:lnTo>
                    <a:lnTo>
                      <a:pt x="410" y="978"/>
                    </a:lnTo>
                    <a:lnTo>
                      <a:pt x="410" y="978"/>
                    </a:lnTo>
                    <a:lnTo>
                      <a:pt x="408" y="986"/>
                    </a:lnTo>
                    <a:lnTo>
                      <a:pt x="406" y="990"/>
                    </a:lnTo>
                    <a:lnTo>
                      <a:pt x="402" y="992"/>
                    </a:lnTo>
                    <a:lnTo>
                      <a:pt x="396" y="994"/>
                    </a:lnTo>
                    <a:lnTo>
                      <a:pt x="392" y="998"/>
                    </a:lnTo>
                    <a:lnTo>
                      <a:pt x="386" y="1000"/>
                    </a:lnTo>
                    <a:lnTo>
                      <a:pt x="380" y="1008"/>
                    </a:lnTo>
                    <a:lnTo>
                      <a:pt x="374" y="1018"/>
                    </a:lnTo>
                    <a:lnTo>
                      <a:pt x="374" y="1018"/>
                    </a:lnTo>
                    <a:lnTo>
                      <a:pt x="368" y="1028"/>
                    </a:lnTo>
                    <a:lnTo>
                      <a:pt x="360" y="1036"/>
                    </a:lnTo>
                    <a:lnTo>
                      <a:pt x="352" y="1040"/>
                    </a:lnTo>
                    <a:lnTo>
                      <a:pt x="342" y="1044"/>
                    </a:lnTo>
                    <a:lnTo>
                      <a:pt x="332" y="1048"/>
                    </a:lnTo>
                    <a:lnTo>
                      <a:pt x="324" y="1054"/>
                    </a:lnTo>
                    <a:lnTo>
                      <a:pt x="314" y="1060"/>
                    </a:lnTo>
                    <a:lnTo>
                      <a:pt x="306" y="1072"/>
                    </a:lnTo>
                    <a:lnTo>
                      <a:pt x="306" y="1072"/>
                    </a:lnTo>
                    <a:lnTo>
                      <a:pt x="300" y="1082"/>
                    </a:lnTo>
                    <a:lnTo>
                      <a:pt x="296" y="1088"/>
                    </a:lnTo>
                    <a:lnTo>
                      <a:pt x="292" y="1090"/>
                    </a:lnTo>
                    <a:lnTo>
                      <a:pt x="288" y="1088"/>
                    </a:lnTo>
                    <a:lnTo>
                      <a:pt x="276" y="1086"/>
                    </a:lnTo>
                    <a:lnTo>
                      <a:pt x="268" y="1088"/>
                    </a:lnTo>
                    <a:lnTo>
                      <a:pt x="254" y="1090"/>
                    </a:lnTo>
                    <a:lnTo>
                      <a:pt x="254" y="1090"/>
                    </a:lnTo>
                    <a:lnTo>
                      <a:pt x="244" y="1096"/>
                    </a:lnTo>
                    <a:lnTo>
                      <a:pt x="236" y="1100"/>
                    </a:lnTo>
                    <a:lnTo>
                      <a:pt x="232" y="1104"/>
                    </a:lnTo>
                    <a:lnTo>
                      <a:pt x="228" y="1110"/>
                    </a:lnTo>
                    <a:lnTo>
                      <a:pt x="222" y="1118"/>
                    </a:lnTo>
                    <a:lnTo>
                      <a:pt x="218" y="1124"/>
                    </a:lnTo>
                    <a:lnTo>
                      <a:pt x="210" y="1128"/>
                    </a:lnTo>
                    <a:lnTo>
                      <a:pt x="210" y="1128"/>
                    </a:lnTo>
                    <a:lnTo>
                      <a:pt x="200" y="1132"/>
                    </a:lnTo>
                    <a:lnTo>
                      <a:pt x="194" y="1138"/>
                    </a:lnTo>
                    <a:lnTo>
                      <a:pt x="188" y="1144"/>
                    </a:lnTo>
                    <a:lnTo>
                      <a:pt x="186" y="1148"/>
                    </a:lnTo>
                    <a:lnTo>
                      <a:pt x="188" y="1152"/>
                    </a:lnTo>
                    <a:lnTo>
                      <a:pt x="192" y="1154"/>
                    </a:lnTo>
                    <a:lnTo>
                      <a:pt x="200" y="1154"/>
                    </a:lnTo>
                    <a:lnTo>
                      <a:pt x="212" y="1150"/>
                    </a:lnTo>
                    <a:lnTo>
                      <a:pt x="212" y="1150"/>
                    </a:lnTo>
                    <a:lnTo>
                      <a:pt x="224" y="1144"/>
                    </a:lnTo>
                    <a:lnTo>
                      <a:pt x="234" y="1138"/>
                    </a:lnTo>
                    <a:lnTo>
                      <a:pt x="248" y="1124"/>
                    </a:lnTo>
                    <a:lnTo>
                      <a:pt x="256" y="1116"/>
                    </a:lnTo>
                    <a:lnTo>
                      <a:pt x="258" y="1116"/>
                    </a:lnTo>
                    <a:lnTo>
                      <a:pt x="262" y="1120"/>
                    </a:lnTo>
                    <a:lnTo>
                      <a:pt x="262" y="1120"/>
                    </a:lnTo>
                    <a:lnTo>
                      <a:pt x="266" y="1124"/>
                    </a:lnTo>
                    <a:lnTo>
                      <a:pt x="270" y="1124"/>
                    </a:lnTo>
                    <a:lnTo>
                      <a:pt x="278" y="1122"/>
                    </a:lnTo>
                    <a:lnTo>
                      <a:pt x="282" y="1120"/>
                    </a:lnTo>
                    <a:lnTo>
                      <a:pt x="284" y="1120"/>
                    </a:lnTo>
                    <a:lnTo>
                      <a:pt x="288" y="1124"/>
                    </a:lnTo>
                    <a:lnTo>
                      <a:pt x="290" y="1128"/>
                    </a:lnTo>
                    <a:lnTo>
                      <a:pt x="290" y="1128"/>
                    </a:lnTo>
                    <a:lnTo>
                      <a:pt x="292" y="1136"/>
                    </a:lnTo>
                    <a:lnTo>
                      <a:pt x="296" y="1138"/>
                    </a:lnTo>
                    <a:lnTo>
                      <a:pt x="298" y="1140"/>
                    </a:lnTo>
                    <a:lnTo>
                      <a:pt x="302" y="1138"/>
                    </a:lnTo>
                    <a:lnTo>
                      <a:pt x="306" y="1136"/>
                    </a:lnTo>
                    <a:lnTo>
                      <a:pt x="308" y="1130"/>
                    </a:lnTo>
                    <a:lnTo>
                      <a:pt x="308" y="1126"/>
                    </a:lnTo>
                    <a:lnTo>
                      <a:pt x="306" y="1120"/>
                    </a:lnTo>
                    <a:lnTo>
                      <a:pt x="306" y="1120"/>
                    </a:lnTo>
                    <a:lnTo>
                      <a:pt x="306" y="1114"/>
                    </a:lnTo>
                    <a:lnTo>
                      <a:pt x="308" y="1110"/>
                    </a:lnTo>
                    <a:lnTo>
                      <a:pt x="312" y="1106"/>
                    </a:lnTo>
                    <a:lnTo>
                      <a:pt x="316" y="1102"/>
                    </a:lnTo>
                    <a:lnTo>
                      <a:pt x="322" y="1100"/>
                    </a:lnTo>
                    <a:lnTo>
                      <a:pt x="328" y="1100"/>
                    </a:lnTo>
                    <a:lnTo>
                      <a:pt x="332" y="1102"/>
                    </a:lnTo>
                    <a:lnTo>
                      <a:pt x="334" y="1108"/>
                    </a:lnTo>
                    <a:lnTo>
                      <a:pt x="334" y="1108"/>
                    </a:lnTo>
                    <a:lnTo>
                      <a:pt x="334" y="1110"/>
                    </a:lnTo>
                    <a:lnTo>
                      <a:pt x="336" y="1110"/>
                    </a:lnTo>
                    <a:lnTo>
                      <a:pt x="340" y="1110"/>
                    </a:lnTo>
                    <a:lnTo>
                      <a:pt x="354" y="1100"/>
                    </a:lnTo>
                    <a:lnTo>
                      <a:pt x="372" y="1088"/>
                    </a:lnTo>
                    <a:lnTo>
                      <a:pt x="380" y="1084"/>
                    </a:lnTo>
                    <a:lnTo>
                      <a:pt x="388" y="1082"/>
                    </a:lnTo>
                    <a:lnTo>
                      <a:pt x="388" y="1082"/>
                    </a:lnTo>
                    <a:lnTo>
                      <a:pt x="394" y="1082"/>
                    </a:lnTo>
                    <a:lnTo>
                      <a:pt x="396" y="1080"/>
                    </a:lnTo>
                    <a:lnTo>
                      <a:pt x="394" y="1074"/>
                    </a:lnTo>
                    <a:lnTo>
                      <a:pt x="394" y="1068"/>
                    </a:lnTo>
                    <a:lnTo>
                      <a:pt x="398" y="1062"/>
                    </a:lnTo>
                    <a:lnTo>
                      <a:pt x="408" y="1052"/>
                    </a:lnTo>
                    <a:lnTo>
                      <a:pt x="424" y="1042"/>
                    </a:lnTo>
                    <a:lnTo>
                      <a:pt x="424" y="1042"/>
                    </a:lnTo>
                    <a:lnTo>
                      <a:pt x="440" y="1032"/>
                    </a:lnTo>
                    <a:lnTo>
                      <a:pt x="452" y="1024"/>
                    </a:lnTo>
                    <a:lnTo>
                      <a:pt x="462" y="1016"/>
                    </a:lnTo>
                    <a:lnTo>
                      <a:pt x="468" y="1010"/>
                    </a:lnTo>
                    <a:lnTo>
                      <a:pt x="478" y="998"/>
                    </a:lnTo>
                    <a:lnTo>
                      <a:pt x="484" y="994"/>
                    </a:lnTo>
                    <a:lnTo>
                      <a:pt x="492" y="988"/>
                    </a:lnTo>
                    <a:lnTo>
                      <a:pt x="492" y="988"/>
                    </a:lnTo>
                    <a:lnTo>
                      <a:pt x="516" y="976"/>
                    </a:lnTo>
                    <a:lnTo>
                      <a:pt x="538" y="964"/>
                    </a:lnTo>
                    <a:lnTo>
                      <a:pt x="548" y="956"/>
                    </a:lnTo>
                    <a:lnTo>
                      <a:pt x="556" y="950"/>
                    </a:lnTo>
                    <a:lnTo>
                      <a:pt x="562" y="942"/>
                    </a:lnTo>
                    <a:lnTo>
                      <a:pt x="566" y="934"/>
                    </a:lnTo>
                    <a:lnTo>
                      <a:pt x="566" y="934"/>
                    </a:lnTo>
                    <a:lnTo>
                      <a:pt x="568" y="928"/>
                    </a:lnTo>
                    <a:lnTo>
                      <a:pt x="572" y="922"/>
                    </a:lnTo>
                    <a:lnTo>
                      <a:pt x="580" y="916"/>
                    </a:lnTo>
                    <a:lnTo>
                      <a:pt x="588" y="912"/>
                    </a:lnTo>
                    <a:lnTo>
                      <a:pt x="592" y="906"/>
                    </a:lnTo>
                    <a:lnTo>
                      <a:pt x="592" y="900"/>
                    </a:lnTo>
                    <a:lnTo>
                      <a:pt x="592" y="900"/>
                    </a:lnTo>
                    <a:lnTo>
                      <a:pt x="592" y="898"/>
                    </a:lnTo>
                    <a:lnTo>
                      <a:pt x="590" y="896"/>
                    </a:lnTo>
                    <a:lnTo>
                      <a:pt x="582" y="892"/>
                    </a:lnTo>
                    <a:lnTo>
                      <a:pt x="564" y="892"/>
                    </a:lnTo>
                    <a:lnTo>
                      <a:pt x="556" y="890"/>
                    </a:lnTo>
                    <a:lnTo>
                      <a:pt x="554" y="890"/>
                    </a:lnTo>
                    <a:lnTo>
                      <a:pt x="554" y="888"/>
                    </a:lnTo>
                    <a:lnTo>
                      <a:pt x="554" y="886"/>
                    </a:lnTo>
                    <a:lnTo>
                      <a:pt x="556" y="882"/>
                    </a:lnTo>
                    <a:lnTo>
                      <a:pt x="570" y="870"/>
                    </a:lnTo>
                    <a:lnTo>
                      <a:pt x="570" y="870"/>
                    </a:lnTo>
                    <a:lnTo>
                      <a:pt x="598" y="846"/>
                    </a:lnTo>
                    <a:lnTo>
                      <a:pt x="616" y="828"/>
                    </a:lnTo>
                    <a:lnTo>
                      <a:pt x="630" y="810"/>
                    </a:lnTo>
                    <a:lnTo>
                      <a:pt x="644" y="786"/>
                    </a:lnTo>
                    <a:lnTo>
                      <a:pt x="644" y="786"/>
                    </a:lnTo>
                    <a:lnTo>
                      <a:pt x="654" y="774"/>
                    </a:lnTo>
                    <a:lnTo>
                      <a:pt x="666" y="764"/>
                    </a:lnTo>
                    <a:lnTo>
                      <a:pt x="680" y="756"/>
                    </a:lnTo>
                    <a:lnTo>
                      <a:pt x="694" y="750"/>
                    </a:lnTo>
                    <a:lnTo>
                      <a:pt x="710" y="750"/>
                    </a:lnTo>
                    <a:lnTo>
                      <a:pt x="726" y="752"/>
                    </a:lnTo>
                    <a:lnTo>
                      <a:pt x="742" y="758"/>
                    </a:lnTo>
                    <a:lnTo>
                      <a:pt x="750" y="764"/>
                    </a:lnTo>
                    <a:lnTo>
                      <a:pt x="758" y="770"/>
                    </a:lnTo>
                    <a:lnTo>
                      <a:pt x="758" y="770"/>
                    </a:lnTo>
                    <a:lnTo>
                      <a:pt x="768" y="782"/>
                    </a:lnTo>
                    <a:lnTo>
                      <a:pt x="770" y="784"/>
                    </a:lnTo>
                    <a:lnTo>
                      <a:pt x="770" y="784"/>
                    </a:lnTo>
                    <a:lnTo>
                      <a:pt x="752" y="776"/>
                    </a:lnTo>
                    <a:lnTo>
                      <a:pt x="738" y="768"/>
                    </a:lnTo>
                    <a:lnTo>
                      <a:pt x="720" y="764"/>
                    </a:lnTo>
                    <a:lnTo>
                      <a:pt x="712" y="762"/>
                    </a:lnTo>
                    <a:lnTo>
                      <a:pt x="704" y="762"/>
                    </a:lnTo>
                    <a:lnTo>
                      <a:pt x="696" y="764"/>
                    </a:lnTo>
                    <a:lnTo>
                      <a:pt x="690" y="768"/>
                    </a:lnTo>
                    <a:lnTo>
                      <a:pt x="690" y="768"/>
                    </a:lnTo>
                    <a:lnTo>
                      <a:pt x="680" y="776"/>
                    </a:lnTo>
                    <a:lnTo>
                      <a:pt x="674" y="784"/>
                    </a:lnTo>
                    <a:lnTo>
                      <a:pt x="672" y="790"/>
                    </a:lnTo>
                    <a:lnTo>
                      <a:pt x="672" y="796"/>
                    </a:lnTo>
                    <a:lnTo>
                      <a:pt x="672" y="802"/>
                    </a:lnTo>
                    <a:lnTo>
                      <a:pt x="670" y="810"/>
                    </a:lnTo>
                    <a:lnTo>
                      <a:pt x="666" y="818"/>
                    </a:lnTo>
                    <a:lnTo>
                      <a:pt x="658" y="828"/>
                    </a:lnTo>
                    <a:lnTo>
                      <a:pt x="658" y="828"/>
                    </a:lnTo>
                    <a:lnTo>
                      <a:pt x="652" y="836"/>
                    </a:lnTo>
                    <a:lnTo>
                      <a:pt x="650" y="844"/>
                    </a:lnTo>
                    <a:lnTo>
                      <a:pt x="652" y="848"/>
                    </a:lnTo>
                    <a:lnTo>
                      <a:pt x="656" y="852"/>
                    </a:lnTo>
                    <a:lnTo>
                      <a:pt x="660" y="856"/>
                    </a:lnTo>
                    <a:lnTo>
                      <a:pt x="662" y="858"/>
                    </a:lnTo>
                    <a:lnTo>
                      <a:pt x="662" y="862"/>
                    </a:lnTo>
                    <a:lnTo>
                      <a:pt x="656" y="866"/>
                    </a:lnTo>
                    <a:lnTo>
                      <a:pt x="656" y="866"/>
                    </a:lnTo>
                    <a:lnTo>
                      <a:pt x="646" y="874"/>
                    </a:lnTo>
                    <a:lnTo>
                      <a:pt x="644" y="876"/>
                    </a:lnTo>
                    <a:lnTo>
                      <a:pt x="644" y="878"/>
                    </a:lnTo>
                    <a:lnTo>
                      <a:pt x="646" y="880"/>
                    </a:lnTo>
                    <a:lnTo>
                      <a:pt x="648" y="882"/>
                    </a:lnTo>
                    <a:lnTo>
                      <a:pt x="658" y="884"/>
                    </a:lnTo>
                    <a:lnTo>
                      <a:pt x="670" y="884"/>
                    </a:lnTo>
                    <a:lnTo>
                      <a:pt x="684" y="882"/>
                    </a:lnTo>
                    <a:lnTo>
                      <a:pt x="698" y="876"/>
                    </a:lnTo>
                    <a:lnTo>
                      <a:pt x="712" y="866"/>
                    </a:lnTo>
                    <a:lnTo>
                      <a:pt x="712" y="866"/>
                    </a:lnTo>
                    <a:lnTo>
                      <a:pt x="732" y="850"/>
                    </a:lnTo>
                    <a:lnTo>
                      <a:pt x="748" y="840"/>
                    </a:lnTo>
                    <a:lnTo>
                      <a:pt x="762" y="834"/>
                    </a:lnTo>
                    <a:lnTo>
                      <a:pt x="778" y="834"/>
                    </a:lnTo>
                    <a:lnTo>
                      <a:pt x="778" y="834"/>
                    </a:lnTo>
                    <a:lnTo>
                      <a:pt x="786" y="832"/>
                    </a:lnTo>
                    <a:lnTo>
                      <a:pt x="790" y="830"/>
                    </a:lnTo>
                    <a:lnTo>
                      <a:pt x="790" y="828"/>
                    </a:lnTo>
                    <a:lnTo>
                      <a:pt x="790" y="824"/>
                    </a:lnTo>
                    <a:lnTo>
                      <a:pt x="790" y="820"/>
                    </a:lnTo>
                    <a:lnTo>
                      <a:pt x="790" y="818"/>
                    </a:lnTo>
                    <a:lnTo>
                      <a:pt x="794" y="814"/>
                    </a:lnTo>
                    <a:lnTo>
                      <a:pt x="800" y="810"/>
                    </a:lnTo>
                    <a:lnTo>
                      <a:pt x="800" y="810"/>
                    </a:lnTo>
                    <a:lnTo>
                      <a:pt x="804" y="806"/>
                    </a:lnTo>
                    <a:lnTo>
                      <a:pt x="806" y="802"/>
                    </a:lnTo>
                    <a:lnTo>
                      <a:pt x="804" y="796"/>
                    </a:lnTo>
                    <a:lnTo>
                      <a:pt x="802" y="790"/>
                    </a:lnTo>
                    <a:lnTo>
                      <a:pt x="800" y="784"/>
                    </a:lnTo>
                    <a:lnTo>
                      <a:pt x="800" y="780"/>
                    </a:lnTo>
                    <a:lnTo>
                      <a:pt x="804" y="776"/>
                    </a:lnTo>
                    <a:lnTo>
                      <a:pt x="812" y="774"/>
                    </a:lnTo>
                    <a:lnTo>
                      <a:pt x="812" y="774"/>
                    </a:lnTo>
                    <a:lnTo>
                      <a:pt x="824" y="772"/>
                    </a:lnTo>
                    <a:lnTo>
                      <a:pt x="834" y="770"/>
                    </a:lnTo>
                    <a:lnTo>
                      <a:pt x="850" y="764"/>
                    </a:lnTo>
                    <a:lnTo>
                      <a:pt x="856" y="764"/>
                    </a:lnTo>
                    <a:lnTo>
                      <a:pt x="860" y="764"/>
                    </a:lnTo>
                    <a:lnTo>
                      <a:pt x="862" y="768"/>
                    </a:lnTo>
                    <a:lnTo>
                      <a:pt x="862" y="774"/>
                    </a:lnTo>
                    <a:lnTo>
                      <a:pt x="862" y="774"/>
                    </a:lnTo>
                    <a:lnTo>
                      <a:pt x="862" y="780"/>
                    </a:lnTo>
                    <a:lnTo>
                      <a:pt x="866" y="784"/>
                    </a:lnTo>
                    <a:lnTo>
                      <a:pt x="870" y="788"/>
                    </a:lnTo>
                    <a:lnTo>
                      <a:pt x="874" y="790"/>
                    </a:lnTo>
                    <a:lnTo>
                      <a:pt x="888" y="794"/>
                    </a:lnTo>
                    <a:lnTo>
                      <a:pt x="896" y="798"/>
                    </a:lnTo>
                    <a:lnTo>
                      <a:pt x="906" y="802"/>
                    </a:lnTo>
                    <a:lnTo>
                      <a:pt x="906" y="802"/>
                    </a:lnTo>
                    <a:lnTo>
                      <a:pt x="912" y="806"/>
                    </a:lnTo>
                    <a:lnTo>
                      <a:pt x="918" y="806"/>
                    </a:lnTo>
                    <a:lnTo>
                      <a:pt x="922" y="804"/>
                    </a:lnTo>
                    <a:lnTo>
                      <a:pt x="924" y="802"/>
                    </a:lnTo>
                    <a:lnTo>
                      <a:pt x="926" y="800"/>
                    </a:lnTo>
                    <a:lnTo>
                      <a:pt x="930" y="800"/>
                    </a:lnTo>
                    <a:lnTo>
                      <a:pt x="934" y="804"/>
                    </a:lnTo>
                    <a:lnTo>
                      <a:pt x="940" y="810"/>
                    </a:lnTo>
                    <a:lnTo>
                      <a:pt x="940" y="810"/>
                    </a:lnTo>
                    <a:lnTo>
                      <a:pt x="948" y="820"/>
                    </a:lnTo>
                    <a:lnTo>
                      <a:pt x="958" y="824"/>
                    </a:lnTo>
                    <a:lnTo>
                      <a:pt x="968" y="828"/>
                    </a:lnTo>
                    <a:lnTo>
                      <a:pt x="978" y="828"/>
                    </a:lnTo>
                    <a:lnTo>
                      <a:pt x="1002" y="826"/>
                    </a:lnTo>
                    <a:lnTo>
                      <a:pt x="1024" y="824"/>
                    </a:lnTo>
                    <a:lnTo>
                      <a:pt x="1024" y="824"/>
                    </a:lnTo>
                    <a:lnTo>
                      <a:pt x="1036" y="826"/>
                    </a:lnTo>
                    <a:lnTo>
                      <a:pt x="1050" y="830"/>
                    </a:lnTo>
                    <a:lnTo>
                      <a:pt x="1076" y="842"/>
                    </a:lnTo>
                    <a:lnTo>
                      <a:pt x="1090" y="846"/>
                    </a:lnTo>
                    <a:lnTo>
                      <a:pt x="1104" y="850"/>
                    </a:lnTo>
                    <a:lnTo>
                      <a:pt x="1116" y="850"/>
                    </a:lnTo>
                    <a:lnTo>
                      <a:pt x="1122" y="848"/>
                    </a:lnTo>
                    <a:lnTo>
                      <a:pt x="1126" y="846"/>
                    </a:lnTo>
                    <a:lnTo>
                      <a:pt x="1126" y="846"/>
                    </a:lnTo>
                    <a:lnTo>
                      <a:pt x="1136" y="842"/>
                    </a:lnTo>
                    <a:lnTo>
                      <a:pt x="1142" y="840"/>
                    </a:lnTo>
                    <a:lnTo>
                      <a:pt x="1146" y="840"/>
                    </a:lnTo>
                    <a:lnTo>
                      <a:pt x="1150" y="842"/>
                    </a:lnTo>
                    <a:lnTo>
                      <a:pt x="1150" y="846"/>
                    </a:lnTo>
                    <a:lnTo>
                      <a:pt x="1150" y="850"/>
                    </a:lnTo>
                    <a:lnTo>
                      <a:pt x="1146" y="854"/>
                    </a:lnTo>
                    <a:lnTo>
                      <a:pt x="1142" y="858"/>
                    </a:lnTo>
                    <a:lnTo>
                      <a:pt x="1142" y="858"/>
                    </a:lnTo>
                    <a:lnTo>
                      <a:pt x="1138" y="860"/>
                    </a:lnTo>
                    <a:lnTo>
                      <a:pt x="1140" y="864"/>
                    </a:lnTo>
                    <a:lnTo>
                      <a:pt x="1146" y="868"/>
                    </a:lnTo>
                    <a:lnTo>
                      <a:pt x="1154" y="874"/>
                    </a:lnTo>
                    <a:lnTo>
                      <a:pt x="1174" y="882"/>
                    </a:lnTo>
                    <a:lnTo>
                      <a:pt x="1192" y="892"/>
                    </a:lnTo>
                    <a:lnTo>
                      <a:pt x="1192" y="892"/>
                    </a:lnTo>
                    <a:lnTo>
                      <a:pt x="1206" y="900"/>
                    </a:lnTo>
                    <a:lnTo>
                      <a:pt x="1216" y="912"/>
                    </a:lnTo>
                    <a:lnTo>
                      <a:pt x="1228" y="924"/>
                    </a:lnTo>
                    <a:lnTo>
                      <a:pt x="1244" y="934"/>
                    </a:lnTo>
                    <a:lnTo>
                      <a:pt x="1244" y="934"/>
                    </a:lnTo>
                    <a:lnTo>
                      <a:pt x="1254" y="938"/>
                    </a:lnTo>
                    <a:lnTo>
                      <a:pt x="1264" y="940"/>
                    </a:lnTo>
                    <a:lnTo>
                      <a:pt x="1272" y="940"/>
                    </a:lnTo>
                    <a:lnTo>
                      <a:pt x="1278" y="940"/>
                    </a:lnTo>
                    <a:lnTo>
                      <a:pt x="1282" y="938"/>
                    </a:lnTo>
                    <a:lnTo>
                      <a:pt x="1284" y="934"/>
                    </a:lnTo>
                    <a:lnTo>
                      <a:pt x="1284" y="930"/>
                    </a:lnTo>
                    <a:lnTo>
                      <a:pt x="1280" y="924"/>
                    </a:lnTo>
                    <a:lnTo>
                      <a:pt x="1280" y="924"/>
                    </a:lnTo>
                    <a:lnTo>
                      <a:pt x="1272" y="912"/>
                    </a:lnTo>
                    <a:lnTo>
                      <a:pt x="1268" y="904"/>
                    </a:lnTo>
                    <a:lnTo>
                      <a:pt x="1268" y="902"/>
                    </a:lnTo>
                    <a:lnTo>
                      <a:pt x="1270" y="902"/>
                    </a:lnTo>
                    <a:lnTo>
                      <a:pt x="1282" y="912"/>
                    </a:lnTo>
                    <a:lnTo>
                      <a:pt x="1282" y="912"/>
                    </a:lnTo>
                    <a:lnTo>
                      <a:pt x="1298" y="928"/>
                    </a:lnTo>
                    <a:lnTo>
                      <a:pt x="1314" y="938"/>
                    </a:lnTo>
                    <a:lnTo>
                      <a:pt x="1320" y="940"/>
                    </a:lnTo>
                    <a:lnTo>
                      <a:pt x="1324" y="940"/>
                    </a:lnTo>
                    <a:lnTo>
                      <a:pt x="1326" y="938"/>
                    </a:lnTo>
                    <a:lnTo>
                      <a:pt x="1326" y="930"/>
                    </a:lnTo>
                    <a:lnTo>
                      <a:pt x="1326" y="930"/>
                    </a:lnTo>
                    <a:lnTo>
                      <a:pt x="1322" y="916"/>
                    </a:lnTo>
                    <a:lnTo>
                      <a:pt x="1322" y="908"/>
                    </a:lnTo>
                    <a:lnTo>
                      <a:pt x="1322" y="906"/>
                    </a:lnTo>
                    <a:lnTo>
                      <a:pt x="1324" y="908"/>
                    </a:lnTo>
                    <a:lnTo>
                      <a:pt x="1332" y="922"/>
                    </a:lnTo>
                    <a:lnTo>
                      <a:pt x="1332" y="922"/>
                    </a:lnTo>
                    <a:lnTo>
                      <a:pt x="1338" y="930"/>
                    </a:lnTo>
                    <a:lnTo>
                      <a:pt x="1344" y="934"/>
                    </a:lnTo>
                    <a:lnTo>
                      <a:pt x="1348" y="936"/>
                    </a:lnTo>
                    <a:lnTo>
                      <a:pt x="1354" y="938"/>
                    </a:lnTo>
                    <a:lnTo>
                      <a:pt x="1358" y="938"/>
                    </a:lnTo>
                    <a:lnTo>
                      <a:pt x="1362" y="940"/>
                    </a:lnTo>
                    <a:lnTo>
                      <a:pt x="1368" y="942"/>
                    </a:lnTo>
                    <a:lnTo>
                      <a:pt x="1372" y="950"/>
                    </a:lnTo>
                    <a:lnTo>
                      <a:pt x="1372" y="950"/>
                    </a:lnTo>
                    <a:lnTo>
                      <a:pt x="1378" y="966"/>
                    </a:lnTo>
                    <a:lnTo>
                      <a:pt x="1382" y="976"/>
                    </a:lnTo>
                    <a:lnTo>
                      <a:pt x="1384" y="982"/>
                    </a:lnTo>
                    <a:lnTo>
                      <a:pt x="1390" y="988"/>
                    </a:lnTo>
                    <a:lnTo>
                      <a:pt x="1390" y="988"/>
                    </a:lnTo>
                    <a:lnTo>
                      <a:pt x="1394" y="992"/>
                    </a:lnTo>
                    <a:lnTo>
                      <a:pt x="1394" y="996"/>
                    </a:lnTo>
                    <a:lnTo>
                      <a:pt x="1390" y="1002"/>
                    </a:lnTo>
                    <a:lnTo>
                      <a:pt x="1388" y="1006"/>
                    </a:lnTo>
                    <a:lnTo>
                      <a:pt x="1388" y="1008"/>
                    </a:lnTo>
                    <a:lnTo>
                      <a:pt x="1392" y="1012"/>
                    </a:lnTo>
                    <a:lnTo>
                      <a:pt x="1398" y="1014"/>
                    </a:lnTo>
                    <a:lnTo>
                      <a:pt x="1398" y="1014"/>
                    </a:lnTo>
                    <a:lnTo>
                      <a:pt x="1412" y="1020"/>
                    </a:lnTo>
                    <a:lnTo>
                      <a:pt x="1414" y="1024"/>
                    </a:lnTo>
                    <a:lnTo>
                      <a:pt x="1416" y="1026"/>
                    </a:lnTo>
                    <a:lnTo>
                      <a:pt x="1422" y="1036"/>
                    </a:lnTo>
                    <a:lnTo>
                      <a:pt x="1426" y="1042"/>
                    </a:lnTo>
                    <a:lnTo>
                      <a:pt x="1434" y="1052"/>
                    </a:lnTo>
                    <a:lnTo>
                      <a:pt x="1434" y="1052"/>
                    </a:lnTo>
                    <a:lnTo>
                      <a:pt x="1452" y="1064"/>
                    </a:lnTo>
                    <a:lnTo>
                      <a:pt x="1464" y="1070"/>
                    </a:lnTo>
                    <a:lnTo>
                      <a:pt x="1466" y="1074"/>
                    </a:lnTo>
                    <a:lnTo>
                      <a:pt x="1460" y="1076"/>
                    </a:lnTo>
                    <a:lnTo>
                      <a:pt x="1460" y="1076"/>
                    </a:lnTo>
                    <a:lnTo>
                      <a:pt x="1452" y="1080"/>
                    </a:lnTo>
                    <a:lnTo>
                      <a:pt x="1450" y="1086"/>
                    </a:lnTo>
                    <a:lnTo>
                      <a:pt x="1448" y="1092"/>
                    </a:lnTo>
                    <a:lnTo>
                      <a:pt x="1442" y="1100"/>
                    </a:lnTo>
                    <a:lnTo>
                      <a:pt x="1442" y="1100"/>
                    </a:lnTo>
                    <a:lnTo>
                      <a:pt x="1440" y="1104"/>
                    </a:lnTo>
                    <a:lnTo>
                      <a:pt x="1440" y="1108"/>
                    </a:lnTo>
                    <a:lnTo>
                      <a:pt x="1440" y="1112"/>
                    </a:lnTo>
                    <a:lnTo>
                      <a:pt x="1442" y="1114"/>
                    </a:lnTo>
                    <a:lnTo>
                      <a:pt x="1446" y="1116"/>
                    </a:lnTo>
                    <a:lnTo>
                      <a:pt x="1450" y="1114"/>
                    </a:lnTo>
                    <a:lnTo>
                      <a:pt x="1452" y="1112"/>
                    </a:lnTo>
                    <a:lnTo>
                      <a:pt x="1456" y="1106"/>
                    </a:lnTo>
                    <a:lnTo>
                      <a:pt x="1456" y="1106"/>
                    </a:lnTo>
                    <a:lnTo>
                      <a:pt x="1462" y="1092"/>
                    </a:lnTo>
                    <a:lnTo>
                      <a:pt x="1466" y="1088"/>
                    </a:lnTo>
                    <a:lnTo>
                      <a:pt x="1470" y="1084"/>
                    </a:lnTo>
                    <a:lnTo>
                      <a:pt x="1474" y="1082"/>
                    </a:lnTo>
                    <a:lnTo>
                      <a:pt x="1478" y="1084"/>
                    </a:lnTo>
                    <a:lnTo>
                      <a:pt x="1484" y="1088"/>
                    </a:lnTo>
                    <a:lnTo>
                      <a:pt x="1488" y="1094"/>
                    </a:lnTo>
                    <a:lnTo>
                      <a:pt x="1488" y="1094"/>
                    </a:lnTo>
                    <a:lnTo>
                      <a:pt x="1492" y="1104"/>
                    </a:lnTo>
                    <a:lnTo>
                      <a:pt x="1494" y="1112"/>
                    </a:lnTo>
                    <a:lnTo>
                      <a:pt x="1494" y="1118"/>
                    </a:lnTo>
                    <a:lnTo>
                      <a:pt x="1492" y="1124"/>
                    </a:lnTo>
                    <a:lnTo>
                      <a:pt x="1488" y="1134"/>
                    </a:lnTo>
                    <a:lnTo>
                      <a:pt x="1488" y="1138"/>
                    </a:lnTo>
                    <a:lnTo>
                      <a:pt x="1488" y="1144"/>
                    </a:lnTo>
                    <a:lnTo>
                      <a:pt x="1488" y="1144"/>
                    </a:lnTo>
                    <a:lnTo>
                      <a:pt x="1492" y="1152"/>
                    </a:lnTo>
                    <a:lnTo>
                      <a:pt x="1494" y="1160"/>
                    </a:lnTo>
                    <a:lnTo>
                      <a:pt x="1496" y="1164"/>
                    </a:lnTo>
                    <a:lnTo>
                      <a:pt x="1498" y="1164"/>
                    </a:lnTo>
                    <a:lnTo>
                      <a:pt x="1502" y="1162"/>
                    </a:lnTo>
                    <a:lnTo>
                      <a:pt x="1508" y="1158"/>
                    </a:lnTo>
                    <a:lnTo>
                      <a:pt x="1508" y="1158"/>
                    </a:lnTo>
                    <a:lnTo>
                      <a:pt x="1516" y="1150"/>
                    </a:lnTo>
                    <a:lnTo>
                      <a:pt x="1524" y="1142"/>
                    </a:lnTo>
                    <a:lnTo>
                      <a:pt x="1526" y="1138"/>
                    </a:lnTo>
                    <a:lnTo>
                      <a:pt x="1526" y="1132"/>
                    </a:lnTo>
                    <a:lnTo>
                      <a:pt x="1524" y="1118"/>
                    </a:lnTo>
                    <a:lnTo>
                      <a:pt x="1524" y="1118"/>
                    </a:lnTo>
                    <a:lnTo>
                      <a:pt x="1522" y="1106"/>
                    </a:lnTo>
                    <a:lnTo>
                      <a:pt x="1524" y="1098"/>
                    </a:lnTo>
                    <a:lnTo>
                      <a:pt x="1528" y="1094"/>
                    </a:lnTo>
                    <a:lnTo>
                      <a:pt x="1530" y="1090"/>
                    </a:lnTo>
                    <a:lnTo>
                      <a:pt x="1530" y="1090"/>
                    </a:lnTo>
                    <a:lnTo>
                      <a:pt x="1528" y="1098"/>
                    </a:lnTo>
                    <a:lnTo>
                      <a:pt x="1530" y="1106"/>
                    </a:lnTo>
                    <a:lnTo>
                      <a:pt x="1532" y="1118"/>
                    </a:lnTo>
                    <a:lnTo>
                      <a:pt x="1534" y="1130"/>
                    </a:lnTo>
                    <a:lnTo>
                      <a:pt x="1532" y="1136"/>
                    </a:lnTo>
                    <a:lnTo>
                      <a:pt x="1530" y="1140"/>
                    </a:lnTo>
                    <a:lnTo>
                      <a:pt x="1530" y="1140"/>
                    </a:lnTo>
                    <a:lnTo>
                      <a:pt x="1526" y="1142"/>
                    </a:lnTo>
                    <a:lnTo>
                      <a:pt x="1526" y="1146"/>
                    </a:lnTo>
                    <a:lnTo>
                      <a:pt x="1526" y="1152"/>
                    </a:lnTo>
                    <a:lnTo>
                      <a:pt x="1526" y="1160"/>
                    </a:lnTo>
                    <a:lnTo>
                      <a:pt x="1524" y="1162"/>
                    </a:lnTo>
                    <a:lnTo>
                      <a:pt x="1522" y="1166"/>
                    </a:lnTo>
                    <a:lnTo>
                      <a:pt x="1522" y="1166"/>
                    </a:lnTo>
                    <a:lnTo>
                      <a:pt x="1516" y="1172"/>
                    </a:lnTo>
                    <a:lnTo>
                      <a:pt x="1512" y="1178"/>
                    </a:lnTo>
                    <a:lnTo>
                      <a:pt x="1512" y="1182"/>
                    </a:lnTo>
                    <a:lnTo>
                      <a:pt x="1512" y="1186"/>
                    </a:lnTo>
                    <a:lnTo>
                      <a:pt x="1518" y="1192"/>
                    </a:lnTo>
                    <a:lnTo>
                      <a:pt x="1520" y="1194"/>
                    </a:lnTo>
                    <a:lnTo>
                      <a:pt x="1524" y="1198"/>
                    </a:lnTo>
                    <a:lnTo>
                      <a:pt x="1524" y="1198"/>
                    </a:lnTo>
                    <a:lnTo>
                      <a:pt x="1528" y="1210"/>
                    </a:lnTo>
                    <a:lnTo>
                      <a:pt x="1534" y="1222"/>
                    </a:lnTo>
                    <a:lnTo>
                      <a:pt x="1542" y="1232"/>
                    </a:lnTo>
                    <a:lnTo>
                      <a:pt x="1554" y="1244"/>
                    </a:lnTo>
                    <a:lnTo>
                      <a:pt x="1554" y="1244"/>
                    </a:lnTo>
                    <a:lnTo>
                      <a:pt x="1558" y="1246"/>
                    </a:lnTo>
                    <a:lnTo>
                      <a:pt x="1560" y="1244"/>
                    </a:lnTo>
                    <a:lnTo>
                      <a:pt x="1562" y="1236"/>
                    </a:lnTo>
                    <a:lnTo>
                      <a:pt x="1564" y="1230"/>
                    </a:lnTo>
                    <a:lnTo>
                      <a:pt x="1566" y="1224"/>
                    </a:lnTo>
                    <a:lnTo>
                      <a:pt x="1574" y="1218"/>
                    </a:lnTo>
                    <a:lnTo>
                      <a:pt x="1584" y="1216"/>
                    </a:lnTo>
                    <a:lnTo>
                      <a:pt x="1584" y="1216"/>
                    </a:lnTo>
                    <a:lnTo>
                      <a:pt x="1592" y="1216"/>
                    </a:lnTo>
                    <a:lnTo>
                      <a:pt x="1594" y="1216"/>
                    </a:lnTo>
                    <a:lnTo>
                      <a:pt x="1586" y="1222"/>
                    </a:lnTo>
                    <a:lnTo>
                      <a:pt x="1582" y="1228"/>
                    </a:lnTo>
                    <a:lnTo>
                      <a:pt x="1578" y="1234"/>
                    </a:lnTo>
                    <a:lnTo>
                      <a:pt x="1574" y="1240"/>
                    </a:lnTo>
                    <a:lnTo>
                      <a:pt x="1576" y="1248"/>
                    </a:lnTo>
                    <a:lnTo>
                      <a:pt x="1576" y="1248"/>
                    </a:lnTo>
                    <a:lnTo>
                      <a:pt x="1582" y="1258"/>
                    </a:lnTo>
                    <a:lnTo>
                      <a:pt x="1586" y="1260"/>
                    </a:lnTo>
                    <a:lnTo>
                      <a:pt x="1588" y="1262"/>
                    </a:lnTo>
                    <a:lnTo>
                      <a:pt x="1590" y="1274"/>
                    </a:lnTo>
                    <a:lnTo>
                      <a:pt x="1590" y="1274"/>
                    </a:lnTo>
                    <a:lnTo>
                      <a:pt x="1592" y="1280"/>
                    </a:lnTo>
                    <a:lnTo>
                      <a:pt x="1596" y="1280"/>
                    </a:lnTo>
                    <a:lnTo>
                      <a:pt x="1600" y="1280"/>
                    </a:lnTo>
                    <a:lnTo>
                      <a:pt x="1604" y="1278"/>
                    </a:lnTo>
                    <a:lnTo>
                      <a:pt x="1608" y="1278"/>
                    </a:lnTo>
                    <a:lnTo>
                      <a:pt x="1610" y="1278"/>
                    </a:lnTo>
                    <a:lnTo>
                      <a:pt x="1610" y="1280"/>
                    </a:lnTo>
                    <a:lnTo>
                      <a:pt x="1606" y="1290"/>
                    </a:lnTo>
                    <a:lnTo>
                      <a:pt x="1606" y="1290"/>
                    </a:lnTo>
                    <a:lnTo>
                      <a:pt x="1598" y="1306"/>
                    </a:lnTo>
                    <a:lnTo>
                      <a:pt x="1596" y="1318"/>
                    </a:lnTo>
                    <a:lnTo>
                      <a:pt x="1598" y="1322"/>
                    </a:lnTo>
                    <a:lnTo>
                      <a:pt x="1600" y="1322"/>
                    </a:lnTo>
                    <a:lnTo>
                      <a:pt x="1600" y="1322"/>
                    </a:lnTo>
                    <a:lnTo>
                      <a:pt x="1602" y="1322"/>
                    </a:lnTo>
                    <a:lnTo>
                      <a:pt x="1602" y="1324"/>
                    </a:lnTo>
                    <a:lnTo>
                      <a:pt x="1602" y="1330"/>
                    </a:lnTo>
                    <a:lnTo>
                      <a:pt x="1602" y="1336"/>
                    </a:lnTo>
                    <a:lnTo>
                      <a:pt x="1604" y="1340"/>
                    </a:lnTo>
                    <a:lnTo>
                      <a:pt x="1608" y="1342"/>
                    </a:lnTo>
                    <a:lnTo>
                      <a:pt x="1608" y="1342"/>
                    </a:lnTo>
                    <a:lnTo>
                      <a:pt x="1610" y="1342"/>
                    </a:lnTo>
                    <a:lnTo>
                      <a:pt x="1612" y="1340"/>
                    </a:lnTo>
                    <a:lnTo>
                      <a:pt x="1614" y="1330"/>
                    </a:lnTo>
                    <a:lnTo>
                      <a:pt x="1616" y="1320"/>
                    </a:lnTo>
                    <a:lnTo>
                      <a:pt x="1618" y="1316"/>
                    </a:lnTo>
                    <a:lnTo>
                      <a:pt x="1622" y="1314"/>
                    </a:lnTo>
                    <a:lnTo>
                      <a:pt x="1622" y="1314"/>
                    </a:lnTo>
                    <a:lnTo>
                      <a:pt x="1630" y="1310"/>
                    </a:lnTo>
                    <a:lnTo>
                      <a:pt x="1636" y="1304"/>
                    </a:lnTo>
                    <a:lnTo>
                      <a:pt x="1642" y="1300"/>
                    </a:lnTo>
                    <a:lnTo>
                      <a:pt x="1642" y="1300"/>
                    </a:lnTo>
                    <a:lnTo>
                      <a:pt x="1644" y="1304"/>
                    </a:lnTo>
                    <a:lnTo>
                      <a:pt x="1644" y="1304"/>
                    </a:lnTo>
                    <a:lnTo>
                      <a:pt x="1646" y="1306"/>
                    </a:lnTo>
                    <a:lnTo>
                      <a:pt x="1648" y="1308"/>
                    </a:lnTo>
                    <a:lnTo>
                      <a:pt x="1654" y="1308"/>
                    </a:lnTo>
                    <a:lnTo>
                      <a:pt x="1660" y="1308"/>
                    </a:lnTo>
                    <a:lnTo>
                      <a:pt x="1660" y="1310"/>
                    </a:lnTo>
                    <a:lnTo>
                      <a:pt x="1660" y="1314"/>
                    </a:lnTo>
                    <a:lnTo>
                      <a:pt x="1660" y="1314"/>
                    </a:lnTo>
                    <a:lnTo>
                      <a:pt x="1660" y="1318"/>
                    </a:lnTo>
                    <a:lnTo>
                      <a:pt x="1658" y="1318"/>
                    </a:lnTo>
                    <a:lnTo>
                      <a:pt x="1656" y="1316"/>
                    </a:lnTo>
                    <a:lnTo>
                      <a:pt x="1652" y="1314"/>
                    </a:lnTo>
                    <a:lnTo>
                      <a:pt x="1648" y="1312"/>
                    </a:lnTo>
                    <a:lnTo>
                      <a:pt x="1642" y="1314"/>
                    </a:lnTo>
                    <a:lnTo>
                      <a:pt x="1634" y="1318"/>
                    </a:lnTo>
                    <a:lnTo>
                      <a:pt x="1634" y="1318"/>
                    </a:lnTo>
                    <a:lnTo>
                      <a:pt x="1622" y="1330"/>
                    </a:lnTo>
                    <a:lnTo>
                      <a:pt x="1618" y="1336"/>
                    </a:lnTo>
                    <a:lnTo>
                      <a:pt x="1618" y="1342"/>
                    </a:lnTo>
                    <a:lnTo>
                      <a:pt x="1618" y="1350"/>
                    </a:lnTo>
                    <a:lnTo>
                      <a:pt x="1618" y="1350"/>
                    </a:lnTo>
                    <a:lnTo>
                      <a:pt x="1620" y="1356"/>
                    </a:lnTo>
                    <a:lnTo>
                      <a:pt x="1622" y="1358"/>
                    </a:lnTo>
                    <a:lnTo>
                      <a:pt x="1626" y="1360"/>
                    </a:lnTo>
                    <a:lnTo>
                      <a:pt x="1628" y="1362"/>
                    </a:lnTo>
                    <a:lnTo>
                      <a:pt x="1624" y="1366"/>
                    </a:lnTo>
                    <a:lnTo>
                      <a:pt x="1624" y="1366"/>
                    </a:lnTo>
                    <a:lnTo>
                      <a:pt x="1622" y="1368"/>
                    </a:lnTo>
                    <a:lnTo>
                      <a:pt x="1622" y="1370"/>
                    </a:lnTo>
                    <a:lnTo>
                      <a:pt x="1624" y="1372"/>
                    </a:lnTo>
                    <a:lnTo>
                      <a:pt x="1626" y="1374"/>
                    </a:lnTo>
                    <a:lnTo>
                      <a:pt x="1624" y="1376"/>
                    </a:lnTo>
                    <a:lnTo>
                      <a:pt x="1624" y="1376"/>
                    </a:lnTo>
                    <a:lnTo>
                      <a:pt x="1620" y="1378"/>
                    </a:lnTo>
                    <a:lnTo>
                      <a:pt x="1620" y="1382"/>
                    </a:lnTo>
                    <a:lnTo>
                      <a:pt x="1620" y="1384"/>
                    </a:lnTo>
                    <a:lnTo>
                      <a:pt x="1622" y="1386"/>
                    </a:lnTo>
                    <a:lnTo>
                      <a:pt x="1630" y="1392"/>
                    </a:lnTo>
                    <a:lnTo>
                      <a:pt x="1642" y="1396"/>
                    </a:lnTo>
                    <a:lnTo>
                      <a:pt x="1642" y="1396"/>
                    </a:lnTo>
                    <a:lnTo>
                      <a:pt x="1650" y="1398"/>
                    </a:lnTo>
                    <a:lnTo>
                      <a:pt x="1656" y="1396"/>
                    </a:lnTo>
                    <a:lnTo>
                      <a:pt x="1662" y="1394"/>
                    </a:lnTo>
                    <a:lnTo>
                      <a:pt x="1670" y="1394"/>
                    </a:lnTo>
                    <a:lnTo>
                      <a:pt x="1670" y="1394"/>
                    </a:lnTo>
                    <a:lnTo>
                      <a:pt x="1676" y="1396"/>
                    </a:lnTo>
                    <a:lnTo>
                      <a:pt x="1676" y="1398"/>
                    </a:lnTo>
                    <a:lnTo>
                      <a:pt x="1676" y="1400"/>
                    </a:lnTo>
                    <a:lnTo>
                      <a:pt x="1682" y="1400"/>
                    </a:lnTo>
                    <a:lnTo>
                      <a:pt x="1682" y="1400"/>
                    </a:lnTo>
                    <a:lnTo>
                      <a:pt x="1688" y="1402"/>
                    </a:lnTo>
                    <a:lnTo>
                      <a:pt x="1688" y="1404"/>
                    </a:lnTo>
                    <a:lnTo>
                      <a:pt x="1686" y="1412"/>
                    </a:lnTo>
                    <a:lnTo>
                      <a:pt x="1686" y="1416"/>
                    </a:lnTo>
                    <a:lnTo>
                      <a:pt x="1686" y="1420"/>
                    </a:lnTo>
                    <a:lnTo>
                      <a:pt x="1688" y="1422"/>
                    </a:lnTo>
                    <a:lnTo>
                      <a:pt x="1694" y="1420"/>
                    </a:lnTo>
                    <a:lnTo>
                      <a:pt x="1694" y="1420"/>
                    </a:lnTo>
                    <a:lnTo>
                      <a:pt x="1700" y="1420"/>
                    </a:lnTo>
                    <a:lnTo>
                      <a:pt x="1702" y="1422"/>
                    </a:lnTo>
                    <a:lnTo>
                      <a:pt x="1706" y="1424"/>
                    </a:lnTo>
                    <a:lnTo>
                      <a:pt x="1714" y="1422"/>
                    </a:lnTo>
                    <a:lnTo>
                      <a:pt x="1714" y="1422"/>
                    </a:lnTo>
                    <a:lnTo>
                      <a:pt x="1718" y="1422"/>
                    </a:lnTo>
                    <a:lnTo>
                      <a:pt x="1722" y="1422"/>
                    </a:lnTo>
                    <a:lnTo>
                      <a:pt x="1730" y="1426"/>
                    </a:lnTo>
                    <a:lnTo>
                      <a:pt x="1736" y="1430"/>
                    </a:lnTo>
                    <a:lnTo>
                      <a:pt x="1738" y="1430"/>
                    </a:lnTo>
                    <a:lnTo>
                      <a:pt x="1742" y="1428"/>
                    </a:lnTo>
                    <a:lnTo>
                      <a:pt x="1742" y="1428"/>
                    </a:lnTo>
                    <a:lnTo>
                      <a:pt x="1744" y="1428"/>
                    </a:lnTo>
                    <a:lnTo>
                      <a:pt x="1748" y="1430"/>
                    </a:lnTo>
                    <a:lnTo>
                      <a:pt x="1750" y="1434"/>
                    </a:lnTo>
                    <a:lnTo>
                      <a:pt x="1750" y="1442"/>
                    </a:lnTo>
                    <a:lnTo>
                      <a:pt x="1748" y="1444"/>
                    </a:lnTo>
                    <a:lnTo>
                      <a:pt x="1744" y="1446"/>
                    </a:lnTo>
                    <a:lnTo>
                      <a:pt x="1744" y="1446"/>
                    </a:lnTo>
                    <a:lnTo>
                      <a:pt x="1742" y="1448"/>
                    </a:lnTo>
                    <a:lnTo>
                      <a:pt x="1742" y="1450"/>
                    </a:lnTo>
                    <a:lnTo>
                      <a:pt x="1748" y="1458"/>
                    </a:lnTo>
                    <a:lnTo>
                      <a:pt x="1758" y="1464"/>
                    </a:lnTo>
                    <a:lnTo>
                      <a:pt x="1764" y="1464"/>
                    </a:lnTo>
                    <a:lnTo>
                      <a:pt x="1768" y="1464"/>
                    </a:lnTo>
                    <a:lnTo>
                      <a:pt x="1768" y="1464"/>
                    </a:lnTo>
                    <a:lnTo>
                      <a:pt x="1774" y="1458"/>
                    </a:lnTo>
                    <a:lnTo>
                      <a:pt x="1778" y="1454"/>
                    </a:lnTo>
                    <a:lnTo>
                      <a:pt x="1778" y="1452"/>
                    </a:lnTo>
                    <a:lnTo>
                      <a:pt x="1778" y="1454"/>
                    </a:lnTo>
                    <a:lnTo>
                      <a:pt x="1780" y="1460"/>
                    </a:lnTo>
                    <a:lnTo>
                      <a:pt x="1780" y="1460"/>
                    </a:lnTo>
                    <a:lnTo>
                      <a:pt x="1780" y="1468"/>
                    </a:lnTo>
                    <a:lnTo>
                      <a:pt x="1784" y="1470"/>
                    </a:lnTo>
                    <a:lnTo>
                      <a:pt x="1786" y="1470"/>
                    </a:lnTo>
                    <a:lnTo>
                      <a:pt x="1786" y="1474"/>
                    </a:lnTo>
                    <a:lnTo>
                      <a:pt x="1786" y="1474"/>
                    </a:lnTo>
                    <a:lnTo>
                      <a:pt x="1784" y="1476"/>
                    </a:lnTo>
                    <a:lnTo>
                      <a:pt x="1782" y="1476"/>
                    </a:lnTo>
                    <a:lnTo>
                      <a:pt x="1780" y="1472"/>
                    </a:lnTo>
                    <a:lnTo>
                      <a:pt x="1776" y="1468"/>
                    </a:lnTo>
                    <a:lnTo>
                      <a:pt x="1774" y="1468"/>
                    </a:lnTo>
                    <a:lnTo>
                      <a:pt x="1772" y="1470"/>
                    </a:lnTo>
                    <a:lnTo>
                      <a:pt x="1772" y="1470"/>
                    </a:lnTo>
                    <a:lnTo>
                      <a:pt x="1770" y="1472"/>
                    </a:lnTo>
                    <a:lnTo>
                      <a:pt x="1772" y="1476"/>
                    </a:lnTo>
                    <a:lnTo>
                      <a:pt x="1780" y="1484"/>
                    </a:lnTo>
                    <a:lnTo>
                      <a:pt x="1790" y="1486"/>
                    </a:lnTo>
                    <a:lnTo>
                      <a:pt x="1794" y="1486"/>
                    </a:lnTo>
                    <a:lnTo>
                      <a:pt x="1794" y="1484"/>
                    </a:lnTo>
                    <a:lnTo>
                      <a:pt x="1794" y="1484"/>
                    </a:lnTo>
                    <a:lnTo>
                      <a:pt x="1796" y="1478"/>
                    </a:lnTo>
                    <a:lnTo>
                      <a:pt x="1800" y="1474"/>
                    </a:lnTo>
                    <a:lnTo>
                      <a:pt x="1804" y="1474"/>
                    </a:lnTo>
                    <a:lnTo>
                      <a:pt x="1804" y="1478"/>
                    </a:lnTo>
                    <a:lnTo>
                      <a:pt x="1804" y="1478"/>
                    </a:lnTo>
                    <a:lnTo>
                      <a:pt x="1804" y="1486"/>
                    </a:lnTo>
                    <a:lnTo>
                      <a:pt x="1806" y="1492"/>
                    </a:lnTo>
                    <a:lnTo>
                      <a:pt x="1808" y="1498"/>
                    </a:lnTo>
                    <a:lnTo>
                      <a:pt x="1808" y="1504"/>
                    </a:lnTo>
                    <a:lnTo>
                      <a:pt x="1808" y="1504"/>
                    </a:lnTo>
                    <a:lnTo>
                      <a:pt x="1808" y="1510"/>
                    </a:lnTo>
                    <a:lnTo>
                      <a:pt x="1810" y="1512"/>
                    </a:lnTo>
                    <a:lnTo>
                      <a:pt x="1812" y="1510"/>
                    </a:lnTo>
                    <a:lnTo>
                      <a:pt x="1816" y="1506"/>
                    </a:lnTo>
                    <a:lnTo>
                      <a:pt x="1816" y="1506"/>
                    </a:lnTo>
                    <a:lnTo>
                      <a:pt x="1818" y="1504"/>
                    </a:lnTo>
                    <a:lnTo>
                      <a:pt x="1820" y="1506"/>
                    </a:lnTo>
                    <a:lnTo>
                      <a:pt x="1822" y="1508"/>
                    </a:lnTo>
                    <a:lnTo>
                      <a:pt x="1822" y="1508"/>
                    </a:lnTo>
                    <a:lnTo>
                      <a:pt x="1822" y="1516"/>
                    </a:lnTo>
                    <a:lnTo>
                      <a:pt x="1824" y="1520"/>
                    </a:lnTo>
                    <a:lnTo>
                      <a:pt x="1828" y="1526"/>
                    </a:lnTo>
                    <a:lnTo>
                      <a:pt x="1832" y="1528"/>
                    </a:lnTo>
                    <a:lnTo>
                      <a:pt x="1832" y="1530"/>
                    </a:lnTo>
                    <a:lnTo>
                      <a:pt x="1832" y="1534"/>
                    </a:lnTo>
                    <a:lnTo>
                      <a:pt x="1832" y="1534"/>
                    </a:lnTo>
                    <a:lnTo>
                      <a:pt x="1832" y="1538"/>
                    </a:lnTo>
                    <a:lnTo>
                      <a:pt x="1830" y="1538"/>
                    </a:lnTo>
                    <a:lnTo>
                      <a:pt x="1826" y="1540"/>
                    </a:lnTo>
                    <a:lnTo>
                      <a:pt x="1824" y="1540"/>
                    </a:lnTo>
                    <a:lnTo>
                      <a:pt x="1824" y="1542"/>
                    </a:lnTo>
                    <a:lnTo>
                      <a:pt x="1830" y="1550"/>
                    </a:lnTo>
                    <a:lnTo>
                      <a:pt x="1830" y="1550"/>
                    </a:lnTo>
                    <a:lnTo>
                      <a:pt x="1836" y="1562"/>
                    </a:lnTo>
                    <a:lnTo>
                      <a:pt x="1840" y="1570"/>
                    </a:lnTo>
                    <a:lnTo>
                      <a:pt x="1840" y="1582"/>
                    </a:lnTo>
                    <a:lnTo>
                      <a:pt x="1840" y="1600"/>
                    </a:lnTo>
                    <a:lnTo>
                      <a:pt x="1840" y="1600"/>
                    </a:lnTo>
                    <a:lnTo>
                      <a:pt x="1838" y="1608"/>
                    </a:lnTo>
                    <a:lnTo>
                      <a:pt x="1836" y="1610"/>
                    </a:lnTo>
                    <a:lnTo>
                      <a:pt x="1834" y="1608"/>
                    </a:lnTo>
                    <a:lnTo>
                      <a:pt x="1834" y="1604"/>
                    </a:lnTo>
                    <a:lnTo>
                      <a:pt x="1828" y="1570"/>
                    </a:lnTo>
                    <a:lnTo>
                      <a:pt x="1828" y="1570"/>
                    </a:lnTo>
                    <a:lnTo>
                      <a:pt x="1824" y="1564"/>
                    </a:lnTo>
                    <a:lnTo>
                      <a:pt x="1816" y="1560"/>
                    </a:lnTo>
                    <a:lnTo>
                      <a:pt x="1808" y="1558"/>
                    </a:lnTo>
                    <a:lnTo>
                      <a:pt x="1798" y="1556"/>
                    </a:lnTo>
                    <a:lnTo>
                      <a:pt x="1776" y="1554"/>
                    </a:lnTo>
                    <a:lnTo>
                      <a:pt x="1766" y="1552"/>
                    </a:lnTo>
                    <a:lnTo>
                      <a:pt x="1758" y="1548"/>
                    </a:lnTo>
                    <a:lnTo>
                      <a:pt x="1758" y="1548"/>
                    </a:lnTo>
                    <a:lnTo>
                      <a:pt x="1752" y="1546"/>
                    </a:lnTo>
                    <a:lnTo>
                      <a:pt x="1746" y="1546"/>
                    </a:lnTo>
                    <a:lnTo>
                      <a:pt x="1744" y="1548"/>
                    </a:lnTo>
                    <a:lnTo>
                      <a:pt x="1742" y="1552"/>
                    </a:lnTo>
                    <a:lnTo>
                      <a:pt x="1744" y="1556"/>
                    </a:lnTo>
                    <a:lnTo>
                      <a:pt x="1746" y="1564"/>
                    </a:lnTo>
                    <a:lnTo>
                      <a:pt x="1754" y="1578"/>
                    </a:lnTo>
                    <a:lnTo>
                      <a:pt x="1754" y="1578"/>
                    </a:lnTo>
                    <a:lnTo>
                      <a:pt x="1758" y="1586"/>
                    </a:lnTo>
                    <a:lnTo>
                      <a:pt x="1764" y="1598"/>
                    </a:lnTo>
                    <a:lnTo>
                      <a:pt x="1770" y="1626"/>
                    </a:lnTo>
                    <a:lnTo>
                      <a:pt x="1774" y="1658"/>
                    </a:lnTo>
                    <a:lnTo>
                      <a:pt x="1774" y="1690"/>
                    </a:lnTo>
                    <a:lnTo>
                      <a:pt x="1774" y="1690"/>
                    </a:lnTo>
                    <a:lnTo>
                      <a:pt x="1774" y="1726"/>
                    </a:lnTo>
                    <a:lnTo>
                      <a:pt x="1770" y="1768"/>
                    </a:lnTo>
                    <a:lnTo>
                      <a:pt x="1766" y="1810"/>
                    </a:lnTo>
                    <a:lnTo>
                      <a:pt x="1762" y="1828"/>
                    </a:lnTo>
                    <a:lnTo>
                      <a:pt x="1756" y="1842"/>
                    </a:lnTo>
                    <a:lnTo>
                      <a:pt x="1756" y="1842"/>
                    </a:lnTo>
                    <a:lnTo>
                      <a:pt x="1754" y="1854"/>
                    </a:lnTo>
                    <a:lnTo>
                      <a:pt x="1754" y="1870"/>
                    </a:lnTo>
                    <a:lnTo>
                      <a:pt x="1756" y="1886"/>
                    </a:lnTo>
                    <a:lnTo>
                      <a:pt x="1760" y="1904"/>
                    </a:lnTo>
                    <a:lnTo>
                      <a:pt x="1764" y="1920"/>
                    </a:lnTo>
                    <a:lnTo>
                      <a:pt x="1766" y="1938"/>
                    </a:lnTo>
                    <a:lnTo>
                      <a:pt x="1766" y="1956"/>
                    </a:lnTo>
                    <a:lnTo>
                      <a:pt x="1762" y="1972"/>
                    </a:lnTo>
                    <a:lnTo>
                      <a:pt x="1762" y="1972"/>
                    </a:lnTo>
                    <a:lnTo>
                      <a:pt x="1760" y="1986"/>
                    </a:lnTo>
                    <a:lnTo>
                      <a:pt x="1758" y="1996"/>
                    </a:lnTo>
                    <a:lnTo>
                      <a:pt x="1762" y="2006"/>
                    </a:lnTo>
                    <a:lnTo>
                      <a:pt x="1766" y="2012"/>
                    </a:lnTo>
                    <a:lnTo>
                      <a:pt x="1774" y="2030"/>
                    </a:lnTo>
                    <a:lnTo>
                      <a:pt x="1778" y="2042"/>
                    </a:lnTo>
                    <a:lnTo>
                      <a:pt x="1780" y="2056"/>
                    </a:lnTo>
                    <a:lnTo>
                      <a:pt x="1780" y="2056"/>
                    </a:lnTo>
                    <a:lnTo>
                      <a:pt x="1784" y="2072"/>
                    </a:lnTo>
                    <a:lnTo>
                      <a:pt x="1786" y="2082"/>
                    </a:lnTo>
                    <a:lnTo>
                      <a:pt x="1792" y="2090"/>
                    </a:lnTo>
                    <a:lnTo>
                      <a:pt x="1798" y="2096"/>
                    </a:lnTo>
                    <a:lnTo>
                      <a:pt x="1808" y="2104"/>
                    </a:lnTo>
                    <a:lnTo>
                      <a:pt x="1812" y="2110"/>
                    </a:lnTo>
                    <a:lnTo>
                      <a:pt x="1814" y="2118"/>
                    </a:lnTo>
                    <a:lnTo>
                      <a:pt x="1814" y="2118"/>
                    </a:lnTo>
                    <a:lnTo>
                      <a:pt x="1816" y="2124"/>
                    </a:lnTo>
                    <a:lnTo>
                      <a:pt x="1818" y="2128"/>
                    </a:lnTo>
                    <a:lnTo>
                      <a:pt x="1824" y="2132"/>
                    </a:lnTo>
                    <a:lnTo>
                      <a:pt x="1828" y="2136"/>
                    </a:lnTo>
                    <a:lnTo>
                      <a:pt x="1832" y="2140"/>
                    </a:lnTo>
                    <a:lnTo>
                      <a:pt x="1834" y="2146"/>
                    </a:lnTo>
                    <a:lnTo>
                      <a:pt x="1836" y="2158"/>
                    </a:lnTo>
                    <a:lnTo>
                      <a:pt x="1836" y="2158"/>
                    </a:lnTo>
                    <a:lnTo>
                      <a:pt x="1838" y="2170"/>
                    </a:lnTo>
                    <a:lnTo>
                      <a:pt x="1842" y="2178"/>
                    </a:lnTo>
                    <a:lnTo>
                      <a:pt x="1846" y="2182"/>
                    </a:lnTo>
                    <a:lnTo>
                      <a:pt x="1852" y="2186"/>
                    </a:lnTo>
                    <a:lnTo>
                      <a:pt x="1856" y="2188"/>
                    </a:lnTo>
                    <a:lnTo>
                      <a:pt x="1860" y="2190"/>
                    </a:lnTo>
                    <a:lnTo>
                      <a:pt x="1862" y="2194"/>
                    </a:lnTo>
                    <a:lnTo>
                      <a:pt x="1860" y="2200"/>
                    </a:lnTo>
                    <a:lnTo>
                      <a:pt x="1860" y="2200"/>
                    </a:lnTo>
                    <a:lnTo>
                      <a:pt x="1858" y="2208"/>
                    </a:lnTo>
                    <a:lnTo>
                      <a:pt x="1858" y="2214"/>
                    </a:lnTo>
                    <a:lnTo>
                      <a:pt x="1860" y="2218"/>
                    </a:lnTo>
                    <a:lnTo>
                      <a:pt x="1862" y="2224"/>
                    </a:lnTo>
                    <a:lnTo>
                      <a:pt x="1872" y="2238"/>
                    </a:lnTo>
                    <a:lnTo>
                      <a:pt x="1890" y="2260"/>
                    </a:lnTo>
                    <a:lnTo>
                      <a:pt x="1890" y="2260"/>
                    </a:lnTo>
                    <a:lnTo>
                      <a:pt x="1900" y="2272"/>
                    </a:lnTo>
                    <a:lnTo>
                      <a:pt x="1904" y="2282"/>
                    </a:lnTo>
                    <a:lnTo>
                      <a:pt x="1908" y="2292"/>
                    </a:lnTo>
                    <a:lnTo>
                      <a:pt x="1908" y="2298"/>
                    </a:lnTo>
                    <a:lnTo>
                      <a:pt x="1910" y="2310"/>
                    </a:lnTo>
                    <a:lnTo>
                      <a:pt x="1912" y="2314"/>
                    </a:lnTo>
                    <a:lnTo>
                      <a:pt x="1916" y="2318"/>
                    </a:lnTo>
                    <a:lnTo>
                      <a:pt x="1916" y="2318"/>
                    </a:lnTo>
                    <a:lnTo>
                      <a:pt x="1920" y="2322"/>
                    </a:lnTo>
                    <a:lnTo>
                      <a:pt x="1926" y="2324"/>
                    </a:lnTo>
                    <a:lnTo>
                      <a:pt x="1940" y="2326"/>
                    </a:lnTo>
                    <a:lnTo>
                      <a:pt x="1948" y="2328"/>
                    </a:lnTo>
                    <a:lnTo>
                      <a:pt x="1958" y="2332"/>
                    </a:lnTo>
                    <a:lnTo>
                      <a:pt x="1968" y="2336"/>
                    </a:lnTo>
                    <a:lnTo>
                      <a:pt x="1978" y="2344"/>
                    </a:lnTo>
                    <a:lnTo>
                      <a:pt x="1978" y="2344"/>
                    </a:lnTo>
                    <a:lnTo>
                      <a:pt x="1986" y="2352"/>
                    </a:lnTo>
                    <a:lnTo>
                      <a:pt x="1994" y="2358"/>
                    </a:lnTo>
                    <a:lnTo>
                      <a:pt x="2006" y="2360"/>
                    </a:lnTo>
                    <a:lnTo>
                      <a:pt x="2016" y="2364"/>
                    </a:lnTo>
                    <a:lnTo>
                      <a:pt x="2022" y="2368"/>
                    </a:lnTo>
                    <a:lnTo>
                      <a:pt x="2030" y="2374"/>
                    </a:lnTo>
                    <a:lnTo>
                      <a:pt x="2030" y="2374"/>
                    </a:lnTo>
                    <a:lnTo>
                      <a:pt x="2036" y="2382"/>
                    </a:lnTo>
                    <a:lnTo>
                      <a:pt x="2040" y="2388"/>
                    </a:lnTo>
                    <a:lnTo>
                      <a:pt x="2046" y="2400"/>
                    </a:lnTo>
                    <a:lnTo>
                      <a:pt x="2048" y="2410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66" y="2454"/>
                    </a:lnTo>
                    <a:lnTo>
                      <a:pt x="2078" y="2480"/>
                    </a:lnTo>
                    <a:lnTo>
                      <a:pt x="2092" y="2520"/>
                    </a:lnTo>
                    <a:lnTo>
                      <a:pt x="2100" y="2548"/>
                    </a:lnTo>
                    <a:lnTo>
                      <a:pt x="2106" y="2560"/>
                    </a:lnTo>
                    <a:lnTo>
                      <a:pt x="2112" y="2568"/>
                    </a:lnTo>
                    <a:lnTo>
                      <a:pt x="2112" y="2568"/>
                    </a:lnTo>
                    <a:lnTo>
                      <a:pt x="2120" y="2578"/>
                    </a:lnTo>
                    <a:lnTo>
                      <a:pt x="2130" y="2586"/>
                    </a:lnTo>
                    <a:lnTo>
                      <a:pt x="2150" y="2604"/>
                    </a:lnTo>
                    <a:lnTo>
                      <a:pt x="2160" y="2614"/>
                    </a:lnTo>
                    <a:lnTo>
                      <a:pt x="2166" y="2624"/>
                    </a:lnTo>
                    <a:lnTo>
                      <a:pt x="2170" y="2636"/>
                    </a:lnTo>
                    <a:lnTo>
                      <a:pt x="2170" y="2650"/>
                    </a:lnTo>
                    <a:lnTo>
                      <a:pt x="2170" y="2650"/>
                    </a:lnTo>
                    <a:lnTo>
                      <a:pt x="2170" y="2656"/>
                    </a:lnTo>
                    <a:lnTo>
                      <a:pt x="2168" y="2662"/>
                    </a:lnTo>
                    <a:lnTo>
                      <a:pt x="2164" y="2664"/>
                    </a:lnTo>
                    <a:lnTo>
                      <a:pt x="2162" y="2668"/>
                    </a:lnTo>
                    <a:lnTo>
                      <a:pt x="2154" y="2668"/>
                    </a:lnTo>
                    <a:lnTo>
                      <a:pt x="2148" y="2668"/>
                    </a:lnTo>
                    <a:lnTo>
                      <a:pt x="2142" y="2668"/>
                    </a:lnTo>
                    <a:lnTo>
                      <a:pt x="2138" y="2668"/>
                    </a:lnTo>
                    <a:lnTo>
                      <a:pt x="2140" y="2672"/>
                    </a:lnTo>
                    <a:lnTo>
                      <a:pt x="2146" y="2682"/>
                    </a:lnTo>
                    <a:lnTo>
                      <a:pt x="2146" y="2682"/>
                    </a:lnTo>
                    <a:lnTo>
                      <a:pt x="2156" y="2692"/>
                    </a:lnTo>
                    <a:lnTo>
                      <a:pt x="2166" y="2700"/>
                    </a:lnTo>
                    <a:lnTo>
                      <a:pt x="2188" y="2716"/>
                    </a:lnTo>
                    <a:lnTo>
                      <a:pt x="2212" y="2730"/>
                    </a:lnTo>
                    <a:lnTo>
                      <a:pt x="2226" y="2738"/>
                    </a:lnTo>
                    <a:lnTo>
                      <a:pt x="2238" y="2748"/>
                    </a:lnTo>
                    <a:lnTo>
                      <a:pt x="2238" y="2748"/>
                    </a:lnTo>
                    <a:lnTo>
                      <a:pt x="2244" y="2754"/>
                    </a:lnTo>
                    <a:lnTo>
                      <a:pt x="2248" y="2758"/>
                    </a:lnTo>
                    <a:lnTo>
                      <a:pt x="2250" y="2764"/>
                    </a:lnTo>
                    <a:lnTo>
                      <a:pt x="2252" y="2770"/>
                    </a:lnTo>
                    <a:lnTo>
                      <a:pt x="2250" y="2782"/>
                    </a:lnTo>
                    <a:lnTo>
                      <a:pt x="2250" y="2794"/>
                    </a:lnTo>
                    <a:lnTo>
                      <a:pt x="2248" y="2808"/>
                    </a:lnTo>
                    <a:lnTo>
                      <a:pt x="2250" y="2814"/>
                    </a:lnTo>
                    <a:lnTo>
                      <a:pt x="2252" y="2820"/>
                    </a:lnTo>
                    <a:lnTo>
                      <a:pt x="2256" y="2828"/>
                    </a:lnTo>
                    <a:lnTo>
                      <a:pt x="2262" y="2834"/>
                    </a:lnTo>
                    <a:lnTo>
                      <a:pt x="2270" y="2842"/>
                    </a:lnTo>
                    <a:lnTo>
                      <a:pt x="2280" y="2850"/>
                    </a:lnTo>
                    <a:lnTo>
                      <a:pt x="2280" y="2850"/>
                    </a:lnTo>
                    <a:lnTo>
                      <a:pt x="2300" y="2866"/>
                    </a:lnTo>
                    <a:lnTo>
                      <a:pt x="2316" y="2882"/>
                    </a:lnTo>
                    <a:lnTo>
                      <a:pt x="2326" y="2894"/>
                    </a:lnTo>
                    <a:lnTo>
                      <a:pt x="2332" y="2906"/>
                    </a:lnTo>
                    <a:lnTo>
                      <a:pt x="2336" y="2914"/>
                    </a:lnTo>
                    <a:lnTo>
                      <a:pt x="2340" y="2918"/>
                    </a:lnTo>
                    <a:lnTo>
                      <a:pt x="2344" y="2920"/>
                    </a:lnTo>
                    <a:lnTo>
                      <a:pt x="2350" y="2916"/>
                    </a:lnTo>
                    <a:lnTo>
                      <a:pt x="2350" y="2916"/>
                    </a:lnTo>
                    <a:lnTo>
                      <a:pt x="2358" y="2910"/>
                    </a:lnTo>
                    <a:lnTo>
                      <a:pt x="2362" y="2906"/>
                    </a:lnTo>
                    <a:lnTo>
                      <a:pt x="2364" y="2900"/>
                    </a:lnTo>
                    <a:lnTo>
                      <a:pt x="2364" y="2896"/>
                    </a:lnTo>
                    <a:lnTo>
                      <a:pt x="2358" y="2884"/>
                    </a:lnTo>
                    <a:lnTo>
                      <a:pt x="2346" y="2864"/>
                    </a:lnTo>
                    <a:lnTo>
                      <a:pt x="2346" y="2864"/>
                    </a:lnTo>
                    <a:lnTo>
                      <a:pt x="2340" y="2856"/>
                    </a:lnTo>
                    <a:lnTo>
                      <a:pt x="2336" y="2850"/>
                    </a:lnTo>
                    <a:lnTo>
                      <a:pt x="2332" y="2850"/>
                    </a:lnTo>
                    <a:lnTo>
                      <a:pt x="2330" y="2850"/>
                    </a:lnTo>
                    <a:lnTo>
                      <a:pt x="2324" y="2854"/>
                    </a:lnTo>
                    <a:lnTo>
                      <a:pt x="2320" y="2854"/>
                    </a:lnTo>
                    <a:lnTo>
                      <a:pt x="2316" y="2850"/>
                    </a:lnTo>
                    <a:lnTo>
                      <a:pt x="2316" y="2850"/>
                    </a:lnTo>
                    <a:lnTo>
                      <a:pt x="2312" y="2846"/>
                    </a:lnTo>
                    <a:lnTo>
                      <a:pt x="2310" y="2842"/>
                    </a:lnTo>
                    <a:lnTo>
                      <a:pt x="2310" y="2832"/>
                    </a:lnTo>
                    <a:lnTo>
                      <a:pt x="2310" y="2826"/>
                    </a:lnTo>
                    <a:lnTo>
                      <a:pt x="2310" y="2820"/>
                    </a:lnTo>
                    <a:lnTo>
                      <a:pt x="2306" y="2810"/>
                    </a:lnTo>
                    <a:lnTo>
                      <a:pt x="2300" y="2798"/>
                    </a:lnTo>
                    <a:lnTo>
                      <a:pt x="2300" y="2798"/>
                    </a:lnTo>
                    <a:lnTo>
                      <a:pt x="2290" y="2776"/>
                    </a:lnTo>
                    <a:lnTo>
                      <a:pt x="2286" y="2762"/>
                    </a:lnTo>
                    <a:lnTo>
                      <a:pt x="2282" y="2748"/>
                    </a:lnTo>
                    <a:lnTo>
                      <a:pt x="2276" y="2730"/>
                    </a:lnTo>
                    <a:lnTo>
                      <a:pt x="2276" y="2730"/>
                    </a:lnTo>
                    <a:lnTo>
                      <a:pt x="2270" y="2718"/>
                    </a:lnTo>
                    <a:lnTo>
                      <a:pt x="2264" y="2708"/>
                    </a:lnTo>
                    <a:lnTo>
                      <a:pt x="2250" y="2690"/>
                    </a:lnTo>
                    <a:lnTo>
                      <a:pt x="2236" y="2672"/>
                    </a:lnTo>
                    <a:lnTo>
                      <a:pt x="2230" y="2662"/>
                    </a:lnTo>
                    <a:lnTo>
                      <a:pt x="2224" y="2648"/>
                    </a:lnTo>
                    <a:lnTo>
                      <a:pt x="2224" y="2648"/>
                    </a:lnTo>
                    <a:lnTo>
                      <a:pt x="2220" y="2636"/>
                    </a:lnTo>
                    <a:lnTo>
                      <a:pt x="2214" y="2624"/>
                    </a:lnTo>
                    <a:lnTo>
                      <a:pt x="2198" y="2604"/>
                    </a:lnTo>
                    <a:lnTo>
                      <a:pt x="2182" y="2584"/>
                    </a:lnTo>
                    <a:lnTo>
                      <a:pt x="2168" y="2564"/>
                    </a:lnTo>
                    <a:lnTo>
                      <a:pt x="2168" y="2564"/>
                    </a:lnTo>
                    <a:lnTo>
                      <a:pt x="2160" y="2550"/>
                    </a:lnTo>
                    <a:lnTo>
                      <a:pt x="2154" y="2534"/>
                    </a:lnTo>
                    <a:lnTo>
                      <a:pt x="2148" y="2516"/>
                    </a:lnTo>
                    <a:lnTo>
                      <a:pt x="2144" y="2498"/>
                    </a:lnTo>
                    <a:lnTo>
                      <a:pt x="2142" y="2482"/>
                    </a:lnTo>
                    <a:lnTo>
                      <a:pt x="2142" y="2470"/>
                    </a:lnTo>
                    <a:lnTo>
                      <a:pt x="2144" y="2466"/>
                    </a:lnTo>
                    <a:lnTo>
                      <a:pt x="2146" y="2464"/>
                    </a:lnTo>
                    <a:lnTo>
                      <a:pt x="2148" y="2464"/>
                    </a:lnTo>
                    <a:lnTo>
                      <a:pt x="2154" y="2466"/>
                    </a:lnTo>
                    <a:lnTo>
                      <a:pt x="2154" y="2466"/>
                    </a:lnTo>
                    <a:lnTo>
                      <a:pt x="2168" y="2474"/>
                    </a:lnTo>
                    <a:lnTo>
                      <a:pt x="2172" y="2476"/>
                    </a:lnTo>
                    <a:lnTo>
                      <a:pt x="2178" y="2474"/>
                    </a:lnTo>
                    <a:lnTo>
                      <a:pt x="2186" y="2478"/>
                    </a:lnTo>
                    <a:lnTo>
                      <a:pt x="2186" y="2478"/>
                    </a:lnTo>
                    <a:lnTo>
                      <a:pt x="2198" y="2484"/>
                    </a:lnTo>
                    <a:lnTo>
                      <a:pt x="2202" y="2488"/>
                    </a:lnTo>
                    <a:lnTo>
                      <a:pt x="2206" y="2492"/>
                    </a:lnTo>
                    <a:lnTo>
                      <a:pt x="2214" y="2508"/>
                    </a:lnTo>
                    <a:lnTo>
                      <a:pt x="2222" y="2536"/>
                    </a:lnTo>
                    <a:lnTo>
                      <a:pt x="2222" y="2536"/>
                    </a:lnTo>
                    <a:lnTo>
                      <a:pt x="2228" y="2556"/>
                    </a:lnTo>
                    <a:lnTo>
                      <a:pt x="2236" y="2574"/>
                    </a:lnTo>
                    <a:lnTo>
                      <a:pt x="2244" y="2594"/>
                    </a:lnTo>
                    <a:lnTo>
                      <a:pt x="2254" y="2612"/>
                    </a:lnTo>
                    <a:lnTo>
                      <a:pt x="2264" y="2628"/>
                    </a:lnTo>
                    <a:lnTo>
                      <a:pt x="2276" y="2642"/>
                    </a:lnTo>
                    <a:lnTo>
                      <a:pt x="2288" y="2654"/>
                    </a:lnTo>
                    <a:lnTo>
                      <a:pt x="2300" y="2664"/>
                    </a:lnTo>
                    <a:lnTo>
                      <a:pt x="2300" y="2664"/>
                    </a:lnTo>
                    <a:lnTo>
                      <a:pt x="2308" y="2672"/>
                    </a:lnTo>
                    <a:lnTo>
                      <a:pt x="2314" y="2678"/>
                    </a:lnTo>
                    <a:lnTo>
                      <a:pt x="2320" y="2694"/>
                    </a:lnTo>
                    <a:lnTo>
                      <a:pt x="2324" y="2700"/>
                    </a:lnTo>
                    <a:lnTo>
                      <a:pt x="2328" y="2706"/>
                    </a:lnTo>
                    <a:lnTo>
                      <a:pt x="2338" y="2714"/>
                    </a:lnTo>
                    <a:lnTo>
                      <a:pt x="2352" y="2722"/>
                    </a:lnTo>
                    <a:lnTo>
                      <a:pt x="2352" y="2722"/>
                    </a:lnTo>
                    <a:lnTo>
                      <a:pt x="2360" y="2724"/>
                    </a:lnTo>
                    <a:lnTo>
                      <a:pt x="2364" y="2728"/>
                    </a:lnTo>
                    <a:lnTo>
                      <a:pt x="2368" y="2732"/>
                    </a:lnTo>
                    <a:lnTo>
                      <a:pt x="2370" y="2736"/>
                    </a:lnTo>
                    <a:lnTo>
                      <a:pt x="2368" y="2746"/>
                    </a:lnTo>
                    <a:lnTo>
                      <a:pt x="2366" y="2754"/>
                    </a:lnTo>
                    <a:lnTo>
                      <a:pt x="2364" y="2764"/>
                    </a:lnTo>
                    <a:lnTo>
                      <a:pt x="2362" y="2772"/>
                    </a:lnTo>
                    <a:lnTo>
                      <a:pt x="2364" y="2776"/>
                    </a:lnTo>
                    <a:lnTo>
                      <a:pt x="2368" y="2782"/>
                    </a:lnTo>
                    <a:lnTo>
                      <a:pt x="2372" y="2786"/>
                    </a:lnTo>
                    <a:lnTo>
                      <a:pt x="2380" y="2790"/>
                    </a:lnTo>
                    <a:lnTo>
                      <a:pt x="2380" y="2790"/>
                    </a:lnTo>
                    <a:lnTo>
                      <a:pt x="2394" y="2798"/>
                    </a:lnTo>
                    <a:lnTo>
                      <a:pt x="2402" y="2804"/>
                    </a:lnTo>
                    <a:lnTo>
                      <a:pt x="2408" y="2810"/>
                    </a:lnTo>
                    <a:lnTo>
                      <a:pt x="2410" y="2816"/>
                    </a:lnTo>
                    <a:lnTo>
                      <a:pt x="2422" y="2834"/>
                    </a:lnTo>
                    <a:lnTo>
                      <a:pt x="2432" y="2848"/>
                    </a:lnTo>
                    <a:lnTo>
                      <a:pt x="2450" y="2864"/>
                    </a:lnTo>
                    <a:lnTo>
                      <a:pt x="2450" y="2864"/>
                    </a:lnTo>
                    <a:lnTo>
                      <a:pt x="2476" y="2890"/>
                    </a:lnTo>
                    <a:lnTo>
                      <a:pt x="2494" y="2912"/>
                    </a:lnTo>
                    <a:lnTo>
                      <a:pt x="2504" y="2928"/>
                    </a:lnTo>
                    <a:lnTo>
                      <a:pt x="2512" y="2942"/>
                    </a:lnTo>
                    <a:lnTo>
                      <a:pt x="2516" y="2954"/>
                    </a:lnTo>
                    <a:lnTo>
                      <a:pt x="2518" y="2964"/>
                    </a:lnTo>
                    <a:lnTo>
                      <a:pt x="2522" y="2976"/>
                    </a:lnTo>
                    <a:lnTo>
                      <a:pt x="2526" y="2988"/>
                    </a:lnTo>
                    <a:lnTo>
                      <a:pt x="2526" y="2988"/>
                    </a:lnTo>
                    <a:lnTo>
                      <a:pt x="2530" y="2998"/>
                    </a:lnTo>
                    <a:lnTo>
                      <a:pt x="2530" y="3010"/>
                    </a:lnTo>
                    <a:lnTo>
                      <a:pt x="2528" y="3020"/>
                    </a:lnTo>
                    <a:lnTo>
                      <a:pt x="2524" y="3028"/>
                    </a:lnTo>
                    <a:lnTo>
                      <a:pt x="2518" y="3038"/>
                    </a:lnTo>
                    <a:lnTo>
                      <a:pt x="2516" y="3050"/>
                    </a:lnTo>
                    <a:lnTo>
                      <a:pt x="2516" y="3060"/>
                    </a:lnTo>
                    <a:lnTo>
                      <a:pt x="2520" y="3072"/>
                    </a:lnTo>
                    <a:lnTo>
                      <a:pt x="2520" y="3072"/>
                    </a:lnTo>
                    <a:lnTo>
                      <a:pt x="2528" y="3084"/>
                    </a:lnTo>
                    <a:lnTo>
                      <a:pt x="2534" y="3094"/>
                    </a:lnTo>
                    <a:lnTo>
                      <a:pt x="2550" y="3106"/>
                    </a:lnTo>
                    <a:lnTo>
                      <a:pt x="2570" y="3120"/>
                    </a:lnTo>
                    <a:lnTo>
                      <a:pt x="2580" y="3130"/>
                    </a:lnTo>
                    <a:lnTo>
                      <a:pt x="2594" y="3140"/>
                    </a:lnTo>
                    <a:lnTo>
                      <a:pt x="2594" y="3140"/>
                    </a:lnTo>
                    <a:lnTo>
                      <a:pt x="2606" y="3152"/>
                    </a:lnTo>
                    <a:lnTo>
                      <a:pt x="2618" y="3158"/>
                    </a:lnTo>
                    <a:lnTo>
                      <a:pt x="2628" y="3162"/>
                    </a:lnTo>
                    <a:lnTo>
                      <a:pt x="2638" y="3164"/>
                    </a:lnTo>
                    <a:lnTo>
                      <a:pt x="2648" y="3168"/>
                    </a:lnTo>
                    <a:lnTo>
                      <a:pt x="2658" y="3170"/>
                    </a:lnTo>
                    <a:lnTo>
                      <a:pt x="2668" y="3176"/>
                    </a:lnTo>
                    <a:lnTo>
                      <a:pt x="2680" y="3186"/>
                    </a:lnTo>
                    <a:lnTo>
                      <a:pt x="2680" y="3186"/>
                    </a:lnTo>
                    <a:lnTo>
                      <a:pt x="2694" y="3198"/>
                    </a:lnTo>
                    <a:lnTo>
                      <a:pt x="2714" y="3210"/>
                    </a:lnTo>
                    <a:lnTo>
                      <a:pt x="2736" y="3224"/>
                    </a:lnTo>
                    <a:lnTo>
                      <a:pt x="2762" y="3236"/>
                    </a:lnTo>
                    <a:lnTo>
                      <a:pt x="2814" y="3260"/>
                    </a:lnTo>
                    <a:lnTo>
                      <a:pt x="2862" y="3278"/>
                    </a:lnTo>
                    <a:lnTo>
                      <a:pt x="2862" y="3278"/>
                    </a:lnTo>
                    <a:lnTo>
                      <a:pt x="2880" y="3282"/>
                    </a:lnTo>
                    <a:lnTo>
                      <a:pt x="2894" y="3282"/>
                    </a:lnTo>
                    <a:lnTo>
                      <a:pt x="2906" y="3278"/>
                    </a:lnTo>
                    <a:lnTo>
                      <a:pt x="2916" y="3272"/>
                    </a:lnTo>
                    <a:lnTo>
                      <a:pt x="2926" y="3266"/>
                    </a:lnTo>
                    <a:lnTo>
                      <a:pt x="2938" y="3260"/>
                    </a:lnTo>
                    <a:lnTo>
                      <a:pt x="2950" y="3258"/>
                    </a:lnTo>
                    <a:lnTo>
                      <a:pt x="2968" y="3260"/>
                    </a:lnTo>
                    <a:lnTo>
                      <a:pt x="2968" y="3260"/>
                    </a:lnTo>
                    <a:lnTo>
                      <a:pt x="2984" y="3264"/>
                    </a:lnTo>
                    <a:lnTo>
                      <a:pt x="2996" y="3272"/>
                    </a:lnTo>
                    <a:lnTo>
                      <a:pt x="3006" y="3280"/>
                    </a:lnTo>
                    <a:lnTo>
                      <a:pt x="3014" y="3290"/>
                    </a:lnTo>
                    <a:lnTo>
                      <a:pt x="3032" y="3314"/>
                    </a:lnTo>
                    <a:lnTo>
                      <a:pt x="3042" y="3326"/>
                    </a:lnTo>
                    <a:lnTo>
                      <a:pt x="3054" y="3338"/>
                    </a:lnTo>
                    <a:lnTo>
                      <a:pt x="3054" y="3338"/>
                    </a:lnTo>
                    <a:lnTo>
                      <a:pt x="3072" y="3356"/>
                    </a:lnTo>
                    <a:lnTo>
                      <a:pt x="3086" y="3364"/>
                    </a:lnTo>
                    <a:lnTo>
                      <a:pt x="3094" y="3368"/>
                    </a:lnTo>
                    <a:lnTo>
                      <a:pt x="3104" y="3368"/>
                    </a:lnTo>
                    <a:lnTo>
                      <a:pt x="3104" y="3368"/>
                    </a:lnTo>
                    <a:lnTo>
                      <a:pt x="3116" y="3368"/>
                    </a:lnTo>
                    <a:lnTo>
                      <a:pt x="3124" y="3370"/>
                    </a:lnTo>
                    <a:lnTo>
                      <a:pt x="3140" y="3376"/>
                    </a:lnTo>
                    <a:lnTo>
                      <a:pt x="3140" y="3376"/>
                    </a:lnTo>
                    <a:lnTo>
                      <a:pt x="3146" y="3382"/>
                    </a:lnTo>
                    <a:lnTo>
                      <a:pt x="3150" y="3386"/>
                    </a:lnTo>
                    <a:lnTo>
                      <a:pt x="3152" y="3388"/>
                    </a:lnTo>
                    <a:lnTo>
                      <a:pt x="3160" y="3390"/>
                    </a:lnTo>
                    <a:lnTo>
                      <a:pt x="3160" y="3390"/>
                    </a:lnTo>
                    <a:lnTo>
                      <a:pt x="3174" y="3392"/>
                    </a:lnTo>
                    <a:lnTo>
                      <a:pt x="3186" y="3398"/>
                    </a:lnTo>
                    <a:lnTo>
                      <a:pt x="3196" y="3404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4"/>
                    </a:lnTo>
                    <a:lnTo>
                      <a:pt x="3202" y="3402"/>
                    </a:lnTo>
                    <a:lnTo>
                      <a:pt x="3202" y="3400"/>
                    </a:lnTo>
                    <a:lnTo>
                      <a:pt x="3210" y="3404"/>
                    </a:lnTo>
                    <a:lnTo>
                      <a:pt x="3210" y="3404"/>
                    </a:lnTo>
                    <a:lnTo>
                      <a:pt x="3212" y="3406"/>
                    </a:lnTo>
                    <a:lnTo>
                      <a:pt x="3218" y="3406"/>
                    </a:lnTo>
                    <a:lnTo>
                      <a:pt x="3226" y="3406"/>
                    </a:lnTo>
                    <a:lnTo>
                      <a:pt x="3234" y="3404"/>
                    </a:lnTo>
                    <a:lnTo>
                      <a:pt x="3236" y="3402"/>
                    </a:lnTo>
                    <a:lnTo>
                      <a:pt x="3234" y="3400"/>
                    </a:lnTo>
                    <a:lnTo>
                      <a:pt x="3234" y="3400"/>
                    </a:lnTo>
                    <a:lnTo>
                      <a:pt x="3230" y="3398"/>
                    </a:lnTo>
                    <a:lnTo>
                      <a:pt x="3230" y="3396"/>
                    </a:lnTo>
                    <a:lnTo>
                      <a:pt x="3230" y="3394"/>
                    </a:lnTo>
                    <a:lnTo>
                      <a:pt x="3232" y="3394"/>
                    </a:lnTo>
                    <a:lnTo>
                      <a:pt x="3232" y="3394"/>
                    </a:lnTo>
                    <a:lnTo>
                      <a:pt x="3236" y="3396"/>
                    </a:lnTo>
                    <a:lnTo>
                      <a:pt x="3238" y="3396"/>
                    </a:lnTo>
                    <a:lnTo>
                      <a:pt x="3240" y="3392"/>
                    </a:lnTo>
                    <a:lnTo>
                      <a:pt x="3240" y="3392"/>
                    </a:lnTo>
                    <a:lnTo>
                      <a:pt x="3242" y="3398"/>
                    </a:lnTo>
                    <a:lnTo>
                      <a:pt x="3242" y="3398"/>
                    </a:lnTo>
                    <a:lnTo>
                      <a:pt x="3248" y="3406"/>
                    </a:lnTo>
                    <a:lnTo>
                      <a:pt x="3252" y="3410"/>
                    </a:lnTo>
                    <a:lnTo>
                      <a:pt x="3254" y="3412"/>
                    </a:lnTo>
                    <a:lnTo>
                      <a:pt x="3252" y="3416"/>
                    </a:lnTo>
                    <a:lnTo>
                      <a:pt x="3252" y="3416"/>
                    </a:lnTo>
                    <a:lnTo>
                      <a:pt x="3250" y="3418"/>
                    </a:lnTo>
                    <a:lnTo>
                      <a:pt x="3250" y="3418"/>
                    </a:lnTo>
                    <a:lnTo>
                      <a:pt x="3246" y="3416"/>
                    </a:lnTo>
                    <a:lnTo>
                      <a:pt x="3244" y="3412"/>
                    </a:lnTo>
                    <a:lnTo>
                      <a:pt x="3242" y="3412"/>
                    </a:lnTo>
                    <a:lnTo>
                      <a:pt x="3240" y="3414"/>
                    </a:lnTo>
                    <a:lnTo>
                      <a:pt x="3240" y="3414"/>
                    </a:lnTo>
                    <a:lnTo>
                      <a:pt x="3238" y="3418"/>
                    </a:lnTo>
                    <a:lnTo>
                      <a:pt x="3242" y="3422"/>
                    </a:lnTo>
                    <a:lnTo>
                      <a:pt x="3246" y="3426"/>
                    </a:lnTo>
                    <a:lnTo>
                      <a:pt x="3252" y="3434"/>
                    </a:lnTo>
                    <a:lnTo>
                      <a:pt x="3252" y="3434"/>
                    </a:lnTo>
                    <a:lnTo>
                      <a:pt x="3258" y="3442"/>
                    </a:lnTo>
                    <a:lnTo>
                      <a:pt x="3266" y="3448"/>
                    </a:lnTo>
                    <a:lnTo>
                      <a:pt x="3274" y="3454"/>
                    </a:lnTo>
                    <a:lnTo>
                      <a:pt x="3278" y="3460"/>
                    </a:lnTo>
                    <a:lnTo>
                      <a:pt x="3282" y="3466"/>
                    </a:lnTo>
                    <a:lnTo>
                      <a:pt x="3282" y="3466"/>
                    </a:lnTo>
                    <a:lnTo>
                      <a:pt x="3288" y="3478"/>
                    </a:lnTo>
                    <a:lnTo>
                      <a:pt x="3294" y="3486"/>
                    </a:lnTo>
                    <a:lnTo>
                      <a:pt x="3304" y="3494"/>
                    </a:lnTo>
                    <a:lnTo>
                      <a:pt x="3316" y="3506"/>
                    </a:lnTo>
                    <a:lnTo>
                      <a:pt x="3316" y="3506"/>
                    </a:lnTo>
                    <a:lnTo>
                      <a:pt x="3318" y="3510"/>
                    </a:lnTo>
                    <a:lnTo>
                      <a:pt x="3318" y="3512"/>
                    </a:lnTo>
                    <a:lnTo>
                      <a:pt x="3314" y="3514"/>
                    </a:lnTo>
                    <a:lnTo>
                      <a:pt x="3310" y="3518"/>
                    </a:lnTo>
                    <a:lnTo>
                      <a:pt x="3310" y="3518"/>
                    </a:lnTo>
                    <a:lnTo>
                      <a:pt x="3310" y="3520"/>
                    </a:lnTo>
                    <a:lnTo>
                      <a:pt x="3310" y="3520"/>
                    </a:lnTo>
                    <a:lnTo>
                      <a:pt x="3316" y="3522"/>
                    </a:lnTo>
                    <a:lnTo>
                      <a:pt x="3318" y="3522"/>
                    </a:lnTo>
                    <a:lnTo>
                      <a:pt x="3318" y="3522"/>
                    </a:lnTo>
                    <a:lnTo>
                      <a:pt x="3318" y="3528"/>
                    </a:lnTo>
                    <a:lnTo>
                      <a:pt x="3318" y="3528"/>
                    </a:lnTo>
                    <a:lnTo>
                      <a:pt x="3318" y="3534"/>
                    </a:lnTo>
                    <a:lnTo>
                      <a:pt x="3316" y="3534"/>
                    </a:lnTo>
                    <a:lnTo>
                      <a:pt x="3314" y="3536"/>
                    </a:lnTo>
                    <a:lnTo>
                      <a:pt x="3312" y="3540"/>
                    </a:lnTo>
                    <a:lnTo>
                      <a:pt x="3312" y="3540"/>
                    </a:lnTo>
                    <a:lnTo>
                      <a:pt x="3312" y="3550"/>
                    </a:lnTo>
                    <a:lnTo>
                      <a:pt x="3314" y="3558"/>
                    </a:lnTo>
                    <a:lnTo>
                      <a:pt x="3318" y="3564"/>
                    </a:lnTo>
                    <a:lnTo>
                      <a:pt x="3322" y="3566"/>
                    </a:lnTo>
                    <a:lnTo>
                      <a:pt x="3322" y="3566"/>
                    </a:lnTo>
                    <a:lnTo>
                      <a:pt x="3330" y="3570"/>
                    </a:lnTo>
                    <a:lnTo>
                      <a:pt x="3334" y="3574"/>
                    </a:lnTo>
                    <a:lnTo>
                      <a:pt x="3338" y="3578"/>
                    </a:lnTo>
                    <a:lnTo>
                      <a:pt x="3338" y="3578"/>
                    </a:lnTo>
                    <a:lnTo>
                      <a:pt x="3340" y="3582"/>
                    </a:lnTo>
                    <a:lnTo>
                      <a:pt x="3342" y="3580"/>
                    </a:lnTo>
                    <a:lnTo>
                      <a:pt x="3348" y="3574"/>
                    </a:lnTo>
                    <a:lnTo>
                      <a:pt x="3348" y="3574"/>
                    </a:lnTo>
                    <a:lnTo>
                      <a:pt x="3350" y="3572"/>
                    </a:lnTo>
                    <a:lnTo>
                      <a:pt x="3350" y="3570"/>
                    </a:lnTo>
                    <a:lnTo>
                      <a:pt x="3348" y="3566"/>
                    </a:lnTo>
                    <a:lnTo>
                      <a:pt x="3338" y="3558"/>
                    </a:lnTo>
                    <a:lnTo>
                      <a:pt x="3338" y="3558"/>
                    </a:lnTo>
                    <a:lnTo>
                      <a:pt x="3336" y="3554"/>
                    </a:lnTo>
                    <a:lnTo>
                      <a:pt x="3336" y="3552"/>
                    </a:lnTo>
                    <a:lnTo>
                      <a:pt x="3336" y="3550"/>
                    </a:lnTo>
                    <a:lnTo>
                      <a:pt x="3338" y="3552"/>
                    </a:lnTo>
                    <a:lnTo>
                      <a:pt x="3338" y="3552"/>
                    </a:lnTo>
                    <a:lnTo>
                      <a:pt x="3342" y="3554"/>
                    </a:lnTo>
                    <a:lnTo>
                      <a:pt x="3348" y="3558"/>
                    </a:lnTo>
                    <a:lnTo>
                      <a:pt x="3354" y="3562"/>
                    </a:lnTo>
                    <a:lnTo>
                      <a:pt x="3358" y="3566"/>
                    </a:lnTo>
                    <a:lnTo>
                      <a:pt x="3358" y="3566"/>
                    </a:lnTo>
                    <a:lnTo>
                      <a:pt x="3358" y="3576"/>
                    </a:lnTo>
                    <a:lnTo>
                      <a:pt x="3360" y="3578"/>
                    </a:lnTo>
                    <a:lnTo>
                      <a:pt x="3362" y="3582"/>
                    </a:lnTo>
                    <a:lnTo>
                      <a:pt x="3362" y="3582"/>
                    </a:lnTo>
                    <a:lnTo>
                      <a:pt x="3366" y="3584"/>
                    </a:lnTo>
                    <a:lnTo>
                      <a:pt x="3368" y="3586"/>
                    </a:lnTo>
                    <a:lnTo>
                      <a:pt x="3374" y="3586"/>
                    </a:lnTo>
                    <a:lnTo>
                      <a:pt x="3384" y="3592"/>
                    </a:lnTo>
                    <a:lnTo>
                      <a:pt x="3384" y="3592"/>
                    </a:lnTo>
                    <a:lnTo>
                      <a:pt x="3398" y="3604"/>
                    </a:lnTo>
                    <a:lnTo>
                      <a:pt x="3402" y="3608"/>
                    </a:lnTo>
                    <a:lnTo>
                      <a:pt x="3402" y="3612"/>
                    </a:lnTo>
                    <a:lnTo>
                      <a:pt x="3402" y="3612"/>
                    </a:lnTo>
                    <a:lnTo>
                      <a:pt x="3402" y="3620"/>
                    </a:lnTo>
                    <a:lnTo>
                      <a:pt x="3400" y="3624"/>
                    </a:lnTo>
                    <a:lnTo>
                      <a:pt x="3398" y="3626"/>
                    </a:lnTo>
                    <a:lnTo>
                      <a:pt x="3398" y="3626"/>
                    </a:lnTo>
                    <a:lnTo>
                      <a:pt x="3398" y="3628"/>
                    </a:lnTo>
                    <a:lnTo>
                      <a:pt x="3396" y="3630"/>
                    </a:lnTo>
                    <a:lnTo>
                      <a:pt x="3400" y="3634"/>
                    </a:lnTo>
                    <a:lnTo>
                      <a:pt x="3404" y="3636"/>
                    </a:lnTo>
                    <a:lnTo>
                      <a:pt x="3408" y="3638"/>
                    </a:lnTo>
                    <a:lnTo>
                      <a:pt x="3408" y="3638"/>
                    </a:lnTo>
                    <a:lnTo>
                      <a:pt x="3410" y="3640"/>
                    </a:lnTo>
                    <a:lnTo>
                      <a:pt x="3414" y="3640"/>
                    </a:lnTo>
                    <a:lnTo>
                      <a:pt x="3414" y="3642"/>
                    </a:lnTo>
                    <a:lnTo>
                      <a:pt x="3416" y="3640"/>
                    </a:lnTo>
                    <a:lnTo>
                      <a:pt x="3416" y="3640"/>
                    </a:lnTo>
                    <a:lnTo>
                      <a:pt x="3416" y="3636"/>
                    </a:lnTo>
                    <a:lnTo>
                      <a:pt x="3414" y="3634"/>
                    </a:lnTo>
                    <a:lnTo>
                      <a:pt x="3410" y="3630"/>
                    </a:lnTo>
                    <a:lnTo>
                      <a:pt x="3406" y="3626"/>
                    </a:lnTo>
                    <a:lnTo>
                      <a:pt x="3408" y="3626"/>
                    </a:lnTo>
                    <a:lnTo>
                      <a:pt x="3410" y="3624"/>
                    </a:lnTo>
                    <a:lnTo>
                      <a:pt x="3410" y="3624"/>
                    </a:lnTo>
                    <a:lnTo>
                      <a:pt x="3414" y="3622"/>
                    </a:lnTo>
                    <a:lnTo>
                      <a:pt x="3414" y="3624"/>
                    </a:lnTo>
                    <a:lnTo>
                      <a:pt x="3416" y="3628"/>
                    </a:lnTo>
                    <a:lnTo>
                      <a:pt x="3418" y="3630"/>
                    </a:lnTo>
                    <a:lnTo>
                      <a:pt x="3418" y="3630"/>
                    </a:lnTo>
                    <a:lnTo>
                      <a:pt x="3420" y="3630"/>
                    </a:lnTo>
                    <a:lnTo>
                      <a:pt x="3422" y="3632"/>
                    </a:lnTo>
                    <a:lnTo>
                      <a:pt x="3422" y="3636"/>
                    </a:lnTo>
                    <a:lnTo>
                      <a:pt x="3422" y="3642"/>
                    </a:lnTo>
                    <a:lnTo>
                      <a:pt x="3422" y="3646"/>
                    </a:lnTo>
                    <a:lnTo>
                      <a:pt x="3422" y="3646"/>
                    </a:lnTo>
                    <a:lnTo>
                      <a:pt x="3428" y="3654"/>
                    </a:lnTo>
                    <a:lnTo>
                      <a:pt x="3430" y="3656"/>
                    </a:lnTo>
                    <a:lnTo>
                      <a:pt x="3432" y="3656"/>
                    </a:lnTo>
                    <a:lnTo>
                      <a:pt x="3432" y="3656"/>
                    </a:lnTo>
                    <a:lnTo>
                      <a:pt x="3434" y="3648"/>
                    </a:lnTo>
                    <a:lnTo>
                      <a:pt x="3436" y="3646"/>
                    </a:lnTo>
                    <a:lnTo>
                      <a:pt x="3440" y="3644"/>
                    </a:lnTo>
                    <a:lnTo>
                      <a:pt x="3440" y="3644"/>
                    </a:lnTo>
                    <a:lnTo>
                      <a:pt x="3452" y="3646"/>
                    </a:lnTo>
                    <a:lnTo>
                      <a:pt x="3464" y="3650"/>
                    </a:lnTo>
                    <a:lnTo>
                      <a:pt x="3472" y="3652"/>
                    </a:lnTo>
                    <a:lnTo>
                      <a:pt x="3476" y="3654"/>
                    </a:lnTo>
                    <a:lnTo>
                      <a:pt x="3476" y="3654"/>
                    </a:lnTo>
                    <a:lnTo>
                      <a:pt x="3478" y="3652"/>
                    </a:lnTo>
                    <a:lnTo>
                      <a:pt x="3480" y="3654"/>
                    </a:lnTo>
                    <a:lnTo>
                      <a:pt x="3482" y="3662"/>
                    </a:lnTo>
                    <a:lnTo>
                      <a:pt x="3482" y="3662"/>
                    </a:lnTo>
                    <a:lnTo>
                      <a:pt x="3484" y="3666"/>
                    </a:lnTo>
                    <a:lnTo>
                      <a:pt x="3484" y="3670"/>
                    </a:lnTo>
                    <a:lnTo>
                      <a:pt x="3486" y="3672"/>
                    </a:lnTo>
                    <a:lnTo>
                      <a:pt x="3490" y="3676"/>
                    </a:lnTo>
                    <a:lnTo>
                      <a:pt x="3490" y="3676"/>
                    </a:lnTo>
                    <a:lnTo>
                      <a:pt x="3496" y="3678"/>
                    </a:lnTo>
                    <a:lnTo>
                      <a:pt x="3498" y="3678"/>
                    </a:lnTo>
                    <a:lnTo>
                      <a:pt x="3498" y="3674"/>
                    </a:lnTo>
                    <a:lnTo>
                      <a:pt x="3498" y="3674"/>
                    </a:lnTo>
                    <a:lnTo>
                      <a:pt x="3500" y="3668"/>
                    </a:lnTo>
                    <a:lnTo>
                      <a:pt x="3502" y="3666"/>
                    </a:lnTo>
                    <a:lnTo>
                      <a:pt x="3504" y="3666"/>
                    </a:lnTo>
                    <a:lnTo>
                      <a:pt x="3504" y="3668"/>
                    </a:lnTo>
                    <a:lnTo>
                      <a:pt x="3504" y="3668"/>
                    </a:lnTo>
                    <a:lnTo>
                      <a:pt x="3504" y="3672"/>
                    </a:lnTo>
                    <a:lnTo>
                      <a:pt x="3508" y="3680"/>
                    </a:lnTo>
                    <a:lnTo>
                      <a:pt x="3510" y="3686"/>
                    </a:lnTo>
                    <a:lnTo>
                      <a:pt x="3510" y="3694"/>
                    </a:lnTo>
                    <a:lnTo>
                      <a:pt x="3510" y="3694"/>
                    </a:lnTo>
                    <a:lnTo>
                      <a:pt x="3510" y="3696"/>
                    </a:lnTo>
                    <a:lnTo>
                      <a:pt x="3510" y="3698"/>
                    </a:lnTo>
                    <a:lnTo>
                      <a:pt x="3516" y="3698"/>
                    </a:lnTo>
                    <a:lnTo>
                      <a:pt x="3528" y="3696"/>
                    </a:lnTo>
                    <a:lnTo>
                      <a:pt x="3528" y="3696"/>
                    </a:lnTo>
                    <a:lnTo>
                      <a:pt x="3530" y="3696"/>
                    </a:lnTo>
                    <a:lnTo>
                      <a:pt x="3532" y="3696"/>
                    </a:lnTo>
                    <a:lnTo>
                      <a:pt x="3532" y="3692"/>
                    </a:lnTo>
                    <a:lnTo>
                      <a:pt x="3532" y="3690"/>
                    </a:lnTo>
                    <a:lnTo>
                      <a:pt x="3538" y="3688"/>
                    </a:lnTo>
                    <a:lnTo>
                      <a:pt x="3538" y="3688"/>
                    </a:lnTo>
                    <a:lnTo>
                      <a:pt x="3544" y="3688"/>
                    </a:lnTo>
                    <a:lnTo>
                      <a:pt x="3546" y="3686"/>
                    </a:lnTo>
                    <a:lnTo>
                      <a:pt x="3548" y="3684"/>
                    </a:lnTo>
                    <a:lnTo>
                      <a:pt x="3546" y="3680"/>
                    </a:lnTo>
                    <a:lnTo>
                      <a:pt x="3542" y="3672"/>
                    </a:lnTo>
                    <a:lnTo>
                      <a:pt x="3542" y="3672"/>
                    </a:lnTo>
                    <a:lnTo>
                      <a:pt x="3536" y="3664"/>
                    </a:lnTo>
                    <a:lnTo>
                      <a:pt x="3534" y="3660"/>
                    </a:lnTo>
                    <a:lnTo>
                      <a:pt x="3534" y="3658"/>
                    </a:lnTo>
                    <a:lnTo>
                      <a:pt x="3532" y="3658"/>
                    </a:lnTo>
                    <a:lnTo>
                      <a:pt x="3532" y="3658"/>
                    </a:lnTo>
                    <a:lnTo>
                      <a:pt x="3530" y="3658"/>
                    </a:lnTo>
                    <a:lnTo>
                      <a:pt x="3528" y="3656"/>
                    </a:lnTo>
                    <a:lnTo>
                      <a:pt x="3526" y="3652"/>
                    </a:lnTo>
                    <a:lnTo>
                      <a:pt x="3528" y="3648"/>
                    </a:lnTo>
                    <a:lnTo>
                      <a:pt x="3530" y="3646"/>
                    </a:lnTo>
                    <a:lnTo>
                      <a:pt x="3532" y="3646"/>
                    </a:lnTo>
                    <a:lnTo>
                      <a:pt x="3532" y="3646"/>
                    </a:lnTo>
                    <a:lnTo>
                      <a:pt x="3538" y="3644"/>
                    </a:lnTo>
                    <a:lnTo>
                      <a:pt x="3544" y="3642"/>
                    </a:lnTo>
                    <a:lnTo>
                      <a:pt x="3550" y="3636"/>
                    </a:lnTo>
                    <a:lnTo>
                      <a:pt x="3556" y="3628"/>
                    </a:lnTo>
                    <a:lnTo>
                      <a:pt x="3556" y="3628"/>
                    </a:lnTo>
                    <a:lnTo>
                      <a:pt x="3558" y="3624"/>
                    </a:lnTo>
                    <a:lnTo>
                      <a:pt x="3558" y="3622"/>
                    </a:lnTo>
                    <a:lnTo>
                      <a:pt x="3558" y="3618"/>
                    </a:lnTo>
                    <a:lnTo>
                      <a:pt x="3562" y="3616"/>
                    </a:lnTo>
                    <a:lnTo>
                      <a:pt x="3562" y="3616"/>
                    </a:lnTo>
                    <a:lnTo>
                      <a:pt x="3566" y="3614"/>
                    </a:lnTo>
                    <a:lnTo>
                      <a:pt x="3568" y="3612"/>
                    </a:lnTo>
                    <a:lnTo>
                      <a:pt x="3570" y="3610"/>
                    </a:lnTo>
                    <a:lnTo>
                      <a:pt x="3576" y="3610"/>
                    </a:lnTo>
                    <a:lnTo>
                      <a:pt x="3576" y="3610"/>
                    </a:lnTo>
                    <a:lnTo>
                      <a:pt x="3586" y="3612"/>
                    </a:lnTo>
                    <a:lnTo>
                      <a:pt x="3598" y="3620"/>
                    </a:lnTo>
                    <a:lnTo>
                      <a:pt x="3606" y="3626"/>
                    </a:lnTo>
                    <a:lnTo>
                      <a:pt x="3608" y="3630"/>
                    </a:lnTo>
                    <a:lnTo>
                      <a:pt x="3608" y="3632"/>
                    </a:lnTo>
                    <a:lnTo>
                      <a:pt x="3608" y="3632"/>
                    </a:lnTo>
                    <a:lnTo>
                      <a:pt x="3606" y="3636"/>
                    </a:lnTo>
                    <a:lnTo>
                      <a:pt x="3608" y="3638"/>
                    </a:lnTo>
                    <a:lnTo>
                      <a:pt x="3610" y="3640"/>
                    </a:lnTo>
                    <a:lnTo>
                      <a:pt x="3612" y="3640"/>
                    </a:lnTo>
                    <a:lnTo>
                      <a:pt x="3612" y="3640"/>
                    </a:lnTo>
                    <a:lnTo>
                      <a:pt x="3616" y="3638"/>
                    </a:lnTo>
                    <a:lnTo>
                      <a:pt x="3616" y="3638"/>
                    </a:lnTo>
                    <a:lnTo>
                      <a:pt x="3618" y="3638"/>
                    </a:lnTo>
                    <a:lnTo>
                      <a:pt x="3620" y="3638"/>
                    </a:lnTo>
                    <a:lnTo>
                      <a:pt x="3620" y="3638"/>
                    </a:lnTo>
                    <a:lnTo>
                      <a:pt x="3622" y="3638"/>
                    </a:lnTo>
                    <a:lnTo>
                      <a:pt x="3620" y="3640"/>
                    </a:lnTo>
                    <a:lnTo>
                      <a:pt x="3618" y="3648"/>
                    </a:lnTo>
                    <a:lnTo>
                      <a:pt x="3614" y="3658"/>
                    </a:lnTo>
                    <a:lnTo>
                      <a:pt x="3612" y="3662"/>
                    </a:lnTo>
                    <a:lnTo>
                      <a:pt x="3614" y="3666"/>
                    </a:lnTo>
                    <a:lnTo>
                      <a:pt x="3614" y="3666"/>
                    </a:lnTo>
                    <a:lnTo>
                      <a:pt x="3622" y="3682"/>
                    </a:lnTo>
                    <a:lnTo>
                      <a:pt x="3626" y="3690"/>
                    </a:lnTo>
                    <a:lnTo>
                      <a:pt x="3632" y="3696"/>
                    </a:lnTo>
                    <a:lnTo>
                      <a:pt x="3632" y="3696"/>
                    </a:lnTo>
                    <a:lnTo>
                      <a:pt x="3636" y="3700"/>
                    </a:lnTo>
                    <a:lnTo>
                      <a:pt x="3638" y="3702"/>
                    </a:lnTo>
                    <a:lnTo>
                      <a:pt x="3640" y="3704"/>
                    </a:lnTo>
                    <a:lnTo>
                      <a:pt x="3640" y="3708"/>
                    </a:lnTo>
                    <a:lnTo>
                      <a:pt x="3672" y="3654"/>
                    </a:lnTo>
                    <a:lnTo>
                      <a:pt x="3672" y="3654"/>
                    </a:lnTo>
                    <a:lnTo>
                      <a:pt x="3654" y="3626"/>
                    </a:lnTo>
                    <a:lnTo>
                      <a:pt x="3654" y="3626"/>
                    </a:lnTo>
                    <a:close/>
                    <a:moveTo>
                      <a:pt x="3590" y="1870"/>
                    </a:moveTo>
                    <a:lnTo>
                      <a:pt x="3590" y="1870"/>
                    </a:lnTo>
                    <a:lnTo>
                      <a:pt x="3570" y="1886"/>
                    </a:lnTo>
                    <a:lnTo>
                      <a:pt x="3558" y="1894"/>
                    </a:lnTo>
                    <a:lnTo>
                      <a:pt x="3546" y="1900"/>
                    </a:lnTo>
                    <a:lnTo>
                      <a:pt x="3546" y="1900"/>
                    </a:lnTo>
                    <a:lnTo>
                      <a:pt x="3536" y="1904"/>
                    </a:lnTo>
                    <a:lnTo>
                      <a:pt x="3524" y="1910"/>
                    </a:lnTo>
                    <a:lnTo>
                      <a:pt x="3508" y="1920"/>
                    </a:lnTo>
                    <a:lnTo>
                      <a:pt x="3488" y="1932"/>
                    </a:lnTo>
                    <a:lnTo>
                      <a:pt x="3488" y="1932"/>
                    </a:lnTo>
                    <a:lnTo>
                      <a:pt x="3466" y="1938"/>
                    </a:lnTo>
                    <a:lnTo>
                      <a:pt x="3448" y="1942"/>
                    </a:lnTo>
                    <a:lnTo>
                      <a:pt x="3434" y="1942"/>
                    </a:lnTo>
                    <a:lnTo>
                      <a:pt x="3426" y="1940"/>
                    </a:lnTo>
                    <a:lnTo>
                      <a:pt x="3426" y="1940"/>
                    </a:lnTo>
                    <a:lnTo>
                      <a:pt x="3424" y="1938"/>
                    </a:lnTo>
                    <a:lnTo>
                      <a:pt x="3424" y="1938"/>
                    </a:lnTo>
                    <a:lnTo>
                      <a:pt x="3430" y="1936"/>
                    </a:lnTo>
                    <a:lnTo>
                      <a:pt x="3434" y="1936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26" y="1932"/>
                    </a:lnTo>
                    <a:lnTo>
                      <a:pt x="3418" y="1930"/>
                    </a:lnTo>
                    <a:lnTo>
                      <a:pt x="3410" y="1930"/>
                    </a:lnTo>
                    <a:lnTo>
                      <a:pt x="3408" y="1928"/>
                    </a:lnTo>
                    <a:lnTo>
                      <a:pt x="3406" y="1926"/>
                    </a:lnTo>
                    <a:lnTo>
                      <a:pt x="3406" y="1926"/>
                    </a:lnTo>
                    <a:lnTo>
                      <a:pt x="3408" y="1922"/>
                    </a:lnTo>
                    <a:lnTo>
                      <a:pt x="3410" y="1916"/>
                    </a:lnTo>
                    <a:lnTo>
                      <a:pt x="3414" y="1910"/>
                    </a:lnTo>
                    <a:lnTo>
                      <a:pt x="3416" y="1900"/>
                    </a:lnTo>
                    <a:lnTo>
                      <a:pt x="3416" y="1900"/>
                    </a:lnTo>
                    <a:lnTo>
                      <a:pt x="3420" y="1892"/>
                    </a:lnTo>
                    <a:lnTo>
                      <a:pt x="3422" y="1890"/>
                    </a:lnTo>
                    <a:lnTo>
                      <a:pt x="3426" y="1886"/>
                    </a:lnTo>
                    <a:lnTo>
                      <a:pt x="3430" y="1880"/>
                    </a:lnTo>
                    <a:lnTo>
                      <a:pt x="3430" y="1880"/>
                    </a:lnTo>
                    <a:lnTo>
                      <a:pt x="3434" y="1872"/>
                    </a:lnTo>
                    <a:lnTo>
                      <a:pt x="3436" y="1870"/>
                    </a:lnTo>
                    <a:lnTo>
                      <a:pt x="3438" y="1872"/>
                    </a:lnTo>
                    <a:lnTo>
                      <a:pt x="3440" y="1880"/>
                    </a:lnTo>
                    <a:lnTo>
                      <a:pt x="3440" y="1880"/>
                    </a:lnTo>
                    <a:lnTo>
                      <a:pt x="3446" y="1882"/>
                    </a:lnTo>
                    <a:lnTo>
                      <a:pt x="3448" y="1884"/>
                    </a:lnTo>
                    <a:lnTo>
                      <a:pt x="3450" y="1886"/>
                    </a:lnTo>
                    <a:lnTo>
                      <a:pt x="3448" y="1888"/>
                    </a:lnTo>
                    <a:lnTo>
                      <a:pt x="3442" y="1892"/>
                    </a:lnTo>
                    <a:lnTo>
                      <a:pt x="3432" y="1894"/>
                    </a:lnTo>
                    <a:lnTo>
                      <a:pt x="3432" y="1894"/>
                    </a:lnTo>
                    <a:lnTo>
                      <a:pt x="3426" y="1894"/>
                    </a:lnTo>
                    <a:lnTo>
                      <a:pt x="3424" y="1896"/>
                    </a:lnTo>
                    <a:lnTo>
                      <a:pt x="3422" y="1898"/>
                    </a:lnTo>
                    <a:lnTo>
                      <a:pt x="3422" y="1902"/>
                    </a:lnTo>
                    <a:lnTo>
                      <a:pt x="3422" y="1904"/>
                    </a:lnTo>
                    <a:lnTo>
                      <a:pt x="3424" y="1906"/>
                    </a:lnTo>
                    <a:lnTo>
                      <a:pt x="3428" y="1908"/>
                    </a:lnTo>
                    <a:lnTo>
                      <a:pt x="3432" y="1908"/>
                    </a:lnTo>
                    <a:lnTo>
                      <a:pt x="3432" y="1908"/>
                    </a:lnTo>
                    <a:lnTo>
                      <a:pt x="3438" y="1908"/>
                    </a:lnTo>
                    <a:lnTo>
                      <a:pt x="3442" y="1910"/>
                    </a:lnTo>
                    <a:lnTo>
                      <a:pt x="3444" y="1912"/>
                    </a:lnTo>
                    <a:lnTo>
                      <a:pt x="3446" y="1910"/>
                    </a:lnTo>
                    <a:lnTo>
                      <a:pt x="3446" y="1910"/>
                    </a:lnTo>
                    <a:lnTo>
                      <a:pt x="3450" y="1904"/>
                    </a:lnTo>
                    <a:lnTo>
                      <a:pt x="3456" y="1900"/>
                    </a:lnTo>
                    <a:lnTo>
                      <a:pt x="3466" y="1896"/>
                    </a:lnTo>
                    <a:lnTo>
                      <a:pt x="3466" y="1896"/>
                    </a:lnTo>
                    <a:lnTo>
                      <a:pt x="3470" y="1892"/>
                    </a:lnTo>
                    <a:lnTo>
                      <a:pt x="3474" y="1888"/>
                    </a:lnTo>
                    <a:lnTo>
                      <a:pt x="3482" y="1880"/>
                    </a:lnTo>
                    <a:lnTo>
                      <a:pt x="3488" y="1876"/>
                    </a:lnTo>
                    <a:lnTo>
                      <a:pt x="3496" y="1874"/>
                    </a:lnTo>
                    <a:lnTo>
                      <a:pt x="3504" y="1874"/>
                    </a:lnTo>
                    <a:lnTo>
                      <a:pt x="3518" y="1876"/>
                    </a:lnTo>
                    <a:lnTo>
                      <a:pt x="3518" y="1876"/>
                    </a:lnTo>
                    <a:lnTo>
                      <a:pt x="3534" y="1880"/>
                    </a:lnTo>
                    <a:lnTo>
                      <a:pt x="3538" y="1880"/>
                    </a:lnTo>
                    <a:lnTo>
                      <a:pt x="3536" y="1878"/>
                    </a:lnTo>
                    <a:lnTo>
                      <a:pt x="3532" y="1876"/>
                    </a:lnTo>
                    <a:lnTo>
                      <a:pt x="3532" y="1872"/>
                    </a:lnTo>
                    <a:lnTo>
                      <a:pt x="3532" y="1870"/>
                    </a:lnTo>
                    <a:lnTo>
                      <a:pt x="3532" y="1870"/>
                    </a:lnTo>
                    <a:lnTo>
                      <a:pt x="3536" y="1866"/>
                    </a:lnTo>
                    <a:lnTo>
                      <a:pt x="3540" y="1864"/>
                    </a:lnTo>
                    <a:lnTo>
                      <a:pt x="3560" y="1862"/>
                    </a:lnTo>
                    <a:lnTo>
                      <a:pt x="3560" y="1862"/>
                    </a:lnTo>
                    <a:lnTo>
                      <a:pt x="3580" y="1860"/>
                    </a:lnTo>
                    <a:lnTo>
                      <a:pt x="3584" y="1860"/>
                    </a:lnTo>
                    <a:lnTo>
                      <a:pt x="3586" y="1858"/>
                    </a:lnTo>
                    <a:lnTo>
                      <a:pt x="3586" y="1858"/>
                    </a:lnTo>
                    <a:lnTo>
                      <a:pt x="3586" y="1854"/>
                    </a:lnTo>
                    <a:lnTo>
                      <a:pt x="3586" y="1852"/>
                    </a:lnTo>
                    <a:lnTo>
                      <a:pt x="3588" y="1850"/>
                    </a:lnTo>
                    <a:lnTo>
                      <a:pt x="3588" y="1850"/>
                    </a:lnTo>
                    <a:lnTo>
                      <a:pt x="3590" y="1850"/>
                    </a:lnTo>
                    <a:lnTo>
                      <a:pt x="3592" y="1852"/>
                    </a:lnTo>
                    <a:lnTo>
                      <a:pt x="3594" y="1858"/>
                    </a:lnTo>
                    <a:lnTo>
                      <a:pt x="3592" y="1864"/>
                    </a:lnTo>
                    <a:lnTo>
                      <a:pt x="3590" y="1870"/>
                    </a:lnTo>
                    <a:lnTo>
                      <a:pt x="3590" y="1870"/>
                    </a:lnTo>
                    <a:close/>
                    <a:moveTo>
                      <a:pt x="3578" y="1812"/>
                    </a:moveTo>
                    <a:lnTo>
                      <a:pt x="3578" y="1812"/>
                    </a:lnTo>
                    <a:lnTo>
                      <a:pt x="3586" y="1806"/>
                    </a:lnTo>
                    <a:lnTo>
                      <a:pt x="3596" y="1804"/>
                    </a:lnTo>
                    <a:lnTo>
                      <a:pt x="3624" y="1798"/>
                    </a:lnTo>
                    <a:lnTo>
                      <a:pt x="3624" y="1798"/>
                    </a:lnTo>
                    <a:lnTo>
                      <a:pt x="3636" y="1796"/>
                    </a:lnTo>
                    <a:lnTo>
                      <a:pt x="3642" y="1794"/>
                    </a:lnTo>
                    <a:lnTo>
                      <a:pt x="3656" y="1802"/>
                    </a:lnTo>
                    <a:lnTo>
                      <a:pt x="3656" y="1802"/>
                    </a:lnTo>
                    <a:lnTo>
                      <a:pt x="3662" y="1804"/>
                    </a:lnTo>
                    <a:lnTo>
                      <a:pt x="3664" y="1804"/>
                    </a:lnTo>
                    <a:lnTo>
                      <a:pt x="3668" y="1804"/>
                    </a:lnTo>
                    <a:lnTo>
                      <a:pt x="3668" y="1802"/>
                    </a:lnTo>
                    <a:lnTo>
                      <a:pt x="3672" y="1794"/>
                    </a:lnTo>
                    <a:lnTo>
                      <a:pt x="3674" y="1790"/>
                    </a:lnTo>
                    <a:lnTo>
                      <a:pt x="3678" y="1788"/>
                    </a:lnTo>
                    <a:lnTo>
                      <a:pt x="3678" y="1788"/>
                    </a:lnTo>
                    <a:lnTo>
                      <a:pt x="3686" y="1782"/>
                    </a:lnTo>
                    <a:lnTo>
                      <a:pt x="3696" y="1778"/>
                    </a:lnTo>
                    <a:lnTo>
                      <a:pt x="3706" y="1776"/>
                    </a:lnTo>
                    <a:lnTo>
                      <a:pt x="3716" y="1770"/>
                    </a:lnTo>
                    <a:lnTo>
                      <a:pt x="3716" y="1770"/>
                    </a:lnTo>
                    <a:lnTo>
                      <a:pt x="3714" y="1774"/>
                    </a:lnTo>
                    <a:lnTo>
                      <a:pt x="3712" y="1778"/>
                    </a:lnTo>
                    <a:lnTo>
                      <a:pt x="3708" y="1782"/>
                    </a:lnTo>
                    <a:lnTo>
                      <a:pt x="3702" y="1784"/>
                    </a:lnTo>
                    <a:lnTo>
                      <a:pt x="3702" y="1784"/>
                    </a:lnTo>
                    <a:lnTo>
                      <a:pt x="3698" y="1786"/>
                    </a:lnTo>
                    <a:lnTo>
                      <a:pt x="3694" y="1790"/>
                    </a:lnTo>
                    <a:lnTo>
                      <a:pt x="3696" y="1794"/>
                    </a:lnTo>
                    <a:lnTo>
                      <a:pt x="3698" y="1798"/>
                    </a:lnTo>
                    <a:lnTo>
                      <a:pt x="3698" y="1798"/>
                    </a:lnTo>
                    <a:lnTo>
                      <a:pt x="3702" y="1800"/>
                    </a:lnTo>
                    <a:lnTo>
                      <a:pt x="3702" y="1802"/>
                    </a:lnTo>
                    <a:lnTo>
                      <a:pt x="3700" y="1806"/>
                    </a:lnTo>
                    <a:lnTo>
                      <a:pt x="3700" y="1814"/>
                    </a:lnTo>
                    <a:lnTo>
                      <a:pt x="3700" y="1814"/>
                    </a:lnTo>
                    <a:lnTo>
                      <a:pt x="3700" y="1820"/>
                    </a:lnTo>
                    <a:lnTo>
                      <a:pt x="3696" y="1822"/>
                    </a:lnTo>
                    <a:lnTo>
                      <a:pt x="3690" y="1826"/>
                    </a:lnTo>
                    <a:lnTo>
                      <a:pt x="3684" y="1830"/>
                    </a:lnTo>
                    <a:lnTo>
                      <a:pt x="3684" y="1830"/>
                    </a:lnTo>
                    <a:lnTo>
                      <a:pt x="3680" y="1834"/>
                    </a:lnTo>
                    <a:lnTo>
                      <a:pt x="3676" y="1836"/>
                    </a:lnTo>
                    <a:lnTo>
                      <a:pt x="3662" y="1838"/>
                    </a:lnTo>
                    <a:lnTo>
                      <a:pt x="3648" y="1838"/>
                    </a:lnTo>
                    <a:lnTo>
                      <a:pt x="3638" y="1834"/>
                    </a:lnTo>
                    <a:lnTo>
                      <a:pt x="3638" y="1834"/>
                    </a:lnTo>
                    <a:lnTo>
                      <a:pt x="3628" y="1832"/>
                    </a:lnTo>
                    <a:lnTo>
                      <a:pt x="3616" y="1830"/>
                    </a:lnTo>
                    <a:lnTo>
                      <a:pt x="3604" y="1832"/>
                    </a:lnTo>
                    <a:lnTo>
                      <a:pt x="3594" y="1834"/>
                    </a:lnTo>
                    <a:lnTo>
                      <a:pt x="3594" y="1834"/>
                    </a:lnTo>
                    <a:lnTo>
                      <a:pt x="3588" y="1838"/>
                    </a:lnTo>
                    <a:lnTo>
                      <a:pt x="3582" y="1840"/>
                    </a:lnTo>
                    <a:lnTo>
                      <a:pt x="3574" y="1842"/>
                    </a:lnTo>
                    <a:lnTo>
                      <a:pt x="3574" y="1842"/>
                    </a:lnTo>
                    <a:lnTo>
                      <a:pt x="3568" y="1842"/>
                    </a:lnTo>
                    <a:lnTo>
                      <a:pt x="3562" y="1842"/>
                    </a:lnTo>
                    <a:lnTo>
                      <a:pt x="3560" y="1840"/>
                    </a:lnTo>
                    <a:lnTo>
                      <a:pt x="3558" y="1838"/>
                    </a:lnTo>
                    <a:lnTo>
                      <a:pt x="3558" y="1834"/>
                    </a:lnTo>
                    <a:lnTo>
                      <a:pt x="3560" y="1828"/>
                    </a:lnTo>
                    <a:lnTo>
                      <a:pt x="3560" y="1828"/>
                    </a:lnTo>
                    <a:lnTo>
                      <a:pt x="3564" y="1820"/>
                    </a:lnTo>
                    <a:lnTo>
                      <a:pt x="3570" y="1818"/>
                    </a:lnTo>
                    <a:lnTo>
                      <a:pt x="3574" y="1816"/>
                    </a:lnTo>
                    <a:lnTo>
                      <a:pt x="3578" y="1812"/>
                    </a:lnTo>
                    <a:lnTo>
                      <a:pt x="3578" y="1812"/>
                    </a:lnTo>
                    <a:close/>
                    <a:moveTo>
                      <a:pt x="3092" y="1606"/>
                    </a:moveTo>
                    <a:lnTo>
                      <a:pt x="3092" y="1606"/>
                    </a:lnTo>
                    <a:lnTo>
                      <a:pt x="3104" y="1594"/>
                    </a:lnTo>
                    <a:lnTo>
                      <a:pt x="3118" y="1586"/>
                    </a:lnTo>
                    <a:lnTo>
                      <a:pt x="3158" y="1566"/>
                    </a:lnTo>
                    <a:lnTo>
                      <a:pt x="3158" y="1566"/>
                    </a:lnTo>
                    <a:lnTo>
                      <a:pt x="3164" y="1564"/>
                    </a:lnTo>
                    <a:lnTo>
                      <a:pt x="3164" y="1564"/>
                    </a:lnTo>
                    <a:lnTo>
                      <a:pt x="3168" y="1560"/>
                    </a:lnTo>
                    <a:lnTo>
                      <a:pt x="3172" y="1556"/>
                    </a:lnTo>
                    <a:lnTo>
                      <a:pt x="3176" y="1544"/>
                    </a:lnTo>
                    <a:lnTo>
                      <a:pt x="3176" y="1544"/>
                    </a:lnTo>
                    <a:lnTo>
                      <a:pt x="3180" y="1538"/>
                    </a:lnTo>
                    <a:lnTo>
                      <a:pt x="3184" y="1534"/>
                    </a:lnTo>
                    <a:lnTo>
                      <a:pt x="3188" y="1534"/>
                    </a:lnTo>
                    <a:lnTo>
                      <a:pt x="3190" y="1536"/>
                    </a:lnTo>
                    <a:lnTo>
                      <a:pt x="3190" y="1538"/>
                    </a:lnTo>
                    <a:lnTo>
                      <a:pt x="3190" y="1542"/>
                    </a:lnTo>
                    <a:lnTo>
                      <a:pt x="3190" y="1542"/>
                    </a:lnTo>
                    <a:lnTo>
                      <a:pt x="3188" y="1548"/>
                    </a:lnTo>
                    <a:lnTo>
                      <a:pt x="3192" y="1544"/>
                    </a:lnTo>
                    <a:lnTo>
                      <a:pt x="3196" y="1536"/>
                    </a:lnTo>
                    <a:lnTo>
                      <a:pt x="3200" y="1524"/>
                    </a:lnTo>
                    <a:lnTo>
                      <a:pt x="3200" y="1524"/>
                    </a:lnTo>
                    <a:lnTo>
                      <a:pt x="3204" y="1516"/>
                    </a:lnTo>
                    <a:lnTo>
                      <a:pt x="3206" y="1516"/>
                    </a:lnTo>
                    <a:lnTo>
                      <a:pt x="3208" y="1516"/>
                    </a:lnTo>
                    <a:lnTo>
                      <a:pt x="3208" y="1522"/>
                    </a:lnTo>
                    <a:lnTo>
                      <a:pt x="3206" y="1532"/>
                    </a:lnTo>
                    <a:lnTo>
                      <a:pt x="3206" y="1532"/>
                    </a:lnTo>
                    <a:lnTo>
                      <a:pt x="3204" y="1538"/>
                    </a:lnTo>
                    <a:lnTo>
                      <a:pt x="3204" y="1540"/>
                    </a:lnTo>
                    <a:lnTo>
                      <a:pt x="3204" y="1540"/>
                    </a:lnTo>
                    <a:lnTo>
                      <a:pt x="3216" y="1532"/>
                    </a:lnTo>
                    <a:lnTo>
                      <a:pt x="3216" y="1532"/>
                    </a:lnTo>
                    <a:lnTo>
                      <a:pt x="3218" y="1530"/>
                    </a:lnTo>
                    <a:lnTo>
                      <a:pt x="3220" y="1526"/>
                    </a:lnTo>
                    <a:lnTo>
                      <a:pt x="3218" y="1520"/>
                    </a:lnTo>
                    <a:lnTo>
                      <a:pt x="3216" y="1514"/>
                    </a:lnTo>
                    <a:lnTo>
                      <a:pt x="3216" y="1512"/>
                    </a:lnTo>
                    <a:lnTo>
                      <a:pt x="3216" y="1510"/>
                    </a:lnTo>
                    <a:lnTo>
                      <a:pt x="3216" y="1510"/>
                    </a:lnTo>
                    <a:lnTo>
                      <a:pt x="3220" y="1508"/>
                    </a:lnTo>
                    <a:lnTo>
                      <a:pt x="3224" y="1510"/>
                    </a:lnTo>
                    <a:lnTo>
                      <a:pt x="3236" y="1514"/>
                    </a:lnTo>
                    <a:lnTo>
                      <a:pt x="3248" y="1520"/>
                    </a:lnTo>
                    <a:lnTo>
                      <a:pt x="3254" y="1522"/>
                    </a:lnTo>
                    <a:lnTo>
                      <a:pt x="3260" y="1522"/>
                    </a:lnTo>
                    <a:lnTo>
                      <a:pt x="3260" y="1522"/>
                    </a:lnTo>
                    <a:lnTo>
                      <a:pt x="3268" y="1522"/>
                    </a:lnTo>
                    <a:lnTo>
                      <a:pt x="3272" y="1522"/>
                    </a:lnTo>
                    <a:lnTo>
                      <a:pt x="3276" y="1522"/>
                    </a:lnTo>
                    <a:lnTo>
                      <a:pt x="3284" y="1522"/>
                    </a:lnTo>
                    <a:lnTo>
                      <a:pt x="3284" y="1522"/>
                    </a:lnTo>
                    <a:lnTo>
                      <a:pt x="3288" y="1524"/>
                    </a:lnTo>
                    <a:lnTo>
                      <a:pt x="3292" y="1528"/>
                    </a:lnTo>
                    <a:lnTo>
                      <a:pt x="3296" y="1542"/>
                    </a:lnTo>
                    <a:lnTo>
                      <a:pt x="3298" y="1550"/>
                    </a:lnTo>
                    <a:lnTo>
                      <a:pt x="3302" y="1558"/>
                    </a:lnTo>
                    <a:lnTo>
                      <a:pt x="3308" y="1566"/>
                    </a:lnTo>
                    <a:lnTo>
                      <a:pt x="3314" y="1570"/>
                    </a:lnTo>
                    <a:lnTo>
                      <a:pt x="3314" y="1570"/>
                    </a:lnTo>
                    <a:lnTo>
                      <a:pt x="3320" y="1572"/>
                    </a:lnTo>
                    <a:lnTo>
                      <a:pt x="3328" y="1572"/>
                    </a:lnTo>
                    <a:lnTo>
                      <a:pt x="3340" y="1570"/>
                    </a:lnTo>
                    <a:lnTo>
                      <a:pt x="3344" y="1570"/>
                    </a:lnTo>
                    <a:lnTo>
                      <a:pt x="3348" y="1570"/>
                    </a:lnTo>
                    <a:lnTo>
                      <a:pt x="3348" y="1574"/>
                    </a:lnTo>
                    <a:lnTo>
                      <a:pt x="3346" y="1580"/>
                    </a:lnTo>
                    <a:lnTo>
                      <a:pt x="3346" y="1580"/>
                    </a:lnTo>
                    <a:lnTo>
                      <a:pt x="3344" y="1588"/>
                    </a:lnTo>
                    <a:lnTo>
                      <a:pt x="3346" y="1594"/>
                    </a:lnTo>
                    <a:lnTo>
                      <a:pt x="3358" y="1604"/>
                    </a:lnTo>
                    <a:lnTo>
                      <a:pt x="3358" y="1604"/>
                    </a:lnTo>
                    <a:lnTo>
                      <a:pt x="3360" y="1606"/>
                    </a:lnTo>
                    <a:lnTo>
                      <a:pt x="3360" y="1610"/>
                    </a:lnTo>
                    <a:lnTo>
                      <a:pt x="3358" y="1618"/>
                    </a:lnTo>
                    <a:lnTo>
                      <a:pt x="3354" y="1624"/>
                    </a:lnTo>
                    <a:lnTo>
                      <a:pt x="3354" y="1626"/>
                    </a:lnTo>
                    <a:lnTo>
                      <a:pt x="3356" y="1630"/>
                    </a:lnTo>
                    <a:lnTo>
                      <a:pt x="3356" y="1630"/>
                    </a:lnTo>
                    <a:lnTo>
                      <a:pt x="3362" y="1630"/>
                    </a:lnTo>
                    <a:lnTo>
                      <a:pt x="3364" y="1630"/>
                    </a:lnTo>
                    <a:lnTo>
                      <a:pt x="3366" y="1630"/>
                    </a:lnTo>
                    <a:lnTo>
                      <a:pt x="3368" y="1632"/>
                    </a:lnTo>
                    <a:lnTo>
                      <a:pt x="3368" y="1632"/>
                    </a:lnTo>
                    <a:lnTo>
                      <a:pt x="3370" y="1634"/>
                    </a:lnTo>
                    <a:lnTo>
                      <a:pt x="3368" y="1636"/>
                    </a:lnTo>
                    <a:lnTo>
                      <a:pt x="3364" y="1640"/>
                    </a:lnTo>
                    <a:lnTo>
                      <a:pt x="3362" y="1642"/>
                    </a:lnTo>
                    <a:lnTo>
                      <a:pt x="3362" y="1648"/>
                    </a:lnTo>
                    <a:lnTo>
                      <a:pt x="3362" y="1648"/>
                    </a:lnTo>
                    <a:lnTo>
                      <a:pt x="3362" y="1652"/>
                    </a:lnTo>
                    <a:lnTo>
                      <a:pt x="3364" y="1654"/>
                    </a:lnTo>
                    <a:lnTo>
                      <a:pt x="3372" y="1652"/>
                    </a:lnTo>
                    <a:lnTo>
                      <a:pt x="3380" y="1652"/>
                    </a:lnTo>
                    <a:lnTo>
                      <a:pt x="3382" y="1652"/>
                    </a:lnTo>
                    <a:lnTo>
                      <a:pt x="3382" y="1656"/>
                    </a:lnTo>
                    <a:lnTo>
                      <a:pt x="3382" y="1656"/>
                    </a:lnTo>
                    <a:lnTo>
                      <a:pt x="3382" y="1662"/>
                    </a:lnTo>
                    <a:lnTo>
                      <a:pt x="3386" y="1664"/>
                    </a:lnTo>
                    <a:lnTo>
                      <a:pt x="3392" y="1666"/>
                    </a:lnTo>
                    <a:lnTo>
                      <a:pt x="3402" y="1668"/>
                    </a:lnTo>
                    <a:lnTo>
                      <a:pt x="3402" y="1668"/>
                    </a:lnTo>
                    <a:lnTo>
                      <a:pt x="3416" y="1672"/>
                    </a:lnTo>
                    <a:lnTo>
                      <a:pt x="3430" y="1674"/>
                    </a:lnTo>
                    <a:lnTo>
                      <a:pt x="3446" y="1674"/>
                    </a:lnTo>
                    <a:lnTo>
                      <a:pt x="3460" y="1676"/>
                    </a:lnTo>
                    <a:lnTo>
                      <a:pt x="3460" y="1676"/>
                    </a:lnTo>
                    <a:lnTo>
                      <a:pt x="3470" y="1676"/>
                    </a:lnTo>
                    <a:lnTo>
                      <a:pt x="3478" y="1676"/>
                    </a:lnTo>
                    <a:lnTo>
                      <a:pt x="3484" y="1678"/>
                    </a:lnTo>
                    <a:lnTo>
                      <a:pt x="3484" y="1678"/>
                    </a:lnTo>
                    <a:lnTo>
                      <a:pt x="3484" y="1680"/>
                    </a:lnTo>
                    <a:lnTo>
                      <a:pt x="3484" y="1680"/>
                    </a:lnTo>
                    <a:lnTo>
                      <a:pt x="3484" y="1682"/>
                    </a:lnTo>
                    <a:lnTo>
                      <a:pt x="3484" y="1684"/>
                    </a:lnTo>
                    <a:lnTo>
                      <a:pt x="3490" y="1686"/>
                    </a:lnTo>
                    <a:lnTo>
                      <a:pt x="3508" y="1686"/>
                    </a:lnTo>
                    <a:lnTo>
                      <a:pt x="3508" y="1686"/>
                    </a:lnTo>
                    <a:lnTo>
                      <a:pt x="3514" y="1688"/>
                    </a:lnTo>
                    <a:lnTo>
                      <a:pt x="3518" y="1692"/>
                    </a:lnTo>
                    <a:lnTo>
                      <a:pt x="3526" y="1704"/>
                    </a:lnTo>
                    <a:lnTo>
                      <a:pt x="3532" y="1716"/>
                    </a:lnTo>
                    <a:lnTo>
                      <a:pt x="3534" y="1718"/>
                    </a:lnTo>
                    <a:lnTo>
                      <a:pt x="3536" y="1718"/>
                    </a:lnTo>
                    <a:lnTo>
                      <a:pt x="3536" y="1718"/>
                    </a:lnTo>
                    <a:lnTo>
                      <a:pt x="3540" y="1716"/>
                    </a:lnTo>
                    <a:lnTo>
                      <a:pt x="3542" y="1716"/>
                    </a:lnTo>
                    <a:lnTo>
                      <a:pt x="3544" y="1720"/>
                    </a:lnTo>
                    <a:lnTo>
                      <a:pt x="3544" y="1726"/>
                    </a:lnTo>
                    <a:lnTo>
                      <a:pt x="3544" y="1726"/>
                    </a:lnTo>
                    <a:lnTo>
                      <a:pt x="3544" y="1730"/>
                    </a:lnTo>
                    <a:lnTo>
                      <a:pt x="3546" y="1734"/>
                    </a:lnTo>
                    <a:lnTo>
                      <a:pt x="3552" y="1742"/>
                    </a:lnTo>
                    <a:lnTo>
                      <a:pt x="3556" y="1748"/>
                    </a:lnTo>
                    <a:lnTo>
                      <a:pt x="3560" y="1756"/>
                    </a:lnTo>
                    <a:lnTo>
                      <a:pt x="3560" y="1756"/>
                    </a:lnTo>
                    <a:lnTo>
                      <a:pt x="3558" y="1758"/>
                    </a:lnTo>
                    <a:lnTo>
                      <a:pt x="3558" y="1758"/>
                    </a:lnTo>
                    <a:lnTo>
                      <a:pt x="3554" y="1754"/>
                    </a:lnTo>
                    <a:lnTo>
                      <a:pt x="3548" y="1750"/>
                    </a:lnTo>
                    <a:lnTo>
                      <a:pt x="3546" y="1750"/>
                    </a:lnTo>
                    <a:lnTo>
                      <a:pt x="3544" y="1750"/>
                    </a:lnTo>
                    <a:lnTo>
                      <a:pt x="3544" y="1750"/>
                    </a:lnTo>
                    <a:lnTo>
                      <a:pt x="3542" y="1752"/>
                    </a:lnTo>
                    <a:lnTo>
                      <a:pt x="3542" y="1754"/>
                    </a:lnTo>
                    <a:lnTo>
                      <a:pt x="3546" y="1760"/>
                    </a:lnTo>
                    <a:lnTo>
                      <a:pt x="3548" y="1766"/>
                    </a:lnTo>
                    <a:lnTo>
                      <a:pt x="3546" y="1768"/>
                    </a:lnTo>
                    <a:lnTo>
                      <a:pt x="3544" y="1770"/>
                    </a:lnTo>
                    <a:lnTo>
                      <a:pt x="3544" y="1770"/>
                    </a:lnTo>
                    <a:lnTo>
                      <a:pt x="3542" y="1772"/>
                    </a:lnTo>
                    <a:lnTo>
                      <a:pt x="3538" y="1770"/>
                    </a:lnTo>
                    <a:lnTo>
                      <a:pt x="3530" y="1764"/>
                    </a:lnTo>
                    <a:lnTo>
                      <a:pt x="3520" y="1760"/>
                    </a:lnTo>
                    <a:lnTo>
                      <a:pt x="3516" y="1758"/>
                    </a:lnTo>
                    <a:lnTo>
                      <a:pt x="3512" y="1760"/>
                    </a:lnTo>
                    <a:lnTo>
                      <a:pt x="3512" y="1760"/>
                    </a:lnTo>
                    <a:lnTo>
                      <a:pt x="3508" y="1762"/>
                    </a:lnTo>
                    <a:lnTo>
                      <a:pt x="3508" y="1758"/>
                    </a:lnTo>
                    <a:lnTo>
                      <a:pt x="3508" y="1754"/>
                    </a:lnTo>
                    <a:lnTo>
                      <a:pt x="3508" y="1754"/>
                    </a:lnTo>
                    <a:lnTo>
                      <a:pt x="3504" y="1754"/>
                    </a:lnTo>
                    <a:lnTo>
                      <a:pt x="3504" y="1754"/>
                    </a:lnTo>
                    <a:lnTo>
                      <a:pt x="3502" y="1754"/>
                    </a:lnTo>
                    <a:lnTo>
                      <a:pt x="3502" y="1754"/>
                    </a:lnTo>
                    <a:lnTo>
                      <a:pt x="3504" y="1750"/>
                    </a:lnTo>
                    <a:lnTo>
                      <a:pt x="3506" y="1746"/>
                    </a:lnTo>
                    <a:lnTo>
                      <a:pt x="3504" y="1744"/>
                    </a:lnTo>
                    <a:lnTo>
                      <a:pt x="3502" y="1742"/>
                    </a:lnTo>
                    <a:lnTo>
                      <a:pt x="3502" y="1742"/>
                    </a:lnTo>
                    <a:lnTo>
                      <a:pt x="3498" y="1742"/>
                    </a:lnTo>
                    <a:lnTo>
                      <a:pt x="3496" y="1740"/>
                    </a:lnTo>
                    <a:lnTo>
                      <a:pt x="3494" y="1734"/>
                    </a:lnTo>
                    <a:lnTo>
                      <a:pt x="3494" y="1728"/>
                    </a:lnTo>
                    <a:lnTo>
                      <a:pt x="3492" y="1728"/>
                    </a:lnTo>
                    <a:lnTo>
                      <a:pt x="3490" y="1726"/>
                    </a:lnTo>
                    <a:lnTo>
                      <a:pt x="3490" y="1726"/>
                    </a:lnTo>
                    <a:lnTo>
                      <a:pt x="3486" y="1726"/>
                    </a:lnTo>
                    <a:lnTo>
                      <a:pt x="3482" y="1726"/>
                    </a:lnTo>
                    <a:lnTo>
                      <a:pt x="3480" y="1724"/>
                    </a:lnTo>
                    <a:lnTo>
                      <a:pt x="3478" y="1726"/>
                    </a:lnTo>
                    <a:lnTo>
                      <a:pt x="3478" y="1726"/>
                    </a:lnTo>
                    <a:lnTo>
                      <a:pt x="3480" y="1730"/>
                    </a:lnTo>
                    <a:lnTo>
                      <a:pt x="3484" y="1736"/>
                    </a:lnTo>
                    <a:lnTo>
                      <a:pt x="3490" y="1744"/>
                    </a:lnTo>
                    <a:lnTo>
                      <a:pt x="3496" y="1756"/>
                    </a:lnTo>
                    <a:lnTo>
                      <a:pt x="3496" y="1756"/>
                    </a:lnTo>
                    <a:lnTo>
                      <a:pt x="3496" y="1762"/>
                    </a:lnTo>
                    <a:lnTo>
                      <a:pt x="3494" y="1766"/>
                    </a:lnTo>
                    <a:lnTo>
                      <a:pt x="3486" y="1776"/>
                    </a:lnTo>
                    <a:lnTo>
                      <a:pt x="3482" y="1782"/>
                    </a:lnTo>
                    <a:lnTo>
                      <a:pt x="3480" y="1788"/>
                    </a:lnTo>
                    <a:lnTo>
                      <a:pt x="3476" y="1796"/>
                    </a:lnTo>
                    <a:lnTo>
                      <a:pt x="3476" y="1806"/>
                    </a:lnTo>
                    <a:lnTo>
                      <a:pt x="3476" y="1806"/>
                    </a:lnTo>
                    <a:lnTo>
                      <a:pt x="3476" y="1826"/>
                    </a:lnTo>
                    <a:lnTo>
                      <a:pt x="3476" y="1832"/>
                    </a:lnTo>
                    <a:lnTo>
                      <a:pt x="3472" y="1838"/>
                    </a:lnTo>
                    <a:lnTo>
                      <a:pt x="3468" y="1842"/>
                    </a:lnTo>
                    <a:lnTo>
                      <a:pt x="3464" y="1844"/>
                    </a:lnTo>
                    <a:lnTo>
                      <a:pt x="3448" y="1852"/>
                    </a:lnTo>
                    <a:lnTo>
                      <a:pt x="3448" y="1852"/>
                    </a:lnTo>
                    <a:lnTo>
                      <a:pt x="3446" y="1846"/>
                    </a:lnTo>
                    <a:lnTo>
                      <a:pt x="3444" y="1838"/>
                    </a:lnTo>
                    <a:lnTo>
                      <a:pt x="3440" y="1818"/>
                    </a:lnTo>
                    <a:lnTo>
                      <a:pt x="3438" y="1808"/>
                    </a:lnTo>
                    <a:lnTo>
                      <a:pt x="3434" y="1802"/>
                    </a:lnTo>
                    <a:lnTo>
                      <a:pt x="3428" y="1796"/>
                    </a:lnTo>
                    <a:lnTo>
                      <a:pt x="3424" y="1796"/>
                    </a:lnTo>
                    <a:lnTo>
                      <a:pt x="3424" y="1796"/>
                    </a:lnTo>
                    <a:lnTo>
                      <a:pt x="3418" y="1798"/>
                    </a:lnTo>
                    <a:lnTo>
                      <a:pt x="3414" y="1800"/>
                    </a:lnTo>
                    <a:lnTo>
                      <a:pt x="3408" y="1808"/>
                    </a:lnTo>
                    <a:lnTo>
                      <a:pt x="3404" y="1816"/>
                    </a:lnTo>
                    <a:lnTo>
                      <a:pt x="3400" y="1818"/>
                    </a:lnTo>
                    <a:lnTo>
                      <a:pt x="3398" y="1820"/>
                    </a:lnTo>
                    <a:lnTo>
                      <a:pt x="3398" y="1820"/>
                    </a:lnTo>
                    <a:lnTo>
                      <a:pt x="3394" y="1818"/>
                    </a:lnTo>
                    <a:lnTo>
                      <a:pt x="3392" y="1816"/>
                    </a:lnTo>
                    <a:lnTo>
                      <a:pt x="3388" y="1810"/>
                    </a:lnTo>
                    <a:lnTo>
                      <a:pt x="3390" y="1802"/>
                    </a:lnTo>
                    <a:lnTo>
                      <a:pt x="3392" y="1798"/>
                    </a:lnTo>
                    <a:lnTo>
                      <a:pt x="3394" y="1796"/>
                    </a:lnTo>
                    <a:lnTo>
                      <a:pt x="3394" y="1796"/>
                    </a:lnTo>
                    <a:lnTo>
                      <a:pt x="3400" y="1790"/>
                    </a:lnTo>
                    <a:lnTo>
                      <a:pt x="3406" y="1784"/>
                    </a:lnTo>
                    <a:lnTo>
                      <a:pt x="3410" y="1776"/>
                    </a:lnTo>
                    <a:lnTo>
                      <a:pt x="3412" y="1764"/>
                    </a:lnTo>
                    <a:lnTo>
                      <a:pt x="3412" y="1764"/>
                    </a:lnTo>
                    <a:lnTo>
                      <a:pt x="3412" y="1758"/>
                    </a:lnTo>
                    <a:lnTo>
                      <a:pt x="3412" y="1754"/>
                    </a:lnTo>
                    <a:lnTo>
                      <a:pt x="3410" y="1746"/>
                    </a:lnTo>
                    <a:lnTo>
                      <a:pt x="3408" y="1740"/>
                    </a:lnTo>
                    <a:lnTo>
                      <a:pt x="3408" y="1738"/>
                    </a:lnTo>
                    <a:lnTo>
                      <a:pt x="3410" y="1738"/>
                    </a:lnTo>
                    <a:lnTo>
                      <a:pt x="3410" y="1738"/>
                    </a:lnTo>
                    <a:lnTo>
                      <a:pt x="3414" y="1736"/>
                    </a:lnTo>
                    <a:lnTo>
                      <a:pt x="3414" y="1734"/>
                    </a:lnTo>
                    <a:lnTo>
                      <a:pt x="3410" y="1728"/>
                    </a:lnTo>
                    <a:lnTo>
                      <a:pt x="3402" y="1722"/>
                    </a:lnTo>
                    <a:lnTo>
                      <a:pt x="3392" y="1716"/>
                    </a:lnTo>
                    <a:lnTo>
                      <a:pt x="3392" y="1716"/>
                    </a:lnTo>
                    <a:lnTo>
                      <a:pt x="3382" y="1712"/>
                    </a:lnTo>
                    <a:lnTo>
                      <a:pt x="3380" y="1708"/>
                    </a:lnTo>
                    <a:lnTo>
                      <a:pt x="3378" y="1706"/>
                    </a:lnTo>
                    <a:lnTo>
                      <a:pt x="3372" y="1704"/>
                    </a:lnTo>
                    <a:lnTo>
                      <a:pt x="3372" y="1704"/>
                    </a:lnTo>
                    <a:lnTo>
                      <a:pt x="3366" y="1702"/>
                    </a:lnTo>
                    <a:lnTo>
                      <a:pt x="3362" y="1698"/>
                    </a:lnTo>
                    <a:lnTo>
                      <a:pt x="3358" y="1696"/>
                    </a:lnTo>
                    <a:lnTo>
                      <a:pt x="3356" y="1696"/>
                    </a:lnTo>
                    <a:lnTo>
                      <a:pt x="3352" y="1698"/>
                    </a:lnTo>
                    <a:lnTo>
                      <a:pt x="3346" y="1702"/>
                    </a:lnTo>
                    <a:lnTo>
                      <a:pt x="3346" y="1702"/>
                    </a:lnTo>
                    <a:lnTo>
                      <a:pt x="3342" y="1706"/>
                    </a:lnTo>
                    <a:lnTo>
                      <a:pt x="3340" y="1710"/>
                    </a:lnTo>
                    <a:lnTo>
                      <a:pt x="3342" y="1712"/>
                    </a:lnTo>
                    <a:lnTo>
                      <a:pt x="3344" y="1714"/>
                    </a:lnTo>
                    <a:lnTo>
                      <a:pt x="3346" y="1718"/>
                    </a:lnTo>
                    <a:lnTo>
                      <a:pt x="3340" y="1720"/>
                    </a:lnTo>
                    <a:lnTo>
                      <a:pt x="3340" y="1720"/>
                    </a:lnTo>
                    <a:lnTo>
                      <a:pt x="3334" y="1722"/>
                    </a:lnTo>
                    <a:lnTo>
                      <a:pt x="3330" y="1726"/>
                    </a:lnTo>
                    <a:lnTo>
                      <a:pt x="3328" y="1732"/>
                    </a:lnTo>
                    <a:lnTo>
                      <a:pt x="3328" y="1738"/>
                    </a:lnTo>
                    <a:lnTo>
                      <a:pt x="3326" y="1748"/>
                    </a:lnTo>
                    <a:lnTo>
                      <a:pt x="3324" y="1752"/>
                    </a:lnTo>
                    <a:lnTo>
                      <a:pt x="3322" y="1752"/>
                    </a:lnTo>
                    <a:lnTo>
                      <a:pt x="3322" y="1752"/>
                    </a:lnTo>
                    <a:lnTo>
                      <a:pt x="3320" y="1752"/>
                    </a:lnTo>
                    <a:lnTo>
                      <a:pt x="3318" y="1748"/>
                    </a:lnTo>
                    <a:lnTo>
                      <a:pt x="3318" y="1738"/>
                    </a:lnTo>
                    <a:lnTo>
                      <a:pt x="3318" y="1734"/>
                    </a:lnTo>
                    <a:lnTo>
                      <a:pt x="3316" y="1734"/>
                    </a:lnTo>
                    <a:lnTo>
                      <a:pt x="3314" y="1736"/>
                    </a:lnTo>
                    <a:lnTo>
                      <a:pt x="3308" y="1744"/>
                    </a:lnTo>
                    <a:lnTo>
                      <a:pt x="3308" y="1744"/>
                    </a:lnTo>
                    <a:lnTo>
                      <a:pt x="3300" y="1752"/>
                    </a:lnTo>
                    <a:lnTo>
                      <a:pt x="3296" y="1754"/>
                    </a:lnTo>
                    <a:lnTo>
                      <a:pt x="3294" y="1756"/>
                    </a:lnTo>
                    <a:lnTo>
                      <a:pt x="3294" y="1766"/>
                    </a:lnTo>
                    <a:lnTo>
                      <a:pt x="3294" y="1766"/>
                    </a:lnTo>
                    <a:lnTo>
                      <a:pt x="3296" y="1772"/>
                    </a:lnTo>
                    <a:lnTo>
                      <a:pt x="3294" y="1778"/>
                    </a:lnTo>
                    <a:lnTo>
                      <a:pt x="3290" y="1786"/>
                    </a:lnTo>
                    <a:lnTo>
                      <a:pt x="3286" y="1792"/>
                    </a:lnTo>
                    <a:lnTo>
                      <a:pt x="3286" y="1796"/>
                    </a:lnTo>
                    <a:lnTo>
                      <a:pt x="3286" y="1800"/>
                    </a:lnTo>
                    <a:lnTo>
                      <a:pt x="3286" y="1800"/>
                    </a:lnTo>
                    <a:lnTo>
                      <a:pt x="3288" y="1808"/>
                    </a:lnTo>
                    <a:lnTo>
                      <a:pt x="3286" y="1812"/>
                    </a:lnTo>
                    <a:lnTo>
                      <a:pt x="3284" y="1818"/>
                    </a:lnTo>
                    <a:lnTo>
                      <a:pt x="3286" y="1828"/>
                    </a:lnTo>
                    <a:lnTo>
                      <a:pt x="3286" y="1828"/>
                    </a:lnTo>
                    <a:lnTo>
                      <a:pt x="3292" y="1840"/>
                    </a:lnTo>
                    <a:lnTo>
                      <a:pt x="3294" y="1852"/>
                    </a:lnTo>
                    <a:lnTo>
                      <a:pt x="3296" y="1862"/>
                    </a:lnTo>
                    <a:lnTo>
                      <a:pt x="3294" y="1872"/>
                    </a:lnTo>
                    <a:lnTo>
                      <a:pt x="3294" y="1880"/>
                    </a:lnTo>
                    <a:lnTo>
                      <a:pt x="3290" y="1890"/>
                    </a:lnTo>
                    <a:lnTo>
                      <a:pt x="3282" y="1908"/>
                    </a:lnTo>
                    <a:lnTo>
                      <a:pt x="3282" y="1908"/>
                    </a:lnTo>
                    <a:lnTo>
                      <a:pt x="3276" y="1916"/>
                    </a:lnTo>
                    <a:lnTo>
                      <a:pt x="3270" y="1922"/>
                    </a:lnTo>
                    <a:lnTo>
                      <a:pt x="3264" y="1928"/>
                    </a:lnTo>
                    <a:lnTo>
                      <a:pt x="3258" y="1930"/>
                    </a:lnTo>
                    <a:lnTo>
                      <a:pt x="3252" y="1930"/>
                    </a:lnTo>
                    <a:lnTo>
                      <a:pt x="3246" y="1926"/>
                    </a:lnTo>
                    <a:lnTo>
                      <a:pt x="3242" y="1922"/>
                    </a:lnTo>
                    <a:lnTo>
                      <a:pt x="3236" y="1914"/>
                    </a:lnTo>
                    <a:lnTo>
                      <a:pt x="3236" y="1914"/>
                    </a:lnTo>
                    <a:lnTo>
                      <a:pt x="3232" y="1904"/>
                    </a:lnTo>
                    <a:lnTo>
                      <a:pt x="3230" y="1898"/>
                    </a:lnTo>
                    <a:lnTo>
                      <a:pt x="3230" y="1884"/>
                    </a:lnTo>
                    <a:lnTo>
                      <a:pt x="3230" y="1872"/>
                    </a:lnTo>
                    <a:lnTo>
                      <a:pt x="3230" y="1864"/>
                    </a:lnTo>
                    <a:lnTo>
                      <a:pt x="3230" y="1856"/>
                    </a:lnTo>
                    <a:lnTo>
                      <a:pt x="3230" y="1856"/>
                    </a:lnTo>
                    <a:lnTo>
                      <a:pt x="3228" y="1842"/>
                    </a:lnTo>
                    <a:lnTo>
                      <a:pt x="3228" y="1834"/>
                    </a:lnTo>
                    <a:lnTo>
                      <a:pt x="3232" y="1824"/>
                    </a:lnTo>
                    <a:lnTo>
                      <a:pt x="3234" y="1810"/>
                    </a:lnTo>
                    <a:lnTo>
                      <a:pt x="3234" y="1810"/>
                    </a:lnTo>
                    <a:lnTo>
                      <a:pt x="3234" y="1802"/>
                    </a:lnTo>
                    <a:lnTo>
                      <a:pt x="3236" y="1796"/>
                    </a:lnTo>
                    <a:lnTo>
                      <a:pt x="3238" y="1792"/>
                    </a:lnTo>
                    <a:lnTo>
                      <a:pt x="3240" y="1792"/>
                    </a:lnTo>
                    <a:lnTo>
                      <a:pt x="3242" y="1790"/>
                    </a:lnTo>
                    <a:lnTo>
                      <a:pt x="3242" y="1784"/>
                    </a:lnTo>
                    <a:lnTo>
                      <a:pt x="3242" y="1784"/>
                    </a:lnTo>
                    <a:lnTo>
                      <a:pt x="3240" y="1780"/>
                    </a:lnTo>
                    <a:lnTo>
                      <a:pt x="3242" y="1776"/>
                    </a:lnTo>
                    <a:lnTo>
                      <a:pt x="3246" y="1764"/>
                    </a:lnTo>
                    <a:lnTo>
                      <a:pt x="3248" y="1754"/>
                    </a:lnTo>
                    <a:lnTo>
                      <a:pt x="3248" y="1752"/>
                    </a:lnTo>
                    <a:lnTo>
                      <a:pt x="3246" y="1748"/>
                    </a:lnTo>
                    <a:lnTo>
                      <a:pt x="3246" y="1748"/>
                    </a:lnTo>
                    <a:lnTo>
                      <a:pt x="3240" y="1748"/>
                    </a:lnTo>
                    <a:lnTo>
                      <a:pt x="3238" y="1752"/>
                    </a:lnTo>
                    <a:lnTo>
                      <a:pt x="3234" y="1758"/>
                    </a:lnTo>
                    <a:lnTo>
                      <a:pt x="3228" y="1764"/>
                    </a:lnTo>
                    <a:lnTo>
                      <a:pt x="3228" y="1764"/>
                    </a:lnTo>
                    <a:lnTo>
                      <a:pt x="3226" y="1766"/>
                    </a:lnTo>
                    <a:lnTo>
                      <a:pt x="3224" y="1766"/>
                    </a:lnTo>
                    <a:lnTo>
                      <a:pt x="3224" y="1758"/>
                    </a:lnTo>
                    <a:lnTo>
                      <a:pt x="3226" y="1750"/>
                    </a:lnTo>
                    <a:lnTo>
                      <a:pt x="3230" y="1746"/>
                    </a:lnTo>
                    <a:lnTo>
                      <a:pt x="3232" y="1742"/>
                    </a:lnTo>
                    <a:lnTo>
                      <a:pt x="3232" y="1742"/>
                    </a:lnTo>
                    <a:lnTo>
                      <a:pt x="3236" y="1740"/>
                    </a:lnTo>
                    <a:lnTo>
                      <a:pt x="3238" y="1736"/>
                    </a:lnTo>
                    <a:lnTo>
                      <a:pt x="3240" y="1732"/>
                    </a:lnTo>
                    <a:lnTo>
                      <a:pt x="3244" y="1726"/>
                    </a:lnTo>
                    <a:lnTo>
                      <a:pt x="3244" y="1726"/>
                    </a:lnTo>
                    <a:lnTo>
                      <a:pt x="3252" y="1714"/>
                    </a:lnTo>
                    <a:lnTo>
                      <a:pt x="3258" y="1700"/>
                    </a:lnTo>
                    <a:lnTo>
                      <a:pt x="3264" y="1692"/>
                    </a:lnTo>
                    <a:lnTo>
                      <a:pt x="3266" y="1690"/>
                    </a:lnTo>
                    <a:lnTo>
                      <a:pt x="3266" y="1692"/>
                    </a:lnTo>
                    <a:lnTo>
                      <a:pt x="3266" y="1692"/>
                    </a:lnTo>
                    <a:lnTo>
                      <a:pt x="3268" y="1696"/>
                    </a:lnTo>
                    <a:lnTo>
                      <a:pt x="3270" y="1696"/>
                    </a:lnTo>
                    <a:lnTo>
                      <a:pt x="3274" y="1694"/>
                    </a:lnTo>
                    <a:lnTo>
                      <a:pt x="3278" y="1692"/>
                    </a:lnTo>
                    <a:lnTo>
                      <a:pt x="3280" y="1692"/>
                    </a:lnTo>
                    <a:lnTo>
                      <a:pt x="3278" y="1698"/>
                    </a:lnTo>
                    <a:lnTo>
                      <a:pt x="3278" y="1698"/>
                    </a:lnTo>
                    <a:lnTo>
                      <a:pt x="3278" y="1702"/>
                    </a:lnTo>
                    <a:lnTo>
                      <a:pt x="3278" y="1702"/>
                    </a:lnTo>
                    <a:lnTo>
                      <a:pt x="3284" y="1696"/>
                    </a:lnTo>
                    <a:lnTo>
                      <a:pt x="3292" y="1688"/>
                    </a:lnTo>
                    <a:lnTo>
                      <a:pt x="3296" y="1686"/>
                    </a:lnTo>
                    <a:lnTo>
                      <a:pt x="3300" y="1684"/>
                    </a:lnTo>
                    <a:lnTo>
                      <a:pt x="3300" y="1684"/>
                    </a:lnTo>
                    <a:lnTo>
                      <a:pt x="3310" y="1684"/>
                    </a:lnTo>
                    <a:lnTo>
                      <a:pt x="3314" y="1684"/>
                    </a:lnTo>
                    <a:lnTo>
                      <a:pt x="3320" y="1678"/>
                    </a:lnTo>
                    <a:lnTo>
                      <a:pt x="3324" y="1676"/>
                    </a:lnTo>
                    <a:lnTo>
                      <a:pt x="3328" y="1678"/>
                    </a:lnTo>
                    <a:lnTo>
                      <a:pt x="3336" y="1680"/>
                    </a:lnTo>
                    <a:lnTo>
                      <a:pt x="3346" y="1686"/>
                    </a:lnTo>
                    <a:lnTo>
                      <a:pt x="3346" y="1686"/>
                    </a:lnTo>
                    <a:lnTo>
                      <a:pt x="3352" y="1690"/>
                    </a:lnTo>
                    <a:lnTo>
                      <a:pt x="3354" y="1690"/>
                    </a:lnTo>
                    <a:lnTo>
                      <a:pt x="3356" y="1688"/>
                    </a:lnTo>
                    <a:lnTo>
                      <a:pt x="3358" y="1686"/>
                    </a:lnTo>
                    <a:lnTo>
                      <a:pt x="3358" y="1682"/>
                    </a:lnTo>
                    <a:lnTo>
                      <a:pt x="3360" y="1680"/>
                    </a:lnTo>
                    <a:lnTo>
                      <a:pt x="3362" y="1680"/>
                    </a:lnTo>
                    <a:lnTo>
                      <a:pt x="3362" y="1680"/>
                    </a:lnTo>
                    <a:lnTo>
                      <a:pt x="3370" y="1684"/>
                    </a:lnTo>
                    <a:lnTo>
                      <a:pt x="3380" y="1686"/>
                    </a:lnTo>
                    <a:lnTo>
                      <a:pt x="3386" y="1684"/>
                    </a:lnTo>
                    <a:lnTo>
                      <a:pt x="3388" y="1682"/>
                    </a:lnTo>
                    <a:lnTo>
                      <a:pt x="3388" y="1678"/>
                    </a:lnTo>
                    <a:lnTo>
                      <a:pt x="3388" y="1678"/>
                    </a:lnTo>
                    <a:lnTo>
                      <a:pt x="3384" y="1674"/>
                    </a:lnTo>
                    <a:lnTo>
                      <a:pt x="3380" y="1672"/>
                    </a:lnTo>
                    <a:lnTo>
                      <a:pt x="3376" y="1670"/>
                    </a:lnTo>
                    <a:lnTo>
                      <a:pt x="3374" y="1662"/>
                    </a:lnTo>
                    <a:lnTo>
                      <a:pt x="3374" y="1662"/>
                    </a:lnTo>
                    <a:lnTo>
                      <a:pt x="3374" y="1658"/>
                    </a:lnTo>
                    <a:lnTo>
                      <a:pt x="3372" y="1658"/>
                    </a:lnTo>
                    <a:lnTo>
                      <a:pt x="3368" y="1658"/>
                    </a:lnTo>
                    <a:lnTo>
                      <a:pt x="3360" y="1658"/>
                    </a:lnTo>
                    <a:lnTo>
                      <a:pt x="3348" y="1654"/>
                    </a:lnTo>
                    <a:lnTo>
                      <a:pt x="3348" y="1654"/>
                    </a:lnTo>
                    <a:lnTo>
                      <a:pt x="3346" y="1652"/>
                    </a:lnTo>
                    <a:lnTo>
                      <a:pt x="3344" y="1650"/>
                    </a:lnTo>
                    <a:lnTo>
                      <a:pt x="3344" y="1644"/>
                    </a:lnTo>
                    <a:lnTo>
                      <a:pt x="3346" y="1638"/>
                    </a:lnTo>
                    <a:lnTo>
                      <a:pt x="3344" y="1638"/>
                    </a:lnTo>
                    <a:lnTo>
                      <a:pt x="3340" y="1640"/>
                    </a:lnTo>
                    <a:lnTo>
                      <a:pt x="3340" y="1640"/>
                    </a:lnTo>
                    <a:lnTo>
                      <a:pt x="3330" y="1642"/>
                    </a:lnTo>
                    <a:lnTo>
                      <a:pt x="3314" y="1644"/>
                    </a:lnTo>
                    <a:lnTo>
                      <a:pt x="3300" y="1646"/>
                    </a:lnTo>
                    <a:lnTo>
                      <a:pt x="3294" y="1648"/>
                    </a:lnTo>
                    <a:lnTo>
                      <a:pt x="3288" y="1652"/>
                    </a:lnTo>
                    <a:lnTo>
                      <a:pt x="3288" y="1652"/>
                    </a:lnTo>
                    <a:lnTo>
                      <a:pt x="3280" y="1656"/>
                    </a:lnTo>
                    <a:lnTo>
                      <a:pt x="3274" y="1656"/>
                    </a:lnTo>
                    <a:lnTo>
                      <a:pt x="3268" y="1656"/>
                    </a:lnTo>
                    <a:lnTo>
                      <a:pt x="3258" y="1654"/>
                    </a:lnTo>
                    <a:lnTo>
                      <a:pt x="3258" y="1654"/>
                    </a:lnTo>
                    <a:lnTo>
                      <a:pt x="3252" y="1654"/>
                    </a:lnTo>
                    <a:lnTo>
                      <a:pt x="3250" y="1652"/>
                    </a:lnTo>
                    <a:lnTo>
                      <a:pt x="3244" y="1646"/>
                    </a:lnTo>
                    <a:lnTo>
                      <a:pt x="3238" y="1636"/>
                    </a:lnTo>
                    <a:lnTo>
                      <a:pt x="3234" y="1632"/>
                    </a:lnTo>
                    <a:lnTo>
                      <a:pt x="3228" y="1630"/>
                    </a:lnTo>
                    <a:lnTo>
                      <a:pt x="3228" y="1630"/>
                    </a:lnTo>
                    <a:lnTo>
                      <a:pt x="3222" y="1628"/>
                    </a:lnTo>
                    <a:lnTo>
                      <a:pt x="3218" y="1628"/>
                    </a:lnTo>
                    <a:lnTo>
                      <a:pt x="3210" y="1632"/>
                    </a:lnTo>
                    <a:lnTo>
                      <a:pt x="3208" y="1634"/>
                    </a:lnTo>
                    <a:lnTo>
                      <a:pt x="3206" y="1634"/>
                    </a:lnTo>
                    <a:lnTo>
                      <a:pt x="3206" y="1632"/>
                    </a:lnTo>
                    <a:lnTo>
                      <a:pt x="3204" y="1628"/>
                    </a:lnTo>
                    <a:lnTo>
                      <a:pt x="3204" y="1628"/>
                    </a:lnTo>
                    <a:lnTo>
                      <a:pt x="3202" y="1618"/>
                    </a:lnTo>
                    <a:lnTo>
                      <a:pt x="3200" y="1616"/>
                    </a:lnTo>
                    <a:lnTo>
                      <a:pt x="3198" y="1614"/>
                    </a:lnTo>
                    <a:lnTo>
                      <a:pt x="3190" y="1618"/>
                    </a:lnTo>
                    <a:lnTo>
                      <a:pt x="3180" y="1628"/>
                    </a:lnTo>
                    <a:lnTo>
                      <a:pt x="3180" y="1628"/>
                    </a:lnTo>
                    <a:lnTo>
                      <a:pt x="3176" y="1632"/>
                    </a:lnTo>
                    <a:lnTo>
                      <a:pt x="3170" y="1634"/>
                    </a:lnTo>
                    <a:lnTo>
                      <a:pt x="3164" y="1636"/>
                    </a:lnTo>
                    <a:lnTo>
                      <a:pt x="3156" y="1636"/>
                    </a:lnTo>
                    <a:lnTo>
                      <a:pt x="3150" y="1638"/>
                    </a:lnTo>
                    <a:lnTo>
                      <a:pt x="3144" y="1642"/>
                    </a:lnTo>
                    <a:lnTo>
                      <a:pt x="3144" y="1642"/>
                    </a:lnTo>
                    <a:lnTo>
                      <a:pt x="3134" y="1648"/>
                    </a:lnTo>
                    <a:lnTo>
                      <a:pt x="3126" y="1650"/>
                    </a:lnTo>
                    <a:lnTo>
                      <a:pt x="3118" y="1648"/>
                    </a:lnTo>
                    <a:lnTo>
                      <a:pt x="3110" y="1648"/>
                    </a:lnTo>
                    <a:lnTo>
                      <a:pt x="3110" y="1648"/>
                    </a:lnTo>
                    <a:lnTo>
                      <a:pt x="3106" y="1650"/>
                    </a:lnTo>
                    <a:lnTo>
                      <a:pt x="3104" y="1648"/>
                    </a:lnTo>
                    <a:lnTo>
                      <a:pt x="3108" y="1640"/>
                    </a:lnTo>
                    <a:lnTo>
                      <a:pt x="3112" y="1632"/>
                    </a:lnTo>
                    <a:lnTo>
                      <a:pt x="3110" y="1630"/>
                    </a:lnTo>
                    <a:lnTo>
                      <a:pt x="3108" y="1628"/>
                    </a:lnTo>
                    <a:lnTo>
                      <a:pt x="3108" y="1628"/>
                    </a:lnTo>
                    <a:lnTo>
                      <a:pt x="3104" y="1628"/>
                    </a:lnTo>
                    <a:lnTo>
                      <a:pt x="3098" y="1630"/>
                    </a:lnTo>
                    <a:lnTo>
                      <a:pt x="3086" y="1636"/>
                    </a:lnTo>
                    <a:lnTo>
                      <a:pt x="3074" y="1642"/>
                    </a:lnTo>
                    <a:lnTo>
                      <a:pt x="3068" y="1642"/>
                    </a:lnTo>
                    <a:lnTo>
                      <a:pt x="3062" y="1642"/>
                    </a:lnTo>
                    <a:lnTo>
                      <a:pt x="3062" y="1642"/>
                    </a:lnTo>
                    <a:lnTo>
                      <a:pt x="3058" y="1640"/>
                    </a:lnTo>
                    <a:lnTo>
                      <a:pt x="3058" y="1638"/>
                    </a:lnTo>
                    <a:lnTo>
                      <a:pt x="3060" y="1636"/>
                    </a:lnTo>
                    <a:lnTo>
                      <a:pt x="3064" y="1632"/>
                    </a:lnTo>
                    <a:lnTo>
                      <a:pt x="3076" y="1620"/>
                    </a:lnTo>
                    <a:lnTo>
                      <a:pt x="3092" y="1606"/>
                    </a:lnTo>
                    <a:lnTo>
                      <a:pt x="3092" y="160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0" name="Freeform 6087">
                <a:extLst>
                  <a:ext uri="{FF2B5EF4-FFF2-40B4-BE49-F238E27FC236}">
                    <a16:creationId xmlns:a16="http://schemas.microsoft.com/office/drawing/2014/main" id="{63DA51AA-8F5C-4EE6-93A6-593A2F3428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7860" y="823913"/>
                <a:ext cx="304800" cy="171450"/>
              </a:xfrm>
              <a:custGeom>
                <a:avLst/>
                <a:gdLst/>
                <a:ahLst/>
                <a:cxnLst>
                  <a:cxn ang="0">
                    <a:pos x="78" y="174"/>
                  </a:cxn>
                  <a:cxn ang="0">
                    <a:pos x="110" y="166"/>
                  </a:cxn>
                  <a:cxn ang="0">
                    <a:pos x="110" y="174"/>
                  </a:cxn>
                  <a:cxn ang="0">
                    <a:pos x="176" y="164"/>
                  </a:cxn>
                  <a:cxn ang="0">
                    <a:pos x="174" y="172"/>
                  </a:cxn>
                  <a:cxn ang="0">
                    <a:pos x="118" y="192"/>
                  </a:cxn>
                  <a:cxn ang="0">
                    <a:pos x="108" y="204"/>
                  </a:cxn>
                  <a:cxn ang="0">
                    <a:pos x="148" y="238"/>
                  </a:cxn>
                  <a:cxn ang="0">
                    <a:pos x="224" y="268"/>
                  </a:cxn>
                  <a:cxn ang="0">
                    <a:pos x="260" y="262"/>
                  </a:cxn>
                  <a:cxn ang="0">
                    <a:pos x="268" y="252"/>
                  </a:cxn>
                  <a:cxn ang="0">
                    <a:pos x="288" y="260"/>
                  </a:cxn>
                  <a:cxn ang="0">
                    <a:pos x="282" y="242"/>
                  </a:cxn>
                  <a:cxn ang="0">
                    <a:pos x="296" y="246"/>
                  </a:cxn>
                  <a:cxn ang="0">
                    <a:pos x="322" y="266"/>
                  </a:cxn>
                  <a:cxn ang="0">
                    <a:pos x="328" y="246"/>
                  </a:cxn>
                  <a:cxn ang="0">
                    <a:pos x="340" y="234"/>
                  </a:cxn>
                  <a:cxn ang="0">
                    <a:pos x="364" y="230"/>
                  </a:cxn>
                  <a:cxn ang="0">
                    <a:pos x="426" y="192"/>
                  </a:cxn>
                  <a:cxn ang="0">
                    <a:pos x="480" y="174"/>
                  </a:cxn>
                  <a:cxn ang="0">
                    <a:pos x="472" y="166"/>
                  </a:cxn>
                  <a:cxn ang="0">
                    <a:pos x="438" y="146"/>
                  </a:cxn>
                  <a:cxn ang="0">
                    <a:pos x="400" y="146"/>
                  </a:cxn>
                  <a:cxn ang="0">
                    <a:pos x="390" y="142"/>
                  </a:cxn>
                  <a:cxn ang="0">
                    <a:pos x="400" y="122"/>
                  </a:cxn>
                  <a:cxn ang="0">
                    <a:pos x="382" y="108"/>
                  </a:cxn>
                  <a:cxn ang="0">
                    <a:pos x="376" y="86"/>
                  </a:cxn>
                  <a:cxn ang="0">
                    <a:pos x="352" y="78"/>
                  </a:cxn>
                  <a:cxn ang="0">
                    <a:pos x="328" y="90"/>
                  </a:cxn>
                  <a:cxn ang="0">
                    <a:pos x="326" y="102"/>
                  </a:cxn>
                  <a:cxn ang="0">
                    <a:pos x="306" y="92"/>
                  </a:cxn>
                  <a:cxn ang="0">
                    <a:pos x="306" y="74"/>
                  </a:cxn>
                  <a:cxn ang="0">
                    <a:pos x="274" y="68"/>
                  </a:cxn>
                  <a:cxn ang="0">
                    <a:pos x="192" y="20"/>
                  </a:cxn>
                  <a:cxn ang="0">
                    <a:pos x="134" y="0"/>
                  </a:cxn>
                  <a:cxn ang="0">
                    <a:pos x="100" y="4"/>
                  </a:cxn>
                  <a:cxn ang="0">
                    <a:pos x="112" y="20"/>
                  </a:cxn>
                  <a:cxn ang="0">
                    <a:pos x="98" y="28"/>
                  </a:cxn>
                  <a:cxn ang="0">
                    <a:pos x="66" y="32"/>
                  </a:cxn>
                  <a:cxn ang="0">
                    <a:pos x="54" y="54"/>
                  </a:cxn>
                  <a:cxn ang="0">
                    <a:pos x="26" y="76"/>
                  </a:cxn>
                  <a:cxn ang="0">
                    <a:pos x="18" y="92"/>
                  </a:cxn>
                  <a:cxn ang="0">
                    <a:pos x="50" y="100"/>
                  </a:cxn>
                  <a:cxn ang="0">
                    <a:pos x="90" y="104"/>
                  </a:cxn>
                  <a:cxn ang="0">
                    <a:pos x="72" y="112"/>
                  </a:cxn>
                  <a:cxn ang="0">
                    <a:pos x="4" y="106"/>
                  </a:cxn>
                  <a:cxn ang="0">
                    <a:pos x="2" y="116"/>
                  </a:cxn>
                  <a:cxn ang="0">
                    <a:pos x="32" y="148"/>
                  </a:cxn>
                </a:cxnLst>
                <a:rect l="0" t="0" r="r" b="b"/>
                <a:pathLst>
                  <a:path w="480" h="270">
                    <a:moveTo>
                      <a:pt x="54" y="164"/>
                    </a:moveTo>
                    <a:lnTo>
                      <a:pt x="54" y="164"/>
                    </a:lnTo>
                    <a:lnTo>
                      <a:pt x="66" y="172"/>
                    </a:lnTo>
                    <a:lnTo>
                      <a:pt x="78" y="174"/>
                    </a:lnTo>
                    <a:lnTo>
                      <a:pt x="88" y="172"/>
                    </a:lnTo>
                    <a:lnTo>
                      <a:pt x="98" y="170"/>
                    </a:lnTo>
                    <a:lnTo>
                      <a:pt x="108" y="164"/>
                    </a:lnTo>
                    <a:lnTo>
                      <a:pt x="110" y="166"/>
                    </a:lnTo>
                    <a:lnTo>
                      <a:pt x="108" y="170"/>
                    </a:lnTo>
                    <a:lnTo>
                      <a:pt x="108" y="170"/>
                    </a:lnTo>
                    <a:lnTo>
                      <a:pt x="108" y="172"/>
                    </a:lnTo>
                    <a:lnTo>
                      <a:pt x="110" y="174"/>
                    </a:lnTo>
                    <a:lnTo>
                      <a:pt x="116" y="176"/>
                    </a:lnTo>
                    <a:lnTo>
                      <a:pt x="142" y="168"/>
                    </a:lnTo>
                    <a:lnTo>
                      <a:pt x="168" y="162"/>
                    </a:lnTo>
                    <a:lnTo>
                      <a:pt x="176" y="164"/>
                    </a:lnTo>
                    <a:lnTo>
                      <a:pt x="176" y="164"/>
                    </a:lnTo>
                    <a:lnTo>
                      <a:pt x="176" y="168"/>
                    </a:lnTo>
                    <a:lnTo>
                      <a:pt x="176" y="168"/>
                    </a:lnTo>
                    <a:lnTo>
                      <a:pt x="174" y="172"/>
                    </a:lnTo>
                    <a:lnTo>
                      <a:pt x="170" y="174"/>
                    </a:lnTo>
                    <a:lnTo>
                      <a:pt x="158" y="180"/>
                    </a:lnTo>
                    <a:lnTo>
                      <a:pt x="130" y="188"/>
                    </a:lnTo>
                    <a:lnTo>
                      <a:pt x="118" y="192"/>
                    </a:lnTo>
                    <a:lnTo>
                      <a:pt x="108" y="196"/>
                    </a:lnTo>
                    <a:lnTo>
                      <a:pt x="104" y="200"/>
                    </a:lnTo>
                    <a:lnTo>
                      <a:pt x="106" y="202"/>
                    </a:lnTo>
                    <a:lnTo>
                      <a:pt x="108" y="204"/>
                    </a:lnTo>
                    <a:lnTo>
                      <a:pt x="108" y="204"/>
                    </a:lnTo>
                    <a:lnTo>
                      <a:pt x="122" y="214"/>
                    </a:lnTo>
                    <a:lnTo>
                      <a:pt x="134" y="226"/>
                    </a:lnTo>
                    <a:lnTo>
                      <a:pt x="148" y="238"/>
                    </a:lnTo>
                    <a:lnTo>
                      <a:pt x="166" y="250"/>
                    </a:lnTo>
                    <a:lnTo>
                      <a:pt x="166" y="250"/>
                    </a:lnTo>
                    <a:lnTo>
                      <a:pt x="194" y="260"/>
                    </a:lnTo>
                    <a:lnTo>
                      <a:pt x="224" y="268"/>
                    </a:lnTo>
                    <a:lnTo>
                      <a:pt x="238" y="270"/>
                    </a:lnTo>
                    <a:lnTo>
                      <a:pt x="250" y="270"/>
                    </a:lnTo>
                    <a:lnTo>
                      <a:pt x="258" y="266"/>
                    </a:lnTo>
                    <a:lnTo>
                      <a:pt x="260" y="262"/>
                    </a:lnTo>
                    <a:lnTo>
                      <a:pt x="262" y="260"/>
                    </a:lnTo>
                    <a:lnTo>
                      <a:pt x="262" y="260"/>
                    </a:lnTo>
                    <a:lnTo>
                      <a:pt x="262" y="254"/>
                    </a:lnTo>
                    <a:lnTo>
                      <a:pt x="268" y="252"/>
                    </a:lnTo>
                    <a:lnTo>
                      <a:pt x="274" y="254"/>
                    </a:lnTo>
                    <a:lnTo>
                      <a:pt x="280" y="256"/>
                    </a:lnTo>
                    <a:lnTo>
                      <a:pt x="284" y="258"/>
                    </a:lnTo>
                    <a:lnTo>
                      <a:pt x="288" y="260"/>
                    </a:lnTo>
                    <a:lnTo>
                      <a:pt x="290" y="258"/>
                    </a:lnTo>
                    <a:lnTo>
                      <a:pt x="286" y="250"/>
                    </a:lnTo>
                    <a:lnTo>
                      <a:pt x="286" y="250"/>
                    </a:lnTo>
                    <a:lnTo>
                      <a:pt x="282" y="242"/>
                    </a:lnTo>
                    <a:lnTo>
                      <a:pt x="280" y="236"/>
                    </a:lnTo>
                    <a:lnTo>
                      <a:pt x="282" y="236"/>
                    </a:lnTo>
                    <a:lnTo>
                      <a:pt x="284" y="236"/>
                    </a:lnTo>
                    <a:lnTo>
                      <a:pt x="296" y="246"/>
                    </a:lnTo>
                    <a:lnTo>
                      <a:pt x="314" y="260"/>
                    </a:lnTo>
                    <a:lnTo>
                      <a:pt x="314" y="260"/>
                    </a:lnTo>
                    <a:lnTo>
                      <a:pt x="320" y="266"/>
                    </a:lnTo>
                    <a:lnTo>
                      <a:pt x="322" y="266"/>
                    </a:lnTo>
                    <a:lnTo>
                      <a:pt x="324" y="266"/>
                    </a:lnTo>
                    <a:lnTo>
                      <a:pt x="326" y="262"/>
                    </a:lnTo>
                    <a:lnTo>
                      <a:pt x="328" y="254"/>
                    </a:lnTo>
                    <a:lnTo>
                      <a:pt x="328" y="246"/>
                    </a:lnTo>
                    <a:lnTo>
                      <a:pt x="330" y="240"/>
                    </a:lnTo>
                    <a:lnTo>
                      <a:pt x="334" y="236"/>
                    </a:lnTo>
                    <a:lnTo>
                      <a:pt x="336" y="234"/>
                    </a:lnTo>
                    <a:lnTo>
                      <a:pt x="340" y="234"/>
                    </a:lnTo>
                    <a:lnTo>
                      <a:pt x="340" y="234"/>
                    </a:lnTo>
                    <a:lnTo>
                      <a:pt x="348" y="236"/>
                    </a:lnTo>
                    <a:lnTo>
                      <a:pt x="356" y="234"/>
                    </a:lnTo>
                    <a:lnTo>
                      <a:pt x="364" y="230"/>
                    </a:lnTo>
                    <a:lnTo>
                      <a:pt x="374" y="226"/>
                    </a:lnTo>
                    <a:lnTo>
                      <a:pt x="414" y="198"/>
                    </a:lnTo>
                    <a:lnTo>
                      <a:pt x="414" y="198"/>
                    </a:lnTo>
                    <a:lnTo>
                      <a:pt x="426" y="192"/>
                    </a:lnTo>
                    <a:lnTo>
                      <a:pt x="440" y="186"/>
                    </a:lnTo>
                    <a:lnTo>
                      <a:pt x="466" y="180"/>
                    </a:lnTo>
                    <a:lnTo>
                      <a:pt x="474" y="176"/>
                    </a:lnTo>
                    <a:lnTo>
                      <a:pt x="480" y="174"/>
                    </a:lnTo>
                    <a:lnTo>
                      <a:pt x="480" y="172"/>
                    </a:lnTo>
                    <a:lnTo>
                      <a:pt x="480" y="170"/>
                    </a:lnTo>
                    <a:lnTo>
                      <a:pt x="472" y="166"/>
                    </a:lnTo>
                    <a:lnTo>
                      <a:pt x="472" y="166"/>
                    </a:lnTo>
                    <a:lnTo>
                      <a:pt x="464" y="162"/>
                    </a:lnTo>
                    <a:lnTo>
                      <a:pt x="456" y="156"/>
                    </a:lnTo>
                    <a:lnTo>
                      <a:pt x="444" y="148"/>
                    </a:lnTo>
                    <a:lnTo>
                      <a:pt x="438" y="146"/>
                    </a:lnTo>
                    <a:lnTo>
                      <a:pt x="430" y="144"/>
                    </a:lnTo>
                    <a:lnTo>
                      <a:pt x="418" y="144"/>
                    </a:lnTo>
                    <a:lnTo>
                      <a:pt x="400" y="146"/>
                    </a:lnTo>
                    <a:lnTo>
                      <a:pt x="400" y="146"/>
                    </a:lnTo>
                    <a:lnTo>
                      <a:pt x="388" y="148"/>
                    </a:lnTo>
                    <a:lnTo>
                      <a:pt x="384" y="148"/>
                    </a:lnTo>
                    <a:lnTo>
                      <a:pt x="386" y="146"/>
                    </a:lnTo>
                    <a:lnTo>
                      <a:pt x="390" y="142"/>
                    </a:lnTo>
                    <a:lnTo>
                      <a:pt x="396" y="136"/>
                    </a:lnTo>
                    <a:lnTo>
                      <a:pt x="400" y="130"/>
                    </a:lnTo>
                    <a:lnTo>
                      <a:pt x="400" y="126"/>
                    </a:lnTo>
                    <a:lnTo>
                      <a:pt x="400" y="122"/>
                    </a:lnTo>
                    <a:lnTo>
                      <a:pt x="396" y="118"/>
                    </a:lnTo>
                    <a:lnTo>
                      <a:pt x="392" y="114"/>
                    </a:lnTo>
                    <a:lnTo>
                      <a:pt x="392" y="114"/>
                    </a:lnTo>
                    <a:lnTo>
                      <a:pt x="382" y="108"/>
                    </a:lnTo>
                    <a:lnTo>
                      <a:pt x="376" y="100"/>
                    </a:lnTo>
                    <a:lnTo>
                      <a:pt x="376" y="96"/>
                    </a:lnTo>
                    <a:lnTo>
                      <a:pt x="376" y="90"/>
                    </a:lnTo>
                    <a:lnTo>
                      <a:pt x="376" y="86"/>
                    </a:lnTo>
                    <a:lnTo>
                      <a:pt x="372" y="82"/>
                    </a:lnTo>
                    <a:lnTo>
                      <a:pt x="366" y="80"/>
                    </a:lnTo>
                    <a:lnTo>
                      <a:pt x="352" y="78"/>
                    </a:lnTo>
                    <a:lnTo>
                      <a:pt x="352" y="78"/>
                    </a:lnTo>
                    <a:lnTo>
                      <a:pt x="338" y="76"/>
                    </a:lnTo>
                    <a:lnTo>
                      <a:pt x="330" y="80"/>
                    </a:lnTo>
                    <a:lnTo>
                      <a:pt x="328" y="84"/>
                    </a:lnTo>
                    <a:lnTo>
                      <a:pt x="328" y="90"/>
                    </a:lnTo>
                    <a:lnTo>
                      <a:pt x="330" y="96"/>
                    </a:lnTo>
                    <a:lnTo>
                      <a:pt x="328" y="100"/>
                    </a:lnTo>
                    <a:lnTo>
                      <a:pt x="328" y="102"/>
                    </a:lnTo>
                    <a:lnTo>
                      <a:pt x="326" y="102"/>
                    </a:lnTo>
                    <a:lnTo>
                      <a:pt x="318" y="100"/>
                    </a:lnTo>
                    <a:lnTo>
                      <a:pt x="318" y="100"/>
                    </a:lnTo>
                    <a:lnTo>
                      <a:pt x="310" y="96"/>
                    </a:lnTo>
                    <a:lnTo>
                      <a:pt x="306" y="92"/>
                    </a:lnTo>
                    <a:lnTo>
                      <a:pt x="306" y="86"/>
                    </a:lnTo>
                    <a:lnTo>
                      <a:pt x="308" y="82"/>
                    </a:lnTo>
                    <a:lnTo>
                      <a:pt x="308" y="78"/>
                    </a:lnTo>
                    <a:lnTo>
                      <a:pt x="306" y="74"/>
                    </a:lnTo>
                    <a:lnTo>
                      <a:pt x="298" y="70"/>
                    </a:lnTo>
                    <a:lnTo>
                      <a:pt x="284" y="70"/>
                    </a:lnTo>
                    <a:lnTo>
                      <a:pt x="284" y="70"/>
                    </a:lnTo>
                    <a:lnTo>
                      <a:pt x="274" y="68"/>
                    </a:lnTo>
                    <a:lnTo>
                      <a:pt x="266" y="66"/>
                    </a:lnTo>
                    <a:lnTo>
                      <a:pt x="248" y="56"/>
                    </a:lnTo>
                    <a:lnTo>
                      <a:pt x="212" y="32"/>
                    </a:lnTo>
                    <a:lnTo>
                      <a:pt x="192" y="20"/>
                    </a:lnTo>
                    <a:lnTo>
                      <a:pt x="170" y="10"/>
                    </a:lnTo>
                    <a:lnTo>
                      <a:pt x="158" y="6"/>
                    </a:lnTo>
                    <a:lnTo>
                      <a:pt x="146" y="2"/>
                    </a:lnTo>
                    <a:lnTo>
                      <a:pt x="134" y="0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04" y="2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2" y="10"/>
                    </a:lnTo>
                    <a:lnTo>
                      <a:pt x="108" y="14"/>
                    </a:lnTo>
                    <a:lnTo>
                      <a:pt x="112" y="20"/>
                    </a:lnTo>
                    <a:lnTo>
                      <a:pt x="114" y="24"/>
                    </a:lnTo>
                    <a:lnTo>
                      <a:pt x="114" y="24"/>
                    </a:lnTo>
                    <a:lnTo>
                      <a:pt x="110" y="26"/>
                    </a:lnTo>
                    <a:lnTo>
                      <a:pt x="98" y="28"/>
                    </a:lnTo>
                    <a:lnTo>
                      <a:pt x="98" y="28"/>
                    </a:lnTo>
                    <a:lnTo>
                      <a:pt x="82" y="28"/>
                    </a:lnTo>
                    <a:lnTo>
                      <a:pt x="70" y="30"/>
                    </a:lnTo>
                    <a:lnTo>
                      <a:pt x="66" y="32"/>
                    </a:lnTo>
                    <a:lnTo>
                      <a:pt x="64" y="36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4" y="54"/>
                    </a:lnTo>
                    <a:lnTo>
                      <a:pt x="52" y="58"/>
                    </a:lnTo>
                    <a:lnTo>
                      <a:pt x="42" y="64"/>
                    </a:lnTo>
                    <a:lnTo>
                      <a:pt x="32" y="72"/>
                    </a:lnTo>
                    <a:lnTo>
                      <a:pt x="26" y="76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18" y="88"/>
                    </a:lnTo>
                    <a:lnTo>
                      <a:pt x="18" y="92"/>
                    </a:lnTo>
                    <a:lnTo>
                      <a:pt x="20" y="94"/>
                    </a:lnTo>
                    <a:lnTo>
                      <a:pt x="24" y="96"/>
                    </a:lnTo>
                    <a:lnTo>
                      <a:pt x="34" y="98"/>
                    </a:lnTo>
                    <a:lnTo>
                      <a:pt x="50" y="100"/>
                    </a:lnTo>
                    <a:lnTo>
                      <a:pt x="78" y="102"/>
                    </a:lnTo>
                    <a:lnTo>
                      <a:pt x="86" y="102"/>
                    </a:lnTo>
                    <a:lnTo>
                      <a:pt x="88" y="102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6" y="108"/>
                    </a:lnTo>
                    <a:lnTo>
                      <a:pt x="82" y="110"/>
                    </a:lnTo>
                    <a:lnTo>
                      <a:pt x="72" y="112"/>
                    </a:lnTo>
                    <a:lnTo>
                      <a:pt x="58" y="112"/>
                    </a:lnTo>
                    <a:lnTo>
                      <a:pt x="42" y="110"/>
                    </a:lnTo>
                    <a:lnTo>
                      <a:pt x="14" y="106"/>
                    </a:lnTo>
                    <a:lnTo>
                      <a:pt x="4" y="106"/>
                    </a:lnTo>
                    <a:lnTo>
                      <a:pt x="2" y="108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2" y="116"/>
                    </a:lnTo>
                    <a:lnTo>
                      <a:pt x="4" y="122"/>
                    </a:lnTo>
                    <a:lnTo>
                      <a:pt x="8" y="128"/>
                    </a:lnTo>
                    <a:lnTo>
                      <a:pt x="14" y="134"/>
                    </a:lnTo>
                    <a:lnTo>
                      <a:pt x="32" y="148"/>
                    </a:lnTo>
                    <a:lnTo>
                      <a:pt x="54" y="164"/>
                    </a:lnTo>
                    <a:lnTo>
                      <a:pt x="54" y="1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1" name="Freeform 6088">
                <a:extLst>
                  <a:ext uri="{FF2B5EF4-FFF2-40B4-BE49-F238E27FC236}">
                    <a16:creationId xmlns:a16="http://schemas.microsoft.com/office/drawing/2014/main" id="{C038B135-0357-4C9B-9039-C8E5AC076C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0580" y="1206183"/>
                <a:ext cx="734060" cy="539750"/>
              </a:xfrm>
              <a:custGeom>
                <a:avLst/>
                <a:gdLst/>
                <a:ahLst/>
                <a:cxnLst>
                  <a:cxn ang="0">
                    <a:pos x="1088" y="504"/>
                  </a:cxn>
                  <a:cxn ang="0">
                    <a:pos x="1060" y="480"/>
                  </a:cxn>
                  <a:cxn ang="0">
                    <a:pos x="960" y="426"/>
                  </a:cxn>
                  <a:cxn ang="0">
                    <a:pos x="890" y="396"/>
                  </a:cxn>
                  <a:cxn ang="0">
                    <a:pos x="890" y="348"/>
                  </a:cxn>
                  <a:cxn ang="0">
                    <a:pos x="926" y="328"/>
                  </a:cxn>
                  <a:cxn ang="0">
                    <a:pos x="926" y="298"/>
                  </a:cxn>
                  <a:cxn ang="0">
                    <a:pos x="846" y="276"/>
                  </a:cxn>
                  <a:cxn ang="0">
                    <a:pos x="844" y="232"/>
                  </a:cxn>
                  <a:cxn ang="0">
                    <a:pos x="782" y="204"/>
                  </a:cxn>
                  <a:cxn ang="0">
                    <a:pos x="706" y="174"/>
                  </a:cxn>
                  <a:cxn ang="0">
                    <a:pos x="642" y="134"/>
                  </a:cxn>
                  <a:cxn ang="0">
                    <a:pos x="560" y="98"/>
                  </a:cxn>
                  <a:cxn ang="0">
                    <a:pos x="462" y="112"/>
                  </a:cxn>
                  <a:cxn ang="0">
                    <a:pos x="404" y="110"/>
                  </a:cxn>
                  <a:cxn ang="0">
                    <a:pos x="388" y="90"/>
                  </a:cxn>
                  <a:cxn ang="0">
                    <a:pos x="352" y="18"/>
                  </a:cxn>
                  <a:cxn ang="0">
                    <a:pos x="200" y="50"/>
                  </a:cxn>
                  <a:cxn ang="0">
                    <a:pos x="174" y="84"/>
                  </a:cxn>
                  <a:cxn ang="0">
                    <a:pos x="168" y="138"/>
                  </a:cxn>
                  <a:cxn ang="0">
                    <a:pos x="222" y="180"/>
                  </a:cxn>
                  <a:cxn ang="0">
                    <a:pos x="150" y="122"/>
                  </a:cxn>
                  <a:cxn ang="0">
                    <a:pos x="188" y="26"/>
                  </a:cxn>
                  <a:cxn ang="0">
                    <a:pos x="116" y="8"/>
                  </a:cxn>
                  <a:cxn ang="0">
                    <a:pos x="18" y="90"/>
                  </a:cxn>
                  <a:cxn ang="0">
                    <a:pos x="58" y="196"/>
                  </a:cxn>
                  <a:cxn ang="0">
                    <a:pos x="40" y="216"/>
                  </a:cxn>
                  <a:cxn ang="0">
                    <a:pos x="118" y="270"/>
                  </a:cxn>
                  <a:cxn ang="0">
                    <a:pos x="234" y="288"/>
                  </a:cxn>
                  <a:cxn ang="0">
                    <a:pos x="336" y="290"/>
                  </a:cxn>
                  <a:cxn ang="0">
                    <a:pos x="358" y="284"/>
                  </a:cxn>
                  <a:cxn ang="0">
                    <a:pos x="462" y="284"/>
                  </a:cxn>
                  <a:cxn ang="0">
                    <a:pos x="498" y="274"/>
                  </a:cxn>
                  <a:cxn ang="0">
                    <a:pos x="580" y="338"/>
                  </a:cxn>
                  <a:cxn ang="0">
                    <a:pos x="538" y="376"/>
                  </a:cxn>
                  <a:cxn ang="0">
                    <a:pos x="654" y="402"/>
                  </a:cxn>
                  <a:cxn ang="0">
                    <a:pos x="712" y="474"/>
                  </a:cxn>
                  <a:cxn ang="0">
                    <a:pos x="640" y="558"/>
                  </a:cxn>
                  <a:cxn ang="0">
                    <a:pos x="628" y="608"/>
                  </a:cxn>
                  <a:cxn ang="0">
                    <a:pos x="510" y="624"/>
                  </a:cxn>
                  <a:cxn ang="0">
                    <a:pos x="514" y="688"/>
                  </a:cxn>
                  <a:cxn ang="0">
                    <a:pos x="616" y="688"/>
                  </a:cxn>
                  <a:cxn ang="0">
                    <a:pos x="656" y="674"/>
                  </a:cxn>
                  <a:cxn ang="0">
                    <a:pos x="736" y="724"/>
                  </a:cxn>
                  <a:cxn ang="0">
                    <a:pos x="732" y="752"/>
                  </a:cxn>
                  <a:cxn ang="0">
                    <a:pos x="854" y="818"/>
                  </a:cxn>
                  <a:cxn ang="0">
                    <a:pos x="966" y="822"/>
                  </a:cxn>
                  <a:cxn ang="0">
                    <a:pos x="854" y="724"/>
                  </a:cxn>
                  <a:cxn ang="0">
                    <a:pos x="908" y="744"/>
                  </a:cxn>
                  <a:cxn ang="0">
                    <a:pos x="1012" y="814"/>
                  </a:cxn>
                  <a:cxn ang="0">
                    <a:pos x="1018" y="766"/>
                  </a:cxn>
                  <a:cxn ang="0">
                    <a:pos x="1022" y="724"/>
                  </a:cxn>
                  <a:cxn ang="0">
                    <a:pos x="1000" y="694"/>
                  </a:cxn>
                  <a:cxn ang="0">
                    <a:pos x="942" y="632"/>
                  </a:cxn>
                  <a:cxn ang="0">
                    <a:pos x="890" y="586"/>
                  </a:cxn>
                  <a:cxn ang="0">
                    <a:pos x="902" y="544"/>
                  </a:cxn>
                  <a:cxn ang="0">
                    <a:pos x="942" y="544"/>
                  </a:cxn>
                  <a:cxn ang="0">
                    <a:pos x="990" y="580"/>
                  </a:cxn>
                  <a:cxn ang="0">
                    <a:pos x="1070" y="648"/>
                  </a:cxn>
                  <a:cxn ang="0">
                    <a:pos x="1102" y="596"/>
                  </a:cxn>
                  <a:cxn ang="0">
                    <a:pos x="1128" y="568"/>
                  </a:cxn>
                  <a:cxn ang="0">
                    <a:pos x="1148" y="514"/>
                  </a:cxn>
                </a:cxnLst>
                <a:rect l="0" t="0" r="r" b="b"/>
                <a:pathLst>
                  <a:path w="1156" h="850">
                    <a:moveTo>
                      <a:pt x="1148" y="514"/>
                    </a:moveTo>
                    <a:lnTo>
                      <a:pt x="1148" y="514"/>
                    </a:lnTo>
                    <a:lnTo>
                      <a:pt x="1144" y="506"/>
                    </a:lnTo>
                    <a:lnTo>
                      <a:pt x="1138" y="502"/>
                    </a:lnTo>
                    <a:lnTo>
                      <a:pt x="1134" y="500"/>
                    </a:lnTo>
                    <a:lnTo>
                      <a:pt x="1128" y="498"/>
                    </a:lnTo>
                    <a:lnTo>
                      <a:pt x="1116" y="498"/>
                    </a:lnTo>
                    <a:lnTo>
                      <a:pt x="1106" y="502"/>
                    </a:lnTo>
                    <a:lnTo>
                      <a:pt x="1096" y="506"/>
                    </a:lnTo>
                    <a:lnTo>
                      <a:pt x="1090" y="508"/>
                    </a:lnTo>
                    <a:lnTo>
                      <a:pt x="1088" y="506"/>
                    </a:lnTo>
                    <a:lnTo>
                      <a:pt x="1088" y="504"/>
                    </a:lnTo>
                    <a:lnTo>
                      <a:pt x="1090" y="496"/>
                    </a:lnTo>
                    <a:lnTo>
                      <a:pt x="1090" y="496"/>
                    </a:lnTo>
                    <a:lnTo>
                      <a:pt x="1092" y="486"/>
                    </a:lnTo>
                    <a:lnTo>
                      <a:pt x="1090" y="482"/>
                    </a:lnTo>
                    <a:lnTo>
                      <a:pt x="1088" y="480"/>
                    </a:lnTo>
                    <a:lnTo>
                      <a:pt x="1084" y="480"/>
                    </a:lnTo>
                    <a:lnTo>
                      <a:pt x="1076" y="482"/>
                    </a:lnTo>
                    <a:lnTo>
                      <a:pt x="1062" y="486"/>
                    </a:lnTo>
                    <a:lnTo>
                      <a:pt x="1060" y="486"/>
                    </a:lnTo>
                    <a:lnTo>
                      <a:pt x="1058" y="486"/>
                    </a:lnTo>
                    <a:lnTo>
                      <a:pt x="1060" y="480"/>
                    </a:lnTo>
                    <a:lnTo>
                      <a:pt x="1060" y="480"/>
                    </a:lnTo>
                    <a:lnTo>
                      <a:pt x="1062" y="472"/>
                    </a:lnTo>
                    <a:lnTo>
                      <a:pt x="1062" y="466"/>
                    </a:lnTo>
                    <a:lnTo>
                      <a:pt x="1060" y="462"/>
                    </a:lnTo>
                    <a:lnTo>
                      <a:pt x="1056" y="458"/>
                    </a:lnTo>
                    <a:lnTo>
                      <a:pt x="1042" y="450"/>
                    </a:lnTo>
                    <a:lnTo>
                      <a:pt x="1022" y="436"/>
                    </a:lnTo>
                    <a:lnTo>
                      <a:pt x="1022" y="436"/>
                    </a:lnTo>
                    <a:lnTo>
                      <a:pt x="1010" y="430"/>
                    </a:lnTo>
                    <a:lnTo>
                      <a:pt x="996" y="428"/>
                    </a:lnTo>
                    <a:lnTo>
                      <a:pt x="984" y="426"/>
                    </a:lnTo>
                    <a:lnTo>
                      <a:pt x="970" y="426"/>
                    </a:lnTo>
                    <a:lnTo>
                      <a:pt x="960" y="426"/>
                    </a:lnTo>
                    <a:lnTo>
                      <a:pt x="950" y="424"/>
                    </a:lnTo>
                    <a:lnTo>
                      <a:pt x="944" y="420"/>
                    </a:lnTo>
                    <a:lnTo>
                      <a:pt x="942" y="416"/>
                    </a:lnTo>
                    <a:lnTo>
                      <a:pt x="940" y="410"/>
                    </a:lnTo>
                    <a:lnTo>
                      <a:pt x="940" y="410"/>
                    </a:lnTo>
                    <a:lnTo>
                      <a:pt x="938" y="406"/>
                    </a:lnTo>
                    <a:lnTo>
                      <a:pt x="936" y="402"/>
                    </a:lnTo>
                    <a:lnTo>
                      <a:pt x="930" y="400"/>
                    </a:lnTo>
                    <a:lnTo>
                      <a:pt x="926" y="398"/>
                    </a:lnTo>
                    <a:lnTo>
                      <a:pt x="914" y="396"/>
                    </a:lnTo>
                    <a:lnTo>
                      <a:pt x="900" y="396"/>
                    </a:lnTo>
                    <a:lnTo>
                      <a:pt x="890" y="396"/>
                    </a:lnTo>
                    <a:lnTo>
                      <a:pt x="882" y="394"/>
                    </a:lnTo>
                    <a:lnTo>
                      <a:pt x="882" y="394"/>
                    </a:lnTo>
                    <a:lnTo>
                      <a:pt x="882" y="392"/>
                    </a:lnTo>
                    <a:lnTo>
                      <a:pt x="890" y="384"/>
                    </a:lnTo>
                    <a:lnTo>
                      <a:pt x="890" y="384"/>
                    </a:lnTo>
                    <a:lnTo>
                      <a:pt x="896" y="380"/>
                    </a:lnTo>
                    <a:lnTo>
                      <a:pt x="900" y="376"/>
                    </a:lnTo>
                    <a:lnTo>
                      <a:pt x="902" y="372"/>
                    </a:lnTo>
                    <a:lnTo>
                      <a:pt x="902" y="366"/>
                    </a:lnTo>
                    <a:lnTo>
                      <a:pt x="900" y="360"/>
                    </a:lnTo>
                    <a:lnTo>
                      <a:pt x="894" y="352"/>
                    </a:lnTo>
                    <a:lnTo>
                      <a:pt x="890" y="348"/>
                    </a:lnTo>
                    <a:lnTo>
                      <a:pt x="888" y="344"/>
                    </a:lnTo>
                    <a:lnTo>
                      <a:pt x="890" y="344"/>
                    </a:lnTo>
                    <a:lnTo>
                      <a:pt x="902" y="346"/>
                    </a:lnTo>
                    <a:lnTo>
                      <a:pt x="902" y="346"/>
                    </a:lnTo>
                    <a:lnTo>
                      <a:pt x="916" y="348"/>
                    </a:lnTo>
                    <a:lnTo>
                      <a:pt x="928" y="348"/>
                    </a:lnTo>
                    <a:lnTo>
                      <a:pt x="938" y="346"/>
                    </a:lnTo>
                    <a:lnTo>
                      <a:pt x="942" y="342"/>
                    </a:lnTo>
                    <a:lnTo>
                      <a:pt x="944" y="340"/>
                    </a:lnTo>
                    <a:lnTo>
                      <a:pt x="944" y="338"/>
                    </a:lnTo>
                    <a:lnTo>
                      <a:pt x="938" y="334"/>
                    </a:lnTo>
                    <a:lnTo>
                      <a:pt x="926" y="328"/>
                    </a:lnTo>
                    <a:lnTo>
                      <a:pt x="906" y="324"/>
                    </a:lnTo>
                    <a:lnTo>
                      <a:pt x="906" y="324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80" y="316"/>
                    </a:lnTo>
                    <a:lnTo>
                      <a:pt x="900" y="312"/>
                    </a:lnTo>
                    <a:lnTo>
                      <a:pt x="910" y="308"/>
                    </a:lnTo>
                    <a:lnTo>
                      <a:pt x="920" y="304"/>
                    </a:lnTo>
                    <a:lnTo>
                      <a:pt x="920" y="304"/>
                    </a:lnTo>
                    <a:lnTo>
                      <a:pt x="924" y="300"/>
                    </a:lnTo>
                    <a:lnTo>
                      <a:pt x="926" y="298"/>
                    </a:lnTo>
                    <a:lnTo>
                      <a:pt x="926" y="294"/>
                    </a:lnTo>
                    <a:lnTo>
                      <a:pt x="926" y="290"/>
                    </a:lnTo>
                    <a:lnTo>
                      <a:pt x="922" y="284"/>
                    </a:lnTo>
                    <a:lnTo>
                      <a:pt x="914" y="278"/>
                    </a:lnTo>
                    <a:lnTo>
                      <a:pt x="904" y="272"/>
                    </a:lnTo>
                    <a:lnTo>
                      <a:pt x="894" y="268"/>
                    </a:lnTo>
                    <a:lnTo>
                      <a:pt x="886" y="268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72" y="274"/>
                    </a:lnTo>
                    <a:lnTo>
                      <a:pt x="864" y="276"/>
                    </a:lnTo>
                    <a:lnTo>
                      <a:pt x="846" y="276"/>
                    </a:lnTo>
                    <a:lnTo>
                      <a:pt x="842" y="276"/>
                    </a:lnTo>
                    <a:lnTo>
                      <a:pt x="840" y="274"/>
                    </a:lnTo>
                    <a:lnTo>
                      <a:pt x="842" y="270"/>
                    </a:lnTo>
                    <a:lnTo>
                      <a:pt x="852" y="266"/>
                    </a:lnTo>
                    <a:lnTo>
                      <a:pt x="852" y="266"/>
                    </a:lnTo>
                    <a:lnTo>
                      <a:pt x="874" y="258"/>
                    </a:lnTo>
                    <a:lnTo>
                      <a:pt x="880" y="254"/>
                    </a:lnTo>
                    <a:lnTo>
                      <a:pt x="882" y="252"/>
                    </a:lnTo>
                    <a:lnTo>
                      <a:pt x="878" y="248"/>
                    </a:lnTo>
                    <a:lnTo>
                      <a:pt x="872" y="244"/>
                    </a:lnTo>
                    <a:lnTo>
                      <a:pt x="844" y="232"/>
                    </a:lnTo>
                    <a:lnTo>
                      <a:pt x="844" y="232"/>
                    </a:lnTo>
                    <a:lnTo>
                      <a:pt x="826" y="226"/>
                    </a:lnTo>
                    <a:lnTo>
                      <a:pt x="812" y="226"/>
                    </a:lnTo>
                    <a:lnTo>
                      <a:pt x="802" y="228"/>
                    </a:lnTo>
                    <a:lnTo>
                      <a:pt x="794" y="230"/>
                    </a:lnTo>
                    <a:lnTo>
                      <a:pt x="790" y="232"/>
                    </a:lnTo>
                    <a:lnTo>
                      <a:pt x="786" y="232"/>
                    </a:lnTo>
                    <a:lnTo>
                      <a:pt x="786" y="230"/>
                    </a:lnTo>
                    <a:lnTo>
                      <a:pt x="786" y="220"/>
                    </a:lnTo>
                    <a:lnTo>
                      <a:pt x="786" y="220"/>
                    </a:lnTo>
                    <a:lnTo>
                      <a:pt x="788" y="210"/>
                    </a:lnTo>
                    <a:lnTo>
                      <a:pt x="784" y="206"/>
                    </a:lnTo>
                    <a:lnTo>
                      <a:pt x="782" y="204"/>
                    </a:lnTo>
                    <a:lnTo>
                      <a:pt x="776" y="204"/>
                    </a:lnTo>
                    <a:lnTo>
                      <a:pt x="768" y="206"/>
                    </a:lnTo>
                    <a:lnTo>
                      <a:pt x="764" y="204"/>
                    </a:lnTo>
                    <a:lnTo>
                      <a:pt x="762" y="198"/>
                    </a:lnTo>
                    <a:lnTo>
                      <a:pt x="762" y="198"/>
                    </a:lnTo>
                    <a:lnTo>
                      <a:pt x="762" y="190"/>
                    </a:lnTo>
                    <a:lnTo>
                      <a:pt x="756" y="184"/>
                    </a:lnTo>
                    <a:lnTo>
                      <a:pt x="748" y="178"/>
                    </a:lnTo>
                    <a:lnTo>
                      <a:pt x="738" y="174"/>
                    </a:lnTo>
                    <a:lnTo>
                      <a:pt x="728" y="170"/>
                    </a:lnTo>
                    <a:lnTo>
                      <a:pt x="716" y="170"/>
                    </a:lnTo>
                    <a:lnTo>
                      <a:pt x="706" y="174"/>
                    </a:lnTo>
                    <a:lnTo>
                      <a:pt x="696" y="182"/>
                    </a:lnTo>
                    <a:lnTo>
                      <a:pt x="696" y="182"/>
                    </a:lnTo>
                    <a:lnTo>
                      <a:pt x="686" y="190"/>
                    </a:lnTo>
                    <a:lnTo>
                      <a:pt x="680" y="192"/>
                    </a:lnTo>
                    <a:lnTo>
                      <a:pt x="674" y="190"/>
                    </a:lnTo>
                    <a:lnTo>
                      <a:pt x="670" y="186"/>
                    </a:lnTo>
                    <a:lnTo>
                      <a:pt x="666" y="178"/>
                    </a:lnTo>
                    <a:lnTo>
                      <a:pt x="662" y="168"/>
                    </a:lnTo>
                    <a:lnTo>
                      <a:pt x="652" y="148"/>
                    </a:lnTo>
                    <a:lnTo>
                      <a:pt x="652" y="148"/>
                    </a:lnTo>
                    <a:lnTo>
                      <a:pt x="648" y="138"/>
                    </a:lnTo>
                    <a:lnTo>
                      <a:pt x="642" y="134"/>
                    </a:lnTo>
                    <a:lnTo>
                      <a:pt x="638" y="134"/>
                    </a:lnTo>
                    <a:lnTo>
                      <a:pt x="632" y="134"/>
                    </a:lnTo>
                    <a:lnTo>
                      <a:pt x="628" y="134"/>
                    </a:lnTo>
                    <a:lnTo>
                      <a:pt x="622" y="134"/>
                    </a:lnTo>
                    <a:lnTo>
                      <a:pt x="616" y="128"/>
                    </a:lnTo>
                    <a:lnTo>
                      <a:pt x="610" y="120"/>
                    </a:lnTo>
                    <a:lnTo>
                      <a:pt x="610" y="120"/>
                    </a:lnTo>
                    <a:lnTo>
                      <a:pt x="602" y="110"/>
                    </a:lnTo>
                    <a:lnTo>
                      <a:pt x="594" y="104"/>
                    </a:lnTo>
                    <a:lnTo>
                      <a:pt x="586" y="100"/>
                    </a:lnTo>
                    <a:lnTo>
                      <a:pt x="578" y="100"/>
                    </a:lnTo>
                    <a:lnTo>
                      <a:pt x="560" y="98"/>
                    </a:lnTo>
                    <a:lnTo>
                      <a:pt x="552" y="98"/>
                    </a:lnTo>
                    <a:lnTo>
                      <a:pt x="546" y="94"/>
                    </a:lnTo>
                    <a:lnTo>
                      <a:pt x="546" y="94"/>
                    </a:lnTo>
                    <a:lnTo>
                      <a:pt x="528" y="88"/>
                    </a:lnTo>
                    <a:lnTo>
                      <a:pt x="518" y="84"/>
                    </a:lnTo>
                    <a:lnTo>
                      <a:pt x="506" y="82"/>
                    </a:lnTo>
                    <a:lnTo>
                      <a:pt x="494" y="84"/>
                    </a:lnTo>
                    <a:lnTo>
                      <a:pt x="484" y="88"/>
                    </a:lnTo>
                    <a:lnTo>
                      <a:pt x="474" y="94"/>
                    </a:lnTo>
                    <a:lnTo>
                      <a:pt x="466" y="106"/>
                    </a:lnTo>
                    <a:lnTo>
                      <a:pt x="466" y="106"/>
                    </a:lnTo>
                    <a:lnTo>
                      <a:pt x="462" y="112"/>
                    </a:lnTo>
                    <a:lnTo>
                      <a:pt x="460" y="116"/>
                    </a:lnTo>
                    <a:lnTo>
                      <a:pt x="456" y="118"/>
                    </a:lnTo>
                    <a:lnTo>
                      <a:pt x="452" y="118"/>
                    </a:lnTo>
                    <a:lnTo>
                      <a:pt x="444" y="116"/>
                    </a:lnTo>
                    <a:lnTo>
                      <a:pt x="436" y="112"/>
                    </a:lnTo>
                    <a:lnTo>
                      <a:pt x="428" y="106"/>
                    </a:lnTo>
                    <a:lnTo>
                      <a:pt x="420" y="104"/>
                    </a:lnTo>
                    <a:lnTo>
                      <a:pt x="416" y="102"/>
                    </a:lnTo>
                    <a:lnTo>
                      <a:pt x="412" y="104"/>
                    </a:lnTo>
                    <a:lnTo>
                      <a:pt x="408" y="106"/>
                    </a:lnTo>
                    <a:lnTo>
                      <a:pt x="404" y="110"/>
                    </a:lnTo>
                    <a:lnTo>
                      <a:pt x="404" y="110"/>
                    </a:lnTo>
                    <a:lnTo>
                      <a:pt x="396" y="118"/>
                    </a:lnTo>
                    <a:lnTo>
                      <a:pt x="388" y="124"/>
                    </a:lnTo>
                    <a:lnTo>
                      <a:pt x="380" y="130"/>
                    </a:lnTo>
                    <a:lnTo>
                      <a:pt x="376" y="132"/>
                    </a:lnTo>
                    <a:lnTo>
                      <a:pt x="372" y="132"/>
                    </a:lnTo>
                    <a:lnTo>
                      <a:pt x="370" y="130"/>
                    </a:lnTo>
                    <a:lnTo>
                      <a:pt x="372" y="126"/>
                    </a:lnTo>
                    <a:lnTo>
                      <a:pt x="376" y="118"/>
                    </a:lnTo>
                    <a:lnTo>
                      <a:pt x="376" y="118"/>
                    </a:lnTo>
                    <a:lnTo>
                      <a:pt x="382" y="110"/>
                    </a:lnTo>
                    <a:lnTo>
                      <a:pt x="386" y="100"/>
                    </a:lnTo>
                    <a:lnTo>
                      <a:pt x="388" y="90"/>
                    </a:lnTo>
                    <a:lnTo>
                      <a:pt x="388" y="82"/>
                    </a:lnTo>
                    <a:lnTo>
                      <a:pt x="386" y="72"/>
                    </a:lnTo>
                    <a:lnTo>
                      <a:pt x="382" y="64"/>
                    </a:lnTo>
                    <a:lnTo>
                      <a:pt x="376" y="58"/>
                    </a:lnTo>
                    <a:lnTo>
                      <a:pt x="368" y="54"/>
                    </a:lnTo>
                    <a:lnTo>
                      <a:pt x="368" y="54"/>
                    </a:lnTo>
                    <a:lnTo>
                      <a:pt x="360" y="50"/>
                    </a:lnTo>
                    <a:lnTo>
                      <a:pt x="356" y="44"/>
                    </a:lnTo>
                    <a:lnTo>
                      <a:pt x="356" y="38"/>
                    </a:lnTo>
                    <a:lnTo>
                      <a:pt x="354" y="32"/>
                    </a:lnTo>
                    <a:lnTo>
                      <a:pt x="354" y="24"/>
                    </a:lnTo>
                    <a:lnTo>
                      <a:pt x="352" y="18"/>
                    </a:lnTo>
                    <a:lnTo>
                      <a:pt x="346" y="14"/>
                    </a:lnTo>
                    <a:lnTo>
                      <a:pt x="338" y="12"/>
                    </a:lnTo>
                    <a:lnTo>
                      <a:pt x="338" y="12"/>
                    </a:lnTo>
                    <a:lnTo>
                      <a:pt x="326" y="10"/>
                    </a:lnTo>
                    <a:lnTo>
                      <a:pt x="306" y="12"/>
                    </a:lnTo>
                    <a:lnTo>
                      <a:pt x="282" y="14"/>
                    </a:lnTo>
                    <a:lnTo>
                      <a:pt x="260" y="18"/>
                    </a:lnTo>
                    <a:lnTo>
                      <a:pt x="236" y="24"/>
                    </a:lnTo>
                    <a:lnTo>
                      <a:pt x="218" y="32"/>
                    </a:lnTo>
                    <a:lnTo>
                      <a:pt x="210" y="38"/>
                    </a:lnTo>
                    <a:lnTo>
                      <a:pt x="204" y="44"/>
                    </a:lnTo>
                    <a:lnTo>
                      <a:pt x="200" y="50"/>
                    </a:lnTo>
                    <a:lnTo>
                      <a:pt x="198" y="56"/>
                    </a:lnTo>
                    <a:lnTo>
                      <a:pt x="198" y="56"/>
                    </a:lnTo>
                    <a:lnTo>
                      <a:pt x="198" y="62"/>
                    </a:lnTo>
                    <a:lnTo>
                      <a:pt x="196" y="66"/>
                    </a:lnTo>
                    <a:lnTo>
                      <a:pt x="194" y="68"/>
                    </a:lnTo>
                    <a:lnTo>
                      <a:pt x="192" y="70"/>
                    </a:lnTo>
                    <a:lnTo>
                      <a:pt x="186" y="72"/>
                    </a:lnTo>
                    <a:lnTo>
                      <a:pt x="178" y="70"/>
                    </a:lnTo>
                    <a:lnTo>
                      <a:pt x="174" y="72"/>
                    </a:lnTo>
                    <a:lnTo>
                      <a:pt x="172" y="72"/>
                    </a:lnTo>
                    <a:lnTo>
                      <a:pt x="172" y="74"/>
                    </a:lnTo>
                    <a:lnTo>
                      <a:pt x="174" y="84"/>
                    </a:lnTo>
                    <a:lnTo>
                      <a:pt x="182" y="100"/>
                    </a:lnTo>
                    <a:lnTo>
                      <a:pt x="182" y="100"/>
                    </a:lnTo>
                    <a:lnTo>
                      <a:pt x="188" y="116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8" y="130"/>
                    </a:lnTo>
                    <a:lnTo>
                      <a:pt x="184" y="130"/>
                    </a:lnTo>
                    <a:lnTo>
                      <a:pt x="180" y="132"/>
                    </a:lnTo>
                    <a:lnTo>
                      <a:pt x="174" y="132"/>
                    </a:lnTo>
                    <a:lnTo>
                      <a:pt x="168" y="134"/>
                    </a:lnTo>
                    <a:lnTo>
                      <a:pt x="168" y="136"/>
                    </a:lnTo>
                    <a:lnTo>
                      <a:pt x="168" y="138"/>
                    </a:lnTo>
                    <a:lnTo>
                      <a:pt x="174" y="148"/>
                    </a:lnTo>
                    <a:lnTo>
                      <a:pt x="174" y="148"/>
                    </a:lnTo>
                    <a:lnTo>
                      <a:pt x="184" y="158"/>
                    </a:lnTo>
                    <a:lnTo>
                      <a:pt x="192" y="164"/>
                    </a:lnTo>
                    <a:lnTo>
                      <a:pt x="200" y="166"/>
                    </a:lnTo>
                    <a:lnTo>
                      <a:pt x="208" y="166"/>
                    </a:lnTo>
                    <a:lnTo>
                      <a:pt x="212" y="164"/>
                    </a:lnTo>
                    <a:lnTo>
                      <a:pt x="218" y="166"/>
                    </a:lnTo>
                    <a:lnTo>
                      <a:pt x="220" y="168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2" y="180"/>
                    </a:lnTo>
                    <a:lnTo>
                      <a:pt x="220" y="182"/>
                    </a:lnTo>
                    <a:lnTo>
                      <a:pt x="216" y="184"/>
                    </a:lnTo>
                    <a:lnTo>
                      <a:pt x="210" y="184"/>
                    </a:lnTo>
                    <a:lnTo>
                      <a:pt x="196" y="180"/>
                    </a:lnTo>
                    <a:lnTo>
                      <a:pt x="180" y="174"/>
                    </a:lnTo>
                    <a:lnTo>
                      <a:pt x="164" y="164"/>
                    </a:lnTo>
                    <a:lnTo>
                      <a:pt x="152" y="150"/>
                    </a:lnTo>
                    <a:lnTo>
                      <a:pt x="148" y="144"/>
                    </a:lnTo>
                    <a:lnTo>
                      <a:pt x="146" y="136"/>
                    </a:lnTo>
                    <a:lnTo>
                      <a:pt x="146" y="130"/>
                    </a:lnTo>
                    <a:lnTo>
                      <a:pt x="150" y="122"/>
                    </a:lnTo>
                    <a:lnTo>
                      <a:pt x="150" y="122"/>
                    </a:lnTo>
                    <a:lnTo>
                      <a:pt x="154" y="110"/>
                    </a:lnTo>
                    <a:lnTo>
                      <a:pt x="152" y="102"/>
                    </a:lnTo>
                    <a:lnTo>
                      <a:pt x="150" y="98"/>
                    </a:lnTo>
                    <a:lnTo>
                      <a:pt x="144" y="94"/>
                    </a:lnTo>
                    <a:lnTo>
                      <a:pt x="142" y="90"/>
                    </a:lnTo>
                    <a:lnTo>
                      <a:pt x="140" y="84"/>
                    </a:lnTo>
                    <a:lnTo>
                      <a:pt x="144" y="74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68" y="44"/>
                    </a:lnTo>
                    <a:lnTo>
                      <a:pt x="180" y="34"/>
                    </a:lnTo>
                    <a:lnTo>
                      <a:pt x="188" y="26"/>
                    </a:lnTo>
                    <a:lnTo>
                      <a:pt x="198" y="22"/>
                    </a:lnTo>
                    <a:lnTo>
                      <a:pt x="208" y="16"/>
                    </a:lnTo>
                    <a:lnTo>
                      <a:pt x="212" y="14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2" y="8"/>
                    </a:lnTo>
                    <a:lnTo>
                      <a:pt x="210" y="6"/>
                    </a:lnTo>
                    <a:lnTo>
                      <a:pt x="200" y="2"/>
                    </a:lnTo>
                    <a:lnTo>
                      <a:pt x="184" y="0"/>
                    </a:lnTo>
                    <a:lnTo>
                      <a:pt x="164" y="0"/>
                    </a:lnTo>
                    <a:lnTo>
                      <a:pt x="140" y="2"/>
                    </a:lnTo>
                    <a:lnTo>
                      <a:pt x="116" y="8"/>
                    </a:lnTo>
                    <a:lnTo>
                      <a:pt x="92" y="1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52" y="38"/>
                    </a:lnTo>
                    <a:lnTo>
                      <a:pt x="40" y="48"/>
                    </a:lnTo>
                    <a:lnTo>
                      <a:pt x="34" y="56"/>
                    </a:lnTo>
                    <a:lnTo>
                      <a:pt x="32" y="62"/>
                    </a:lnTo>
                    <a:lnTo>
                      <a:pt x="30" y="72"/>
                    </a:lnTo>
                    <a:lnTo>
                      <a:pt x="28" y="76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18" y="90"/>
                    </a:lnTo>
                    <a:lnTo>
                      <a:pt x="14" y="96"/>
                    </a:lnTo>
                    <a:lnTo>
                      <a:pt x="8" y="112"/>
                    </a:lnTo>
                    <a:lnTo>
                      <a:pt x="4" y="132"/>
                    </a:lnTo>
                    <a:lnTo>
                      <a:pt x="2" y="156"/>
                    </a:lnTo>
                    <a:lnTo>
                      <a:pt x="2" y="156"/>
                    </a:lnTo>
                    <a:lnTo>
                      <a:pt x="0" y="168"/>
                    </a:lnTo>
                    <a:lnTo>
                      <a:pt x="0" y="178"/>
                    </a:lnTo>
                    <a:lnTo>
                      <a:pt x="2" y="184"/>
                    </a:lnTo>
                    <a:lnTo>
                      <a:pt x="8" y="188"/>
                    </a:lnTo>
                    <a:lnTo>
                      <a:pt x="14" y="192"/>
                    </a:lnTo>
                    <a:lnTo>
                      <a:pt x="26" y="194"/>
                    </a:lnTo>
                    <a:lnTo>
                      <a:pt x="58" y="196"/>
                    </a:lnTo>
                    <a:lnTo>
                      <a:pt x="58" y="196"/>
                    </a:lnTo>
                    <a:lnTo>
                      <a:pt x="76" y="200"/>
                    </a:lnTo>
                    <a:lnTo>
                      <a:pt x="90" y="202"/>
                    </a:lnTo>
                    <a:lnTo>
                      <a:pt x="100" y="208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2" y="218"/>
                    </a:lnTo>
                    <a:lnTo>
                      <a:pt x="94" y="220"/>
                    </a:lnTo>
                    <a:lnTo>
                      <a:pt x="78" y="218"/>
                    </a:lnTo>
                    <a:lnTo>
                      <a:pt x="78" y="218"/>
                    </a:lnTo>
                    <a:lnTo>
                      <a:pt x="50" y="216"/>
                    </a:lnTo>
                    <a:lnTo>
                      <a:pt x="40" y="216"/>
                    </a:lnTo>
                    <a:lnTo>
                      <a:pt x="32" y="218"/>
                    </a:lnTo>
                    <a:lnTo>
                      <a:pt x="32" y="220"/>
                    </a:lnTo>
                    <a:lnTo>
                      <a:pt x="30" y="222"/>
                    </a:lnTo>
                    <a:lnTo>
                      <a:pt x="32" y="228"/>
                    </a:lnTo>
                    <a:lnTo>
                      <a:pt x="40" y="238"/>
                    </a:lnTo>
                    <a:lnTo>
                      <a:pt x="52" y="250"/>
                    </a:lnTo>
                    <a:lnTo>
                      <a:pt x="52" y="250"/>
                    </a:lnTo>
                    <a:lnTo>
                      <a:pt x="68" y="262"/>
                    </a:lnTo>
                    <a:lnTo>
                      <a:pt x="82" y="268"/>
                    </a:lnTo>
                    <a:lnTo>
                      <a:pt x="94" y="270"/>
                    </a:lnTo>
                    <a:lnTo>
                      <a:pt x="106" y="270"/>
                    </a:lnTo>
                    <a:lnTo>
                      <a:pt x="118" y="270"/>
                    </a:lnTo>
                    <a:lnTo>
                      <a:pt x="130" y="270"/>
                    </a:lnTo>
                    <a:lnTo>
                      <a:pt x="142" y="272"/>
                    </a:lnTo>
                    <a:lnTo>
                      <a:pt x="152" y="278"/>
                    </a:lnTo>
                    <a:lnTo>
                      <a:pt x="152" y="278"/>
                    </a:lnTo>
                    <a:lnTo>
                      <a:pt x="162" y="284"/>
                    </a:lnTo>
                    <a:lnTo>
                      <a:pt x="174" y="288"/>
                    </a:lnTo>
                    <a:lnTo>
                      <a:pt x="184" y="290"/>
                    </a:lnTo>
                    <a:lnTo>
                      <a:pt x="194" y="288"/>
                    </a:lnTo>
                    <a:lnTo>
                      <a:pt x="208" y="286"/>
                    </a:lnTo>
                    <a:lnTo>
                      <a:pt x="218" y="286"/>
                    </a:lnTo>
                    <a:lnTo>
                      <a:pt x="218" y="286"/>
                    </a:lnTo>
                    <a:lnTo>
                      <a:pt x="234" y="288"/>
                    </a:lnTo>
                    <a:lnTo>
                      <a:pt x="244" y="290"/>
                    </a:lnTo>
                    <a:lnTo>
                      <a:pt x="260" y="290"/>
                    </a:lnTo>
                    <a:lnTo>
                      <a:pt x="268" y="290"/>
                    </a:lnTo>
                    <a:lnTo>
                      <a:pt x="276" y="290"/>
                    </a:lnTo>
                    <a:lnTo>
                      <a:pt x="288" y="292"/>
                    </a:lnTo>
                    <a:lnTo>
                      <a:pt x="304" y="296"/>
                    </a:lnTo>
                    <a:lnTo>
                      <a:pt x="304" y="296"/>
                    </a:lnTo>
                    <a:lnTo>
                      <a:pt x="316" y="300"/>
                    </a:lnTo>
                    <a:lnTo>
                      <a:pt x="324" y="298"/>
                    </a:lnTo>
                    <a:lnTo>
                      <a:pt x="328" y="296"/>
                    </a:lnTo>
                    <a:lnTo>
                      <a:pt x="332" y="292"/>
                    </a:lnTo>
                    <a:lnTo>
                      <a:pt x="336" y="290"/>
                    </a:lnTo>
                    <a:lnTo>
                      <a:pt x="340" y="290"/>
                    </a:lnTo>
                    <a:lnTo>
                      <a:pt x="346" y="292"/>
                    </a:lnTo>
                    <a:lnTo>
                      <a:pt x="356" y="298"/>
                    </a:lnTo>
                    <a:lnTo>
                      <a:pt x="356" y="298"/>
                    </a:lnTo>
                    <a:lnTo>
                      <a:pt x="374" y="312"/>
                    </a:lnTo>
                    <a:lnTo>
                      <a:pt x="378" y="314"/>
                    </a:lnTo>
                    <a:lnTo>
                      <a:pt x="380" y="312"/>
                    </a:lnTo>
                    <a:lnTo>
                      <a:pt x="378" y="310"/>
                    </a:lnTo>
                    <a:lnTo>
                      <a:pt x="376" y="306"/>
                    </a:lnTo>
                    <a:lnTo>
                      <a:pt x="362" y="292"/>
                    </a:lnTo>
                    <a:lnTo>
                      <a:pt x="362" y="292"/>
                    </a:lnTo>
                    <a:lnTo>
                      <a:pt x="358" y="284"/>
                    </a:lnTo>
                    <a:lnTo>
                      <a:pt x="358" y="282"/>
                    </a:lnTo>
                    <a:lnTo>
                      <a:pt x="360" y="282"/>
                    </a:lnTo>
                    <a:lnTo>
                      <a:pt x="368" y="282"/>
                    </a:lnTo>
                    <a:lnTo>
                      <a:pt x="380" y="284"/>
                    </a:lnTo>
                    <a:lnTo>
                      <a:pt x="410" y="290"/>
                    </a:lnTo>
                    <a:lnTo>
                      <a:pt x="444" y="296"/>
                    </a:lnTo>
                    <a:lnTo>
                      <a:pt x="444" y="296"/>
                    </a:lnTo>
                    <a:lnTo>
                      <a:pt x="450" y="296"/>
                    </a:lnTo>
                    <a:lnTo>
                      <a:pt x="454" y="296"/>
                    </a:lnTo>
                    <a:lnTo>
                      <a:pt x="458" y="294"/>
                    </a:lnTo>
                    <a:lnTo>
                      <a:pt x="460" y="290"/>
                    </a:lnTo>
                    <a:lnTo>
                      <a:pt x="462" y="284"/>
                    </a:lnTo>
                    <a:lnTo>
                      <a:pt x="460" y="274"/>
                    </a:lnTo>
                    <a:lnTo>
                      <a:pt x="456" y="260"/>
                    </a:lnTo>
                    <a:lnTo>
                      <a:pt x="456" y="260"/>
                    </a:lnTo>
                    <a:lnTo>
                      <a:pt x="458" y="260"/>
                    </a:lnTo>
                    <a:lnTo>
                      <a:pt x="464" y="264"/>
                    </a:lnTo>
                    <a:lnTo>
                      <a:pt x="464" y="264"/>
                    </a:lnTo>
                    <a:lnTo>
                      <a:pt x="472" y="270"/>
                    </a:lnTo>
                    <a:lnTo>
                      <a:pt x="478" y="272"/>
                    </a:lnTo>
                    <a:lnTo>
                      <a:pt x="484" y="272"/>
                    </a:lnTo>
                    <a:lnTo>
                      <a:pt x="490" y="272"/>
                    </a:lnTo>
                    <a:lnTo>
                      <a:pt x="494" y="272"/>
                    </a:lnTo>
                    <a:lnTo>
                      <a:pt x="498" y="274"/>
                    </a:lnTo>
                    <a:lnTo>
                      <a:pt x="500" y="278"/>
                    </a:lnTo>
                    <a:lnTo>
                      <a:pt x="502" y="286"/>
                    </a:lnTo>
                    <a:lnTo>
                      <a:pt x="502" y="286"/>
                    </a:lnTo>
                    <a:lnTo>
                      <a:pt x="502" y="294"/>
                    </a:lnTo>
                    <a:lnTo>
                      <a:pt x="504" y="302"/>
                    </a:lnTo>
                    <a:lnTo>
                      <a:pt x="508" y="306"/>
                    </a:lnTo>
                    <a:lnTo>
                      <a:pt x="512" y="310"/>
                    </a:lnTo>
                    <a:lnTo>
                      <a:pt x="528" y="318"/>
                    </a:lnTo>
                    <a:lnTo>
                      <a:pt x="556" y="326"/>
                    </a:lnTo>
                    <a:lnTo>
                      <a:pt x="556" y="326"/>
                    </a:lnTo>
                    <a:lnTo>
                      <a:pt x="570" y="332"/>
                    </a:lnTo>
                    <a:lnTo>
                      <a:pt x="580" y="338"/>
                    </a:lnTo>
                    <a:lnTo>
                      <a:pt x="584" y="344"/>
                    </a:lnTo>
                    <a:lnTo>
                      <a:pt x="584" y="348"/>
                    </a:lnTo>
                    <a:lnTo>
                      <a:pt x="580" y="352"/>
                    </a:lnTo>
                    <a:lnTo>
                      <a:pt x="574" y="356"/>
                    </a:lnTo>
                    <a:lnTo>
                      <a:pt x="568" y="356"/>
                    </a:lnTo>
                    <a:lnTo>
                      <a:pt x="558" y="356"/>
                    </a:lnTo>
                    <a:lnTo>
                      <a:pt x="558" y="356"/>
                    </a:lnTo>
                    <a:lnTo>
                      <a:pt x="550" y="358"/>
                    </a:lnTo>
                    <a:lnTo>
                      <a:pt x="542" y="360"/>
                    </a:lnTo>
                    <a:lnTo>
                      <a:pt x="538" y="366"/>
                    </a:lnTo>
                    <a:lnTo>
                      <a:pt x="538" y="370"/>
                    </a:lnTo>
                    <a:lnTo>
                      <a:pt x="538" y="376"/>
                    </a:lnTo>
                    <a:lnTo>
                      <a:pt x="544" y="378"/>
                    </a:lnTo>
                    <a:lnTo>
                      <a:pt x="550" y="380"/>
                    </a:lnTo>
                    <a:lnTo>
                      <a:pt x="562" y="378"/>
                    </a:lnTo>
                    <a:lnTo>
                      <a:pt x="562" y="378"/>
                    </a:lnTo>
                    <a:lnTo>
                      <a:pt x="576" y="374"/>
                    </a:lnTo>
                    <a:lnTo>
                      <a:pt x="590" y="374"/>
                    </a:lnTo>
                    <a:lnTo>
                      <a:pt x="606" y="376"/>
                    </a:lnTo>
                    <a:lnTo>
                      <a:pt x="618" y="380"/>
                    </a:lnTo>
                    <a:lnTo>
                      <a:pt x="630" y="384"/>
                    </a:lnTo>
                    <a:lnTo>
                      <a:pt x="640" y="390"/>
                    </a:lnTo>
                    <a:lnTo>
                      <a:pt x="648" y="396"/>
                    </a:lnTo>
                    <a:lnTo>
                      <a:pt x="654" y="402"/>
                    </a:lnTo>
                    <a:lnTo>
                      <a:pt x="654" y="402"/>
                    </a:lnTo>
                    <a:lnTo>
                      <a:pt x="656" y="406"/>
                    </a:lnTo>
                    <a:lnTo>
                      <a:pt x="662" y="408"/>
                    </a:lnTo>
                    <a:lnTo>
                      <a:pt x="674" y="414"/>
                    </a:lnTo>
                    <a:lnTo>
                      <a:pt x="682" y="416"/>
                    </a:lnTo>
                    <a:lnTo>
                      <a:pt x="688" y="420"/>
                    </a:lnTo>
                    <a:lnTo>
                      <a:pt x="692" y="428"/>
                    </a:lnTo>
                    <a:lnTo>
                      <a:pt x="696" y="438"/>
                    </a:lnTo>
                    <a:lnTo>
                      <a:pt x="696" y="438"/>
                    </a:lnTo>
                    <a:lnTo>
                      <a:pt x="698" y="450"/>
                    </a:lnTo>
                    <a:lnTo>
                      <a:pt x="704" y="460"/>
                    </a:lnTo>
                    <a:lnTo>
                      <a:pt x="712" y="474"/>
                    </a:lnTo>
                    <a:lnTo>
                      <a:pt x="716" y="480"/>
                    </a:lnTo>
                    <a:lnTo>
                      <a:pt x="718" y="486"/>
                    </a:lnTo>
                    <a:lnTo>
                      <a:pt x="716" y="490"/>
                    </a:lnTo>
                    <a:lnTo>
                      <a:pt x="710" y="494"/>
                    </a:lnTo>
                    <a:lnTo>
                      <a:pt x="710" y="494"/>
                    </a:lnTo>
                    <a:lnTo>
                      <a:pt x="696" y="504"/>
                    </a:lnTo>
                    <a:lnTo>
                      <a:pt x="682" y="518"/>
                    </a:lnTo>
                    <a:lnTo>
                      <a:pt x="668" y="532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44" y="554"/>
                    </a:lnTo>
                    <a:lnTo>
                      <a:pt x="640" y="558"/>
                    </a:lnTo>
                    <a:lnTo>
                      <a:pt x="640" y="564"/>
                    </a:lnTo>
                    <a:lnTo>
                      <a:pt x="642" y="570"/>
                    </a:lnTo>
                    <a:lnTo>
                      <a:pt x="646" y="580"/>
                    </a:lnTo>
                    <a:lnTo>
                      <a:pt x="654" y="590"/>
                    </a:lnTo>
                    <a:lnTo>
                      <a:pt x="666" y="604"/>
                    </a:lnTo>
                    <a:lnTo>
                      <a:pt x="666" y="606"/>
                    </a:lnTo>
                    <a:lnTo>
                      <a:pt x="666" y="608"/>
                    </a:lnTo>
                    <a:lnTo>
                      <a:pt x="656" y="606"/>
                    </a:lnTo>
                    <a:lnTo>
                      <a:pt x="656" y="606"/>
                    </a:lnTo>
                    <a:lnTo>
                      <a:pt x="646" y="602"/>
                    </a:lnTo>
                    <a:lnTo>
                      <a:pt x="636" y="604"/>
                    </a:lnTo>
                    <a:lnTo>
                      <a:pt x="628" y="608"/>
                    </a:lnTo>
                    <a:lnTo>
                      <a:pt x="620" y="612"/>
                    </a:lnTo>
                    <a:lnTo>
                      <a:pt x="608" y="616"/>
                    </a:lnTo>
                    <a:lnTo>
                      <a:pt x="594" y="620"/>
                    </a:lnTo>
                    <a:lnTo>
                      <a:pt x="576" y="620"/>
                    </a:lnTo>
                    <a:lnTo>
                      <a:pt x="552" y="614"/>
                    </a:lnTo>
                    <a:lnTo>
                      <a:pt x="552" y="614"/>
                    </a:lnTo>
                    <a:lnTo>
                      <a:pt x="528" y="610"/>
                    </a:lnTo>
                    <a:lnTo>
                      <a:pt x="516" y="608"/>
                    </a:lnTo>
                    <a:lnTo>
                      <a:pt x="510" y="608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0" y="624"/>
                    </a:lnTo>
                    <a:lnTo>
                      <a:pt x="504" y="630"/>
                    </a:lnTo>
                    <a:lnTo>
                      <a:pt x="494" y="638"/>
                    </a:lnTo>
                    <a:lnTo>
                      <a:pt x="494" y="638"/>
                    </a:lnTo>
                    <a:lnTo>
                      <a:pt x="488" y="642"/>
                    </a:lnTo>
                    <a:lnTo>
                      <a:pt x="484" y="648"/>
                    </a:lnTo>
                    <a:lnTo>
                      <a:pt x="482" y="652"/>
                    </a:lnTo>
                    <a:lnTo>
                      <a:pt x="480" y="658"/>
                    </a:lnTo>
                    <a:lnTo>
                      <a:pt x="482" y="664"/>
                    </a:lnTo>
                    <a:lnTo>
                      <a:pt x="484" y="668"/>
                    </a:lnTo>
                    <a:lnTo>
                      <a:pt x="494" y="678"/>
                    </a:lnTo>
                    <a:lnTo>
                      <a:pt x="506" y="686"/>
                    </a:lnTo>
                    <a:lnTo>
                      <a:pt x="514" y="688"/>
                    </a:lnTo>
                    <a:lnTo>
                      <a:pt x="522" y="690"/>
                    </a:lnTo>
                    <a:lnTo>
                      <a:pt x="532" y="690"/>
                    </a:lnTo>
                    <a:lnTo>
                      <a:pt x="542" y="690"/>
                    </a:lnTo>
                    <a:lnTo>
                      <a:pt x="552" y="686"/>
                    </a:lnTo>
                    <a:lnTo>
                      <a:pt x="562" y="682"/>
                    </a:lnTo>
                    <a:lnTo>
                      <a:pt x="562" y="682"/>
                    </a:lnTo>
                    <a:lnTo>
                      <a:pt x="580" y="676"/>
                    </a:lnTo>
                    <a:lnTo>
                      <a:pt x="592" y="674"/>
                    </a:lnTo>
                    <a:lnTo>
                      <a:pt x="602" y="676"/>
                    </a:lnTo>
                    <a:lnTo>
                      <a:pt x="608" y="680"/>
                    </a:lnTo>
                    <a:lnTo>
                      <a:pt x="612" y="684"/>
                    </a:lnTo>
                    <a:lnTo>
                      <a:pt x="616" y="688"/>
                    </a:lnTo>
                    <a:lnTo>
                      <a:pt x="622" y="686"/>
                    </a:lnTo>
                    <a:lnTo>
                      <a:pt x="628" y="680"/>
                    </a:lnTo>
                    <a:lnTo>
                      <a:pt x="628" y="680"/>
                    </a:lnTo>
                    <a:lnTo>
                      <a:pt x="634" y="674"/>
                    </a:lnTo>
                    <a:lnTo>
                      <a:pt x="640" y="674"/>
                    </a:lnTo>
                    <a:lnTo>
                      <a:pt x="642" y="676"/>
                    </a:lnTo>
                    <a:lnTo>
                      <a:pt x="644" y="680"/>
                    </a:lnTo>
                    <a:lnTo>
                      <a:pt x="646" y="688"/>
                    </a:lnTo>
                    <a:lnTo>
                      <a:pt x="648" y="690"/>
                    </a:lnTo>
                    <a:lnTo>
                      <a:pt x="650" y="686"/>
                    </a:lnTo>
                    <a:lnTo>
                      <a:pt x="650" y="686"/>
                    </a:lnTo>
                    <a:lnTo>
                      <a:pt x="656" y="674"/>
                    </a:lnTo>
                    <a:lnTo>
                      <a:pt x="658" y="672"/>
                    </a:lnTo>
                    <a:lnTo>
                      <a:pt x="662" y="672"/>
                    </a:lnTo>
                    <a:lnTo>
                      <a:pt x="666" y="674"/>
                    </a:lnTo>
                    <a:lnTo>
                      <a:pt x="672" y="680"/>
                    </a:lnTo>
                    <a:lnTo>
                      <a:pt x="696" y="706"/>
                    </a:lnTo>
                    <a:lnTo>
                      <a:pt x="696" y="706"/>
                    </a:lnTo>
                    <a:lnTo>
                      <a:pt x="708" y="720"/>
                    </a:lnTo>
                    <a:lnTo>
                      <a:pt x="718" y="726"/>
                    </a:lnTo>
                    <a:lnTo>
                      <a:pt x="724" y="728"/>
                    </a:lnTo>
                    <a:lnTo>
                      <a:pt x="728" y="728"/>
                    </a:lnTo>
                    <a:lnTo>
                      <a:pt x="732" y="726"/>
                    </a:lnTo>
                    <a:lnTo>
                      <a:pt x="736" y="724"/>
                    </a:lnTo>
                    <a:lnTo>
                      <a:pt x="742" y="726"/>
                    </a:lnTo>
                    <a:lnTo>
                      <a:pt x="750" y="732"/>
                    </a:lnTo>
                    <a:lnTo>
                      <a:pt x="750" y="732"/>
                    </a:lnTo>
                    <a:lnTo>
                      <a:pt x="756" y="738"/>
                    </a:lnTo>
                    <a:lnTo>
                      <a:pt x="756" y="740"/>
                    </a:lnTo>
                    <a:lnTo>
                      <a:pt x="754" y="742"/>
                    </a:lnTo>
                    <a:lnTo>
                      <a:pt x="750" y="744"/>
                    </a:lnTo>
                    <a:lnTo>
                      <a:pt x="742" y="744"/>
                    </a:lnTo>
                    <a:lnTo>
                      <a:pt x="734" y="746"/>
                    </a:lnTo>
                    <a:lnTo>
                      <a:pt x="732" y="748"/>
                    </a:lnTo>
                    <a:lnTo>
                      <a:pt x="732" y="750"/>
                    </a:lnTo>
                    <a:lnTo>
                      <a:pt x="732" y="752"/>
                    </a:lnTo>
                    <a:lnTo>
                      <a:pt x="734" y="756"/>
                    </a:lnTo>
                    <a:lnTo>
                      <a:pt x="744" y="768"/>
                    </a:lnTo>
                    <a:lnTo>
                      <a:pt x="744" y="768"/>
                    </a:lnTo>
                    <a:lnTo>
                      <a:pt x="754" y="776"/>
                    </a:lnTo>
                    <a:lnTo>
                      <a:pt x="766" y="780"/>
                    </a:lnTo>
                    <a:lnTo>
                      <a:pt x="792" y="788"/>
                    </a:lnTo>
                    <a:lnTo>
                      <a:pt x="816" y="794"/>
                    </a:lnTo>
                    <a:lnTo>
                      <a:pt x="826" y="798"/>
                    </a:lnTo>
                    <a:lnTo>
                      <a:pt x="834" y="804"/>
                    </a:lnTo>
                    <a:lnTo>
                      <a:pt x="834" y="804"/>
                    </a:lnTo>
                    <a:lnTo>
                      <a:pt x="842" y="812"/>
                    </a:lnTo>
                    <a:lnTo>
                      <a:pt x="854" y="818"/>
                    </a:lnTo>
                    <a:lnTo>
                      <a:pt x="868" y="824"/>
                    </a:lnTo>
                    <a:lnTo>
                      <a:pt x="882" y="828"/>
                    </a:lnTo>
                    <a:lnTo>
                      <a:pt x="916" y="836"/>
                    </a:lnTo>
                    <a:lnTo>
                      <a:pt x="948" y="846"/>
                    </a:lnTo>
                    <a:lnTo>
                      <a:pt x="948" y="846"/>
                    </a:lnTo>
                    <a:lnTo>
                      <a:pt x="962" y="850"/>
                    </a:lnTo>
                    <a:lnTo>
                      <a:pt x="970" y="850"/>
                    </a:lnTo>
                    <a:lnTo>
                      <a:pt x="972" y="848"/>
                    </a:lnTo>
                    <a:lnTo>
                      <a:pt x="974" y="846"/>
                    </a:lnTo>
                    <a:lnTo>
                      <a:pt x="974" y="840"/>
                    </a:lnTo>
                    <a:lnTo>
                      <a:pt x="972" y="832"/>
                    </a:lnTo>
                    <a:lnTo>
                      <a:pt x="966" y="822"/>
                    </a:lnTo>
                    <a:lnTo>
                      <a:pt x="958" y="812"/>
                    </a:lnTo>
                    <a:lnTo>
                      <a:pt x="948" y="802"/>
                    </a:lnTo>
                    <a:lnTo>
                      <a:pt x="948" y="802"/>
                    </a:lnTo>
                    <a:lnTo>
                      <a:pt x="936" y="792"/>
                    </a:lnTo>
                    <a:lnTo>
                      <a:pt x="920" y="780"/>
                    </a:lnTo>
                    <a:lnTo>
                      <a:pt x="888" y="758"/>
                    </a:lnTo>
                    <a:lnTo>
                      <a:pt x="872" y="748"/>
                    </a:lnTo>
                    <a:lnTo>
                      <a:pt x="862" y="738"/>
                    </a:lnTo>
                    <a:lnTo>
                      <a:pt x="854" y="732"/>
                    </a:lnTo>
                    <a:lnTo>
                      <a:pt x="854" y="728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8" y="722"/>
                    </a:lnTo>
                    <a:lnTo>
                      <a:pt x="864" y="724"/>
                    </a:lnTo>
                    <a:lnTo>
                      <a:pt x="880" y="736"/>
                    </a:lnTo>
                    <a:lnTo>
                      <a:pt x="894" y="748"/>
                    </a:lnTo>
                    <a:lnTo>
                      <a:pt x="900" y="748"/>
                    </a:lnTo>
                    <a:lnTo>
                      <a:pt x="902" y="748"/>
                    </a:lnTo>
                    <a:lnTo>
                      <a:pt x="902" y="746"/>
                    </a:lnTo>
                    <a:lnTo>
                      <a:pt x="902" y="746"/>
                    </a:lnTo>
                    <a:lnTo>
                      <a:pt x="902" y="742"/>
                    </a:lnTo>
                    <a:lnTo>
                      <a:pt x="904" y="742"/>
                    </a:lnTo>
                    <a:lnTo>
                      <a:pt x="908" y="744"/>
                    </a:lnTo>
                    <a:lnTo>
                      <a:pt x="924" y="754"/>
                    </a:lnTo>
                    <a:lnTo>
                      <a:pt x="932" y="762"/>
                    </a:lnTo>
                    <a:lnTo>
                      <a:pt x="944" y="770"/>
                    </a:lnTo>
                    <a:lnTo>
                      <a:pt x="956" y="776"/>
                    </a:lnTo>
                    <a:lnTo>
                      <a:pt x="968" y="778"/>
                    </a:lnTo>
                    <a:lnTo>
                      <a:pt x="968" y="778"/>
                    </a:lnTo>
                    <a:lnTo>
                      <a:pt x="980" y="782"/>
                    </a:lnTo>
                    <a:lnTo>
                      <a:pt x="990" y="788"/>
                    </a:lnTo>
                    <a:lnTo>
                      <a:pt x="998" y="798"/>
                    </a:lnTo>
                    <a:lnTo>
                      <a:pt x="1004" y="806"/>
                    </a:lnTo>
                    <a:lnTo>
                      <a:pt x="1010" y="812"/>
                    </a:lnTo>
                    <a:lnTo>
                      <a:pt x="1012" y="814"/>
                    </a:lnTo>
                    <a:lnTo>
                      <a:pt x="1014" y="812"/>
                    </a:lnTo>
                    <a:lnTo>
                      <a:pt x="1012" y="802"/>
                    </a:lnTo>
                    <a:lnTo>
                      <a:pt x="1012" y="802"/>
                    </a:lnTo>
                    <a:lnTo>
                      <a:pt x="1012" y="792"/>
                    </a:lnTo>
                    <a:lnTo>
                      <a:pt x="1012" y="788"/>
                    </a:lnTo>
                    <a:lnTo>
                      <a:pt x="1014" y="788"/>
                    </a:lnTo>
                    <a:lnTo>
                      <a:pt x="1016" y="788"/>
                    </a:lnTo>
                    <a:lnTo>
                      <a:pt x="1018" y="788"/>
                    </a:lnTo>
                    <a:lnTo>
                      <a:pt x="1020" y="786"/>
                    </a:lnTo>
                    <a:lnTo>
                      <a:pt x="1020" y="780"/>
                    </a:lnTo>
                    <a:lnTo>
                      <a:pt x="1018" y="766"/>
                    </a:lnTo>
                    <a:lnTo>
                      <a:pt x="1018" y="766"/>
                    </a:lnTo>
                    <a:lnTo>
                      <a:pt x="1016" y="750"/>
                    </a:lnTo>
                    <a:lnTo>
                      <a:pt x="1018" y="752"/>
                    </a:lnTo>
                    <a:lnTo>
                      <a:pt x="1020" y="754"/>
                    </a:lnTo>
                    <a:lnTo>
                      <a:pt x="1022" y="758"/>
                    </a:lnTo>
                    <a:lnTo>
                      <a:pt x="1026" y="760"/>
                    </a:lnTo>
                    <a:lnTo>
                      <a:pt x="1028" y="756"/>
                    </a:lnTo>
                    <a:lnTo>
                      <a:pt x="1032" y="746"/>
                    </a:lnTo>
                    <a:lnTo>
                      <a:pt x="1032" y="746"/>
                    </a:lnTo>
                    <a:lnTo>
                      <a:pt x="1032" y="734"/>
                    </a:lnTo>
                    <a:lnTo>
                      <a:pt x="1030" y="728"/>
                    </a:lnTo>
                    <a:lnTo>
                      <a:pt x="1026" y="724"/>
                    </a:lnTo>
                    <a:lnTo>
                      <a:pt x="1022" y="724"/>
                    </a:lnTo>
                    <a:lnTo>
                      <a:pt x="1018" y="722"/>
                    </a:lnTo>
                    <a:lnTo>
                      <a:pt x="1014" y="722"/>
                    </a:lnTo>
                    <a:lnTo>
                      <a:pt x="1014" y="720"/>
                    </a:lnTo>
                    <a:lnTo>
                      <a:pt x="1018" y="714"/>
                    </a:lnTo>
                    <a:lnTo>
                      <a:pt x="1018" y="714"/>
                    </a:lnTo>
                    <a:lnTo>
                      <a:pt x="1022" y="708"/>
                    </a:lnTo>
                    <a:lnTo>
                      <a:pt x="1020" y="704"/>
                    </a:lnTo>
                    <a:lnTo>
                      <a:pt x="1016" y="702"/>
                    </a:lnTo>
                    <a:lnTo>
                      <a:pt x="1012" y="700"/>
                    </a:lnTo>
                    <a:lnTo>
                      <a:pt x="1006" y="700"/>
                    </a:lnTo>
                    <a:lnTo>
                      <a:pt x="1000" y="698"/>
                    </a:lnTo>
                    <a:lnTo>
                      <a:pt x="1000" y="694"/>
                    </a:lnTo>
                    <a:lnTo>
                      <a:pt x="1002" y="688"/>
                    </a:lnTo>
                    <a:lnTo>
                      <a:pt x="1002" y="688"/>
                    </a:lnTo>
                    <a:lnTo>
                      <a:pt x="1006" y="682"/>
                    </a:lnTo>
                    <a:lnTo>
                      <a:pt x="1010" y="676"/>
                    </a:lnTo>
                    <a:lnTo>
                      <a:pt x="1008" y="672"/>
                    </a:lnTo>
                    <a:lnTo>
                      <a:pt x="1006" y="668"/>
                    </a:lnTo>
                    <a:lnTo>
                      <a:pt x="1000" y="664"/>
                    </a:lnTo>
                    <a:lnTo>
                      <a:pt x="992" y="660"/>
                    </a:lnTo>
                    <a:lnTo>
                      <a:pt x="966" y="648"/>
                    </a:lnTo>
                    <a:lnTo>
                      <a:pt x="966" y="648"/>
                    </a:lnTo>
                    <a:lnTo>
                      <a:pt x="952" y="642"/>
                    </a:lnTo>
                    <a:lnTo>
                      <a:pt x="942" y="632"/>
                    </a:lnTo>
                    <a:lnTo>
                      <a:pt x="936" y="622"/>
                    </a:lnTo>
                    <a:lnTo>
                      <a:pt x="930" y="612"/>
                    </a:lnTo>
                    <a:lnTo>
                      <a:pt x="928" y="602"/>
                    </a:lnTo>
                    <a:lnTo>
                      <a:pt x="924" y="596"/>
                    </a:lnTo>
                    <a:lnTo>
                      <a:pt x="918" y="592"/>
                    </a:lnTo>
                    <a:lnTo>
                      <a:pt x="912" y="592"/>
                    </a:lnTo>
                    <a:lnTo>
                      <a:pt x="912" y="592"/>
                    </a:lnTo>
                    <a:lnTo>
                      <a:pt x="904" y="594"/>
                    </a:lnTo>
                    <a:lnTo>
                      <a:pt x="896" y="594"/>
                    </a:lnTo>
                    <a:lnTo>
                      <a:pt x="892" y="592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4" y="584"/>
                    </a:lnTo>
                    <a:lnTo>
                      <a:pt x="900" y="580"/>
                    </a:lnTo>
                    <a:lnTo>
                      <a:pt x="908" y="578"/>
                    </a:lnTo>
                    <a:lnTo>
                      <a:pt x="908" y="578"/>
                    </a:lnTo>
                    <a:lnTo>
                      <a:pt x="912" y="576"/>
                    </a:lnTo>
                    <a:lnTo>
                      <a:pt x="916" y="576"/>
                    </a:lnTo>
                    <a:lnTo>
                      <a:pt x="916" y="572"/>
                    </a:lnTo>
                    <a:lnTo>
                      <a:pt x="916" y="570"/>
                    </a:lnTo>
                    <a:lnTo>
                      <a:pt x="914" y="564"/>
                    </a:lnTo>
                    <a:lnTo>
                      <a:pt x="910" y="556"/>
                    </a:lnTo>
                    <a:lnTo>
                      <a:pt x="902" y="546"/>
                    </a:lnTo>
                    <a:lnTo>
                      <a:pt x="902" y="544"/>
                    </a:lnTo>
                    <a:lnTo>
                      <a:pt x="904" y="544"/>
                    </a:lnTo>
                    <a:lnTo>
                      <a:pt x="910" y="546"/>
                    </a:lnTo>
                    <a:lnTo>
                      <a:pt x="910" y="546"/>
                    </a:lnTo>
                    <a:lnTo>
                      <a:pt x="918" y="548"/>
                    </a:lnTo>
                    <a:lnTo>
                      <a:pt x="924" y="546"/>
                    </a:lnTo>
                    <a:lnTo>
                      <a:pt x="928" y="542"/>
                    </a:lnTo>
                    <a:lnTo>
                      <a:pt x="930" y="538"/>
                    </a:lnTo>
                    <a:lnTo>
                      <a:pt x="932" y="536"/>
                    </a:lnTo>
                    <a:lnTo>
                      <a:pt x="934" y="534"/>
                    </a:lnTo>
                    <a:lnTo>
                      <a:pt x="938" y="536"/>
                    </a:lnTo>
                    <a:lnTo>
                      <a:pt x="942" y="544"/>
                    </a:lnTo>
                    <a:lnTo>
                      <a:pt x="942" y="544"/>
                    </a:lnTo>
                    <a:lnTo>
                      <a:pt x="950" y="552"/>
                    </a:lnTo>
                    <a:lnTo>
                      <a:pt x="954" y="556"/>
                    </a:lnTo>
                    <a:lnTo>
                      <a:pt x="958" y="558"/>
                    </a:lnTo>
                    <a:lnTo>
                      <a:pt x="962" y="558"/>
                    </a:lnTo>
                    <a:lnTo>
                      <a:pt x="968" y="560"/>
                    </a:lnTo>
                    <a:lnTo>
                      <a:pt x="972" y="562"/>
                    </a:lnTo>
                    <a:lnTo>
                      <a:pt x="974" y="568"/>
                    </a:lnTo>
                    <a:lnTo>
                      <a:pt x="974" y="568"/>
                    </a:lnTo>
                    <a:lnTo>
                      <a:pt x="976" y="574"/>
                    </a:lnTo>
                    <a:lnTo>
                      <a:pt x="980" y="576"/>
                    </a:lnTo>
                    <a:lnTo>
                      <a:pt x="986" y="580"/>
                    </a:lnTo>
                    <a:lnTo>
                      <a:pt x="990" y="580"/>
                    </a:lnTo>
                    <a:lnTo>
                      <a:pt x="992" y="582"/>
                    </a:lnTo>
                    <a:lnTo>
                      <a:pt x="994" y="586"/>
                    </a:lnTo>
                    <a:lnTo>
                      <a:pt x="994" y="592"/>
                    </a:lnTo>
                    <a:lnTo>
                      <a:pt x="994" y="592"/>
                    </a:lnTo>
                    <a:lnTo>
                      <a:pt x="994" y="596"/>
                    </a:lnTo>
                    <a:lnTo>
                      <a:pt x="996" y="600"/>
                    </a:lnTo>
                    <a:lnTo>
                      <a:pt x="1008" y="614"/>
                    </a:lnTo>
                    <a:lnTo>
                      <a:pt x="1022" y="626"/>
                    </a:lnTo>
                    <a:lnTo>
                      <a:pt x="1040" y="638"/>
                    </a:lnTo>
                    <a:lnTo>
                      <a:pt x="1056" y="646"/>
                    </a:lnTo>
                    <a:lnTo>
                      <a:pt x="1064" y="648"/>
                    </a:lnTo>
                    <a:lnTo>
                      <a:pt x="1070" y="648"/>
                    </a:lnTo>
                    <a:lnTo>
                      <a:pt x="1074" y="646"/>
                    </a:lnTo>
                    <a:lnTo>
                      <a:pt x="1078" y="642"/>
                    </a:lnTo>
                    <a:lnTo>
                      <a:pt x="1080" y="636"/>
                    </a:lnTo>
                    <a:lnTo>
                      <a:pt x="1078" y="628"/>
                    </a:lnTo>
                    <a:lnTo>
                      <a:pt x="1078" y="628"/>
                    </a:lnTo>
                    <a:lnTo>
                      <a:pt x="1078" y="618"/>
                    </a:lnTo>
                    <a:lnTo>
                      <a:pt x="1078" y="612"/>
                    </a:lnTo>
                    <a:lnTo>
                      <a:pt x="1080" y="606"/>
                    </a:lnTo>
                    <a:lnTo>
                      <a:pt x="1082" y="602"/>
                    </a:lnTo>
                    <a:lnTo>
                      <a:pt x="1086" y="600"/>
                    </a:lnTo>
                    <a:lnTo>
                      <a:pt x="1092" y="598"/>
                    </a:lnTo>
                    <a:lnTo>
                      <a:pt x="1102" y="596"/>
                    </a:lnTo>
                    <a:lnTo>
                      <a:pt x="1118" y="598"/>
                    </a:lnTo>
                    <a:lnTo>
                      <a:pt x="1122" y="596"/>
                    </a:lnTo>
                    <a:lnTo>
                      <a:pt x="1122" y="596"/>
                    </a:lnTo>
                    <a:lnTo>
                      <a:pt x="1122" y="592"/>
                    </a:lnTo>
                    <a:lnTo>
                      <a:pt x="1122" y="588"/>
                    </a:lnTo>
                    <a:lnTo>
                      <a:pt x="1122" y="588"/>
                    </a:lnTo>
                    <a:lnTo>
                      <a:pt x="1118" y="582"/>
                    </a:lnTo>
                    <a:lnTo>
                      <a:pt x="1118" y="576"/>
                    </a:lnTo>
                    <a:lnTo>
                      <a:pt x="1120" y="574"/>
                    </a:lnTo>
                    <a:lnTo>
                      <a:pt x="1122" y="574"/>
                    </a:lnTo>
                    <a:lnTo>
                      <a:pt x="1128" y="570"/>
                    </a:lnTo>
                    <a:lnTo>
                      <a:pt x="1128" y="568"/>
                    </a:lnTo>
                    <a:lnTo>
                      <a:pt x="1126" y="564"/>
                    </a:lnTo>
                    <a:lnTo>
                      <a:pt x="1126" y="564"/>
                    </a:lnTo>
                    <a:lnTo>
                      <a:pt x="1126" y="560"/>
                    </a:lnTo>
                    <a:lnTo>
                      <a:pt x="1126" y="558"/>
                    </a:lnTo>
                    <a:lnTo>
                      <a:pt x="1130" y="554"/>
                    </a:lnTo>
                    <a:lnTo>
                      <a:pt x="1144" y="548"/>
                    </a:lnTo>
                    <a:lnTo>
                      <a:pt x="1150" y="544"/>
                    </a:lnTo>
                    <a:lnTo>
                      <a:pt x="1154" y="536"/>
                    </a:lnTo>
                    <a:lnTo>
                      <a:pt x="1156" y="532"/>
                    </a:lnTo>
                    <a:lnTo>
                      <a:pt x="1154" y="528"/>
                    </a:lnTo>
                    <a:lnTo>
                      <a:pt x="1148" y="514"/>
                    </a:lnTo>
                    <a:lnTo>
                      <a:pt x="1148" y="5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2" name="Freeform 6089">
                <a:extLst>
                  <a:ext uri="{FF2B5EF4-FFF2-40B4-BE49-F238E27FC236}">
                    <a16:creationId xmlns:a16="http://schemas.microsoft.com/office/drawing/2014/main" id="{724A2BAA-E6DD-4053-89A1-E4D4DADBFB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1770" y="1751013"/>
                <a:ext cx="20320" cy="1524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8" y="18"/>
                  </a:cxn>
                  <a:cxn ang="0">
                    <a:pos x="14" y="22"/>
                  </a:cxn>
                  <a:cxn ang="0">
                    <a:pos x="20" y="24"/>
                  </a:cxn>
                  <a:cxn ang="0">
                    <a:pos x="26" y="24"/>
                  </a:cxn>
                  <a:cxn ang="0">
                    <a:pos x="30" y="22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2" y="12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32" h="24">
                    <a:moveTo>
                      <a:pt x="6" y="0"/>
                    </a:move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8" y="18"/>
                    </a:lnTo>
                    <a:lnTo>
                      <a:pt x="14" y="22"/>
                    </a:lnTo>
                    <a:lnTo>
                      <a:pt x="20" y="24"/>
                    </a:lnTo>
                    <a:lnTo>
                      <a:pt x="26" y="24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2" y="12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3" name="Freeform 6091">
                <a:extLst>
                  <a:ext uri="{FF2B5EF4-FFF2-40B4-BE49-F238E27FC236}">
                    <a16:creationId xmlns:a16="http://schemas.microsoft.com/office/drawing/2014/main" id="{7DDF8C05-4B3E-4366-B0B7-9B7FA9A5E1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6840" y="1799273"/>
                <a:ext cx="13970" cy="15240"/>
              </a:xfrm>
              <a:custGeom>
                <a:avLst/>
                <a:gdLst/>
                <a:ahLst/>
                <a:cxnLst>
                  <a:cxn ang="0">
                    <a:pos x="4" y="24"/>
                  </a:cxn>
                  <a:cxn ang="0">
                    <a:pos x="4" y="24"/>
                  </a:cxn>
                  <a:cxn ang="0">
                    <a:pos x="12" y="22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4" y="24"/>
                  </a:cxn>
                </a:cxnLst>
                <a:rect l="0" t="0" r="r" b="b"/>
                <a:pathLst>
                  <a:path w="22" h="24">
                    <a:moveTo>
                      <a:pt x="4" y="24"/>
                    </a:moveTo>
                    <a:lnTo>
                      <a:pt x="4" y="24"/>
                    </a:lnTo>
                    <a:lnTo>
                      <a:pt x="12" y="22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4" y="2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4" name="Freeform 6092">
                <a:extLst>
                  <a:ext uri="{FF2B5EF4-FFF2-40B4-BE49-F238E27FC236}">
                    <a16:creationId xmlns:a16="http://schemas.microsoft.com/office/drawing/2014/main" id="{9A2F4577-367D-4838-9FE9-67E2BD0B93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040" y="1724343"/>
                <a:ext cx="22860" cy="34290"/>
              </a:xfrm>
              <a:custGeom>
                <a:avLst/>
                <a:gdLst/>
                <a:ahLst/>
                <a:cxnLst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0"/>
                  </a:cxn>
                  <a:cxn ang="0">
                    <a:pos x="30" y="42"/>
                  </a:cxn>
                  <a:cxn ang="0">
                    <a:pos x="34" y="32"/>
                  </a:cxn>
                  <a:cxn ang="0">
                    <a:pos x="36" y="22"/>
                  </a:cxn>
                  <a:cxn ang="0">
                    <a:pos x="36" y="12"/>
                  </a:cxn>
                  <a:cxn ang="0">
                    <a:pos x="34" y="4"/>
                  </a:cxn>
                  <a:cxn ang="0">
                    <a:pos x="32" y="2"/>
                  </a:cxn>
                  <a:cxn ang="0">
                    <a:pos x="28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8" y="48"/>
                  </a:cxn>
                  <a:cxn ang="0">
                    <a:pos x="14" y="52"/>
                  </a:cxn>
                  <a:cxn ang="0">
                    <a:pos x="20" y="54"/>
                  </a:cxn>
                  <a:cxn ang="0">
                    <a:pos x="20" y="54"/>
                  </a:cxn>
                </a:cxnLst>
                <a:rect l="0" t="0" r="r" b="b"/>
                <a:pathLst>
                  <a:path w="36" h="54">
                    <a:moveTo>
                      <a:pt x="20" y="54"/>
                    </a:moveTo>
                    <a:lnTo>
                      <a:pt x="20" y="54"/>
                    </a:lnTo>
                    <a:lnTo>
                      <a:pt x="26" y="50"/>
                    </a:lnTo>
                    <a:lnTo>
                      <a:pt x="30" y="42"/>
                    </a:lnTo>
                    <a:lnTo>
                      <a:pt x="34" y="32"/>
                    </a:lnTo>
                    <a:lnTo>
                      <a:pt x="36" y="22"/>
                    </a:lnTo>
                    <a:lnTo>
                      <a:pt x="36" y="12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8" y="48"/>
                    </a:lnTo>
                    <a:lnTo>
                      <a:pt x="14" y="52"/>
                    </a:lnTo>
                    <a:lnTo>
                      <a:pt x="20" y="54"/>
                    </a:lnTo>
                    <a:lnTo>
                      <a:pt x="20" y="5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5" name="Freeform 6094">
                <a:extLst>
                  <a:ext uri="{FF2B5EF4-FFF2-40B4-BE49-F238E27FC236}">
                    <a16:creationId xmlns:a16="http://schemas.microsoft.com/office/drawing/2014/main" id="{D4CE2411-8610-45D7-9822-149355E301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8240" y="1463993"/>
                <a:ext cx="59690" cy="48260"/>
              </a:xfrm>
              <a:custGeom>
                <a:avLst/>
                <a:gdLst/>
                <a:ahLst/>
                <a:cxnLst>
                  <a:cxn ang="0">
                    <a:pos x="8" y="26"/>
                  </a:cxn>
                  <a:cxn ang="0">
                    <a:pos x="8" y="26"/>
                  </a:cxn>
                  <a:cxn ang="0">
                    <a:pos x="4" y="36"/>
                  </a:cxn>
                  <a:cxn ang="0">
                    <a:pos x="0" y="46"/>
                  </a:cxn>
                  <a:cxn ang="0">
                    <a:pos x="0" y="56"/>
                  </a:cxn>
                  <a:cxn ang="0">
                    <a:pos x="2" y="64"/>
                  </a:cxn>
                  <a:cxn ang="0">
                    <a:pos x="8" y="70"/>
                  </a:cxn>
                  <a:cxn ang="0">
                    <a:pos x="18" y="74"/>
                  </a:cxn>
                  <a:cxn ang="0">
                    <a:pos x="34" y="76"/>
                  </a:cxn>
                  <a:cxn ang="0">
                    <a:pos x="54" y="76"/>
                  </a:cxn>
                  <a:cxn ang="0">
                    <a:pos x="54" y="76"/>
                  </a:cxn>
                  <a:cxn ang="0">
                    <a:pos x="72" y="74"/>
                  </a:cxn>
                  <a:cxn ang="0">
                    <a:pos x="84" y="70"/>
                  </a:cxn>
                  <a:cxn ang="0">
                    <a:pos x="90" y="64"/>
                  </a:cxn>
                  <a:cxn ang="0">
                    <a:pos x="94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92" y="22"/>
                  </a:cxn>
                  <a:cxn ang="0">
                    <a:pos x="92" y="22"/>
                  </a:cxn>
                  <a:cxn ang="0">
                    <a:pos x="92" y="18"/>
                  </a:cxn>
                  <a:cxn ang="0">
                    <a:pos x="90" y="14"/>
                  </a:cxn>
                  <a:cxn ang="0">
                    <a:pos x="88" y="10"/>
                  </a:cxn>
                  <a:cxn ang="0">
                    <a:pos x="84" y="6"/>
                  </a:cxn>
                  <a:cxn ang="0">
                    <a:pos x="74" y="2"/>
                  </a:cxn>
                  <a:cxn ang="0">
                    <a:pos x="60" y="0"/>
                  </a:cxn>
                  <a:cxn ang="0">
                    <a:pos x="46" y="2"/>
                  </a:cxn>
                  <a:cxn ang="0">
                    <a:pos x="32" y="6"/>
                  </a:cxn>
                  <a:cxn ang="0">
                    <a:pos x="18" y="14"/>
                  </a:cxn>
                  <a:cxn ang="0">
                    <a:pos x="14" y="20"/>
                  </a:cxn>
                  <a:cxn ang="0">
                    <a:pos x="8" y="26"/>
                  </a:cxn>
                  <a:cxn ang="0">
                    <a:pos x="8" y="26"/>
                  </a:cxn>
                </a:cxnLst>
                <a:rect l="0" t="0" r="r" b="b"/>
                <a:pathLst>
                  <a:path w="94" h="76">
                    <a:moveTo>
                      <a:pt x="8" y="26"/>
                    </a:moveTo>
                    <a:lnTo>
                      <a:pt x="8" y="26"/>
                    </a:lnTo>
                    <a:lnTo>
                      <a:pt x="4" y="36"/>
                    </a:lnTo>
                    <a:lnTo>
                      <a:pt x="0" y="46"/>
                    </a:lnTo>
                    <a:lnTo>
                      <a:pt x="0" y="56"/>
                    </a:lnTo>
                    <a:lnTo>
                      <a:pt x="2" y="64"/>
                    </a:lnTo>
                    <a:lnTo>
                      <a:pt x="8" y="70"/>
                    </a:lnTo>
                    <a:lnTo>
                      <a:pt x="18" y="74"/>
                    </a:lnTo>
                    <a:lnTo>
                      <a:pt x="34" y="76"/>
                    </a:lnTo>
                    <a:lnTo>
                      <a:pt x="54" y="76"/>
                    </a:lnTo>
                    <a:lnTo>
                      <a:pt x="54" y="76"/>
                    </a:lnTo>
                    <a:lnTo>
                      <a:pt x="72" y="74"/>
                    </a:lnTo>
                    <a:lnTo>
                      <a:pt x="84" y="70"/>
                    </a:lnTo>
                    <a:lnTo>
                      <a:pt x="90" y="64"/>
                    </a:lnTo>
                    <a:lnTo>
                      <a:pt x="94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18"/>
                    </a:lnTo>
                    <a:lnTo>
                      <a:pt x="90" y="14"/>
                    </a:lnTo>
                    <a:lnTo>
                      <a:pt x="88" y="10"/>
                    </a:lnTo>
                    <a:lnTo>
                      <a:pt x="84" y="6"/>
                    </a:lnTo>
                    <a:lnTo>
                      <a:pt x="74" y="2"/>
                    </a:lnTo>
                    <a:lnTo>
                      <a:pt x="60" y="0"/>
                    </a:lnTo>
                    <a:lnTo>
                      <a:pt x="46" y="2"/>
                    </a:lnTo>
                    <a:lnTo>
                      <a:pt x="32" y="6"/>
                    </a:lnTo>
                    <a:lnTo>
                      <a:pt x="18" y="14"/>
                    </a:lnTo>
                    <a:lnTo>
                      <a:pt x="14" y="20"/>
                    </a:lnTo>
                    <a:lnTo>
                      <a:pt x="8" y="26"/>
                    </a:lnTo>
                    <a:lnTo>
                      <a:pt x="8" y="2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6" name="Freeform 6098">
                <a:extLst>
                  <a:ext uri="{FF2B5EF4-FFF2-40B4-BE49-F238E27FC236}">
                    <a16:creationId xmlns:a16="http://schemas.microsoft.com/office/drawing/2014/main" id="{09977C48-9D65-46E0-A523-3381A363B6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8780" y="1211263"/>
                <a:ext cx="63500" cy="43180"/>
              </a:xfrm>
              <a:custGeom>
                <a:avLst/>
                <a:gdLst/>
                <a:ahLst/>
                <a:cxnLst>
                  <a:cxn ang="0">
                    <a:pos x="46" y="2"/>
                  </a:cxn>
                  <a:cxn ang="0">
                    <a:pos x="46" y="2"/>
                  </a:cxn>
                  <a:cxn ang="0">
                    <a:pos x="32" y="4"/>
                  </a:cxn>
                  <a:cxn ang="0">
                    <a:pos x="20" y="6"/>
                  </a:cxn>
                  <a:cxn ang="0">
                    <a:pos x="10" y="10"/>
                  </a:cxn>
                  <a:cxn ang="0">
                    <a:pos x="4" y="12"/>
                  </a:cxn>
                  <a:cxn ang="0">
                    <a:pos x="0" y="16"/>
                  </a:cxn>
                  <a:cxn ang="0">
                    <a:pos x="0" y="20"/>
                  </a:cxn>
                  <a:cxn ang="0">
                    <a:pos x="2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20" y="28"/>
                  </a:cxn>
                  <a:cxn ang="0">
                    <a:pos x="28" y="32"/>
                  </a:cxn>
                  <a:cxn ang="0">
                    <a:pos x="32" y="36"/>
                  </a:cxn>
                  <a:cxn ang="0">
                    <a:pos x="34" y="40"/>
                  </a:cxn>
                  <a:cxn ang="0">
                    <a:pos x="34" y="40"/>
                  </a:cxn>
                  <a:cxn ang="0">
                    <a:pos x="38" y="46"/>
                  </a:cxn>
                  <a:cxn ang="0">
                    <a:pos x="44" y="50"/>
                  </a:cxn>
                  <a:cxn ang="0">
                    <a:pos x="54" y="56"/>
                  </a:cxn>
                  <a:cxn ang="0">
                    <a:pos x="64" y="66"/>
                  </a:cxn>
                  <a:cxn ang="0">
                    <a:pos x="64" y="66"/>
                  </a:cxn>
                  <a:cxn ang="0">
                    <a:pos x="68" y="68"/>
                  </a:cxn>
                  <a:cxn ang="0">
                    <a:pos x="70" y="68"/>
                  </a:cxn>
                  <a:cxn ang="0">
                    <a:pos x="70" y="66"/>
                  </a:cxn>
                  <a:cxn ang="0">
                    <a:pos x="70" y="66"/>
                  </a:cxn>
                  <a:cxn ang="0">
                    <a:pos x="70" y="62"/>
                  </a:cxn>
                  <a:cxn ang="0">
                    <a:pos x="74" y="60"/>
                  </a:cxn>
                  <a:cxn ang="0">
                    <a:pos x="80" y="56"/>
                  </a:cxn>
                  <a:cxn ang="0">
                    <a:pos x="86" y="48"/>
                  </a:cxn>
                  <a:cxn ang="0">
                    <a:pos x="86" y="48"/>
                  </a:cxn>
                  <a:cxn ang="0">
                    <a:pos x="100" y="26"/>
                  </a:cxn>
                  <a:cxn ang="0">
                    <a:pos x="100" y="20"/>
                  </a:cxn>
                  <a:cxn ang="0">
                    <a:pos x="100" y="16"/>
                  </a:cxn>
                  <a:cxn ang="0">
                    <a:pos x="98" y="14"/>
                  </a:cxn>
                  <a:cxn ang="0">
                    <a:pos x="94" y="10"/>
                  </a:cxn>
                  <a:cxn ang="0">
                    <a:pos x="94" y="10"/>
                  </a:cxn>
                  <a:cxn ang="0">
                    <a:pos x="86" y="6"/>
                  </a:cxn>
                  <a:cxn ang="0">
                    <a:pos x="80" y="2"/>
                  </a:cxn>
                  <a:cxn ang="0">
                    <a:pos x="70" y="0"/>
                  </a:cxn>
                  <a:cxn ang="0">
                    <a:pos x="46" y="2"/>
                  </a:cxn>
                  <a:cxn ang="0">
                    <a:pos x="46" y="2"/>
                  </a:cxn>
                </a:cxnLst>
                <a:rect l="0" t="0" r="r" b="b"/>
                <a:pathLst>
                  <a:path w="100" h="68">
                    <a:moveTo>
                      <a:pt x="46" y="2"/>
                    </a:moveTo>
                    <a:lnTo>
                      <a:pt x="46" y="2"/>
                    </a:lnTo>
                    <a:lnTo>
                      <a:pt x="32" y="4"/>
                    </a:lnTo>
                    <a:lnTo>
                      <a:pt x="20" y="6"/>
                    </a:lnTo>
                    <a:lnTo>
                      <a:pt x="10" y="10"/>
                    </a:lnTo>
                    <a:lnTo>
                      <a:pt x="4" y="12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20" y="28"/>
                    </a:lnTo>
                    <a:lnTo>
                      <a:pt x="28" y="32"/>
                    </a:lnTo>
                    <a:lnTo>
                      <a:pt x="32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6"/>
                    </a:lnTo>
                    <a:lnTo>
                      <a:pt x="44" y="50"/>
                    </a:lnTo>
                    <a:lnTo>
                      <a:pt x="54" y="56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8" y="68"/>
                    </a:lnTo>
                    <a:lnTo>
                      <a:pt x="70" y="68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70" y="62"/>
                    </a:lnTo>
                    <a:lnTo>
                      <a:pt x="74" y="60"/>
                    </a:lnTo>
                    <a:lnTo>
                      <a:pt x="80" y="56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100" y="26"/>
                    </a:lnTo>
                    <a:lnTo>
                      <a:pt x="100" y="20"/>
                    </a:lnTo>
                    <a:lnTo>
                      <a:pt x="100" y="16"/>
                    </a:lnTo>
                    <a:lnTo>
                      <a:pt x="98" y="14"/>
                    </a:lnTo>
                    <a:lnTo>
                      <a:pt x="94" y="10"/>
                    </a:lnTo>
                    <a:lnTo>
                      <a:pt x="94" y="10"/>
                    </a:lnTo>
                    <a:lnTo>
                      <a:pt x="86" y="6"/>
                    </a:lnTo>
                    <a:lnTo>
                      <a:pt x="80" y="2"/>
                    </a:lnTo>
                    <a:lnTo>
                      <a:pt x="70" y="0"/>
                    </a:lnTo>
                    <a:lnTo>
                      <a:pt x="46" y="2"/>
                    </a:lnTo>
                    <a:lnTo>
                      <a:pt x="4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7" name="Freeform 6099">
                <a:extLst>
                  <a:ext uri="{FF2B5EF4-FFF2-40B4-BE49-F238E27FC236}">
                    <a16:creationId xmlns:a16="http://schemas.microsoft.com/office/drawing/2014/main" id="{95AA8BB6-B041-476F-8E4D-4081911491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3550" y="1088073"/>
                <a:ext cx="48260" cy="10160"/>
              </a:xfrm>
              <a:custGeom>
                <a:avLst/>
                <a:gdLst/>
                <a:ahLst/>
                <a:cxnLst>
                  <a:cxn ang="0">
                    <a:pos x="76" y="2"/>
                  </a:cxn>
                  <a:cxn ang="0">
                    <a:pos x="76" y="2"/>
                  </a:cxn>
                  <a:cxn ang="0">
                    <a:pos x="68" y="0"/>
                  </a:cxn>
                  <a:cxn ang="0">
                    <a:pos x="56" y="0"/>
                  </a:cxn>
                  <a:cxn ang="0">
                    <a:pos x="30" y="2"/>
                  </a:cxn>
                  <a:cxn ang="0">
                    <a:pos x="16" y="6"/>
                  </a:cxn>
                  <a:cxn ang="0">
                    <a:pos x="6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8" y="16"/>
                  </a:cxn>
                  <a:cxn ang="0">
                    <a:pos x="20" y="16"/>
                  </a:cxn>
                  <a:cxn ang="0">
                    <a:pos x="48" y="14"/>
                  </a:cxn>
                  <a:cxn ang="0">
                    <a:pos x="70" y="8"/>
                  </a:cxn>
                  <a:cxn ang="0">
                    <a:pos x="76" y="4"/>
                  </a:cxn>
                  <a:cxn ang="0">
                    <a:pos x="76" y="2"/>
                  </a:cxn>
                  <a:cxn ang="0">
                    <a:pos x="76" y="2"/>
                  </a:cxn>
                  <a:cxn ang="0">
                    <a:pos x="76" y="2"/>
                  </a:cxn>
                </a:cxnLst>
                <a:rect l="0" t="0" r="r" b="b"/>
                <a:pathLst>
                  <a:path w="76" h="16">
                    <a:moveTo>
                      <a:pt x="76" y="2"/>
                    </a:moveTo>
                    <a:lnTo>
                      <a:pt x="76" y="2"/>
                    </a:lnTo>
                    <a:lnTo>
                      <a:pt x="68" y="0"/>
                    </a:lnTo>
                    <a:lnTo>
                      <a:pt x="56" y="0"/>
                    </a:lnTo>
                    <a:lnTo>
                      <a:pt x="30" y="2"/>
                    </a:lnTo>
                    <a:lnTo>
                      <a:pt x="16" y="6"/>
                    </a:lnTo>
                    <a:lnTo>
                      <a:pt x="6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16"/>
                    </a:lnTo>
                    <a:lnTo>
                      <a:pt x="20" y="16"/>
                    </a:lnTo>
                    <a:lnTo>
                      <a:pt x="48" y="14"/>
                    </a:lnTo>
                    <a:lnTo>
                      <a:pt x="70" y="8"/>
                    </a:lnTo>
                    <a:lnTo>
                      <a:pt x="76" y="4"/>
                    </a:lnTo>
                    <a:lnTo>
                      <a:pt x="76" y="2"/>
                    </a:lnTo>
                    <a:lnTo>
                      <a:pt x="76" y="2"/>
                    </a:lnTo>
                    <a:lnTo>
                      <a:pt x="7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8" name="Freeform 6100">
                <a:extLst>
                  <a:ext uri="{FF2B5EF4-FFF2-40B4-BE49-F238E27FC236}">
                    <a16:creationId xmlns:a16="http://schemas.microsoft.com/office/drawing/2014/main" id="{A9E21E5B-B64E-46A5-A51F-559DAAD8BD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3390" y="1129983"/>
                <a:ext cx="30480" cy="2032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0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8" y="30"/>
                  </a:cxn>
                  <a:cxn ang="0">
                    <a:pos x="16" y="32"/>
                  </a:cxn>
                  <a:cxn ang="0">
                    <a:pos x="26" y="32"/>
                  </a:cxn>
                  <a:cxn ang="0">
                    <a:pos x="34" y="30"/>
                  </a:cxn>
                  <a:cxn ang="0">
                    <a:pos x="42" y="28"/>
                  </a:cxn>
                  <a:cxn ang="0">
                    <a:pos x="46" y="22"/>
                  </a:cxn>
                  <a:cxn ang="0">
                    <a:pos x="48" y="20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20"/>
                  </a:cxn>
                  <a:cxn ang="0">
                    <a:pos x="0" y="20"/>
                  </a:cxn>
                </a:cxnLst>
                <a:rect l="0" t="0" r="r" b="b"/>
                <a:pathLst>
                  <a:path w="48" h="32">
                    <a:moveTo>
                      <a:pt x="0" y="20"/>
                    </a:moveTo>
                    <a:lnTo>
                      <a:pt x="0" y="20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8" y="30"/>
                    </a:lnTo>
                    <a:lnTo>
                      <a:pt x="16" y="32"/>
                    </a:lnTo>
                    <a:lnTo>
                      <a:pt x="26" y="32"/>
                    </a:lnTo>
                    <a:lnTo>
                      <a:pt x="34" y="30"/>
                    </a:lnTo>
                    <a:lnTo>
                      <a:pt x="42" y="28"/>
                    </a:lnTo>
                    <a:lnTo>
                      <a:pt x="46" y="22"/>
                    </a:lnTo>
                    <a:lnTo>
                      <a:pt x="48" y="20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69" name="Freeform 6101">
                <a:extLst>
                  <a:ext uri="{FF2B5EF4-FFF2-40B4-BE49-F238E27FC236}">
                    <a16:creationId xmlns:a16="http://schemas.microsoft.com/office/drawing/2014/main" id="{F2628D8F-CF90-4CEA-82F5-3B0553C4BD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8470" y="1065213"/>
                <a:ext cx="44450" cy="21590"/>
              </a:xfrm>
              <a:custGeom>
                <a:avLst/>
                <a:gdLst/>
                <a:ahLst/>
                <a:cxnLst>
                  <a:cxn ang="0">
                    <a:pos x="62" y="18"/>
                  </a:cxn>
                  <a:cxn ang="0">
                    <a:pos x="62" y="18"/>
                  </a:cxn>
                  <a:cxn ang="0">
                    <a:pos x="52" y="16"/>
                  </a:cxn>
                  <a:cxn ang="0">
                    <a:pos x="44" y="14"/>
                  </a:cxn>
                  <a:cxn ang="0">
                    <a:pos x="34" y="6"/>
                  </a:cxn>
                  <a:cxn ang="0">
                    <a:pos x="30" y="2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26" y="34"/>
                  </a:cxn>
                  <a:cxn ang="0">
                    <a:pos x="40" y="32"/>
                  </a:cxn>
                  <a:cxn ang="0">
                    <a:pos x="52" y="30"/>
                  </a:cxn>
                  <a:cxn ang="0">
                    <a:pos x="62" y="28"/>
                  </a:cxn>
                  <a:cxn ang="0">
                    <a:pos x="68" y="24"/>
                  </a:cxn>
                  <a:cxn ang="0">
                    <a:pos x="70" y="22"/>
                  </a:cxn>
                  <a:cxn ang="0">
                    <a:pos x="70" y="20"/>
                  </a:cxn>
                  <a:cxn ang="0">
                    <a:pos x="62" y="18"/>
                  </a:cxn>
                  <a:cxn ang="0">
                    <a:pos x="62" y="18"/>
                  </a:cxn>
                </a:cxnLst>
                <a:rect l="0" t="0" r="r" b="b"/>
                <a:pathLst>
                  <a:path w="70" h="34">
                    <a:moveTo>
                      <a:pt x="62" y="18"/>
                    </a:moveTo>
                    <a:lnTo>
                      <a:pt x="62" y="18"/>
                    </a:lnTo>
                    <a:lnTo>
                      <a:pt x="52" y="16"/>
                    </a:lnTo>
                    <a:lnTo>
                      <a:pt x="44" y="14"/>
                    </a:lnTo>
                    <a:lnTo>
                      <a:pt x="34" y="6"/>
                    </a:lnTo>
                    <a:lnTo>
                      <a:pt x="30" y="2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26" y="34"/>
                    </a:lnTo>
                    <a:lnTo>
                      <a:pt x="40" y="32"/>
                    </a:lnTo>
                    <a:lnTo>
                      <a:pt x="52" y="30"/>
                    </a:lnTo>
                    <a:lnTo>
                      <a:pt x="62" y="28"/>
                    </a:lnTo>
                    <a:lnTo>
                      <a:pt x="68" y="24"/>
                    </a:lnTo>
                    <a:lnTo>
                      <a:pt x="70" y="22"/>
                    </a:lnTo>
                    <a:lnTo>
                      <a:pt x="70" y="20"/>
                    </a:lnTo>
                    <a:lnTo>
                      <a:pt x="62" y="18"/>
                    </a:lnTo>
                    <a:lnTo>
                      <a:pt x="6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0" name="Freeform 6102">
                <a:extLst>
                  <a:ext uri="{FF2B5EF4-FFF2-40B4-BE49-F238E27FC236}">
                    <a16:creationId xmlns:a16="http://schemas.microsoft.com/office/drawing/2014/main" id="{7DDF5428-E376-4C79-969E-B47F117F29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2780" y="1048703"/>
                <a:ext cx="449580" cy="129540"/>
              </a:xfrm>
              <a:custGeom>
                <a:avLst/>
                <a:gdLst/>
                <a:ahLst/>
                <a:cxnLst>
                  <a:cxn ang="0">
                    <a:pos x="342" y="198"/>
                  </a:cxn>
                  <a:cxn ang="0">
                    <a:pos x="406" y="202"/>
                  </a:cxn>
                  <a:cxn ang="0">
                    <a:pos x="530" y="198"/>
                  </a:cxn>
                  <a:cxn ang="0">
                    <a:pos x="560" y="176"/>
                  </a:cxn>
                  <a:cxn ang="0">
                    <a:pos x="566" y="188"/>
                  </a:cxn>
                  <a:cxn ang="0">
                    <a:pos x="624" y="200"/>
                  </a:cxn>
                  <a:cxn ang="0">
                    <a:pos x="680" y="190"/>
                  </a:cxn>
                  <a:cxn ang="0">
                    <a:pos x="688" y="174"/>
                  </a:cxn>
                  <a:cxn ang="0">
                    <a:pos x="708" y="168"/>
                  </a:cxn>
                  <a:cxn ang="0">
                    <a:pos x="694" y="158"/>
                  </a:cxn>
                  <a:cxn ang="0">
                    <a:pos x="700" y="144"/>
                  </a:cxn>
                  <a:cxn ang="0">
                    <a:pos x="700" y="126"/>
                  </a:cxn>
                  <a:cxn ang="0">
                    <a:pos x="672" y="110"/>
                  </a:cxn>
                  <a:cxn ang="0">
                    <a:pos x="642" y="104"/>
                  </a:cxn>
                  <a:cxn ang="0">
                    <a:pos x="600" y="96"/>
                  </a:cxn>
                  <a:cxn ang="0">
                    <a:pos x="480" y="110"/>
                  </a:cxn>
                  <a:cxn ang="0">
                    <a:pos x="442" y="126"/>
                  </a:cxn>
                  <a:cxn ang="0">
                    <a:pos x="416" y="122"/>
                  </a:cxn>
                  <a:cxn ang="0">
                    <a:pos x="374" y="120"/>
                  </a:cxn>
                  <a:cxn ang="0">
                    <a:pos x="346" y="114"/>
                  </a:cxn>
                  <a:cxn ang="0">
                    <a:pos x="330" y="110"/>
                  </a:cxn>
                  <a:cxn ang="0">
                    <a:pos x="324" y="124"/>
                  </a:cxn>
                  <a:cxn ang="0">
                    <a:pos x="310" y="116"/>
                  </a:cxn>
                  <a:cxn ang="0">
                    <a:pos x="310" y="102"/>
                  </a:cxn>
                  <a:cxn ang="0">
                    <a:pos x="294" y="84"/>
                  </a:cxn>
                  <a:cxn ang="0">
                    <a:pos x="268" y="84"/>
                  </a:cxn>
                  <a:cxn ang="0">
                    <a:pos x="262" y="76"/>
                  </a:cxn>
                  <a:cxn ang="0">
                    <a:pos x="308" y="74"/>
                  </a:cxn>
                  <a:cxn ang="0">
                    <a:pos x="316" y="66"/>
                  </a:cxn>
                  <a:cxn ang="0">
                    <a:pos x="278" y="52"/>
                  </a:cxn>
                  <a:cxn ang="0">
                    <a:pos x="240" y="34"/>
                  </a:cxn>
                  <a:cxn ang="0">
                    <a:pos x="182" y="36"/>
                  </a:cxn>
                  <a:cxn ang="0">
                    <a:pos x="154" y="30"/>
                  </a:cxn>
                  <a:cxn ang="0">
                    <a:pos x="124" y="10"/>
                  </a:cxn>
                  <a:cxn ang="0">
                    <a:pos x="78" y="6"/>
                  </a:cxn>
                  <a:cxn ang="0">
                    <a:pos x="10" y="0"/>
                  </a:cxn>
                  <a:cxn ang="0">
                    <a:pos x="2" y="12"/>
                  </a:cxn>
                  <a:cxn ang="0">
                    <a:pos x="18" y="32"/>
                  </a:cxn>
                  <a:cxn ang="0">
                    <a:pos x="58" y="52"/>
                  </a:cxn>
                  <a:cxn ang="0">
                    <a:pos x="66" y="66"/>
                  </a:cxn>
                  <a:cxn ang="0">
                    <a:pos x="112" y="66"/>
                  </a:cxn>
                  <a:cxn ang="0">
                    <a:pos x="160" y="60"/>
                  </a:cxn>
                  <a:cxn ang="0">
                    <a:pos x="186" y="84"/>
                  </a:cxn>
                  <a:cxn ang="0">
                    <a:pos x="202" y="98"/>
                  </a:cxn>
                  <a:cxn ang="0">
                    <a:pos x="194" y="120"/>
                  </a:cxn>
                  <a:cxn ang="0">
                    <a:pos x="186" y="142"/>
                  </a:cxn>
                  <a:cxn ang="0">
                    <a:pos x="198" y="154"/>
                  </a:cxn>
                  <a:cxn ang="0">
                    <a:pos x="206" y="182"/>
                  </a:cxn>
                  <a:cxn ang="0">
                    <a:pos x="232" y="190"/>
                  </a:cxn>
                  <a:cxn ang="0">
                    <a:pos x="250" y="186"/>
                  </a:cxn>
                  <a:cxn ang="0">
                    <a:pos x="282" y="198"/>
                  </a:cxn>
                  <a:cxn ang="0">
                    <a:pos x="326" y="188"/>
                  </a:cxn>
                  <a:cxn ang="0">
                    <a:pos x="342" y="188"/>
                  </a:cxn>
                </a:cxnLst>
                <a:rect l="0" t="0" r="r" b="b"/>
                <a:pathLst>
                  <a:path w="708" h="204">
                    <a:moveTo>
                      <a:pt x="342" y="188"/>
                    </a:moveTo>
                    <a:lnTo>
                      <a:pt x="342" y="188"/>
                    </a:lnTo>
                    <a:lnTo>
                      <a:pt x="342" y="196"/>
                    </a:lnTo>
                    <a:lnTo>
                      <a:pt x="342" y="198"/>
                    </a:lnTo>
                    <a:lnTo>
                      <a:pt x="344" y="200"/>
                    </a:lnTo>
                    <a:lnTo>
                      <a:pt x="352" y="202"/>
                    </a:lnTo>
                    <a:lnTo>
                      <a:pt x="364" y="204"/>
                    </a:lnTo>
                    <a:lnTo>
                      <a:pt x="406" y="202"/>
                    </a:lnTo>
                    <a:lnTo>
                      <a:pt x="472" y="202"/>
                    </a:lnTo>
                    <a:lnTo>
                      <a:pt x="472" y="202"/>
                    </a:lnTo>
                    <a:lnTo>
                      <a:pt x="506" y="202"/>
                    </a:lnTo>
                    <a:lnTo>
                      <a:pt x="530" y="198"/>
                    </a:lnTo>
                    <a:lnTo>
                      <a:pt x="546" y="192"/>
                    </a:lnTo>
                    <a:lnTo>
                      <a:pt x="554" y="186"/>
                    </a:lnTo>
                    <a:lnTo>
                      <a:pt x="558" y="180"/>
                    </a:lnTo>
                    <a:lnTo>
                      <a:pt x="560" y="176"/>
                    </a:lnTo>
                    <a:lnTo>
                      <a:pt x="562" y="178"/>
                    </a:lnTo>
                    <a:lnTo>
                      <a:pt x="562" y="184"/>
                    </a:lnTo>
                    <a:lnTo>
                      <a:pt x="562" y="184"/>
                    </a:lnTo>
                    <a:lnTo>
                      <a:pt x="566" y="188"/>
                    </a:lnTo>
                    <a:lnTo>
                      <a:pt x="570" y="190"/>
                    </a:lnTo>
                    <a:lnTo>
                      <a:pt x="584" y="196"/>
                    </a:lnTo>
                    <a:lnTo>
                      <a:pt x="604" y="200"/>
                    </a:lnTo>
                    <a:lnTo>
                      <a:pt x="624" y="200"/>
                    </a:lnTo>
                    <a:lnTo>
                      <a:pt x="646" y="200"/>
                    </a:lnTo>
                    <a:lnTo>
                      <a:pt x="664" y="198"/>
                    </a:lnTo>
                    <a:lnTo>
                      <a:pt x="676" y="192"/>
                    </a:lnTo>
                    <a:lnTo>
                      <a:pt x="680" y="190"/>
                    </a:lnTo>
                    <a:lnTo>
                      <a:pt x="682" y="186"/>
                    </a:lnTo>
                    <a:lnTo>
                      <a:pt x="682" y="186"/>
                    </a:lnTo>
                    <a:lnTo>
                      <a:pt x="684" y="178"/>
                    </a:lnTo>
                    <a:lnTo>
                      <a:pt x="688" y="174"/>
                    </a:lnTo>
                    <a:lnTo>
                      <a:pt x="694" y="172"/>
                    </a:lnTo>
                    <a:lnTo>
                      <a:pt x="700" y="170"/>
                    </a:lnTo>
                    <a:lnTo>
                      <a:pt x="706" y="168"/>
                    </a:lnTo>
                    <a:lnTo>
                      <a:pt x="708" y="168"/>
                    </a:lnTo>
                    <a:lnTo>
                      <a:pt x="708" y="166"/>
                    </a:lnTo>
                    <a:lnTo>
                      <a:pt x="700" y="162"/>
                    </a:lnTo>
                    <a:lnTo>
                      <a:pt x="700" y="162"/>
                    </a:lnTo>
                    <a:lnTo>
                      <a:pt x="694" y="158"/>
                    </a:lnTo>
                    <a:lnTo>
                      <a:pt x="690" y="154"/>
                    </a:lnTo>
                    <a:lnTo>
                      <a:pt x="692" y="152"/>
                    </a:lnTo>
                    <a:lnTo>
                      <a:pt x="696" y="148"/>
                    </a:lnTo>
                    <a:lnTo>
                      <a:pt x="700" y="144"/>
                    </a:lnTo>
                    <a:lnTo>
                      <a:pt x="702" y="140"/>
                    </a:lnTo>
                    <a:lnTo>
                      <a:pt x="704" y="134"/>
                    </a:lnTo>
                    <a:lnTo>
                      <a:pt x="700" y="126"/>
                    </a:lnTo>
                    <a:lnTo>
                      <a:pt x="700" y="126"/>
                    </a:lnTo>
                    <a:lnTo>
                      <a:pt x="694" y="118"/>
                    </a:lnTo>
                    <a:lnTo>
                      <a:pt x="688" y="114"/>
                    </a:lnTo>
                    <a:lnTo>
                      <a:pt x="680" y="112"/>
                    </a:lnTo>
                    <a:lnTo>
                      <a:pt x="672" y="110"/>
                    </a:lnTo>
                    <a:lnTo>
                      <a:pt x="654" y="110"/>
                    </a:lnTo>
                    <a:lnTo>
                      <a:pt x="648" y="108"/>
                    </a:lnTo>
                    <a:lnTo>
                      <a:pt x="642" y="104"/>
                    </a:lnTo>
                    <a:lnTo>
                      <a:pt x="642" y="104"/>
                    </a:lnTo>
                    <a:lnTo>
                      <a:pt x="636" y="98"/>
                    </a:lnTo>
                    <a:lnTo>
                      <a:pt x="626" y="96"/>
                    </a:lnTo>
                    <a:lnTo>
                      <a:pt x="614" y="94"/>
                    </a:lnTo>
                    <a:lnTo>
                      <a:pt x="600" y="96"/>
                    </a:lnTo>
                    <a:lnTo>
                      <a:pt x="560" y="98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480" y="110"/>
                    </a:lnTo>
                    <a:lnTo>
                      <a:pt x="464" y="114"/>
                    </a:lnTo>
                    <a:lnTo>
                      <a:pt x="454" y="120"/>
                    </a:lnTo>
                    <a:lnTo>
                      <a:pt x="446" y="124"/>
                    </a:lnTo>
                    <a:lnTo>
                      <a:pt x="442" y="126"/>
                    </a:lnTo>
                    <a:lnTo>
                      <a:pt x="438" y="128"/>
                    </a:lnTo>
                    <a:lnTo>
                      <a:pt x="430" y="126"/>
                    </a:lnTo>
                    <a:lnTo>
                      <a:pt x="416" y="122"/>
                    </a:lnTo>
                    <a:lnTo>
                      <a:pt x="416" y="122"/>
                    </a:lnTo>
                    <a:lnTo>
                      <a:pt x="402" y="118"/>
                    </a:lnTo>
                    <a:lnTo>
                      <a:pt x="390" y="118"/>
                    </a:lnTo>
                    <a:lnTo>
                      <a:pt x="382" y="118"/>
                    </a:lnTo>
                    <a:lnTo>
                      <a:pt x="374" y="120"/>
                    </a:lnTo>
                    <a:lnTo>
                      <a:pt x="368" y="122"/>
                    </a:lnTo>
                    <a:lnTo>
                      <a:pt x="362" y="122"/>
                    </a:lnTo>
                    <a:lnTo>
                      <a:pt x="354" y="120"/>
                    </a:lnTo>
                    <a:lnTo>
                      <a:pt x="346" y="114"/>
                    </a:lnTo>
                    <a:lnTo>
                      <a:pt x="346" y="114"/>
                    </a:lnTo>
                    <a:lnTo>
                      <a:pt x="338" y="110"/>
                    </a:lnTo>
                    <a:lnTo>
                      <a:pt x="332" y="108"/>
                    </a:lnTo>
                    <a:lnTo>
                      <a:pt x="330" y="110"/>
                    </a:lnTo>
                    <a:lnTo>
                      <a:pt x="328" y="114"/>
                    </a:lnTo>
                    <a:lnTo>
                      <a:pt x="328" y="118"/>
                    </a:lnTo>
                    <a:lnTo>
                      <a:pt x="326" y="122"/>
                    </a:lnTo>
                    <a:lnTo>
                      <a:pt x="324" y="124"/>
                    </a:lnTo>
                    <a:lnTo>
                      <a:pt x="318" y="122"/>
                    </a:lnTo>
                    <a:lnTo>
                      <a:pt x="318" y="122"/>
                    </a:lnTo>
                    <a:lnTo>
                      <a:pt x="312" y="118"/>
                    </a:lnTo>
                    <a:lnTo>
                      <a:pt x="310" y="116"/>
                    </a:lnTo>
                    <a:lnTo>
                      <a:pt x="310" y="112"/>
                    </a:lnTo>
                    <a:lnTo>
                      <a:pt x="310" y="110"/>
                    </a:lnTo>
                    <a:lnTo>
                      <a:pt x="312" y="106"/>
                    </a:lnTo>
                    <a:lnTo>
                      <a:pt x="310" y="102"/>
                    </a:lnTo>
                    <a:lnTo>
                      <a:pt x="308" y="96"/>
                    </a:lnTo>
                    <a:lnTo>
                      <a:pt x="300" y="90"/>
                    </a:lnTo>
                    <a:lnTo>
                      <a:pt x="300" y="90"/>
                    </a:lnTo>
                    <a:lnTo>
                      <a:pt x="294" y="84"/>
                    </a:lnTo>
                    <a:lnTo>
                      <a:pt x="286" y="82"/>
                    </a:lnTo>
                    <a:lnTo>
                      <a:pt x="280" y="82"/>
                    </a:lnTo>
                    <a:lnTo>
                      <a:pt x="276" y="82"/>
                    </a:lnTo>
                    <a:lnTo>
                      <a:pt x="268" y="84"/>
                    </a:lnTo>
                    <a:lnTo>
                      <a:pt x="266" y="82"/>
                    </a:lnTo>
                    <a:lnTo>
                      <a:pt x="264" y="78"/>
                    </a:lnTo>
                    <a:lnTo>
                      <a:pt x="264" y="78"/>
                    </a:lnTo>
                    <a:lnTo>
                      <a:pt x="262" y="76"/>
                    </a:lnTo>
                    <a:lnTo>
                      <a:pt x="264" y="74"/>
                    </a:lnTo>
                    <a:lnTo>
                      <a:pt x="270" y="72"/>
                    </a:lnTo>
                    <a:lnTo>
                      <a:pt x="290" y="72"/>
                    </a:lnTo>
                    <a:lnTo>
                      <a:pt x="308" y="74"/>
                    </a:lnTo>
                    <a:lnTo>
                      <a:pt x="314" y="72"/>
                    </a:lnTo>
                    <a:lnTo>
                      <a:pt x="316" y="70"/>
                    </a:lnTo>
                    <a:lnTo>
                      <a:pt x="316" y="66"/>
                    </a:lnTo>
                    <a:lnTo>
                      <a:pt x="316" y="66"/>
                    </a:lnTo>
                    <a:lnTo>
                      <a:pt x="314" y="62"/>
                    </a:lnTo>
                    <a:lnTo>
                      <a:pt x="308" y="58"/>
                    </a:lnTo>
                    <a:lnTo>
                      <a:pt x="296" y="56"/>
                    </a:lnTo>
                    <a:lnTo>
                      <a:pt x="278" y="52"/>
                    </a:lnTo>
                    <a:lnTo>
                      <a:pt x="268" y="48"/>
                    </a:lnTo>
                    <a:lnTo>
                      <a:pt x="258" y="44"/>
                    </a:lnTo>
                    <a:lnTo>
                      <a:pt x="258" y="44"/>
                    </a:lnTo>
                    <a:lnTo>
                      <a:pt x="240" y="34"/>
                    </a:lnTo>
                    <a:lnTo>
                      <a:pt x="232" y="32"/>
                    </a:lnTo>
                    <a:lnTo>
                      <a:pt x="224" y="30"/>
                    </a:lnTo>
                    <a:lnTo>
                      <a:pt x="204" y="32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70" y="36"/>
                    </a:lnTo>
                    <a:lnTo>
                      <a:pt x="162" y="34"/>
                    </a:lnTo>
                    <a:lnTo>
                      <a:pt x="154" y="30"/>
                    </a:lnTo>
                    <a:lnTo>
                      <a:pt x="148" y="24"/>
                    </a:lnTo>
                    <a:lnTo>
                      <a:pt x="136" y="14"/>
                    </a:lnTo>
                    <a:lnTo>
                      <a:pt x="130" y="10"/>
                    </a:lnTo>
                    <a:lnTo>
                      <a:pt x="124" y="10"/>
                    </a:lnTo>
                    <a:lnTo>
                      <a:pt x="124" y="10"/>
                    </a:lnTo>
                    <a:lnTo>
                      <a:pt x="114" y="10"/>
                    </a:lnTo>
                    <a:lnTo>
                      <a:pt x="104" y="10"/>
                    </a:lnTo>
                    <a:lnTo>
                      <a:pt x="78" y="6"/>
                    </a:lnTo>
                    <a:lnTo>
                      <a:pt x="4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0" y="24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26" y="38"/>
                    </a:lnTo>
                    <a:lnTo>
                      <a:pt x="36" y="42"/>
                    </a:lnTo>
                    <a:lnTo>
                      <a:pt x="50" y="48"/>
                    </a:lnTo>
                    <a:lnTo>
                      <a:pt x="58" y="52"/>
                    </a:lnTo>
                    <a:lnTo>
                      <a:pt x="62" y="56"/>
                    </a:lnTo>
                    <a:lnTo>
                      <a:pt x="62" y="60"/>
                    </a:lnTo>
                    <a:lnTo>
                      <a:pt x="62" y="60"/>
                    </a:lnTo>
                    <a:lnTo>
                      <a:pt x="66" y="66"/>
                    </a:lnTo>
                    <a:lnTo>
                      <a:pt x="70" y="68"/>
                    </a:lnTo>
                    <a:lnTo>
                      <a:pt x="78" y="70"/>
                    </a:lnTo>
                    <a:lnTo>
                      <a:pt x="88" y="70"/>
                    </a:lnTo>
                    <a:lnTo>
                      <a:pt x="112" y="66"/>
                    </a:lnTo>
                    <a:lnTo>
                      <a:pt x="138" y="60"/>
                    </a:lnTo>
                    <a:lnTo>
                      <a:pt x="138" y="60"/>
                    </a:lnTo>
                    <a:lnTo>
                      <a:pt x="150" y="60"/>
                    </a:lnTo>
                    <a:lnTo>
                      <a:pt x="160" y="60"/>
                    </a:lnTo>
                    <a:lnTo>
                      <a:pt x="166" y="62"/>
                    </a:lnTo>
                    <a:lnTo>
                      <a:pt x="170" y="66"/>
                    </a:lnTo>
                    <a:lnTo>
                      <a:pt x="180" y="78"/>
                    </a:lnTo>
                    <a:lnTo>
                      <a:pt x="186" y="84"/>
                    </a:lnTo>
                    <a:lnTo>
                      <a:pt x="194" y="90"/>
                    </a:lnTo>
                    <a:lnTo>
                      <a:pt x="194" y="90"/>
                    </a:lnTo>
                    <a:lnTo>
                      <a:pt x="198" y="94"/>
                    </a:lnTo>
                    <a:lnTo>
                      <a:pt x="202" y="98"/>
                    </a:lnTo>
                    <a:lnTo>
                      <a:pt x="202" y="102"/>
                    </a:lnTo>
                    <a:lnTo>
                      <a:pt x="202" y="106"/>
                    </a:lnTo>
                    <a:lnTo>
                      <a:pt x="200" y="114"/>
                    </a:lnTo>
                    <a:lnTo>
                      <a:pt x="194" y="120"/>
                    </a:lnTo>
                    <a:lnTo>
                      <a:pt x="190" y="128"/>
                    </a:lnTo>
                    <a:lnTo>
                      <a:pt x="186" y="134"/>
                    </a:lnTo>
                    <a:lnTo>
                      <a:pt x="184" y="140"/>
                    </a:lnTo>
                    <a:lnTo>
                      <a:pt x="186" y="142"/>
                    </a:lnTo>
                    <a:lnTo>
                      <a:pt x="190" y="144"/>
                    </a:lnTo>
                    <a:lnTo>
                      <a:pt x="190" y="144"/>
                    </a:lnTo>
                    <a:lnTo>
                      <a:pt x="196" y="150"/>
                    </a:lnTo>
                    <a:lnTo>
                      <a:pt x="198" y="154"/>
                    </a:lnTo>
                    <a:lnTo>
                      <a:pt x="200" y="164"/>
                    </a:lnTo>
                    <a:lnTo>
                      <a:pt x="200" y="170"/>
                    </a:lnTo>
                    <a:lnTo>
                      <a:pt x="202" y="176"/>
                    </a:lnTo>
                    <a:lnTo>
                      <a:pt x="206" y="182"/>
                    </a:lnTo>
                    <a:lnTo>
                      <a:pt x="216" y="186"/>
                    </a:lnTo>
                    <a:lnTo>
                      <a:pt x="216" y="186"/>
                    </a:lnTo>
                    <a:lnTo>
                      <a:pt x="224" y="190"/>
                    </a:lnTo>
                    <a:lnTo>
                      <a:pt x="232" y="190"/>
                    </a:lnTo>
                    <a:lnTo>
                      <a:pt x="236" y="190"/>
                    </a:lnTo>
                    <a:lnTo>
                      <a:pt x="240" y="188"/>
                    </a:lnTo>
                    <a:lnTo>
                      <a:pt x="244" y="186"/>
                    </a:lnTo>
                    <a:lnTo>
                      <a:pt x="250" y="186"/>
                    </a:lnTo>
                    <a:lnTo>
                      <a:pt x="260" y="188"/>
                    </a:lnTo>
                    <a:lnTo>
                      <a:pt x="274" y="194"/>
                    </a:lnTo>
                    <a:lnTo>
                      <a:pt x="274" y="194"/>
                    </a:lnTo>
                    <a:lnTo>
                      <a:pt x="282" y="198"/>
                    </a:lnTo>
                    <a:lnTo>
                      <a:pt x="290" y="198"/>
                    </a:lnTo>
                    <a:lnTo>
                      <a:pt x="304" y="198"/>
                    </a:lnTo>
                    <a:lnTo>
                      <a:pt x="316" y="194"/>
                    </a:lnTo>
                    <a:lnTo>
                      <a:pt x="326" y="188"/>
                    </a:lnTo>
                    <a:lnTo>
                      <a:pt x="340" y="180"/>
                    </a:lnTo>
                    <a:lnTo>
                      <a:pt x="342" y="180"/>
                    </a:lnTo>
                    <a:lnTo>
                      <a:pt x="342" y="180"/>
                    </a:lnTo>
                    <a:lnTo>
                      <a:pt x="342" y="188"/>
                    </a:lnTo>
                    <a:lnTo>
                      <a:pt x="342" y="18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1" name="Freeform 6103">
                <a:extLst>
                  <a:ext uri="{FF2B5EF4-FFF2-40B4-BE49-F238E27FC236}">
                    <a16:creationId xmlns:a16="http://schemas.microsoft.com/office/drawing/2014/main" id="{39949C05-5361-4EB2-9C77-47E7F83812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750" y="1119823"/>
                <a:ext cx="81280" cy="49530"/>
              </a:xfrm>
              <a:custGeom>
                <a:avLst/>
                <a:gdLst/>
                <a:ahLst/>
                <a:cxnLst>
                  <a:cxn ang="0">
                    <a:pos x="94" y="78"/>
                  </a:cxn>
                  <a:cxn ang="0">
                    <a:pos x="94" y="78"/>
                  </a:cxn>
                  <a:cxn ang="0">
                    <a:pos x="110" y="76"/>
                  </a:cxn>
                  <a:cxn ang="0">
                    <a:pos x="120" y="72"/>
                  </a:cxn>
                  <a:cxn ang="0">
                    <a:pos x="126" y="66"/>
                  </a:cxn>
                  <a:cxn ang="0">
                    <a:pos x="128" y="58"/>
                  </a:cxn>
                  <a:cxn ang="0">
                    <a:pos x="126" y="48"/>
                  </a:cxn>
                  <a:cxn ang="0">
                    <a:pos x="120" y="38"/>
                  </a:cxn>
                  <a:cxn ang="0">
                    <a:pos x="114" y="28"/>
                  </a:cxn>
                  <a:cxn ang="0">
                    <a:pos x="104" y="16"/>
                  </a:cxn>
                  <a:cxn ang="0">
                    <a:pos x="104" y="16"/>
                  </a:cxn>
                  <a:cxn ang="0">
                    <a:pos x="92" y="8"/>
                  </a:cxn>
                  <a:cxn ang="0">
                    <a:pos x="80" y="2"/>
                  </a:cxn>
                  <a:cxn ang="0">
                    <a:pos x="68" y="0"/>
                  </a:cxn>
                  <a:cxn ang="0">
                    <a:pos x="58" y="0"/>
                  </a:cxn>
                  <a:cxn ang="0">
                    <a:pos x="46" y="2"/>
                  </a:cxn>
                  <a:cxn ang="0">
                    <a:pos x="34" y="8"/>
                  </a:cxn>
                  <a:cxn ang="0">
                    <a:pos x="24" y="1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6" y="36"/>
                  </a:cxn>
                  <a:cxn ang="0">
                    <a:pos x="2" y="42"/>
                  </a:cxn>
                  <a:cxn ang="0">
                    <a:pos x="0" y="48"/>
                  </a:cxn>
                  <a:cxn ang="0">
                    <a:pos x="0" y="52"/>
                  </a:cxn>
                  <a:cxn ang="0">
                    <a:pos x="4" y="56"/>
                  </a:cxn>
                  <a:cxn ang="0">
                    <a:pos x="10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2" y="62"/>
                  </a:cxn>
                  <a:cxn ang="0">
                    <a:pos x="40" y="64"/>
                  </a:cxn>
                  <a:cxn ang="0">
                    <a:pos x="54" y="70"/>
                  </a:cxn>
                  <a:cxn ang="0">
                    <a:pos x="68" y="76"/>
                  </a:cxn>
                  <a:cxn ang="0">
                    <a:pos x="80" y="76"/>
                  </a:cxn>
                  <a:cxn ang="0">
                    <a:pos x="94" y="78"/>
                  </a:cxn>
                  <a:cxn ang="0">
                    <a:pos x="94" y="78"/>
                  </a:cxn>
                </a:cxnLst>
                <a:rect l="0" t="0" r="r" b="b"/>
                <a:pathLst>
                  <a:path w="128" h="78">
                    <a:moveTo>
                      <a:pt x="94" y="78"/>
                    </a:moveTo>
                    <a:lnTo>
                      <a:pt x="94" y="78"/>
                    </a:lnTo>
                    <a:lnTo>
                      <a:pt x="110" y="76"/>
                    </a:lnTo>
                    <a:lnTo>
                      <a:pt x="120" y="72"/>
                    </a:lnTo>
                    <a:lnTo>
                      <a:pt x="126" y="66"/>
                    </a:lnTo>
                    <a:lnTo>
                      <a:pt x="128" y="58"/>
                    </a:lnTo>
                    <a:lnTo>
                      <a:pt x="126" y="48"/>
                    </a:lnTo>
                    <a:lnTo>
                      <a:pt x="120" y="38"/>
                    </a:lnTo>
                    <a:lnTo>
                      <a:pt x="114" y="28"/>
                    </a:lnTo>
                    <a:lnTo>
                      <a:pt x="104" y="16"/>
                    </a:lnTo>
                    <a:lnTo>
                      <a:pt x="104" y="16"/>
                    </a:lnTo>
                    <a:lnTo>
                      <a:pt x="92" y="8"/>
                    </a:lnTo>
                    <a:lnTo>
                      <a:pt x="80" y="2"/>
                    </a:lnTo>
                    <a:lnTo>
                      <a:pt x="68" y="0"/>
                    </a:lnTo>
                    <a:lnTo>
                      <a:pt x="58" y="0"/>
                    </a:lnTo>
                    <a:lnTo>
                      <a:pt x="46" y="2"/>
                    </a:lnTo>
                    <a:lnTo>
                      <a:pt x="34" y="8"/>
                    </a:lnTo>
                    <a:lnTo>
                      <a:pt x="24" y="1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6" y="36"/>
                    </a:lnTo>
                    <a:lnTo>
                      <a:pt x="2" y="42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6"/>
                    </a:lnTo>
                    <a:lnTo>
                      <a:pt x="10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2" y="62"/>
                    </a:lnTo>
                    <a:lnTo>
                      <a:pt x="40" y="64"/>
                    </a:lnTo>
                    <a:lnTo>
                      <a:pt x="54" y="70"/>
                    </a:lnTo>
                    <a:lnTo>
                      <a:pt x="68" y="76"/>
                    </a:lnTo>
                    <a:lnTo>
                      <a:pt x="80" y="76"/>
                    </a:lnTo>
                    <a:lnTo>
                      <a:pt x="94" y="78"/>
                    </a:lnTo>
                    <a:lnTo>
                      <a:pt x="94" y="7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2" name="Freeform 6104">
                <a:extLst>
                  <a:ext uri="{FF2B5EF4-FFF2-40B4-BE49-F238E27FC236}">
                    <a16:creationId xmlns:a16="http://schemas.microsoft.com/office/drawing/2014/main" id="{4847ED8C-0F4D-4916-89B9-57C64CB664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0560" y="1010603"/>
                <a:ext cx="80010" cy="19050"/>
              </a:xfrm>
              <a:custGeom>
                <a:avLst/>
                <a:gdLst/>
                <a:ahLst/>
                <a:cxnLst>
                  <a:cxn ang="0">
                    <a:pos x="92" y="28"/>
                  </a:cxn>
                  <a:cxn ang="0">
                    <a:pos x="92" y="28"/>
                  </a:cxn>
                  <a:cxn ang="0">
                    <a:pos x="108" y="28"/>
                  </a:cxn>
                  <a:cxn ang="0">
                    <a:pos x="120" y="26"/>
                  </a:cxn>
                  <a:cxn ang="0">
                    <a:pos x="124" y="22"/>
                  </a:cxn>
                  <a:cxn ang="0">
                    <a:pos x="126" y="20"/>
                  </a:cxn>
                  <a:cxn ang="0">
                    <a:pos x="126" y="16"/>
                  </a:cxn>
                  <a:cxn ang="0">
                    <a:pos x="122" y="12"/>
                  </a:cxn>
                  <a:cxn ang="0">
                    <a:pos x="112" y="8"/>
                  </a:cxn>
                  <a:cxn ang="0">
                    <a:pos x="100" y="4"/>
                  </a:cxn>
                  <a:cxn ang="0">
                    <a:pos x="82" y="2"/>
                  </a:cxn>
                  <a:cxn ang="0">
                    <a:pos x="82" y="2"/>
                  </a:cxn>
                  <a:cxn ang="0">
                    <a:pos x="48" y="0"/>
                  </a:cxn>
                  <a:cxn ang="0">
                    <a:pos x="22" y="4"/>
                  </a:cxn>
                  <a:cxn ang="0">
                    <a:pos x="14" y="6"/>
                  </a:cxn>
                  <a:cxn ang="0">
                    <a:pos x="6" y="8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6" y="28"/>
                  </a:cxn>
                  <a:cxn ang="0">
                    <a:pos x="26" y="30"/>
                  </a:cxn>
                  <a:cxn ang="0">
                    <a:pos x="56" y="28"/>
                  </a:cxn>
                  <a:cxn ang="0">
                    <a:pos x="92" y="28"/>
                  </a:cxn>
                  <a:cxn ang="0">
                    <a:pos x="92" y="28"/>
                  </a:cxn>
                </a:cxnLst>
                <a:rect l="0" t="0" r="r" b="b"/>
                <a:pathLst>
                  <a:path w="126" h="30">
                    <a:moveTo>
                      <a:pt x="92" y="28"/>
                    </a:moveTo>
                    <a:lnTo>
                      <a:pt x="92" y="28"/>
                    </a:lnTo>
                    <a:lnTo>
                      <a:pt x="108" y="28"/>
                    </a:lnTo>
                    <a:lnTo>
                      <a:pt x="120" y="26"/>
                    </a:lnTo>
                    <a:lnTo>
                      <a:pt x="124" y="22"/>
                    </a:lnTo>
                    <a:lnTo>
                      <a:pt x="126" y="20"/>
                    </a:lnTo>
                    <a:lnTo>
                      <a:pt x="126" y="16"/>
                    </a:lnTo>
                    <a:lnTo>
                      <a:pt x="122" y="12"/>
                    </a:lnTo>
                    <a:lnTo>
                      <a:pt x="112" y="8"/>
                    </a:lnTo>
                    <a:lnTo>
                      <a:pt x="100" y="4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48" y="0"/>
                    </a:lnTo>
                    <a:lnTo>
                      <a:pt x="22" y="4"/>
                    </a:lnTo>
                    <a:lnTo>
                      <a:pt x="14" y="6"/>
                    </a:lnTo>
                    <a:lnTo>
                      <a:pt x="6" y="8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6" y="28"/>
                    </a:lnTo>
                    <a:lnTo>
                      <a:pt x="26" y="30"/>
                    </a:lnTo>
                    <a:lnTo>
                      <a:pt x="56" y="28"/>
                    </a:lnTo>
                    <a:lnTo>
                      <a:pt x="92" y="28"/>
                    </a:lnTo>
                    <a:lnTo>
                      <a:pt x="92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3" name="Freeform 6105">
                <a:extLst>
                  <a:ext uri="{FF2B5EF4-FFF2-40B4-BE49-F238E27FC236}">
                    <a16:creationId xmlns:a16="http://schemas.microsoft.com/office/drawing/2014/main" id="{7E8CF2CC-C0A9-426B-A1A4-C3E7B16BCB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4560" y="944563"/>
                <a:ext cx="34290" cy="12700"/>
              </a:xfrm>
              <a:custGeom>
                <a:avLst/>
                <a:gdLst/>
                <a:ahLst/>
                <a:cxnLst>
                  <a:cxn ang="0">
                    <a:pos x="54" y="4"/>
                  </a:cxn>
                  <a:cxn ang="0">
                    <a:pos x="54" y="4"/>
                  </a:cxn>
                  <a:cxn ang="0">
                    <a:pos x="54" y="2"/>
                  </a:cxn>
                  <a:cxn ang="0">
                    <a:pos x="50" y="0"/>
                  </a:cxn>
                  <a:cxn ang="0">
                    <a:pos x="36" y="0"/>
                  </a:cxn>
                  <a:cxn ang="0">
                    <a:pos x="18" y="6"/>
                  </a:cxn>
                  <a:cxn ang="0">
                    <a:pos x="8" y="10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20" y="18"/>
                  </a:cxn>
                  <a:cxn ang="0">
                    <a:pos x="42" y="12"/>
                  </a:cxn>
                  <a:cxn ang="0">
                    <a:pos x="50" y="8"/>
                  </a:cxn>
                  <a:cxn ang="0">
                    <a:pos x="54" y="4"/>
                  </a:cxn>
                  <a:cxn ang="0">
                    <a:pos x="54" y="4"/>
                  </a:cxn>
                </a:cxnLst>
                <a:rect l="0" t="0" r="r" b="b"/>
                <a:pathLst>
                  <a:path w="54" h="20">
                    <a:moveTo>
                      <a:pt x="54" y="4"/>
                    </a:moveTo>
                    <a:lnTo>
                      <a:pt x="54" y="4"/>
                    </a:lnTo>
                    <a:lnTo>
                      <a:pt x="54" y="2"/>
                    </a:lnTo>
                    <a:lnTo>
                      <a:pt x="50" y="0"/>
                    </a:lnTo>
                    <a:lnTo>
                      <a:pt x="36" y="0"/>
                    </a:lnTo>
                    <a:lnTo>
                      <a:pt x="18" y="6"/>
                    </a:lnTo>
                    <a:lnTo>
                      <a:pt x="8" y="1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20" y="18"/>
                    </a:lnTo>
                    <a:lnTo>
                      <a:pt x="42" y="12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4" name="Freeform 6106">
                <a:extLst>
                  <a:ext uri="{FF2B5EF4-FFF2-40B4-BE49-F238E27FC236}">
                    <a16:creationId xmlns:a16="http://schemas.microsoft.com/office/drawing/2014/main" id="{90F97827-2ECC-4937-B448-C37180918F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7400" y="727393"/>
                <a:ext cx="784860" cy="367030"/>
              </a:xfrm>
              <a:custGeom>
                <a:avLst/>
                <a:gdLst/>
                <a:ahLst/>
                <a:cxnLst>
                  <a:cxn ang="0">
                    <a:pos x="68" y="162"/>
                  </a:cxn>
                  <a:cxn ang="0">
                    <a:pos x="122" y="204"/>
                  </a:cxn>
                  <a:cxn ang="0">
                    <a:pos x="246" y="182"/>
                  </a:cxn>
                  <a:cxn ang="0">
                    <a:pos x="202" y="210"/>
                  </a:cxn>
                  <a:cxn ang="0">
                    <a:pos x="334" y="210"/>
                  </a:cxn>
                  <a:cxn ang="0">
                    <a:pos x="494" y="186"/>
                  </a:cxn>
                  <a:cxn ang="0">
                    <a:pos x="540" y="190"/>
                  </a:cxn>
                  <a:cxn ang="0">
                    <a:pos x="450" y="222"/>
                  </a:cxn>
                  <a:cxn ang="0">
                    <a:pos x="402" y="274"/>
                  </a:cxn>
                  <a:cxn ang="0">
                    <a:pos x="402" y="298"/>
                  </a:cxn>
                  <a:cxn ang="0">
                    <a:pos x="246" y="240"/>
                  </a:cxn>
                  <a:cxn ang="0">
                    <a:pos x="226" y="284"/>
                  </a:cxn>
                  <a:cxn ang="0">
                    <a:pos x="296" y="336"/>
                  </a:cxn>
                  <a:cxn ang="0">
                    <a:pos x="336" y="356"/>
                  </a:cxn>
                  <a:cxn ang="0">
                    <a:pos x="298" y="364"/>
                  </a:cxn>
                  <a:cxn ang="0">
                    <a:pos x="168" y="410"/>
                  </a:cxn>
                  <a:cxn ang="0">
                    <a:pos x="226" y="422"/>
                  </a:cxn>
                  <a:cxn ang="0">
                    <a:pos x="256" y="440"/>
                  </a:cxn>
                  <a:cxn ang="0">
                    <a:pos x="330" y="460"/>
                  </a:cxn>
                  <a:cxn ang="0">
                    <a:pos x="342" y="464"/>
                  </a:cxn>
                  <a:cxn ang="0">
                    <a:pos x="238" y="460"/>
                  </a:cxn>
                  <a:cxn ang="0">
                    <a:pos x="140" y="450"/>
                  </a:cxn>
                  <a:cxn ang="0">
                    <a:pos x="160" y="502"/>
                  </a:cxn>
                  <a:cxn ang="0">
                    <a:pos x="92" y="546"/>
                  </a:cxn>
                  <a:cxn ang="0">
                    <a:pos x="146" y="562"/>
                  </a:cxn>
                  <a:cxn ang="0">
                    <a:pos x="244" y="562"/>
                  </a:cxn>
                  <a:cxn ang="0">
                    <a:pos x="322" y="552"/>
                  </a:cxn>
                  <a:cxn ang="0">
                    <a:pos x="438" y="548"/>
                  </a:cxn>
                  <a:cxn ang="0">
                    <a:pos x="462" y="578"/>
                  </a:cxn>
                  <a:cxn ang="0">
                    <a:pos x="560" y="538"/>
                  </a:cxn>
                  <a:cxn ang="0">
                    <a:pos x="518" y="514"/>
                  </a:cxn>
                  <a:cxn ang="0">
                    <a:pos x="550" y="472"/>
                  </a:cxn>
                  <a:cxn ang="0">
                    <a:pos x="550" y="432"/>
                  </a:cxn>
                  <a:cxn ang="0">
                    <a:pos x="668" y="402"/>
                  </a:cxn>
                  <a:cxn ang="0">
                    <a:pos x="684" y="372"/>
                  </a:cxn>
                  <a:cxn ang="0">
                    <a:pos x="686" y="348"/>
                  </a:cxn>
                  <a:cxn ang="0">
                    <a:pos x="658" y="326"/>
                  </a:cxn>
                  <a:cxn ang="0">
                    <a:pos x="588" y="318"/>
                  </a:cxn>
                  <a:cxn ang="0">
                    <a:pos x="752" y="284"/>
                  </a:cxn>
                  <a:cxn ang="0">
                    <a:pos x="832" y="278"/>
                  </a:cxn>
                  <a:cxn ang="0">
                    <a:pos x="1076" y="154"/>
                  </a:cxn>
                  <a:cxn ang="0">
                    <a:pos x="1000" y="142"/>
                  </a:cxn>
                  <a:cxn ang="0">
                    <a:pos x="1232" y="76"/>
                  </a:cxn>
                  <a:cxn ang="0">
                    <a:pos x="1168" y="54"/>
                  </a:cxn>
                  <a:cxn ang="0">
                    <a:pos x="1094" y="20"/>
                  </a:cxn>
                  <a:cxn ang="0">
                    <a:pos x="962" y="40"/>
                  </a:cxn>
                  <a:cxn ang="0">
                    <a:pos x="1006" y="20"/>
                  </a:cxn>
                  <a:cxn ang="0">
                    <a:pos x="858" y="2"/>
                  </a:cxn>
                  <a:cxn ang="0">
                    <a:pos x="690" y="10"/>
                  </a:cxn>
                  <a:cxn ang="0">
                    <a:pos x="500" y="14"/>
                  </a:cxn>
                  <a:cxn ang="0">
                    <a:pos x="412" y="24"/>
                  </a:cxn>
                  <a:cxn ang="0">
                    <a:pos x="392" y="42"/>
                  </a:cxn>
                  <a:cxn ang="0">
                    <a:pos x="340" y="70"/>
                  </a:cxn>
                  <a:cxn ang="0">
                    <a:pos x="264" y="52"/>
                  </a:cxn>
                  <a:cxn ang="0">
                    <a:pos x="224" y="76"/>
                  </a:cxn>
                  <a:cxn ang="0">
                    <a:pos x="248" y="98"/>
                  </a:cxn>
                  <a:cxn ang="0">
                    <a:pos x="130" y="92"/>
                  </a:cxn>
                  <a:cxn ang="0">
                    <a:pos x="50" y="104"/>
                  </a:cxn>
                  <a:cxn ang="0">
                    <a:pos x="12" y="144"/>
                  </a:cxn>
                </a:cxnLst>
                <a:rect l="0" t="0" r="r" b="b"/>
                <a:pathLst>
                  <a:path w="1236" h="578">
                    <a:moveTo>
                      <a:pt x="44" y="148"/>
                    </a:moveTo>
                    <a:lnTo>
                      <a:pt x="44" y="148"/>
                    </a:lnTo>
                    <a:lnTo>
                      <a:pt x="50" y="150"/>
                    </a:lnTo>
                    <a:lnTo>
                      <a:pt x="58" y="152"/>
                    </a:lnTo>
                    <a:lnTo>
                      <a:pt x="74" y="150"/>
                    </a:lnTo>
                    <a:lnTo>
                      <a:pt x="80" y="150"/>
                    </a:lnTo>
                    <a:lnTo>
                      <a:pt x="80" y="152"/>
                    </a:lnTo>
                    <a:lnTo>
                      <a:pt x="74" y="156"/>
                    </a:lnTo>
                    <a:lnTo>
                      <a:pt x="74" y="156"/>
                    </a:lnTo>
                    <a:lnTo>
                      <a:pt x="68" y="162"/>
                    </a:lnTo>
                    <a:lnTo>
                      <a:pt x="62" y="168"/>
                    </a:lnTo>
                    <a:lnTo>
                      <a:pt x="62" y="172"/>
                    </a:lnTo>
                    <a:lnTo>
                      <a:pt x="62" y="178"/>
                    </a:lnTo>
                    <a:lnTo>
                      <a:pt x="66" y="182"/>
                    </a:lnTo>
                    <a:lnTo>
                      <a:pt x="72" y="186"/>
                    </a:lnTo>
                    <a:lnTo>
                      <a:pt x="82" y="190"/>
                    </a:lnTo>
                    <a:lnTo>
                      <a:pt x="94" y="194"/>
                    </a:lnTo>
                    <a:lnTo>
                      <a:pt x="94" y="194"/>
                    </a:lnTo>
                    <a:lnTo>
                      <a:pt x="108" y="200"/>
                    </a:lnTo>
                    <a:lnTo>
                      <a:pt x="122" y="204"/>
                    </a:lnTo>
                    <a:lnTo>
                      <a:pt x="144" y="212"/>
                    </a:lnTo>
                    <a:lnTo>
                      <a:pt x="156" y="216"/>
                    </a:lnTo>
                    <a:lnTo>
                      <a:pt x="166" y="214"/>
                    </a:lnTo>
                    <a:lnTo>
                      <a:pt x="178" y="212"/>
                    </a:lnTo>
                    <a:lnTo>
                      <a:pt x="192" y="204"/>
                    </a:lnTo>
                    <a:lnTo>
                      <a:pt x="192" y="204"/>
                    </a:lnTo>
                    <a:lnTo>
                      <a:pt x="206" y="194"/>
                    </a:lnTo>
                    <a:lnTo>
                      <a:pt x="222" y="188"/>
                    </a:lnTo>
                    <a:lnTo>
                      <a:pt x="234" y="184"/>
                    </a:lnTo>
                    <a:lnTo>
                      <a:pt x="246" y="182"/>
                    </a:lnTo>
                    <a:lnTo>
                      <a:pt x="254" y="182"/>
                    </a:lnTo>
                    <a:lnTo>
                      <a:pt x="258" y="182"/>
                    </a:lnTo>
                    <a:lnTo>
                      <a:pt x="256" y="184"/>
                    </a:lnTo>
                    <a:lnTo>
                      <a:pt x="250" y="186"/>
                    </a:lnTo>
                    <a:lnTo>
                      <a:pt x="250" y="186"/>
                    </a:lnTo>
                    <a:lnTo>
                      <a:pt x="224" y="194"/>
                    </a:lnTo>
                    <a:lnTo>
                      <a:pt x="212" y="200"/>
                    </a:lnTo>
                    <a:lnTo>
                      <a:pt x="204" y="206"/>
                    </a:lnTo>
                    <a:lnTo>
                      <a:pt x="202" y="208"/>
                    </a:lnTo>
                    <a:lnTo>
                      <a:pt x="202" y="210"/>
                    </a:lnTo>
                    <a:lnTo>
                      <a:pt x="204" y="214"/>
                    </a:lnTo>
                    <a:lnTo>
                      <a:pt x="208" y="216"/>
                    </a:lnTo>
                    <a:lnTo>
                      <a:pt x="224" y="220"/>
                    </a:lnTo>
                    <a:lnTo>
                      <a:pt x="254" y="224"/>
                    </a:lnTo>
                    <a:lnTo>
                      <a:pt x="254" y="224"/>
                    </a:lnTo>
                    <a:lnTo>
                      <a:pt x="284" y="224"/>
                    </a:lnTo>
                    <a:lnTo>
                      <a:pt x="304" y="224"/>
                    </a:lnTo>
                    <a:lnTo>
                      <a:pt x="318" y="220"/>
                    </a:lnTo>
                    <a:lnTo>
                      <a:pt x="326" y="216"/>
                    </a:lnTo>
                    <a:lnTo>
                      <a:pt x="334" y="210"/>
                    </a:lnTo>
                    <a:lnTo>
                      <a:pt x="338" y="210"/>
                    </a:lnTo>
                    <a:lnTo>
                      <a:pt x="346" y="214"/>
                    </a:lnTo>
                    <a:lnTo>
                      <a:pt x="346" y="214"/>
                    </a:lnTo>
                    <a:lnTo>
                      <a:pt x="358" y="218"/>
                    </a:lnTo>
                    <a:lnTo>
                      <a:pt x="374" y="218"/>
                    </a:lnTo>
                    <a:lnTo>
                      <a:pt x="394" y="216"/>
                    </a:lnTo>
                    <a:lnTo>
                      <a:pt x="418" y="212"/>
                    </a:lnTo>
                    <a:lnTo>
                      <a:pt x="442" y="206"/>
                    </a:lnTo>
                    <a:lnTo>
                      <a:pt x="468" y="196"/>
                    </a:lnTo>
                    <a:lnTo>
                      <a:pt x="494" y="186"/>
                    </a:lnTo>
                    <a:lnTo>
                      <a:pt x="520" y="174"/>
                    </a:lnTo>
                    <a:lnTo>
                      <a:pt x="520" y="174"/>
                    </a:lnTo>
                    <a:lnTo>
                      <a:pt x="546" y="160"/>
                    </a:lnTo>
                    <a:lnTo>
                      <a:pt x="544" y="162"/>
                    </a:lnTo>
                    <a:lnTo>
                      <a:pt x="540" y="168"/>
                    </a:lnTo>
                    <a:lnTo>
                      <a:pt x="536" y="176"/>
                    </a:lnTo>
                    <a:lnTo>
                      <a:pt x="534" y="180"/>
                    </a:lnTo>
                    <a:lnTo>
                      <a:pt x="534" y="184"/>
                    </a:lnTo>
                    <a:lnTo>
                      <a:pt x="536" y="186"/>
                    </a:lnTo>
                    <a:lnTo>
                      <a:pt x="540" y="190"/>
                    </a:lnTo>
                    <a:lnTo>
                      <a:pt x="548" y="192"/>
                    </a:lnTo>
                    <a:lnTo>
                      <a:pt x="558" y="192"/>
                    </a:lnTo>
                    <a:lnTo>
                      <a:pt x="558" y="192"/>
                    </a:lnTo>
                    <a:lnTo>
                      <a:pt x="576" y="194"/>
                    </a:lnTo>
                    <a:lnTo>
                      <a:pt x="584" y="196"/>
                    </a:lnTo>
                    <a:lnTo>
                      <a:pt x="584" y="196"/>
                    </a:lnTo>
                    <a:lnTo>
                      <a:pt x="580" y="198"/>
                    </a:lnTo>
                    <a:lnTo>
                      <a:pt x="570" y="200"/>
                    </a:lnTo>
                    <a:lnTo>
                      <a:pt x="524" y="208"/>
                    </a:lnTo>
                    <a:lnTo>
                      <a:pt x="450" y="222"/>
                    </a:lnTo>
                    <a:lnTo>
                      <a:pt x="450" y="222"/>
                    </a:lnTo>
                    <a:lnTo>
                      <a:pt x="388" y="236"/>
                    </a:lnTo>
                    <a:lnTo>
                      <a:pt x="370" y="238"/>
                    </a:lnTo>
                    <a:lnTo>
                      <a:pt x="360" y="242"/>
                    </a:lnTo>
                    <a:lnTo>
                      <a:pt x="358" y="242"/>
                    </a:lnTo>
                    <a:lnTo>
                      <a:pt x="358" y="244"/>
                    </a:lnTo>
                    <a:lnTo>
                      <a:pt x="362" y="248"/>
                    </a:lnTo>
                    <a:lnTo>
                      <a:pt x="386" y="264"/>
                    </a:lnTo>
                    <a:lnTo>
                      <a:pt x="386" y="264"/>
                    </a:lnTo>
                    <a:lnTo>
                      <a:pt x="402" y="274"/>
                    </a:lnTo>
                    <a:lnTo>
                      <a:pt x="418" y="282"/>
                    </a:lnTo>
                    <a:lnTo>
                      <a:pt x="442" y="292"/>
                    </a:lnTo>
                    <a:lnTo>
                      <a:pt x="450" y="296"/>
                    </a:lnTo>
                    <a:lnTo>
                      <a:pt x="452" y="298"/>
                    </a:lnTo>
                    <a:lnTo>
                      <a:pt x="448" y="302"/>
                    </a:lnTo>
                    <a:lnTo>
                      <a:pt x="436" y="304"/>
                    </a:lnTo>
                    <a:lnTo>
                      <a:pt x="436" y="304"/>
                    </a:lnTo>
                    <a:lnTo>
                      <a:pt x="422" y="304"/>
                    </a:lnTo>
                    <a:lnTo>
                      <a:pt x="410" y="302"/>
                    </a:lnTo>
                    <a:lnTo>
                      <a:pt x="402" y="298"/>
                    </a:lnTo>
                    <a:lnTo>
                      <a:pt x="394" y="292"/>
                    </a:lnTo>
                    <a:lnTo>
                      <a:pt x="378" y="276"/>
                    </a:lnTo>
                    <a:lnTo>
                      <a:pt x="368" y="268"/>
                    </a:lnTo>
                    <a:lnTo>
                      <a:pt x="356" y="260"/>
                    </a:lnTo>
                    <a:lnTo>
                      <a:pt x="356" y="260"/>
                    </a:lnTo>
                    <a:lnTo>
                      <a:pt x="338" y="254"/>
                    </a:lnTo>
                    <a:lnTo>
                      <a:pt x="316" y="248"/>
                    </a:lnTo>
                    <a:lnTo>
                      <a:pt x="292" y="244"/>
                    </a:lnTo>
                    <a:lnTo>
                      <a:pt x="268" y="242"/>
                    </a:lnTo>
                    <a:lnTo>
                      <a:pt x="246" y="240"/>
                    </a:lnTo>
                    <a:lnTo>
                      <a:pt x="228" y="242"/>
                    </a:lnTo>
                    <a:lnTo>
                      <a:pt x="220" y="244"/>
                    </a:lnTo>
                    <a:lnTo>
                      <a:pt x="216" y="246"/>
                    </a:lnTo>
                    <a:lnTo>
                      <a:pt x="212" y="250"/>
                    </a:lnTo>
                    <a:lnTo>
                      <a:pt x="210" y="254"/>
                    </a:lnTo>
                    <a:lnTo>
                      <a:pt x="210" y="254"/>
                    </a:lnTo>
                    <a:lnTo>
                      <a:pt x="210" y="270"/>
                    </a:lnTo>
                    <a:lnTo>
                      <a:pt x="212" y="274"/>
                    </a:lnTo>
                    <a:lnTo>
                      <a:pt x="214" y="278"/>
                    </a:lnTo>
                    <a:lnTo>
                      <a:pt x="226" y="284"/>
                    </a:lnTo>
                    <a:lnTo>
                      <a:pt x="250" y="292"/>
                    </a:lnTo>
                    <a:lnTo>
                      <a:pt x="250" y="292"/>
                    </a:lnTo>
                    <a:lnTo>
                      <a:pt x="262" y="298"/>
                    </a:lnTo>
                    <a:lnTo>
                      <a:pt x="276" y="304"/>
                    </a:lnTo>
                    <a:lnTo>
                      <a:pt x="294" y="318"/>
                    </a:lnTo>
                    <a:lnTo>
                      <a:pt x="300" y="326"/>
                    </a:lnTo>
                    <a:lnTo>
                      <a:pt x="302" y="330"/>
                    </a:lnTo>
                    <a:lnTo>
                      <a:pt x="302" y="334"/>
                    </a:lnTo>
                    <a:lnTo>
                      <a:pt x="296" y="336"/>
                    </a:lnTo>
                    <a:lnTo>
                      <a:pt x="296" y="336"/>
                    </a:lnTo>
                    <a:lnTo>
                      <a:pt x="290" y="338"/>
                    </a:lnTo>
                    <a:lnTo>
                      <a:pt x="286" y="340"/>
                    </a:lnTo>
                    <a:lnTo>
                      <a:pt x="284" y="344"/>
                    </a:lnTo>
                    <a:lnTo>
                      <a:pt x="286" y="346"/>
                    </a:lnTo>
                    <a:lnTo>
                      <a:pt x="290" y="348"/>
                    </a:lnTo>
                    <a:lnTo>
                      <a:pt x="296" y="352"/>
                    </a:lnTo>
                    <a:lnTo>
                      <a:pt x="308" y="354"/>
                    </a:lnTo>
                    <a:lnTo>
                      <a:pt x="320" y="356"/>
                    </a:lnTo>
                    <a:lnTo>
                      <a:pt x="320" y="356"/>
                    </a:lnTo>
                    <a:lnTo>
                      <a:pt x="336" y="356"/>
                    </a:lnTo>
                    <a:lnTo>
                      <a:pt x="348" y="360"/>
                    </a:lnTo>
                    <a:lnTo>
                      <a:pt x="356" y="362"/>
                    </a:lnTo>
                    <a:lnTo>
                      <a:pt x="362" y="366"/>
                    </a:lnTo>
                    <a:lnTo>
                      <a:pt x="364" y="368"/>
                    </a:lnTo>
                    <a:lnTo>
                      <a:pt x="360" y="368"/>
                    </a:lnTo>
                    <a:lnTo>
                      <a:pt x="352" y="368"/>
                    </a:lnTo>
                    <a:lnTo>
                      <a:pt x="340" y="368"/>
                    </a:lnTo>
                    <a:lnTo>
                      <a:pt x="340" y="368"/>
                    </a:lnTo>
                    <a:lnTo>
                      <a:pt x="320" y="366"/>
                    </a:lnTo>
                    <a:lnTo>
                      <a:pt x="298" y="364"/>
                    </a:lnTo>
                    <a:lnTo>
                      <a:pt x="250" y="366"/>
                    </a:lnTo>
                    <a:lnTo>
                      <a:pt x="228" y="368"/>
                    </a:lnTo>
                    <a:lnTo>
                      <a:pt x="208" y="372"/>
                    </a:lnTo>
                    <a:lnTo>
                      <a:pt x="192" y="376"/>
                    </a:lnTo>
                    <a:lnTo>
                      <a:pt x="182" y="382"/>
                    </a:lnTo>
                    <a:lnTo>
                      <a:pt x="182" y="382"/>
                    </a:lnTo>
                    <a:lnTo>
                      <a:pt x="176" y="388"/>
                    </a:lnTo>
                    <a:lnTo>
                      <a:pt x="172" y="394"/>
                    </a:lnTo>
                    <a:lnTo>
                      <a:pt x="170" y="402"/>
                    </a:lnTo>
                    <a:lnTo>
                      <a:pt x="168" y="410"/>
                    </a:lnTo>
                    <a:lnTo>
                      <a:pt x="170" y="416"/>
                    </a:lnTo>
                    <a:lnTo>
                      <a:pt x="176" y="420"/>
                    </a:lnTo>
                    <a:lnTo>
                      <a:pt x="184" y="422"/>
                    </a:lnTo>
                    <a:lnTo>
                      <a:pt x="196" y="420"/>
                    </a:lnTo>
                    <a:lnTo>
                      <a:pt x="196" y="420"/>
                    </a:lnTo>
                    <a:lnTo>
                      <a:pt x="208" y="418"/>
                    </a:lnTo>
                    <a:lnTo>
                      <a:pt x="216" y="418"/>
                    </a:lnTo>
                    <a:lnTo>
                      <a:pt x="220" y="418"/>
                    </a:lnTo>
                    <a:lnTo>
                      <a:pt x="224" y="420"/>
                    </a:lnTo>
                    <a:lnTo>
                      <a:pt x="226" y="422"/>
                    </a:lnTo>
                    <a:lnTo>
                      <a:pt x="230" y="424"/>
                    </a:lnTo>
                    <a:lnTo>
                      <a:pt x="236" y="424"/>
                    </a:lnTo>
                    <a:lnTo>
                      <a:pt x="246" y="424"/>
                    </a:lnTo>
                    <a:lnTo>
                      <a:pt x="246" y="424"/>
                    </a:lnTo>
                    <a:lnTo>
                      <a:pt x="256" y="422"/>
                    </a:lnTo>
                    <a:lnTo>
                      <a:pt x="260" y="422"/>
                    </a:lnTo>
                    <a:lnTo>
                      <a:pt x="260" y="424"/>
                    </a:lnTo>
                    <a:lnTo>
                      <a:pt x="260" y="428"/>
                    </a:lnTo>
                    <a:lnTo>
                      <a:pt x="258" y="434"/>
                    </a:lnTo>
                    <a:lnTo>
                      <a:pt x="256" y="440"/>
                    </a:lnTo>
                    <a:lnTo>
                      <a:pt x="258" y="450"/>
                    </a:lnTo>
                    <a:lnTo>
                      <a:pt x="266" y="460"/>
                    </a:lnTo>
                    <a:lnTo>
                      <a:pt x="266" y="460"/>
                    </a:lnTo>
                    <a:lnTo>
                      <a:pt x="270" y="464"/>
                    </a:lnTo>
                    <a:lnTo>
                      <a:pt x="276" y="468"/>
                    </a:lnTo>
                    <a:lnTo>
                      <a:pt x="282" y="470"/>
                    </a:lnTo>
                    <a:lnTo>
                      <a:pt x="288" y="472"/>
                    </a:lnTo>
                    <a:lnTo>
                      <a:pt x="302" y="470"/>
                    </a:lnTo>
                    <a:lnTo>
                      <a:pt x="316" y="466"/>
                    </a:lnTo>
                    <a:lnTo>
                      <a:pt x="330" y="460"/>
                    </a:lnTo>
                    <a:lnTo>
                      <a:pt x="342" y="450"/>
                    </a:lnTo>
                    <a:lnTo>
                      <a:pt x="354" y="442"/>
                    </a:lnTo>
                    <a:lnTo>
                      <a:pt x="366" y="432"/>
                    </a:lnTo>
                    <a:lnTo>
                      <a:pt x="366" y="432"/>
                    </a:lnTo>
                    <a:lnTo>
                      <a:pt x="372" y="426"/>
                    </a:lnTo>
                    <a:lnTo>
                      <a:pt x="372" y="428"/>
                    </a:lnTo>
                    <a:lnTo>
                      <a:pt x="372" y="430"/>
                    </a:lnTo>
                    <a:lnTo>
                      <a:pt x="366" y="440"/>
                    </a:lnTo>
                    <a:lnTo>
                      <a:pt x="356" y="452"/>
                    </a:lnTo>
                    <a:lnTo>
                      <a:pt x="342" y="464"/>
                    </a:lnTo>
                    <a:lnTo>
                      <a:pt x="326" y="476"/>
                    </a:lnTo>
                    <a:lnTo>
                      <a:pt x="316" y="482"/>
                    </a:lnTo>
                    <a:lnTo>
                      <a:pt x="306" y="484"/>
                    </a:lnTo>
                    <a:lnTo>
                      <a:pt x="296" y="486"/>
                    </a:lnTo>
                    <a:lnTo>
                      <a:pt x="286" y="486"/>
                    </a:lnTo>
                    <a:lnTo>
                      <a:pt x="286" y="486"/>
                    </a:lnTo>
                    <a:lnTo>
                      <a:pt x="270" y="482"/>
                    </a:lnTo>
                    <a:lnTo>
                      <a:pt x="256" y="476"/>
                    </a:lnTo>
                    <a:lnTo>
                      <a:pt x="246" y="468"/>
                    </a:lnTo>
                    <a:lnTo>
                      <a:pt x="238" y="460"/>
                    </a:lnTo>
                    <a:lnTo>
                      <a:pt x="228" y="452"/>
                    </a:lnTo>
                    <a:lnTo>
                      <a:pt x="218" y="446"/>
                    </a:lnTo>
                    <a:lnTo>
                      <a:pt x="206" y="440"/>
                    </a:lnTo>
                    <a:lnTo>
                      <a:pt x="190" y="438"/>
                    </a:lnTo>
                    <a:lnTo>
                      <a:pt x="190" y="438"/>
                    </a:lnTo>
                    <a:lnTo>
                      <a:pt x="160" y="440"/>
                    </a:lnTo>
                    <a:lnTo>
                      <a:pt x="150" y="440"/>
                    </a:lnTo>
                    <a:lnTo>
                      <a:pt x="144" y="444"/>
                    </a:lnTo>
                    <a:lnTo>
                      <a:pt x="140" y="446"/>
                    </a:lnTo>
                    <a:lnTo>
                      <a:pt x="140" y="450"/>
                    </a:lnTo>
                    <a:lnTo>
                      <a:pt x="144" y="456"/>
                    </a:lnTo>
                    <a:lnTo>
                      <a:pt x="150" y="462"/>
                    </a:lnTo>
                    <a:lnTo>
                      <a:pt x="150" y="462"/>
                    </a:lnTo>
                    <a:lnTo>
                      <a:pt x="166" y="476"/>
                    </a:lnTo>
                    <a:lnTo>
                      <a:pt x="182" y="490"/>
                    </a:lnTo>
                    <a:lnTo>
                      <a:pt x="184" y="494"/>
                    </a:lnTo>
                    <a:lnTo>
                      <a:pt x="184" y="496"/>
                    </a:lnTo>
                    <a:lnTo>
                      <a:pt x="182" y="498"/>
                    </a:lnTo>
                    <a:lnTo>
                      <a:pt x="174" y="500"/>
                    </a:lnTo>
                    <a:lnTo>
                      <a:pt x="160" y="502"/>
                    </a:lnTo>
                    <a:lnTo>
                      <a:pt x="160" y="502"/>
                    </a:lnTo>
                    <a:lnTo>
                      <a:pt x="142" y="502"/>
                    </a:lnTo>
                    <a:lnTo>
                      <a:pt x="124" y="506"/>
                    </a:lnTo>
                    <a:lnTo>
                      <a:pt x="110" y="512"/>
                    </a:lnTo>
                    <a:lnTo>
                      <a:pt x="98" y="518"/>
                    </a:lnTo>
                    <a:lnTo>
                      <a:pt x="90" y="526"/>
                    </a:lnTo>
                    <a:lnTo>
                      <a:pt x="88" y="534"/>
                    </a:lnTo>
                    <a:lnTo>
                      <a:pt x="88" y="538"/>
                    </a:lnTo>
                    <a:lnTo>
                      <a:pt x="88" y="542"/>
                    </a:lnTo>
                    <a:lnTo>
                      <a:pt x="92" y="546"/>
                    </a:lnTo>
                    <a:lnTo>
                      <a:pt x="96" y="550"/>
                    </a:lnTo>
                    <a:lnTo>
                      <a:pt x="96" y="550"/>
                    </a:lnTo>
                    <a:lnTo>
                      <a:pt x="100" y="552"/>
                    </a:lnTo>
                    <a:lnTo>
                      <a:pt x="104" y="552"/>
                    </a:lnTo>
                    <a:lnTo>
                      <a:pt x="114" y="552"/>
                    </a:lnTo>
                    <a:lnTo>
                      <a:pt x="124" y="552"/>
                    </a:lnTo>
                    <a:lnTo>
                      <a:pt x="130" y="554"/>
                    </a:lnTo>
                    <a:lnTo>
                      <a:pt x="138" y="558"/>
                    </a:lnTo>
                    <a:lnTo>
                      <a:pt x="138" y="558"/>
                    </a:lnTo>
                    <a:lnTo>
                      <a:pt x="146" y="562"/>
                    </a:lnTo>
                    <a:lnTo>
                      <a:pt x="154" y="566"/>
                    </a:lnTo>
                    <a:lnTo>
                      <a:pt x="162" y="566"/>
                    </a:lnTo>
                    <a:lnTo>
                      <a:pt x="170" y="564"/>
                    </a:lnTo>
                    <a:lnTo>
                      <a:pt x="186" y="560"/>
                    </a:lnTo>
                    <a:lnTo>
                      <a:pt x="200" y="552"/>
                    </a:lnTo>
                    <a:lnTo>
                      <a:pt x="200" y="552"/>
                    </a:lnTo>
                    <a:lnTo>
                      <a:pt x="206" y="552"/>
                    </a:lnTo>
                    <a:lnTo>
                      <a:pt x="212" y="552"/>
                    </a:lnTo>
                    <a:lnTo>
                      <a:pt x="226" y="556"/>
                    </a:lnTo>
                    <a:lnTo>
                      <a:pt x="244" y="562"/>
                    </a:lnTo>
                    <a:lnTo>
                      <a:pt x="256" y="566"/>
                    </a:lnTo>
                    <a:lnTo>
                      <a:pt x="272" y="566"/>
                    </a:lnTo>
                    <a:lnTo>
                      <a:pt x="272" y="566"/>
                    </a:lnTo>
                    <a:lnTo>
                      <a:pt x="286" y="566"/>
                    </a:lnTo>
                    <a:lnTo>
                      <a:pt x="294" y="564"/>
                    </a:lnTo>
                    <a:lnTo>
                      <a:pt x="298" y="560"/>
                    </a:lnTo>
                    <a:lnTo>
                      <a:pt x="302" y="556"/>
                    </a:lnTo>
                    <a:lnTo>
                      <a:pt x="306" y="554"/>
                    </a:lnTo>
                    <a:lnTo>
                      <a:pt x="312" y="552"/>
                    </a:lnTo>
                    <a:lnTo>
                      <a:pt x="322" y="552"/>
                    </a:lnTo>
                    <a:lnTo>
                      <a:pt x="336" y="558"/>
                    </a:lnTo>
                    <a:lnTo>
                      <a:pt x="336" y="558"/>
                    </a:lnTo>
                    <a:lnTo>
                      <a:pt x="346" y="560"/>
                    </a:lnTo>
                    <a:lnTo>
                      <a:pt x="356" y="560"/>
                    </a:lnTo>
                    <a:lnTo>
                      <a:pt x="376" y="560"/>
                    </a:lnTo>
                    <a:lnTo>
                      <a:pt x="394" y="556"/>
                    </a:lnTo>
                    <a:lnTo>
                      <a:pt x="412" y="552"/>
                    </a:lnTo>
                    <a:lnTo>
                      <a:pt x="426" y="548"/>
                    </a:lnTo>
                    <a:lnTo>
                      <a:pt x="436" y="548"/>
                    </a:lnTo>
                    <a:lnTo>
                      <a:pt x="438" y="548"/>
                    </a:lnTo>
                    <a:lnTo>
                      <a:pt x="440" y="550"/>
                    </a:lnTo>
                    <a:lnTo>
                      <a:pt x="442" y="554"/>
                    </a:lnTo>
                    <a:lnTo>
                      <a:pt x="440" y="560"/>
                    </a:lnTo>
                    <a:lnTo>
                      <a:pt x="440" y="560"/>
                    </a:lnTo>
                    <a:lnTo>
                      <a:pt x="438" y="564"/>
                    </a:lnTo>
                    <a:lnTo>
                      <a:pt x="438" y="570"/>
                    </a:lnTo>
                    <a:lnTo>
                      <a:pt x="440" y="572"/>
                    </a:lnTo>
                    <a:lnTo>
                      <a:pt x="442" y="576"/>
                    </a:lnTo>
                    <a:lnTo>
                      <a:pt x="450" y="578"/>
                    </a:lnTo>
                    <a:lnTo>
                      <a:pt x="462" y="578"/>
                    </a:lnTo>
                    <a:lnTo>
                      <a:pt x="474" y="574"/>
                    </a:lnTo>
                    <a:lnTo>
                      <a:pt x="486" y="570"/>
                    </a:lnTo>
                    <a:lnTo>
                      <a:pt x="510" y="558"/>
                    </a:lnTo>
                    <a:lnTo>
                      <a:pt x="510" y="558"/>
                    </a:lnTo>
                    <a:lnTo>
                      <a:pt x="518" y="552"/>
                    </a:lnTo>
                    <a:lnTo>
                      <a:pt x="528" y="552"/>
                    </a:lnTo>
                    <a:lnTo>
                      <a:pt x="544" y="550"/>
                    </a:lnTo>
                    <a:lnTo>
                      <a:pt x="550" y="550"/>
                    </a:lnTo>
                    <a:lnTo>
                      <a:pt x="556" y="546"/>
                    </a:lnTo>
                    <a:lnTo>
                      <a:pt x="560" y="538"/>
                    </a:lnTo>
                    <a:lnTo>
                      <a:pt x="562" y="526"/>
                    </a:lnTo>
                    <a:lnTo>
                      <a:pt x="562" y="526"/>
                    </a:lnTo>
                    <a:lnTo>
                      <a:pt x="562" y="520"/>
                    </a:lnTo>
                    <a:lnTo>
                      <a:pt x="560" y="518"/>
                    </a:lnTo>
                    <a:lnTo>
                      <a:pt x="558" y="514"/>
                    </a:lnTo>
                    <a:lnTo>
                      <a:pt x="556" y="514"/>
                    </a:lnTo>
                    <a:lnTo>
                      <a:pt x="546" y="512"/>
                    </a:lnTo>
                    <a:lnTo>
                      <a:pt x="536" y="512"/>
                    </a:lnTo>
                    <a:lnTo>
                      <a:pt x="526" y="514"/>
                    </a:lnTo>
                    <a:lnTo>
                      <a:pt x="518" y="514"/>
                    </a:lnTo>
                    <a:lnTo>
                      <a:pt x="512" y="512"/>
                    </a:lnTo>
                    <a:lnTo>
                      <a:pt x="510" y="510"/>
                    </a:lnTo>
                    <a:lnTo>
                      <a:pt x="508" y="506"/>
                    </a:lnTo>
                    <a:lnTo>
                      <a:pt x="508" y="506"/>
                    </a:lnTo>
                    <a:lnTo>
                      <a:pt x="510" y="500"/>
                    </a:lnTo>
                    <a:lnTo>
                      <a:pt x="512" y="494"/>
                    </a:lnTo>
                    <a:lnTo>
                      <a:pt x="514" y="490"/>
                    </a:lnTo>
                    <a:lnTo>
                      <a:pt x="520" y="488"/>
                    </a:lnTo>
                    <a:lnTo>
                      <a:pt x="532" y="482"/>
                    </a:lnTo>
                    <a:lnTo>
                      <a:pt x="550" y="472"/>
                    </a:lnTo>
                    <a:lnTo>
                      <a:pt x="550" y="472"/>
                    </a:lnTo>
                    <a:lnTo>
                      <a:pt x="554" y="468"/>
                    </a:lnTo>
                    <a:lnTo>
                      <a:pt x="556" y="464"/>
                    </a:lnTo>
                    <a:lnTo>
                      <a:pt x="556" y="460"/>
                    </a:lnTo>
                    <a:lnTo>
                      <a:pt x="556" y="456"/>
                    </a:lnTo>
                    <a:lnTo>
                      <a:pt x="552" y="448"/>
                    </a:lnTo>
                    <a:lnTo>
                      <a:pt x="548" y="442"/>
                    </a:lnTo>
                    <a:lnTo>
                      <a:pt x="546" y="436"/>
                    </a:lnTo>
                    <a:lnTo>
                      <a:pt x="548" y="434"/>
                    </a:lnTo>
                    <a:lnTo>
                      <a:pt x="550" y="432"/>
                    </a:lnTo>
                    <a:lnTo>
                      <a:pt x="560" y="430"/>
                    </a:lnTo>
                    <a:lnTo>
                      <a:pt x="582" y="434"/>
                    </a:lnTo>
                    <a:lnTo>
                      <a:pt x="582" y="434"/>
                    </a:lnTo>
                    <a:lnTo>
                      <a:pt x="602" y="436"/>
                    </a:lnTo>
                    <a:lnTo>
                      <a:pt x="620" y="434"/>
                    </a:lnTo>
                    <a:lnTo>
                      <a:pt x="636" y="430"/>
                    </a:lnTo>
                    <a:lnTo>
                      <a:pt x="650" y="424"/>
                    </a:lnTo>
                    <a:lnTo>
                      <a:pt x="660" y="418"/>
                    </a:lnTo>
                    <a:lnTo>
                      <a:pt x="666" y="410"/>
                    </a:lnTo>
                    <a:lnTo>
                      <a:pt x="668" y="402"/>
                    </a:lnTo>
                    <a:lnTo>
                      <a:pt x="668" y="400"/>
                    </a:lnTo>
                    <a:lnTo>
                      <a:pt x="666" y="396"/>
                    </a:lnTo>
                    <a:lnTo>
                      <a:pt x="666" y="396"/>
                    </a:lnTo>
                    <a:lnTo>
                      <a:pt x="664" y="394"/>
                    </a:lnTo>
                    <a:lnTo>
                      <a:pt x="664" y="392"/>
                    </a:lnTo>
                    <a:lnTo>
                      <a:pt x="666" y="388"/>
                    </a:lnTo>
                    <a:lnTo>
                      <a:pt x="680" y="382"/>
                    </a:lnTo>
                    <a:lnTo>
                      <a:pt x="684" y="378"/>
                    </a:lnTo>
                    <a:lnTo>
                      <a:pt x="684" y="376"/>
                    </a:lnTo>
                    <a:lnTo>
                      <a:pt x="684" y="372"/>
                    </a:lnTo>
                    <a:lnTo>
                      <a:pt x="678" y="366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48" y="350"/>
                    </a:lnTo>
                    <a:lnTo>
                      <a:pt x="644" y="348"/>
                    </a:lnTo>
                    <a:lnTo>
                      <a:pt x="644" y="346"/>
                    </a:lnTo>
                    <a:lnTo>
                      <a:pt x="650" y="346"/>
                    </a:lnTo>
                    <a:lnTo>
                      <a:pt x="662" y="348"/>
                    </a:lnTo>
                    <a:lnTo>
                      <a:pt x="674" y="348"/>
                    </a:lnTo>
                    <a:lnTo>
                      <a:pt x="686" y="348"/>
                    </a:lnTo>
                    <a:lnTo>
                      <a:pt x="690" y="348"/>
                    </a:lnTo>
                    <a:lnTo>
                      <a:pt x="694" y="346"/>
                    </a:lnTo>
                    <a:lnTo>
                      <a:pt x="696" y="344"/>
                    </a:lnTo>
                    <a:lnTo>
                      <a:pt x="694" y="340"/>
                    </a:lnTo>
                    <a:lnTo>
                      <a:pt x="694" y="340"/>
                    </a:lnTo>
                    <a:lnTo>
                      <a:pt x="690" y="332"/>
                    </a:lnTo>
                    <a:lnTo>
                      <a:pt x="684" y="328"/>
                    </a:lnTo>
                    <a:lnTo>
                      <a:pt x="680" y="324"/>
                    </a:lnTo>
                    <a:lnTo>
                      <a:pt x="674" y="324"/>
                    </a:lnTo>
                    <a:lnTo>
                      <a:pt x="658" y="326"/>
                    </a:lnTo>
                    <a:lnTo>
                      <a:pt x="638" y="328"/>
                    </a:lnTo>
                    <a:lnTo>
                      <a:pt x="638" y="328"/>
                    </a:lnTo>
                    <a:lnTo>
                      <a:pt x="614" y="328"/>
                    </a:lnTo>
                    <a:lnTo>
                      <a:pt x="592" y="328"/>
                    </a:lnTo>
                    <a:lnTo>
                      <a:pt x="584" y="328"/>
                    </a:lnTo>
                    <a:lnTo>
                      <a:pt x="578" y="326"/>
                    </a:lnTo>
                    <a:lnTo>
                      <a:pt x="576" y="324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8" y="318"/>
                    </a:lnTo>
                    <a:lnTo>
                      <a:pt x="602" y="314"/>
                    </a:lnTo>
                    <a:lnTo>
                      <a:pt x="644" y="312"/>
                    </a:lnTo>
                    <a:lnTo>
                      <a:pt x="692" y="310"/>
                    </a:lnTo>
                    <a:lnTo>
                      <a:pt x="730" y="306"/>
                    </a:lnTo>
                    <a:lnTo>
                      <a:pt x="730" y="306"/>
                    </a:lnTo>
                    <a:lnTo>
                      <a:pt x="742" y="304"/>
                    </a:lnTo>
                    <a:lnTo>
                      <a:pt x="750" y="300"/>
                    </a:lnTo>
                    <a:lnTo>
                      <a:pt x="752" y="296"/>
                    </a:lnTo>
                    <a:lnTo>
                      <a:pt x="752" y="290"/>
                    </a:lnTo>
                    <a:lnTo>
                      <a:pt x="752" y="284"/>
                    </a:lnTo>
                    <a:lnTo>
                      <a:pt x="754" y="284"/>
                    </a:lnTo>
                    <a:lnTo>
                      <a:pt x="762" y="286"/>
                    </a:lnTo>
                    <a:lnTo>
                      <a:pt x="762" y="286"/>
                    </a:lnTo>
                    <a:lnTo>
                      <a:pt x="770" y="290"/>
                    </a:lnTo>
                    <a:lnTo>
                      <a:pt x="780" y="292"/>
                    </a:lnTo>
                    <a:lnTo>
                      <a:pt x="790" y="294"/>
                    </a:lnTo>
                    <a:lnTo>
                      <a:pt x="800" y="292"/>
                    </a:lnTo>
                    <a:lnTo>
                      <a:pt x="812" y="290"/>
                    </a:lnTo>
                    <a:lnTo>
                      <a:pt x="822" y="286"/>
                    </a:lnTo>
                    <a:lnTo>
                      <a:pt x="832" y="278"/>
                    </a:lnTo>
                    <a:lnTo>
                      <a:pt x="842" y="270"/>
                    </a:lnTo>
                    <a:lnTo>
                      <a:pt x="842" y="270"/>
                    </a:lnTo>
                    <a:lnTo>
                      <a:pt x="852" y="260"/>
                    </a:lnTo>
                    <a:lnTo>
                      <a:pt x="866" y="248"/>
                    </a:lnTo>
                    <a:lnTo>
                      <a:pt x="882" y="238"/>
                    </a:lnTo>
                    <a:lnTo>
                      <a:pt x="902" y="228"/>
                    </a:lnTo>
                    <a:lnTo>
                      <a:pt x="954" y="204"/>
                    </a:lnTo>
                    <a:lnTo>
                      <a:pt x="1020" y="178"/>
                    </a:lnTo>
                    <a:lnTo>
                      <a:pt x="1020" y="178"/>
                    </a:lnTo>
                    <a:lnTo>
                      <a:pt x="1076" y="154"/>
                    </a:lnTo>
                    <a:lnTo>
                      <a:pt x="1092" y="146"/>
                    </a:lnTo>
                    <a:lnTo>
                      <a:pt x="1098" y="142"/>
                    </a:lnTo>
                    <a:lnTo>
                      <a:pt x="1098" y="140"/>
                    </a:lnTo>
                    <a:lnTo>
                      <a:pt x="1094" y="140"/>
                    </a:lnTo>
                    <a:lnTo>
                      <a:pt x="1084" y="140"/>
                    </a:lnTo>
                    <a:lnTo>
                      <a:pt x="1038" y="142"/>
                    </a:lnTo>
                    <a:lnTo>
                      <a:pt x="1038" y="142"/>
                    </a:lnTo>
                    <a:lnTo>
                      <a:pt x="1014" y="144"/>
                    </a:lnTo>
                    <a:lnTo>
                      <a:pt x="1002" y="144"/>
                    </a:lnTo>
                    <a:lnTo>
                      <a:pt x="1000" y="142"/>
                    </a:lnTo>
                    <a:lnTo>
                      <a:pt x="1000" y="142"/>
                    </a:lnTo>
                    <a:lnTo>
                      <a:pt x="1006" y="138"/>
                    </a:lnTo>
                    <a:lnTo>
                      <a:pt x="1034" y="130"/>
                    </a:lnTo>
                    <a:lnTo>
                      <a:pt x="1072" y="122"/>
                    </a:lnTo>
                    <a:lnTo>
                      <a:pt x="1072" y="122"/>
                    </a:lnTo>
                    <a:lnTo>
                      <a:pt x="1118" y="112"/>
                    </a:lnTo>
                    <a:lnTo>
                      <a:pt x="1172" y="100"/>
                    </a:lnTo>
                    <a:lnTo>
                      <a:pt x="1198" y="92"/>
                    </a:lnTo>
                    <a:lnTo>
                      <a:pt x="1218" y="84"/>
                    </a:lnTo>
                    <a:lnTo>
                      <a:pt x="1232" y="76"/>
                    </a:lnTo>
                    <a:lnTo>
                      <a:pt x="1236" y="72"/>
                    </a:lnTo>
                    <a:lnTo>
                      <a:pt x="1236" y="68"/>
                    </a:lnTo>
                    <a:lnTo>
                      <a:pt x="1236" y="68"/>
                    </a:lnTo>
                    <a:lnTo>
                      <a:pt x="1236" y="64"/>
                    </a:lnTo>
                    <a:lnTo>
                      <a:pt x="1234" y="62"/>
                    </a:lnTo>
                    <a:lnTo>
                      <a:pt x="1224" y="58"/>
                    </a:lnTo>
                    <a:lnTo>
                      <a:pt x="1210" y="58"/>
                    </a:lnTo>
                    <a:lnTo>
                      <a:pt x="1196" y="56"/>
                    </a:lnTo>
                    <a:lnTo>
                      <a:pt x="1182" y="56"/>
                    </a:lnTo>
                    <a:lnTo>
                      <a:pt x="1168" y="54"/>
                    </a:lnTo>
                    <a:lnTo>
                      <a:pt x="1160" y="50"/>
                    </a:lnTo>
                    <a:lnTo>
                      <a:pt x="1158" y="48"/>
                    </a:lnTo>
                    <a:lnTo>
                      <a:pt x="1156" y="44"/>
                    </a:lnTo>
                    <a:lnTo>
                      <a:pt x="1156" y="44"/>
                    </a:lnTo>
                    <a:lnTo>
                      <a:pt x="1156" y="40"/>
                    </a:lnTo>
                    <a:lnTo>
                      <a:pt x="1154" y="36"/>
                    </a:lnTo>
                    <a:lnTo>
                      <a:pt x="1146" y="30"/>
                    </a:lnTo>
                    <a:lnTo>
                      <a:pt x="1136" y="26"/>
                    </a:lnTo>
                    <a:lnTo>
                      <a:pt x="1122" y="24"/>
                    </a:lnTo>
                    <a:lnTo>
                      <a:pt x="1094" y="20"/>
                    </a:lnTo>
                    <a:lnTo>
                      <a:pt x="1078" y="20"/>
                    </a:lnTo>
                    <a:lnTo>
                      <a:pt x="1078" y="20"/>
                    </a:lnTo>
                    <a:lnTo>
                      <a:pt x="1062" y="22"/>
                    </a:lnTo>
                    <a:lnTo>
                      <a:pt x="1050" y="22"/>
                    </a:lnTo>
                    <a:lnTo>
                      <a:pt x="1038" y="22"/>
                    </a:lnTo>
                    <a:lnTo>
                      <a:pt x="1018" y="30"/>
                    </a:lnTo>
                    <a:lnTo>
                      <a:pt x="1018" y="30"/>
                    </a:lnTo>
                    <a:lnTo>
                      <a:pt x="1004" y="34"/>
                    </a:lnTo>
                    <a:lnTo>
                      <a:pt x="990" y="38"/>
                    </a:lnTo>
                    <a:lnTo>
                      <a:pt x="962" y="40"/>
                    </a:lnTo>
                    <a:lnTo>
                      <a:pt x="948" y="40"/>
                    </a:lnTo>
                    <a:lnTo>
                      <a:pt x="948" y="40"/>
                    </a:lnTo>
                    <a:lnTo>
                      <a:pt x="948" y="38"/>
                    </a:lnTo>
                    <a:lnTo>
                      <a:pt x="958" y="36"/>
                    </a:lnTo>
                    <a:lnTo>
                      <a:pt x="958" y="36"/>
                    </a:lnTo>
                    <a:lnTo>
                      <a:pt x="986" y="30"/>
                    </a:lnTo>
                    <a:lnTo>
                      <a:pt x="1004" y="24"/>
                    </a:lnTo>
                    <a:lnTo>
                      <a:pt x="1008" y="22"/>
                    </a:lnTo>
                    <a:lnTo>
                      <a:pt x="1008" y="20"/>
                    </a:lnTo>
                    <a:lnTo>
                      <a:pt x="1006" y="20"/>
                    </a:lnTo>
                    <a:lnTo>
                      <a:pt x="998" y="18"/>
                    </a:lnTo>
                    <a:lnTo>
                      <a:pt x="980" y="16"/>
                    </a:lnTo>
                    <a:lnTo>
                      <a:pt x="980" y="16"/>
                    </a:lnTo>
                    <a:lnTo>
                      <a:pt x="958" y="16"/>
                    </a:lnTo>
                    <a:lnTo>
                      <a:pt x="942" y="14"/>
                    </a:lnTo>
                    <a:lnTo>
                      <a:pt x="912" y="6"/>
                    </a:lnTo>
                    <a:lnTo>
                      <a:pt x="900" y="2"/>
                    </a:lnTo>
                    <a:lnTo>
                      <a:pt x="888" y="0"/>
                    </a:lnTo>
                    <a:lnTo>
                      <a:pt x="874" y="0"/>
                    </a:lnTo>
                    <a:lnTo>
                      <a:pt x="858" y="2"/>
                    </a:lnTo>
                    <a:lnTo>
                      <a:pt x="858" y="2"/>
                    </a:lnTo>
                    <a:lnTo>
                      <a:pt x="830" y="4"/>
                    </a:lnTo>
                    <a:lnTo>
                      <a:pt x="808" y="4"/>
                    </a:lnTo>
                    <a:lnTo>
                      <a:pt x="788" y="4"/>
                    </a:lnTo>
                    <a:lnTo>
                      <a:pt x="776" y="6"/>
                    </a:lnTo>
                    <a:lnTo>
                      <a:pt x="762" y="10"/>
                    </a:lnTo>
                    <a:lnTo>
                      <a:pt x="762" y="10"/>
                    </a:lnTo>
                    <a:lnTo>
                      <a:pt x="746" y="14"/>
                    </a:lnTo>
                    <a:lnTo>
                      <a:pt x="728" y="14"/>
                    </a:lnTo>
                    <a:lnTo>
                      <a:pt x="690" y="10"/>
                    </a:lnTo>
                    <a:lnTo>
                      <a:pt x="666" y="10"/>
                    </a:lnTo>
                    <a:lnTo>
                      <a:pt x="640" y="10"/>
                    </a:lnTo>
                    <a:lnTo>
                      <a:pt x="608" y="12"/>
                    </a:lnTo>
                    <a:lnTo>
                      <a:pt x="574" y="20"/>
                    </a:lnTo>
                    <a:lnTo>
                      <a:pt x="574" y="20"/>
                    </a:lnTo>
                    <a:lnTo>
                      <a:pt x="556" y="22"/>
                    </a:lnTo>
                    <a:lnTo>
                      <a:pt x="540" y="22"/>
                    </a:lnTo>
                    <a:lnTo>
                      <a:pt x="526" y="20"/>
                    </a:lnTo>
                    <a:lnTo>
                      <a:pt x="514" y="16"/>
                    </a:lnTo>
                    <a:lnTo>
                      <a:pt x="500" y="14"/>
                    </a:lnTo>
                    <a:lnTo>
                      <a:pt x="490" y="12"/>
                    </a:lnTo>
                    <a:lnTo>
                      <a:pt x="478" y="14"/>
                    </a:lnTo>
                    <a:lnTo>
                      <a:pt x="466" y="18"/>
                    </a:lnTo>
                    <a:lnTo>
                      <a:pt x="466" y="18"/>
                    </a:lnTo>
                    <a:lnTo>
                      <a:pt x="454" y="22"/>
                    </a:lnTo>
                    <a:lnTo>
                      <a:pt x="442" y="24"/>
                    </a:lnTo>
                    <a:lnTo>
                      <a:pt x="432" y="24"/>
                    </a:lnTo>
                    <a:lnTo>
                      <a:pt x="422" y="24"/>
                    </a:lnTo>
                    <a:lnTo>
                      <a:pt x="416" y="22"/>
                    </a:lnTo>
                    <a:lnTo>
                      <a:pt x="412" y="24"/>
                    </a:lnTo>
                    <a:lnTo>
                      <a:pt x="416" y="28"/>
                    </a:lnTo>
                    <a:lnTo>
                      <a:pt x="424" y="36"/>
                    </a:lnTo>
                    <a:lnTo>
                      <a:pt x="424" y="36"/>
                    </a:lnTo>
                    <a:lnTo>
                      <a:pt x="430" y="44"/>
                    </a:lnTo>
                    <a:lnTo>
                      <a:pt x="430" y="46"/>
                    </a:lnTo>
                    <a:lnTo>
                      <a:pt x="430" y="48"/>
                    </a:lnTo>
                    <a:lnTo>
                      <a:pt x="424" y="48"/>
                    </a:lnTo>
                    <a:lnTo>
                      <a:pt x="414" y="46"/>
                    </a:lnTo>
                    <a:lnTo>
                      <a:pt x="404" y="44"/>
                    </a:lnTo>
                    <a:lnTo>
                      <a:pt x="392" y="42"/>
                    </a:lnTo>
                    <a:lnTo>
                      <a:pt x="384" y="44"/>
                    </a:lnTo>
                    <a:lnTo>
                      <a:pt x="380" y="46"/>
                    </a:lnTo>
                    <a:lnTo>
                      <a:pt x="378" y="50"/>
                    </a:lnTo>
                    <a:lnTo>
                      <a:pt x="378" y="50"/>
                    </a:lnTo>
                    <a:lnTo>
                      <a:pt x="376" y="58"/>
                    </a:lnTo>
                    <a:lnTo>
                      <a:pt x="372" y="62"/>
                    </a:lnTo>
                    <a:lnTo>
                      <a:pt x="366" y="66"/>
                    </a:lnTo>
                    <a:lnTo>
                      <a:pt x="360" y="68"/>
                    </a:lnTo>
                    <a:lnTo>
                      <a:pt x="352" y="70"/>
                    </a:lnTo>
                    <a:lnTo>
                      <a:pt x="340" y="70"/>
                    </a:lnTo>
                    <a:lnTo>
                      <a:pt x="312" y="68"/>
                    </a:lnTo>
                    <a:lnTo>
                      <a:pt x="312" y="68"/>
                    </a:lnTo>
                    <a:lnTo>
                      <a:pt x="300" y="66"/>
                    </a:lnTo>
                    <a:lnTo>
                      <a:pt x="292" y="64"/>
                    </a:lnTo>
                    <a:lnTo>
                      <a:pt x="290" y="60"/>
                    </a:lnTo>
                    <a:lnTo>
                      <a:pt x="290" y="58"/>
                    </a:lnTo>
                    <a:lnTo>
                      <a:pt x="290" y="56"/>
                    </a:lnTo>
                    <a:lnTo>
                      <a:pt x="288" y="54"/>
                    </a:lnTo>
                    <a:lnTo>
                      <a:pt x="280" y="52"/>
                    </a:lnTo>
                    <a:lnTo>
                      <a:pt x="264" y="52"/>
                    </a:lnTo>
                    <a:lnTo>
                      <a:pt x="264" y="52"/>
                    </a:lnTo>
                    <a:lnTo>
                      <a:pt x="250" y="52"/>
                    </a:lnTo>
                    <a:lnTo>
                      <a:pt x="244" y="52"/>
                    </a:lnTo>
                    <a:lnTo>
                      <a:pt x="244" y="56"/>
                    </a:lnTo>
                    <a:lnTo>
                      <a:pt x="246" y="60"/>
                    </a:lnTo>
                    <a:lnTo>
                      <a:pt x="248" y="64"/>
                    </a:lnTo>
                    <a:lnTo>
                      <a:pt x="248" y="66"/>
                    </a:lnTo>
                    <a:lnTo>
                      <a:pt x="248" y="68"/>
                    </a:lnTo>
                    <a:lnTo>
                      <a:pt x="240" y="72"/>
                    </a:lnTo>
                    <a:lnTo>
                      <a:pt x="224" y="76"/>
                    </a:lnTo>
                    <a:lnTo>
                      <a:pt x="224" y="76"/>
                    </a:lnTo>
                    <a:lnTo>
                      <a:pt x="208" y="78"/>
                    </a:lnTo>
                    <a:lnTo>
                      <a:pt x="206" y="78"/>
                    </a:lnTo>
                    <a:lnTo>
                      <a:pt x="206" y="80"/>
                    </a:lnTo>
                    <a:lnTo>
                      <a:pt x="212" y="82"/>
                    </a:lnTo>
                    <a:lnTo>
                      <a:pt x="224" y="86"/>
                    </a:lnTo>
                    <a:lnTo>
                      <a:pt x="248" y="92"/>
                    </a:lnTo>
                    <a:lnTo>
                      <a:pt x="254" y="94"/>
                    </a:lnTo>
                    <a:lnTo>
                      <a:pt x="252" y="96"/>
                    </a:lnTo>
                    <a:lnTo>
                      <a:pt x="248" y="98"/>
                    </a:lnTo>
                    <a:lnTo>
                      <a:pt x="248" y="98"/>
                    </a:lnTo>
                    <a:lnTo>
                      <a:pt x="238" y="98"/>
                    </a:lnTo>
                    <a:lnTo>
                      <a:pt x="228" y="98"/>
                    </a:lnTo>
                    <a:lnTo>
                      <a:pt x="206" y="92"/>
                    </a:lnTo>
                    <a:lnTo>
                      <a:pt x="194" y="90"/>
                    </a:lnTo>
                    <a:lnTo>
                      <a:pt x="180" y="88"/>
                    </a:lnTo>
                    <a:lnTo>
                      <a:pt x="166" y="86"/>
                    </a:lnTo>
                    <a:lnTo>
                      <a:pt x="146" y="88"/>
                    </a:lnTo>
                    <a:lnTo>
                      <a:pt x="146" y="88"/>
                    </a:lnTo>
                    <a:lnTo>
                      <a:pt x="130" y="92"/>
                    </a:lnTo>
                    <a:lnTo>
                      <a:pt x="120" y="94"/>
                    </a:lnTo>
                    <a:lnTo>
                      <a:pt x="112" y="98"/>
                    </a:lnTo>
                    <a:lnTo>
                      <a:pt x="108" y="102"/>
                    </a:lnTo>
                    <a:lnTo>
                      <a:pt x="104" y="106"/>
                    </a:lnTo>
                    <a:lnTo>
                      <a:pt x="100" y="106"/>
                    </a:lnTo>
                    <a:lnTo>
                      <a:pt x="92" y="108"/>
                    </a:lnTo>
                    <a:lnTo>
                      <a:pt x="80" y="106"/>
                    </a:lnTo>
                    <a:lnTo>
                      <a:pt x="80" y="106"/>
                    </a:lnTo>
                    <a:lnTo>
                      <a:pt x="66" y="104"/>
                    </a:lnTo>
                    <a:lnTo>
                      <a:pt x="50" y="104"/>
                    </a:lnTo>
                    <a:lnTo>
                      <a:pt x="36" y="108"/>
                    </a:lnTo>
                    <a:lnTo>
                      <a:pt x="22" y="112"/>
                    </a:lnTo>
                    <a:lnTo>
                      <a:pt x="12" y="118"/>
                    </a:lnTo>
                    <a:lnTo>
                      <a:pt x="4" y="124"/>
                    </a:lnTo>
                    <a:lnTo>
                      <a:pt x="0" y="130"/>
                    </a:lnTo>
                    <a:lnTo>
                      <a:pt x="2" y="134"/>
                    </a:lnTo>
                    <a:lnTo>
                      <a:pt x="4" y="138"/>
                    </a:lnTo>
                    <a:lnTo>
                      <a:pt x="4" y="138"/>
                    </a:lnTo>
                    <a:lnTo>
                      <a:pt x="8" y="142"/>
                    </a:lnTo>
                    <a:lnTo>
                      <a:pt x="12" y="144"/>
                    </a:lnTo>
                    <a:lnTo>
                      <a:pt x="16" y="144"/>
                    </a:lnTo>
                    <a:lnTo>
                      <a:pt x="22" y="144"/>
                    </a:lnTo>
                    <a:lnTo>
                      <a:pt x="32" y="144"/>
                    </a:lnTo>
                    <a:lnTo>
                      <a:pt x="36" y="144"/>
                    </a:lnTo>
                    <a:lnTo>
                      <a:pt x="44" y="148"/>
                    </a:lnTo>
                    <a:lnTo>
                      <a:pt x="44" y="14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5" name="Freeform 6107">
                <a:extLst>
                  <a:ext uri="{FF2B5EF4-FFF2-40B4-BE49-F238E27FC236}">
                    <a16:creationId xmlns:a16="http://schemas.microsoft.com/office/drawing/2014/main" id="{8B8B0F83-14D2-406E-911D-8B5BAD7E4D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5530" y="1211263"/>
                <a:ext cx="121920" cy="48260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42"/>
                  </a:cxn>
                  <a:cxn ang="0">
                    <a:pos x="26" y="46"/>
                  </a:cxn>
                  <a:cxn ang="0">
                    <a:pos x="26" y="52"/>
                  </a:cxn>
                  <a:cxn ang="0">
                    <a:pos x="28" y="56"/>
                  </a:cxn>
                  <a:cxn ang="0">
                    <a:pos x="30" y="62"/>
                  </a:cxn>
                  <a:cxn ang="0">
                    <a:pos x="36" y="66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6" y="76"/>
                  </a:cxn>
                  <a:cxn ang="0">
                    <a:pos x="66" y="76"/>
                  </a:cxn>
                  <a:cxn ang="0">
                    <a:pos x="72" y="76"/>
                  </a:cxn>
                  <a:cxn ang="0">
                    <a:pos x="80" y="74"/>
                  </a:cxn>
                  <a:cxn ang="0">
                    <a:pos x="94" y="68"/>
                  </a:cxn>
                  <a:cxn ang="0">
                    <a:pos x="104" y="66"/>
                  </a:cxn>
                  <a:cxn ang="0">
                    <a:pos x="118" y="68"/>
                  </a:cxn>
                  <a:cxn ang="0">
                    <a:pos x="118" y="68"/>
                  </a:cxn>
                  <a:cxn ang="0">
                    <a:pos x="148" y="70"/>
                  </a:cxn>
                  <a:cxn ang="0">
                    <a:pos x="176" y="72"/>
                  </a:cxn>
                  <a:cxn ang="0">
                    <a:pos x="184" y="70"/>
                  </a:cxn>
                  <a:cxn ang="0">
                    <a:pos x="192" y="68"/>
                  </a:cxn>
                  <a:cxn ang="0">
                    <a:pos x="192" y="66"/>
                  </a:cxn>
                  <a:cxn ang="0">
                    <a:pos x="192" y="62"/>
                  </a:cxn>
                  <a:cxn ang="0">
                    <a:pos x="188" y="58"/>
                  </a:cxn>
                  <a:cxn ang="0">
                    <a:pos x="188" y="58"/>
                  </a:cxn>
                  <a:cxn ang="0">
                    <a:pos x="174" y="42"/>
                  </a:cxn>
                  <a:cxn ang="0">
                    <a:pos x="166" y="34"/>
                  </a:cxn>
                  <a:cxn ang="0">
                    <a:pos x="156" y="26"/>
                  </a:cxn>
                  <a:cxn ang="0">
                    <a:pos x="144" y="18"/>
                  </a:cxn>
                  <a:cxn ang="0">
                    <a:pos x="130" y="12"/>
                  </a:cxn>
                  <a:cxn ang="0">
                    <a:pos x="114" y="10"/>
                  </a:cxn>
                  <a:cxn ang="0">
                    <a:pos x="96" y="10"/>
                  </a:cxn>
                  <a:cxn ang="0">
                    <a:pos x="96" y="10"/>
                  </a:cxn>
                  <a:cxn ang="0">
                    <a:pos x="76" y="8"/>
                  </a:cxn>
                  <a:cxn ang="0">
                    <a:pos x="58" y="6"/>
                  </a:cxn>
                  <a:cxn ang="0">
                    <a:pos x="30" y="2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8" y="4"/>
                  </a:cxn>
                  <a:cxn ang="0">
                    <a:pos x="4" y="6"/>
                  </a:cxn>
                  <a:cxn ang="0">
                    <a:pos x="2" y="16"/>
                  </a:cxn>
                  <a:cxn ang="0">
                    <a:pos x="2" y="16"/>
                  </a:cxn>
                </a:cxnLst>
                <a:rect l="0" t="0" r="r" b="b"/>
                <a:pathLst>
                  <a:path w="192" h="76">
                    <a:moveTo>
                      <a:pt x="2" y="16"/>
                    </a:moveTo>
                    <a:lnTo>
                      <a:pt x="2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42"/>
                    </a:lnTo>
                    <a:lnTo>
                      <a:pt x="26" y="46"/>
                    </a:lnTo>
                    <a:lnTo>
                      <a:pt x="26" y="52"/>
                    </a:lnTo>
                    <a:lnTo>
                      <a:pt x="28" y="56"/>
                    </a:lnTo>
                    <a:lnTo>
                      <a:pt x="30" y="62"/>
                    </a:lnTo>
                    <a:lnTo>
                      <a:pt x="36" y="66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6" y="76"/>
                    </a:lnTo>
                    <a:lnTo>
                      <a:pt x="66" y="76"/>
                    </a:lnTo>
                    <a:lnTo>
                      <a:pt x="72" y="76"/>
                    </a:lnTo>
                    <a:lnTo>
                      <a:pt x="80" y="74"/>
                    </a:lnTo>
                    <a:lnTo>
                      <a:pt x="94" y="68"/>
                    </a:lnTo>
                    <a:lnTo>
                      <a:pt x="104" y="66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48" y="70"/>
                    </a:lnTo>
                    <a:lnTo>
                      <a:pt x="176" y="72"/>
                    </a:lnTo>
                    <a:lnTo>
                      <a:pt x="184" y="70"/>
                    </a:lnTo>
                    <a:lnTo>
                      <a:pt x="192" y="68"/>
                    </a:lnTo>
                    <a:lnTo>
                      <a:pt x="192" y="66"/>
                    </a:lnTo>
                    <a:lnTo>
                      <a:pt x="192" y="62"/>
                    </a:lnTo>
                    <a:lnTo>
                      <a:pt x="188" y="58"/>
                    </a:lnTo>
                    <a:lnTo>
                      <a:pt x="188" y="58"/>
                    </a:lnTo>
                    <a:lnTo>
                      <a:pt x="174" y="42"/>
                    </a:lnTo>
                    <a:lnTo>
                      <a:pt x="166" y="34"/>
                    </a:lnTo>
                    <a:lnTo>
                      <a:pt x="156" y="26"/>
                    </a:lnTo>
                    <a:lnTo>
                      <a:pt x="144" y="18"/>
                    </a:lnTo>
                    <a:lnTo>
                      <a:pt x="130" y="12"/>
                    </a:lnTo>
                    <a:lnTo>
                      <a:pt x="114" y="10"/>
                    </a:lnTo>
                    <a:lnTo>
                      <a:pt x="96" y="10"/>
                    </a:lnTo>
                    <a:lnTo>
                      <a:pt x="96" y="10"/>
                    </a:lnTo>
                    <a:lnTo>
                      <a:pt x="76" y="8"/>
                    </a:lnTo>
                    <a:lnTo>
                      <a:pt x="58" y="6"/>
                    </a:lnTo>
                    <a:lnTo>
                      <a:pt x="30" y="2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2" y="16"/>
                    </a:lnTo>
                    <a:lnTo>
                      <a:pt x="2" y="1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6" name="Freeform 6108">
                <a:extLst>
                  <a:ext uri="{FF2B5EF4-FFF2-40B4-BE49-F238E27FC236}">
                    <a16:creationId xmlns:a16="http://schemas.microsoft.com/office/drawing/2014/main" id="{371A993A-E2BF-4DA2-ACDA-C418487884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2760" y="1103313"/>
                <a:ext cx="29210" cy="11430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2" y="18"/>
                  </a:cxn>
                  <a:cxn ang="0">
                    <a:pos x="8" y="18"/>
                  </a:cxn>
                  <a:cxn ang="0">
                    <a:pos x="14" y="18"/>
                  </a:cxn>
                  <a:cxn ang="0">
                    <a:pos x="30" y="12"/>
                  </a:cxn>
                  <a:cxn ang="0">
                    <a:pos x="42" y="4"/>
                  </a:cxn>
                  <a:cxn ang="0">
                    <a:pos x="46" y="2"/>
                  </a:cxn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16" y="6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2" y="18"/>
                  </a:cxn>
                </a:cxnLst>
                <a:rect l="0" t="0" r="r" b="b"/>
                <a:pathLst>
                  <a:path w="46" h="18">
                    <a:moveTo>
                      <a:pt x="2" y="18"/>
                    </a:moveTo>
                    <a:lnTo>
                      <a:pt x="2" y="18"/>
                    </a:lnTo>
                    <a:lnTo>
                      <a:pt x="8" y="18"/>
                    </a:lnTo>
                    <a:lnTo>
                      <a:pt x="14" y="18"/>
                    </a:lnTo>
                    <a:lnTo>
                      <a:pt x="30" y="12"/>
                    </a:lnTo>
                    <a:lnTo>
                      <a:pt x="42" y="4"/>
                    </a:lnTo>
                    <a:lnTo>
                      <a:pt x="46" y="2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32" y="2"/>
                    </a:lnTo>
                    <a:lnTo>
                      <a:pt x="16" y="6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7" name="Freeform 6109">
                <a:extLst>
                  <a:ext uri="{FF2B5EF4-FFF2-40B4-BE49-F238E27FC236}">
                    <a16:creationId xmlns:a16="http://schemas.microsoft.com/office/drawing/2014/main" id="{3ED20AD5-C7CB-4940-88DD-A6594C713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4530" y="1190943"/>
                <a:ext cx="138430" cy="102870"/>
              </a:xfrm>
              <a:custGeom>
                <a:avLst/>
                <a:gdLst/>
                <a:ahLst/>
                <a:cxnLst>
                  <a:cxn ang="0">
                    <a:pos x="166" y="92"/>
                  </a:cxn>
                  <a:cxn ang="0">
                    <a:pos x="186" y="66"/>
                  </a:cxn>
                  <a:cxn ang="0">
                    <a:pos x="216" y="36"/>
                  </a:cxn>
                  <a:cxn ang="0">
                    <a:pos x="218" y="28"/>
                  </a:cxn>
                  <a:cxn ang="0">
                    <a:pos x="216" y="22"/>
                  </a:cxn>
                  <a:cxn ang="0">
                    <a:pos x="204" y="16"/>
                  </a:cxn>
                  <a:cxn ang="0">
                    <a:pos x="190" y="12"/>
                  </a:cxn>
                  <a:cxn ang="0">
                    <a:pos x="172" y="12"/>
                  </a:cxn>
                  <a:cxn ang="0">
                    <a:pos x="156" y="16"/>
                  </a:cxn>
                  <a:cxn ang="0">
                    <a:pos x="140" y="12"/>
                  </a:cxn>
                  <a:cxn ang="0">
                    <a:pos x="122" y="4"/>
                  </a:cxn>
                  <a:cxn ang="0">
                    <a:pos x="106" y="0"/>
                  </a:cxn>
                  <a:cxn ang="0">
                    <a:pos x="84" y="0"/>
                  </a:cxn>
                  <a:cxn ang="0">
                    <a:pos x="48" y="6"/>
                  </a:cxn>
                  <a:cxn ang="0">
                    <a:pos x="20" y="16"/>
                  </a:cxn>
                  <a:cxn ang="0">
                    <a:pos x="16" y="24"/>
                  </a:cxn>
                  <a:cxn ang="0">
                    <a:pos x="22" y="30"/>
                  </a:cxn>
                  <a:cxn ang="0">
                    <a:pos x="18" y="32"/>
                  </a:cxn>
                  <a:cxn ang="0">
                    <a:pos x="6" y="32"/>
                  </a:cxn>
                  <a:cxn ang="0">
                    <a:pos x="0" y="48"/>
                  </a:cxn>
                  <a:cxn ang="0">
                    <a:pos x="0" y="74"/>
                  </a:cxn>
                  <a:cxn ang="0">
                    <a:pos x="2" y="98"/>
                  </a:cxn>
                  <a:cxn ang="0">
                    <a:pos x="10" y="114"/>
                  </a:cxn>
                  <a:cxn ang="0">
                    <a:pos x="20" y="134"/>
                  </a:cxn>
                  <a:cxn ang="0">
                    <a:pos x="20" y="142"/>
                  </a:cxn>
                  <a:cxn ang="0">
                    <a:pos x="22" y="154"/>
                  </a:cxn>
                  <a:cxn ang="0">
                    <a:pos x="30" y="156"/>
                  </a:cxn>
                  <a:cxn ang="0">
                    <a:pos x="54" y="156"/>
                  </a:cxn>
                  <a:cxn ang="0">
                    <a:pos x="62" y="160"/>
                  </a:cxn>
                  <a:cxn ang="0">
                    <a:pos x="70" y="160"/>
                  </a:cxn>
                  <a:cxn ang="0">
                    <a:pos x="76" y="146"/>
                  </a:cxn>
                  <a:cxn ang="0">
                    <a:pos x="82" y="138"/>
                  </a:cxn>
                  <a:cxn ang="0">
                    <a:pos x="90" y="132"/>
                  </a:cxn>
                  <a:cxn ang="0">
                    <a:pos x="90" y="122"/>
                  </a:cxn>
                  <a:cxn ang="0">
                    <a:pos x="86" y="114"/>
                  </a:cxn>
                  <a:cxn ang="0">
                    <a:pos x="84" y="106"/>
                  </a:cxn>
                  <a:cxn ang="0">
                    <a:pos x="88" y="104"/>
                  </a:cxn>
                  <a:cxn ang="0">
                    <a:pos x="112" y="106"/>
                  </a:cxn>
                  <a:cxn ang="0">
                    <a:pos x="142" y="106"/>
                  </a:cxn>
                  <a:cxn ang="0">
                    <a:pos x="156" y="102"/>
                  </a:cxn>
                  <a:cxn ang="0">
                    <a:pos x="166" y="92"/>
                  </a:cxn>
                </a:cxnLst>
                <a:rect l="0" t="0" r="r" b="b"/>
                <a:pathLst>
                  <a:path w="218" h="162">
                    <a:moveTo>
                      <a:pt x="166" y="92"/>
                    </a:moveTo>
                    <a:lnTo>
                      <a:pt x="166" y="92"/>
                    </a:lnTo>
                    <a:lnTo>
                      <a:pt x="176" y="80"/>
                    </a:lnTo>
                    <a:lnTo>
                      <a:pt x="186" y="66"/>
                    </a:lnTo>
                    <a:lnTo>
                      <a:pt x="208" y="46"/>
                    </a:lnTo>
                    <a:lnTo>
                      <a:pt x="216" y="36"/>
                    </a:lnTo>
                    <a:lnTo>
                      <a:pt x="218" y="32"/>
                    </a:lnTo>
                    <a:lnTo>
                      <a:pt x="218" y="28"/>
                    </a:lnTo>
                    <a:lnTo>
                      <a:pt x="218" y="24"/>
                    </a:lnTo>
                    <a:lnTo>
                      <a:pt x="216" y="22"/>
                    </a:lnTo>
                    <a:lnTo>
                      <a:pt x="210" y="18"/>
                    </a:lnTo>
                    <a:lnTo>
                      <a:pt x="204" y="16"/>
                    </a:lnTo>
                    <a:lnTo>
                      <a:pt x="204" y="16"/>
                    </a:lnTo>
                    <a:lnTo>
                      <a:pt x="190" y="12"/>
                    </a:lnTo>
                    <a:lnTo>
                      <a:pt x="180" y="12"/>
                    </a:lnTo>
                    <a:lnTo>
                      <a:pt x="172" y="12"/>
                    </a:lnTo>
                    <a:lnTo>
                      <a:pt x="166" y="14"/>
                    </a:lnTo>
                    <a:lnTo>
                      <a:pt x="156" y="16"/>
                    </a:lnTo>
                    <a:lnTo>
                      <a:pt x="148" y="16"/>
                    </a:lnTo>
                    <a:lnTo>
                      <a:pt x="140" y="12"/>
                    </a:lnTo>
                    <a:lnTo>
                      <a:pt x="140" y="12"/>
                    </a:lnTo>
                    <a:lnTo>
                      <a:pt x="122" y="4"/>
                    </a:lnTo>
                    <a:lnTo>
                      <a:pt x="114" y="2"/>
                    </a:lnTo>
                    <a:lnTo>
                      <a:pt x="106" y="0"/>
                    </a:lnTo>
                    <a:lnTo>
                      <a:pt x="96" y="0"/>
                    </a:lnTo>
                    <a:lnTo>
                      <a:pt x="84" y="0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30" y="10"/>
                    </a:lnTo>
                    <a:lnTo>
                      <a:pt x="20" y="16"/>
                    </a:lnTo>
                    <a:lnTo>
                      <a:pt x="16" y="20"/>
                    </a:lnTo>
                    <a:lnTo>
                      <a:pt x="16" y="2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4" y="36"/>
                    </a:lnTo>
                    <a:lnTo>
                      <a:pt x="0" y="4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88"/>
                    </a:lnTo>
                    <a:lnTo>
                      <a:pt x="2" y="98"/>
                    </a:lnTo>
                    <a:lnTo>
                      <a:pt x="6" y="108"/>
                    </a:lnTo>
                    <a:lnTo>
                      <a:pt x="10" y="114"/>
                    </a:lnTo>
                    <a:lnTo>
                      <a:pt x="18" y="126"/>
                    </a:lnTo>
                    <a:lnTo>
                      <a:pt x="20" y="134"/>
                    </a:lnTo>
                    <a:lnTo>
                      <a:pt x="20" y="142"/>
                    </a:lnTo>
                    <a:lnTo>
                      <a:pt x="20" y="142"/>
                    </a:lnTo>
                    <a:lnTo>
                      <a:pt x="20" y="150"/>
                    </a:lnTo>
                    <a:lnTo>
                      <a:pt x="22" y="154"/>
                    </a:lnTo>
                    <a:lnTo>
                      <a:pt x="26" y="156"/>
                    </a:lnTo>
                    <a:lnTo>
                      <a:pt x="30" y="156"/>
                    </a:lnTo>
                    <a:lnTo>
                      <a:pt x="46" y="156"/>
                    </a:lnTo>
                    <a:lnTo>
                      <a:pt x="54" y="156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8" y="162"/>
                    </a:lnTo>
                    <a:lnTo>
                      <a:pt x="70" y="160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8" y="140"/>
                    </a:lnTo>
                    <a:lnTo>
                      <a:pt x="82" y="138"/>
                    </a:lnTo>
                    <a:lnTo>
                      <a:pt x="88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90" y="122"/>
                    </a:lnTo>
                    <a:lnTo>
                      <a:pt x="86" y="114"/>
                    </a:lnTo>
                    <a:lnTo>
                      <a:pt x="86" y="114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6" y="104"/>
                    </a:lnTo>
                    <a:lnTo>
                      <a:pt x="88" y="104"/>
                    </a:lnTo>
                    <a:lnTo>
                      <a:pt x="98" y="104"/>
                    </a:lnTo>
                    <a:lnTo>
                      <a:pt x="112" y="106"/>
                    </a:lnTo>
                    <a:lnTo>
                      <a:pt x="128" y="108"/>
                    </a:lnTo>
                    <a:lnTo>
                      <a:pt x="142" y="106"/>
                    </a:lnTo>
                    <a:lnTo>
                      <a:pt x="150" y="106"/>
                    </a:lnTo>
                    <a:lnTo>
                      <a:pt x="156" y="102"/>
                    </a:lnTo>
                    <a:lnTo>
                      <a:pt x="162" y="98"/>
                    </a:lnTo>
                    <a:lnTo>
                      <a:pt x="166" y="92"/>
                    </a:lnTo>
                    <a:lnTo>
                      <a:pt x="166" y="9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8" name="Freeform 6110">
                <a:extLst>
                  <a:ext uri="{FF2B5EF4-FFF2-40B4-BE49-F238E27FC236}">
                    <a16:creationId xmlns:a16="http://schemas.microsoft.com/office/drawing/2014/main" id="{C3A83BA5-4709-4B7F-A9E0-0CBEF5A972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2970" y="1573213"/>
                <a:ext cx="176530" cy="121920"/>
              </a:xfrm>
              <a:custGeom>
                <a:avLst/>
                <a:gdLst/>
                <a:ahLst/>
                <a:cxnLst>
                  <a:cxn ang="0">
                    <a:pos x="272" y="132"/>
                  </a:cxn>
                  <a:cxn ang="0">
                    <a:pos x="258" y="122"/>
                  </a:cxn>
                  <a:cxn ang="0">
                    <a:pos x="250" y="126"/>
                  </a:cxn>
                  <a:cxn ang="0">
                    <a:pos x="236" y="124"/>
                  </a:cxn>
                  <a:cxn ang="0">
                    <a:pos x="228" y="120"/>
                  </a:cxn>
                  <a:cxn ang="0">
                    <a:pos x="220" y="102"/>
                  </a:cxn>
                  <a:cxn ang="0">
                    <a:pos x="212" y="88"/>
                  </a:cxn>
                  <a:cxn ang="0">
                    <a:pos x="192" y="78"/>
                  </a:cxn>
                  <a:cxn ang="0">
                    <a:pos x="178" y="72"/>
                  </a:cxn>
                  <a:cxn ang="0">
                    <a:pos x="140" y="46"/>
                  </a:cxn>
                  <a:cxn ang="0">
                    <a:pos x="122" y="34"/>
                  </a:cxn>
                  <a:cxn ang="0">
                    <a:pos x="110" y="34"/>
                  </a:cxn>
                  <a:cxn ang="0">
                    <a:pos x="106" y="36"/>
                  </a:cxn>
                  <a:cxn ang="0">
                    <a:pos x="100" y="40"/>
                  </a:cxn>
                  <a:cxn ang="0">
                    <a:pos x="96" y="38"/>
                  </a:cxn>
                  <a:cxn ang="0">
                    <a:pos x="86" y="24"/>
                  </a:cxn>
                  <a:cxn ang="0">
                    <a:pos x="76" y="8"/>
                  </a:cxn>
                  <a:cxn ang="0">
                    <a:pos x="66" y="0"/>
                  </a:cxn>
                  <a:cxn ang="0">
                    <a:pos x="62" y="2"/>
                  </a:cxn>
                  <a:cxn ang="0">
                    <a:pos x="54" y="6"/>
                  </a:cxn>
                  <a:cxn ang="0">
                    <a:pos x="42" y="26"/>
                  </a:cxn>
                  <a:cxn ang="0">
                    <a:pos x="36" y="58"/>
                  </a:cxn>
                  <a:cxn ang="0">
                    <a:pos x="34" y="90"/>
                  </a:cxn>
                  <a:cxn ang="0">
                    <a:pos x="38" y="106"/>
                  </a:cxn>
                  <a:cxn ang="0">
                    <a:pos x="38" y="116"/>
                  </a:cxn>
                  <a:cxn ang="0">
                    <a:pos x="34" y="124"/>
                  </a:cxn>
                  <a:cxn ang="0">
                    <a:pos x="18" y="134"/>
                  </a:cxn>
                  <a:cxn ang="0">
                    <a:pos x="4" y="142"/>
                  </a:cxn>
                  <a:cxn ang="0">
                    <a:pos x="0" y="150"/>
                  </a:cxn>
                  <a:cxn ang="0">
                    <a:pos x="4" y="158"/>
                  </a:cxn>
                  <a:cxn ang="0">
                    <a:pos x="4" y="160"/>
                  </a:cxn>
                  <a:cxn ang="0">
                    <a:pos x="16" y="162"/>
                  </a:cxn>
                  <a:cxn ang="0">
                    <a:pos x="50" y="156"/>
                  </a:cxn>
                  <a:cxn ang="0">
                    <a:pos x="64" y="156"/>
                  </a:cxn>
                  <a:cxn ang="0">
                    <a:pos x="66" y="162"/>
                  </a:cxn>
                  <a:cxn ang="0">
                    <a:pos x="66" y="166"/>
                  </a:cxn>
                  <a:cxn ang="0">
                    <a:pos x="70" y="182"/>
                  </a:cxn>
                  <a:cxn ang="0">
                    <a:pos x="82" y="190"/>
                  </a:cxn>
                  <a:cxn ang="0">
                    <a:pos x="96" y="190"/>
                  </a:cxn>
                  <a:cxn ang="0">
                    <a:pos x="110" y="176"/>
                  </a:cxn>
                  <a:cxn ang="0">
                    <a:pos x="114" y="166"/>
                  </a:cxn>
                  <a:cxn ang="0">
                    <a:pos x="124" y="160"/>
                  </a:cxn>
                  <a:cxn ang="0">
                    <a:pos x="134" y="158"/>
                  </a:cxn>
                  <a:cxn ang="0">
                    <a:pos x="142" y="150"/>
                  </a:cxn>
                  <a:cxn ang="0">
                    <a:pos x="144" y="142"/>
                  </a:cxn>
                  <a:cxn ang="0">
                    <a:pos x="154" y="128"/>
                  </a:cxn>
                  <a:cxn ang="0">
                    <a:pos x="170" y="124"/>
                  </a:cxn>
                  <a:cxn ang="0">
                    <a:pos x="184" y="130"/>
                  </a:cxn>
                  <a:cxn ang="0">
                    <a:pos x="192" y="142"/>
                  </a:cxn>
                  <a:cxn ang="0">
                    <a:pos x="194" y="148"/>
                  </a:cxn>
                  <a:cxn ang="0">
                    <a:pos x="198" y="154"/>
                  </a:cxn>
                  <a:cxn ang="0">
                    <a:pos x="214" y="156"/>
                  </a:cxn>
                  <a:cxn ang="0">
                    <a:pos x="232" y="160"/>
                  </a:cxn>
                  <a:cxn ang="0">
                    <a:pos x="254" y="162"/>
                  </a:cxn>
                  <a:cxn ang="0">
                    <a:pos x="272" y="158"/>
                  </a:cxn>
                  <a:cxn ang="0">
                    <a:pos x="278" y="148"/>
                  </a:cxn>
                  <a:cxn ang="0">
                    <a:pos x="272" y="132"/>
                  </a:cxn>
                </a:cxnLst>
                <a:rect l="0" t="0" r="r" b="b"/>
                <a:pathLst>
                  <a:path w="278" h="192">
                    <a:moveTo>
                      <a:pt x="272" y="132"/>
                    </a:moveTo>
                    <a:lnTo>
                      <a:pt x="272" y="132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6" y="122"/>
                    </a:lnTo>
                    <a:lnTo>
                      <a:pt x="250" y="126"/>
                    </a:lnTo>
                    <a:lnTo>
                      <a:pt x="244" y="126"/>
                    </a:lnTo>
                    <a:lnTo>
                      <a:pt x="236" y="124"/>
                    </a:lnTo>
                    <a:lnTo>
                      <a:pt x="236" y="124"/>
                    </a:lnTo>
                    <a:lnTo>
                      <a:pt x="228" y="120"/>
                    </a:lnTo>
                    <a:lnTo>
                      <a:pt x="224" y="114"/>
                    </a:lnTo>
                    <a:lnTo>
                      <a:pt x="220" y="102"/>
                    </a:lnTo>
                    <a:lnTo>
                      <a:pt x="218" y="96"/>
                    </a:lnTo>
                    <a:lnTo>
                      <a:pt x="212" y="88"/>
                    </a:lnTo>
                    <a:lnTo>
                      <a:pt x="204" y="82"/>
                    </a:lnTo>
                    <a:lnTo>
                      <a:pt x="192" y="78"/>
                    </a:lnTo>
                    <a:lnTo>
                      <a:pt x="192" y="78"/>
                    </a:lnTo>
                    <a:lnTo>
                      <a:pt x="178" y="72"/>
                    </a:lnTo>
                    <a:lnTo>
                      <a:pt x="164" y="64"/>
                    </a:lnTo>
                    <a:lnTo>
                      <a:pt x="140" y="46"/>
                    </a:lnTo>
                    <a:lnTo>
                      <a:pt x="130" y="38"/>
                    </a:lnTo>
                    <a:lnTo>
                      <a:pt x="122" y="34"/>
                    </a:lnTo>
                    <a:lnTo>
                      <a:pt x="114" y="32"/>
                    </a:lnTo>
                    <a:lnTo>
                      <a:pt x="110" y="34"/>
                    </a:lnTo>
                    <a:lnTo>
                      <a:pt x="106" y="36"/>
                    </a:lnTo>
                    <a:lnTo>
                      <a:pt x="106" y="36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6" y="38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70" y="2"/>
                    </a:lnTo>
                    <a:lnTo>
                      <a:pt x="66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58" y="2"/>
                    </a:lnTo>
                    <a:lnTo>
                      <a:pt x="54" y="6"/>
                    </a:lnTo>
                    <a:lnTo>
                      <a:pt x="48" y="14"/>
                    </a:lnTo>
                    <a:lnTo>
                      <a:pt x="42" y="26"/>
                    </a:lnTo>
                    <a:lnTo>
                      <a:pt x="38" y="42"/>
                    </a:lnTo>
                    <a:lnTo>
                      <a:pt x="36" y="58"/>
                    </a:lnTo>
                    <a:lnTo>
                      <a:pt x="34" y="74"/>
                    </a:lnTo>
                    <a:lnTo>
                      <a:pt x="34" y="90"/>
                    </a:lnTo>
                    <a:lnTo>
                      <a:pt x="38" y="106"/>
                    </a:lnTo>
                    <a:lnTo>
                      <a:pt x="38" y="106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36" y="122"/>
                    </a:lnTo>
                    <a:lnTo>
                      <a:pt x="34" y="124"/>
                    </a:lnTo>
                    <a:lnTo>
                      <a:pt x="26" y="130"/>
                    </a:lnTo>
                    <a:lnTo>
                      <a:pt x="18" y="134"/>
                    </a:lnTo>
                    <a:lnTo>
                      <a:pt x="10" y="138"/>
                    </a:lnTo>
                    <a:lnTo>
                      <a:pt x="4" y="142"/>
                    </a:lnTo>
                    <a:lnTo>
                      <a:pt x="2" y="146"/>
                    </a:lnTo>
                    <a:lnTo>
                      <a:pt x="0" y="150"/>
                    </a:lnTo>
                    <a:lnTo>
                      <a:pt x="2" y="154"/>
                    </a:lnTo>
                    <a:lnTo>
                      <a:pt x="4" y="158"/>
                    </a:lnTo>
                    <a:lnTo>
                      <a:pt x="4" y="158"/>
                    </a:lnTo>
                    <a:lnTo>
                      <a:pt x="4" y="160"/>
                    </a:lnTo>
                    <a:lnTo>
                      <a:pt x="8" y="162"/>
                    </a:lnTo>
                    <a:lnTo>
                      <a:pt x="16" y="162"/>
                    </a:lnTo>
                    <a:lnTo>
                      <a:pt x="38" y="158"/>
                    </a:lnTo>
                    <a:lnTo>
                      <a:pt x="50" y="156"/>
                    </a:lnTo>
                    <a:lnTo>
                      <a:pt x="60" y="156"/>
                    </a:lnTo>
                    <a:lnTo>
                      <a:pt x="64" y="156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6" y="166"/>
                    </a:lnTo>
                    <a:lnTo>
                      <a:pt x="66" y="166"/>
                    </a:lnTo>
                    <a:lnTo>
                      <a:pt x="66" y="174"/>
                    </a:lnTo>
                    <a:lnTo>
                      <a:pt x="70" y="182"/>
                    </a:lnTo>
                    <a:lnTo>
                      <a:pt x="74" y="188"/>
                    </a:lnTo>
                    <a:lnTo>
                      <a:pt x="82" y="190"/>
                    </a:lnTo>
                    <a:lnTo>
                      <a:pt x="88" y="192"/>
                    </a:lnTo>
                    <a:lnTo>
                      <a:pt x="96" y="190"/>
                    </a:lnTo>
                    <a:lnTo>
                      <a:pt x="104" y="184"/>
                    </a:lnTo>
                    <a:lnTo>
                      <a:pt x="110" y="176"/>
                    </a:lnTo>
                    <a:lnTo>
                      <a:pt x="110" y="176"/>
                    </a:lnTo>
                    <a:lnTo>
                      <a:pt x="114" y="166"/>
                    </a:lnTo>
                    <a:lnTo>
                      <a:pt x="120" y="162"/>
                    </a:lnTo>
                    <a:lnTo>
                      <a:pt x="124" y="160"/>
                    </a:lnTo>
                    <a:lnTo>
                      <a:pt x="130" y="158"/>
                    </a:lnTo>
                    <a:lnTo>
                      <a:pt x="134" y="158"/>
                    </a:lnTo>
                    <a:lnTo>
                      <a:pt x="138" y="156"/>
                    </a:lnTo>
                    <a:lnTo>
                      <a:pt x="142" y="150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8" y="134"/>
                    </a:lnTo>
                    <a:lnTo>
                      <a:pt x="154" y="128"/>
                    </a:lnTo>
                    <a:lnTo>
                      <a:pt x="162" y="124"/>
                    </a:lnTo>
                    <a:lnTo>
                      <a:pt x="170" y="124"/>
                    </a:lnTo>
                    <a:lnTo>
                      <a:pt x="178" y="126"/>
                    </a:lnTo>
                    <a:lnTo>
                      <a:pt x="184" y="130"/>
                    </a:lnTo>
                    <a:lnTo>
                      <a:pt x="190" y="136"/>
                    </a:lnTo>
                    <a:lnTo>
                      <a:pt x="192" y="142"/>
                    </a:lnTo>
                    <a:lnTo>
                      <a:pt x="192" y="142"/>
                    </a:lnTo>
                    <a:lnTo>
                      <a:pt x="194" y="148"/>
                    </a:lnTo>
                    <a:lnTo>
                      <a:pt x="196" y="152"/>
                    </a:lnTo>
                    <a:lnTo>
                      <a:pt x="198" y="154"/>
                    </a:lnTo>
                    <a:lnTo>
                      <a:pt x="202" y="156"/>
                    </a:lnTo>
                    <a:lnTo>
                      <a:pt x="214" y="156"/>
                    </a:lnTo>
                    <a:lnTo>
                      <a:pt x="232" y="160"/>
                    </a:lnTo>
                    <a:lnTo>
                      <a:pt x="232" y="160"/>
                    </a:lnTo>
                    <a:lnTo>
                      <a:pt x="244" y="162"/>
                    </a:lnTo>
                    <a:lnTo>
                      <a:pt x="254" y="162"/>
                    </a:lnTo>
                    <a:lnTo>
                      <a:pt x="264" y="160"/>
                    </a:lnTo>
                    <a:lnTo>
                      <a:pt x="272" y="158"/>
                    </a:lnTo>
                    <a:lnTo>
                      <a:pt x="276" y="154"/>
                    </a:lnTo>
                    <a:lnTo>
                      <a:pt x="278" y="148"/>
                    </a:lnTo>
                    <a:lnTo>
                      <a:pt x="278" y="140"/>
                    </a:lnTo>
                    <a:lnTo>
                      <a:pt x="272" y="132"/>
                    </a:lnTo>
                    <a:lnTo>
                      <a:pt x="272" y="1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9" name="Freeform 6111">
                <a:extLst>
                  <a:ext uri="{FF2B5EF4-FFF2-40B4-BE49-F238E27FC236}">
                    <a16:creationId xmlns:a16="http://schemas.microsoft.com/office/drawing/2014/main" id="{C0D30DF3-EF63-4EB1-A250-D83ADF17D5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8050" y="1465263"/>
                <a:ext cx="15240" cy="24130"/>
              </a:xfrm>
              <a:custGeom>
                <a:avLst/>
                <a:gdLst/>
                <a:ahLst/>
                <a:cxnLst>
                  <a:cxn ang="0">
                    <a:pos x="4" y="28"/>
                  </a:cxn>
                  <a:cxn ang="0">
                    <a:pos x="4" y="28"/>
                  </a:cxn>
                  <a:cxn ang="0">
                    <a:pos x="12" y="36"/>
                  </a:cxn>
                  <a:cxn ang="0">
                    <a:pos x="16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4" y="30"/>
                  </a:cxn>
                  <a:cxn ang="0">
                    <a:pos x="24" y="1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6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8"/>
                  </a:cxn>
                  <a:cxn ang="0">
                    <a:pos x="4" y="28"/>
                  </a:cxn>
                </a:cxnLst>
                <a:rect l="0" t="0" r="r" b="b"/>
                <a:pathLst>
                  <a:path w="24" h="38">
                    <a:moveTo>
                      <a:pt x="4" y="28"/>
                    </a:moveTo>
                    <a:lnTo>
                      <a:pt x="4" y="28"/>
                    </a:lnTo>
                    <a:lnTo>
                      <a:pt x="12" y="36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4" y="30"/>
                    </a:lnTo>
                    <a:lnTo>
                      <a:pt x="24" y="1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6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8"/>
                    </a:lnTo>
                    <a:lnTo>
                      <a:pt x="4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80" name="Freeform 6112">
                <a:extLst>
                  <a:ext uri="{FF2B5EF4-FFF2-40B4-BE49-F238E27FC236}">
                    <a16:creationId xmlns:a16="http://schemas.microsoft.com/office/drawing/2014/main" id="{D0B57224-3BF8-476B-9C77-4703AEF259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8060" y="1697673"/>
                <a:ext cx="52070" cy="36830"/>
              </a:xfrm>
              <a:custGeom>
                <a:avLst/>
                <a:gdLst/>
                <a:ahLst/>
                <a:cxnLst>
                  <a:cxn ang="0">
                    <a:pos x="78" y="4"/>
                  </a:cxn>
                  <a:cxn ang="0">
                    <a:pos x="78" y="4"/>
                  </a:cxn>
                  <a:cxn ang="0">
                    <a:pos x="72" y="2"/>
                  </a:cxn>
                  <a:cxn ang="0">
                    <a:pos x="68" y="0"/>
                  </a:cxn>
                  <a:cxn ang="0">
                    <a:pos x="54" y="2"/>
                  </a:cxn>
                  <a:cxn ang="0">
                    <a:pos x="38" y="6"/>
                  </a:cxn>
                  <a:cxn ang="0">
                    <a:pos x="24" y="14"/>
                  </a:cxn>
                  <a:cxn ang="0">
                    <a:pos x="12" y="22"/>
                  </a:cxn>
                  <a:cxn ang="0">
                    <a:pos x="4" y="32"/>
                  </a:cxn>
                  <a:cxn ang="0">
                    <a:pos x="0" y="38"/>
                  </a:cxn>
                  <a:cxn ang="0">
                    <a:pos x="0" y="42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6" y="58"/>
                  </a:cxn>
                  <a:cxn ang="0">
                    <a:pos x="22" y="58"/>
                  </a:cxn>
                  <a:cxn ang="0">
                    <a:pos x="28" y="56"/>
                  </a:cxn>
                  <a:cxn ang="0">
                    <a:pos x="42" y="50"/>
                  </a:cxn>
                  <a:cxn ang="0">
                    <a:pos x="58" y="42"/>
                  </a:cxn>
                  <a:cxn ang="0">
                    <a:pos x="70" y="32"/>
                  </a:cxn>
                  <a:cxn ang="0">
                    <a:pos x="78" y="20"/>
                  </a:cxn>
                  <a:cxn ang="0">
                    <a:pos x="80" y="16"/>
                  </a:cxn>
                  <a:cxn ang="0">
                    <a:pos x="82" y="10"/>
                  </a:cxn>
                  <a:cxn ang="0">
                    <a:pos x="80" y="6"/>
                  </a:cxn>
                  <a:cxn ang="0">
                    <a:pos x="78" y="4"/>
                  </a:cxn>
                  <a:cxn ang="0">
                    <a:pos x="78" y="4"/>
                  </a:cxn>
                </a:cxnLst>
                <a:rect l="0" t="0" r="r" b="b"/>
                <a:pathLst>
                  <a:path w="82" h="58">
                    <a:moveTo>
                      <a:pt x="78" y="4"/>
                    </a:moveTo>
                    <a:lnTo>
                      <a:pt x="78" y="4"/>
                    </a:lnTo>
                    <a:lnTo>
                      <a:pt x="72" y="2"/>
                    </a:lnTo>
                    <a:lnTo>
                      <a:pt x="68" y="0"/>
                    </a:lnTo>
                    <a:lnTo>
                      <a:pt x="54" y="2"/>
                    </a:lnTo>
                    <a:lnTo>
                      <a:pt x="38" y="6"/>
                    </a:lnTo>
                    <a:lnTo>
                      <a:pt x="24" y="14"/>
                    </a:lnTo>
                    <a:lnTo>
                      <a:pt x="12" y="22"/>
                    </a:lnTo>
                    <a:lnTo>
                      <a:pt x="4" y="3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6" y="58"/>
                    </a:lnTo>
                    <a:lnTo>
                      <a:pt x="22" y="58"/>
                    </a:lnTo>
                    <a:lnTo>
                      <a:pt x="28" y="56"/>
                    </a:lnTo>
                    <a:lnTo>
                      <a:pt x="42" y="50"/>
                    </a:lnTo>
                    <a:lnTo>
                      <a:pt x="58" y="42"/>
                    </a:lnTo>
                    <a:lnTo>
                      <a:pt x="70" y="32"/>
                    </a:lnTo>
                    <a:lnTo>
                      <a:pt x="78" y="20"/>
                    </a:lnTo>
                    <a:lnTo>
                      <a:pt x="80" y="16"/>
                    </a:lnTo>
                    <a:lnTo>
                      <a:pt x="82" y="10"/>
                    </a:lnTo>
                    <a:lnTo>
                      <a:pt x="80" y="6"/>
                    </a:lnTo>
                    <a:lnTo>
                      <a:pt x="78" y="4"/>
                    </a:lnTo>
                    <a:lnTo>
                      <a:pt x="78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81" name="Freeform 6113">
                <a:extLst>
                  <a:ext uri="{FF2B5EF4-FFF2-40B4-BE49-F238E27FC236}">
                    <a16:creationId xmlns:a16="http://schemas.microsoft.com/office/drawing/2014/main" id="{A1FF8664-490B-48CC-8069-4298F83A75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7630" y="1230313"/>
                <a:ext cx="467360" cy="227330"/>
              </a:xfrm>
              <a:custGeom>
                <a:avLst/>
                <a:gdLst/>
                <a:ahLst/>
                <a:cxnLst>
                  <a:cxn ang="0">
                    <a:pos x="700" y="272"/>
                  </a:cxn>
                  <a:cxn ang="0">
                    <a:pos x="720" y="274"/>
                  </a:cxn>
                  <a:cxn ang="0">
                    <a:pos x="736" y="254"/>
                  </a:cxn>
                  <a:cxn ang="0">
                    <a:pos x="708" y="238"/>
                  </a:cxn>
                  <a:cxn ang="0">
                    <a:pos x="684" y="224"/>
                  </a:cxn>
                  <a:cxn ang="0">
                    <a:pos x="646" y="206"/>
                  </a:cxn>
                  <a:cxn ang="0">
                    <a:pos x="608" y="190"/>
                  </a:cxn>
                  <a:cxn ang="0">
                    <a:pos x="586" y="166"/>
                  </a:cxn>
                  <a:cxn ang="0">
                    <a:pos x="592" y="128"/>
                  </a:cxn>
                  <a:cxn ang="0">
                    <a:pos x="560" y="58"/>
                  </a:cxn>
                  <a:cxn ang="0">
                    <a:pos x="506" y="10"/>
                  </a:cxn>
                  <a:cxn ang="0">
                    <a:pos x="482" y="10"/>
                  </a:cxn>
                  <a:cxn ang="0">
                    <a:pos x="438" y="8"/>
                  </a:cxn>
                  <a:cxn ang="0">
                    <a:pos x="450" y="68"/>
                  </a:cxn>
                  <a:cxn ang="0">
                    <a:pos x="478" y="114"/>
                  </a:cxn>
                  <a:cxn ang="0">
                    <a:pos x="456" y="132"/>
                  </a:cxn>
                  <a:cxn ang="0">
                    <a:pos x="420" y="68"/>
                  </a:cxn>
                  <a:cxn ang="0">
                    <a:pos x="382" y="40"/>
                  </a:cxn>
                  <a:cxn ang="0">
                    <a:pos x="354" y="26"/>
                  </a:cxn>
                  <a:cxn ang="0">
                    <a:pos x="352" y="40"/>
                  </a:cxn>
                  <a:cxn ang="0">
                    <a:pos x="372" y="58"/>
                  </a:cxn>
                  <a:cxn ang="0">
                    <a:pos x="336" y="62"/>
                  </a:cxn>
                  <a:cxn ang="0">
                    <a:pos x="318" y="74"/>
                  </a:cxn>
                  <a:cxn ang="0">
                    <a:pos x="296" y="40"/>
                  </a:cxn>
                  <a:cxn ang="0">
                    <a:pos x="224" y="38"/>
                  </a:cxn>
                  <a:cxn ang="0">
                    <a:pos x="190" y="60"/>
                  </a:cxn>
                  <a:cxn ang="0">
                    <a:pos x="206" y="32"/>
                  </a:cxn>
                  <a:cxn ang="0">
                    <a:pos x="196" y="2"/>
                  </a:cxn>
                  <a:cxn ang="0">
                    <a:pos x="100" y="26"/>
                  </a:cxn>
                  <a:cxn ang="0">
                    <a:pos x="22" y="72"/>
                  </a:cxn>
                  <a:cxn ang="0">
                    <a:pos x="40" y="86"/>
                  </a:cxn>
                  <a:cxn ang="0">
                    <a:pos x="2" y="116"/>
                  </a:cxn>
                  <a:cxn ang="0">
                    <a:pos x="14" y="130"/>
                  </a:cxn>
                  <a:cxn ang="0">
                    <a:pos x="34" y="146"/>
                  </a:cxn>
                  <a:cxn ang="0">
                    <a:pos x="116" y="140"/>
                  </a:cxn>
                  <a:cxn ang="0">
                    <a:pos x="76" y="160"/>
                  </a:cxn>
                  <a:cxn ang="0">
                    <a:pos x="44" y="192"/>
                  </a:cxn>
                  <a:cxn ang="0">
                    <a:pos x="110" y="204"/>
                  </a:cxn>
                  <a:cxn ang="0">
                    <a:pos x="210" y="202"/>
                  </a:cxn>
                  <a:cxn ang="0">
                    <a:pos x="276" y="214"/>
                  </a:cxn>
                  <a:cxn ang="0">
                    <a:pos x="294" y="230"/>
                  </a:cxn>
                  <a:cxn ang="0">
                    <a:pos x="168" y="230"/>
                  </a:cxn>
                  <a:cxn ang="0">
                    <a:pos x="70" y="254"/>
                  </a:cxn>
                  <a:cxn ang="0">
                    <a:pos x="122" y="300"/>
                  </a:cxn>
                  <a:cxn ang="0">
                    <a:pos x="222" y="308"/>
                  </a:cxn>
                  <a:cxn ang="0">
                    <a:pos x="232" y="350"/>
                  </a:cxn>
                  <a:cxn ang="0">
                    <a:pos x="314" y="358"/>
                  </a:cxn>
                  <a:cxn ang="0">
                    <a:pos x="420" y="332"/>
                  </a:cxn>
                  <a:cxn ang="0">
                    <a:pos x="478" y="318"/>
                  </a:cxn>
                  <a:cxn ang="0">
                    <a:pos x="490" y="296"/>
                  </a:cxn>
                  <a:cxn ang="0">
                    <a:pos x="516" y="294"/>
                  </a:cxn>
                  <a:cxn ang="0">
                    <a:pos x="540" y="312"/>
                  </a:cxn>
                  <a:cxn ang="0">
                    <a:pos x="560" y="324"/>
                  </a:cxn>
                  <a:cxn ang="0">
                    <a:pos x="592" y="328"/>
                  </a:cxn>
                  <a:cxn ang="0">
                    <a:pos x="640" y="334"/>
                  </a:cxn>
                  <a:cxn ang="0">
                    <a:pos x="680" y="324"/>
                  </a:cxn>
                  <a:cxn ang="0">
                    <a:pos x="700" y="306"/>
                  </a:cxn>
                  <a:cxn ang="0">
                    <a:pos x="692" y="288"/>
                  </a:cxn>
                  <a:cxn ang="0">
                    <a:pos x="648" y="300"/>
                  </a:cxn>
                  <a:cxn ang="0">
                    <a:pos x="632" y="278"/>
                  </a:cxn>
                  <a:cxn ang="0">
                    <a:pos x="660" y="282"/>
                  </a:cxn>
                  <a:cxn ang="0">
                    <a:pos x="668" y="272"/>
                  </a:cxn>
                </a:cxnLst>
                <a:rect l="0" t="0" r="r" b="b"/>
                <a:pathLst>
                  <a:path w="736" h="358">
                    <a:moveTo>
                      <a:pt x="674" y="264"/>
                    </a:moveTo>
                    <a:lnTo>
                      <a:pt x="674" y="264"/>
                    </a:lnTo>
                    <a:lnTo>
                      <a:pt x="682" y="262"/>
                    </a:lnTo>
                    <a:lnTo>
                      <a:pt x="686" y="262"/>
                    </a:lnTo>
                    <a:lnTo>
                      <a:pt x="690" y="264"/>
                    </a:lnTo>
                    <a:lnTo>
                      <a:pt x="694" y="268"/>
                    </a:lnTo>
                    <a:lnTo>
                      <a:pt x="700" y="272"/>
                    </a:lnTo>
                    <a:lnTo>
                      <a:pt x="702" y="274"/>
                    </a:lnTo>
                    <a:lnTo>
                      <a:pt x="704" y="272"/>
                    </a:lnTo>
                    <a:lnTo>
                      <a:pt x="704" y="272"/>
                    </a:lnTo>
                    <a:lnTo>
                      <a:pt x="710" y="268"/>
                    </a:lnTo>
                    <a:lnTo>
                      <a:pt x="714" y="268"/>
                    </a:lnTo>
                    <a:lnTo>
                      <a:pt x="718" y="272"/>
                    </a:lnTo>
                    <a:lnTo>
                      <a:pt x="720" y="274"/>
                    </a:lnTo>
                    <a:lnTo>
                      <a:pt x="726" y="274"/>
                    </a:lnTo>
                    <a:lnTo>
                      <a:pt x="726" y="274"/>
                    </a:lnTo>
                    <a:lnTo>
                      <a:pt x="730" y="274"/>
                    </a:lnTo>
                    <a:lnTo>
                      <a:pt x="734" y="272"/>
                    </a:lnTo>
                    <a:lnTo>
                      <a:pt x="736" y="268"/>
                    </a:lnTo>
                    <a:lnTo>
                      <a:pt x="736" y="264"/>
                    </a:lnTo>
                    <a:lnTo>
                      <a:pt x="736" y="254"/>
                    </a:lnTo>
                    <a:lnTo>
                      <a:pt x="734" y="244"/>
                    </a:lnTo>
                    <a:lnTo>
                      <a:pt x="734" y="244"/>
                    </a:lnTo>
                    <a:lnTo>
                      <a:pt x="732" y="240"/>
                    </a:lnTo>
                    <a:lnTo>
                      <a:pt x="728" y="238"/>
                    </a:lnTo>
                    <a:lnTo>
                      <a:pt x="720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8" y="234"/>
                    </a:lnTo>
                    <a:lnTo>
                      <a:pt x="708" y="234"/>
                    </a:lnTo>
                    <a:lnTo>
                      <a:pt x="706" y="230"/>
                    </a:lnTo>
                    <a:lnTo>
                      <a:pt x="704" y="230"/>
                    </a:lnTo>
                    <a:lnTo>
                      <a:pt x="698" y="228"/>
                    </a:lnTo>
                    <a:lnTo>
                      <a:pt x="692" y="228"/>
                    </a:lnTo>
                    <a:lnTo>
                      <a:pt x="684" y="224"/>
                    </a:lnTo>
                    <a:lnTo>
                      <a:pt x="674" y="218"/>
                    </a:lnTo>
                    <a:lnTo>
                      <a:pt x="660" y="210"/>
                    </a:lnTo>
                    <a:lnTo>
                      <a:pt x="660" y="210"/>
                    </a:lnTo>
                    <a:lnTo>
                      <a:pt x="652" y="204"/>
                    </a:lnTo>
                    <a:lnTo>
                      <a:pt x="648" y="200"/>
                    </a:lnTo>
                    <a:lnTo>
                      <a:pt x="644" y="202"/>
                    </a:lnTo>
                    <a:lnTo>
                      <a:pt x="646" y="206"/>
                    </a:lnTo>
                    <a:lnTo>
                      <a:pt x="646" y="206"/>
                    </a:lnTo>
                    <a:lnTo>
                      <a:pt x="646" y="208"/>
                    </a:lnTo>
                    <a:lnTo>
                      <a:pt x="642" y="210"/>
                    </a:lnTo>
                    <a:lnTo>
                      <a:pt x="632" y="208"/>
                    </a:lnTo>
                    <a:lnTo>
                      <a:pt x="618" y="200"/>
                    </a:lnTo>
                    <a:lnTo>
                      <a:pt x="612" y="196"/>
                    </a:lnTo>
                    <a:lnTo>
                      <a:pt x="608" y="190"/>
                    </a:lnTo>
                    <a:lnTo>
                      <a:pt x="608" y="190"/>
                    </a:lnTo>
                    <a:lnTo>
                      <a:pt x="602" y="184"/>
                    </a:lnTo>
                    <a:lnTo>
                      <a:pt x="598" y="180"/>
                    </a:lnTo>
                    <a:lnTo>
                      <a:pt x="590" y="174"/>
                    </a:lnTo>
                    <a:lnTo>
                      <a:pt x="586" y="172"/>
                    </a:lnTo>
                    <a:lnTo>
                      <a:pt x="584" y="168"/>
                    </a:lnTo>
                    <a:lnTo>
                      <a:pt x="586" y="166"/>
                    </a:lnTo>
                    <a:lnTo>
                      <a:pt x="588" y="162"/>
                    </a:lnTo>
                    <a:lnTo>
                      <a:pt x="588" y="162"/>
                    </a:lnTo>
                    <a:lnTo>
                      <a:pt x="594" y="152"/>
                    </a:lnTo>
                    <a:lnTo>
                      <a:pt x="596" y="146"/>
                    </a:lnTo>
                    <a:lnTo>
                      <a:pt x="596" y="140"/>
                    </a:lnTo>
                    <a:lnTo>
                      <a:pt x="594" y="134"/>
                    </a:lnTo>
                    <a:lnTo>
                      <a:pt x="592" y="128"/>
                    </a:lnTo>
                    <a:lnTo>
                      <a:pt x="588" y="124"/>
                    </a:lnTo>
                    <a:lnTo>
                      <a:pt x="582" y="118"/>
                    </a:lnTo>
                    <a:lnTo>
                      <a:pt x="582" y="118"/>
                    </a:lnTo>
                    <a:lnTo>
                      <a:pt x="576" y="112"/>
                    </a:lnTo>
                    <a:lnTo>
                      <a:pt x="572" y="102"/>
                    </a:lnTo>
                    <a:lnTo>
                      <a:pt x="566" y="82"/>
                    </a:lnTo>
                    <a:lnTo>
                      <a:pt x="560" y="58"/>
                    </a:lnTo>
                    <a:lnTo>
                      <a:pt x="554" y="48"/>
                    </a:lnTo>
                    <a:lnTo>
                      <a:pt x="548" y="38"/>
                    </a:lnTo>
                    <a:lnTo>
                      <a:pt x="548" y="38"/>
                    </a:lnTo>
                    <a:lnTo>
                      <a:pt x="540" y="28"/>
                    </a:lnTo>
                    <a:lnTo>
                      <a:pt x="532" y="24"/>
                    </a:lnTo>
                    <a:lnTo>
                      <a:pt x="522" y="20"/>
                    </a:lnTo>
                    <a:lnTo>
                      <a:pt x="506" y="10"/>
                    </a:lnTo>
                    <a:lnTo>
                      <a:pt x="506" y="10"/>
                    </a:lnTo>
                    <a:lnTo>
                      <a:pt x="498" y="6"/>
                    </a:lnTo>
                    <a:lnTo>
                      <a:pt x="492" y="4"/>
                    </a:lnTo>
                    <a:lnTo>
                      <a:pt x="490" y="4"/>
                    </a:lnTo>
                    <a:lnTo>
                      <a:pt x="488" y="6"/>
                    </a:lnTo>
                    <a:lnTo>
                      <a:pt x="486" y="8"/>
                    </a:lnTo>
                    <a:lnTo>
                      <a:pt x="482" y="10"/>
                    </a:lnTo>
                    <a:lnTo>
                      <a:pt x="476" y="10"/>
                    </a:lnTo>
                    <a:lnTo>
                      <a:pt x="464" y="6"/>
                    </a:lnTo>
                    <a:lnTo>
                      <a:pt x="464" y="6"/>
                    </a:lnTo>
                    <a:lnTo>
                      <a:pt x="450" y="2"/>
                    </a:lnTo>
                    <a:lnTo>
                      <a:pt x="446" y="2"/>
                    </a:lnTo>
                    <a:lnTo>
                      <a:pt x="440" y="4"/>
                    </a:lnTo>
                    <a:lnTo>
                      <a:pt x="438" y="8"/>
                    </a:lnTo>
                    <a:lnTo>
                      <a:pt x="436" y="12"/>
                    </a:lnTo>
                    <a:lnTo>
                      <a:pt x="436" y="20"/>
                    </a:lnTo>
                    <a:lnTo>
                      <a:pt x="440" y="28"/>
                    </a:lnTo>
                    <a:lnTo>
                      <a:pt x="440" y="28"/>
                    </a:lnTo>
                    <a:lnTo>
                      <a:pt x="444" y="38"/>
                    </a:lnTo>
                    <a:lnTo>
                      <a:pt x="446" y="48"/>
                    </a:lnTo>
                    <a:lnTo>
                      <a:pt x="450" y="68"/>
                    </a:lnTo>
                    <a:lnTo>
                      <a:pt x="454" y="78"/>
                    </a:lnTo>
                    <a:lnTo>
                      <a:pt x="458" y="88"/>
                    </a:lnTo>
                    <a:lnTo>
                      <a:pt x="464" y="98"/>
                    </a:lnTo>
                    <a:lnTo>
                      <a:pt x="472" y="106"/>
                    </a:lnTo>
                    <a:lnTo>
                      <a:pt x="472" y="106"/>
                    </a:lnTo>
                    <a:lnTo>
                      <a:pt x="476" y="110"/>
                    </a:lnTo>
                    <a:lnTo>
                      <a:pt x="478" y="114"/>
                    </a:lnTo>
                    <a:lnTo>
                      <a:pt x="478" y="116"/>
                    </a:lnTo>
                    <a:lnTo>
                      <a:pt x="474" y="118"/>
                    </a:lnTo>
                    <a:lnTo>
                      <a:pt x="468" y="122"/>
                    </a:lnTo>
                    <a:lnTo>
                      <a:pt x="462" y="128"/>
                    </a:lnTo>
                    <a:lnTo>
                      <a:pt x="462" y="128"/>
                    </a:lnTo>
                    <a:lnTo>
                      <a:pt x="458" y="130"/>
                    </a:lnTo>
                    <a:lnTo>
                      <a:pt x="456" y="132"/>
                    </a:lnTo>
                    <a:lnTo>
                      <a:pt x="452" y="130"/>
                    </a:lnTo>
                    <a:lnTo>
                      <a:pt x="446" y="122"/>
                    </a:lnTo>
                    <a:lnTo>
                      <a:pt x="434" y="104"/>
                    </a:lnTo>
                    <a:lnTo>
                      <a:pt x="434" y="104"/>
                    </a:lnTo>
                    <a:lnTo>
                      <a:pt x="430" y="94"/>
                    </a:lnTo>
                    <a:lnTo>
                      <a:pt x="426" y="84"/>
                    </a:lnTo>
                    <a:lnTo>
                      <a:pt x="420" y="68"/>
                    </a:lnTo>
                    <a:lnTo>
                      <a:pt x="418" y="62"/>
                    </a:lnTo>
                    <a:lnTo>
                      <a:pt x="412" y="56"/>
                    </a:lnTo>
                    <a:lnTo>
                      <a:pt x="406" y="50"/>
                    </a:lnTo>
                    <a:lnTo>
                      <a:pt x="396" y="46"/>
                    </a:lnTo>
                    <a:lnTo>
                      <a:pt x="396" y="46"/>
                    </a:lnTo>
                    <a:lnTo>
                      <a:pt x="384" y="42"/>
                    </a:lnTo>
                    <a:lnTo>
                      <a:pt x="382" y="40"/>
                    </a:lnTo>
                    <a:lnTo>
                      <a:pt x="384" y="38"/>
                    </a:lnTo>
                    <a:lnTo>
                      <a:pt x="384" y="36"/>
                    </a:lnTo>
                    <a:lnTo>
                      <a:pt x="384" y="34"/>
                    </a:lnTo>
                    <a:lnTo>
                      <a:pt x="380" y="32"/>
                    </a:lnTo>
                    <a:lnTo>
                      <a:pt x="372" y="30"/>
                    </a:lnTo>
                    <a:lnTo>
                      <a:pt x="372" y="30"/>
                    </a:lnTo>
                    <a:lnTo>
                      <a:pt x="354" y="26"/>
                    </a:lnTo>
                    <a:lnTo>
                      <a:pt x="340" y="26"/>
                    </a:lnTo>
                    <a:lnTo>
                      <a:pt x="338" y="28"/>
                    </a:lnTo>
                    <a:lnTo>
                      <a:pt x="338" y="30"/>
                    </a:lnTo>
                    <a:lnTo>
                      <a:pt x="340" y="32"/>
                    </a:lnTo>
                    <a:lnTo>
                      <a:pt x="346" y="36"/>
                    </a:lnTo>
                    <a:lnTo>
                      <a:pt x="346" y="36"/>
                    </a:lnTo>
                    <a:lnTo>
                      <a:pt x="352" y="40"/>
                    </a:lnTo>
                    <a:lnTo>
                      <a:pt x="356" y="44"/>
                    </a:lnTo>
                    <a:lnTo>
                      <a:pt x="358" y="46"/>
                    </a:lnTo>
                    <a:lnTo>
                      <a:pt x="356" y="48"/>
                    </a:lnTo>
                    <a:lnTo>
                      <a:pt x="356" y="52"/>
                    </a:lnTo>
                    <a:lnTo>
                      <a:pt x="362" y="54"/>
                    </a:lnTo>
                    <a:lnTo>
                      <a:pt x="362" y="54"/>
                    </a:lnTo>
                    <a:lnTo>
                      <a:pt x="372" y="58"/>
                    </a:lnTo>
                    <a:lnTo>
                      <a:pt x="376" y="62"/>
                    </a:lnTo>
                    <a:lnTo>
                      <a:pt x="376" y="64"/>
                    </a:lnTo>
                    <a:lnTo>
                      <a:pt x="372" y="64"/>
                    </a:lnTo>
                    <a:lnTo>
                      <a:pt x="354" y="60"/>
                    </a:lnTo>
                    <a:lnTo>
                      <a:pt x="354" y="60"/>
                    </a:lnTo>
                    <a:lnTo>
                      <a:pt x="344" y="60"/>
                    </a:lnTo>
                    <a:lnTo>
                      <a:pt x="336" y="62"/>
                    </a:lnTo>
                    <a:lnTo>
                      <a:pt x="332" y="66"/>
                    </a:lnTo>
                    <a:lnTo>
                      <a:pt x="330" y="70"/>
                    </a:lnTo>
                    <a:lnTo>
                      <a:pt x="328" y="76"/>
                    </a:lnTo>
                    <a:lnTo>
                      <a:pt x="326" y="78"/>
                    </a:lnTo>
                    <a:lnTo>
                      <a:pt x="322" y="78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4" y="68"/>
                    </a:lnTo>
                    <a:lnTo>
                      <a:pt x="314" y="64"/>
                    </a:lnTo>
                    <a:lnTo>
                      <a:pt x="318" y="56"/>
                    </a:lnTo>
                    <a:lnTo>
                      <a:pt x="318" y="52"/>
                    </a:lnTo>
                    <a:lnTo>
                      <a:pt x="316" y="48"/>
                    </a:lnTo>
                    <a:lnTo>
                      <a:pt x="310" y="44"/>
                    </a:lnTo>
                    <a:lnTo>
                      <a:pt x="296" y="40"/>
                    </a:lnTo>
                    <a:lnTo>
                      <a:pt x="296" y="40"/>
                    </a:lnTo>
                    <a:lnTo>
                      <a:pt x="268" y="34"/>
                    </a:lnTo>
                    <a:lnTo>
                      <a:pt x="250" y="30"/>
                    </a:lnTo>
                    <a:lnTo>
                      <a:pt x="238" y="32"/>
                    </a:lnTo>
                    <a:lnTo>
                      <a:pt x="230" y="36"/>
                    </a:lnTo>
                    <a:lnTo>
                      <a:pt x="230" y="36"/>
                    </a:lnTo>
                    <a:lnTo>
                      <a:pt x="224" y="38"/>
                    </a:lnTo>
                    <a:lnTo>
                      <a:pt x="224" y="42"/>
                    </a:lnTo>
                    <a:lnTo>
                      <a:pt x="226" y="46"/>
                    </a:lnTo>
                    <a:lnTo>
                      <a:pt x="224" y="48"/>
                    </a:lnTo>
                    <a:lnTo>
                      <a:pt x="220" y="50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190" y="60"/>
                    </a:lnTo>
                    <a:lnTo>
                      <a:pt x="186" y="60"/>
                    </a:lnTo>
                    <a:lnTo>
                      <a:pt x="192" y="54"/>
                    </a:lnTo>
                    <a:lnTo>
                      <a:pt x="204" y="44"/>
                    </a:lnTo>
                    <a:lnTo>
                      <a:pt x="206" y="40"/>
                    </a:lnTo>
                    <a:lnTo>
                      <a:pt x="206" y="36"/>
                    </a:lnTo>
                    <a:lnTo>
                      <a:pt x="206" y="36"/>
                    </a:lnTo>
                    <a:lnTo>
                      <a:pt x="206" y="32"/>
                    </a:lnTo>
                    <a:lnTo>
                      <a:pt x="206" y="28"/>
                    </a:lnTo>
                    <a:lnTo>
                      <a:pt x="208" y="20"/>
                    </a:lnTo>
                    <a:lnTo>
                      <a:pt x="208" y="16"/>
                    </a:lnTo>
                    <a:lnTo>
                      <a:pt x="208" y="12"/>
                    </a:lnTo>
                    <a:lnTo>
                      <a:pt x="204" y="8"/>
                    </a:lnTo>
                    <a:lnTo>
                      <a:pt x="196" y="2"/>
                    </a:lnTo>
                    <a:lnTo>
                      <a:pt x="196" y="2"/>
                    </a:lnTo>
                    <a:lnTo>
                      <a:pt x="186" y="0"/>
                    </a:lnTo>
                    <a:lnTo>
                      <a:pt x="176" y="0"/>
                    </a:lnTo>
                    <a:lnTo>
                      <a:pt x="162" y="4"/>
                    </a:lnTo>
                    <a:lnTo>
                      <a:pt x="150" y="8"/>
                    </a:lnTo>
                    <a:lnTo>
                      <a:pt x="122" y="18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82" y="32"/>
                    </a:lnTo>
                    <a:lnTo>
                      <a:pt x="66" y="4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4" y="66"/>
                    </a:lnTo>
                    <a:lnTo>
                      <a:pt x="22" y="70"/>
                    </a:lnTo>
                    <a:lnTo>
                      <a:pt x="22" y="72"/>
                    </a:lnTo>
                    <a:lnTo>
                      <a:pt x="26" y="74"/>
                    </a:lnTo>
                    <a:lnTo>
                      <a:pt x="36" y="78"/>
                    </a:lnTo>
                    <a:lnTo>
                      <a:pt x="40" y="80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0" y="86"/>
                    </a:lnTo>
                    <a:lnTo>
                      <a:pt x="32" y="90"/>
                    </a:lnTo>
                    <a:lnTo>
                      <a:pt x="20" y="94"/>
                    </a:lnTo>
                    <a:lnTo>
                      <a:pt x="16" y="98"/>
                    </a:lnTo>
                    <a:lnTo>
                      <a:pt x="10" y="104"/>
                    </a:lnTo>
                    <a:lnTo>
                      <a:pt x="10" y="104"/>
                    </a:lnTo>
                    <a:lnTo>
                      <a:pt x="4" y="110"/>
                    </a:lnTo>
                    <a:lnTo>
                      <a:pt x="2" y="116"/>
                    </a:lnTo>
                    <a:lnTo>
                      <a:pt x="0" y="122"/>
                    </a:lnTo>
                    <a:lnTo>
                      <a:pt x="0" y="126"/>
                    </a:lnTo>
                    <a:lnTo>
                      <a:pt x="2" y="130"/>
                    </a:lnTo>
                    <a:lnTo>
                      <a:pt x="6" y="132"/>
                    </a:lnTo>
                    <a:lnTo>
                      <a:pt x="10" y="132"/>
                    </a:lnTo>
                    <a:lnTo>
                      <a:pt x="14" y="130"/>
                    </a:lnTo>
                    <a:lnTo>
                      <a:pt x="14" y="130"/>
                    </a:lnTo>
                    <a:lnTo>
                      <a:pt x="20" y="128"/>
                    </a:lnTo>
                    <a:lnTo>
                      <a:pt x="24" y="126"/>
                    </a:lnTo>
                    <a:lnTo>
                      <a:pt x="26" y="128"/>
                    </a:lnTo>
                    <a:lnTo>
                      <a:pt x="28" y="130"/>
                    </a:lnTo>
                    <a:lnTo>
                      <a:pt x="30" y="138"/>
                    </a:lnTo>
                    <a:lnTo>
                      <a:pt x="34" y="146"/>
                    </a:lnTo>
                    <a:lnTo>
                      <a:pt x="34" y="146"/>
                    </a:lnTo>
                    <a:lnTo>
                      <a:pt x="38" y="150"/>
                    </a:lnTo>
                    <a:lnTo>
                      <a:pt x="44" y="150"/>
                    </a:lnTo>
                    <a:lnTo>
                      <a:pt x="64" y="150"/>
                    </a:lnTo>
                    <a:lnTo>
                      <a:pt x="88" y="144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16" y="140"/>
                    </a:lnTo>
                    <a:lnTo>
                      <a:pt x="120" y="142"/>
                    </a:lnTo>
                    <a:lnTo>
                      <a:pt x="122" y="144"/>
                    </a:lnTo>
                    <a:lnTo>
                      <a:pt x="120" y="146"/>
                    </a:lnTo>
                    <a:lnTo>
                      <a:pt x="114" y="150"/>
                    </a:lnTo>
                    <a:lnTo>
                      <a:pt x="98" y="156"/>
                    </a:lnTo>
                    <a:lnTo>
                      <a:pt x="76" y="160"/>
                    </a:lnTo>
                    <a:lnTo>
                      <a:pt x="76" y="160"/>
                    </a:lnTo>
                    <a:lnTo>
                      <a:pt x="46" y="168"/>
                    </a:lnTo>
                    <a:lnTo>
                      <a:pt x="38" y="170"/>
                    </a:lnTo>
                    <a:lnTo>
                      <a:pt x="34" y="174"/>
                    </a:lnTo>
                    <a:lnTo>
                      <a:pt x="32" y="178"/>
                    </a:lnTo>
                    <a:lnTo>
                      <a:pt x="34" y="182"/>
                    </a:lnTo>
                    <a:lnTo>
                      <a:pt x="38" y="188"/>
                    </a:lnTo>
                    <a:lnTo>
                      <a:pt x="44" y="192"/>
                    </a:lnTo>
                    <a:lnTo>
                      <a:pt x="44" y="192"/>
                    </a:lnTo>
                    <a:lnTo>
                      <a:pt x="56" y="202"/>
                    </a:lnTo>
                    <a:lnTo>
                      <a:pt x="66" y="206"/>
                    </a:lnTo>
                    <a:lnTo>
                      <a:pt x="76" y="206"/>
                    </a:lnTo>
                    <a:lnTo>
                      <a:pt x="94" y="204"/>
                    </a:lnTo>
                    <a:lnTo>
                      <a:pt x="94" y="204"/>
                    </a:lnTo>
                    <a:lnTo>
                      <a:pt x="110" y="204"/>
                    </a:lnTo>
                    <a:lnTo>
                      <a:pt x="120" y="206"/>
                    </a:lnTo>
                    <a:lnTo>
                      <a:pt x="132" y="208"/>
                    </a:lnTo>
                    <a:lnTo>
                      <a:pt x="152" y="208"/>
                    </a:lnTo>
                    <a:lnTo>
                      <a:pt x="152" y="208"/>
                    </a:lnTo>
                    <a:lnTo>
                      <a:pt x="176" y="206"/>
                    </a:lnTo>
                    <a:lnTo>
                      <a:pt x="194" y="202"/>
                    </a:lnTo>
                    <a:lnTo>
                      <a:pt x="210" y="202"/>
                    </a:lnTo>
                    <a:lnTo>
                      <a:pt x="220" y="202"/>
                    </a:lnTo>
                    <a:lnTo>
                      <a:pt x="232" y="204"/>
                    </a:lnTo>
                    <a:lnTo>
                      <a:pt x="232" y="204"/>
                    </a:lnTo>
                    <a:lnTo>
                      <a:pt x="250" y="208"/>
                    </a:lnTo>
                    <a:lnTo>
                      <a:pt x="262" y="210"/>
                    </a:lnTo>
                    <a:lnTo>
                      <a:pt x="268" y="210"/>
                    </a:lnTo>
                    <a:lnTo>
                      <a:pt x="276" y="214"/>
                    </a:lnTo>
                    <a:lnTo>
                      <a:pt x="276" y="214"/>
                    </a:lnTo>
                    <a:lnTo>
                      <a:pt x="290" y="220"/>
                    </a:lnTo>
                    <a:lnTo>
                      <a:pt x="302" y="226"/>
                    </a:lnTo>
                    <a:lnTo>
                      <a:pt x="306" y="228"/>
                    </a:lnTo>
                    <a:lnTo>
                      <a:pt x="306" y="230"/>
                    </a:lnTo>
                    <a:lnTo>
                      <a:pt x="294" y="230"/>
                    </a:lnTo>
                    <a:lnTo>
                      <a:pt x="294" y="230"/>
                    </a:lnTo>
                    <a:lnTo>
                      <a:pt x="280" y="230"/>
                    </a:lnTo>
                    <a:lnTo>
                      <a:pt x="276" y="232"/>
                    </a:lnTo>
                    <a:lnTo>
                      <a:pt x="268" y="232"/>
                    </a:lnTo>
                    <a:lnTo>
                      <a:pt x="246" y="230"/>
                    </a:lnTo>
                    <a:lnTo>
                      <a:pt x="246" y="230"/>
                    </a:lnTo>
                    <a:lnTo>
                      <a:pt x="210" y="228"/>
                    </a:lnTo>
                    <a:lnTo>
                      <a:pt x="168" y="230"/>
                    </a:lnTo>
                    <a:lnTo>
                      <a:pt x="126" y="234"/>
                    </a:lnTo>
                    <a:lnTo>
                      <a:pt x="90" y="240"/>
                    </a:lnTo>
                    <a:lnTo>
                      <a:pt x="90" y="240"/>
                    </a:lnTo>
                    <a:lnTo>
                      <a:pt x="76" y="244"/>
                    </a:lnTo>
                    <a:lnTo>
                      <a:pt x="70" y="250"/>
                    </a:lnTo>
                    <a:lnTo>
                      <a:pt x="70" y="252"/>
                    </a:lnTo>
                    <a:lnTo>
                      <a:pt x="70" y="254"/>
                    </a:lnTo>
                    <a:lnTo>
                      <a:pt x="72" y="262"/>
                    </a:lnTo>
                    <a:lnTo>
                      <a:pt x="78" y="268"/>
                    </a:lnTo>
                    <a:lnTo>
                      <a:pt x="86" y="274"/>
                    </a:lnTo>
                    <a:lnTo>
                      <a:pt x="100" y="290"/>
                    </a:lnTo>
                    <a:lnTo>
                      <a:pt x="100" y="290"/>
                    </a:lnTo>
                    <a:lnTo>
                      <a:pt x="110" y="296"/>
                    </a:lnTo>
                    <a:lnTo>
                      <a:pt x="122" y="300"/>
                    </a:lnTo>
                    <a:lnTo>
                      <a:pt x="138" y="302"/>
                    </a:lnTo>
                    <a:lnTo>
                      <a:pt x="156" y="304"/>
                    </a:lnTo>
                    <a:lnTo>
                      <a:pt x="190" y="304"/>
                    </a:lnTo>
                    <a:lnTo>
                      <a:pt x="214" y="304"/>
                    </a:lnTo>
                    <a:lnTo>
                      <a:pt x="214" y="304"/>
                    </a:lnTo>
                    <a:lnTo>
                      <a:pt x="220" y="306"/>
                    </a:lnTo>
                    <a:lnTo>
                      <a:pt x="222" y="308"/>
                    </a:lnTo>
                    <a:lnTo>
                      <a:pt x="224" y="314"/>
                    </a:lnTo>
                    <a:lnTo>
                      <a:pt x="224" y="320"/>
                    </a:lnTo>
                    <a:lnTo>
                      <a:pt x="222" y="332"/>
                    </a:lnTo>
                    <a:lnTo>
                      <a:pt x="222" y="338"/>
                    </a:lnTo>
                    <a:lnTo>
                      <a:pt x="224" y="342"/>
                    </a:lnTo>
                    <a:lnTo>
                      <a:pt x="224" y="342"/>
                    </a:lnTo>
                    <a:lnTo>
                      <a:pt x="232" y="350"/>
                    </a:lnTo>
                    <a:lnTo>
                      <a:pt x="238" y="356"/>
                    </a:lnTo>
                    <a:lnTo>
                      <a:pt x="246" y="358"/>
                    </a:lnTo>
                    <a:lnTo>
                      <a:pt x="260" y="358"/>
                    </a:lnTo>
                    <a:lnTo>
                      <a:pt x="260" y="358"/>
                    </a:lnTo>
                    <a:lnTo>
                      <a:pt x="282" y="358"/>
                    </a:lnTo>
                    <a:lnTo>
                      <a:pt x="300" y="358"/>
                    </a:lnTo>
                    <a:lnTo>
                      <a:pt x="314" y="358"/>
                    </a:lnTo>
                    <a:lnTo>
                      <a:pt x="324" y="356"/>
                    </a:lnTo>
                    <a:lnTo>
                      <a:pt x="324" y="356"/>
                    </a:lnTo>
                    <a:lnTo>
                      <a:pt x="342" y="352"/>
                    </a:lnTo>
                    <a:lnTo>
                      <a:pt x="370" y="348"/>
                    </a:lnTo>
                    <a:lnTo>
                      <a:pt x="398" y="342"/>
                    </a:lnTo>
                    <a:lnTo>
                      <a:pt x="412" y="338"/>
                    </a:lnTo>
                    <a:lnTo>
                      <a:pt x="420" y="332"/>
                    </a:lnTo>
                    <a:lnTo>
                      <a:pt x="420" y="332"/>
                    </a:lnTo>
                    <a:lnTo>
                      <a:pt x="428" y="328"/>
                    </a:lnTo>
                    <a:lnTo>
                      <a:pt x="436" y="326"/>
                    </a:lnTo>
                    <a:lnTo>
                      <a:pt x="450" y="326"/>
                    </a:lnTo>
                    <a:lnTo>
                      <a:pt x="462" y="324"/>
                    </a:lnTo>
                    <a:lnTo>
                      <a:pt x="470" y="322"/>
                    </a:lnTo>
                    <a:lnTo>
                      <a:pt x="478" y="318"/>
                    </a:lnTo>
                    <a:lnTo>
                      <a:pt x="478" y="318"/>
                    </a:lnTo>
                    <a:lnTo>
                      <a:pt x="486" y="312"/>
                    </a:lnTo>
                    <a:lnTo>
                      <a:pt x="488" y="308"/>
                    </a:lnTo>
                    <a:lnTo>
                      <a:pt x="490" y="304"/>
                    </a:lnTo>
                    <a:lnTo>
                      <a:pt x="490" y="302"/>
                    </a:lnTo>
                    <a:lnTo>
                      <a:pt x="490" y="300"/>
                    </a:lnTo>
                    <a:lnTo>
                      <a:pt x="490" y="296"/>
                    </a:lnTo>
                    <a:lnTo>
                      <a:pt x="494" y="294"/>
                    </a:lnTo>
                    <a:lnTo>
                      <a:pt x="500" y="290"/>
                    </a:lnTo>
                    <a:lnTo>
                      <a:pt x="500" y="290"/>
                    </a:lnTo>
                    <a:lnTo>
                      <a:pt x="506" y="288"/>
                    </a:lnTo>
                    <a:lnTo>
                      <a:pt x="512" y="290"/>
                    </a:lnTo>
                    <a:lnTo>
                      <a:pt x="514" y="292"/>
                    </a:lnTo>
                    <a:lnTo>
                      <a:pt x="516" y="294"/>
                    </a:lnTo>
                    <a:lnTo>
                      <a:pt x="514" y="304"/>
                    </a:lnTo>
                    <a:lnTo>
                      <a:pt x="514" y="304"/>
                    </a:lnTo>
                    <a:lnTo>
                      <a:pt x="514" y="312"/>
                    </a:lnTo>
                    <a:lnTo>
                      <a:pt x="514" y="312"/>
                    </a:lnTo>
                    <a:lnTo>
                      <a:pt x="518" y="312"/>
                    </a:lnTo>
                    <a:lnTo>
                      <a:pt x="530" y="310"/>
                    </a:lnTo>
                    <a:lnTo>
                      <a:pt x="540" y="312"/>
                    </a:lnTo>
                    <a:lnTo>
                      <a:pt x="554" y="314"/>
                    </a:lnTo>
                    <a:lnTo>
                      <a:pt x="554" y="314"/>
                    </a:lnTo>
                    <a:lnTo>
                      <a:pt x="564" y="318"/>
                    </a:lnTo>
                    <a:lnTo>
                      <a:pt x="568" y="320"/>
                    </a:lnTo>
                    <a:lnTo>
                      <a:pt x="568" y="322"/>
                    </a:lnTo>
                    <a:lnTo>
                      <a:pt x="566" y="322"/>
                    </a:lnTo>
                    <a:lnTo>
                      <a:pt x="560" y="324"/>
                    </a:lnTo>
                    <a:lnTo>
                      <a:pt x="562" y="326"/>
                    </a:lnTo>
                    <a:lnTo>
                      <a:pt x="568" y="330"/>
                    </a:lnTo>
                    <a:lnTo>
                      <a:pt x="568" y="330"/>
                    </a:lnTo>
                    <a:lnTo>
                      <a:pt x="576" y="332"/>
                    </a:lnTo>
                    <a:lnTo>
                      <a:pt x="582" y="332"/>
                    </a:lnTo>
                    <a:lnTo>
                      <a:pt x="588" y="330"/>
                    </a:lnTo>
                    <a:lnTo>
                      <a:pt x="592" y="328"/>
                    </a:lnTo>
                    <a:lnTo>
                      <a:pt x="596" y="328"/>
                    </a:lnTo>
                    <a:lnTo>
                      <a:pt x="602" y="328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28" y="336"/>
                    </a:lnTo>
                    <a:lnTo>
                      <a:pt x="636" y="336"/>
                    </a:lnTo>
                    <a:lnTo>
                      <a:pt x="640" y="334"/>
                    </a:lnTo>
                    <a:lnTo>
                      <a:pt x="648" y="336"/>
                    </a:lnTo>
                    <a:lnTo>
                      <a:pt x="648" y="336"/>
                    </a:lnTo>
                    <a:lnTo>
                      <a:pt x="654" y="336"/>
                    </a:lnTo>
                    <a:lnTo>
                      <a:pt x="658" y="336"/>
                    </a:lnTo>
                    <a:lnTo>
                      <a:pt x="668" y="332"/>
                    </a:lnTo>
                    <a:lnTo>
                      <a:pt x="676" y="326"/>
                    </a:lnTo>
                    <a:lnTo>
                      <a:pt x="680" y="324"/>
                    </a:lnTo>
                    <a:lnTo>
                      <a:pt x="686" y="324"/>
                    </a:lnTo>
                    <a:lnTo>
                      <a:pt x="686" y="324"/>
                    </a:lnTo>
                    <a:lnTo>
                      <a:pt x="694" y="322"/>
                    </a:lnTo>
                    <a:lnTo>
                      <a:pt x="700" y="316"/>
                    </a:lnTo>
                    <a:lnTo>
                      <a:pt x="702" y="314"/>
                    </a:lnTo>
                    <a:lnTo>
                      <a:pt x="702" y="310"/>
                    </a:lnTo>
                    <a:lnTo>
                      <a:pt x="700" y="306"/>
                    </a:lnTo>
                    <a:lnTo>
                      <a:pt x="696" y="304"/>
                    </a:lnTo>
                    <a:lnTo>
                      <a:pt x="696" y="304"/>
                    </a:lnTo>
                    <a:lnTo>
                      <a:pt x="692" y="300"/>
                    </a:lnTo>
                    <a:lnTo>
                      <a:pt x="690" y="298"/>
                    </a:lnTo>
                    <a:lnTo>
                      <a:pt x="692" y="294"/>
                    </a:lnTo>
                    <a:lnTo>
                      <a:pt x="694" y="290"/>
                    </a:lnTo>
                    <a:lnTo>
                      <a:pt x="692" y="288"/>
                    </a:lnTo>
                    <a:lnTo>
                      <a:pt x="688" y="286"/>
                    </a:lnTo>
                    <a:lnTo>
                      <a:pt x="688" y="286"/>
                    </a:lnTo>
                    <a:lnTo>
                      <a:pt x="682" y="286"/>
                    </a:lnTo>
                    <a:lnTo>
                      <a:pt x="674" y="288"/>
                    </a:lnTo>
                    <a:lnTo>
                      <a:pt x="660" y="296"/>
                    </a:lnTo>
                    <a:lnTo>
                      <a:pt x="648" y="300"/>
                    </a:lnTo>
                    <a:lnTo>
                      <a:pt x="648" y="300"/>
                    </a:lnTo>
                    <a:lnTo>
                      <a:pt x="650" y="296"/>
                    </a:lnTo>
                    <a:lnTo>
                      <a:pt x="650" y="296"/>
                    </a:lnTo>
                    <a:lnTo>
                      <a:pt x="652" y="290"/>
                    </a:lnTo>
                    <a:lnTo>
                      <a:pt x="650" y="286"/>
                    </a:lnTo>
                    <a:lnTo>
                      <a:pt x="646" y="284"/>
                    </a:lnTo>
                    <a:lnTo>
                      <a:pt x="642" y="280"/>
                    </a:lnTo>
                    <a:lnTo>
                      <a:pt x="632" y="278"/>
                    </a:lnTo>
                    <a:lnTo>
                      <a:pt x="630" y="276"/>
                    </a:lnTo>
                    <a:lnTo>
                      <a:pt x="632" y="274"/>
                    </a:lnTo>
                    <a:lnTo>
                      <a:pt x="632" y="274"/>
                    </a:lnTo>
                    <a:lnTo>
                      <a:pt x="634" y="272"/>
                    </a:lnTo>
                    <a:lnTo>
                      <a:pt x="638" y="272"/>
                    </a:lnTo>
                    <a:lnTo>
                      <a:pt x="650" y="278"/>
                    </a:lnTo>
                    <a:lnTo>
                      <a:pt x="660" y="282"/>
                    </a:lnTo>
                    <a:lnTo>
                      <a:pt x="666" y="282"/>
                    </a:lnTo>
                    <a:lnTo>
                      <a:pt x="670" y="280"/>
                    </a:lnTo>
                    <a:lnTo>
                      <a:pt x="670" y="280"/>
                    </a:lnTo>
                    <a:lnTo>
                      <a:pt x="672" y="278"/>
                    </a:lnTo>
                    <a:lnTo>
                      <a:pt x="672" y="276"/>
                    </a:lnTo>
                    <a:lnTo>
                      <a:pt x="670" y="272"/>
                    </a:lnTo>
                    <a:lnTo>
                      <a:pt x="668" y="272"/>
                    </a:lnTo>
                    <a:lnTo>
                      <a:pt x="668" y="270"/>
                    </a:lnTo>
                    <a:lnTo>
                      <a:pt x="670" y="266"/>
                    </a:lnTo>
                    <a:lnTo>
                      <a:pt x="674" y="264"/>
                    </a:lnTo>
                    <a:lnTo>
                      <a:pt x="674" y="2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82" name="Freeform 6115">
                <a:extLst>
                  <a:ext uri="{FF2B5EF4-FFF2-40B4-BE49-F238E27FC236}">
                    <a16:creationId xmlns:a16="http://schemas.microsoft.com/office/drawing/2014/main" id="{916F9E97-9F0F-4885-AD11-C1D209E3BE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730" y="1203643"/>
                <a:ext cx="165100" cy="125730"/>
              </a:xfrm>
              <a:custGeom>
                <a:avLst/>
                <a:gdLst/>
                <a:ahLst/>
                <a:cxnLst>
                  <a:cxn ang="0">
                    <a:pos x="256" y="98"/>
                  </a:cxn>
                  <a:cxn ang="0">
                    <a:pos x="250" y="90"/>
                  </a:cxn>
                  <a:cxn ang="0">
                    <a:pos x="242" y="92"/>
                  </a:cxn>
                  <a:cxn ang="0">
                    <a:pos x="234" y="94"/>
                  </a:cxn>
                  <a:cxn ang="0">
                    <a:pos x="222" y="84"/>
                  </a:cxn>
                  <a:cxn ang="0">
                    <a:pos x="216" y="74"/>
                  </a:cxn>
                  <a:cxn ang="0">
                    <a:pos x="192" y="60"/>
                  </a:cxn>
                  <a:cxn ang="0">
                    <a:pos x="188" y="56"/>
                  </a:cxn>
                  <a:cxn ang="0">
                    <a:pos x="196" y="52"/>
                  </a:cxn>
                  <a:cxn ang="0">
                    <a:pos x="208" y="48"/>
                  </a:cxn>
                  <a:cxn ang="0">
                    <a:pos x="226" y="42"/>
                  </a:cxn>
                  <a:cxn ang="0">
                    <a:pos x="222" y="38"/>
                  </a:cxn>
                  <a:cxn ang="0">
                    <a:pos x="216" y="32"/>
                  </a:cxn>
                  <a:cxn ang="0">
                    <a:pos x="222" y="24"/>
                  </a:cxn>
                  <a:cxn ang="0">
                    <a:pos x="230" y="20"/>
                  </a:cxn>
                  <a:cxn ang="0">
                    <a:pos x="230" y="10"/>
                  </a:cxn>
                  <a:cxn ang="0">
                    <a:pos x="218" y="4"/>
                  </a:cxn>
                  <a:cxn ang="0">
                    <a:pos x="194" y="4"/>
                  </a:cxn>
                  <a:cxn ang="0">
                    <a:pos x="180" y="8"/>
                  </a:cxn>
                  <a:cxn ang="0">
                    <a:pos x="152" y="12"/>
                  </a:cxn>
                  <a:cxn ang="0">
                    <a:pos x="130" y="6"/>
                  </a:cxn>
                  <a:cxn ang="0">
                    <a:pos x="110" y="0"/>
                  </a:cxn>
                  <a:cxn ang="0">
                    <a:pos x="86" y="4"/>
                  </a:cxn>
                  <a:cxn ang="0">
                    <a:pos x="64" y="14"/>
                  </a:cxn>
                  <a:cxn ang="0">
                    <a:pos x="50" y="24"/>
                  </a:cxn>
                  <a:cxn ang="0">
                    <a:pos x="48" y="34"/>
                  </a:cxn>
                  <a:cxn ang="0">
                    <a:pos x="62" y="44"/>
                  </a:cxn>
                  <a:cxn ang="0">
                    <a:pos x="70" y="48"/>
                  </a:cxn>
                  <a:cxn ang="0">
                    <a:pos x="88" y="58"/>
                  </a:cxn>
                  <a:cxn ang="0">
                    <a:pos x="96" y="68"/>
                  </a:cxn>
                  <a:cxn ang="0">
                    <a:pos x="92" y="78"/>
                  </a:cxn>
                  <a:cxn ang="0">
                    <a:pos x="78" y="88"/>
                  </a:cxn>
                  <a:cxn ang="0">
                    <a:pos x="74" y="88"/>
                  </a:cxn>
                  <a:cxn ang="0">
                    <a:pos x="58" y="86"/>
                  </a:cxn>
                  <a:cxn ang="0">
                    <a:pos x="38" y="74"/>
                  </a:cxn>
                  <a:cxn ang="0">
                    <a:pos x="20" y="64"/>
                  </a:cxn>
                  <a:cxn ang="0">
                    <a:pos x="10" y="64"/>
                  </a:cxn>
                  <a:cxn ang="0">
                    <a:pos x="2" y="72"/>
                  </a:cxn>
                  <a:cxn ang="0">
                    <a:pos x="0" y="78"/>
                  </a:cxn>
                  <a:cxn ang="0">
                    <a:pos x="6" y="94"/>
                  </a:cxn>
                  <a:cxn ang="0">
                    <a:pos x="26" y="110"/>
                  </a:cxn>
                  <a:cxn ang="0">
                    <a:pos x="56" y="124"/>
                  </a:cxn>
                  <a:cxn ang="0">
                    <a:pos x="74" y="132"/>
                  </a:cxn>
                  <a:cxn ang="0">
                    <a:pos x="104" y="148"/>
                  </a:cxn>
                  <a:cxn ang="0">
                    <a:pos x="124" y="168"/>
                  </a:cxn>
                  <a:cxn ang="0">
                    <a:pos x="150" y="194"/>
                  </a:cxn>
                  <a:cxn ang="0">
                    <a:pos x="162" y="198"/>
                  </a:cxn>
                  <a:cxn ang="0">
                    <a:pos x="176" y="194"/>
                  </a:cxn>
                  <a:cxn ang="0">
                    <a:pos x="180" y="184"/>
                  </a:cxn>
                  <a:cxn ang="0">
                    <a:pos x="182" y="174"/>
                  </a:cxn>
                  <a:cxn ang="0">
                    <a:pos x="192" y="170"/>
                  </a:cxn>
                  <a:cxn ang="0">
                    <a:pos x="200" y="172"/>
                  </a:cxn>
                  <a:cxn ang="0">
                    <a:pos x="220" y="170"/>
                  </a:cxn>
                  <a:cxn ang="0">
                    <a:pos x="238" y="162"/>
                  </a:cxn>
                  <a:cxn ang="0">
                    <a:pos x="250" y="148"/>
                  </a:cxn>
                  <a:cxn ang="0">
                    <a:pos x="252" y="138"/>
                  </a:cxn>
                  <a:cxn ang="0">
                    <a:pos x="252" y="124"/>
                  </a:cxn>
                  <a:cxn ang="0">
                    <a:pos x="258" y="114"/>
                  </a:cxn>
                  <a:cxn ang="0">
                    <a:pos x="258" y="106"/>
                  </a:cxn>
                  <a:cxn ang="0">
                    <a:pos x="256" y="98"/>
                  </a:cxn>
                </a:cxnLst>
                <a:rect l="0" t="0" r="r" b="b"/>
                <a:pathLst>
                  <a:path w="260" h="198">
                    <a:moveTo>
                      <a:pt x="256" y="98"/>
                    </a:moveTo>
                    <a:lnTo>
                      <a:pt x="256" y="98"/>
                    </a:lnTo>
                    <a:lnTo>
                      <a:pt x="254" y="92"/>
                    </a:lnTo>
                    <a:lnTo>
                      <a:pt x="250" y="90"/>
                    </a:lnTo>
                    <a:lnTo>
                      <a:pt x="246" y="90"/>
                    </a:lnTo>
                    <a:lnTo>
                      <a:pt x="242" y="92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28" y="90"/>
                    </a:lnTo>
                    <a:lnTo>
                      <a:pt x="222" y="84"/>
                    </a:lnTo>
                    <a:lnTo>
                      <a:pt x="222" y="84"/>
                    </a:lnTo>
                    <a:lnTo>
                      <a:pt x="216" y="74"/>
                    </a:lnTo>
                    <a:lnTo>
                      <a:pt x="208" y="68"/>
                    </a:lnTo>
                    <a:lnTo>
                      <a:pt x="192" y="60"/>
                    </a:lnTo>
                    <a:lnTo>
                      <a:pt x="190" y="58"/>
                    </a:lnTo>
                    <a:lnTo>
                      <a:pt x="188" y="56"/>
                    </a:lnTo>
                    <a:lnTo>
                      <a:pt x="190" y="54"/>
                    </a:lnTo>
                    <a:lnTo>
                      <a:pt x="196" y="52"/>
                    </a:lnTo>
                    <a:lnTo>
                      <a:pt x="208" y="48"/>
                    </a:lnTo>
                    <a:lnTo>
                      <a:pt x="208" y="48"/>
                    </a:lnTo>
                    <a:lnTo>
                      <a:pt x="220" y="46"/>
                    </a:lnTo>
                    <a:lnTo>
                      <a:pt x="226" y="42"/>
                    </a:lnTo>
                    <a:lnTo>
                      <a:pt x="226" y="40"/>
                    </a:lnTo>
                    <a:lnTo>
                      <a:pt x="222" y="38"/>
                    </a:lnTo>
                    <a:lnTo>
                      <a:pt x="218" y="34"/>
                    </a:lnTo>
                    <a:lnTo>
                      <a:pt x="216" y="32"/>
                    </a:lnTo>
                    <a:lnTo>
                      <a:pt x="216" y="28"/>
                    </a:lnTo>
                    <a:lnTo>
                      <a:pt x="222" y="24"/>
                    </a:lnTo>
                    <a:lnTo>
                      <a:pt x="222" y="24"/>
                    </a:lnTo>
                    <a:lnTo>
                      <a:pt x="230" y="20"/>
                    </a:lnTo>
                    <a:lnTo>
                      <a:pt x="232" y="16"/>
                    </a:lnTo>
                    <a:lnTo>
                      <a:pt x="230" y="10"/>
                    </a:lnTo>
                    <a:lnTo>
                      <a:pt x="226" y="6"/>
                    </a:lnTo>
                    <a:lnTo>
                      <a:pt x="218" y="4"/>
                    </a:lnTo>
                    <a:lnTo>
                      <a:pt x="208" y="4"/>
                    </a:lnTo>
                    <a:lnTo>
                      <a:pt x="194" y="4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64" y="12"/>
                    </a:lnTo>
                    <a:lnTo>
                      <a:pt x="152" y="12"/>
                    </a:lnTo>
                    <a:lnTo>
                      <a:pt x="140" y="10"/>
                    </a:lnTo>
                    <a:lnTo>
                      <a:pt x="130" y="6"/>
                    </a:lnTo>
                    <a:lnTo>
                      <a:pt x="120" y="4"/>
                    </a:lnTo>
                    <a:lnTo>
                      <a:pt x="110" y="0"/>
                    </a:lnTo>
                    <a:lnTo>
                      <a:pt x="98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64" y="14"/>
                    </a:lnTo>
                    <a:lnTo>
                      <a:pt x="56" y="20"/>
                    </a:lnTo>
                    <a:lnTo>
                      <a:pt x="50" y="24"/>
                    </a:lnTo>
                    <a:lnTo>
                      <a:pt x="46" y="28"/>
                    </a:lnTo>
                    <a:lnTo>
                      <a:pt x="48" y="34"/>
                    </a:lnTo>
                    <a:lnTo>
                      <a:pt x="52" y="38"/>
                    </a:lnTo>
                    <a:lnTo>
                      <a:pt x="62" y="44"/>
                    </a:lnTo>
                    <a:lnTo>
                      <a:pt x="70" y="48"/>
                    </a:lnTo>
                    <a:lnTo>
                      <a:pt x="70" y="48"/>
                    </a:lnTo>
                    <a:lnTo>
                      <a:pt x="82" y="52"/>
                    </a:lnTo>
                    <a:lnTo>
                      <a:pt x="88" y="58"/>
                    </a:lnTo>
                    <a:lnTo>
                      <a:pt x="94" y="62"/>
                    </a:lnTo>
                    <a:lnTo>
                      <a:pt x="96" y="68"/>
                    </a:lnTo>
                    <a:lnTo>
                      <a:pt x="94" y="74"/>
                    </a:lnTo>
                    <a:lnTo>
                      <a:pt x="92" y="78"/>
                    </a:lnTo>
                    <a:lnTo>
                      <a:pt x="86" y="84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74" y="88"/>
                    </a:lnTo>
                    <a:lnTo>
                      <a:pt x="68" y="90"/>
                    </a:lnTo>
                    <a:lnTo>
                      <a:pt x="58" y="86"/>
                    </a:lnTo>
                    <a:lnTo>
                      <a:pt x="48" y="80"/>
                    </a:lnTo>
                    <a:lnTo>
                      <a:pt x="38" y="74"/>
                    </a:lnTo>
                    <a:lnTo>
                      <a:pt x="28" y="68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0" y="64"/>
                    </a:lnTo>
                    <a:lnTo>
                      <a:pt x="6" y="66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0" y="78"/>
                    </a:lnTo>
                    <a:lnTo>
                      <a:pt x="0" y="86"/>
                    </a:lnTo>
                    <a:lnTo>
                      <a:pt x="6" y="94"/>
                    </a:lnTo>
                    <a:lnTo>
                      <a:pt x="14" y="102"/>
                    </a:lnTo>
                    <a:lnTo>
                      <a:pt x="26" y="110"/>
                    </a:lnTo>
                    <a:lnTo>
                      <a:pt x="40" y="118"/>
                    </a:lnTo>
                    <a:lnTo>
                      <a:pt x="56" y="124"/>
                    </a:lnTo>
                    <a:lnTo>
                      <a:pt x="74" y="132"/>
                    </a:lnTo>
                    <a:lnTo>
                      <a:pt x="74" y="132"/>
                    </a:lnTo>
                    <a:lnTo>
                      <a:pt x="90" y="138"/>
                    </a:lnTo>
                    <a:lnTo>
                      <a:pt x="104" y="148"/>
                    </a:lnTo>
                    <a:lnTo>
                      <a:pt x="116" y="158"/>
                    </a:lnTo>
                    <a:lnTo>
                      <a:pt x="124" y="168"/>
                    </a:lnTo>
                    <a:lnTo>
                      <a:pt x="142" y="188"/>
                    </a:lnTo>
                    <a:lnTo>
                      <a:pt x="150" y="194"/>
                    </a:lnTo>
                    <a:lnTo>
                      <a:pt x="162" y="198"/>
                    </a:lnTo>
                    <a:lnTo>
                      <a:pt x="162" y="198"/>
                    </a:lnTo>
                    <a:lnTo>
                      <a:pt x="170" y="198"/>
                    </a:lnTo>
                    <a:lnTo>
                      <a:pt x="176" y="194"/>
                    </a:lnTo>
                    <a:lnTo>
                      <a:pt x="178" y="190"/>
                    </a:lnTo>
                    <a:lnTo>
                      <a:pt x="180" y="184"/>
                    </a:lnTo>
                    <a:lnTo>
                      <a:pt x="182" y="178"/>
                    </a:lnTo>
                    <a:lnTo>
                      <a:pt x="182" y="174"/>
                    </a:lnTo>
                    <a:lnTo>
                      <a:pt x="186" y="170"/>
                    </a:lnTo>
                    <a:lnTo>
                      <a:pt x="192" y="170"/>
                    </a:lnTo>
                    <a:lnTo>
                      <a:pt x="192" y="170"/>
                    </a:lnTo>
                    <a:lnTo>
                      <a:pt x="200" y="172"/>
                    </a:lnTo>
                    <a:lnTo>
                      <a:pt x="210" y="172"/>
                    </a:lnTo>
                    <a:lnTo>
                      <a:pt x="220" y="170"/>
                    </a:lnTo>
                    <a:lnTo>
                      <a:pt x="230" y="166"/>
                    </a:lnTo>
                    <a:lnTo>
                      <a:pt x="238" y="162"/>
                    </a:lnTo>
                    <a:lnTo>
                      <a:pt x="246" y="156"/>
                    </a:lnTo>
                    <a:lnTo>
                      <a:pt x="250" y="148"/>
                    </a:lnTo>
                    <a:lnTo>
                      <a:pt x="252" y="138"/>
                    </a:lnTo>
                    <a:lnTo>
                      <a:pt x="252" y="138"/>
                    </a:lnTo>
                    <a:lnTo>
                      <a:pt x="252" y="130"/>
                    </a:lnTo>
                    <a:lnTo>
                      <a:pt x="252" y="124"/>
                    </a:lnTo>
                    <a:lnTo>
                      <a:pt x="256" y="118"/>
                    </a:lnTo>
                    <a:lnTo>
                      <a:pt x="258" y="114"/>
                    </a:lnTo>
                    <a:lnTo>
                      <a:pt x="260" y="112"/>
                    </a:lnTo>
                    <a:lnTo>
                      <a:pt x="258" y="106"/>
                    </a:lnTo>
                    <a:lnTo>
                      <a:pt x="256" y="98"/>
                    </a:lnTo>
                    <a:lnTo>
                      <a:pt x="256" y="9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83" name="Freeform 6116">
                <a:extLst>
                  <a:ext uri="{FF2B5EF4-FFF2-40B4-BE49-F238E27FC236}">
                    <a16:creationId xmlns:a16="http://schemas.microsoft.com/office/drawing/2014/main" id="{309ED03C-BEDF-477A-8AB2-94918BD943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0060" y="1098233"/>
                <a:ext cx="34290" cy="8890"/>
              </a:xfrm>
              <a:custGeom>
                <a:avLst/>
                <a:gdLst/>
                <a:ahLst/>
                <a:cxnLst>
                  <a:cxn ang="0">
                    <a:pos x="2" y="14"/>
                  </a:cxn>
                  <a:cxn ang="0">
                    <a:pos x="2" y="14"/>
                  </a:cxn>
                  <a:cxn ang="0">
                    <a:pos x="8" y="14"/>
                  </a:cxn>
                  <a:cxn ang="0">
                    <a:pos x="16" y="14"/>
                  </a:cxn>
                  <a:cxn ang="0">
                    <a:pos x="36" y="10"/>
                  </a:cxn>
                  <a:cxn ang="0">
                    <a:pos x="50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18" y="4"/>
                  </a:cxn>
                  <a:cxn ang="0">
                    <a:pos x="2" y="10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</a:cxnLst>
                <a:rect l="0" t="0" r="r" b="b"/>
                <a:pathLst>
                  <a:path w="54" h="14">
                    <a:moveTo>
                      <a:pt x="2" y="14"/>
                    </a:moveTo>
                    <a:lnTo>
                      <a:pt x="2" y="14"/>
                    </a:lnTo>
                    <a:lnTo>
                      <a:pt x="8" y="14"/>
                    </a:lnTo>
                    <a:lnTo>
                      <a:pt x="16" y="14"/>
                    </a:lnTo>
                    <a:lnTo>
                      <a:pt x="36" y="10"/>
                    </a:lnTo>
                    <a:lnTo>
                      <a:pt x="50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48" y="0"/>
                    </a:lnTo>
                    <a:lnTo>
                      <a:pt x="38" y="0"/>
                    </a:lnTo>
                    <a:lnTo>
                      <a:pt x="18" y="4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84" name="Freeform 6117">
                <a:extLst>
                  <a:ext uri="{FF2B5EF4-FFF2-40B4-BE49-F238E27FC236}">
                    <a16:creationId xmlns:a16="http://schemas.microsoft.com/office/drawing/2014/main" id="{7EF09E41-B1D0-4C89-A28F-956FEFC4D2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200" y="1394143"/>
                <a:ext cx="114300" cy="66040"/>
              </a:xfrm>
              <a:custGeom>
                <a:avLst/>
                <a:gdLst/>
                <a:ahLst/>
                <a:cxnLst>
                  <a:cxn ang="0">
                    <a:pos x="42" y="32"/>
                  </a:cxn>
                  <a:cxn ang="0">
                    <a:pos x="42" y="32"/>
                  </a:cxn>
                  <a:cxn ang="0">
                    <a:pos x="32" y="42"/>
                  </a:cxn>
                  <a:cxn ang="0">
                    <a:pos x="24" y="50"/>
                  </a:cxn>
                  <a:cxn ang="0">
                    <a:pos x="14" y="52"/>
                  </a:cxn>
                  <a:cxn ang="0">
                    <a:pos x="8" y="54"/>
                  </a:cxn>
                  <a:cxn ang="0">
                    <a:pos x="2" y="56"/>
                  </a:cxn>
                  <a:cxn ang="0">
                    <a:pos x="0" y="58"/>
                  </a:cxn>
                  <a:cxn ang="0">
                    <a:pos x="2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20" y="74"/>
                  </a:cxn>
                  <a:cxn ang="0">
                    <a:pos x="34" y="78"/>
                  </a:cxn>
                  <a:cxn ang="0">
                    <a:pos x="72" y="86"/>
                  </a:cxn>
                  <a:cxn ang="0">
                    <a:pos x="72" y="86"/>
                  </a:cxn>
                  <a:cxn ang="0">
                    <a:pos x="84" y="88"/>
                  </a:cxn>
                  <a:cxn ang="0">
                    <a:pos x="94" y="92"/>
                  </a:cxn>
                  <a:cxn ang="0">
                    <a:pos x="112" y="100"/>
                  </a:cxn>
                  <a:cxn ang="0">
                    <a:pos x="120" y="102"/>
                  </a:cxn>
                  <a:cxn ang="0">
                    <a:pos x="128" y="104"/>
                  </a:cxn>
                  <a:cxn ang="0">
                    <a:pos x="136" y="102"/>
                  </a:cxn>
                  <a:cxn ang="0">
                    <a:pos x="142" y="96"/>
                  </a:cxn>
                  <a:cxn ang="0">
                    <a:pos x="142" y="96"/>
                  </a:cxn>
                  <a:cxn ang="0">
                    <a:pos x="150" y="90"/>
                  </a:cxn>
                  <a:cxn ang="0">
                    <a:pos x="156" y="88"/>
                  </a:cxn>
                  <a:cxn ang="0">
                    <a:pos x="164" y="86"/>
                  </a:cxn>
                  <a:cxn ang="0">
                    <a:pos x="170" y="86"/>
                  </a:cxn>
                  <a:cxn ang="0">
                    <a:pos x="174" y="84"/>
                  </a:cxn>
                  <a:cxn ang="0">
                    <a:pos x="178" y="78"/>
                  </a:cxn>
                  <a:cxn ang="0">
                    <a:pos x="178" y="78"/>
                  </a:cxn>
                  <a:cxn ang="0">
                    <a:pos x="180" y="74"/>
                  </a:cxn>
                  <a:cxn ang="0">
                    <a:pos x="180" y="72"/>
                  </a:cxn>
                  <a:cxn ang="0">
                    <a:pos x="174" y="72"/>
                  </a:cxn>
                  <a:cxn ang="0">
                    <a:pos x="170" y="72"/>
                  </a:cxn>
                  <a:cxn ang="0">
                    <a:pos x="164" y="70"/>
                  </a:cxn>
                  <a:cxn ang="0">
                    <a:pos x="158" y="66"/>
                  </a:cxn>
                  <a:cxn ang="0">
                    <a:pos x="152" y="58"/>
                  </a:cxn>
                  <a:cxn ang="0">
                    <a:pos x="152" y="58"/>
                  </a:cxn>
                  <a:cxn ang="0">
                    <a:pos x="148" y="50"/>
                  </a:cxn>
                  <a:cxn ang="0">
                    <a:pos x="144" y="44"/>
                  </a:cxn>
                  <a:cxn ang="0">
                    <a:pos x="140" y="42"/>
                  </a:cxn>
                  <a:cxn ang="0">
                    <a:pos x="136" y="42"/>
                  </a:cxn>
                  <a:cxn ang="0">
                    <a:pos x="124" y="36"/>
                  </a:cxn>
                  <a:cxn ang="0">
                    <a:pos x="116" y="30"/>
                  </a:cxn>
                  <a:cxn ang="0">
                    <a:pos x="106" y="20"/>
                  </a:cxn>
                  <a:cxn ang="0">
                    <a:pos x="106" y="20"/>
                  </a:cxn>
                  <a:cxn ang="0">
                    <a:pos x="94" y="10"/>
                  </a:cxn>
                  <a:cxn ang="0">
                    <a:pos x="86" y="2"/>
                  </a:cxn>
                  <a:cxn ang="0">
                    <a:pos x="78" y="0"/>
                  </a:cxn>
                  <a:cxn ang="0">
                    <a:pos x="70" y="0"/>
                  </a:cxn>
                  <a:cxn ang="0">
                    <a:pos x="64" y="4"/>
                  </a:cxn>
                  <a:cxn ang="0">
                    <a:pos x="56" y="10"/>
                  </a:cxn>
                  <a:cxn ang="0">
                    <a:pos x="42" y="32"/>
                  </a:cxn>
                  <a:cxn ang="0">
                    <a:pos x="42" y="32"/>
                  </a:cxn>
                </a:cxnLst>
                <a:rect l="0" t="0" r="r" b="b"/>
                <a:pathLst>
                  <a:path w="180" h="104">
                    <a:moveTo>
                      <a:pt x="42" y="32"/>
                    </a:moveTo>
                    <a:lnTo>
                      <a:pt x="42" y="32"/>
                    </a:lnTo>
                    <a:lnTo>
                      <a:pt x="32" y="42"/>
                    </a:lnTo>
                    <a:lnTo>
                      <a:pt x="24" y="50"/>
                    </a:lnTo>
                    <a:lnTo>
                      <a:pt x="14" y="52"/>
                    </a:lnTo>
                    <a:lnTo>
                      <a:pt x="8" y="54"/>
                    </a:lnTo>
                    <a:lnTo>
                      <a:pt x="2" y="56"/>
                    </a:lnTo>
                    <a:lnTo>
                      <a:pt x="0" y="58"/>
                    </a:lnTo>
                    <a:lnTo>
                      <a:pt x="2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20" y="74"/>
                    </a:lnTo>
                    <a:lnTo>
                      <a:pt x="34" y="78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84" y="88"/>
                    </a:lnTo>
                    <a:lnTo>
                      <a:pt x="94" y="92"/>
                    </a:lnTo>
                    <a:lnTo>
                      <a:pt x="112" y="100"/>
                    </a:lnTo>
                    <a:lnTo>
                      <a:pt x="120" y="102"/>
                    </a:lnTo>
                    <a:lnTo>
                      <a:pt x="128" y="104"/>
                    </a:lnTo>
                    <a:lnTo>
                      <a:pt x="136" y="102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50" y="90"/>
                    </a:lnTo>
                    <a:lnTo>
                      <a:pt x="156" y="88"/>
                    </a:lnTo>
                    <a:lnTo>
                      <a:pt x="164" y="86"/>
                    </a:lnTo>
                    <a:lnTo>
                      <a:pt x="170" y="86"/>
                    </a:lnTo>
                    <a:lnTo>
                      <a:pt x="174" y="84"/>
                    </a:lnTo>
                    <a:lnTo>
                      <a:pt x="178" y="78"/>
                    </a:lnTo>
                    <a:lnTo>
                      <a:pt x="178" y="78"/>
                    </a:lnTo>
                    <a:lnTo>
                      <a:pt x="180" y="74"/>
                    </a:lnTo>
                    <a:lnTo>
                      <a:pt x="180" y="72"/>
                    </a:lnTo>
                    <a:lnTo>
                      <a:pt x="174" y="72"/>
                    </a:lnTo>
                    <a:lnTo>
                      <a:pt x="170" y="72"/>
                    </a:lnTo>
                    <a:lnTo>
                      <a:pt x="164" y="70"/>
                    </a:lnTo>
                    <a:lnTo>
                      <a:pt x="158" y="66"/>
                    </a:lnTo>
                    <a:lnTo>
                      <a:pt x="152" y="58"/>
                    </a:lnTo>
                    <a:lnTo>
                      <a:pt x="152" y="58"/>
                    </a:lnTo>
                    <a:lnTo>
                      <a:pt x="148" y="50"/>
                    </a:lnTo>
                    <a:lnTo>
                      <a:pt x="144" y="44"/>
                    </a:lnTo>
                    <a:lnTo>
                      <a:pt x="140" y="42"/>
                    </a:lnTo>
                    <a:lnTo>
                      <a:pt x="136" y="42"/>
                    </a:lnTo>
                    <a:lnTo>
                      <a:pt x="124" y="36"/>
                    </a:lnTo>
                    <a:lnTo>
                      <a:pt x="116" y="30"/>
                    </a:lnTo>
                    <a:lnTo>
                      <a:pt x="106" y="20"/>
                    </a:lnTo>
                    <a:lnTo>
                      <a:pt x="106" y="20"/>
                    </a:lnTo>
                    <a:lnTo>
                      <a:pt x="94" y="10"/>
                    </a:lnTo>
                    <a:lnTo>
                      <a:pt x="86" y="2"/>
                    </a:lnTo>
                    <a:lnTo>
                      <a:pt x="78" y="0"/>
                    </a:lnTo>
                    <a:lnTo>
                      <a:pt x="70" y="0"/>
                    </a:lnTo>
                    <a:lnTo>
                      <a:pt x="64" y="4"/>
                    </a:lnTo>
                    <a:lnTo>
                      <a:pt x="56" y="10"/>
                    </a:lnTo>
                    <a:lnTo>
                      <a:pt x="42" y="32"/>
                    </a:lnTo>
                    <a:lnTo>
                      <a:pt x="42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85" name="Freeform 6118">
                <a:extLst>
                  <a:ext uri="{FF2B5EF4-FFF2-40B4-BE49-F238E27FC236}">
                    <a16:creationId xmlns:a16="http://schemas.microsoft.com/office/drawing/2014/main" id="{4461DC14-6C3B-42D5-A82E-E35B7AC7CB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9839" y="699453"/>
                <a:ext cx="1550670" cy="1127760"/>
              </a:xfrm>
              <a:custGeom>
                <a:avLst/>
                <a:gdLst/>
                <a:ahLst/>
                <a:cxnLst>
                  <a:cxn ang="0">
                    <a:pos x="220" y="296"/>
                  </a:cxn>
                  <a:cxn ang="0">
                    <a:pos x="150" y="400"/>
                  </a:cxn>
                  <a:cxn ang="0">
                    <a:pos x="96" y="502"/>
                  </a:cxn>
                  <a:cxn ang="0">
                    <a:pos x="62" y="558"/>
                  </a:cxn>
                  <a:cxn ang="0">
                    <a:pos x="228" y="618"/>
                  </a:cxn>
                  <a:cxn ang="0">
                    <a:pos x="350" y="620"/>
                  </a:cxn>
                  <a:cxn ang="0">
                    <a:pos x="584" y="666"/>
                  </a:cxn>
                  <a:cxn ang="0">
                    <a:pos x="674" y="786"/>
                  </a:cxn>
                  <a:cxn ang="0">
                    <a:pos x="706" y="902"/>
                  </a:cxn>
                  <a:cxn ang="0">
                    <a:pos x="744" y="990"/>
                  </a:cxn>
                  <a:cxn ang="0">
                    <a:pos x="836" y="1010"/>
                  </a:cxn>
                  <a:cxn ang="0">
                    <a:pos x="750" y="1050"/>
                  </a:cxn>
                  <a:cxn ang="0">
                    <a:pos x="890" y="1110"/>
                  </a:cxn>
                  <a:cxn ang="0">
                    <a:pos x="788" y="1212"/>
                  </a:cxn>
                  <a:cxn ang="0">
                    <a:pos x="782" y="1328"/>
                  </a:cxn>
                  <a:cxn ang="0">
                    <a:pos x="834" y="1452"/>
                  </a:cxn>
                  <a:cxn ang="0">
                    <a:pos x="922" y="1474"/>
                  </a:cxn>
                  <a:cxn ang="0">
                    <a:pos x="860" y="1502"/>
                  </a:cxn>
                  <a:cxn ang="0">
                    <a:pos x="908" y="1598"/>
                  </a:cxn>
                  <a:cxn ang="0">
                    <a:pos x="966" y="1678"/>
                  </a:cxn>
                  <a:cxn ang="0">
                    <a:pos x="1032" y="1712"/>
                  </a:cxn>
                  <a:cxn ang="0">
                    <a:pos x="1090" y="1738"/>
                  </a:cxn>
                  <a:cxn ang="0">
                    <a:pos x="1196" y="1768"/>
                  </a:cxn>
                  <a:cxn ang="0">
                    <a:pos x="1232" y="1622"/>
                  </a:cxn>
                  <a:cxn ang="0">
                    <a:pos x="1262" y="1566"/>
                  </a:cxn>
                  <a:cxn ang="0">
                    <a:pos x="1262" y="1486"/>
                  </a:cxn>
                  <a:cxn ang="0">
                    <a:pos x="1332" y="1420"/>
                  </a:cxn>
                  <a:cxn ang="0">
                    <a:pos x="1402" y="1376"/>
                  </a:cxn>
                  <a:cxn ang="0">
                    <a:pos x="1412" y="1372"/>
                  </a:cxn>
                  <a:cxn ang="0">
                    <a:pos x="1468" y="1372"/>
                  </a:cxn>
                  <a:cxn ang="0">
                    <a:pos x="1628" y="1238"/>
                  </a:cxn>
                  <a:cxn ang="0">
                    <a:pos x="1748" y="1208"/>
                  </a:cxn>
                  <a:cxn ang="0">
                    <a:pos x="2012" y="1102"/>
                  </a:cxn>
                  <a:cxn ang="0">
                    <a:pos x="1846" y="1076"/>
                  </a:cxn>
                  <a:cxn ang="0">
                    <a:pos x="1800" y="1058"/>
                  </a:cxn>
                  <a:cxn ang="0">
                    <a:pos x="1842" y="970"/>
                  </a:cxn>
                  <a:cxn ang="0">
                    <a:pos x="2060" y="1056"/>
                  </a:cxn>
                  <a:cxn ang="0">
                    <a:pos x="2054" y="956"/>
                  </a:cxn>
                  <a:cxn ang="0">
                    <a:pos x="1916" y="858"/>
                  </a:cxn>
                  <a:cxn ang="0">
                    <a:pos x="2100" y="830"/>
                  </a:cxn>
                  <a:cxn ang="0">
                    <a:pos x="2142" y="768"/>
                  </a:cxn>
                  <a:cxn ang="0">
                    <a:pos x="2154" y="698"/>
                  </a:cxn>
                  <a:cxn ang="0">
                    <a:pos x="2066" y="608"/>
                  </a:cxn>
                  <a:cxn ang="0">
                    <a:pos x="2144" y="562"/>
                  </a:cxn>
                  <a:cxn ang="0">
                    <a:pos x="2144" y="504"/>
                  </a:cxn>
                  <a:cxn ang="0">
                    <a:pos x="2096" y="408"/>
                  </a:cxn>
                  <a:cxn ang="0">
                    <a:pos x="2228" y="310"/>
                  </a:cxn>
                  <a:cxn ang="0">
                    <a:pos x="2278" y="276"/>
                  </a:cxn>
                  <a:cxn ang="0">
                    <a:pos x="2298" y="244"/>
                  </a:cxn>
                  <a:cxn ang="0">
                    <a:pos x="2322" y="150"/>
                  </a:cxn>
                  <a:cxn ang="0">
                    <a:pos x="2050" y="210"/>
                  </a:cxn>
                  <a:cxn ang="0">
                    <a:pos x="1962" y="152"/>
                  </a:cxn>
                  <a:cxn ang="0">
                    <a:pos x="1616" y="174"/>
                  </a:cxn>
                  <a:cxn ang="0">
                    <a:pos x="2034" y="78"/>
                  </a:cxn>
                  <a:cxn ang="0">
                    <a:pos x="1724" y="52"/>
                  </a:cxn>
                  <a:cxn ang="0">
                    <a:pos x="1618" y="2"/>
                  </a:cxn>
                  <a:cxn ang="0">
                    <a:pos x="1402" y="44"/>
                  </a:cxn>
                  <a:cxn ang="0">
                    <a:pos x="1048" y="56"/>
                  </a:cxn>
                  <a:cxn ang="0">
                    <a:pos x="1110" y="74"/>
                  </a:cxn>
                  <a:cxn ang="0">
                    <a:pos x="1108" y="158"/>
                  </a:cxn>
                  <a:cxn ang="0">
                    <a:pos x="900" y="148"/>
                  </a:cxn>
                  <a:cxn ang="0">
                    <a:pos x="756" y="114"/>
                  </a:cxn>
                </a:cxnLst>
                <a:rect l="0" t="0" r="r" b="b"/>
                <a:pathLst>
                  <a:path w="2442" h="1776">
                    <a:moveTo>
                      <a:pt x="470" y="176"/>
                    </a:moveTo>
                    <a:lnTo>
                      <a:pt x="470" y="176"/>
                    </a:lnTo>
                    <a:lnTo>
                      <a:pt x="476" y="186"/>
                    </a:lnTo>
                    <a:lnTo>
                      <a:pt x="478" y="194"/>
                    </a:lnTo>
                    <a:lnTo>
                      <a:pt x="480" y="202"/>
                    </a:lnTo>
                    <a:lnTo>
                      <a:pt x="478" y="210"/>
                    </a:lnTo>
                    <a:lnTo>
                      <a:pt x="474" y="216"/>
                    </a:lnTo>
                    <a:lnTo>
                      <a:pt x="466" y="218"/>
                    </a:lnTo>
                    <a:lnTo>
                      <a:pt x="458" y="220"/>
                    </a:lnTo>
                    <a:lnTo>
                      <a:pt x="446" y="218"/>
                    </a:lnTo>
                    <a:lnTo>
                      <a:pt x="446" y="218"/>
                    </a:lnTo>
                    <a:lnTo>
                      <a:pt x="426" y="212"/>
                    </a:lnTo>
                    <a:lnTo>
                      <a:pt x="406" y="210"/>
                    </a:lnTo>
                    <a:lnTo>
                      <a:pt x="386" y="210"/>
                    </a:lnTo>
                    <a:lnTo>
                      <a:pt x="368" y="212"/>
                    </a:lnTo>
                    <a:lnTo>
                      <a:pt x="350" y="216"/>
                    </a:lnTo>
                    <a:lnTo>
                      <a:pt x="334" y="222"/>
                    </a:lnTo>
                    <a:lnTo>
                      <a:pt x="318" y="230"/>
                    </a:lnTo>
                    <a:lnTo>
                      <a:pt x="304" y="238"/>
                    </a:lnTo>
                    <a:lnTo>
                      <a:pt x="304" y="238"/>
                    </a:lnTo>
                    <a:lnTo>
                      <a:pt x="272" y="256"/>
                    </a:lnTo>
                    <a:lnTo>
                      <a:pt x="244" y="270"/>
                    </a:lnTo>
                    <a:lnTo>
                      <a:pt x="232" y="276"/>
                    </a:lnTo>
                    <a:lnTo>
                      <a:pt x="222" y="284"/>
                    </a:lnTo>
                    <a:lnTo>
                      <a:pt x="218" y="290"/>
                    </a:lnTo>
                    <a:lnTo>
                      <a:pt x="218" y="292"/>
                    </a:lnTo>
                    <a:lnTo>
                      <a:pt x="220" y="296"/>
                    </a:lnTo>
                    <a:lnTo>
                      <a:pt x="220" y="296"/>
                    </a:lnTo>
                    <a:lnTo>
                      <a:pt x="226" y="300"/>
                    </a:lnTo>
                    <a:lnTo>
                      <a:pt x="234" y="304"/>
                    </a:lnTo>
                    <a:lnTo>
                      <a:pt x="244" y="308"/>
                    </a:lnTo>
                    <a:lnTo>
                      <a:pt x="256" y="308"/>
                    </a:lnTo>
                    <a:lnTo>
                      <a:pt x="280" y="308"/>
                    </a:lnTo>
                    <a:lnTo>
                      <a:pt x="302" y="306"/>
                    </a:lnTo>
                    <a:lnTo>
                      <a:pt x="302" y="306"/>
                    </a:lnTo>
                    <a:lnTo>
                      <a:pt x="310" y="306"/>
                    </a:lnTo>
                    <a:lnTo>
                      <a:pt x="316" y="310"/>
                    </a:lnTo>
                    <a:lnTo>
                      <a:pt x="318" y="318"/>
                    </a:lnTo>
                    <a:lnTo>
                      <a:pt x="320" y="326"/>
                    </a:lnTo>
                    <a:lnTo>
                      <a:pt x="318" y="338"/>
                    </a:lnTo>
                    <a:lnTo>
                      <a:pt x="314" y="348"/>
                    </a:lnTo>
                    <a:lnTo>
                      <a:pt x="308" y="360"/>
                    </a:lnTo>
                    <a:lnTo>
                      <a:pt x="300" y="370"/>
                    </a:lnTo>
                    <a:lnTo>
                      <a:pt x="300" y="370"/>
                    </a:lnTo>
                    <a:lnTo>
                      <a:pt x="290" y="380"/>
                    </a:lnTo>
                    <a:lnTo>
                      <a:pt x="280" y="384"/>
                    </a:lnTo>
                    <a:lnTo>
                      <a:pt x="268" y="386"/>
                    </a:lnTo>
                    <a:lnTo>
                      <a:pt x="254" y="386"/>
                    </a:lnTo>
                    <a:lnTo>
                      <a:pt x="224" y="382"/>
                    </a:lnTo>
                    <a:lnTo>
                      <a:pt x="206" y="382"/>
                    </a:lnTo>
                    <a:lnTo>
                      <a:pt x="188" y="384"/>
                    </a:lnTo>
                    <a:lnTo>
                      <a:pt x="188" y="384"/>
                    </a:lnTo>
                    <a:lnTo>
                      <a:pt x="172" y="388"/>
                    </a:lnTo>
                    <a:lnTo>
                      <a:pt x="162" y="392"/>
                    </a:lnTo>
                    <a:lnTo>
                      <a:pt x="154" y="396"/>
                    </a:lnTo>
                    <a:lnTo>
                      <a:pt x="150" y="400"/>
                    </a:lnTo>
                    <a:lnTo>
                      <a:pt x="142" y="404"/>
                    </a:lnTo>
                    <a:lnTo>
                      <a:pt x="130" y="408"/>
                    </a:lnTo>
                    <a:lnTo>
                      <a:pt x="112" y="412"/>
                    </a:lnTo>
                    <a:lnTo>
                      <a:pt x="84" y="418"/>
                    </a:lnTo>
                    <a:lnTo>
                      <a:pt x="84" y="418"/>
                    </a:lnTo>
                    <a:lnTo>
                      <a:pt x="54" y="422"/>
                    </a:lnTo>
                    <a:lnTo>
                      <a:pt x="32" y="428"/>
                    </a:lnTo>
                    <a:lnTo>
                      <a:pt x="16" y="434"/>
                    </a:lnTo>
                    <a:lnTo>
                      <a:pt x="4" y="440"/>
                    </a:lnTo>
                    <a:lnTo>
                      <a:pt x="0" y="448"/>
                    </a:lnTo>
                    <a:lnTo>
                      <a:pt x="0" y="456"/>
                    </a:lnTo>
                    <a:lnTo>
                      <a:pt x="4" y="464"/>
                    </a:lnTo>
                    <a:lnTo>
                      <a:pt x="12" y="472"/>
                    </a:lnTo>
                    <a:lnTo>
                      <a:pt x="12" y="472"/>
                    </a:lnTo>
                    <a:lnTo>
                      <a:pt x="20" y="478"/>
                    </a:lnTo>
                    <a:lnTo>
                      <a:pt x="28" y="482"/>
                    </a:lnTo>
                    <a:lnTo>
                      <a:pt x="38" y="484"/>
                    </a:lnTo>
                    <a:lnTo>
                      <a:pt x="48" y="484"/>
                    </a:lnTo>
                    <a:lnTo>
                      <a:pt x="52" y="486"/>
                    </a:lnTo>
                    <a:lnTo>
                      <a:pt x="56" y="490"/>
                    </a:lnTo>
                    <a:lnTo>
                      <a:pt x="56" y="490"/>
                    </a:lnTo>
                    <a:lnTo>
                      <a:pt x="62" y="494"/>
                    </a:lnTo>
                    <a:lnTo>
                      <a:pt x="68" y="496"/>
                    </a:lnTo>
                    <a:lnTo>
                      <a:pt x="78" y="496"/>
                    </a:lnTo>
                    <a:lnTo>
                      <a:pt x="88" y="496"/>
                    </a:lnTo>
                    <a:lnTo>
                      <a:pt x="92" y="498"/>
                    </a:lnTo>
                    <a:lnTo>
                      <a:pt x="96" y="502"/>
                    </a:lnTo>
                    <a:lnTo>
                      <a:pt x="96" y="502"/>
                    </a:lnTo>
                    <a:lnTo>
                      <a:pt x="102" y="506"/>
                    </a:lnTo>
                    <a:lnTo>
                      <a:pt x="108" y="510"/>
                    </a:lnTo>
                    <a:lnTo>
                      <a:pt x="116" y="514"/>
                    </a:lnTo>
                    <a:lnTo>
                      <a:pt x="124" y="514"/>
                    </a:lnTo>
                    <a:lnTo>
                      <a:pt x="144" y="516"/>
                    </a:lnTo>
                    <a:lnTo>
                      <a:pt x="174" y="516"/>
                    </a:lnTo>
                    <a:lnTo>
                      <a:pt x="174" y="516"/>
                    </a:lnTo>
                    <a:lnTo>
                      <a:pt x="192" y="516"/>
                    </a:lnTo>
                    <a:lnTo>
                      <a:pt x="208" y="514"/>
                    </a:lnTo>
                    <a:lnTo>
                      <a:pt x="238" y="508"/>
                    </a:lnTo>
                    <a:lnTo>
                      <a:pt x="250" y="506"/>
                    </a:lnTo>
                    <a:lnTo>
                      <a:pt x="260" y="506"/>
                    </a:lnTo>
                    <a:lnTo>
                      <a:pt x="268" y="506"/>
                    </a:lnTo>
                    <a:lnTo>
                      <a:pt x="272" y="512"/>
                    </a:lnTo>
                    <a:lnTo>
                      <a:pt x="272" y="512"/>
                    </a:lnTo>
                    <a:lnTo>
                      <a:pt x="272" y="516"/>
                    </a:lnTo>
                    <a:lnTo>
                      <a:pt x="268" y="520"/>
                    </a:lnTo>
                    <a:lnTo>
                      <a:pt x="260" y="524"/>
                    </a:lnTo>
                    <a:lnTo>
                      <a:pt x="248" y="524"/>
                    </a:lnTo>
                    <a:lnTo>
                      <a:pt x="174" y="528"/>
                    </a:lnTo>
                    <a:lnTo>
                      <a:pt x="174" y="528"/>
                    </a:lnTo>
                    <a:lnTo>
                      <a:pt x="128" y="534"/>
                    </a:lnTo>
                    <a:lnTo>
                      <a:pt x="106" y="538"/>
                    </a:lnTo>
                    <a:lnTo>
                      <a:pt x="86" y="542"/>
                    </a:lnTo>
                    <a:lnTo>
                      <a:pt x="72" y="546"/>
                    </a:lnTo>
                    <a:lnTo>
                      <a:pt x="62" y="552"/>
                    </a:lnTo>
                    <a:lnTo>
                      <a:pt x="60" y="554"/>
                    </a:lnTo>
                    <a:lnTo>
                      <a:pt x="62" y="558"/>
                    </a:lnTo>
                    <a:lnTo>
                      <a:pt x="64" y="562"/>
                    </a:lnTo>
                    <a:lnTo>
                      <a:pt x="68" y="564"/>
                    </a:lnTo>
                    <a:lnTo>
                      <a:pt x="68" y="564"/>
                    </a:lnTo>
                    <a:lnTo>
                      <a:pt x="84" y="570"/>
                    </a:lnTo>
                    <a:lnTo>
                      <a:pt x="102" y="574"/>
                    </a:lnTo>
                    <a:lnTo>
                      <a:pt x="140" y="580"/>
                    </a:lnTo>
                    <a:lnTo>
                      <a:pt x="154" y="584"/>
                    </a:lnTo>
                    <a:lnTo>
                      <a:pt x="162" y="586"/>
                    </a:lnTo>
                    <a:lnTo>
                      <a:pt x="162" y="588"/>
                    </a:lnTo>
                    <a:lnTo>
                      <a:pt x="160" y="590"/>
                    </a:lnTo>
                    <a:lnTo>
                      <a:pt x="148" y="594"/>
                    </a:lnTo>
                    <a:lnTo>
                      <a:pt x="148" y="594"/>
                    </a:lnTo>
                    <a:lnTo>
                      <a:pt x="136" y="598"/>
                    </a:lnTo>
                    <a:lnTo>
                      <a:pt x="132" y="602"/>
                    </a:lnTo>
                    <a:lnTo>
                      <a:pt x="132" y="604"/>
                    </a:lnTo>
                    <a:lnTo>
                      <a:pt x="132" y="606"/>
                    </a:lnTo>
                    <a:lnTo>
                      <a:pt x="136" y="608"/>
                    </a:lnTo>
                    <a:lnTo>
                      <a:pt x="146" y="614"/>
                    </a:lnTo>
                    <a:lnTo>
                      <a:pt x="182" y="624"/>
                    </a:lnTo>
                    <a:lnTo>
                      <a:pt x="224" y="636"/>
                    </a:lnTo>
                    <a:lnTo>
                      <a:pt x="224" y="636"/>
                    </a:lnTo>
                    <a:lnTo>
                      <a:pt x="242" y="642"/>
                    </a:lnTo>
                    <a:lnTo>
                      <a:pt x="248" y="642"/>
                    </a:lnTo>
                    <a:lnTo>
                      <a:pt x="248" y="642"/>
                    </a:lnTo>
                    <a:lnTo>
                      <a:pt x="248" y="640"/>
                    </a:lnTo>
                    <a:lnTo>
                      <a:pt x="242" y="634"/>
                    </a:lnTo>
                    <a:lnTo>
                      <a:pt x="230" y="622"/>
                    </a:lnTo>
                    <a:lnTo>
                      <a:pt x="228" y="618"/>
                    </a:lnTo>
                    <a:lnTo>
                      <a:pt x="228" y="616"/>
                    </a:lnTo>
                    <a:lnTo>
                      <a:pt x="232" y="614"/>
                    </a:lnTo>
                    <a:lnTo>
                      <a:pt x="232" y="614"/>
                    </a:lnTo>
                    <a:lnTo>
                      <a:pt x="238" y="612"/>
                    </a:lnTo>
                    <a:lnTo>
                      <a:pt x="242" y="614"/>
                    </a:lnTo>
                    <a:lnTo>
                      <a:pt x="246" y="620"/>
                    </a:lnTo>
                    <a:lnTo>
                      <a:pt x="250" y="622"/>
                    </a:lnTo>
                    <a:lnTo>
                      <a:pt x="254" y="622"/>
                    </a:lnTo>
                    <a:lnTo>
                      <a:pt x="262" y="622"/>
                    </a:lnTo>
                    <a:lnTo>
                      <a:pt x="272" y="618"/>
                    </a:lnTo>
                    <a:lnTo>
                      <a:pt x="272" y="618"/>
                    </a:lnTo>
                    <a:lnTo>
                      <a:pt x="282" y="614"/>
                    </a:lnTo>
                    <a:lnTo>
                      <a:pt x="286" y="614"/>
                    </a:lnTo>
                    <a:lnTo>
                      <a:pt x="286" y="616"/>
                    </a:lnTo>
                    <a:lnTo>
                      <a:pt x="286" y="618"/>
                    </a:lnTo>
                    <a:lnTo>
                      <a:pt x="284" y="622"/>
                    </a:lnTo>
                    <a:lnTo>
                      <a:pt x="286" y="626"/>
                    </a:lnTo>
                    <a:lnTo>
                      <a:pt x="290" y="630"/>
                    </a:lnTo>
                    <a:lnTo>
                      <a:pt x="300" y="630"/>
                    </a:lnTo>
                    <a:lnTo>
                      <a:pt x="300" y="630"/>
                    </a:lnTo>
                    <a:lnTo>
                      <a:pt x="312" y="630"/>
                    </a:lnTo>
                    <a:lnTo>
                      <a:pt x="320" y="626"/>
                    </a:lnTo>
                    <a:lnTo>
                      <a:pt x="326" y="622"/>
                    </a:lnTo>
                    <a:lnTo>
                      <a:pt x="330" y="618"/>
                    </a:lnTo>
                    <a:lnTo>
                      <a:pt x="334" y="616"/>
                    </a:lnTo>
                    <a:lnTo>
                      <a:pt x="338" y="614"/>
                    </a:lnTo>
                    <a:lnTo>
                      <a:pt x="344" y="614"/>
                    </a:lnTo>
                    <a:lnTo>
                      <a:pt x="350" y="620"/>
                    </a:lnTo>
                    <a:lnTo>
                      <a:pt x="350" y="620"/>
                    </a:lnTo>
                    <a:lnTo>
                      <a:pt x="358" y="624"/>
                    </a:lnTo>
                    <a:lnTo>
                      <a:pt x="364" y="624"/>
                    </a:lnTo>
                    <a:lnTo>
                      <a:pt x="368" y="622"/>
                    </a:lnTo>
                    <a:lnTo>
                      <a:pt x="370" y="618"/>
                    </a:lnTo>
                    <a:lnTo>
                      <a:pt x="374" y="614"/>
                    </a:lnTo>
                    <a:lnTo>
                      <a:pt x="380" y="610"/>
                    </a:lnTo>
                    <a:lnTo>
                      <a:pt x="386" y="610"/>
                    </a:lnTo>
                    <a:lnTo>
                      <a:pt x="396" y="612"/>
                    </a:lnTo>
                    <a:lnTo>
                      <a:pt x="396" y="612"/>
                    </a:lnTo>
                    <a:lnTo>
                      <a:pt x="408" y="616"/>
                    </a:lnTo>
                    <a:lnTo>
                      <a:pt x="420" y="618"/>
                    </a:lnTo>
                    <a:lnTo>
                      <a:pt x="446" y="618"/>
                    </a:lnTo>
                    <a:lnTo>
                      <a:pt x="468" y="620"/>
                    </a:lnTo>
                    <a:lnTo>
                      <a:pt x="476" y="622"/>
                    </a:lnTo>
                    <a:lnTo>
                      <a:pt x="484" y="628"/>
                    </a:lnTo>
                    <a:lnTo>
                      <a:pt x="484" y="628"/>
                    </a:lnTo>
                    <a:lnTo>
                      <a:pt x="488" y="632"/>
                    </a:lnTo>
                    <a:lnTo>
                      <a:pt x="492" y="634"/>
                    </a:lnTo>
                    <a:lnTo>
                      <a:pt x="500" y="634"/>
                    </a:lnTo>
                    <a:lnTo>
                      <a:pt x="506" y="634"/>
                    </a:lnTo>
                    <a:lnTo>
                      <a:pt x="512" y="634"/>
                    </a:lnTo>
                    <a:lnTo>
                      <a:pt x="522" y="638"/>
                    </a:lnTo>
                    <a:lnTo>
                      <a:pt x="534" y="642"/>
                    </a:lnTo>
                    <a:lnTo>
                      <a:pt x="534" y="642"/>
                    </a:lnTo>
                    <a:lnTo>
                      <a:pt x="560" y="654"/>
                    </a:lnTo>
                    <a:lnTo>
                      <a:pt x="578" y="664"/>
                    </a:lnTo>
                    <a:lnTo>
                      <a:pt x="584" y="666"/>
                    </a:lnTo>
                    <a:lnTo>
                      <a:pt x="584" y="670"/>
                    </a:lnTo>
                    <a:lnTo>
                      <a:pt x="584" y="674"/>
                    </a:lnTo>
                    <a:lnTo>
                      <a:pt x="578" y="680"/>
                    </a:lnTo>
                    <a:lnTo>
                      <a:pt x="578" y="680"/>
                    </a:lnTo>
                    <a:lnTo>
                      <a:pt x="576" y="684"/>
                    </a:lnTo>
                    <a:lnTo>
                      <a:pt x="576" y="688"/>
                    </a:lnTo>
                    <a:lnTo>
                      <a:pt x="578" y="692"/>
                    </a:lnTo>
                    <a:lnTo>
                      <a:pt x="582" y="696"/>
                    </a:lnTo>
                    <a:lnTo>
                      <a:pt x="596" y="704"/>
                    </a:lnTo>
                    <a:lnTo>
                      <a:pt x="612" y="714"/>
                    </a:lnTo>
                    <a:lnTo>
                      <a:pt x="642" y="734"/>
                    </a:lnTo>
                    <a:lnTo>
                      <a:pt x="652" y="742"/>
                    </a:lnTo>
                    <a:lnTo>
                      <a:pt x="654" y="746"/>
                    </a:lnTo>
                    <a:lnTo>
                      <a:pt x="654" y="750"/>
                    </a:lnTo>
                    <a:lnTo>
                      <a:pt x="654" y="750"/>
                    </a:lnTo>
                    <a:lnTo>
                      <a:pt x="650" y="756"/>
                    </a:lnTo>
                    <a:lnTo>
                      <a:pt x="644" y="764"/>
                    </a:lnTo>
                    <a:lnTo>
                      <a:pt x="632" y="776"/>
                    </a:lnTo>
                    <a:lnTo>
                      <a:pt x="628" y="780"/>
                    </a:lnTo>
                    <a:lnTo>
                      <a:pt x="628" y="782"/>
                    </a:lnTo>
                    <a:lnTo>
                      <a:pt x="632" y="784"/>
                    </a:lnTo>
                    <a:lnTo>
                      <a:pt x="642" y="780"/>
                    </a:lnTo>
                    <a:lnTo>
                      <a:pt x="642" y="780"/>
                    </a:lnTo>
                    <a:lnTo>
                      <a:pt x="660" y="776"/>
                    </a:lnTo>
                    <a:lnTo>
                      <a:pt x="666" y="776"/>
                    </a:lnTo>
                    <a:lnTo>
                      <a:pt x="668" y="776"/>
                    </a:lnTo>
                    <a:lnTo>
                      <a:pt x="670" y="782"/>
                    </a:lnTo>
                    <a:lnTo>
                      <a:pt x="674" y="786"/>
                    </a:lnTo>
                    <a:lnTo>
                      <a:pt x="678" y="790"/>
                    </a:lnTo>
                    <a:lnTo>
                      <a:pt x="678" y="790"/>
                    </a:lnTo>
                    <a:lnTo>
                      <a:pt x="684" y="794"/>
                    </a:lnTo>
                    <a:lnTo>
                      <a:pt x="686" y="798"/>
                    </a:lnTo>
                    <a:lnTo>
                      <a:pt x="684" y="802"/>
                    </a:lnTo>
                    <a:lnTo>
                      <a:pt x="682" y="806"/>
                    </a:lnTo>
                    <a:lnTo>
                      <a:pt x="680" y="810"/>
                    </a:lnTo>
                    <a:lnTo>
                      <a:pt x="680" y="814"/>
                    </a:lnTo>
                    <a:lnTo>
                      <a:pt x="686" y="818"/>
                    </a:lnTo>
                    <a:lnTo>
                      <a:pt x="696" y="824"/>
                    </a:lnTo>
                    <a:lnTo>
                      <a:pt x="696" y="824"/>
                    </a:lnTo>
                    <a:lnTo>
                      <a:pt x="704" y="828"/>
                    </a:lnTo>
                    <a:lnTo>
                      <a:pt x="708" y="834"/>
                    </a:lnTo>
                    <a:lnTo>
                      <a:pt x="706" y="838"/>
                    </a:lnTo>
                    <a:lnTo>
                      <a:pt x="702" y="844"/>
                    </a:lnTo>
                    <a:lnTo>
                      <a:pt x="700" y="850"/>
                    </a:lnTo>
                    <a:lnTo>
                      <a:pt x="698" y="854"/>
                    </a:lnTo>
                    <a:lnTo>
                      <a:pt x="702" y="858"/>
                    </a:lnTo>
                    <a:lnTo>
                      <a:pt x="710" y="862"/>
                    </a:lnTo>
                    <a:lnTo>
                      <a:pt x="710" y="862"/>
                    </a:lnTo>
                    <a:lnTo>
                      <a:pt x="720" y="864"/>
                    </a:lnTo>
                    <a:lnTo>
                      <a:pt x="726" y="870"/>
                    </a:lnTo>
                    <a:lnTo>
                      <a:pt x="730" y="876"/>
                    </a:lnTo>
                    <a:lnTo>
                      <a:pt x="730" y="882"/>
                    </a:lnTo>
                    <a:lnTo>
                      <a:pt x="728" y="888"/>
                    </a:lnTo>
                    <a:lnTo>
                      <a:pt x="722" y="894"/>
                    </a:lnTo>
                    <a:lnTo>
                      <a:pt x="716" y="898"/>
                    </a:lnTo>
                    <a:lnTo>
                      <a:pt x="706" y="902"/>
                    </a:lnTo>
                    <a:lnTo>
                      <a:pt x="706" y="902"/>
                    </a:lnTo>
                    <a:lnTo>
                      <a:pt x="698" y="904"/>
                    </a:lnTo>
                    <a:lnTo>
                      <a:pt x="694" y="906"/>
                    </a:lnTo>
                    <a:lnTo>
                      <a:pt x="690" y="910"/>
                    </a:lnTo>
                    <a:lnTo>
                      <a:pt x="690" y="916"/>
                    </a:lnTo>
                    <a:lnTo>
                      <a:pt x="690" y="922"/>
                    </a:lnTo>
                    <a:lnTo>
                      <a:pt x="694" y="928"/>
                    </a:lnTo>
                    <a:lnTo>
                      <a:pt x="704" y="942"/>
                    </a:lnTo>
                    <a:lnTo>
                      <a:pt x="704" y="942"/>
                    </a:lnTo>
                    <a:lnTo>
                      <a:pt x="708" y="948"/>
                    </a:lnTo>
                    <a:lnTo>
                      <a:pt x="708" y="952"/>
                    </a:lnTo>
                    <a:lnTo>
                      <a:pt x="704" y="956"/>
                    </a:lnTo>
                    <a:lnTo>
                      <a:pt x="698" y="956"/>
                    </a:lnTo>
                    <a:lnTo>
                      <a:pt x="686" y="960"/>
                    </a:lnTo>
                    <a:lnTo>
                      <a:pt x="682" y="960"/>
                    </a:lnTo>
                    <a:lnTo>
                      <a:pt x="684" y="964"/>
                    </a:lnTo>
                    <a:lnTo>
                      <a:pt x="684" y="964"/>
                    </a:lnTo>
                    <a:lnTo>
                      <a:pt x="690" y="972"/>
                    </a:lnTo>
                    <a:lnTo>
                      <a:pt x="696" y="980"/>
                    </a:lnTo>
                    <a:lnTo>
                      <a:pt x="698" y="984"/>
                    </a:lnTo>
                    <a:lnTo>
                      <a:pt x="702" y="986"/>
                    </a:lnTo>
                    <a:lnTo>
                      <a:pt x="706" y="986"/>
                    </a:lnTo>
                    <a:lnTo>
                      <a:pt x="710" y="984"/>
                    </a:lnTo>
                    <a:lnTo>
                      <a:pt x="710" y="984"/>
                    </a:lnTo>
                    <a:lnTo>
                      <a:pt x="716" y="984"/>
                    </a:lnTo>
                    <a:lnTo>
                      <a:pt x="722" y="984"/>
                    </a:lnTo>
                    <a:lnTo>
                      <a:pt x="738" y="988"/>
                    </a:lnTo>
                    <a:lnTo>
                      <a:pt x="744" y="990"/>
                    </a:lnTo>
                    <a:lnTo>
                      <a:pt x="752" y="988"/>
                    </a:lnTo>
                    <a:lnTo>
                      <a:pt x="758" y="984"/>
                    </a:lnTo>
                    <a:lnTo>
                      <a:pt x="764" y="974"/>
                    </a:lnTo>
                    <a:lnTo>
                      <a:pt x="764" y="974"/>
                    </a:lnTo>
                    <a:lnTo>
                      <a:pt x="768" y="970"/>
                    </a:lnTo>
                    <a:lnTo>
                      <a:pt x="770" y="966"/>
                    </a:lnTo>
                    <a:lnTo>
                      <a:pt x="780" y="960"/>
                    </a:lnTo>
                    <a:lnTo>
                      <a:pt x="790" y="960"/>
                    </a:lnTo>
                    <a:lnTo>
                      <a:pt x="800" y="960"/>
                    </a:lnTo>
                    <a:lnTo>
                      <a:pt x="808" y="962"/>
                    </a:lnTo>
                    <a:lnTo>
                      <a:pt x="816" y="966"/>
                    </a:lnTo>
                    <a:lnTo>
                      <a:pt x="818" y="970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2" y="978"/>
                    </a:lnTo>
                    <a:lnTo>
                      <a:pt x="810" y="980"/>
                    </a:lnTo>
                    <a:lnTo>
                      <a:pt x="812" y="982"/>
                    </a:lnTo>
                    <a:lnTo>
                      <a:pt x="818" y="982"/>
                    </a:lnTo>
                    <a:lnTo>
                      <a:pt x="822" y="984"/>
                    </a:lnTo>
                    <a:lnTo>
                      <a:pt x="828" y="986"/>
                    </a:lnTo>
                    <a:lnTo>
                      <a:pt x="828" y="990"/>
                    </a:lnTo>
                    <a:lnTo>
                      <a:pt x="826" y="994"/>
                    </a:lnTo>
                    <a:lnTo>
                      <a:pt x="826" y="994"/>
                    </a:lnTo>
                    <a:lnTo>
                      <a:pt x="824" y="998"/>
                    </a:lnTo>
                    <a:lnTo>
                      <a:pt x="824" y="1000"/>
                    </a:lnTo>
                    <a:lnTo>
                      <a:pt x="828" y="1006"/>
                    </a:lnTo>
                    <a:lnTo>
                      <a:pt x="836" y="1010"/>
                    </a:lnTo>
                    <a:lnTo>
                      <a:pt x="846" y="1014"/>
                    </a:lnTo>
                    <a:lnTo>
                      <a:pt x="866" y="1020"/>
                    </a:lnTo>
                    <a:lnTo>
                      <a:pt x="872" y="1022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68" y="1034"/>
                    </a:lnTo>
                    <a:lnTo>
                      <a:pt x="866" y="1040"/>
                    </a:lnTo>
                    <a:lnTo>
                      <a:pt x="868" y="1044"/>
                    </a:lnTo>
                    <a:lnTo>
                      <a:pt x="874" y="1050"/>
                    </a:lnTo>
                    <a:lnTo>
                      <a:pt x="874" y="1050"/>
                    </a:lnTo>
                    <a:lnTo>
                      <a:pt x="874" y="1052"/>
                    </a:lnTo>
                    <a:lnTo>
                      <a:pt x="872" y="1054"/>
                    </a:lnTo>
                    <a:lnTo>
                      <a:pt x="862" y="1052"/>
                    </a:lnTo>
                    <a:lnTo>
                      <a:pt x="848" y="1048"/>
                    </a:lnTo>
                    <a:lnTo>
                      <a:pt x="832" y="1040"/>
                    </a:lnTo>
                    <a:lnTo>
                      <a:pt x="832" y="1040"/>
                    </a:lnTo>
                    <a:lnTo>
                      <a:pt x="822" y="1036"/>
                    </a:lnTo>
                    <a:lnTo>
                      <a:pt x="810" y="1032"/>
                    </a:lnTo>
                    <a:lnTo>
                      <a:pt x="784" y="1028"/>
                    </a:lnTo>
                    <a:lnTo>
                      <a:pt x="758" y="1028"/>
                    </a:lnTo>
                    <a:lnTo>
                      <a:pt x="748" y="1030"/>
                    </a:lnTo>
                    <a:lnTo>
                      <a:pt x="742" y="1032"/>
                    </a:lnTo>
                    <a:lnTo>
                      <a:pt x="742" y="1032"/>
                    </a:lnTo>
                    <a:lnTo>
                      <a:pt x="738" y="1036"/>
                    </a:lnTo>
                    <a:lnTo>
                      <a:pt x="740" y="1042"/>
                    </a:lnTo>
                    <a:lnTo>
                      <a:pt x="744" y="1046"/>
                    </a:lnTo>
                    <a:lnTo>
                      <a:pt x="750" y="1050"/>
                    </a:lnTo>
                    <a:lnTo>
                      <a:pt x="764" y="1056"/>
                    </a:lnTo>
                    <a:lnTo>
                      <a:pt x="782" y="1060"/>
                    </a:lnTo>
                    <a:lnTo>
                      <a:pt x="782" y="1060"/>
                    </a:lnTo>
                    <a:lnTo>
                      <a:pt x="796" y="1060"/>
                    </a:lnTo>
                    <a:lnTo>
                      <a:pt x="804" y="1064"/>
                    </a:lnTo>
                    <a:lnTo>
                      <a:pt x="810" y="1068"/>
                    </a:lnTo>
                    <a:lnTo>
                      <a:pt x="816" y="1072"/>
                    </a:lnTo>
                    <a:lnTo>
                      <a:pt x="820" y="1078"/>
                    </a:lnTo>
                    <a:lnTo>
                      <a:pt x="824" y="1082"/>
                    </a:lnTo>
                    <a:lnTo>
                      <a:pt x="832" y="1086"/>
                    </a:lnTo>
                    <a:lnTo>
                      <a:pt x="844" y="1088"/>
                    </a:lnTo>
                    <a:lnTo>
                      <a:pt x="844" y="1088"/>
                    </a:lnTo>
                    <a:lnTo>
                      <a:pt x="856" y="1090"/>
                    </a:lnTo>
                    <a:lnTo>
                      <a:pt x="864" y="1092"/>
                    </a:lnTo>
                    <a:lnTo>
                      <a:pt x="868" y="1096"/>
                    </a:lnTo>
                    <a:lnTo>
                      <a:pt x="870" y="1098"/>
                    </a:lnTo>
                    <a:lnTo>
                      <a:pt x="866" y="1108"/>
                    </a:lnTo>
                    <a:lnTo>
                      <a:pt x="866" y="1112"/>
                    </a:lnTo>
                    <a:lnTo>
                      <a:pt x="868" y="1118"/>
                    </a:lnTo>
                    <a:lnTo>
                      <a:pt x="868" y="1118"/>
                    </a:lnTo>
                    <a:lnTo>
                      <a:pt x="872" y="1122"/>
                    </a:lnTo>
                    <a:lnTo>
                      <a:pt x="876" y="1120"/>
                    </a:lnTo>
                    <a:lnTo>
                      <a:pt x="880" y="1118"/>
                    </a:lnTo>
                    <a:lnTo>
                      <a:pt x="882" y="1114"/>
                    </a:lnTo>
                    <a:lnTo>
                      <a:pt x="888" y="1106"/>
                    </a:lnTo>
                    <a:lnTo>
                      <a:pt x="888" y="1106"/>
                    </a:lnTo>
                    <a:lnTo>
                      <a:pt x="890" y="1110"/>
                    </a:lnTo>
                    <a:lnTo>
                      <a:pt x="890" y="1110"/>
                    </a:lnTo>
                    <a:lnTo>
                      <a:pt x="888" y="1116"/>
                    </a:lnTo>
                    <a:lnTo>
                      <a:pt x="888" y="1122"/>
                    </a:lnTo>
                    <a:lnTo>
                      <a:pt x="882" y="1134"/>
                    </a:lnTo>
                    <a:lnTo>
                      <a:pt x="876" y="1148"/>
                    </a:lnTo>
                    <a:lnTo>
                      <a:pt x="872" y="1164"/>
                    </a:lnTo>
                    <a:lnTo>
                      <a:pt x="872" y="1164"/>
                    </a:lnTo>
                    <a:lnTo>
                      <a:pt x="870" y="1170"/>
                    </a:lnTo>
                    <a:lnTo>
                      <a:pt x="872" y="1176"/>
                    </a:lnTo>
                    <a:lnTo>
                      <a:pt x="876" y="1182"/>
                    </a:lnTo>
                    <a:lnTo>
                      <a:pt x="876" y="1184"/>
                    </a:lnTo>
                    <a:lnTo>
                      <a:pt x="876" y="1186"/>
                    </a:lnTo>
                    <a:lnTo>
                      <a:pt x="866" y="1192"/>
                    </a:lnTo>
                    <a:lnTo>
                      <a:pt x="866" y="1192"/>
                    </a:lnTo>
                    <a:lnTo>
                      <a:pt x="858" y="1194"/>
                    </a:lnTo>
                    <a:lnTo>
                      <a:pt x="850" y="1196"/>
                    </a:lnTo>
                    <a:lnTo>
                      <a:pt x="838" y="1192"/>
                    </a:lnTo>
                    <a:lnTo>
                      <a:pt x="828" y="1190"/>
                    </a:lnTo>
                    <a:lnTo>
                      <a:pt x="822" y="1190"/>
                    </a:lnTo>
                    <a:lnTo>
                      <a:pt x="818" y="1194"/>
                    </a:lnTo>
                    <a:lnTo>
                      <a:pt x="818" y="1194"/>
                    </a:lnTo>
                    <a:lnTo>
                      <a:pt x="812" y="1196"/>
                    </a:lnTo>
                    <a:lnTo>
                      <a:pt x="806" y="1198"/>
                    </a:lnTo>
                    <a:lnTo>
                      <a:pt x="796" y="1202"/>
                    </a:lnTo>
                    <a:lnTo>
                      <a:pt x="788" y="1204"/>
                    </a:lnTo>
                    <a:lnTo>
                      <a:pt x="786" y="1206"/>
                    </a:lnTo>
                    <a:lnTo>
                      <a:pt x="788" y="1210"/>
                    </a:lnTo>
                    <a:lnTo>
                      <a:pt x="788" y="1210"/>
                    </a:lnTo>
                    <a:lnTo>
                      <a:pt x="788" y="1212"/>
                    </a:lnTo>
                    <a:lnTo>
                      <a:pt x="788" y="1214"/>
                    </a:lnTo>
                    <a:lnTo>
                      <a:pt x="784" y="1214"/>
                    </a:lnTo>
                    <a:lnTo>
                      <a:pt x="784" y="1216"/>
                    </a:lnTo>
                    <a:lnTo>
                      <a:pt x="784" y="1216"/>
                    </a:lnTo>
                    <a:lnTo>
                      <a:pt x="790" y="1222"/>
                    </a:lnTo>
                    <a:lnTo>
                      <a:pt x="790" y="1222"/>
                    </a:lnTo>
                    <a:lnTo>
                      <a:pt x="794" y="1226"/>
                    </a:lnTo>
                    <a:lnTo>
                      <a:pt x="794" y="1228"/>
                    </a:lnTo>
                    <a:lnTo>
                      <a:pt x="792" y="1232"/>
                    </a:lnTo>
                    <a:lnTo>
                      <a:pt x="788" y="1234"/>
                    </a:lnTo>
                    <a:lnTo>
                      <a:pt x="778" y="1240"/>
                    </a:lnTo>
                    <a:lnTo>
                      <a:pt x="774" y="1242"/>
                    </a:lnTo>
                    <a:lnTo>
                      <a:pt x="774" y="1246"/>
                    </a:lnTo>
                    <a:lnTo>
                      <a:pt x="774" y="1246"/>
                    </a:lnTo>
                    <a:lnTo>
                      <a:pt x="774" y="1252"/>
                    </a:lnTo>
                    <a:lnTo>
                      <a:pt x="772" y="1260"/>
                    </a:lnTo>
                    <a:lnTo>
                      <a:pt x="762" y="1284"/>
                    </a:lnTo>
                    <a:lnTo>
                      <a:pt x="762" y="1284"/>
                    </a:lnTo>
                    <a:lnTo>
                      <a:pt x="762" y="1292"/>
                    </a:lnTo>
                    <a:lnTo>
                      <a:pt x="762" y="1296"/>
                    </a:lnTo>
                    <a:lnTo>
                      <a:pt x="766" y="1300"/>
                    </a:lnTo>
                    <a:lnTo>
                      <a:pt x="772" y="1302"/>
                    </a:lnTo>
                    <a:lnTo>
                      <a:pt x="788" y="1306"/>
                    </a:lnTo>
                    <a:lnTo>
                      <a:pt x="810" y="1306"/>
                    </a:lnTo>
                    <a:lnTo>
                      <a:pt x="810" y="1306"/>
                    </a:lnTo>
                    <a:lnTo>
                      <a:pt x="800" y="1312"/>
                    </a:lnTo>
                    <a:lnTo>
                      <a:pt x="790" y="1320"/>
                    </a:lnTo>
                    <a:lnTo>
                      <a:pt x="782" y="1328"/>
                    </a:lnTo>
                    <a:lnTo>
                      <a:pt x="776" y="1338"/>
                    </a:lnTo>
                    <a:lnTo>
                      <a:pt x="772" y="1346"/>
                    </a:lnTo>
                    <a:lnTo>
                      <a:pt x="772" y="1354"/>
                    </a:lnTo>
                    <a:lnTo>
                      <a:pt x="774" y="1362"/>
                    </a:lnTo>
                    <a:lnTo>
                      <a:pt x="780" y="1368"/>
                    </a:lnTo>
                    <a:lnTo>
                      <a:pt x="780" y="1368"/>
                    </a:lnTo>
                    <a:lnTo>
                      <a:pt x="786" y="1374"/>
                    </a:lnTo>
                    <a:lnTo>
                      <a:pt x="790" y="1378"/>
                    </a:lnTo>
                    <a:lnTo>
                      <a:pt x="792" y="1384"/>
                    </a:lnTo>
                    <a:lnTo>
                      <a:pt x="792" y="1390"/>
                    </a:lnTo>
                    <a:lnTo>
                      <a:pt x="792" y="1392"/>
                    </a:lnTo>
                    <a:lnTo>
                      <a:pt x="796" y="1392"/>
                    </a:lnTo>
                    <a:lnTo>
                      <a:pt x="796" y="1392"/>
                    </a:lnTo>
                    <a:lnTo>
                      <a:pt x="806" y="1394"/>
                    </a:lnTo>
                    <a:lnTo>
                      <a:pt x="812" y="1400"/>
                    </a:lnTo>
                    <a:lnTo>
                      <a:pt x="818" y="1406"/>
                    </a:lnTo>
                    <a:lnTo>
                      <a:pt x="818" y="1410"/>
                    </a:lnTo>
                    <a:lnTo>
                      <a:pt x="818" y="1414"/>
                    </a:lnTo>
                    <a:lnTo>
                      <a:pt x="818" y="1414"/>
                    </a:lnTo>
                    <a:lnTo>
                      <a:pt x="818" y="1420"/>
                    </a:lnTo>
                    <a:lnTo>
                      <a:pt x="818" y="1422"/>
                    </a:lnTo>
                    <a:lnTo>
                      <a:pt x="824" y="1426"/>
                    </a:lnTo>
                    <a:lnTo>
                      <a:pt x="828" y="1430"/>
                    </a:lnTo>
                    <a:lnTo>
                      <a:pt x="830" y="1434"/>
                    </a:lnTo>
                    <a:lnTo>
                      <a:pt x="830" y="1440"/>
                    </a:lnTo>
                    <a:lnTo>
                      <a:pt x="830" y="1440"/>
                    </a:lnTo>
                    <a:lnTo>
                      <a:pt x="830" y="1450"/>
                    </a:lnTo>
                    <a:lnTo>
                      <a:pt x="834" y="1452"/>
                    </a:lnTo>
                    <a:lnTo>
                      <a:pt x="836" y="1454"/>
                    </a:lnTo>
                    <a:lnTo>
                      <a:pt x="836" y="1462"/>
                    </a:lnTo>
                    <a:lnTo>
                      <a:pt x="836" y="1462"/>
                    </a:lnTo>
                    <a:lnTo>
                      <a:pt x="836" y="1476"/>
                    </a:lnTo>
                    <a:lnTo>
                      <a:pt x="836" y="1482"/>
                    </a:lnTo>
                    <a:lnTo>
                      <a:pt x="840" y="1488"/>
                    </a:lnTo>
                    <a:lnTo>
                      <a:pt x="842" y="1490"/>
                    </a:lnTo>
                    <a:lnTo>
                      <a:pt x="848" y="1488"/>
                    </a:lnTo>
                    <a:lnTo>
                      <a:pt x="852" y="1482"/>
                    </a:lnTo>
                    <a:lnTo>
                      <a:pt x="860" y="1470"/>
                    </a:lnTo>
                    <a:lnTo>
                      <a:pt x="860" y="1470"/>
                    </a:lnTo>
                    <a:lnTo>
                      <a:pt x="870" y="1454"/>
                    </a:lnTo>
                    <a:lnTo>
                      <a:pt x="872" y="1454"/>
                    </a:lnTo>
                    <a:lnTo>
                      <a:pt x="874" y="1456"/>
                    </a:lnTo>
                    <a:lnTo>
                      <a:pt x="876" y="1462"/>
                    </a:lnTo>
                    <a:lnTo>
                      <a:pt x="878" y="1462"/>
                    </a:lnTo>
                    <a:lnTo>
                      <a:pt x="882" y="1460"/>
                    </a:lnTo>
                    <a:lnTo>
                      <a:pt x="882" y="1460"/>
                    </a:lnTo>
                    <a:lnTo>
                      <a:pt x="888" y="1456"/>
                    </a:lnTo>
                    <a:lnTo>
                      <a:pt x="894" y="1454"/>
                    </a:lnTo>
                    <a:lnTo>
                      <a:pt x="900" y="1452"/>
                    </a:lnTo>
                    <a:lnTo>
                      <a:pt x="906" y="1454"/>
                    </a:lnTo>
                    <a:lnTo>
                      <a:pt x="912" y="1456"/>
                    </a:lnTo>
                    <a:lnTo>
                      <a:pt x="916" y="1458"/>
                    </a:lnTo>
                    <a:lnTo>
                      <a:pt x="918" y="1464"/>
                    </a:lnTo>
                    <a:lnTo>
                      <a:pt x="920" y="1470"/>
                    </a:lnTo>
                    <a:lnTo>
                      <a:pt x="920" y="1470"/>
                    </a:lnTo>
                    <a:lnTo>
                      <a:pt x="922" y="1474"/>
                    </a:lnTo>
                    <a:lnTo>
                      <a:pt x="920" y="1474"/>
                    </a:lnTo>
                    <a:lnTo>
                      <a:pt x="912" y="1470"/>
                    </a:lnTo>
                    <a:lnTo>
                      <a:pt x="902" y="1464"/>
                    </a:lnTo>
                    <a:lnTo>
                      <a:pt x="896" y="1462"/>
                    </a:lnTo>
                    <a:lnTo>
                      <a:pt x="890" y="1464"/>
                    </a:lnTo>
                    <a:lnTo>
                      <a:pt x="890" y="1464"/>
                    </a:lnTo>
                    <a:lnTo>
                      <a:pt x="888" y="1466"/>
                    </a:lnTo>
                    <a:lnTo>
                      <a:pt x="888" y="1468"/>
                    </a:lnTo>
                    <a:lnTo>
                      <a:pt x="894" y="1474"/>
                    </a:lnTo>
                    <a:lnTo>
                      <a:pt x="898" y="1474"/>
                    </a:lnTo>
                    <a:lnTo>
                      <a:pt x="898" y="1476"/>
                    </a:lnTo>
                    <a:lnTo>
                      <a:pt x="896" y="1478"/>
                    </a:lnTo>
                    <a:lnTo>
                      <a:pt x="890" y="1478"/>
                    </a:lnTo>
                    <a:lnTo>
                      <a:pt x="890" y="1478"/>
                    </a:lnTo>
                    <a:lnTo>
                      <a:pt x="884" y="1480"/>
                    </a:lnTo>
                    <a:lnTo>
                      <a:pt x="880" y="1480"/>
                    </a:lnTo>
                    <a:lnTo>
                      <a:pt x="880" y="1484"/>
                    </a:lnTo>
                    <a:lnTo>
                      <a:pt x="880" y="1486"/>
                    </a:lnTo>
                    <a:lnTo>
                      <a:pt x="880" y="1488"/>
                    </a:lnTo>
                    <a:lnTo>
                      <a:pt x="880" y="1490"/>
                    </a:lnTo>
                    <a:lnTo>
                      <a:pt x="876" y="1492"/>
                    </a:lnTo>
                    <a:lnTo>
                      <a:pt x="868" y="1492"/>
                    </a:lnTo>
                    <a:lnTo>
                      <a:pt x="868" y="1492"/>
                    </a:lnTo>
                    <a:lnTo>
                      <a:pt x="856" y="1494"/>
                    </a:lnTo>
                    <a:lnTo>
                      <a:pt x="856" y="1496"/>
                    </a:lnTo>
                    <a:lnTo>
                      <a:pt x="856" y="1496"/>
                    </a:lnTo>
                    <a:lnTo>
                      <a:pt x="860" y="1500"/>
                    </a:lnTo>
                    <a:lnTo>
                      <a:pt x="860" y="1502"/>
                    </a:lnTo>
                    <a:lnTo>
                      <a:pt x="858" y="1504"/>
                    </a:lnTo>
                    <a:lnTo>
                      <a:pt x="858" y="1504"/>
                    </a:lnTo>
                    <a:lnTo>
                      <a:pt x="854" y="1506"/>
                    </a:lnTo>
                    <a:lnTo>
                      <a:pt x="854" y="1506"/>
                    </a:lnTo>
                    <a:lnTo>
                      <a:pt x="856" y="1510"/>
                    </a:lnTo>
                    <a:lnTo>
                      <a:pt x="860" y="1514"/>
                    </a:lnTo>
                    <a:lnTo>
                      <a:pt x="862" y="1516"/>
                    </a:lnTo>
                    <a:lnTo>
                      <a:pt x="860" y="1518"/>
                    </a:lnTo>
                    <a:lnTo>
                      <a:pt x="860" y="1518"/>
                    </a:lnTo>
                    <a:lnTo>
                      <a:pt x="860" y="1522"/>
                    </a:lnTo>
                    <a:lnTo>
                      <a:pt x="860" y="1526"/>
                    </a:lnTo>
                    <a:lnTo>
                      <a:pt x="862" y="1534"/>
                    </a:lnTo>
                    <a:lnTo>
                      <a:pt x="874" y="1554"/>
                    </a:lnTo>
                    <a:lnTo>
                      <a:pt x="874" y="1554"/>
                    </a:lnTo>
                    <a:lnTo>
                      <a:pt x="878" y="1558"/>
                    </a:lnTo>
                    <a:lnTo>
                      <a:pt x="882" y="1560"/>
                    </a:lnTo>
                    <a:lnTo>
                      <a:pt x="890" y="1562"/>
                    </a:lnTo>
                    <a:lnTo>
                      <a:pt x="898" y="1562"/>
                    </a:lnTo>
                    <a:lnTo>
                      <a:pt x="898" y="1564"/>
                    </a:lnTo>
                    <a:lnTo>
                      <a:pt x="898" y="1568"/>
                    </a:lnTo>
                    <a:lnTo>
                      <a:pt x="898" y="1568"/>
                    </a:lnTo>
                    <a:lnTo>
                      <a:pt x="896" y="1572"/>
                    </a:lnTo>
                    <a:lnTo>
                      <a:pt x="898" y="1576"/>
                    </a:lnTo>
                    <a:lnTo>
                      <a:pt x="902" y="1582"/>
                    </a:lnTo>
                    <a:lnTo>
                      <a:pt x="906" y="1590"/>
                    </a:lnTo>
                    <a:lnTo>
                      <a:pt x="908" y="1594"/>
                    </a:lnTo>
                    <a:lnTo>
                      <a:pt x="908" y="1598"/>
                    </a:lnTo>
                    <a:lnTo>
                      <a:pt x="908" y="1598"/>
                    </a:lnTo>
                    <a:lnTo>
                      <a:pt x="908" y="1606"/>
                    </a:lnTo>
                    <a:lnTo>
                      <a:pt x="910" y="1610"/>
                    </a:lnTo>
                    <a:lnTo>
                      <a:pt x="914" y="1614"/>
                    </a:lnTo>
                    <a:lnTo>
                      <a:pt x="926" y="1618"/>
                    </a:lnTo>
                    <a:lnTo>
                      <a:pt x="926" y="1618"/>
                    </a:lnTo>
                    <a:lnTo>
                      <a:pt x="932" y="1622"/>
                    </a:lnTo>
                    <a:lnTo>
                      <a:pt x="934" y="1626"/>
                    </a:lnTo>
                    <a:lnTo>
                      <a:pt x="936" y="1630"/>
                    </a:lnTo>
                    <a:lnTo>
                      <a:pt x="934" y="1634"/>
                    </a:lnTo>
                    <a:lnTo>
                      <a:pt x="934" y="1640"/>
                    </a:lnTo>
                    <a:lnTo>
                      <a:pt x="934" y="1640"/>
                    </a:lnTo>
                    <a:lnTo>
                      <a:pt x="938" y="1640"/>
                    </a:lnTo>
                    <a:lnTo>
                      <a:pt x="938" y="1640"/>
                    </a:lnTo>
                    <a:lnTo>
                      <a:pt x="942" y="1640"/>
                    </a:lnTo>
                    <a:lnTo>
                      <a:pt x="944" y="1640"/>
                    </a:lnTo>
                    <a:lnTo>
                      <a:pt x="946" y="1648"/>
                    </a:lnTo>
                    <a:lnTo>
                      <a:pt x="946" y="1654"/>
                    </a:lnTo>
                    <a:lnTo>
                      <a:pt x="948" y="1656"/>
                    </a:lnTo>
                    <a:lnTo>
                      <a:pt x="950" y="1656"/>
                    </a:lnTo>
                    <a:lnTo>
                      <a:pt x="950" y="1656"/>
                    </a:lnTo>
                    <a:lnTo>
                      <a:pt x="956" y="1656"/>
                    </a:lnTo>
                    <a:lnTo>
                      <a:pt x="958" y="1656"/>
                    </a:lnTo>
                    <a:lnTo>
                      <a:pt x="958" y="1662"/>
                    </a:lnTo>
                    <a:lnTo>
                      <a:pt x="954" y="1672"/>
                    </a:lnTo>
                    <a:lnTo>
                      <a:pt x="954" y="1672"/>
                    </a:lnTo>
                    <a:lnTo>
                      <a:pt x="952" y="1676"/>
                    </a:lnTo>
                    <a:lnTo>
                      <a:pt x="956" y="1678"/>
                    </a:lnTo>
                    <a:lnTo>
                      <a:pt x="966" y="1678"/>
                    </a:lnTo>
                    <a:lnTo>
                      <a:pt x="978" y="1678"/>
                    </a:lnTo>
                    <a:lnTo>
                      <a:pt x="980" y="1680"/>
                    </a:lnTo>
                    <a:lnTo>
                      <a:pt x="980" y="1684"/>
                    </a:lnTo>
                    <a:lnTo>
                      <a:pt x="980" y="1684"/>
                    </a:lnTo>
                    <a:lnTo>
                      <a:pt x="978" y="1690"/>
                    </a:lnTo>
                    <a:lnTo>
                      <a:pt x="978" y="1692"/>
                    </a:lnTo>
                    <a:lnTo>
                      <a:pt x="980" y="1694"/>
                    </a:lnTo>
                    <a:lnTo>
                      <a:pt x="982" y="1694"/>
                    </a:lnTo>
                    <a:lnTo>
                      <a:pt x="990" y="1694"/>
                    </a:lnTo>
                    <a:lnTo>
                      <a:pt x="994" y="1696"/>
                    </a:lnTo>
                    <a:lnTo>
                      <a:pt x="996" y="1698"/>
                    </a:lnTo>
                    <a:lnTo>
                      <a:pt x="996" y="1698"/>
                    </a:lnTo>
                    <a:lnTo>
                      <a:pt x="998" y="1700"/>
                    </a:lnTo>
                    <a:lnTo>
                      <a:pt x="996" y="1702"/>
                    </a:lnTo>
                    <a:lnTo>
                      <a:pt x="994" y="1704"/>
                    </a:lnTo>
                    <a:lnTo>
                      <a:pt x="990" y="1706"/>
                    </a:lnTo>
                    <a:lnTo>
                      <a:pt x="990" y="1708"/>
                    </a:lnTo>
                    <a:lnTo>
                      <a:pt x="990" y="1712"/>
                    </a:lnTo>
                    <a:lnTo>
                      <a:pt x="990" y="1712"/>
                    </a:lnTo>
                    <a:lnTo>
                      <a:pt x="992" y="1722"/>
                    </a:lnTo>
                    <a:lnTo>
                      <a:pt x="996" y="1724"/>
                    </a:lnTo>
                    <a:lnTo>
                      <a:pt x="1000" y="1726"/>
                    </a:lnTo>
                    <a:lnTo>
                      <a:pt x="1004" y="1726"/>
                    </a:lnTo>
                    <a:lnTo>
                      <a:pt x="1010" y="1726"/>
                    </a:lnTo>
                    <a:lnTo>
                      <a:pt x="1016" y="1722"/>
                    </a:lnTo>
                    <a:lnTo>
                      <a:pt x="1024" y="1718"/>
                    </a:lnTo>
                    <a:lnTo>
                      <a:pt x="1024" y="1718"/>
                    </a:lnTo>
                    <a:lnTo>
                      <a:pt x="1032" y="1712"/>
                    </a:lnTo>
                    <a:lnTo>
                      <a:pt x="1038" y="1712"/>
                    </a:lnTo>
                    <a:lnTo>
                      <a:pt x="1040" y="1712"/>
                    </a:lnTo>
                    <a:lnTo>
                      <a:pt x="1044" y="1714"/>
                    </a:lnTo>
                    <a:lnTo>
                      <a:pt x="1048" y="1716"/>
                    </a:lnTo>
                    <a:lnTo>
                      <a:pt x="1050" y="1716"/>
                    </a:lnTo>
                    <a:lnTo>
                      <a:pt x="1054" y="1714"/>
                    </a:lnTo>
                    <a:lnTo>
                      <a:pt x="1054" y="1714"/>
                    </a:lnTo>
                    <a:lnTo>
                      <a:pt x="1064" y="1708"/>
                    </a:lnTo>
                    <a:lnTo>
                      <a:pt x="1072" y="1704"/>
                    </a:lnTo>
                    <a:lnTo>
                      <a:pt x="1080" y="1700"/>
                    </a:lnTo>
                    <a:lnTo>
                      <a:pt x="1080" y="1696"/>
                    </a:lnTo>
                    <a:lnTo>
                      <a:pt x="1080" y="1692"/>
                    </a:lnTo>
                    <a:lnTo>
                      <a:pt x="1080" y="1692"/>
                    </a:lnTo>
                    <a:lnTo>
                      <a:pt x="1080" y="1688"/>
                    </a:lnTo>
                    <a:lnTo>
                      <a:pt x="1082" y="1686"/>
                    </a:lnTo>
                    <a:lnTo>
                      <a:pt x="1084" y="1688"/>
                    </a:lnTo>
                    <a:lnTo>
                      <a:pt x="1086" y="1690"/>
                    </a:lnTo>
                    <a:lnTo>
                      <a:pt x="1088" y="1694"/>
                    </a:lnTo>
                    <a:lnTo>
                      <a:pt x="1090" y="1698"/>
                    </a:lnTo>
                    <a:lnTo>
                      <a:pt x="1090" y="1704"/>
                    </a:lnTo>
                    <a:lnTo>
                      <a:pt x="1086" y="1710"/>
                    </a:lnTo>
                    <a:lnTo>
                      <a:pt x="1086" y="1710"/>
                    </a:lnTo>
                    <a:lnTo>
                      <a:pt x="1078" y="1718"/>
                    </a:lnTo>
                    <a:lnTo>
                      <a:pt x="1076" y="1726"/>
                    </a:lnTo>
                    <a:lnTo>
                      <a:pt x="1076" y="1728"/>
                    </a:lnTo>
                    <a:lnTo>
                      <a:pt x="1078" y="1732"/>
                    </a:lnTo>
                    <a:lnTo>
                      <a:pt x="1090" y="1738"/>
                    </a:lnTo>
                    <a:lnTo>
                      <a:pt x="1090" y="1738"/>
                    </a:lnTo>
                    <a:lnTo>
                      <a:pt x="1098" y="1740"/>
                    </a:lnTo>
                    <a:lnTo>
                      <a:pt x="1106" y="1740"/>
                    </a:lnTo>
                    <a:lnTo>
                      <a:pt x="1120" y="1738"/>
                    </a:lnTo>
                    <a:lnTo>
                      <a:pt x="1124" y="1738"/>
                    </a:lnTo>
                    <a:lnTo>
                      <a:pt x="1126" y="1740"/>
                    </a:lnTo>
                    <a:lnTo>
                      <a:pt x="1126" y="1744"/>
                    </a:lnTo>
                    <a:lnTo>
                      <a:pt x="1120" y="1752"/>
                    </a:lnTo>
                    <a:lnTo>
                      <a:pt x="1120" y="1752"/>
                    </a:lnTo>
                    <a:lnTo>
                      <a:pt x="1116" y="1758"/>
                    </a:lnTo>
                    <a:lnTo>
                      <a:pt x="1116" y="1762"/>
                    </a:lnTo>
                    <a:lnTo>
                      <a:pt x="1118" y="1766"/>
                    </a:lnTo>
                    <a:lnTo>
                      <a:pt x="1122" y="1768"/>
                    </a:lnTo>
                    <a:lnTo>
                      <a:pt x="1126" y="1770"/>
                    </a:lnTo>
                    <a:lnTo>
                      <a:pt x="1132" y="1770"/>
                    </a:lnTo>
                    <a:lnTo>
                      <a:pt x="1136" y="1768"/>
                    </a:lnTo>
                    <a:lnTo>
                      <a:pt x="1140" y="1766"/>
                    </a:lnTo>
                    <a:lnTo>
                      <a:pt x="1140" y="1766"/>
                    </a:lnTo>
                    <a:lnTo>
                      <a:pt x="1150" y="1760"/>
                    </a:lnTo>
                    <a:lnTo>
                      <a:pt x="1154" y="1758"/>
                    </a:lnTo>
                    <a:lnTo>
                      <a:pt x="1156" y="1758"/>
                    </a:lnTo>
                    <a:lnTo>
                      <a:pt x="1162" y="1762"/>
                    </a:lnTo>
                    <a:lnTo>
                      <a:pt x="1170" y="1770"/>
                    </a:lnTo>
                    <a:lnTo>
                      <a:pt x="1170" y="1770"/>
                    </a:lnTo>
                    <a:lnTo>
                      <a:pt x="1182" y="1776"/>
                    </a:lnTo>
                    <a:lnTo>
                      <a:pt x="1186" y="1776"/>
                    </a:lnTo>
                    <a:lnTo>
                      <a:pt x="1190" y="1776"/>
                    </a:lnTo>
                    <a:lnTo>
                      <a:pt x="1194" y="1774"/>
                    </a:lnTo>
                    <a:lnTo>
                      <a:pt x="1196" y="1768"/>
                    </a:lnTo>
                    <a:lnTo>
                      <a:pt x="1198" y="1764"/>
                    </a:lnTo>
                    <a:lnTo>
                      <a:pt x="1200" y="1756"/>
                    </a:lnTo>
                    <a:lnTo>
                      <a:pt x="1200" y="1756"/>
                    </a:lnTo>
                    <a:lnTo>
                      <a:pt x="1200" y="1750"/>
                    </a:lnTo>
                    <a:lnTo>
                      <a:pt x="1198" y="1746"/>
                    </a:lnTo>
                    <a:lnTo>
                      <a:pt x="1194" y="1746"/>
                    </a:lnTo>
                    <a:lnTo>
                      <a:pt x="1192" y="1746"/>
                    </a:lnTo>
                    <a:lnTo>
                      <a:pt x="1186" y="1746"/>
                    </a:lnTo>
                    <a:lnTo>
                      <a:pt x="1186" y="1746"/>
                    </a:lnTo>
                    <a:lnTo>
                      <a:pt x="1186" y="1744"/>
                    </a:lnTo>
                    <a:lnTo>
                      <a:pt x="1186" y="1744"/>
                    </a:lnTo>
                    <a:lnTo>
                      <a:pt x="1190" y="1740"/>
                    </a:lnTo>
                    <a:lnTo>
                      <a:pt x="1194" y="1738"/>
                    </a:lnTo>
                    <a:lnTo>
                      <a:pt x="1204" y="1734"/>
                    </a:lnTo>
                    <a:lnTo>
                      <a:pt x="1208" y="1732"/>
                    </a:lnTo>
                    <a:lnTo>
                      <a:pt x="1210" y="1728"/>
                    </a:lnTo>
                    <a:lnTo>
                      <a:pt x="1212" y="1724"/>
                    </a:lnTo>
                    <a:lnTo>
                      <a:pt x="1212" y="1718"/>
                    </a:lnTo>
                    <a:lnTo>
                      <a:pt x="1212" y="1718"/>
                    </a:lnTo>
                    <a:lnTo>
                      <a:pt x="1210" y="1712"/>
                    </a:lnTo>
                    <a:lnTo>
                      <a:pt x="1214" y="1702"/>
                    </a:lnTo>
                    <a:lnTo>
                      <a:pt x="1224" y="1676"/>
                    </a:lnTo>
                    <a:lnTo>
                      <a:pt x="1234" y="1652"/>
                    </a:lnTo>
                    <a:lnTo>
                      <a:pt x="1236" y="1640"/>
                    </a:lnTo>
                    <a:lnTo>
                      <a:pt x="1236" y="1630"/>
                    </a:lnTo>
                    <a:lnTo>
                      <a:pt x="1236" y="1630"/>
                    </a:lnTo>
                    <a:lnTo>
                      <a:pt x="1234" y="1624"/>
                    </a:lnTo>
                    <a:lnTo>
                      <a:pt x="1232" y="1622"/>
                    </a:lnTo>
                    <a:lnTo>
                      <a:pt x="1230" y="1622"/>
                    </a:lnTo>
                    <a:lnTo>
                      <a:pt x="1228" y="1622"/>
                    </a:lnTo>
                    <a:lnTo>
                      <a:pt x="1226" y="1622"/>
                    </a:lnTo>
                    <a:lnTo>
                      <a:pt x="1222" y="1622"/>
                    </a:lnTo>
                    <a:lnTo>
                      <a:pt x="1220" y="1620"/>
                    </a:lnTo>
                    <a:lnTo>
                      <a:pt x="1214" y="1616"/>
                    </a:lnTo>
                    <a:lnTo>
                      <a:pt x="1214" y="1616"/>
                    </a:lnTo>
                    <a:lnTo>
                      <a:pt x="1212" y="1610"/>
                    </a:lnTo>
                    <a:lnTo>
                      <a:pt x="1212" y="1610"/>
                    </a:lnTo>
                    <a:lnTo>
                      <a:pt x="1222" y="1612"/>
                    </a:lnTo>
                    <a:lnTo>
                      <a:pt x="1232" y="1614"/>
                    </a:lnTo>
                    <a:lnTo>
                      <a:pt x="1236" y="1614"/>
                    </a:lnTo>
                    <a:lnTo>
                      <a:pt x="1236" y="1610"/>
                    </a:lnTo>
                    <a:lnTo>
                      <a:pt x="1236" y="1610"/>
                    </a:lnTo>
                    <a:lnTo>
                      <a:pt x="1234" y="1604"/>
                    </a:lnTo>
                    <a:lnTo>
                      <a:pt x="1232" y="1602"/>
                    </a:lnTo>
                    <a:lnTo>
                      <a:pt x="1226" y="1600"/>
                    </a:lnTo>
                    <a:lnTo>
                      <a:pt x="1220" y="1598"/>
                    </a:lnTo>
                    <a:lnTo>
                      <a:pt x="1220" y="1596"/>
                    </a:lnTo>
                    <a:lnTo>
                      <a:pt x="1222" y="1592"/>
                    </a:lnTo>
                    <a:lnTo>
                      <a:pt x="1222" y="1592"/>
                    </a:lnTo>
                    <a:lnTo>
                      <a:pt x="1226" y="1590"/>
                    </a:lnTo>
                    <a:lnTo>
                      <a:pt x="1230" y="1588"/>
                    </a:lnTo>
                    <a:lnTo>
                      <a:pt x="1244" y="1584"/>
                    </a:lnTo>
                    <a:lnTo>
                      <a:pt x="1250" y="1582"/>
                    </a:lnTo>
                    <a:lnTo>
                      <a:pt x="1256" y="1580"/>
                    </a:lnTo>
                    <a:lnTo>
                      <a:pt x="1260" y="1574"/>
                    </a:lnTo>
                    <a:lnTo>
                      <a:pt x="1262" y="1566"/>
                    </a:lnTo>
                    <a:lnTo>
                      <a:pt x="1262" y="1566"/>
                    </a:lnTo>
                    <a:lnTo>
                      <a:pt x="1264" y="1560"/>
                    </a:lnTo>
                    <a:lnTo>
                      <a:pt x="1266" y="1558"/>
                    </a:lnTo>
                    <a:lnTo>
                      <a:pt x="1268" y="1558"/>
                    </a:lnTo>
                    <a:lnTo>
                      <a:pt x="1272" y="1560"/>
                    </a:lnTo>
                    <a:lnTo>
                      <a:pt x="1278" y="1562"/>
                    </a:lnTo>
                    <a:lnTo>
                      <a:pt x="1280" y="1560"/>
                    </a:lnTo>
                    <a:lnTo>
                      <a:pt x="1280" y="1556"/>
                    </a:lnTo>
                    <a:lnTo>
                      <a:pt x="1280" y="1556"/>
                    </a:lnTo>
                    <a:lnTo>
                      <a:pt x="1282" y="1550"/>
                    </a:lnTo>
                    <a:lnTo>
                      <a:pt x="1284" y="1546"/>
                    </a:lnTo>
                    <a:lnTo>
                      <a:pt x="1294" y="1538"/>
                    </a:lnTo>
                    <a:lnTo>
                      <a:pt x="1300" y="1530"/>
                    </a:lnTo>
                    <a:lnTo>
                      <a:pt x="1302" y="1526"/>
                    </a:lnTo>
                    <a:lnTo>
                      <a:pt x="1302" y="1520"/>
                    </a:lnTo>
                    <a:lnTo>
                      <a:pt x="1302" y="1520"/>
                    </a:lnTo>
                    <a:lnTo>
                      <a:pt x="1300" y="1510"/>
                    </a:lnTo>
                    <a:lnTo>
                      <a:pt x="1300" y="1502"/>
                    </a:lnTo>
                    <a:lnTo>
                      <a:pt x="1300" y="1500"/>
                    </a:lnTo>
                    <a:lnTo>
                      <a:pt x="1298" y="1500"/>
                    </a:lnTo>
                    <a:lnTo>
                      <a:pt x="1286" y="1498"/>
                    </a:lnTo>
                    <a:lnTo>
                      <a:pt x="1286" y="1498"/>
                    </a:lnTo>
                    <a:lnTo>
                      <a:pt x="1278" y="1498"/>
                    </a:lnTo>
                    <a:lnTo>
                      <a:pt x="1270" y="1496"/>
                    </a:lnTo>
                    <a:lnTo>
                      <a:pt x="1266" y="1492"/>
                    </a:lnTo>
                    <a:lnTo>
                      <a:pt x="1262" y="1490"/>
                    </a:lnTo>
                    <a:lnTo>
                      <a:pt x="1260" y="1486"/>
                    </a:lnTo>
                    <a:lnTo>
                      <a:pt x="1262" y="1486"/>
                    </a:lnTo>
                    <a:lnTo>
                      <a:pt x="1264" y="1484"/>
                    </a:lnTo>
                    <a:lnTo>
                      <a:pt x="1270" y="1486"/>
                    </a:lnTo>
                    <a:lnTo>
                      <a:pt x="1270" y="1486"/>
                    </a:lnTo>
                    <a:lnTo>
                      <a:pt x="1276" y="1486"/>
                    </a:lnTo>
                    <a:lnTo>
                      <a:pt x="1280" y="1486"/>
                    </a:lnTo>
                    <a:lnTo>
                      <a:pt x="1288" y="1484"/>
                    </a:lnTo>
                    <a:lnTo>
                      <a:pt x="1294" y="1482"/>
                    </a:lnTo>
                    <a:lnTo>
                      <a:pt x="1300" y="1482"/>
                    </a:lnTo>
                    <a:lnTo>
                      <a:pt x="1300" y="1482"/>
                    </a:lnTo>
                    <a:lnTo>
                      <a:pt x="1308" y="1482"/>
                    </a:lnTo>
                    <a:lnTo>
                      <a:pt x="1308" y="1482"/>
                    </a:lnTo>
                    <a:lnTo>
                      <a:pt x="1308" y="1478"/>
                    </a:lnTo>
                    <a:lnTo>
                      <a:pt x="1302" y="1470"/>
                    </a:lnTo>
                    <a:lnTo>
                      <a:pt x="1290" y="1454"/>
                    </a:lnTo>
                    <a:lnTo>
                      <a:pt x="1290" y="1454"/>
                    </a:lnTo>
                    <a:lnTo>
                      <a:pt x="1282" y="1448"/>
                    </a:lnTo>
                    <a:lnTo>
                      <a:pt x="1280" y="1442"/>
                    </a:lnTo>
                    <a:lnTo>
                      <a:pt x="1280" y="1438"/>
                    </a:lnTo>
                    <a:lnTo>
                      <a:pt x="1284" y="1434"/>
                    </a:lnTo>
                    <a:lnTo>
                      <a:pt x="1288" y="1434"/>
                    </a:lnTo>
                    <a:lnTo>
                      <a:pt x="1296" y="1434"/>
                    </a:lnTo>
                    <a:lnTo>
                      <a:pt x="1310" y="1438"/>
                    </a:lnTo>
                    <a:lnTo>
                      <a:pt x="1310" y="1438"/>
                    </a:lnTo>
                    <a:lnTo>
                      <a:pt x="1316" y="1438"/>
                    </a:lnTo>
                    <a:lnTo>
                      <a:pt x="1320" y="1436"/>
                    </a:lnTo>
                    <a:lnTo>
                      <a:pt x="1324" y="1434"/>
                    </a:lnTo>
                    <a:lnTo>
                      <a:pt x="1326" y="1430"/>
                    </a:lnTo>
                    <a:lnTo>
                      <a:pt x="1332" y="1420"/>
                    </a:lnTo>
                    <a:lnTo>
                      <a:pt x="1334" y="1418"/>
                    </a:lnTo>
                    <a:lnTo>
                      <a:pt x="1338" y="1418"/>
                    </a:lnTo>
                    <a:lnTo>
                      <a:pt x="1338" y="1418"/>
                    </a:lnTo>
                    <a:lnTo>
                      <a:pt x="1344" y="1420"/>
                    </a:lnTo>
                    <a:lnTo>
                      <a:pt x="1346" y="1418"/>
                    </a:lnTo>
                    <a:lnTo>
                      <a:pt x="1344" y="1414"/>
                    </a:lnTo>
                    <a:lnTo>
                      <a:pt x="1334" y="1408"/>
                    </a:lnTo>
                    <a:lnTo>
                      <a:pt x="1334" y="1408"/>
                    </a:lnTo>
                    <a:lnTo>
                      <a:pt x="1326" y="1404"/>
                    </a:lnTo>
                    <a:lnTo>
                      <a:pt x="1324" y="1404"/>
                    </a:lnTo>
                    <a:lnTo>
                      <a:pt x="1326" y="1402"/>
                    </a:lnTo>
                    <a:lnTo>
                      <a:pt x="1330" y="1402"/>
                    </a:lnTo>
                    <a:lnTo>
                      <a:pt x="1338" y="1400"/>
                    </a:lnTo>
                    <a:lnTo>
                      <a:pt x="1338" y="1400"/>
                    </a:lnTo>
                    <a:lnTo>
                      <a:pt x="1344" y="1398"/>
                    </a:lnTo>
                    <a:lnTo>
                      <a:pt x="1352" y="1398"/>
                    </a:lnTo>
                    <a:lnTo>
                      <a:pt x="1360" y="1400"/>
                    </a:lnTo>
                    <a:lnTo>
                      <a:pt x="1370" y="1398"/>
                    </a:lnTo>
                    <a:lnTo>
                      <a:pt x="1370" y="1398"/>
                    </a:lnTo>
                    <a:lnTo>
                      <a:pt x="1380" y="1396"/>
                    </a:lnTo>
                    <a:lnTo>
                      <a:pt x="1388" y="1396"/>
                    </a:lnTo>
                    <a:lnTo>
                      <a:pt x="1394" y="1396"/>
                    </a:lnTo>
                    <a:lnTo>
                      <a:pt x="1398" y="1390"/>
                    </a:lnTo>
                    <a:lnTo>
                      <a:pt x="1398" y="1390"/>
                    </a:lnTo>
                    <a:lnTo>
                      <a:pt x="1400" y="1386"/>
                    </a:lnTo>
                    <a:lnTo>
                      <a:pt x="1398" y="1384"/>
                    </a:lnTo>
                    <a:lnTo>
                      <a:pt x="1396" y="1380"/>
                    </a:lnTo>
                    <a:lnTo>
                      <a:pt x="1402" y="1376"/>
                    </a:lnTo>
                    <a:lnTo>
                      <a:pt x="1402" y="1376"/>
                    </a:lnTo>
                    <a:lnTo>
                      <a:pt x="1404" y="1372"/>
                    </a:lnTo>
                    <a:lnTo>
                      <a:pt x="1404" y="1368"/>
                    </a:lnTo>
                    <a:lnTo>
                      <a:pt x="1404" y="1364"/>
                    </a:lnTo>
                    <a:lnTo>
                      <a:pt x="1410" y="1360"/>
                    </a:lnTo>
                    <a:lnTo>
                      <a:pt x="1410" y="1360"/>
                    </a:lnTo>
                    <a:lnTo>
                      <a:pt x="1414" y="1356"/>
                    </a:lnTo>
                    <a:lnTo>
                      <a:pt x="1416" y="1354"/>
                    </a:lnTo>
                    <a:lnTo>
                      <a:pt x="1414" y="1352"/>
                    </a:lnTo>
                    <a:lnTo>
                      <a:pt x="1412" y="1350"/>
                    </a:lnTo>
                    <a:lnTo>
                      <a:pt x="1406" y="1346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10" y="1342"/>
                    </a:lnTo>
                    <a:lnTo>
                      <a:pt x="1414" y="1344"/>
                    </a:lnTo>
                    <a:lnTo>
                      <a:pt x="1420" y="1344"/>
                    </a:lnTo>
                    <a:lnTo>
                      <a:pt x="1430" y="1344"/>
                    </a:lnTo>
                    <a:lnTo>
                      <a:pt x="1430" y="1344"/>
                    </a:lnTo>
                    <a:lnTo>
                      <a:pt x="1436" y="1344"/>
                    </a:lnTo>
                    <a:lnTo>
                      <a:pt x="1434" y="1348"/>
                    </a:lnTo>
                    <a:lnTo>
                      <a:pt x="1428" y="1352"/>
                    </a:lnTo>
                    <a:lnTo>
                      <a:pt x="1424" y="1358"/>
                    </a:lnTo>
                    <a:lnTo>
                      <a:pt x="1424" y="1358"/>
                    </a:lnTo>
                    <a:lnTo>
                      <a:pt x="1422" y="1362"/>
                    </a:lnTo>
                    <a:lnTo>
                      <a:pt x="1418" y="1364"/>
                    </a:lnTo>
                    <a:lnTo>
                      <a:pt x="1414" y="1368"/>
                    </a:lnTo>
                    <a:lnTo>
                      <a:pt x="1412" y="1372"/>
                    </a:lnTo>
                    <a:lnTo>
                      <a:pt x="1412" y="1372"/>
                    </a:lnTo>
                    <a:lnTo>
                      <a:pt x="1410" y="1378"/>
                    </a:lnTo>
                    <a:lnTo>
                      <a:pt x="1408" y="1386"/>
                    </a:lnTo>
                    <a:lnTo>
                      <a:pt x="1406" y="1392"/>
                    </a:lnTo>
                    <a:lnTo>
                      <a:pt x="1406" y="1394"/>
                    </a:lnTo>
                    <a:lnTo>
                      <a:pt x="1408" y="1396"/>
                    </a:lnTo>
                    <a:lnTo>
                      <a:pt x="1408" y="1396"/>
                    </a:lnTo>
                    <a:lnTo>
                      <a:pt x="1414" y="1398"/>
                    </a:lnTo>
                    <a:lnTo>
                      <a:pt x="1420" y="1398"/>
                    </a:lnTo>
                    <a:lnTo>
                      <a:pt x="1426" y="1396"/>
                    </a:lnTo>
                    <a:lnTo>
                      <a:pt x="1432" y="1390"/>
                    </a:lnTo>
                    <a:lnTo>
                      <a:pt x="1432" y="1390"/>
                    </a:lnTo>
                    <a:lnTo>
                      <a:pt x="1440" y="1380"/>
                    </a:lnTo>
                    <a:lnTo>
                      <a:pt x="1444" y="1380"/>
                    </a:lnTo>
                    <a:lnTo>
                      <a:pt x="1448" y="1384"/>
                    </a:lnTo>
                    <a:lnTo>
                      <a:pt x="1448" y="1384"/>
                    </a:lnTo>
                    <a:lnTo>
                      <a:pt x="1452" y="1386"/>
                    </a:lnTo>
                    <a:lnTo>
                      <a:pt x="1454" y="1384"/>
                    </a:lnTo>
                    <a:lnTo>
                      <a:pt x="1454" y="1382"/>
                    </a:lnTo>
                    <a:lnTo>
                      <a:pt x="1452" y="1378"/>
                    </a:lnTo>
                    <a:lnTo>
                      <a:pt x="1452" y="1378"/>
                    </a:lnTo>
                    <a:lnTo>
                      <a:pt x="1452" y="1376"/>
                    </a:lnTo>
                    <a:lnTo>
                      <a:pt x="1452" y="1374"/>
                    </a:lnTo>
                    <a:lnTo>
                      <a:pt x="1456" y="1372"/>
                    </a:lnTo>
                    <a:lnTo>
                      <a:pt x="1462" y="1370"/>
                    </a:lnTo>
                    <a:lnTo>
                      <a:pt x="1466" y="1370"/>
                    </a:lnTo>
                    <a:lnTo>
                      <a:pt x="1468" y="1372"/>
                    </a:lnTo>
                    <a:lnTo>
                      <a:pt x="1468" y="1372"/>
                    </a:lnTo>
                    <a:lnTo>
                      <a:pt x="1472" y="1372"/>
                    </a:lnTo>
                    <a:lnTo>
                      <a:pt x="1476" y="1372"/>
                    </a:lnTo>
                    <a:lnTo>
                      <a:pt x="1484" y="1370"/>
                    </a:lnTo>
                    <a:lnTo>
                      <a:pt x="1498" y="1362"/>
                    </a:lnTo>
                    <a:lnTo>
                      <a:pt x="1498" y="1362"/>
                    </a:lnTo>
                    <a:lnTo>
                      <a:pt x="1502" y="1360"/>
                    </a:lnTo>
                    <a:lnTo>
                      <a:pt x="1502" y="1354"/>
                    </a:lnTo>
                    <a:lnTo>
                      <a:pt x="1502" y="1350"/>
                    </a:lnTo>
                    <a:lnTo>
                      <a:pt x="1502" y="1350"/>
                    </a:lnTo>
                    <a:lnTo>
                      <a:pt x="1504" y="1350"/>
                    </a:lnTo>
                    <a:lnTo>
                      <a:pt x="1504" y="1350"/>
                    </a:lnTo>
                    <a:lnTo>
                      <a:pt x="1508" y="1350"/>
                    </a:lnTo>
                    <a:lnTo>
                      <a:pt x="1510" y="1352"/>
                    </a:lnTo>
                    <a:lnTo>
                      <a:pt x="1510" y="1354"/>
                    </a:lnTo>
                    <a:lnTo>
                      <a:pt x="1512" y="1354"/>
                    </a:lnTo>
                    <a:lnTo>
                      <a:pt x="1512" y="1354"/>
                    </a:lnTo>
                    <a:lnTo>
                      <a:pt x="1520" y="1350"/>
                    </a:lnTo>
                    <a:lnTo>
                      <a:pt x="1532" y="1344"/>
                    </a:lnTo>
                    <a:lnTo>
                      <a:pt x="1558" y="1324"/>
                    </a:lnTo>
                    <a:lnTo>
                      <a:pt x="1570" y="1314"/>
                    </a:lnTo>
                    <a:lnTo>
                      <a:pt x="1580" y="1302"/>
                    </a:lnTo>
                    <a:lnTo>
                      <a:pt x="1588" y="1290"/>
                    </a:lnTo>
                    <a:lnTo>
                      <a:pt x="1592" y="1280"/>
                    </a:lnTo>
                    <a:lnTo>
                      <a:pt x="1592" y="1280"/>
                    </a:lnTo>
                    <a:lnTo>
                      <a:pt x="1600" y="1264"/>
                    </a:lnTo>
                    <a:lnTo>
                      <a:pt x="1610" y="1250"/>
                    </a:lnTo>
                    <a:lnTo>
                      <a:pt x="1622" y="1242"/>
                    </a:lnTo>
                    <a:lnTo>
                      <a:pt x="1628" y="1238"/>
                    </a:lnTo>
                    <a:lnTo>
                      <a:pt x="1634" y="1238"/>
                    </a:lnTo>
                    <a:lnTo>
                      <a:pt x="1634" y="1238"/>
                    </a:lnTo>
                    <a:lnTo>
                      <a:pt x="1642" y="1236"/>
                    </a:lnTo>
                    <a:lnTo>
                      <a:pt x="1646" y="1234"/>
                    </a:lnTo>
                    <a:lnTo>
                      <a:pt x="1648" y="1232"/>
                    </a:lnTo>
                    <a:lnTo>
                      <a:pt x="1648" y="1228"/>
                    </a:lnTo>
                    <a:lnTo>
                      <a:pt x="1646" y="1222"/>
                    </a:lnTo>
                    <a:lnTo>
                      <a:pt x="1640" y="1214"/>
                    </a:lnTo>
                    <a:lnTo>
                      <a:pt x="1632" y="1204"/>
                    </a:lnTo>
                    <a:lnTo>
                      <a:pt x="1632" y="1204"/>
                    </a:lnTo>
                    <a:lnTo>
                      <a:pt x="1626" y="1198"/>
                    </a:lnTo>
                    <a:lnTo>
                      <a:pt x="1624" y="1194"/>
                    </a:lnTo>
                    <a:lnTo>
                      <a:pt x="1636" y="1200"/>
                    </a:lnTo>
                    <a:lnTo>
                      <a:pt x="1670" y="1222"/>
                    </a:lnTo>
                    <a:lnTo>
                      <a:pt x="1670" y="1222"/>
                    </a:lnTo>
                    <a:lnTo>
                      <a:pt x="1684" y="1226"/>
                    </a:lnTo>
                    <a:lnTo>
                      <a:pt x="1694" y="1228"/>
                    </a:lnTo>
                    <a:lnTo>
                      <a:pt x="1702" y="1228"/>
                    </a:lnTo>
                    <a:lnTo>
                      <a:pt x="1710" y="1226"/>
                    </a:lnTo>
                    <a:lnTo>
                      <a:pt x="1718" y="1224"/>
                    </a:lnTo>
                    <a:lnTo>
                      <a:pt x="1724" y="1218"/>
                    </a:lnTo>
                    <a:lnTo>
                      <a:pt x="1730" y="1212"/>
                    </a:lnTo>
                    <a:lnTo>
                      <a:pt x="1730" y="1212"/>
                    </a:lnTo>
                    <a:lnTo>
                      <a:pt x="1732" y="1206"/>
                    </a:lnTo>
                    <a:lnTo>
                      <a:pt x="1734" y="1204"/>
                    </a:lnTo>
                    <a:lnTo>
                      <a:pt x="1738" y="1204"/>
                    </a:lnTo>
                    <a:lnTo>
                      <a:pt x="1742" y="1206"/>
                    </a:lnTo>
                    <a:lnTo>
                      <a:pt x="1748" y="1208"/>
                    </a:lnTo>
                    <a:lnTo>
                      <a:pt x="1756" y="1208"/>
                    </a:lnTo>
                    <a:lnTo>
                      <a:pt x="1766" y="1208"/>
                    </a:lnTo>
                    <a:lnTo>
                      <a:pt x="1782" y="1202"/>
                    </a:lnTo>
                    <a:lnTo>
                      <a:pt x="1782" y="1202"/>
                    </a:lnTo>
                    <a:lnTo>
                      <a:pt x="1800" y="1196"/>
                    </a:lnTo>
                    <a:lnTo>
                      <a:pt x="1818" y="1190"/>
                    </a:lnTo>
                    <a:lnTo>
                      <a:pt x="1856" y="1184"/>
                    </a:lnTo>
                    <a:lnTo>
                      <a:pt x="1886" y="1178"/>
                    </a:lnTo>
                    <a:lnTo>
                      <a:pt x="1898" y="1172"/>
                    </a:lnTo>
                    <a:lnTo>
                      <a:pt x="1906" y="1166"/>
                    </a:lnTo>
                    <a:lnTo>
                      <a:pt x="1906" y="1166"/>
                    </a:lnTo>
                    <a:lnTo>
                      <a:pt x="1920" y="1154"/>
                    </a:lnTo>
                    <a:lnTo>
                      <a:pt x="1934" y="1142"/>
                    </a:lnTo>
                    <a:lnTo>
                      <a:pt x="1950" y="1132"/>
                    </a:lnTo>
                    <a:lnTo>
                      <a:pt x="1960" y="1128"/>
                    </a:lnTo>
                    <a:lnTo>
                      <a:pt x="1970" y="1128"/>
                    </a:lnTo>
                    <a:lnTo>
                      <a:pt x="1970" y="1128"/>
                    </a:lnTo>
                    <a:lnTo>
                      <a:pt x="1978" y="1126"/>
                    </a:lnTo>
                    <a:lnTo>
                      <a:pt x="1982" y="1122"/>
                    </a:lnTo>
                    <a:lnTo>
                      <a:pt x="1982" y="1120"/>
                    </a:lnTo>
                    <a:lnTo>
                      <a:pt x="1982" y="1116"/>
                    </a:lnTo>
                    <a:lnTo>
                      <a:pt x="1982" y="1112"/>
                    </a:lnTo>
                    <a:lnTo>
                      <a:pt x="1982" y="1108"/>
                    </a:lnTo>
                    <a:lnTo>
                      <a:pt x="1986" y="1106"/>
                    </a:lnTo>
                    <a:lnTo>
                      <a:pt x="1994" y="1106"/>
                    </a:lnTo>
                    <a:lnTo>
                      <a:pt x="1994" y="1106"/>
                    </a:lnTo>
                    <a:lnTo>
                      <a:pt x="2008" y="1104"/>
                    </a:lnTo>
                    <a:lnTo>
                      <a:pt x="2012" y="1102"/>
                    </a:lnTo>
                    <a:lnTo>
                      <a:pt x="2012" y="1102"/>
                    </a:lnTo>
                    <a:lnTo>
                      <a:pt x="2016" y="1096"/>
                    </a:lnTo>
                    <a:lnTo>
                      <a:pt x="2022" y="1092"/>
                    </a:lnTo>
                    <a:lnTo>
                      <a:pt x="2030" y="1088"/>
                    </a:lnTo>
                    <a:lnTo>
                      <a:pt x="2030" y="1088"/>
                    </a:lnTo>
                    <a:lnTo>
                      <a:pt x="2046" y="1080"/>
                    </a:lnTo>
                    <a:lnTo>
                      <a:pt x="2046" y="1078"/>
                    </a:lnTo>
                    <a:lnTo>
                      <a:pt x="2044" y="1076"/>
                    </a:lnTo>
                    <a:lnTo>
                      <a:pt x="2028" y="1076"/>
                    </a:lnTo>
                    <a:lnTo>
                      <a:pt x="2000" y="1080"/>
                    </a:lnTo>
                    <a:lnTo>
                      <a:pt x="2000" y="1080"/>
                    </a:lnTo>
                    <a:lnTo>
                      <a:pt x="1984" y="1080"/>
                    </a:lnTo>
                    <a:lnTo>
                      <a:pt x="1970" y="1076"/>
                    </a:lnTo>
                    <a:lnTo>
                      <a:pt x="1956" y="1070"/>
                    </a:lnTo>
                    <a:lnTo>
                      <a:pt x="1944" y="1064"/>
                    </a:lnTo>
                    <a:lnTo>
                      <a:pt x="1932" y="1058"/>
                    </a:lnTo>
                    <a:lnTo>
                      <a:pt x="1920" y="1056"/>
                    </a:lnTo>
                    <a:lnTo>
                      <a:pt x="1914" y="1056"/>
                    </a:lnTo>
                    <a:lnTo>
                      <a:pt x="1906" y="1058"/>
                    </a:lnTo>
                    <a:lnTo>
                      <a:pt x="1900" y="1060"/>
                    </a:lnTo>
                    <a:lnTo>
                      <a:pt x="1892" y="1064"/>
                    </a:lnTo>
                    <a:lnTo>
                      <a:pt x="1892" y="1064"/>
                    </a:lnTo>
                    <a:lnTo>
                      <a:pt x="1884" y="1068"/>
                    </a:lnTo>
                    <a:lnTo>
                      <a:pt x="1878" y="1070"/>
                    </a:lnTo>
                    <a:lnTo>
                      <a:pt x="1866" y="1070"/>
                    </a:lnTo>
                    <a:lnTo>
                      <a:pt x="1860" y="1070"/>
                    </a:lnTo>
                    <a:lnTo>
                      <a:pt x="1854" y="1072"/>
                    </a:lnTo>
                    <a:lnTo>
                      <a:pt x="1846" y="1076"/>
                    </a:lnTo>
                    <a:lnTo>
                      <a:pt x="1838" y="1082"/>
                    </a:lnTo>
                    <a:lnTo>
                      <a:pt x="1838" y="1082"/>
                    </a:lnTo>
                    <a:lnTo>
                      <a:pt x="1834" y="1086"/>
                    </a:lnTo>
                    <a:lnTo>
                      <a:pt x="1828" y="1090"/>
                    </a:lnTo>
                    <a:lnTo>
                      <a:pt x="1824" y="1090"/>
                    </a:lnTo>
                    <a:lnTo>
                      <a:pt x="1820" y="1090"/>
                    </a:lnTo>
                    <a:lnTo>
                      <a:pt x="1818" y="1088"/>
                    </a:lnTo>
                    <a:lnTo>
                      <a:pt x="1820" y="1084"/>
                    </a:lnTo>
                    <a:lnTo>
                      <a:pt x="1824" y="1078"/>
                    </a:lnTo>
                    <a:lnTo>
                      <a:pt x="1832" y="1070"/>
                    </a:lnTo>
                    <a:lnTo>
                      <a:pt x="1832" y="1070"/>
                    </a:lnTo>
                    <a:lnTo>
                      <a:pt x="1840" y="1064"/>
                    </a:lnTo>
                    <a:lnTo>
                      <a:pt x="1848" y="1062"/>
                    </a:lnTo>
                    <a:lnTo>
                      <a:pt x="1852" y="1062"/>
                    </a:lnTo>
                    <a:lnTo>
                      <a:pt x="1856" y="1062"/>
                    </a:lnTo>
                    <a:lnTo>
                      <a:pt x="1864" y="1064"/>
                    </a:lnTo>
                    <a:lnTo>
                      <a:pt x="1866" y="1064"/>
                    </a:lnTo>
                    <a:lnTo>
                      <a:pt x="1870" y="1062"/>
                    </a:lnTo>
                    <a:lnTo>
                      <a:pt x="1870" y="1062"/>
                    </a:lnTo>
                    <a:lnTo>
                      <a:pt x="1876" y="1058"/>
                    </a:lnTo>
                    <a:lnTo>
                      <a:pt x="1878" y="1056"/>
                    </a:lnTo>
                    <a:lnTo>
                      <a:pt x="1878" y="1054"/>
                    </a:lnTo>
                    <a:lnTo>
                      <a:pt x="1874" y="1052"/>
                    </a:lnTo>
                    <a:lnTo>
                      <a:pt x="1868" y="1052"/>
                    </a:lnTo>
                    <a:lnTo>
                      <a:pt x="1844" y="1054"/>
                    </a:lnTo>
                    <a:lnTo>
                      <a:pt x="1844" y="1054"/>
                    </a:lnTo>
                    <a:lnTo>
                      <a:pt x="1816" y="1058"/>
                    </a:lnTo>
                    <a:lnTo>
                      <a:pt x="1800" y="1058"/>
                    </a:lnTo>
                    <a:lnTo>
                      <a:pt x="1798" y="1056"/>
                    </a:lnTo>
                    <a:lnTo>
                      <a:pt x="1796" y="1052"/>
                    </a:lnTo>
                    <a:lnTo>
                      <a:pt x="1798" y="1046"/>
                    </a:lnTo>
                    <a:lnTo>
                      <a:pt x="1804" y="1038"/>
                    </a:lnTo>
                    <a:lnTo>
                      <a:pt x="1804" y="1038"/>
                    </a:lnTo>
                    <a:lnTo>
                      <a:pt x="1814" y="1022"/>
                    </a:lnTo>
                    <a:lnTo>
                      <a:pt x="1818" y="1014"/>
                    </a:lnTo>
                    <a:lnTo>
                      <a:pt x="1820" y="1012"/>
                    </a:lnTo>
                    <a:lnTo>
                      <a:pt x="1822" y="1010"/>
                    </a:lnTo>
                    <a:lnTo>
                      <a:pt x="1828" y="1016"/>
                    </a:lnTo>
                    <a:lnTo>
                      <a:pt x="1828" y="1016"/>
                    </a:lnTo>
                    <a:lnTo>
                      <a:pt x="1836" y="1022"/>
                    </a:lnTo>
                    <a:lnTo>
                      <a:pt x="1840" y="1022"/>
                    </a:lnTo>
                    <a:lnTo>
                      <a:pt x="1844" y="1022"/>
                    </a:lnTo>
                    <a:lnTo>
                      <a:pt x="1882" y="1010"/>
                    </a:lnTo>
                    <a:lnTo>
                      <a:pt x="1882" y="1010"/>
                    </a:lnTo>
                    <a:lnTo>
                      <a:pt x="1896" y="1006"/>
                    </a:lnTo>
                    <a:lnTo>
                      <a:pt x="1904" y="1000"/>
                    </a:lnTo>
                    <a:lnTo>
                      <a:pt x="1908" y="996"/>
                    </a:lnTo>
                    <a:lnTo>
                      <a:pt x="1910" y="992"/>
                    </a:lnTo>
                    <a:lnTo>
                      <a:pt x="1906" y="986"/>
                    </a:lnTo>
                    <a:lnTo>
                      <a:pt x="1898" y="984"/>
                    </a:lnTo>
                    <a:lnTo>
                      <a:pt x="1888" y="980"/>
                    </a:lnTo>
                    <a:lnTo>
                      <a:pt x="1874" y="978"/>
                    </a:lnTo>
                    <a:lnTo>
                      <a:pt x="1874" y="978"/>
                    </a:lnTo>
                    <a:lnTo>
                      <a:pt x="1850" y="974"/>
                    </a:lnTo>
                    <a:lnTo>
                      <a:pt x="1844" y="972"/>
                    </a:lnTo>
                    <a:lnTo>
                      <a:pt x="1842" y="970"/>
                    </a:lnTo>
                    <a:lnTo>
                      <a:pt x="1844" y="968"/>
                    </a:lnTo>
                    <a:lnTo>
                      <a:pt x="1850" y="966"/>
                    </a:lnTo>
                    <a:lnTo>
                      <a:pt x="1870" y="966"/>
                    </a:lnTo>
                    <a:lnTo>
                      <a:pt x="1870" y="966"/>
                    </a:lnTo>
                    <a:lnTo>
                      <a:pt x="1892" y="970"/>
                    </a:lnTo>
                    <a:lnTo>
                      <a:pt x="1906" y="976"/>
                    </a:lnTo>
                    <a:lnTo>
                      <a:pt x="1918" y="980"/>
                    </a:lnTo>
                    <a:lnTo>
                      <a:pt x="1932" y="986"/>
                    </a:lnTo>
                    <a:lnTo>
                      <a:pt x="1932" y="986"/>
                    </a:lnTo>
                    <a:lnTo>
                      <a:pt x="1946" y="992"/>
                    </a:lnTo>
                    <a:lnTo>
                      <a:pt x="1954" y="998"/>
                    </a:lnTo>
                    <a:lnTo>
                      <a:pt x="1958" y="1008"/>
                    </a:lnTo>
                    <a:lnTo>
                      <a:pt x="1960" y="1022"/>
                    </a:lnTo>
                    <a:lnTo>
                      <a:pt x="1960" y="1022"/>
                    </a:lnTo>
                    <a:lnTo>
                      <a:pt x="1964" y="1030"/>
                    </a:lnTo>
                    <a:lnTo>
                      <a:pt x="1970" y="1038"/>
                    </a:lnTo>
                    <a:lnTo>
                      <a:pt x="1978" y="1044"/>
                    </a:lnTo>
                    <a:lnTo>
                      <a:pt x="1988" y="1050"/>
                    </a:lnTo>
                    <a:lnTo>
                      <a:pt x="1998" y="1052"/>
                    </a:lnTo>
                    <a:lnTo>
                      <a:pt x="2008" y="1054"/>
                    </a:lnTo>
                    <a:lnTo>
                      <a:pt x="2016" y="1054"/>
                    </a:lnTo>
                    <a:lnTo>
                      <a:pt x="2022" y="1052"/>
                    </a:lnTo>
                    <a:lnTo>
                      <a:pt x="2022" y="1052"/>
                    </a:lnTo>
                    <a:lnTo>
                      <a:pt x="2030" y="1048"/>
                    </a:lnTo>
                    <a:lnTo>
                      <a:pt x="2036" y="1050"/>
                    </a:lnTo>
                    <a:lnTo>
                      <a:pt x="2046" y="1052"/>
                    </a:lnTo>
                    <a:lnTo>
                      <a:pt x="2060" y="1056"/>
                    </a:lnTo>
                    <a:lnTo>
                      <a:pt x="2060" y="1056"/>
                    </a:lnTo>
                    <a:lnTo>
                      <a:pt x="2068" y="1054"/>
                    </a:lnTo>
                    <a:lnTo>
                      <a:pt x="2070" y="1050"/>
                    </a:lnTo>
                    <a:lnTo>
                      <a:pt x="2072" y="1042"/>
                    </a:lnTo>
                    <a:lnTo>
                      <a:pt x="2070" y="1032"/>
                    </a:lnTo>
                    <a:lnTo>
                      <a:pt x="2066" y="1008"/>
                    </a:lnTo>
                    <a:lnTo>
                      <a:pt x="2064" y="996"/>
                    </a:lnTo>
                    <a:lnTo>
                      <a:pt x="2064" y="984"/>
                    </a:lnTo>
                    <a:lnTo>
                      <a:pt x="2064" y="984"/>
                    </a:lnTo>
                    <a:lnTo>
                      <a:pt x="2062" y="976"/>
                    </a:lnTo>
                    <a:lnTo>
                      <a:pt x="2062" y="974"/>
                    </a:lnTo>
                    <a:lnTo>
                      <a:pt x="2060" y="974"/>
                    </a:lnTo>
                    <a:lnTo>
                      <a:pt x="2056" y="976"/>
                    </a:lnTo>
                    <a:lnTo>
                      <a:pt x="2050" y="980"/>
                    </a:lnTo>
                    <a:lnTo>
                      <a:pt x="2044" y="986"/>
                    </a:lnTo>
                    <a:lnTo>
                      <a:pt x="2038" y="990"/>
                    </a:lnTo>
                    <a:lnTo>
                      <a:pt x="2032" y="990"/>
                    </a:lnTo>
                    <a:lnTo>
                      <a:pt x="2030" y="988"/>
                    </a:lnTo>
                    <a:lnTo>
                      <a:pt x="2030" y="986"/>
                    </a:lnTo>
                    <a:lnTo>
                      <a:pt x="2030" y="986"/>
                    </a:lnTo>
                    <a:lnTo>
                      <a:pt x="2028" y="976"/>
                    </a:lnTo>
                    <a:lnTo>
                      <a:pt x="2028" y="974"/>
                    </a:lnTo>
                    <a:lnTo>
                      <a:pt x="2032" y="974"/>
                    </a:lnTo>
                    <a:lnTo>
                      <a:pt x="2038" y="972"/>
                    </a:lnTo>
                    <a:lnTo>
                      <a:pt x="2044" y="968"/>
                    </a:lnTo>
                    <a:lnTo>
                      <a:pt x="2050" y="962"/>
                    </a:lnTo>
                    <a:lnTo>
                      <a:pt x="2050" y="962"/>
                    </a:lnTo>
                    <a:lnTo>
                      <a:pt x="2054" y="956"/>
                    </a:lnTo>
                    <a:lnTo>
                      <a:pt x="2054" y="956"/>
                    </a:lnTo>
                    <a:lnTo>
                      <a:pt x="2054" y="954"/>
                    </a:lnTo>
                    <a:lnTo>
                      <a:pt x="2044" y="958"/>
                    </a:lnTo>
                    <a:lnTo>
                      <a:pt x="2032" y="962"/>
                    </a:lnTo>
                    <a:lnTo>
                      <a:pt x="2030" y="960"/>
                    </a:lnTo>
                    <a:lnTo>
                      <a:pt x="2030" y="956"/>
                    </a:lnTo>
                    <a:lnTo>
                      <a:pt x="2030" y="956"/>
                    </a:lnTo>
                    <a:lnTo>
                      <a:pt x="2032" y="950"/>
                    </a:lnTo>
                    <a:lnTo>
                      <a:pt x="2030" y="944"/>
                    </a:lnTo>
                    <a:lnTo>
                      <a:pt x="2026" y="940"/>
                    </a:lnTo>
                    <a:lnTo>
                      <a:pt x="2020" y="938"/>
                    </a:lnTo>
                    <a:lnTo>
                      <a:pt x="2002" y="932"/>
                    </a:lnTo>
                    <a:lnTo>
                      <a:pt x="1980" y="926"/>
                    </a:lnTo>
                    <a:lnTo>
                      <a:pt x="1980" y="926"/>
                    </a:lnTo>
                    <a:lnTo>
                      <a:pt x="1960" y="918"/>
                    </a:lnTo>
                    <a:lnTo>
                      <a:pt x="1948" y="912"/>
                    </a:lnTo>
                    <a:lnTo>
                      <a:pt x="1944" y="908"/>
                    </a:lnTo>
                    <a:lnTo>
                      <a:pt x="1944" y="904"/>
                    </a:lnTo>
                    <a:lnTo>
                      <a:pt x="1944" y="900"/>
                    </a:lnTo>
                    <a:lnTo>
                      <a:pt x="1944" y="896"/>
                    </a:lnTo>
                    <a:lnTo>
                      <a:pt x="1942" y="892"/>
                    </a:lnTo>
                    <a:lnTo>
                      <a:pt x="1934" y="886"/>
                    </a:lnTo>
                    <a:lnTo>
                      <a:pt x="1934" y="886"/>
                    </a:lnTo>
                    <a:lnTo>
                      <a:pt x="1924" y="880"/>
                    </a:lnTo>
                    <a:lnTo>
                      <a:pt x="1922" y="874"/>
                    </a:lnTo>
                    <a:lnTo>
                      <a:pt x="1922" y="870"/>
                    </a:lnTo>
                    <a:lnTo>
                      <a:pt x="1924" y="866"/>
                    </a:lnTo>
                    <a:lnTo>
                      <a:pt x="1922" y="862"/>
                    </a:lnTo>
                    <a:lnTo>
                      <a:pt x="1916" y="858"/>
                    </a:lnTo>
                    <a:lnTo>
                      <a:pt x="1902" y="852"/>
                    </a:lnTo>
                    <a:lnTo>
                      <a:pt x="1878" y="846"/>
                    </a:lnTo>
                    <a:lnTo>
                      <a:pt x="1878" y="846"/>
                    </a:lnTo>
                    <a:lnTo>
                      <a:pt x="1888" y="846"/>
                    </a:lnTo>
                    <a:lnTo>
                      <a:pt x="1896" y="844"/>
                    </a:lnTo>
                    <a:lnTo>
                      <a:pt x="1904" y="842"/>
                    </a:lnTo>
                    <a:lnTo>
                      <a:pt x="1910" y="838"/>
                    </a:lnTo>
                    <a:lnTo>
                      <a:pt x="1926" y="828"/>
                    </a:lnTo>
                    <a:lnTo>
                      <a:pt x="1948" y="818"/>
                    </a:lnTo>
                    <a:lnTo>
                      <a:pt x="1948" y="818"/>
                    </a:lnTo>
                    <a:lnTo>
                      <a:pt x="1954" y="816"/>
                    </a:lnTo>
                    <a:lnTo>
                      <a:pt x="1960" y="816"/>
                    </a:lnTo>
                    <a:lnTo>
                      <a:pt x="1974" y="818"/>
                    </a:lnTo>
                    <a:lnTo>
                      <a:pt x="1988" y="824"/>
                    </a:lnTo>
                    <a:lnTo>
                      <a:pt x="2002" y="832"/>
                    </a:lnTo>
                    <a:lnTo>
                      <a:pt x="2016" y="838"/>
                    </a:lnTo>
                    <a:lnTo>
                      <a:pt x="2030" y="842"/>
                    </a:lnTo>
                    <a:lnTo>
                      <a:pt x="2038" y="844"/>
                    </a:lnTo>
                    <a:lnTo>
                      <a:pt x="2044" y="842"/>
                    </a:lnTo>
                    <a:lnTo>
                      <a:pt x="2052" y="840"/>
                    </a:lnTo>
                    <a:lnTo>
                      <a:pt x="2058" y="836"/>
                    </a:lnTo>
                    <a:lnTo>
                      <a:pt x="2058" y="836"/>
                    </a:lnTo>
                    <a:lnTo>
                      <a:pt x="2070" y="830"/>
                    </a:lnTo>
                    <a:lnTo>
                      <a:pt x="2078" y="826"/>
                    </a:lnTo>
                    <a:lnTo>
                      <a:pt x="2086" y="826"/>
                    </a:lnTo>
                    <a:lnTo>
                      <a:pt x="2092" y="828"/>
                    </a:lnTo>
                    <a:lnTo>
                      <a:pt x="2096" y="830"/>
                    </a:lnTo>
                    <a:lnTo>
                      <a:pt x="2100" y="830"/>
                    </a:lnTo>
                    <a:lnTo>
                      <a:pt x="2106" y="826"/>
                    </a:lnTo>
                    <a:lnTo>
                      <a:pt x="2112" y="818"/>
                    </a:lnTo>
                    <a:lnTo>
                      <a:pt x="2112" y="818"/>
                    </a:lnTo>
                    <a:lnTo>
                      <a:pt x="2118" y="810"/>
                    </a:lnTo>
                    <a:lnTo>
                      <a:pt x="2118" y="806"/>
                    </a:lnTo>
                    <a:lnTo>
                      <a:pt x="2116" y="802"/>
                    </a:lnTo>
                    <a:lnTo>
                      <a:pt x="2112" y="796"/>
                    </a:lnTo>
                    <a:lnTo>
                      <a:pt x="2104" y="792"/>
                    </a:lnTo>
                    <a:lnTo>
                      <a:pt x="2092" y="790"/>
                    </a:lnTo>
                    <a:lnTo>
                      <a:pt x="2080" y="788"/>
                    </a:lnTo>
                    <a:lnTo>
                      <a:pt x="2054" y="786"/>
                    </a:lnTo>
                    <a:lnTo>
                      <a:pt x="2054" y="786"/>
                    </a:lnTo>
                    <a:lnTo>
                      <a:pt x="2044" y="786"/>
                    </a:lnTo>
                    <a:lnTo>
                      <a:pt x="2040" y="784"/>
                    </a:lnTo>
                    <a:lnTo>
                      <a:pt x="2040" y="780"/>
                    </a:lnTo>
                    <a:lnTo>
                      <a:pt x="2040" y="776"/>
                    </a:lnTo>
                    <a:lnTo>
                      <a:pt x="2046" y="768"/>
                    </a:lnTo>
                    <a:lnTo>
                      <a:pt x="2054" y="762"/>
                    </a:lnTo>
                    <a:lnTo>
                      <a:pt x="2066" y="758"/>
                    </a:lnTo>
                    <a:lnTo>
                      <a:pt x="2078" y="754"/>
                    </a:lnTo>
                    <a:lnTo>
                      <a:pt x="2092" y="752"/>
                    </a:lnTo>
                    <a:lnTo>
                      <a:pt x="2092" y="752"/>
                    </a:lnTo>
                    <a:lnTo>
                      <a:pt x="2104" y="754"/>
                    </a:lnTo>
                    <a:lnTo>
                      <a:pt x="2112" y="758"/>
                    </a:lnTo>
                    <a:lnTo>
                      <a:pt x="2122" y="766"/>
                    </a:lnTo>
                    <a:lnTo>
                      <a:pt x="2128" y="768"/>
                    </a:lnTo>
                    <a:lnTo>
                      <a:pt x="2132" y="770"/>
                    </a:lnTo>
                    <a:lnTo>
                      <a:pt x="2142" y="768"/>
                    </a:lnTo>
                    <a:lnTo>
                      <a:pt x="2152" y="766"/>
                    </a:lnTo>
                    <a:lnTo>
                      <a:pt x="2152" y="766"/>
                    </a:lnTo>
                    <a:lnTo>
                      <a:pt x="2162" y="762"/>
                    </a:lnTo>
                    <a:lnTo>
                      <a:pt x="2164" y="758"/>
                    </a:lnTo>
                    <a:lnTo>
                      <a:pt x="2166" y="754"/>
                    </a:lnTo>
                    <a:lnTo>
                      <a:pt x="2162" y="750"/>
                    </a:lnTo>
                    <a:lnTo>
                      <a:pt x="2154" y="746"/>
                    </a:lnTo>
                    <a:lnTo>
                      <a:pt x="2146" y="742"/>
                    </a:lnTo>
                    <a:lnTo>
                      <a:pt x="2134" y="740"/>
                    </a:lnTo>
                    <a:lnTo>
                      <a:pt x="2120" y="738"/>
                    </a:lnTo>
                    <a:lnTo>
                      <a:pt x="2120" y="738"/>
                    </a:lnTo>
                    <a:lnTo>
                      <a:pt x="2112" y="738"/>
                    </a:lnTo>
                    <a:lnTo>
                      <a:pt x="2108" y="736"/>
                    </a:lnTo>
                    <a:lnTo>
                      <a:pt x="2104" y="732"/>
                    </a:lnTo>
                    <a:lnTo>
                      <a:pt x="2102" y="728"/>
                    </a:lnTo>
                    <a:lnTo>
                      <a:pt x="2100" y="718"/>
                    </a:lnTo>
                    <a:lnTo>
                      <a:pt x="2102" y="708"/>
                    </a:lnTo>
                    <a:lnTo>
                      <a:pt x="2108" y="700"/>
                    </a:lnTo>
                    <a:lnTo>
                      <a:pt x="2114" y="694"/>
                    </a:lnTo>
                    <a:lnTo>
                      <a:pt x="2118" y="692"/>
                    </a:lnTo>
                    <a:lnTo>
                      <a:pt x="2122" y="692"/>
                    </a:lnTo>
                    <a:lnTo>
                      <a:pt x="2124" y="692"/>
                    </a:lnTo>
                    <a:lnTo>
                      <a:pt x="2126" y="696"/>
                    </a:lnTo>
                    <a:lnTo>
                      <a:pt x="2126" y="696"/>
                    </a:lnTo>
                    <a:lnTo>
                      <a:pt x="2132" y="700"/>
                    </a:lnTo>
                    <a:lnTo>
                      <a:pt x="2140" y="702"/>
                    </a:lnTo>
                    <a:lnTo>
                      <a:pt x="2148" y="702"/>
                    </a:lnTo>
                    <a:lnTo>
                      <a:pt x="2154" y="698"/>
                    </a:lnTo>
                    <a:lnTo>
                      <a:pt x="2158" y="692"/>
                    </a:lnTo>
                    <a:lnTo>
                      <a:pt x="2162" y="686"/>
                    </a:lnTo>
                    <a:lnTo>
                      <a:pt x="2160" y="678"/>
                    </a:lnTo>
                    <a:lnTo>
                      <a:pt x="2156" y="670"/>
                    </a:lnTo>
                    <a:lnTo>
                      <a:pt x="2156" y="670"/>
                    </a:lnTo>
                    <a:lnTo>
                      <a:pt x="2150" y="662"/>
                    </a:lnTo>
                    <a:lnTo>
                      <a:pt x="2150" y="658"/>
                    </a:lnTo>
                    <a:lnTo>
                      <a:pt x="2154" y="656"/>
                    </a:lnTo>
                    <a:lnTo>
                      <a:pt x="2156" y="656"/>
                    </a:lnTo>
                    <a:lnTo>
                      <a:pt x="2160" y="656"/>
                    </a:lnTo>
                    <a:lnTo>
                      <a:pt x="2160" y="654"/>
                    </a:lnTo>
                    <a:lnTo>
                      <a:pt x="2144" y="646"/>
                    </a:lnTo>
                    <a:lnTo>
                      <a:pt x="2144" y="646"/>
                    </a:lnTo>
                    <a:lnTo>
                      <a:pt x="2132" y="640"/>
                    </a:lnTo>
                    <a:lnTo>
                      <a:pt x="2128" y="636"/>
                    </a:lnTo>
                    <a:lnTo>
                      <a:pt x="2128" y="634"/>
                    </a:lnTo>
                    <a:lnTo>
                      <a:pt x="2130" y="632"/>
                    </a:lnTo>
                    <a:lnTo>
                      <a:pt x="2140" y="628"/>
                    </a:lnTo>
                    <a:lnTo>
                      <a:pt x="2142" y="624"/>
                    </a:lnTo>
                    <a:lnTo>
                      <a:pt x="2142" y="620"/>
                    </a:lnTo>
                    <a:lnTo>
                      <a:pt x="2142" y="620"/>
                    </a:lnTo>
                    <a:lnTo>
                      <a:pt x="2140" y="616"/>
                    </a:lnTo>
                    <a:lnTo>
                      <a:pt x="2136" y="614"/>
                    </a:lnTo>
                    <a:lnTo>
                      <a:pt x="2126" y="612"/>
                    </a:lnTo>
                    <a:lnTo>
                      <a:pt x="2098" y="612"/>
                    </a:lnTo>
                    <a:lnTo>
                      <a:pt x="2084" y="612"/>
                    </a:lnTo>
                    <a:lnTo>
                      <a:pt x="2074" y="612"/>
                    </a:lnTo>
                    <a:lnTo>
                      <a:pt x="2066" y="608"/>
                    </a:lnTo>
                    <a:lnTo>
                      <a:pt x="2064" y="606"/>
                    </a:lnTo>
                    <a:lnTo>
                      <a:pt x="2062" y="602"/>
                    </a:lnTo>
                    <a:lnTo>
                      <a:pt x="2062" y="602"/>
                    </a:lnTo>
                    <a:lnTo>
                      <a:pt x="2062" y="598"/>
                    </a:lnTo>
                    <a:lnTo>
                      <a:pt x="2060" y="594"/>
                    </a:lnTo>
                    <a:lnTo>
                      <a:pt x="2056" y="590"/>
                    </a:lnTo>
                    <a:lnTo>
                      <a:pt x="2048" y="586"/>
                    </a:lnTo>
                    <a:lnTo>
                      <a:pt x="2040" y="582"/>
                    </a:lnTo>
                    <a:lnTo>
                      <a:pt x="2032" y="580"/>
                    </a:lnTo>
                    <a:lnTo>
                      <a:pt x="2028" y="578"/>
                    </a:lnTo>
                    <a:lnTo>
                      <a:pt x="2026" y="576"/>
                    </a:lnTo>
                    <a:lnTo>
                      <a:pt x="2028" y="574"/>
                    </a:lnTo>
                    <a:lnTo>
                      <a:pt x="2032" y="568"/>
                    </a:lnTo>
                    <a:lnTo>
                      <a:pt x="2032" y="568"/>
                    </a:lnTo>
                    <a:lnTo>
                      <a:pt x="2040" y="566"/>
                    </a:lnTo>
                    <a:lnTo>
                      <a:pt x="2046" y="566"/>
                    </a:lnTo>
                    <a:lnTo>
                      <a:pt x="2050" y="570"/>
                    </a:lnTo>
                    <a:lnTo>
                      <a:pt x="2054" y="574"/>
                    </a:lnTo>
                    <a:lnTo>
                      <a:pt x="2058" y="578"/>
                    </a:lnTo>
                    <a:lnTo>
                      <a:pt x="2064" y="580"/>
                    </a:lnTo>
                    <a:lnTo>
                      <a:pt x="2072" y="580"/>
                    </a:lnTo>
                    <a:lnTo>
                      <a:pt x="2082" y="574"/>
                    </a:lnTo>
                    <a:lnTo>
                      <a:pt x="2082" y="574"/>
                    </a:lnTo>
                    <a:lnTo>
                      <a:pt x="2094" y="566"/>
                    </a:lnTo>
                    <a:lnTo>
                      <a:pt x="2106" y="562"/>
                    </a:lnTo>
                    <a:lnTo>
                      <a:pt x="2120" y="560"/>
                    </a:lnTo>
                    <a:lnTo>
                      <a:pt x="2132" y="560"/>
                    </a:lnTo>
                    <a:lnTo>
                      <a:pt x="2144" y="562"/>
                    </a:lnTo>
                    <a:lnTo>
                      <a:pt x="2156" y="564"/>
                    </a:lnTo>
                    <a:lnTo>
                      <a:pt x="2178" y="574"/>
                    </a:lnTo>
                    <a:lnTo>
                      <a:pt x="2178" y="574"/>
                    </a:lnTo>
                    <a:lnTo>
                      <a:pt x="2188" y="576"/>
                    </a:lnTo>
                    <a:lnTo>
                      <a:pt x="2196" y="574"/>
                    </a:lnTo>
                    <a:lnTo>
                      <a:pt x="2202" y="570"/>
                    </a:lnTo>
                    <a:lnTo>
                      <a:pt x="2206" y="564"/>
                    </a:lnTo>
                    <a:lnTo>
                      <a:pt x="2208" y="556"/>
                    </a:lnTo>
                    <a:lnTo>
                      <a:pt x="2206" y="546"/>
                    </a:lnTo>
                    <a:lnTo>
                      <a:pt x="2202" y="536"/>
                    </a:lnTo>
                    <a:lnTo>
                      <a:pt x="2194" y="528"/>
                    </a:lnTo>
                    <a:lnTo>
                      <a:pt x="2194" y="528"/>
                    </a:lnTo>
                    <a:lnTo>
                      <a:pt x="2186" y="522"/>
                    </a:lnTo>
                    <a:lnTo>
                      <a:pt x="2180" y="522"/>
                    </a:lnTo>
                    <a:lnTo>
                      <a:pt x="2176" y="524"/>
                    </a:lnTo>
                    <a:lnTo>
                      <a:pt x="2172" y="528"/>
                    </a:lnTo>
                    <a:lnTo>
                      <a:pt x="2166" y="532"/>
                    </a:lnTo>
                    <a:lnTo>
                      <a:pt x="2158" y="534"/>
                    </a:lnTo>
                    <a:lnTo>
                      <a:pt x="2148" y="532"/>
                    </a:lnTo>
                    <a:lnTo>
                      <a:pt x="2132" y="524"/>
                    </a:lnTo>
                    <a:lnTo>
                      <a:pt x="2132" y="524"/>
                    </a:lnTo>
                    <a:lnTo>
                      <a:pt x="2106" y="506"/>
                    </a:lnTo>
                    <a:lnTo>
                      <a:pt x="2102" y="502"/>
                    </a:lnTo>
                    <a:lnTo>
                      <a:pt x="2102" y="500"/>
                    </a:lnTo>
                    <a:lnTo>
                      <a:pt x="2102" y="498"/>
                    </a:lnTo>
                    <a:lnTo>
                      <a:pt x="2106" y="498"/>
                    </a:lnTo>
                    <a:lnTo>
                      <a:pt x="2116" y="498"/>
                    </a:lnTo>
                    <a:lnTo>
                      <a:pt x="2144" y="504"/>
                    </a:lnTo>
                    <a:lnTo>
                      <a:pt x="2144" y="504"/>
                    </a:lnTo>
                    <a:lnTo>
                      <a:pt x="2170" y="508"/>
                    </a:lnTo>
                    <a:lnTo>
                      <a:pt x="2174" y="508"/>
                    </a:lnTo>
                    <a:lnTo>
                      <a:pt x="2174" y="506"/>
                    </a:lnTo>
                    <a:lnTo>
                      <a:pt x="2168" y="502"/>
                    </a:lnTo>
                    <a:lnTo>
                      <a:pt x="2156" y="496"/>
                    </a:lnTo>
                    <a:lnTo>
                      <a:pt x="2120" y="480"/>
                    </a:lnTo>
                    <a:lnTo>
                      <a:pt x="2120" y="480"/>
                    </a:lnTo>
                    <a:lnTo>
                      <a:pt x="2100" y="474"/>
                    </a:lnTo>
                    <a:lnTo>
                      <a:pt x="2086" y="474"/>
                    </a:lnTo>
                    <a:lnTo>
                      <a:pt x="2078" y="476"/>
                    </a:lnTo>
                    <a:lnTo>
                      <a:pt x="2074" y="482"/>
                    </a:lnTo>
                    <a:lnTo>
                      <a:pt x="2070" y="494"/>
                    </a:lnTo>
                    <a:lnTo>
                      <a:pt x="2066" y="500"/>
                    </a:lnTo>
                    <a:lnTo>
                      <a:pt x="2060" y="504"/>
                    </a:lnTo>
                    <a:lnTo>
                      <a:pt x="2060" y="504"/>
                    </a:lnTo>
                    <a:lnTo>
                      <a:pt x="2056" y="504"/>
                    </a:lnTo>
                    <a:lnTo>
                      <a:pt x="2054" y="502"/>
                    </a:lnTo>
                    <a:lnTo>
                      <a:pt x="2052" y="500"/>
                    </a:lnTo>
                    <a:lnTo>
                      <a:pt x="2052" y="498"/>
                    </a:lnTo>
                    <a:lnTo>
                      <a:pt x="2054" y="490"/>
                    </a:lnTo>
                    <a:lnTo>
                      <a:pt x="2060" y="478"/>
                    </a:lnTo>
                    <a:lnTo>
                      <a:pt x="2072" y="454"/>
                    </a:lnTo>
                    <a:lnTo>
                      <a:pt x="2080" y="440"/>
                    </a:lnTo>
                    <a:lnTo>
                      <a:pt x="2086" y="426"/>
                    </a:lnTo>
                    <a:lnTo>
                      <a:pt x="2086" y="426"/>
                    </a:lnTo>
                    <a:lnTo>
                      <a:pt x="2090" y="414"/>
                    </a:lnTo>
                    <a:lnTo>
                      <a:pt x="2096" y="408"/>
                    </a:lnTo>
                    <a:lnTo>
                      <a:pt x="2104" y="404"/>
                    </a:lnTo>
                    <a:lnTo>
                      <a:pt x="2110" y="404"/>
                    </a:lnTo>
                    <a:lnTo>
                      <a:pt x="2124" y="404"/>
                    </a:lnTo>
                    <a:lnTo>
                      <a:pt x="2130" y="404"/>
                    </a:lnTo>
                    <a:lnTo>
                      <a:pt x="2134" y="402"/>
                    </a:lnTo>
                    <a:lnTo>
                      <a:pt x="2134" y="402"/>
                    </a:lnTo>
                    <a:lnTo>
                      <a:pt x="2146" y="392"/>
                    </a:lnTo>
                    <a:lnTo>
                      <a:pt x="2160" y="382"/>
                    </a:lnTo>
                    <a:lnTo>
                      <a:pt x="2166" y="376"/>
                    </a:lnTo>
                    <a:lnTo>
                      <a:pt x="2168" y="372"/>
                    </a:lnTo>
                    <a:lnTo>
                      <a:pt x="2168" y="370"/>
                    </a:lnTo>
                    <a:lnTo>
                      <a:pt x="2166" y="368"/>
                    </a:lnTo>
                    <a:lnTo>
                      <a:pt x="2160" y="366"/>
                    </a:lnTo>
                    <a:lnTo>
                      <a:pt x="2160" y="366"/>
                    </a:lnTo>
                    <a:lnTo>
                      <a:pt x="2152" y="362"/>
                    </a:lnTo>
                    <a:lnTo>
                      <a:pt x="2146" y="358"/>
                    </a:lnTo>
                    <a:lnTo>
                      <a:pt x="2144" y="354"/>
                    </a:lnTo>
                    <a:lnTo>
                      <a:pt x="2144" y="348"/>
                    </a:lnTo>
                    <a:lnTo>
                      <a:pt x="2146" y="344"/>
                    </a:lnTo>
                    <a:lnTo>
                      <a:pt x="2150" y="338"/>
                    </a:lnTo>
                    <a:lnTo>
                      <a:pt x="2158" y="336"/>
                    </a:lnTo>
                    <a:lnTo>
                      <a:pt x="2168" y="334"/>
                    </a:lnTo>
                    <a:lnTo>
                      <a:pt x="2168" y="334"/>
                    </a:lnTo>
                    <a:lnTo>
                      <a:pt x="2190" y="334"/>
                    </a:lnTo>
                    <a:lnTo>
                      <a:pt x="2204" y="330"/>
                    </a:lnTo>
                    <a:lnTo>
                      <a:pt x="2216" y="322"/>
                    </a:lnTo>
                    <a:lnTo>
                      <a:pt x="2228" y="310"/>
                    </a:lnTo>
                    <a:lnTo>
                      <a:pt x="2228" y="310"/>
                    </a:lnTo>
                    <a:lnTo>
                      <a:pt x="2230" y="306"/>
                    </a:lnTo>
                    <a:lnTo>
                      <a:pt x="2230" y="304"/>
                    </a:lnTo>
                    <a:lnTo>
                      <a:pt x="2228" y="302"/>
                    </a:lnTo>
                    <a:lnTo>
                      <a:pt x="2226" y="300"/>
                    </a:lnTo>
                    <a:lnTo>
                      <a:pt x="2214" y="300"/>
                    </a:lnTo>
                    <a:lnTo>
                      <a:pt x="2200" y="300"/>
                    </a:lnTo>
                    <a:lnTo>
                      <a:pt x="2162" y="308"/>
                    </a:lnTo>
                    <a:lnTo>
                      <a:pt x="2142" y="312"/>
                    </a:lnTo>
                    <a:lnTo>
                      <a:pt x="2124" y="318"/>
                    </a:lnTo>
                    <a:lnTo>
                      <a:pt x="2124" y="318"/>
                    </a:lnTo>
                    <a:lnTo>
                      <a:pt x="2112" y="322"/>
                    </a:lnTo>
                    <a:lnTo>
                      <a:pt x="2108" y="320"/>
                    </a:lnTo>
                    <a:lnTo>
                      <a:pt x="2106" y="320"/>
                    </a:lnTo>
                    <a:lnTo>
                      <a:pt x="2106" y="316"/>
                    </a:lnTo>
                    <a:lnTo>
                      <a:pt x="2108" y="314"/>
                    </a:lnTo>
                    <a:lnTo>
                      <a:pt x="2114" y="306"/>
                    </a:lnTo>
                    <a:lnTo>
                      <a:pt x="2124" y="298"/>
                    </a:lnTo>
                    <a:lnTo>
                      <a:pt x="2138" y="292"/>
                    </a:lnTo>
                    <a:lnTo>
                      <a:pt x="2152" y="288"/>
                    </a:lnTo>
                    <a:lnTo>
                      <a:pt x="2160" y="288"/>
                    </a:lnTo>
                    <a:lnTo>
                      <a:pt x="2168" y="288"/>
                    </a:lnTo>
                    <a:lnTo>
                      <a:pt x="2168" y="288"/>
                    </a:lnTo>
                    <a:lnTo>
                      <a:pt x="2182" y="292"/>
                    </a:lnTo>
                    <a:lnTo>
                      <a:pt x="2198" y="292"/>
                    </a:lnTo>
                    <a:lnTo>
                      <a:pt x="2214" y="292"/>
                    </a:lnTo>
                    <a:lnTo>
                      <a:pt x="2228" y="290"/>
                    </a:lnTo>
                    <a:lnTo>
                      <a:pt x="2256" y="284"/>
                    </a:lnTo>
                    <a:lnTo>
                      <a:pt x="2278" y="276"/>
                    </a:lnTo>
                    <a:lnTo>
                      <a:pt x="2278" y="276"/>
                    </a:lnTo>
                    <a:lnTo>
                      <a:pt x="2284" y="270"/>
                    </a:lnTo>
                    <a:lnTo>
                      <a:pt x="2286" y="268"/>
                    </a:lnTo>
                    <a:lnTo>
                      <a:pt x="2284" y="268"/>
                    </a:lnTo>
                    <a:lnTo>
                      <a:pt x="2280" y="264"/>
                    </a:lnTo>
                    <a:lnTo>
                      <a:pt x="2270" y="262"/>
                    </a:lnTo>
                    <a:lnTo>
                      <a:pt x="2244" y="260"/>
                    </a:lnTo>
                    <a:lnTo>
                      <a:pt x="2232" y="260"/>
                    </a:lnTo>
                    <a:lnTo>
                      <a:pt x="2220" y="262"/>
                    </a:lnTo>
                    <a:lnTo>
                      <a:pt x="2220" y="262"/>
                    </a:lnTo>
                    <a:lnTo>
                      <a:pt x="2206" y="264"/>
                    </a:lnTo>
                    <a:lnTo>
                      <a:pt x="2188" y="264"/>
                    </a:lnTo>
                    <a:lnTo>
                      <a:pt x="2154" y="262"/>
                    </a:lnTo>
                    <a:lnTo>
                      <a:pt x="2134" y="258"/>
                    </a:lnTo>
                    <a:lnTo>
                      <a:pt x="2150" y="258"/>
                    </a:lnTo>
                    <a:lnTo>
                      <a:pt x="2150" y="258"/>
                    </a:lnTo>
                    <a:lnTo>
                      <a:pt x="2168" y="260"/>
                    </a:lnTo>
                    <a:lnTo>
                      <a:pt x="2182" y="258"/>
                    </a:lnTo>
                    <a:lnTo>
                      <a:pt x="2192" y="256"/>
                    </a:lnTo>
                    <a:lnTo>
                      <a:pt x="2200" y="252"/>
                    </a:lnTo>
                    <a:lnTo>
                      <a:pt x="2214" y="248"/>
                    </a:lnTo>
                    <a:lnTo>
                      <a:pt x="2222" y="246"/>
                    </a:lnTo>
                    <a:lnTo>
                      <a:pt x="2232" y="248"/>
                    </a:lnTo>
                    <a:lnTo>
                      <a:pt x="2232" y="248"/>
                    </a:lnTo>
                    <a:lnTo>
                      <a:pt x="2244" y="250"/>
                    </a:lnTo>
                    <a:lnTo>
                      <a:pt x="2254" y="250"/>
                    </a:lnTo>
                    <a:lnTo>
                      <a:pt x="2274" y="248"/>
                    </a:lnTo>
                    <a:lnTo>
                      <a:pt x="2298" y="244"/>
                    </a:lnTo>
                    <a:lnTo>
                      <a:pt x="2330" y="242"/>
                    </a:lnTo>
                    <a:lnTo>
                      <a:pt x="2330" y="242"/>
                    </a:lnTo>
                    <a:lnTo>
                      <a:pt x="2342" y="240"/>
                    </a:lnTo>
                    <a:lnTo>
                      <a:pt x="2344" y="238"/>
                    </a:lnTo>
                    <a:lnTo>
                      <a:pt x="2344" y="238"/>
                    </a:lnTo>
                    <a:lnTo>
                      <a:pt x="2342" y="232"/>
                    </a:lnTo>
                    <a:lnTo>
                      <a:pt x="2336" y="228"/>
                    </a:lnTo>
                    <a:lnTo>
                      <a:pt x="2330" y="224"/>
                    </a:lnTo>
                    <a:lnTo>
                      <a:pt x="2328" y="220"/>
                    </a:lnTo>
                    <a:lnTo>
                      <a:pt x="2330" y="220"/>
                    </a:lnTo>
                    <a:lnTo>
                      <a:pt x="2334" y="218"/>
                    </a:lnTo>
                    <a:lnTo>
                      <a:pt x="2348" y="218"/>
                    </a:lnTo>
                    <a:lnTo>
                      <a:pt x="2348" y="218"/>
                    </a:lnTo>
                    <a:lnTo>
                      <a:pt x="2360" y="216"/>
                    </a:lnTo>
                    <a:lnTo>
                      <a:pt x="2372" y="214"/>
                    </a:lnTo>
                    <a:lnTo>
                      <a:pt x="2382" y="212"/>
                    </a:lnTo>
                    <a:lnTo>
                      <a:pt x="2392" y="206"/>
                    </a:lnTo>
                    <a:lnTo>
                      <a:pt x="2412" y="196"/>
                    </a:lnTo>
                    <a:lnTo>
                      <a:pt x="2436" y="182"/>
                    </a:lnTo>
                    <a:lnTo>
                      <a:pt x="2436" y="182"/>
                    </a:lnTo>
                    <a:lnTo>
                      <a:pt x="2440" y="180"/>
                    </a:lnTo>
                    <a:lnTo>
                      <a:pt x="2442" y="176"/>
                    </a:lnTo>
                    <a:lnTo>
                      <a:pt x="2438" y="174"/>
                    </a:lnTo>
                    <a:lnTo>
                      <a:pt x="2434" y="170"/>
                    </a:lnTo>
                    <a:lnTo>
                      <a:pt x="2414" y="164"/>
                    </a:lnTo>
                    <a:lnTo>
                      <a:pt x="2388" y="158"/>
                    </a:lnTo>
                    <a:lnTo>
                      <a:pt x="2356" y="154"/>
                    </a:lnTo>
                    <a:lnTo>
                      <a:pt x="2322" y="150"/>
                    </a:lnTo>
                    <a:lnTo>
                      <a:pt x="2292" y="148"/>
                    </a:lnTo>
                    <a:lnTo>
                      <a:pt x="2264" y="150"/>
                    </a:lnTo>
                    <a:lnTo>
                      <a:pt x="2264" y="150"/>
                    </a:lnTo>
                    <a:lnTo>
                      <a:pt x="2244" y="152"/>
                    </a:lnTo>
                    <a:lnTo>
                      <a:pt x="2230" y="158"/>
                    </a:lnTo>
                    <a:lnTo>
                      <a:pt x="2220" y="164"/>
                    </a:lnTo>
                    <a:lnTo>
                      <a:pt x="2214" y="172"/>
                    </a:lnTo>
                    <a:lnTo>
                      <a:pt x="2210" y="180"/>
                    </a:lnTo>
                    <a:lnTo>
                      <a:pt x="2204" y="184"/>
                    </a:lnTo>
                    <a:lnTo>
                      <a:pt x="2198" y="186"/>
                    </a:lnTo>
                    <a:lnTo>
                      <a:pt x="2188" y="186"/>
                    </a:lnTo>
                    <a:lnTo>
                      <a:pt x="2188" y="186"/>
                    </a:lnTo>
                    <a:lnTo>
                      <a:pt x="2176" y="184"/>
                    </a:lnTo>
                    <a:lnTo>
                      <a:pt x="2162" y="182"/>
                    </a:lnTo>
                    <a:lnTo>
                      <a:pt x="2140" y="184"/>
                    </a:lnTo>
                    <a:lnTo>
                      <a:pt x="2126" y="184"/>
                    </a:lnTo>
                    <a:lnTo>
                      <a:pt x="2126" y="182"/>
                    </a:lnTo>
                    <a:lnTo>
                      <a:pt x="2126" y="182"/>
                    </a:lnTo>
                    <a:lnTo>
                      <a:pt x="2130" y="178"/>
                    </a:lnTo>
                    <a:lnTo>
                      <a:pt x="2130" y="178"/>
                    </a:lnTo>
                    <a:lnTo>
                      <a:pt x="2134" y="172"/>
                    </a:lnTo>
                    <a:lnTo>
                      <a:pt x="2134" y="170"/>
                    </a:lnTo>
                    <a:lnTo>
                      <a:pt x="2128" y="170"/>
                    </a:lnTo>
                    <a:lnTo>
                      <a:pt x="2120" y="172"/>
                    </a:lnTo>
                    <a:lnTo>
                      <a:pt x="2108" y="176"/>
                    </a:lnTo>
                    <a:lnTo>
                      <a:pt x="2092" y="184"/>
                    </a:lnTo>
                    <a:lnTo>
                      <a:pt x="2074" y="196"/>
                    </a:lnTo>
                    <a:lnTo>
                      <a:pt x="2050" y="210"/>
                    </a:lnTo>
                    <a:lnTo>
                      <a:pt x="2050" y="210"/>
                    </a:lnTo>
                    <a:lnTo>
                      <a:pt x="2028" y="224"/>
                    </a:lnTo>
                    <a:lnTo>
                      <a:pt x="2010" y="234"/>
                    </a:lnTo>
                    <a:lnTo>
                      <a:pt x="1996" y="242"/>
                    </a:lnTo>
                    <a:lnTo>
                      <a:pt x="1986" y="244"/>
                    </a:lnTo>
                    <a:lnTo>
                      <a:pt x="1984" y="244"/>
                    </a:lnTo>
                    <a:lnTo>
                      <a:pt x="1982" y="244"/>
                    </a:lnTo>
                    <a:lnTo>
                      <a:pt x="1984" y="238"/>
                    </a:lnTo>
                    <a:lnTo>
                      <a:pt x="1992" y="228"/>
                    </a:lnTo>
                    <a:lnTo>
                      <a:pt x="2008" y="216"/>
                    </a:lnTo>
                    <a:lnTo>
                      <a:pt x="2008" y="216"/>
                    </a:lnTo>
                    <a:lnTo>
                      <a:pt x="2026" y="200"/>
                    </a:lnTo>
                    <a:lnTo>
                      <a:pt x="2040" y="186"/>
                    </a:lnTo>
                    <a:lnTo>
                      <a:pt x="2050" y="172"/>
                    </a:lnTo>
                    <a:lnTo>
                      <a:pt x="2052" y="166"/>
                    </a:lnTo>
                    <a:lnTo>
                      <a:pt x="2052" y="160"/>
                    </a:lnTo>
                    <a:lnTo>
                      <a:pt x="2052" y="156"/>
                    </a:lnTo>
                    <a:lnTo>
                      <a:pt x="2050" y="150"/>
                    </a:lnTo>
                    <a:lnTo>
                      <a:pt x="2048" y="146"/>
                    </a:lnTo>
                    <a:lnTo>
                      <a:pt x="2042" y="144"/>
                    </a:lnTo>
                    <a:lnTo>
                      <a:pt x="2036" y="140"/>
                    </a:lnTo>
                    <a:lnTo>
                      <a:pt x="2028" y="138"/>
                    </a:lnTo>
                    <a:lnTo>
                      <a:pt x="2004" y="138"/>
                    </a:lnTo>
                    <a:lnTo>
                      <a:pt x="2004" y="138"/>
                    </a:lnTo>
                    <a:lnTo>
                      <a:pt x="1984" y="138"/>
                    </a:lnTo>
                    <a:lnTo>
                      <a:pt x="1972" y="142"/>
                    </a:lnTo>
                    <a:lnTo>
                      <a:pt x="1964" y="146"/>
                    </a:lnTo>
                    <a:lnTo>
                      <a:pt x="1962" y="152"/>
                    </a:lnTo>
                    <a:lnTo>
                      <a:pt x="1960" y="156"/>
                    </a:lnTo>
                    <a:lnTo>
                      <a:pt x="1958" y="162"/>
                    </a:lnTo>
                    <a:lnTo>
                      <a:pt x="1952" y="168"/>
                    </a:lnTo>
                    <a:lnTo>
                      <a:pt x="1940" y="172"/>
                    </a:lnTo>
                    <a:lnTo>
                      <a:pt x="1940" y="172"/>
                    </a:lnTo>
                    <a:lnTo>
                      <a:pt x="1910" y="178"/>
                    </a:lnTo>
                    <a:lnTo>
                      <a:pt x="1886" y="182"/>
                    </a:lnTo>
                    <a:lnTo>
                      <a:pt x="1878" y="182"/>
                    </a:lnTo>
                    <a:lnTo>
                      <a:pt x="1876" y="180"/>
                    </a:lnTo>
                    <a:lnTo>
                      <a:pt x="1880" y="176"/>
                    </a:lnTo>
                    <a:lnTo>
                      <a:pt x="1890" y="172"/>
                    </a:lnTo>
                    <a:lnTo>
                      <a:pt x="1890" y="172"/>
                    </a:lnTo>
                    <a:lnTo>
                      <a:pt x="1916" y="160"/>
                    </a:lnTo>
                    <a:lnTo>
                      <a:pt x="1922" y="154"/>
                    </a:lnTo>
                    <a:lnTo>
                      <a:pt x="1924" y="152"/>
                    </a:lnTo>
                    <a:lnTo>
                      <a:pt x="1924" y="150"/>
                    </a:lnTo>
                    <a:lnTo>
                      <a:pt x="1924" y="148"/>
                    </a:lnTo>
                    <a:lnTo>
                      <a:pt x="1920" y="148"/>
                    </a:lnTo>
                    <a:lnTo>
                      <a:pt x="1906" y="144"/>
                    </a:lnTo>
                    <a:lnTo>
                      <a:pt x="1884" y="142"/>
                    </a:lnTo>
                    <a:lnTo>
                      <a:pt x="1852" y="140"/>
                    </a:lnTo>
                    <a:lnTo>
                      <a:pt x="1852" y="140"/>
                    </a:lnTo>
                    <a:lnTo>
                      <a:pt x="1812" y="142"/>
                    </a:lnTo>
                    <a:lnTo>
                      <a:pt x="1770" y="146"/>
                    </a:lnTo>
                    <a:lnTo>
                      <a:pt x="1730" y="152"/>
                    </a:lnTo>
                    <a:lnTo>
                      <a:pt x="1694" y="160"/>
                    </a:lnTo>
                    <a:lnTo>
                      <a:pt x="1636" y="172"/>
                    </a:lnTo>
                    <a:lnTo>
                      <a:pt x="1616" y="174"/>
                    </a:lnTo>
                    <a:lnTo>
                      <a:pt x="1610" y="174"/>
                    </a:lnTo>
                    <a:lnTo>
                      <a:pt x="1608" y="174"/>
                    </a:lnTo>
                    <a:lnTo>
                      <a:pt x="1608" y="174"/>
                    </a:lnTo>
                    <a:lnTo>
                      <a:pt x="1604" y="170"/>
                    </a:lnTo>
                    <a:lnTo>
                      <a:pt x="1602" y="168"/>
                    </a:lnTo>
                    <a:lnTo>
                      <a:pt x="1604" y="164"/>
                    </a:lnTo>
                    <a:lnTo>
                      <a:pt x="1606" y="162"/>
                    </a:lnTo>
                    <a:lnTo>
                      <a:pt x="1618" y="156"/>
                    </a:lnTo>
                    <a:lnTo>
                      <a:pt x="1636" y="152"/>
                    </a:lnTo>
                    <a:lnTo>
                      <a:pt x="1686" y="142"/>
                    </a:lnTo>
                    <a:lnTo>
                      <a:pt x="1744" y="134"/>
                    </a:lnTo>
                    <a:lnTo>
                      <a:pt x="1744" y="134"/>
                    </a:lnTo>
                    <a:lnTo>
                      <a:pt x="1772" y="130"/>
                    </a:lnTo>
                    <a:lnTo>
                      <a:pt x="1802" y="130"/>
                    </a:lnTo>
                    <a:lnTo>
                      <a:pt x="1864" y="130"/>
                    </a:lnTo>
                    <a:lnTo>
                      <a:pt x="1926" y="130"/>
                    </a:lnTo>
                    <a:lnTo>
                      <a:pt x="1956" y="128"/>
                    </a:lnTo>
                    <a:lnTo>
                      <a:pt x="1984" y="124"/>
                    </a:lnTo>
                    <a:lnTo>
                      <a:pt x="1984" y="124"/>
                    </a:lnTo>
                    <a:lnTo>
                      <a:pt x="2020" y="114"/>
                    </a:lnTo>
                    <a:lnTo>
                      <a:pt x="2054" y="104"/>
                    </a:lnTo>
                    <a:lnTo>
                      <a:pt x="2066" y="98"/>
                    </a:lnTo>
                    <a:lnTo>
                      <a:pt x="2072" y="92"/>
                    </a:lnTo>
                    <a:lnTo>
                      <a:pt x="2072" y="90"/>
                    </a:lnTo>
                    <a:lnTo>
                      <a:pt x="2070" y="88"/>
                    </a:lnTo>
                    <a:lnTo>
                      <a:pt x="2062" y="84"/>
                    </a:lnTo>
                    <a:lnTo>
                      <a:pt x="2062" y="84"/>
                    </a:lnTo>
                    <a:lnTo>
                      <a:pt x="2034" y="78"/>
                    </a:lnTo>
                    <a:lnTo>
                      <a:pt x="2004" y="72"/>
                    </a:lnTo>
                    <a:lnTo>
                      <a:pt x="1988" y="70"/>
                    </a:lnTo>
                    <a:lnTo>
                      <a:pt x="1970" y="68"/>
                    </a:lnTo>
                    <a:lnTo>
                      <a:pt x="1952" y="70"/>
                    </a:lnTo>
                    <a:lnTo>
                      <a:pt x="1932" y="72"/>
                    </a:lnTo>
                    <a:lnTo>
                      <a:pt x="1932" y="72"/>
                    </a:lnTo>
                    <a:lnTo>
                      <a:pt x="1914" y="76"/>
                    </a:lnTo>
                    <a:lnTo>
                      <a:pt x="1916" y="74"/>
                    </a:lnTo>
                    <a:lnTo>
                      <a:pt x="1922" y="70"/>
                    </a:lnTo>
                    <a:lnTo>
                      <a:pt x="1930" y="64"/>
                    </a:lnTo>
                    <a:lnTo>
                      <a:pt x="1936" y="58"/>
                    </a:lnTo>
                    <a:lnTo>
                      <a:pt x="1938" y="56"/>
                    </a:lnTo>
                    <a:lnTo>
                      <a:pt x="1938" y="52"/>
                    </a:lnTo>
                    <a:lnTo>
                      <a:pt x="1936" y="50"/>
                    </a:lnTo>
                    <a:lnTo>
                      <a:pt x="1932" y="46"/>
                    </a:lnTo>
                    <a:lnTo>
                      <a:pt x="1932" y="46"/>
                    </a:lnTo>
                    <a:lnTo>
                      <a:pt x="1922" y="42"/>
                    </a:lnTo>
                    <a:lnTo>
                      <a:pt x="1912" y="42"/>
                    </a:lnTo>
                    <a:lnTo>
                      <a:pt x="1898" y="42"/>
                    </a:lnTo>
                    <a:lnTo>
                      <a:pt x="1884" y="46"/>
                    </a:lnTo>
                    <a:lnTo>
                      <a:pt x="1866" y="48"/>
                    </a:lnTo>
                    <a:lnTo>
                      <a:pt x="1846" y="50"/>
                    </a:lnTo>
                    <a:lnTo>
                      <a:pt x="1822" y="52"/>
                    </a:lnTo>
                    <a:lnTo>
                      <a:pt x="1794" y="50"/>
                    </a:lnTo>
                    <a:lnTo>
                      <a:pt x="1794" y="50"/>
                    </a:lnTo>
                    <a:lnTo>
                      <a:pt x="1766" y="48"/>
                    </a:lnTo>
                    <a:lnTo>
                      <a:pt x="1744" y="48"/>
                    </a:lnTo>
                    <a:lnTo>
                      <a:pt x="1724" y="52"/>
                    </a:lnTo>
                    <a:lnTo>
                      <a:pt x="1708" y="54"/>
                    </a:lnTo>
                    <a:lnTo>
                      <a:pt x="1678" y="60"/>
                    </a:lnTo>
                    <a:lnTo>
                      <a:pt x="1660" y="60"/>
                    </a:lnTo>
                    <a:lnTo>
                      <a:pt x="1638" y="60"/>
                    </a:lnTo>
                    <a:lnTo>
                      <a:pt x="1638" y="60"/>
                    </a:lnTo>
                    <a:lnTo>
                      <a:pt x="1622" y="58"/>
                    </a:lnTo>
                    <a:lnTo>
                      <a:pt x="1616" y="56"/>
                    </a:lnTo>
                    <a:lnTo>
                      <a:pt x="1618" y="54"/>
                    </a:lnTo>
                    <a:lnTo>
                      <a:pt x="1628" y="52"/>
                    </a:lnTo>
                    <a:lnTo>
                      <a:pt x="1692" y="46"/>
                    </a:lnTo>
                    <a:lnTo>
                      <a:pt x="1692" y="46"/>
                    </a:lnTo>
                    <a:lnTo>
                      <a:pt x="1734" y="44"/>
                    </a:lnTo>
                    <a:lnTo>
                      <a:pt x="1794" y="42"/>
                    </a:lnTo>
                    <a:lnTo>
                      <a:pt x="1852" y="38"/>
                    </a:lnTo>
                    <a:lnTo>
                      <a:pt x="1894" y="34"/>
                    </a:lnTo>
                    <a:lnTo>
                      <a:pt x="1894" y="34"/>
                    </a:lnTo>
                    <a:lnTo>
                      <a:pt x="1900" y="32"/>
                    </a:lnTo>
                    <a:lnTo>
                      <a:pt x="1902" y="32"/>
                    </a:lnTo>
                    <a:lnTo>
                      <a:pt x="1902" y="30"/>
                    </a:lnTo>
                    <a:lnTo>
                      <a:pt x="1898" y="28"/>
                    </a:lnTo>
                    <a:lnTo>
                      <a:pt x="1882" y="24"/>
                    </a:lnTo>
                    <a:lnTo>
                      <a:pt x="1858" y="20"/>
                    </a:lnTo>
                    <a:lnTo>
                      <a:pt x="1798" y="12"/>
                    </a:lnTo>
                    <a:lnTo>
                      <a:pt x="1732" y="6"/>
                    </a:lnTo>
                    <a:lnTo>
                      <a:pt x="1732" y="6"/>
                    </a:lnTo>
                    <a:lnTo>
                      <a:pt x="1686" y="2"/>
                    </a:lnTo>
                    <a:lnTo>
                      <a:pt x="1648" y="0"/>
                    </a:lnTo>
                    <a:lnTo>
                      <a:pt x="1618" y="2"/>
                    </a:lnTo>
                    <a:lnTo>
                      <a:pt x="1594" y="2"/>
                    </a:lnTo>
                    <a:lnTo>
                      <a:pt x="1552" y="6"/>
                    </a:lnTo>
                    <a:lnTo>
                      <a:pt x="1528" y="8"/>
                    </a:lnTo>
                    <a:lnTo>
                      <a:pt x="1504" y="6"/>
                    </a:lnTo>
                    <a:lnTo>
                      <a:pt x="1504" y="6"/>
                    </a:lnTo>
                    <a:lnTo>
                      <a:pt x="1480" y="6"/>
                    </a:lnTo>
                    <a:lnTo>
                      <a:pt x="1466" y="8"/>
                    </a:lnTo>
                    <a:lnTo>
                      <a:pt x="1460" y="10"/>
                    </a:lnTo>
                    <a:lnTo>
                      <a:pt x="1458" y="14"/>
                    </a:lnTo>
                    <a:lnTo>
                      <a:pt x="1458" y="16"/>
                    </a:lnTo>
                    <a:lnTo>
                      <a:pt x="1458" y="18"/>
                    </a:lnTo>
                    <a:lnTo>
                      <a:pt x="1452" y="18"/>
                    </a:lnTo>
                    <a:lnTo>
                      <a:pt x="1442" y="16"/>
                    </a:lnTo>
                    <a:lnTo>
                      <a:pt x="1442" y="16"/>
                    </a:lnTo>
                    <a:lnTo>
                      <a:pt x="1420" y="12"/>
                    </a:lnTo>
                    <a:lnTo>
                      <a:pt x="1410" y="14"/>
                    </a:lnTo>
                    <a:lnTo>
                      <a:pt x="1400" y="16"/>
                    </a:lnTo>
                    <a:lnTo>
                      <a:pt x="1384" y="18"/>
                    </a:lnTo>
                    <a:lnTo>
                      <a:pt x="1384" y="18"/>
                    </a:lnTo>
                    <a:lnTo>
                      <a:pt x="1374" y="18"/>
                    </a:lnTo>
                    <a:lnTo>
                      <a:pt x="1368" y="20"/>
                    </a:lnTo>
                    <a:lnTo>
                      <a:pt x="1366" y="24"/>
                    </a:lnTo>
                    <a:lnTo>
                      <a:pt x="1366" y="28"/>
                    </a:lnTo>
                    <a:lnTo>
                      <a:pt x="1370" y="32"/>
                    </a:lnTo>
                    <a:lnTo>
                      <a:pt x="1378" y="36"/>
                    </a:lnTo>
                    <a:lnTo>
                      <a:pt x="1388" y="40"/>
                    </a:lnTo>
                    <a:lnTo>
                      <a:pt x="1402" y="44"/>
                    </a:lnTo>
                    <a:lnTo>
                      <a:pt x="1402" y="44"/>
                    </a:lnTo>
                    <a:lnTo>
                      <a:pt x="1412" y="46"/>
                    </a:lnTo>
                    <a:lnTo>
                      <a:pt x="1416" y="46"/>
                    </a:lnTo>
                    <a:lnTo>
                      <a:pt x="1412" y="48"/>
                    </a:lnTo>
                    <a:lnTo>
                      <a:pt x="1406" y="50"/>
                    </a:lnTo>
                    <a:lnTo>
                      <a:pt x="1386" y="52"/>
                    </a:lnTo>
                    <a:lnTo>
                      <a:pt x="1378" y="54"/>
                    </a:lnTo>
                    <a:lnTo>
                      <a:pt x="1372" y="56"/>
                    </a:lnTo>
                    <a:lnTo>
                      <a:pt x="1372" y="56"/>
                    </a:lnTo>
                    <a:lnTo>
                      <a:pt x="1356" y="62"/>
                    </a:lnTo>
                    <a:lnTo>
                      <a:pt x="1332" y="64"/>
                    </a:lnTo>
                    <a:lnTo>
                      <a:pt x="1318" y="66"/>
                    </a:lnTo>
                    <a:lnTo>
                      <a:pt x="1304" y="64"/>
                    </a:lnTo>
                    <a:lnTo>
                      <a:pt x="1290" y="62"/>
                    </a:lnTo>
                    <a:lnTo>
                      <a:pt x="1278" y="56"/>
                    </a:lnTo>
                    <a:lnTo>
                      <a:pt x="1278" y="56"/>
                    </a:lnTo>
                    <a:lnTo>
                      <a:pt x="1254" y="46"/>
                    </a:lnTo>
                    <a:lnTo>
                      <a:pt x="1242" y="42"/>
                    </a:lnTo>
                    <a:lnTo>
                      <a:pt x="1228" y="38"/>
                    </a:lnTo>
                    <a:lnTo>
                      <a:pt x="1212" y="36"/>
                    </a:lnTo>
                    <a:lnTo>
                      <a:pt x="1194" y="34"/>
                    </a:lnTo>
                    <a:lnTo>
                      <a:pt x="1176" y="36"/>
                    </a:lnTo>
                    <a:lnTo>
                      <a:pt x="1154" y="38"/>
                    </a:lnTo>
                    <a:lnTo>
                      <a:pt x="1154" y="38"/>
                    </a:lnTo>
                    <a:lnTo>
                      <a:pt x="1114" y="44"/>
                    </a:lnTo>
                    <a:lnTo>
                      <a:pt x="1078" y="48"/>
                    </a:lnTo>
                    <a:lnTo>
                      <a:pt x="1064" y="50"/>
                    </a:lnTo>
                    <a:lnTo>
                      <a:pt x="1054" y="54"/>
                    </a:lnTo>
                    <a:lnTo>
                      <a:pt x="1048" y="56"/>
                    </a:lnTo>
                    <a:lnTo>
                      <a:pt x="1048" y="58"/>
                    </a:lnTo>
                    <a:lnTo>
                      <a:pt x="1048" y="60"/>
                    </a:lnTo>
                    <a:lnTo>
                      <a:pt x="1048" y="60"/>
                    </a:lnTo>
                    <a:lnTo>
                      <a:pt x="1054" y="64"/>
                    </a:lnTo>
                    <a:lnTo>
                      <a:pt x="1062" y="66"/>
                    </a:lnTo>
                    <a:lnTo>
                      <a:pt x="1092" y="68"/>
                    </a:lnTo>
                    <a:lnTo>
                      <a:pt x="1128" y="66"/>
                    </a:lnTo>
                    <a:lnTo>
                      <a:pt x="1170" y="66"/>
                    </a:lnTo>
                    <a:lnTo>
                      <a:pt x="1170" y="66"/>
                    </a:lnTo>
                    <a:lnTo>
                      <a:pt x="1208" y="68"/>
                    </a:lnTo>
                    <a:lnTo>
                      <a:pt x="1246" y="72"/>
                    </a:lnTo>
                    <a:lnTo>
                      <a:pt x="1280" y="76"/>
                    </a:lnTo>
                    <a:lnTo>
                      <a:pt x="1314" y="82"/>
                    </a:lnTo>
                    <a:lnTo>
                      <a:pt x="1314" y="82"/>
                    </a:lnTo>
                    <a:lnTo>
                      <a:pt x="1326" y="86"/>
                    </a:lnTo>
                    <a:lnTo>
                      <a:pt x="1332" y="88"/>
                    </a:lnTo>
                    <a:lnTo>
                      <a:pt x="1332" y="90"/>
                    </a:lnTo>
                    <a:lnTo>
                      <a:pt x="1332" y="90"/>
                    </a:lnTo>
                    <a:lnTo>
                      <a:pt x="1326" y="92"/>
                    </a:lnTo>
                    <a:lnTo>
                      <a:pt x="1308" y="92"/>
                    </a:lnTo>
                    <a:lnTo>
                      <a:pt x="1294" y="90"/>
                    </a:lnTo>
                    <a:lnTo>
                      <a:pt x="1282" y="88"/>
                    </a:lnTo>
                    <a:lnTo>
                      <a:pt x="1282" y="88"/>
                    </a:lnTo>
                    <a:lnTo>
                      <a:pt x="1268" y="84"/>
                    </a:lnTo>
                    <a:lnTo>
                      <a:pt x="1252" y="82"/>
                    </a:lnTo>
                    <a:lnTo>
                      <a:pt x="1214" y="78"/>
                    </a:lnTo>
                    <a:lnTo>
                      <a:pt x="1110" y="74"/>
                    </a:lnTo>
                    <a:lnTo>
                      <a:pt x="1110" y="74"/>
                    </a:lnTo>
                    <a:lnTo>
                      <a:pt x="1092" y="76"/>
                    </a:lnTo>
                    <a:lnTo>
                      <a:pt x="1090" y="76"/>
                    </a:lnTo>
                    <a:lnTo>
                      <a:pt x="1092" y="78"/>
                    </a:lnTo>
                    <a:lnTo>
                      <a:pt x="1106" y="84"/>
                    </a:lnTo>
                    <a:lnTo>
                      <a:pt x="1126" y="92"/>
                    </a:lnTo>
                    <a:lnTo>
                      <a:pt x="1148" y="100"/>
                    </a:lnTo>
                    <a:lnTo>
                      <a:pt x="1164" y="108"/>
                    </a:lnTo>
                    <a:lnTo>
                      <a:pt x="1168" y="110"/>
                    </a:lnTo>
                    <a:lnTo>
                      <a:pt x="1168" y="114"/>
                    </a:lnTo>
                    <a:lnTo>
                      <a:pt x="1164" y="116"/>
                    </a:lnTo>
                    <a:lnTo>
                      <a:pt x="1154" y="116"/>
                    </a:lnTo>
                    <a:lnTo>
                      <a:pt x="1154" y="116"/>
                    </a:lnTo>
                    <a:lnTo>
                      <a:pt x="1146" y="118"/>
                    </a:lnTo>
                    <a:lnTo>
                      <a:pt x="1142" y="120"/>
                    </a:lnTo>
                    <a:lnTo>
                      <a:pt x="1138" y="122"/>
                    </a:lnTo>
                    <a:lnTo>
                      <a:pt x="1138" y="126"/>
                    </a:lnTo>
                    <a:lnTo>
                      <a:pt x="1136" y="132"/>
                    </a:lnTo>
                    <a:lnTo>
                      <a:pt x="1138" y="140"/>
                    </a:lnTo>
                    <a:lnTo>
                      <a:pt x="1142" y="148"/>
                    </a:lnTo>
                    <a:lnTo>
                      <a:pt x="1142" y="156"/>
                    </a:lnTo>
                    <a:lnTo>
                      <a:pt x="1142" y="158"/>
                    </a:lnTo>
                    <a:lnTo>
                      <a:pt x="1140" y="160"/>
                    </a:lnTo>
                    <a:lnTo>
                      <a:pt x="1136" y="162"/>
                    </a:lnTo>
                    <a:lnTo>
                      <a:pt x="1132" y="164"/>
                    </a:lnTo>
                    <a:lnTo>
                      <a:pt x="1132" y="164"/>
                    </a:lnTo>
                    <a:lnTo>
                      <a:pt x="1122" y="164"/>
                    </a:lnTo>
                    <a:lnTo>
                      <a:pt x="1114" y="162"/>
                    </a:lnTo>
                    <a:lnTo>
                      <a:pt x="1108" y="158"/>
                    </a:lnTo>
                    <a:lnTo>
                      <a:pt x="1102" y="152"/>
                    </a:lnTo>
                    <a:lnTo>
                      <a:pt x="1094" y="146"/>
                    </a:lnTo>
                    <a:lnTo>
                      <a:pt x="1084" y="142"/>
                    </a:lnTo>
                    <a:lnTo>
                      <a:pt x="1070" y="136"/>
                    </a:lnTo>
                    <a:lnTo>
                      <a:pt x="1052" y="132"/>
                    </a:lnTo>
                    <a:lnTo>
                      <a:pt x="1052" y="132"/>
                    </a:lnTo>
                    <a:lnTo>
                      <a:pt x="1034" y="128"/>
                    </a:lnTo>
                    <a:lnTo>
                      <a:pt x="1016" y="124"/>
                    </a:lnTo>
                    <a:lnTo>
                      <a:pt x="986" y="114"/>
                    </a:lnTo>
                    <a:lnTo>
                      <a:pt x="954" y="104"/>
                    </a:lnTo>
                    <a:lnTo>
                      <a:pt x="936" y="100"/>
                    </a:lnTo>
                    <a:lnTo>
                      <a:pt x="916" y="98"/>
                    </a:lnTo>
                    <a:lnTo>
                      <a:pt x="916" y="98"/>
                    </a:lnTo>
                    <a:lnTo>
                      <a:pt x="896" y="98"/>
                    </a:lnTo>
                    <a:lnTo>
                      <a:pt x="884" y="100"/>
                    </a:lnTo>
                    <a:lnTo>
                      <a:pt x="876" y="102"/>
                    </a:lnTo>
                    <a:lnTo>
                      <a:pt x="874" y="104"/>
                    </a:lnTo>
                    <a:lnTo>
                      <a:pt x="874" y="106"/>
                    </a:lnTo>
                    <a:lnTo>
                      <a:pt x="876" y="112"/>
                    </a:lnTo>
                    <a:lnTo>
                      <a:pt x="884" y="118"/>
                    </a:lnTo>
                    <a:lnTo>
                      <a:pt x="914" y="138"/>
                    </a:lnTo>
                    <a:lnTo>
                      <a:pt x="914" y="138"/>
                    </a:lnTo>
                    <a:lnTo>
                      <a:pt x="926" y="146"/>
                    </a:lnTo>
                    <a:lnTo>
                      <a:pt x="928" y="148"/>
                    </a:lnTo>
                    <a:lnTo>
                      <a:pt x="928" y="150"/>
                    </a:lnTo>
                    <a:lnTo>
                      <a:pt x="922" y="150"/>
                    </a:lnTo>
                    <a:lnTo>
                      <a:pt x="912" y="148"/>
                    </a:lnTo>
                    <a:lnTo>
                      <a:pt x="900" y="148"/>
                    </a:lnTo>
                    <a:lnTo>
                      <a:pt x="888" y="148"/>
                    </a:lnTo>
                    <a:lnTo>
                      <a:pt x="884" y="148"/>
                    </a:lnTo>
                    <a:lnTo>
                      <a:pt x="882" y="150"/>
                    </a:lnTo>
                    <a:lnTo>
                      <a:pt x="882" y="154"/>
                    </a:lnTo>
                    <a:lnTo>
                      <a:pt x="884" y="158"/>
                    </a:lnTo>
                    <a:lnTo>
                      <a:pt x="884" y="158"/>
                    </a:lnTo>
                    <a:lnTo>
                      <a:pt x="886" y="160"/>
                    </a:lnTo>
                    <a:lnTo>
                      <a:pt x="886" y="162"/>
                    </a:lnTo>
                    <a:lnTo>
                      <a:pt x="878" y="160"/>
                    </a:lnTo>
                    <a:lnTo>
                      <a:pt x="866" y="156"/>
                    </a:lnTo>
                    <a:lnTo>
                      <a:pt x="850" y="150"/>
                    </a:lnTo>
                    <a:lnTo>
                      <a:pt x="834" y="148"/>
                    </a:lnTo>
                    <a:lnTo>
                      <a:pt x="824" y="148"/>
                    </a:lnTo>
                    <a:lnTo>
                      <a:pt x="814" y="148"/>
                    </a:lnTo>
                    <a:lnTo>
                      <a:pt x="806" y="152"/>
                    </a:lnTo>
                    <a:lnTo>
                      <a:pt x="796" y="156"/>
                    </a:lnTo>
                    <a:lnTo>
                      <a:pt x="788" y="164"/>
                    </a:lnTo>
                    <a:lnTo>
                      <a:pt x="782" y="172"/>
                    </a:lnTo>
                    <a:lnTo>
                      <a:pt x="782" y="172"/>
                    </a:lnTo>
                    <a:lnTo>
                      <a:pt x="770" y="190"/>
                    </a:lnTo>
                    <a:lnTo>
                      <a:pt x="772" y="180"/>
                    </a:lnTo>
                    <a:lnTo>
                      <a:pt x="776" y="168"/>
                    </a:lnTo>
                    <a:lnTo>
                      <a:pt x="776" y="154"/>
                    </a:lnTo>
                    <a:lnTo>
                      <a:pt x="774" y="138"/>
                    </a:lnTo>
                    <a:lnTo>
                      <a:pt x="772" y="132"/>
                    </a:lnTo>
                    <a:lnTo>
                      <a:pt x="766" y="124"/>
                    </a:lnTo>
                    <a:lnTo>
                      <a:pt x="766" y="124"/>
                    </a:lnTo>
                    <a:lnTo>
                      <a:pt x="756" y="114"/>
                    </a:lnTo>
                    <a:lnTo>
                      <a:pt x="746" y="108"/>
                    </a:lnTo>
                    <a:lnTo>
                      <a:pt x="732" y="108"/>
                    </a:lnTo>
                    <a:lnTo>
                      <a:pt x="716" y="110"/>
                    </a:lnTo>
                    <a:lnTo>
                      <a:pt x="672" y="120"/>
                    </a:lnTo>
                    <a:lnTo>
                      <a:pt x="640" y="126"/>
                    </a:lnTo>
                    <a:lnTo>
                      <a:pt x="598" y="130"/>
                    </a:lnTo>
                    <a:lnTo>
                      <a:pt x="598" y="130"/>
                    </a:lnTo>
                    <a:lnTo>
                      <a:pt x="558" y="136"/>
                    </a:lnTo>
                    <a:lnTo>
                      <a:pt x="526" y="140"/>
                    </a:lnTo>
                    <a:lnTo>
                      <a:pt x="502" y="146"/>
                    </a:lnTo>
                    <a:lnTo>
                      <a:pt x="484" y="152"/>
                    </a:lnTo>
                    <a:lnTo>
                      <a:pt x="472" y="156"/>
                    </a:lnTo>
                    <a:lnTo>
                      <a:pt x="466" y="164"/>
                    </a:lnTo>
                    <a:lnTo>
                      <a:pt x="466" y="166"/>
                    </a:lnTo>
                    <a:lnTo>
                      <a:pt x="466" y="170"/>
                    </a:lnTo>
                    <a:lnTo>
                      <a:pt x="470" y="176"/>
                    </a:lnTo>
                    <a:lnTo>
                      <a:pt x="470" y="176"/>
                    </a:lnTo>
                    <a:close/>
                  </a:path>
                </a:pathLst>
              </a:custGeom>
              <a:solidFill>
                <a:schemeClr val="tx2"/>
              </a:solidFill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</p:grpSp>
        <p:sp>
          <p:nvSpPr>
            <p:cNvPr id="111" name="Freeform 6134">
              <a:extLst>
                <a:ext uri="{FF2B5EF4-FFF2-40B4-BE49-F238E27FC236}">
                  <a16:creationId xmlns:a16="http://schemas.microsoft.com/office/drawing/2014/main" id="{AA9965F5-48FE-4648-858C-AF969AC003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9028" y="3600798"/>
              <a:ext cx="3810" cy="5079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2" y="8"/>
                </a:cxn>
                <a:cxn ang="0">
                  <a:pos x="4" y="8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2" y="8"/>
                </a:cxn>
              </a:cxnLst>
              <a:rect l="0" t="0" r="r" b="b"/>
              <a:pathLst>
                <a:path w="6" h="8">
                  <a:moveTo>
                    <a:pt x="2" y="8"/>
                  </a:moveTo>
                  <a:lnTo>
                    <a:pt x="2" y="8"/>
                  </a:lnTo>
                  <a:lnTo>
                    <a:pt x="4" y="8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13" name="Freeform 6135">
              <a:extLst>
                <a:ext uri="{FF2B5EF4-FFF2-40B4-BE49-F238E27FC236}">
                  <a16:creationId xmlns:a16="http://schemas.microsoft.com/office/drawing/2014/main" id="{618BCE52-C819-420F-B28D-36C34E9D7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4396" y="3592522"/>
              <a:ext cx="1587" cy="158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14" name="Freeform 6136">
              <a:extLst>
                <a:ext uri="{FF2B5EF4-FFF2-40B4-BE49-F238E27FC236}">
                  <a16:creationId xmlns:a16="http://schemas.microsoft.com/office/drawing/2014/main" id="{E809E1A0-36E3-4E40-AED7-DF521BECA5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2678" y="3591909"/>
              <a:ext cx="3810" cy="5079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</a:cxnLst>
              <a:rect l="0" t="0" r="r" b="b"/>
              <a:pathLst>
                <a:path w="6" h="8">
                  <a:moveTo>
                    <a:pt x="6" y="2"/>
                  </a:moveTo>
                  <a:lnTo>
                    <a:pt x="6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15" name="Freeform 6138">
              <a:extLst>
                <a:ext uri="{FF2B5EF4-FFF2-40B4-BE49-F238E27FC236}">
                  <a16:creationId xmlns:a16="http://schemas.microsoft.com/office/drawing/2014/main" id="{D01302B8-1833-415F-AFCB-0911BED66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3948" y="3604608"/>
              <a:ext cx="2540" cy="381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16" name="Freeform 6144">
              <a:extLst>
                <a:ext uri="{FF2B5EF4-FFF2-40B4-BE49-F238E27FC236}">
                  <a16:creationId xmlns:a16="http://schemas.microsoft.com/office/drawing/2014/main" id="{C5D35565-D8D5-4743-8655-BE31EFF78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0139" y="3583020"/>
              <a:ext cx="5080" cy="3810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8" y="2"/>
                </a:cxn>
                <a:cxn ang="0">
                  <a:pos x="8" y="2"/>
                </a:cxn>
              </a:cxnLst>
              <a:rect l="0" t="0" r="r" b="b"/>
              <a:pathLst>
                <a:path w="8" h="6">
                  <a:moveTo>
                    <a:pt x="8" y="2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18" name="Freeform 6149">
              <a:extLst>
                <a:ext uri="{FF2B5EF4-FFF2-40B4-BE49-F238E27FC236}">
                  <a16:creationId xmlns:a16="http://schemas.microsoft.com/office/drawing/2014/main" id="{18275466-B6DA-438D-9B9D-FC3D5F1BE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3758" y="3592522"/>
              <a:ext cx="3175" cy="158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6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21" name="Freeform 6150">
              <a:extLst>
                <a:ext uri="{FF2B5EF4-FFF2-40B4-BE49-F238E27FC236}">
                  <a16:creationId xmlns:a16="http://schemas.microsoft.com/office/drawing/2014/main" id="{57E4B4A0-3B75-4ECE-BA93-D63010B06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329" y="3600798"/>
              <a:ext cx="3810" cy="254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</p:grp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8A4BFD7C-F51B-47BF-BBFA-1D629CF8DB97}"/>
              </a:ext>
            </a:extLst>
          </p:cNvPr>
          <p:cNvGrpSpPr/>
          <p:nvPr/>
        </p:nvGrpSpPr>
        <p:grpSpPr>
          <a:xfrm>
            <a:off x="1288931" y="4649449"/>
            <a:ext cx="353123" cy="294593"/>
            <a:chOff x="11037888" y="817563"/>
            <a:chExt cx="287338" cy="239712"/>
          </a:xfrm>
          <a:solidFill>
            <a:schemeClr val="tx2"/>
          </a:solidFill>
        </p:grpSpPr>
        <p:sp>
          <p:nvSpPr>
            <p:cNvPr id="262" name="Freeform 294">
              <a:extLst>
                <a:ext uri="{FF2B5EF4-FFF2-40B4-BE49-F238E27FC236}">
                  <a16:creationId xmlns:a16="http://schemas.microsoft.com/office/drawing/2014/main" id="{400F1C7A-B676-4A1B-9902-EA23A221B3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37888" y="817563"/>
              <a:ext cx="287338" cy="239712"/>
            </a:xfrm>
            <a:custGeom>
              <a:avLst/>
              <a:gdLst>
                <a:gd name="T0" fmla="*/ 752 w 903"/>
                <a:gd name="T1" fmla="*/ 722 h 753"/>
                <a:gd name="T2" fmla="*/ 752 w 903"/>
                <a:gd name="T3" fmla="*/ 374 h 753"/>
                <a:gd name="T4" fmla="*/ 750 w 903"/>
                <a:gd name="T5" fmla="*/ 368 h 753"/>
                <a:gd name="T6" fmla="*/ 745 w 903"/>
                <a:gd name="T7" fmla="*/ 364 h 753"/>
                <a:gd name="T8" fmla="*/ 740 w 903"/>
                <a:gd name="T9" fmla="*/ 362 h 753"/>
                <a:gd name="T10" fmla="*/ 165 w 903"/>
                <a:gd name="T11" fmla="*/ 361 h 753"/>
                <a:gd name="T12" fmla="*/ 160 w 903"/>
                <a:gd name="T13" fmla="*/ 363 h 753"/>
                <a:gd name="T14" fmla="*/ 154 w 903"/>
                <a:gd name="T15" fmla="*/ 366 h 753"/>
                <a:gd name="T16" fmla="*/ 151 w 903"/>
                <a:gd name="T17" fmla="*/ 371 h 753"/>
                <a:gd name="T18" fmla="*/ 150 w 903"/>
                <a:gd name="T19" fmla="*/ 377 h 753"/>
                <a:gd name="T20" fmla="*/ 90 w 903"/>
                <a:gd name="T21" fmla="*/ 722 h 753"/>
                <a:gd name="T22" fmla="*/ 813 w 903"/>
                <a:gd name="T23" fmla="*/ 301 h 753"/>
                <a:gd name="T24" fmla="*/ 180 w 903"/>
                <a:gd name="T25" fmla="*/ 722 h 753"/>
                <a:gd name="T26" fmla="*/ 722 w 903"/>
                <a:gd name="T27" fmla="*/ 391 h 753"/>
                <a:gd name="T28" fmla="*/ 180 w 903"/>
                <a:gd name="T29" fmla="*/ 722 h 753"/>
                <a:gd name="T30" fmla="*/ 451 w 903"/>
                <a:gd name="T31" fmla="*/ 32 h 753"/>
                <a:gd name="T32" fmla="*/ 873 w 903"/>
                <a:gd name="T33" fmla="*/ 271 h 753"/>
                <a:gd name="T34" fmla="*/ 75 w 903"/>
                <a:gd name="T35" fmla="*/ 271 h 753"/>
                <a:gd name="T36" fmla="*/ 30 w 903"/>
                <a:gd name="T37" fmla="*/ 220 h 753"/>
                <a:gd name="T38" fmla="*/ 891 w 903"/>
                <a:gd name="T39" fmla="*/ 301 h 753"/>
                <a:gd name="T40" fmla="*/ 896 w 903"/>
                <a:gd name="T41" fmla="*/ 299 h 753"/>
                <a:gd name="T42" fmla="*/ 900 w 903"/>
                <a:gd name="T43" fmla="*/ 294 h 753"/>
                <a:gd name="T44" fmla="*/ 902 w 903"/>
                <a:gd name="T45" fmla="*/ 289 h 753"/>
                <a:gd name="T46" fmla="*/ 903 w 903"/>
                <a:gd name="T47" fmla="*/ 211 h 753"/>
                <a:gd name="T48" fmla="*/ 901 w 903"/>
                <a:gd name="T49" fmla="*/ 202 h 753"/>
                <a:gd name="T50" fmla="*/ 894 w 903"/>
                <a:gd name="T51" fmla="*/ 197 h 753"/>
                <a:gd name="T52" fmla="*/ 455 w 903"/>
                <a:gd name="T53" fmla="*/ 0 h 753"/>
                <a:gd name="T54" fmla="*/ 448 w 903"/>
                <a:gd name="T55" fmla="*/ 0 h 753"/>
                <a:gd name="T56" fmla="*/ 8 w 903"/>
                <a:gd name="T57" fmla="*/ 197 h 753"/>
                <a:gd name="T58" fmla="*/ 2 w 903"/>
                <a:gd name="T59" fmla="*/ 202 h 753"/>
                <a:gd name="T60" fmla="*/ 0 w 903"/>
                <a:gd name="T61" fmla="*/ 211 h 753"/>
                <a:gd name="T62" fmla="*/ 0 w 903"/>
                <a:gd name="T63" fmla="*/ 289 h 753"/>
                <a:gd name="T64" fmla="*/ 2 w 903"/>
                <a:gd name="T65" fmla="*/ 294 h 753"/>
                <a:gd name="T66" fmla="*/ 6 w 903"/>
                <a:gd name="T67" fmla="*/ 299 h 753"/>
                <a:gd name="T68" fmla="*/ 12 w 903"/>
                <a:gd name="T69" fmla="*/ 301 h 753"/>
                <a:gd name="T70" fmla="*/ 60 w 903"/>
                <a:gd name="T71" fmla="*/ 301 h 753"/>
                <a:gd name="T72" fmla="*/ 15 w 903"/>
                <a:gd name="T73" fmla="*/ 722 h 753"/>
                <a:gd name="T74" fmla="*/ 8 w 903"/>
                <a:gd name="T75" fmla="*/ 724 h 753"/>
                <a:gd name="T76" fmla="*/ 4 w 903"/>
                <a:gd name="T77" fmla="*/ 727 h 753"/>
                <a:gd name="T78" fmla="*/ 1 w 903"/>
                <a:gd name="T79" fmla="*/ 732 h 753"/>
                <a:gd name="T80" fmla="*/ 0 w 903"/>
                <a:gd name="T81" fmla="*/ 738 h 753"/>
                <a:gd name="T82" fmla="*/ 1 w 903"/>
                <a:gd name="T83" fmla="*/ 744 h 753"/>
                <a:gd name="T84" fmla="*/ 4 w 903"/>
                <a:gd name="T85" fmla="*/ 748 h 753"/>
                <a:gd name="T86" fmla="*/ 8 w 903"/>
                <a:gd name="T87" fmla="*/ 751 h 753"/>
                <a:gd name="T88" fmla="*/ 15 w 903"/>
                <a:gd name="T89" fmla="*/ 753 h 753"/>
                <a:gd name="T90" fmla="*/ 165 w 903"/>
                <a:gd name="T91" fmla="*/ 753 h 753"/>
                <a:gd name="T92" fmla="*/ 828 w 903"/>
                <a:gd name="T93" fmla="*/ 753 h 753"/>
                <a:gd name="T94" fmla="*/ 891 w 903"/>
                <a:gd name="T95" fmla="*/ 753 h 753"/>
                <a:gd name="T96" fmla="*/ 896 w 903"/>
                <a:gd name="T97" fmla="*/ 750 h 753"/>
                <a:gd name="T98" fmla="*/ 900 w 903"/>
                <a:gd name="T99" fmla="*/ 746 h 753"/>
                <a:gd name="T100" fmla="*/ 902 w 903"/>
                <a:gd name="T101" fmla="*/ 741 h 753"/>
                <a:gd name="T102" fmla="*/ 903 w 903"/>
                <a:gd name="T103" fmla="*/ 735 h 753"/>
                <a:gd name="T104" fmla="*/ 900 w 903"/>
                <a:gd name="T105" fmla="*/ 730 h 753"/>
                <a:gd name="T106" fmla="*/ 896 w 903"/>
                <a:gd name="T107" fmla="*/ 726 h 753"/>
                <a:gd name="T108" fmla="*/ 891 w 903"/>
                <a:gd name="T109" fmla="*/ 724 h 753"/>
                <a:gd name="T110" fmla="*/ 843 w 903"/>
                <a:gd name="T111" fmla="*/ 722 h 753"/>
                <a:gd name="T112" fmla="*/ 888 w 903"/>
                <a:gd name="T113" fmla="*/ 30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3" h="753">
                  <a:moveTo>
                    <a:pt x="813" y="722"/>
                  </a:moveTo>
                  <a:lnTo>
                    <a:pt x="752" y="722"/>
                  </a:lnTo>
                  <a:lnTo>
                    <a:pt x="752" y="376"/>
                  </a:lnTo>
                  <a:lnTo>
                    <a:pt x="752" y="374"/>
                  </a:lnTo>
                  <a:lnTo>
                    <a:pt x="751" y="371"/>
                  </a:lnTo>
                  <a:lnTo>
                    <a:pt x="750" y="368"/>
                  </a:lnTo>
                  <a:lnTo>
                    <a:pt x="747" y="366"/>
                  </a:lnTo>
                  <a:lnTo>
                    <a:pt x="745" y="364"/>
                  </a:lnTo>
                  <a:lnTo>
                    <a:pt x="743" y="363"/>
                  </a:lnTo>
                  <a:lnTo>
                    <a:pt x="740" y="362"/>
                  </a:lnTo>
                  <a:lnTo>
                    <a:pt x="737" y="361"/>
                  </a:lnTo>
                  <a:lnTo>
                    <a:pt x="165" y="361"/>
                  </a:lnTo>
                  <a:lnTo>
                    <a:pt x="162" y="362"/>
                  </a:lnTo>
                  <a:lnTo>
                    <a:pt x="160" y="363"/>
                  </a:lnTo>
                  <a:lnTo>
                    <a:pt x="156" y="364"/>
                  </a:lnTo>
                  <a:lnTo>
                    <a:pt x="154" y="366"/>
                  </a:lnTo>
                  <a:lnTo>
                    <a:pt x="152" y="368"/>
                  </a:lnTo>
                  <a:lnTo>
                    <a:pt x="151" y="371"/>
                  </a:lnTo>
                  <a:lnTo>
                    <a:pt x="150" y="374"/>
                  </a:lnTo>
                  <a:lnTo>
                    <a:pt x="150" y="377"/>
                  </a:lnTo>
                  <a:lnTo>
                    <a:pt x="150" y="722"/>
                  </a:lnTo>
                  <a:lnTo>
                    <a:pt x="90" y="722"/>
                  </a:lnTo>
                  <a:lnTo>
                    <a:pt x="90" y="301"/>
                  </a:lnTo>
                  <a:lnTo>
                    <a:pt x="813" y="301"/>
                  </a:lnTo>
                  <a:lnTo>
                    <a:pt x="813" y="722"/>
                  </a:lnTo>
                  <a:close/>
                  <a:moveTo>
                    <a:pt x="180" y="722"/>
                  </a:moveTo>
                  <a:lnTo>
                    <a:pt x="180" y="391"/>
                  </a:lnTo>
                  <a:lnTo>
                    <a:pt x="722" y="391"/>
                  </a:lnTo>
                  <a:lnTo>
                    <a:pt x="722" y="722"/>
                  </a:lnTo>
                  <a:lnTo>
                    <a:pt x="180" y="722"/>
                  </a:lnTo>
                  <a:close/>
                  <a:moveTo>
                    <a:pt x="30" y="220"/>
                  </a:moveTo>
                  <a:lnTo>
                    <a:pt x="451" y="32"/>
                  </a:lnTo>
                  <a:lnTo>
                    <a:pt x="873" y="220"/>
                  </a:lnTo>
                  <a:lnTo>
                    <a:pt x="873" y="271"/>
                  </a:lnTo>
                  <a:lnTo>
                    <a:pt x="828" y="271"/>
                  </a:lnTo>
                  <a:lnTo>
                    <a:pt x="75" y="271"/>
                  </a:lnTo>
                  <a:lnTo>
                    <a:pt x="30" y="271"/>
                  </a:lnTo>
                  <a:lnTo>
                    <a:pt x="30" y="220"/>
                  </a:lnTo>
                  <a:close/>
                  <a:moveTo>
                    <a:pt x="888" y="301"/>
                  </a:moveTo>
                  <a:lnTo>
                    <a:pt x="891" y="301"/>
                  </a:lnTo>
                  <a:lnTo>
                    <a:pt x="893" y="300"/>
                  </a:lnTo>
                  <a:lnTo>
                    <a:pt x="896" y="299"/>
                  </a:lnTo>
                  <a:lnTo>
                    <a:pt x="899" y="297"/>
                  </a:lnTo>
                  <a:lnTo>
                    <a:pt x="900" y="294"/>
                  </a:lnTo>
                  <a:lnTo>
                    <a:pt x="902" y="292"/>
                  </a:lnTo>
                  <a:lnTo>
                    <a:pt x="902" y="289"/>
                  </a:lnTo>
                  <a:lnTo>
                    <a:pt x="903" y="286"/>
                  </a:lnTo>
                  <a:lnTo>
                    <a:pt x="903" y="211"/>
                  </a:lnTo>
                  <a:lnTo>
                    <a:pt x="902" y="206"/>
                  </a:lnTo>
                  <a:lnTo>
                    <a:pt x="901" y="202"/>
                  </a:lnTo>
                  <a:lnTo>
                    <a:pt x="898" y="199"/>
                  </a:lnTo>
                  <a:lnTo>
                    <a:pt x="894" y="197"/>
                  </a:lnTo>
                  <a:lnTo>
                    <a:pt x="458" y="1"/>
                  </a:lnTo>
                  <a:lnTo>
                    <a:pt x="455" y="0"/>
                  </a:lnTo>
                  <a:lnTo>
                    <a:pt x="451" y="0"/>
                  </a:lnTo>
                  <a:lnTo>
                    <a:pt x="448" y="0"/>
                  </a:lnTo>
                  <a:lnTo>
                    <a:pt x="445" y="1"/>
                  </a:lnTo>
                  <a:lnTo>
                    <a:pt x="8" y="197"/>
                  </a:lnTo>
                  <a:lnTo>
                    <a:pt x="5" y="199"/>
                  </a:lnTo>
                  <a:lnTo>
                    <a:pt x="2" y="202"/>
                  </a:lnTo>
                  <a:lnTo>
                    <a:pt x="0" y="206"/>
                  </a:lnTo>
                  <a:lnTo>
                    <a:pt x="0" y="211"/>
                  </a:lnTo>
                  <a:lnTo>
                    <a:pt x="0" y="286"/>
                  </a:lnTo>
                  <a:lnTo>
                    <a:pt x="0" y="289"/>
                  </a:lnTo>
                  <a:lnTo>
                    <a:pt x="1" y="292"/>
                  </a:lnTo>
                  <a:lnTo>
                    <a:pt x="2" y="294"/>
                  </a:lnTo>
                  <a:lnTo>
                    <a:pt x="4" y="297"/>
                  </a:lnTo>
                  <a:lnTo>
                    <a:pt x="6" y="299"/>
                  </a:lnTo>
                  <a:lnTo>
                    <a:pt x="8" y="300"/>
                  </a:lnTo>
                  <a:lnTo>
                    <a:pt x="12" y="301"/>
                  </a:lnTo>
                  <a:lnTo>
                    <a:pt x="15" y="301"/>
                  </a:lnTo>
                  <a:lnTo>
                    <a:pt x="60" y="301"/>
                  </a:lnTo>
                  <a:lnTo>
                    <a:pt x="60" y="722"/>
                  </a:lnTo>
                  <a:lnTo>
                    <a:pt x="15" y="722"/>
                  </a:lnTo>
                  <a:lnTo>
                    <a:pt x="12" y="724"/>
                  </a:lnTo>
                  <a:lnTo>
                    <a:pt x="8" y="724"/>
                  </a:lnTo>
                  <a:lnTo>
                    <a:pt x="6" y="726"/>
                  </a:lnTo>
                  <a:lnTo>
                    <a:pt x="4" y="727"/>
                  </a:lnTo>
                  <a:lnTo>
                    <a:pt x="2" y="730"/>
                  </a:lnTo>
                  <a:lnTo>
                    <a:pt x="1" y="732"/>
                  </a:lnTo>
                  <a:lnTo>
                    <a:pt x="0" y="735"/>
                  </a:lnTo>
                  <a:lnTo>
                    <a:pt x="0" y="738"/>
                  </a:lnTo>
                  <a:lnTo>
                    <a:pt x="0" y="741"/>
                  </a:lnTo>
                  <a:lnTo>
                    <a:pt x="1" y="744"/>
                  </a:lnTo>
                  <a:lnTo>
                    <a:pt x="2" y="746"/>
                  </a:lnTo>
                  <a:lnTo>
                    <a:pt x="4" y="748"/>
                  </a:lnTo>
                  <a:lnTo>
                    <a:pt x="6" y="750"/>
                  </a:lnTo>
                  <a:lnTo>
                    <a:pt x="8" y="751"/>
                  </a:lnTo>
                  <a:lnTo>
                    <a:pt x="12" y="753"/>
                  </a:lnTo>
                  <a:lnTo>
                    <a:pt x="15" y="753"/>
                  </a:lnTo>
                  <a:lnTo>
                    <a:pt x="75" y="753"/>
                  </a:lnTo>
                  <a:lnTo>
                    <a:pt x="165" y="753"/>
                  </a:lnTo>
                  <a:lnTo>
                    <a:pt x="737" y="753"/>
                  </a:lnTo>
                  <a:lnTo>
                    <a:pt x="828" y="753"/>
                  </a:lnTo>
                  <a:lnTo>
                    <a:pt x="888" y="753"/>
                  </a:lnTo>
                  <a:lnTo>
                    <a:pt x="891" y="753"/>
                  </a:lnTo>
                  <a:lnTo>
                    <a:pt x="893" y="751"/>
                  </a:lnTo>
                  <a:lnTo>
                    <a:pt x="896" y="750"/>
                  </a:lnTo>
                  <a:lnTo>
                    <a:pt x="899" y="748"/>
                  </a:lnTo>
                  <a:lnTo>
                    <a:pt x="900" y="746"/>
                  </a:lnTo>
                  <a:lnTo>
                    <a:pt x="902" y="744"/>
                  </a:lnTo>
                  <a:lnTo>
                    <a:pt x="902" y="741"/>
                  </a:lnTo>
                  <a:lnTo>
                    <a:pt x="903" y="738"/>
                  </a:lnTo>
                  <a:lnTo>
                    <a:pt x="903" y="735"/>
                  </a:lnTo>
                  <a:lnTo>
                    <a:pt x="902" y="732"/>
                  </a:lnTo>
                  <a:lnTo>
                    <a:pt x="900" y="730"/>
                  </a:lnTo>
                  <a:lnTo>
                    <a:pt x="899" y="727"/>
                  </a:lnTo>
                  <a:lnTo>
                    <a:pt x="896" y="726"/>
                  </a:lnTo>
                  <a:lnTo>
                    <a:pt x="893" y="724"/>
                  </a:lnTo>
                  <a:lnTo>
                    <a:pt x="891" y="724"/>
                  </a:lnTo>
                  <a:lnTo>
                    <a:pt x="888" y="722"/>
                  </a:lnTo>
                  <a:lnTo>
                    <a:pt x="843" y="722"/>
                  </a:lnTo>
                  <a:lnTo>
                    <a:pt x="843" y="301"/>
                  </a:lnTo>
                  <a:lnTo>
                    <a:pt x="888" y="3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295">
              <a:extLst>
                <a:ext uri="{FF2B5EF4-FFF2-40B4-BE49-F238E27FC236}">
                  <a16:creationId xmlns:a16="http://schemas.microsoft.com/office/drawing/2014/main" id="{85392243-160B-4B91-AF65-8AC6D4E83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962025"/>
              <a:ext cx="134938" cy="9525"/>
            </a:xfrm>
            <a:custGeom>
              <a:avLst/>
              <a:gdLst>
                <a:gd name="T0" fmla="*/ 407 w 422"/>
                <a:gd name="T1" fmla="*/ 0 h 30"/>
                <a:gd name="T2" fmla="*/ 15 w 422"/>
                <a:gd name="T3" fmla="*/ 0 h 30"/>
                <a:gd name="T4" fmla="*/ 12 w 422"/>
                <a:gd name="T5" fmla="*/ 0 h 30"/>
                <a:gd name="T6" fmla="*/ 10 w 422"/>
                <a:gd name="T7" fmla="*/ 1 h 30"/>
                <a:gd name="T8" fmla="*/ 7 w 422"/>
                <a:gd name="T9" fmla="*/ 2 h 30"/>
                <a:gd name="T10" fmla="*/ 4 w 422"/>
                <a:gd name="T11" fmla="*/ 4 h 30"/>
                <a:gd name="T12" fmla="*/ 3 w 422"/>
                <a:gd name="T13" fmla="*/ 7 h 30"/>
                <a:gd name="T14" fmla="*/ 1 w 422"/>
                <a:gd name="T15" fmla="*/ 9 h 30"/>
                <a:gd name="T16" fmla="*/ 1 w 422"/>
                <a:gd name="T17" fmla="*/ 12 h 30"/>
                <a:gd name="T18" fmla="*/ 0 w 422"/>
                <a:gd name="T19" fmla="*/ 15 h 30"/>
                <a:gd name="T20" fmla="*/ 1 w 422"/>
                <a:gd name="T21" fmla="*/ 18 h 30"/>
                <a:gd name="T22" fmla="*/ 1 w 422"/>
                <a:gd name="T23" fmla="*/ 20 h 30"/>
                <a:gd name="T24" fmla="*/ 3 w 422"/>
                <a:gd name="T25" fmla="*/ 24 h 30"/>
                <a:gd name="T26" fmla="*/ 4 w 422"/>
                <a:gd name="T27" fmla="*/ 26 h 30"/>
                <a:gd name="T28" fmla="*/ 7 w 422"/>
                <a:gd name="T29" fmla="*/ 27 h 30"/>
                <a:gd name="T30" fmla="*/ 10 w 422"/>
                <a:gd name="T31" fmla="*/ 29 h 30"/>
                <a:gd name="T32" fmla="*/ 12 w 422"/>
                <a:gd name="T33" fmla="*/ 29 h 30"/>
                <a:gd name="T34" fmla="*/ 15 w 422"/>
                <a:gd name="T35" fmla="*/ 30 h 30"/>
                <a:gd name="T36" fmla="*/ 407 w 422"/>
                <a:gd name="T37" fmla="*/ 30 h 30"/>
                <a:gd name="T38" fmla="*/ 410 w 422"/>
                <a:gd name="T39" fmla="*/ 29 h 30"/>
                <a:gd name="T40" fmla="*/ 413 w 422"/>
                <a:gd name="T41" fmla="*/ 29 h 30"/>
                <a:gd name="T42" fmla="*/ 415 w 422"/>
                <a:gd name="T43" fmla="*/ 27 h 30"/>
                <a:gd name="T44" fmla="*/ 417 w 422"/>
                <a:gd name="T45" fmla="*/ 26 h 30"/>
                <a:gd name="T46" fmla="*/ 419 w 422"/>
                <a:gd name="T47" fmla="*/ 24 h 30"/>
                <a:gd name="T48" fmla="*/ 421 w 422"/>
                <a:gd name="T49" fmla="*/ 20 h 30"/>
                <a:gd name="T50" fmla="*/ 422 w 422"/>
                <a:gd name="T51" fmla="*/ 18 h 30"/>
                <a:gd name="T52" fmla="*/ 422 w 422"/>
                <a:gd name="T53" fmla="*/ 15 h 30"/>
                <a:gd name="T54" fmla="*/ 422 w 422"/>
                <a:gd name="T55" fmla="*/ 12 h 30"/>
                <a:gd name="T56" fmla="*/ 421 w 422"/>
                <a:gd name="T57" fmla="*/ 9 h 30"/>
                <a:gd name="T58" fmla="*/ 419 w 422"/>
                <a:gd name="T59" fmla="*/ 7 h 30"/>
                <a:gd name="T60" fmla="*/ 417 w 422"/>
                <a:gd name="T61" fmla="*/ 4 h 30"/>
                <a:gd name="T62" fmla="*/ 415 w 422"/>
                <a:gd name="T63" fmla="*/ 2 h 30"/>
                <a:gd name="T64" fmla="*/ 413 w 422"/>
                <a:gd name="T65" fmla="*/ 1 h 30"/>
                <a:gd name="T66" fmla="*/ 410 w 422"/>
                <a:gd name="T67" fmla="*/ 0 h 30"/>
                <a:gd name="T68" fmla="*/ 407 w 42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2" h="30">
                  <a:moveTo>
                    <a:pt x="40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7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29"/>
                  </a:lnTo>
                  <a:lnTo>
                    <a:pt x="413" y="29"/>
                  </a:lnTo>
                  <a:lnTo>
                    <a:pt x="415" y="27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1" y="20"/>
                  </a:lnTo>
                  <a:lnTo>
                    <a:pt x="422" y="18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1" y="9"/>
                  </a:lnTo>
                  <a:lnTo>
                    <a:pt x="419" y="7"/>
                  </a:lnTo>
                  <a:lnTo>
                    <a:pt x="417" y="4"/>
                  </a:lnTo>
                  <a:lnTo>
                    <a:pt x="415" y="2"/>
                  </a:lnTo>
                  <a:lnTo>
                    <a:pt x="413" y="1"/>
                  </a:lnTo>
                  <a:lnTo>
                    <a:pt x="410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296">
              <a:extLst>
                <a:ext uri="{FF2B5EF4-FFF2-40B4-BE49-F238E27FC236}">
                  <a16:creationId xmlns:a16="http://schemas.microsoft.com/office/drawing/2014/main" id="{4FD2D7D4-80A5-487F-B7C5-060848E0D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990600"/>
              <a:ext cx="134938" cy="9525"/>
            </a:xfrm>
            <a:custGeom>
              <a:avLst/>
              <a:gdLst>
                <a:gd name="T0" fmla="*/ 407 w 422"/>
                <a:gd name="T1" fmla="*/ 0 h 30"/>
                <a:gd name="T2" fmla="*/ 15 w 422"/>
                <a:gd name="T3" fmla="*/ 0 h 30"/>
                <a:gd name="T4" fmla="*/ 12 w 422"/>
                <a:gd name="T5" fmla="*/ 0 h 30"/>
                <a:gd name="T6" fmla="*/ 10 w 422"/>
                <a:gd name="T7" fmla="*/ 1 h 30"/>
                <a:gd name="T8" fmla="*/ 7 w 422"/>
                <a:gd name="T9" fmla="*/ 2 h 30"/>
                <a:gd name="T10" fmla="*/ 4 w 422"/>
                <a:gd name="T11" fmla="*/ 5 h 30"/>
                <a:gd name="T12" fmla="*/ 3 w 422"/>
                <a:gd name="T13" fmla="*/ 7 h 30"/>
                <a:gd name="T14" fmla="*/ 1 w 422"/>
                <a:gd name="T15" fmla="*/ 9 h 30"/>
                <a:gd name="T16" fmla="*/ 1 w 422"/>
                <a:gd name="T17" fmla="*/ 12 h 30"/>
                <a:gd name="T18" fmla="*/ 0 w 422"/>
                <a:gd name="T19" fmla="*/ 15 h 30"/>
                <a:gd name="T20" fmla="*/ 1 w 422"/>
                <a:gd name="T21" fmla="*/ 18 h 30"/>
                <a:gd name="T22" fmla="*/ 1 w 422"/>
                <a:gd name="T23" fmla="*/ 21 h 30"/>
                <a:gd name="T24" fmla="*/ 3 w 422"/>
                <a:gd name="T25" fmla="*/ 24 h 30"/>
                <a:gd name="T26" fmla="*/ 4 w 422"/>
                <a:gd name="T27" fmla="*/ 26 h 30"/>
                <a:gd name="T28" fmla="*/ 7 w 422"/>
                <a:gd name="T29" fmla="*/ 28 h 30"/>
                <a:gd name="T30" fmla="*/ 10 w 422"/>
                <a:gd name="T31" fmla="*/ 29 h 30"/>
                <a:gd name="T32" fmla="*/ 12 w 422"/>
                <a:gd name="T33" fmla="*/ 30 h 30"/>
                <a:gd name="T34" fmla="*/ 15 w 422"/>
                <a:gd name="T35" fmla="*/ 30 h 30"/>
                <a:gd name="T36" fmla="*/ 407 w 422"/>
                <a:gd name="T37" fmla="*/ 30 h 30"/>
                <a:gd name="T38" fmla="*/ 410 w 422"/>
                <a:gd name="T39" fmla="*/ 30 h 30"/>
                <a:gd name="T40" fmla="*/ 413 w 422"/>
                <a:gd name="T41" fmla="*/ 29 h 30"/>
                <a:gd name="T42" fmla="*/ 415 w 422"/>
                <a:gd name="T43" fmla="*/ 28 h 30"/>
                <a:gd name="T44" fmla="*/ 417 w 422"/>
                <a:gd name="T45" fmla="*/ 26 h 30"/>
                <a:gd name="T46" fmla="*/ 419 w 422"/>
                <a:gd name="T47" fmla="*/ 24 h 30"/>
                <a:gd name="T48" fmla="*/ 421 w 422"/>
                <a:gd name="T49" fmla="*/ 21 h 30"/>
                <a:gd name="T50" fmla="*/ 422 w 422"/>
                <a:gd name="T51" fmla="*/ 18 h 30"/>
                <a:gd name="T52" fmla="*/ 422 w 422"/>
                <a:gd name="T53" fmla="*/ 15 h 30"/>
                <a:gd name="T54" fmla="*/ 422 w 422"/>
                <a:gd name="T55" fmla="*/ 12 h 30"/>
                <a:gd name="T56" fmla="*/ 421 w 422"/>
                <a:gd name="T57" fmla="*/ 9 h 30"/>
                <a:gd name="T58" fmla="*/ 419 w 422"/>
                <a:gd name="T59" fmla="*/ 7 h 30"/>
                <a:gd name="T60" fmla="*/ 417 w 422"/>
                <a:gd name="T61" fmla="*/ 5 h 30"/>
                <a:gd name="T62" fmla="*/ 415 w 422"/>
                <a:gd name="T63" fmla="*/ 2 h 30"/>
                <a:gd name="T64" fmla="*/ 413 w 422"/>
                <a:gd name="T65" fmla="*/ 1 h 30"/>
                <a:gd name="T66" fmla="*/ 410 w 422"/>
                <a:gd name="T67" fmla="*/ 0 h 30"/>
                <a:gd name="T68" fmla="*/ 407 w 42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2" h="30">
                  <a:moveTo>
                    <a:pt x="40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30"/>
                  </a:lnTo>
                  <a:lnTo>
                    <a:pt x="413" y="29"/>
                  </a:lnTo>
                  <a:lnTo>
                    <a:pt x="415" y="28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1" y="21"/>
                  </a:lnTo>
                  <a:lnTo>
                    <a:pt x="422" y="18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1" y="9"/>
                  </a:lnTo>
                  <a:lnTo>
                    <a:pt x="419" y="7"/>
                  </a:lnTo>
                  <a:lnTo>
                    <a:pt x="417" y="5"/>
                  </a:lnTo>
                  <a:lnTo>
                    <a:pt x="415" y="2"/>
                  </a:lnTo>
                  <a:lnTo>
                    <a:pt x="413" y="1"/>
                  </a:lnTo>
                  <a:lnTo>
                    <a:pt x="410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297">
              <a:extLst>
                <a:ext uri="{FF2B5EF4-FFF2-40B4-BE49-F238E27FC236}">
                  <a16:creationId xmlns:a16="http://schemas.microsoft.com/office/drawing/2014/main" id="{BA5ED5CF-4C44-4591-BB52-61961C941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1019175"/>
              <a:ext cx="134938" cy="9525"/>
            </a:xfrm>
            <a:custGeom>
              <a:avLst/>
              <a:gdLst>
                <a:gd name="T0" fmla="*/ 407 w 422"/>
                <a:gd name="T1" fmla="*/ 0 h 30"/>
                <a:gd name="T2" fmla="*/ 15 w 422"/>
                <a:gd name="T3" fmla="*/ 0 h 30"/>
                <a:gd name="T4" fmla="*/ 12 w 422"/>
                <a:gd name="T5" fmla="*/ 0 h 30"/>
                <a:gd name="T6" fmla="*/ 10 w 422"/>
                <a:gd name="T7" fmla="*/ 1 h 30"/>
                <a:gd name="T8" fmla="*/ 7 w 422"/>
                <a:gd name="T9" fmla="*/ 3 h 30"/>
                <a:gd name="T10" fmla="*/ 4 w 422"/>
                <a:gd name="T11" fmla="*/ 5 h 30"/>
                <a:gd name="T12" fmla="*/ 3 w 422"/>
                <a:gd name="T13" fmla="*/ 7 h 30"/>
                <a:gd name="T14" fmla="*/ 1 w 422"/>
                <a:gd name="T15" fmla="*/ 10 h 30"/>
                <a:gd name="T16" fmla="*/ 1 w 422"/>
                <a:gd name="T17" fmla="*/ 12 h 30"/>
                <a:gd name="T18" fmla="*/ 0 w 422"/>
                <a:gd name="T19" fmla="*/ 15 h 30"/>
                <a:gd name="T20" fmla="*/ 1 w 422"/>
                <a:gd name="T21" fmla="*/ 19 h 30"/>
                <a:gd name="T22" fmla="*/ 1 w 422"/>
                <a:gd name="T23" fmla="*/ 22 h 30"/>
                <a:gd name="T24" fmla="*/ 3 w 422"/>
                <a:gd name="T25" fmla="*/ 24 h 30"/>
                <a:gd name="T26" fmla="*/ 4 w 422"/>
                <a:gd name="T27" fmla="*/ 26 h 30"/>
                <a:gd name="T28" fmla="*/ 7 w 422"/>
                <a:gd name="T29" fmla="*/ 28 h 30"/>
                <a:gd name="T30" fmla="*/ 10 w 422"/>
                <a:gd name="T31" fmla="*/ 29 h 30"/>
                <a:gd name="T32" fmla="*/ 12 w 422"/>
                <a:gd name="T33" fmla="*/ 30 h 30"/>
                <a:gd name="T34" fmla="*/ 15 w 422"/>
                <a:gd name="T35" fmla="*/ 30 h 30"/>
                <a:gd name="T36" fmla="*/ 407 w 422"/>
                <a:gd name="T37" fmla="*/ 30 h 30"/>
                <a:gd name="T38" fmla="*/ 410 w 422"/>
                <a:gd name="T39" fmla="*/ 30 h 30"/>
                <a:gd name="T40" fmla="*/ 413 w 422"/>
                <a:gd name="T41" fmla="*/ 29 h 30"/>
                <a:gd name="T42" fmla="*/ 415 w 422"/>
                <a:gd name="T43" fmla="*/ 28 h 30"/>
                <a:gd name="T44" fmla="*/ 417 w 422"/>
                <a:gd name="T45" fmla="*/ 26 h 30"/>
                <a:gd name="T46" fmla="*/ 419 w 422"/>
                <a:gd name="T47" fmla="*/ 24 h 30"/>
                <a:gd name="T48" fmla="*/ 421 w 422"/>
                <a:gd name="T49" fmla="*/ 22 h 30"/>
                <a:gd name="T50" fmla="*/ 422 w 422"/>
                <a:gd name="T51" fmla="*/ 19 h 30"/>
                <a:gd name="T52" fmla="*/ 422 w 422"/>
                <a:gd name="T53" fmla="*/ 15 h 30"/>
                <a:gd name="T54" fmla="*/ 422 w 422"/>
                <a:gd name="T55" fmla="*/ 12 h 30"/>
                <a:gd name="T56" fmla="*/ 421 w 422"/>
                <a:gd name="T57" fmla="*/ 10 h 30"/>
                <a:gd name="T58" fmla="*/ 419 w 422"/>
                <a:gd name="T59" fmla="*/ 7 h 30"/>
                <a:gd name="T60" fmla="*/ 417 w 422"/>
                <a:gd name="T61" fmla="*/ 5 h 30"/>
                <a:gd name="T62" fmla="*/ 415 w 422"/>
                <a:gd name="T63" fmla="*/ 3 h 30"/>
                <a:gd name="T64" fmla="*/ 413 w 422"/>
                <a:gd name="T65" fmla="*/ 1 h 30"/>
                <a:gd name="T66" fmla="*/ 410 w 422"/>
                <a:gd name="T67" fmla="*/ 0 h 30"/>
                <a:gd name="T68" fmla="*/ 407 w 422"/>
                <a:gd name="T69" fmla="*/ 0 h 30"/>
                <a:gd name="T70" fmla="*/ 407 w 422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2" h="30">
                  <a:moveTo>
                    <a:pt x="40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9"/>
                  </a:lnTo>
                  <a:lnTo>
                    <a:pt x="1" y="22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30"/>
                  </a:lnTo>
                  <a:lnTo>
                    <a:pt x="413" y="29"/>
                  </a:lnTo>
                  <a:lnTo>
                    <a:pt x="415" y="28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1" y="22"/>
                  </a:lnTo>
                  <a:lnTo>
                    <a:pt x="422" y="19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1" y="10"/>
                  </a:lnTo>
                  <a:lnTo>
                    <a:pt x="419" y="7"/>
                  </a:lnTo>
                  <a:lnTo>
                    <a:pt x="417" y="5"/>
                  </a:lnTo>
                  <a:lnTo>
                    <a:pt x="415" y="3"/>
                  </a:lnTo>
                  <a:lnTo>
                    <a:pt x="413" y="1"/>
                  </a:lnTo>
                  <a:lnTo>
                    <a:pt x="410" y="0"/>
                  </a:lnTo>
                  <a:lnTo>
                    <a:pt x="407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0" name="TextBox 259">
            <a:extLst>
              <a:ext uri="{FF2B5EF4-FFF2-40B4-BE49-F238E27FC236}">
                <a16:creationId xmlns:a16="http://schemas.microsoft.com/office/drawing/2014/main" id="{67B09019-1D9D-4F99-9B7B-8C222D687D29}"/>
              </a:ext>
            </a:extLst>
          </p:cNvPr>
          <p:cNvSpPr txBox="1"/>
          <p:nvPr/>
        </p:nvSpPr>
        <p:spPr>
          <a:xfrm>
            <a:off x="501663" y="5224258"/>
            <a:ext cx="1927658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1FE46834-4454-4ADA-AD8F-5F72A278100F}"/>
              </a:ext>
            </a:extLst>
          </p:cNvPr>
          <p:cNvSpPr txBox="1"/>
          <p:nvPr/>
        </p:nvSpPr>
        <p:spPr>
          <a:xfrm>
            <a:off x="501663" y="5016225"/>
            <a:ext cx="192765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/>
              <a:t>LOREM IPSUM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C3E3D158-1CBD-47FA-9251-4F8723EA64A9}"/>
              </a:ext>
            </a:extLst>
          </p:cNvPr>
          <p:cNvSpPr txBox="1"/>
          <p:nvPr/>
        </p:nvSpPr>
        <p:spPr>
          <a:xfrm>
            <a:off x="9762680" y="5224259"/>
            <a:ext cx="1927658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E1756E9B-ED31-4845-B34C-0C5C77196F6B}"/>
              </a:ext>
            </a:extLst>
          </p:cNvPr>
          <p:cNvSpPr txBox="1"/>
          <p:nvPr/>
        </p:nvSpPr>
        <p:spPr>
          <a:xfrm>
            <a:off x="9762680" y="5016226"/>
            <a:ext cx="192765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/>
              <a:t>LOREM IPSUM</a:t>
            </a:r>
          </a:p>
        </p:txBody>
      </p:sp>
      <p:grpSp>
        <p:nvGrpSpPr>
          <p:cNvPr id="255" name="Group 254">
            <a:extLst>
              <a:ext uri="{FF2B5EF4-FFF2-40B4-BE49-F238E27FC236}">
                <a16:creationId xmlns:a16="http://schemas.microsoft.com/office/drawing/2014/main" id="{978BAD6D-BCBD-4096-9900-490B814517C7}"/>
              </a:ext>
            </a:extLst>
          </p:cNvPr>
          <p:cNvGrpSpPr>
            <a:grpSpLocks noChangeAspect="1"/>
          </p:cNvGrpSpPr>
          <p:nvPr/>
        </p:nvGrpSpPr>
        <p:grpSpPr>
          <a:xfrm>
            <a:off x="10578710" y="4647177"/>
            <a:ext cx="295598" cy="296866"/>
            <a:chOff x="8020050" y="4195763"/>
            <a:chExt cx="369888" cy="371475"/>
          </a:xfrm>
          <a:solidFill>
            <a:schemeClr val="tx2"/>
          </a:solidFill>
        </p:grpSpPr>
        <p:sp>
          <p:nvSpPr>
            <p:cNvPr id="256" name="Freeform 28">
              <a:extLst>
                <a:ext uri="{FF2B5EF4-FFF2-40B4-BE49-F238E27FC236}">
                  <a16:creationId xmlns:a16="http://schemas.microsoft.com/office/drawing/2014/main" id="{CE6C2073-6B80-4014-80BB-414C58EB2A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43875" y="4241801"/>
              <a:ext cx="122238" cy="123825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4 h 32"/>
                <a:gd name="T12" fmla="*/ 4 w 32"/>
                <a:gd name="T13" fmla="*/ 16 h 32"/>
                <a:gd name="T14" fmla="*/ 16 w 32"/>
                <a:gd name="T15" fmla="*/ 28 h 32"/>
                <a:gd name="T16" fmla="*/ 28 w 32"/>
                <a:gd name="T17" fmla="*/ 16 h 32"/>
                <a:gd name="T18" fmla="*/ 16 w 32"/>
                <a:gd name="T1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4"/>
                  </a:moveTo>
                  <a:cubicBezTo>
                    <a:pt x="9" y="4"/>
                    <a:pt x="4" y="9"/>
                    <a:pt x="4" y="16"/>
                  </a:cubicBezTo>
                  <a:cubicBezTo>
                    <a:pt x="4" y="23"/>
                    <a:pt x="9" y="28"/>
                    <a:pt x="16" y="28"/>
                  </a:cubicBezTo>
                  <a:cubicBezTo>
                    <a:pt x="23" y="28"/>
                    <a:pt x="28" y="23"/>
                    <a:pt x="28" y="16"/>
                  </a:cubicBezTo>
                  <a:cubicBezTo>
                    <a:pt x="28" y="9"/>
                    <a:pt x="23" y="4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29">
              <a:extLst>
                <a:ext uri="{FF2B5EF4-FFF2-40B4-BE49-F238E27FC236}">
                  <a16:creationId xmlns:a16="http://schemas.microsoft.com/office/drawing/2014/main" id="{C1F28435-4158-4DBA-BE0C-1D930E6D8D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93075" y="4195763"/>
              <a:ext cx="223838" cy="341313"/>
            </a:xfrm>
            <a:custGeom>
              <a:avLst/>
              <a:gdLst>
                <a:gd name="T0" fmla="*/ 29 w 58"/>
                <a:gd name="T1" fmla="*/ 88 h 88"/>
                <a:gd name="T2" fmla="*/ 27 w 58"/>
                <a:gd name="T3" fmla="*/ 87 h 88"/>
                <a:gd name="T4" fmla="*/ 0 w 58"/>
                <a:gd name="T5" fmla="*/ 29 h 88"/>
                <a:gd name="T6" fmla="*/ 29 w 58"/>
                <a:gd name="T7" fmla="*/ 0 h 88"/>
                <a:gd name="T8" fmla="*/ 58 w 58"/>
                <a:gd name="T9" fmla="*/ 29 h 88"/>
                <a:gd name="T10" fmla="*/ 31 w 58"/>
                <a:gd name="T11" fmla="*/ 87 h 88"/>
                <a:gd name="T12" fmla="*/ 29 w 58"/>
                <a:gd name="T13" fmla="*/ 88 h 88"/>
                <a:gd name="T14" fmla="*/ 29 w 58"/>
                <a:gd name="T15" fmla="*/ 4 h 88"/>
                <a:gd name="T16" fmla="*/ 4 w 58"/>
                <a:gd name="T17" fmla="*/ 29 h 88"/>
                <a:gd name="T18" fmla="*/ 29 w 58"/>
                <a:gd name="T19" fmla="*/ 82 h 88"/>
                <a:gd name="T20" fmla="*/ 54 w 58"/>
                <a:gd name="T21" fmla="*/ 29 h 88"/>
                <a:gd name="T22" fmla="*/ 29 w 58"/>
                <a:gd name="T23" fmla="*/ 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8" h="88">
                  <a:moveTo>
                    <a:pt x="29" y="88"/>
                  </a:moveTo>
                  <a:cubicBezTo>
                    <a:pt x="28" y="88"/>
                    <a:pt x="28" y="88"/>
                    <a:pt x="27" y="87"/>
                  </a:cubicBezTo>
                  <a:cubicBezTo>
                    <a:pt x="26" y="85"/>
                    <a:pt x="0" y="45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29"/>
                  </a:cubicBezTo>
                  <a:cubicBezTo>
                    <a:pt x="58" y="45"/>
                    <a:pt x="32" y="85"/>
                    <a:pt x="31" y="87"/>
                  </a:cubicBezTo>
                  <a:cubicBezTo>
                    <a:pt x="30" y="88"/>
                    <a:pt x="30" y="88"/>
                    <a:pt x="29" y="88"/>
                  </a:cubicBezTo>
                  <a:close/>
                  <a:moveTo>
                    <a:pt x="29" y="4"/>
                  </a:moveTo>
                  <a:cubicBezTo>
                    <a:pt x="15" y="4"/>
                    <a:pt x="4" y="15"/>
                    <a:pt x="4" y="29"/>
                  </a:cubicBezTo>
                  <a:cubicBezTo>
                    <a:pt x="4" y="42"/>
                    <a:pt x="23" y="73"/>
                    <a:pt x="29" y="82"/>
                  </a:cubicBezTo>
                  <a:cubicBezTo>
                    <a:pt x="35" y="73"/>
                    <a:pt x="54" y="42"/>
                    <a:pt x="54" y="29"/>
                  </a:cubicBezTo>
                  <a:cubicBezTo>
                    <a:pt x="54" y="15"/>
                    <a:pt x="43" y="4"/>
                    <a:pt x="29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30">
              <a:extLst>
                <a:ext uri="{FF2B5EF4-FFF2-40B4-BE49-F238E27FC236}">
                  <a16:creationId xmlns:a16="http://schemas.microsoft.com/office/drawing/2014/main" id="{3F91E58B-8B74-43C0-A9B3-DFAB1CE62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0050" y="4494213"/>
              <a:ext cx="369888" cy="73025"/>
            </a:xfrm>
            <a:custGeom>
              <a:avLst/>
              <a:gdLst>
                <a:gd name="T0" fmla="*/ 48 w 96"/>
                <a:gd name="T1" fmla="*/ 19 h 19"/>
                <a:gd name="T2" fmla="*/ 0 w 96"/>
                <a:gd name="T3" fmla="*/ 9 h 19"/>
                <a:gd name="T4" fmla="*/ 28 w 96"/>
                <a:gd name="T5" fmla="*/ 0 h 19"/>
                <a:gd name="T6" fmla="*/ 30 w 96"/>
                <a:gd name="T7" fmla="*/ 2 h 19"/>
                <a:gd name="T8" fmla="*/ 28 w 96"/>
                <a:gd name="T9" fmla="*/ 4 h 19"/>
                <a:gd name="T10" fmla="*/ 4 w 96"/>
                <a:gd name="T11" fmla="*/ 9 h 19"/>
                <a:gd name="T12" fmla="*/ 48 w 96"/>
                <a:gd name="T13" fmla="*/ 15 h 19"/>
                <a:gd name="T14" fmla="*/ 92 w 96"/>
                <a:gd name="T15" fmla="*/ 9 h 19"/>
                <a:gd name="T16" fmla="*/ 68 w 96"/>
                <a:gd name="T17" fmla="*/ 4 h 19"/>
                <a:gd name="T18" fmla="*/ 66 w 96"/>
                <a:gd name="T19" fmla="*/ 2 h 19"/>
                <a:gd name="T20" fmla="*/ 68 w 96"/>
                <a:gd name="T21" fmla="*/ 0 h 19"/>
                <a:gd name="T22" fmla="*/ 96 w 96"/>
                <a:gd name="T23" fmla="*/ 9 h 19"/>
                <a:gd name="T24" fmla="*/ 48 w 96"/>
                <a:gd name="T2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9">
                  <a:moveTo>
                    <a:pt x="48" y="19"/>
                  </a:moveTo>
                  <a:cubicBezTo>
                    <a:pt x="43" y="19"/>
                    <a:pt x="0" y="19"/>
                    <a:pt x="0" y="9"/>
                  </a:cubicBezTo>
                  <a:cubicBezTo>
                    <a:pt x="0" y="4"/>
                    <a:pt x="9" y="1"/>
                    <a:pt x="28" y="0"/>
                  </a:cubicBezTo>
                  <a:cubicBezTo>
                    <a:pt x="29" y="0"/>
                    <a:pt x="30" y="1"/>
                    <a:pt x="30" y="2"/>
                  </a:cubicBezTo>
                  <a:cubicBezTo>
                    <a:pt x="30" y="3"/>
                    <a:pt x="29" y="4"/>
                    <a:pt x="28" y="4"/>
                  </a:cubicBezTo>
                  <a:cubicBezTo>
                    <a:pt x="10" y="5"/>
                    <a:pt x="4" y="8"/>
                    <a:pt x="4" y="9"/>
                  </a:cubicBezTo>
                  <a:cubicBezTo>
                    <a:pt x="5" y="11"/>
                    <a:pt x="21" y="15"/>
                    <a:pt x="48" y="15"/>
                  </a:cubicBezTo>
                  <a:cubicBezTo>
                    <a:pt x="75" y="15"/>
                    <a:pt x="91" y="11"/>
                    <a:pt x="92" y="9"/>
                  </a:cubicBezTo>
                  <a:cubicBezTo>
                    <a:pt x="92" y="8"/>
                    <a:pt x="86" y="5"/>
                    <a:pt x="68" y="4"/>
                  </a:cubicBezTo>
                  <a:cubicBezTo>
                    <a:pt x="67" y="4"/>
                    <a:pt x="66" y="3"/>
                    <a:pt x="66" y="2"/>
                  </a:cubicBezTo>
                  <a:cubicBezTo>
                    <a:pt x="66" y="1"/>
                    <a:pt x="67" y="0"/>
                    <a:pt x="68" y="0"/>
                  </a:cubicBezTo>
                  <a:cubicBezTo>
                    <a:pt x="87" y="1"/>
                    <a:pt x="96" y="4"/>
                    <a:pt x="96" y="9"/>
                  </a:cubicBezTo>
                  <a:cubicBezTo>
                    <a:pt x="96" y="19"/>
                    <a:pt x="53" y="19"/>
                    <a:pt x="48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2F90F55B-7CF6-4930-AFFF-3973ABC7EF7E}"/>
              </a:ext>
            </a:extLst>
          </p:cNvPr>
          <p:cNvGrpSpPr/>
          <p:nvPr/>
        </p:nvGrpSpPr>
        <p:grpSpPr>
          <a:xfrm>
            <a:off x="2803385" y="5300497"/>
            <a:ext cx="6585233" cy="238619"/>
            <a:chOff x="2138264" y="5985454"/>
            <a:chExt cx="4871287" cy="176513"/>
          </a:xfrm>
        </p:grpSpPr>
        <p:sp>
          <p:nvSpPr>
            <p:cNvPr id="241" name="Line 7">
              <a:extLst>
                <a:ext uri="{FF2B5EF4-FFF2-40B4-BE49-F238E27FC236}">
                  <a16:creationId xmlns:a16="http://schemas.microsoft.com/office/drawing/2014/main" id="{79754F4E-E6AE-445C-8722-AE42109A4E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30503" y="6073710"/>
              <a:ext cx="1098921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C70AEF60-A6E9-4A4C-87D4-48AD51613863}"/>
                </a:ext>
              </a:extLst>
            </p:cNvPr>
            <p:cNvSpPr/>
            <p:nvPr/>
          </p:nvSpPr>
          <p:spPr>
            <a:xfrm>
              <a:off x="2138264" y="6023892"/>
              <a:ext cx="99636" cy="9963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2F984569-7B79-447F-A694-3E12F644C0BC}"/>
                </a:ext>
              </a:extLst>
            </p:cNvPr>
            <p:cNvSpPr/>
            <p:nvPr/>
          </p:nvSpPr>
          <p:spPr>
            <a:xfrm>
              <a:off x="3311957" y="6023892"/>
              <a:ext cx="99636" cy="9963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4" name="Arc 243">
              <a:extLst>
                <a:ext uri="{FF2B5EF4-FFF2-40B4-BE49-F238E27FC236}">
                  <a16:creationId xmlns:a16="http://schemas.microsoft.com/office/drawing/2014/main" id="{9C78C769-3B52-4B4F-8449-0456B8498984}"/>
                </a:ext>
              </a:extLst>
            </p:cNvPr>
            <p:cNvSpPr/>
            <p:nvPr/>
          </p:nvSpPr>
          <p:spPr>
            <a:xfrm>
              <a:off x="3273519" y="5985454"/>
              <a:ext cx="176513" cy="176513"/>
            </a:xfrm>
            <a:prstGeom prst="arc">
              <a:avLst>
                <a:gd name="adj1" fmla="val 13550007"/>
                <a:gd name="adj2" fmla="val 8407218"/>
              </a:avLst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6" name="Arc 245">
              <a:extLst>
                <a:ext uri="{FF2B5EF4-FFF2-40B4-BE49-F238E27FC236}">
                  <a16:creationId xmlns:a16="http://schemas.microsoft.com/office/drawing/2014/main" id="{56FDFB10-F304-43FB-9038-2FCFA8801F7D}"/>
                </a:ext>
              </a:extLst>
            </p:cNvPr>
            <p:cNvSpPr/>
            <p:nvPr/>
          </p:nvSpPr>
          <p:spPr>
            <a:xfrm>
              <a:off x="4485651" y="5985454"/>
              <a:ext cx="176513" cy="176513"/>
            </a:xfrm>
            <a:prstGeom prst="arc">
              <a:avLst>
                <a:gd name="adj1" fmla="val 13550007"/>
                <a:gd name="adj2" fmla="val 8407218"/>
              </a:avLst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8" name="Arc 247">
              <a:extLst>
                <a:ext uri="{FF2B5EF4-FFF2-40B4-BE49-F238E27FC236}">
                  <a16:creationId xmlns:a16="http://schemas.microsoft.com/office/drawing/2014/main" id="{DF78572B-1DEA-40E1-8680-157BCC355E69}"/>
                </a:ext>
              </a:extLst>
            </p:cNvPr>
            <p:cNvSpPr/>
            <p:nvPr/>
          </p:nvSpPr>
          <p:spPr>
            <a:xfrm>
              <a:off x="5697783" y="5985454"/>
              <a:ext cx="176513" cy="176513"/>
            </a:xfrm>
            <a:prstGeom prst="arc">
              <a:avLst>
                <a:gd name="adj1" fmla="val 13550007"/>
                <a:gd name="adj2" fmla="val 8407218"/>
              </a:avLst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0" name="Line 7">
              <a:extLst>
                <a:ext uri="{FF2B5EF4-FFF2-40B4-BE49-F238E27FC236}">
                  <a16:creationId xmlns:a16="http://schemas.microsoft.com/office/drawing/2014/main" id="{41B59206-2C67-4858-82AC-8828CFCDB55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46324" y="6073710"/>
              <a:ext cx="1098921" cy="0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Line 7">
              <a:extLst>
                <a:ext uri="{FF2B5EF4-FFF2-40B4-BE49-F238E27FC236}">
                  <a16:creationId xmlns:a16="http://schemas.microsoft.com/office/drawing/2014/main" id="{CE97D1E5-FDF9-4611-8E18-F38AA7C1CB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58394" y="6073710"/>
              <a:ext cx="1098921" cy="0"/>
            </a:xfrm>
            <a:prstGeom prst="line">
              <a:avLst/>
            </a:prstGeom>
            <a:noFill/>
            <a:ln w="127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Line 7">
              <a:extLst>
                <a:ext uri="{FF2B5EF4-FFF2-40B4-BE49-F238E27FC236}">
                  <a16:creationId xmlns:a16="http://schemas.microsoft.com/office/drawing/2014/main" id="{4DACC5DB-525C-497E-ACE7-AE16CB64BD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74296" y="6073710"/>
              <a:ext cx="1098921" cy="0"/>
            </a:xfrm>
            <a:prstGeom prst="line">
              <a:avLst/>
            </a:prstGeom>
            <a:noFill/>
            <a:ln w="12700" cap="flat">
              <a:solidFill>
                <a:schemeClr val="tx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9917418A-0FF1-4425-B5E7-49683125161E}"/>
                </a:ext>
              </a:extLst>
            </p:cNvPr>
            <p:cNvSpPr/>
            <p:nvPr/>
          </p:nvSpPr>
          <p:spPr>
            <a:xfrm>
              <a:off x="6909915" y="6023892"/>
              <a:ext cx="99636" cy="9963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647AFCC3-F94F-4578-A7DF-FB99263A4DC0}"/>
                </a:ext>
              </a:extLst>
            </p:cNvPr>
            <p:cNvSpPr/>
            <p:nvPr/>
          </p:nvSpPr>
          <p:spPr>
            <a:xfrm>
              <a:off x="5736221" y="6023892"/>
              <a:ext cx="99636" cy="9963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12A9C62A-C136-472B-89E5-D38D3A3F60C6}"/>
                </a:ext>
              </a:extLst>
            </p:cNvPr>
            <p:cNvSpPr/>
            <p:nvPr/>
          </p:nvSpPr>
          <p:spPr>
            <a:xfrm>
              <a:off x="4524089" y="6023892"/>
              <a:ext cx="99636" cy="9963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3D0771D0-E575-414B-9470-10F5DD4B3024}"/>
              </a:ext>
            </a:extLst>
          </p:cNvPr>
          <p:cNvGrpSpPr/>
          <p:nvPr/>
        </p:nvGrpSpPr>
        <p:grpSpPr>
          <a:xfrm>
            <a:off x="3471865" y="5016226"/>
            <a:ext cx="384384" cy="291999"/>
            <a:chOff x="2615417" y="5780886"/>
            <a:chExt cx="284340" cy="216000"/>
          </a:xfrm>
          <a:solidFill>
            <a:schemeClr val="accent1"/>
          </a:solidFill>
        </p:grpSpPr>
        <p:sp>
          <p:nvSpPr>
            <p:cNvPr id="233" name="Freeform 34">
              <a:extLst>
                <a:ext uri="{FF2B5EF4-FFF2-40B4-BE49-F238E27FC236}">
                  <a16:creationId xmlns:a16="http://schemas.microsoft.com/office/drawing/2014/main" id="{CE4538A5-3B7C-4468-9788-FA798555C4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5214" y="5924886"/>
              <a:ext cx="70780" cy="72000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4 h 24"/>
                <a:gd name="T12" fmla="*/ 4 w 24"/>
                <a:gd name="T13" fmla="*/ 12 h 24"/>
                <a:gd name="T14" fmla="*/ 12 w 24"/>
                <a:gd name="T15" fmla="*/ 20 h 24"/>
                <a:gd name="T16" fmla="*/ 20 w 24"/>
                <a:gd name="T17" fmla="*/ 12 h 24"/>
                <a:gd name="T18" fmla="*/ 12 w 24"/>
                <a:gd name="T19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20"/>
                    <a:pt x="12" y="20"/>
                  </a:cubicBezTo>
                  <a:cubicBezTo>
                    <a:pt x="16" y="20"/>
                    <a:pt x="20" y="16"/>
                    <a:pt x="20" y="12"/>
                  </a:cubicBezTo>
                  <a:cubicBezTo>
                    <a:pt x="20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35">
              <a:extLst>
                <a:ext uri="{FF2B5EF4-FFF2-40B4-BE49-F238E27FC236}">
                  <a16:creationId xmlns:a16="http://schemas.microsoft.com/office/drawing/2014/main" id="{55A20253-815D-4362-8C7F-EFBDBBD93C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4570" y="5924886"/>
              <a:ext cx="72001" cy="72000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4 h 24"/>
                <a:gd name="T12" fmla="*/ 4 w 24"/>
                <a:gd name="T13" fmla="*/ 12 h 24"/>
                <a:gd name="T14" fmla="*/ 12 w 24"/>
                <a:gd name="T15" fmla="*/ 20 h 24"/>
                <a:gd name="T16" fmla="*/ 20 w 24"/>
                <a:gd name="T17" fmla="*/ 12 h 24"/>
                <a:gd name="T18" fmla="*/ 12 w 24"/>
                <a:gd name="T19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20"/>
                    <a:pt x="12" y="20"/>
                  </a:cubicBezTo>
                  <a:cubicBezTo>
                    <a:pt x="16" y="20"/>
                    <a:pt x="20" y="16"/>
                    <a:pt x="20" y="12"/>
                  </a:cubicBezTo>
                  <a:cubicBezTo>
                    <a:pt x="20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36">
              <a:extLst>
                <a:ext uri="{FF2B5EF4-FFF2-40B4-BE49-F238E27FC236}">
                  <a16:creationId xmlns:a16="http://schemas.microsoft.com/office/drawing/2014/main" id="{FFE69EC6-9CED-4A15-B8A2-82D87E948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0604" y="5780886"/>
              <a:ext cx="189153" cy="180610"/>
            </a:xfrm>
            <a:custGeom>
              <a:avLst/>
              <a:gdLst>
                <a:gd name="T0" fmla="*/ 62 w 64"/>
                <a:gd name="T1" fmla="*/ 60 h 60"/>
                <a:gd name="T2" fmla="*/ 60 w 64"/>
                <a:gd name="T3" fmla="*/ 58 h 60"/>
                <a:gd name="T4" fmla="*/ 60 w 64"/>
                <a:gd name="T5" fmla="*/ 4 h 60"/>
                <a:gd name="T6" fmla="*/ 4 w 64"/>
                <a:gd name="T7" fmla="*/ 4 h 60"/>
                <a:gd name="T8" fmla="*/ 4 w 64"/>
                <a:gd name="T9" fmla="*/ 42 h 60"/>
                <a:gd name="T10" fmla="*/ 2 w 64"/>
                <a:gd name="T11" fmla="*/ 44 h 60"/>
                <a:gd name="T12" fmla="*/ 0 w 64"/>
                <a:gd name="T13" fmla="*/ 42 h 60"/>
                <a:gd name="T14" fmla="*/ 0 w 64"/>
                <a:gd name="T15" fmla="*/ 2 h 60"/>
                <a:gd name="T16" fmla="*/ 2 w 64"/>
                <a:gd name="T17" fmla="*/ 0 h 60"/>
                <a:gd name="T18" fmla="*/ 62 w 64"/>
                <a:gd name="T19" fmla="*/ 0 h 60"/>
                <a:gd name="T20" fmla="*/ 64 w 64"/>
                <a:gd name="T21" fmla="*/ 2 h 60"/>
                <a:gd name="T22" fmla="*/ 64 w 64"/>
                <a:gd name="T23" fmla="*/ 58 h 60"/>
                <a:gd name="T24" fmla="*/ 62 w 64"/>
                <a:gd name="T2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60">
                  <a:moveTo>
                    <a:pt x="62" y="60"/>
                  </a:moveTo>
                  <a:cubicBezTo>
                    <a:pt x="61" y="60"/>
                    <a:pt x="60" y="59"/>
                    <a:pt x="60" y="58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3"/>
                    <a:pt x="3" y="44"/>
                    <a:pt x="2" y="44"/>
                  </a:cubicBezTo>
                  <a:cubicBezTo>
                    <a:pt x="1" y="44"/>
                    <a:pt x="0" y="43"/>
                    <a:pt x="0" y="4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3" y="0"/>
                    <a:pt x="64" y="1"/>
                    <a:pt x="64" y="2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59"/>
                    <a:pt x="63" y="60"/>
                    <a:pt x="6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37">
              <a:extLst>
                <a:ext uri="{FF2B5EF4-FFF2-40B4-BE49-F238E27FC236}">
                  <a16:creationId xmlns:a16="http://schemas.microsoft.com/office/drawing/2014/main" id="{1456CB8E-318F-4406-8DE4-B93FB6911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5417" y="5828479"/>
              <a:ext cx="106170" cy="144000"/>
            </a:xfrm>
            <a:custGeom>
              <a:avLst/>
              <a:gdLst>
                <a:gd name="T0" fmla="*/ 2 w 36"/>
                <a:gd name="T1" fmla="*/ 48 h 48"/>
                <a:gd name="T2" fmla="*/ 0 w 36"/>
                <a:gd name="T3" fmla="*/ 46 h 48"/>
                <a:gd name="T4" fmla="*/ 0 w 36"/>
                <a:gd name="T5" fmla="*/ 18 h 48"/>
                <a:gd name="T6" fmla="*/ 18 w 36"/>
                <a:gd name="T7" fmla="*/ 0 h 48"/>
                <a:gd name="T8" fmla="*/ 34 w 36"/>
                <a:gd name="T9" fmla="*/ 0 h 48"/>
                <a:gd name="T10" fmla="*/ 36 w 36"/>
                <a:gd name="T11" fmla="*/ 2 h 48"/>
                <a:gd name="T12" fmla="*/ 34 w 36"/>
                <a:gd name="T13" fmla="*/ 4 h 48"/>
                <a:gd name="T14" fmla="*/ 18 w 36"/>
                <a:gd name="T15" fmla="*/ 4 h 48"/>
                <a:gd name="T16" fmla="*/ 4 w 36"/>
                <a:gd name="T17" fmla="*/ 18 h 48"/>
                <a:gd name="T18" fmla="*/ 4 w 36"/>
                <a:gd name="T19" fmla="*/ 46 h 48"/>
                <a:gd name="T20" fmla="*/ 2 w 36"/>
                <a:gd name="T2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48">
                  <a:moveTo>
                    <a:pt x="2" y="48"/>
                  </a:moveTo>
                  <a:cubicBezTo>
                    <a:pt x="1" y="48"/>
                    <a:pt x="0" y="47"/>
                    <a:pt x="0" y="4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6" y="1"/>
                    <a:pt x="36" y="2"/>
                  </a:cubicBezTo>
                  <a:cubicBezTo>
                    <a:pt x="36" y="3"/>
                    <a:pt x="35" y="4"/>
                    <a:pt x="34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0" y="4"/>
                    <a:pt x="4" y="10"/>
                    <a:pt x="4" y="18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4" y="47"/>
                    <a:pt x="3" y="48"/>
                    <a:pt x="2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38">
              <a:extLst>
                <a:ext uri="{FF2B5EF4-FFF2-40B4-BE49-F238E27FC236}">
                  <a16:creationId xmlns:a16="http://schemas.microsoft.com/office/drawing/2014/main" id="{645BACA8-F12E-4F53-A149-70EF6E07D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8197" y="5949293"/>
              <a:ext cx="35390" cy="12203"/>
            </a:xfrm>
            <a:custGeom>
              <a:avLst/>
              <a:gdLst>
                <a:gd name="T0" fmla="*/ 10 w 12"/>
                <a:gd name="T1" fmla="*/ 4 h 4"/>
                <a:gd name="T2" fmla="*/ 2 w 12"/>
                <a:gd name="T3" fmla="*/ 4 h 4"/>
                <a:gd name="T4" fmla="*/ 0 w 12"/>
                <a:gd name="T5" fmla="*/ 2 h 4"/>
                <a:gd name="T6" fmla="*/ 2 w 12"/>
                <a:gd name="T7" fmla="*/ 0 h 4"/>
                <a:gd name="T8" fmla="*/ 10 w 12"/>
                <a:gd name="T9" fmla="*/ 0 h 4"/>
                <a:gd name="T10" fmla="*/ 12 w 12"/>
                <a:gd name="T11" fmla="*/ 2 h 4"/>
                <a:gd name="T12" fmla="*/ 10 w 1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">
                  <a:moveTo>
                    <a:pt x="1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1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39">
              <a:extLst>
                <a:ext uri="{FF2B5EF4-FFF2-40B4-BE49-F238E27FC236}">
                  <a16:creationId xmlns:a16="http://schemas.microsoft.com/office/drawing/2014/main" id="{8595CEA6-9EB1-490B-9029-8B245721A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5417" y="5961496"/>
              <a:ext cx="47594" cy="10983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40">
              <a:extLst>
                <a:ext uri="{FF2B5EF4-FFF2-40B4-BE49-F238E27FC236}">
                  <a16:creationId xmlns:a16="http://schemas.microsoft.com/office/drawing/2014/main" id="{7693EB0C-AF53-47E2-86EF-2DD7A7483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8604" y="5852886"/>
              <a:ext cx="59797" cy="59796"/>
            </a:xfrm>
            <a:custGeom>
              <a:avLst/>
              <a:gdLst>
                <a:gd name="T0" fmla="*/ 2 w 20"/>
                <a:gd name="T1" fmla="*/ 20 h 20"/>
                <a:gd name="T2" fmla="*/ 0 w 20"/>
                <a:gd name="T3" fmla="*/ 18 h 20"/>
                <a:gd name="T4" fmla="*/ 0 w 20"/>
                <a:gd name="T5" fmla="*/ 8 h 20"/>
                <a:gd name="T6" fmla="*/ 8 w 20"/>
                <a:gd name="T7" fmla="*/ 0 h 20"/>
                <a:gd name="T8" fmla="*/ 18 w 20"/>
                <a:gd name="T9" fmla="*/ 0 h 20"/>
                <a:gd name="T10" fmla="*/ 20 w 20"/>
                <a:gd name="T11" fmla="*/ 2 h 20"/>
                <a:gd name="T12" fmla="*/ 18 w 20"/>
                <a:gd name="T13" fmla="*/ 4 h 20"/>
                <a:gd name="T14" fmla="*/ 8 w 20"/>
                <a:gd name="T15" fmla="*/ 4 h 20"/>
                <a:gd name="T16" fmla="*/ 4 w 20"/>
                <a:gd name="T17" fmla="*/ 8 h 20"/>
                <a:gd name="T18" fmla="*/ 4 w 20"/>
                <a:gd name="T19" fmla="*/ 18 h 20"/>
                <a:gd name="T20" fmla="*/ 2 w 20"/>
                <a:gd name="T2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0">
                  <a:moveTo>
                    <a:pt x="2" y="20"/>
                  </a:moveTo>
                  <a:cubicBezTo>
                    <a:pt x="1" y="20"/>
                    <a:pt x="0" y="19"/>
                    <a:pt x="0" y="1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6" y="4"/>
                    <a:pt x="4" y="6"/>
                    <a:pt x="4" y="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9"/>
                    <a:pt x="3" y="20"/>
                    <a:pt x="2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41">
              <a:extLst>
                <a:ext uri="{FF2B5EF4-FFF2-40B4-BE49-F238E27FC236}">
                  <a16:creationId xmlns:a16="http://schemas.microsoft.com/office/drawing/2014/main" id="{772B8B45-DB32-49C4-907E-C20F801A7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5417" y="5937090"/>
              <a:ext cx="53695" cy="12203"/>
            </a:xfrm>
            <a:custGeom>
              <a:avLst/>
              <a:gdLst>
                <a:gd name="T0" fmla="*/ 16 w 18"/>
                <a:gd name="T1" fmla="*/ 4 h 4"/>
                <a:gd name="T2" fmla="*/ 2 w 18"/>
                <a:gd name="T3" fmla="*/ 4 h 4"/>
                <a:gd name="T4" fmla="*/ 0 w 18"/>
                <a:gd name="T5" fmla="*/ 2 h 4"/>
                <a:gd name="T6" fmla="*/ 2 w 18"/>
                <a:gd name="T7" fmla="*/ 0 h 4"/>
                <a:gd name="T8" fmla="*/ 16 w 18"/>
                <a:gd name="T9" fmla="*/ 0 h 4"/>
                <a:gd name="T10" fmla="*/ 18 w 18"/>
                <a:gd name="T11" fmla="*/ 2 h 4"/>
                <a:gd name="T12" fmla="*/ 16 w 1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4">
                  <a:moveTo>
                    <a:pt x="1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8" y="1"/>
                    <a:pt x="18" y="2"/>
                  </a:cubicBezTo>
                  <a:cubicBezTo>
                    <a:pt x="18" y="3"/>
                    <a:pt x="17" y="4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1" name="TextBox 190">
            <a:extLst>
              <a:ext uri="{FF2B5EF4-FFF2-40B4-BE49-F238E27FC236}">
                <a16:creationId xmlns:a16="http://schemas.microsoft.com/office/drawing/2014/main" id="{FA7C9B4E-F775-41CA-8899-CF836F6962BE}"/>
              </a:ext>
            </a:extLst>
          </p:cNvPr>
          <p:cNvSpPr txBox="1"/>
          <p:nvPr/>
        </p:nvSpPr>
        <p:spPr>
          <a:xfrm>
            <a:off x="2938077" y="5531387"/>
            <a:ext cx="1451960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1"/>
                </a:solidFill>
              </a:rPr>
              <a:t>LOREM IPSUM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C07BC5FB-3951-46E0-8D2F-BEBB6DDD916F}"/>
              </a:ext>
            </a:extLst>
          </p:cNvPr>
          <p:cNvSpPr txBox="1"/>
          <p:nvPr/>
        </p:nvSpPr>
        <p:spPr>
          <a:xfrm>
            <a:off x="4559373" y="5531387"/>
            <a:ext cx="1451960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2"/>
                </a:solidFill>
              </a:rPr>
              <a:t>LOREM IPSUM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23FC3B9A-D153-4C98-88B1-2D10BE3D4E1E}"/>
              </a:ext>
            </a:extLst>
          </p:cNvPr>
          <p:cNvSpPr txBox="1"/>
          <p:nvPr/>
        </p:nvSpPr>
        <p:spPr>
          <a:xfrm>
            <a:off x="6180668" y="5531387"/>
            <a:ext cx="1451960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3"/>
                </a:solidFill>
              </a:rPr>
              <a:t>LOREM IPSUM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C0D83DF5-A221-4D72-9C0F-137C134E1B35}"/>
              </a:ext>
            </a:extLst>
          </p:cNvPr>
          <p:cNvSpPr txBox="1"/>
          <p:nvPr/>
        </p:nvSpPr>
        <p:spPr>
          <a:xfrm>
            <a:off x="7801963" y="5531387"/>
            <a:ext cx="1451960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LOREM IPSUM</a:t>
            </a:r>
          </a:p>
        </p:txBody>
      </p: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B2693BF2-6021-4144-B52D-27BCEDA5B603}"/>
              </a:ext>
            </a:extLst>
          </p:cNvPr>
          <p:cNvGrpSpPr>
            <a:grpSpLocks noChangeAspect="1"/>
          </p:cNvGrpSpPr>
          <p:nvPr/>
        </p:nvGrpSpPr>
        <p:grpSpPr>
          <a:xfrm>
            <a:off x="5080779" y="5016226"/>
            <a:ext cx="409149" cy="291999"/>
            <a:chOff x="4591050" y="5210176"/>
            <a:chExt cx="371476" cy="265113"/>
          </a:xfrm>
          <a:solidFill>
            <a:schemeClr val="accent2"/>
          </a:solidFill>
        </p:grpSpPr>
        <p:sp>
          <p:nvSpPr>
            <p:cNvPr id="219" name="Freeform 45">
              <a:extLst>
                <a:ext uri="{FF2B5EF4-FFF2-40B4-BE49-F238E27FC236}">
                  <a16:creationId xmlns:a16="http://schemas.microsoft.com/office/drawing/2014/main" id="{39E71CC0-4942-4636-914F-CEB616FE4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1050" y="5413376"/>
              <a:ext cx="80963" cy="38100"/>
            </a:xfrm>
            <a:custGeom>
              <a:avLst/>
              <a:gdLst>
                <a:gd name="T0" fmla="*/ 2 w 21"/>
                <a:gd name="T1" fmla="*/ 10 h 10"/>
                <a:gd name="T2" fmla="*/ 1 w 21"/>
                <a:gd name="T3" fmla="*/ 9 h 10"/>
                <a:gd name="T4" fmla="*/ 1 w 21"/>
                <a:gd name="T5" fmla="*/ 6 h 10"/>
                <a:gd name="T6" fmla="*/ 9 w 21"/>
                <a:gd name="T7" fmla="*/ 0 h 10"/>
                <a:gd name="T8" fmla="*/ 10 w 21"/>
                <a:gd name="T9" fmla="*/ 0 h 10"/>
                <a:gd name="T10" fmla="*/ 19 w 21"/>
                <a:gd name="T11" fmla="*/ 0 h 10"/>
                <a:gd name="T12" fmla="*/ 21 w 21"/>
                <a:gd name="T13" fmla="*/ 2 h 10"/>
                <a:gd name="T14" fmla="*/ 19 w 21"/>
                <a:gd name="T15" fmla="*/ 4 h 10"/>
                <a:gd name="T16" fmla="*/ 11 w 21"/>
                <a:gd name="T17" fmla="*/ 4 h 10"/>
                <a:gd name="T18" fmla="*/ 4 w 21"/>
                <a:gd name="T19" fmla="*/ 10 h 10"/>
                <a:gd name="T20" fmla="*/ 2 w 21"/>
                <a:gd name="T2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0">
                  <a:moveTo>
                    <a:pt x="2" y="10"/>
                  </a:moveTo>
                  <a:cubicBezTo>
                    <a:pt x="2" y="10"/>
                    <a:pt x="1" y="10"/>
                    <a:pt x="1" y="9"/>
                  </a:cubicBezTo>
                  <a:cubicBezTo>
                    <a:pt x="0" y="8"/>
                    <a:pt x="0" y="7"/>
                    <a:pt x="1" y="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1"/>
                    <a:pt x="21" y="2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3" y="10"/>
                    <a:pt x="3" y="10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46">
              <a:extLst>
                <a:ext uri="{FF2B5EF4-FFF2-40B4-BE49-F238E27FC236}">
                  <a16:creationId xmlns:a16="http://schemas.microsoft.com/office/drawing/2014/main" id="{541CDB18-8AF3-4CD5-B206-101F6F55DA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2963" y="5397501"/>
              <a:ext cx="77788" cy="77788"/>
            </a:xfrm>
            <a:custGeom>
              <a:avLst/>
              <a:gdLst>
                <a:gd name="T0" fmla="*/ 10 w 20"/>
                <a:gd name="T1" fmla="*/ 20 h 20"/>
                <a:gd name="T2" fmla="*/ 0 w 20"/>
                <a:gd name="T3" fmla="*/ 10 h 20"/>
                <a:gd name="T4" fmla="*/ 10 w 20"/>
                <a:gd name="T5" fmla="*/ 0 h 20"/>
                <a:gd name="T6" fmla="*/ 20 w 20"/>
                <a:gd name="T7" fmla="*/ 10 h 20"/>
                <a:gd name="T8" fmla="*/ 10 w 20"/>
                <a:gd name="T9" fmla="*/ 20 h 20"/>
                <a:gd name="T10" fmla="*/ 10 w 20"/>
                <a:gd name="T11" fmla="*/ 4 h 20"/>
                <a:gd name="T12" fmla="*/ 4 w 20"/>
                <a:gd name="T13" fmla="*/ 10 h 20"/>
                <a:gd name="T14" fmla="*/ 10 w 20"/>
                <a:gd name="T15" fmla="*/ 16 h 20"/>
                <a:gd name="T16" fmla="*/ 16 w 20"/>
                <a:gd name="T17" fmla="*/ 10 h 20"/>
                <a:gd name="T18" fmla="*/ 10 w 20"/>
                <a:gd name="T1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20"/>
                  </a:moveTo>
                  <a:cubicBezTo>
                    <a:pt x="4" y="20"/>
                    <a:pt x="0" y="16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cubicBezTo>
                    <a:pt x="20" y="16"/>
                    <a:pt x="16" y="20"/>
                    <a:pt x="10" y="20"/>
                  </a:cubicBezTo>
                  <a:close/>
                  <a:moveTo>
                    <a:pt x="10" y="4"/>
                  </a:moveTo>
                  <a:cubicBezTo>
                    <a:pt x="7" y="4"/>
                    <a:pt x="4" y="7"/>
                    <a:pt x="4" y="10"/>
                  </a:cubicBezTo>
                  <a:cubicBezTo>
                    <a:pt x="4" y="13"/>
                    <a:pt x="7" y="16"/>
                    <a:pt x="10" y="16"/>
                  </a:cubicBezTo>
                  <a:cubicBezTo>
                    <a:pt x="13" y="16"/>
                    <a:pt x="16" y="13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47">
              <a:extLst>
                <a:ext uri="{FF2B5EF4-FFF2-40B4-BE49-F238E27FC236}">
                  <a16:creationId xmlns:a16="http://schemas.microsoft.com/office/drawing/2014/main" id="{0808191F-47E4-4D44-B55D-C315842F69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6625" y="5397501"/>
              <a:ext cx="76200" cy="77788"/>
            </a:xfrm>
            <a:custGeom>
              <a:avLst/>
              <a:gdLst>
                <a:gd name="T0" fmla="*/ 10 w 20"/>
                <a:gd name="T1" fmla="*/ 20 h 20"/>
                <a:gd name="T2" fmla="*/ 0 w 20"/>
                <a:gd name="T3" fmla="*/ 10 h 20"/>
                <a:gd name="T4" fmla="*/ 10 w 20"/>
                <a:gd name="T5" fmla="*/ 0 h 20"/>
                <a:gd name="T6" fmla="*/ 20 w 20"/>
                <a:gd name="T7" fmla="*/ 10 h 20"/>
                <a:gd name="T8" fmla="*/ 10 w 20"/>
                <a:gd name="T9" fmla="*/ 20 h 20"/>
                <a:gd name="T10" fmla="*/ 10 w 20"/>
                <a:gd name="T11" fmla="*/ 4 h 20"/>
                <a:gd name="T12" fmla="*/ 4 w 20"/>
                <a:gd name="T13" fmla="*/ 10 h 20"/>
                <a:gd name="T14" fmla="*/ 10 w 20"/>
                <a:gd name="T15" fmla="*/ 16 h 20"/>
                <a:gd name="T16" fmla="*/ 16 w 20"/>
                <a:gd name="T17" fmla="*/ 10 h 20"/>
                <a:gd name="T18" fmla="*/ 10 w 20"/>
                <a:gd name="T1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20"/>
                  </a:moveTo>
                  <a:cubicBezTo>
                    <a:pt x="4" y="20"/>
                    <a:pt x="0" y="16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cubicBezTo>
                    <a:pt x="20" y="16"/>
                    <a:pt x="16" y="20"/>
                    <a:pt x="10" y="20"/>
                  </a:cubicBezTo>
                  <a:close/>
                  <a:moveTo>
                    <a:pt x="10" y="4"/>
                  </a:moveTo>
                  <a:cubicBezTo>
                    <a:pt x="7" y="4"/>
                    <a:pt x="4" y="7"/>
                    <a:pt x="4" y="10"/>
                  </a:cubicBezTo>
                  <a:cubicBezTo>
                    <a:pt x="4" y="13"/>
                    <a:pt x="7" y="16"/>
                    <a:pt x="10" y="16"/>
                  </a:cubicBezTo>
                  <a:cubicBezTo>
                    <a:pt x="13" y="16"/>
                    <a:pt x="16" y="13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48">
              <a:extLst>
                <a:ext uri="{FF2B5EF4-FFF2-40B4-BE49-F238E27FC236}">
                  <a16:creationId xmlns:a16="http://schemas.microsoft.com/office/drawing/2014/main" id="{48A7AA39-7E7B-463F-87D7-842C164853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8700" y="5397501"/>
              <a:ext cx="77788" cy="77788"/>
            </a:xfrm>
            <a:custGeom>
              <a:avLst/>
              <a:gdLst>
                <a:gd name="T0" fmla="*/ 10 w 20"/>
                <a:gd name="T1" fmla="*/ 20 h 20"/>
                <a:gd name="T2" fmla="*/ 0 w 20"/>
                <a:gd name="T3" fmla="*/ 10 h 20"/>
                <a:gd name="T4" fmla="*/ 10 w 20"/>
                <a:gd name="T5" fmla="*/ 0 h 20"/>
                <a:gd name="T6" fmla="*/ 20 w 20"/>
                <a:gd name="T7" fmla="*/ 10 h 20"/>
                <a:gd name="T8" fmla="*/ 10 w 20"/>
                <a:gd name="T9" fmla="*/ 20 h 20"/>
                <a:gd name="T10" fmla="*/ 10 w 20"/>
                <a:gd name="T11" fmla="*/ 4 h 20"/>
                <a:gd name="T12" fmla="*/ 4 w 20"/>
                <a:gd name="T13" fmla="*/ 10 h 20"/>
                <a:gd name="T14" fmla="*/ 10 w 20"/>
                <a:gd name="T15" fmla="*/ 16 h 20"/>
                <a:gd name="T16" fmla="*/ 16 w 20"/>
                <a:gd name="T17" fmla="*/ 10 h 20"/>
                <a:gd name="T18" fmla="*/ 10 w 20"/>
                <a:gd name="T1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0">
                  <a:moveTo>
                    <a:pt x="10" y="20"/>
                  </a:moveTo>
                  <a:cubicBezTo>
                    <a:pt x="4" y="20"/>
                    <a:pt x="0" y="16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cubicBezTo>
                    <a:pt x="20" y="16"/>
                    <a:pt x="16" y="20"/>
                    <a:pt x="10" y="20"/>
                  </a:cubicBezTo>
                  <a:close/>
                  <a:moveTo>
                    <a:pt x="10" y="4"/>
                  </a:moveTo>
                  <a:cubicBezTo>
                    <a:pt x="7" y="4"/>
                    <a:pt x="4" y="7"/>
                    <a:pt x="4" y="10"/>
                  </a:cubicBezTo>
                  <a:cubicBezTo>
                    <a:pt x="4" y="13"/>
                    <a:pt x="7" y="16"/>
                    <a:pt x="10" y="16"/>
                  </a:cubicBezTo>
                  <a:cubicBezTo>
                    <a:pt x="13" y="16"/>
                    <a:pt x="16" y="13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49">
              <a:extLst>
                <a:ext uri="{FF2B5EF4-FFF2-40B4-BE49-F238E27FC236}">
                  <a16:creationId xmlns:a16="http://schemas.microsoft.com/office/drawing/2014/main" id="{6388F2A7-6A84-4498-A6E3-96409ACB93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0913" y="5210176"/>
              <a:ext cx="201613" cy="14288"/>
            </a:xfrm>
            <a:custGeom>
              <a:avLst/>
              <a:gdLst>
                <a:gd name="T0" fmla="*/ 50 w 52"/>
                <a:gd name="T1" fmla="*/ 4 h 4"/>
                <a:gd name="T2" fmla="*/ 2 w 52"/>
                <a:gd name="T3" fmla="*/ 4 h 4"/>
                <a:gd name="T4" fmla="*/ 0 w 52"/>
                <a:gd name="T5" fmla="*/ 2 h 4"/>
                <a:gd name="T6" fmla="*/ 2 w 52"/>
                <a:gd name="T7" fmla="*/ 0 h 4"/>
                <a:gd name="T8" fmla="*/ 50 w 52"/>
                <a:gd name="T9" fmla="*/ 0 h 4"/>
                <a:gd name="T10" fmla="*/ 52 w 52"/>
                <a:gd name="T11" fmla="*/ 2 h 4"/>
                <a:gd name="T12" fmla="*/ 50 w 5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">
                  <a:moveTo>
                    <a:pt x="5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1" y="0"/>
                    <a:pt x="52" y="1"/>
                    <a:pt x="52" y="2"/>
                  </a:cubicBezTo>
                  <a:cubicBezTo>
                    <a:pt x="52" y="3"/>
                    <a:pt x="51" y="4"/>
                    <a:pt x="5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50">
              <a:extLst>
                <a:ext uri="{FF2B5EF4-FFF2-40B4-BE49-F238E27FC236}">
                  <a16:creationId xmlns:a16="http://schemas.microsoft.com/office/drawing/2014/main" id="{FB3E72D0-8921-4A92-B74E-9190B5382B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0100" y="5210176"/>
              <a:ext cx="182563" cy="219075"/>
            </a:xfrm>
            <a:custGeom>
              <a:avLst/>
              <a:gdLst>
                <a:gd name="T0" fmla="*/ 7 w 47"/>
                <a:gd name="T1" fmla="*/ 56 h 56"/>
                <a:gd name="T2" fmla="*/ 0 w 47"/>
                <a:gd name="T3" fmla="*/ 40 h 56"/>
                <a:gd name="T4" fmla="*/ 2 w 47"/>
                <a:gd name="T5" fmla="*/ 30 h 56"/>
                <a:gd name="T6" fmla="*/ 7 w 47"/>
                <a:gd name="T7" fmla="*/ 24 h 56"/>
                <a:gd name="T8" fmla="*/ 43 w 47"/>
                <a:gd name="T9" fmla="*/ 24 h 56"/>
                <a:gd name="T10" fmla="*/ 43 w 47"/>
                <a:gd name="T11" fmla="*/ 2 h 56"/>
                <a:gd name="T12" fmla="*/ 45 w 47"/>
                <a:gd name="T13" fmla="*/ 0 h 56"/>
                <a:gd name="T14" fmla="*/ 47 w 47"/>
                <a:gd name="T15" fmla="*/ 2 h 56"/>
                <a:gd name="T16" fmla="*/ 47 w 47"/>
                <a:gd name="T17" fmla="*/ 26 h 56"/>
                <a:gd name="T18" fmla="*/ 45 w 47"/>
                <a:gd name="T19" fmla="*/ 28 h 56"/>
                <a:gd name="T20" fmla="*/ 7 w 47"/>
                <a:gd name="T21" fmla="*/ 28 h 56"/>
                <a:gd name="T22" fmla="*/ 4 w 47"/>
                <a:gd name="T23" fmla="*/ 40 h 56"/>
                <a:gd name="T24" fmla="*/ 7 w 47"/>
                <a:gd name="T25" fmla="*/ 52 h 56"/>
                <a:gd name="T26" fmla="*/ 9 w 47"/>
                <a:gd name="T27" fmla="*/ 54 h 56"/>
                <a:gd name="T28" fmla="*/ 7 w 47"/>
                <a:gd name="T2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" h="56">
                  <a:moveTo>
                    <a:pt x="7" y="56"/>
                  </a:moveTo>
                  <a:cubicBezTo>
                    <a:pt x="1" y="56"/>
                    <a:pt x="0" y="44"/>
                    <a:pt x="0" y="40"/>
                  </a:cubicBezTo>
                  <a:cubicBezTo>
                    <a:pt x="0" y="36"/>
                    <a:pt x="1" y="33"/>
                    <a:pt x="2" y="30"/>
                  </a:cubicBezTo>
                  <a:cubicBezTo>
                    <a:pt x="3" y="25"/>
                    <a:pt x="5" y="24"/>
                    <a:pt x="7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1"/>
                    <a:pt x="44" y="0"/>
                    <a:pt x="45" y="0"/>
                  </a:cubicBezTo>
                  <a:cubicBezTo>
                    <a:pt x="46" y="0"/>
                    <a:pt x="47" y="1"/>
                    <a:pt x="47" y="2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7"/>
                    <a:pt x="46" y="28"/>
                    <a:pt x="45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6" y="28"/>
                    <a:pt x="4" y="33"/>
                    <a:pt x="4" y="40"/>
                  </a:cubicBezTo>
                  <a:cubicBezTo>
                    <a:pt x="4" y="47"/>
                    <a:pt x="6" y="52"/>
                    <a:pt x="7" y="52"/>
                  </a:cubicBezTo>
                  <a:cubicBezTo>
                    <a:pt x="8" y="52"/>
                    <a:pt x="9" y="53"/>
                    <a:pt x="9" y="54"/>
                  </a:cubicBezTo>
                  <a:cubicBezTo>
                    <a:pt x="9" y="55"/>
                    <a:pt x="8" y="56"/>
                    <a:pt x="7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51">
              <a:extLst>
                <a:ext uri="{FF2B5EF4-FFF2-40B4-BE49-F238E27FC236}">
                  <a16:creationId xmlns:a16="http://schemas.microsoft.com/office/drawing/2014/main" id="{B5AEF4A9-649C-4E46-8C93-6C513255A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488" y="5210176"/>
              <a:ext cx="46038" cy="219075"/>
            </a:xfrm>
            <a:custGeom>
              <a:avLst/>
              <a:gdLst>
                <a:gd name="T0" fmla="*/ 10 w 12"/>
                <a:gd name="T1" fmla="*/ 56 h 56"/>
                <a:gd name="T2" fmla="*/ 8 w 12"/>
                <a:gd name="T3" fmla="*/ 54 h 56"/>
                <a:gd name="T4" fmla="*/ 8 w 12"/>
                <a:gd name="T5" fmla="*/ 32 h 56"/>
                <a:gd name="T6" fmla="*/ 2 w 12"/>
                <a:gd name="T7" fmla="*/ 32 h 56"/>
                <a:gd name="T8" fmla="*/ 0 w 12"/>
                <a:gd name="T9" fmla="*/ 30 h 56"/>
                <a:gd name="T10" fmla="*/ 0 w 12"/>
                <a:gd name="T11" fmla="*/ 2 h 56"/>
                <a:gd name="T12" fmla="*/ 2 w 12"/>
                <a:gd name="T13" fmla="*/ 0 h 56"/>
                <a:gd name="T14" fmla="*/ 4 w 12"/>
                <a:gd name="T15" fmla="*/ 2 h 56"/>
                <a:gd name="T16" fmla="*/ 4 w 12"/>
                <a:gd name="T17" fmla="*/ 28 h 56"/>
                <a:gd name="T18" fmla="*/ 10 w 12"/>
                <a:gd name="T19" fmla="*/ 28 h 56"/>
                <a:gd name="T20" fmla="*/ 12 w 12"/>
                <a:gd name="T21" fmla="*/ 30 h 56"/>
                <a:gd name="T22" fmla="*/ 12 w 12"/>
                <a:gd name="T23" fmla="*/ 54 h 56"/>
                <a:gd name="T24" fmla="*/ 10 w 12"/>
                <a:gd name="T2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56">
                  <a:moveTo>
                    <a:pt x="10" y="56"/>
                  </a:moveTo>
                  <a:cubicBezTo>
                    <a:pt x="9" y="56"/>
                    <a:pt x="8" y="55"/>
                    <a:pt x="8" y="54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1" y="32"/>
                    <a:pt x="0" y="31"/>
                    <a:pt x="0" y="3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8"/>
                    <a:pt x="12" y="29"/>
                    <a:pt x="12" y="30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5"/>
                    <a:pt x="11" y="56"/>
                    <a:pt x="10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52">
              <a:extLst>
                <a:ext uri="{FF2B5EF4-FFF2-40B4-BE49-F238E27FC236}">
                  <a16:creationId xmlns:a16="http://schemas.microsoft.com/office/drawing/2014/main" id="{440AAAEB-6F0A-4BF9-B0F9-970EA5AF2C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7088" y="5240338"/>
              <a:ext cx="77788" cy="15875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53">
              <a:extLst>
                <a:ext uri="{FF2B5EF4-FFF2-40B4-BE49-F238E27FC236}">
                  <a16:creationId xmlns:a16="http://schemas.microsoft.com/office/drawing/2014/main" id="{59342284-F1E7-482F-B806-326D66CDB3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8538" y="5240338"/>
              <a:ext cx="92075" cy="63500"/>
            </a:xfrm>
            <a:custGeom>
              <a:avLst/>
              <a:gdLst>
                <a:gd name="T0" fmla="*/ 22 w 24"/>
                <a:gd name="T1" fmla="*/ 16 h 16"/>
                <a:gd name="T2" fmla="*/ 2 w 24"/>
                <a:gd name="T3" fmla="*/ 16 h 16"/>
                <a:gd name="T4" fmla="*/ 0 w 24"/>
                <a:gd name="T5" fmla="*/ 14 h 16"/>
                <a:gd name="T6" fmla="*/ 0 w 24"/>
                <a:gd name="T7" fmla="*/ 2 h 16"/>
                <a:gd name="T8" fmla="*/ 2 w 24"/>
                <a:gd name="T9" fmla="*/ 0 h 16"/>
                <a:gd name="T10" fmla="*/ 22 w 24"/>
                <a:gd name="T11" fmla="*/ 0 h 16"/>
                <a:gd name="T12" fmla="*/ 24 w 24"/>
                <a:gd name="T13" fmla="*/ 2 h 16"/>
                <a:gd name="T14" fmla="*/ 24 w 24"/>
                <a:gd name="T15" fmla="*/ 14 h 16"/>
                <a:gd name="T16" fmla="*/ 22 w 24"/>
                <a:gd name="T17" fmla="*/ 16 h 16"/>
                <a:gd name="T18" fmla="*/ 4 w 24"/>
                <a:gd name="T19" fmla="*/ 12 h 16"/>
                <a:gd name="T20" fmla="*/ 20 w 24"/>
                <a:gd name="T21" fmla="*/ 12 h 16"/>
                <a:gd name="T22" fmla="*/ 20 w 24"/>
                <a:gd name="T23" fmla="*/ 4 h 16"/>
                <a:gd name="T24" fmla="*/ 4 w 24"/>
                <a:gd name="T25" fmla="*/ 4 h 16"/>
                <a:gd name="T26" fmla="*/ 4 w 24"/>
                <a:gd name="T2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16">
                  <a:moveTo>
                    <a:pt x="22" y="16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5"/>
                    <a:pt x="0" y="1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4" y="1"/>
                    <a:pt x="24" y="2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5"/>
                    <a:pt x="23" y="16"/>
                    <a:pt x="22" y="16"/>
                  </a:cubicBezTo>
                  <a:close/>
                  <a:moveTo>
                    <a:pt x="4" y="12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Rectangle 54">
              <a:extLst>
                <a:ext uri="{FF2B5EF4-FFF2-40B4-BE49-F238E27FC236}">
                  <a16:creationId xmlns:a16="http://schemas.microsoft.com/office/drawing/2014/main" id="{CAF1E4ED-6407-4695-932A-0886B3D190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8050" y="5413376"/>
              <a:ext cx="396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Rectangle 55">
              <a:extLst>
                <a:ext uri="{FF2B5EF4-FFF2-40B4-BE49-F238E27FC236}">
                  <a16:creationId xmlns:a16="http://schemas.microsoft.com/office/drawing/2014/main" id="{7052DA9E-BCFE-4FCE-BB57-74D337B6F6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1713" y="5413376"/>
              <a:ext cx="381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Rectangle 56">
              <a:extLst>
                <a:ext uri="{FF2B5EF4-FFF2-40B4-BE49-F238E27FC236}">
                  <a16:creationId xmlns:a16="http://schemas.microsoft.com/office/drawing/2014/main" id="{5BE79D03-2508-4F72-BCAF-2A3BCB3EBB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3788" y="5413376"/>
              <a:ext cx="508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57">
              <a:extLst>
                <a:ext uri="{FF2B5EF4-FFF2-40B4-BE49-F238E27FC236}">
                  <a16:creationId xmlns:a16="http://schemas.microsoft.com/office/drawing/2014/main" id="{B6893151-2C2A-470C-87E2-5FECABD35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2963" y="5240338"/>
              <a:ext cx="15875" cy="79375"/>
            </a:xfrm>
            <a:custGeom>
              <a:avLst/>
              <a:gdLst>
                <a:gd name="T0" fmla="*/ 2 w 4"/>
                <a:gd name="T1" fmla="*/ 20 h 20"/>
                <a:gd name="T2" fmla="*/ 0 w 4"/>
                <a:gd name="T3" fmla="*/ 18 h 20"/>
                <a:gd name="T4" fmla="*/ 0 w 4"/>
                <a:gd name="T5" fmla="*/ 2 h 20"/>
                <a:gd name="T6" fmla="*/ 2 w 4"/>
                <a:gd name="T7" fmla="*/ 0 h 20"/>
                <a:gd name="T8" fmla="*/ 4 w 4"/>
                <a:gd name="T9" fmla="*/ 2 h 20"/>
                <a:gd name="T10" fmla="*/ 4 w 4"/>
                <a:gd name="T11" fmla="*/ 18 h 20"/>
                <a:gd name="T12" fmla="*/ 2 w 4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0">
                  <a:moveTo>
                    <a:pt x="2" y="20"/>
                  </a:moveTo>
                  <a:cubicBezTo>
                    <a:pt x="1" y="20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9"/>
                    <a:pt x="3" y="20"/>
                    <a:pt x="2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58">
              <a:extLst>
                <a:ext uri="{FF2B5EF4-FFF2-40B4-BE49-F238E27FC236}">
                  <a16:creationId xmlns:a16="http://schemas.microsoft.com/office/drawing/2014/main" id="{04FC57E2-AD98-4A2C-BFA6-00CEB78B1D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4713" y="5240338"/>
              <a:ext cx="14288" cy="79375"/>
            </a:xfrm>
            <a:custGeom>
              <a:avLst/>
              <a:gdLst>
                <a:gd name="T0" fmla="*/ 2 w 4"/>
                <a:gd name="T1" fmla="*/ 20 h 20"/>
                <a:gd name="T2" fmla="*/ 0 w 4"/>
                <a:gd name="T3" fmla="*/ 18 h 20"/>
                <a:gd name="T4" fmla="*/ 0 w 4"/>
                <a:gd name="T5" fmla="*/ 2 h 20"/>
                <a:gd name="T6" fmla="*/ 2 w 4"/>
                <a:gd name="T7" fmla="*/ 0 h 20"/>
                <a:gd name="T8" fmla="*/ 4 w 4"/>
                <a:gd name="T9" fmla="*/ 2 h 20"/>
                <a:gd name="T10" fmla="*/ 4 w 4"/>
                <a:gd name="T11" fmla="*/ 18 h 20"/>
                <a:gd name="T12" fmla="*/ 2 w 4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0">
                  <a:moveTo>
                    <a:pt x="2" y="20"/>
                  </a:moveTo>
                  <a:cubicBezTo>
                    <a:pt x="1" y="20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9"/>
                    <a:pt x="3" y="20"/>
                    <a:pt x="2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0C06A693-FECA-4D4F-BC64-B1AB1DA0F1AF}"/>
              </a:ext>
            </a:extLst>
          </p:cNvPr>
          <p:cNvGrpSpPr>
            <a:grpSpLocks noChangeAspect="1"/>
          </p:cNvGrpSpPr>
          <p:nvPr/>
        </p:nvGrpSpPr>
        <p:grpSpPr>
          <a:xfrm>
            <a:off x="6707714" y="5016226"/>
            <a:ext cx="397869" cy="291999"/>
            <a:chOff x="5446713" y="5327650"/>
            <a:chExt cx="369887" cy="271463"/>
          </a:xfrm>
          <a:solidFill>
            <a:schemeClr val="accent3"/>
          </a:solidFill>
        </p:grpSpPr>
        <p:sp>
          <p:nvSpPr>
            <p:cNvPr id="217" name="Freeform 62">
              <a:extLst>
                <a:ext uri="{FF2B5EF4-FFF2-40B4-BE49-F238E27FC236}">
                  <a16:creationId xmlns:a16="http://schemas.microsoft.com/office/drawing/2014/main" id="{10078B51-B674-41C1-B818-290D182496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46713" y="5332413"/>
              <a:ext cx="369887" cy="266700"/>
            </a:xfrm>
            <a:custGeom>
              <a:avLst/>
              <a:gdLst>
                <a:gd name="T0" fmla="*/ 38 w 96"/>
                <a:gd name="T1" fmla="*/ 68 h 68"/>
                <a:gd name="T2" fmla="*/ 37 w 96"/>
                <a:gd name="T3" fmla="*/ 67 h 68"/>
                <a:gd name="T4" fmla="*/ 36 w 96"/>
                <a:gd name="T5" fmla="*/ 65 h 68"/>
                <a:gd name="T6" fmla="*/ 47 w 96"/>
                <a:gd name="T7" fmla="*/ 38 h 68"/>
                <a:gd name="T8" fmla="*/ 21 w 96"/>
                <a:gd name="T9" fmla="*/ 48 h 68"/>
                <a:gd name="T10" fmla="*/ 19 w 96"/>
                <a:gd name="T11" fmla="*/ 47 h 68"/>
                <a:gd name="T12" fmla="*/ 1 w 96"/>
                <a:gd name="T13" fmla="*/ 29 h 68"/>
                <a:gd name="T14" fmla="*/ 0 w 96"/>
                <a:gd name="T15" fmla="*/ 28 h 68"/>
                <a:gd name="T16" fmla="*/ 1 w 96"/>
                <a:gd name="T17" fmla="*/ 26 h 68"/>
                <a:gd name="T18" fmla="*/ 15 w 96"/>
                <a:gd name="T19" fmla="*/ 20 h 68"/>
                <a:gd name="T20" fmla="*/ 17 w 96"/>
                <a:gd name="T21" fmla="*/ 20 h 68"/>
                <a:gd name="T22" fmla="*/ 28 w 96"/>
                <a:gd name="T23" fmla="*/ 26 h 68"/>
                <a:gd name="T24" fmla="*/ 82 w 96"/>
                <a:gd name="T25" fmla="*/ 2 h 68"/>
                <a:gd name="T26" fmla="*/ 95 w 96"/>
                <a:gd name="T27" fmla="*/ 8 h 68"/>
                <a:gd name="T28" fmla="*/ 95 w 96"/>
                <a:gd name="T29" fmla="*/ 15 h 68"/>
                <a:gd name="T30" fmla="*/ 90 w 96"/>
                <a:gd name="T31" fmla="*/ 21 h 68"/>
                <a:gd name="T32" fmla="*/ 72 w 96"/>
                <a:gd name="T33" fmla="*/ 28 h 68"/>
                <a:gd name="T34" fmla="*/ 56 w 96"/>
                <a:gd name="T35" fmla="*/ 59 h 68"/>
                <a:gd name="T36" fmla="*/ 55 w 96"/>
                <a:gd name="T37" fmla="*/ 60 h 68"/>
                <a:gd name="T38" fmla="*/ 39 w 96"/>
                <a:gd name="T39" fmla="*/ 68 h 68"/>
                <a:gd name="T40" fmla="*/ 38 w 96"/>
                <a:gd name="T41" fmla="*/ 68 h 68"/>
                <a:gd name="T42" fmla="*/ 50 w 96"/>
                <a:gd name="T43" fmla="*/ 32 h 68"/>
                <a:gd name="T44" fmla="*/ 52 w 96"/>
                <a:gd name="T45" fmla="*/ 33 h 68"/>
                <a:gd name="T46" fmla="*/ 52 w 96"/>
                <a:gd name="T47" fmla="*/ 35 h 68"/>
                <a:gd name="T48" fmla="*/ 42 w 96"/>
                <a:gd name="T49" fmla="*/ 62 h 68"/>
                <a:gd name="T50" fmla="*/ 53 w 96"/>
                <a:gd name="T51" fmla="*/ 57 h 68"/>
                <a:gd name="T52" fmla="*/ 68 w 96"/>
                <a:gd name="T53" fmla="*/ 25 h 68"/>
                <a:gd name="T54" fmla="*/ 70 w 96"/>
                <a:gd name="T55" fmla="*/ 24 h 68"/>
                <a:gd name="T56" fmla="*/ 88 w 96"/>
                <a:gd name="T57" fmla="*/ 17 h 68"/>
                <a:gd name="T58" fmla="*/ 92 w 96"/>
                <a:gd name="T59" fmla="*/ 14 h 68"/>
                <a:gd name="T60" fmla="*/ 92 w 96"/>
                <a:gd name="T61" fmla="*/ 9 h 68"/>
                <a:gd name="T62" fmla="*/ 84 w 96"/>
                <a:gd name="T63" fmla="*/ 6 h 68"/>
                <a:gd name="T64" fmla="*/ 29 w 96"/>
                <a:gd name="T65" fmla="*/ 30 h 68"/>
                <a:gd name="T66" fmla="*/ 27 w 96"/>
                <a:gd name="T67" fmla="*/ 30 h 68"/>
                <a:gd name="T68" fmla="*/ 16 w 96"/>
                <a:gd name="T69" fmla="*/ 24 h 68"/>
                <a:gd name="T70" fmla="*/ 6 w 96"/>
                <a:gd name="T71" fmla="*/ 29 h 68"/>
                <a:gd name="T72" fmla="*/ 21 w 96"/>
                <a:gd name="T73" fmla="*/ 44 h 68"/>
                <a:gd name="T74" fmla="*/ 50 w 96"/>
                <a:gd name="T75" fmla="*/ 32 h 68"/>
                <a:gd name="T76" fmla="*/ 50 w 96"/>
                <a:gd name="T77" fmla="*/ 3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6" h="68">
                  <a:moveTo>
                    <a:pt x="38" y="68"/>
                  </a:moveTo>
                  <a:cubicBezTo>
                    <a:pt x="38" y="68"/>
                    <a:pt x="37" y="68"/>
                    <a:pt x="37" y="67"/>
                  </a:cubicBezTo>
                  <a:cubicBezTo>
                    <a:pt x="36" y="67"/>
                    <a:pt x="36" y="66"/>
                    <a:pt x="36" y="65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0" y="48"/>
                    <a:pt x="19" y="48"/>
                    <a:pt x="19" y="47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29"/>
                    <a:pt x="0" y="28"/>
                    <a:pt x="0" y="28"/>
                  </a:cubicBezTo>
                  <a:cubicBezTo>
                    <a:pt x="0" y="27"/>
                    <a:pt x="1" y="26"/>
                    <a:pt x="1" y="26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82" y="2"/>
                    <a:pt x="82" y="2"/>
                    <a:pt x="82" y="2"/>
                  </a:cubicBezTo>
                  <a:cubicBezTo>
                    <a:pt x="87" y="0"/>
                    <a:pt x="93" y="3"/>
                    <a:pt x="95" y="8"/>
                  </a:cubicBezTo>
                  <a:cubicBezTo>
                    <a:pt x="96" y="10"/>
                    <a:pt x="96" y="13"/>
                    <a:pt x="95" y="15"/>
                  </a:cubicBezTo>
                  <a:cubicBezTo>
                    <a:pt x="94" y="18"/>
                    <a:pt x="92" y="20"/>
                    <a:pt x="90" y="21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6" y="59"/>
                    <a:pt x="56" y="60"/>
                    <a:pt x="55" y="60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39" y="68"/>
                    <a:pt x="39" y="68"/>
                    <a:pt x="38" y="68"/>
                  </a:cubicBezTo>
                  <a:close/>
                  <a:moveTo>
                    <a:pt x="50" y="32"/>
                  </a:moveTo>
                  <a:cubicBezTo>
                    <a:pt x="51" y="32"/>
                    <a:pt x="51" y="32"/>
                    <a:pt x="52" y="33"/>
                  </a:cubicBezTo>
                  <a:cubicBezTo>
                    <a:pt x="52" y="33"/>
                    <a:pt x="52" y="34"/>
                    <a:pt x="52" y="35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9" y="25"/>
                    <a:pt x="69" y="24"/>
                    <a:pt x="70" y="24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90" y="17"/>
                    <a:pt x="91" y="15"/>
                    <a:pt x="92" y="14"/>
                  </a:cubicBezTo>
                  <a:cubicBezTo>
                    <a:pt x="92" y="12"/>
                    <a:pt x="92" y="11"/>
                    <a:pt x="92" y="9"/>
                  </a:cubicBezTo>
                  <a:cubicBezTo>
                    <a:pt x="90" y="6"/>
                    <a:pt x="87" y="5"/>
                    <a:pt x="84" y="6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8" y="30"/>
                    <a:pt x="27" y="30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63">
              <a:extLst>
                <a:ext uri="{FF2B5EF4-FFF2-40B4-BE49-F238E27FC236}">
                  <a16:creationId xmlns:a16="http://schemas.microsoft.com/office/drawing/2014/main" id="{02AF7D3D-807F-40A6-AFBA-C967D050BC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850" y="5327650"/>
              <a:ext cx="174625" cy="82550"/>
            </a:xfrm>
            <a:custGeom>
              <a:avLst/>
              <a:gdLst>
                <a:gd name="T0" fmla="*/ 28 w 45"/>
                <a:gd name="T1" fmla="*/ 21 h 21"/>
                <a:gd name="T2" fmla="*/ 28 w 45"/>
                <a:gd name="T3" fmla="*/ 21 h 21"/>
                <a:gd name="T4" fmla="*/ 1 w 45"/>
                <a:gd name="T5" fmla="*/ 10 h 21"/>
                <a:gd name="T6" fmla="*/ 0 w 45"/>
                <a:gd name="T7" fmla="*/ 8 h 21"/>
                <a:gd name="T8" fmla="*/ 1 w 45"/>
                <a:gd name="T9" fmla="*/ 6 h 21"/>
                <a:gd name="T10" fmla="*/ 16 w 45"/>
                <a:gd name="T11" fmla="*/ 0 h 21"/>
                <a:gd name="T12" fmla="*/ 17 w 45"/>
                <a:gd name="T13" fmla="*/ 0 h 21"/>
                <a:gd name="T14" fmla="*/ 44 w 45"/>
                <a:gd name="T15" fmla="*/ 11 h 21"/>
                <a:gd name="T16" fmla="*/ 45 w 45"/>
                <a:gd name="T17" fmla="*/ 14 h 21"/>
                <a:gd name="T18" fmla="*/ 42 w 45"/>
                <a:gd name="T19" fmla="*/ 15 h 21"/>
                <a:gd name="T20" fmla="*/ 16 w 45"/>
                <a:gd name="T21" fmla="*/ 4 h 21"/>
                <a:gd name="T22" fmla="*/ 7 w 45"/>
                <a:gd name="T23" fmla="*/ 8 h 21"/>
                <a:gd name="T24" fmla="*/ 29 w 45"/>
                <a:gd name="T25" fmla="*/ 17 h 21"/>
                <a:gd name="T26" fmla="*/ 30 w 45"/>
                <a:gd name="T27" fmla="*/ 20 h 21"/>
                <a:gd name="T28" fmla="*/ 28 w 45"/>
                <a:gd name="T2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21">
                  <a:moveTo>
                    <a:pt x="28" y="21"/>
                  </a:moveTo>
                  <a:cubicBezTo>
                    <a:pt x="28" y="21"/>
                    <a:pt x="28" y="21"/>
                    <a:pt x="28" y="2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7"/>
                    <a:pt x="0" y="7"/>
                    <a:pt x="1" y="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5" y="12"/>
                    <a:pt x="45" y="13"/>
                    <a:pt x="45" y="14"/>
                  </a:cubicBezTo>
                  <a:cubicBezTo>
                    <a:pt x="44" y="15"/>
                    <a:pt x="43" y="15"/>
                    <a:pt x="42" y="15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30" y="18"/>
                    <a:pt x="31" y="19"/>
                    <a:pt x="30" y="20"/>
                  </a:cubicBezTo>
                  <a:cubicBezTo>
                    <a:pt x="30" y="21"/>
                    <a:pt x="29" y="21"/>
                    <a:pt x="28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73C2905F-D4E1-447C-9FDA-31D18C386BCA}"/>
              </a:ext>
            </a:extLst>
          </p:cNvPr>
          <p:cNvGrpSpPr>
            <a:grpSpLocks noChangeAspect="1"/>
          </p:cNvGrpSpPr>
          <p:nvPr/>
        </p:nvGrpSpPr>
        <p:grpSpPr>
          <a:xfrm>
            <a:off x="8371944" y="5016226"/>
            <a:ext cx="311999" cy="291999"/>
            <a:chOff x="5757863" y="4910138"/>
            <a:chExt cx="371475" cy="347662"/>
          </a:xfrm>
          <a:solidFill>
            <a:schemeClr val="tx2"/>
          </a:solidFill>
        </p:grpSpPr>
        <p:sp>
          <p:nvSpPr>
            <p:cNvPr id="198" name="Freeform 67">
              <a:extLst>
                <a:ext uri="{FF2B5EF4-FFF2-40B4-BE49-F238E27FC236}">
                  <a16:creationId xmlns:a16="http://schemas.microsoft.com/office/drawing/2014/main" id="{DBCFDC39-2C48-4CAB-A6B9-EA994A129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863" y="5148263"/>
              <a:ext cx="371475" cy="69850"/>
            </a:xfrm>
            <a:custGeom>
              <a:avLst/>
              <a:gdLst>
                <a:gd name="T0" fmla="*/ 89 w 96"/>
                <a:gd name="T1" fmla="*/ 18 h 18"/>
                <a:gd name="T2" fmla="*/ 88 w 96"/>
                <a:gd name="T3" fmla="*/ 18 h 18"/>
                <a:gd name="T4" fmla="*/ 88 w 96"/>
                <a:gd name="T5" fmla="*/ 15 h 18"/>
                <a:gd name="T6" fmla="*/ 92 w 96"/>
                <a:gd name="T7" fmla="*/ 4 h 18"/>
                <a:gd name="T8" fmla="*/ 4 w 96"/>
                <a:gd name="T9" fmla="*/ 4 h 18"/>
                <a:gd name="T10" fmla="*/ 8 w 96"/>
                <a:gd name="T11" fmla="*/ 15 h 18"/>
                <a:gd name="T12" fmla="*/ 8 w 96"/>
                <a:gd name="T13" fmla="*/ 18 h 18"/>
                <a:gd name="T14" fmla="*/ 5 w 96"/>
                <a:gd name="T15" fmla="*/ 17 h 18"/>
                <a:gd name="T16" fmla="*/ 0 w 96"/>
                <a:gd name="T17" fmla="*/ 2 h 18"/>
                <a:gd name="T18" fmla="*/ 2 w 96"/>
                <a:gd name="T19" fmla="*/ 0 h 18"/>
                <a:gd name="T20" fmla="*/ 94 w 96"/>
                <a:gd name="T21" fmla="*/ 0 h 18"/>
                <a:gd name="T22" fmla="*/ 96 w 96"/>
                <a:gd name="T23" fmla="*/ 2 h 18"/>
                <a:gd name="T24" fmla="*/ 91 w 96"/>
                <a:gd name="T25" fmla="*/ 17 h 18"/>
                <a:gd name="T26" fmla="*/ 89 w 96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18">
                  <a:moveTo>
                    <a:pt x="89" y="18"/>
                  </a:moveTo>
                  <a:cubicBezTo>
                    <a:pt x="89" y="18"/>
                    <a:pt x="89" y="18"/>
                    <a:pt x="88" y="18"/>
                  </a:cubicBezTo>
                  <a:cubicBezTo>
                    <a:pt x="87" y="17"/>
                    <a:pt x="87" y="16"/>
                    <a:pt x="88" y="15"/>
                  </a:cubicBezTo>
                  <a:cubicBezTo>
                    <a:pt x="90" y="12"/>
                    <a:pt x="92" y="8"/>
                    <a:pt x="92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8"/>
                    <a:pt x="6" y="12"/>
                    <a:pt x="8" y="15"/>
                  </a:cubicBezTo>
                  <a:cubicBezTo>
                    <a:pt x="9" y="16"/>
                    <a:pt x="9" y="17"/>
                    <a:pt x="8" y="18"/>
                  </a:cubicBezTo>
                  <a:cubicBezTo>
                    <a:pt x="7" y="18"/>
                    <a:pt x="6" y="18"/>
                    <a:pt x="5" y="17"/>
                  </a:cubicBezTo>
                  <a:cubicBezTo>
                    <a:pt x="2" y="13"/>
                    <a:pt x="0" y="7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5" y="0"/>
                    <a:pt x="96" y="1"/>
                    <a:pt x="96" y="2"/>
                  </a:cubicBezTo>
                  <a:cubicBezTo>
                    <a:pt x="96" y="7"/>
                    <a:pt x="94" y="13"/>
                    <a:pt x="91" y="17"/>
                  </a:cubicBezTo>
                  <a:cubicBezTo>
                    <a:pt x="91" y="18"/>
                    <a:pt x="90" y="18"/>
                    <a:pt x="89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68">
              <a:extLst>
                <a:ext uri="{FF2B5EF4-FFF2-40B4-BE49-F238E27FC236}">
                  <a16:creationId xmlns:a16="http://schemas.microsoft.com/office/drawing/2014/main" id="{90805FDD-D2C3-4DE7-97F8-5D57A553D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3901" y="5072063"/>
              <a:ext cx="279400" cy="92075"/>
            </a:xfrm>
            <a:custGeom>
              <a:avLst/>
              <a:gdLst>
                <a:gd name="T0" fmla="*/ 70 w 72"/>
                <a:gd name="T1" fmla="*/ 24 h 24"/>
                <a:gd name="T2" fmla="*/ 68 w 72"/>
                <a:gd name="T3" fmla="*/ 22 h 24"/>
                <a:gd name="T4" fmla="*/ 68 w 72"/>
                <a:gd name="T5" fmla="*/ 4 h 24"/>
                <a:gd name="T6" fmla="*/ 4 w 72"/>
                <a:gd name="T7" fmla="*/ 4 h 24"/>
                <a:gd name="T8" fmla="*/ 4 w 72"/>
                <a:gd name="T9" fmla="*/ 22 h 24"/>
                <a:gd name="T10" fmla="*/ 2 w 72"/>
                <a:gd name="T11" fmla="*/ 24 h 24"/>
                <a:gd name="T12" fmla="*/ 0 w 72"/>
                <a:gd name="T13" fmla="*/ 22 h 24"/>
                <a:gd name="T14" fmla="*/ 0 w 72"/>
                <a:gd name="T15" fmla="*/ 2 h 24"/>
                <a:gd name="T16" fmla="*/ 2 w 72"/>
                <a:gd name="T17" fmla="*/ 0 h 24"/>
                <a:gd name="T18" fmla="*/ 70 w 72"/>
                <a:gd name="T19" fmla="*/ 0 h 24"/>
                <a:gd name="T20" fmla="*/ 72 w 72"/>
                <a:gd name="T21" fmla="*/ 2 h 24"/>
                <a:gd name="T22" fmla="*/ 72 w 72"/>
                <a:gd name="T23" fmla="*/ 22 h 24"/>
                <a:gd name="T24" fmla="*/ 70 w 72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24">
                  <a:moveTo>
                    <a:pt x="70" y="24"/>
                  </a:moveTo>
                  <a:cubicBezTo>
                    <a:pt x="69" y="24"/>
                    <a:pt x="68" y="23"/>
                    <a:pt x="68" y="22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3"/>
                    <a:pt x="3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1" y="0"/>
                    <a:pt x="72" y="1"/>
                    <a:pt x="72" y="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3"/>
                    <a:pt x="71" y="24"/>
                    <a:pt x="70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69">
              <a:extLst>
                <a:ext uri="{FF2B5EF4-FFF2-40B4-BE49-F238E27FC236}">
                  <a16:creationId xmlns:a16="http://schemas.microsoft.com/office/drawing/2014/main" id="{844A3BBB-467D-4873-9AAE-B8EDEB2AF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1526" y="4994275"/>
              <a:ext cx="76200" cy="93662"/>
            </a:xfrm>
            <a:custGeom>
              <a:avLst/>
              <a:gdLst>
                <a:gd name="T0" fmla="*/ 18 w 20"/>
                <a:gd name="T1" fmla="*/ 24 h 24"/>
                <a:gd name="T2" fmla="*/ 16 w 20"/>
                <a:gd name="T3" fmla="*/ 22 h 24"/>
                <a:gd name="T4" fmla="*/ 16 w 20"/>
                <a:gd name="T5" fmla="*/ 4 h 24"/>
                <a:gd name="T6" fmla="*/ 4 w 20"/>
                <a:gd name="T7" fmla="*/ 4 h 24"/>
                <a:gd name="T8" fmla="*/ 4 w 20"/>
                <a:gd name="T9" fmla="*/ 22 h 24"/>
                <a:gd name="T10" fmla="*/ 2 w 20"/>
                <a:gd name="T11" fmla="*/ 24 h 24"/>
                <a:gd name="T12" fmla="*/ 0 w 20"/>
                <a:gd name="T13" fmla="*/ 22 h 24"/>
                <a:gd name="T14" fmla="*/ 0 w 20"/>
                <a:gd name="T15" fmla="*/ 2 h 24"/>
                <a:gd name="T16" fmla="*/ 2 w 20"/>
                <a:gd name="T17" fmla="*/ 0 h 24"/>
                <a:gd name="T18" fmla="*/ 18 w 20"/>
                <a:gd name="T19" fmla="*/ 0 h 24"/>
                <a:gd name="T20" fmla="*/ 20 w 20"/>
                <a:gd name="T21" fmla="*/ 2 h 24"/>
                <a:gd name="T22" fmla="*/ 20 w 20"/>
                <a:gd name="T23" fmla="*/ 22 h 24"/>
                <a:gd name="T24" fmla="*/ 18 w 20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18" y="24"/>
                  </a:moveTo>
                  <a:cubicBezTo>
                    <a:pt x="17" y="24"/>
                    <a:pt x="16" y="23"/>
                    <a:pt x="16" y="2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3"/>
                    <a:pt x="3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3"/>
                    <a:pt x="19" y="24"/>
                    <a:pt x="1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70">
              <a:extLst>
                <a:ext uri="{FF2B5EF4-FFF2-40B4-BE49-F238E27FC236}">
                  <a16:creationId xmlns:a16="http://schemas.microsoft.com/office/drawing/2014/main" id="{C380DBC5-C92C-4B24-AD41-E5B6BBF604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1526" y="5026025"/>
              <a:ext cx="76200" cy="14287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71">
              <a:extLst>
                <a:ext uri="{FF2B5EF4-FFF2-40B4-BE49-F238E27FC236}">
                  <a16:creationId xmlns:a16="http://schemas.microsoft.com/office/drawing/2014/main" id="{1ADF273A-5490-494A-9AAD-38846E60C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9476" y="4994275"/>
              <a:ext cx="77788" cy="93662"/>
            </a:xfrm>
            <a:custGeom>
              <a:avLst/>
              <a:gdLst>
                <a:gd name="T0" fmla="*/ 18 w 20"/>
                <a:gd name="T1" fmla="*/ 24 h 24"/>
                <a:gd name="T2" fmla="*/ 16 w 20"/>
                <a:gd name="T3" fmla="*/ 22 h 24"/>
                <a:gd name="T4" fmla="*/ 16 w 20"/>
                <a:gd name="T5" fmla="*/ 4 h 24"/>
                <a:gd name="T6" fmla="*/ 4 w 20"/>
                <a:gd name="T7" fmla="*/ 4 h 24"/>
                <a:gd name="T8" fmla="*/ 4 w 20"/>
                <a:gd name="T9" fmla="*/ 22 h 24"/>
                <a:gd name="T10" fmla="*/ 2 w 20"/>
                <a:gd name="T11" fmla="*/ 24 h 24"/>
                <a:gd name="T12" fmla="*/ 0 w 20"/>
                <a:gd name="T13" fmla="*/ 22 h 24"/>
                <a:gd name="T14" fmla="*/ 0 w 20"/>
                <a:gd name="T15" fmla="*/ 2 h 24"/>
                <a:gd name="T16" fmla="*/ 2 w 20"/>
                <a:gd name="T17" fmla="*/ 0 h 24"/>
                <a:gd name="T18" fmla="*/ 18 w 20"/>
                <a:gd name="T19" fmla="*/ 0 h 24"/>
                <a:gd name="T20" fmla="*/ 20 w 20"/>
                <a:gd name="T21" fmla="*/ 2 h 24"/>
                <a:gd name="T22" fmla="*/ 20 w 20"/>
                <a:gd name="T23" fmla="*/ 22 h 24"/>
                <a:gd name="T24" fmla="*/ 18 w 20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18" y="24"/>
                  </a:moveTo>
                  <a:cubicBezTo>
                    <a:pt x="17" y="24"/>
                    <a:pt x="16" y="23"/>
                    <a:pt x="16" y="2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3"/>
                    <a:pt x="3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3"/>
                    <a:pt x="19" y="24"/>
                    <a:pt x="1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72">
              <a:extLst>
                <a:ext uri="{FF2B5EF4-FFF2-40B4-BE49-F238E27FC236}">
                  <a16:creationId xmlns:a16="http://schemas.microsoft.com/office/drawing/2014/main" id="{4E300711-EB18-4EEC-A1D5-CFFF46EA2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9476" y="5026025"/>
              <a:ext cx="69850" cy="14287"/>
            </a:xfrm>
            <a:custGeom>
              <a:avLst/>
              <a:gdLst>
                <a:gd name="T0" fmla="*/ 16 w 18"/>
                <a:gd name="T1" fmla="*/ 4 h 4"/>
                <a:gd name="T2" fmla="*/ 2 w 18"/>
                <a:gd name="T3" fmla="*/ 4 h 4"/>
                <a:gd name="T4" fmla="*/ 0 w 18"/>
                <a:gd name="T5" fmla="*/ 2 h 4"/>
                <a:gd name="T6" fmla="*/ 2 w 18"/>
                <a:gd name="T7" fmla="*/ 0 h 4"/>
                <a:gd name="T8" fmla="*/ 16 w 18"/>
                <a:gd name="T9" fmla="*/ 0 h 4"/>
                <a:gd name="T10" fmla="*/ 18 w 18"/>
                <a:gd name="T11" fmla="*/ 2 h 4"/>
                <a:gd name="T12" fmla="*/ 16 w 1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4">
                  <a:moveTo>
                    <a:pt x="1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8" y="1"/>
                    <a:pt x="18" y="2"/>
                  </a:cubicBezTo>
                  <a:cubicBezTo>
                    <a:pt x="18" y="3"/>
                    <a:pt x="17" y="4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73">
              <a:extLst>
                <a:ext uri="{FF2B5EF4-FFF2-40B4-BE49-F238E27FC236}">
                  <a16:creationId xmlns:a16="http://schemas.microsoft.com/office/drawing/2014/main" id="{59D2A074-4D50-4143-886C-CD5AF1A7AB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626" y="4932363"/>
              <a:ext cx="46038" cy="46037"/>
            </a:xfrm>
            <a:custGeom>
              <a:avLst/>
              <a:gdLst>
                <a:gd name="T0" fmla="*/ 2 w 12"/>
                <a:gd name="T1" fmla="*/ 12 h 12"/>
                <a:gd name="T2" fmla="*/ 0 w 12"/>
                <a:gd name="T3" fmla="*/ 10 h 12"/>
                <a:gd name="T4" fmla="*/ 10 w 12"/>
                <a:gd name="T5" fmla="*/ 0 h 12"/>
                <a:gd name="T6" fmla="*/ 12 w 12"/>
                <a:gd name="T7" fmla="*/ 2 h 12"/>
                <a:gd name="T8" fmla="*/ 10 w 12"/>
                <a:gd name="T9" fmla="*/ 4 h 12"/>
                <a:gd name="T10" fmla="*/ 4 w 12"/>
                <a:gd name="T11" fmla="*/ 10 h 12"/>
                <a:gd name="T12" fmla="*/ 2 w 1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2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1" y="4"/>
                    <a:pt x="10" y="4"/>
                  </a:cubicBezTo>
                  <a:cubicBezTo>
                    <a:pt x="7" y="4"/>
                    <a:pt x="4" y="7"/>
                    <a:pt x="4" y="10"/>
                  </a:cubicBezTo>
                  <a:cubicBezTo>
                    <a:pt x="4" y="11"/>
                    <a:pt x="3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74">
              <a:extLst>
                <a:ext uri="{FF2B5EF4-FFF2-40B4-BE49-F238E27FC236}">
                  <a16:creationId xmlns:a16="http://schemas.microsoft.com/office/drawing/2014/main" id="{0582E2EE-9D6E-4D18-9D8A-A0827ABDC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788" y="4910138"/>
              <a:ext cx="39688" cy="38100"/>
            </a:xfrm>
            <a:custGeom>
              <a:avLst/>
              <a:gdLst>
                <a:gd name="T0" fmla="*/ 2 w 10"/>
                <a:gd name="T1" fmla="*/ 10 h 10"/>
                <a:gd name="T2" fmla="*/ 0 w 10"/>
                <a:gd name="T3" fmla="*/ 8 h 10"/>
                <a:gd name="T4" fmla="*/ 2 w 10"/>
                <a:gd name="T5" fmla="*/ 6 h 10"/>
                <a:gd name="T6" fmla="*/ 6 w 10"/>
                <a:gd name="T7" fmla="*/ 2 h 10"/>
                <a:gd name="T8" fmla="*/ 8 w 10"/>
                <a:gd name="T9" fmla="*/ 0 h 10"/>
                <a:gd name="T10" fmla="*/ 10 w 10"/>
                <a:gd name="T11" fmla="*/ 2 h 10"/>
                <a:gd name="T12" fmla="*/ 2 w 10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2" y="10"/>
                  </a:moveTo>
                  <a:cubicBezTo>
                    <a:pt x="1" y="10"/>
                    <a:pt x="0" y="9"/>
                    <a:pt x="0" y="8"/>
                  </a:cubicBezTo>
                  <a:cubicBezTo>
                    <a:pt x="0" y="7"/>
                    <a:pt x="1" y="6"/>
                    <a:pt x="2" y="6"/>
                  </a:cubicBezTo>
                  <a:cubicBezTo>
                    <a:pt x="4" y="6"/>
                    <a:pt x="6" y="4"/>
                    <a:pt x="6" y="2"/>
                  </a:cubicBezTo>
                  <a:cubicBezTo>
                    <a:pt x="6" y="1"/>
                    <a:pt x="7" y="0"/>
                    <a:pt x="8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6"/>
                    <a:pt x="6" y="10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75">
              <a:extLst>
                <a:ext uri="{FF2B5EF4-FFF2-40B4-BE49-F238E27FC236}">
                  <a16:creationId xmlns:a16="http://schemas.microsoft.com/office/drawing/2014/main" id="{B10952A8-FFE8-4C18-AF6D-108AE53C8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701" y="4932363"/>
              <a:ext cx="47625" cy="46037"/>
            </a:xfrm>
            <a:custGeom>
              <a:avLst/>
              <a:gdLst>
                <a:gd name="T0" fmla="*/ 2 w 12"/>
                <a:gd name="T1" fmla="*/ 12 h 12"/>
                <a:gd name="T2" fmla="*/ 0 w 12"/>
                <a:gd name="T3" fmla="*/ 10 h 12"/>
                <a:gd name="T4" fmla="*/ 10 w 12"/>
                <a:gd name="T5" fmla="*/ 0 h 12"/>
                <a:gd name="T6" fmla="*/ 12 w 12"/>
                <a:gd name="T7" fmla="*/ 2 h 12"/>
                <a:gd name="T8" fmla="*/ 10 w 12"/>
                <a:gd name="T9" fmla="*/ 4 h 12"/>
                <a:gd name="T10" fmla="*/ 4 w 12"/>
                <a:gd name="T11" fmla="*/ 10 h 12"/>
                <a:gd name="T12" fmla="*/ 2 w 1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2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1" y="4"/>
                    <a:pt x="10" y="4"/>
                  </a:cubicBezTo>
                  <a:cubicBezTo>
                    <a:pt x="7" y="4"/>
                    <a:pt x="4" y="7"/>
                    <a:pt x="4" y="10"/>
                  </a:cubicBezTo>
                  <a:cubicBezTo>
                    <a:pt x="4" y="11"/>
                    <a:pt x="3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76">
              <a:extLst>
                <a:ext uri="{FF2B5EF4-FFF2-40B4-BE49-F238E27FC236}">
                  <a16:creationId xmlns:a16="http://schemas.microsoft.com/office/drawing/2014/main" id="{0A3113C2-A636-495E-8112-9FC04221C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451" y="4910138"/>
              <a:ext cx="38100" cy="38100"/>
            </a:xfrm>
            <a:custGeom>
              <a:avLst/>
              <a:gdLst>
                <a:gd name="T0" fmla="*/ 2 w 10"/>
                <a:gd name="T1" fmla="*/ 10 h 10"/>
                <a:gd name="T2" fmla="*/ 0 w 10"/>
                <a:gd name="T3" fmla="*/ 8 h 10"/>
                <a:gd name="T4" fmla="*/ 2 w 10"/>
                <a:gd name="T5" fmla="*/ 6 h 10"/>
                <a:gd name="T6" fmla="*/ 6 w 10"/>
                <a:gd name="T7" fmla="*/ 2 h 10"/>
                <a:gd name="T8" fmla="*/ 8 w 10"/>
                <a:gd name="T9" fmla="*/ 0 h 10"/>
                <a:gd name="T10" fmla="*/ 10 w 10"/>
                <a:gd name="T11" fmla="*/ 2 h 10"/>
                <a:gd name="T12" fmla="*/ 2 w 10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2" y="10"/>
                  </a:moveTo>
                  <a:cubicBezTo>
                    <a:pt x="1" y="10"/>
                    <a:pt x="0" y="9"/>
                    <a:pt x="0" y="8"/>
                  </a:cubicBezTo>
                  <a:cubicBezTo>
                    <a:pt x="0" y="7"/>
                    <a:pt x="1" y="6"/>
                    <a:pt x="2" y="6"/>
                  </a:cubicBezTo>
                  <a:cubicBezTo>
                    <a:pt x="4" y="6"/>
                    <a:pt x="6" y="4"/>
                    <a:pt x="6" y="2"/>
                  </a:cubicBezTo>
                  <a:cubicBezTo>
                    <a:pt x="6" y="1"/>
                    <a:pt x="7" y="0"/>
                    <a:pt x="8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6"/>
                    <a:pt x="6" y="10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77">
              <a:extLst>
                <a:ext uri="{FF2B5EF4-FFF2-40B4-BE49-F238E27FC236}">
                  <a16:creationId xmlns:a16="http://schemas.microsoft.com/office/drawing/2014/main" id="{66B45813-965D-48A1-9BE9-EDF828A55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2788" y="5222875"/>
              <a:ext cx="85725" cy="34925"/>
            </a:xfrm>
            <a:custGeom>
              <a:avLst/>
              <a:gdLst>
                <a:gd name="T0" fmla="*/ 11 w 22"/>
                <a:gd name="T1" fmla="*/ 9 h 9"/>
                <a:gd name="T2" fmla="*/ 11 w 22"/>
                <a:gd name="T3" fmla="*/ 9 h 9"/>
                <a:gd name="T4" fmla="*/ 0 w 22"/>
                <a:gd name="T5" fmla="*/ 3 h 9"/>
                <a:gd name="T6" fmla="*/ 1 w 22"/>
                <a:gd name="T7" fmla="*/ 0 h 9"/>
                <a:gd name="T8" fmla="*/ 4 w 22"/>
                <a:gd name="T9" fmla="*/ 1 h 9"/>
                <a:gd name="T10" fmla="*/ 11 w 22"/>
                <a:gd name="T11" fmla="*/ 5 h 9"/>
                <a:gd name="T12" fmla="*/ 11 w 22"/>
                <a:gd name="T13" fmla="*/ 5 h 9"/>
                <a:gd name="T14" fmla="*/ 18 w 22"/>
                <a:gd name="T15" fmla="*/ 1 h 9"/>
                <a:gd name="T16" fmla="*/ 21 w 22"/>
                <a:gd name="T17" fmla="*/ 0 h 9"/>
                <a:gd name="T18" fmla="*/ 22 w 22"/>
                <a:gd name="T19" fmla="*/ 3 h 9"/>
                <a:gd name="T20" fmla="*/ 11 w 22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9">
                  <a:moveTo>
                    <a:pt x="11" y="9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7" y="9"/>
                    <a:pt x="3" y="7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5" y="3"/>
                    <a:pt x="8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4" y="5"/>
                    <a:pt x="17" y="3"/>
                    <a:pt x="18" y="1"/>
                  </a:cubicBezTo>
                  <a:cubicBezTo>
                    <a:pt x="19" y="0"/>
                    <a:pt x="20" y="0"/>
                    <a:pt x="21" y="0"/>
                  </a:cubicBezTo>
                  <a:cubicBezTo>
                    <a:pt x="22" y="1"/>
                    <a:pt x="22" y="2"/>
                    <a:pt x="22" y="3"/>
                  </a:cubicBezTo>
                  <a:cubicBezTo>
                    <a:pt x="19" y="7"/>
                    <a:pt x="15" y="9"/>
                    <a:pt x="1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78">
              <a:extLst>
                <a:ext uri="{FF2B5EF4-FFF2-40B4-BE49-F238E27FC236}">
                  <a16:creationId xmlns:a16="http://schemas.microsoft.com/office/drawing/2014/main" id="{3546D97F-36FC-4930-B8F3-25B05015B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2638" y="5222875"/>
              <a:ext cx="84138" cy="34925"/>
            </a:xfrm>
            <a:custGeom>
              <a:avLst/>
              <a:gdLst>
                <a:gd name="T0" fmla="*/ 11 w 22"/>
                <a:gd name="T1" fmla="*/ 9 h 9"/>
                <a:gd name="T2" fmla="*/ 11 w 22"/>
                <a:gd name="T3" fmla="*/ 9 h 9"/>
                <a:gd name="T4" fmla="*/ 0 w 22"/>
                <a:gd name="T5" fmla="*/ 3 h 9"/>
                <a:gd name="T6" fmla="*/ 1 w 22"/>
                <a:gd name="T7" fmla="*/ 0 h 9"/>
                <a:gd name="T8" fmla="*/ 4 w 22"/>
                <a:gd name="T9" fmla="*/ 1 h 9"/>
                <a:gd name="T10" fmla="*/ 11 w 22"/>
                <a:gd name="T11" fmla="*/ 5 h 9"/>
                <a:gd name="T12" fmla="*/ 11 w 22"/>
                <a:gd name="T13" fmla="*/ 5 h 9"/>
                <a:gd name="T14" fmla="*/ 18 w 22"/>
                <a:gd name="T15" fmla="*/ 1 h 9"/>
                <a:gd name="T16" fmla="*/ 21 w 22"/>
                <a:gd name="T17" fmla="*/ 0 h 9"/>
                <a:gd name="T18" fmla="*/ 22 w 22"/>
                <a:gd name="T19" fmla="*/ 3 h 9"/>
                <a:gd name="T20" fmla="*/ 11 w 22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9">
                  <a:moveTo>
                    <a:pt x="11" y="9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7" y="9"/>
                    <a:pt x="3" y="7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5" y="3"/>
                    <a:pt x="8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4" y="5"/>
                    <a:pt x="17" y="3"/>
                    <a:pt x="18" y="1"/>
                  </a:cubicBezTo>
                  <a:cubicBezTo>
                    <a:pt x="19" y="0"/>
                    <a:pt x="20" y="0"/>
                    <a:pt x="21" y="0"/>
                  </a:cubicBezTo>
                  <a:cubicBezTo>
                    <a:pt x="22" y="1"/>
                    <a:pt x="22" y="2"/>
                    <a:pt x="22" y="3"/>
                  </a:cubicBezTo>
                  <a:cubicBezTo>
                    <a:pt x="19" y="7"/>
                    <a:pt x="15" y="9"/>
                    <a:pt x="1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79">
              <a:extLst>
                <a:ext uri="{FF2B5EF4-FFF2-40B4-BE49-F238E27FC236}">
                  <a16:creationId xmlns:a16="http://schemas.microsoft.com/office/drawing/2014/main" id="{FF69B022-57BA-46DD-B3CF-F4DC55210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2488" y="5222875"/>
              <a:ext cx="84138" cy="34925"/>
            </a:xfrm>
            <a:custGeom>
              <a:avLst/>
              <a:gdLst>
                <a:gd name="T0" fmla="*/ 11 w 22"/>
                <a:gd name="T1" fmla="*/ 9 h 9"/>
                <a:gd name="T2" fmla="*/ 11 w 22"/>
                <a:gd name="T3" fmla="*/ 9 h 9"/>
                <a:gd name="T4" fmla="*/ 0 w 22"/>
                <a:gd name="T5" fmla="*/ 3 h 9"/>
                <a:gd name="T6" fmla="*/ 1 w 22"/>
                <a:gd name="T7" fmla="*/ 0 h 9"/>
                <a:gd name="T8" fmla="*/ 4 w 22"/>
                <a:gd name="T9" fmla="*/ 1 h 9"/>
                <a:gd name="T10" fmla="*/ 11 w 22"/>
                <a:gd name="T11" fmla="*/ 5 h 9"/>
                <a:gd name="T12" fmla="*/ 11 w 22"/>
                <a:gd name="T13" fmla="*/ 5 h 9"/>
                <a:gd name="T14" fmla="*/ 18 w 22"/>
                <a:gd name="T15" fmla="*/ 1 h 9"/>
                <a:gd name="T16" fmla="*/ 21 w 22"/>
                <a:gd name="T17" fmla="*/ 0 h 9"/>
                <a:gd name="T18" fmla="*/ 22 w 22"/>
                <a:gd name="T19" fmla="*/ 3 h 9"/>
                <a:gd name="T20" fmla="*/ 11 w 22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9">
                  <a:moveTo>
                    <a:pt x="11" y="9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7" y="9"/>
                    <a:pt x="3" y="7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5" y="3"/>
                    <a:pt x="8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4" y="5"/>
                    <a:pt x="17" y="3"/>
                    <a:pt x="18" y="1"/>
                  </a:cubicBezTo>
                  <a:cubicBezTo>
                    <a:pt x="19" y="0"/>
                    <a:pt x="20" y="0"/>
                    <a:pt x="21" y="0"/>
                  </a:cubicBezTo>
                  <a:cubicBezTo>
                    <a:pt x="22" y="1"/>
                    <a:pt x="22" y="2"/>
                    <a:pt x="22" y="3"/>
                  </a:cubicBezTo>
                  <a:cubicBezTo>
                    <a:pt x="19" y="7"/>
                    <a:pt x="15" y="9"/>
                    <a:pt x="1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80">
              <a:extLst>
                <a:ext uri="{FF2B5EF4-FFF2-40B4-BE49-F238E27FC236}">
                  <a16:creationId xmlns:a16="http://schemas.microsoft.com/office/drawing/2014/main" id="{92A990E9-68D2-46FB-9B94-D9B582B72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2338" y="5222875"/>
              <a:ext cx="84138" cy="34925"/>
            </a:xfrm>
            <a:custGeom>
              <a:avLst/>
              <a:gdLst>
                <a:gd name="T0" fmla="*/ 11 w 22"/>
                <a:gd name="T1" fmla="*/ 9 h 9"/>
                <a:gd name="T2" fmla="*/ 11 w 22"/>
                <a:gd name="T3" fmla="*/ 9 h 9"/>
                <a:gd name="T4" fmla="*/ 0 w 22"/>
                <a:gd name="T5" fmla="*/ 3 h 9"/>
                <a:gd name="T6" fmla="*/ 1 w 22"/>
                <a:gd name="T7" fmla="*/ 0 h 9"/>
                <a:gd name="T8" fmla="*/ 4 w 22"/>
                <a:gd name="T9" fmla="*/ 1 h 9"/>
                <a:gd name="T10" fmla="*/ 11 w 22"/>
                <a:gd name="T11" fmla="*/ 5 h 9"/>
                <a:gd name="T12" fmla="*/ 11 w 22"/>
                <a:gd name="T13" fmla="*/ 5 h 9"/>
                <a:gd name="T14" fmla="*/ 18 w 22"/>
                <a:gd name="T15" fmla="*/ 1 h 9"/>
                <a:gd name="T16" fmla="*/ 21 w 22"/>
                <a:gd name="T17" fmla="*/ 0 h 9"/>
                <a:gd name="T18" fmla="*/ 22 w 22"/>
                <a:gd name="T19" fmla="*/ 3 h 9"/>
                <a:gd name="T20" fmla="*/ 11 w 22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9">
                  <a:moveTo>
                    <a:pt x="11" y="9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7" y="9"/>
                    <a:pt x="3" y="7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5" y="3"/>
                    <a:pt x="8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4" y="5"/>
                    <a:pt x="17" y="3"/>
                    <a:pt x="18" y="1"/>
                  </a:cubicBezTo>
                  <a:cubicBezTo>
                    <a:pt x="19" y="0"/>
                    <a:pt x="20" y="0"/>
                    <a:pt x="21" y="0"/>
                  </a:cubicBezTo>
                  <a:cubicBezTo>
                    <a:pt x="22" y="1"/>
                    <a:pt x="22" y="2"/>
                    <a:pt x="22" y="3"/>
                  </a:cubicBezTo>
                  <a:cubicBezTo>
                    <a:pt x="19" y="7"/>
                    <a:pt x="15" y="9"/>
                    <a:pt x="1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81">
              <a:extLst>
                <a:ext uri="{FF2B5EF4-FFF2-40B4-BE49-F238E27FC236}">
                  <a16:creationId xmlns:a16="http://schemas.microsoft.com/office/drawing/2014/main" id="{1A6109A6-5C44-41BC-AEA4-0AF27E752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601" y="5222875"/>
              <a:ext cx="50800" cy="34925"/>
            </a:xfrm>
            <a:custGeom>
              <a:avLst/>
              <a:gdLst>
                <a:gd name="T0" fmla="*/ 11 w 13"/>
                <a:gd name="T1" fmla="*/ 9 h 9"/>
                <a:gd name="T2" fmla="*/ 0 w 13"/>
                <a:gd name="T3" fmla="*/ 3 h 9"/>
                <a:gd name="T4" fmla="*/ 1 w 13"/>
                <a:gd name="T5" fmla="*/ 0 h 9"/>
                <a:gd name="T6" fmla="*/ 4 w 13"/>
                <a:gd name="T7" fmla="*/ 1 h 9"/>
                <a:gd name="T8" fmla="*/ 11 w 13"/>
                <a:gd name="T9" fmla="*/ 5 h 9"/>
                <a:gd name="T10" fmla="*/ 11 w 13"/>
                <a:gd name="T11" fmla="*/ 5 h 9"/>
                <a:gd name="T12" fmla="*/ 13 w 13"/>
                <a:gd name="T13" fmla="*/ 7 h 9"/>
                <a:gd name="T14" fmla="*/ 11 w 13"/>
                <a:gd name="T15" fmla="*/ 9 h 9"/>
                <a:gd name="T16" fmla="*/ 11 w 13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9">
                  <a:moveTo>
                    <a:pt x="11" y="9"/>
                  </a:moveTo>
                  <a:cubicBezTo>
                    <a:pt x="7" y="9"/>
                    <a:pt x="3" y="7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5" y="3"/>
                    <a:pt x="8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2" y="5"/>
                    <a:pt x="13" y="6"/>
                    <a:pt x="13" y="7"/>
                  </a:cubicBezTo>
                  <a:cubicBezTo>
                    <a:pt x="13" y="8"/>
                    <a:pt x="12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82">
              <a:extLst>
                <a:ext uri="{FF2B5EF4-FFF2-40B4-BE49-F238E27FC236}">
                  <a16:creationId xmlns:a16="http://schemas.microsoft.com/office/drawing/2014/main" id="{FF491922-77A3-4540-B224-C0A054A42C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863" y="5222875"/>
              <a:ext cx="50800" cy="34925"/>
            </a:xfrm>
            <a:custGeom>
              <a:avLst/>
              <a:gdLst>
                <a:gd name="T0" fmla="*/ 2 w 13"/>
                <a:gd name="T1" fmla="*/ 9 h 9"/>
                <a:gd name="T2" fmla="*/ 0 w 13"/>
                <a:gd name="T3" fmla="*/ 7 h 9"/>
                <a:gd name="T4" fmla="*/ 2 w 13"/>
                <a:gd name="T5" fmla="*/ 5 h 9"/>
                <a:gd name="T6" fmla="*/ 2 w 13"/>
                <a:gd name="T7" fmla="*/ 5 h 9"/>
                <a:gd name="T8" fmla="*/ 2 w 13"/>
                <a:gd name="T9" fmla="*/ 5 h 9"/>
                <a:gd name="T10" fmla="*/ 9 w 13"/>
                <a:gd name="T11" fmla="*/ 1 h 9"/>
                <a:gd name="T12" fmla="*/ 12 w 13"/>
                <a:gd name="T13" fmla="*/ 0 h 9"/>
                <a:gd name="T14" fmla="*/ 13 w 13"/>
                <a:gd name="T15" fmla="*/ 3 h 9"/>
                <a:gd name="T16" fmla="*/ 2 w 13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9">
                  <a:moveTo>
                    <a:pt x="2" y="9"/>
                  </a:moveTo>
                  <a:cubicBezTo>
                    <a:pt x="1" y="9"/>
                    <a:pt x="0" y="8"/>
                    <a:pt x="0" y="7"/>
                  </a:cubicBezTo>
                  <a:cubicBezTo>
                    <a:pt x="0" y="6"/>
                    <a:pt x="1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5" y="5"/>
                    <a:pt x="8" y="3"/>
                    <a:pt x="9" y="1"/>
                  </a:cubicBezTo>
                  <a:cubicBezTo>
                    <a:pt x="10" y="0"/>
                    <a:pt x="11" y="0"/>
                    <a:pt x="12" y="0"/>
                  </a:cubicBezTo>
                  <a:cubicBezTo>
                    <a:pt x="13" y="1"/>
                    <a:pt x="13" y="2"/>
                    <a:pt x="13" y="3"/>
                  </a:cubicBezTo>
                  <a:cubicBezTo>
                    <a:pt x="10" y="7"/>
                    <a:pt x="6" y="9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83">
              <a:extLst>
                <a:ext uri="{FF2B5EF4-FFF2-40B4-BE49-F238E27FC236}">
                  <a16:creationId xmlns:a16="http://schemas.microsoft.com/office/drawing/2014/main" id="{50495063-5EDA-4C7F-B287-308083384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1526" y="5118100"/>
              <a:ext cx="38100" cy="15875"/>
            </a:xfrm>
            <a:custGeom>
              <a:avLst/>
              <a:gdLst>
                <a:gd name="T0" fmla="*/ 8 w 10"/>
                <a:gd name="T1" fmla="*/ 4 h 4"/>
                <a:gd name="T2" fmla="*/ 2 w 10"/>
                <a:gd name="T3" fmla="*/ 4 h 4"/>
                <a:gd name="T4" fmla="*/ 0 w 10"/>
                <a:gd name="T5" fmla="*/ 2 h 4"/>
                <a:gd name="T6" fmla="*/ 2 w 10"/>
                <a:gd name="T7" fmla="*/ 0 h 4"/>
                <a:gd name="T8" fmla="*/ 8 w 10"/>
                <a:gd name="T9" fmla="*/ 0 h 4"/>
                <a:gd name="T10" fmla="*/ 10 w 10"/>
                <a:gd name="T11" fmla="*/ 2 h 4"/>
                <a:gd name="T12" fmla="*/ 8 w 1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3"/>
                    <a:pt x="9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84">
              <a:extLst>
                <a:ext uri="{FF2B5EF4-FFF2-40B4-BE49-F238E27FC236}">
                  <a16:creationId xmlns:a16="http://schemas.microsoft.com/office/drawing/2014/main" id="{50FED222-4F1B-4460-A643-28035D04A7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7726" y="5118100"/>
              <a:ext cx="39688" cy="15875"/>
            </a:xfrm>
            <a:custGeom>
              <a:avLst/>
              <a:gdLst>
                <a:gd name="T0" fmla="*/ 8 w 10"/>
                <a:gd name="T1" fmla="*/ 4 h 4"/>
                <a:gd name="T2" fmla="*/ 2 w 10"/>
                <a:gd name="T3" fmla="*/ 4 h 4"/>
                <a:gd name="T4" fmla="*/ 0 w 10"/>
                <a:gd name="T5" fmla="*/ 2 h 4"/>
                <a:gd name="T6" fmla="*/ 2 w 10"/>
                <a:gd name="T7" fmla="*/ 0 h 4"/>
                <a:gd name="T8" fmla="*/ 8 w 10"/>
                <a:gd name="T9" fmla="*/ 0 h 4"/>
                <a:gd name="T10" fmla="*/ 10 w 10"/>
                <a:gd name="T11" fmla="*/ 2 h 4"/>
                <a:gd name="T12" fmla="*/ 8 w 1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3"/>
                    <a:pt x="9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85">
              <a:extLst>
                <a:ext uri="{FF2B5EF4-FFF2-40B4-BE49-F238E27FC236}">
                  <a16:creationId xmlns:a16="http://schemas.microsoft.com/office/drawing/2014/main" id="{68803D95-4D0B-4FE7-AAEF-881B3F2327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7576" y="5118100"/>
              <a:ext cx="39688" cy="15875"/>
            </a:xfrm>
            <a:custGeom>
              <a:avLst/>
              <a:gdLst>
                <a:gd name="T0" fmla="*/ 8 w 10"/>
                <a:gd name="T1" fmla="*/ 4 h 4"/>
                <a:gd name="T2" fmla="*/ 2 w 10"/>
                <a:gd name="T3" fmla="*/ 4 h 4"/>
                <a:gd name="T4" fmla="*/ 0 w 10"/>
                <a:gd name="T5" fmla="*/ 2 h 4"/>
                <a:gd name="T6" fmla="*/ 2 w 10"/>
                <a:gd name="T7" fmla="*/ 0 h 4"/>
                <a:gd name="T8" fmla="*/ 8 w 10"/>
                <a:gd name="T9" fmla="*/ 0 h 4"/>
                <a:gd name="T10" fmla="*/ 10 w 10"/>
                <a:gd name="T11" fmla="*/ 2 h 4"/>
                <a:gd name="T12" fmla="*/ 8 w 1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3"/>
                    <a:pt x="9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47317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BD3BB9-7494-4054-ABD5-BF4DEDF50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7AEFA-B56B-463F-809E-4A0CAC2C214B}" type="datetime1">
              <a:rPr lang="en-US" sz="1000" smtClean="0">
                <a:solidFill>
                  <a:schemeClr val="tx1"/>
                </a:solidFill>
              </a:rPr>
              <a:t>8/17/2020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4D9497-D6ED-4F5D-9AF8-723FC8208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t>5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" name="Rectangle 70">
            <a:extLst>
              <a:ext uri="{FF2B5EF4-FFF2-40B4-BE49-F238E27FC236}">
                <a16:creationId xmlns:a16="http://schemas.microsoft.com/office/drawing/2014/main" id="{2C7F6899-AA89-4ACF-BBC6-9182A564A0B3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70">
            <a:extLst>
              <a:ext uri="{FF2B5EF4-FFF2-40B4-BE49-F238E27FC236}">
                <a16:creationId xmlns:a16="http://schemas.microsoft.com/office/drawing/2014/main" id="{46EBEB8D-01EC-4B1A-B44A-BDF60EEB1BDB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70">
            <a:extLst>
              <a:ext uri="{FF2B5EF4-FFF2-40B4-BE49-F238E27FC236}">
                <a16:creationId xmlns:a16="http://schemas.microsoft.com/office/drawing/2014/main" id="{0EFEE770-1BB8-4BC8-92D5-8B8941EDBE25}"/>
              </a:ext>
            </a:extLst>
          </p:cNvPr>
          <p:cNvSpPr/>
          <p:nvPr/>
        </p:nvSpPr>
        <p:spPr>
          <a:xfrm flipV="1">
            <a:off x="2054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FE3DD1-8761-4FA2-A00F-4C407ED92CBC}"/>
              </a:ext>
            </a:extLst>
          </p:cNvPr>
          <p:cNvSpPr txBox="1"/>
          <p:nvPr/>
        </p:nvSpPr>
        <p:spPr>
          <a:xfrm>
            <a:off x="708963" y="250833"/>
            <a:ext cx="10774074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/>
              <a:t>WORLD MAP</a:t>
            </a:r>
          </a:p>
        </p:txBody>
      </p:sp>
      <p:grpSp>
        <p:nvGrpSpPr>
          <p:cNvPr id="145" name="Group 225">
            <a:extLst>
              <a:ext uri="{FF2B5EF4-FFF2-40B4-BE49-F238E27FC236}">
                <a16:creationId xmlns:a16="http://schemas.microsoft.com/office/drawing/2014/main" id="{5AE40BC7-B705-42DA-8211-1069D36E2809}"/>
              </a:ext>
            </a:extLst>
          </p:cNvPr>
          <p:cNvGrpSpPr>
            <a:grpSpLocks/>
          </p:cNvGrpSpPr>
          <p:nvPr/>
        </p:nvGrpSpPr>
        <p:grpSpPr bwMode="auto">
          <a:xfrm>
            <a:off x="4545194" y="1587500"/>
            <a:ext cx="7160018" cy="4140200"/>
            <a:chOff x="61885" y="752495"/>
            <a:chExt cx="8724928" cy="5045055"/>
          </a:xfrm>
          <a:solidFill>
            <a:schemeClr val="bg1">
              <a:lumMod val="75000"/>
            </a:schemeClr>
          </a:solidFill>
        </p:grpSpPr>
        <p:sp>
          <p:nvSpPr>
            <p:cNvPr id="147" name="Freeform 5962">
              <a:extLst>
                <a:ext uri="{FF2B5EF4-FFF2-40B4-BE49-F238E27FC236}">
                  <a16:creationId xmlns:a16="http://schemas.microsoft.com/office/drawing/2014/main" id="{46E4E88D-4C0B-416F-B21D-2D0EE0B7AB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9629" y="3535372"/>
              <a:ext cx="1189042" cy="2262178"/>
            </a:xfrm>
            <a:custGeom>
              <a:avLst/>
              <a:gdLst>
                <a:gd name="T0" fmla="*/ 168775 w 1874"/>
                <a:gd name="T1" fmla="*/ 2086902 h 3562"/>
                <a:gd name="T2" fmla="*/ 147202 w 1874"/>
                <a:gd name="T3" fmla="*/ 1968776 h 3562"/>
                <a:gd name="T4" fmla="*/ 184003 w 1874"/>
                <a:gd name="T5" fmla="*/ 1976397 h 3562"/>
                <a:gd name="T6" fmla="*/ 161161 w 1874"/>
                <a:gd name="T7" fmla="*/ 1982748 h 3562"/>
                <a:gd name="T8" fmla="*/ 154816 w 1874"/>
                <a:gd name="T9" fmla="*/ 2042446 h 3562"/>
                <a:gd name="T10" fmla="*/ 156085 w 1874"/>
                <a:gd name="T11" fmla="*/ 1997990 h 3562"/>
                <a:gd name="T12" fmla="*/ 147202 w 1874"/>
                <a:gd name="T13" fmla="*/ 2006881 h 3562"/>
                <a:gd name="T14" fmla="*/ 184003 w 1874"/>
                <a:gd name="T15" fmla="*/ 2086902 h 3562"/>
                <a:gd name="T16" fmla="*/ 153547 w 1874"/>
                <a:gd name="T17" fmla="*/ 1999260 h 3562"/>
                <a:gd name="T18" fmla="*/ 185272 w 1874"/>
                <a:gd name="T19" fmla="*/ 1850649 h 3562"/>
                <a:gd name="T20" fmla="*/ 192886 w 1874"/>
                <a:gd name="T21" fmla="*/ 1841758 h 3562"/>
                <a:gd name="T22" fmla="*/ 166237 w 1874"/>
                <a:gd name="T23" fmla="*/ 1884944 h 3562"/>
                <a:gd name="T24" fmla="*/ 348971 w 1874"/>
                <a:gd name="T25" fmla="*/ 2235513 h 3562"/>
                <a:gd name="T26" fmla="*/ 304556 w 1874"/>
                <a:gd name="T27" fmla="*/ 2245675 h 3562"/>
                <a:gd name="T28" fmla="*/ 284252 w 1874"/>
                <a:gd name="T29" fmla="*/ 2227892 h 3562"/>
                <a:gd name="T30" fmla="*/ 323591 w 1874"/>
                <a:gd name="T31" fmla="*/ 2224082 h 3562"/>
                <a:gd name="T32" fmla="*/ 277907 w 1874"/>
                <a:gd name="T33" fmla="*/ 2230433 h 3562"/>
                <a:gd name="T34" fmla="*/ 170044 w 1874"/>
                <a:gd name="T35" fmla="*/ 2140250 h 3562"/>
                <a:gd name="T36" fmla="*/ 180196 w 1874"/>
                <a:gd name="T37" fmla="*/ 2163113 h 3562"/>
                <a:gd name="T38" fmla="*/ 157354 w 1874"/>
                <a:gd name="T39" fmla="*/ 2090713 h 3562"/>
                <a:gd name="T40" fmla="*/ 247452 w 1874"/>
                <a:gd name="T41" fmla="*/ 2198678 h 3562"/>
                <a:gd name="T42" fmla="*/ 214458 w 1874"/>
                <a:gd name="T43" fmla="*/ 2170734 h 3562"/>
                <a:gd name="T44" fmla="*/ 224610 w 1874"/>
                <a:gd name="T45" fmla="*/ 2189787 h 3562"/>
                <a:gd name="T46" fmla="*/ 300749 w 1874"/>
                <a:gd name="T47" fmla="*/ 2198678 h 3562"/>
                <a:gd name="T48" fmla="*/ 237300 w 1874"/>
                <a:gd name="T49" fmla="*/ 2207569 h 3562"/>
                <a:gd name="T50" fmla="*/ 319784 w 1874"/>
                <a:gd name="T51" fmla="*/ 2224082 h 3562"/>
                <a:gd name="T52" fmla="*/ 184003 w 1874"/>
                <a:gd name="T53" fmla="*/ 1738874 h 3562"/>
                <a:gd name="T54" fmla="*/ 166237 w 1874"/>
                <a:gd name="T55" fmla="*/ 1802383 h 3562"/>
                <a:gd name="T56" fmla="*/ 187810 w 1874"/>
                <a:gd name="T57" fmla="*/ 1807463 h 3562"/>
                <a:gd name="T58" fmla="*/ 176389 w 1874"/>
                <a:gd name="T59" fmla="*/ 1878593 h 3562"/>
                <a:gd name="T60" fmla="*/ 939048 w 1874"/>
                <a:gd name="T61" fmla="*/ 443292 h 3562"/>
                <a:gd name="T62" fmla="*/ 767735 w 1874"/>
                <a:gd name="T63" fmla="*/ 403917 h 3562"/>
                <a:gd name="T64" fmla="*/ 761390 w 1874"/>
                <a:gd name="T65" fmla="*/ 248955 h 3562"/>
                <a:gd name="T66" fmla="*/ 611650 w 1874"/>
                <a:gd name="T67" fmla="*/ 190527 h 3562"/>
                <a:gd name="T68" fmla="*/ 474600 w 1874"/>
                <a:gd name="T69" fmla="*/ 59698 h 3562"/>
                <a:gd name="T70" fmla="*/ 281714 w 1874"/>
                <a:gd name="T71" fmla="*/ 21593 h 3562"/>
                <a:gd name="T72" fmla="*/ 157354 w 1874"/>
                <a:gd name="T73" fmla="*/ 45726 h 3562"/>
                <a:gd name="T74" fmla="*/ 91367 w 1874"/>
                <a:gd name="T75" fmla="*/ 299762 h 3562"/>
                <a:gd name="T76" fmla="*/ 35532 w 1874"/>
                <a:gd name="T77" fmla="*/ 461075 h 3562"/>
                <a:gd name="T78" fmla="*/ 109133 w 1874"/>
                <a:gd name="T79" fmla="*/ 768458 h 3562"/>
                <a:gd name="T80" fmla="*/ 275370 w 1874"/>
                <a:gd name="T81" fmla="*/ 1108865 h 3562"/>
                <a:gd name="T82" fmla="*/ 252528 w 1874"/>
                <a:gd name="T83" fmla="*/ 1420059 h 3562"/>
                <a:gd name="T84" fmla="*/ 196693 w 1874"/>
                <a:gd name="T85" fmla="*/ 1667744 h 3562"/>
                <a:gd name="T86" fmla="*/ 209382 w 1874"/>
                <a:gd name="T87" fmla="*/ 1797302 h 3562"/>
                <a:gd name="T88" fmla="*/ 171313 w 1874"/>
                <a:gd name="T89" fmla="*/ 1882404 h 3562"/>
                <a:gd name="T90" fmla="*/ 170044 w 1874"/>
                <a:gd name="T91" fmla="*/ 1947183 h 3562"/>
                <a:gd name="T92" fmla="*/ 176389 w 1874"/>
                <a:gd name="T93" fmla="*/ 2011962 h 3562"/>
                <a:gd name="T94" fmla="*/ 185272 w 1874"/>
                <a:gd name="T95" fmla="*/ 2053878 h 3562"/>
                <a:gd name="T96" fmla="*/ 196693 w 1874"/>
                <a:gd name="T97" fmla="*/ 2100874 h 3562"/>
                <a:gd name="T98" fmla="*/ 194155 w 1874"/>
                <a:gd name="T99" fmla="*/ 2113576 h 3562"/>
                <a:gd name="T100" fmla="*/ 233493 w 1874"/>
                <a:gd name="T101" fmla="*/ 2131359 h 3562"/>
                <a:gd name="T102" fmla="*/ 255066 w 1874"/>
                <a:gd name="T103" fmla="*/ 2141520 h 3562"/>
                <a:gd name="T104" fmla="*/ 314708 w 1874"/>
                <a:gd name="T105" fmla="*/ 2122467 h 3562"/>
                <a:gd name="T106" fmla="*/ 348971 w 1874"/>
                <a:gd name="T107" fmla="*/ 1890025 h 3562"/>
                <a:gd name="T108" fmla="*/ 453027 w 1874"/>
                <a:gd name="T109" fmla="*/ 1764277 h 3562"/>
                <a:gd name="T110" fmla="*/ 491097 w 1874"/>
                <a:gd name="T111" fmla="*/ 1635989 h 3562"/>
                <a:gd name="T112" fmla="*/ 629416 w 1874"/>
                <a:gd name="T113" fmla="*/ 1491189 h 3562"/>
                <a:gd name="T114" fmla="*/ 865447 w 1874"/>
                <a:gd name="T115" fmla="*/ 1158402 h 3562"/>
                <a:gd name="T116" fmla="*/ 1079905 w 1874"/>
                <a:gd name="T117" fmla="*/ 900556 h 3562"/>
                <a:gd name="T118" fmla="*/ 426379 w 1874"/>
                <a:gd name="T119" fmla="*/ 2222811 h 3562"/>
                <a:gd name="T120" fmla="*/ 184003 w 1874"/>
                <a:gd name="T121" fmla="*/ 1928130 h 3562"/>
                <a:gd name="T122" fmla="*/ 159892 w 1874"/>
                <a:gd name="T123" fmla="*/ 1994179 h 3562"/>
                <a:gd name="T124" fmla="*/ 175120 w 1874"/>
                <a:gd name="T125" fmla="*/ 2027204 h 356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74"/>
                <a:gd name="T190" fmla="*/ 0 h 3562"/>
                <a:gd name="T191" fmla="*/ 1874 w 1874"/>
                <a:gd name="T192" fmla="*/ 3562 h 356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74" h="3562">
                  <a:moveTo>
                    <a:pt x="282" y="3320"/>
                  </a:moveTo>
                  <a:lnTo>
                    <a:pt x="282" y="3320"/>
                  </a:lnTo>
                  <a:lnTo>
                    <a:pt x="286" y="3322"/>
                  </a:lnTo>
                  <a:lnTo>
                    <a:pt x="286" y="3320"/>
                  </a:lnTo>
                  <a:lnTo>
                    <a:pt x="284" y="3316"/>
                  </a:lnTo>
                  <a:lnTo>
                    <a:pt x="282" y="3312"/>
                  </a:lnTo>
                  <a:lnTo>
                    <a:pt x="278" y="3308"/>
                  </a:lnTo>
                  <a:lnTo>
                    <a:pt x="274" y="3308"/>
                  </a:lnTo>
                  <a:lnTo>
                    <a:pt x="274" y="3310"/>
                  </a:lnTo>
                  <a:lnTo>
                    <a:pt x="276" y="3314"/>
                  </a:lnTo>
                  <a:lnTo>
                    <a:pt x="276" y="3316"/>
                  </a:lnTo>
                  <a:lnTo>
                    <a:pt x="282" y="3320"/>
                  </a:lnTo>
                  <a:close/>
                  <a:moveTo>
                    <a:pt x="286" y="3348"/>
                  </a:moveTo>
                  <a:lnTo>
                    <a:pt x="286" y="3348"/>
                  </a:lnTo>
                  <a:lnTo>
                    <a:pt x="288" y="3348"/>
                  </a:lnTo>
                  <a:lnTo>
                    <a:pt x="290" y="3348"/>
                  </a:lnTo>
                  <a:lnTo>
                    <a:pt x="296" y="3344"/>
                  </a:lnTo>
                  <a:lnTo>
                    <a:pt x="294" y="3340"/>
                  </a:lnTo>
                  <a:lnTo>
                    <a:pt x="286" y="3334"/>
                  </a:lnTo>
                  <a:lnTo>
                    <a:pt x="282" y="3330"/>
                  </a:lnTo>
                  <a:lnTo>
                    <a:pt x="278" y="3330"/>
                  </a:lnTo>
                  <a:lnTo>
                    <a:pt x="276" y="3332"/>
                  </a:lnTo>
                  <a:lnTo>
                    <a:pt x="278" y="3334"/>
                  </a:lnTo>
                  <a:lnTo>
                    <a:pt x="278" y="3336"/>
                  </a:lnTo>
                  <a:lnTo>
                    <a:pt x="280" y="3336"/>
                  </a:lnTo>
                  <a:lnTo>
                    <a:pt x="282" y="3336"/>
                  </a:lnTo>
                  <a:lnTo>
                    <a:pt x="284" y="3336"/>
                  </a:lnTo>
                  <a:lnTo>
                    <a:pt x="284" y="3338"/>
                  </a:lnTo>
                  <a:lnTo>
                    <a:pt x="284" y="3340"/>
                  </a:lnTo>
                  <a:lnTo>
                    <a:pt x="284" y="3342"/>
                  </a:lnTo>
                  <a:lnTo>
                    <a:pt x="286" y="3348"/>
                  </a:lnTo>
                  <a:close/>
                  <a:moveTo>
                    <a:pt x="270" y="3286"/>
                  </a:moveTo>
                  <a:lnTo>
                    <a:pt x="270" y="3286"/>
                  </a:lnTo>
                  <a:lnTo>
                    <a:pt x="270" y="3280"/>
                  </a:lnTo>
                  <a:lnTo>
                    <a:pt x="268" y="3278"/>
                  </a:lnTo>
                  <a:lnTo>
                    <a:pt x="266" y="3278"/>
                  </a:lnTo>
                  <a:lnTo>
                    <a:pt x="262" y="3278"/>
                  </a:lnTo>
                  <a:lnTo>
                    <a:pt x="260" y="3280"/>
                  </a:lnTo>
                  <a:lnTo>
                    <a:pt x="256" y="3286"/>
                  </a:lnTo>
                  <a:lnTo>
                    <a:pt x="252" y="3292"/>
                  </a:lnTo>
                  <a:lnTo>
                    <a:pt x="254" y="3292"/>
                  </a:lnTo>
                  <a:lnTo>
                    <a:pt x="258" y="3292"/>
                  </a:lnTo>
                  <a:lnTo>
                    <a:pt x="262" y="3290"/>
                  </a:lnTo>
                  <a:lnTo>
                    <a:pt x="262" y="3288"/>
                  </a:lnTo>
                  <a:lnTo>
                    <a:pt x="264" y="3286"/>
                  </a:lnTo>
                  <a:lnTo>
                    <a:pt x="266" y="3286"/>
                  </a:lnTo>
                  <a:lnTo>
                    <a:pt x="266" y="3288"/>
                  </a:lnTo>
                  <a:lnTo>
                    <a:pt x="268" y="3290"/>
                  </a:lnTo>
                  <a:lnTo>
                    <a:pt x="270" y="3288"/>
                  </a:lnTo>
                  <a:lnTo>
                    <a:pt x="270" y="3286"/>
                  </a:lnTo>
                  <a:close/>
                  <a:moveTo>
                    <a:pt x="262" y="3260"/>
                  </a:moveTo>
                  <a:lnTo>
                    <a:pt x="262" y="3260"/>
                  </a:lnTo>
                  <a:lnTo>
                    <a:pt x="256" y="3260"/>
                  </a:lnTo>
                  <a:lnTo>
                    <a:pt x="254" y="3260"/>
                  </a:lnTo>
                  <a:lnTo>
                    <a:pt x="254" y="3262"/>
                  </a:lnTo>
                  <a:lnTo>
                    <a:pt x="256" y="3264"/>
                  </a:lnTo>
                  <a:lnTo>
                    <a:pt x="258" y="3266"/>
                  </a:lnTo>
                  <a:lnTo>
                    <a:pt x="260" y="3270"/>
                  </a:lnTo>
                  <a:lnTo>
                    <a:pt x="264" y="3272"/>
                  </a:lnTo>
                  <a:lnTo>
                    <a:pt x="266" y="3270"/>
                  </a:lnTo>
                  <a:lnTo>
                    <a:pt x="268" y="3268"/>
                  </a:lnTo>
                  <a:lnTo>
                    <a:pt x="270" y="3266"/>
                  </a:lnTo>
                  <a:lnTo>
                    <a:pt x="274" y="3266"/>
                  </a:lnTo>
                  <a:lnTo>
                    <a:pt x="276" y="3266"/>
                  </a:lnTo>
                  <a:lnTo>
                    <a:pt x="276" y="3258"/>
                  </a:lnTo>
                  <a:lnTo>
                    <a:pt x="274" y="3254"/>
                  </a:lnTo>
                  <a:lnTo>
                    <a:pt x="270" y="3250"/>
                  </a:lnTo>
                  <a:lnTo>
                    <a:pt x="268" y="3250"/>
                  </a:lnTo>
                  <a:lnTo>
                    <a:pt x="266" y="3252"/>
                  </a:lnTo>
                  <a:lnTo>
                    <a:pt x="268" y="3258"/>
                  </a:lnTo>
                  <a:lnTo>
                    <a:pt x="266" y="3260"/>
                  </a:lnTo>
                  <a:lnTo>
                    <a:pt x="262" y="3260"/>
                  </a:lnTo>
                  <a:close/>
                  <a:moveTo>
                    <a:pt x="236" y="3110"/>
                  </a:moveTo>
                  <a:lnTo>
                    <a:pt x="236" y="3110"/>
                  </a:lnTo>
                  <a:lnTo>
                    <a:pt x="238" y="3110"/>
                  </a:lnTo>
                  <a:lnTo>
                    <a:pt x="240" y="3112"/>
                  </a:lnTo>
                  <a:lnTo>
                    <a:pt x="240" y="3118"/>
                  </a:lnTo>
                  <a:lnTo>
                    <a:pt x="240" y="3126"/>
                  </a:lnTo>
                  <a:lnTo>
                    <a:pt x="242" y="3128"/>
                  </a:lnTo>
                  <a:lnTo>
                    <a:pt x="244" y="3128"/>
                  </a:lnTo>
                  <a:lnTo>
                    <a:pt x="248" y="3124"/>
                  </a:lnTo>
                  <a:lnTo>
                    <a:pt x="250" y="3120"/>
                  </a:lnTo>
                  <a:lnTo>
                    <a:pt x="244" y="3108"/>
                  </a:lnTo>
                  <a:lnTo>
                    <a:pt x="240" y="3102"/>
                  </a:lnTo>
                  <a:lnTo>
                    <a:pt x="240" y="3096"/>
                  </a:lnTo>
                  <a:lnTo>
                    <a:pt x="238" y="3090"/>
                  </a:lnTo>
                  <a:lnTo>
                    <a:pt x="236" y="3088"/>
                  </a:lnTo>
                  <a:lnTo>
                    <a:pt x="232" y="3090"/>
                  </a:lnTo>
                  <a:lnTo>
                    <a:pt x="230" y="3094"/>
                  </a:lnTo>
                  <a:lnTo>
                    <a:pt x="230" y="3098"/>
                  </a:lnTo>
                  <a:lnTo>
                    <a:pt x="232" y="3100"/>
                  </a:lnTo>
                  <a:lnTo>
                    <a:pt x="232" y="3104"/>
                  </a:lnTo>
                  <a:lnTo>
                    <a:pt x="230" y="3108"/>
                  </a:lnTo>
                  <a:lnTo>
                    <a:pt x="230" y="3110"/>
                  </a:lnTo>
                  <a:lnTo>
                    <a:pt x="232" y="3110"/>
                  </a:lnTo>
                  <a:lnTo>
                    <a:pt x="236" y="3110"/>
                  </a:lnTo>
                  <a:close/>
                  <a:moveTo>
                    <a:pt x="284" y="3278"/>
                  </a:moveTo>
                  <a:lnTo>
                    <a:pt x="284" y="3278"/>
                  </a:lnTo>
                  <a:lnTo>
                    <a:pt x="284" y="3276"/>
                  </a:lnTo>
                  <a:lnTo>
                    <a:pt x="284" y="3270"/>
                  </a:lnTo>
                  <a:lnTo>
                    <a:pt x="282" y="3264"/>
                  </a:lnTo>
                  <a:lnTo>
                    <a:pt x="280" y="3260"/>
                  </a:lnTo>
                  <a:lnTo>
                    <a:pt x="278" y="3264"/>
                  </a:lnTo>
                  <a:lnTo>
                    <a:pt x="278" y="3270"/>
                  </a:lnTo>
                  <a:lnTo>
                    <a:pt x="280" y="3276"/>
                  </a:lnTo>
                  <a:lnTo>
                    <a:pt x="282" y="3278"/>
                  </a:lnTo>
                  <a:lnTo>
                    <a:pt x="284" y="3278"/>
                  </a:lnTo>
                  <a:close/>
                  <a:moveTo>
                    <a:pt x="304" y="3362"/>
                  </a:moveTo>
                  <a:lnTo>
                    <a:pt x="304" y="3362"/>
                  </a:lnTo>
                  <a:lnTo>
                    <a:pt x="304" y="3358"/>
                  </a:lnTo>
                  <a:lnTo>
                    <a:pt x="304" y="3356"/>
                  </a:lnTo>
                  <a:lnTo>
                    <a:pt x="306" y="3354"/>
                  </a:lnTo>
                  <a:lnTo>
                    <a:pt x="304" y="3352"/>
                  </a:lnTo>
                  <a:lnTo>
                    <a:pt x="302" y="3350"/>
                  </a:lnTo>
                  <a:lnTo>
                    <a:pt x="300" y="3350"/>
                  </a:lnTo>
                  <a:lnTo>
                    <a:pt x="294" y="3356"/>
                  </a:lnTo>
                  <a:lnTo>
                    <a:pt x="292" y="3360"/>
                  </a:lnTo>
                  <a:lnTo>
                    <a:pt x="292" y="3362"/>
                  </a:lnTo>
                  <a:lnTo>
                    <a:pt x="296" y="3368"/>
                  </a:lnTo>
                  <a:lnTo>
                    <a:pt x="298" y="3368"/>
                  </a:lnTo>
                  <a:lnTo>
                    <a:pt x="300" y="3368"/>
                  </a:lnTo>
                  <a:lnTo>
                    <a:pt x="302" y="3366"/>
                  </a:lnTo>
                  <a:lnTo>
                    <a:pt x="304" y="3362"/>
                  </a:lnTo>
                  <a:close/>
                  <a:moveTo>
                    <a:pt x="262" y="3320"/>
                  </a:moveTo>
                  <a:lnTo>
                    <a:pt x="262" y="3320"/>
                  </a:lnTo>
                  <a:lnTo>
                    <a:pt x="260" y="3330"/>
                  </a:lnTo>
                  <a:lnTo>
                    <a:pt x="258" y="3332"/>
                  </a:lnTo>
                  <a:lnTo>
                    <a:pt x="260" y="3330"/>
                  </a:lnTo>
                  <a:lnTo>
                    <a:pt x="264" y="3328"/>
                  </a:lnTo>
                  <a:lnTo>
                    <a:pt x="268" y="3320"/>
                  </a:lnTo>
                  <a:lnTo>
                    <a:pt x="268" y="3316"/>
                  </a:lnTo>
                  <a:lnTo>
                    <a:pt x="266" y="3314"/>
                  </a:lnTo>
                  <a:lnTo>
                    <a:pt x="264" y="3314"/>
                  </a:lnTo>
                  <a:lnTo>
                    <a:pt x="262" y="3320"/>
                  </a:lnTo>
                  <a:close/>
                  <a:moveTo>
                    <a:pt x="276" y="3112"/>
                  </a:moveTo>
                  <a:lnTo>
                    <a:pt x="276" y="3112"/>
                  </a:lnTo>
                  <a:lnTo>
                    <a:pt x="286" y="3114"/>
                  </a:lnTo>
                  <a:lnTo>
                    <a:pt x="288" y="3114"/>
                  </a:lnTo>
                  <a:lnTo>
                    <a:pt x="290" y="3112"/>
                  </a:lnTo>
                  <a:lnTo>
                    <a:pt x="284" y="3110"/>
                  </a:lnTo>
                  <a:lnTo>
                    <a:pt x="276" y="3102"/>
                  </a:lnTo>
                  <a:lnTo>
                    <a:pt x="270" y="3096"/>
                  </a:lnTo>
                  <a:lnTo>
                    <a:pt x="270" y="3098"/>
                  </a:lnTo>
                  <a:lnTo>
                    <a:pt x="270" y="3102"/>
                  </a:lnTo>
                  <a:lnTo>
                    <a:pt x="272" y="3108"/>
                  </a:lnTo>
                  <a:lnTo>
                    <a:pt x="276" y="3112"/>
                  </a:lnTo>
                  <a:close/>
                  <a:moveTo>
                    <a:pt x="274" y="3270"/>
                  </a:moveTo>
                  <a:lnTo>
                    <a:pt x="274" y="3270"/>
                  </a:lnTo>
                  <a:lnTo>
                    <a:pt x="272" y="3270"/>
                  </a:lnTo>
                  <a:lnTo>
                    <a:pt x="270" y="3272"/>
                  </a:lnTo>
                  <a:lnTo>
                    <a:pt x="270" y="3274"/>
                  </a:lnTo>
                  <a:lnTo>
                    <a:pt x="272" y="3276"/>
                  </a:lnTo>
                  <a:lnTo>
                    <a:pt x="274" y="3278"/>
                  </a:lnTo>
                  <a:lnTo>
                    <a:pt x="276" y="3276"/>
                  </a:lnTo>
                  <a:lnTo>
                    <a:pt x="276" y="3272"/>
                  </a:lnTo>
                  <a:lnTo>
                    <a:pt x="274" y="3270"/>
                  </a:lnTo>
                  <a:close/>
                  <a:moveTo>
                    <a:pt x="246" y="3090"/>
                  </a:moveTo>
                  <a:lnTo>
                    <a:pt x="246" y="3090"/>
                  </a:lnTo>
                  <a:lnTo>
                    <a:pt x="250" y="3090"/>
                  </a:lnTo>
                  <a:lnTo>
                    <a:pt x="252" y="3090"/>
                  </a:lnTo>
                  <a:lnTo>
                    <a:pt x="254" y="3092"/>
                  </a:lnTo>
                  <a:lnTo>
                    <a:pt x="258" y="3092"/>
                  </a:lnTo>
                  <a:lnTo>
                    <a:pt x="260" y="3090"/>
                  </a:lnTo>
                  <a:lnTo>
                    <a:pt x="260" y="3084"/>
                  </a:lnTo>
                  <a:lnTo>
                    <a:pt x="260" y="3080"/>
                  </a:lnTo>
                  <a:lnTo>
                    <a:pt x="260" y="3076"/>
                  </a:lnTo>
                  <a:lnTo>
                    <a:pt x="258" y="3078"/>
                  </a:lnTo>
                  <a:lnTo>
                    <a:pt x="256" y="3080"/>
                  </a:lnTo>
                  <a:lnTo>
                    <a:pt x="252" y="3084"/>
                  </a:lnTo>
                  <a:lnTo>
                    <a:pt x="248" y="3086"/>
                  </a:lnTo>
                  <a:lnTo>
                    <a:pt x="244" y="3086"/>
                  </a:lnTo>
                  <a:lnTo>
                    <a:pt x="242" y="3088"/>
                  </a:lnTo>
                  <a:lnTo>
                    <a:pt x="242" y="3090"/>
                  </a:lnTo>
                  <a:lnTo>
                    <a:pt x="246" y="3090"/>
                  </a:lnTo>
                  <a:close/>
                  <a:moveTo>
                    <a:pt x="248" y="3074"/>
                  </a:moveTo>
                  <a:lnTo>
                    <a:pt x="248" y="3074"/>
                  </a:lnTo>
                  <a:lnTo>
                    <a:pt x="246" y="3072"/>
                  </a:lnTo>
                  <a:lnTo>
                    <a:pt x="244" y="3072"/>
                  </a:lnTo>
                  <a:lnTo>
                    <a:pt x="242" y="3074"/>
                  </a:lnTo>
                  <a:lnTo>
                    <a:pt x="244" y="3078"/>
                  </a:lnTo>
                  <a:lnTo>
                    <a:pt x="246" y="3080"/>
                  </a:lnTo>
                  <a:lnTo>
                    <a:pt x="248" y="3078"/>
                  </a:lnTo>
                  <a:lnTo>
                    <a:pt x="250" y="3076"/>
                  </a:lnTo>
                  <a:lnTo>
                    <a:pt x="248" y="3074"/>
                  </a:lnTo>
                  <a:close/>
                  <a:moveTo>
                    <a:pt x="252" y="3118"/>
                  </a:moveTo>
                  <a:lnTo>
                    <a:pt x="252" y="3118"/>
                  </a:lnTo>
                  <a:lnTo>
                    <a:pt x="252" y="3120"/>
                  </a:lnTo>
                  <a:lnTo>
                    <a:pt x="254" y="3122"/>
                  </a:lnTo>
                  <a:lnTo>
                    <a:pt x="266" y="3128"/>
                  </a:lnTo>
                  <a:lnTo>
                    <a:pt x="272" y="3128"/>
                  </a:lnTo>
                  <a:lnTo>
                    <a:pt x="274" y="3124"/>
                  </a:lnTo>
                  <a:lnTo>
                    <a:pt x="272" y="3124"/>
                  </a:lnTo>
                  <a:lnTo>
                    <a:pt x="270" y="3122"/>
                  </a:lnTo>
                  <a:lnTo>
                    <a:pt x="268" y="3118"/>
                  </a:lnTo>
                  <a:lnTo>
                    <a:pt x="270" y="3116"/>
                  </a:lnTo>
                  <a:lnTo>
                    <a:pt x="270" y="3114"/>
                  </a:lnTo>
                  <a:lnTo>
                    <a:pt x="270" y="3108"/>
                  </a:lnTo>
                  <a:lnTo>
                    <a:pt x="266" y="3100"/>
                  </a:lnTo>
                  <a:lnTo>
                    <a:pt x="264" y="3098"/>
                  </a:lnTo>
                  <a:lnTo>
                    <a:pt x="262" y="3102"/>
                  </a:lnTo>
                  <a:lnTo>
                    <a:pt x="262" y="3106"/>
                  </a:lnTo>
                  <a:lnTo>
                    <a:pt x="262" y="3108"/>
                  </a:lnTo>
                  <a:lnTo>
                    <a:pt x="262" y="3114"/>
                  </a:lnTo>
                  <a:lnTo>
                    <a:pt x="262" y="3116"/>
                  </a:lnTo>
                  <a:lnTo>
                    <a:pt x="260" y="3114"/>
                  </a:lnTo>
                  <a:lnTo>
                    <a:pt x="258" y="3114"/>
                  </a:lnTo>
                  <a:lnTo>
                    <a:pt x="252" y="3118"/>
                  </a:lnTo>
                  <a:close/>
                  <a:moveTo>
                    <a:pt x="246" y="3228"/>
                  </a:moveTo>
                  <a:lnTo>
                    <a:pt x="246" y="3228"/>
                  </a:lnTo>
                  <a:lnTo>
                    <a:pt x="248" y="3228"/>
                  </a:lnTo>
                  <a:lnTo>
                    <a:pt x="250" y="3228"/>
                  </a:lnTo>
                  <a:lnTo>
                    <a:pt x="252" y="3228"/>
                  </a:lnTo>
                  <a:lnTo>
                    <a:pt x="254" y="3228"/>
                  </a:lnTo>
                  <a:lnTo>
                    <a:pt x="256" y="3224"/>
                  </a:lnTo>
                  <a:lnTo>
                    <a:pt x="256" y="3222"/>
                  </a:lnTo>
                  <a:lnTo>
                    <a:pt x="258" y="3218"/>
                  </a:lnTo>
                  <a:lnTo>
                    <a:pt x="262" y="3216"/>
                  </a:lnTo>
                  <a:lnTo>
                    <a:pt x="262" y="3214"/>
                  </a:lnTo>
                  <a:lnTo>
                    <a:pt x="260" y="3214"/>
                  </a:lnTo>
                  <a:lnTo>
                    <a:pt x="256" y="3216"/>
                  </a:lnTo>
                  <a:lnTo>
                    <a:pt x="254" y="3216"/>
                  </a:lnTo>
                  <a:lnTo>
                    <a:pt x="254" y="3214"/>
                  </a:lnTo>
                  <a:lnTo>
                    <a:pt x="254" y="3212"/>
                  </a:lnTo>
                  <a:lnTo>
                    <a:pt x="252" y="3212"/>
                  </a:lnTo>
                  <a:lnTo>
                    <a:pt x="248" y="3210"/>
                  </a:lnTo>
                  <a:lnTo>
                    <a:pt x="246" y="3210"/>
                  </a:lnTo>
                  <a:lnTo>
                    <a:pt x="242" y="3208"/>
                  </a:lnTo>
                  <a:lnTo>
                    <a:pt x="238" y="3208"/>
                  </a:lnTo>
                  <a:lnTo>
                    <a:pt x="236" y="3208"/>
                  </a:lnTo>
                  <a:lnTo>
                    <a:pt x="236" y="3210"/>
                  </a:lnTo>
                  <a:lnTo>
                    <a:pt x="240" y="3212"/>
                  </a:lnTo>
                  <a:lnTo>
                    <a:pt x="244" y="3216"/>
                  </a:lnTo>
                  <a:lnTo>
                    <a:pt x="244" y="3218"/>
                  </a:lnTo>
                  <a:lnTo>
                    <a:pt x="242" y="3218"/>
                  </a:lnTo>
                  <a:lnTo>
                    <a:pt x="240" y="3218"/>
                  </a:lnTo>
                  <a:lnTo>
                    <a:pt x="236" y="3218"/>
                  </a:lnTo>
                  <a:lnTo>
                    <a:pt x="232" y="3222"/>
                  </a:lnTo>
                  <a:lnTo>
                    <a:pt x="232" y="3224"/>
                  </a:lnTo>
                  <a:lnTo>
                    <a:pt x="234" y="3226"/>
                  </a:lnTo>
                  <a:lnTo>
                    <a:pt x="238" y="3226"/>
                  </a:lnTo>
                  <a:lnTo>
                    <a:pt x="242" y="3226"/>
                  </a:lnTo>
                  <a:lnTo>
                    <a:pt x="240" y="3230"/>
                  </a:lnTo>
                  <a:lnTo>
                    <a:pt x="240" y="3232"/>
                  </a:lnTo>
                  <a:lnTo>
                    <a:pt x="242" y="3232"/>
                  </a:lnTo>
                  <a:lnTo>
                    <a:pt x="246" y="3228"/>
                  </a:lnTo>
                  <a:close/>
                  <a:moveTo>
                    <a:pt x="256" y="3248"/>
                  </a:moveTo>
                  <a:lnTo>
                    <a:pt x="256" y="3248"/>
                  </a:lnTo>
                  <a:lnTo>
                    <a:pt x="254" y="3250"/>
                  </a:lnTo>
                  <a:lnTo>
                    <a:pt x="254" y="3252"/>
                  </a:lnTo>
                  <a:lnTo>
                    <a:pt x="258" y="3256"/>
                  </a:lnTo>
                  <a:lnTo>
                    <a:pt x="262" y="3258"/>
                  </a:lnTo>
                  <a:lnTo>
                    <a:pt x="264" y="3258"/>
                  </a:lnTo>
                  <a:lnTo>
                    <a:pt x="264" y="3256"/>
                  </a:lnTo>
                  <a:lnTo>
                    <a:pt x="262" y="3252"/>
                  </a:lnTo>
                  <a:lnTo>
                    <a:pt x="260" y="3248"/>
                  </a:lnTo>
                  <a:lnTo>
                    <a:pt x="258" y="3248"/>
                  </a:lnTo>
                  <a:lnTo>
                    <a:pt x="256" y="3248"/>
                  </a:lnTo>
                  <a:close/>
                  <a:moveTo>
                    <a:pt x="254" y="3160"/>
                  </a:moveTo>
                  <a:lnTo>
                    <a:pt x="254" y="3160"/>
                  </a:lnTo>
                  <a:lnTo>
                    <a:pt x="256" y="3160"/>
                  </a:lnTo>
                  <a:lnTo>
                    <a:pt x="256" y="3154"/>
                  </a:lnTo>
                  <a:lnTo>
                    <a:pt x="254" y="3150"/>
                  </a:lnTo>
                  <a:lnTo>
                    <a:pt x="250" y="3150"/>
                  </a:lnTo>
                  <a:lnTo>
                    <a:pt x="246" y="3152"/>
                  </a:lnTo>
                  <a:lnTo>
                    <a:pt x="242" y="3154"/>
                  </a:lnTo>
                  <a:lnTo>
                    <a:pt x="242" y="3156"/>
                  </a:lnTo>
                  <a:lnTo>
                    <a:pt x="246" y="3156"/>
                  </a:lnTo>
                  <a:lnTo>
                    <a:pt x="248" y="3158"/>
                  </a:lnTo>
                  <a:lnTo>
                    <a:pt x="254" y="3160"/>
                  </a:lnTo>
                  <a:close/>
                  <a:moveTo>
                    <a:pt x="248" y="3146"/>
                  </a:moveTo>
                  <a:lnTo>
                    <a:pt x="248" y="3146"/>
                  </a:lnTo>
                  <a:lnTo>
                    <a:pt x="250" y="3144"/>
                  </a:lnTo>
                  <a:lnTo>
                    <a:pt x="250" y="3142"/>
                  </a:lnTo>
                  <a:lnTo>
                    <a:pt x="244" y="3136"/>
                  </a:lnTo>
                  <a:lnTo>
                    <a:pt x="242" y="3136"/>
                  </a:lnTo>
                  <a:lnTo>
                    <a:pt x="244" y="3142"/>
                  </a:lnTo>
                  <a:lnTo>
                    <a:pt x="246" y="3146"/>
                  </a:lnTo>
                  <a:lnTo>
                    <a:pt x="248" y="3146"/>
                  </a:lnTo>
                  <a:close/>
                  <a:moveTo>
                    <a:pt x="282" y="3246"/>
                  </a:moveTo>
                  <a:lnTo>
                    <a:pt x="282" y="3246"/>
                  </a:lnTo>
                  <a:lnTo>
                    <a:pt x="280" y="3242"/>
                  </a:lnTo>
                  <a:lnTo>
                    <a:pt x="278" y="3238"/>
                  </a:lnTo>
                  <a:lnTo>
                    <a:pt x="278" y="3236"/>
                  </a:lnTo>
                  <a:lnTo>
                    <a:pt x="276" y="3234"/>
                  </a:lnTo>
                  <a:lnTo>
                    <a:pt x="272" y="3232"/>
                  </a:lnTo>
                  <a:lnTo>
                    <a:pt x="270" y="3232"/>
                  </a:lnTo>
                  <a:lnTo>
                    <a:pt x="270" y="3234"/>
                  </a:lnTo>
                  <a:lnTo>
                    <a:pt x="272" y="3238"/>
                  </a:lnTo>
                  <a:lnTo>
                    <a:pt x="274" y="3240"/>
                  </a:lnTo>
                  <a:lnTo>
                    <a:pt x="272" y="3242"/>
                  </a:lnTo>
                  <a:lnTo>
                    <a:pt x="272" y="3244"/>
                  </a:lnTo>
                  <a:lnTo>
                    <a:pt x="276" y="3252"/>
                  </a:lnTo>
                  <a:lnTo>
                    <a:pt x="280" y="3256"/>
                  </a:lnTo>
                  <a:lnTo>
                    <a:pt x="284" y="3256"/>
                  </a:lnTo>
                  <a:lnTo>
                    <a:pt x="286" y="3254"/>
                  </a:lnTo>
                  <a:lnTo>
                    <a:pt x="286" y="3252"/>
                  </a:lnTo>
                  <a:lnTo>
                    <a:pt x="282" y="3246"/>
                  </a:lnTo>
                  <a:close/>
                  <a:moveTo>
                    <a:pt x="234" y="3130"/>
                  </a:moveTo>
                  <a:lnTo>
                    <a:pt x="234" y="3130"/>
                  </a:lnTo>
                  <a:lnTo>
                    <a:pt x="228" y="3130"/>
                  </a:lnTo>
                  <a:lnTo>
                    <a:pt x="226" y="3132"/>
                  </a:lnTo>
                  <a:lnTo>
                    <a:pt x="226" y="3134"/>
                  </a:lnTo>
                  <a:lnTo>
                    <a:pt x="228" y="3134"/>
                  </a:lnTo>
                  <a:lnTo>
                    <a:pt x="236" y="3132"/>
                  </a:lnTo>
                  <a:lnTo>
                    <a:pt x="240" y="3132"/>
                  </a:lnTo>
                  <a:lnTo>
                    <a:pt x="240" y="3130"/>
                  </a:lnTo>
                  <a:lnTo>
                    <a:pt x="238" y="3128"/>
                  </a:lnTo>
                  <a:lnTo>
                    <a:pt x="234" y="3130"/>
                  </a:lnTo>
                  <a:close/>
                  <a:moveTo>
                    <a:pt x="224" y="3120"/>
                  </a:moveTo>
                  <a:lnTo>
                    <a:pt x="224" y="3120"/>
                  </a:lnTo>
                  <a:lnTo>
                    <a:pt x="226" y="3124"/>
                  </a:lnTo>
                  <a:lnTo>
                    <a:pt x="228" y="3126"/>
                  </a:lnTo>
                  <a:lnTo>
                    <a:pt x="230" y="3128"/>
                  </a:lnTo>
                  <a:lnTo>
                    <a:pt x="236" y="3126"/>
                  </a:lnTo>
                  <a:lnTo>
                    <a:pt x="238" y="3124"/>
                  </a:lnTo>
                  <a:lnTo>
                    <a:pt x="236" y="3120"/>
                  </a:lnTo>
                  <a:lnTo>
                    <a:pt x="236" y="3116"/>
                  </a:lnTo>
                  <a:lnTo>
                    <a:pt x="234" y="3114"/>
                  </a:lnTo>
                  <a:lnTo>
                    <a:pt x="230" y="3116"/>
                  </a:lnTo>
                  <a:lnTo>
                    <a:pt x="228" y="3116"/>
                  </a:lnTo>
                  <a:lnTo>
                    <a:pt x="226" y="3116"/>
                  </a:lnTo>
                  <a:lnTo>
                    <a:pt x="224" y="3120"/>
                  </a:lnTo>
                  <a:close/>
                  <a:moveTo>
                    <a:pt x="232" y="3160"/>
                  </a:moveTo>
                  <a:lnTo>
                    <a:pt x="232" y="3160"/>
                  </a:lnTo>
                  <a:lnTo>
                    <a:pt x="234" y="3158"/>
                  </a:lnTo>
                  <a:lnTo>
                    <a:pt x="236" y="3156"/>
                  </a:lnTo>
                  <a:lnTo>
                    <a:pt x="238" y="3154"/>
                  </a:lnTo>
                  <a:lnTo>
                    <a:pt x="238" y="3152"/>
                  </a:lnTo>
                  <a:lnTo>
                    <a:pt x="236" y="3148"/>
                  </a:lnTo>
                  <a:lnTo>
                    <a:pt x="236" y="3150"/>
                  </a:lnTo>
                  <a:lnTo>
                    <a:pt x="234" y="3152"/>
                  </a:lnTo>
                  <a:lnTo>
                    <a:pt x="230" y="3154"/>
                  </a:lnTo>
                  <a:lnTo>
                    <a:pt x="228" y="3156"/>
                  </a:lnTo>
                  <a:lnTo>
                    <a:pt x="226" y="3158"/>
                  </a:lnTo>
                  <a:lnTo>
                    <a:pt x="226" y="3160"/>
                  </a:lnTo>
                  <a:lnTo>
                    <a:pt x="228" y="3162"/>
                  </a:lnTo>
                  <a:lnTo>
                    <a:pt x="232" y="3164"/>
                  </a:lnTo>
                  <a:lnTo>
                    <a:pt x="232" y="3160"/>
                  </a:lnTo>
                  <a:close/>
                  <a:moveTo>
                    <a:pt x="290" y="3322"/>
                  </a:moveTo>
                  <a:lnTo>
                    <a:pt x="290" y="3322"/>
                  </a:lnTo>
                  <a:lnTo>
                    <a:pt x="290" y="3324"/>
                  </a:lnTo>
                  <a:lnTo>
                    <a:pt x="292" y="3326"/>
                  </a:lnTo>
                  <a:lnTo>
                    <a:pt x="300" y="3334"/>
                  </a:lnTo>
                  <a:lnTo>
                    <a:pt x="304" y="3338"/>
                  </a:lnTo>
                  <a:lnTo>
                    <a:pt x="302" y="3332"/>
                  </a:lnTo>
                  <a:lnTo>
                    <a:pt x="296" y="3324"/>
                  </a:lnTo>
                  <a:lnTo>
                    <a:pt x="292" y="3322"/>
                  </a:lnTo>
                  <a:lnTo>
                    <a:pt x="290" y="3322"/>
                  </a:lnTo>
                  <a:close/>
                  <a:moveTo>
                    <a:pt x="246" y="3094"/>
                  </a:moveTo>
                  <a:lnTo>
                    <a:pt x="246" y="3094"/>
                  </a:lnTo>
                  <a:lnTo>
                    <a:pt x="244" y="3094"/>
                  </a:lnTo>
                  <a:lnTo>
                    <a:pt x="242" y="3094"/>
                  </a:lnTo>
                  <a:lnTo>
                    <a:pt x="242" y="3098"/>
                  </a:lnTo>
                  <a:lnTo>
                    <a:pt x="250" y="3112"/>
                  </a:lnTo>
                  <a:lnTo>
                    <a:pt x="252" y="3114"/>
                  </a:lnTo>
                  <a:lnTo>
                    <a:pt x="254" y="3112"/>
                  </a:lnTo>
                  <a:lnTo>
                    <a:pt x="256" y="3110"/>
                  </a:lnTo>
                  <a:lnTo>
                    <a:pt x="258" y="3110"/>
                  </a:lnTo>
                  <a:lnTo>
                    <a:pt x="258" y="3108"/>
                  </a:lnTo>
                  <a:lnTo>
                    <a:pt x="258" y="3102"/>
                  </a:lnTo>
                  <a:lnTo>
                    <a:pt x="258" y="3098"/>
                  </a:lnTo>
                  <a:lnTo>
                    <a:pt x="256" y="3096"/>
                  </a:lnTo>
                  <a:lnTo>
                    <a:pt x="246" y="3094"/>
                  </a:lnTo>
                  <a:close/>
                  <a:moveTo>
                    <a:pt x="294" y="3282"/>
                  </a:moveTo>
                  <a:lnTo>
                    <a:pt x="294" y="3282"/>
                  </a:lnTo>
                  <a:lnTo>
                    <a:pt x="294" y="3280"/>
                  </a:lnTo>
                  <a:lnTo>
                    <a:pt x="290" y="3278"/>
                  </a:lnTo>
                  <a:lnTo>
                    <a:pt x="288" y="3280"/>
                  </a:lnTo>
                  <a:lnTo>
                    <a:pt x="288" y="3284"/>
                  </a:lnTo>
                  <a:lnTo>
                    <a:pt x="290" y="3286"/>
                  </a:lnTo>
                  <a:lnTo>
                    <a:pt x="292" y="3286"/>
                  </a:lnTo>
                  <a:lnTo>
                    <a:pt x="294" y="3284"/>
                  </a:lnTo>
                  <a:lnTo>
                    <a:pt x="294" y="3282"/>
                  </a:lnTo>
                  <a:close/>
                  <a:moveTo>
                    <a:pt x="284" y="3284"/>
                  </a:moveTo>
                  <a:lnTo>
                    <a:pt x="284" y="3284"/>
                  </a:lnTo>
                  <a:lnTo>
                    <a:pt x="282" y="3284"/>
                  </a:lnTo>
                  <a:lnTo>
                    <a:pt x="282" y="3286"/>
                  </a:lnTo>
                  <a:lnTo>
                    <a:pt x="282" y="3288"/>
                  </a:lnTo>
                  <a:lnTo>
                    <a:pt x="286" y="3292"/>
                  </a:lnTo>
                  <a:lnTo>
                    <a:pt x="286" y="3288"/>
                  </a:lnTo>
                  <a:lnTo>
                    <a:pt x="286" y="3286"/>
                  </a:lnTo>
                  <a:lnTo>
                    <a:pt x="284" y="3284"/>
                  </a:lnTo>
                  <a:close/>
                  <a:moveTo>
                    <a:pt x="294" y="3312"/>
                  </a:moveTo>
                  <a:lnTo>
                    <a:pt x="294" y="3312"/>
                  </a:lnTo>
                  <a:lnTo>
                    <a:pt x="294" y="3310"/>
                  </a:lnTo>
                  <a:lnTo>
                    <a:pt x="294" y="3306"/>
                  </a:lnTo>
                  <a:lnTo>
                    <a:pt x="290" y="3298"/>
                  </a:lnTo>
                  <a:lnTo>
                    <a:pt x="288" y="3296"/>
                  </a:lnTo>
                  <a:lnTo>
                    <a:pt x="288" y="3298"/>
                  </a:lnTo>
                  <a:lnTo>
                    <a:pt x="288" y="3302"/>
                  </a:lnTo>
                  <a:lnTo>
                    <a:pt x="286" y="3306"/>
                  </a:lnTo>
                  <a:lnTo>
                    <a:pt x="284" y="3308"/>
                  </a:lnTo>
                  <a:lnTo>
                    <a:pt x="286" y="3312"/>
                  </a:lnTo>
                  <a:lnTo>
                    <a:pt x="290" y="3314"/>
                  </a:lnTo>
                  <a:lnTo>
                    <a:pt x="294" y="3312"/>
                  </a:lnTo>
                  <a:close/>
                  <a:moveTo>
                    <a:pt x="240" y="3200"/>
                  </a:moveTo>
                  <a:lnTo>
                    <a:pt x="240" y="3200"/>
                  </a:lnTo>
                  <a:lnTo>
                    <a:pt x="242" y="3200"/>
                  </a:lnTo>
                  <a:lnTo>
                    <a:pt x="242" y="3192"/>
                  </a:lnTo>
                  <a:lnTo>
                    <a:pt x="238" y="3184"/>
                  </a:lnTo>
                  <a:lnTo>
                    <a:pt x="236" y="3184"/>
                  </a:lnTo>
                  <a:lnTo>
                    <a:pt x="234" y="3184"/>
                  </a:lnTo>
                  <a:lnTo>
                    <a:pt x="230" y="3184"/>
                  </a:lnTo>
                  <a:lnTo>
                    <a:pt x="230" y="3186"/>
                  </a:lnTo>
                  <a:lnTo>
                    <a:pt x="230" y="3196"/>
                  </a:lnTo>
                  <a:lnTo>
                    <a:pt x="236" y="3194"/>
                  </a:lnTo>
                  <a:lnTo>
                    <a:pt x="238" y="3192"/>
                  </a:lnTo>
                  <a:lnTo>
                    <a:pt x="238" y="3194"/>
                  </a:lnTo>
                  <a:lnTo>
                    <a:pt x="238" y="3198"/>
                  </a:lnTo>
                  <a:lnTo>
                    <a:pt x="240" y="3200"/>
                  </a:lnTo>
                  <a:close/>
                  <a:moveTo>
                    <a:pt x="236" y="3146"/>
                  </a:moveTo>
                  <a:lnTo>
                    <a:pt x="236" y="3146"/>
                  </a:lnTo>
                  <a:lnTo>
                    <a:pt x="238" y="3146"/>
                  </a:lnTo>
                  <a:lnTo>
                    <a:pt x="240" y="3148"/>
                  </a:lnTo>
                  <a:lnTo>
                    <a:pt x="242" y="3148"/>
                  </a:lnTo>
                  <a:lnTo>
                    <a:pt x="242" y="3146"/>
                  </a:lnTo>
                  <a:lnTo>
                    <a:pt x="240" y="3142"/>
                  </a:lnTo>
                  <a:lnTo>
                    <a:pt x="236" y="3138"/>
                  </a:lnTo>
                  <a:lnTo>
                    <a:pt x="232" y="3138"/>
                  </a:lnTo>
                  <a:lnTo>
                    <a:pt x="228" y="3138"/>
                  </a:lnTo>
                  <a:lnTo>
                    <a:pt x="224" y="3140"/>
                  </a:lnTo>
                  <a:lnTo>
                    <a:pt x="224" y="3144"/>
                  </a:lnTo>
                  <a:lnTo>
                    <a:pt x="226" y="3146"/>
                  </a:lnTo>
                  <a:lnTo>
                    <a:pt x="230" y="3146"/>
                  </a:lnTo>
                  <a:lnTo>
                    <a:pt x="236" y="3146"/>
                  </a:lnTo>
                  <a:close/>
                  <a:moveTo>
                    <a:pt x="292" y="2928"/>
                  </a:moveTo>
                  <a:lnTo>
                    <a:pt x="292" y="2928"/>
                  </a:lnTo>
                  <a:lnTo>
                    <a:pt x="294" y="2930"/>
                  </a:lnTo>
                  <a:lnTo>
                    <a:pt x="296" y="2930"/>
                  </a:lnTo>
                  <a:lnTo>
                    <a:pt x="298" y="2930"/>
                  </a:lnTo>
                  <a:lnTo>
                    <a:pt x="302" y="2930"/>
                  </a:lnTo>
                  <a:lnTo>
                    <a:pt x="304" y="2930"/>
                  </a:lnTo>
                  <a:lnTo>
                    <a:pt x="306" y="2928"/>
                  </a:lnTo>
                  <a:lnTo>
                    <a:pt x="302" y="2918"/>
                  </a:lnTo>
                  <a:lnTo>
                    <a:pt x="300" y="2916"/>
                  </a:lnTo>
                  <a:lnTo>
                    <a:pt x="298" y="2916"/>
                  </a:lnTo>
                  <a:lnTo>
                    <a:pt x="294" y="2918"/>
                  </a:lnTo>
                  <a:lnTo>
                    <a:pt x="290" y="2918"/>
                  </a:lnTo>
                  <a:lnTo>
                    <a:pt x="286" y="2918"/>
                  </a:lnTo>
                  <a:lnTo>
                    <a:pt x="284" y="2920"/>
                  </a:lnTo>
                  <a:lnTo>
                    <a:pt x="284" y="2922"/>
                  </a:lnTo>
                  <a:lnTo>
                    <a:pt x="288" y="2924"/>
                  </a:lnTo>
                  <a:lnTo>
                    <a:pt x="290" y="2924"/>
                  </a:lnTo>
                  <a:lnTo>
                    <a:pt x="292" y="2928"/>
                  </a:lnTo>
                  <a:close/>
                  <a:moveTo>
                    <a:pt x="294" y="2944"/>
                  </a:moveTo>
                  <a:lnTo>
                    <a:pt x="294" y="2944"/>
                  </a:lnTo>
                  <a:lnTo>
                    <a:pt x="296" y="2944"/>
                  </a:lnTo>
                  <a:lnTo>
                    <a:pt x="298" y="2942"/>
                  </a:lnTo>
                  <a:lnTo>
                    <a:pt x="300" y="2940"/>
                  </a:lnTo>
                  <a:lnTo>
                    <a:pt x="298" y="2940"/>
                  </a:lnTo>
                  <a:lnTo>
                    <a:pt x="292" y="2940"/>
                  </a:lnTo>
                  <a:lnTo>
                    <a:pt x="290" y="2940"/>
                  </a:lnTo>
                  <a:lnTo>
                    <a:pt x="290" y="2942"/>
                  </a:lnTo>
                  <a:lnTo>
                    <a:pt x="288" y="2944"/>
                  </a:lnTo>
                  <a:lnTo>
                    <a:pt x="290" y="2944"/>
                  </a:lnTo>
                  <a:lnTo>
                    <a:pt x="294" y="2944"/>
                  </a:lnTo>
                  <a:close/>
                  <a:moveTo>
                    <a:pt x="278" y="2914"/>
                  </a:moveTo>
                  <a:lnTo>
                    <a:pt x="278" y="2914"/>
                  </a:lnTo>
                  <a:lnTo>
                    <a:pt x="278" y="2916"/>
                  </a:lnTo>
                  <a:lnTo>
                    <a:pt x="282" y="2916"/>
                  </a:lnTo>
                  <a:lnTo>
                    <a:pt x="286" y="2914"/>
                  </a:lnTo>
                  <a:lnTo>
                    <a:pt x="292" y="2914"/>
                  </a:lnTo>
                  <a:lnTo>
                    <a:pt x="294" y="2914"/>
                  </a:lnTo>
                  <a:lnTo>
                    <a:pt x="294" y="2912"/>
                  </a:lnTo>
                  <a:lnTo>
                    <a:pt x="288" y="2908"/>
                  </a:lnTo>
                  <a:lnTo>
                    <a:pt x="286" y="2908"/>
                  </a:lnTo>
                  <a:lnTo>
                    <a:pt x="282" y="2908"/>
                  </a:lnTo>
                  <a:lnTo>
                    <a:pt x="278" y="2914"/>
                  </a:lnTo>
                  <a:close/>
                  <a:moveTo>
                    <a:pt x="276" y="2888"/>
                  </a:moveTo>
                  <a:lnTo>
                    <a:pt x="276" y="2888"/>
                  </a:lnTo>
                  <a:lnTo>
                    <a:pt x="280" y="2886"/>
                  </a:lnTo>
                  <a:lnTo>
                    <a:pt x="282" y="2884"/>
                  </a:lnTo>
                  <a:lnTo>
                    <a:pt x="282" y="2882"/>
                  </a:lnTo>
                  <a:lnTo>
                    <a:pt x="282" y="2880"/>
                  </a:lnTo>
                  <a:lnTo>
                    <a:pt x="278" y="2880"/>
                  </a:lnTo>
                  <a:lnTo>
                    <a:pt x="272" y="2884"/>
                  </a:lnTo>
                  <a:lnTo>
                    <a:pt x="270" y="2884"/>
                  </a:lnTo>
                  <a:lnTo>
                    <a:pt x="270" y="2886"/>
                  </a:lnTo>
                  <a:lnTo>
                    <a:pt x="272" y="2888"/>
                  </a:lnTo>
                  <a:lnTo>
                    <a:pt x="276" y="2888"/>
                  </a:lnTo>
                  <a:close/>
                  <a:moveTo>
                    <a:pt x="282" y="2902"/>
                  </a:moveTo>
                  <a:lnTo>
                    <a:pt x="282" y="2902"/>
                  </a:lnTo>
                  <a:lnTo>
                    <a:pt x="284" y="2902"/>
                  </a:lnTo>
                  <a:lnTo>
                    <a:pt x="290" y="2900"/>
                  </a:lnTo>
                  <a:lnTo>
                    <a:pt x="296" y="2898"/>
                  </a:lnTo>
                  <a:lnTo>
                    <a:pt x="296" y="2896"/>
                  </a:lnTo>
                  <a:lnTo>
                    <a:pt x="294" y="2894"/>
                  </a:lnTo>
                  <a:lnTo>
                    <a:pt x="292" y="2894"/>
                  </a:lnTo>
                  <a:lnTo>
                    <a:pt x="282" y="2894"/>
                  </a:lnTo>
                  <a:lnTo>
                    <a:pt x="276" y="2894"/>
                  </a:lnTo>
                  <a:lnTo>
                    <a:pt x="276" y="2896"/>
                  </a:lnTo>
                  <a:lnTo>
                    <a:pt x="278" y="2900"/>
                  </a:lnTo>
                  <a:lnTo>
                    <a:pt x="282" y="2902"/>
                  </a:lnTo>
                  <a:close/>
                  <a:moveTo>
                    <a:pt x="296" y="2950"/>
                  </a:moveTo>
                  <a:lnTo>
                    <a:pt x="296" y="2950"/>
                  </a:lnTo>
                  <a:lnTo>
                    <a:pt x="294" y="2948"/>
                  </a:lnTo>
                  <a:lnTo>
                    <a:pt x="290" y="2950"/>
                  </a:lnTo>
                  <a:lnTo>
                    <a:pt x="290" y="2952"/>
                  </a:lnTo>
                  <a:lnTo>
                    <a:pt x="290" y="2954"/>
                  </a:lnTo>
                  <a:lnTo>
                    <a:pt x="292" y="2956"/>
                  </a:lnTo>
                  <a:lnTo>
                    <a:pt x="294" y="2954"/>
                  </a:lnTo>
                  <a:lnTo>
                    <a:pt x="296" y="2952"/>
                  </a:lnTo>
                  <a:lnTo>
                    <a:pt x="296" y="2950"/>
                  </a:lnTo>
                  <a:close/>
                  <a:moveTo>
                    <a:pt x="302" y="2888"/>
                  </a:moveTo>
                  <a:lnTo>
                    <a:pt x="302" y="2888"/>
                  </a:lnTo>
                  <a:lnTo>
                    <a:pt x="300" y="2890"/>
                  </a:lnTo>
                  <a:lnTo>
                    <a:pt x="300" y="2892"/>
                  </a:lnTo>
                  <a:lnTo>
                    <a:pt x="302" y="2898"/>
                  </a:lnTo>
                  <a:lnTo>
                    <a:pt x="304" y="2900"/>
                  </a:lnTo>
                  <a:lnTo>
                    <a:pt x="308" y="2898"/>
                  </a:lnTo>
                  <a:lnTo>
                    <a:pt x="310" y="2896"/>
                  </a:lnTo>
                  <a:lnTo>
                    <a:pt x="308" y="2894"/>
                  </a:lnTo>
                  <a:lnTo>
                    <a:pt x="306" y="2890"/>
                  </a:lnTo>
                  <a:lnTo>
                    <a:pt x="302" y="2888"/>
                  </a:lnTo>
                  <a:close/>
                  <a:moveTo>
                    <a:pt x="304" y="2856"/>
                  </a:moveTo>
                  <a:lnTo>
                    <a:pt x="304" y="2856"/>
                  </a:lnTo>
                  <a:lnTo>
                    <a:pt x="304" y="2858"/>
                  </a:lnTo>
                  <a:lnTo>
                    <a:pt x="304" y="2862"/>
                  </a:lnTo>
                  <a:lnTo>
                    <a:pt x="306" y="2864"/>
                  </a:lnTo>
                  <a:lnTo>
                    <a:pt x="308" y="2864"/>
                  </a:lnTo>
                  <a:lnTo>
                    <a:pt x="310" y="2862"/>
                  </a:lnTo>
                  <a:lnTo>
                    <a:pt x="308" y="2860"/>
                  </a:lnTo>
                  <a:lnTo>
                    <a:pt x="306" y="2856"/>
                  </a:lnTo>
                  <a:lnTo>
                    <a:pt x="304" y="2856"/>
                  </a:lnTo>
                  <a:close/>
                  <a:moveTo>
                    <a:pt x="300" y="2968"/>
                  </a:moveTo>
                  <a:lnTo>
                    <a:pt x="300" y="2968"/>
                  </a:lnTo>
                  <a:lnTo>
                    <a:pt x="304" y="2964"/>
                  </a:lnTo>
                  <a:lnTo>
                    <a:pt x="304" y="2962"/>
                  </a:lnTo>
                  <a:lnTo>
                    <a:pt x="304" y="2960"/>
                  </a:lnTo>
                  <a:lnTo>
                    <a:pt x="300" y="2962"/>
                  </a:lnTo>
                  <a:lnTo>
                    <a:pt x="298" y="2964"/>
                  </a:lnTo>
                  <a:lnTo>
                    <a:pt x="296" y="2968"/>
                  </a:lnTo>
                  <a:lnTo>
                    <a:pt x="296" y="2970"/>
                  </a:lnTo>
                  <a:lnTo>
                    <a:pt x="300" y="2968"/>
                  </a:lnTo>
                  <a:close/>
                  <a:moveTo>
                    <a:pt x="290" y="2888"/>
                  </a:moveTo>
                  <a:lnTo>
                    <a:pt x="290" y="2888"/>
                  </a:lnTo>
                  <a:lnTo>
                    <a:pt x="294" y="2888"/>
                  </a:lnTo>
                  <a:lnTo>
                    <a:pt x="294" y="2886"/>
                  </a:lnTo>
                  <a:lnTo>
                    <a:pt x="292" y="2884"/>
                  </a:lnTo>
                  <a:lnTo>
                    <a:pt x="290" y="2884"/>
                  </a:lnTo>
                  <a:lnTo>
                    <a:pt x="282" y="2888"/>
                  </a:lnTo>
                  <a:lnTo>
                    <a:pt x="280" y="2888"/>
                  </a:lnTo>
                  <a:lnTo>
                    <a:pt x="282" y="2890"/>
                  </a:lnTo>
                  <a:lnTo>
                    <a:pt x="290" y="2888"/>
                  </a:lnTo>
                  <a:close/>
                  <a:moveTo>
                    <a:pt x="250" y="2970"/>
                  </a:moveTo>
                  <a:lnTo>
                    <a:pt x="250" y="2970"/>
                  </a:lnTo>
                  <a:lnTo>
                    <a:pt x="250" y="2972"/>
                  </a:lnTo>
                  <a:lnTo>
                    <a:pt x="248" y="2974"/>
                  </a:lnTo>
                  <a:lnTo>
                    <a:pt x="248" y="2978"/>
                  </a:lnTo>
                  <a:lnTo>
                    <a:pt x="252" y="2980"/>
                  </a:lnTo>
                  <a:lnTo>
                    <a:pt x="254" y="2980"/>
                  </a:lnTo>
                  <a:lnTo>
                    <a:pt x="260" y="2974"/>
                  </a:lnTo>
                  <a:lnTo>
                    <a:pt x="262" y="2972"/>
                  </a:lnTo>
                  <a:lnTo>
                    <a:pt x="262" y="2968"/>
                  </a:lnTo>
                  <a:lnTo>
                    <a:pt x="262" y="2964"/>
                  </a:lnTo>
                  <a:lnTo>
                    <a:pt x="260" y="2962"/>
                  </a:lnTo>
                  <a:lnTo>
                    <a:pt x="256" y="2962"/>
                  </a:lnTo>
                  <a:lnTo>
                    <a:pt x="250" y="2966"/>
                  </a:lnTo>
                  <a:lnTo>
                    <a:pt x="248" y="2966"/>
                  </a:lnTo>
                  <a:lnTo>
                    <a:pt x="250" y="2970"/>
                  </a:lnTo>
                  <a:close/>
                  <a:moveTo>
                    <a:pt x="540" y="3562"/>
                  </a:moveTo>
                  <a:lnTo>
                    <a:pt x="540" y="3562"/>
                  </a:lnTo>
                  <a:lnTo>
                    <a:pt x="544" y="3562"/>
                  </a:lnTo>
                  <a:lnTo>
                    <a:pt x="548" y="3562"/>
                  </a:lnTo>
                  <a:lnTo>
                    <a:pt x="554" y="3560"/>
                  </a:lnTo>
                  <a:lnTo>
                    <a:pt x="554" y="3558"/>
                  </a:lnTo>
                  <a:lnTo>
                    <a:pt x="552" y="3558"/>
                  </a:lnTo>
                  <a:lnTo>
                    <a:pt x="546" y="3558"/>
                  </a:lnTo>
                  <a:lnTo>
                    <a:pt x="542" y="3560"/>
                  </a:lnTo>
                  <a:lnTo>
                    <a:pt x="540" y="3562"/>
                  </a:lnTo>
                  <a:close/>
                  <a:moveTo>
                    <a:pt x="560" y="3548"/>
                  </a:moveTo>
                  <a:lnTo>
                    <a:pt x="560" y="3548"/>
                  </a:lnTo>
                  <a:lnTo>
                    <a:pt x="558" y="3550"/>
                  </a:lnTo>
                  <a:lnTo>
                    <a:pt x="556" y="3548"/>
                  </a:lnTo>
                  <a:lnTo>
                    <a:pt x="554" y="3550"/>
                  </a:lnTo>
                  <a:lnTo>
                    <a:pt x="552" y="3552"/>
                  </a:lnTo>
                  <a:lnTo>
                    <a:pt x="554" y="3554"/>
                  </a:lnTo>
                  <a:lnTo>
                    <a:pt x="560" y="3556"/>
                  </a:lnTo>
                  <a:lnTo>
                    <a:pt x="562" y="3556"/>
                  </a:lnTo>
                  <a:lnTo>
                    <a:pt x="564" y="3556"/>
                  </a:lnTo>
                  <a:lnTo>
                    <a:pt x="562" y="3548"/>
                  </a:lnTo>
                  <a:lnTo>
                    <a:pt x="560" y="3544"/>
                  </a:lnTo>
                  <a:lnTo>
                    <a:pt x="560" y="3546"/>
                  </a:lnTo>
                  <a:lnTo>
                    <a:pt x="560" y="3548"/>
                  </a:lnTo>
                  <a:close/>
                  <a:moveTo>
                    <a:pt x="556" y="3506"/>
                  </a:moveTo>
                  <a:lnTo>
                    <a:pt x="556" y="3506"/>
                  </a:lnTo>
                  <a:lnTo>
                    <a:pt x="530" y="3504"/>
                  </a:lnTo>
                  <a:lnTo>
                    <a:pt x="522" y="3504"/>
                  </a:lnTo>
                  <a:lnTo>
                    <a:pt x="522" y="3506"/>
                  </a:lnTo>
                  <a:lnTo>
                    <a:pt x="526" y="3508"/>
                  </a:lnTo>
                  <a:lnTo>
                    <a:pt x="528" y="3510"/>
                  </a:lnTo>
                  <a:lnTo>
                    <a:pt x="528" y="3512"/>
                  </a:lnTo>
                  <a:lnTo>
                    <a:pt x="528" y="3516"/>
                  </a:lnTo>
                  <a:lnTo>
                    <a:pt x="530" y="3522"/>
                  </a:lnTo>
                  <a:lnTo>
                    <a:pt x="532" y="3524"/>
                  </a:lnTo>
                  <a:lnTo>
                    <a:pt x="536" y="3524"/>
                  </a:lnTo>
                  <a:lnTo>
                    <a:pt x="546" y="3524"/>
                  </a:lnTo>
                  <a:lnTo>
                    <a:pt x="550" y="3524"/>
                  </a:lnTo>
                  <a:lnTo>
                    <a:pt x="550" y="3522"/>
                  </a:lnTo>
                  <a:lnTo>
                    <a:pt x="550" y="3520"/>
                  </a:lnTo>
                  <a:lnTo>
                    <a:pt x="554" y="3518"/>
                  </a:lnTo>
                  <a:lnTo>
                    <a:pt x="556" y="3520"/>
                  </a:lnTo>
                  <a:lnTo>
                    <a:pt x="558" y="3524"/>
                  </a:lnTo>
                  <a:lnTo>
                    <a:pt x="558" y="3526"/>
                  </a:lnTo>
                  <a:lnTo>
                    <a:pt x="562" y="3528"/>
                  </a:lnTo>
                  <a:lnTo>
                    <a:pt x="566" y="3526"/>
                  </a:lnTo>
                  <a:lnTo>
                    <a:pt x="568" y="3524"/>
                  </a:lnTo>
                  <a:lnTo>
                    <a:pt x="572" y="3514"/>
                  </a:lnTo>
                  <a:lnTo>
                    <a:pt x="572" y="3512"/>
                  </a:lnTo>
                  <a:lnTo>
                    <a:pt x="572" y="3508"/>
                  </a:lnTo>
                  <a:lnTo>
                    <a:pt x="568" y="3506"/>
                  </a:lnTo>
                  <a:lnTo>
                    <a:pt x="562" y="3506"/>
                  </a:lnTo>
                  <a:lnTo>
                    <a:pt x="556" y="3506"/>
                  </a:lnTo>
                  <a:close/>
                  <a:moveTo>
                    <a:pt x="522" y="3532"/>
                  </a:moveTo>
                  <a:lnTo>
                    <a:pt x="522" y="3532"/>
                  </a:lnTo>
                  <a:lnTo>
                    <a:pt x="516" y="3528"/>
                  </a:lnTo>
                  <a:lnTo>
                    <a:pt x="520" y="3528"/>
                  </a:lnTo>
                  <a:lnTo>
                    <a:pt x="524" y="3526"/>
                  </a:lnTo>
                  <a:lnTo>
                    <a:pt x="524" y="3524"/>
                  </a:lnTo>
                  <a:lnTo>
                    <a:pt x="518" y="3520"/>
                  </a:lnTo>
                  <a:lnTo>
                    <a:pt x="510" y="3520"/>
                  </a:lnTo>
                  <a:lnTo>
                    <a:pt x="506" y="3520"/>
                  </a:lnTo>
                  <a:lnTo>
                    <a:pt x="506" y="3518"/>
                  </a:lnTo>
                  <a:lnTo>
                    <a:pt x="514" y="3516"/>
                  </a:lnTo>
                  <a:lnTo>
                    <a:pt x="520" y="3514"/>
                  </a:lnTo>
                  <a:lnTo>
                    <a:pt x="520" y="3512"/>
                  </a:lnTo>
                  <a:lnTo>
                    <a:pt x="520" y="3510"/>
                  </a:lnTo>
                  <a:lnTo>
                    <a:pt x="518" y="3508"/>
                  </a:lnTo>
                  <a:lnTo>
                    <a:pt x="512" y="3506"/>
                  </a:lnTo>
                  <a:lnTo>
                    <a:pt x="504" y="3506"/>
                  </a:lnTo>
                  <a:lnTo>
                    <a:pt x="498" y="3508"/>
                  </a:lnTo>
                  <a:lnTo>
                    <a:pt x="490" y="3508"/>
                  </a:lnTo>
                  <a:lnTo>
                    <a:pt x="486" y="3508"/>
                  </a:lnTo>
                  <a:lnTo>
                    <a:pt x="478" y="3510"/>
                  </a:lnTo>
                  <a:lnTo>
                    <a:pt x="462" y="3514"/>
                  </a:lnTo>
                  <a:lnTo>
                    <a:pt x="454" y="3516"/>
                  </a:lnTo>
                  <a:lnTo>
                    <a:pt x="454" y="3518"/>
                  </a:lnTo>
                  <a:lnTo>
                    <a:pt x="464" y="3524"/>
                  </a:lnTo>
                  <a:lnTo>
                    <a:pt x="466" y="3526"/>
                  </a:lnTo>
                  <a:lnTo>
                    <a:pt x="462" y="3528"/>
                  </a:lnTo>
                  <a:lnTo>
                    <a:pt x="470" y="3532"/>
                  </a:lnTo>
                  <a:lnTo>
                    <a:pt x="476" y="3534"/>
                  </a:lnTo>
                  <a:lnTo>
                    <a:pt x="480" y="3536"/>
                  </a:lnTo>
                  <a:lnTo>
                    <a:pt x="486" y="3540"/>
                  </a:lnTo>
                  <a:lnTo>
                    <a:pt x="490" y="3540"/>
                  </a:lnTo>
                  <a:lnTo>
                    <a:pt x="490" y="3538"/>
                  </a:lnTo>
                  <a:lnTo>
                    <a:pt x="482" y="3530"/>
                  </a:lnTo>
                  <a:lnTo>
                    <a:pt x="480" y="3526"/>
                  </a:lnTo>
                  <a:lnTo>
                    <a:pt x="482" y="3524"/>
                  </a:lnTo>
                  <a:lnTo>
                    <a:pt x="486" y="3524"/>
                  </a:lnTo>
                  <a:lnTo>
                    <a:pt x="490" y="3524"/>
                  </a:lnTo>
                  <a:lnTo>
                    <a:pt x="494" y="3524"/>
                  </a:lnTo>
                  <a:lnTo>
                    <a:pt x="498" y="3524"/>
                  </a:lnTo>
                  <a:lnTo>
                    <a:pt x="500" y="3524"/>
                  </a:lnTo>
                  <a:lnTo>
                    <a:pt x="496" y="3532"/>
                  </a:lnTo>
                  <a:lnTo>
                    <a:pt x="496" y="3536"/>
                  </a:lnTo>
                  <a:lnTo>
                    <a:pt x="500" y="3540"/>
                  </a:lnTo>
                  <a:lnTo>
                    <a:pt x="502" y="3540"/>
                  </a:lnTo>
                  <a:lnTo>
                    <a:pt x="506" y="3538"/>
                  </a:lnTo>
                  <a:lnTo>
                    <a:pt x="510" y="3536"/>
                  </a:lnTo>
                  <a:lnTo>
                    <a:pt x="512" y="3538"/>
                  </a:lnTo>
                  <a:lnTo>
                    <a:pt x="514" y="3540"/>
                  </a:lnTo>
                  <a:lnTo>
                    <a:pt x="518" y="3540"/>
                  </a:lnTo>
                  <a:lnTo>
                    <a:pt x="522" y="3542"/>
                  </a:lnTo>
                  <a:lnTo>
                    <a:pt x="522" y="3544"/>
                  </a:lnTo>
                  <a:lnTo>
                    <a:pt x="524" y="3548"/>
                  </a:lnTo>
                  <a:lnTo>
                    <a:pt x="526" y="3548"/>
                  </a:lnTo>
                  <a:lnTo>
                    <a:pt x="528" y="3550"/>
                  </a:lnTo>
                  <a:lnTo>
                    <a:pt x="532" y="3554"/>
                  </a:lnTo>
                  <a:lnTo>
                    <a:pt x="534" y="3552"/>
                  </a:lnTo>
                  <a:lnTo>
                    <a:pt x="534" y="3548"/>
                  </a:lnTo>
                  <a:lnTo>
                    <a:pt x="534" y="3544"/>
                  </a:lnTo>
                  <a:lnTo>
                    <a:pt x="532" y="3542"/>
                  </a:lnTo>
                  <a:lnTo>
                    <a:pt x="532" y="3538"/>
                  </a:lnTo>
                  <a:lnTo>
                    <a:pt x="530" y="3536"/>
                  </a:lnTo>
                  <a:lnTo>
                    <a:pt x="522" y="3532"/>
                  </a:lnTo>
                  <a:close/>
                  <a:moveTo>
                    <a:pt x="476" y="3508"/>
                  </a:moveTo>
                  <a:lnTo>
                    <a:pt x="476" y="3508"/>
                  </a:lnTo>
                  <a:lnTo>
                    <a:pt x="484" y="3506"/>
                  </a:lnTo>
                  <a:lnTo>
                    <a:pt x="484" y="3504"/>
                  </a:lnTo>
                  <a:lnTo>
                    <a:pt x="472" y="3502"/>
                  </a:lnTo>
                  <a:lnTo>
                    <a:pt x="464" y="3502"/>
                  </a:lnTo>
                  <a:lnTo>
                    <a:pt x="458" y="3502"/>
                  </a:lnTo>
                  <a:lnTo>
                    <a:pt x="450" y="3506"/>
                  </a:lnTo>
                  <a:lnTo>
                    <a:pt x="448" y="3508"/>
                  </a:lnTo>
                  <a:lnTo>
                    <a:pt x="456" y="3510"/>
                  </a:lnTo>
                  <a:lnTo>
                    <a:pt x="462" y="3510"/>
                  </a:lnTo>
                  <a:lnTo>
                    <a:pt x="476" y="3508"/>
                  </a:lnTo>
                  <a:close/>
                  <a:moveTo>
                    <a:pt x="572" y="3528"/>
                  </a:moveTo>
                  <a:lnTo>
                    <a:pt x="572" y="3528"/>
                  </a:lnTo>
                  <a:lnTo>
                    <a:pt x="574" y="3530"/>
                  </a:lnTo>
                  <a:lnTo>
                    <a:pt x="578" y="3530"/>
                  </a:lnTo>
                  <a:lnTo>
                    <a:pt x="580" y="3528"/>
                  </a:lnTo>
                  <a:lnTo>
                    <a:pt x="582" y="3524"/>
                  </a:lnTo>
                  <a:lnTo>
                    <a:pt x="580" y="3522"/>
                  </a:lnTo>
                  <a:lnTo>
                    <a:pt x="578" y="3522"/>
                  </a:lnTo>
                  <a:lnTo>
                    <a:pt x="574" y="3524"/>
                  </a:lnTo>
                  <a:lnTo>
                    <a:pt x="572" y="3528"/>
                  </a:lnTo>
                  <a:close/>
                  <a:moveTo>
                    <a:pt x="636" y="3486"/>
                  </a:moveTo>
                  <a:lnTo>
                    <a:pt x="636" y="3486"/>
                  </a:lnTo>
                  <a:lnTo>
                    <a:pt x="628" y="3488"/>
                  </a:lnTo>
                  <a:lnTo>
                    <a:pt x="622" y="3486"/>
                  </a:lnTo>
                  <a:lnTo>
                    <a:pt x="616" y="3484"/>
                  </a:lnTo>
                  <a:lnTo>
                    <a:pt x="610" y="3482"/>
                  </a:lnTo>
                  <a:lnTo>
                    <a:pt x="602" y="3478"/>
                  </a:lnTo>
                  <a:lnTo>
                    <a:pt x="594" y="3470"/>
                  </a:lnTo>
                  <a:lnTo>
                    <a:pt x="584" y="3462"/>
                  </a:lnTo>
                  <a:lnTo>
                    <a:pt x="574" y="3456"/>
                  </a:lnTo>
                  <a:lnTo>
                    <a:pt x="562" y="3448"/>
                  </a:lnTo>
                  <a:lnTo>
                    <a:pt x="548" y="3436"/>
                  </a:lnTo>
                  <a:lnTo>
                    <a:pt x="538" y="3424"/>
                  </a:lnTo>
                  <a:lnTo>
                    <a:pt x="532" y="3414"/>
                  </a:lnTo>
                  <a:lnTo>
                    <a:pt x="530" y="3404"/>
                  </a:lnTo>
                  <a:lnTo>
                    <a:pt x="528" y="3404"/>
                  </a:lnTo>
                  <a:lnTo>
                    <a:pt x="522" y="3402"/>
                  </a:lnTo>
                  <a:lnTo>
                    <a:pt x="516" y="3402"/>
                  </a:lnTo>
                  <a:lnTo>
                    <a:pt x="514" y="3400"/>
                  </a:lnTo>
                  <a:lnTo>
                    <a:pt x="512" y="3396"/>
                  </a:lnTo>
                  <a:lnTo>
                    <a:pt x="516" y="3390"/>
                  </a:lnTo>
                  <a:lnTo>
                    <a:pt x="520" y="3386"/>
                  </a:lnTo>
                  <a:lnTo>
                    <a:pt x="522" y="3386"/>
                  </a:lnTo>
                  <a:lnTo>
                    <a:pt x="524" y="3390"/>
                  </a:lnTo>
                  <a:lnTo>
                    <a:pt x="524" y="3392"/>
                  </a:lnTo>
                  <a:lnTo>
                    <a:pt x="526" y="3394"/>
                  </a:lnTo>
                  <a:lnTo>
                    <a:pt x="528" y="3392"/>
                  </a:lnTo>
                  <a:lnTo>
                    <a:pt x="528" y="3388"/>
                  </a:lnTo>
                  <a:lnTo>
                    <a:pt x="524" y="3380"/>
                  </a:lnTo>
                  <a:lnTo>
                    <a:pt x="510" y="3364"/>
                  </a:lnTo>
                  <a:lnTo>
                    <a:pt x="510" y="3502"/>
                  </a:lnTo>
                  <a:lnTo>
                    <a:pt x="518" y="3498"/>
                  </a:lnTo>
                  <a:lnTo>
                    <a:pt x="520" y="3496"/>
                  </a:lnTo>
                  <a:lnTo>
                    <a:pt x="522" y="3496"/>
                  </a:lnTo>
                  <a:lnTo>
                    <a:pt x="530" y="3498"/>
                  </a:lnTo>
                  <a:lnTo>
                    <a:pt x="544" y="3500"/>
                  </a:lnTo>
                  <a:lnTo>
                    <a:pt x="560" y="3502"/>
                  </a:lnTo>
                  <a:lnTo>
                    <a:pt x="576" y="3504"/>
                  </a:lnTo>
                  <a:lnTo>
                    <a:pt x="584" y="3506"/>
                  </a:lnTo>
                  <a:lnTo>
                    <a:pt x="588" y="3508"/>
                  </a:lnTo>
                  <a:lnTo>
                    <a:pt x="596" y="3512"/>
                  </a:lnTo>
                  <a:lnTo>
                    <a:pt x="598" y="3510"/>
                  </a:lnTo>
                  <a:lnTo>
                    <a:pt x="602" y="3508"/>
                  </a:lnTo>
                  <a:lnTo>
                    <a:pt x="606" y="3506"/>
                  </a:lnTo>
                  <a:lnTo>
                    <a:pt x="614" y="3506"/>
                  </a:lnTo>
                  <a:lnTo>
                    <a:pt x="620" y="3502"/>
                  </a:lnTo>
                  <a:lnTo>
                    <a:pt x="624" y="3500"/>
                  </a:lnTo>
                  <a:lnTo>
                    <a:pt x="626" y="3502"/>
                  </a:lnTo>
                  <a:lnTo>
                    <a:pt x="630" y="3506"/>
                  </a:lnTo>
                  <a:lnTo>
                    <a:pt x="632" y="3504"/>
                  </a:lnTo>
                  <a:lnTo>
                    <a:pt x="634" y="3502"/>
                  </a:lnTo>
                  <a:lnTo>
                    <a:pt x="638" y="3502"/>
                  </a:lnTo>
                  <a:lnTo>
                    <a:pt x="640" y="3502"/>
                  </a:lnTo>
                  <a:lnTo>
                    <a:pt x="642" y="3502"/>
                  </a:lnTo>
                  <a:lnTo>
                    <a:pt x="646" y="3494"/>
                  </a:lnTo>
                  <a:lnTo>
                    <a:pt x="648" y="3488"/>
                  </a:lnTo>
                  <a:lnTo>
                    <a:pt x="648" y="3486"/>
                  </a:lnTo>
                  <a:lnTo>
                    <a:pt x="642" y="3486"/>
                  </a:lnTo>
                  <a:lnTo>
                    <a:pt x="636" y="3486"/>
                  </a:lnTo>
                  <a:close/>
                  <a:moveTo>
                    <a:pt x="436" y="3502"/>
                  </a:moveTo>
                  <a:lnTo>
                    <a:pt x="436" y="3502"/>
                  </a:lnTo>
                  <a:lnTo>
                    <a:pt x="428" y="3504"/>
                  </a:lnTo>
                  <a:lnTo>
                    <a:pt x="426" y="3506"/>
                  </a:lnTo>
                  <a:lnTo>
                    <a:pt x="420" y="3506"/>
                  </a:lnTo>
                  <a:lnTo>
                    <a:pt x="414" y="3506"/>
                  </a:lnTo>
                  <a:lnTo>
                    <a:pt x="414" y="3508"/>
                  </a:lnTo>
                  <a:lnTo>
                    <a:pt x="414" y="3510"/>
                  </a:lnTo>
                  <a:lnTo>
                    <a:pt x="416" y="3514"/>
                  </a:lnTo>
                  <a:lnTo>
                    <a:pt x="418" y="3514"/>
                  </a:lnTo>
                  <a:lnTo>
                    <a:pt x="428" y="3516"/>
                  </a:lnTo>
                  <a:lnTo>
                    <a:pt x="430" y="3516"/>
                  </a:lnTo>
                  <a:lnTo>
                    <a:pt x="432" y="3518"/>
                  </a:lnTo>
                  <a:lnTo>
                    <a:pt x="432" y="3520"/>
                  </a:lnTo>
                  <a:lnTo>
                    <a:pt x="432" y="3522"/>
                  </a:lnTo>
                  <a:lnTo>
                    <a:pt x="436" y="3522"/>
                  </a:lnTo>
                  <a:lnTo>
                    <a:pt x="442" y="3518"/>
                  </a:lnTo>
                  <a:lnTo>
                    <a:pt x="442" y="3516"/>
                  </a:lnTo>
                  <a:lnTo>
                    <a:pt x="442" y="3512"/>
                  </a:lnTo>
                  <a:lnTo>
                    <a:pt x="438" y="3512"/>
                  </a:lnTo>
                  <a:lnTo>
                    <a:pt x="432" y="3510"/>
                  </a:lnTo>
                  <a:lnTo>
                    <a:pt x="434" y="3508"/>
                  </a:lnTo>
                  <a:lnTo>
                    <a:pt x="438" y="3508"/>
                  </a:lnTo>
                  <a:lnTo>
                    <a:pt x="442" y="3506"/>
                  </a:lnTo>
                  <a:lnTo>
                    <a:pt x="444" y="3504"/>
                  </a:lnTo>
                  <a:lnTo>
                    <a:pt x="440" y="3504"/>
                  </a:lnTo>
                  <a:lnTo>
                    <a:pt x="436" y="3502"/>
                  </a:lnTo>
                  <a:close/>
                  <a:moveTo>
                    <a:pt x="290" y="2874"/>
                  </a:moveTo>
                  <a:lnTo>
                    <a:pt x="290" y="2874"/>
                  </a:lnTo>
                  <a:lnTo>
                    <a:pt x="292" y="2876"/>
                  </a:lnTo>
                  <a:lnTo>
                    <a:pt x="294" y="2874"/>
                  </a:lnTo>
                  <a:lnTo>
                    <a:pt x="294" y="2872"/>
                  </a:lnTo>
                  <a:lnTo>
                    <a:pt x="294" y="2870"/>
                  </a:lnTo>
                  <a:lnTo>
                    <a:pt x="290" y="2868"/>
                  </a:lnTo>
                  <a:lnTo>
                    <a:pt x="290" y="2874"/>
                  </a:lnTo>
                  <a:close/>
                  <a:moveTo>
                    <a:pt x="592" y="3524"/>
                  </a:moveTo>
                  <a:lnTo>
                    <a:pt x="592" y="3524"/>
                  </a:lnTo>
                  <a:lnTo>
                    <a:pt x="596" y="3524"/>
                  </a:lnTo>
                  <a:lnTo>
                    <a:pt x="598" y="3524"/>
                  </a:lnTo>
                  <a:lnTo>
                    <a:pt x="598" y="3522"/>
                  </a:lnTo>
                  <a:lnTo>
                    <a:pt x="596" y="3518"/>
                  </a:lnTo>
                  <a:lnTo>
                    <a:pt x="594" y="3518"/>
                  </a:lnTo>
                  <a:lnTo>
                    <a:pt x="590" y="3520"/>
                  </a:lnTo>
                  <a:lnTo>
                    <a:pt x="590" y="3522"/>
                  </a:lnTo>
                  <a:lnTo>
                    <a:pt x="592" y="3524"/>
                  </a:lnTo>
                  <a:close/>
                  <a:moveTo>
                    <a:pt x="310" y="3406"/>
                  </a:moveTo>
                  <a:lnTo>
                    <a:pt x="310" y="3406"/>
                  </a:lnTo>
                  <a:lnTo>
                    <a:pt x="314" y="3406"/>
                  </a:lnTo>
                  <a:lnTo>
                    <a:pt x="318" y="3406"/>
                  </a:lnTo>
                  <a:lnTo>
                    <a:pt x="322" y="3406"/>
                  </a:lnTo>
                  <a:lnTo>
                    <a:pt x="326" y="3408"/>
                  </a:lnTo>
                  <a:lnTo>
                    <a:pt x="328" y="3408"/>
                  </a:lnTo>
                  <a:lnTo>
                    <a:pt x="324" y="3402"/>
                  </a:lnTo>
                  <a:lnTo>
                    <a:pt x="318" y="3396"/>
                  </a:lnTo>
                  <a:lnTo>
                    <a:pt x="316" y="3394"/>
                  </a:lnTo>
                  <a:lnTo>
                    <a:pt x="314" y="3394"/>
                  </a:lnTo>
                  <a:lnTo>
                    <a:pt x="312" y="3394"/>
                  </a:lnTo>
                  <a:lnTo>
                    <a:pt x="310" y="3392"/>
                  </a:lnTo>
                  <a:lnTo>
                    <a:pt x="308" y="3390"/>
                  </a:lnTo>
                  <a:lnTo>
                    <a:pt x="306" y="3392"/>
                  </a:lnTo>
                  <a:lnTo>
                    <a:pt x="304" y="3390"/>
                  </a:lnTo>
                  <a:lnTo>
                    <a:pt x="294" y="3384"/>
                  </a:lnTo>
                  <a:lnTo>
                    <a:pt x="284" y="3382"/>
                  </a:lnTo>
                  <a:lnTo>
                    <a:pt x="280" y="3378"/>
                  </a:lnTo>
                  <a:lnTo>
                    <a:pt x="274" y="3374"/>
                  </a:lnTo>
                  <a:lnTo>
                    <a:pt x="268" y="3370"/>
                  </a:lnTo>
                  <a:lnTo>
                    <a:pt x="264" y="3368"/>
                  </a:lnTo>
                  <a:lnTo>
                    <a:pt x="262" y="3370"/>
                  </a:lnTo>
                  <a:lnTo>
                    <a:pt x="266" y="3374"/>
                  </a:lnTo>
                  <a:lnTo>
                    <a:pt x="270" y="3376"/>
                  </a:lnTo>
                  <a:lnTo>
                    <a:pt x="270" y="3380"/>
                  </a:lnTo>
                  <a:lnTo>
                    <a:pt x="268" y="3380"/>
                  </a:lnTo>
                  <a:lnTo>
                    <a:pt x="272" y="3382"/>
                  </a:lnTo>
                  <a:lnTo>
                    <a:pt x="276" y="3384"/>
                  </a:lnTo>
                  <a:lnTo>
                    <a:pt x="278" y="3388"/>
                  </a:lnTo>
                  <a:lnTo>
                    <a:pt x="282" y="3390"/>
                  </a:lnTo>
                  <a:lnTo>
                    <a:pt x="288" y="3392"/>
                  </a:lnTo>
                  <a:lnTo>
                    <a:pt x="294" y="3392"/>
                  </a:lnTo>
                  <a:lnTo>
                    <a:pt x="296" y="3394"/>
                  </a:lnTo>
                  <a:lnTo>
                    <a:pt x="300" y="3396"/>
                  </a:lnTo>
                  <a:lnTo>
                    <a:pt x="302" y="3398"/>
                  </a:lnTo>
                  <a:lnTo>
                    <a:pt x="304" y="3398"/>
                  </a:lnTo>
                  <a:lnTo>
                    <a:pt x="308" y="3398"/>
                  </a:lnTo>
                  <a:lnTo>
                    <a:pt x="310" y="3400"/>
                  </a:lnTo>
                  <a:lnTo>
                    <a:pt x="310" y="3402"/>
                  </a:lnTo>
                  <a:lnTo>
                    <a:pt x="310" y="3404"/>
                  </a:lnTo>
                  <a:lnTo>
                    <a:pt x="310" y="3406"/>
                  </a:lnTo>
                  <a:close/>
                  <a:moveTo>
                    <a:pt x="262" y="3306"/>
                  </a:moveTo>
                  <a:lnTo>
                    <a:pt x="262" y="3306"/>
                  </a:lnTo>
                  <a:lnTo>
                    <a:pt x="260" y="3302"/>
                  </a:lnTo>
                  <a:lnTo>
                    <a:pt x="258" y="3302"/>
                  </a:lnTo>
                  <a:lnTo>
                    <a:pt x="258" y="3304"/>
                  </a:lnTo>
                  <a:lnTo>
                    <a:pt x="258" y="3310"/>
                  </a:lnTo>
                  <a:lnTo>
                    <a:pt x="258" y="3314"/>
                  </a:lnTo>
                  <a:lnTo>
                    <a:pt x="254" y="3308"/>
                  </a:lnTo>
                  <a:lnTo>
                    <a:pt x="252" y="3308"/>
                  </a:lnTo>
                  <a:lnTo>
                    <a:pt x="250" y="3310"/>
                  </a:lnTo>
                  <a:lnTo>
                    <a:pt x="248" y="3314"/>
                  </a:lnTo>
                  <a:lnTo>
                    <a:pt x="250" y="3318"/>
                  </a:lnTo>
                  <a:lnTo>
                    <a:pt x="252" y="3320"/>
                  </a:lnTo>
                  <a:lnTo>
                    <a:pt x="252" y="3322"/>
                  </a:lnTo>
                  <a:lnTo>
                    <a:pt x="250" y="3324"/>
                  </a:lnTo>
                  <a:lnTo>
                    <a:pt x="252" y="3328"/>
                  </a:lnTo>
                  <a:lnTo>
                    <a:pt x="252" y="3332"/>
                  </a:lnTo>
                  <a:lnTo>
                    <a:pt x="254" y="3332"/>
                  </a:lnTo>
                  <a:lnTo>
                    <a:pt x="258" y="3324"/>
                  </a:lnTo>
                  <a:lnTo>
                    <a:pt x="260" y="3314"/>
                  </a:lnTo>
                  <a:lnTo>
                    <a:pt x="262" y="3310"/>
                  </a:lnTo>
                  <a:lnTo>
                    <a:pt x="262" y="3306"/>
                  </a:lnTo>
                  <a:close/>
                  <a:moveTo>
                    <a:pt x="284" y="3406"/>
                  </a:moveTo>
                  <a:lnTo>
                    <a:pt x="284" y="3406"/>
                  </a:lnTo>
                  <a:lnTo>
                    <a:pt x="286" y="3406"/>
                  </a:lnTo>
                  <a:lnTo>
                    <a:pt x="288" y="3404"/>
                  </a:lnTo>
                  <a:lnTo>
                    <a:pt x="290" y="3402"/>
                  </a:lnTo>
                  <a:lnTo>
                    <a:pt x="290" y="3400"/>
                  </a:lnTo>
                  <a:lnTo>
                    <a:pt x="286" y="3398"/>
                  </a:lnTo>
                  <a:lnTo>
                    <a:pt x="284" y="3400"/>
                  </a:lnTo>
                  <a:lnTo>
                    <a:pt x="284" y="3404"/>
                  </a:lnTo>
                  <a:lnTo>
                    <a:pt x="284" y="3406"/>
                  </a:lnTo>
                  <a:close/>
                  <a:moveTo>
                    <a:pt x="268" y="3336"/>
                  </a:moveTo>
                  <a:lnTo>
                    <a:pt x="268" y="3336"/>
                  </a:lnTo>
                  <a:lnTo>
                    <a:pt x="260" y="3336"/>
                  </a:lnTo>
                  <a:lnTo>
                    <a:pt x="258" y="3336"/>
                  </a:lnTo>
                  <a:lnTo>
                    <a:pt x="256" y="3338"/>
                  </a:lnTo>
                  <a:lnTo>
                    <a:pt x="258" y="3340"/>
                  </a:lnTo>
                  <a:lnTo>
                    <a:pt x="262" y="3342"/>
                  </a:lnTo>
                  <a:lnTo>
                    <a:pt x="264" y="3342"/>
                  </a:lnTo>
                  <a:lnTo>
                    <a:pt x="268" y="3340"/>
                  </a:lnTo>
                  <a:lnTo>
                    <a:pt x="268" y="3338"/>
                  </a:lnTo>
                  <a:lnTo>
                    <a:pt x="268" y="3336"/>
                  </a:lnTo>
                  <a:close/>
                  <a:moveTo>
                    <a:pt x="412" y="3500"/>
                  </a:moveTo>
                  <a:lnTo>
                    <a:pt x="412" y="3500"/>
                  </a:lnTo>
                  <a:lnTo>
                    <a:pt x="406" y="3498"/>
                  </a:lnTo>
                  <a:lnTo>
                    <a:pt x="402" y="3496"/>
                  </a:lnTo>
                  <a:lnTo>
                    <a:pt x="398" y="3498"/>
                  </a:lnTo>
                  <a:lnTo>
                    <a:pt x="396" y="3500"/>
                  </a:lnTo>
                  <a:lnTo>
                    <a:pt x="396" y="3502"/>
                  </a:lnTo>
                  <a:lnTo>
                    <a:pt x="398" y="3504"/>
                  </a:lnTo>
                  <a:lnTo>
                    <a:pt x="402" y="3502"/>
                  </a:lnTo>
                  <a:lnTo>
                    <a:pt x="406" y="3500"/>
                  </a:lnTo>
                  <a:lnTo>
                    <a:pt x="408" y="3502"/>
                  </a:lnTo>
                  <a:lnTo>
                    <a:pt x="410" y="3502"/>
                  </a:lnTo>
                  <a:lnTo>
                    <a:pt x="414" y="3504"/>
                  </a:lnTo>
                  <a:lnTo>
                    <a:pt x="414" y="3502"/>
                  </a:lnTo>
                  <a:lnTo>
                    <a:pt x="416" y="3500"/>
                  </a:lnTo>
                  <a:lnTo>
                    <a:pt x="414" y="3500"/>
                  </a:lnTo>
                  <a:lnTo>
                    <a:pt x="412" y="3500"/>
                  </a:lnTo>
                  <a:close/>
                  <a:moveTo>
                    <a:pt x="248" y="3284"/>
                  </a:moveTo>
                  <a:lnTo>
                    <a:pt x="248" y="3284"/>
                  </a:lnTo>
                  <a:lnTo>
                    <a:pt x="244" y="3282"/>
                  </a:lnTo>
                  <a:lnTo>
                    <a:pt x="244" y="3284"/>
                  </a:lnTo>
                  <a:lnTo>
                    <a:pt x="244" y="3292"/>
                  </a:lnTo>
                  <a:lnTo>
                    <a:pt x="240" y="3300"/>
                  </a:lnTo>
                  <a:lnTo>
                    <a:pt x="240" y="3302"/>
                  </a:lnTo>
                  <a:lnTo>
                    <a:pt x="244" y="3302"/>
                  </a:lnTo>
                  <a:lnTo>
                    <a:pt x="246" y="3300"/>
                  </a:lnTo>
                  <a:lnTo>
                    <a:pt x="246" y="3298"/>
                  </a:lnTo>
                  <a:lnTo>
                    <a:pt x="248" y="3294"/>
                  </a:lnTo>
                  <a:lnTo>
                    <a:pt x="248" y="3292"/>
                  </a:lnTo>
                  <a:lnTo>
                    <a:pt x="252" y="3288"/>
                  </a:lnTo>
                  <a:lnTo>
                    <a:pt x="248" y="3284"/>
                  </a:lnTo>
                  <a:close/>
                  <a:moveTo>
                    <a:pt x="376" y="3462"/>
                  </a:moveTo>
                  <a:lnTo>
                    <a:pt x="376" y="3462"/>
                  </a:lnTo>
                  <a:lnTo>
                    <a:pt x="376" y="3466"/>
                  </a:lnTo>
                  <a:lnTo>
                    <a:pt x="378" y="3468"/>
                  </a:lnTo>
                  <a:lnTo>
                    <a:pt x="380" y="3468"/>
                  </a:lnTo>
                  <a:lnTo>
                    <a:pt x="380" y="3464"/>
                  </a:lnTo>
                  <a:lnTo>
                    <a:pt x="380" y="3462"/>
                  </a:lnTo>
                  <a:lnTo>
                    <a:pt x="382" y="3462"/>
                  </a:lnTo>
                  <a:lnTo>
                    <a:pt x="384" y="3460"/>
                  </a:lnTo>
                  <a:lnTo>
                    <a:pt x="384" y="3456"/>
                  </a:lnTo>
                  <a:lnTo>
                    <a:pt x="386" y="3454"/>
                  </a:lnTo>
                  <a:lnTo>
                    <a:pt x="386" y="3452"/>
                  </a:lnTo>
                  <a:lnTo>
                    <a:pt x="386" y="3448"/>
                  </a:lnTo>
                  <a:lnTo>
                    <a:pt x="386" y="3444"/>
                  </a:lnTo>
                  <a:lnTo>
                    <a:pt x="386" y="3442"/>
                  </a:lnTo>
                  <a:lnTo>
                    <a:pt x="384" y="3440"/>
                  </a:lnTo>
                  <a:lnTo>
                    <a:pt x="378" y="3438"/>
                  </a:lnTo>
                  <a:lnTo>
                    <a:pt x="376" y="3438"/>
                  </a:lnTo>
                  <a:lnTo>
                    <a:pt x="374" y="3442"/>
                  </a:lnTo>
                  <a:lnTo>
                    <a:pt x="372" y="3444"/>
                  </a:lnTo>
                  <a:lnTo>
                    <a:pt x="370" y="3442"/>
                  </a:lnTo>
                  <a:lnTo>
                    <a:pt x="368" y="3442"/>
                  </a:lnTo>
                  <a:lnTo>
                    <a:pt x="364" y="3442"/>
                  </a:lnTo>
                  <a:lnTo>
                    <a:pt x="362" y="3444"/>
                  </a:lnTo>
                  <a:lnTo>
                    <a:pt x="362" y="3446"/>
                  </a:lnTo>
                  <a:lnTo>
                    <a:pt x="368" y="3452"/>
                  </a:lnTo>
                  <a:lnTo>
                    <a:pt x="374" y="3458"/>
                  </a:lnTo>
                  <a:lnTo>
                    <a:pt x="376" y="3460"/>
                  </a:lnTo>
                  <a:lnTo>
                    <a:pt x="376" y="3462"/>
                  </a:lnTo>
                  <a:close/>
                  <a:moveTo>
                    <a:pt x="360" y="3454"/>
                  </a:moveTo>
                  <a:lnTo>
                    <a:pt x="360" y="3454"/>
                  </a:lnTo>
                  <a:lnTo>
                    <a:pt x="358" y="3458"/>
                  </a:lnTo>
                  <a:lnTo>
                    <a:pt x="354" y="3458"/>
                  </a:lnTo>
                  <a:lnTo>
                    <a:pt x="352" y="3460"/>
                  </a:lnTo>
                  <a:lnTo>
                    <a:pt x="354" y="3462"/>
                  </a:lnTo>
                  <a:lnTo>
                    <a:pt x="356" y="3464"/>
                  </a:lnTo>
                  <a:lnTo>
                    <a:pt x="358" y="3464"/>
                  </a:lnTo>
                  <a:lnTo>
                    <a:pt x="364" y="3458"/>
                  </a:lnTo>
                  <a:lnTo>
                    <a:pt x="364" y="3456"/>
                  </a:lnTo>
                  <a:lnTo>
                    <a:pt x="364" y="3454"/>
                  </a:lnTo>
                  <a:lnTo>
                    <a:pt x="362" y="3452"/>
                  </a:lnTo>
                  <a:lnTo>
                    <a:pt x="360" y="3454"/>
                  </a:lnTo>
                  <a:close/>
                  <a:moveTo>
                    <a:pt x="390" y="3462"/>
                  </a:moveTo>
                  <a:lnTo>
                    <a:pt x="390" y="3462"/>
                  </a:lnTo>
                  <a:lnTo>
                    <a:pt x="394" y="3462"/>
                  </a:lnTo>
                  <a:lnTo>
                    <a:pt x="394" y="3460"/>
                  </a:lnTo>
                  <a:lnTo>
                    <a:pt x="396" y="3458"/>
                  </a:lnTo>
                  <a:lnTo>
                    <a:pt x="398" y="3460"/>
                  </a:lnTo>
                  <a:lnTo>
                    <a:pt x="402" y="3462"/>
                  </a:lnTo>
                  <a:lnTo>
                    <a:pt x="402" y="3464"/>
                  </a:lnTo>
                  <a:lnTo>
                    <a:pt x="402" y="3466"/>
                  </a:lnTo>
                  <a:lnTo>
                    <a:pt x="406" y="3468"/>
                  </a:lnTo>
                  <a:lnTo>
                    <a:pt x="410" y="3468"/>
                  </a:lnTo>
                  <a:lnTo>
                    <a:pt x="412" y="3466"/>
                  </a:lnTo>
                  <a:lnTo>
                    <a:pt x="412" y="3454"/>
                  </a:lnTo>
                  <a:lnTo>
                    <a:pt x="410" y="3450"/>
                  </a:lnTo>
                  <a:lnTo>
                    <a:pt x="408" y="3450"/>
                  </a:lnTo>
                  <a:lnTo>
                    <a:pt x="406" y="3450"/>
                  </a:lnTo>
                  <a:lnTo>
                    <a:pt x="402" y="3448"/>
                  </a:lnTo>
                  <a:lnTo>
                    <a:pt x="400" y="3444"/>
                  </a:lnTo>
                  <a:lnTo>
                    <a:pt x="394" y="3442"/>
                  </a:lnTo>
                  <a:lnTo>
                    <a:pt x="390" y="3444"/>
                  </a:lnTo>
                  <a:lnTo>
                    <a:pt x="388" y="3446"/>
                  </a:lnTo>
                  <a:lnTo>
                    <a:pt x="388" y="3448"/>
                  </a:lnTo>
                  <a:lnTo>
                    <a:pt x="390" y="3454"/>
                  </a:lnTo>
                  <a:lnTo>
                    <a:pt x="388" y="3456"/>
                  </a:lnTo>
                  <a:lnTo>
                    <a:pt x="388" y="3460"/>
                  </a:lnTo>
                  <a:lnTo>
                    <a:pt x="390" y="3462"/>
                  </a:lnTo>
                  <a:close/>
                  <a:moveTo>
                    <a:pt x="356" y="3450"/>
                  </a:moveTo>
                  <a:lnTo>
                    <a:pt x="356" y="3450"/>
                  </a:lnTo>
                  <a:lnTo>
                    <a:pt x="358" y="3450"/>
                  </a:lnTo>
                  <a:lnTo>
                    <a:pt x="360" y="3450"/>
                  </a:lnTo>
                  <a:lnTo>
                    <a:pt x="358" y="3444"/>
                  </a:lnTo>
                  <a:lnTo>
                    <a:pt x="358" y="3442"/>
                  </a:lnTo>
                  <a:lnTo>
                    <a:pt x="358" y="3440"/>
                  </a:lnTo>
                  <a:lnTo>
                    <a:pt x="362" y="3438"/>
                  </a:lnTo>
                  <a:lnTo>
                    <a:pt x="366" y="3436"/>
                  </a:lnTo>
                  <a:lnTo>
                    <a:pt x="366" y="3434"/>
                  </a:lnTo>
                  <a:lnTo>
                    <a:pt x="366" y="3432"/>
                  </a:lnTo>
                  <a:lnTo>
                    <a:pt x="362" y="3430"/>
                  </a:lnTo>
                  <a:lnTo>
                    <a:pt x="360" y="3430"/>
                  </a:lnTo>
                  <a:lnTo>
                    <a:pt x="358" y="3428"/>
                  </a:lnTo>
                  <a:lnTo>
                    <a:pt x="356" y="3426"/>
                  </a:lnTo>
                  <a:lnTo>
                    <a:pt x="354" y="3422"/>
                  </a:lnTo>
                  <a:lnTo>
                    <a:pt x="352" y="3420"/>
                  </a:lnTo>
                  <a:lnTo>
                    <a:pt x="348" y="3418"/>
                  </a:lnTo>
                  <a:lnTo>
                    <a:pt x="346" y="3420"/>
                  </a:lnTo>
                  <a:lnTo>
                    <a:pt x="344" y="3420"/>
                  </a:lnTo>
                  <a:lnTo>
                    <a:pt x="344" y="3418"/>
                  </a:lnTo>
                  <a:lnTo>
                    <a:pt x="342" y="3418"/>
                  </a:lnTo>
                  <a:lnTo>
                    <a:pt x="340" y="3420"/>
                  </a:lnTo>
                  <a:lnTo>
                    <a:pt x="338" y="3422"/>
                  </a:lnTo>
                  <a:lnTo>
                    <a:pt x="338" y="3418"/>
                  </a:lnTo>
                  <a:lnTo>
                    <a:pt x="336" y="3414"/>
                  </a:lnTo>
                  <a:lnTo>
                    <a:pt x="332" y="3410"/>
                  </a:lnTo>
                  <a:lnTo>
                    <a:pt x="328" y="3410"/>
                  </a:lnTo>
                  <a:lnTo>
                    <a:pt x="328" y="3412"/>
                  </a:lnTo>
                  <a:lnTo>
                    <a:pt x="328" y="3414"/>
                  </a:lnTo>
                  <a:lnTo>
                    <a:pt x="322" y="3414"/>
                  </a:lnTo>
                  <a:lnTo>
                    <a:pt x="320" y="3414"/>
                  </a:lnTo>
                  <a:lnTo>
                    <a:pt x="318" y="3414"/>
                  </a:lnTo>
                  <a:lnTo>
                    <a:pt x="320" y="3418"/>
                  </a:lnTo>
                  <a:lnTo>
                    <a:pt x="322" y="3422"/>
                  </a:lnTo>
                  <a:lnTo>
                    <a:pt x="320" y="3422"/>
                  </a:lnTo>
                  <a:lnTo>
                    <a:pt x="314" y="3420"/>
                  </a:lnTo>
                  <a:lnTo>
                    <a:pt x="310" y="3422"/>
                  </a:lnTo>
                  <a:lnTo>
                    <a:pt x="308" y="3424"/>
                  </a:lnTo>
                  <a:lnTo>
                    <a:pt x="308" y="3426"/>
                  </a:lnTo>
                  <a:lnTo>
                    <a:pt x="310" y="3428"/>
                  </a:lnTo>
                  <a:lnTo>
                    <a:pt x="312" y="3430"/>
                  </a:lnTo>
                  <a:lnTo>
                    <a:pt x="312" y="3432"/>
                  </a:lnTo>
                  <a:lnTo>
                    <a:pt x="316" y="3432"/>
                  </a:lnTo>
                  <a:lnTo>
                    <a:pt x="320" y="3430"/>
                  </a:lnTo>
                  <a:lnTo>
                    <a:pt x="322" y="3432"/>
                  </a:lnTo>
                  <a:lnTo>
                    <a:pt x="322" y="3434"/>
                  </a:lnTo>
                  <a:lnTo>
                    <a:pt x="322" y="3442"/>
                  </a:lnTo>
                  <a:lnTo>
                    <a:pt x="324" y="3444"/>
                  </a:lnTo>
                  <a:lnTo>
                    <a:pt x="328" y="3448"/>
                  </a:lnTo>
                  <a:lnTo>
                    <a:pt x="330" y="3448"/>
                  </a:lnTo>
                  <a:lnTo>
                    <a:pt x="332" y="3448"/>
                  </a:lnTo>
                  <a:lnTo>
                    <a:pt x="332" y="3442"/>
                  </a:lnTo>
                  <a:lnTo>
                    <a:pt x="332" y="3438"/>
                  </a:lnTo>
                  <a:lnTo>
                    <a:pt x="334" y="3438"/>
                  </a:lnTo>
                  <a:lnTo>
                    <a:pt x="336" y="3440"/>
                  </a:lnTo>
                  <a:lnTo>
                    <a:pt x="340" y="3438"/>
                  </a:lnTo>
                  <a:lnTo>
                    <a:pt x="342" y="3438"/>
                  </a:lnTo>
                  <a:lnTo>
                    <a:pt x="342" y="3442"/>
                  </a:lnTo>
                  <a:lnTo>
                    <a:pt x="340" y="3448"/>
                  </a:lnTo>
                  <a:lnTo>
                    <a:pt x="336" y="3450"/>
                  </a:lnTo>
                  <a:lnTo>
                    <a:pt x="334" y="3452"/>
                  </a:lnTo>
                  <a:lnTo>
                    <a:pt x="338" y="3454"/>
                  </a:lnTo>
                  <a:lnTo>
                    <a:pt x="342" y="3454"/>
                  </a:lnTo>
                  <a:lnTo>
                    <a:pt x="346" y="3454"/>
                  </a:lnTo>
                  <a:lnTo>
                    <a:pt x="348" y="3452"/>
                  </a:lnTo>
                  <a:lnTo>
                    <a:pt x="350" y="3452"/>
                  </a:lnTo>
                  <a:lnTo>
                    <a:pt x="352" y="3452"/>
                  </a:lnTo>
                  <a:lnTo>
                    <a:pt x="352" y="3450"/>
                  </a:lnTo>
                  <a:lnTo>
                    <a:pt x="354" y="3448"/>
                  </a:lnTo>
                  <a:lnTo>
                    <a:pt x="356" y="3450"/>
                  </a:lnTo>
                  <a:close/>
                  <a:moveTo>
                    <a:pt x="490" y="3366"/>
                  </a:moveTo>
                  <a:lnTo>
                    <a:pt x="490" y="3366"/>
                  </a:lnTo>
                  <a:lnTo>
                    <a:pt x="488" y="3366"/>
                  </a:lnTo>
                  <a:lnTo>
                    <a:pt x="486" y="3364"/>
                  </a:lnTo>
                  <a:lnTo>
                    <a:pt x="482" y="3360"/>
                  </a:lnTo>
                  <a:lnTo>
                    <a:pt x="480" y="3354"/>
                  </a:lnTo>
                  <a:lnTo>
                    <a:pt x="478" y="3352"/>
                  </a:lnTo>
                  <a:lnTo>
                    <a:pt x="476" y="3352"/>
                  </a:lnTo>
                  <a:lnTo>
                    <a:pt x="472" y="3356"/>
                  </a:lnTo>
                  <a:lnTo>
                    <a:pt x="468" y="3364"/>
                  </a:lnTo>
                  <a:lnTo>
                    <a:pt x="464" y="3370"/>
                  </a:lnTo>
                  <a:lnTo>
                    <a:pt x="460" y="3374"/>
                  </a:lnTo>
                  <a:lnTo>
                    <a:pt x="454" y="3374"/>
                  </a:lnTo>
                  <a:lnTo>
                    <a:pt x="450" y="3372"/>
                  </a:lnTo>
                  <a:lnTo>
                    <a:pt x="446" y="3368"/>
                  </a:lnTo>
                  <a:lnTo>
                    <a:pt x="440" y="3370"/>
                  </a:lnTo>
                  <a:lnTo>
                    <a:pt x="438" y="3370"/>
                  </a:lnTo>
                  <a:lnTo>
                    <a:pt x="440" y="3372"/>
                  </a:lnTo>
                  <a:lnTo>
                    <a:pt x="442" y="3374"/>
                  </a:lnTo>
                  <a:lnTo>
                    <a:pt x="444" y="3376"/>
                  </a:lnTo>
                  <a:lnTo>
                    <a:pt x="444" y="3378"/>
                  </a:lnTo>
                  <a:lnTo>
                    <a:pt x="448" y="3380"/>
                  </a:lnTo>
                  <a:lnTo>
                    <a:pt x="450" y="3382"/>
                  </a:lnTo>
                  <a:lnTo>
                    <a:pt x="448" y="3384"/>
                  </a:lnTo>
                  <a:lnTo>
                    <a:pt x="446" y="3388"/>
                  </a:lnTo>
                  <a:lnTo>
                    <a:pt x="444" y="3388"/>
                  </a:lnTo>
                  <a:lnTo>
                    <a:pt x="440" y="3384"/>
                  </a:lnTo>
                  <a:lnTo>
                    <a:pt x="438" y="3382"/>
                  </a:lnTo>
                  <a:lnTo>
                    <a:pt x="438" y="3384"/>
                  </a:lnTo>
                  <a:lnTo>
                    <a:pt x="436" y="3388"/>
                  </a:lnTo>
                  <a:lnTo>
                    <a:pt x="436" y="3398"/>
                  </a:lnTo>
                  <a:lnTo>
                    <a:pt x="440" y="3410"/>
                  </a:lnTo>
                  <a:lnTo>
                    <a:pt x="442" y="3412"/>
                  </a:lnTo>
                  <a:lnTo>
                    <a:pt x="448" y="3414"/>
                  </a:lnTo>
                  <a:lnTo>
                    <a:pt x="460" y="3410"/>
                  </a:lnTo>
                  <a:lnTo>
                    <a:pt x="474" y="3406"/>
                  </a:lnTo>
                  <a:lnTo>
                    <a:pt x="478" y="3406"/>
                  </a:lnTo>
                  <a:lnTo>
                    <a:pt x="480" y="3408"/>
                  </a:lnTo>
                  <a:lnTo>
                    <a:pt x="482" y="3414"/>
                  </a:lnTo>
                  <a:lnTo>
                    <a:pt x="478" y="3418"/>
                  </a:lnTo>
                  <a:lnTo>
                    <a:pt x="472" y="3422"/>
                  </a:lnTo>
                  <a:lnTo>
                    <a:pt x="466" y="3424"/>
                  </a:lnTo>
                  <a:lnTo>
                    <a:pt x="452" y="3430"/>
                  </a:lnTo>
                  <a:lnTo>
                    <a:pt x="448" y="3434"/>
                  </a:lnTo>
                  <a:lnTo>
                    <a:pt x="448" y="3438"/>
                  </a:lnTo>
                  <a:lnTo>
                    <a:pt x="452" y="3446"/>
                  </a:lnTo>
                  <a:lnTo>
                    <a:pt x="458" y="3452"/>
                  </a:lnTo>
                  <a:lnTo>
                    <a:pt x="464" y="3458"/>
                  </a:lnTo>
                  <a:lnTo>
                    <a:pt x="474" y="3462"/>
                  </a:lnTo>
                  <a:lnTo>
                    <a:pt x="488" y="3470"/>
                  </a:lnTo>
                  <a:lnTo>
                    <a:pt x="494" y="3472"/>
                  </a:lnTo>
                  <a:lnTo>
                    <a:pt x="496" y="3474"/>
                  </a:lnTo>
                  <a:lnTo>
                    <a:pt x="482" y="3472"/>
                  </a:lnTo>
                  <a:lnTo>
                    <a:pt x="476" y="3468"/>
                  </a:lnTo>
                  <a:lnTo>
                    <a:pt x="474" y="3468"/>
                  </a:lnTo>
                  <a:lnTo>
                    <a:pt x="472" y="3468"/>
                  </a:lnTo>
                  <a:lnTo>
                    <a:pt x="470" y="3470"/>
                  </a:lnTo>
                  <a:lnTo>
                    <a:pt x="468" y="3470"/>
                  </a:lnTo>
                  <a:lnTo>
                    <a:pt x="462" y="3466"/>
                  </a:lnTo>
                  <a:lnTo>
                    <a:pt x="456" y="3464"/>
                  </a:lnTo>
                  <a:lnTo>
                    <a:pt x="452" y="3464"/>
                  </a:lnTo>
                  <a:lnTo>
                    <a:pt x="450" y="3464"/>
                  </a:lnTo>
                  <a:lnTo>
                    <a:pt x="448" y="3466"/>
                  </a:lnTo>
                  <a:lnTo>
                    <a:pt x="448" y="3468"/>
                  </a:lnTo>
                  <a:lnTo>
                    <a:pt x="448" y="3472"/>
                  </a:lnTo>
                  <a:lnTo>
                    <a:pt x="450" y="3472"/>
                  </a:lnTo>
                  <a:lnTo>
                    <a:pt x="448" y="3472"/>
                  </a:lnTo>
                  <a:lnTo>
                    <a:pt x="442" y="3468"/>
                  </a:lnTo>
                  <a:lnTo>
                    <a:pt x="422" y="3454"/>
                  </a:lnTo>
                  <a:lnTo>
                    <a:pt x="416" y="3452"/>
                  </a:lnTo>
                  <a:lnTo>
                    <a:pt x="416" y="3454"/>
                  </a:lnTo>
                  <a:lnTo>
                    <a:pt x="418" y="3456"/>
                  </a:lnTo>
                  <a:lnTo>
                    <a:pt x="422" y="3462"/>
                  </a:lnTo>
                  <a:lnTo>
                    <a:pt x="428" y="3464"/>
                  </a:lnTo>
                  <a:lnTo>
                    <a:pt x="430" y="3466"/>
                  </a:lnTo>
                  <a:lnTo>
                    <a:pt x="426" y="3466"/>
                  </a:lnTo>
                  <a:lnTo>
                    <a:pt x="420" y="3466"/>
                  </a:lnTo>
                  <a:lnTo>
                    <a:pt x="418" y="3468"/>
                  </a:lnTo>
                  <a:lnTo>
                    <a:pt x="416" y="3472"/>
                  </a:lnTo>
                  <a:lnTo>
                    <a:pt x="414" y="3476"/>
                  </a:lnTo>
                  <a:lnTo>
                    <a:pt x="408" y="3474"/>
                  </a:lnTo>
                  <a:lnTo>
                    <a:pt x="398" y="3470"/>
                  </a:lnTo>
                  <a:lnTo>
                    <a:pt x="398" y="3472"/>
                  </a:lnTo>
                  <a:lnTo>
                    <a:pt x="396" y="3474"/>
                  </a:lnTo>
                  <a:lnTo>
                    <a:pt x="392" y="3472"/>
                  </a:lnTo>
                  <a:lnTo>
                    <a:pt x="380" y="3470"/>
                  </a:lnTo>
                  <a:lnTo>
                    <a:pt x="380" y="3472"/>
                  </a:lnTo>
                  <a:lnTo>
                    <a:pt x="382" y="3476"/>
                  </a:lnTo>
                  <a:lnTo>
                    <a:pt x="386" y="3478"/>
                  </a:lnTo>
                  <a:lnTo>
                    <a:pt x="386" y="3480"/>
                  </a:lnTo>
                  <a:lnTo>
                    <a:pt x="382" y="3480"/>
                  </a:lnTo>
                  <a:lnTo>
                    <a:pt x="376" y="3476"/>
                  </a:lnTo>
                  <a:lnTo>
                    <a:pt x="374" y="3474"/>
                  </a:lnTo>
                  <a:lnTo>
                    <a:pt x="372" y="3474"/>
                  </a:lnTo>
                  <a:lnTo>
                    <a:pt x="374" y="3476"/>
                  </a:lnTo>
                  <a:lnTo>
                    <a:pt x="374" y="3482"/>
                  </a:lnTo>
                  <a:lnTo>
                    <a:pt x="374" y="3484"/>
                  </a:lnTo>
                  <a:lnTo>
                    <a:pt x="374" y="3486"/>
                  </a:lnTo>
                  <a:lnTo>
                    <a:pt x="376" y="3486"/>
                  </a:lnTo>
                  <a:lnTo>
                    <a:pt x="380" y="3488"/>
                  </a:lnTo>
                  <a:lnTo>
                    <a:pt x="384" y="3486"/>
                  </a:lnTo>
                  <a:lnTo>
                    <a:pt x="390" y="3486"/>
                  </a:lnTo>
                  <a:lnTo>
                    <a:pt x="394" y="3488"/>
                  </a:lnTo>
                  <a:lnTo>
                    <a:pt x="396" y="3488"/>
                  </a:lnTo>
                  <a:lnTo>
                    <a:pt x="398" y="3484"/>
                  </a:lnTo>
                  <a:lnTo>
                    <a:pt x="400" y="3480"/>
                  </a:lnTo>
                  <a:lnTo>
                    <a:pt x="402" y="3480"/>
                  </a:lnTo>
                  <a:lnTo>
                    <a:pt x="404" y="3480"/>
                  </a:lnTo>
                  <a:lnTo>
                    <a:pt x="402" y="3484"/>
                  </a:lnTo>
                  <a:lnTo>
                    <a:pt x="402" y="3486"/>
                  </a:lnTo>
                  <a:lnTo>
                    <a:pt x="404" y="3488"/>
                  </a:lnTo>
                  <a:lnTo>
                    <a:pt x="408" y="3488"/>
                  </a:lnTo>
                  <a:lnTo>
                    <a:pt x="412" y="3486"/>
                  </a:lnTo>
                  <a:lnTo>
                    <a:pt x="416" y="3486"/>
                  </a:lnTo>
                  <a:lnTo>
                    <a:pt x="414" y="3488"/>
                  </a:lnTo>
                  <a:lnTo>
                    <a:pt x="412" y="3492"/>
                  </a:lnTo>
                  <a:lnTo>
                    <a:pt x="414" y="3494"/>
                  </a:lnTo>
                  <a:lnTo>
                    <a:pt x="416" y="3492"/>
                  </a:lnTo>
                  <a:lnTo>
                    <a:pt x="418" y="3494"/>
                  </a:lnTo>
                  <a:lnTo>
                    <a:pt x="422" y="3498"/>
                  </a:lnTo>
                  <a:lnTo>
                    <a:pt x="424" y="3498"/>
                  </a:lnTo>
                  <a:lnTo>
                    <a:pt x="428" y="3496"/>
                  </a:lnTo>
                  <a:lnTo>
                    <a:pt x="432" y="3496"/>
                  </a:lnTo>
                  <a:lnTo>
                    <a:pt x="438" y="3498"/>
                  </a:lnTo>
                  <a:lnTo>
                    <a:pt x="442" y="3498"/>
                  </a:lnTo>
                  <a:lnTo>
                    <a:pt x="446" y="3496"/>
                  </a:lnTo>
                  <a:lnTo>
                    <a:pt x="450" y="3496"/>
                  </a:lnTo>
                  <a:lnTo>
                    <a:pt x="452" y="3498"/>
                  </a:lnTo>
                  <a:lnTo>
                    <a:pt x="452" y="3500"/>
                  </a:lnTo>
                  <a:lnTo>
                    <a:pt x="456" y="3498"/>
                  </a:lnTo>
                  <a:lnTo>
                    <a:pt x="458" y="3496"/>
                  </a:lnTo>
                  <a:lnTo>
                    <a:pt x="462" y="3496"/>
                  </a:lnTo>
                  <a:lnTo>
                    <a:pt x="464" y="3496"/>
                  </a:lnTo>
                  <a:lnTo>
                    <a:pt x="466" y="3492"/>
                  </a:lnTo>
                  <a:lnTo>
                    <a:pt x="468" y="3494"/>
                  </a:lnTo>
                  <a:lnTo>
                    <a:pt x="470" y="3498"/>
                  </a:lnTo>
                  <a:lnTo>
                    <a:pt x="478" y="3500"/>
                  </a:lnTo>
                  <a:lnTo>
                    <a:pt x="496" y="3504"/>
                  </a:lnTo>
                  <a:lnTo>
                    <a:pt x="502" y="3504"/>
                  </a:lnTo>
                  <a:lnTo>
                    <a:pt x="504" y="3504"/>
                  </a:lnTo>
                  <a:lnTo>
                    <a:pt x="504" y="3502"/>
                  </a:lnTo>
                  <a:lnTo>
                    <a:pt x="504" y="3500"/>
                  </a:lnTo>
                  <a:lnTo>
                    <a:pt x="506" y="3500"/>
                  </a:lnTo>
                  <a:lnTo>
                    <a:pt x="510" y="3502"/>
                  </a:lnTo>
                  <a:lnTo>
                    <a:pt x="510" y="3364"/>
                  </a:lnTo>
                  <a:lnTo>
                    <a:pt x="508" y="3362"/>
                  </a:lnTo>
                  <a:lnTo>
                    <a:pt x="504" y="3360"/>
                  </a:lnTo>
                  <a:lnTo>
                    <a:pt x="500" y="3360"/>
                  </a:lnTo>
                  <a:lnTo>
                    <a:pt x="496" y="3364"/>
                  </a:lnTo>
                  <a:lnTo>
                    <a:pt x="490" y="3366"/>
                  </a:lnTo>
                  <a:close/>
                  <a:moveTo>
                    <a:pt x="298" y="2826"/>
                  </a:moveTo>
                  <a:lnTo>
                    <a:pt x="298" y="2826"/>
                  </a:lnTo>
                  <a:lnTo>
                    <a:pt x="304" y="2826"/>
                  </a:lnTo>
                  <a:lnTo>
                    <a:pt x="306" y="2824"/>
                  </a:lnTo>
                  <a:lnTo>
                    <a:pt x="306" y="2822"/>
                  </a:lnTo>
                  <a:lnTo>
                    <a:pt x="304" y="2820"/>
                  </a:lnTo>
                  <a:lnTo>
                    <a:pt x="302" y="2814"/>
                  </a:lnTo>
                  <a:lnTo>
                    <a:pt x="304" y="2812"/>
                  </a:lnTo>
                  <a:lnTo>
                    <a:pt x="308" y="2812"/>
                  </a:lnTo>
                  <a:lnTo>
                    <a:pt x="310" y="2812"/>
                  </a:lnTo>
                  <a:lnTo>
                    <a:pt x="312" y="2810"/>
                  </a:lnTo>
                  <a:lnTo>
                    <a:pt x="310" y="2806"/>
                  </a:lnTo>
                  <a:lnTo>
                    <a:pt x="308" y="2800"/>
                  </a:lnTo>
                  <a:lnTo>
                    <a:pt x="308" y="2798"/>
                  </a:lnTo>
                  <a:lnTo>
                    <a:pt x="310" y="2798"/>
                  </a:lnTo>
                  <a:lnTo>
                    <a:pt x="314" y="2798"/>
                  </a:lnTo>
                  <a:lnTo>
                    <a:pt x="314" y="2794"/>
                  </a:lnTo>
                  <a:lnTo>
                    <a:pt x="304" y="2784"/>
                  </a:lnTo>
                  <a:lnTo>
                    <a:pt x="302" y="2780"/>
                  </a:lnTo>
                  <a:lnTo>
                    <a:pt x="302" y="2778"/>
                  </a:lnTo>
                  <a:lnTo>
                    <a:pt x="306" y="2776"/>
                  </a:lnTo>
                  <a:lnTo>
                    <a:pt x="306" y="2774"/>
                  </a:lnTo>
                  <a:lnTo>
                    <a:pt x="306" y="2770"/>
                  </a:lnTo>
                  <a:lnTo>
                    <a:pt x="306" y="2768"/>
                  </a:lnTo>
                  <a:lnTo>
                    <a:pt x="316" y="2764"/>
                  </a:lnTo>
                  <a:lnTo>
                    <a:pt x="318" y="2764"/>
                  </a:lnTo>
                  <a:lnTo>
                    <a:pt x="320" y="2762"/>
                  </a:lnTo>
                  <a:lnTo>
                    <a:pt x="318" y="2758"/>
                  </a:lnTo>
                  <a:lnTo>
                    <a:pt x="312" y="2748"/>
                  </a:lnTo>
                  <a:lnTo>
                    <a:pt x="310" y="2740"/>
                  </a:lnTo>
                  <a:lnTo>
                    <a:pt x="308" y="2738"/>
                  </a:lnTo>
                  <a:lnTo>
                    <a:pt x="302" y="2738"/>
                  </a:lnTo>
                  <a:lnTo>
                    <a:pt x="298" y="2740"/>
                  </a:lnTo>
                  <a:lnTo>
                    <a:pt x="298" y="2738"/>
                  </a:lnTo>
                  <a:lnTo>
                    <a:pt x="298" y="2736"/>
                  </a:lnTo>
                  <a:lnTo>
                    <a:pt x="296" y="2736"/>
                  </a:lnTo>
                  <a:lnTo>
                    <a:pt x="292" y="2736"/>
                  </a:lnTo>
                  <a:lnTo>
                    <a:pt x="290" y="2736"/>
                  </a:lnTo>
                  <a:lnTo>
                    <a:pt x="290" y="2738"/>
                  </a:lnTo>
                  <a:lnTo>
                    <a:pt x="290" y="2744"/>
                  </a:lnTo>
                  <a:lnTo>
                    <a:pt x="290" y="2752"/>
                  </a:lnTo>
                  <a:lnTo>
                    <a:pt x="288" y="2756"/>
                  </a:lnTo>
                  <a:lnTo>
                    <a:pt x="286" y="2762"/>
                  </a:lnTo>
                  <a:lnTo>
                    <a:pt x="284" y="2770"/>
                  </a:lnTo>
                  <a:lnTo>
                    <a:pt x="284" y="2778"/>
                  </a:lnTo>
                  <a:lnTo>
                    <a:pt x="286" y="2782"/>
                  </a:lnTo>
                  <a:lnTo>
                    <a:pt x="286" y="2790"/>
                  </a:lnTo>
                  <a:lnTo>
                    <a:pt x="282" y="2802"/>
                  </a:lnTo>
                  <a:lnTo>
                    <a:pt x="278" y="2814"/>
                  </a:lnTo>
                  <a:lnTo>
                    <a:pt x="278" y="2818"/>
                  </a:lnTo>
                  <a:lnTo>
                    <a:pt x="280" y="2822"/>
                  </a:lnTo>
                  <a:lnTo>
                    <a:pt x="286" y="2824"/>
                  </a:lnTo>
                  <a:lnTo>
                    <a:pt x="298" y="2826"/>
                  </a:lnTo>
                  <a:close/>
                  <a:moveTo>
                    <a:pt x="316" y="2894"/>
                  </a:moveTo>
                  <a:lnTo>
                    <a:pt x="316" y="2894"/>
                  </a:lnTo>
                  <a:lnTo>
                    <a:pt x="316" y="2898"/>
                  </a:lnTo>
                  <a:lnTo>
                    <a:pt x="318" y="2902"/>
                  </a:lnTo>
                  <a:lnTo>
                    <a:pt x="318" y="2904"/>
                  </a:lnTo>
                  <a:lnTo>
                    <a:pt x="318" y="2906"/>
                  </a:lnTo>
                  <a:lnTo>
                    <a:pt x="320" y="2908"/>
                  </a:lnTo>
                  <a:lnTo>
                    <a:pt x="324" y="2910"/>
                  </a:lnTo>
                  <a:lnTo>
                    <a:pt x="330" y="2910"/>
                  </a:lnTo>
                  <a:lnTo>
                    <a:pt x="336" y="2902"/>
                  </a:lnTo>
                  <a:lnTo>
                    <a:pt x="338" y="2900"/>
                  </a:lnTo>
                  <a:lnTo>
                    <a:pt x="338" y="2898"/>
                  </a:lnTo>
                  <a:lnTo>
                    <a:pt x="338" y="2896"/>
                  </a:lnTo>
                  <a:lnTo>
                    <a:pt x="342" y="2894"/>
                  </a:lnTo>
                  <a:lnTo>
                    <a:pt x="344" y="2890"/>
                  </a:lnTo>
                  <a:lnTo>
                    <a:pt x="342" y="2886"/>
                  </a:lnTo>
                  <a:lnTo>
                    <a:pt x="338" y="2882"/>
                  </a:lnTo>
                  <a:lnTo>
                    <a:pt x="332" y="2880"/>
                  </a:lnTo>
                  <a:lnTo>
                    <a:pt x="330" y="2880"/>
                  </a:lnTo>
                  <a:lnTo>
                    <a:pt x="330" y="2882"/>
                  </a:lnTo>
                  <a:lnTo>
                    <a:pt x="328" y="2882"/>
                  </a:lnTo>
                  <a:lnTo>
                    <a:pt x="326" y="2882"/>
                  </a:lnTo>
                  <a:lnTo>
                    <a:pt x="324" y="2882"/>
                  </a:lnTo>
                  <a:lnTo>
                    <a:pt x="324" y="2884"/>
                  </a:lnTo>
                  <a:lnTo>
                    <a:pt x="322" y="2888"/>
                  </a:lnTo>
                  <a:lnTo>
                    <a:pt x="322" y="2892"/>
                  </a:lnTo>
                  <a:lnTo>
                    <a:pt x="320" y="2894"/>
                  </a:lnTo>
                  <a:lnTo>
                    <a:pt x="318" y="2894"/>
                  </a:lnTo>
                  <a:lnTo>
                    <a:pt x="316" y="2894"/>
                  </a:lnTo>
                  <a:close/>
                  <a:moveTo>
                    <a:pt x="258" y="2836"/>
                  </a:moveTo>
                  <a:lnTo>
                    <a:pt x="258" y="2836"/>
                  </a:lnTo>
                  <a:lnTo>
                    <a:pt x="262" y="2838"/>
                  </a:lnTo>
                  <a:lnTo>
                    <a:pt x="264" y="2838"/>
                  </a:lnTo>
                  <a:lnTo>
                    <a:pt x="266" y="2836"/>
                  </a:lnTo>
                  <a:lnTo>
                    <a:pt x="266" y="2834"/>
                  </a:lnTo>
                  <a:lnTo>
                    <a:pt x="262" y="2832"/>
                  </a:lnTo>
                  <a:lnTo>
                    <a:pt x="260" y="2832"/>
                  </a:lnTo>
                  <a:lnTo>
                    <a:pt x="258" y="2834"/>
                  </a:lnTo>
                  <a:lnTo>
                    <a:pt x="258" y="2836"/>
                  </a:lnTo>
                  <a:close/>
                  <a:moveTo>
                    <a:pt x="324" y="2852"/>
                  </a:moveTo>
                  <a:lnTo>
                    <a:pt x="324" y="2852"/>
                  </a:lnTo>
                  <a:lnTo>
                    <a:pt x="320" y="2856"/>
                  </a:lnTo>
                  <a:lnTo>
                    <a:pt x="322" y="2858"/>
                  </a:lnTo>
                  <a:lnTo>
                    <a:pt x="324" y="2860"/>
                  </a:lnTo>
                  <a:lnTo>
                    <a:pt x="326" y="2858"/>
                  </a:lnTo>
                  <a:lnTo>
                    <a:pt x="326" y="2854"/>
                  </a:lnTo>
                  <a:lnTo>
                    <a:pt x="326" y="2852"/>
                  </a:lnTo>
                  <a:lnTo>
                    <a:pt x="324" y="2850"/>
                  </a:lnTo>
                  <a:lnTo>
                    <a:pt x="324" y="2852"/>
                  </a:lnTo>
                  <a:close/>
                  <a:moveTo>
                    <a:pt x="266" y="2958"/>
                  </a:moveTo>
                  <a:lnTo>
                    <a:pt x="266" y="2958"/>
                  </a:lnTo>
                  <a:lnTo>
                    <a:pt x="270" y="2958"/>
                  </a:lnTo>
                  <a:lnTo>
                    <a:pt x="270" y="2954"/>
                  </a:lnTo>
                  <a:lnTo>
                    <a:pt x="270" y="2950"/>
                  </a:lnTo>
                  <a:lnTo>
                    <a:pt x="268" y="2950"/>
                  </a:lnTo>
                  <a:lnTo>
                    <a:pt x="266" y="2952"/>
                  </a:lnTo>
                  <a:lnTo>
                    <a:pt x="264" y="2954"/>
                  </a:lnTo>
                  <a:lnTo>
                    <a:pt x="264" y="2956"/>
                  </a:lnTo>
                  <a:lnTo>
                    <a:pt x="266" y="2958"/>
                  </a:lnTo>
                  <a:close/>
                  <a:moveTo>
                    <a:pt x="244" y="3242"/>
                  </a:moveTo>
                  <a:lnTo>
                    <a:pt x="244" y="3242"/>
                  </a:lnTo>
                  <a:lnTo>
                    <a:pt x="248" y="3238"/>
                  </a:lnTo>
                  <a:lnTo>
                    <a:pt x="248" y="3236"/>
                  </a:lnTo>
                  <a:lnTo>
                    <a:pt x="246" y="3236"/>
                  </a:lnTo>
                  <a:lnTo>
                    <a:pt x="240" y="3234"/>
                  </a:lnTo>
                  <a:lnTo>
                    <a:pt x="234" y="3234"/>
                  </a:lnTo>
                  <a:lnTo>
                    <a:pt x="234" y="3236"/>
                  </a:lnTo>
                  <a:lnTo>
                    <a:pt x="236" y="3240"/>
                  </a:lnTo>
                  <a:lnTo>
                    <a:pt x="236" y="3242"/>
                  </a:lnTo>
                  <a:lnTo>
                    <a:pt x="232" y="3248"/>
                  </a:lnTo>
                  <a:lnTo>
                    <a:pt x="234" y="3250"/>
                  </a:lnTo>
                  <a:lnTo>
                    <a:pt x="238" y="3252"/>
                  </a:lnTo>
                  <a:lnTo>
                    <a:pt x="242" y="3254"/>
                  </a:lnTo>
                  <a:lnTo>
                    <a:pt x="242" y="3250"/>
                  </a:lnTo>
                  <a:lnTo>
                    <a:pt x="242" y="3246"/>
                  </a:lnTo>
                  <a:lnTo>
                    <a:pt x="244" y="3242"/>
                  </a:lnTo>
                  <a:close/>
                  <a:moveTo>
                    <a:pt x="302" y="2848"/>
                  </a:moveTo>
                  <a:lnTo>
                    <a:pt x="302" y="2848"/>
                  </a:lnTo>
                  <a:lnTo>
                    <a:pt x="300" y="2846"/>
                  </a:lnTo>
                  <a:lnTo>
                    <a:pt x="298" y="2846"/>
                  </a:lnTo>
                  <a:lnTo>
                    <a:pt x="296" y="2846"/>
                  </a:lnTo>
                  <a:lnTo>
                    <a:pt x="292" y="2846"/>
                  </a:lnTo>
                  <a:lnTo>
                    <a:pt x="288" y="2846"/>
                  </a:lnTo>
                  <a:lnTo>
                    <a:pt x="286" y="2848"/>
                  </a:lnTo>
                  <a:lnTo>
                    <a:pt x="288" y="2850"/>
                  </a:lnTo>
                  <a:lnTo>
                    <a:pt x="292" y="2854"/>
                  </a:lnTo>
                  <a:lnTo>
                    <a:pt x="294" y="2854"/>
                  </a:lnTo>
                  <a:lnTo>
                    <a:pt x="296" y="2854"/>
                  </a:lnTo>
                  <a:lnTo>
                    <a:pt x="300" y="2852"/>
                  </a:lnTo>
                  <a:lnTo>
                    <a:pt x="302" y="2850"/>
                  </a:lnTo>
                  <a:lnTo>
                    <a:pt x="302" y="2848"/>
                  </a:lnTo>
                  <a:close/>
                  <a:moveTo>
                    <a:pt x="302" y="2912"/>
                  </a:moveTo>
                  <a:lnTo>
                    <a:pt x="302" y="2912"/>
                  </a:lnTo>
                  <a:lnTo>
                    <a:pt x="304" y="2910"/>
                  </a:lnTo>
                  <a:lnTo>
                    <a:pt x="302" y="2906"/>
                  </a:lnTo>
                  <a:lnTo>
                    <a:pt x="300" y="2904"/>
                  </a:lnTo>
                  <a:lnTo>
                    <a:pt x="298" y="2904"/>
                  </a:lnTo>
                  <a:lnTo>
                    <a:pt x="296" y="2906"/>
                  </a:lnTo>
                  <a:lnTo>
                    <a:pt x="298" y="2910"/>
                  </a:lnTo>
                  <a:lnTo>
                    <a:pt x="300" y="2912"/>
                  </a:lnTo>
                  <a:lnTo>
                    <a:pt x="302" y="2912"/>
                  </a:lnTo>
                  <a:close/>
                  <a:moveTo>
                    <a:pt x="306" y="2942"/>
                  </a:moveTo>
                  <a:lnTo>
                    <a:pt x="306" y="2942"/>
                  </a:lnTo>
                  <a:lnTo>
                    <a:pt x="304" y="2942"/>
                  </a:lnTo>
                  <a:lnTo>
                    <a:pt x="302" y="2948"/>
                  </a:lnTo>
                  <a:lnTo>
                    <a:pt x="302" y="2952"/>
                  </a:lnTo>
                  <a:lnTo>
                    <a:pt x="304" y="2958"/>
                  </a:lnTo>
                  <a:lnTo>
                    <a:pt x="306" y="2958"/>
                  </a:lnTo>
                  <a:lnTo>
                    <a:pt x="308" y="2958"/>
                  </a:lnTo>
                  <a:lnTo>
                    <a:pt x="308" y="2952"/>
                  </a:lnTo>
                  <a:lnTo>
                    <a:pt x="310" y="2944"/>
                  </a:lnTo>
                  <a:lnTo>
                    <a:pt x="308" y="2942"/>
                  </a:lnTo>
                  <a:lnTo>
                    <a:pt x="306" y="2942"/>
                  </a:lnTo>
                  <a:close/>
                  <a:moveTo>
                    <a:pt x="278" y="2958"/>
                  </a:moveTo>
                  <a:lnTo>
                    <a:pt x="278" y="2958"/>
                  </a:lnTo>
                  <a:lnTo>
                    <a:pt x="280" y="2956"/>
                  </a:lnTo>
                  <a:lnTo>
                    <a:pt x="284" y="2952"/>
                  </a:lnTo>
                  <a:lnTo>
                    <a:pt x="286" y="2950"/>
                  </a:lnTo>
                  <a:lnTo>
                    <a:pt x="284" y="2946"/>
                  </a:lnTo>
                  <a:lnTo>
                    <a:pt x="280" y="2942"/>
                  </a:lnTo>
                  <a:lnTo>
                    <a:pt x="276" y="2942"/>
                  </a:lnTo>
                  <a:lnTo>
                    <a:pt x="274" y="2944"/>
                  </a:lnTo>
                  <a:lnTo>
                    <a:pt x="272" y="2946"/>
                  </a:lnTo>
                  <a:lnTo>
                    <a:pt x="274" y="2950"/>
                  </a:lnTo>
                  <a:lnTo>
                    <a:pt x="274" y="2952"/>
                  </a:lnTo>
                  <a:lnTo>
                    <a:pt x="274" y="2956"/>
                  </a:lnTo>
                  <a:lnTo>
                    <a:pt x="274" y="2958"/>
                  </a:lnTo>
                  <a:lnTo>
                    <a:pt x="278" y="2958"/>
                  </a:lnTo>
                  <a:close/>
                  <a:moveTo>
                    <a:pt x="1872" y="956"/>
                  </a:moveTo>
                  <a:lnTo>
                    <a:pt x="1872" y="956"/>
                  </a:lnTo>
                  <a:lnTo>
                    <a:pt x="1868" y="926"/>
                  </a:lnTo>
                  <a:lnTo>
                    <a:pt x="1864" y="900"/>
                  </a:lnTo>
                  <a:lnTo>
                    <a:pt x="1862" y="888"/>
                  </a:lnTo>
                  <a:lnTo>
                    <a:pt x="1858" y="876"/>
                  </a:lnTo>
                  <a:lnTo>
                    <a:pt x="1852" y="868"/>
                  </a:lnTo>
                  <a:lnTo>
                    <a:pt x="1844" y="858"/>
                  </a:lnTo>
                  <a:lnTo>
                    <a:pt x="1836" y="852"/>
                  </a:lnTo>
                  <a:lnTo>
                    <a:pt x="1830" y="850"/>
                  </a:lnTo>
                  <a:lnTo>
                    <a:pt x="1824" y="850"/>
                  </a:lnTo>
                  <a:lnTo>
                    <a:pt x="1816" y="850"/>
                  </a:lnTo>
                  <a:lnTo>
                    <a:pt x="1810" y="852"/>
                  </a:lnTo>
                  <a:lnTo>
                    <a:pt x="1800" y="850"/>
                  </a:lnTo>
                  <a:lnTo>
                    <a:pt x="1788" y="846"/>
                  </a:lnTo>
                  <a:lnTo>
                    <a:pt x="1774" y="838"/>
                  </a:lnTo>
                  <a:lnTo>
                    <a:pt x="1760" y="828"/>
                  </a:lnTo>
                  <a:lnTo>
                    <a:pt x="1750" y="820"/>
                  </a:lnTo>
                  <a:lnTo>
                    <a:pt x="1744" y="814"/>
                  </a:lnTo>
                  <a:lnTo>
                    <a:pt x="1740" y="808"/>
                  </a:lnTo>
                  <a:lnTo>
                    <a:pt x="1734" y="796"/>
                  </a:lnTo>
                  <a:lnTo>
                    <a:pt x="1728" y="788"/>
                  </a:lnTo>
                  <a:lnTo>
                    <a:pt x="1718" y="780"/>
                  </a:lnTo>
                  <a:lnTo>
                    <a:pt x="1698" y="762"/>
                  </a:lnTo>
                  <a:lnTo>
                    <a:pt x="1688" y="754"/>
                  </a:lnTo>
                  <a:lnTo>
                    <a:pt x="1680" y="748"/>
                  </a:lnTo>
                  <a:lnTo>
                    <a:pt x="1670" y="742"/>
                  </a:lnTo>
                  <a:lnTo>
                    <a:pt x="1660" y="740"/>
                  </a:lnTo>
                  <a:lnTo>
                    <a:pt x="1646" y="740"/>
                  </a:lnTo>
                  <a:lnTo>
                    <a:pt x="1632" y="740"/>
                  </a:lnTo>
                  <a:lnTo>
                    <a:pt x="1618" y="742"/>
                  </a:lnTo>
                  <a:lnTo>
                    <a:pt x="1602" y="742"/>
                  </a:lnTo>
                  <a:lnTo>
                    <a:pt x="1590" y="742"/>
                  </a:lnTo>
                  <a:lnTo>
                    <a:pt x="1578" y="738"/>
                  </a:lnTo>
                  <a:lnTo>
                    <a:pt x="1556" y="732"/>
                  </a:lnTo>
                  <a:lnTo>
                    <a:pt x="1536" y="722"/>
                  </a:lnTo>
                  <a:lnTo>
                    <a:pt x="1530" y="722"/>
                  </a:lnTo>
                  <a:lnTo>
                    <a:pt x="1526" y="722"/>
                  </a:lnTo>
                  <a:lnTo>
                    <a:pt x="1516" y="724"/>
                  </a:lnTo>
                  <a:lnTo>
                    <a:pt x="1508" y="730"/>
                  </a:lnTo>
                  <a:lnTo>
                    <a:pt x="1500" y="738"/>
                  </a:lnTo>
                  <a:lnTo>
                    <a:pt x="1488" y="750"/>
                  </a:lnTo>
                  <a:lnTo>
                    <a:pt x="1482" y="754"/>
                  </a:lnTo>
                  <a:lnTo>
                    <a:pt x="1480" y="752"/>
                  </a:lnTo>
                  <a:lnTo>
                    <a:pt x="1478" y="748"/>
                  </a:lnTo>
                  <a:lnTo>
                    <a:pt x="1478" y="742"/>
                  </a:lnTo>
                  <a:lnTo>
                    <a:pt x="1482" y="728"/>
                  </a:lnTo>
                  <a:lnTo>
                    <a:pt x="1486" y="716"/>
                  </a:lnTo>
                  <a:lnTo>
                    <a:pt x="1488" y="712"/>
                  </a:lnTo>
                  <a:lnTo>
                    <a:pt x="1486" y="708"/>
                  </a:lnTo>
                  <a:lnTo>
                    <a:pt x="1482" y="702"/>
                  </a:lnTo>
                  <a:lnTo>
                    <a:pt x="1480" y="698"/>
                  </a:lnTo>
                  <a:lnTo>
                    <a:pt x="1478" y="688"/>
                  </a:lnTo>
                  <a:lnTo>
                    <a:pt x="1476" y="684"/>
                  </a:lnTo>
                  <a:lnTo>
                    <a:pt x="1470" y="680"/>
                  </a:lnTo>
                  <a:lnTo>
                    <a:pt x="1464" y="678"/>
                  </a:lnTo>
                  <a:lnTo>
                    <a:pt x="1454" y="674"/>
                  </a:lnTo>
                  <a:lnTo>
                    <a:pt x="1444" y="670"/>
                  </a:lnTo>
                  <a:lnTo>
                    <a:pt x="1438" y="668"/>
                  </a:lnTo>
                  <a:lnTo>
                    <a:pt x="1428" y="658"/>
                  </a:lnTo>
                  <a:lnTo>
                    <a:pt x="1420" y="652"/>
                  </a:lnTo>
                  <a:lnTo>
                    <a:pt x="1416" y="650"/>
                  </a:lnTo>
                  <a:lnTo>
                    <a:pt x="1410" y="650"/>
                  </a:lnTo>
                  <a:lnTo>
                    <a:pt x="1400" y="648"/>
                  </a:lnTo>
                  <a:lnTo>
                    <a:pt x="1392" y="644"/>
                  </a:lnTo>
                  <a:lnTo>
                    <a:pt x="1382" y="640"/>
                  </a:lnTo>
                  <a:lnTo>
                    <a:pt x="1362" y="638"/>
                  </a:lnTo>
                  <a:lnTo>
                    <a:pt x="1354" y="638"/>
                  </a:lnTo>
                  <a:lnTo>
                    <a:pt x="1348" y="640"/>
                  </a:lnTo>
                  <a:lnTo>
                    <a:pt x="1340" y="644"/>
                  </a:lnTo>
                  <a:lnTo>
                    <a:pt x="1332" y="654"/>
                  </a:lnTo>
                  <a:lnTo>
                    <a:pt x="1326" y="662"/>
                  </a:lnTo>
                  <a:lnTo>
                    <a:pt x="1318" y="676"/>
                  </a:lnTo>
                  <a:lnTo>
                    <a:pt x="1314" y="678"/>
                  </a:lnTo>
                  <a:lnTo>
                    <a:pt x="1312" y="674"/>
                  </a:lnTo>
                  <a:lnTo>
                    <a:pt x="1310" y="666"/>
                  </a:lnTo>
                  <a:lnTo>
                    <a:pt x="1314" y="658"/>
                  </a:lnTo>
                  <a:lnTo>
                    <a:pt x="1322" y="642"/>
                  </a:lnTo>
                  <a:lnTo>
                    <a:pt x="1326" y="634"/>
                  </a:lnTo>
                  <a:lnTo>
                    <a:pt x="1326" y="628"/>
                  </a:lnTo>
                  <a:lnTo>
                    <a:pt x="1326" y="626"/>
                  </a:lnTo>
                  <a:lnTo>
                    <a:pt x="1322" y="622"/>
                  </a:lnTo>
                  <a:lnTo>
                    <a:pt x="1314" y="618"/>
                  </a:lnTo>
                  <a:lnTo>
                    <a:pt x="1296" y="614"/>
                  </a:lnTo>
                  <a:lnTo>
                    <a:pt x="1288" y="614"/>
                  </a:lnTo>
                  <a:lnTo>
                    <a:pt x="1278" y="616"/>
                  </a:lnTo>
                  <a:lnTo>
                    <a:pt x="1256" y="612"/>
                  </a:lnTo>
                  <a:lnTo>
                    <a:pt x="1246" y="612"/>
                  </a:lnTo>
                  <a:lnTo>
                    <a:pt x="1240" y="614"/>
                  </a:lnTo>
                  <a:lnTo>
                    <a:pt x="1234" y="620"/>
                  </a:lnTo>
                  <a:lnTo>
                    <a:pt x="1230" y="626"/>
                  </a:lnTo>
                  <a:lnTo>
                    <a:pt x="1230" y="634"/>
                  </a:lnTo>
                  <a:lnTo>
                    <a:pt x="1228" y="642"/>
                  </a:lnTo>
                  <a:lnTo>
                    <a:pt x="1228" y="656"/>
                  </a:lnTo>
                  <a:lnTo>
                    <a:pt x="1226" y="652"/>
                  </a:lnTo>
                  <a:lnTo>
                    <a:pt x="1222" y="652"/>
                  </a:lnTo>
                  <a:lnTo>
                    <a:pt x="1216" y="658"/>
                  </a:lnTo>
                  <a:lnTo>
                    <a:pt x="1214" y="660"/>
                  </a:lnTo>
                  <a:lnTo>
                    <a:pt x="1212" y="660"/>
                  </a:lnTo>
                  <a:lnTo>
                    <a:pt x="1212" y="658"/>
                  </a:lnTo>
                  <a:lnTo>
                    <a:pt x="1214" y="650"/>
                  </a:lnTo>
                  <a:lnTo>
                    <a:pt x="1216" y="642"/>
                  </a:lnTo>
                  <a:lnTo>
                    <a:pt x="1214" y="638"/>
                  </a:lnTo>
                  <a:lnTo>
                    <a:pt x="1210" y="636"/>
                  </a:lnTo>
                  <a:lnTo>
                    <a:pt x="1206" y="638"/>
                  </a:lnTo>
                  <a:lnTo>
                    <a:pt x="1198" y="640"/>
                  </a:lnTo>
                  <a:lnTo>
                    <a:pt x="1198" y="636"/>
                  </a:lnTo>
                  <a:lnTo>
                    <a:pt x="1202" y="632"/>
                  </a:lnTo>
                  <a:lnTo>
                    <a:pt x="1202" y="628"/>
                  </a:lnTo>
                  <a:lnTo>
                    <a:pt x="1204" y="620"/>
                  </a:lnTo>
                  <a:lnTo>
                    <a:pt x="1204" y="616"/>
                  </a:lnTo>
                  <a:lnTo>
                    <a:pt x="1206" y="614"/>
                  </a:lnTo>
                  <a:lnTo>
                    <a:pt x="1210" y="610"/>
                  </a:lnTo>
                  <a:lnTo>
                    <a:pt x="1216" y="608"/>
                  </a:lnTo>
                  <a:lnTo>
                    <a:pt x="1224" y="604"/>
                  </a:lnTo>
                  <a:lnTo>
                    <a:pt x="1230" y="596"/>
                  </a:lnTo>
                  <a:lnTo>
                    <a:pt x="1240" y="582"/>
                  </a:lnTo>
                  <a:lnTo>
                    <a:pt x="1248" y="566"/>
                  </a:lnTo>
                  <a:lnTo>
                    <a:pt x="1254" y="560"/>
                  </a:lnTo>
                  <a:lnTo>
                    <a:pt x="1260" y="556"/>
                  </a:lnTo>
                  <a:lnTo>
                    <a:pt x="1264" y="554"/>
                  </a:lnTo>
                  <a:lnTo>
                    <a:pt x="1266" y="548"/>
                  </a:lnTo>
                  <a:lnTo>
                    <a:pt x="1266" y="542"/>
                  </a:lnTo>
                  <a:lnTo>
                    <a:pt x="1266" y="536"/>
                  </a:lnTo>
                  <a:lnTo>
                    <a:pt x="1264" y="528"/>
                  </a:lnTo>
                  <a:lnTo>
                    <a:pt x="1260" y="524"/>
                  </a:lnTo>
                  <a:lnTo>
                    <a:pt x="1256" y="520"/>
                  </a:lnTo>
                  <a:lnTo>
                    <a:pt x="1252" y="518"/>
                  </a:lnTo>
                  <a:lnTo>
                    <a:pt x="1244" y="518"/>
                  </a:lnTo>
                  <a:lnTo>
                    <a:pt x="1240" y="516"/>
                  </a:lnTo>
                  <a:lnTo>
                    <a:pt x="1238" y="514"/>
                  </a:lnTo>
                  <a:lnTo>
                    <a:pt x="1238" y="508"/>
                  </a:lnTo>
                  <a:lnTo>
                    <a:pt x="1236" y="504"/>
                  </a:lnTo>
                  <a:lnTo>
                    <a:pt x="1234" y="502"/>
                  </a:lnTo>
                  <a:lnTo>
                    <a:pt x="1234" y="500"/>
                  </a:lnTo>
                  <a:lnTo>
                    <a:pt x="1232" y="494"/>
                  </a:lnTo>
                  <a:lnTo>
                    <a:pt x="1232" y="490"/>
                  </a:lnTo>
                  <a:lnTo>
                    <a:pt x="1230" y="488"/>
                  </a:lnTo>
                  <a:lnTo>
                    <a:pt x="1228" y="484"/>
                  </a:lnTo>
                  <a:lnTo>
                    <a:pt x="1226" y="480"/>
                  </a:lnTo>
                  <a:lnTo>
                    <a:pt x="1226" y="476"/>
                  </a:lnTo>
                  <a:lnTo>
                    <a:pt x="1226" y="472"/>
                  </a:lnTo>
                  <a:lnTo>
                    <a:pt x="1222" y="466"/>
                  </a:lnTo>
                  <a:lnTo>
                    <a:pt x="1220" y="444"/>
                  </a:lnTo>
                  <a:lnTo>
                    <a:pt x="1218" y="422"/>
                  </a:lnTo>
                  <a:lnTo>
                    <a:pt x="1218" y="418"/>
                  </a:lnTo>
                  <a:lnTo>
                    <a:pt x="1216" y="416"/>
                  </a:lnTo>
                  <a:lnTo>
                    <a:pt x="1214" y="414"/>
                  </a:lnTo>
                  <a:lnTo>
                    <a:pt x="1212" y="410"/>
                  </a:lnTo>
                  <a:lnTo>
                    <a:pt x="1206" y="398"/>
                  </a:lnTo>
                  <a:lnTo>
                    <a:pt x="1202" y="392"/>
                  </a:lnTo>
                  <a:lnTo>
                    <a:pt x="1200" y="392"/>
                  </a:lnTo>
                  <a:lnTo>
                    <a:pt x="1198" y="394"/>
                  </a:lnTo>
                  <a:lnTo>
                    <a:pt x="1198" y="396"/>
                  </a:lnTo>
                  <a:lnTo>
                    <a:pt x="1196" y="402"/>
                  </a:lnTo>
                  <a:lnTo>
                    <a:pt x="1192" y="410"/>
                  </a:lnTo>
                  <a:lnTo>
                    <a:pt x="1192" y="406"/>
                  </a:lnTo>
                  <a:lnTo>
                    <a:pt x="1192" y="404"/>
                  </a:lnTo>
                  <a:lnTo>
                    <a:pt x="1192" y="400"/>
                  </a:lnTo>
                  <a:lnTo>
                    <a:pt x="1192" y="394"/>
                  </a:lnTo>
                  <a:lnTo>
                    <a:pt x="1188" y="380"/>
                  </a:lnTo>
                  <a:lnTo>
                    <a:pt x="1186" y="380"/>
                  </a:lnTo>
                  <a:lnTo>
                    <a:pt x="1184" y="382"/>
                  </a:lnTo>
                  <a:lnTo>
                    <a:pt x="1182" y="382"/>
                  </a:lnTo>
                  <a:lnTo>
                    <a:pt x="1180" y="380"/>
                  </a:lnTo>
                  <a:lnTo>
                    <a:pt x="1178" y="374"/>
                  </a:lnTo>
                  <a:lnTo>
                    <a:pt x="1174" y="372"/>
                  </a:lnTo>
                  <a:lnTo>
                    <a:pt x="1172" y="368"/>
                  </a:lnTo>
                  <a:lnTo>
                    <a:pt x="1166" y="364"/>
                  </a:lnTo>
                  <a:lnTo>
                    <a:pt x="1158" y="360"/>
                  </a:lnTo>
                  <a:lnTo>
                    <a:pt x="1154" y="356"/>
                  </a:lnTo>
                  <a:lnTo>
                    <a:pt x="1150" y="350"/>
                  </a:lnTo>
                  <a:lnTo>
                    <a:pt x="1148" y="346"/>
                  </a:lnTo>
                  <a:lnTo>
                    <a:pt x="1144" y="342"/>
                  </a:lnTo>
                  <a:lnTo>
                    <a:pt x="1136" y="338"/>
                  </a:lnTo>
                  <a:lnTo>
                    <a:pt x="1126" y="334"/>
                  </a:lnTo>
                  <a:lnTo>
                    <a:pt x="1114" y="330"/>
                  </a:lnTo>
                  <a:lnTo>
                    <a:pt x="1102" y="324"/>
                  </a:lnTo>
                  <a:lnTo>
                    <a:pt x="1072" y="316"/>
                  </a:lnTo>
                  <a:lnTo>
                    <a:pt x="1060" y="314"/>
                  </a:lnTo>
                  <a:lnTo>
                    <a:pt x="1056" y="314"/>
                  </a:lnTo>
                  <a:lnTo>
                    <a:pt x="1054" y="316"/>
                  </a:lnTo>
                  <a:lnTo>
                    <a:pt x="1048" y="316"/>
                  </a:lnTo>
                  <a:lnTo>
                    <a:pt x="1038" y="314"/>
                  </a:lnTo>
                  <a:lnTo>
                    <a:pt x="1026" y="314"/>
                  </a:lnTo>
                  <a:lnTo>
                    <a:pt x="1024" y="316"/>
                  </a:lnTo>
                  <a:lnTo>
                    <a:pt x="1022" y="318"/>
                  </a:lnTo>
                  <a:lnTo>
                    <a:pt x="1022" y="322"/>
                  </a:lnTo>
                  <a:lnTo>
                    <a:pt x="1018" y="322"/>
                  </a:lnTo>
                  <a:lnTo>
                    <a:pt x="1006" y="318"/>
                  </a:lnTo>
                  <a:lnTo>
                    <a:pt x="998" y="316"/>
                  </a:lnTo>
                  <a:lnTo>
                    <a:pt x="990" y="314"/>
                  </a:lnTo>
                  <a:lnTo>
                    <a:pt x="982" y="316"/>
                  </a:lnTo>
                  <a:lnTo>
                    <a:pt x="974" y="318"/>
                  </a:lnTo>
                  <a:lnTo>
                    <a:pt x="972" y="316"/>
                  </a:lnTo>
                  <a:lnTo>
                    <a:pt x="972" y="314"/>
                  </a:lnTo>
                  <a:lnTo>
                    <a:pt x="968" y="308"/>
                  </a:lnTo>
                  <a:lnTo>
                    <a:pt x="966" y="302"/>
                  </a:lnTo>
                  <a:lnTo>
                    <a:pt x="964" y="300"/>
                  </a:lnTo>
                  <a:lnTo>
                    <a:pt x="962" y="298"/>
                  </a:lnTo>
                  <a:lnTo>
                    <a:pt x="958" y="296"/>
                  </a:lnTo>
                  <a:lnTo>
                    <a:pt x="956" y="294"/>
                  </a:lnTo>
                  <a:lnTo>
                    <a:pt x="954" y="288"/>
                  </a:lnTo>
                  <a:lnTo>
                    <a:pt x="952" y="284"/>
                  </a:lnTo>
                  <a:lnTo>
                    <a:pt x="948" y="280"/>
                  </a:lnTo>
                  <a:lnTo>
                    <a:pt x="942" y="276"/>
                  </a:lnTo>
                  <a:lnTo>
                    <a:pt x="934" y="274"/>
                  </a:lnTo>
                  <a:lnTo>
                    <a:pt x="920" y="270"/>
                  </a:lnTo>
                  <a:lnTo>
                    <a:pt x="916" y="268"/>
                  </a:lnTo>
                  <a:lnTo>
                    <a:pt x="916" y="264"/>
                  </a:lnTo>
                  <a:lnTo>
                    <a:pt x="918" y="254"/>
                  </a:lnTo>
                  <a:lnTo>
                    <a:pt x="918" y="248"/>
                  </a:lnTo>
                  <a:lnTo>
                    <a:pt x="918" y="242"/>
                  </a:lnTo>
                  <a:lnTo>
                    <a:pt x="914" y="234"/>
                  </a:lnTo>
                  <a:lnTo>
                    <a:pt x="908" y="228"/>
                  </a:lnTo>
                  <a:lnTo>
                    <a:pt x="892" y="214"/>
                  </a:lnTo>
                  <a:lnTo>
                    <a:pt x="868" y="198"/>
                  </a:lnTo>
                  <a:lnTo>
                    <a:pt x="862" y="192"/>
                  </a:lnTo>
                  <a:lnTo>
                    <a:pt x="852" y="188"/>
                  </a:lnTo>
                  <a:lnTo>
                    <a:pt x="840" y="188"/>
                  </a:lnTo>
                  <a:lnTo>
                    <a:pt x="830" y="188"/>
                  </a:lnTo>
                  <a:lnTo>
                    <a:pt x="818" y="190"/>
                  </a:lnTo>
                  <a:lnTo>
                    <a:pt x="804" y="194"/>
                  </a:lnTo>
                  <a:lnTo>
                    <a:pt x="802" y="192"/>
                  </a:lnTo>
                  <a:lnTo>
                    <a:pt x="804" y="190"/>
                  </a:lnTo>
                  <a:lnTo>
                    <a:pt x="808" y="184"/>
                  </a:lnTo>
                  <a:lnTo>
                    <a:pt x="810" y="180"/>
                  </a:lnTo>
                  <a:lnTo>
                    <a:pt x="812" y="172"/>
                  </a:lnTo>
                  <a:lnTo>
                    <a:pt x="814" y="164"/>
                  </a:lnTo>
                  <a:lnTo>
                    <a:pt x="816" y="160"/>
                  </a:lnTo>
                  <a:lnTo>
                    <a:pt x="822" y="156"/>
                  </a:lnTo>
                  <a:lnTo>
                    <a:pt x="826" y="152"/>
                  </a:lnTo>
                  <a:lnTo>
                    <a:pt x="826" y="150"/>
                  </a:lnTo>
                  <a:lnTo>
                    <a:pt x="826" y="148"/>
                  </a:lnTo>
                  <a:lnTo>
                    <a:pt x="822" y="146"/>
                  </a:lnTo>
                  <a:lnTo>
                    <a:pt x="814" y="142"/>
                  </a:lnTo>
                  <a:lnTo>
                    <a:pt x="810" y="138"/>
                  </a:lnTo>
                  <a:lnTo>
                    <a:pt x="808" y="134"/>
                  </a:lnTo>
                  <a:lnTo>
                    <a:pt x="804" y="130"/>
                  </a:lnTo>
                  <a:lnTo>
                    <a:pt x="800" y="128"/>
                  </a:lnTo>
                  <a:lnTo>
                    <a:pt x="792" y="128"/>
                  </a:lnTo>
                  <a:lnTo>
                    <a:pt x="784" y="126"/>
                  </a:lnTo>
                  <a:lnTo>
                    <a:pt x="780" y="124"/>
                  </a:lnTo>
                  <a:lnTo>
                    <a:pt x="778" y="122"/>
                  </a:lnTo>
                  <a:lnTo>
                    <a:pt x="772" y="116"/>
                  </a:lnTo>
                  <a:lnTo>
                    <a:pt x="766" y="112"/>
                  </a:lnTo>
                  <a:lnTo>
                    <a:pt x="752" y="104"/>
                  </a:lnTo>
                  <a:lnTo>
                    <a:pt x="746" y="100"/>
                  </a:lnTo>
                  <a:lnTo>
                    <a:pt x="744" y="98"/>
                  </a:lnTo>
                  <a:lnTo>
                    <a:pt x="748" y="94"/>
                  </a:lnTo>
                  <a:lnTo>
                    <a:pt x="756" y="92"/>
                  </a:lnTo>
                  <a:lnTo>
                    <a:pt x="772" y="88"/>
                  </a:lnTo>
                  <a:lnTo>
                    <a:pt x="782" y="84"/>
                  </a:lnTo>
                  <a:lnTo>
                    <a:pt x="782" y="82"/>
                  </a:lnTo>
                  <a:lnTo>
                    <a:pt x="778" y="80"/>
                  </a:lnTo>
                  <a:lnTo>
                    <a:pt x="762" y="78"/>
                  </a:lnTo>
                  <a:lnTo>
                    <a:pt x="744" y="78"/>
                  </a:lnTo>
                  <a:lnTo>
                    <a:pt x="736" y="80"/>
                  </a:lnTo>
                  <a:lnTo>
                    <a:pt x="726" y="82"/>
                  </a:lnTo>
                  <a:lnTo>
                    <a:pt x="706" y="84"/>
                  </a:lnTo>
                  <a:lnTo>
                    <a:pt x="696" y="84"/>
                  </a:lnTo>
                  <a:lnTo>
                    <a:pt x="688" y="86"/>
                  </a:lnTo>
                  <a:lnTo>
                    <a:pt x="684" y="88"/>
                  </a:lnTo>
                  <a:lnTo>
                    <a:pt x="682" y="92"/>
                  </a:lnTo>
                  <a:lnTo>
                    <a:pt x="680" y="98"/>
                  </a:lnTo>
                  <a:lnTo>
                    <a:pt x="678" y="100"/>
                  </a:lnTo>
                  <a:lnTo>
                    <a:pt x="674" y="104"/>
                  </a:lnTo>
                  <a:lnTo>
                    <a:pt x="662" y="110"/>
                  </a:lnTo>
                  <a:lnTo>
                    <a:pt x="654" y="112"/>
                  </a:lnTo>
                  <a:lnTo>
                    <a:pt x="646" y="112"/>
                  </a:lnTo>
                  <a:lnTo>
                    <a:pt x="638" y="112"/>
                  </a:lnTo>
                  <a:lnTo>
                    <a:pt x="630" y="108"/>
                  </a:lnTo>
                  <a:lnTo>
                    <a:pt x="622" y="102"/>
                  </a:lnTo>
                  <a:lnTo>
                    <a:pt x="616" y="94"/>
                  </a:lnTo>
                  <a:lnTo>
                    <a:pt x="612" y="88"/>
                  </a:lnTo>
                  <a:lnTo>
                    <a:pt x="608" y="86"/>
                  </a:lnTo>
                  <a:lnTo>
                    <a:pt x="602" y="84"/>
                  </a:lnTo>
                  <a:lnTo>
                    <a:pt x="594" y="84"/>
                  </a:lnTo>
                  <a:lnTo>
                    <a:pt x="580" y="86"/>
                  </a:lnTo>
                  <a:lnTo>
                    <a:pt x="564" y="90"/>
                  </a:lnTo>
                  <a:lnTo>
                    <a:pt x="548" y="94"/>
                  </a:lnTo>
                  <a:lnTo>
                    <a:pt x="536" y="94"/>
                  </a:lnTo>
                  <a:lnTo>
                    <a:pt x="530" y="92"/>
                  </a:lnTo>
                  <a:lnTo>
                    <a:pt x="526" y="90"/>
                  </a:lnTo>
                  <a:lnTo>
                    <a:pt x="524" y="84"/>
                  </a:lnTo>
                  <a:lnTo>
                    <a:pt x="522" y="78"/>
                  </a:lnTo>
                  <a:lnTo>
                    <a:pt x="520" y="64"/>
                  </a:lnTo>
                  <a:lnTo>
                    <a:pt x="516" y="56"/>
                  </a:lnTo>
                  <a:lnTo>
                    <a:pt x="508" y="50"/>
                  </a:lnTo>
                  <a:lnTo>
                    <a:pt x="500" y="46"/>
                  </a:lnTo>
                  <a:lnTo>
                    <a:pt x="490" y="44"/>
                  </a:lnTo>
                  <a:lnTo>
                    <a:pt x="482" y="40"/>
                  </a:lnTo>
                  <a:lnTo>
                    <a:pt x="474" y="32"/>
                  </a:lnTo>
                  <a:lnTo>
                    <a:pt x="468" y="22"/>
                  </a:lnTo>
                  <a:lnTo>
                    <a:pt x="464" y="12"/>
                  </a:lnTo>
                  <a:lnTo>
                    <a:pt x="458" y="8"/>
                  </a:lnTo>
                  <a:lnTo>
                    <a:pt x="454" y="8"/>
                  </a:lnTo>
                  <a:lnTo>
                    <a:pt x="450" y="10"/>
                  </a:lnTo>
                  <a:lnTo>
                    <a:pt x="446" y="16"/>
                  </a:lnTo>
                  <a:lnTo>
                    <a:pt x="444" y="22"/>
                  </a:lnTo>
                  <a:lnTo>
                    <a:pt x="444" y="28"/>
                  </a:lnTo>
                  <a:lnTo>
                    <a:pt x="444" y="34"/>
                  </a:lnTo>
                  <a:lnTo>
                    <a:pt x="448" y="40"/>
                  </a:lnTo>
                  <a:lnTo>
                    <a:pt x="452" y="48"/>
                  </a:lnTo>
                  <a:lnTo>
                    <a:pt x="452" y="50"/>
                  </a:lnTo>
                  <a:lnTo>
                    <a:pt x="448" y="52"/>
                  </a:lnTo>
                  <a:lnTo>
                    <a:pt x="430" y="56"/>
                  </a:lnTo>
                  <a:lnTo>
                    <a:pt x="420" y="60"/>
                  </a:lnTo>
                  <a:lnTo>
                    <a:pt x="410" y="64"/>
                  </a:lnTo>
                  <a:lnTo>
                    <a:pt x="402" y="70"/>
                  </a:lnTo>
                  <a:lnTo>
                    <a:pt x="398" y="74"/>
                  </a:lnTo>
                  <a:lnTo>
                    <a:pt x="392" y="80"/>
                  </a:lnTo>
                  <a:lnTo>
                    <a:pt x="390" y="78"/>
                  </a:lnTo>
                  <a:lnTo>
                    <a:pt x="388" y="72"/>
                  </a:lnTo>
                  <a:lnTo>
                    <a:pt x="386" y="64"/>
                  </a:lnTo>
                  <a:lnTo>
                    <a:pt x="380" y="56"/>
                  </a:lnTo>
                  <a:lnTo>
                    <a:pt x="376" y="52"/>
                  </a:lnTo>
                  <a:lnTo>
                    <a:pt x="376" y="48"/>
                  </a:lnTo>
                  <a:lnTo>
                    <a:pt x="378" y="44"/>
                  </a:lnTo>
                  <a:lnTo>
                    <a:pt x="382" y="40"/>
                  </a:lnTo>
                  <a:lnTo>
                    <a:pt x="392" y="32"/>
                  </a:lnTo>
                  <a:lnTo>
                    <a:pt x="402" y="26"/>
                  </a:lnTo>
                  <a:lnTo>
                    <a:pt x="406" y="24"/>
                  </a:lnTo>
                  <a:lnTo>
                    <a:pt x="410" y="20"/>
                  </a:lnTo>
                  <a:lnTo>
                    <a:pt x="410" y="14"/>
                  </a:lnTo>
                  <a:lnTo>
                    <a:pt x="410" y="10"/>
                  </a:lnTo>
                  <a:lnTo>
                    <a:pt x="408" y="6"/>
                  </a:lnTo>
                  <a:lnTo>
                    <a:pt x="404" y="2"/>
                  </a:lnTo>
                  <a:lnTo>
                    <a:pt x="398" y="0"/>
                  </a:lnTo>
                  <a:lnTo>
                    <a:pt x="390" y="0"/>
                  </a:lnTo>
                  <a:lnTo>
                    <a:pt x="378" y="4"/>
                  </a:lnTo>
                  <a:lnTo>
                    <a:pt x="374" y="6"/>
                  </a:lnTo>
                  <a:lnTo>
                    <a:pt x="370" y="10"/>
                  </a:lnTo>
                  <a:lnTo>
                    <a:pt x="362" y="20"/>
                  </a:lnTo>
                  <a:lnTo>
                    <a:pt x="354" y="26"/>
                  </a:lnTo>
                  <a:lnTo>
                    <a:pt x="344" y="36"/>
                  </a:lnTo>
                  <a:lnTo>
                    <a:pt x="328" y="46"/>
                  </a:lnTo>
                  <a:lnTo>
                    <a:pt x="316" y="50"/>
                  </a:lnTo>
                  <a:lnTo>
                    <a:pt x="306" y="52"/>
                  </a:lnTo>
                  <a:lnTo>
                    <a:pt x="298" y="52"/>
                  </a:lnTo>
                  <a:lnTo>
                    <a:pt x="294" y="50"/>
                  </a:lnTo>
                  <a:lnTo>
                    <a:pt x="290" y="50"/>
                  </a:lnTo>
                  <a:lnTo>
                    <a:pt x="286" y="52"/>
                  </a:lnTo>
                  <a:lnTo>
                    <a:pt x="284" y="58"/>
                  </a:lnTo>
                  <a:lnTo>
                    <a:pt x="280" y="66"/>
                  </a:lnTo>
                  <a:lnTo>
                    <a:pt x="276" y="68"/>
                  </a:lnTo>
                  <a:lnTo>
                    <a:pt x="270" y="68"/>
                  </a:lnTo>
                  <a:lnTo>
                    <a:pt x="266" y="66"/>
                  </a:lnTo>
                  <a:lnTo>
                    <a:pt x="256" y="62"/>
                  </a:lnTo>
                  <a:lnTo>
                    <a:pt x="252" y="64"/>
                  </a:lnTo>
                  <a:lnTo>
                    <a:pt x="250" y="68"/>
                  </a:lnTo>
                  <a:lnTo>
                    <a:pt x="248" y="72"/>
                  </a:lnTo>
                  <a:lnTo>
                    <a:pt x="244" y="78"/>
                  </a:lnTo>
                  <a:lnTo>
                    <a:pt x="238" y="86"/>
                  </a:lnTo>
                  <a:lnTo>
                    <a:pt x="234" y="92"/>
                  </a:lnTo>
                  <a:lnTo>
                    <a:pt x="232" y="100"/>
                  </a:lnTo>
                  <a:lnTo>
                    <a:pt x="230" y="110"/>
                  </a:lnTo>
                  <a:lnTo>
                    <a:pt x="230" y="122"/>
                  </a:lnTo>
                  <a:lnTo>
                    <a:pt x="230" y="134"/>
                  </a:lnTo>
                  <a:lnTo>
                    <a:pt x="226" y="142"/>
                  </a:lnTo>
                  <a:lnTo>
                    <a:pt x="224" y="144"/>
                  </a:lnTo>
                  <a:lnTo>
                    <a:pt x="220" y="146"/>
                  </a:lnTo>
                  <a:lnTo>
                    <a:pt x="214" y="146"/>
                  </a:lnTo>
                  <a:lnTo>
                    <a:pt x="210" y="148"/>
                  </a:lnTo>
                  <a:lnTo>
                    <a:pt x="208" y="150"/>
                  </a:lnTo>
                  <a:lnTo>
                    <a:pt x="206" y="158"/>
                  </a:lnTo>
                  <a:lnTo>
                    <a:pt x="202" y="166"/>
                  </a:lnTo>
                  <a:lnTo>
                    <a:pt x="198" y="170"/>
                  </a:lnTo>
                  <a:lnTo>
                    <a:pt x="180" y="202"/>
                  </a:lnTo>
                  <a:lnTo>
                    <a:pt x="182" y="212"/>
                  </a:lnTo>
                  <a:lnTo>
                    <a:pt x="182" y="214"/>
                  </a:lnTo>
                  <a:lnTo>
                    <a:pt x="180" y="214"/>
                  </a:lnTo>
                  <a:lnTo>
                    <a:pt x="176" y="210"/>
                  </a:lnTo>
                  <a:lnTo>
                    <a:pt x="144" y="264"/>
                  </a:lnTo>
                  <a:lnTo>
                    <a:pt x="146" y="274"/>
                  </a:lnTo>
                  <a:lnTo>
                    <a:pt x="148" y="278"/>
                  </a:lnTo>
                  <a:lnTo>
                    <a:pt x="152" y="280"/>
                  </a:lnTo>
                  <a:lnTo>
                    <a:pt x="156" y="284"/>
                  </a:lnTo>
                  <a:lnTo>
                    <a:pt x="158" y="286"/>
                  </a:lnTo>
                  <a:lnTo>
                    <a:pt x="158" y="290"/>
                  </a:lnTo>
                  <a:lnTo>
                    <a:pt x="156" y="296"/>
                  </a:lnTo>
                  <a:lnTo>
                    <a:pt x="154" y="304"/>
                  </a:lnTo>
                  <a:lnTo>
                    <a:pt x="154" y="310"/>
                  </a:lnTo>
                  <a:lnTo>
                    <a:pt x="156" y="314"/>
                  </a:lnTo>
                  <a:lnTo>
                    <a:pt x="162" y="320"/>
                  </a:lnTo>
                  <a:lnTo>
                    <a:pt x="162" y="324"/>
                  </a:lnTo>
                  <a:lnTo>
                    <a:pt x="160" y="328"/>
                  </a:lnTo>
                  <a:lnTo>
                    <a:pt x="158" y="330"/>
                  </a:lnTo>
                  <a:lnTo>
                    <a:pt x="154" y="334"/>
                  </a:lnTo>
                  <a:lnTo>
                    <a:pt x="152" y="338"/>
                  </a:lnTo>
                  <a:lnTo>
                    <a:pt x="150" y="348"/>
                  </a:lnTo>
                  <a:lnTo>
                    <a:pt x="152" y="360"/>
                  </a:lnTo>
                  <a:lnTo>
                    <a:pt x="154" y="374"/>
                  </a:lnTo>
                  <a:lnTo>
                    <a:pt x="154" y="386"/>
                  </a:lnTo>
                  <a:lnTo>
                    <a:pt x="152" y="406"/>
                  </a:lnTo>
                  <a:lnTo>
                    <a:pt x="152" y="418"/>
                  </a:lnTo>
                  <a:lnTo>
                    <a:pt x="152" y="422"/>
                  </a:lnTo>
                  <a:lnTo>
                    <a:pt x="156" y="424"/>
                  </a:lnTo>
                  <a:lnTo>
                    <a:pt x="158" y="428"/>
                  </a:lnTo>
                  <a:lnTo>
                    <a:pt x="158" y="434"/>
                  </a:lnTo>
                  <a:lnTo>
                    <a:pt x="158" y="444"/>
                  </a:lnTo>
                  <a:lnTo>
                    <a:pt x="154" y="454"/>
                  </a:lnTo>
                  <a:lnTo>
                    <a:pt x="150" y="464"/>
                  </a:lnTo>
                  <a:lnTo>
                    <a:pt x="144" y="472"/>
                  </a:lnTo>
                  <a:lnTo>
                    <a:pt x="138" y="478"/>
                  </a:lnTo>
                  <a:lnTo>
                    <a:pt x="132" y="480"/>
                  </a:lnTo>
                  <a:lnTo>
                    <a:pt x="118" y="482"/>
                  </a:lnTo>
                  <a:lnTo>
                    <a:pt x="110" y="486"/>
                  </a:lnTo>
                  <a:lnTo>
                    <a:pt x="106" y="490"/>
                  </a:lnTo>
                  <a:lnTo>
                    <a:pt x="104" y="494"/>
                  </a:lnTo>
                  <a:lnTo>
                    <a:pt x="104" y="498"/>
                  </a:lnTo>
                  <a:lnTo>
                    <a:pt x="104" y="504"/>
                  </a:lnTo>
                  <a:lnTo>
                    <a:pt x="104" y="510"/>
                  </a:lnTo>
                  <a:lnTo>
                    <a:pt x="102" y="512"/>
                  </a:lnTo>
                  <a:lnTo>
                    <a:pt x="96" y="516"/>
                  </a:lnTo>
                  <a:lnTo>
                    <a:pt x="92" y="518"/>
                  </a:lnTo>
                  <a:lnTo>
                    <a:pt x="92" y="520"/>
                  </a:lnTo>
                  <a:lnTo>
                    <a:pt x="94" y="526"/>
                  </a:lnTo>
                  <a:lnTo>
                    <a:pt x="98" y="536"/>
                  </a:lnTo>
                  <a:lnTo>
                    <a:pt x="98" y="540"/>
                  </a:lnTo>
                  <a:lnTo>
                    <a:pt x="98" y="542"/>
                  </a:lnTo>
                  <a:lnTo>
                    <a:pt x="92" y="548"/>
                  </a:lnTo>
                  <a:lnTo>
                    <a:pt x="84" y="552"/>
                  </a:lnTo>
                  <a:lnTo>
                    <a:pt x="74" y="554"/>
                  </a:lnTo>
                  <a:lnTo>
                    <a:pt x="64" y="558"/>
                  </a:lnTo>
                  <a:lnTo>
                    <a:pt x="56" y="562"/>
                  </a:lnTo>
                  <a:lnTo>
                    <a:pt x="50" y="570"/>
                  </a:lnTo>
                  <a:lnTo>
                    <a:pt x="50" y="574"/>
                  </a:lnTo>
                  <a:lnTo>
                    <a:pt x="50" y="578"/>
                  </a:lnTo>
                  <a:lnTo>
                    <a:pt x="50" y="592"/>
                  </a:lnTo>
                  <a:lnTo>
                    <a:pt x="48" y="600"/>
                  </a:lnTo>
                  <a:lnTo>
                    <a:pt x="46" y="606"/>
                  </a:lnTo>
                  <a:lnTo>
                    <a:pt x="42" y="610"/>
                  </a:lnTo>
                  <a:lnTo>
                    <a:pt x="36" y="618"/>
                  </a:lnTo>
                  <a:lnTo>
                    <a:pt x="34" y="624"/>
                  </a:lnTo>
                  <a:lnTo>
                    <a:pt x="34" y="632"/>
                  </a:lnTo>
                  <a:lnTo>
                    <a:pt x="34" y="642"/>
                  </a:lnTo>
                  <a:lnTo>
                    <a:pt x="30" y="646"/>
                  </a:lnTo>
                  <a:lnTo>
                    <a:pt x="28" y="648"/>
                  </a:lnTo>
                  <a:lnTo>
                    <a:pt x="22" y="650"/>
                  </a:lnTo>
                  <a:lnTo>
                    <a:pt x="18" y="652"/>
                  </a:lnTo>
                  <a:lnTo>
                    <a:pt x="16" y="654"/>
                  </a:lnTo>
                  <a:lnTo>
                    <a:pt x="14" y="660"/>
                  </a:lnTo>
                  <a:lnTo>
                    <a:pt x="16" y="670"/>
                  </a:lnTo>
                  <a:lnTo>
                    <a:pt x="18" y="688"/>
                  </a:lnTo>
                  <a:lnTo>
                    <a:pt x="20" y="698"/>
                  </a:lnTo>
                  <a:lnTo>
                    <a:pt x="18" y="706"/>
                  </a:lnTo>
                  <a:lnTo>
                    <a:pt x="18" y="710"/>
                  </a:lnTo>
                  <a:lnTo>
                    <a:pt x="16" y="714"/>
                  </a:lnTo>
                  <a:lnTo>
                    <a:pt x="18" y="716"/>
                  </a:lnTo>
                  <a:lnTo>
                    <a:pt x="28" y="728"/>
                  </a:lnTo>
                  <a:lnTo>
                    <a:pt x="34" y="734"/>
                  </a:lnTo>
                  <a:lnTo>
                    <a:pt x="42" y="736"/>
                  </a:lnTo>
                  <a:lnTo>
                    <a:pt x="46" y="736"/>
                  </a:lnTo>
                  <a:lnTo>
                    <a:pt x="50" y="732"/>
                  </a:lnTo>
                  <a:lnTo>
                    <a:pt x="54" y="726"/>
                  </a:lnTo>
                  <a:lnTo>
                    <a:pt x="56" y="726"/>
                  </a:lnTo>
                  <a:lnTo>
                    <a:pt x="56" y="730"/>
                  </a:lnTo>
                  <a:lnTo>
                    <a:pt x="56" y="744"/>
                  </a:lnTo>
                  <a:lnTo>
                    <a:pt x="54" y="756"/>
                  </a:lnTo>
                  <a:lnTo>
                    <a:pt x="52" y="760"/>
                  </a:lnTo>
                  <a:lnTo>
                    <a:pt x="48" y="766"/>
                  </a:lnTo>
                  <a:lnTo>
                    <a:pt x="44" y="768"/>
                  </a:lnTo>
                  <a:lnTo>
                    <a:pt x="38" y="770"/>
                  </a:lnTo>
                  <a:lnTo>
                    <a:pt x="22" y="786"/>
                  </a:lnTo>
                  <a:lnTo>
                    <a:pt x="12" y="800"/>
                  </a:lnTo>
                  <a:lnTo>
                    <a:pt x="6" y="812"/>
                  </a:lnTo>
                  <a:lnTo>
                    <a:pt x="2" y="824"/>
                  </a:lnTo>
                  <a:lnTo>
                    <a:pt x="0" y="836"/>
                  </a:lnTo>
                  <a:lnTo>
                    <a:pt x="0" y="844"/>
                  </a:lnTo>
                  <a:lnTo>
                    <a:pt x="2" y="860"/>
                  </a:lnTo>
                  <a:lnTo>
                    <a:pt x="4" y="866"/>
                  </a:lnTo>
                  <a:lnTo>
                    <a:pt x="8" y="870"/>
                  </a:lnTo>
                  <a:lnTo>
                    <a:pt x="16" y="876"/>
                  </a:lnTo>
                  <a:lnTo>
                    <a:pt x="18" y="878"/>
                  </a:lnTo>
                  <a:lnTo>
                    <a:pt x="18" y="882"/>
                  </a:lnTo>
                  <a:lnTo>
                    <a:pt x="18" y="884"/>
                  </a:lnTo>
                  <a:lnTo>
                    <a:pt x="12" y="888"/>
                  </a:lnTo>
                  <a:lnTo>
                    <a:pt x="8" y="892"/>
                  </a:lnTo>
                  <a:lnTo>
                    <a:pt x="6" y="896"/>
                  </a:lnTo>
                  <a:lnTo>
                    <a:pt x="6" y="900"/>
                  </a:lnTo>
                  <a:lnTo>
                    <a:pt x="6" y="902"/>
                  </a:lnTo>
                  <a:lnTo>
                    <a:pt x="12" y="908"/>
                  </a:lnTo>
                  <a:lnTo>
                    <a:pt x="22" y="914"/>
                  </a:lnTo>
                  <a:lnTo>
                    <a:pt x="44" y="926"/>
                  </a:lnTo>
                  <a:lnTo>
                    <a:pt x="54" y="934"/>
                  </a:lnTo>
                  <a:lnTo>
                    <a:pt x="56" y="938"/>
                  </a:lnTo>
                  <a:lnTo>
                    <a:pt x="58" y="944"/>
                  </a:lnTo>
                  <a:lnTo>
                    <a:pt x="62" y="960"/>
                  </a:lnTo>
                  <a:lnTo>
                    <a:pt x="68" y="972"/>
                  </a:lnTo>
                  <a:lnTo>
                    <a:pt x="74" y="980"/>
                  </a:lnTo>
                  <a:lnTo>
                    <a:pt x="80" y="988"/>
                  </a:lnTo>
                  <a:lnTo>
                    <a:pt x="92" y="1004"/>
                  </a:lnTo>
                  <a:lnTo>
                    <a:pt x="96" y="1014"/>
                  </a:lnTo>
                  <a:lnTo>
                    <a:pt x="100" y="1026"/>
                  </a:lnTo>
                  <a:lnTo>
                    <a:pt x="104" y="1040"/>
                  </a:lnTo>
                  <a:lnTo>
                    <a:pt x="108" y="1056"/>
                  </a:lnTo>
                  <a:lnTo>
                    <a:pt x="122" y="1086"/>
                  </a:lnTo>
                  <a:lnTo>
                    <a:pt x="136" y="1114"/>
                  </a:lnTo>
                  <a:lnTo>
                    <a:pt x="142" y="1128"/>
                  </a:lnTo>
                  <a:lnTo>
                    <a:pt x="146" y="1142"/>
                  </a:lnTo>
                  <a:lnTo>
                    <a:pt x="148" y="1152"/>
                  </a:lnTo>
                  <a:lnTo>
                    <a:pt x="152" y="1160"/>
                  </a:lnTo>
                  <a:lnTo>
                    <a:pt x="158" y="1172"/>
                  </a:lnTo>
                  <a:lnTo>
                    <a:pt x="162" y="1180"/>
                  </a:lnTo>
                  <a:lnTo>
                    <a:pt x="164" y="1186"/>
                  </a:lnTo>
                  <a:lnTo>
                    <a:pt x="164" y="1194"/>
                  </a:lnTo>
                  <a:lnTo>
                    <a:pt x="166" y="1202"/>
                  </a:lnTo>
                  <a:lnTo>
                    <a:pt x="172" y="1210"/>
                  </a:lnTo>
                  <a:lnTo>
                    <a:pt x="184" y="1228"/>
                  </a:lnTo>
                  <a:lnTo>
                    <a:pt x="192" y="1238"/>
                  </a:lnTo>
                  <a:lnTo>
                    <a:pt x="198" y="1248"/>
                  </a:lnTo>
                  <a:lnTo>
                    <a:pt x="200" y="1260"/>
                  </a:lnTo>
                  <a:lnTo>
                    <a:pt x="200" y="1274"/>
                  </a:lnTo>
                  <a:lnTo>
                    <a:pt x="200" y="1286"/>
                  </a:lnTo>
                  <a:lnTo>
                    <a:pt x="204" y="1298"/>
                  </a:lnTo>
                  <a:lnTo>
                    <a:pt x="208" y="1308"/>
                  </a:lnTo>
                  <a:lnTo>
                    <a:pt x="214" y="1316"/>
                  </a:lnTo>
                  <a:lnTo>
                    <a:pt x="228" y="1330"/>
                  </a:lnTo>
                  <a:lnTo>
                    <a:pt x="234" y="1338"/>
                  </a:lnTo>
                  <a:lnTo>
                    <a:pt x="238" y="1344"/>
                  </a:lnTo>
                  <a:lnTo>
                    <a:pt x="246" y="1356"/>
                  </a:lnTo>
                  <a:lnTo>
                    <a:pt x="256" y="1368"/>
                  </a:lnTo>
                  <a:lnTo>
                    <a:pt x="278" y="1384"/>
                  </a:lnTo>
                  <a:lnTo>
                    <a:pt x="318" y="1406"/>
                  </a:lnTo>
                  <a:lnTo>
                    <a:pt x="358" y="1428"/>
                  </a:lnTo>
                  <a:lnTo>
                    <a:pt x="380" y="1442"/>
                  </a:lnTo>
                  <a:lnTo>
                    <a:pt x="388" y="1448"/>
                  </a:lnTo>
                  <a:lnTo>
                    <a:pt x="392" y="1454"/>
                  </a:lnTo>
                  <a:lnTo>
                    <a:pt x="396" y="1460"/>
                  </a:lnTo>
                  <a:lnTo>
                    <a:pt x="398" y="1468"/>
                  </a:lnTo>
                  <a:lnTo>
                    <a:pt x="400" y="1474"/>
                  </a:lnTo>
                  <a:lnTo>
                    <a:pt x="404" y="1480"/>
                  </a:lnTo>
                  <a:lnTo>
                    <a:pt x="408" y="1486"/>
                  </a:lnTo>
                  <a:lnTo>
                    <a:pt x="414" y="1490"/>
                  </a:lnTo>
                  <a:lnTo>
                    <a:pt x="426" y="1496"/>
                  </a:lnTo>
                  <a:lnTo>
                    <a:pt x="434" y="1500"/>
                  </a:lnTo>
                  <a:lnTo>
                    <a:pt x="440" y="1506"/>
                  </a:lnTo>
                  <a:lnTo>
                    <a:pt x="438" y="1532"/>
                  </a:lnTo>
                  <a:lnTo>
                    <a:pt x="440" y="1542"/>
                  </a:lnTo>
                  <a:lnTo>
                    <a:pt x="442" y="1546"/>
                  </a:lnTo>
                  <a:lnTo>
                    <a:pt x="442" y="1552"/>
                  </a:lnTo>
                  <a:lnTo>
                    <a:pt x="444" y="1564"/>
                  </a:lnTo>
                  <a:lnTo>
                    <a:pt x="446" y="1574"/>
                  </a:lnTo>
                  <a:lnTo>
                    <a:pt x="448" y="1586"/>
                  </a:lnTo>
                  <a:lnTo>
                    <a:pt x="448" y="1594"/>
                  </a:lnTo>
                  <a:lnTo>
                    <a:pt x="448" y="1604"/>
                  </a:lnTo>
                  <a:lnTo>
                    <a:pt x="446" y="1614"/>
                  </a:lnTo>
                  <a:lnTo>
                    <a:pt x="446" y="1624"/>
                  </a:lnTo>
                  <a:lnTo>
                    <a:pt x="450" y="1640"/>
                  </a:lnTo>
                  <a:lnTo>
                    <a:pt x="452" y="1658"/>
                  </a:lnTo>
                  <a:lnTo>
                    <a:pt x="452" y="1670"/>
                  </a:lnTo>
                  <a:lnTo>
                    <a:pt x="448" y="1686"/>
                  </a:lnTo>
                  <a:lnTo>
                    <a:pt x="444" y="1716"/>
                  </a:lnTo>
                  <a:lnTo>
                    <a:pt x="442" y="1732"/>
                  </a:lnTo>
                  <a:lnTo>
                    <a:pt x="440" y="1742"/>
                  </a:lnTo>
                  <a:lnTo>
                    <a:pt x="440" y="1744"/>
                  </a:lnTo>
                  <a:lnTo>
                    <a:pt x="438" y="1744"/>
                  </a:lnTo>
                  <a:lnTo>
                    <a:pt x="436" y="1744"/>
                  </a:lnTo>
                  <a:lnTo>
                    <a:pt x="434" y="1746"/>
                  </a:lnTo>
                  <a:lnTo>
                    <a:pt x="430" y="1752"/>
                  </a:lnTo>
                  <a:lnTo>
                    <a:pt x="430" y="1760"/>
                  </a:lnTo>
                  <a:lnTo>
                    <a:pt x="430" y="1762"/>
                  </a:lnTo>
                  <a:lnTo>
                    <a:pt x="434" y="1764"/>
                  </a:lnTo>
                  <a:lnTo>
                    <a:pt x="436" y="1768"/>
                  </a:lnTo>
                  <a:lnTo>
                    <a:pt x="436" y="1772"/>
                  </a:lnTo>
                  <a:lnTo>
                    <a:pt x="434" y="1788"/>
                  </a:lnTo>
                  <a:lnTo>
                    <a:pt x="430" y="1808"/>
                  </a:lnTo>
                  <a:lnTo>
                    <a:pt x="432" y="1820"/>
                  </a:lnTo>
                  <a:lnTo>
                    <a:pt x="434" y="1834"/>
                  </a:lnTo>
                  <a:lnTo>
                    <a:pt x="436" y="1846"/>
                  </a:lnTo>
                  <a:lnTo>
                    <a:pt x="436" y="1856"/>
                  </a:lnTo>
                  <a:lnTo>
                    <a:pt x="434" y="1864"/>
                  </a:lnTo>
                  <a:lnTo>
                    <a:pt x="432" y="1870"/>
                  </a:lnTo>
                  <a:lnTo>
                    <a:pt x="428" y="1882"/>
                  </a:lnTo>
                  <a:lnTo>
                    <a:pt x="428" y="1888"/>
                  </a:lnTo>
                  <a:lnTo>
                    <a:pt x="430" y="1894"/>
                  </a:lnTo>
                  <a:lnTo>
                    <a:pt x="432" y="1900"/>
                  </a:lnTo>
                  <a:lnTo>
                    <a:pt x="430" y="1908"/>
                  </a:lnTo>
                  <a:lnTo>
                    <a:pt x="424" y="1928"/>
                  </a:lnTo>
                  <a:lnTo>
                    <a:pt x="418" y="1946"/>
                  </a:lnTo>
                  <a:lnTo>
                    <a:pt x="416" y="1956"/>
                  </a:lnTo>
                  <a:lnTo>
                    <a:pt x="416" y="1964"/>
                  </a:lnTo>
                  <a:lnTo>
                    <a:pt x="416" y="1974"/>
                  </a:lnTo>
                  <a:lnTo>
                    <a:pt x="414" y="1978"/>
                  </a:lnTo>
                  <a:lnTo>
                    <a:pt x="410" y="1986"/>
                  </a:lnTo>
                  <a:lnTo>
                    <a:pt x="408" y="2004"/>
                  </a:lnTo>
                  <a:lnTo>
                    <a:pt x="408" y="2016"/>
                  </a:lnTo>
                  <a:lnTo>
                    <a:pt x="404" y="2024"/>
                  </a:lnTo>
                  <a:lnTo>
                    <a:pt x="400" y="2030"/>
                  </a:lnTo>
                  <a:lnTo>
                    <a:pt x="398" y="2036"/>
                  </a:lnTo>
                  <a:lnTo>
                    <a:pt x="394" y="2040"/>
                  </a:lnTo>
                  <a:lnTo>
                    <a:pt x="392" y="2044"/>
                  </a:lnTo>
                  <a:lnTo>
                    <a:pt x="392" y="2048"/>
                  </a:lnTo>
                  <a:lnTo>
                    <a:pt x="394" y="2056"/>
                  </a:lnTo>
                  <a:lnTo>
                    <a:pt x="400" y="2072"/>
                  </a:lnTo>
                  <a:lnTo>
                    <a:pt x="402" y="2086"/>
                  </a:lnTo>
                  <a:lnTo>
                    <a:pt x="402" y="2098"/>
                  </a:lnTo>
                  <a:lnTo>
                    <a:pt x="400" y="2104"/>
                  </a:lnTo>
                  <a:lnTo>
                    <a:pt x="398" y="2108"/>
                  </a:lnTo>
                  <a:lnTo>
                    <a:pt x="390" y="2116"/>
                  </a:lnTo>
                  <a:lnTo>
                    <a:pt x="386" y="2124"/>
                  </a:lnTo>
                  <a:lnTo>
                    <a:pt x="384" y="2130"/>
                  </a:lnTo>
                  <a:lnTo>
                    <a:pt x="384" y="2138"/>
                  </a:lnTo>
                  <a:lnTo>
                    <a:pt x="388" y="2162"/>
                  </a:lnTo>
                  <a:lnTo>
                    <a:pt x="392" y="2186"/>
                  </a:lnTo>
                  <a:lnTo>
                    <a:pt x="392" y="2200"/>
                  </a:lnTo>
                  <a:lnTo>
                    <a:pt x="392" y="2212"/>
                  </a:lnTo>
                  <a:lnTo>
                    <a:pt x="396" y="2224"/>
                  </a:lnTo>
                  <a:lnTo>
                    <a:pt x="398" y="2230"/>
                  </a:lnTo>
                  <a:lnTo>
                    <a:pt x="398" y="2236"/>
                  </a:lnTo>
                  <a:lnTo>
                    <a:pt x="392" y="2248"/>
                  </a:lnTo>
                  <a:lnTo>
                    <a:pt x="386" y="2262"/>
                  </a:lnTo>
                  <a:lnTo>
                    <a:pt x="386" y="2270"/>
                  </a:lnTo>
                  <a:lnTo>
                    <a:pt x="386" y="2280"/>
                  </a:lnTo>
                  <a:lnTo>
                    <a:pt x="388" y="2288"/>
                  </a:lnTo>
                  <a:lnTo>
                    <a:pt x="388" y="2292"/>
                  </a:lnTo>
                  <a:lnTo>
                    <a:pt x="386" y="2294"/>
                  </a:lnTo>
                  <a:lnTo>
                    <a:pt x="384" y="2298"/>
                  </a:lnTo>
                  <a:lnTo>
                    <a:pt x="380" y="2300"/>
                  </a:lnTo>
                  <a:lnTo>
                    <a:pt x="378" y="2306"/>
                  </a:lnTo>
                  <a:lnTo>
                    <a:pt x="376" y="2314"/>
                  </a:lnTo>
                  <a:lnTo>
                    <a:pt x="374" y="2328"/>
                  </a:lnTo>
                  <a:lnTo>
                    <a:pt x="372" y="2342"/>
                  </a:lnTo>
                  <a:lnTo>
                    <a:pt x="370" y="2354"/>
                  </a:lnTo>
                  <a:lnTo>
                    <a:pt x="362" y="2376"/>
                  </a:lnTo>
                  <a:lnTo>
                    <a:pt x="354" y="2390"/>
                  </a:lnTo>
                  <a:lnTo>
                    <a:pt x="350" y="2402"/>
                  </a:lnTo>
                  <a:lnTo>
                    <a:pt x="348" y="2412"/>
                  </a:lnTo>
                  <a:lnTo>
                    <a:pt x="344" y="2414"/>
                  </a:lnTo>
                  <a:lnTo>
                    <a:pt x="342" y="2420"/>
                  </a:lnTo>
                  <a:lnTo>
                    <a:pt x="338" y="2434"/>
                  </a:lnTo>
                  <a:lnTo>
                    <a:pt x="336" y="2446"/>
                  </a:lnTo>
                  <a:lnTo>
                    <a:pt x="334" y="2452"/>
                  </a:lnTo>
                  <a:lnTo>
                    <a:pt x="334" y="2454"/>
                  </a:lnTo>
                  <a:lnTo>
                    <a:pt x="332" y="2454"/>
                  </a:lnTo>
                  <a:lnTo>
                    <a:pt x="330" y="2452"/>
                  </a:lnTo>
                  <a:lnTo>
                    <a:pt x="328" y="2462"/>
                  </a:lnTo>
                  <a:lnTo>
                    <a:pt x="326" y="2474"/>
                  </a:lnTo>
                  <a:lnTo>
                    <a:pt x="324" y="2480"/>
                  </a:lnTo>
                  <a:lnTo>
                    <a:pt x="320" y="2482"/>
                  </a:lnTo>
                  <a:lnTo>
                    <a:pt x="318" y="2482"/>
                  </a:lnTo>
                  <a:lnTo>
                    <a:pt x="310" y="2480"/>
                  </a:lnTo>
                  <a:lnTo>
                    <a:pt x="308" y="2482"/>
                  </a:lnTo>
                  <a:lnTo>
                    <a:pt x="306" y="2486"/>
                  </a:lnTo>
                  <a:lnTo>
                    <a:pt x="306" y="2498"/>
                  </a:lnTo>
                  <a:lnTo>
                    <a:pt x="306" y="2506"/>
                  </a:lnTo>
                  <a:lnTo>
                    <a:pt x="310" y="2514"/>
                  </a:lnTo>
                  <a:lnTo>
                    <a:pt x="314" y="2522"/>
                  </a:lnTo>
                  <a:lnTo>
                    <a:pt x="314" y="2530"/>
                  </a:lnTo>
                  <a:lnTo>
                    <a:pt x="314" y="2540"/>
                  </a:lnTo>
                  <a:lnTo>
                    <a:pt x="312" y="2552"/>
                  </a:lnTo>
                  <a:lnTo>
                    <a:pt x="314" y="2560"/>
                  </a:lnTo>
                  <a:lnTo>
                    <a:pt x="318" y="2572"/>
                  </a:lnTo>
                  <a:lnTo>
                    <a:pt x="320" y="2576"/>
                  </a:lnTo>
                  <a:lnTo>
                    <a:pt x="322" y="2584"/>
                  </a:lnTo>
                  <a:lnTo>
                    <a:pt x="324" y="2594"/>
                  </a:lnTo>
                  <a:lnTo>
                    <a:pt x="322" y="2606"/>
                  </a:lnTo>
                  <a:lnTo>
                    <a:pt x="320" y="2618"/>
                  </a:lnTo>
                  <a:lnTo>
                    <a:pt x="316" y="2624"/>
                  </a:lnTo>
                  <a:lnTo>
                    <a:pt x="314" y="2626"/>
                  </a:lnTo>
                  <a:lnTo>
                    <a:pt x="310" y="2626"/>
                  </a:lnTo>
                  <a:lnTo>
                    <a:pt x="308" y="2626"/>
                  </a:lnTo>
                  <a:lnTo>
                    <a:pt x="306" y="2628"/>
                  </a:lnTo>
                  <a:lnTo>
                    <a:pt x="304" y="2632"/>
                  </a:lnTo>
                  <a:lnTo>
                    <a:pt x="304" y="2642"/>
                  </a:lnTo>
                  <a:lnTo>
                    <a:pt x="302" y="2658"/>
                  </a:lnTo>
                  <a:lnTo>
                    <a:pt x="298" y="2670"/>
                  </a:lnTo>
                  <a:lnTo>
                    <a:pt x="294" y="2686"/>
                  </a:lnTo>
                  <a:lnTo>
                    <a:pt x="292" y="2692"/>
                  </a:lnTo>
                  <a:lnTo>
                    <a:pt x="292" y="2696"/>
                  </a:lnTo>
                  <a:lnTo>
                    <a:pt x="294" y="2704"/>
                  </a:lnTo>
                  <a:lnTo>
                    <a:pt x="298" y="2712"/>
                  </a:lnTo>
                  <a:lnTo>
                    <a:pt x="302" y="2722"/>
                  </a:lnTo>
                  <a:lnTo>
                    <a:pt x="308" y="2728"/>
                  </a:lnTo>
                  <a:lnTo>
                    <a:pt x="312" y="2732"/>
                  </a:lnTo>
                  <a:lnTo>
                    <a:pt x="316" y="2734"/>
                  </a:lnTo>
                  <a:lnTo>
                    <a:pt x="320" y="2734"/>
                  </a:lnTo>
                  <a:lnTo>
                    <a:pt x="324" y="2732"/>
                  </a:lnTo>
                  <a:lnTo>
                    <a:pt x="328" y="2728"/>
                  </a:lnTo>
                  <a:lnTo>
                    <a:pt x="330" y="2724"/>
                  </a:lnTo>
                  <a:lnTo>
                    <a:pt x="334" y="2716"/>
                  </a:lnTo>
                  <a:lnTo>
                    <a:pt x="336" y="2716"/>
                  </a:lnTo>
                  <a:lnTo>
                    <a:pt x="338" y="2718"/>
                  </a:lnTo>
                  <a:lnTo>
                    <a:pt x="342" y="2722"/>
                  </a:lnTo>
                  <a:lnTo>
                    <a:pt x="346" y="2726"/>
                  </a:lnTo>
                  <a:lnTo>
                    <a:pt x="348" y="2728"/>
                  </a:lnTo>
                  <a:lnTo>
                    <a:pt x="350" y="2730"/>
                  </a:lnTo>
                  <a:lnTo>
                    <a:pt x="350" y="2732"/>
                  </a:lnTo>
                  <a:lnTo>
                    <a:pt x="344" y="2738"/>
                  </a:lnTo>
                  <a:lnTo>
                    <a:pt x="340" y="2744"/>
                  </a:lnTo>
                  <a:lnTo>
                    <a:pt x="340" y="2746"/>
                  </a:lnTo>
                  <a:lnTo>
                    <a:pt x="344" y="2746"/>
                  </a:lnTo>
                  <a:lnTo>
                    <a:pt x="350" y="2748"/>
                  </a:lnTo>
                  <a:lnTo>
                    <a:pt x="354" y="2752"/>
                  </a:lnTo>
                  <a:lnTo>
                    <a:pt x="356" y="2754"/>
                  </a:lnTo>
                  <a:lnTo>
                    <a:pt x="356" y="2760"/>
                  </a:lnTo>
                  <a:lnTo>
                    <a:pt x="356" y="2766"/>
                  </a:lnTo>
                  <a:lnTo>
                    <a:pt x="354" y="2766"/>
                  </a:lnTo>
                  <a:lnTo>
                    <a:pt x="352" y="2764"/>
                  </a:lnTo>
                  <a:lnTo>
                    <a:pt x="348" y="2758"/>
                  </a:lnTo>
                  <a:lnTo>
                    <a:pt x="344" y="2758"/>
                  </a:lnTo>
                  <a:lnTo>
                    <a:pt x="342" y="2760"/>
                  </a:lnTo>
                  <a:lnTo>
                    <a:pt x="342" y="2766"/>
                  </a:lnTo>
                  <a:lnTo>
                    <a:pt x="342" y="2774"/>
                  </a:lnTo>
                  <a:lnTo>
                    <a:pt x="342" y="2778"/>
                  </a:lnTo>
                  <a:lnTo>
                    <a:pt x="340" y="2782"/>
                  </a:lnTo>
                  <a:lnTo>
                    <a:pt x="342" y="2792"/>
                  </a:lnTo>
                  <a:lnTo>
                    <a:pt x="342" y="2798"/>
                  </a:lnTo>
                  <a:lnTo>
                    <a:pt x="342" y="2804"/>
                  </a:lnTo>
                  <a:lnTo>
                    <a:pt x="336" y="2812"/>
                  </a:lnTo>
                  <a:lnTo>
                    <a:pt x="330" y="2820"/>
                  </a:lnTo>
                  <a:lnTo>
                    <a:pt x="330" y="2824"/>
                  </a:lnTo>
                  <a:lnTo>
                    <a:pt x="330" y="2830"/>
                  </a:lnTo>
                  <a:lnTo>
                    <a:pt x="334" y="2840"/>
                  </a:lnTo>
                  <a:lnTo>
                    <a:pt x="332" y="2852"/>
                  </a:lnTo>
                  <a:lnTo>
                    <a:pt x="330" y="2860"/>
                  </a:lnTo>
                  <a:lnTo>
                    <a:pt x="326" y="2864"/>
                  </a:lnTo>
                  <a:lnTo>
                    <a:pt x="324" y="2866"/>
                  </a:lnTo>
                  <a:lnTo>
                    <a:pt x="324" y="2870"/>
                  </a:lnTo>
                  <a:lnTo>
                    <a:pt x="330" y="2872"/>
                  </a:lnTo>
                  <a:lnTo>
                    <a:pt x="336" y="2874"/>
                  </a:lnTo>
                  <a:lnTo>
                    <a:pt x="344" y="2878"/>
                  </a:lnTo>
                  <a:lnTo>
                    <a:pt x="346" y="2882"/>
                  </a:lnTo>
                  <a:lnTo>
                    <a:pt x="348" y="2890"/>
                  </a:lnTo>
                  <a:lnTo>
                    <a:pt x="346" y="2896"/>
                  </a:lnTo>
                  <a:lnTo>
                    <a:pt x="342" y="2904"/>
                  </a:lnTo>
                  <a:lnTo>
                    <a:pt x="338" y="2908"/>
                  </a:lnTo>
                  <a:lnTo>
                    <a:pt x="332" y="2912"/>
                  </a:lnTo>
                  <a:lnTo>
                    <a:pt x="326" y="2916"/>
                  </a:lnTo>
                  <a:lnTo>
                    <a:pt x="320" y="2918"/>
                  </a:lnTo>
                  <a:lnTo>
                    <a:pt x="318" y="2922"/>
                  </a:lnTo>
                  <a:lnTo>
                    <a:pt x="320" y="2926"/>
                  </a:lnTo>
                  <a:lnTo>
                    <a:pt x="322" y="2930"/>
                  </a:lnTo>
                  <a:lnTo>
                    <a:pt x="322" y="2932"/>
                  </a:lnTo>
                  <a:lnTo>
                    <a:pt x="320" y="2936"/>
                  </a:lnTo>
                  <a:lnTo>
                    <a:pt x="316" y="2940"/>
                  </a:lnTo>
                  <a:lnTo>
                    <a:pt x="312" y="2946"/>
                  </a:lnTo>
                  <a:lnTo>
                    <a:pt x="312" y="2954"/>
                  </a:lnTo>
                  <a:lnTo>
                    <a:pt x="312" y="2956"/>
                  </a:lnTo>
                  <a:lnTo>
                    <a:pt x="312" y="2962"/>
                  </a:lnTo>
                  <a:lnTo>
                    <a:pt x="310" y="2974"/>
                  </a:lnTo>
                  <a:lnTo>
                    <a:pt x="308" y="2986"/>
                  </a:lnTo>
                  <a:lnTo>
                    <a:pt x="308" y="2994"/>
                  </a:lnTo>
                  <a:lnTo>
                    <a:pt x="306" y="3000"/>
                  </a:lnTo>
                  <a:lnTo>
                    <a:pt x="300" y="3006"/>
                  </a:lnTo>
                  <a:lnTo>
                    <a:pt x="298" y="3006"/>
                  </a:lnTo>
                  <a:lnTo>
                    <a:pt x="296" y="3006"/>
                  </a:lnTo>
                  <a:lnTo>
                    <a:pt x="298" y="2998"/>
                  </a:lnTo>
                  <a:lnTo>
                    <a:pt x="300" y="2988"/>
                  </a:lnTo>
                  <a:lnTo>
                    <a:pt x="300" y="2984"/>
                  </a:lnTo>
                  <a:lnTo>
                    <a:pt x="296" y="2980"/>
                  </a:lnTo>
                  <a:lnTo>
                    <a:pt x="292" y="2978"/>
                  </a:lnTo>
                  <a:lnTo>
                    <a:pt x="290" y="2974"/>
                  </a:lnTo>
                  <a:lnTo>
                    <a:pt x="290" y="2968"/>
                  </a:lnTo>
                  <a:lnTo>
                    <a:pt x="290" y="2964"/>
                  </a:lnTo>
                  <a:lnTo>
                    <a:pt x="288" y="2962"/>
                  </a:lnTo>
                  <a:lnTo>
                    <a:pt x="282" y="2962"/>
                  </a:lnTo>
                  <a:lnTo>
                    <a:pt x="276" y="2962"/>
                  </a:lnTo>
                  <a:lnTo>
                    <a:pt x="274" y="2964"/>
                  </a:lnTo>
                  <a:lnTo>
                    <a:pt x="274" y="2966"/>
                  </a:lnTo>
                  <a:lnTo>
                    <a:pt x="270" y="2964"/>
                  </a:lnTo>
                  <a:lnTo>
                    <a:pt x="268" y="2964"/>
                  </a:lnTo>
                  <a:lnTo>
                    <a:pt x="266" y="2964"/>
                  </a:lnTo>
                  <a:lnTo>
                    <a:pt x="266" y="2968"/>
                  </a:lnTo>
                  <a:lnTo>
                    <a:pt x="266" y="2972"/>
                  </a:lnTo>
                  <a:lnTo>
                    <a:pt x="264" y="2976"/>
                  </a:lnTo>
                  <a:lnTo>
                    <a:pt x="260" y="2980"/>
                  </a:lnTo>
                  <a:lnTo>
                    <a:pt x="254" y="2986"/>
                  </a:lnTo>
                  <a:lnTo>
                    <a:pt x="238" y="2994"/>
                  </a:lnTo>
                  <a:lnTo>
                    <a:pt x="228" y="3004"/>
                  </a:lnTo>
                  <a:lnTo>
                    <a:pt x="226" y="3008"/>
                  </a:lnTo>
                  <a:lnTo>
                    <a:pt x="224" y="3012"/>
                  </a:lnTo>
                  <a:lnTo>
                    <a:pt x="224" y="3016"/>
                  </a:lnTo>
                  <a:lnTo>
                    <a:pt x="226" y="3020"/>
                  </a:lnTo>
                  <a:lnTo>
                    <a:pt x="232" y="3026"/>
                  </a:lnTo>
                  <a:lnTo>
                    <a:pt x="236" y="3026"/>
                  </a:lnTo>
                  <a:lnTo>
                    <a:pt x="236" y="3024"/>
                  </a:lnTo>
                  <a:lnTo>
                    <a:pt x="238" y="3016"/>
                  </a:lnTo>
                  <a:lnTo>
                    <a:pt x="238" y="3010"/>
                  </a:lnTo>
                  <a:lnTo>
                    <a:pt x="242" y="3006"/>
                  </a:lnTo>
                  <a:lnTo>
                    <a:pt x="244" y="3006"/>
                  </a:lnTo>
                  <a:lnTo>
                    <a:pt x="248" y="3006"/>
                  </a:lnTo>
                  <a:lnTo>
                    <a:pt x="252" y="3012"/>
                  </a:lnTo>
                  <a:lnTo>
                    <a:pt x="256" y="3018"/>
                  </a:lnTo>
                  <a:lnTo>
                    <a:pt x="264" y="3022"/>
                  </a:lnTo>
                  <a:lnTo>
                    <a:pt x="272" y="3024"/>
                  </a:lnTo>
                  <a:lnTo>
                    <a:pt x="274" y="3022"/>
                  </a:lnTo>
                  <a:lnTo>
                    <a:pt x="274" y="3020"/>
                  </a:lnTo>
                  <a:lnTo>
                    <a:pt x="276" y="3016"/>
                  </a:lnTo>
                  <a:lnTo>
                    <a:pt x="278" y="3016"/>
                  </a:lnTo>
                  <a:lnTo>
                    <a:pt x="282" y="3018"/>
                  </a:lnTo>
                  <a:lnTo>
                    <a:pt x="286" y="3024"/>
                  </a:lnTo>
                  <a:lnTo>
                    <a:pt x="290" y="3026"/>
                  </a:lnTo>
                  <a:lnTo>
                    <a:pt x="292" y="3028"/>
                  </a:lnTo>
                  <a:lnTo>
                    <a:pt x="296" y="3030"/>
                  </a:lnTo>
                  <a:lnTo>
                    <a:pt x="296" y="3036"/>
                  </a:lnTo>
                  <a:lnTo>
                    <a:pt x="294" y="3040"/>
                  </a:lnTo>
                  <a:lnTo>
                    <a:pt x="292" y="3040"/>
                  </a:lnTo>
                  <a:lnTo>
                    <a:pt x="286" y="3042"/>
                  </a:lnTo>
                  <a:lnTo>
                    <a:pt x="280" y="3042"/>
                  </a:lnTo>
                  <a:lnTo>
                    <a:pt x="278" y="3044"/>
                  </a:lnTo>
                  <a:lnTo>
                    <a:pt x="276" y="3048"/>
                  </a:lnTo>
                  <a:lnTo>
                    <a:pt x="274" y="3054"/>
                  </a:lnTo>
                  <a:lnTo>
                    <a:pt x="274" y="3056"/>
                  </a:lnTo>
                  <a:lnTo>
                    <a:pt x="280" y="3062"/>
                  </a:lnTo>
                  <a:lnTo>
                    <a:pt x="284" y="3064"/>
                  </a:lnTo>
                  <a:lnTo>
                    <a:pt x="282" y="3064"/>
                  </a:lnTo>
                  <a:lnTo>
                    <a:pt x="272" y="3062"/>
                  </a:lnTo>
                  <a:lnTo>
                    <a:pt x="270" y="3062"/>
                  </a:lnTo>
                  <a:lnTo>
                    <a:pt x="268" y="3066"/>
                  </a:lnTo>
                  <a:lnTo>
                    <a:pt x="266" y="3072"/>
                  </a:lnTo>
                  <a:lnTo>
                    <a:pt x="268" y="3074"/>
                  </a:lnTo>
                  <a:lnTo>
                    <a:pt x="272" y="3074"/>
                  </a:lnTo>
                  <a:lnTo>
                    <a:pt x="282" y="3074"/>
                  </a:lnTo>
                  <a:lnTo>
                    <a:pt x="290" y="3074"/>
                  </a:lnTo>
                  <a:lnTo>
                    <a:pt x="296" y="3076"/>
                  </a:lnTo>
                  <a:lnTo>
                    <a:pt x="300" y="3078"/>
                  </a:lnTo>
                  <a:lnTo>
                    <a:pt x="302" y="3078"/>
                  </a:lnTo>
                  <a:lnTo>
                    <a:pt x="302" y="3074"/>
                  </a:lnTo>
                  <a:lnTo>
                    <a:pt x="304" y="3072"/>
                  </a:lnTo>
                  <a:lnTo>
                    <a:pt x="306" y="3072"/>
                  </a:lnTo>
                  <a:lnTo>
                    <a:pt x="310" y="3076"/>
                  </a:lnTo>
                  <a:lnTo>
                    <a:pt x="312" y="3080"/>
                  </a:lnTo>
                  <a:lnTo>
                    <a:pt x="312" y="3082"/>
                  </a:lnTo>
                  <a:lnTo>
                    <a:pt x="310" y="3084"/>
                  </a:lnTo>
                  <a:lnTo>
                    <a:pt x="308" y="3086"/>
                  </a:lnTo>
                  <a:lnTo>
                    <a:pt x="310" y="3088"/>
                  </a:lnTo>
                  <a:lnTo>
                    <a:pt x="314" y="3096"/>
                  </a:lnTo>
                  <a:lnTo>
                    <a:pt x="318" y="3100"/>
                  </a:lnTo>
                  <a:lnTo>
                    <a:pt x="318" y="3102"/>
                  </a:lnTo>
                  <a:lnTo>
                    <a:pt x="314" y="3100"/>
                  </a:lnTo>
                  <a:lnTo>
                    <a:pt x="300" y="3090"/>
                  </a:lnTo>
                  <a:lnTo>
                    <a:pt x="294" y="3088"/>
                  </a:lnTo>
                  <a:lnTo>
                    <a:pt x="286" y="3088"/>
                  </a:lnTo>
                  <a:lnTo>
                    <a:pt x="272" y="3086"/>
                  </a:lnTo>
                  <a:lnTo>
                    <a:pt x="268" y="3088"/>
                  </a:lnTo>
                  <a:lnTo>
                    <a:pt x="266" y="3088"/>
                  </a:lnTo>
                  <a:lnTo>
                    <a:pt x="268" y="3090"/>
                  </a:lnTo>
                  <a:lnTo>
                    <a:pt x="270" y="3092"/>
                  </a:lnTo>
                  <a:lnTo>
                    <a:pt x="272" y="3092"/>
                  </a:lnTo>
                  <a:lnTo>
                    <a:pt x="274" y="3092"/>
                  </a:lnTo>
                  <a:lnTo>
                    <a:pt x="276" y="3096"/>
                  </a:lnTo>
                  <a:lnTo>
                    <a:pt x="278" y="3100"/>
                  </a:lnTo>
                  <a:lnTo>
                    <a:pt x="282" y="3104"/>
                  </a:lnTo>
                  <a:lnTo>
                    <a:pt x="292" y="3110"/>
                  </a:lnTo>
                  <a:lnTo>
                    <a:pt x="294" y="3112"/>
                  </a:lnTo>
                  <a:lnTo>
                    <a:pt x="294" y="3114"/>
                  </a:lnTo>
                  <a:lnTo>
                    <a:pt x="294" y="3116"/>
                  </a:lnTo>
                  <a:lnTo>
                    <a:pt x="294" y="3120"/>
                  </a:lnTo>
                  <a:lnTo>
                    <a:pt x="292" y="3120"/>
                  </a:lnTo>
                  <a:lnTo>
                    <a:pt x="288" y="3118"/>
                  </a:lnTo>
                  <a:lnTo>
                    <a:pt x="284" y="3116"/>
                  </a:lnTo>
                  <a:lnTo>
                    <a:pt x="280" y="3116"/>
                  </a:lnTo>
                  <a:lnTo>
                    <a:pt x="280" y="3120"/>
                  </a:lnTo>
                  <a:lnTo>
                    <a:pt x="276" y="3132"/>
                  </a:lnTo>
                  <a:lnTo>
                    <a:pt x="276" y="3138"/>
                  </a:lnTo>
                  <a:lnTo>
                    <a:pt x="276" y="3148"/>
                  </a:lnTo>
                  <a:lnTo>
                    <a:pt x="278" y="3168"/>
                  </a:lnTo>
                  <a:lnTo>
                    <a:pt x="280" y="3174"/>
                  </a:lnTo>
                  <a:lnTo>
                    <a:pt x="282" y="3178"/>
                  </a:lnTo>
                  <a:lnTo>
                    <a:pt x="284" y="3178"/>
                  </a:lnTo>
                  <a:lnTo>
                    <a:pt x="284" y="3176"/>
                  </a:lnTo>
                  <a:lnTo>
                    <a:pt x="286" y="3168"/>
                  </a:lnTo>
                  <a:lnTo>
                    <a:pt x="288" y="3160"/>
                  </a:lnTo>
                  <a:lnTo>
                    <a:pt x="290" y="3156"/>
                  </a:lnTo>
                  <a:lnTo>
                    <a:pt x="292" y="3154"/>
                  </a:lnTo>
                  <a:lnTo>
                    <a:pt x="292" y="3158"/>
                  </a:lnTo>
                  <a:lnTo>
                    <a:pt x="292" y="3164"/>
                  </a:lnTo>
                  <a:lnTo>
                    <a:pt x="292" y="3170"/>
                  </a:lnTo>
                  <a:lnTo>
                    <a:pt x="294" y="3176"/>
                  </a:lnTo>
                  <a:lnTo>
                    <a:pt x="298" y="3182"/>
                  </a:lnTo>
                  <a:lnTo>
                    <a:pt x="300" y="3184"/>
                  </a:lnTo>
                  <a:lnTo>
                    <a:pt x="296" y="3182"/>
                  </a:lnTo>
                  <a:lnTo>
                    <a:pt x="290" y="3180"/>
                  </a:lnTo>
                  <a:lnTo>
                    <a:pt x="284" y="3182"/>
                  </a:lnTo>
                  <a:lnTo>
                    <a:pt x="280" y="3184"/>
                  </a:lnTo>
                  <a:lnTo>
                    <a:pt x="280" y="3186"/>
                  </a:lnTo>
                  <a:lnTo>
                    <a:pt x="282" y="3188"/>
                  </a:lnTo>
                  <a:lnTo>
                    <a:pt x="282" y="3190"/>
                  </a:lnTo>
                  <a:lnTo>
                    <a:pt x="280" y="3192"/>
                  </a:lnTo>
                  <a:lnTo>
                    <a:pt x="280" y="3194"/>
                  </a:lnTo>
                  <a:lnTo>
                    <a:pt x="284" y="3198"/>
                  </a:lnTo>
                  <a:lnTo>
                    <a:pt x="296" y="3206"/>
                  </a:lnTo>
                  <a:lnTo>
                    <a:pt x="294" y="3206"/>
                  </a:lnTo>
                  <a:lnTo>
                    <a:pt x="288" y="3206"/>
                  </a:lnTo>
                  <a:lnTo>
                    <a:pt x="280" y="3204"/>
                  </a:lnTo>
                  <a:lnTo>
                    <a:pt x="278" y="3204"/>
                  </a:lnTo>
                  <a:lnTo>
                    <a:pt x="280" y="3206"/>
                  </a:lnTo>
                  <a:lnTo>
                    <a:pt x="288" y="3216"/>
                  </a:lnTo>
                  <a:lnTo>
                    <a:pt x="290" y="3220"/>
                  </a:lnTo>
                  <a:lnTo>
                    <a:pt x="280" y="3214"/>
                  </a:lnTo>
                  <a:lnTo>
                    <a:pt x="274" y="3212"/>
                  </a:lnTo>
                  <a:lnTo>
                    <a:pt x="268" y="3212"/>
                  </a:lnTo>
                  <a:lnTo>
                    <a:pt x="264" y="3214"/>
                  </a:lnTo>
                  <a:lnTo>
                    <a:pt x="264" y="3216"/>
                  </a:lnTo>
                  <a:lnTo>
                    <a:pt x="268" y="3218"/>
                  </a:lnTo>
                  <a:lnTo>
                    <a:pt x="272" y="3220"/>
                  </a:lnTo>
                  <a:lnTo>
                    <a:pt x="274" y="3224"/>
                  </a:lnTo>
                  <a:lnTo>
                    <a:pt x="274" y="3226"/>
                  </a:lnTo>
                  <a:lnTo>
                    <a:pt x="278" y="3228"/>
                  </a:lnTo>
                  <a:lnTo>
                    <a:pt x="282" y="3230"/>
                  </a:lnTo>
                  <a:lnTo>
                    <a:pt x="284" y="3230"/>
                  </a:lnTo>
                  <a:lnTo>
                    <a:pt x="288" y="3230"/>
                  </a:lnTo>
                  <a:lnTo>
                    <a:pt x="292" y="3234"/>
                  </a:lnTo>
                  <a:lnTo>
                    <a:pt x="296" y="3236"/>
                  </a:lnTo>
                  <a:lnTo>
                    <a:pt x="296" y="3238"/>
                  </a:lnTo>
                  <a:lnTo>
                    <a:pt x="288" y="3236"/>
                  </a:lnTo>
                  <a:lnTo>
                    <a:pt x="284" y="3236"/>
                  </a:lnTo>
                  <a:lnTo>
                    <a:pt x="284" y="3238"/>
                  </a:lnTo>
                  <a:lnTo>
                    <a:pt x="288" y="3248"/>
                  </a:lnTo>
                  <a:lnTo>
                    <a:pt x="290" y="3252"/>
                  </a:lnTo>
                  <a:lnTo>
                    <a:pt x="294" y="3252"/>
                  </a:lnTo>
                  <a:lnTo>
                    <a:pt x="298" y="3250"/>
                  </a:lnTo>
                  <a:lnTo>
                    <a:pt x="302" y="3240"/>
                  </a:lnTo>
                  <a:lnTo>
                    <a:pt x="306" y="3234"/>
                  </a:lnTo>
                  <a:lnTo>
                    <a:pt x="308" y="3232"/>
                  </a:lnTo>
                  <a:lnTo>
                    <a:pt x="308" y="3234"/>
                  </a:lnTo>
                  <a:lnTo>
                    <a:pt x="306" y="3242"/>
                  </a:lnTo>
                  <a:lnTo>
                    <a:pt x="300" y="3256"/>
                  </a:lnTo>
                  <a:lnTo>
                    <a:pt x="296" y="3258"/>
                  </a:lnTo>
                  <a:lnTo>
                    <a:pt x="292" y="3258"/>
                  </a:lnTo>
                  <a:lnTo>
                    <a:pt x="288" y="3258"/>
                  </a:lnTo>
                  <a:lnTo>
                    <a:pt x="286" y="3258"/>
                  </a:lnTo>
                  <a:lnTo>
                    <a:pt x="284" y="3260"/>
                  </a:lnTo>
                  <a:lnTo>
                    <a:pt x="284" y="3264"/>
                  </a:lnTo>
                  <a:lnTo>
                    <a:pt x="286" y="3266"/>
                  </a:lnTo>
                  <a:lnTo>
                    <a:pt x="288" y="3268"/>
                  </a:lnTo>
                  <a:lnTo>
                    <a:pt x="288" y="3272"/>
                  </a:lnTo>
                  <a:lnTo>
                    <a:pt x="288" y="3276"/>
                  </a:lnTo>
                  <a:lnTo>
                    <a:pt x="290" y="3276"/>
                  </a:lnTo>
                  <a:lnTo>
                    <a:pt x="292" y="3276"/>
                  </a:lnTo>
                  <a:lnTo>
                    <a:pt x="296" y="3276"/>
                  </a:lnTo>
                  <a:lnTo>
                    <a:pt x="302" y="3278"/>
                  </a:lnTo>
                  <a:lnTo>
                    <a:pt x="306" y="3286"/>
                  </a:lnTo>
                  <a:lnTo>
                    <a:pt x="308" y="3294"/>
                  </a:lnTo>
                  <a:lnTo>
                    <a:pt x="308" y="3298"/>
                  </a:lnTo>
                  <a:lnTo>
                    <a:pt x="306" y="3298"/>
                  </a:lnTo>
                  <a:lnTo>
                    <a:pt x="302" y="3294"/>
                  </a:lnTo>
                  <a:lnTo>
                    <a:pt x="298" y="3288"/>
                  </a:lnTo>
                  <a:lnTo>
                    <a:pt x="296" y="3288"/>
                  </a:lnTo>
                  <a:lnTo>
                    <a:pt x="296" y="3290"/>
                  </a:lnTo>
                  <a:lnTo>
                    <a:pt x="296" y="3294"/>
                  </a:lnTo>
                  <a:lnTo>
                    <a:pt x="298" y="3298"/>
                  </a:lnTo>
                  <a:lnTo>
                    <a:pt x="298" y="3302"/>
                  </a:lnTo>
                  <a:lnTo>
                    <a:pt x="298" y="3304"/>
                  </a:lnTo>
                  <a:lnTo>
                    <a:pt x="300" y="3308"/>
                  </a:lnTo>
                  <a:lnTo>
                    <a:pt x="302" y="3310"/>
                  </a:lnTo>
                  <a:lnTo>
                    <a:pt x="306" y="3308"/>
                  </a:lnTo>
                  <a:lnTo>
                    <a:pt x="308" y="3306"/>
                  </a:lnTo>
                  <a:lnTo>
                    <a:pt x="310" y="3308"/>
                  </a:lnTo>
                  <a:lnTo>
                    <a:pt x="312" y="3310"/>
                  </a:lnTo>
                  <a:lnTo>
                    <a:pt x="314" y="3318"/>
                  </a:lnTo>
                  <a:lnTo>
                    <a:pt x="310" y="3316"/>
                  </a:lnTo>
                  <a:lnTo>
                    <a:pt x="308" y="3316"/>
                  </a:lnTo>
                  <a:lnTo>
                    <a:pt x="308" y="3318"/>
                  </a:lnTo>
                  <a:lnTo>
                    <a:pt x="312" y="3326"/>
                  </a:lnTo>
                  <a:lnTo>
                    <a:pt x="318" y="3332"/>
                  </a:lnTo>
                  <a:lnTo>
                    <a:pt x="322" y="3332"/>
                  </a:lnTo>
                  <a:lnTo>
                    <a:pt x="324" y="3332"/>
                  </a:lnTo>
                  <a:lnTo>
                    <a:pt x="326" y="3322"/>
                  </a:lnTo>
                  <a:lnTo>
                    <a:pt x="330" y="3318"/>
                  </a:lnTo>
                  <a:lnTo>
                    <a:pt x="332" y="3316"/>
                  </a:lnTo>
                  <a:lnTo>
                    <a:pt x="334" y="3314"/>
                  </a:lnTo>
                  <a:lnTo>
                    <a:pt x="334" y="3312"/>
                  </a:lnTo>
                  <a:lnTo>
                    <a:pt x="334" y="3310"/>
                  </a:lnTo>
                  <a:lnTo>
                    <a:pt x="342" y="3312"/>
                  </a:lnTo>
                  <a:lnTo>
                    <a:pt x="348" y="3312"/>
                  </a:lnTo>
                  <a:lnTo>
                    <a:pt x="350" y="3312"/>
                  </a:lnTo>
                  <a:lnTo>
                    <a:pt x="350" y="3310"/>
                  </a:lnTo>
                  <a:lnTo>
                    <a:pt x="344" y="3304"/>
                  </a:lnTo>
                  <a:lnTo>
                    <a:pt x="334" y="3300"/>
                  </a:lnTo>
                  <a:lnTo>
                    <a:pt x="326" y="3294"/>
                  </a:lnTo>
                  <a:lnTo>
                    <a:pt x="324" y="3292"/>
                  </a:lnTo>
                  <a:lnTo>
                    <a:pt x="328" y="3290"/>
                  </a:lnTo>
                  <a:lnTo>
                    <a:pt x="336" y="3294"/>
                  </a:lnTo>
                  <a:lnTo>
                    <a:pt x="350" y="3302"/>
                  </a:lnTo>
                  <a:lnTo>
                    <a:pt x="354" y="3308"/>
                  </a:lnTo>
                  <a:lnTo>
                    <a:pt x="354" y="3314"/>
                  </a:lnTo>
                  <a:lnTo>
                    <a:pt x="352" y="3320"/>
                  </a:lnTo>
                  <a:lnTo>
                    <a:pt x="350" y="3322"/>
                  </a:lnTo>
                  <a:lnTo>
                    <a:pt x="348" y="3324"/>
                  </a:lnTo>
                  <a:lnTo>
                    <a:pt x="350" y="3330"/>
                  </a:lnTo>
                  <a:lnTo>
                    <a:pt x="352" y="3332"/>
                  </a:lnTo>
                  <a:lnTo>
                    <a:pt x="348" y="3328"/>
                  </a:lnTo>
                  <a:lnTo>
                    <a:pt x="342" y="3322"/>
                  </a:lnTo>
                  <a:lnTo>
                    <a:pt x="340" y="3322"/>
                  </a:lnTo>
                  <a:lnTo>
                    <a:pt x="338" y="3326"/>
                  </a:lnTo>
                  <a:lnTo>
                    <a:pt x="334" y="3336"/>
                  </a:lnTo>
                  <a:lnTo>
                    <a:pt x="332" y="3334"/>
                  </a:lnTo>
                  <a:lnTo>
                    <a:pt x="332" y="3330"/>
                  </a:lnTo>
                  <a:lnTo>
                    <a:pt x="330" y="3332"/>
                  </a:lnTo>
                  <a:lnTo>
                    <a:pt x="324" y="3338"/>
                  </a:lnTo>
                  <a:lnTo>
                    <a:pt x="322" y="3340"/>
                  </a:lnTo>
                  <a:lnTo>
                    <a:pt x="320" y="3340"/>
                  </a:lnTo>
                  <a:lnTo>
                    <a:pt x="316" y="3336"/>
                  </a:lnTo>
                  <a:lnTo>
                    <a:pt x="310" y="3330"/>
                  </a:lnTo>
                  <a:lnTo>
                    <a:pt x="306" y="3328"/>
                  </a:lnTo>
                  <a:lnTo>
                    <a:pt x="304" y="3328"/>
                  </a:lnTo>
                  <a:lnTo>
                    <a:pt x="306" y="3332"/>
                  </a:lnTo>
                  <a:lnTo>
                    <a:pt x="310" y="3336"/>
                  </a:lnTo>
                  <a:lnTo>
                    <a:pt x="310" y="3340"/>
                  </a:lnTo>
                  <a:lnTo>
                    <a:pt x="308" y="3344"/>
                  </a:lnTo>
                  <a:lnTo>
                    <a:pt x="306" y="3350"/>
                  </a:lnTo>
                  <a:lnTo>
                    <a:pt x="308" y="3350"/>
                  </a:lnTo>
                  <a:lnTo>
                    <a:pt x="312" y="3352"/>
                  </a:lnTo>
                  <a:lnTo>
                    <a:pt x="310" y="3356"/>
                  </a:lnTo>
                  <a:lnTo>
                    <a:pt x="306" y="3364"/>
                  </a:lnTo>
                  <a:lnTo>
                    <a:pt x="306" y="3368"/>
                  </a:lnTo>
                  <a:lnTo>
                    <a:pt x="306" y="3370"/>
                  </a:lnTo>
                  <a:lnTo>
                    <a:pt x="308" y="3370"/>
                  </a:lnTo>
                  <a:lnTo>
                    <a:pt x="314" y="3366"/>
                  </a:lnTo>
                  <a:lnTo>
                    <a:pt x="316" y="3364"/>
                  </a:lnTo>
                  <a:lnTo>
                    <a:pt x="320" y="3364"/>
                  </a:lnTo>
                  <a:lnTo>
                    <a:pt x="322" y="3366"/>
                  </a:lnTo>
                  <a:lnTo>
                    <a:pt x="324" y="3372"/>
                  </a:lnTo>
                  <a:lnTo>
                    <a:pt x="322" y="3374"/>
                  </a:lnTo>
                  <a:lnTo>
                    <a:pt x="320" y="3374"/>
                  </a:lnTo>
                  <a:lnTo>
                    <a:pt x="316" y="3374"/>
                  </a:lnTo>
                  <a:lnTo>
                    <a:pt x="322" y="3380"/>
                  </a:lnTo>
                  <a:lnTo>
                    <a:pt x="322" y="3382"/>
                  </a:lnTo>
                  <a:lnTo>
                    <a:pt x="318" y="3384"/>
                  </a:lnTo>
                  <a:lnTo>
                    <a:pt x="316" y="3386"/>
                  </a:lnTo>
                  <a:lnTo>
                    <a:pt x="320" y="3388"/>
                  </a:lnTo>
                  <a:lnTo>
                    <a:pt x="328" y="3390"/>
                  </a:lnTo>
                  <a:lnTo>
                    <a:pt x="332" y="3388"/>
                  </a:lnTo>
                  <a:lnTo>
                    <a:pt x="334" y="3384"/>
                  </a:lnTo>
                  <a:lnTo>
                    <a:pt x="334" y="3378"/>
                  </a:lnTo>
                  <a:lnTo>
                    <a:pt x="334" y="3376"/>
                  </a:lnTo>
                  <a:lnTo>
                    <a:pt x="336" y="3374"/>
                  </a:lnTo>
                  <a:lnTo>
                    <a:pt x="340" y="3370"/>
                  </a:lnTo>
                  <a:lnTo>
                    <a:pt x="344" y="3368"/>
                  </a:lnTo>
                  <a:lnTo>
                    <a:pt x="346" y="3366"/>
                  </a:lnTo>
                  <a:lnTo>
                    <a:pt x="346" y="3364"/>
                  </a:lnTo>
                  <a:lnTo>
                    <a:pt x="344" y="3362"/>
                  </a:lnTo>
                  <a:lnTo>
                    <a:pt x="340" y="3360"/>
                  </a:lnTo>
                  <a:lnTo>
                    <a:pt x="340" y="3358"/>
                  </a:lnTo>
                  <a:lnTo>
                    <a:pt x="344" y="3358"/>
                  </a:lnTo>
                  <a:lnTo>
                    <a:pt x="352" y="3358"/>
                  </a:lnTo>
                  <a:lnTo>
                    <a:pt x="354" y="3362"/>
                  </a:lnTo>
                  <a:lnTo>
                    <a:pt x="356" y="3362"/>
                  </a:lnTo>
                  <a:lnTo>
                    <a:pt x="360" y="3360"/>
                  </a:lnTo>
                  <a:lnTo>
                    <a:pt x="364" y="3358"/>
                  </a:lnTo>
                  <a:lnTo>
                    <a:pt x="368" y="3356"/>
                  </a:lnTo>
                  <a:lnTo>
                    <a:pt x="382" y="3356"/>
                  </a:lnTo>
                  <a:lnTo>
                    <a:pt x="392" y="3358"/>
                  </a:lnTo>
                  <a:lnTo>
                    <a:pt x="394" y="3360"/>
                  </a:lnTo>
                  <a:lnTo>
                    <a:pt x="396" y="3362"/>
                  </a:lnTo>
                  <a:lnTo>
                    <a:pt x="392" y="3366"/>
                  </a:lnTo>
                  <a:lnTo>
                    <a:pt x="386" y="3368"/>
                  </a:lnTo>
                  <a:lnTo>
                    <a:pt x="380" y="3366"/>
                  </a:lnTo>
                  <a:lnTo>
                    <a:pt x="372" y="3364"/>
                  </a:lnTo>
                  <a:lnTo>
                    <a:pt x="368" y="3364"/>
                  </a:lnTo>
                  <a:lnTo>
                    <a:pt x="366" y="3366"/>
                  </a:lnTo>
                  <a:lnTo>
                    <a:pt x="362" y="3370"/>
                  </a:lnTo>
                  <a:lnTo>
                    <a:pt x="358" y="3376"/>
                  </a:lnTo>
                  <a:lnTo>
                    <a:pt x="356" y="3376"/>
                  </a:lnTo>
                  <a:lnTo>
                    <a:pt x="354" y="3376"/>
                  </a:lnTo>
                  <a:lnTo>
                    <a:pt x="348" y="3372"/>
                  </a:lnTo>
                  <a:lnTo>
                    <a:pt x="342" y="3374"/>
                  </a:lnTo>
                  <a:lnTo>
                    <a:pt x="338" y="3378"/>
                  </a:lnTo>
                  <a:lnTo>
                    <a:pt x="338" y="3384"/>
                  </a:lnTo>
                  <a:lnTo>
                    <a:pt x="340" y="3388"/>
                  </a:lnTo>
                  <a:lnTo>
                    <a:pt x="338" y="3390"/>
                  </a:lnTo>
                  <a:lnTo>
                    <a:pt x="338" y="3392"/>
                  </a:lnTo>
                  <a:lnTo>
                    <a:pt x="340" y="3396"/>
                  </a:lnTo>
                  <a:lnTo>
                    <a:pt x="342" y="3398"/>
                  </a:lnTo>
                  <a:lnTo>
                    <a:pt x="340" y="3398"/>
                  </a:lnTo>
                  <a:lnTo>
                    <a:pt x="334" y="3396"/>
                  </a:lnTo>
                  <a:lnTo>
                    <a:pt x="326" y="3396"/>
                  </a:lnTo>
                  <a:lnTo>
                    <a:pt x="324" y="3396"/>
                  </a:lnTo>
                  <a:lnTo>
                    <a:pt x="324" y="3398"/>
                  </a:lnTo>
                  <a:lnTo>
                    <a:pt x="326" y="3402"/>
                  </a:lnTo>
                  <a:lnTo>
                    <a:pt x="342" y="3412"/>
                  </a:lnTo>
                  <a:lnTo>
                    <a:pt x="354" y="3418"/>
                  </a:lnTo>
                  <a:lnTo>
                    <a:pt x="356" y="3418"/>
                  </a:lnTo>
                  <a:lnTo>
                    <a:pt x="354" y="3412"/>
                  </a:lnTo>
                  <a:lnTo>
                    <a:pt x="352" y="3406"/>
                  </a:lnTo>
                  <a:lnTo>
                    <a:pt x="352" y="3402"/>
                  </a:lnTo>
                  <a:lnTo>
                    <a:pt x="358" y="3400"/>
                  </a:lnTo>
                  <a:lnTo>
                    <a:pt x="362" y="3398"/>
                  </a:lnTo>
                  <a:lnTo>
                    <a:pt x="364" y="3396"/>
                  </a:lnTo>
                  <a:lnTo>
                    <a:pt x="364" y="3394"/>
                  </a:lnTo>
                  <a:lnTo>
                    <a:pt x="360" y="3390"/>
                  </a:lnTo>
                  <a:lnTo>
                    <a:pt x="356" y="3388"/>
                  </a:lnTo>
                  <a:lnTo>
                    <a:pt x="362" y="3390"/>
                  </a:lnTo>
                  <a:lnTo>
                    <a:pt x="370" y="3392"/>
                  </a:lnTo>
                  <a:lnTo>
                    <a:pt x="374" y="3390"/>
                  </a:lnTo>
                  <a:lnTo>
                    <a:pt x="378" y="3386"/>
                  </a:lnTo>
                  <a:lnTo>
                    <a:pt x="384" y="3382"/>
                  </a:lnTo>
                  <a:lnTo>
                    <a:pt x="392" y="3378"/>
                  </a:lnTo>
                  <a:lnTo>
                    <a:pt x="396" y="3374"/>
                  </a:lnTo>
                  <a:lnTo>
                    <a:pt x="402" y="3372"/>
                  </a:lnTo>
                  <a:lnTo>
                    <a:pt x="406" y="3374"/>
                  </a:lnTo>
                  <a:lnTo>
                    <a:pt x="408" y="3376"/>
                  </a:lnTo>
                  <a:lnTo>
                    <a:pt x="408" y="3378"/>
                  </a:lnTo>
                  <a:lnTo>
                    <a:pt x="406" y="3384"/>
                  </a:lnTo>
                  <a:lnTo>
                    <a:pt x="398" y="3392"/>
                  </a:lnTo>
                  <a:lnTo>
                    <a:pt x="390" y="3396"/>
                  </a:lnTo>
                  <a:lnTo>
                    <a:pt x="384" y="3400"/>
                  </a:lnTo>
                  <a:lnTo>
                    <a:pt x="384" y="3402"/>
                  </a:lnTo>
                  <a:lnTo>
                    <a:pt x="382" y="3404"/>
                  </a:lnTo>
                  <a:lnTo>
                    <a:pt x="380" y="3402"/>
                  </a:lnTo>
                  <a:lnTo>
                    <a:pt x="376" y="3400"/>
                  </a:lnTo>
                  <a:lnTo>
                    <a:pt x="374" y="3402"/>
                  </a:lnTo>
                  <a:lnTo>
                    <a:pt x="374" y="3404"/>
                  </a:lnTo>
                  <a:lnTo>
                    <a:pt x="370" y="3402"/>
                  </a:lnTo>
                  <a:lnTo>
                    <a:pt x="362" y="3404"/>
                  </a:lnTo>
                  <a:lnTo>
                    <a:pt x="358" y="3406"/>
                  </a:lnTo>
                  <a:lnTo>
                    <a:pt x="356" y="3408"/>
                  </a:lnTo>
                  <a:lnTo>
                    <a:pt x="360" y="3414"/>
                  </a:lnTo>
                  <a:lnTo>
                    <a:pt x="366" y="3420"/>
                  </a:lnTo>
                  <a:lnTo>
                    <a:pt x="372" y="3426"/>
                  </a:lnTo>
                  <a:lnTo>
                    <a:pt x="378" y="3430"/>
                  </a:lnTo>
                  <a:lnTo>
                    <a:pt x="382" y="3432"/>
                  </a:lnTo>
                  <a:lnTo>
                    <a:pt x="386" y="3434"/>
                  </a:lnTo>
                  <a:lnTo>
                    <a:pt x="392" y="3438"/>
                  </a:lnTo>
                  <a:lnTo>
                    <a:pt x="402" y="3438"/>
                  </a:lnTo>
                  <a:lnTo>
                    <a:pt x="410" y="3436"/>
                  </a:lnTo>
                  <a:lnTo>
                    <a:pt x="414" y="3434"/>
                  </a:lnTo>
                  <a:lnTo>
                    <a:pt x="416" y="3426"/>
                  </a:lnTo>
                  <a:lnTo>
                    <a:pt x="416" y="3412"/>
                  </a:lnTo>
                  <a:lnTo>
                    <a:pt x="418" y="3400"/>
                  </a:lnTo>
                  <a:lnTo>
                    <a:pt x="420" y="3394"/>
                  </a:lnTo>
                  <a:lnTo>
                    <a:pt x="422" y="3388"/>
                  </a:lnTo>
                  <a:lnTo>
                    <a:pt x="424" y="3378"/>
                  </a:lnTo>
                  <a:lnTo>
                    <a:pt x="424" y="3372"/>
                  </a:lnTo>
                  <a:lnTo>
                    <a:pt x="426" y="3368"/>
                  </a:lnTo>
                  <a:lnTo>
                    <a:pt x="428" y="3366"/>
                  </a:lnTo>
                  <a:lnTo>
                    <a:pt x="432" y="3366"/>
                  </a:lnTo>
                  <a:lnTo>
                    <a:pt x="440" y="3364"/>
                  </a:lnTo>
                  <a:lnTo>
                    <a:pt x="444" y="3362"/>
                  </a:lnTo>
                  <a:lnTo>
                    <a:pt x="450" y="3358"/>
                  </a:lnTo>
                  <a:lnTo>
                    <a:pt x="454" y="3354"/>
                  </a:lnTo>
                  <a:lnTo>
                    <a:pt x="458" y="3354"/>
                  </a:lnTo>
                  <a:lnTo>
                    <a:pt x="462" y="3354"/>
                  </a:lnTo>
                  <a:lnTo>
                    <a:pt x="466" y="3356"/>
                  </a:lnTo>
                  <a:lnTo>
                    <a:pt x="470" y="3350"/>
                  </a:lnTo>
                  <a:lnTo>
                    <a:pt x="476" y="3342"/>
                  </a:lnTo>
                  <a:lnTo>
                    <a:pt x="480" y="3340"/>
                  </a:lnTo>
                  <a:lnTo>
                    <a:pt x="486" y="3340"/>
                  </a:lnTo>
                  <a:lnTo>
                    <a:pt x="496" y="3342"/>
                  </a:lnTo>
                  <a:lnTo>
                    <a:pt x="510" y="3344"/>
                  </a:lnTo>
                  <a:lnTo>
                    <a:pt x="518" y="3348"/>
                  </a:lnTo>
                  <a:lnTo>
                    <a:pt x="520" y="3346"/>
                  </a:lnTo>
                  <a:lnTo>
                    <a:pt x="518" y="3342"/>
                  </a:lnTo>
                  <a:lnTo>
                    <a:pt x="510" y="3328"/>
                  </a:lnTo>
                  <a:lnTo>
                    <a:pt x="500" y="3308"/>
                  </a:lnTo>
                  <a:lnTo>
                    <a:pt x="496" y="3296"/>
                  </a:lnTo>
                  <a:lnTo>
                    <a:pt x="492" y="3282"/>
                  </a:lnTo>
                  <a:lnTo>
                    <a:pt x="490" y="3266"/>
                  </a:lnTo>
                  <a:lnTo>
                    <a:pt x="490" y="3256"/>
                  </a:lnTo>
                  <a:lnTo>
                    <a:pt x="490" y="3246"/>
                  </a:lnTo>
                  <a:lnTo>
                    <a:pt x="494" y="3238"/>
                  </a:lnTo>
                  <a:lnTo>
                    <a:pt x="498" y="3228"/>
                  </a:lnTo>
                  <a:lnTo>
                    <a:pt x="506" y="3222"/>
                  </a:lnTo>
                  <a:lnTo>
                    <a:pt x="518" y="3216"/>
                  </a:lnTo>
                  <a:lnTo>
                    <a:pt x="528" y="3212"/>
                  </a:lnTo>
                  <a:lnTo>
                    <a:pt x="536" y="3208"/>
                  </a:lnTo>
                  <a:lnTo>
                    <a:pt x="542" y="3202"/>
                  </a:lnTo>
                  <a:lnTo>
                    <a:pt x="546" y="3196"/>
                  </a:lnTo>
                  <a:lnTo>
                    <a:pt x="550" y="3180"/>
                  </a:lnTo>
                  <a:lnTo>
                    <a:pt x="552" y="3156"/>
                  </a:lnTo>
                  <a:lnTo>
                    <a:pt x="556" y="3144"/>
                  </a:lnTo>
                  <a:lnTo>
                    <a:pt x="564" y="3134"/>
                  </a:lnTo>
                  <a:lnTo>
                    <a:pt x="572" y="3126"/>
                  </a:lnTo>
                  <a:lnTo>
                    <a:pt x="580" y="3122"/>
                  </a:lnTo>
                  <a:lnTo>
                    <a:pt x="596" y="3112"/>
                  </a:lnTo>
                  <a:lnTo>
                    <a:pt x="602" y="3108"/>
                  </a:lnTo>
                  <a:lnTo>
                    <a:pt x="604" y="3104"/>
                  </a:lnTo>
                  <a:lnTo>
                    <a:pt x="606" y="3100"/>
                  </a:lnTo>
                  <a:lnTo>
                    <a:pt x="610" y="3096"/>
                  </a:lnTo>
                  <a:lnTo>
                    <a:pt x="616" y="3092"/>
                  </a:lnTo>
                  <a:lnTo>
                    <a:pt x="622" y="3086"/>
                  </a:lnTo>
                  <a:lnTo>
                    <a:pt x="624" y="3082"/>
                  </a:lnTo>
                  <a:lnTo>
                    <a:pt x="622" y="3078"/>
                  </a:lnTo>
                  <a:lnTo>
                    <a:pt x="620" y="3074"/>
                  </a:lnTo>
                  <a:lnTo>
                    <a:pt x="620" y="3072"/>
                  </a:lnTo>
                  <a:lnTo>
                    <a:pt x="624" y="3066"/>
                  </a:lnTo>
                  <a:lnTo>
                    <a:pt x="626" y="3060"/>
                  </a:lnTo>
                  <a:lnTo>
                    <a:pt x="626" y="3054"/>
                  </a:lnTo>
                  <a:lnTo>
                    <a:pt x="626" y="3044"/>
                  </a:lnTo>
                  <a:lnTo>
                    <a:pt x="624" y="3038"/>
                  </a:lnTo>
                  <a:lnTo>
                    <a:pt x="620" y="3036"/>
                  </a:lnTo>
                  <a:lnTo>
                    <a:pt x="608" y="3036"/>
                  </a:lnTo>
                  <a:lnTo>
                    <a:pt x="600" y="3034"/>
                  </a:lnTo>
                  <a:lnTo>
                    <a:pt x="590" y="3032"/>
                  </a:lnTo>
                  <a:lnTo>
                    <a:pt x="580" y="3026"/>
                  </a:lnTo>
                  <a:lnTo>
                    <a:pt x="570" y="3016"/>
                  </a:lnTo>
                  <a:lnTo>
                    <a:pt x="554" y="2996"/>
                  </a:lnTo>
                  <a:lnTo>
                    <a:pt x="550" y="2988"/>
                  </a:lnTo>
                  <a:lnTo>
                    <a:pt x="550" y="2982"/>
                  </a:lnTo>
                  <a:lnTo>
                    <a:pt x="550" y="2976"/>
                  </a:lnTo>
                  <a:lnTo>
                    <a:pt x="554" y="2968"/>
                  </a:lnTo>
                  <a:lnTo>
                    <a:pt x="564" y="2948"/>
                  </a:lnTo>
                  <a:lnTo>
                    <a:pt x="570" y="2938"/>
                  </a:lnTo>
                  <a:lnTo>
                    <a:pt x="576" y="2930"/>
                  </a:lnTo>
                  <a:lnTo>
                    <a:pt x="580" y="2928"/>
                  </a:lnTo>
                  <a:lnTo>
                    <a:pt x="584" y="2926"/>
                  </a:lnTo>
                  <a:lnTo>
                    <a:pt x="592" y="2926"/>
                  </a:lnTo>
                  <a:lnTo>
                    <a:pt x="594" y="2924"/>
                  </a:lnTo>
                  <a:lnTo>
                    <a:pt x="598" y="2922"/>
                  </a:lnTo>
                  <a:lnTo>
                    <a:pt x="602" y="2918"/>
                  </a:lnTo>
                  <a:lnTo>
                    <a:pt x="608" y="2916"/>
                  </a:lnTo>
                  <a:lnTo>
                    <a:pt x="622" y="2916"/>
                  </a:lnTo>
                  <a:lnTo>
                    <a:pt x="628" y="2916"/>
                  </a:lnTo>
                  <a:lnTo>
                    <a:pt x="632" y="2914"/>
                  </a:lnTo>
                  <a:lnTo>
                    <a:pt x="634" y="2912"/>
                  </a:lnTo>
                  <a:lnTo>
                    <a:pt x="630" y="2908"/>
                  </a:lnTo>
                  <a:lnTo>
                    <a:pt x="628" y="2902"/>
                  </a:lnTo>
                  <a:lnTo>
                    <a:pt x="630" y="2898"/>
                  </a:lnTo>
                  <a:lnTo>
                    <a:pt x="638" y="2890"/>
                  </a:lnTo>
                  <a:lnTo>
                    <a:pt x="642" y="2886"/>
                  </a:lnTo>
                  <a:lnTo>
                    <a:pt x="646" y="2878"/>
                  </a:lnTo>
                  <a:lnTo>
                    <a:pt x="648" y="2868"/>
                  </a:lnTo>
                  <a:lnTo>
                    <a:pt x="644" y="2856"/>
                  </a:lnTo>
                  <a:lnTo>
                    <a:pt x="644" y="2850"/>
                  </a:lnTo>
                  <a:lnTo>
                    <a:pt x="644" y="2844"/>
                  </a:lnTo>
                  <a:lnTo>
                    <a:pt x="646" y="2836"/>
                  </a:lnTo>
                  <a:lnTo>
                    <a:pt x="648" y="2830"/>
                  </a:lnTo>
                  <a:lnTo>
                    <a:pt x="652" y="2822"/>
                  </a:lnTo>
                  <a:lnTo>
                    <a:pt x="660" y="2816"/>
                  </a:lnTo>
                  <a:lnTo>
                    <a:pt x="668" y="2810"/>
                  </a:lnTo>
                  <a:lnTo>
                    <a:pt x="678" y="2806"/>
                  </a:lnTo>
                  <a:lnTo>
                    <a:pt x="684" y="2802"/>
                  </a:lnTo>
                  <a:lnTo>
                    <a:pt x="682" y="2800"/>
                  </a:lnTo>
                  <a:lnTo>
                    <a:pt x="674" y="2798"/>
                  </a:lnTo>
                  <a:lnTo>
                    <a:pt x="662" y="2794"/>
                  </a:lnTo>
                  <a:lnTo>
                    <a:pt x="658" y="2790"/>
                  </a:lnTo>
                  <a:lnTo>
                    <a:pt x="658" y="2786"/>
                  </a:lnTo>
                  <a:lnTo>
                    <a:pt x="660" y="2782"/>
                  </a:lnTo>
                  <a:lnTo>
                    <a:pt x="664" y="2780"/>
                  </a:lnTo>
                  <a:lnTo>
                    <a:pt x="670" y="2780"/>
                  </a:lnTo>
                  <a:lnTo>
                    <a:pt x="676" y="2780"/>
                  </a:lnTo>
                  <a:lnTo>
                    <a:pt x="682" y="2782"/>
                  </a:lnTo>
                  <a:lnTo>
                    <a:pt x="686" y="2788"/>
                  </a:lnTo>
                  <a:lnTo>
                    <a:pt x="690" y="2792"/>
                  </a:lnTo>
                  <a:lnTo>
                    <a:pt x="692" y="2796"/>
                  </a:lnTo>
                  <a:lnTo>
                    <a:pt x="696" y="2798"/>
                  </a:lnTo>
                  <a:lnTo>
                    <a:pt x="700" y="2798"/>
                  </a:lnTo>
                  <a:lnTo>
                    <a:pt x="704" y="2796"/>
                  </a:lnTo>
                  <a:lnTo>
                    <a:pt x="708" y="2792"/>
                  </a:lnTo>
                  <a:lnTo>
                    <a:pt x="712" y="2786"/>
                  </a:lnTo>
                  <a:lnTo>
                    <a:pt x="714" y="2778"/>
                  </a:lnTo>
                  <a:lnTo>
                    <a:pt x="716" y="2770"/>
                  </a:lnTo>
                  <a:lnTo>
                    <a:pt x="714" y="2762"/>
                  </a:lnTo>
                  <a:lnTo>
                    <a:pt x="708" y="2754"/>
                  </a:lnTo>
                  <a:lnTo>
                    <a:pt x="706" y="2752"/>
                  </a:lnTo>
                  <a:lnTo>
                    <a:pt x="702" y="2752"/>
                  </a:lnTo>
                  <a:lnTo>
                    <a:pt x="678" y="2758"/>
                  </a:lnTo>
                  <a:lnTo>
                    <a:pt x="670" y="2760"/>
                  </a:lnTo>
                  <a:lnTo>
                    <a:pt x="662" y="2758"/>
                  </a:lnTo>
                  <a:lnTo>
                    <a:pt x="658" y="2756"/>
                  </a:lnTo>
                  <a:lnTo>
                    <a:pt x="656" y="2750"/>
                  </a:lnTo>
                  <a:lnTo>
                    <a:pt x="654" y="2744"/>
                  </a:lnTo>
                  <a:lnTo>
                    <a:pt x="656" y="2734"/>
                  </a:lnTo>
                  <a:lnTo>
                    <a:pt x="656" y="2726"/>
                  </a:lnTo>
                  <a:lnTo>
                    <a:pt x="654" y="2716"/>
                  </a:lnTo>
                  <a:lnTo>
                    <a:pt x="650" y="2700"/>
                  </a:lnTo>
                  <a:lnTo>
                    <a:pt x="648" y="2694"/>
                  </a:lnTo>
                  <a:lnTo>
                    <a:pt x="646" y="2690"/>
                  </a:lnTo>
                  <a:lnTo>
                    <a:pt x="648" y="2684"/>
                  </a:lnTo>
                  <a:lnTo>
                    <a:pt x="654" y="2682"/>
                  </a:lnTo>
                  <a:lnTo>
                    <a:pt x="662" y="2680"/>
                  </a:lnTo>
                  <a:lnTo>
                    <a:pt x="668" y="2682"/>
                  </a:lnTo>
                  <a:lnTo>
                    <a:pt x="684" y="2688"/>
                  </a:lnTo>
                  <a:lnTo>
                    <a:pt x="700" y="2696"/>
                  </a:lnTo>
                  <a:lnTo>
                    <a:pt x="708" y="2698"/>
                  </a:lnTo>
                  <a:lnTo>
                    <a:pt x="714" y="2700"/>
                  </a:lnTo>
                  <a:lnTo>
                    <a:pt x="724" y="2700"/>
                  </a:lnTo>
                  <a:lnTo>
                    <a:pt x="728" y="2700"/>
                  </a:lnTo>
                  <a:lnTo>
                    <a:pt x="734" y="2700"/>
                  </a:lnTo>
                  <a:lnTo>
                    <a:pt x="748" y="2694"/>
                  </a:lnTo>
                  <a:lnTo>
                    <a:pt x="762" y="2684"/>
                  </a:lnTo>
                  <a:lnTo>
                    <a:pt x="768" y="2680"/>
                  </a:lnTo>
                  <a:lnTo>
                    <a:pt x="770" y="2676"/>
                  </a:lnTo>
                  <a:lnTo>
                    <a:pt x="770" y="2672"/>
                  </a:lnTo>
                  <a:lnTo>
                    <a:pt x="770" y="2670"/>
                  </a:lnTo>
                  <a:lnTo>
                    <a:pt x="764" y="2664"/>
                  </a:lnTo>
                  <a:lnTo>
                    <a:pt x="762" y="2660"/>
                  </a:lnTo>
                  <a:lnTo>
                    <a:pt x="760" y="2658"/>
                  </a:lnTo>
                  <a:lnTo>
                    <a:pt x="758" y="2650"/>
                  </a:lnTo>
                  <a:lnTo>
                    <a:pt x="762" y="2642"/>
                  </a:lnTo>
                  <a:lnTo>
                    <a:pt x="770" y="2632"/>
                  </a:lnTo>
                  <a:lnTo>
                    <a:pt x="776" y="2622"/>
                  </a:lnTo>
                  <a:lnTo>
                    <a:pt x="778" y="2612"/>
                  </a:lnTo>
                  <a:lnTo>
                    <a:pt x="776" y="2602"/>
                  </a:lnTo>
                  <a:lnTo>
                    <a:pt x="772" y="2598"/>
                  </a:lnTo>
                  <a:lnTo>
                    <a:pt x="770" y="2596"/>
                  </a:lnTo>
                  <a:lnTo>
                    <a:pt x="766" y="2592"/>
                  </a:lnTo>
                  <a:lnTo>
                    <a:pt x="762" y="2588"/>
                  </a:lnTo>
                  <a:lnTo>
                    <a:pt x="760" y="2578"/>
                  </a:lnTo>
                  <a:lnTo>
                    <a:pt x="760" y="2574"/>
                  </a:lnTo>
                  <a:lnTo>
                    <a:pt x="762" y="2572"/>
                  </a:lnTo>
                  <a:lnTo>
                    <a:pt x="768" y="2572"/>
                  </a:lnTo>
                  <a:lnTo>
                    <a:pt x="774" y="2576"/>
                  </a:lnTo>
                  <a:lnTo>
                    <a:pt x="784" y="2582"/>
                  </a:lnTo>
                  <a:lnTo>
                    <a:pt x="792" y="2582"/>
                  </a:lnTo>
                  <a:lnTo>
                    <a:pt x="824" y="2578"/>
                  </a:lnTo>
                  <a:lnTo>
                    <a:pt x="856" y="2574"/>
                  </a:lnTo>
                  <a:lnTo>
                    <a:pt x="890" y="2566"/>
                  </a:lnTo>
                  <a:lnTo>
                    <a:pt x="920" y="2556"/>
                  </a:lnTo>
                  <a:lnTo>
                    <a:pt x="934" y="2550"/>
                  </a:lnTo>
                  <a:lnTo>
                    <a:pt x="944" y="2544"/>
                  </a:lnTo>
                  <a:lnTo>
                    <a:pt x="952" y="2538"/>
                  </a:lnTo>
                  <a:lnTo>
                    <a:pt x="956" y="2534"/>
                  </a:lnTo>
                  <a:lnTo>
                    <a:pt x="958" y="2528"/>
                  </a:lnTo>
                  <a:lnTo>
                    <a:pt x="960" y="2524"/>
                  </a:lnTo>
                  <a:lnTo>
                    <a:pt x="962" y="2516"/>
                  </a:lnTo>
                  <a:lnTo>
                    <a:pt x="966" y="2510"/>
                  </a:lnTo>
                  <a:lnTo>
                    <a:pt x="970" y="2504"/>
                  </a:lnTo>
                  <a:lnTo>
                    <a:pt x="980" y="2492"/>
                  </a:lnTo>
                  <a:lnTo>
                    <a:pt x="986" y="2478"/>
                  </a:lnTo>
                  <a:lnTo>
                    <a:pt x="990" y="2464"/>
                  </a:lnTo>
                  <a:lnTo>
                    <a:pt x="990" y="2444"/>
                  </a:lnTo>
                  <a:lnTo>
                    <a:pt x="990" y="2436"/>
                  </a:lnTo>
                  <a:lnTo>
                    <a:pt x="990" y="2432"/>
                  </a:lnTo>
                  <a:lnTo>
                    <a:pt x="986" y="2432"/>
                  </a:lnTo>
                  <a:lnTo>
                    <a:pt x="984" y="2432"/>
                  </a:lnTo>
                  <a:lnTo>
                    <a:pt x="980" y="2432"/>
                  </a:lnTo>
                  <a:lnTo>
                    <a:pt x="976" y="2432"/>
                  </a:lnTo>
                  <a:lnTo>
                    <a:pt x="970" y="2428"/>
                  </a:lnTo>
                  <a:lnTo>
                    <a:pt x="964" y="2420"/>
                  </a:lnTo>
                  <a:lnTo>
                    <a:pt x="962" y="2410"/>
                  </a:lnTo>
                  <a:lnTo>
                    <a:pt x="962" y="2404"/>
                  </a:lnTo>
                  <a:lnTo>
                    <a:pt x="964" y="2400"/>
                  </a:lnTo>
                  <a:lnTo>
                    <a:pt x="968" y="2396"/>
                  </a:lnTo>
                  <a:lnTo>
                    <a:pt x="970" y="2392"/>
                  </a:lnTo>
                  <a:lnTo>
                    <a:pt x="970" y="2388"/>
                  </a:lnTo>
                  <a:lnTo>
                    <a:pt x="968" y="2380"/>
                  </a:lnTo>
                  <a:lnTo>
                    <a:pt x="962" y="2368"/>
                  </a:lnTo>
                  <a:lnTo>
                    <a:pt x="954" y="2360"/>
                  </a:lnTo>
                  <a:lnTo>
                    <a:pt x="946" y="2354"/>
                  </a:lnTo>
                  <a:lnTo>
                    <a:pt x="928" y="2344"/>
                  </a:lnTo>
                  <a:lnTo>
                    <a:pt x="922" y="2338"/>
                  </a:lnTo>
                  <a:lnTo>
                    <a:pt x="918" y="2332"/>
                  </a:lnTo>
                  <a:lnTo>
                    <a:pt x="918" y="2330"/>
                  </a:lnTo>
                  <a:lnTo>
                    <a:pt x="920" y="2326"/>
                  </a:lnTo>
                  <a:lnTo>
                    <a:pt x="926" y="2316"/>
                  </a:lnTo>
                  <a:lnTo>
                    <a:pt x="928" y="2320"/>
                  </a:lnTo>
                  <a:lnTo>
                    <a:pt x="934" y="2326"/>
                  </a:lnTo>
                  <a:lnTo>
                    <a:pt x="946" y="2332"/>
                  </a:lnTo>
                  <a:lnTo>
                    <a:pt x="952" y="2334"/>
                  </a:lnTo>
                  <a:lnTo>
                    <a:pt x="958" y="2334"/>
                  </a:lnTo>
                  <a:lnTo>
                    <a:pt x="966" y="2336"/>
                  </a:lnTo>
                  <a:lnTo>
                    <a:pt x="976" y="2338"/>
                  </a:lnTo>
                  <a:lnTo>
                    <a:pt x="992" y="2348"/>
                  </a:lnTo>
                  <a:lnTo>
                    <a:pt x="1002" y="2352"/>
                  </a:lnTo>
                  <a:lnTo>
                    <a:pt x="1010" y="2356"/>
                  </a:lnTo>
                  <a:lnTo>
                    <a:pt x="1018" y="2358"/>
                  </a:lnTo>
                  <a:lnTo>
                    <a:pt x="1026" y="2356"/>
                  </a:lnTo>
                  <a:lnTo>
                    <a:pt x="1032" y="2354"/>
                  </a:lnTo>
                  <a:lnTo>
                    <a:pt x="1038" y="2352"/>
                  </a:lnTo>
                  <a:lnTo>
                    <a:pt x="1050" y="2356"/>
                  </a:lnTo>
                  <a:lnTo>
                    <a:pt x="1056" y="2358"/>
                  </a:lnTo>
                  <a:lnTo>
                    <a:pt x="1062" y="2358"/>
                  </a:lnTo>
                  <a:lnTo>
                    <a:pt x="1068" y="2358"/>
                  </a:lnTo>
                  <a:lnTo>
                    <a:pt x="1076" y="2354"/>
                  </a:lnTo>
                  <a:lnTo>
                    <a:pt x="1090" y="2344"/>
                  </a:lnTo>
                  <a:lnTo>
                    <a:pt x="1100" y="2334"/>
                  </a:lnTo>
                  <a:lnTo>
                    <a:pt x="1110" y="2320"/>
                  </a:lnTo>
                  <a:lnTo>
                    <a:pt x="1122" y="2300"/>
                  </a:lnTo>
                  <a:lnTo>
                    <a:pt x="1120" y="2294"/>
                  </a:lnTo>
                  <a:lnTo>
                    <a:pt x="1124" y="2288"/>
                  </a:lnTo>
                  <a:lnTo>
                    <a:pt x="1130" y="2282"/>
                  </a:lnTo>
                  <a:lnTo>
                    <a:pt x="1140" y="2276"/>
                  </a:lnTo>
                  <a:lnTo>
                    <a:pt x="1150" y="2270"/>
                  </a:lnTo>
                  <a:lnTo>
                    <a:pt x="1154" y="2264"/>
                  </a:lnTo>
                  <a:lnTo>
                    <a:pt x="1158" y="2256"/>
                  </a:lnTo>
                  <a:lnTo>
                    <a:pt x="1166" y="2232"/>
                  </a:lnTo>
                  <a:lnTo>
                    <a:pt x="1170" y="2224"/>
                  </a:lnTo>
                  <a:lnTo>
                    <a:pt x="1174" y="2218"/>
                  </a:lnTo>
                  <a:lnTo>
                    <a:pt x="1188" y="2204"/>
                  </a:lnTo>
                  <a:lnTo>
                    <a:pt x="1210" y="2184"/>
                  </a:lnTo>
                  <a:lnTo>
                    <a:pt x="1220" y="2174"/>
                  </a:lnTo>
                  <a:lnTo>
                    <a:pt x="1228" y="2164"/>
                  </a:lnTo>
                  <a:lnTo>
                    <a:pt x="1240" y="2140"/>
                  </a:lnTo>
                  <a:lnTo>
                    <a:pt x="1254" y="2110"/>
                  </a:lnTo>
                  <a:lnTo>
                    <a:pt x="1270" y="2074"/>
                  </a:lnTo>
                  <a:lnTo>
                    <a:pt x="1278" y="2058"/>
                  </a:lnTo>
                  <a:lnTo>
                    <a:pt x="1284" y="2048"/>
                  </a:lnTo>
                  <a:lnTo>
                    <a:pt x="1290" y="2042"/>
                  </a:lnTo>
                  <a:lnTo>
                    <a:pt x="1294" y="2038"/>
                  </a:lnTo>
                  <a:lnTo>
                    <a:pt x="1304" y="2030"/>
                  </a:lnTo>
                  <a:lnTo>
                    <a:pt x="1308" y="2022"/>
                  </a:lnTo>
                  <a:lnTo>
                    <a:pt x="1314" y="2012"/>
                  </a:lnTo>
                  <a:lnTo>
                    <a:pt x="1320" y="1998"/>
                  </a:lnTo>
                  <a:lnTo>
                    <a:pt x="1322" y="1984"/>
                  </a:lnTo>
                  <a:lnTo>
                    <a:pt x="1322" y="1970"/>
                  </a:lnTo>
                  <a:lnTo>
                    <a:pt x="1322" y="1956"/>
                  </a:lnTo>
                  <a:lnTo>
                    <a:pt x="1322" y="1926"/>
                  </a:lnTo>
                  <a:lnTo>
                    <a:pt x="1320" y="1910"/>
                  </a:lnTo>
                  <a:lnTo>
                    <a:pt x="1322" y="1894"/>
                  </a:lnTo>
                  <a:lnTo>
                    <a:pt x="1324" y="1878"/>
                  </a:lnTo>
                  <a:lnTo>
                    <a:pt x="1332" y="1862"/>
                  </a:lnTo>
                  <a:lnTo>
                    <a:pt x="1340" y="1848"/>
                  </a:lnTo>
                  <a:lnTo>
                    <a:pt x="1352" y="1836"/>
                  </a:lnTo>
                  <a:lnTo>
                    <a:pt x="1364" y="1824"/>
                  </a:lnTo>
                  <a:lnTo>
                    <a:pt x="1376" y="1816"/>
                  </a:lnTo>
                  <a:lnTo>
                    <a:pt x="1388" y="1808"/>
                  </a:lnTo>
                  <a:lnTo>
                    <a:pt x="1398" y="1802"/>
                  </a:lnTo>
                  <a:lnTo>
                    <a:pt x="1422" y="1792"/>
                  </a:lnTo>
                  <a:lnTo>
                    <a:pt x="1438" y="1782"/>
                  </a:lnTo>
                  <a:lnTo>
                    <a:pt x="1452" y="1772"/>
                  </a:lnTo>
                  <a:lnTo>
                    <a:pt x="1462" y="1764"/>
                  </a:lnTo>
                  <a:lnTo>
                    <a:pt x="1476" y="1750"/>
                  </a:lnTo>
                  <a:lnTo>
                    <a:pt x="1482" y="1744"/>
                  </a:lnTo>
                  <a:lnTo>
                    <a:pt x="1490" y="1740"/>
                  </a:lnTo>
                  <a:lnTo>
                    <a:pt x="1498" y="1738"/>
                  </a:lnTo>
                  <a:lnTo>
                    <a:pt x="1502" y="1738"/>
                  </a:lnTo>
                  <a:lnTo>
                    <a:pt x="1506" y="1740"/>
                  </a:lnTo>
                  <a:lnTo>
                    <a:pt x="1508" y="1742"/>
                  </a:lnTo>
                  <a:lnTo>
                    <a:pt x="1514" y="1742"/>
                  </a:lnTo>
                  <a:lnTo>
                    <a:pt x="1520" y="1742"/>
                  </a:lnTo>
                  <a:lnTo>
                    <a:pt x="1530" y="1740"/>
                  </a:lnTo>
                  <a:lnTo>
                    <a:pt x="1544" y="1738"/>
                  </a:lnTo>
                  <a:lnTo>
                    <a:pt x="1556" y="1738"/>
                  </a:lnTo>
                  <a:lnTo>
                    <a:pt x="1576" y="1738"/>
                  </a:lnTo>
                  <a:lnTo>
                    <a:pt x="1584" y="1738"/>
                  </a:lnTo>
                  <a:lnTo>
                    <a:pt x="1588" y="1736"/>
                  </a:lnTo>
                  <a:lnTo>
                    <a:pt x="1592" y="1734"/>
                  </a:lnTo>
                  <a:lnTo>
                    <a:pt x="1590" y="1728"/>
                  </a:lnTo>
                  <a:lnTo>
                    <a:pt x="1590" y="1724"/>
                  </a:lnTo>
                  <a:lnTo>
                    <a:pt x="1590" y="1722"/>
                  </a:lnTo>
                  <a:lnTo>
                    <a:pt x="1594" y="1716"/>
                  </a:lnTo>
                  <a:lnTo>
                    <a:pt x="1608" y="1702"/>
                  </a:lnTo>
                  <a:lnTo>
                    <a:pt x="1616" y="1696"/>
                  </a:lnTo>
                  <a:lnTo>
                    <a:pt x="1622" y="1690"/>
                  </a:lnTo>
                  <a:lnTo>
                    <a:pt x="1626" y="1682"/>
                  </a:lnTo>
                  <a:lnTo>
                    <a:pt x="1626" y="1676"/>
                  </a:lnTo>
                  <a:lnTo>
                    <a:pt x="1624" y="1672"/>
                  </a:lnTo>
                  <a:lnTo>
                    <a:pt x="1622" y="1662"/>
                  </a:lnTo>
                  <a:lnTo>
                    <a:pt x="1624" y="1654"/>
                  </a:lnTo>
                  <a:lnTo>
                    <a:pt x="1628" y="1644"/>
                  </a:lnTo>
                  <a:lnTo>
                    <a:pt x="1634" y="1634"/>
                  </a:lnTo>
                  <a:lnTo>
                    <a:pt x="1650" y="1610"/>
                  </a:lnTo>
                  <a:lnTo>
                    <a:pt x="1668" y="1580"/>
                  </a:lnTo>
                  <a:lnTo>
                    <a:pt x="1674" y="1564"/>
                  </a:lnTo>
                  <a:lnTo>
                    <a:pt x="1678" y="1550"/>
                  </a:lnTo>
                  <a:lnTo>
                    <a:pt x="1678" y="1536"/>
                  </a:lnTo>
                  <a:lnTo>
                    <a:pt x="1678" y="1524"/>
                  </a:lnTo>
                  <a:lnTo>
                    <a:pt x="1678" y="1514"/>
                  </a:lnTo>
                  <a:lnTo>
                    <a:pt x="1680" y="1506"/>
                  </a:lnTo>
                  <a:lnTo>
                    <a:pt x="1682" y="1498"/>
                  </a:lnTo>
                  <a:lnTo>
                    <a:pt x="1688" y="1494"/>
                  </a:lnTo>
                  <a:lnTo>
                    <a:pt x="1694" y="1488"/>
                  </a:lnTo>
                  <a:lnTo>
                    <a:pt x="1698" y="1480"/>
                  </a:lnTo>
                  <a:lnTo>
                    <a:pt x="1698" y="1470"/>
                  </a:lnTo>
                  <a:lnTo>
                    <a:pt x="1700" y="1460"/>
                  </a:lnTo>
                  <a:lnTo>
                    <a:pt x="1700" y="1434"/>
                  </a:lnTo>
                  <a:lnTo>
                    <a:pt x="1702" y="1418"/>
                  </a:lnTo>
                  <a:lnTo>
                    <a:pt x="1704" y="1404"/>
                  </a:lnTo>
                  <a:lnTo>
                    <a:pt x="1708" y="1390"/>
                  </a:lnTo>
                  <a:lnTo>
                    <a:pt x="1708" y="1378"/>
                  </a:lnTo>
                  <a:lnTo>
                    <a:pt x="1708" y="1368"/>
                  </a:lnTo>
                  <a:lnTo>
                    <a:pt x="1706" y="1360"/>
                  </a:lnTo>
                  <a:lnTo>
                    <a:pt x="1702" y="1342"/>
                  </a:lnTo>
                  <a:lnTo>
                    <a:pt x="1702" y="1334"/>
                  </a:lnTo>
                  <a:lnTo>
                    <a:pt x="1702" y="1324"/>
                  </a:lnTo>
                  <a:lnTo>
                    <a:pt x="1706" y="1252"/>
                  </a:lnTo>
                  <a:lnTo>
                    <a:pt x="1708" y="1234"/>
                  </a:lnTo>
                  <a:lnTo>
                    <a:pt x="1710" y="1224"/>
                  </a:lnTo>
                  <a:lnTo>
                    <a:pt x="1712" y="1220"/>
                  </a:lnTo>
                  <a:lnTo>
                    <a:pt x="1714" y="1220"/>
                  </a:lnTo>
                  <a:lnTo>
                    <a:pt x="1718" y="1222"/>
                  </a:lnTo>
                  <a:lnTo>
                    <a:pt x="1720" y="1226"/>
                  </a:lnTo>
                  <a:lnTo>
                    <a:pt x="1726" y="1234"/>
                  </a:lnTo>
                  <a:lnTo>
                    <a:pt x="1730" y="1238"/>
                  </a:lnTo>
                  <a:lnTo>
                    <a:pt x="1736" y="1238"/>
                  </a:lnTo>
                  <a:lnTo>
                    <a:pt x="1740" y="1234"/>
                  </a:lnTo>
                  <a:lnTo>
                    <a:pt x="1746" y="1224"/>
                  </a:lnTo>
                  <a:lnTo>
                    <a:pt x="1752" y="1212"/>
                  </a:lnTo>
                  <a:lnTo>
                    <a:pt x="1766" y="1176"/>
                  </a:lnTo>
                  <a:lnTo>
                    <a:pt x="1774" y="1158"/>
                  </a:lnTo>
                  <a:lnTo>
                    <a:pt x="1780" y="1146"/>
                  </a:lnTo>
                  <a:lnTo>
                    <a:pt x="1788" y="1136"/>
                  </a:lnTo>
                  <a:lnTo>
                    <a:pt x="1794" y="1128"/>
                  </a:lnTo>
                  <a:lnTo>
                    <a:pt x="1810" y="1112"/>
                  </a:lnTo>
                  <a:lnTo>
                    <a:pt x="1820" y="1100"/>
                  </a:lnTo>
                  <a:lnTo>
                    <a:pt x="1830" y="1082"/>
                  </a:lnTo>
                  <a:lnTo>
                    <a:pt x="1852" y="1044"/>
                  </a:lnTo>
                  <a:lnTo>
                    <a:pt x="1860" y="1030"/>
                  </a:lnTo>
                  <a:lnTo>
                    <a:pt x="1866" y="1016"/>
                  </a:lnTo>
                  <a:lnTo>
                    <a:pt x="1872" y="1002"/>
                  </a:lnTo>
                  <a:lnTo>
                    <a:pt x="1874" y="988"/>
                  </a:lnTo>
                  <a:lnTo>
                    <a:pt x="1874" y="972"/>
                  </a:lnTo>
                  <a:lnTo>
                    <a:pt x="1872" y="956"/>
                  </a:lnTo>
                  <a:close/>
                  <a:moveTo>
                    <a:pt x="1128" y="2234"/>
                  </a:moveTo>
                  <a:lnTo>
                    <a:pt x="1128" y="2234"/>
                  </a:lnTo>
                  <a:lnTo>
                    <a:pt x="1132" y="2242"/>
                  </a:lnTo>
                  <a:lnTo>
                    <a:pt x="1128" y="2234"/>
                  </a:lnTo>
                  <a:close/>
                  <a:moveTo>
                    <a:pt x="698" y="3490"/>
                  </a:moveTo>
                  <a:lnTo>
                    <a:pt x="698" y="3490"/>
                  </a:lnTo>
                  <a:lnTo>
                    <a:pt x="692" y="3492"/>
                  </a:lnTo>
                  <a:lnTo>
                    <a:pt x="688" y="3490"/>
                  </a:lnTo>
                  <a:lnTo>
                    <a:pt x="684" y="3490"/>
                  </a:lnTo>
                  <a:lnTo>
                    <a:pt x="678" y="3492"/>
                  </a:lnTo>
                  <a:lnTo>
                    <a:pt x="670" y="3496"/>
                  </a:lnTo>
                  <a:lnTo>
                    <a:pt x="666" y="3498"/>
                  </a:lnTo>
                  <a:lnTo>
                    <a:pt x="670" y="3500"/>
                  </a:lnTo>
                  <a:lnTo>
                    <a:pt x="672" y="3500"/>
                  </a:lnTo>
                  <a:lnTo>
                    <a:pt x="678" y="3498"/>
                  </a:lnTo>
                  <a:lnTo>
                    <a:pt x="682" y="3494"/>
                  </a:lnTo>
                  <a:lnTo>
                    <a:pt x="684" y="3496"/>
                  </a:lnTo>
                  <a:lnTo>
                    <a:pt x="686" y="3498"/>
                  </a:lnTo>
                  <a:lnTo>
                    <a:pt x="690" y="3496"/>
                  </a:lnTo>
                  <a:lnTo>
                    <a:pt x="694" y="3496"/>
                  </a:lnTo>
                  <a:lnTo>
                    <a:pt x="696" y="3496"/>
                  </a:lnTo>
                  <a:lnTo>
                    <a:pt x="700" y="3496"/>
                  </a:lnTo>
                  <a:lnTo>
                    <a:pt x="702" y="3494"/>
                  </a:lnTo>
                  <a:lnTo>
                    <a:pt x="704" y="3492"/>
                  </a:lnTo>
                  <a:lnTo>
                    <a:pt x="702" y="3490"/>
                  </a:lnTo>
                  <a:lnTo>
                    <a:pt x="698" y="3490"/>
                  </a:lnTo>
                  <a:close/>
                  <a:moveTo>
                    <a:pt x="294" y="3084"/>
                  </a:moveTo>
                  <a:lnTo>
                    <a:pt x="294" y="3084"/>
                  </a:lnTo>
                  <a:lnTo>
                    <a:pt x="298" y="3086"/>
                  </a:lnTo>
                  <a:lnTo>
                    <a:pt x="300" y="3084"/>
                  </a:lnTo>
                  <a:lnTo>
                    <a:pt x="300" y="3082"/>
                  </a:lnTo>
                  <a:lnTo>
                    <a:pt x="298" y="3080"/>
                  </a:lnTo>
                  <a:lnTo>
                    <a:pt x="292" y="3078"/>
                  </a:lnTo>
                  <a:lnTo>
                    <a:pt x="286" y="3078"/>
                  </a:lnTo>
                  <a:lnTo>
                    <a:pt x="282" y="3078"/>
                  </a:lnTo>
                  <a:lnTo>
                    <a:pt x="276" y="3080"/>
                  </a:lnTo>
                  <a:lnTo>
                    <a:pt x="274" y="3082"/>
                  </a:lnTo>
                  <a:lnTo>
                    <a:pt x="274" y="3084"/>
                  </a:lnTo>
                  <a:lnTo>
                    <a:pt x="280" y="3084"/>
                  </a:lnTo>
                  <a:lnTo>
                    <a:pt x="288" y="3084"/>
                  </a:lnTo>
                  <a:lnTo>
                    <a:pt x="294" y="3084"/>
                  </a:lnTo>
                  <a:close/>
                  <a:moveTo>
                    <a:pt x="338" y="3318"/>
                  </a:moveTo>
                  <a:lnTo>
                    <a:pt x="338" y="3318"/>
                  </a:lnTo>
                  <a:lnTo>
                    <a:pt x="330" y="3322"/>
                  </a:lnTo>
                  <a:lnTo>
                    <a:pt x="328" y="3324"/>
                  </a:lnTo>
                  <a:lnTo>
                    <a:pt x="330" y="3326"/>
                  </a:lnTo>
                  <a:lnTo>
                    <a:pt x="334" y="3326"/>
                  </a:lnTo>
                  <a:lnTo>
                    <a:pt x="338" y="3322"/>
                  </a:lnTo>
                  <a:lnTo>
                    <a:pt x="338" y="3318"/>
                  </a:lnTo>
                  <a:close/>
                  <a:moveTo>
                    <a:pt x="292" y="3034"/>
                  </a:moveTo>
                  <a:lnTo>
                    <a:pt x="292" y="3034"/>
                  </a:lnTo>
                  <a:lnTo>
                    <a:pt x="290" y="3032"/>
                  </a:lnTo>
                  <a:lnTo>
                    <a:pt x="288" y="3030"/>
                  </a:lnTo>
                  <a:lnTo>
                    <a:pt x="284" y="3030"/>
                  </a:lnTo>
                  <a:lnTo>
                    <a:pt x="282" y="3034"/>
                  </a:lnTo>
                  <a:lnTo>
                    <a:pt x="284" y="3036"/>
                  </a:lnTo>
                  <a:lnTo>
                    <a:pt x="286" y="3038"/>
                  </a:lnTo>
                  <a:lnTo>
                    <a:pt x="290" y="3036"/>
                  </a:lnTo>
                  <a:lnTo>
                    <a:pt x="292" y="3034"/>
                  </a:lnTo>
                  <a:close/>
                  <a:moveTo>
                    <a:pt x="420" y="3442"/>
                  </a:moveTo>
                  <a:lnTo>
                    <a:pt x="420" y="3442"/>
                  </a:lnTo>
                  <a:lnTo>
                    <a:pt x="420" y="3446"/>
                  </a:lnTo>
                  <a:lnTo>
                    <a:pt x="424" y="3452"/>
                  </a:lnTo>
                  <a:lnTo>
                    <a:pt x="440" y="3462"/>
                  </a:lnTo>
                  <a:lnTo>
                    <a:pt x="444" y="3464"/>
                  </a:lnTo>
                  <a:lnTo>
                    <a:pt x="444" y="3462"/>
                  </a:lnTo>
                  <a:lnTo>
                    <a:pt x="442" y="3458"/>
                  </a:lnTo>
                  <a:lnTo>
                    <a:pt x="438" y="3454"/>
                  </a:lnTo>
                  <a:lnTo>
                    <a:pt x="430" y="3446"/>
                  </a:lnTo>
                  <a:lnTo>
                    <a:pt x="434" y="3448"/>
                  </a:lnTo>
                  <a:lnTo>
                    <a:pt x="438" y="3450"/>
                  </a:lnTo>
                  <a:lnTo>
                    <a:pt x="442" y="3450"/>
                  </a:lnTo>
                  <a:lnTo>
                    <a:pt x="442" y="3448"/>
                  </a:lnTo>
                  <a:lnTo>
                    <a:pt x="440" y="3444"/>
                  </a:lnTo>
                  <a:lnTo>
                    <a:pt x="436" y="3438"/>
                  </a:lnTo>
                  <a:lnTo>
                    <a:pt x="434" y="3432"/>
                  </a:lnTo>
                  <a:lnTo>
                    <a:pt x="434" y="3420"/>
                  </a:lnTo>
                  <a:lnTo>
                    <a:pt x="434" y="3418"/>
                  </a:lnTo>
                  <a:lnTo>
                    <a:pt x="434" y="3420"/>
                  </a:lnTo>
                  <a:lnTo>
                    <a:pt x="430" y="3422"/>
                  </a:lnTo>
                  <a:lnTo>
                    <a:pt x="426" y="3428"/>
                  </a:lnTo>
                  <a:lnTo>
                    <a:pt x="426" y="3432"/>
                  </a:lnTo>
                  <a:lnTo>
                    <a:pt x="426" y="3436"/>
                  </a:lnTo>
                  <a:lnTo>
                    <a:pt x="424" y="3436"/>
                  </a:lnTo>
                  <a:lnTo>
                    <a:pt x="422" y="3436"/>
                  </a:lnTo>
                  <a:lnTo>
                    <a:pt x="420" y="3442"/>
                  </a:lnTo>
                  <a:close/>
                  <a:moveTo>
                    <a:pt x="272" y="3186"/>
                  </a:moveTo>
                  <a:lnTo>
                    <a:pt x="272" y="3186"/>
                  </a:lnTo>
                  <a:lnTo>
                    <a:pt x="270" y="3186"/>
                  </a:lnTo>
                  <a:lnTo>
                    <a:pt x="272" y="3180"/>
                  </a:lnTo>
                  <a:lnTo>
                    <a:pt x="274" y="3174"/>
                  </a:lnTo>
                  <a:lnTo>
                    <a:pt x="274" y="3168"/>
                  </a:lnTo>
                  <a:lnTo>
                    <a:pt x="274" y="3150"/>
                  </a:lnTo>
                  <a:lnTo>
                    <a:pt x="272" y="3136"/>
                  </a:lnTo>
                  <a:lnTo>
                    <a:pt x="272" y="3132"/>
                  </a:lnTo>
                  <a:lnTo>
                    <a:pt x="270" y="3132"/>
                  </a:lnTo>
                  <a:lnTo>
                    <a:pt x="266" y="3132"/>
                  </a:lnTo>
                  <a:lnTo>
                    <a:pt x="264" y="3130"/>
                  </a:lnTo>
                  <a:lnTo>
                    <a:pt x="262" y="3130"/>
                  </a:lnTo>
                  <a:lnTo>
                    <a:pt x="258" y="3132"/>
                  </a:lnTo>
                  <a:lnTo>
                    <a:pt x="252" y="3136"/>
                  </a:lnTo>
                  <a:lnTo>
                    <a:pt x="250" y="3138"/>
                  </a:lnTo>
                  <a:lnTo>
                    <a:pt x="252" y="3140"/>
                  </a:lnTo>
                  <a:lnTo>
                    <a:pt x="254" y="3142"/>
                  </a:lnTo>
                  <a:lnTo>
                    <a:pt x="254" y="3144"/>
                  </a:lnTo>
                  <a:lnTo>
                    <a:pt x="254" y="3146"/>
                  </a:lnTo>
                  <a:lnTo>
                    <a:pt x="256" y="3148"/>
                  </a:lnTo>
                  <a:lnTo>
                    <a:pt x="258" y="3150"/>
                  </a:lnTo>
                  <a:lnTo>
                    <a:pt x="260" y="3154"/>
                  </a:lnTo>
                  <a:lnTo>
                    <a:pt x="258" y="3164"/>
                  </a:lnTo>
                  <a:lnTo>
                    <a:pt x="256" y="3166"/>
                  </a:lnTo>
                  <a:lnTo>
                    <a:pt x="252" y="3164"/>
                  </a:lnTo>
                  <a:lnTo>
                    <a:pt x="250" y="3162"/>
                  </a:lnTo>
                  <a:lnTo>
                    <a:pt x="246" y="3162"/>
                  </a:lnTo>
                  <a:lnTo>
                    <a:pt x="244" y="3164"/>
                  </a:lnTo>
                  <a:lnTo>
                    <a:pt x="242" y="3162"/>
                  </a:lnTo>
                  <a:lnTo>
                    <a:pt x="238" y="3162"/>
                  </a:lnTo>
                  <a:lnTo>
                    <a:pt x="236" y="3164"/>
                  </a:lnTo>
                  <a:lnTo>
                    <a:pt x="234" y="3168"/>
                  </a:lnTo>
                  <a:lnTo>
                    <a:pt x="236" y="3172"/>
                  </a:lnTo>
                  <a:lnTo>
                    <a:pt x="238" y="3178"/>
                  </a:lnTo>
                  <a:lnTo>
                    <a:pt x="242" y="3184"/>
                  </a:lnTo>
                  <a:lnTo>
                    <a:pt x="244" y="3190"/>
                  </a:lnTo>
                  <a:lnTo>
                    <a:pt x="246" y="3194"/>
                  </a:lnTo>
                  <a:lnTo>
                    <a:pt x="248" y="3200"/>
                  </a:lnTo>
                  <a:lnTo>
                    <a:pt x="250" y="3200"/>
                  </a:lnTo>
                  <a:lnTo>
                    <a:pt x="252" y="3200"/>
                  </a:lnTo>
                  <a:lnTo>
                    <a:pt x="254" y="3196"/>
                  </a:lnTo>
                  <a:lnTo>
                    <a:pt x="254" y="3190"/>
                  </a:lnTo>
                  <a:lnTo>
                    <a:pt x="252" y="3184"/>
                  </a:lnTo>
                  <a:lnTo>
                    <a:pt x="250" y="3180"/>
                  </a:lnTo>
                  <a:lnTo>
                    <a:pt x="252" y="3178"/>
                  </a:lnTo>
                  <a:lnTo>
                    <a:pt x="254" y="3178"/>
                  </a:lnTo>
                  <a:lnTo>
                    <a:pt x="258" y="3182"/>
                  </a:lnTo>
                  <a:lnTo>
                    <a:pt x="262" y="3184"/>
                  </a:lnTo>
                  <a:lnTo>
                    <a:pt x="262" y="3186"/>
                  </a:lnTo>
                  <a:lnTo>
                    <a:pt x="260" y="3186"/>
                  </a:lnTo>
                  <a:lnTo>
                    <a:pt x="258" y="3190"/>
                  </a:lnTo>
                  <a:lnTo>
                    <a:pt x="258" y="3192"/>
                  </a:lnTo>
                  <a:lnTo>
                    <a:pt x="258" y="3194"/>
                  </a:lnTo>
                  <a:lnTo>
                    <a:pt x="258" y="3198"/>
                  </a:lnTo>
                  <a:lnTo>
                    <a:pt x="258" y="3202"/>
                  </a:lnTo>
                  <a:lnTo>
                    <a:pt x="258" y="3206"/>
                  </a:lnTo>
                  <a:lnTo>
                    <a:pt x="260" y="3208"/>
                  </a:lnTo>
                  <a:lnTo>
                    <a:pt x="266" y="3208"/>
                  </a:lnTo>
                  <a:lnTo>
                    <a:pt x="270" y="3208"/>
                  </a:lnTo>
                  <a:lnTo>
                    <a:pt x="272" y="3206"/>
                  </a:lnTo>
                  <a:lnTo>
                    <a:pt x="274" y="3200"/>
                  </a:lnTo>
                  <a:lnTo>
                    <a:pt x="274" y="3194"/>
                  </a:lnTo>
                  <a:lnTo>
                    <a:pt x="276" y="3192"/>
                  </a:lnTo>
                  <a:lnTo>
                    <a:pt x="276" y="3190"/>
                  </a:lnTo>
                  <a:lnTo>
                    <a:pt x="276" y="3188"/>
                  </a:lnTo>
                  <a:lnTo>
                    <a:pt x="276" y="3186"/>
                  </a:lnTo>
                  <a:lnTo>
                    <a:pt x="272" y="318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48" name="Freeform 6151">
              <a:extLst>
                <a:ext uri="{FF2B5EF4-FFF2-40B4-BE49-F238E27FC236}">
                  <a16:creationId xmlns:a16="http://schemas.microsoft.com/office/drawing/2014/main" id="{E2257219-CD01-4575-87A0-ABBE765635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34182" y="3952882"/>
              <a:ext cx="1708155" cy="1525582"/>
            </a:xfrm>
            <a:custGeom>
              <a:avLst/>
              <a:gdLst>
                <a:gd name="T0" fmla="*/ 441960 w 2690"/>
                <a:gd name="T1" fmla="*/ 349032 h 2404"/>
                <a:gd name="T2" fmla="*/ 1037590 w 2690"/>
                <a:gd name="T3" fmla="*/ 357917 h 2404"/>
                <a:gd name="T4" fmla="*/ 979170 w 2690"/>
                <a:gd name="T5" fmla="*/ 750102 h 2404"/>
                <a:gd name="T6" fmla="*/ 911860 w 2690"/>
                <a:gd name="T7" fmla="*/ 630796 h 2404"/>
                <a:gd name="T8" fmla="*/ 789940 w 2690"/>
                <a:gd name="T9" fmla="*/ 445492 h 2404"/>
                <a:gd name="T10" fmla="*/ 726440 w 2690"/>
                <a:gd name="T11" fmla="*/ 403608 h 2404"/>
                <a:gd name="T12" fmla="*/ 579120 w 2690"/>
                <a:gd name="T13" fmla="*/ 472145 h 2404"/>
                <a:gd name="T14" fmla="*/ 584200 w 2690"/>
                <a:gd name="T15" fmla="*/ 383301 h 2404"/>
                <a:gd name="T16" fmla="*/ 478790 w 2690"/>
                <a:gd name="T17" fmla="*/ 352840 h 2404"/>
                <a:gd name="T18" fmla="*/ 388620 w 2690"/>
                <a:gd name="T19" fmla="*/ 458184 h 2404"/>
                <a:gd name="T20" fmla="*/ 262890 w 2690"/>
                <a:gd name="T21" fmla="*/ 533067 h 2404"/>
                <a:gd name="T22" fmla="*/ 69850 w 2690"/>
                <a:gd name="T23" fmla="*/ 656181 h 2404"/>
                <a:gd name="T24" fmla="*/ 5080 w 2690"/>
                <a:gd name="T25" fmla="*/ 802139 h 2404"/>
                <a:gd name="T26" fmla="*/ 60960 w 2690"/>
                <a:gd name="T27" fmla="*/ 1055981 h 2404"/>
                <a:gd name="T28" fmla="*/ 218440 w 2690"/>
                <a:gd name="T29" fmla="*/ 1077558 h 2404"/>
                <a:gd name="T30" fmla="*/ 490220 w 2690"/>
                <a:gd name="T31" fmla="*/ 1012828 h 2404"/>
                <a:gd name="T32" fmla="*/ 628650 w 2690"/>
                <a:gd name="T33" fmla="*/ 1040751 h 2404"/>
                <a:gd name="T34" fmla="*/ 647700 w 2690"/>
                <a:gd name="T35" fmla="*/ 1137210 h 2404"/>
                <a:gd name="T36" fmla="*/ 810260 w 2690"/>
                <a:gd name="T37" fmla="*/ 1215901 h 2404"/>
                <a:gd name="T38" fmla="*/ 938530 w 2690"/>
                <a:gd name="T39" fmla="*/ 1189248 h 2404"/>
                <a:gd name="T40" fmla="*/ 1033780 w 2690"/>
                <a:gd name="T41" fmla="*/ 896061 h 2404"/>
                <a:gd name="T42" fmla="*/ 1059180 w 2690"/>
                <a:gd name="T43" fmla="*/ 154843 h 2404"/>
                <a:gd name="T44" fmla="*/ 788670 w 2690"/>
                <a:gd name="T45" fmla="*/ 1289515 h 2404"/>
                <a:gd name="T46" fmla="*/ 810260 w 2690"/>
                <a:gd name="T47" fmla="*/ 1344091 h 2404"/>
                <a:gd name="T48" fmla="*/ 881380 w 2690"/>
                <a:gd name="T49" fmla="*/ 1394860 h 2404"/>
                <a:gd name="T50" fmla="*/ 623570 w 2690"/>
                <a:gd name="T51" fmla="*/ 1148633 h 2404"/>
                <a:gd name="T52" fmla="*/ 1405890 w 2690"/>
                <a:gd name="T53" fmla="*/ 516568 h 2404"/>
                <a:gd name="T54" fmla="*/ 1370330 w 2690"/>
                <a:gd name="T55" fmla="*/ 696795 h 2404"/>
                <a:gd name="T56" fmla="*/ 1367790 w 2690"/>
                <a:gd name="T57" fmla="*/ 455646 h 2404"/>
                <a:gd name="T58" fmla="*/ 1125220 w 2690"/>
                <a:gd name="T59" fmla="*/ 244957 h 2404"/>
                <a:gd name="T60" fmla="*/ 1106170 w 2690"/>
                <a:gd name="T61" fmla="*/ 201804 h 2404"/>
                <a:gd name="T62" fmla="*/ 1162050 w 2690"/>
                <a:gd name="T63" fmla="*/ 242419 h 2404"/>
                <a:gd name="T64" fmla="*/ 1210310 w 2690"/>
                <a:gd name="T65" fmla="*/ 365532 h 2404"/>
                <a:gd name="T66" fmla="*/ 1394460 w 2690"/>
                <a:gd name="T67" fmla="*/ 512760 h 2404"/>
                <a:gd name="T68" fmla="*/ 1545590 w 2690"/>
                <a:gd name="T69" fmla="*/ 1325053 h 2404"/>
                <a:gd name="T70" fmla="*/ 1426210 w 2690"/>
                <a:gd name="T71" fmla="*/ 1426590 h 2404"/>
                <a:gd name="T72" fmla="*/ 1432560 w 2690"/>
                <a:gd name="T73" fmla="*/ 1525588 h 2404"/>
                <a:gd name="T74" fmla="*/ 1534160 w 2690"/>
                <a:gd name="T75" fmla="*/ 1393590 h 2404"/>
                <a:gd name="T76" fmla="*/ 1692910 w 2690"/>
                <a:gd name="T77" fmla="*/ 521644 h 2404"/>
                <a:gd name="T78" fmla="*/ 1576070 w 2690"/>
                <a:gd name="T79" fmla="*/ 1165133 h 2404"/>
                <a:gd name="T80" fmla="*/ 1564640 w 2690"/>
                <a:gd name="T81" fmla="*/ 1161325 h 2404"/>
                <a:gd name="T82" fmla="*/ 1588770 w 2690"/>
                <a:gd name="T83" fmla="*/ 1345360 h 2404"/>
                <a:gd name="T84" fmla="*/ 1651000 w 2690"/>
                <a:gd name="T85" fmla="*/ 1208286 h 2404"/>
                <a:gd name="T86" fmla="*/ 1428750 w 2690"/>
                <a:gd name="T87" fmla="*/ 587643 h 2404"/>
                <a:gd name="T88" fmla="*/ 966470 w 2690"/>
                <a:gd name="T89" fmla="*/ 312225 h 2404"/>
                <a:gd name="T90" fmla="*/ 867410 w 2690"/>
                <a:gd name="T91" fmla="*/ 159920 h 2404"/>
                <a:gd name="T92" fmla="*/ 584200 w 2690"/>
                <a:gd name="T93" fmla="*/ 49499 h 2404"/>
                <a:gd name="T94" fmla="*/ 539750 w 2690"/>
                <a:gd name="T95" fmla="*/ 182766 h 2404"/>
                <a:gd name="T96" fmla="*/ 631190 w 2690"/>
                <a:gd name="T97" fmla="*/ 243688 h 2404"/>
                <a:gd name="T98" fmla="*/ 673100 w 2690"/>
                <a:gd name="T99" fmla="*/ 510222 h 2404"/>
                <a:gd name="T100" fmla="*/ 769620 w 2690"/>
                <a:gd name="T101" fmla="*/ 279226 h 2404"/>
                <a:gd name="T102" fmla="*/ 889000 w 2690"/>
                <a:gd name="T103" fmla="*/ 312225 h 2404"/>
                <a:gd name="T104" fmla="*/ 885190 w 2690"/>
                <a:gd name="T105" fmla="*/ 244957 h 2404"/>
                <a:gd name="T106" fmla="*/ 774700 w 2690"/>
                <a:gd name="T107" fmla="*/ 107883 h 2404"/>
                <a:gd name="T108" fmla="*/ 922020 w 2690"/>
                <a:gd name="T109" fmla="*/ 187843 h 2404"/>
                <a:gd name="T110" fmla="*/ 971550 w 2690"/>
                <a:gd name="T111" fmla="*/ 153574 h 2404"/>
                <a:gd name="T112" fmla="*/ 1008380 w 2690"/>
                <a:gd name="T113" fmla="*/ 128190 h 2404"/>
                <a:gd name="T114" fmla="*/ 952500 w 2690"/>
                <a:gd name="T115" fmla="*/ 81229 h 2404"/>
                <a:gd name="T116" fmla="*/ 487680 w 2690"/>
                <a:gd name="T117" fmla="*/ 92652 h 2404"/>
                <a:gd name="T118" fmla="*/ 637540 w 2690"/>
                <a:gd name="T119" fmla="*/ 180228 h 2404"/>
                <a:gd name="T120" fmla="*/ 613410 w 2690"/>
                <a:gd name="T121" fmla="*/ 60922 h 2404"/>
                <a:gd name="T122" fmla="*/ 499110 w 2690"/>
                <a:gd name="T123" fmla="*/ 11423 h 2404"/>
                <a:gd name="T124" fmla="*/ 1026160 w 2690"/>
                <a:gd name="T125" fmla="*/ 776755 h 24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90"/>
                <a:gd name="T190" fmla="*/ 0 h 2404"/>
                <a:gd name="T191" fmla="*/ 2690 w 2690"/>
                <a:gd name="T192" fmla="*/ 2404 h 240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90" h="2404">
                  <a:moveTo>
                    <a:pt x="692" y="12"/>
                  </a:moveTo>
                  <a:lnTo>
                    <a:pt x="692" y="12"/>
                  </a:lnTo>
                  <a:lnTo>
                    <a:pt x="698" y="14"/>
                  </a:lnTo>
                  <a:lnTo>
                    <a:pt x="702" y="18"/>
                  </a:lnTo>
                  <a:lnTo>
                    <a:pt x="708" y="20"/>
                  </a:lnTo>
                  <a:lnTo>
                    <a:pt x="714" y="20"/>
                  </a:lnTo>
                  <a:lnTo>
                    <a:pt x="716" y="20"/>
                  </a:lnTo>
                  <a:lnTo>
                    <a:pt x="714" y="18"/>
                  </a:lnTo>
                  <a:lnTo>
                    <a:pt x="712" y="16"/>
                  </a:lnTo>
                  <a:lnTo>
                    <a:pt x="710" y="12"/>
                  </a:lnTo>
                  <a:lnTo>
                    <a:pt x="708" y="12"/>
                  </a:lnTo>
                  <a:lnTo>
                    <a:pt x="710" y="12"/>
                  </a:lnTo>
                  <a:lnTo>
                    <a:pt x="714" y="12"/>
                  </a:lnTo>
                  <a:lnTo>
                    <a:pt x="718" y="16"/>
                  </a:lnTo>
                  <a:lnTo>
                    <a:pt x="722" y="18"/>
                  </a:lnTo>
                  <a:lnTo>
                    <a:pt x="728" y="18"/>
                  </a:lnTo>
                  <a:lnTo>
                    <a:pt x="730" y="16"/>
                  </a:lnTo>
                  <a:lnTo>
                    <a:pt x="730" y="12"/>
                  </a:lnTo>
                  <a:lnTo>
                    <a:pt x="724" y="6"/>
                  </a:lnTo>
                  <a:lnTo>
                    <a:pt x="714" y="2"/>
                  </a:lnTo>
                  <a:lnTo>
                    <a:pt x="708" y="0"/>
                  </a:lnTo>
                  <a:lnTo>
                    <a:pt x="702" y="2"/>
                  </a:lnTo>
                  <a:lnTo>
                    <a:pt x="694" y="4"/>
                  </a:lnTo>
                  <a:lnTo>
                    <a:pt x="688" y="8"/>
                  </a:lnTo>
                  <a:lnTo>
                    <a:pt x="688" y="10"/>
                  </a:lnTo>
                  <a:lnTo>
                    <a:pt x="692" y="12"/>
                  </a:lnTo>
                  <a:close/>
                  <a:moveTo>
                    <a:pt x="742" y="352"/>
                  </a:moveTo>
                  <a:lnTo>
                    <a:pt x="742" y="352"/>
                  </a:lnTo>
                  <a:lnTo>
                    <a:pt x="740" y="350"/>
                  </a:lnTo>
                  <a:lnTo>
                    <a:pt x="736" y="352"/>
                  </a:lnTo>
                  <a:lnTo>
                    <a:pt x="732" y="358"/>
                  </a:lnTo>
                  <a:lnTo>
                    <a:pt x="728" y="366"/>
                  </a:lnTo>
                  <a:lnTo>
                    <a:pt x="724" y="382"/>
                  </a:lnTo>
                  <a:lnTo>
                    <a:pt x="724" y="386"/>
                  </a:lnTo>
                  <a:lnTo>
                    <a:pt x="724" y="388"/>
                  </a:lnTo>
                  <a:lnTo>
                    <a:pt x="726" y="388"/>
                  </a:lnTo>
                  <a:lnTo>
                    <a:pt x="736" y="382"/>
                  </a:lnTo>
                  <a:lnTo>
                    <a:pt x="742" y="374"/>
                  </a:lnTo>
                  <a:lnTo>
                    <a:pt x="744" y="364"/>
                  </a:lnTo>
                  <a:lnTo>
                    <a:pt x="742" y="352"/>
                  </a:lnTo>
                  <a:close/>
                  <a:moveTo>
                    <a:pt x="696" y="550"/>
                  </a:moveTo>
                  <a:lnTo>
                    <a:pt x="696" y="550"/>
                  </a:lnTo>
                  <a:lnTo>
                    <a:pt x="692" y="548"/>
                  </a:lnTo>
                  <a:lnTo>
                    <a:pt x="690" y="548"/>
                  </a:lnTo>
                  <a:lnTo>
                    <a:pt x="690" y="552"/>
                  </a:lnTo>
                  <a:lnTo>
                    <a:pt x="692" y="556"/>
                  </a:lnTo>
                  <a:lnTo>
                    <a:pt x="700" y="566"/>
                  </a:lnTo>
                  <a:lnTo>
                    <a:pt x="710" y="578"/>
                  </a:lnTo>
                  <a:lnTo>
                    <a:pt x="714" y="580"/>
                  </a:lnTo>
                  <a:lnTo>
                    <a:pt x="718" y="578"/>
                  </a:lnTo>
                  <a:lnTo>
                    <a:pt x="724" y="576"/>
                  </a:lnTo>
                  <a:lnTo>
                    <a:pt x="728" y="574"/>
                  </a:lnTo>
                  <a:lnTo>
                    <a:pt x="734" y="568"/>
                  </a:lnTo>
                  <a:lnTo>
                    <a:pt x="736" y="564"/>
                  </a:lnTo>
                  <a:lnTo>
                    <a:pt x="738" y="558"/>
                  </a:lnTo>
                  <a:lnTo>
                    <a:pt x="736" y="552"/>
                  </a:lnTo>
                  <a:lnTo>
                    <a:pt x="730" y="546"/>
                  </a:lnTo>
                  <a:lnTo>
                    <a:pt x="728" y="544"/>
                  </a:lnTo>
                  <a:lnTo>
                    <a:pt x="724" y="546"/>
                  </a:lnTo>
                  <a:lnTo>
                    <a:pt x="722" y="548"/>
                  </a:lnTo>
                  <a:lnTo>
                    <a:pt x="718" y="552"/>
                  </a:lnTo>
                  <a:lnTo>
                    <a:pt x="712" y="554"/>
                  </a:lnTo>
                  <a:lnTo>
                    <a:pt x="706" y="554"/>
                  </a:lnTo>
                  <a:lnTo>
                    <a:pt x="696" y="550"/>
                  </a:lnTo>
                  <a:close/>
                  <a:moveTo>
                    <a:pt x="936" y="688"/>
                  </a:moveTo>
                  <a:lnTo>
                    <a:pt x="936" y="688"/>
                  </a:lnTo>
                  <a:lnTo>
                    <a:pt x="938" y="696"/>
                  </a:lnTo>
                  <a:lnTo>
                    <a:pt x="940" y="696"/>
                  </a:lnTo>
                  <a:lnTo>
                    <a:pt x="942" y="696"/>
                  </a:lnTo>
                  <a:lnTo>
                    <a:pt x="946" y="692"/>
                  </a:lnTo>
                  <a:lnTo>
                    <a:pt x="950" y="684"/>
                  </a:lnTo>
                  <a:lnTo>
                    <a:pt x="950" y="680"/>
                  </a:lnTo>
                  <a:lnTo>
                    <a:pt x="950" y="678"/>
                  </a:lnTo>
                  <a:lnTo>
                    <a:pt x="946" y="676"/>
                  </a:lnTo>
                  <a:lnTo>
                    <a:pt x="942" y="676"/>
                  </a:lnTo>
                  <a:lnTo>
                    <a:pt x="940" y="676"/>
                  </a:lnTo>
                  <a:lnTo>
                    <a:pt x="936" y="680"/>
                  </a:lnTo>
                  <a:lnTo>
                    <a:pt x="934" y="684"/>
                  </a:lnTo>
                  <a:lnTo>
                    <a:pt x="936" y="688"/>
                  </a:lnTo>
                  <a:close/>
                  <a:moveTo>
                    <a:pt x="1610" y="556"/>
                  </a:moveTo>
                  <a:lnTo>
                    <a:pt x="1610" y="556"/>
                  </a:lnTo>
                  <a:lnTo>
                    <a:pt x="1616" y="560"/>
                  </a:lnTo>
                  <a:lnTo>
                    <a:pt x="1624" y="562"/>
                  </a:lnTo>
                  <a:lnTo>
                    <a:pt x="1632" y="564"/>
                  </a:lnTo>
                  <a:lnTo>
                    <a:pt x="1634" y="564"/>
                  </a:lnTo>
                  <a:lnTo>
                    <a:pt x="1634" y="562"/>
                  </a:lnTo>
                  <a:lnTo>
                    <a:pt x="1628" y="558"/>
                  </a:lnTo>
                  <a:lnTo>
                    <a:pt x="1618" y="552"/>
                  </a:lnTo>
                  <a:lnTo>
                    <a:pt x="1610" y="550"/>
                  </a:lnTo>
                  <a:lnTo>
                    <a:pt x="1610" y="552"/>
                  </a:lnTo>
                  <a:lnTo>
                    <a:pt x="1610" y="556"/>
                  </a:lnTo>
                  <a:close/>
                  <a:moveTo>
                    <a:pt x="1402" y="2052"/>
                  </a:moveTo>
                  <a:lnTo>
                    <a:pt x="1402" y="2052"/>
                  </a:lnTo>
                  <a:lnTo>
                    <a:pt x="1404" y="2054"/>
                  </a:lnTo>
                  <a:lnTo>
                    <a:pt x="1410" y="2056"/>
                  </a:lnTo>
                  <a:lnTo>
                    <a:pt x="1416" y="2056"/>
                  </a:lnTo>
                  <a:lnTo>
                    <a:pt x="1420" y="2054"/>
                  </a:lnTo>
                  <a:lnTo>
                    <a:pt x="1420" y="2052"/>
                  </a:lnTo>
                  <a:lnTo>
                    <a:pt x="1418" y="2048"/>
                  </a:lnTo>
                  <a:lnTo>
                    <a:pt x="1412" y="2048"/>
                  </a:lnTo>
                  <a:lnTo>
                    <a:pt x="1404" y="2048"/>
                  </a:lnTo>
                  <a:lnTo>
                    <a:pt x="1402" y="2050"/>
                  </a:lnTo>
                  <a:lnTo>
                    <a:pt x="1402" y="2052"/>
                  </a:lnTo>
                  <a:close/>
                  <a:moveTo>
                    <a:pt x="1610" y="1344"/>
                  </a:moveTo>
                  <a:lnTo>
                    <a:pt x="1610" y="1344"/>
                  </a:lnTo>
                  <a:lnTo>
                    <a:pt x="1612" y="1338"/>
                  </a:lnTo>
                  <a:lnTo>
                    <a:pt x="1614" y="1334"/>
                  </a:lnTo>
                  <a:lnTo>
                    <a:pt x="1612" y="1324"/>
                  </a:lnTo>
                  <a:lnTo>
                    <a:pt x="1610" y="1312"/>
                  </a:lnTo>
                  <a:lnTo>
                    <a:pt x="1608" y="1304"/>
                  </a:lnTo>
                  <a:lnTo>
                    <a:pt x="1610" y="1294"/>
                  </a:lnTo>
                  <a:lnTo>
                    <a:pt x="1610" y="1280"/>
                  </a:lnTo>
                  <a:lnTo>
                    <a:pt x="1608" y="1276"/>
                  </a:lnTo>
                  <a:lnTo>
                    <a:pt x="1606" y="1276"/>
                  </a:lnTo>
                  <a:lnTo>
                    <a:pt x="1604" y="1274"/>
                  </a:lnTo>
                  <a:lnTo>
                    <a:pt x="1600" y="1270"/>
                  </a:lnTo>
                  <a:lnTo>
                    <a:pt x="1598" y="1266"/>
                  </a:lnTo>
                  <a:lnTo>
                    <a:pt x="1596" y="1256"/>
                  </a:lnTo>
                  <a:lnTo>
                    <a:pt x="1594" y="1246"/>
                  </a:lnTo>
                  <a:lnTo>
                    <a:pt x="1590" y="1238"/>
                  </a:lnTo>
                  <a:lnTo>
                    <a:pt x="1582" y="1226"/>
                  </a:lnTo>
                  <a:lnTo>
                    <a:pt x="1570" y="1214"/>
                  </a:lnTo>
                  <a:lnTo>
                    <a:pt x="1560" y="1198"/>
                  </a:lnTo>
                  <a:lnTo>
                    <a:pt x="1550" y="1184"/>
                  </a:lnTo>
                  <a:lnTo>
                    <a:pt x="1548" y="1182"/>
                  </a:lnTo>
                  <a:lnTo>
                    <a:pt x="1546" y="1182"/>
                  </a:lnTo>
                  <a:lnTo>
                    <a:pt x="1542" y="1182"/>
                  </a:lnTo>
                  <a:lnTo>
                    <a:pt x="1538" y="1180"/>
                  </a:lnTo>
                  <a:lnTo>
                    <a:pt x="1534" y="1176"/>
                  </a:lnTo>
                  <a:lnTo>
                    <a:pt x="1526" y="1166"/>
                  </a:lnTo>
                  <a:lnTo>
                    <a:pt x="1518" y="1156"/>
                  </a:lnTo>
                  <a:lnTo>
                    <a:pt x="1514" y="1146"/>
                  </a:lnTo>
                  <a:lnTo>
                    <a:pt x="1514" y="1136"/>
                  </a:lnTo>
                  <a:lnTo>
                    <a:pt x="1514" y="1126"/>
                  </a:lnTo>
                  <a:lnTo>
                    <a:pt x="1514" y="1110"/>
                  </a:lnTo>
                  <a:lnTo>
                    <a:pt x="1514" y="1104"/>
                  </a:lnTo>
                  <a:lnTo>
                    <a:pt x="1510" y="1098"/>
                  </a:lnTo>
                  <a:lnTo>
                    <a:pt x="1508" y="1096"/>
                  </a:lnTo>
                  <a:lnTo>
                    <a:pt x="1506" y="1096"/>
                  </a:lnTo>
                  <a:lnTo>
                    <a:pt x="1502" y="1102"/>
                  </a:lnTo>
                  <a:lnTo>
                    <a:pt x="1502" y="1104"/>
                  </a:lnTo>
                  <a:lnTo>
                    <a:pt x="1498" y="1104"/>
                  </a:lnTo>
                  <a:lnTo>
                    <a:pt x="1494" y="1102"/>
                  </a:lnTo>
                  <a:lnTo>
                    <a:pt x="1490" y="1096"/>
                  </a:lnTo>
                  <a:lnTo>
                    <a:pt x="1484" y="1090"/>
                  </a:lnTo>
                  <a:lnTo>
                    <a:pt x="1480" y="1090"/>
                  </a:lnTo>
                  <a:lnTo>
                    <a:pt x="1480" y="1092"/>
                  </a:lnTo>
                  <a:lnTo>
                    <a:pt x="1480" y="1098"/>
                  </a:lnTo>
                  <a:lnTo>
                    <a:pt x="1478" y="1102"/>
                  </a:lnTo>
                  <a:lnTo>
                    <a:pt x="1478" y="1106"/>
                  </a:lnTo>
                  <a:lnTo>
                    <a:pt x="1474" y="1104"/>
                  </a:lnTo>
                  <a:lnTo>
                    <a:pt x="1470" y="1100"/>
                  </a:lnTo>
                  <a:lnTo>
                    <a:pt x="1464" y="1092"/>
                  </a:lnTo>
                  <a:lnTo>
                    <a:pt x="1462" y="1086"/>
                  </a:lnTo>
                  <a:lnTo>
                    <a:pt x="1462" y="1080"/>
                  </a:lnTo>
                  <a:lnTo>
                    <a:pt x="1462" y="1076"/>
                  </a:lnTo>
                  <a:lnTo>
                    <a:pt x="1464" y="1066"/>
                  </a:lnTo>
                  <a:lnTo>
                    <a:pt x="1462" y="1060"/>
                  </a:lnTo>
                  <a:lnTo>
                    <a:pt x="1462" y="1054"/>
                  </a:lnTo>
                  <a:lnTo>
                    <a:pt x="1458" y="1046"/>
                  </a:lnTo>
                  <a:lnTo>
                    <a:pt x="1452" y="1038"/>
                  </a:lnTo>
                  <a:lnTo>
                    <a:pt x="1440" y="1022"/>
                  </a:lnTo>
                  <a:lnTo>
                    <a:pt x="1430" y="1012"/>
                  </a:lnTo>
                  <a:lnTo>
                    <a:pt x="1428" y="1008"/>
                  </a:lnTo>
                  <a:lnTo>
                    <a:pt x="1432" y="1008"/>
                  </a:lnTo>
                  <a:lnTo>
                    <a:pt x="1436" y="1008"/>
                  </a:lnTo>
                  <a:lnTo>
                    <a:pt x="1438" y="1006"/>
                  </a:lnTo>
                  <a:lnTo>
                    <a:pt x="1440" y="1002"/>
                  </a:lnTo>
                  <a:lnTo>
                    <a:pt x="1438" y="998"/>
                  </a:lnTo>
                  <a:lnTo>
                    <a:pt x="1436" y="994"/>
                  </a:lnTo>
                  <a:lnTo>
                    <a:pt x="1430" y="988"/>
                  </a:lnTo>
                  <a:lnTo>
                    <a:pt x="1422" y="984"/>
                  </a:lnTo>
                  <a:lnTo>
                    <a:pt x="1410" y="978"/>
                  </a:lnTo>
                  <a:lnTo>
                    <a:pt x="1398" y="974"/>
                  </a:lnTo>
                  <a:lnTo>
                    <a:pt x="1392" y="968"/>
                  </a:lnTo>
                  <a:lnTo>
                    <a:pt x="1388" y="964"/>
                  </a:lnTo>
                  <a:lnTo>
                    <a:pt x="1386" y="960"/>
                  </a:lnTo>
                  <a:lnTo>
                    <a:pt x="1384" y="956"/>
                  </a:lnTo>
                  <a:lnTo>
                    <a:pt x="1380" y="952"/>
                  </a:lnTo>
                  <a:lnTo>
                    <a:pt x="1374" y="950"/>
                  </a:lnTo>
                  <a:lnTo>
                    <a:pt x="1364" y="946"/>
                  </a:lnTo>
                  <a:lnTo>
                    <a:pt x="1354" y="942"/>
                  </a:lnTo>
                  <a:lnTo>
                    <a:pt x="1346" y="938"/>
                  </a:lnTo>
                  <a:lnTo>
                    <a:pt x="1340" y="934"/>
                  </a:lnTo>
                  <a:lnTo>
                    <a:pt x="1338" y="928"/>
                  </a:lnTo>
                  <a:lnTo>
                    <a:pt x="1334" y="916"/>
                  </a:lnTo>
                  <a:lnTo>
                    <a:pt x="1332" y="908"/>
                  </a:lnTo>
                  <a:lnTo>
                    <a:pt x="1328" y="902"/>
                  </a:lnTo>
                  <a:lnTo>
                    <a:pt x="1324" y="896"/>
                  </a:lnTo>
                  <a:lnTo>
                    <a:pt x="1324" y="886"/>
                  </a:lnTo>
                  <a:lnTo>
                    <a:pt x="1322" y="864"/>
                  </a:lnTo>
                  <a:lnTo>
                    <a:pt x="1322" y="852"/>
                  </a:lnTo>
                  <a:lnTo>
                    <a:pt x="1320" y="840"/>
                  </a:lnTo>
                  <a:lnTo>
                    <a:pt x="1316" y="828"/>
                  </a:lnTo>
                  <a:lnTo>
                    <a:pt x="1308" y="818"/>
                  </a:lnTo>
                  <a:lnTo>
                    <a:pt x="1304" y="812"/>
                  </a:lnTo>
                  <a:lnTo>
                    <a:pt x="1302" y="806"/>
                  </a:lnTo>
                  <a:lnTo>
                    <a:pt x="1298" y="794"/>
                  </a:lnTo>
                  <a:lnTo>
                    <a:pt x="1296" y="780"/>
                  </a:lnTo>
                  <a:lnTo>
                    <a:pt x="1296" y="764"/>
                  </a:lnTo>
                  <a:lnTo>
                    <a:pt x="1296" y="750"/>
                  </a:lnTo>
                  <a:lnTo>
                    <a:pt x="1294" y="736"/>
                  </a:lnTo>
                  <a:lnTo>
                    <a:pt x="1290" y="726"/>
                  </a:lnTo>
                  <a:lnTo>
                    <a:pt x="1286" y="722"/>
                  </a:lnTo>
                  <a:lnTo>
                    <a:pt x="1282" y="718"/>
                  </a:lnTo>
                  <a:lnTo>
                    <a:pt x="1274" y="712"/>
                  </a:lnTo>
                  <a:lnTo>
                    <a:pt x="1268" y="704"/>
                  </a:lnTo>
                  <a:lnTo>
                    <a:pt x="1262" y="692"/>
                  </a:lnTo>
                  <a:lnTo>
                    <a:pt x="1258" y="690"/>
                  </a:lnTo>
                  <a:lnTo>
                    <a:pt x="1256" y="688"/>
                  </a:lnTo>
                  <a:lnTo>
                    <a:pt x="1254" y="690"/>
                  </a:lnTo>
                  <a:lnTo>
                    <a:pt x="1250" y="698"/>
                  </a:lnTo>
                  <a:lnTo>
                    <a:pt x="1244" y="702"/>
                  </a:lnTo>
                  <a:lnTo>
                    <a:pt x="1240" y="704"/>
                  </a:lnTo>
                  <a:lnTo>
                    <a:pt x="1236" y="702"/>
                  </a:lnTo>
                  <a:lnTo>
                    <a:pt x="1232" y="696"/>
                  </a:lnTo>
                  <a:lnTo>
                    <a:pt x="1228" y="690"/>
                  </a:lnTo>
                  <a:lnTo>
                    <a:pt x="1226" y="682"/>
                  </a:lnTo>
                  <a:lnTo>
                    <a:pt x="1224" y="664"/>
                  </a:lnTo>
                  <a:lnTo>
                    <a:pt x="1224" y="650"/>
                  </a:lnTo>
                  <a:lnTo>
                    <a:pt x="1224" y="634"/>
                  </a:lnTo>
                  <a:lnTo>
                    <a:pt x="1220" y="620"/>
                  </a:lnTo>
                  <a:lnTo>
                    <a:pt x="1216" y="614"/>
                  </a:lnTo>
                  <a:lnTo>
                    <a:pt x="1212" y="606"/>
                  </a:lnTo>
                  <a:lnTo>
                    <a:pt x="1208" y="600"/>
                  </a:lnTo>
                  <a:lnTo>
                    <a:pt x="1206" y="596"/>
                  </a:lnTo>
                  <a:lnTo>
                    <a:pt x="1206" y="588"/>
                  </a:lnTo>
                  <a:lnTo>
                    <a:pt x="1208" y="584"/>
                  </a:lnTo>
                  <a:lnTo>
                    <a:pt x="1206" y="582"/>
                  </a:lnTo>
                  <a:lnTo>
                    <a:pt x="1204" y="578"/>
                  </a:lnTo>
                  <a:lnTo>
                    <a:pt x="1200" y="576"/>
                  </a:lnTo>
                  <a:lnTo>
                    <a:pt x="1196" y="572"/>
                  </a:lnTo>
                  <a:lnTo>
                    <a:pt x="1194" y="562"/>
                  </a:lnTo>
                  <a:lnTo>
                    <a:pt x="1192" y="548"/>
                  </a:lnTo>
                  <a:lnTo>
                    <a:pt x="1190" y="534"/>
                  </a:lnTo>
                  <a:lnTo>
                    <a:pt x="1188" y="526"/>
                  </a:lnTo>
                  <a:lnTo>
                    <a:pt x="1184" y="522"/>
                  </a:lnTo>
                  <a:lnTo>
                    <a:pt x="1180" y="520"/>
                  </a:lnTo>
                  <a:lnTo>
                    <a:pt x="1176" y="520"/>
                  </a:lnTo>
                  <a:lnTo>
                    <a:pt x="1172" y="522"/>
                  </a:lnTo>
                  <a:lnTo>
                    <a:pt x="1170" y="526"/>
                  </a:lnTo>
                  <a:lnTo>
                    <a:pt x="1166" y="532"/>
                  </a:lnTo>
                  <a:lnTo>
                    <a:pt x="1166" y="538"/>
                  </a:lnTo>
                  <a:lnTo>
                    <a:pt x="1164" y="552"/>
                  </a:lnTo>
                  <a:lnTo>
                    <a:pt x="1162" y="564"/>
                  </a:lnTo>
                  <a:lnTo>
                    <a:pt x="1150" y="594"/>
                  </a:lnTo>
                  <a:lnTo>
                    <a:pt x="1146" y="602"/>
                  </a:lnTo>
                  <a:lnTo>
                    <a:pt x="1146" y="608"/>
                  </a:lnTo>
                  <a:lnTo>
                    <a:pt x="1146" y="612"/>
                  </a:lnTo>
                  <a:lnTo>
                    <a:pt x="1150" y="614"/>
                  </a:lnTo>
                  <a:lnTo>
                    <a:pt x="1152" y="616"/>
                  </a:lnTo>
                  <a:lnTo>
                    <a:pt x="1152" y="618"/>
                  </a:lnTo>
                  <a:lnTo>
                    <a:pt x="1150" y="622"/>
                  </a:lnTo>
                  <a:lnTo>
                    <a:pt x="1144" y="630"/>
                  </a:lnTo>
                  <a:lnTo>
                    <a:pt x="1144" y="636"/>
                  </a:lnTo>
                  <a:lnTo>
                    <a:pt x="1144" y="646"/>
                  </a:lnTo>
                  <a:lnTo>
                    <a:pt x="1138" y="658"/>
                  </a:lnTo>
                  <a:lnTo>
                    <a:pt x="1136" y="668"/>
                  </a:lnTo>
                  <a:lnTo>
                    <a:pt x="1136" y="676"/>
                  </a:lnTo>
                  <a:lnTo>
                    <a:pt x="1140" y="700"/>
                  </a:lnTo>
                  <a:lnTo>
                    <a:pt x="1144" y="724"/>
                  </a:lnTo>
                  <a:lnTo>
                    <a:pt x="1144" y="736"/>
                  </a:lnTo>
                  <a:lnTo>
                    <a:pt x="1142" y="748"/>
                  </a:lnTo>
                  <a:lnTo>
                    <a:pt x="1136" y="768"/>
                  </a:lnTo>
                  <a:lnTo>
                    <a:pt x="1136" y="780"/>
                  </a:lnTo>
                  <a:lnTo>
                    <a:pt x="1136" y="792"/>
                  </a:lnTo>
                  <a:lnTo>
                    <a:pt x="1130" y="806"/>
                  </a:lnTo>
                  <a:lnTo>
                    <a:pt x="1124" y="816"/>
                  </a:lnTo>
                  <a:lnTo>
                    <a:pt x="1120" y="826"/>
                  </a:lnTo>
                  <a:lnTo>
                    <a:pt x="1116" y="840"/>
                  </a:lnTo>
                  <a:lnTo>
                    <a:pt x="1114" y="850"/>
                  </a:lnTo>
                  <a:lnTo>
                    <a:pt x="1110" y="856"/>
                  </a:lnTo>
                  <a:lnTo>
                    <a:pt x="1102" y="862"/>
                  </a:lnTo>
                  <a:lnTo>
                    <a:pt x="1096" y="866"/>
                  </a:lnTo>
                  <a:lnTo>
                    <a:pt x="1088" y="866"/>
                  </a:lnTo>
                  <a:lnTo>
                    <a:pt x="1078" y="864"/>
                  </a:lnTo>
                  <a:lnTo>
                    <a:pt x="1068" y="860"/>
                  </a:lnTo>
                  <a:lnTo>
                    <a:pt x="1060" y="854"/>
                  </a:lnTo>
                  <a:lnTo>
                    <a:pt x="1052" y="848"/>
                  </a:lnTo>
                  <a:lnTo>
                    <a:pt x="1046" y="842"/>
                  </a:lnTo>
                  <a:lnTo>
                    <a:pt x="1044" y="836"/>
                  </a:lnTo>
                  <a:lnTo>
                    <a:pt x="1040" y="830"/>
                  </a:lnTo>
                  <a:lnTo>
                    <a:pt x="1036" y="826"/>
                  </a:lnTo>
                  <a:lnTo>
                    <a:pt x="1028" y="824"/>
                  </a:lnTo>
                  <a:lnTo>
                    <a:pt x="1022" y="822"/>
                  </a:lnTo>
                  <a:lnTo>
                    <a:pt x="1014" y="818"/>
                  </a:lnTo>
                  <a:lnTo>
                    <a:pt x="1004" y="812"/>
                  </a:lnTo>
                  <a:lnTo>
                    <a:pt x="990" y="800"/>
                  </a:lnTo>
                  <a:lnTo>
                    <a:pt x="978" y="788"/>
                  </a:lnTo>
                  <a:lnTo>
                    <a:pt x="968" y="782"/>
                  </a:lnTo>
                  <a:lnTo>
                    <a:pt x="962" y="780"/>
                  </a:lnTo>
                  <a:lnTo>
                    <a:pt x="956" y="778"/>
                  </a:lnTo>
                  <a:lnTo>
                    <a:pt x="948" y="776"/>
                  </a:lnTo>
                  <a:lnTo>
                    <a:pt x="942" y="772"/>
                  </a:lnTo>
                  <a:lnTo>
                    <a:pt x="934" y="764"/>
                  </a:lnTo>
                  <a:lnTo>
                    <a:pt x="922" y="752"/>
                  </a:lnTo>
                  <a:lnTo>
                    <a:pt x="912" y="744"/>
                  </a:lnTo>
                  <a:lnTo>
                    <a:pt x="898" y="732"/>
                  </a:lnTo>
                  <a:lnTo>
                    <a:pt x="896" y="728"/>
                  </a:lnTo>
                  <a:lnTo>
                    <a:pt x="896" y="722"/>
                  </a:lnTo>
                  <a:lnTo>
                    <a:pt x="900" y="712"/>
                  </a:lnTo>
                  <a:lnTo>
                    <a:pt x="908" y="700"/>
                  </a:lnTo>
                  <a:lnTo>
                    <a:pt x="916" y="684"/>
                  </a:lnTo>
                  <a:lnTo>
                    <a:pt x="920" y="674"/>
                  </a:lnTo>
                  <a:lnTo>
                    <a:pt x="920" y="670"/>
                  </a:lnTo>
                  <a:lnTo>
                    <a:pt x="918" y="670"/>
                  </a:lnTo>
                  <a:lnTo>
                    <a:pt x="916" y="668"/>
                  </a:lnTo>
                  <a:lnTo>
                    <a:pt x="914" y="666"/>
                  </a:lnTo>
                  <a:lnTo>
                    <a:pt x="914" y="662"/>
                  </a:lnTo>
                  <a:lnTo>
                    <a:pt x="918" y="652"/>
                  </a:lnTo>
                  <a:lnTo>
                    <a:pt x="924" y="644"/>
                  </a:lnTo>
                  <a:lnTo>
                    <a:pt x="928" y="640"/>
                  </a:lnTo>
                  <a:lnTo>
                    <a:pt x="930" y="642"/>
                  </a:lnTo>
                  <a:lnTo>
                    <a:pt x="934" y="646"/>
                  </a:lnTo>
                  <a:lnTo>
                    <a:pt x="936" y="648"/>
                  </a:lnTo>
                  <a:lnTo>
                    <a:pt x="936" y="650"/>
                  </a:lnTo>
                  <a:lnTo>
                    <a:pt x="938" y="646"/>
                  </a:lnTo>
                  <a:lnTo>
                    <a:pt x="940" y="638"/>
                  </a:lnTo>
                  <a:lnTo>
                    <a:pt x="942" y="626"/>
                  </a:lnTo>
                  <a:lnTo>
                    <a:pt x="946" y="618"/>
                  </a:lnTo>
                  <a:lnTo>
                    <a:pt x="950" y="612"/>
                  </a:lnTo>
                  <a:lnTo>
                    <a:pt x="956" y="606"/>
                  </a:lnTo>
                  <a:lnTo>
                    <a:pt x="958" y="604"/>
                  </a:lnTo>
                  <a:lnTo>
                    <a:pt x="960" y="602"/>
                  </a:lnTo>
                  <a:lnTo>
                    <a:pt x="960" y="598"/>
                  </a:lnTo>
                  <a:lnTo>
                    <a:pt x="956" y="596"/>
                  </a:lnTo>
                  <a:lnTo>
                    <a:pt x="950" y="590"/>
                  </a:lnTo>
                  <a:lnTo>
                    <a:pt x="946" y="586"/>
                  </a:lnTo>
                  <a:lnTo>
                    <a:pt x="942" y="580"/>
                  </a:lnTo>
                  <a:lnTo>
                    <a:pt x="942" y="578"/>
                  </a:lnTo>
                  <a:lnTo>
                    <a:pt x="940" y="578"/>
                  </a:lnTo>
                  <a:lnTo>
                    <a:pt x="934" y="582"/>
                  </a:lnTo>
                  <a:lnTo>
                    <a:pt x="930" y="584"/>
                  </a:lnTo>
                  <a:lnTo>
                    <a:pt x="928" y="588"/>
                  </a:lnTo>
                  <a:lnTo>
                    <a:pt x="928" y="594"/>
                  </a:lnTo>
                  <a:lnTo>
                    <a:pt x="930" y="598"/>
                  </a:lnTo>
                  <a:lnTo>
                    <a:pt x="928" y="600"/>
                  </a:lnTo>
                  <a:lnTo>
                    <a:pt x="926" y="602"/>
                  </a:lnTo>
                  <a:lnTo>
                    <a:pt x="922" y="604"/>
                  </a:lnTo>
                  <a:lnTo>
                    <a:pt x="920" y="604"/>
                  </a:lnTo>
                  <a:lnTo>
                    <a:pt x="918" y="598"/>
                  </a:lnTo>
                  <a:lnTo>
                    <a:pt x="918" y="592"/>
                  </a:lnTo>
                  <a:lnTo>
                    <a:pt x="918" y="590"/>
                  </a:lnTo>
                  <a:lnTo>
                    <a:pt x="916" y="590"/>
                  </a:lnTo>
                  <a:lnTo>
                    <a:pt x="914" y="588"/>
                  </a:lnTo>
                  <a:lnTo>
                    <a:pt x="914" y="586"/>
                  </a:lnTo>
                  <a:lnTo>
                    <a:pt x="914" y="578"/>
                  </a:lnTo>
                  <a:lnTo>
                    <a:pt x="914" y="574"/>
                  </a:lnTo>
                  <a:lnTo>
                    <a:pt x="912" y="574"/>
                  </a:lnTo>
                  <a:lnTo>
                    <a:pt x="906" y="576"/>
                  </a:lnTo>
                  <a:lnTo>
                    <a:pt x="898" y="584"/>
                  </a:lnTo>
                  <a:lnTo>
                    <a:pt x="888" y="590"/>
                  </a:lnTo>
                  <a:lnTo>
                    <a:pt x="882" y="594"/>
                  </a:lnTo>
                  <a:lnTo>
                    <a:pt x="878" y="594"/>
                  </a:lnTo>
                  <a:lnTo>
                    <a:pt x="874" y="592"/>
                  </a:lnTo>
                  <a:lnTo>
                    <a:pt x="870" y="586"/>
                  </a:lnTo>
                  <a:lnTo>
                    <a:pt x="866" y="584"/>
                  </a:lnTo>
                  <a:lnTo>
                    <a:pt x="860" y="584"/>
                  </a:lnTo>
                  <a:lnTo>
                    <a:pt x="854" y="586"/>
                  </a:lnTo>
                  <a:lnTo>
                    <a:pt x="848" y="586"/>
                  </a:lnTo>
                  <a:lnTo>
                    <a:pt x="844" y="584"/>
                  </a:lnTo>
                  <a:lnTo>
                    <a:pt x="842" y="580"/>
                  </a:lnTo>
                  <a:lnTo>
                    <a:pt x="834" y="572"/>
                  </a:lnTo>
                  <a:lnTo>
                    <a:pt x="830" y="570"/>
                  </a:lnTo>
                  <a:lnTo>
                    <a:pt x="822" y="570"/>
                  </a:lnTo>
                  <a:lnTo>
                    <a:pt x="814" y="570"/>
                  </a:lnTo>
                  <a:lnTo>
                    <a:pt x="808" y="568"/>
                  </a:lnTo>
                  <a:lnTo>
                    <a:pt x="804" y="564"/>
                  </a:lnTo>
                  <a:lnTo>
                    <a:pt x="802" y="560"/>
                  </a:lnTo>
                  <a:lnTo>
                    <a:pt x="798" y="554"/>
                  </a:lnTo>
                  <a:lnTo>
                    <a:pt x="796" y="554"/>
                  </a:lnTo>
                  <a:lnTo>
                    <a:pt x="792" y="554"/>
                  </a:lnTo>
                  <a:lnTo>
                    <a:pt x="788" y="554"/>
                  </a:lnTo>
                  <a:lnTo>
                    <a:pt x="784" y="554"/>
                  </a:lnTo>
                  <a:lnTo>
                    <a:pt x="782" y="550"/>
                  </a:lnTo>
                  <a:lnTo>
                    <a:pt x="776" y="546"/>
                  </a:lnTo>
                  <a:lnTo>
                    <a:pt x="774" y="544"/>
                  </a:lnTo>
                  <a:lnTo>
                    <a:pt x="768" y="542"/>
                  </a:lnTo>
                  <a:lnTo>
                    <a:pt x="758" y="542"/>
                  </a:lnTo>
                  <a:lnTo>
                    <a:pt x="752" y="544"/>
                  </a:lnTo>
                  <a:lnTo>
                    <a:pt x="750" y="546"/>
                  </a:lnTo>
                  <a:lnTo>
                    <a:pt x="750" y="548"/>
                  </a:lnTo>
                  <a:lnTo>
                    <a:pt x="754" y="556"/>
                  </a:lnTo>
                  <a:lnTo>
                    <a:pt x="756" y="558"/>
                  </a:lnTo>
                  <a:lnTo>
                    <a:pt x="762" y="560"/>
                  </a:lnTo>
                  <a:lnTo>
                    <a:pt x="774" y="560"/>
                  </a:lnTo>
                  <a:lnTo>
                    <a:pt x="778" y="560"/>
                  </a:lnTo>
                  <a:lnTo>
                    <a:pt x="782" y="564"/>
                  </a:lnTo>
                  <a:lnTo>
                    <a:pt x="784" y="570"/>
                  </a:lnTo>
                  <a:lnTo>
                    <a:pt x="782" y="580"/>
                  </a:lnTo>
                  <a:lnTo>
                    <a:pt x="778" y="594"/>
                  </a:lnTo>
                  <a:lnTo>
                    <a:pt x="778" y="596"/>
                  </a:lnTo>
                  <a:lnTo>
                    <a:pt x="776" y="596"/>
                  </a:lnTo>
                  <a:lnTo>
                    <a:pt x="768" y="594"/>
                  </a:lnTo>
                  <a:lnTo>
                    <a:pt x="760" y="594"/>
                  </a:lnTo>
                  <a:lnTo>
                    <a:pt x="750" y="596"/>
                  </a:lnTo>
                  <a:lnTo>
                    <a:pt x="742" y="596"/>
                  </a:lnTo>
                  <a:lnTo>
                    <a:pt x="736" y="596"/>
                  </a:lnTo>
                  <a:lnTo>
                    <a:pt x="728" y="592"/>
                  </a:lnTo>
                  <a:lnTo>
                    <a:pt x="726" y="592"/>
                  </a:lnTo>
                  <a:lnTo>
                    <a:pt x="720" y="594"/>
                  </a:lnTo>
                  <a:lnTo>
                    <a:pt x="700" y="608"/>
                  </a:lnTo>
                  <a:lnTo>
                    <a:pt x="688" y="620"/>
                  </a:lnTo>
                  <a:lnTo>
                    <a:pt x="680" y="628"/>
                  </a:lnTo>
                  <a:lnTo>
                    <a:pt x="678" y="634"/>
                  </a:lnTo>
                  <a:lnTo>
                    <a:pt x="676" y="638"/>
                  </a:lnTo>
                  <a:lnTo>
                    <a:pt x="676" y="644"/>
                  </a:lnTo>
                  <a:lnTo>
                    <a:pt x="674" y="652"/>
                  </a:lnTo>
                  <a:lnTo>
                    <a:pt x="670" y="662"/>
                  </a:lnTo>
                  <a:lnTo>
                    <a:pt x="662" y="674"/>
                  </a:lnTo>
                  <a:lnTo>
                    <a:pt x="654" y="688"/>
                  </a:lnTo>
                  <a:lnTo>
                    <a:pt x="650" y="698"/>
                  </a:lnTo>
                  <a:lnTo>
                    <a:pt x="652" y="706"/>
                  </a:lnTo>
                  <a:lnTo>
                    <a:pt x="654" y="710"/>
                  </a:lnTo>
                  <a:lnTo>
                    <a:pt x="662" y="716"/>
                  </a:lnTo>
                  <a:lnTo>
                    <a:pt x="662" y="720"/>
                  </a:lnTo>
                  <a:lnTo>
                    <a:pt x="658" y="724"/>
                  </a:lnTo>
                  <a:lnTo>
                    <a:pt x="652" y="728"/>
                  </a:lnTo>
                  <a:lnTo>
                    <a:pt x="648" y="730"/>
                  </a:lnTo>
                  <a:lnTo>
                    <a:pt x="644" y="730"/>
                  </a:lnTo>
                  <a:lnTo>
                    <a:pt x="640" y="728"/>
                  </a:lnTo>
                  <a:lnTo>
                    <a:pt x="630" y="722"/>
                  </a:lnTo>
                  <a:lnTo>
                    <a:pt x="626" y="722"/>
                  </a:lnTo>
                  <a:lnTo>
                    <a:pt x="618" y="722"/>
                  </a:lnTo>
                  <a:lnTo>
                    <a:pt x="612" y="722"/>
                  </a:lnTo>
                  <a:lnTo>
                    <a:pt x="608" y="718"/>
                  </a:lnTo>
                  <a:lnTo>
                    <a:pt x="596" y="712"/>
                  </a:lnTo>
                  <a:lnTo>
                    <a:pt x="574" y="688"/>
                  </a:lnTo>
                  <a:lnTo>
                    <a:pt x="562" y="676"/>
                  </a:lnTo>
                  <a:lnTo>
                    <a:pt x="554" y="670"/>
                  </a:lnTo>
                  <a:lnTo>
                    <a:pt x="550" y="668"/>
                  </a:lnTo>
                  <a:lnTo>
                    <a:pt x="548" y="668"/>
                  </a:lnTo>
                  <a:lnTo>
                    <a:pt x="546" y="670"/>
                  </a:lnTo>
                  <a:lnTo>
                    <a:pt x="544" y="674"/>
                  </a:lnTo>
                  <a:lnTo>
                    <a:pt x="542" y="682"/>
                  </a:lnTo>
                  <a:lnTo>
                    <a:pt x="540" y="684"/>
                  </a:lnTo>
                  <a:lnTo>
                    <a:pt x="536" y="684"/>
                  </a:lnTo>
                  <a:lnTo>
                    <a:pt x="532" y="682"/>
                  </a:lnTo>
                  <a:lnTo>
                    <a:pt x="526" y="678"/>
                  </a:lnTo>
                  <a:lnTo>
                    <a:pt x="522" y="678"/>
                  </a:lnTo>
                  <a:lnTo>
                    <a:pt x="518" y="682"/>
                  </a:lnTo>
                  <a:lnTo>
                    <a:pt x="516" y="690"/>
                  </a:lnTo>
                  <a:lnTo>
                    <a:pt x="516" y="698"/>
                  </a:lnTo>
                  <a:lnTo>
                    <a:pt x="514" y="700"/>
                  </a:lnTo>
                  <a:lnTo>
                    <a:pt x="510" y="700"/>
                  </a:lnTo>
                  <a:lnTo>
                    <a:pt x="508" y="698"/>
                  </a:lnTo>
                  <a:lnTo>
                    <a:pt x="502" y="696"/>
                  </a:lnTo>
                  <a:lnTo>
                    <a:pt x="498" y="698"/>
                  </a:lnTo>
                  <a:lnTo>
                    <a:pt x="490" y="704"/>
                  </a:lnTo>
                  <a:lnTo>
                    <a:pt x="482" y="718"/>
                  </a:lnTo>
                  <a:lnTo>
                    <a:pt x="474" y="732"/>
                  </a:lnTo>
                  <a:lnTo>
                    <a:pt x="468" y="742"/>
                  </a:lnTo>
                  <a:lnTo>
                    <a:pt x="458" y="752"/>
                  </a:lnTo>
                  <a:lnTo>
                    <a:pt x="454" y="756"/>
                  </a:lnTo>
                  <a:lnTo>
                    <a:pt x="452" y="762"/>
                  </a:lnTo>
                  <a:lnTo>
                    <a:pt x="450" y="768"/>
                  </a:lnTo>
                  <a:lnTo>
                    <a:pt x="448" y="780"/>
                  </a:lnTo>
                  <a:lnTo>
                    <a:pt x="448" y="794"/>
                  </a:lnTo>
                  <a:lnTo>
                    <a:pt x="446" y="798"/>
                  </a:lnTo>
                  <a:lnTo>
                    <a:pt x="444" y="800"/>
                  </a:lnTo>
                  <a:lnTo>
                    <a:pt x="440" y="798"/>
                  </a:lnTo>
                  <a:lnTo>
                    <a:pt x="434" y="794"/>
                  </a:lnTo>
                  <a:lnTo>
                    <a:pt x="428" y="792"/>
                  </a:lnTo>
                  <a:lnTo>
                    <a:pt x="426" y="792"/>
                  </a:lnTo>
                  <a:lnTo>
                    <a:pt x="422" y="794"/>
                  </a:lnTo>
                  <a:lnTo>
                    <a:pt x="420" y="798"/>
                  </a:lnTo>
                  <a:lnTo>
                    <a:pt x="418" y="804"/>
                  </a:lnTo>
                  <a:lnTo>
                    <a:pt x="416" y="824"/>
                  </a:lnTo>
                  <a:lnTo>
                    <a:pt x="414" y="840"/>
                  </a:lnTo>
                  <a:lnTo>
                    <a:pt x="414" y="842"/>
                  </a:lnTo>
                  <a:lnTo>
                    <a:pt x="412" y="842"/>
                  </a:lnTo>
                  <a:lnTo>
                    <a:pt x="408" y="828"/>
                  </a:lnTo>
                  <a:lnTo>
                    <a:pt x="402" y="818"/>
                  </a:lnTo>
                  <a:lnTo>
                    <a:pt x="400" y="812"/>
                  </a:lnTo>
                  <a:lnTo>
                    <a:pt x="396" y="810"/>
                  </a:lnTo>
                  <a:lnTo>
                    <a:pt x="392" y="810"/>
                  </a:lnTo>
                  <a:lnTo>
                    <a:pt x="386" y="812"/>
                  </a:lnTo>
                  <a:lnTo>
                    <a:pt x="382" y="816"/>
                  </a:lnTo>
                  <a:lnTo>
                    <a:pt x="376" y="822"/>
                  </a:lnTo>
                  <a:lnTo>
                    <a:pt x="366" y="840"/>
                  </a:lnTo>
                  <a:lnTo>
                    <a:pt x="360" y="852"/>
                  </a:lnTo>
                  <a:lnTo>
                    <a:pt x="360" y="864"/>
                  </a:lnTo>
                  <a:lnTo>
                    <a:pt x="362" y="872"/>
                  </a:lnTo>
                  <a:lnTo>
                    <a:pt x="362" y="880"/>
                  </a:lnTo>
                  <a:lnTo>
                    <a:pt x="362" y="886"/>
                  </a:lnTo>
                  <a:lnTo>
                    <a:pt x="358" y="894"/>
                  </a:lnTo>
                  <a:lnTo>
                    <a:pt x="350" y="902"/>
                  </a:lnTo>
                  <a:lnTo>
                    <a:pt x="344" y="908"/>
                  </a:lnTo>
                  <a:lnTo>
                    <a:pt x="338" y="916"/>
                  </a:lnTo>
                  <a:lnTo>
                    <a:pt x="334" y="930"/>
                  </a:lnTo>
                  <a:lnTo>
                    <a:pt x="330" y="940"/>
                  </a:lnTo>
                  <a:lnTo>
                    <a:pt x="324" y="948"/>
                  </a:lnTo>
                  <a:lnTo>
                    <a:pt x="316" y="958"/>
                  </a:lnTo>
                  <a:lnTo>
                    <a:pt x="304" y="968"/>
                  </a:lnTo>
                  <a:lnTo>
                    <a:pt x="290" y="976"/>
                  </a:lnTo>
                  <a:lnTo>
                    <a:pt x="276" y="980"/>
                  </a:lnTo>
                  <a:lnTo>
                    <a:pt x="266" y="982"/>
                  </a:lnTo>
                  <a:lnTo>
                    <a:pt x="256" y="980"/>
                  </a:lnTo>
                  <a:lnTo>
                    <a:pt x="240" y="980"/>
                  </a:lnTo>
                  <a:lnTo>
                    <a:pt x="234" y="982"/>
                  </a:lnTo>
                  <a:lnTo>
                    <a:pt x="232" y="986"/>
                  </a:lnTo>
                  <a:lnTo>
                    <a:pt x="228" y="990"/>
                  </a:lnTo>
                  <a:lnTo>
                    <a:pt x="224" y="994"/>
                  </a:lnTo>
                  <a:lnTo>
                    <a:pt x="212" y="998"/>
                  </a:lnTo>
                  <a:lnTo>
                    <a:pt x="198" y="1002"/>
                  </a:lnTo>
                  <a:lnTo>
                    <a:pt x="180" y="1012"/>
                  </a:lnTo>
                  <a:lnTo>
                    <a:pt x="170" y="1016"/>
                  </a:lnTo>
                  <a:lnTo>
                    <a:pt x="162" y="1016"/>
                  </a:lnTo>
                  <a:lnTo>
                    <a:pt x="150" y="1012"/>
                  </a:lnTo>
                  <a:lnTo>
                    <a:pt x="142" y="1012"/>
                  </a:lnTo>
                  <a:lnTo>
                    <a:pt x="134" y="1014"/>
                  </a:lnTo>
                  <a:lnTo>
                    <a:pt x="124" y="1020"/>
                  </a:lnTo>
                  <a:lnTo>
                    <a:pt x="110" y="1034"/>
                  </a:lnTo>
                  <a:lnTo>
                    <a:pt x="98" y="1048"/>
                  </a:lnTo>
                  <a:lnTo>
                    <a:pt x="86" y="1058"/>
                  </a:lnTo>
                  <a:lnTo>
                    <a:pt x="78" y="1062"/>
                  </a:lnTo>
                  <a:lnTo>
                    <a:pt x="72" y="1066"/>
                  </a:lnTo>
                  <a:lnTo>
                    <a:pt x="66" y="1068"/>
                  </a:lnTo>
                  <a:lnTo>
                    <a:pt x="60" y="1074"/>
                  </a:lnTo>
                  <a:lnTo>
                    <a:pt x="54" y="1082"/>
                  </a:lnTo>
                  <a:lnTo>
                    <a:pt x="50" y="1094"/>
                  </a:lnTo>
                  <a:lnTo>
                    <a:pt x="44" y="1104"/>
                  </a:lnTo>
                  <a:lnTo>
                    <a:pt x="42" y="1106"/>
                  </a:lnTo>
                  <a:lnTo>
                    <a:pt x="42" y="1104"/>
                  </a:lnTo>
                  <a:lnTo>
                    <a:pt x="40" y="1100"/>
                  </a:lnTo>
                  <a:lnTo>
                    <a:pt x="38" y="1092"/>
                  </a:lnTo>
                  <a:lnTo>
                    <a:pt x="38" y="1084"/>
                  </a:lnTo>
                  <a:lnTo>
                    <a:pt x="36" y="1078"/>
                  </a:lnTo>
                  <a:lnTo>
                    <a:pt x="34" y="1078"/>
                  </a:lnTo>
                  <a:lnTo>
                    <a:pt x="30" y="1078"/>
                  </a:lnTo>
                  <a:lnTo>
                    <a:pt x="24" y="1088"/>
                  </a:lnTo>
                  <a:lnTo>
                    <a:pt x="18" y="1100"/>
                  </a:lnTo>
                  <a:lnTo>
                    <a:pt x="16" y="1110"/>
                  </a:lnTo>
                  <a:lnTo>
                    <a:pt x="18" y="1118"/>
                  </a:lnTo>
                  <a:lnTo>
                    <a:pt x="20" y="1126"/>
                  </a:lnTo>
                  <a:lnTo>
                    <a:pt x="22" y="1134"/>
                  </a:lnTo>
                  <a:lnTo>
                    <a:pt x="22" y="1144"/>
                  </a:lnTo>
                  <a:lnTo>
                    <a:pt x="20" y="1154"/>
                  </a:lnTo>
                  <a:lnTo>
                    <a:pt x="12" y="1170"/>
                  </a:lnTo>
                  <a:lnTo>
                    <a:pt x="8" y="1180"/>
                  </a:lnTo>
                  <a:lnTo>
                    <a:pt x="4" y="1188"/>
                  </a:lnTo>
                  <a:lnTo>
                    <a:pt x="4" y="1196"/>
                  </a:lnTo>
                  <a:lnTo>
                    <a:pt x="4" y="1204"/>
                  </a:lnTo>
                  <a:lnTo>
                    <a:pt x="8" y="1220"/>
                  </a:lnTo>
                  <a:lnTo>
                    <a:pt x="16" y="1236"/>
                  </a:lnTo>
                  <a:lnTo>
                    <a:pt x="34" y="1266"/>
                  </a:lnTo>
                  <a:lnTo>
                    <a:pt x="40" y="1280"/>
                  </a:lnTo>
                  <a:lnTo>
                    <a:pt x="40" y="1288"/>
                  </a:lnTo>
                  <a:lnTo>
                    <a:pt x="42" y="1294"/>
                  </a:lnTo>
                  <a:lnTo>
                    <a:pt x="40" y="1304"/>
                  </a:lnTo>
                  <a:lnTo>
                    <a:pt x="38" y="1304"/>
                  </a:lnTo>
                  <a:lnTo>
                    <a:pt x="36" y="1304"/>
                  </a:lnTo>
                  <a:lnTo>
                    <a:pt x="32" y="1298"/>
                  </a:lnTo>
                  <a:lnTo>
                    <a:pt x="26" y="1288"/>
                  </a:lnTo>
                  <a:lnTo>
                    <a:pt x="14" y="1268"/>
                  </a:lnTo>
                  <a:lnTo>
                    <a:pt x="10" y="1264"/>
                  </a:lnTo>
                  <a:lnTo>
                    <a:pt x="8" y="1264"/>
                  </a:lnTo>
                  <a:lnTo>
                    <a:pt x="6" y="1270"/>
                  </a:lnTo>
                  <a:lnTo>
                    <a:pt x="8" y="1276"/>
                  </a:lnTo>
                  <a:lnTo>
                    <a:pt x="14" y="1290"/>
                  </a:lnTo>
                  <a:lnTo>
                    <a:pt x="20" y="1304"/>
                  </a:lnTo>
                  <a:lnTo>
                    <a:pt x="22" y="1310"/>
                  </a:lnTo>
                  <a:lnTo>
                    <a:pt x="22" y="1316"/>
                  </a:lnTo>
                  <a:lnTo>
                    <a:pt x="20" y="1316"/>
                  </a:lnTo>
                  <a:lnTo>
                    <a:pt x="16" y="1312"/>
                  </a:lnTo>
                  <a:lnTo>
                    <a:pt x="10" y="1298"/>
                  </a:lnTo>
                  <a:lnTo>
                    <a:pt x="6" y="1292"/>
                  </a:lnTo>
                  <a:lnTo>
                    <a:pt x="2" y="1288"/>
                  </a:lnTo>
                  <a:lnTo>
                    <a:pt x="0" y="1290"/>
                  </a:lnTo>
                  <a:lnTo>
                    <a:pt x="0" y="1298"/>
                  </a:lnTo>
                  <a:lnTo>
                    <a:pt x="0" y="1306"/>
                  </a:lnTo>
                  <a:lnTo>
                    <a:pt x="4" y="1316"/>
                  </a:lnTo>
                  <a:lnTo>
                    <a:pt x="18" y="1334"/>
                  </a:lnTo>
                  <a:lnTo>
                    <a:pt x="30" y="1354"/>
                  </a:lnTo>
                  <a:lnTo>
                    <a:pt x="34" y="1364"/>
                  </a:lnTo>
                  <a:lnTo>
                    <a:pt x="36" y="1374"/>
                  </a:lnTo>
                  <a:lnTo>
                    <a:pt x="36" y="1390"/>
                  </a:lnTo>
                  <a:lnTo>
                    <a:pt x="40" y="1402"/>
                  </a:lnTo>
                  <a:lnTo>
                    <a:pt x="48" y="1414"/>
                  </a:lnTo>
                  <a:lnTo>
                    <a:pt x="60" y="1438"/>
                  </a:lnTo>
                  <a:lnTo>
                    <a:pt x="66" y="1452"/>
                  </a:lnTo>
                  <a:lnTo>
                    <a:pt x="68" y="1462"/>
                  </a:lnTo>
                  <a:lnTo>
                    <a:pt x="68" y="1482"/>
                  </a:lnTo>
                  <a:lnTo>
                    <a:pt x="70" y="1494"/>
                  </a:lnTo>
                  <a:lnTo>
                    <a:pt x="72" y="1510"/>
                  </a:lnTo>
                  <a:lnTo>
                    <a:pt x="76" y="1530"/>
                  </a:lnTo>
                  <a:lnTo>
                    <a:pt x="86" y="1556"/>
                  </a:lnTo>
                  <a:lnTo>
                    <a:pt x="96" y="1580"/>
                  </a:lnTo>
                  <a:lnTo>
                    <a:pt x="100" y="1598"/>
                  </a:lnTo>
                  <a:lnTo>
                    <a:pt x="102" y="1610"/>
                  </a:lnTo>
                  <a:lnTo>
                    <a:pt x="100" y="1620"/>
                  </a:lnTo>
                  <a:lnTo>
                    <a:pt x="96" y="1632"/>
                  </a:lnTo>
                  <a:lnTo>
                    <a:pt x="94" y="1638"/>
                  </a:lnTo>
                  <a:lnTo>
                    <a:pt x="94" y="1646"/>
                  </a:lnTo>
                  <a:lnTo>
                    <a:pt x="96" y="1656"/>
                  </a:lnTo>
                  <a:lnTo>
                    <a:pt x="96" y="1664"/>
                  </a:lnTo>
                  <a:lnTo>
                    <a:pt x="94" y="1672"/>
                  </a:lnTo>
                  <a:lnTo>
                    <a:pt x="92" y="1678"/>
                  </a:lnTo>
                  <a:lnTo>
                    <a:pt x="88" y="1682"/>
                  </a:lnTo>
                  <a:lnTo>
                    <a:pt x="84" y="1684"/>
                  </a:lnTo>
                  <a:lnTo>
                    <a:pt x="80" y="1684"/>
                  </a:lnTo>
                  <a:lnTo>
                    <a:pt x="74" y="1684"/>
                  </a:lnTo>
                  <a:lnTo>
                    <a:pt x="70" y="1684"/>
                  </a:lnTo>
                  <a:lnTo>
                    <a:pt x="68" y="1688"/>
                  </a:lnTo>
                  <a:lnTo>
                    <a:pt x="66" y="1694"/>
                  </a:lnTo>
                  <a:lnTo>
                    <a:pt x="66" y="1702"/>
                  </a:lnTo>
                  <a:lnTo>
                    <a:pt x="68" y="1710"/>
                  </a:lnTo>
                  <a:lnTo>
                    <a:pt x="70" y="1716"/>
                  </a:lnTo>
                  <a:lnTo>
                    <a:pt x="76" y="1722"/>
                  </a:lnTo>
                  <a:lnTo>
                    <a:pt x="82" y="1722"/>
                  </a:lnTo>
                  <a:lnTo>
                    <a:pt x="88" y="1722"/>
                  </a:lnTo>
                  <a:lnTo>
                    <a:pt x="92" y="1726"/>
                  </a:lnTo>
                  <a:lnTo>
                    <a:pt x="104" y="1738"/>
                  </a:lnTo>
                  <a:lnTo>
                    <a:pt x="114" y="1746"/>
                  </a:lnTo>
                  <a:lnTo>
                    <a:pt x="124" y="1754"/>
                  </a:lnTo>
                  <a:lnTo>
                    <a:pt x="138" y="1760"/>
                  </a:lnTo>
                  <a:lnTo>
                    <a:pt x="156" y="1762"/>
                  </a:lnTo>
                  <a:lnTo>
                    <a:pt x="174" y="1764"/>
                  </a:lnTo>
                  <a:lnTo>
                    <a:pt x="188" y="1760"/>
                  </a:lnTo>
                  <a:lnTo>
                    <a:pt x="200" y="1756"/>
                  </a:lnTo>
                  <a:lnTo>
                    <a:pt x="208" y="1750"/>
                  </a:lnTo>
                  <a:lnTo>
                    <a:pt x="222" y="1736"/>
                  </a:lnTo>
                  <a:lnTo>
                    <a:pt x="230" y="1732"/>
                  </a:lnTo>
                  <a:lnTo>
                    <a:pt x="238" y="1730"/>
                  </a:lnTo>
                  <a:lnTo>
                    <a:pt x="246" y="1728"/>
                  </a:lnTo>
                  <a:lnTo>
                    <a:pt x="252" y="1724"/>
                  </a:lnTo>
                  <a:lnTo>
                    <a:pt x="254" y="1720"/>
                  </a:lnTo>
                  <a:lnTo>
                    <a:pt x="258" y="1714"/>
                  </a:lnTo>
                  <a:lnTo>
                    <a:pt x="260" y="1708"/>
                  </a:lnTo>
                  <a:lnTo>
                    <a:pt x="264" y="1704"/>
                  </a:lnTo>
                  <a:lnTo>
                    <a:pt x="270" y="1702"/>
                  </a:lnTo>
                  <a:lnTo>
                    <a:pt x="278" y="1700"/>
                  </a:lnTo>
                  <a:lnTo>
                    <a:pt x="290" y="1700"/>
                  </a:lnTo>
                  <a:lnTo>
                    <a:pt x="300" y="1700"/>
                  </a:lnTo>
                  <a:lnTo>
                    <a:pt x="316" y="1696"/>
                  </a:lnTo>
                  <a:lnTo>
                    <a:pt x="322" y="1694"/>
                  </a:lnTo>
                  <a:lnTo>
                    <a:pt x="328" y="1694"/>
                  </a:lnTo>
                  <a:lnTo>
                    <a:pt x="336" y="1694"/>
                  </a:lnTo>
                  <a:lnTo>
                    <a:pt x="344" y="1698"/>
                  </a:lnTo>
                  <a:lnTo>
                    <a:pt x="354" y="1702"/>
                  </a:lnTo>
                  <a:lnTo>
                    <a:pt x="360" y="1704"/>
                  </a:lnTo>
                  <a:lnTo>
                    <a:pt x="364" y="1704"/>
                  </a:lnTo>
                  <a:lnTo>
                    <a:pt x="368" y="1702"/>
                  </a:lnTo>
                  <a:lnTo>
                    <a:pt x="372" y="1698"/>
                  </a:lnTo>
                  <a:lnTo>
                    <a:pt x="378" y="1698"/>
                  </a:lnTo>
                  <a:lnTo>
                    <a:pt x="386" y="1698"/>
                  </a:lnTo>
                  <a:lnTo>
                    <a:pt x="398" y="1702"/>
                  </a:lnTo>
                  <a:lnTo>
                    <a:pt x="406" y="1702"/>
                  </a:lnTo>
                  <a:lnTo>
                    <a:pt x="410" y="1702"/>
                  </a:lnTo>
                  <a:lnTo>
                    <a:pt x="416" y="1702"/>
                  </a:lnTo>
                  <a:lnTo>
                    <a:pt x="420" y="1698"/>
                  </a:lnTo>
                  <a:lnTo>
                    <a:pt x="426" y="1690"/>
                  </a:lnTo>
                  <a:lnTo>
                    <a:pt x="430" y="1678"/>
                  </a:lnTo>
                  <a:lnTo>
                    <a:pt x="434" y="1668"/>
                  </a:lnTo>
                  <a:lnTo>
                    <a:pt x="438" y="1656"/>
                  </a:lnTo>
                  <a:lnTo>
                    <a:pt x="446" y="1650"/>
                  </a:lnTo>
                  <a:lnTo>
                    <a:pt x="450" y="1646"/>
                  </a:lnTo>
                  <a:lnTo>
                    <a:pt x="454" y="1646"/>
                  </a:lnTo>
                  <a:lnTo>
                    <a:pt x="464" y="1644"/>
                  </a:lnTo>
                  <a:lnTo>
                    <a:pt x="472" y="1640"/>
                  </a:lnTo>
                  <a:lnTo>
                    <a:pt x="484" y="1628"/>
                  </a:lnTo>
                  <a:lnTo>
                    <a:pt x="492" y="1622"/>
                  </a:lnTo>
                  <a:lnTo>
                    <a:pt x="502" y="1616"/>
                  </a:lnTo>
                  <a:lnTo>
                    <a:pt x="514" y="1614"/>
                  </a:lnTo>
                  <a:lnTo>
                    <a:pt x="530" y="1614"/>
                  </a:lnTo>
                  <a:lnTo>
                    <a:pt x="544" y="1614"/>
                  </a:lnTo>
                  <a:lnTo>
                    <a:pt x="556" y="1614"/>
                  </a:lnTo>
                  <a:lnTo>
                    <a:pt x="578" y="1610"/>
                  </a:lnTo>
                  <a:lnTo>
                    <a:pt x="596" y="1602"/>
                  </a:lnTo>
                  <a:lnTo>
                    <a:pt x="614" y="1594"/>
                  </a:lnTo>
                  <a:lnTo>
                    <a:pt x="630" y="1586"/>
                  </a:lnTo>
                  <a:lnTo>
                    <a:pt x="644" y="1580"/>
                  </a:lnTo>
                  <a:lnTo>
                    <a:pt x="660" y="1574"/>
                  </a:lnTo>
                  <a:lnTo>
                    <a:pt x="668" y="1574"/>
                  </a:lnTo>
                  <a:lnTo>
                    <a:pt x="676" y="1574"/>
                  </a:lnTo>
                  <a:lnTo>
                    <a:pt x="696" y="1578"/>
                  </a:lnTo>
                  <a:lnTo>
                    <a:pt x="706" y="1576"/>
                  </a:lnTo>
                  <a:lnTo>
                    <a:pt x="712" y="1574"/>
                  </a:lnTo>
                  <a:lnTo>
                    <a:pt x="716" y="1572"/>
                  </a:lnTo>
                  <a:lnTo>
                    <a:pt x="718" y="1570"/>
                  </a:lnTo>
                  <a:lnTo>
                    <a:pt x="724" y="1572"/>
                  </a:lnTo>
                  <a:lnTo>
                    <a:pt x="752" y="1586"/>
                  </a:lnTo>
                  <a:lnTo>
                    <a:pt x="772" y="1596"/>
                  </a:lnTo>
                  <a:lnTo>
                    <a:pt x="786" y="1602"/>
                  </a:lnTo>
                  <a:lnTo>
                    <a:pt x="798" y="1606"/>
                  </a:lnTo>
                  <a:lnTo>
                    <a:pt x="806" y="1606"/>
                  </a:lnTo>
                  <a:lnTo>
                    <a:pt x="822" y="1608"/>
                  </a:lnTo>
                  <a:lnTo>
                    <a:pt x="828" y="1612"/>
                  </a:lnTo>
                  <a:lnTo>
                    <a:pt x="838" y="1618"/>
                  </a:lnTo>
                  <a:lnTo>
                    <a:pt x="846" y="1626"/>
                  </a:lnTo>
                  <a:lnTo>
                    <a:pt x="848" y="1632"/>
                  </a:lnTo>
                  <a:lnTo>
                    <a:pt x="848" y="1636"/>
                  </a:lnTo>
                  <a:lnTo>
                    <a:pt x="846" y="1642"/>
                  </a:lnTo>
                  <a:lnTo>
                    <a:pt x="844" y="1646"/>
                  </a:lnTo>
                  <a:lnTo>
                    <a:pt x="844" y="1650"/>
                  </a:lnTo>
                  <a:lnTo>
                    <a:pt x="848" y="1656"/>
                  </a:lnTo>
                  <a:lnTo>
                    <a:pt x="860" y="1662"/>
                  </a:lnTo>
                  <a:lnTo>
                    <a:pt x="866" y="1666"/>
                  </a:lnTo>
                  <a:lnTo>
                    <a:pt x="870" y="1672"/>
                  </a:lnTo>
                  <a:lnTo>
                    <a:pt x="876" y="1682"/>
                  </a:lnTo>
                  <a:lnTo>
                    <a:pt x="880" y="1694"/>
                  </a:lnTo>
                  <a:lnTo>
                    <a:pt x="882" y="1708"/>
                  </a:lnTo>
                  <a:lnTo>
                    <a:pt x="884" y="1722"/>
                  </a:lnTo>
                  <a:lnTo>
                    <a:pt x="886" y="1732"/>
                  </a:lnTo>
                  <a:lnTo>
                    <a:pt x="892" y="1742"/>
                  </a:lnTo>
                  <a:lnTo>
                    <a:pt x="894" y="1746"/>
                  </a:lnTo>
                  <a:lnTo>
                    <a:pt x="900" y="1748"/>
                  </a:lnTo>
                  <a:lnTo>
                    <a:pt x="914" y="1756"/>
                  </a:lnTo>
                  <a:lnTo>
                    <a:pt x="914" y="1758"/>
                  </a:lnTo>
                  <a:lnTo>
                    <a:pt x="914" y="1756"/>
                  </a:lnTo>
                  <a:lnTo>
                    <a:pt x="914" y="1750"/>
                  </a:lnTo>
                  <a:lnTo>
                    <a:pt x="916" y="1742"/>
                  </a:lnTo>
                  <a:lnTo>
                    <a:pt x="920" y="1730"/>
                  </a:lnTo>
                  <a:lnTo>
                    <a:pt x="932" y="1716"/>
                  </a:lnTo>
                  <a:lnTo>
                    <a:pt x="944" y="1702"/>
                  </a:lnTo>
                  <a:lnTo>
                    <a:pt x="952" y="1694"/>
                  </a:lnTo>
                  <a:lnTo>
                    <a:pt x="958" y="1690"/>
                  </a:lnTo>
                  <a:lnTo>
                    <a:pt x="962" y="1690"/>
                  </a:lnTo>
                  <a:lnTo>
                    <a:pt x="964" y="1690"/>
                  </a:lnTo>
                  <a:lnTo>
                    <a:pt x="966" y="1680"/>
                  </a:lnTo>
                  <a:lnTo>
                    <a:pt x="968" y="1672"/>
                  </a:lnTo>
                  <a:lnTo>
                    <a:pt x="972" y="1666"/>
                  </a:lnTo>
                  <a:lnTo>
                    <a:pt x="980" y="1658"/>
                  </a:lnTo>
                  <a:lnTo>
                    <a:pt x="986" y="1650"/>
                  </a:lnTo>
                  <a:lnTo>
                    <a:pt x="988" y="1646"/>
                  </a:lnTo>
                  <a:lnTo>
                    <a:pt x="990" y="1640"/>
                  </a:lnTo>
                  <a:lnTo>
                    <a:pt x="990" y="1632"/>
                  </a:lnTo>
                  <a:lnTo>
                    <a:pt x="990" y="1630"/>
                  </a:lnTo>
                  <a:lnTo>
                    <a:pt x="990" y="1632"/>
                  </a:lnTo>
                  <a:lnTo>
                    <a:pt x="998" y="1646"/>
                  </a:lnTo>
                  <a:lnTo>
                    <a:pt x="998" y="1654"/>
                  </a:lnTo>
                  <a:lnTo>
                    <a:pt x="996" y="1664"/>
                  </a:lnTo>
                  <a:lnTo>
                    <a:pt x="988" y="1686"/>
                  </a:lnTo>
                  <a:lnTo>
                    <a:pt x="980" y="1710"/>
                  </a:lnTo>
                  <a:lnTo>
                    <a:pt x="978" y="1718"/>
                  </a:lnTo>
                  <a:lnTo>
                    <a:pt x="978" y="1726"/>
                  </a:lnTo>
                  <a:lnTo>
                    <a:pt x="980" y="1736"/>
                  </a:lnTo>
                  <a:lnTo>
                    <a:pt x="980" y="1746"/>
                  </a:lnTo>
                  <a:lnTo>
                    <a:pt x="976" y="1750"/>
                  </a:lnTo>
                  <a:lnTo>
                    <a:pt x="972" y="1752"/>
                  </a:lnTo>
                  <a:lnTo>
                    <a:pt x="968" y="1752"/>
                  </a:lnTo>
                  <a:lnTo>
                    <a:pt x="964" y="1754"/>
                  </a:lnTo>
                  <a:lnTo>
                    <a:pt x="960" y="1756"/>
                  </a:lnTo>
                  <a:lnTo>
                    <a:pt x="956" y="1758"/>
                  </a:lnTo>
                  <a:lnTo>
                    <a:pt x="954" y="1762"/>
                  </a:lnTo>
                  <a:lnTo>
                    <a:pt x="954" y="1766"/>
                  </a:lnTo>
                  <a:lnTo>
                    <a:pt x="958" y="1770"/>
                  </a:lnTo>
                  <a:lnTo>
                    <a:pt x="962" y="1770"/>
                  </a:lnTo>
                  <a:lnTo>
                    <a:pt x="972" y="1770"/>
                  </a:lnTo>
                  <a:lnTo>
                    <a:pt x="978" y="1770"/>
                  </a:lnTo>
                  <a:lnTo>
                    <a:pt x="982" y="1766"/>
                  </a:lnTo>
                  <a:lnTo>
                    <a:pt x="990" y="1758"/>
                  </a:lnTo>
                  <a:lnTo>
                    <a:pt x="994" y="1750"/>
                  </a:lnTo>
                  <a:lnTo>
                    <a:pt x="996" y="1740"/>
                  </a:lnTo>
                  <a:lnTo>
                    <a:pt x="1000" y="1730"/>
                  </a:lnTo>
                  <a:lnTo>
                    <a:pt x="1002" y="1726"/>
                  </a:lnTo>
                  <a:lnTo>
                    <a:pt x="1004" y="1726"/>
                  </a:lnTo>
                  <a:lnTo>
                    <a:pt x="1006" y="1726"/>
                  </a:lnTo>
                  <a:lnTo>
                    <a:pt x="1012" y="1734"/>
                  </a:lnTo>
                  <a:lnTo>
                    <a:pt x="1016" y="1744"/>
                  </a:lnTo>
                  <a:lnTo>
                    <a:pt x="1018" y="1754"/>
                  </a:lnTo>
                  <a:lnTo>
                    <a:pt x="1016" y="1762"/>
                  </a:lnTo>
                  <a:lnTo>
                    <a:pt x="1014" y="1770"/>
                  </a:lnTo>
                  <a:lnTo>
                    <a:pt x="1006" y="1784"/>
                  </a:lnTo>
                  <a:lnTo>
                    <a:pt x="1004" y="1788"/>
                  </a:lnTo>
                  <a:lnTo>
                    <a:pt x="1006" y="1792"/>
                  </a:lnTo>
                  <a:lnTo>
                    <a:pt x="1008" y="1794"/>
                  </a:lnTo>
                  <a:lnTo>
                    <a:pt x="1012" y="1794"/>
                  </a:lnTo>
                  <a:lnTo>
                    <a:pt x="1020" y="1792"/>
                  </a:lnTo>
                  <a:lnTo>
                    <a:pt x="1030" y="1792"/>
                  </a:lnTo>
                  <a:lnTo>
                    <a:pt x="1036" y="1792"/>
                  </a:lnTo>
                  <a:lnTo>
                    <a:pt x="1042" y="1794"/>
                  </a:lnTo>
                  <a:lnTo>
                    <a:pt x="1048" y="1800"/>
                  </a:lnTo>
                  <a:lnTo>
                    <a:pt x="1054" y="1806"/>
                  </a:lnTo>
                  <a:lnTo>
                    <a:pt x="1060" y="1814"/>
                  </a:lnTo>
                  <a:lnTo>
                    <a:pt x="1066" y="1824"/>
                  </a:lnTo>
                  <a:lnTo>
                    <a:pt x="1070" y="1832"/>
                  </a:lnTo>
                  <a:lnTo>
                    <a:pt x="1072" y="1842"/>
                  </a:lnTo>
                  <a:lnTo>
                    <a:pt x="1072" y="1850"/>
                  </a:lnTo>
                  <a:lnTo>
                    <a:pt x="1070" y="1858"/>
                  </a:lnTo>
                  <a:lnTo>
                    <a:pt x="1068" y="1866"/>
                  </a:lnTo>
                  <a:lnTo>
                    <a:pt x="1068" y="1874"/>
                  </a:lnTo>
                  <a:lnTo>
                    <a:pt x="1074" y="1886"/>
                  </a:lnTo>
                  <a:lnTo>
                    <a:pt x="1080" y="1896"/>
                  </a:lnTo>
                  <a:lnTo>
                    <a:pt x="1088" y="1904"/>
                  </a:lnTo>
                  <a:lnTo>
                    <a:pt x="1098" y="1914"/>
                  </a:lnTo>
                  <a:lnTo>
                    <a:pt x="1106" y="1920"/>
                  </a:lnTo>
                  <a:lnTo>
                    <a:pt x="1114" y="1924"/>
                  </a:lnTo>
                  <a:lnTo>
                    <a:pt x="1120" y="1926"/>
                  </a:lnTo>
                  <a:lnTo>
                    <a:pt x="1126" y="1930"/>
                  </a:lnTo>
                  <a:lnTo>
                    <a:pt x="1134" y="1938"/>
                  </a:lnTo>
                  <a:lnTo>
                    <a:pt x="1138" y="1944"/>
                  </a:lnTo>
                  <a:lnTo>
                    <a:pt x="1142" y="1944"/>
                  </a:lnTo>
                  <a:lnTo>
                    <a:pt x="1146" y="1942"/>
                  </a:lnTo>
                  <a:lnTo>
                    <a:pt x="1152" y="1936"/>
                  </a:lnTo>
                  <a:lnTo>
                    <a:pt x="1156" y="1936"/>
                  </a:lnTo>
                  <a:lnTo>
                    <a:pt x="1160" y="1936"/>
                  </a:lnTo>
                  <a:lnTo>
                    <a:pt x="1176" y="1942"/>
                  </a:lnTo>
                  <a:lnTo>
                    <a:pt x="1198" y="1956"/>
                  </a:lnTo>
                  <a:lnTo>
                    <a:pt x="1210" y="1962"/>
                  </a:lnTo>
                  <a:lnTo>
                    <a:pt x="1218" y="1964"/>
                  </a:lnTo>
                  <a:lnTo>
                    <a:pt x="1224" y="1964"/>
                  </a:lnTo>
                  <a:lnTo>
                    <a:pt x="1230" y="1960"/>
                  </a:lnTo>
                  <a:lnTo>
                    <a:pt x="1238" y="1952"/>
                  </a:lnTo>
                  <a:lnTo>
                    <a:pt x="1244" y="1946"/>
                  </a:lnTo>
                  <a:lnTo>
                    <a:pt x="1252" y="1940"/>
                  </a:lnTo>
                  <a:lnTo>
                    <a:pt x="1260" y="1936"/>
                  </a:lnTo>
                  <a:lnTo>
                    <a:pt x="1264" y="1930"/>
                  </a:lnTo>
                  <a:lnTo>
                    <a:pt x="1270" y="1920"/>
                  </a:lnTo>
                  <a:lnTo>
                    <a:pt x="1270" y="1918"/>
                  </a:lnTo>
                  <a:lnTo>
                    <a:pt x="1272" y="1916"/>
                  </a:lnTo>
                  <a:lnTo>
                    <a:pt x="1276" y="1916"/>
                  </a:lnTo>
                  <a:lnTo>
                    <a:pt x="1282" y="1918"/>
                  </a:lnTo>
                  <a:lnTo>
                    <a:pt x="1286" y="1924"/>
                  </a:lnTo>
                  <a:lnTo>
                    <a:pt x="1288" y="1928"/>
                  </a:lnTo>
                  <a:lnTo>
                    <a:pt x="1284" y="1930"/>
                  </a:lnTo>
                  <a:lnTo>
                    <a:pt x="1280" y="1934"/>
                  </a:lnTo>
                  <a:lnTo>
                    <a:pt x="1274" y="1940"/>
                  </a:lnTo>
                  <a:lnTo>
                    <a:pt x="1274" y="1944"/>
                  </a:lnTo>
                  <a:lnTo>
                    <a:pt x="1278" y="1946"/>
                  </a:lnTo>
                  <a:lnTo>
                    <a:pt x="1282" y="1948"/>
                  </a:lnTo>
                  <a:lnTo>
                    <a:pt x="1288" y="1948"/>
                  </a:lnTo>
                  <a:lnTo>
                    <a:pt x="1290" y="1944"/>
                  </a:lnTo>
                  <a:lnTo>
                    <a:pt x="1292" y="1942"/>
                  </a:lnTo>
                  <a:lnTo>
                    <a:pt x="1296" y="1936"/>
                  </a:lnTo>
                  <a:lnTo>
                    <a:pt x="1296" y="1942"/>
                  </a:lnTo>
                  <a:lnTo>
                    <a:pt x="1298" y="1948"/>
                  </a:lnTo>
                  <a:lnTo>
                    <a:pt x="1300" y="1952"/>
                  </a:lnTo>
                  <a:lnTo>
                    <a:pt x="1306" y="1956"/>
                  </a:lnTo>
                  <a:lnTo>
                    <a:pt x="1316" y="1964"/>
                  </a:lnTo>
                  <a:lnTo>
                    <a:pt x="1324" y="1970"/>
                  </a:lnTo>
                  <a:lnTo>
                    <a:pt x="1334" y="1982"/>
                  </a:lnTo>
                  <a:lnTo>
                    <a:pt x="1338" y="1988"/>
                  </a:lnTo>
                  <a:lnTo>
                    <a:pt x="1340" y="1988"/>
                  </a:lnTo>
                  <a:lnTo>
                    <a:pt x="1340" y="1980"/>
                  </a:lnTo>
                  <a:lnTo>
                    <a:pt x="1340" y="1974"/>
                  </a:lnTo>
                  <a:lnTo>
                    <a:pt x="1340" y="1968"/>
                  </a:lnTo>
                  <a:lnTo>
                    <a:pt x="1342" y="1962"/>
                  </a:lnTo>
                  <a:lnTo>
                    <a:pt x="1346" y="1960"/>
                  </a:lnTo>
                  <a:lnTo>
                    <a:pt x="1354" y="1956"/>
                  </a:lnTo>
                  <a:lnTo>
                    <a:pt x="1362" y="1950"/>
                  </a:lnTo>
                  <a:lnTo>
                    <a:pt x="1386" y="1930"/>
                  </a:lnTo>
                  <a:lnTo>
                    <a:pt x="1398" y="1920"/>
                  </a:lnTo>
                  <a:lnTo>
                    <a:pt x="1412" y="1912"/>
                  </a:lnTo>
                  <a:lnTo>
                    <a:pt x="1428" y="1908"/>
                  </a:lnTo>
                  <a:lnTo>
                    <a:pt x="1434" y="1908"/>
                  </a:lnTo>
                  <a:lnTo>
                    <a:pt x="1442" y="1908"/>
                  </a:lnTo>
                  <a:lnTo>
                    <a:pt x="1456" y="1910"/>
                  </a:lnTo>
                  <a:lnTo>
                    <a:pt x="1466" y="1906"/>
                  </a:lnTo>
                  <a:lnTo>
                    <a:pt x="1474" y="1902"/>
                  </a:lnTo>
                  <a:lnTo>
                    <a:pt x="1478" y="1896"/>
                  </a:lnTo>
                  <a:lnTo>
                    <a:pt x="1482" y="1890"/>
                  </a:lnTo>
                  <a:lnTo>
                    <a:pt x="1482" y="1884"/>
                  </a:lnTo>
                  <a:lnTo>
                    <a:pt x="1482" y="1878"/>
                  </a:lnTo>
                  <a:lnTo>
                    <a:pt x="1478" y="1874"/>
                  </a:lnTo>
                  <a:lnTo>
                    <a:pt x="1476" y="1870"/>
                  </a:lnTo>
                  <a:lnTo>
                    <a:pt x="1476" y="1866"/>
                  </a:lnTo>
                  <a:lnTo>
                    <a:pt x="1480" y="1856"/>
                  </a:lnTo>
                  <a:lnTo>
                    <a:pt x="1486" y="1842"/>
                  </a:lnTo>
                  <a:lnTo>
                    <a:pt x="1488" y="1836"/>
                  </a:lnTo>
                  <a:lnTo>
                    <a:pt x="1488" y="1828"/>
                  </a:lnTo>
                  <a:lnTo>
                    <a:pt x="1490" y="1812"/>
                  </a:lnTo>
                  <a:lnTo>
                    <a:pt x="1494" y="1794"/>
                  </a:lnTo>
                  <a:lnTo>
                    <a:pt x="1502" y="1776"/>
                  </a:lnTo>
                  <a:lnTo>
                    <a:pt x="1506" y="1770"/>
                  </a:lnTo>
                  <a:lnTo>
                    <a:pt x="1510" y="1766"/>
                  </a:lnTo>
                  <a:lnTo>
                    <a:pt x="1514" y="1760"/>
                  </a:lnTo>
                  <a:lnTo>
                    <a:pt x="1518" y="1750"/>
                  </a:lnTo>
                  <a:lnTo>
                    <a:pt x="1526" y="1718"/>
                  </a:lnTo>
                  <a:lnTo>
                    <a:pt x="1530" y="1700"/>
                  </a:lnTo>
                  <a:lnTo>
                    <a:pt x="1538" y="1680"/>
                  </a:lnTo>
                  <a:lnTo>
                    <a:pt x="1548" y="1662"/>
                  </a:lnTo>
                  <a:lnTo>
                    <a:pt x="1554" y="1654"/>
                  </a:lnTo>
                  <a:lnTo>
                    <a:pt x="1562" y="1646"/>
                  </a:lnTo>
                  <a:lnTo>
                    <a:pt x="1574" y="1634"/>
                  </a:lnTo>
                  <a:lnTo>
                    <a:pt x="1582" y="1626"/>
                  </a:lnTo>
                  <a:lnTo>
                    <a:pt x="1586" y="1618"/>
                  </a:lnTo>
                  <a:lnTo>
                    <a:pt x="1588" y="1612"/>
                  </a:lnTo>
                  <a:lnTo>
                    <a:pt x="1588" y="1604"/>
                  </a:lnTo>
                  <a:lnTo>
                    <a:pt x="1590" y="1598"/>
                  </a:lnTo>
                  <a:lnTo>
                    <a:pt x="1594" y="1590"/>
                  </a:lnTo>
                  <a:lnTo>
                    <a:pt x="1598" y="1576"/>
                  </a:lnTo>
                  <a:lnTo>
                    <a:pt x="1602" y="1566"/>
                  </a:lnTo>
                  <a:lnTo>
                    <a:pt x="1602" y="1556"/>
                  </a:lnTo>
                  <a:lnTo>
                    <a:pt x="1602" y="1546"/>
                  </a:lnTo>
                  <a:lnTo>
                    <a:pt x="1602" y="1532"/>
                  </a:lnTo>
                  <a:lnTo>
                    <a:pt x="1604" y="1524"/>
                  </a:lnTo>
                  <a:lnTo>
                    <a:pt x="1606" y="1516"/>
                  </a:lnTo>
                  <a:lnTo>
                    <a:pt x="1612" y="1504"/>
                  </a:lnTo>
                  <a:lnTo>
                    <a:pt x="1614" y="1494"/>
                  </a:lnTo>
                  <a:lnTo>
                    <a:pt x="1616" y="1476"/>
                  </a:lnTo>
                  <a:lnTo>
                    <a:pt x="1618" y="1458"/>
                  </a:lnTo>
                  <a:lnTo>
                    <a:pt x="1620" y="1448"/>
                  </a:lnTo>
                  <a:lnTo>
                    <a:pt x="1626" y="1438"/>
                  </a:lnTo>
                  <a:lnTo>
                    <a:pt x="1628" y="1432"/>
                  </a:lnTo>
                  <a:lnTo>
                    <a:pt x="1630" y="1426"/>
                  </a:lnTo>
                  <a:lnTo>
                    <a:pt x="1628" y="1412"/>
                  </a:lnTo>
                  <a:lnTo>
                    <a:pt x="1626" y="1398"/>
                  </a:lnTo>
                  <a:lnTo>
                    <a:pt x="1622" y="1384"/>
                  </a:lnTo>
                  <a:lnTo>
                    <a:pt x="1612" y="1358"/>
                  </a:lnTo>
                  <a:lnTo>
                    <a:pt x="1610" y="1350"/>
                  </a:lnTo>
                  <a:lnTo>
                    <a:pt x="1610" y="1344"/>
                  </a:lnTo>
                  <a:close/>
                  <a:moveTo>
                    <a:pt x="1412" y="2026"/>
                  </a:moveTo>
                  <a:lnTo>
                    <a:pt x="1412" y="2026"/>
                  </a:lnTo>
                  <a:lnTo>
                    <a:pt x="1408" y="2024"/>
                  </a:lnTo>
                  <a:lnTo>
                    <a:pt x="1406" y="2020"/>
                  </a:lnTo>
                  <a:lnTo>
                    <a:pt x="1404" y="2016"/>
                  </a:lnTo>
                  <a:lnTo>
                    <a:pt x="1402" y="2014"/>
                  </a:lnTo>
                  <a:lnTo>
                    <a:pt x="1400" y="2014"/>
                  </a:lnTo>
                  <a:lnTo>
                    <a:pt x="1396" y="2018"/>
                  </a:lnTo>
                  <a:lnTo>
                    <a:pt x="1392" y="2022"/>
                  </a:lnTo>
                  <a:lnTo>
                    <a:pt x="1392" y="2024"/>
                  </a:lnTo>
                  <a:lnTo>
                    <a:pt x="1394" y="2024"/>
                  </a:lnTo>
                  <a:lnTo>
                    <a:pt x="1396" y="2026"/>
                  </a:lnTo>
                  <a:lnTo>
                    <a:pt x="1398" y="2028"/>
                  </a:lnTo>
                  <a:lnTo>
                    <a:pt x="1400" y="2038"/>
                  </a:lnTo>
                  <a:lnTo>
                    <a:pt x="1402" y="2040"/>
                  </a:lnTo>
                  <a:lnTo>
                    <a:pt x="1404" y="2042"/>
                  </a:lnTo>
                  <a:lnTo>
                    <a:pt x="1410" y="2044"/>
                  </a:lnTo>
                  <a:lnTo>
                    <a:pt x="1414" y="2042"/>
                  </a:lnTo>
                  <a:lnTo>
                    <a:pt x="1414" y="2040"/>
                  </a:lnTo>
                  <a:lnTo>
                    <a:pt x="1414" y="2036"/>
                  </a:lnTo>
                  <a:lnTo>
                    <a:pt x="1412" y="2034"/>
                  </a:lnTo>
                  <a:lnTo>
                    <a:pt x="1412" y="2032"/>
                  </a:lnTo>
                  <a:lnTo>
                    <a:pt x="1414" y="2030"/>
                  </a:lnTo>
                  <a:lnTo>
                    <a:pt x="1416" y="2028"/>
                  </a:lnTo>
                  <a:lnTo>
                    <a:pt x="1412" y="2026"/>
                  </a:lnTo>
                  <a:close/>
                  <a:moveTo>
                    <a:pt x="1708" y="300"/>
                  </a:moveTo>
                  <a:lnTo>
                    <a:pt x="1708" y="300"/>
                  </a:lnTo>
                  <a:lnTo>
                    <a:pt x="1704" y="298"/>
                  </a:lnTo>
                  <a:lnTo>
                    <a:pt x="1700" y="294"/>
                  </a:lnTo>
                  <a:lnTo>
                    <a:pt x="1694" y="284"/>
                  </a:lnTo>
                  <a:lnTo>
                    <a:pt x="1688" y="274"/>
                  </a:lnTo>
                  <a:lnTo>
                    <a:pt x="1686" y="272"/>
                  </a:lnTo>
                  <a:lnTo>
                    <a:pt x="1682" y="268"/>
                  </a:lnTo>
                  <a:lnTo>
                    <a:pt x="1678" y="266"/>
                  </a:lnTo>
                  <a:lnTo>
                    <a:pt x="1676" y="262"/>
                  </a:lnTo>
                  <a:lnTo>
                    <a:pt x="1672" y="252"/>
                  </a:lnTo>
                  <a:lnTo>
                    <a:pt x="1668" y="244"/>
                  </a:lnTo>
                  <a:lnTo>
                    <a:pt x="1668" y="242"/>
                  </a:lnTo>
                  <a:lnTo>
                    <a:pt x="1664" y="244"/>
                  </a:lnTo>
                  <a:lnTo>
                    <a:pt x="1662" y="248"/>
                  </a:lnTo>
                  <a:lnTo>
                    <a:pt x="1662" y="250"/>
                  </a:lnTo>
                  <a:lnTo>
                    <a:pt x="1666" y="256"/>
                  </a:lnTo>
                  <a:lnTo>
                    <a:pt x="1670" y="264"/>
                  </a:lnTo>
                  <a:lnTo>
                    <a:pt x="1672" y="268"/>
                  </a:lnTo>
                  <a:lnTo>
                    <a:pt x="1672" y="276"/>
                  </a:lnTo>
                  <a:lnTo>
                    <a:pt x="1672" y="282"/>
                  </a:lnTo>
                  <a:lnTo>
                    <a:pt x="1672" y="288"/>
                  </a:lnTo>
                  <a:lnTo>
                    <a:pt x="1680" y="298"/>
                  </a:lnTo>
                  <a:lnTo>
                    <a:pt x="1688" y="306"/>
                  </a:lnTo>
                  <a:lnTo>
                    <a:pt x="1690" y="310"/>
                  </a:lnTo>
                  <a:lnTo>
                    <a:pt x="1692" y="316"/>
                  </a:lnTo>
                  <a:lnTo>
                    <a:pt x="1694" y="324"/>
                  </a:lnTo>
                  <a:lnTo>
                    <a:pt x="1700" y="330"/>
                  </a:lnTo>
                  <a:lnTo>
                    <a:pt x="1708" y="332"/>
                  </a:lnTo>
                  <a:lnTo>
                    <a:pt x="1716" y="330"/>
                  </a:lnTo>
                  <a:lnTo>
                    <a:pt x="1720" y="328"/>
                  </a:lnTo>
                  <a:lnTo>
                    <a:pt x="1722" y="326"/>
                  </a:lnTo>
                  <a:lnTo>
                    <a:pt x="1722" y="322"/>
                  </a:lnTo>
                  <a:lnTo>
                    <a:pt x="1720" y="316"/>
                  </a:lnTo>
                  <a:lnTo>
                    <a:pt x="1716" y="306"/>
                  </a:lnTo>
                  <a:lnTo>
                    <a:pt x="1712" y="304"/>
                  </a:lnTo>
                  <a:lnTo>
                    <a:pt x="1708" y="300"/>
                  </a:lnTo>
                  <a:close/>
                  <a:moveTo>
                    <a:pt x="1712" y="342"/>
                  </a:moveTo>
                  <a:lnTo>
                    <a:pt x="1712" y="342"/>
                  </a:lnTo>
                  <a:lnTo>
                    <a:pt x="1712" y="346"/>
                  </a:lnTo>
                  <a:lnTo>
                    <a:pt x="1716" y="346"/>
                  </a:lnTo>
                  <a:lnTo>
                    <a:pt x="1718" y="346"/>
                  </a:lnTo>
                  <a:lnTo>
                    <a:pt x="1720" y="344"/>
                  </a:lnTo>
                  <a:lnTo>
                    <a:pt x="1718" y="340"/>
                  </a:lnTo>
                  <a:lnTo>
                    <a:pt x="1716" y="338"/>
                  </a:lnTo>
                  <a:lnTo>
                    <a:pt x="1712" y="340"/>
                  </a:lnTo>
                  <a:lnTo>
                    <a:pt x="1712" y="342"/>
                  </a:lnTo>
                  <a:close/>
                  <a:moveTo>
                    <a:pt x="1238" y="2006"/>
                  </a:moveTo>
                  <a:lnTo>
                    <a:pt x="1238" y="2006"/>
                  </a:lnTo>
                  <a:lnTo>
                    <a:pt x="1236" y="2012"/>
                  </a:lnTo>
                  <a:lnTo>
                    <a:pt x="1234" y="2024"/>
                  </a:lnTo>
                  <a:lnTo>
                    <a:pt x="1236" y="2032"/>
                  </a:lnTo>
                  <a:lnTo>
                    <a:pt x="1240" y="2034"/>
                  </a:lnTo>
                  <a:lnTo>
                    <a:pt x="1242" y="2032"/>
                  </a:lnTo>
                  <a:lnTo>
                    <a:pt x="1244" y="2028"/>
                  </a:lnTo>
                  <a:lnTo>
                    <a:pt x="1246" y="2024"/>
                  </a:lnTo>
                  <a:lnTo>
                    <a:pt x="1246" y="2014"/>
                  </a:lnTo>
                  <a:lnTo>
                    <a:pt x="1242" y="2006"/>
                  </a:lnTo>
                  <a:lnTo>
                    <a:pt x="1240" y="2004"/>
                  </a:lnTo>
                  <a:lnTo>
                    <a:pt x="1238" y="2006"/>
                  </a:lnTo>
                  <a:close/>
                  <a:moveTo>
                    <a:pt x="1414" y="2116"/>
                  </a:moveTo>
                  <a:lnTo>
                    <a:pt x="1414" y="2116"/>
                  </a:lnTo>
                  <a:lnTo>
                    <a:pt x="1414" y="2106"/>
                  </a:lnTo>
                  <a:lnTo>
                    <a:pt x="1414" y="2096"/>
                  </a:lnTo>
                  <a:lnTo>
                    <a:pt x="1414" y="2088"/>
                  </a:lnTo>
                  <a:lnTo>
                    <a:pt x="1412" y="2082"/>
                  </a:lnTo>
                  <a:lnTo>
                    <a:pt x="1408" y="2076"/>
                  </a:lnTo>
                  <a:lnTo>
                    <a:pt x="1406" y="2072"/>
                  </a:lnTo>
                  <a:lnTo>
                    <a:pt x="1402" y="2072"/>
                  </a:lnTo>
                  <a:lnTo>
                    <a:pt x="1400" y="2074"/>
                  </a:lnTo>
                  <a:lnTo>
                    <a:pt x="1398" y="2078"/>
                  </a:lnTo>
                  <a:lnTo>
                    <a:pt x="1396" y="2078"/>
                  </a:lnTo>
                  <a:lnTo>
                    <a:pt x="1392" y="2076"/>
                  </a:lnTo>
                  <a:lnTo>
                    <a:pt x="1388" y="2076"/>
                  </a:lnTo>
                  <a:lnTo>
                    <a:pt x="1386" y="2078"/>
                  </a:lnTo>
                  <a:lnTo>
                    <a:pt x="1382" y="2080"/>
                  </a:lnTo>
                  <a:lnTo>
                    <a:pt x="1380" y="2082"/>
                  </a:lnTo>
                  <a:lnTo>
                    <a:pt x="1378" y="2082"/>
                  </a:lnTo>
                  <a:lnTo>
                    <a:pt x="1370" y="2082"/>
                  </a:lnTo>
                  <a:lnTo>
                    <a:pt x="1352" y="2088"/>
                  </a:lnTo>
                  <a:lnTo>
                    <a:pt x="1340" y="2092"/>
                  </a:lnTo>
                  <a:lnTo>
                    <a:pt x="1332" y="2094"/>
                  </a:lnTo>
                  <a:lnTo>
                    <a:pt x="1324" y="2092"/>
                  </a:lnTo>
                  <a:lnTo>
                    <a:pt x="1320" y="2088"/>
                  </a:lnTo>
                  <a:lnTo>
                    <a:pt x="1310" y="2080"/>
                  </a:lnTo>
                  <a:lnTo>
                    <a:pt x="1304" y="2076"/>
                  </a:lnTo>
                  <a:lnTo>
                    <a:pt x="1296" y="2076"/>
                  </a:lnTo>
                  <a:lnTo>
                    <a:pt x="1288" y="2074"/>
                  </a:lnTo>
                  <a:lnTo>
                    <a:pt x="1282" y="2072"/>
                  </a:lnTo>
                  <a:lnTo>
                    <a:pt x="1274" y="2066"/>
                  </a:lnTo>
                  <a:lnTo>
                    <a:pt x="1272" y="2064"/>
                  </a:lnTo>
                  <a:lnTo>
                    <a:pt x="1270" y="2064"/>
                  </a:lnTo>
                  <a:lnTo>
                    <a:pt x="1266" y="2078"/>
                  </a:lnTo>
                  <a:lnTo>
                    <a:pt x="1264" y="2086"/>
                  </a:lnTo>
                  <a:lnTo>
                    <a:pt x="1266" y="2094"/>
                  </a:lnTo>
                  <a:lnTo>
                    <a:pt x="1276" y="2118"/>
                  </a:lnTo>
                  <a:lnTo>
                    <a:pt x="1280" y="2130"/>
                  </a:lnTo>
                  <a:lnTo>
                    <a:pt x="1284" y="2134"/>
                  </a:lnTo>
                  <a:lnTo>
                    <a:pt x="1288" y="2136"/>
                  </a:lnTo>
                  <a:lnTo>
                    <a:pt x="1288" y="2144"/>
                  </a:lnTo>
                  <a:lnTo>
                    <a:pt x="1288" y="2158"/>
                  </a:lnTo>
                  <a:lnTo>
                    <a:pt x="1292" y="2174"/>
                  </a:lnTo>
                  <a:lnTo>
                    <a:pt x="1296" y="2186"/>
                  </a:lnTo>
                  <a:lnTo>
                    <a:pt x="1300" y="2192"/>
                  </a:lnTo>
                  <a:lnTo>
                    <a:pt x="1304" y="2198"/>
                  </a:lnTo>
                  <a:lnTo>
                    <a:pt x="1310" y="2202"/>
                  </a:lnTo>
                  <a:lnTo>
                    <a:pt x="1312" y="2206"/>
                  </a:lnTo>
                  <a:lnTo>
                    <a:pt x="1318" y="2216"/>
                  </a:lnTo>
                  <a:lnTo>
                    <a:pt x="1322" y="2224"/>
                  </a:lnTo>
                  <a:lnTo>
                    <a:pt x="1324" y="2226"/>
                  </a:lnTo>
                  <a:lnTo>
                    <a:pt x="1328" y="2226"/>
                  </a:lnTo>
                  <a:lnTo>
                    <a:pt x="1332" y="2226"/>
                  </a:lnTo>
                  <a:lnTo>
                    <a:pt x="1338" y="2226"/>
                  </a:lnTo>
                  <a:lnTo>
                    <a:pt x="1352" y="2230"/>
                  </a:lnTo>
                  <a:lnTo>
                    <a:pt x="1356" y="2232"/>
                  </a:lnTo>
                  <a:lnTo>
                    <a:pt x="1358" y="2230"/>
                  </a:lnTo>
                  <a:lnTo>
                    <a:pt x="1360" y="2226"/>
                  </a:lnTo>
                  <a:lnTo>
                    <a:pt x="1362" y="2220"/>
                  </a:lnTo>
                  <a:lnTo>
                    <a:pt x="1366" y="2214"/>
                  </a:lnTo>
                  <a:lnTo>
                    <a:pt x="1370" y="2212"/>
                  </a:lnTo>
                  <a:lnTo>
                    <a:pt x="1372" y="2208"/>
                  </a:lnTo>
                  <a:lnTo>
                    <a:pt x="1374" y="2200"/>
                  </a:lnTo>
                  <a:lnTo>
                    <a:pt x="1376" y="2194"/>
                  </a:lnTo>
                  <a:lnTo>
                    <a:pt x="1378" y="2194"/>
                  </a:lnTo>
                  <a:lnTo>
                    <a:pt x="1378" y="2196"/>
                  </a:lnTo>
                  <a:lnTo>
                    <a:pt x="1380" y="2198"/>
                  </a:lnTo>
                  <a:lnTo>
                    <a:pt x="1382" y="2198"/>
                  </a:lnTo>
                  <a:lnTo>
                    <a:pt x="1382" y="2194"/>
                  </a:lnTo>
                  <a:lnTo>
                    <a:pt x="1384" y="2190"/>
                  </a:lnTo>
                  <a:lnTo>
                    <a:pt x="1386" y="2188"/>
                  </a:lnTo>
                  <a:lnTo>
                    <a:pt x="1388" y="2188"/>
                  </a:lnTo>
                  <a:lnTo>
                    <a:pt x="1392" y="2192"/>
                  </a:lnTo>
                  <a:lnTo>
                    <a:pt x="1394" y="2194"/>
                  </a:lnTo>
                  <a:lnTo>
                    <a:pt x="1394" y="2196"/>
                  </a:lnTo>
                  <a:lnTo>
                    <a:pt x="1392" y="2196"/>
                  </a:lnTo>
                  <a:lnTo>
                    <a:pt x="1388" y="2198"/>
                  </a:lnTo>
                  <a:lnTo>
                    <a:pt x="1388" y="2202"/>
                  </a:lnTo>
                  <a:lnTo>
                    <a:pt x="1390" y="2206"/>
                  </a:lnTo>
                  <a:lnTo>
                    <a:pt x="1398" y="2210"/>
                  </a:lnTo>
                  <a:lnTo>
                    <a:pt x="1402" y="2208"/>
                  </a:lnTo>
                  <a:lnTo>
                    <a:pt x="1404" y="2206"/>
                  </a:lnTo>
                  <a:lnTo>
                    <a:pt x="1402" y="2194"/>
                  </a:lnTo>
                  <a:lnTo>
                    <a:pt x="1400" y="2180"/>
                  </a:lnTo>
                  <a:lnTo>
                    <a:pt x="1400" y="2174"/>
                  </a:lnTo>
                  <a:lnTo>
                    <a:pt x="1402" y="2170"/>
                  </a:lnTo>
                  <a:lnTo>
                    <a:pt x="1404" y="2168"/>
                  </a:lnTo>
                  <a:lnTo>
                    <a:pt x="1404" y="2166"/>
                  </a:lnTo>
                  <a:lnTo>
                    <a:pt x="1402" y="2160"/>
                  </a:lnTo>
                  <a:lnTo>
                    <a:pt x="1402" y="2152"/>
                  </a:lnTo>
                  <a:lnTo>
                    <a:pt x="1402" y="2150"/>
                  </a:lnTo>
                  <a:lnTo>
                    <a:pt x="1404" y="2146"/>
                  </a:lnTo>
                  <a:lnTo>
                    <a:pt x="1408" y="2144"/>
                  </a:lnTo>
                  <a:lnTo>
                    <a:pt x="1410" y="2144"/>
                  </a:lnTo>
                  <a:lnTo>
                    <a:pt x="1410" y="2150"/>
                  </a:lnTo>
                  <a:lnTo>
                    <a:pt x="1412" y="2154"/>
                  </a:lnTo>
                  <a:lnTo>
                    <a:pt x="1414" y="2152"/>
                  </a:lnTo>
                  <a:lnTo>
                    <a:pt x="1416" y="2148"/>
                  </a:lnTo>
                  <a:lnTo>
                    <a:pt x="1416" y="2146"/>
                  </a:lnTo>
                  <a:lnTo>
                    <a:pt x="1414" y="2140"/>
                  </a:lnTo>
                  <a:lnTo>
                    <a:pt x="1412" y="2132"/>
                  </a:lnTo>
                  <a:lnTo>
                    <a:pt x="1412" y="2124"/>
                  </a:lnTo>
                  <a:lnTo>
                    <a:pt x="1414" y="2116"/>
                  </a:lnTo>
                  <a:close/>
                  <a:moveTo>
                    <a:pt x="984" y="1792"/>
                  </a:moveTo>
                  <a:lnTo>
                    <a:pt x="984" y="1792"/>
                  </a:lnTo>
                  <a:lnTo>
                    <a:pt x="980" y="1788"/>
                  </a:lnTo>
                  <a:lnTo>
                    <a:pt x="974" y="1788"/>
                  </a:lnTo>
                  <a:lnTo>
                    <a:pt x="966" y="1788"/>
                  </a:lnTo>
                  <a:lnTo>
                    <a:pt x="958" y="1792"/>
                  </a:lnTo>
                  <a:lnTo>
                    <a:pt x="950" y="1794"/>
                  </a:lnTo>
                  <a:lnTo>
                    <a:pt x="944" y="1798"/>
                  </a:lnTo>
                  <a:lnTo>
                    <a:pt x="942" y="1804"/>
                  </a:lnTo>
                  <a:lnTo>
                    <a:pt x="940" y="1808"/>
                  </a:lnTo>
                  <a:lnTo>
                    <a:pt x="942" y="1810"/>
                  </a:lnTo>
                  <a:lnTo>
                    <a:pt x="948" y="1812"/>
                  </a:lnTo>
                  <a:lnTo>
                    <a:pt x="960" y="1814"/>
                  </a:lnTo>
                  <a:lnTo>
                    <a:pt x="974" y="1812"/>
                  </a:lnTo>
                  <a:lnTo>
                    <a:pt x="982" y="1810"/>
                  </a:lnTo>
                  <a:lnTo>
                    <a:pt x="990" y="1808"/>
                  </a:lnTo>
                  <a:lnTo>
                    <a:pt x="998" y="1808"/>
                  </a:lnTo>
                  <a:lnTo>
                    <a:pt x="1004" y="1806"/>
                  </a:lnTo>
                  <a:lnTo>
                    <a:pt x="1004" y="1804"/>
                  </a:lnTo>
                  <a:lnTo>
                    <a:pt x="1002" y="1800"/>
                  </a:lnTo>
                  <a:lnTo>
                    <a:pt x="1000" y="1798"/>
                  </a:lnTo>
                  <a:lnTo>
                    <a:pt x="994" y="1798"/>
                  </a:lnTo>
                  <a:lnTo>
                    <a:pt x="990" y="1796"/>
                  </a:lnTo>
                  <a:lnTo>
                    <a:pt x="984" y="1792"/>
                  </a:lnTo>
                  <a:close/>
                  <a:moveTo>
                    <a:pt x="2204" y="1064"/>
                  </a:moveTo>
                  <a:lnTo>
                    <a:pt x="2204" y="1064"/>
                  </a:lnTo>
                  <a:lnTo>
                    <a:pt x="2206" y="1066"/>
                  </a:lnTo>
                  <a:lnTo>
                    <a:pt x="2208" y="1066"/>
                  </a:lnTo>
                  <a:lnTo>
                    <a:pt x="2212" y="1066"/>
                  </a:lnTo>
                  <a:lnTo>
                    <a:pt x="2214" y="1060"/>
                  </a:lnTo>
                  <a:lnTo>
                    <a:pt x="2214" y="1058"/>
                  </a:lnTo>
                  <a:lnTo>
                    <a:pt x="2212" y="1054"/>
                  </a:lnTo>
                  <a:lnTo>
                    <a:pt x="2210" y="1050"/>
                  </a:lnTo>
                  <a:lnTo>
                    <a:pt x="2208" y="1048"/>
                  </a:lnTo>
                  <a:lnTo>
                    <a:pt x="2206" y="1048"/>
                  </a:lnTo>
                  <a:lnTo>
                    <a:pt x="2204" y="1050"/>
                  </a:lnTo>
                  <a:lnTo>
                    <a:pt x="2202" y="1054"/>
                  </a:lnTo>
                  <a:lnTo>
                    <a:pt x="2204" y="1064"/>
                  </a:lnTo>
                  <a:close/>
                  <a:moveTo>
                    <a:pt x="2218" y="862"/>
                  </a:moveTo>
                  <a:lnTo>
                    <a:pt x="2218" y="862"/>
                  </a:lnTo>
                  <a:lnTo>
                    <a:pt x="2216" y="866"/>
                  </a:lnTo>
                  <a:lnTo>
                    <a:pt x="2218" y="870"/>
                  </a:lnTo>
                  <a:lnTo>
                    <a:pt x="2222" y="872"/>
                  </a:lnTo>
                  <a:lnTo>
                    <a:pt x="2228" y="874"/>
                  </a:lnTo>
                  <a:lnTo>
                    <a:pt x="2230" y="872"/>
                  </a:lnTo>
                  <a:lnTo>
                    <a:pt x="2230" y="870"/>
                  </a:lnTo>
                  <a:lnTo>
                    <a:pt x="2228" y="864"/>
                  </a:lnTo>
                  <a:lnTo>
                    <a:pt x="2222" y="860"/>
                  </a:lnTo>
                  <a:lnTo>
                    <a:pt x="2220" y="860"/>
                  </a:lnTo>
                  <a:lnTo>
                    <a:pt x="2218" y="862"/>
                  </a:lnTo>
                  <a:close/>
                  <a:moveTo>
                    <a:pt x="2220" y="824"/>
                  </a:moveTo>
                  <a:lnTo>
                    <a:pt x="2220" y="824"/>
                  </a:lnTo>
                  <a:lnTo>
                    <a:pt x="2222" y="824"/>
                  </a:lnTo>
                  <a:lnTo>
                    <a:pt x="2222" y="822"/>
                  </a:lnTo>
                  <a:lnTo>
                    <a:pt x="2216" y="814"/>
                  </a:lnTo>
                  <a:lnTo>
                    <a:pt x="2216" y="812"/>
                  </a:lnTo>
                  <a:lnTo>
                    <a:pt x="2214" y="814"/>
                  </a:lnTo>
                  <a:lnTo>
                    <a:pt x="2212" y="816"/>
                  </a:lnTo>
                  <a:lnTo>
                    <a:pt x="2214" y="822"/>
                  </a:lnTo>
                  <a:lnTo>
                    <a:pt x="2216" y="822"/>
                  </a:lnTo>
                  <a:lnTo>
                    <a:pt x="2220" y="824"/>
                  </a:lnTo>
                  <a:close/>
                  <a:moveTo>
                    <a:pt x="2124" y="1064"/>
                  </a:moveTo>
                  <a:lnTo>
                    <a:pt x="2124" y="1064"/>
                  </a:lnTo>
                  <a:lnTo>
                    <a:pt x="2118" y="1060"/>
                  </a:lnTo>
                  <a:lnTo>
                    <a:pt x="2116" y="1060"/>
                  </a:lnTo>
                  <a:lnTo>
                    <a:pt x="2114" y="1062"/>
                  </a:lnTo>
                  <a:lnTo>
                    <a:pt x="2096" y="1042"/>
                  </a:lnTo>
                  <a:lnTo>
                    <a:pt x="2094" y="1038"/>
                  </a:lnTo>
                  <a:lnTo>
                    <a:pt x="2090" y="1032"/>
                  </a:lnTo>
                  <a:lnTo>
                    <a:pt x="2076" y="1018"/>
                  </a:lnTo>
                  <a:lnTo>
                    <a:pt x="2060" y="1008"/>
                  </a:lnTo>
                  <a:lnTo>
                    <a:pt x="2050" y="1000"/>
                  </a:lnTo>
                  <a:lnTo>
                    <a:pt x="2050" y="1004"/>
                  </a:lnTo>
                  <a:lnTo>
                    <a:pt x="2044" y="998"/>
                  </a:lnTo>
                  <a:lnTo>
                    <a:pt x="2040" y="994"/>
                  </a:lnTo>
                  <a:lnTo>
                    <a:pt x="2036" y="992"/>
                  </a:lnTo>
                  <a:lnTo>
                    <a:pt x="2040" y="1000"/>
                  </a:lnTo>
                  <a:lnTo>
                    <a:pt x="2050" y="1020"/>
                  </a:lnTo>
                  <a:lnTo>
                    <a:pt x="2052" y="1024"/>
                  </a:lnTo>
                  <a:lnTo>
                    <a:pt x="2052" y="1026"/>
                  </a:lnTo>
                  <a:lnTo>
                    <a:pt x="2064" y="1036"/>
                  </a:lnTo>
                  <a:lnTo>
                    <a:pt x="2070" y="1042"/>
                  </a:lnTo>
                  <a:lnTo>
                    <a:pt x="2076" y="1056"/>
                  </a:lnTo>
                  <a:lnTo>
                    <a:pt x="2076" y="1054"/>
                  </a:lnTo>
                  <a:lnTo>
                    <a:pt x="2078" y="1058"/>
                  </a:lnTo>
                  <a:lnTo>
                    <a:pt x="2082" y="1058"/>
                  </a:lnTo>
                  <a:lnTo>
                    <a:pt x="2088" y="1064"/>
                  </a:lnTo>
                  <a:lnTo>
                    <a:pt x="2094" y="1070"/>
                  </a:lnTo>
                  <a:lnTo>
                    <a:pt x="2102" y="1074"/>
                  </a:lnTo>
                  <a:lnTo>
                    <a:pt x="2110" y="1080"/>
                  </a:lnTo>
                  <a:lnTo>
                    <a:pt x="2116" y="1086"/>
                  </a:lnTo>
                  <a:lnTo>
                    <a:pt x="2136" y="1098"/>
                  </a:lnTo>
                  <a:lnTo>
                    <a:pt x="2136" y="1102"/>
                  </a:lnTo>
                  <a:lnTo>
                    <a:pt x="2136" y="1104"/>
                  </a:lnTo>
                  <a:lnTo>
                    <a:pt x="2154" y="1100"/>
                  </a:lnTo>
                  <a:lnTo>
                    <a:pt x="2158" y="1098"/>
                  </a:lnTo>
                  <a:lnTo>
                    <a:pt x="2158" y="1096"/>
                  </a:lnTo>
                  <a:lnTo>
                    <a:pt x="2148" y="1086"/>
                  </a:lnTo>
                  <a:lnTo>
                    <a:pt x="2124" y="1064"/>
                  </a:lnTo>
                  <a:close/>
                  <a:moveTo>
                    <a:pt x="2172" y="1036"/>
                  </a:moveTo>
                  <a:lnTo>
                    <a:pt x="2172" y="1036"/>
                  </a:lnTo>
                  <a:lnTo>
                    <a:pt x="2178" y="1038"/>
                  </a:lnTo>
                  <a:lnTo>
                    <a:pt x="2182" y="1040"/>
                  </a:lnTo>
                  <a:lnTo>
                    <a:pt x="2184" y="1038"/>
                  </a:lnTo>
                  <a:lnTo>
                    <a:pt x="2186" y="1036"/>
                  </a:lnTo>
                  <a:lnTo>
                    <a:pt x="2186" y="1030"/>
                  </a:lnTo>
                  <a:lnTo>
                    <a:pt x="2182" y="1024"/>
                  </a:lnTo>
                  <a:lnTo>
                    <a:pt x="2176" y="1018"/>
                  </a:lnTo>
                  <a:lnTo>
                    <a:pt x="2172" y="1016"/>
                  </a:lnTo>
                  <a:lnTo>
                    <a:pt x="2168" y="1018"/>
                  </a:lnTo>
                  <a:lnTo>
                    <a:pt x="2168" y="1020"/>
                  </a:lnTo>
                  <a:lnTo>
                    <a:pt x="2170" y="1020"/>
                  </a:lnTo>
                  <a:lnTo>
                    <a:pt x="2172" y="1022"/>
                  </a:lnTo>
                  <a:lnTo>
                    <a:pt x="2172" y="1024"/>
                  </a:lnTo>
                  <a:lnTo>
                    <a:pt x="2170" y="1028"/>
                  </a:lnTo>
                  <a:lnTo>
                    <a:pt x="2168" y="1032"/>
                  </a:lnTo>
                  <a:lnTo>
                    <a:pt x="2170" y="1034"/>
                  </a:lnTo>
                  <a:lnTo>
                    <a:pt x="2172" y="1036"/>
                  </a:lnTo>
                  <a:close/>
                  <a:moveTo>
                    <a:pt x="2152" y="752"/>
                  </a:moveTo>
                  <a:lnTo>
                    <a:pt x="2152" y="752"/>
                  </a:lnTo>
                  <a:lnTo>
                    <a:pt x="2154" y="760"/>
                  </a:lnTo>
                  <a:lnTo>
                    <a:pt x="2156" y="764"/>
                  </a:lnTo>
                  <a:lnTo>
                    <a:pt x="2160" y="766"/>
                  </a:lnTo>
                  <a:lnTo>
                    <a:pt x="2168" y="764"/>
                  </a:lnTo>
                  <a:lnTo>
                    <a:pt x="2172" y="762"/>
                  </a:lnTo>
                  <a:lnTo>
                    <a:pt x="2174" y="760"/>
                  </a:lnTo>
                  <a:lnTo>
                    <a:pt x="2176" y="758"/>
                  </a:lnTo>
                  <a:lnTo>
                    <a:pt x="2176" y="754"/>
                  </a:lnTo>
                  <a:lnTo>
                    <a:pt x="2174" y="746"/>
                  </a:lnTo>
                  <a:lnTo>
                    <a:pt x="2170" y="736"/>
                  </a:lnTo>
                  <a:lnTo>
                    <a:pt x="2168" y="732"/>
                  </a:lnTo>
                  <a:lnTo>
                    <a:pt x="2166" y="732"/>
                  </a:lnTo>
                  <a:lnTo>
                    <a:pt x="2164" y="734"/>
                  </a:lnTo>
                  <a:lnTo>
                    <a:pt x="2162" y="736"/>
                  </a:lnTo>
                  <a:lnTo>
                    <a:pt x="2158" y="730"/>
                  </a:lnTo>
                  <a:lnTo>
                    <a:pt x="2156" y="724"/>
                  </a:lnTo>
                  <a:lnTo>
                    <a:pt x="2154" y="718"/>
                  </a:lnTo>
                  <a:lnTo>
                    <a:pt x="2152" y="716"/>
                  </a:lnTo>
                  <a:lnTo>
                    <a:pt x="2148" y="716"/>
                  </a:lnTo>
                  <a:lnTo>
                    <a:pt x="2146" y="718"/>
                  </a:lnTo>
                  <a:lnTo>
                    <a:pt x="2146" y="722"/>
                  </a:lnTo>
                  <a:lnTo>
                    <a:pt x="2148" y="726"/>
                  </a:lnTo>
                  <a:lnTo>
                    <a:pt x="2152" y="736"/>
                  </a:lnTo>
                  <a:lnTo>
                    <a:pt x="2152" y="742"/>
                  </a:lnTo>
                  <a:lnTo>
                    <a:pt x="2152" y="746"/>
                  </a:lnTo>
                  <a:lnTo>
                    <a:pt x="2152" y="752"/>
                  </a:lnTo>
                  <a:close/>
                  <a:moveTo>
                    <a:pt x="2196" y="758"/>
                  </a:moveTo>
                  <a:lnTo>
                    <a:pt x="2196" y="758"/>
                  </a:lnTo>
                  <a:lnTo>
                    <a:pt x="2202" y="754"/>
                  </a:lnTo>
                  <a:lnTo>
                    <a:pt x="2206" y="750"/>
                  </a:lnTo>
                  <a:lnTo>
                    <a:pt x="2208" y="748"/>
                  </a:lnTo>
                  <a:lnTo>
                    <a:pt x="2206" y="746"/>
                  </a:lnTo>
                  <a:lnTo>
                    <a:pt x="2202" y="746"/>
                  </a:lnTo>
                  <a:lnTo>
                    <a:pt x="2198" y="748"/>
                  </a:lnTo>
                  <a:lnTo>
                    <a:pt x="2194" y="752"/>
                  </a:lnTo>
                  <a:lnTo>
                    <a:pt x="2194" y="754"/>
                  </a:lnTo>
                  <a:lnTo>
                    <a:pt x="2196" y="758"/>
                  </a:lnTo>
                  <a:close/>
                  <a:moveTo>
                    <a:pt x="2206" y="798"/>
                  </a:moveTo>
                  <a:lnTo>
                    <a:pt x="2206" y="798"/>
                  </a:lnTo>
                  <a:lnTo>
                    <a:pt x="2210" y="800"/>
                  </a:lnTo>
                  <a:lnTo>
                    <a:pt x="2214" y="800"/>
                  </a:lnTo>
                  <a:lnTo>
                    <a:pt x="2216" y="798"/>
                  </a:lnTo>
                  <a:lnTo>
                    <a:pt x="2216" y="792"/>
                  </a:lnTo>
                  <a:lnTo>
                    <a:pt x="2216" y="790"/>
                  </a:lnTo>
                  <a:lnTo>
                    <a:pt x="2214" y="788"/>
                  </a:lnTo>
                  <a:lnTo>
                    <a:pt x="2208" y="790"/>
                  </a:lnTo>
                  <a:lnTo>
                    <a:pt x="2204" y="794"/>
                  </a:lnTo>
                  <a:lnTo>
                    <a:pt x="2204" y="796"/>
                  </a:lnTo>
                  <a:lnTo>
                    <a:pt x="2206" y="798"/>
                  </a:lnTo>
                  <a:close/>
                  <a:moveTo>
                    <a:pt x="1762" y="382"/>
                  </a:moveTo>
                  <a:lnTo>
                    <a:pt x="1762" y="382"/>
                  </a:lnTo>
                  <a:lnTo>
                    <a:pt x="1762" y="386"/>
                  </a:lnTo>
                  <a:lnTo>
                    <a:pt x="1764" y="392"/>
                  </a:lnTo>
                  <a:lnTo>
                    <a:pt x="1768" y="394"/>
                  </a:lnTo>
                  <a:lnTo>
                    <a:pt x="1770" y="394"/>
                  </a:lnTo>
                  <a:lnTo>
                    <a:pt x="1772" y="392"/>
                  </a:lnTo>
                  <a:lnTo>
                    <a:pt x="1774" y="390"/>
                  </a:lnTo>
                  <a:lnTo>
                    <a:pt x="1772" y="386"/>
                  </a:lnTo>
                  <a:lnTo>
                    <a:pt x="1770" y="382"/>
                  </a:lnTo>
                  <a:lnTo>
                    <a:pt x="1766" y="378"/>
                  </a:lnTo>
                  <a:lnTo>
                    <a:pt x="1764" y="380"/>
                  </a:lnTo>
                  <a:lnTo>
                    <a:pt x="1762" y="382"/>
                  </a:lnTo>
                  <a:close/>
                  <a:moveTo>
                    <a:pt x="1786" y="386"/>
                  </a:moveTo>
                  <a:lnTo>
                    <a:pt x="1786" y="386"/>
                  </a:lnTo>
                  <a:lnTo>
                    <a:pt x="1784" y="386"/>
                  </a:lnTo>
                  <a:lnTo>
                    <a:pt x="1780" y="388"/>
                  </a:lnTo>
                  <a:lnTo>
                    <a:pt x="1776" y="396"/>
                  </a:lnTo>
                  <a:lnTo>
                    <a:pt x="1776" y="402"/>
                  </a:lnTo>
                  <a:lnTo>
                    <a:pt x="1778" y="404"/>
                  </a:lnTo>
                  <a:lnTo>
                    <a:pt x="1780" y="404"/>
                  </a:lnTo>
                  <a:lnTo>
                    <a:pt x="1784" y="402"/>
                  </a:lnTo>
                  <a:lnTo>
                    <a:pt x="1788" y="404"/>
                  </a:lnTo>
                  <a:lnTo>
                    <a:pt x="1790" y="410"/>
                  </a:lnTo>
                  <a:lnTo>
                    <a:pt x="1794" y="414"/>
                  </a:lnTo>
                  <a:lnTo>
                    <a:pt x="1796" y="416"/>
                  </a:lnTo>
                  <a:lnTo>
                    <a:pt x="1800" y="412"/>
                  </a:lnTo>
                  <a:lnTo>
                    <a:pt x="1798" y="408"/>
                  </a:lnTo>
                  <a:lnTo>
                    <a:pt x="1794" y="402"/>
                  </a:lnTo>
                  <a:lnTo>
                    <a:pt x="1790" y="396"/>
                  </a:lnTo>
                  <a:lnTo>
                    <a:pt x="1790" y="392"/>
                  </a:lnTo>
                  <a:lnTo>
                    <a:pt x="1790" y="390"/>
                  </a:lnTo>
                  <a:lnTo>
                    <a:pt x="1786" y="386"/>
                  </a:lnTo>
                  <a:close/>
                  <a:moveTo>
                    <a:pt x="1754" y="340"/>
                  </a:moveTo>
                  <a:lnTo>
                    <a:pt x="1754" y="340"/>
                  </a:lnTo>
                  <a:lnTo>
                    <a:pt x="1758" y="346"/>
                  </a:lnTo>
                  <a:lnTo>
                    <a:pt x="1766" y="354"/>
                  </a:lnTo>
                  <a:lnTo>
                    <a:pt x="1776" y="360"/>
                  </a:lnTo>
                  <a:lnTo>
                    <a:pt x="1780" y="360"/>
                  </a:lnTo>
                  <a:lnTo>
                    <a:pt x="1784" y="360"/>
                  </a:lnTo>
                  <a:lnTo>
                    <a:pt x="1788" y="358"/>
                  </a:lnTo>
                  <a:lnTo>
                    <a:pt x="1784" y="356"/>
                  </a:lnTo>
                  <a:lnTo>
                    <a:pt x="1776" y="352"/>
                  </a:lnTo>
                  <a:lnTo>
                    <a:pt x="1774" y="348"/>
                  </a:lnTo>
                  <a:lnTo>
                    <a:pt x="1772" y="344"/>
                  </a:lnTo>
                  <a:lnTo>
                    <a:pt x="1768" y="336"/>
                  </a:lnTo>
                  <a:lnTo>
                    <a:pt x="1764" y="332"/>
                  </a:lnTo>
                  <a:lnTo>
                    <a:pt x="1746" y="320"/>
                  </a:lnTo>
                  <a:lnTo>
                    <a:pt x="1742" y="318"/>
                  </a:lnTo>
                  <a:lnTo>
                    <a:pt x="1740" y="320"/>
                  </a:lnTo>
                  <a:lnTo>
                    <a:pt x="1742" y="328"/>
                  </a:lnTo>
                  <a:lnTo>
                    <a:pt x="1744" y="332"/>
                  </a:lnTo>
                  <a:lnTo>
                    <a:pt x="1748" y="334"/>
                  </a:lnTo>
                  <a:lnTo>
                    <a:pt x="1752" y="336"/>
                  </a:lnTo>
                  <a:lnTo>
                    <a:pt x="1754" y="340"/>
                  </a:lnTo>
                  <a:close/>
                  <a:moveTo>
                    <a:pt x="1744" y="368"/>
                  </a:moveTo>
                  <a:lnTo>
                    <a:pt x="1744" y="368"/>
                  </a:lnTo>
                  <a:lnTo>
                    <a:pt x="1744" y="374"/>
                  </a:lnTo>
                  <a:lnTo>
                    <a:pt x="1748" y="378"/>
                  </a:lnTo>
                  <a:lnTo>
                    <a:pt x="1752" y="382"/>
                  </a:lnTo>
                  <a:lnTo>
                    <a:pt x="1754" y="380"/>
                  </a:lnTo>
                  <a:lnTo>
                    <a:pt x="1756" y="380"/>
                  </a:lnTo>
                  <a:lnTo>
                    <a:pt x="1758" y="376"/>
                  </a:lnTo>
                  <a:lnTo>
                    <a:pt x="1758" y="374"/>
                  </a:lnTo>
                  <a:lnTo>
                    <a:pt x="1752" y="368"/>
                  </a:lnTo>
                  <a:lnTo>
                    <a:pt x="1746" y="366"/>
                  </a:lnTo>
                  <a:lnTo>
                    <a:pt x="1744" y="366"/>
                  </a:lnTo>
                  <a:lnTo>
                    <a:pt x="1744" y="368"/>
                  </a:lnTo>
                  <a:close/>
                  <a:moveTo>
                    <a:pt x="1802" y="416"/>
                  </a:moveTo>
                  <a:lnTo>
                    <a:pt x="1802" y="416"/>
                  </a:lnTo>
                  <a:lnTo>
                    <a:pt x="1800" y="420"/>
                  </a:lnTo>
                  <a:lnTo>
                    <a:pt x="1800" y="424"/>
                  </a:lnTo>
                  <a:lnTo>
                    <a:pt x="1804" y="426"/>
                  </a:lnTo>
                  <a:lnTo>
                    <a:pt x="1810" y="424"/>
                  </a:lnTo>
                  <a:lnTo>
                    <a:pt x="1810" y="422"/>
                  </a:lnTo>
                  <a:lnTo>
                    <a:pt x="1812" y="420"/>
                  </a:lnTo>
                  <a:lnTo>
                    <a:pt x="1810" y="416"/>
                  </a:lnTo>
                  <a:lnTo>
                    <a:pt x="1806" y="414"/>
                  </a:lnTo>
                  <a:lnTo>
                    <a:pt x="1804" y="414"/>
                  </a:lnTo>
                  <a:lnTo>
                    <a:pt x="1802" y="416"/>
                  </a:lnTo>
                  <a:close/>
                  <a:moveTo>
                    <a:pt x="1858" y="386"/>
                  </a:moveTo>
                  <a:lnTo>
                    <a:pt x="1858" y="386"/>
                  </a:lnTo>
                  <a:lnTo>
                    <a:pt x="1848" y="382"/>
                  </a:lnTo>
                  <a:lnTo>
                    <a:pt x="1844" y="378"/>
                  </a:lnTo>
                  <a:lnTo>
                    <a:pt x="1840" y="374"/>
                  </a:lnTo>
                  <a:lnTo>
                    <a:pt x="1832" y="368"/>
                  </a:lnTo>
                  <a:lnTo>
                    <a:pt x="1828" y="366"/>
                  </a:lnTo>
                  <a:lnTo>
                    <a:pt x="1826" y="368"/>
                  </a:lnTo>
                  <a:lnTo>
                    <a:pt x="1828" y="378"/>
                  </a:lnTo>
                  <a:lnTo>
                    <a:pt x="1830" y="382"/>
                  </a:lnTo>
                  <a:lnTo>
                    <a:pt x="1834" y="386"/>
                  </a:lnTo>
                  <a:lnTo>
                    <a:pt x="1848" y="394"/>
                  </a:lnTo>
                  <a:lnTo>
                    <a:pt x="1864" y="404"/>
                  </a:lnTo>
                  <a:lnTo>
                    <a:pt x="1878" y="414"/>
                  </a:lnTo>
                  <a:lnTo>
                    <a:pt x="1880" y="416"/>
                  </a:lnTo>
                  <a:lnTo>
                    <a:pt x="1882" y="416"/>
                  </a:lnTo>
                  <a:lnTo>
                    <a:pt x="1878" y="408"/>
                  </a:lnTo>
                  <a:lnTo>
                    <a:pt x="1870" y="396"/>
                  </a:lnTo>
                  <a:lnTo>
                    <a:pt x="1864" y="390"/>
                  </a:lnTo>
                  <a:lnTo>
                    <a:pt x="1858" y="386"/>
                  </a:lnTo>
                  <a:close/>
                  <a:moveTo>
                    <a:pt x="1882" y="456"/>
                  </a:moveTo>
                  <a:lnTo>
                    <a:pt x="1882" y="456"/>
                  </a:lnTo>
                  <a:lnTo>
                    <a:pt x="1876" y="450"/>
                  </a:lnTo>
                  <a:lnTo>
                    <a:pt x="1872" y="450"/>
                  </a:lnTo>
                  <a:lnTo>
                    <a:pt x="1870" y="454"/>
                  </a:lnTo>
                  <a:lnTo>
                    <a:pt x="1870" y="462"/>
                  </a:lnTo>
                  <a:lnTo>
                    <a:pt x="1870" y="468"/>
                  </a:lnTo>
                  <a:lnTo>
                    <a:pt x="1876" y="474"/>
                  </a:lnTo>
                  <a:lnTo>
                    <a:pt x="1882" y="478"/>
                  </a:lnTo>
                  <a:lnTo>
                    <a:pt x="1892" y="478"/>
                  </a:lnTo>
                  <a:lnTo>
                    <a:pt x="1900" y="476"/>
                  </a:lnTo>
                  <a:lnTo>
                    <a:pt x="1900" y="478"/>
                  </a:lnTo>
                  <a:lnTo>
                    <a:pt x="1902" y="480"/>
                  </a:lnTo>
                  <a:lnTo>
                    <a:pt x="1912" y="482"/>
                  </a:lnTo>
                  <a:lnTo>
                    <a:pt x="1916" y="482"/>
                  </a:lnTo>
                  <a:lnTo>
                    <a:pt x="1920" y="482"/>
                  </a:lnTo>
                  <a:lnTo>
                    <a:pt x="1920" y="480"/>
                  </a:lnTo>
                  <a:lnTo>
                    <a:pt x="1918" y="476"/>
                  </a:lnTo>
                  <a:lnTo>
                    <a:pt x="1914" y="468"/>
                  </a:lnTo>
                  <a:lnTo>
                    <a:pt x="1906" y="460"/>
                  </a:lnTo>
                  <a:lnTo>
                    <a:pt x="1902" y="458"/>
                  </a:lnTo>
                  <a:lnTo>
                    <a:pt x="1900" y="456"/>
                  </a:lnTo>
                  <a:lnTo>
                    <a:pt x="1892" y="456"/>
                  </a:lnTo>
                  <a:lnTo>
                    <a:pt x="1886" y="458"/>
                  </a:lnTo>
                  <a:lnTo>
                    <a:pt x="1884" y="456"/>
                  </a:lnTo>
                  <a:lnTo>
                    <a:pt x="1882" y="456"/>
                  </a:lnTo>
                  <a:close/>
                  <a:moveTo>
                    <a:pt x="1884" y="560"/>
                  </a:moveTo>
                  <a:lnTo>
                    <a:pt x="1884" y="560"/>
                  </a:lnTo>
                  <a:lnTo>
                    <a:pt x="1886" y="564"/>
                  </a:lnTo>
                  <a:lnTo>
                    <a:pt x="1894" y="570"/>
                  </a:lnTo>
                  <a:lnTo>
                    <a:pt x="1902" y="576"/>
                  </a:lnTo>
                  <a:lnTo>
                    <a:pt x="1906" y="576"/>
                  </a:lnTo>
                  <a:lnTo>
                    <a:pt x="1910" y="576"/>
                  </a:lnTo>
                  <a:lnTo>
                    <a:pt x="1910" y="574"/>
                  </a:lnTo>
                  <a:lnTo>
                    <a:pt x="1908" y="570"/>
                  </a:lnTo>
                  <a:lnTo>
                    <a:pt x="1900" y="562"/>
                  </a:lnTo>
                  <a:lnTo>
                    <a:pt x="1890" y="558"/>
                  </a:lnTo>
                  <a:lnTo>
                    <a:pt x="1886" y="558"/>
                  </a:lnTo>
                  <a:lnTo>
                    <a:pt x="1884" y="560"/>
                  </a:lnTo>
                  <a:close/>
                  <a:moveTo>
                    <a:pt x="1966" y="508"/>
                  </a:moveTo>
                  <a:lnTo>
                    <a:pt x="1966" y="508"/>
                  </a:lnTo>
                  <a:lnTo>
                    <a:pt x="1958" y="506"/>
                  </a:lnTo>
                  <a:lnTo>
                    <a:pt x="1950" y="502"/>
                  </a:lnTo>
                  <a:lnTo>
                    <a:pt x="1942" y="498"/>
                  </a:lnTo>
                  <a:lnTo>
                    <a:pt x="1938" y="498"/>
                  </a:lnTo>
                  <a:lnTo>
                    <a:pt x="1936" y="500"/>
                  </a:lnTo>
                  <a:lnTo>
                    <a:pt x="1934" y="500"/>
                  </a:lnTo>
                  <a:lnTo>
                    <a:pt x="1934" y="502"/>
                  </a:lnTo>
                  <a:lnTo>
                    <a:pt x="1938" y="504"/>
                  </a:lnTo>
                  <a:lnTo>
                    <a:pt x="1942" y="506"/>
                  </a:lnTo>
                  <a:lnTo>
                    <a:pt x="1944" y="510"/>
                  </a:lnTo>
                  <a:lnTo>
                    <a:pt x="1944" y="512"/>
                  </a:lnTo>
                  <a:lnTo>
                    <a:pt x="1946" y="516"/>
                  </a:lnTo>
                  <a:lnTo>
                    <a:pt x="1948" y="518"/>
                  </a:lnTo>
                  <a:lnTo>
                    <a:pt x="1956" y="524"/>
                  </a:lnTo>
                  <a:lnTo>
                    <a:pt x="1966" y="528"/>
                  </a:lnTo>
                  <a:lnTo>
                    <a:pt x="1974" y="528"/>
                  </a:lnTo>
                  <a:lnTo>
                    <a:pt x="1976" y="528"/>
                  </a:lnTo>
                  <a:lnTo>
                    <a:pt x="1978" y="526"/>
                  </a:lnTo>
                  <a:lnTo>
                    <a:pt x="1976" y="518"/>
                  </a:lnTo>
                  <a:lnTo>
                    <a:pt x="1972" y="512"/>
                  </a:lnTo>
                  <a:lnTo>
                    <a:pt x="1968" y="510"/>
                  </a:lnTo>
                  <a:lnTo>
                    <a:pt x="1966" y="508"/>
                  </a:lnTo>
                  <a:close/>
                  <a:moveTo>
                    <a:pt x="2174" y="784"/>
                  </a:moveTo>
                  <a:lnTo>
                    <a:pt x="2174" y="784"/>
                  </a:lnTo>
                  <a:lnTo>
                    <a:pt x="2174" y="788"/>
                  </a:lnTo>
                  <a:lnTo>
                    <a:pt x="2180" y="792"/>
                  </a:lnTo>
                  <a:lnTo>
                    <a:pt x="2182" y="794"/>
                  </a:lnTo>
                  <a:lnTo>
                    <a:pt x="2184" y="798"/>
                  </a:lnTo>
                  <a:lnTo>
                    <a:pt x="2186" y="804"/>
                  </a:lnTo>
                  <a:lnTo>
                    <a:pt x="2188" y="808"/>
                  </a:lnTo>
                  <a:lnTo>
                    <a:pt x="2192" y="808"/>
                  </a:lnTo>
                  <a:lnTo>
                    <a:pt x="2196" y="808"/>
                  </a:lnTo>
                  <a:lnTo>
                    <a:pt x="2198" y="806"/>
                  </a:lnTo>
                  <a:lnTo>
                    <a:pt x="2198" y="800"/>
                  </a:lnTo>
                  <a:lnTo>
                    <a:pt x="2196" y="794"/>
                  </a:lnTo>
                  <a:lnTo>
                    <a:pt x="2190" y="788"/>
                  </a:lnTo>
                  <a:lnTo>
                    <a:pt x="2186" y="784"/>
                  </a:lnTo>
                  <a:lnTo>
                    <a:pt x="2180" y="780"/>
                  </a:lnTo>
                  <a:lnTo>
                    <a:pt x="2176" y="780"/>
                  </a:lnTo>
                  <a:lnTo>
                    <a:pt x="2174" y="784"/>
                  </a:lnTo>
                  <a:close/>
                  <a:moveTo>
                    <a:pt x="1938" y="458"/>
                  </a:moveTo>
                  <a:lnTo>
                    <a:pt x="1938" y="458"/>
                  </a:lnTo>
                  <a:lnTo>
                    <a:pt x="1938" y="454"/>
                  </a:lnTo>
                  <a:lnTo>
                    <a:pt x="1938" y="448"/>
                  </a:lnTo>
                  <a:lnTo>
                    <a:pt x="1936" y="444"/>
                  </a:lnTo>
                  <a:lnTo>
                    <a:pt x="1930" y="438"/>
                  </a:lnTo>
                  <a:lnTo>
                    <a:pt x="1928" y="434"/>
                  </a:lnTo>
                  <a:lnTo>
                    <a:pt x="1926" y="428"/>
                  </a:lnTo>
                  <a:lnTo>
                    <a:pt x="1922" y="420"/>
                  </a:lnTo>
                  <a:lnTo>
                    <a:pt x="1920" y="410"/>
                  </a:lnTo>
                  <a:lnTo>
                    <a:pt x="1916" y="408"/>
                  </a:lnTo>
                  <a:lnTo>
                    <a:pt x="1910" y="406"/>
                  </a:lnTo>
                  <a:lnTo>
                    <a:pt x="1908" y="404"/>
                  </a:lnTo>
                  <a:lnTo>
                    <a:pt x="1906" y="406"/>
                  </a:lnTo>
                  <a:lnTo>
                    <a:pt x="1906" y="412"/>
                  </a:lnTo>
                  <a:lnTo>
                    <a:pt x="1912" y="422"/>
                  </a:lnTo>
                  <a:lnTo>
                    <a:pt x="1916" y="440"/>
                  </a:lnTo>
                  <a:lnTo>
                    <a:pt x="1918" y="446"/>
                  </a:lnTo>
                  <a:lnTo>
                    <a:pt x="1920" y="448"/>
                  </a:lnTo>
                  <a:lnTo>
                    <a:pt x="1926" y="452"/>
                  </a:lnTo>
                  <a:lnTo>
                    <a:pt x="1930" y="460"/>
                  </a:lnTo>
                  <a:lnTo>
                    <a:pt x="1936" y="466"/>
                  </a:lnTo>
                  <a:lnTo>
                    <a:pt x="1940" y="470"/>
                  </a:lnTo>
                  <a:lnTo>
                    <a:pt x="1942" y="468"/>
                  </a:lnTo>
                  <a:lnTo>
                    <a:pt x="1938" y="458"/>
                  </a:lnTo>
                  <a:close/>
                  <a:moveTo>
                    <a:pt x="2456" y="2102"/>
                  </a:moveTo>
                  <a:lnTo>
                    <a:pt x="2456" y="2102"/>
                  </a:lnTo>
                  <a:lnTo>
                    <a:pt x="2460" y="2096"/>
                  </a:lnTo>
                  <a:lnTo>
                    <a:pt x="2460" y="2090"/>
                  </a:lnTo>
                  <a:lnTo>
                    <a:pt x="2458" y="2084"/>
                  </a:lnTo>
                  <a:lnTo>
                    <a:pt x="2456" y="2082"/>
                  </a:lnTo>
                  <a:lnTo>
                    <a:pt x="2450" y="2082"/>
                  </a:lnTo>
                  <a:lnTo>
                    <a:pt x="2442" y="2084"/>
                  </a:lnTo>
                  <a:lnTo>
                    <a:pt x="2434" y="2088"/>
                  </a:lnTo>
                  <a:lnTo>
                    <a:pt x="2426" y="2094"/>
                  </a:lnTo>
                  <a:lnTo>
                    <a:pt x="2418" y="2100"/>
                  </a:lnTo>
                  <a:lnTo>
                    <a:pt x="2412" y="2100"/>
                  </a:lnTo>
                  <a:lnTo>
                    <a:pt x="2410" y="2098"/>
                  </a:lnTo>
                  <a:lnTo>
                    <a:pt x="2410" y="2094"/>
                  </a:lnTo>
                  <a:lnTo>
                    <a:pt x="2410" y="2080"/>
                  </a:lnTo>
                  <a:lnTo>
                    <a:pt x="2410" y="2076"/>
                  </a:lnTo>
                  <a:lnTo>
                    <a:pt x="2408" y="2074"/>
                  </a:lnTo>
                  <a:lnTo>
                    <a:pt x="2400" y="2072"/>
                  </a:lnTo>
                  <a:lnTo>
                    <a:pt x="2398" y="2070"/>
                  </a:lnTo>
                  <a:lnTo>
                    <a:pt x="2398" y="2068"/>
                  </a:lnTo>
                  <a:lnTo>
                    <a:pt x="2404" y="2064"/>
                  </a:lnTo>
                  <a:lnTo>
                    <a:pt x="2408" y="2062"/>
                  </a:lnTo>
                  <a:lnTo>
                    <a:pt x="2408" y="2058"/>
                  </a:lnTo>
                  <a:lnTo>
                    <a:pt x="2408" y="2056"/>
                  </a:lnTo>
                  <a:lnTo>
                    <a:pt x="2404" y="2054"/>
                  </a:lnTo>
                  <a:lnTo>
                    <a:pt x="2400" y="2054"/>
                  </a:lnTo>
                  <a:lnTo>
                    <a:pt x="2396" y="2056"/>
                  </a:lnTo>
                  <a:lnTo>
                    <a:pt x="2388" y="2060"/>
                  </a:lnTo>
                  <a:lnTo>
                    <a:pt x="2380" y="2068"/>
                  </a:lnTo>
                  <a:lnTo>
                    <a:pt x="2376" y="2074"/>
                  </a:lnTo>
                  <a:lnTo>
                    <a:pt x="2374" y="2080"/>
                  </a:lnTo>
                  <a:lnTo>
                    <a:pt x="2374" y="2096"/>
                  </a:lnTo>
                  <a:lnTo>
                    <a:pt x="2372" y="2104"/>
                  </a:lnTo>
                  <a:lnTo>
                    <a:pt x="2370" y="2110"/>
                  </a:lnTo>
                  <a:lnTo>
                    <a:pt x="2366" y="2116"/>
                  </a:lnTo>
                  <a:lnTo>
                    <a:pt x="2358" y="2120"/>
                  </a:lnTo>
                  <a:lnTo>
                    <a:pt x="2352" y="2126"/>
                  </a:lnTo>
                  <a:lnTo>
                    <a:pt x="2346" y="2134"/>
                  </a:lnTo>
                  <a:lnTo>
                    <a:pt x="2336" y="2156"/>
                  </a:lnTo>
                  <a:lnTo>
                    <a:pt x="2324" y="2180"/>
                  </a:lnTo>
                  <a:lnTo>
                    <a:pt x="2318" y="2190"/>
                  </a:lnTo>
                  <a:lnTo>
                    <a:pt x="2310" y="2196"/>
                  </a:lnTo>
                  <a:lnTo>
                    <a:pt x="2298" y="2206"/>
                  </a:lnTo>
                  <a:lnTo>
                    <a:pt x="2286" y="2218"/>
                  </a:lnTo>
                  <a:lnTo>
                    <a:pt x="2274" y="2228"/>
                  </a:lnTo>
                  <a:lnTo>
                    <a:pt x="2270" y="2230"/>
                  </a:lnTo>
                  <a:lnTo>
                    <a:pt x="2264" y="2232"/>
                  </a:lnTo>
                  <a:lnTo>
                    <a:pt x="2260" y="2234"/>
                  </a:lnTo>
                  <a:lnTo>
                    <a:pt x="2256" y="2236"/>
                  </a:lnTo>
                  <a:lnTo>
                    <a:pt x="2250" y="2242"/>
                  </a:lnTo>
                  <a:lnTo>
                    <a:pt x="2246" y="2248"/>
                  </a:lnTo>
                  <a:lnTo>
                    <a:pt x="2242" y="2250"/>
                  </a:lnTo>
                  <a:lnTo>
                    <a:pt x="2236" y="2250"/>
                  </a:lnTo>
                  <a:lnTo>
                    <a:pt x="2228" y="2250"/>
                  </a:lnTo>
                  <a:lnTo>
                    <a:pt x="2222" y="2254"/>
                  </a:lnTo>
                  <a:lnTo>
                    <a:pt x="2216" y="2260"/>
                  </a:lnTo>
                  <a:lnTo>
                    <a:pt x="2210" y="2266"/>
                  </a:lnTo>
                  <a:lnTo>
                    <a:pt x="2200" y="2282"/>
                  </a:lnTo>
                  <a:lnTo>
                    <a:pt x="2186" y="2298"/>
                  </a:lnTo>
                  <a:lnTo>
                    <a:pt x="2174" y="2310"/>
                  </a:lnTo>
                  <a:lnTo>
                    <a:pt x="2162" y="2322"/>
                  </a:lnTo>
                  <a:lnTo>
                    <a:pt x="2160" y="2328"/>
                  </a:lnTo>
                  <a:lnTo>
                    <a:pt x="2156" y="2334"/>
                  </a:lnTo>
                  <a:lnTo>
                    <a:pt x="2156" y="2338"/>
                  </a:lnTo>
                  <a:lnTo>
                    <a:pt x="2158" y="2344"/>
                  </a:lnTo>
                  <a:lnTo>
                    <a:pt x="2160" y="2348"/>
                  </a:lnTo>
                  <a:lnTo>
                    <a:pt x="2158" y="2352"/>
                  </a:lnTo>
                  <a:lnTo>
                    <a:pt x="2152" y="2356"/>
                  </a:lnTo>
                  <a:lnTo>
                    <a:pt x="2146" y="2360"/>
                  </a:lnTo>
                  <a:lnTo>
                    <a:pt x="2146" y="2362"/>
                  </a:lnTo>
                  <a:lnTo>
                    <a:pt x="2146" y="2368"/>
                  </a:lnTo>
                  <a:lnTo>
                    <a:pt x="2152" y="2376"/>
                  </a:lnTo>
                  <a:lnTo>
                    <a:pt x="2162" y="2382"/>
                  </a:lnTo>
                  <a:lnTo>
                    <a:pt x="2168" y="2384"/>
                  </a:lnTo>
                  <a:lnTo>
                    <a:pt x="2172" y="2384"/>
                  </a:lnTo>
                  <a:lnTo>
                    <a:pt x="2178" y="2382"/>
                  </a:lnTo>
                  <a:lnTo>
                    <a:pt x="2184" y="2378"/>
                  </a:lnTo>
                  <a:lnTo>
                    <a:pt x="2190" y="2376"/>
                  </a:lnTo>
                  <a:lnTo>
                    <a:pt x="2192" y="2374"/>
                  </a:lnTo>
                  <a:lnTo>
                    <a:pt x="2194" y="2376"/>
                  </a:lnTo>
                  <a:lnTo>
                    <a:pt x="2196" y="2378"/>
                  </a:lnTo>
                  <a:lnTo>
                    <a:pt x="2200" y="2384"/>
                  </a:lnTo>
                  <a:lnTo>
                    <a:pt x="2202" y="2386"/>
                  </a:lnTo>
                  <a:lnTo>
                    <a:pt x="2208" y="2386"/>
                  </a:lnTo>
                  <a:lnTo>
                    <a:pt x="2212" y="2386"/>
                  </a:lnTo>
                  <a:lnTo>
                    <a:pt x="2216" y="2388"/>
                  </a:lnTo>
                  <a:lnTo>
                    <a:pt x="2218" y="2392"/>
                  </a:lnTo>
                  <a:lnTo>
                    <a:pt x="2218" y="2396"/>
                  </a:lnTo>
                  <a:lnTo>
                    <a:pt x="2220" y="2398"/>
                  </a:lnTo>
                  <a:lnTo>
                    <a:pt x="2224" y="2402"/>
                  </a:lnTo>
                  <a:lnTo>
                    <a:pt x="2232" y="2402"/>
                  </a:lnTo>
                  <a:lnTo>
                    <a:pt x="2248" y="2404"/>
                  </a:lnTo>
                  <a:lnTo>
                    <a:pt x="2256" y="2404"/>
                  </a:lnTo>
                  <a:lnTo>
                    <a:pt x="2262" y="2404"/>
                  </a:lnTo>
                  <a:lnTo>
                    <a:pt x="2268" y="2402"/>
                  </a:lnTo>
                  <a:lnTo>
                    <a:pt x="2276" y="2398"/>
                  </a:lnTo>
                  <a:lnTo>
                    <a:pt x="2282" y="2390"/>
                  </a:lnTo>
                  <a:lnTo>
                    <a:pt x="2288" y="2380"/>
                  </a:lnTo>
                  <a:lnTo>
                    <a:pt x="2296" y="2372"/>
                  </a:lnTo>
                  <a:lnTo>
                    <a:pt x="2302" y="2366"/>
                  </a:lnTo>
                  <a:lnTo>
                    <a:pt x="2308" y="2362"/>
                  </a:lnTo>
                  <a:lnTo>
                    <a:pt x="2314" y="2360"/>
                  </a:lnTo>
                  <a:lnTo>
                    <a:pt x="2320" y="2358"/>
                  </a:lnTo>
                  <a:lnTo>
                    <a:pt x="2320" y="2356"/>
                  </a:lnTo>
                  <a:lnTo>
                    <a:pt x="2318" y="2352"/>
                  </a:lnTo>
                  <a:lnTo>
                    <a:pt x="2318" y="2346"/>
                  </a:lnTo>
                  <a:lnTo>
                    <a:pt x="2318" y="2340"/>
                  </a:lnTo>
                  <a:lnTo>
                    <a:pt x="2324" y="2328"/>
                  </a:lnTo>
                  <a:lnTo>
                    <a:pt x="2332" y="2312"/>
                  </a:lnTo>
                  <a:lnTo>
                    <a:pt x="2336" y="2300"/>
                  </a:lnTo>
                  <a:lnTo>
                    <a:pt x="2336" y="2288"/>
                  </a:lnTo>
                  <a:lnTo>
                    <a:pt x="2340" y="2276"/>
                  </a:lnTo>
                  <a:lnTo>
                    <a:pt x="2346" y="2266"/>
                  </a:lnTo>
                  <a:lnTo>
                    <a:pt x="2354" y="2258"/>
                  </a:lnTo>
                  <a:lnTo>
                    <a:pt x="2364" y="2252"/>
                  </a:lnTo>
                  <a:lnTo>
                    <a:pt x="2376" y="2248"/>
                  </a:lnTo>
                  <a:lnTo>
                    <a:pt x="2386" y="2246"/>
                  </a:lnTo>
                  <a:lnTo>
                    <a:pt x="2394" y="2244"/>
                  </a:lnTo>
                  <a:lnTo>
                    <a:pt x="2400" y="2246"/>
                  </a:lnTo>
                  <a:lnTo>
                    <a:pt x="2406" y="2246"/>
                  </a:lnTo>
                  <a:lnTo>
                    <a:pt x="2410" y="2246"/>
                  </a:lnTo>
                  <a:lnTo>
                    <a:pt x="2414" y="2244"/>
                  </a:lnTo>
                  <a:lnTo>
                    <a:pt x="2416" y="2242"/>
                  </a:lnTo>
                  <a:lnTo>
                    <a:pt x="2418" y="2238"/>
                  </a:lnTo>
                  <a:lnTo>
                    <a:pt x="2418" y="2236"/>
                  </a:lnTo>
                  <a:lnTo>
                    <a:pt x="2416" y="2232"/>
                  </a:lnTo>
                  <a:lnTo>
                    <a:pt x="2410" y="2230"/>
                  </a:lnTo>
                  <a:lnTo>
                    <a:pt x="2404" y="2228"/>
                  </a:lnTo>
                  <a:lnTo>
                    <a:pt x="2402" y="2224"/>
                  </a:lnTo>
                  <a:lnTo>
                    <a:pt x="2400" y="2218"/>
                  </a:lnTo>
                  <a:lnTo>
                    <a:pt x="2400" y="2214"/>
                  </a:lnTo>
                  <a:lnTo>
                    <a:pt x="2400" y="2208"/>
                  </a:lnTo>
                  <a:lnTo>
                    <a:pt x="2402" y="2204"/>
                  </a:lnTo>
                  <a:lnTo>
                    <a:pt x="2406" y="2200"/>
                  </a:lnTo>
                  <a:lnTo>
                    <a:pt x="2410" y="2198"/>
                  </a:lnTo>
                  <a:lnTo>
                    <a:pt x="2416" y="2196"/>
                  </a:lnTo>
                  <a:lnTo>
                    <a:pt x="2420" y="2192"/>
                  </a:lnTo>
                  <a:lnTo>
                    <a:pt x="2430" y="2178"/>
                  </a:lnTo>
                  <a:lnTo>
                    <a:pt x="2440" y="2160"/>
                  </a:lnTo>
                  <a:lnTo>
                    <a:pt x="2454" y="2138"/>
                  </a:lnTo>
                  <a:lnTo>
                    <a:pt x="2460" y="2130"/>
                  </a:lnTo>
                  <a:lnTo>
                    <a:pt x="2462" y="2124"/>
                  </a:lnTo>
                  <a:lnTo>
                    <a:pt x="2462" y="2120"/>
                  </a:lnTo>
                  <a:lnTo>
                    <a:pt x="2460" y="2118"/>
                  </a:lnTo>
                  <a:lnTo>
                    <a:pt x="2456" y="2116"/>
                  </a:lnTo>
                  <a:lnTo>
                    <a:pt x="2454" y="2114"/>
                  </a:lnTo>
                  <a:lnTo>
                    <a:pt x="2454" y="2110"/>
                  </a:lnTo>
                  <a:lnTo>
                    <a:pt x="2456" y="2102"/>
                  </a:lnTo>
                  <a:close/>
                  <a:moveTo>
                    <a:pt x="2684" y="808"/>
                  </a:moveTo>
                  <a:lnTo>
                    <a:pt x="2684" y="808"/>
                  </a:lnTo>
                  <a:lnTo>
                    <a:pt x="2680" y="812"/>
                  </a:lnTo>
                  <a:lnTo>
                    <a:pt x="2678" y="810"/>
                  </a:lnTo>
                  <a:lnTo>
                    <a:pt x="2682" y="802"/>
                  </a:lnTo>
                  <a:lnTo>
                    <a:pt x="2688" y="794"/>
                  </a:lnTo>
                  <a:lnTo>
                    <a:pt x="2690" y="792"/>
                  </a:lnTo>
                  <a:lnTo>
                    <a:pt x="2690" y="790"/>
                  </a:lnTo>
                  <a:lnTo>
                    <a:pt x="2688" y="788"/>
                  </a:lnTo>
                  <a:lnTo>
                    <a:pt x="2684" y="790"/>
                  </a:lnTo>
                  <a:lnTo>
                    <a:pt x="2676" y="794"/>
                  </a:lnTo>
                  <a:lnTo>
                    <a:pt x="2664" y="800"/>
                  </a:lnTo>
                  <a:lnTo>
                    <a:pt x="2658" y="804"/>
                  </a:lnTo>
                  <a:lnTo>
                    <a:pt x="2652" y="806"/>
                  </a:lnTo>
                  <a:lnTo>
                    <a:pt x="2648" y="806"/>
                  </a:lnTo>
                  <a:lnTo>
                    <a:pt x="2646" y="812"/>
                  </a:lnTo>
                  <a:lnTo>
                    <a:pt x="2644" y="814"/>
                  </a:lnTo>
                  <a:lnTo>
                    <a:pt x="2642" y="816"/>
                  </a:lnTo>
                  <a:lnTo>
                    <a:pt x="2636" y="814"/>
                  </a:lnTo>
                  <a:lnTo>
                    <a:pt x="2634" y="814"/>
                  </a:lnTo>
                  <a:lnTo>
                    <a:pt x="2634" y="816"/>
                  </a:lnTo>
                  <a:lnTo>
                    <a:pt x="2636" y="826"/>
                  </a:lnTo>
                  <a:lnTo>
                    <a:pt x="2640" y="832"/>
                  </a:lnTo>
                  <a:lnTo>
                    <a:pt x="2642" y="832"/>
                  </a:lnTo>
                  <a:lnTo>
                    <a:pt x="2656" y="822"/>
                  </a:lnTo>
                  <a:lnTo>
                    <a:pt x="2660" y="820"/>
                  </a:lnTo>
                  <a:lnTo>
                    <a:pt x="2662" y="820"/>
                  </a:lnTo>
                  <a:lnTo>
                    <a:pt x="2664" y="820"/>
                  </a:lnTo>
                  <a:lnTo>
                    <a:pt x="2666" y="822"/>
                  </a:lnTo>
                  <a:lnTo>
                    <a:pt x="2666" y="824"/>
                  </a:lnTo>
                  <a:lnTo>
                    <a:pt x="2668" y="824"/>
                  </a:lnTo>
                  <a:lnTo>
                    <a:pt x="2670" y="824"/>
                  </a:lnTo>
                  <a:lnTo>
                    <a:pt x="2678" y="820"/>
                  </a:lnTo>
                  <a:lnTo>
                    <a:pt x="2684" y="820"/>
                  </a:lnTo>
                  <a:lnTo>
                    <a:pt x="2690" y="820"/>
                  </a:lnTo>
                  <a:lnTo>
                    <a:pt x="2688" y="816"/>
                  </a:lnTo>
                  <a:lnTo>
                    <a:pt x="2688" y="810"/>
                  </a:lnTo>
                  <a:lnTo>
                    <a:pt x="2688" y="806"/>
                  </a:lnTo>
                  <a:lnTo>
                    <a:pt x="2684" y="808"/>
                  </a:lnTo>
                  <a:close/>
                  <a:moveTo>
                    <a:pt x="2600" y="1904"/>
                  </a:moveTo>
                  <a:lnTo>
                    <a:pt x="2600" y="1904"/>
                  </a:lnTo>
                  <a:lnTo>
                    <a:pt x="2596" y="1910"/>
                  </a:lnTo>
                  <a:lnTo>
                    <a:pt x="2592" y="1916"/>
                  </a:lnTo>
                  <a:lnTo>
                    <a:pt x="2586" y="1918"/>
                  </a:lnTo>
                  <a:lnTo>
                    <a:pt x="2580" y="1918"/>
                  </a:lnTo>
                  <a:lnTo>
                    <a:pt x="2574" y="1918"/>
                  </a:lnTo>
                  <a:lnTo>
                    <a:pt x="2566" y="1914"/>
                  </a:lnTo>
                  <a:lnTo>
                    <a:pt x="2548" y="1906"/>
                  </a:lnTo>
                  <a:lnTo>
                    <a:pt x="2540" y="1900"/>
                  </a:lnTo>
                  <a:lnTo>
                    <a:pt x="2534" y="1892"/>
                  </a:lnTo>
                  <a:lnTo>
                    <a:pt x="2530" y="1884"/>
                  </a:lnTo>
                  <a:lnTo>
                    <a:pt x="2528" y="1876"/>
                  </a:lnTo>
                  <a:lnTo>
                    <a:pt x="2522" y="1856"/>
                  </a:lnTo>
                  <a:lnTo>
                    <a:pt x="2518" y="1848"/>
                  </a:lnTo>
                  <a:lnTo>
                    <a:pt x="2514" y="1840"/>
                  </a:lnTo>
                  <a:lnTo>
                    <a:pt x="2508" y="1834"/>
                  </a:lnTo>
                  <a:lnTo>
                    <a:pt x="2504" y="1832"/>
                  </a:lnTo>
                  <a:lnTo>
                    <a:pt x="2504" y="1834"/>
                  </a:lnTo>
                  <a:lnTo>
                    <a:pt x="2504" y="1838"/>
                  </a:lnTo>
                  <a:lnTo>
                    <a:pt x="2506" y="1850"/>
                  </a:lnTo>
                  <a:lnTo>
                    <a:pt x="2512" y="1868"/>
                  </a:lnTo>
                  <a:lnTo>
                    <a:pt x="2514" y="1874"/>
                  </a:lnTo>
                  <a:lnTo>
                    <a:pt x="2512" y="1876"/>
                  </a:lnTo>
                  <a:lnTo>
                    <a:pt x="2506" y="1874"/>
                  </a:lnTo>
                  <a:lnTo>
                    <a:pt x="2498" y="1868"/>
                  </a:lnTo>
                  <a:lnTo>
                    <a:pt x="2490" y="1862"/>
                  </a:lnTo>
                  <a:lnTo>
                    <a:pt x="2484" y="1854"/>
                  </a:lnTo>
                  <a:lnTo>
                    <a:pt x="2482" y="1844"/>
                  </a:lnTo>
                  <a:lnTo>
                    <a:pt x="2482" y="1836"/>
                  </a:lnTo>
                  <a:lnTo>
                    <a:pt x="2482" y="1830"/>
                  </a:lnTo>
                  <a:lnTo>
                    <a:pt x="2482" y="1826"/>
                  </a:lnTo>
                  <a:lnTo>
                    <a:pt x="2478" y="1818"/>
                  </a:lnTo>
                  <a:lnTo>
                    <a:pt x="2474" y="1810"/>
                  </a:lnTo>
                  <a:lnTo>
                    <a:pt x="2472" y="1806"/>
                  </a:lnTo>
                  <a:lnTo>
                    <a:pt x="2472" y="1802"/>
                  </a:lnTo>
                  <a:lnTo>
                    <a:pt x="2472" y="1792"/>
                  </a:lnTo>
                  <a:lnTo>
                    <a:pt x="2470" y="1786"/>
                  </a:lnTo>
                  <a:lnTo>
                    <a:pt x="2466" y="1780"/>
                  </a:lnTo>
                  <a:lnTo>
                    <a:pt x="2462" y="1770"/>
                  </a:lnTo>
                  <a:lnTo>
                    <a:pt x="2454" y="1762"/>
                  </a:lnTo>
                  <a:lnTo>
                    <a:pt x="2448" y="1758"/>
                  </a:lnTo>
                  <a:lnTo>
                    <a:pt x="2440" y="1754"/>
                  </a:lnTo>
                  <a:lnTo>
                    <a:pt x="2428" y="1752"/>
                  </a:lnTo>
                  <a:lnTo>
                    <a:pt x="2424" y="1750"/>
                  </a:lnTo>
                  <a:lnTo>
                    <a:pt x="2422" y="1748"/>
                  </a:lnTo>
                  <a:lnTo>
                    <a:pt x="2418" y="1738"/>
                  </a:lnTo>
                  <a:lnTo>
                    <a:pt x="2412" y="1730"/>
                  </a:lnTo>
                  <a:lnTo>
                    <a:pt x="2408" y="1726"/>
                  </a:lnTo>
                  <a:lnTo>
                    <a:pt x="2402" y="1726"/>
                  </a:lnTo>
                  <a:lnTo>
                    <a:pt x="2394" y="1726"/>
                  </a:lnTo>
                  <a:lnTo>
                    <a:pt x="2394" y="1728"/>
                  </a:lnTo>
                  <a:lnTo>
                    <a:pt x="2394" y="1730"/>
                  </a:lnTo>
                  <a:lnTo>
                    <a:pt x="2400" y="1736"/>
                  </a:lnTo>
                  <a:lnTo>
                    <a:pt x="2410" y="1748"/>
                  </a:lnTo>
                  <a:lnTo>
                    <a:pt x="2414" y="1754"/>
                  </a:lnTo>
                  <a:lnTo>
                    <a:pt x="2416" y="1758"/>
                  </a:lnTo>
                  <a:lnTo>
                    <a:pt x="2416" y="1762"/>
                  </a:lnTo>
                  <a:lnTo>
                    <a:pt x="2416" y="1764"/>
                  </a:lnTo>
                  <a:lnTo>
                    <a:pt x="2414" y="1768"/>
                  </a:lnTo>
                  <a:lnTo>
                    <a:pt x="2420" y="1776"/>
                  </a:lnTo>
                  <a:lnTo>
                    <a:pt x="2426" y="1784"/>
                  </a:lnTo>
                  <a:lnTo>
                    <a:pt x="2430" y="1794"/>
                  </a:lnTo>
                  <a:lnTo>
                    <a:pt x="2440" y="1814"/>
                  </a:lnTo>
                  <a:lnTo>
                    <a:pt x="2444" y="1822"/>
                  </a:lnTo>
                  <a:lnTo>
                    <a:pt x="2448" y="1828"/>
                  </a:lnTo>
                  <a:lnTo>
                    <a:pt x="2452" y="1830"/>
                  </a:lnTo>
                  <a:lnTo>
                    <a:pt x="2454" y="1826"/>
                  </a:lnTo>
                  <a:lnTo>
                    <a:pt x="2456" y="1822"/>
                  </a:lnTo>
                  <a:lnTo>
                    <a:pt x="2460" y="1822"/>
                  </a:lnTo>
                  <a:lnTo>
                    <a:pt x="2464" y="1830"/>
                  </a:lnTo>
                  <a:lnTo>
                    <a:pt x="2466" y="1840"/>
                  </a:lnTo>
                  <a:lnTo>
                    <a:pt x="2466" y="1842"/>
                  </a:lnTo>
                  <a:lnTo>
                    <a:pt x="2464" y="1842"/>
                  </a:lnTo>
                  <a:lnTo>
                    <a:pt x="2458" y="1838"/>
                  </a:lnTo>
                  <a:lnTo>
                    <a:pt x="2458" y="1842"/>
                  </a:lnTo>
                  <a:lnTo>
                    <a:pt x="2474" y="1878"/>
                  </a:lnTo>
                  <a:lnTo>
                    <a:pt x="2480" y="1892"/>
                  </a:lnTo>
                  <a:lnTo>
                    <a:pt x="2482" y="1902"/>
                  </a:lnTo>
                  <a:lnTo>
                    <a:pt x="2482" y="1910"/>
                  </a:lnTo>
                  <a:lnTo>
                    <a:pt x="2482" y="1916"/>
                  </a:lnTo>
                  <a:lnTo>
                    <a:pt x="2478" y="1928"/>
                  </a:lnTo>
                  <a:lnTo>
                    <a:pt x="2476" y="1936"/>
                  </a:lnTo>
                  <a:lnTo>
                    <a:pt x="2476" y="1946"/>
                  </a:lnTo>
                  <a:lnTo>
                    <a:pt x="2476" y="1954"/>
                  </a:lnTo>
                  <a:lnTo>
                    <a:pt x="2472" y="1962"/>
                  </a:lnTo>
                  <a:lnTo>
                    <a:pt x="2466" y="1968"/>
                  </a:lnTo>
                  <a:lnTo>
                    <a:pt x="2460" y="1972"/>
                  </a:lnTo>
                  <a:lnTo>
                    <a:pt x="2446" y="1980"/>
                  </a:lnTo>
                  <a:lnTo>
                    <a:pt x="2442" y="1984"/>
                  </a:lnTo>
                  <a:lnTo>
                    <a:pt x="2440" y="1988"/>
                  </a:lnTo>
                  <a:lnTo>
                    <a:pt x="2440" y="1994"/>
                  </a:lnTo>
                  <a:lnTo>
                    <a:pt x="2444" y="2000"/>
                  </a:lnTo>
                  <a:lnTo>
                    <a:pt x="2456" y="2010"/>
                  </a:lnTo>
                  <a:lnTo>
                    <a:pt x="2474" y="2020"/>
                  </a:lnTo>
                  <a:lnTo>
                    <a:pt x="2488" y="2028"/>
                  </a:lnTo>
                  <a:lnTo>
                    <a:pt x="2494" y="2032"/>
                  </a:lnTo>
                  <a:lnTo>
                    <a:pt x="2496" y="2040"/>
                  </a:lnTo>
                  <a:lnTo>
                    <a:pt x="2498" y="2048"/>
                  </a:lnTo>
                  <a:lnTo>
                    <a:pt x="2496" y="2058"/>
                  </a:lnTo>
                  <a:lnTo>
                    <a:pt x="2492" y="2076"/>
                  </a:lnTo>
                  <a:lnTo>
                    <a:pt x="2488" y="2082"/>
                  </a:lnTo>
                  <a:lnTo>
                    <a:pt x="2484" y="2088"/>
                  </a:lnTo>
                  <a:lnTo>
                    <a:pt x="2478" y="2092"/>
                  </a:lnTo>
                  <a:lnTo>
                    <a:pt x="2474" y="2098"/>
                  </a:lnTo>
                  <a:lnTo>
                    <a:pt x="2474" y="2100"/>
                  </a:lnTo>
                  <a:lnTo>
                    <a:pt x="2476" y="2100"/>
                  </a:lnTo>
                  <a:lnTo>
                    <a:pt x="2488" y="2106"/>
                  </a:lnTo>
                  <a:lnTo>
                    <a:pt x="2492" y="2108"/>
                  </a:lnTo>
                  <a:lnTo>
                    <a:pt x="2494" y="2110"/>
                  </a:lnTo>
                  <a:lnTo>
                    <a:pt x="2498" y="2116"/>
                  </a:lnTo>
                  <a:lnTo>
                    <a:pt x="2498" y="2120"/>
                  </a:lnTo>
                  <a:lnTo>
                    <a:pt x="2502" y="2120"/>
                  </a:lnTo>
                  <a:lnTo>
                    <a:pt x="2506" y="2118"/>
                  </a:lnTo>
                  <a:lnTo>
                    <a:pt x="2512" y="2114"/>
                  </a:lnTo>
                  <a:lnTo>
                    <a:pt x="2520" y="2108"/>
                  </a:lnTo>
                  <a:lnTo>
                    <a:pt x="2530" y="2094"/>
                  </a:lnTo>
                  <a:lnTo>
                    <a:pt x="2552" y="2062"/>
                  </a:lnTo>
                  <a:lnTo>
                    <a:pt x="2560" y="2044"/>
                  </a:lnTo>
                  <a:lnTo>
                    <a:pt x="2568" y="2028"/>
                  </a:lnTo>
                  <a:lnTo>
                    <a:pt x="2570" y="2016"/>
                  </a:lnTo>
                  <a:lnTo>
                    <a:pt x="2570" y="2010"/>
                  </a:lnTo>
                  <a:lnTo>
                    <a:pt x="2568" y="2006"/>
                  </a:lnTo>
                  <a:lnTo>
                    <a:pt x="2566" y="2002"/>
                  </a:lnTo>
                  <a:lnTo>
                    <a:pt x="2568" y="1998"/>
                  </a:lnTo>
                  <a:lnTo>
                    <a:pt x="2570" y="1992"/>
                  </a:lnTo>
                  <a:lnTo>
                    <a:pt x="2574" y="1986"/>
                  </a:lnTo>
                  <a:lnTo>
                    <a:pt x="2580" y="1982"/>
                  </a:lnTo>
                  <a:lnTo>
                    <a:pt x="2586" y="1980"/>
                  </a:lnTo>
                  <a:lnTo>
                    <a:pt x="2594" y="1982"/>
                  </a:lnTo>
                  <a:lnTo>
                    <a:pt x="2602" y="1986"/>
                  </a:lnTo>
                  <a:lnTo>
                    <a:pt x="2608" y="1990"/>
                  </a:lnTo>
                  <a:lnTo>
                    <a:pt x="2610" y="1990"/>
                  </a:lnTo>
                  <a:lnTo>
                    <a:pt x="2612" y="1988"/>
                  </a:lnTo>
                  <a:lnTo>
                    <a:pt x="2612" y="1984"/>
                  </a:lnTo>
                  <a:lnTo>
                    <a:pt x="2610" y="1978"/>
                  </a:lnTo>
                  <a:lnTo>
                    <a:pt x="2608" y="1970"/>
                  </a:lnTo>
                  <a:lnTo>
                    <a:pt x="2608" y="1964"/>
                  </a:lnTo>
                  <a:lnTo>
                    <a:pt x="2610" y="1958"/>
                  </a:lnTo>
                  <a:lnTo>
                    <a:pt x="2612" y="1956"/>
                  </a:lnTo>
                  <a:lnTo>
                    <a:pt x="2614" y="1954"/>
                  </a:lnTo>
                  <a:lnTo>
                    <a:pt x="2620" y="1952"/>
                  </a:lnTo>
                  <a:lnTo>
                    <a:pt x="2624" y="1948"/>
                  </a:lnTo>
                  <a:lnTo>
                    <a:pt x="2626" y="1942"/>
                  </a:lnTo>
                  <a:lnTo>
                    <a:pt x="2626" y="1934"/>
                  </a:lnTo>
                  <a:lnTo>
                    <a:pt x="2628" y="1920"/>
                  </a:lnTo>
                  <a:lnTo>
                    <a:pt x="2628" y="1912"/>
                  </a:lnTo>
                  <a:lnTo>
                    <a:pt x="2630" y="1908"/>
                  </a:lnTo>
                  <a:lnTo>
                    <a:pt x="2632" y="1904"/>
                  </a:lnTo>
                  <a:lnTo>
                    <a:pt x="2630" y="1900"/>
                  </a:lnTo>
                  <a:lnTo>
                    <a:pt x="2626" y="1896"/>
                  </a:lnTo>
                  <a:lnTo>
                    <a:pt x="2620" y="1894"/>
                  </a:lnTo>
                  <a:lnTo>
                    <a:pt x="2614" y="1894"/>
                  </a:lnTo>
                  <a:lnTo>
                    <a:pt x="2608" y="1896"/>
                  </a:lnTo>
                  <a:lnTo>
                    <a:pt x="2604" y="1900"/>
                  </a:lnTo>
                  <a:lnTo>
                    <a:pt x="2600" y="1904"/>
                  </a:lnTo>
                  <a:close/>
                  <a:moveTo>
                    <a:pt x="2636" y="868"/>
                  </a:moveTo>
                  <a:lnTo>
                    <a:pt x="2636" y="868"/>
                  </a:lnTo>
                  <a:lnTo>
                    <a:pt x="2636" y="864"/>
                  </a:lnTo>
                  <a:lnTo>
                    <a:pt x="2634" y="860"/>
                  </a:lnTo>
                  <a:lnTo>
                    <a:pt x="2630" y="856"/>
                  </a:lnTo>
                  <a:lnTo>
                    <a:pt x="2626" y="854"/>
                  </a:lnTo>
                  <a:lnTo>
                    <a:pt x="2616" y="850"/>
                  </a:lnTo>
                  <a:lnTo>
                    <a:pt x="2606" y="852"/>
                  </a:lnTo>
                  <a:lnTo>
                    <a:pt x="2596" y="858"/>
                  </a:lnTo>
                  <a:lnTo>
                    <a:pt x="2588" y="864"/>
                  </a:lnTo>
                  <a:lnTo>
                    <a:pt x="2582" y="870"/>
                  </a:lnTo>
                  <a:lnTo>
                    <a:pt x="2580" y="876"/>
                  </a:lnTo>
                  <a:lnTo>
                    <a:pt x="2580" y="880"/>
                  </a:lnTo>
                  <a:lnTo>
                    <a:pt x="2580" y="882"/>
                  </a:lnTo>
                  <a:lnTo>
                    <a:pt x="2582" y="886"/>
                  </a:lnTo>
                  <a:lnTo>
                    <a:pt x="2586" y="888"/>
                  </a:lnTo>
                  <a:lnTo>
                    <a:pt x="2600" y="892"/>
                  </a:lnTo>
                  <a:lnTo>
                    <a:pt x="2610" y="896"/>
                  </a:lnTo>
                  <a:lnTo>
                    <a:pt x="2616" y="894"/>
                  </a:lnTo>
                  <a:lnTo>
                    <a:pt x="2620" y="890"/>
                  </a:lnTo>
                  <a:lnTo>
                    <a:pt x="2624" y="888"/>
                  </a:lnTo>
                  <a:lnTo>
                    <a:pt x="2626" y="886"/>
                  </a:lnTo>
                  <a:lnTo>
                    <a:pt x="2630" y="888"/>
                  </a:lnTo>
                  <a:lnTo>
                    <a:pt x="2636" y="890"/>
                  </a:lnTo>
                  <a:lnTo>
                    <a:pt x="2638" y="890"/>
                  </a:lnTo>
                  <a:lnTo>
                    <a:pt x="2640" y="888"/>
                  </a:lnTo>
                  <a:lnTo>
                    <a:pt x="2642" y="886"/>
                  </a:lnTo>
                  <a:lnTo>
                    <a:pt x="2640" y="882"/>
                  </a:lnTo>
                  <a:lnTo>
                    <a:pt x="2636" y="876"/>
                  </a:lnTo>
                  <a:lnTo>
                    <a:pt x="2636" y="872"/>
                  </a:lnTo>
                  <a:lnTo>
                    <a:pt x="2636" y="868"/>
                  </a:lnTo>
                  <a:close/>
                  <a:moveTo>
                    <a:pt x="2260" y="930"/>
                  </a:moveTo>
                  <a:lnTo>
                    <a:pt x="2260" y="930"/>
                  </a:lnTo>
                  <a:lnTo>
                    <a:pt x="2260" y="928"/>
                  </a:lnTo>
                  <a:lnTo>
                    <a:pt x="2262" y="924"/>
                  </a:lnTo>
                  <a:lnTo>
                    <a:pt x="2258" y="918"/>
                  </a:lnTo>
                  <a:lnTo>
                    <a:pt x="2254" y="912"/>
                  </a:lnTo>
                  <a:lnTo>
                    <a:pt x="2252" y="912"/>
                  </a:lnTo>
                  <a:lnTo>
                    <a:pt x="2248" y="914"/>
                  </a:lnTo>
                  <a:lnTo>
                    <a:pt x="2248" y="918"/>
                  </a:lnTo>
                  <a:lnTo>
                    <a:pt x="2248" y="920"/>
                  </a:lnTo>
                  <a:lnTo>
                    <a:pt x="2250" y="926"/>
                  </a:lnTo>
                  <a:lnTo>
                    <a:pt x="2256" y="930"/>
                  </a:lnTo>
                  <a:lnTo>
                    <a:pt x="2258" y="930"/>
                  </a:lnTo>
                  <a:lnTo>
                    <a:pt x="2260" y="930"/>
                  </a:lnTo>
                  <a:close/>
                  <a:moveTo>
                    <a:pt x="2258" y="948"/>
                  </a:moveTo>
                  <a:lnTo>
                    <a:pt x="2258" y="948"/>
                  </a:lnTo>
                  <a:lnTo>
                    <a:pt x="2256" y="950"/>
                  </a:lnTo>
                  <a:lnTo>
                    <a:pt x="2256" y="954"/>
                  </a:lnTo>
                  <a:lnTo>
                    <a:pt x="2258" y="960"/>
                  </a:lnTo>
                  <a:lnTo>
                    <a:pt x="2262" y="964"/>
                  </a:lnTo>
                  <a:lnTo>
                    <a:pt x="2266" y="966"/>
                  </a:lnTo>
                  <a:lnTo>
                    <a:pt x="2268" y="964"/>
                  </a:lnTo>
                  <a:lnTo>
                    <a:pt x="2268" y="962"/>
                  </a:lnTo>
                  <a:lnTo>
                    <a:pt x="2266" y="954"/>
                  </a:lnTo>
                  <a:lnTo>
                    <a:pt x="2262" y="948"/>
                  </a:lnTo>
                  <a:lnTo>
                    <a:pt x="2260" y="948"/>
                  </a:lnTo>
                  <a:lnTo>
                    <a:pt x="2258" y="948"/>
                  </a:lnTo>
                  <a:close/>
                  <a:moveTo>
                    <a:pt x="1490" y="460"/>
                  </a:moveTo>
                  <a:lnTo>
                    <a:pt x="1490" y="460"/>
                  </a:lnTo>
                  <a:lnTo>
                    <a:pt x="1492" y="462"/>
                  </a:lnTo>
                  <a:lnTo>
                    <a:pt x="1494" y="464"/>
                  </a:lnTo>
                  <a:lnTo>
                    <a:pt x="1496" y="462"/>
                  </a:lnTo>
                  <a:lnTo>
                    <a:pt x="1496" y="460"/>
                  </a:lnTo>
                  <a:lnTo>
                    <a:pt x="1496" y="454"/>
                  </a:lnTo>
                  <a:lnTo>
                    <a:pt x="1494" y="448"/>
                  </a:lnTo>
                  <a:lnTo>
                    <a:pt x="1490" y="446"/>
                  </a:lnTo>
                  <a:lnTo>
                    <a:pt x="1486" y="448"/>
                  </a:lnTo>
                  <a:lnTo>
                    <a:pt x="1486" y="452"/>
                  </a:lnTo>
                  <a:lnTo>
                    <a:pt x="1490" y="460"/>
                  </a:lnTo>
                  <a:close/>
                  <a:moveTo>
                    <a:pt x="1532" y="492"/>
                  </a:moveTo>
                  <a:lnTo>
                    <a:pt x="1532" y="492"/>
                  </a:lnTo>
                  <a:lnTo>
                    <a:pt x="1534" y="486"/>
                  </a:lnTo>
                  <a:lnTo>
                    <a:pt x="1534" y="482"/>
                  </a:lnTo>
                  <a:lnTo>
                    <a:pt x="1532" y="482"/>
                  </a:lnTo>
                  <a:lnTo>
                    <a:pt x="1530" y="482"/>
                  </a:lnTo>
                  <a:lnTo>
                    <a:pt x="1528" y="484"/>
                  </a:lnTo>
                  <a:lnTo>
                    <a:pt x="1526" y="484"/>
                  </a:lnTo>
                  <a:lnTo>
                    <a:pt x="1522" y="480"/>
                  </a:lnTo>
                  <a:lnTo>
                    <a:pt x="1518" y="478"/>
                  </a:lnTo>
                  <a:lnTo>
                    <a:pt x="1516" y="478"/>
                  </a:lnTo>
                  <a:lnTo>
                    <a:pt x="1518" y="486"/>
                  </a:lnTo>
                  <a:lnTo>
                    <a:pt x="1522" y="492"/>
                  </a:lnTo>
                  <a:lnTo>
                    <a:pt x="1528" y="496"/>
                  </a:lnTo>
                  <a:lnTo>
                    <a:pt x="1532" y="496"/>
                  </a:lnTo>
                  <a:lnTo>
                    <a:pt x="1532" y="492"/>
                  </a:lnTo>
                  <a:close/>
                  <a:moveTo>
                    <a:pt x="1520" y="466"/>
                  </a:moveTo>
                  <a:lnTo>
                    <a:pt x="1520" y="466"/>
                  </a:lnTo>
                  <a:lnTo>
                    <a:pt x="1516" y="458"/>
                  </a:lnTo>
                  <a:lnTo>
                    <a:pt x="1512" y="454"/>
                  </a:lnTo>
                  <a:lnTo>
                    <a:pt x="1508" y="454"/>
                  </a:lnTo>
                  <a:lnTo>
                    <a:pt x="1506" y="454"/>
                  </a:lnTo>
                  <a:lnTo>
                    <a:pt x="1504" y="456"/>
                  </a:lnTo>
                  <a:lnTo>
                    <a:pt x="1502" y="460"/>
                  </a:lnTo>
                  <a:lnTo>
                    <a:pt x="1500" y="468"/>
                  </a:lnTo>
                  <a:lnTo>
                    <a:pt x="1500" y="470"/>
                  </a:lnTo>
                  <a:lnTo>
                    <a:pt x="1504" y="470"/>
                  </a:lnTo>
                  <a:lnTo>
                    <a:pt x="1514" y="472"/>
                  </a:lnTo>
                  <a:lnTo>
                    <a:pt x="1518" y="470"/>
                  </a:lnTo>
                  <a:lnTo>
                    <a:pt x="1520" y="466"/>
                  </a:lnTo>
                  <a:close/>
                  <a:moveTo>
                    <a:pt x="1400" y="268"/>
                  </a:moveTo>
                  <a:lnTo>
                    <a:pt x="1400" y="268"/>
                  </a:lnTo>
                  <a:lnTo>
                    <a:pt x="1394" y="264"/>
                  </a:lnTo>
                  <a:lnTo>
                    <a:pt x="1392" y="264"/>
                  </a:lnTo>
                  <a:lnTo>
                    <a:pt x="1390" y="266"/>
                  </a:lnTo>
                  <a:lnTo>
                    <a:pt x="1392" y="272"/>
                  </a:lnTo>
                  <a:lnTo>
                    <a:pt x="1396" y="280"/>
                  </a:lnTo>
                  <a:lnTo>
                    <a:pt x="1398" y="282"/>
                  </a:lnTo>
                  <a:lnTo>
                    <a:pt x="1400" y="284"/>
                  </a:lnTo>
                  <a:lnTo>
                    <a:pt x="1402" y="282"/>
                  </a:lnTo>
                  <a:lnTo>
                    <a:pt x="1404" y="280"/>
                  </a:lnTo>
                  <a:lnTo>
                    <a:pt x="1404" y="274"/>
                  </a:lnTo>
                  <a:lnTo>
                    <a:pt x="1402" y="272"/>
                  </a:lnTo>
                  <a:lnTo>
                    <a:pt x="1400" y="268"/>
                  </a:lnTo>
                  <a:close/>
                  <a:moveTo>
                    <a:pt x="1360" y="254"/>
                  </a:moveTo>
                  <a:lnTo>
                    <a:pt x="1360" y="254"/>
                  </a:lnTo>
                  <a:lnTo>
                    <a:pt x="1360" y="256"/>
                  </a:lnTo>
                  <a:lnTo>
                    <a:pt x="1360" y="260"/>
                  </a:lnTo>
                  <a:lnTo>
                    <a:pt x="1362" y="264"/>
                  </a:lnTo>
                  <a:lnTo>
                    <a:pt x="1368" y="266"/>
                  </a:lnTo>
                  <a:lnTo>
                    <a:pt x="1372" y="264"/>
                  </a:lnTo>
                  <a:lnTo>
                    <a:pt x="1372" y="262"/>
                  </a:lnTo>
                  <a:lnTo>
                    <a:pt x="1372" y="260"/>
                  </a:lnTo>
                  <a:lnTo>
                    <a:pt x="1370" y="254"/>
                  </a:lnTo>
                  <a:lnTo>
                    <a:pt x="1366" y="252"/>
                  </a:lnTo>
                  <a:lnTo>
                    <a:pt x="1364" y="252"/>
                  </a:lnTo>
                  <a:lnTo>
                    <a:pt x="1360" y="254"/>
                  </a:lnTo>
                  <a:close/>
                  <a:moveTo>
                    <a:pt x="1320" y="218"/>
                  </a:moveTo>
                  <a:lnTo>
                    <a:pt x="1320" y="218"/>
                  </a:lnTo>
                  <a:lnTo>
                    <a:pt x="1318" y="216"/>
                  </a:lnTo>
                  <a:lnTo>
                    <a:pt x="1316" y="218"/>
                  </a:lnTo>
                  <a:lnTo>
                    <a:pt x="1314" y="220"/>
                  </a:lnTo>
                  <a:lnTo>
                    <a:pt x="1314" y="226"/>
                  </a:lnTo>
                  <a:lnTo>
                    <a:pt x="1316" y="232"/>
                  </a:lnTo>
                  <a:lnTo>
                    <a:pt x="1318" y="232"/>
                  </a:lnTo>
                  <a:lnTo>
                    <a:pt x="1320" y="232"/>
                  </a:lnTo>
                  <a:lnTo>
                    <a:pt x="1324" y="228"/>
                  </a:lnTo>
                  <a:lnTo>
                    <a:pt x="1324" y="224"/>
                  </a:lnTo>
                  <a:lnTo>
                    <a:pt x="1324" y="220"/>
                  </a:lnTo>
                  <a:lnTo>
                    <a:pt x="1320" y="218"/>
                  </a:lnTo>
                  <a:close/>
                  <a:moveTo>
                    <a:pt x="1360" y="106"/>
                  </a:moveTo>
                  <a:lnTo>
                    <a:pt x="1360" y="106"/>
                  </a:lnTo>
                  <a:lnTo>
                    <a:pt x="1370" y="106"/>
                  </a:lnTo>
                  <a:lnTo>
                    <a:pt x="1376" y="102"/>
                  </a:lnTo>
                  <a:lnTo>
                    <a:pt x="1376" y="100"/>
                  </a:lnTo>
                  <a:lnTo>
                    <a:pt x="1376" y="98"/>
                  </a:lnTo>
                  <a:lnTo>
                    <a:pt x="1374" y="98"/>
                  </a:lnTo>
                  <a:lnTo>
                    <a:pt x="1370" y="96"/>
                  </a:lnTo>
                  <a:lnTo>
                    <a:pt x="1362" y="94"/>
                  </a:lnTo>
                  <a:lnTo>
                    <a:pt x="1352" y="94"/>
                  </a:lnTo>
                  <a:lnTo>
                    <a:pt x="1344" y="96"/>
                  </a:lnTo>
                  <a:lnTo>
                    <a:pt x="1342" y="100"/>
                  </a:lnTo>
                  <a:lnTo>
                    <a:pt x="1340" y="102"/>
                  </a:lnTo>
                  <a:lnTo>
                    <a:pt x="1340" y="108"/>
                  </a:lnTo>
                  <a:lnTo>
                    <a:pt x="1344" y="108"/>
                  </a:lnTo>
                  <a:lnTo>
                    <a:pt x="1352" y="108"/>
                  </a:lnTo>
                  <a:lnTo>
                    <a:pt x="1360" y="106"/>
                  </a:lnTo>
                  <a:close/>
                  <a:moveTo>
                    <a:pt x="918" y="88"/>
                  </a:moveTo>
                  <a:lnTo>
                    <a:pt x="918" y="88"/>
                  </a:lnTo>
                  <a:lnTo>
                    <a:pt x="922" y="90"/>
                  </a:lnTo>
                  <a:lnTo>
                    <a:pt x="926" y="92"/>
                  </a:lnTo>
                  <a:lnTo>
                    <a:pt x="948" y="88"/>
                  </a:lnTo>
                  <a:lnTo>
                    <a:pt x="958" y="84"/>
                  </a:lnTo>
                  <a:lnTo>
                    <a:pt x="954" y="82"/>
                  </a:lnTo>
                  <a:lnTo>
                    <a:pt x="920" y="78"/>
                  </a:lnTo>
                  <a:lnTo>
                    <a:pt x="906" y="76"/>
                  </a:lnTo>
                  <a:lnTo>
                    <a:pt x="902" y="78"/>
                  </a:lnTo>
                  <a:lnTo>
                    <a:pt x="908" y="80"/>
                  </a:lnTo>
                  <a:lnTo>
                    <a:pt x="918" y="88"/>
                  </a:lnTo>
                  <a:close/>
                  <a:moveTo>
                    <a:pt x="910" y="44"/>
                  </a:moveTo>
                  <a:lnTo>
                    <a:pt x="910" y="44"/>
                  </a:lnTo>
                  <a:lnTo>
                    <a:pt x="912" y="46"/>
                  </a:lnTo>
                  <a:lnTo>
                    <a:pt x="914" y="48"/>
                  </a:lnTo>
                  <a:lnTo>
                    <a:pt x="914" y="54"/>
                  </a:lnTo>
                  <a:lnTo>
                    <a:pt x="916" y="56"/>
                  </a:lnTo>
                  <a:lnTo>
                    <a:pt x="918" y="56"/>
                  </a:lnTo>
                  <a:lnTo>
                    <a:pt x="922" y="58"/>
                  </a:lnTo>
                  <a:lnTo>
                    <a:pt x="930" y="56"/>
                  </a:lnTo>
                  <a:lnTo>
                    <a:pt x="936" y="54"/>
                  </a:lnTo>
                  <a:lnTo>
                    <a:pt x="938" y="52"/>
                  </a:lnTo>
                  <a:lnTo>
                    <a:pt x="936" y="50"/>
                  </a:lnTo>
                  <a:lnTo>
                    <a:pt x="928" y="46"/>
                  </a:lnTo>
                  <a:lnTo>
                    <a:pt x="924" y="44"/>
                  </a:lnTo>
                  <a:lnTo>
                    <a:pt x="920" y="38"/>
                  </a:lnTo>
                  <a:lnTo>
                    <a:pt x="916" y="34"/>
                  </a:lnTo>
                  <a:lnTo>
                    <a:pt x="906" y="30"/>
                  </a:lnTo>
                  <a:lnTo>
                    <a:pt x="896" y="30"/>
                  </a:lnTo>
                  <a:lnTo>
                    <a:pt x="894" y="30"/>
                  </a:lnTo>
                  <a:lnTo>
                    <a:pt x="896" y="32"/>
                  </a:lnTo>
                  <a:lnTo>
                    <a:pt x="902" y="38"/>
                  </a:lnTo>
                  <a:lnTo>
                    <a:pt x="910" y="44"/>
                  </a:lnTo>
                  <a:close/>
                  <a:moveTo>
                    <a:pt x="868" y="284"/>
                  </a:moveTo>
                  <a:lnTo>
                    <a:pt x="868" y="284"/>
                  </a:lnTo>
                  <a:lnTo>
                    <a:pt x="866" y="272"/>
                  </a:lnTo>
                  <a:lnTo>
                    <a:pt x="862" y="266"/>
                  </a:lnTo>
                  <a:lnTo>
                    <a:pt x="860" y="264"/>
                  </a:lnTo>
                  <a:lnTo>
                    <a:pt x="858" y="264"/>
                  </a:lnTo>
                  <a:lnTo>
                    <a:pt x="856" y="270"/>
                  </a:lnTo>
                  <a:lnTo>
                    <a:pt x="852" y="276"/>
                  </a:lnTo>
                  <a:lnTo>
                    <a:pt x="850" y="276"/>
                  </a:lnTo>
                  <a:lnTo>
                    <a:pt x="848" y="276"/>
                  </a:lnTo>
                  <a:lnTo>
                    <a:pt x="846" y="278"/>
                  </a:lnTo>
                  <a:lnTo>
                    <a:pt x="848" y="280"/>
                  </a:lnTo>
                  <a:lnTo>
                    <a:pt x="848" y="282"/>
                  </a:lnTo>
                  <a:lnTo>
                    <a:pt x="850" y="284"/>
                  </a:lnTo>
                  <a:lnTo>
                    <a:pt x="850" y="288"/>
                  </a:lnTo>
                  <a:lnTo>
                    <a:pt x="850" y="296"/>
                  </a:lnTo>
                  <a:lnTo>
                    <a:pt x="852" y="300"/>
                  </a:lnTo>
                  <a:lnTo>
                    <a:pt x="860" y="308"/>
                  </a:lnTo>
                  <a:lnTo>
                    <a:pt x="864" y="310"/>
                  </a:lnTo>
                  <a:lnTo>
                    <a:pt x="866" y="306"/>
                  </a:lnTo>
                  <a:lnTo>
                    <a:pt x="868" y="298"/>
                  </a:lnTo>
                  <a:lnTo>
                    <a:pt x="868" y="284"/>
                  </a:lnTo>
                  <a:close/>
                  <a:moveTo>
                    <a:pt x="852" y="306"/>
                  </a:moveTo>
                  <a:lnTo>
                    <a:pt x="852" y="306"/>
                  </a:lnTo>
                  <a:lnTo>
                    <a:pt x="848" y="302"/>
                  </a:lnTo>
                  <a:lnTo>
                    <a:pt x="846" y="298"/>
                  </a:lnTo>
                  <a:lnTo>
                    <a:pt x="844" y="296"/>
                  </a:lnTo>
                  <a:lnTo>
                    <a:pt x="844" y="302"/>
                  </a:lnTo>
                  <a:lnTo>
                    <a:pt x="846" y="304"/>
                  </a:lnTo>
                  <a:lnTo>
                    <a:pt x="852" y="310"/>
                  </a:lnTo>
                  <a:lnTo>
                    <a:pt x="858" y="318"/>
                  </a:lnTo>
                  <a:lnTo>
                    <a:pt x="858" y="314"/>
                  </a:lnTo>
                  <a:lnTo>
                    <a:pt x="856" y="310"/>
                  </a:lnTo>
                  <a:lnTo>
                    <a:pt x="852" y="306"/>
                  </a:lnTo>
                  <a:close/>
                  <a:moveTo>
                    <a:pt x="1028" y="396"/>
                  </a:moveTo>
                  <a:lnTo>
                    <a:pt x="1028" y="396"/>
                  </a:lnTo>
                  <a:lnTo>
                    <a:pt x="1032" y="394"/>
                  </a:lnTo>
                  <a:lnTo>
                    <a:pt x="1032" y="392"/>
                  </a:lnTo>
                  <a:lnTo>
                    <a:pt x="1036" y="380"/>
                  </a:lnTo>
                  <a:lnTo>
                    <a:pt x="1040" y="372"/>
                  </a:lnTo>
                  <a:lnTo>
                    <a:pt x="1040" y="370"/>
                  </a:lnTo>
                  <a:lnTo>
                    <a:pt x="1036" y="368"/>
                  </a:lnTo>
                  <a:lnTo>
                    <a:pt x="1034" y="366"/>
                  </a:lnTo>
                  <a:lnTo>
                    <a:pt x="1032" y="364"/>
                  </a:lnTo>
                  <a:lnTo>
                    <a:pt x="1032" y="362"/>
                  </a:lnTo>
                  <a:lnTo>
                    <a:pt x="1028" y="360"/>
                  </a:lnTo>
                  <a:lnTo>
                    <a:pt x="1024" y="358"/>
                  </a:lnTo>
                  <a:lnTo>
                    <a:pt x="1018" y="360"/>
                  </a:lnTo>
                  <a:lnTo>
                    <a:pt x="1008" y="366"/>
                  </a:lnTo>
                  <a:lnTo>
                    <a:pt x="998" y="374"/>
                  </a:lnTo>
                  <a:lnTo>
                    <a:pt x="994" y="378"/>
                  </a:lnTo>
                  <a:lnTo>
                    <a:pt x="994" y="384"/>
                  </a:lnTo>
                  <a:lnTo>
                    <a:pt x="992" y="388"/>
                  </a:lnTo>
                  <a:lnTo>
                    <a:pt x="988" y="396"/>
                  </a:lnTo>
                  <a:lnTo>
                    <a:pt x="984" y="402"/>
                  </a:lnTo>
                  <a:lnTo>
                    <a:pt x="984" y="408"/>
                  </a:lnTo>
                  <a:lnTo>
                    <a:pt x="984" y="410"/>
                  </a:lnTo>
                  <a:lnTo>
                    <a:pt x="984" y="412"/>
                  </a:lnTo>
                  <a:lnTo>
                    <a:pt x="988" y="410"/>
                  </a:lnTo>
                  <a:lnTo>
                    <a:pt x="996" y="408"/>
                  </a:lnTo>
                  <a:lnTo>
                    <a:pt x="1000" y="408"/>
                  </a:lnTo>
                  <a:lnTo>
                    <a:pt x="1006" y="410"/>
                  </a:lnTo>
                  <a:lnTo>
                    <a:pt x="1012" y="410"/>
                  </a:lnTo>
                  <a:lnTo>
                    <a:pt x="1016" y="410"/>
                  </a:lnTo>
                  <a:lnTo>
                    <a:pt x="1020" y="406"/>
                  </a:lnTo>
                  <a:lnTo>
                    <a:pt x="1024" y="400"/>
                  </a:lnTo>
                  <a:lnTo>
                    <a:pt x="1028" y="396"/>
                  </a:lnTo>
                  <a:close/>
                  <a:moveTo>
                    <a:pt x="1032" y="410"/>
                  </a:moveTo>
                  <a:lnTo>
                    <a:pt x="1032" y="410"/>
                  </a:lnTo>
                  <a:lnTo>
                    <a:pt x="1036" y="410"/>
                  </a:lnTo>
                  <a:lnTo>
                    <a:pt x="1036" y="406"/>
                  </a:lnTo>
                  <a:lnTo>
                    <a:pt x="1034" y="402"/>
                  </a:lnTo>
                  <a:lnTo>
                    <a:pt x="1032" y="400"/>
                  </a:lnTo>
                  <a:lnTo>
                    <a:pt x="1032" y="398"/>
                  </a:lnTo>
                  <a:lnTo>
                    <a:pt x="1030" y="398"/>
                  </a:lnTo>
                  <a:lnTo>
                    <a:pt x="1026" y="400"/>
                  </a:lnTo>
                  <a:lnTo>
                    <a:pt x="1024" y="404"/>
                  </a:lnTo>
                  <a:lnTo>
                    <a:pt x="1024" y="408"/>
                  </a:lnTo>
                  <a:lnTo>
                    <a:pt x="1024" y="410"/>
                  </a:lnTo>
                  <a:lnTo>
                    <a:pt x="1032" y="410"/>
                  </a:lnTo>
                  <a:close/>
                  <a:moveTo>
                    <a:pt x="1044" y="820"/>
                  </a:moveTo>
                  <a:lnTo>
                    <a:pt x="1044" y="820"/>
                  </a:lnTo>
                  <a:lnTo>
                    <a:pt x="1046" y="820"/>
                  </a:lnTo>
                  <a:lnTo>
                    <a:pt x="1050" y="820"/>
                  </a:lnTo>
                  <a:lnTo>
                    <a:pt x="1054" y="816"/>
                  </a:lnTo>
                  <a:lnTo>
                    <a:pt x="1056" y="812"/>
                  </a:lnTo>
                  <a:lnTo>
                    <a:pt x="1060" y="812"/>
                  </a:lnTo>
                  <a:lnTo>
                    <a:pt x="1064" y="810"/>
                  </a:lnTo>
                  <a:lnTo>
                    <a:pt x="1068" y="808"/>
                  </a:lnTo>
                  <a:lnTo>
                    <a:pt x="1068" y="806"/>
                  </a:lnTo>
                  <a:lnTo>
                    <a:pt x="1066" y="804"/>
                  </a:lnTo>
                  <a:lnTo>
                    <a:pt x="1064" y="802"/>
                  </a:lnTo>
                  <a:lnTo>
                    <a:pt x="1060" y="804"/>
                  </a:lnTo>
                  <a:lnTo>
                    <a:pt x="1052" y="808"/>
                  </a:lnTo>
                  <a:lnTo>
                    <a:pt x="1046" y="814"/>
                  </a:lnTo>
                  <a:lnTo>
                    <a:pt x="1044" y="818"/>
                  </a:lnTo>
                  <a:lnTo>
                    <a:pt x="1044" y="820"/>
                  </a:lnTo>
                  <a:close/>
                  <a:moveTo>
                    <a:pt x="844" y="336"/>
                  </a:moveTo>
                  <a:lnTo>
                    <a:pt x="844" y="336"/>
                  </a:lnTo>
                  <a:lnTo>
                    <a:pt x="852" y="332"/>
                  </a:lnTo>
                  <a:lnTo>
                    <a:pt x="856" y="326"/>
                  </a:lnTo>
                  <a:lnTo>
                    <a:pt x="854" y="320"/>
                  </a:lnTo>
                  <a:lnTo>
                    <a:pt x="850" y="312"/>
                  </a:lnTo>
                  <a:lnTo>
                    <a:pt x="846" y="306"/>
                  </a:lnTo>
                  <a:lnTo>
                    <a:pt x="842" y="306"/>
                  </a:lnTo>
                  <a:lnTo>
                    <a:pt x="840" y="310"/>
                  </a:lnTo>
                  <a:lnTo>
                    <a:pt x="840" y="316"/>
                  </a:lnTo>
                  <a:lnTo>
                    <a:pt x="840" y="330"/>
                  </a:lnTo>
                  <a:lnTo>
                    <a:pt x="842" y="336"/>
                  </a:lnTo>
                  <a:lnTo>
                    <a:pt x="844" y="336"/>
                  </a:lnTo>
                  <a:close/>
                  <a:moveTo>
                    <a:pt x="794" y="292"/>
                  </a:moveTo>
                  <a:lnTo>
                    <a:pt x="794" y="292"/>
                  </a:lnTo>
                  <a:lnTo>
                    <a:pt x="800" y="276"/>
                  </a:lnTo>
                  <a:lnTo>
                    <a:pt x="804" y="264"/>
                  </a:lnTo>
                  <a:lnTo>
                    <a:pt x="806" y="256"/>
                  </a:lnTo>
                  <a:lnTo>
                    <a:pt x="804" y="256"/>
                  </a:lnTo>
                  <a:lnTo>
                    <a:pt x="798" y="264"/>
                  </a:lnTo>
                  <a:lnTo>
                    <a:pt x="794" y="278"/>
                  </a:lnTo>
                  <a:lnTo>
                    <a:pt x="794" y="292"/>
                  </a:lnTo>
                  <a:close/>
                  <a:moveTo>
                    <a:pt x="1118" y="446"/>
                  </a:moveTo>
                  <a:lnTo>
                    <a:pt x="1118" y="446"/>
                  </a:lnTo>
                  <a:lnTo>
                    <a:pt x="1122" y="448"/>
                  </a:lnTo>
                  <a:lnTo>
                    <a:pt x="1128" y="450"/>
                  </a:lnTo>
                  <a:lnTo>
                    <a:pt x="1142" y="448"/>
                  </a:lnTo>
                  <a:lnTo>
                    <a:pt x="1158" y="448"/>
                  </a:lnTo>
                  <a:lnTo>
                    <a:pt x="1166" y="450"/>
                  </a:lnTo>
                  <a:lnTo>
                    <a:pt x="1172" y="452"/>
                  </a:lnTo>
                  <a:lnTo>
                    <a:pt x="1180" y="454"/>
                  </a:lnTo>
                  <a:lnTo>
                    <a:pt x="1186" y="454"/>
                  </a:lnTo>
                  <a:lnTo>
                    <a:pt x="1190" y="452"/>
                  </a:lnTo>
                  <a:lnTo>
                    <a:pt x="1194" y="450"/>
                  </a:lnTo>
                  <a:lnTo>
                    <a:pt x="1204" y="442"/>
                  </a:lnTo>
                  <a:lnTo>
                    <a:pt x="1208" y="440"/>
                  </a:lnTo>
                  <a:lnTo>
                    <a:pt x="1212" y="440"/>
                  </a:lnTo>
                  <a:lnTo>
                    <a:pt x="1216" y="440"/>
                  </a:lnTo>
                  <a:lnTo>
                    <a:pt x="1218" y="438"/>
                  </a:lnTo>
                  <a:lnTo>
                    <a:pt x="1218" y="434"/>
                  </a:lnTo>
                  <a:lnTo>
                    <a:pt x="1218" y="430"/>
                  </a:lnTo>
                  <a:lnTo>
                    <a:pt x="1214" y="420"/>
                  </a:lnTo>
                  <a:lnTo>
                    <a:pt x="1206" y="414"/>
                  </a:lnTo>
                  <a:lnTo>
                    <a:pt x="1200" y="410"/>
                  </a:lnTo>
                  <a:lnTo>
                    <a:pt x="1198" y="406"/>
                  </a:lnTo>
                  <a:lnTo>
                    <a:pt x="1200" y="406"/>
                  </a:lnTo>
                  <a:lnTo>
                    <a:pt x="1206" y="404"/>
                  </a:lnTo>
                  <a:lnTo>
                    <a:pt x="1218" y="402"/>
                  </a:lnTo>
                  <a:lnTo>
                    <a:pt x="1222" y="398"/>
                  </a:lnTo>
                  <a:lnTo>
                    <a:pt x="1222" y="394"/>
                  </a:lnTo>
                  <a:lnTo>
                    <a:pt x="1222" y="392"/>
                  </a:lnTo>
                  <a:lnTo>
                    <a:pt x="1224" y="390"/>
                  </a:lnTo>
                  <a:lnTo>
                    <a:pt x="1230" y="388"/>
                  </a:lnTo>
                  <a:lnTo>
                    <a:pt x="1232" y="388"/>
                  </a:lnTo>
                  <a:lnTo>
                    <a:pt x="1232" y="384"/>
                  </a:lnTo>
                  <a:lnTo>
                    <a:pt x="1232" y="376"/>
                  </a:lnTo>
                  <a:lnTo>
                    <a:pt x="1228" y="364"/>
                  </a:lnTo>
                  <a:lnTo>
                    <a:pt x="1234" y="372"/>
                  </a:lnTo>
                  <a:lnTo>
                    <a:pt x="1240" y="376"/>
                  </a:lnTo>
                  <a:lnTo>
                    <a:pt x="1246" y="378"/>
                  </a:lnTo>
                  <a:lnTo>
                    <a:pt x="1256" y="376"/>
                  </a:lnTo>
                  <a:lnTo>
                    <a:pt x="1268" y="372"/>
                  </a:lnTo>
                  <a:lnTo>
                    <a:pt x="1272" y="374"/>
                  </a:lnTo>
                  <a:lnTo>
                    <a:pt x="1272" y="376"/>
                  </a:lnTo>
                  <a:lnTo>
                    <a:pt x="1274" y="378"/>
                  </a:lnTo>
                  <a:lnTo>
                    <a:pt x="1278" y="382"/>
                  </a:lnTo>
                  <a:lnTo>
                    <a:pt x="1284" y="384"/>
                  </a:lnTo>
                  <a:lnTo>
                    <a:pt x="1296" y="386"/>
                  </a:lnTo>
                  <a:lnTo>
                    <a:pt x="1308" y="388"/>
                  </a:lnTo>
                  <a:lnTo>
                    <a:pt x="1316" y="392"/>
                  </a:lnTo>
                  <a:lnTo>
                    <a:pt x="1324" y="398"/>
                  </a:lnTo>
                  <a:lnTo>
                    <a:pt x="1330" y="406"/>
                  </a:lnTo>
                  <a:lnTo>
                    <a:pt x="1340" y="426"/>
                  </a:lnTo>
                  <a:lnTo>
                    <a:pt x="1348" y="438"/>
                  </a:lnTo>
                  <a:lnTo>
                    <a:pt x="1358" y="450"/>
                  </a:lnTo>
                  <a:lnTo>
                    <a:pt x="1374" y="472"/>
                  </a:lnTo>
                  <a:lnTo>
                    <a:pt x="1380" y="480"/>
                  </a:lnTo>
                  <a:lnTo>
                    <a:pt x="1384" y="486"/>
                  </a:lnTo>
                  <a:lnTo>
                    <a:pt x="1392" y="488"/>
                  </a:lnTo>
                  <a:lnTo>
                    <a:pt x="1400" y="492"/>
                  </a:lnTo>
                  <a:lnTo>
                    <a:pt x="1432" y="498"/>
                  </a:lnTo>
                  <a:lnTo>
                    <a:pt x="1450" y="502"/>
                  </a:lnTo>
                  <a:lnTo>
                    <a:pt x="1462" y="506"/>
                  </a:lnTo>
                  <a:lnTo>
                    <a:pt x="1470" y="510"/>
                  </a:lnTo>
                  <a:lnTo>
                    <a:pt x="1476" y="512"/>
                  </a:lnTo>
                  <a:lnTo>
                    <a:pt x="1482" y="518"/>
                  </a:lnTo>
                  <a:lnTo>
                    <a:pt x="1488" y="520"/>
                  </a:lnTo>
                  <a:lnTo>
                    <a:pt x="1492" y="520"/>
                  </a:lnTo>
                  <a:lnTo>
                    <a:pt x="1500" y="520"/>
                  </a:lnTo>
                  <a:lnTo>
                    <a:pt x="1506" y="518"/>
                  </a:lnTo>
                  <a:lnTo>
                    <a:pt x="1512" y="514"/>
                  </a:lnTo>
                  <a:lnTo>
                    <a:pt x="1514" y="510"/>
                  </a:lnTo>
                  <a:lnTo>
                    <a:pt x="1514" y="506"/>
                  </a:lnTo>
                  <a:lnTo>
                    <a:pt x="1512" y="502"/>
                  </a:lnTo>
                  <a:lnTo>
                    <a:pt x="1508" y="498"/>
                  </a:lnTo>
                  <a:lnTo>
                    <a:pt x="1498" y="494"/>
                  </a:lnTo>
                  <a:lnTo>
                    <a:pt x="1482" y="490"/>
                  </a:lnTo>
                  <a:lnTo>
                    <a:pt x="1474" y="484"/>
                  </a:lnTo>
                  <a:lnTo>
                    <a:pt x="1472" y="482"/>
                  </a:lnTo>
                  <a:lnTo>
                    <a:pt x="1472" y="480"/>
                  </a:lnTo>
                  <a:lnTo>
                    <a:pt x="1474" y="476"/>
                  </a:lnTo>
                  <a:lnTo>
                    <a:pt x="1478" y="472"/>
                  </a:lnTo>
                  <a:lnTo>
                    <a:pt x="1478" y="470"/>
                  </a:lnTo>
                  <a:lnTo>
                    <a:pt x="1476" y="468"/>
                  </a:lnTo>
                  <a:lnTo>
                    <a:pt x="1464" y="466"/>
                  </a:lnTo>
                  <a:lnTo>
                    <a:pt x="1454" y="464"/>
                  </a:lnTo>
                  <a:lnTo>
                    <a:pt x="1450" y="462"/>
                  </a:lnTo>
                  <a:lnTo>
                    <a:pt x="1448" y="458"/>
                  </a:lnTo>
                  <a:lnTo>
                    <a:pt x="1448" y="454"/>
                  </a:lnTo>
                  <a:lnTo>
                    <a:pt x="1450" y="448"/>
                  </a:lnTo>
                  <a:lnTo>
                    <a:pt x="1454" y="442"/>
                  </a:lnTo>
                  <a:lnTo>
                    <a:pt x="1454" y="438"/>
                  </a:lnTo>
                  <a:lnTo>
                    <a:pt x="1448" y="438"/>
                  </a:lnTo>
                  <a:lnTo>
                    <a:pt x="1436" y="440"/>
                  </a:lnTo>
                  <a:lnTo>
                    <a:pt x="1432" y="440"/>
                  </a:lnTo>
                  <a:lnTo>
                    <a:pt x="1428" y="440"/>
                  </a:lnTo>
                  <a:lnTo>
                    <a:pt x="1422" y="436"/>
                  </a:lnTo>
                  <a:lnTo>
                    <a:pt x="1416" y="428"/>
                  </a:lnTo>
                  <a:lnTo>
                    <a:pt x="1412" y="420"/>
                  </a:lnTo>
                  <a:lnTo>
                    <a:pt x="1408" y="400"/>
                  </a:lnTo>
                  <a:lnTo>
                    <a:pt x="1404" y="394"/>
                  </a:lnTo>
                  <a:lnTo>
                    <a:pt x="1400" y="390"/>
                  </a:lnTo>
                  <a:lnTo>
                    <a:pt x="1394" y="386"/>
                  </a:lnTo>
                  <a:lnTo>
                    <a:pt x="1386" y="378"/>
                  </a:lnTo>
                  <a:lnTo>
                    <a:pt x="1370" y="360"/>
                  </a:lnTo>
                  <a:lnTo>
                    <a:pt x="1364" y="350"/>
                  </a:lnTo>
                  <a:lnTo>
                    <a:pt x="1358" y="340"/>
                  </a:lnTo>
                  <a:lnTo>
                    <a:pt x="1356" y="334"/>
                  </a:lnTo>
                  <a:lnTo>
                    <a:pt x="1356" y="332"/>
                  </a:lnTo>
                  <a:lnTo>
                    <a:pt x="1358" y="330"/>
                  </a:lnTo>
                  <a:lnTo>
                    <a:pt x="1362" y="328"/>
                  </a:lnTo>
                  <a:lnTo>
                    <a:pt x="1366" y="326"/>
                  </a:lnTo>
                  <a:lnTo>
                    <a:pt x="1376" y="328"/>
                  </a:lnTo>
                  <a:lnTo>
                    <a:pt x="1388" y="328"/>
                  </a:lnTo>
                  <a:lnTo>
                    <a:pt x="1392" y="326"/>
                  </a:lnTo>
                  <a:lnTo>
                    <a:pt x="1394" y="324"/>
                  </a:lnTo>
                  <a:lnTo>
                    <a:pt x="1396" y="320"/>
                  </a:lnTo>
                  <a:lnTo>
                    <a:pt x="1396" y="314"/>
                  </a:lnTo>
                  <a:lnTo>
                    <a:pt x="1390" y="302"/>
                  </a:lnTo>
                  <a:lnTo>
                    <a:pt x="1386" y="296"/>
                  </a:lnTo>
                  <a:lnTo>
                    <a:pt x="1380" y="292"/>
                  </a:lnTo>
                  <a:lnTo>
                    <a:pt x="1374" y="290"/>
                  </a:lnTo>
                  <a:lnTo>
                    <a:pt x="1370" y="290"/>
                  </a:lnTo>
                  <a:lnTo>
                    <a:pt x="1364" y="290"/>
                  </a:lnTo>
                  <a:lnTo>
                    <a:pt x="1360" y="290"/>
                  </a:lnTo>
                  <a:lnTo>
                    <a:pt x="1354" y="284"/>
                  </a:lnTo>
                  <a:lnTo>
                    <a:pt x="1344" y="276"/>
                  </a:lnTo>
                  <a:lnTo>
                    <a:pt x="1338" y="272"/>
                  </a:lnTo>
                  <a:lnTo>
                    <a:pt x="1328" y="270"/>
                  </a:lnTo>
                  <a:lnTo>
                    <a:pt x="1312" y="264"/>
                  </a:lnTo>
                  <a:lnTo>
                    <a:pt x="1310" y="262"/>
                  </a:lnTo>
                  <a:lnTo>
                    <a:pt x="1308" y="260"/>
                  </a:lnTo>
                  <a:lnTo>
                    <a:pt x="1310" y="256"/>
                  </a:lnTo>
                  <a:lnTo>
                    <a:pt x="1312" y="246"/>
                  </a:lnTo>
                  <a:lnTo>
                    <a:pt x="1312" y="238"/>
                  </a:lnTo>
                  <a:lnTo>
                    <a:pt x="1306" y="230"/>
                  </a:lnTo>
                  <a:lnTo>
                    <a:pt x="1298" y="220"/>
                  </a:lnTo>
                  <a:lnTo>
                    <a:pt x="1288" y="210"/>
                  </a:lnTo>
                  <a:lnTo>
                    <a:pt x="1278" y="200"/>
                  </a:lnTo>
                  <a:lnTo>
                    <a:pt x="1266" y="192"/>
                  </a:lnTo>
                  <a:lnTo>
                    <a:pt x="1256" y="188"/>
                  </a:lnTo>
                  <a:lnTo>
                    <a:pt x="1248" y="186"/>
                  </a:lnTo>
                  <a:lnTo>
                    <a:pt x="1242" y="186"/>
                  </a:lnTo>
                  <a:lnTo>
                    <a:pt x="1238" y="184"/>
                  </a:lnTo>
                  <a:lnTo>
                    <a:pt x="1230" y="178"/>
                  </a:lnTo>
                  <a:lnTo>
                    <a:pt x="1220" y="170"/>
                  </a:lnTo>
                  <a:lnTo>
                    <a:pt x="1214" y="166"/>
                  </a:lnTo>
                  <a:lnTo>
                    <a:pt x="1202" y="162"/>
                  </a:lnTo>
                  <a:lnTo>
                    <a:pt x="1190" y="158"/>
                  </a:lnTo>
                  <a:lnTo>
                    <a:pt x="1174" y="152"/>
                  </a:lnTo>
                  <a:lnTo>
                    <a:pt x="1140" y="134"/>
                  </a:lnTo>
                  <a:lnTo>
                    <a:pt x="1106" y="120"/>
                  </a:lnTo>
                  <a:lnTo>
                    <a:pt x="1092" y="116"/>
                  </a:lnTo>
                  <a:lnTo>
                    <a:pt x="1078" y="116"/>
                  </a:lnTo>
                  <a:lnTo>
                    <a:pt x="1080" y="404"/>
                  </a:lnTo>
                  <a:lnTo>
                    <a:pt x="1094" y="414"/>
                  </a:lnTo>
                  <a:lnTo>
                    <a:pt x="1104" y="426"/>
                  </a:lnTo>
                  <a:lnTo>
                    <a:pt x="1118" y="446"/>
                  </a:lnTo>
                  <a:close/>
                  <a:moveTo>
                    <a:pt x="784" y="288"/>
                  </a:moveTo>
                  <a:lnTo>
                    <a:pt x="784" y="288"/>
                  </a:lnTo>
                  <a:lnTo>
                    <a:pt x="786" y="290"/>
                  </a:lnTo>
                  <a:lnTo>
                    <a:pt x="788" y="288"/>
                  </a:lnTo>
                  <a:lnTo>
                    <a:pt x="790" y="286"/>
                  </a:lnTo>
                  <a:lnTo>
                    <a:pt x="790" y="282"/>
                  </a:lnTo>
                  <a:lnTo>
                    <a:pt x="788" y="278"/>
                  </a:lnTo>
                  <a:lnTo>
                    <a:pt x="784" y="274"/>
                  </a:lnTo>
                  <a:lnTo>
                    <a:pt x="782" y="276"/>
                  </a:lnTo>
                  <a:lnTo>
                    <a:pt x="784" y="288"/>
                  </a:lnTo>
                  <a:close/>
                  <a:moveTo>
                    <a:pt x="1474" y="80"/>
                  </a:moveTo>
                  <a:lnTo>
                    <a:pt x="1474" y="80"/>
                  </a:lnTo>
                  <a:lnTo>
                    <a:pt x="1476" y="80"/>
                  </a:lnTo>
                  <a:lnTo>
                    <a:pt x="1476" y="78"/>
                  </a:lnTo>
                  <a:lnTo>
                    <a:pt x="1474" y="72"/>
                  </a:lnTo>
                  <a:lnTo>
                    <a:pt x="1468" y="68"/>
                  </a:lnTo>
                  <a:lnTo>
                    <a:pt x="1466" y="68"/>
                  </a:lnTo>
                  <a:lnTo>
                    <a:pt x="1464" y="68"/>
                  </a:lnTo>
                  <a:lnTo>
                    <a:pt x="1464" y="72"/>
                  </a:lnTo>
                  <a:lnTo>
                    <a:pt x="1464" y="76"/>
                  </a:lnTo>
                  <a:lnTo>
                    <a:pt x="1468" y="78"/>
                  </a:lnTo>
                  <a:lnTo>
                    <a:pt x="1474" y="80"/>
                  </a:lnTo>
                  <a:close/>
                  <a:moveTo>
                    <a:pt x="1436" y="292"/>
                  </a:moveTo>
                  <a:lnTo>
                    <a:pt x="1436" y="292"/>
                  </a:lnTo>
                  <a:lnTo>
                    <a:pt x="1442" y="296"/>
                  </a:lnTo>
                  <a:lnTo>
                    <a:pt x="1446" y="298"/>
                  </a:lnTo>
                  <a:lnTo>
                    <a:pt x="1448" y="298"/>
                  </a:lnTo>
                  <a:lnTo>
                    <a:pt x="1450" y="298"/>
                  </a:lnTo>
                  <a:lnTo>
                    <a:pt x="1452" y="296"/>
                  </a:lnTo>
                  <a:lnTo>
                    <a:pt x="1454" y="296"/>
                  </a:lnTo>
                  <a:lnTo>
                    <a:pt x="1458" y="298"/>
                  </a:lnTo>
                  <a:lnTo>
                    <a:pt x="1462" y="302"/>
                  </a:lnTo>
                  <a:lnTo>
                    <a:pt x="1468" y="306"/>
                  </a:lnTo>
                  <a:lnTo>
                    <a:pt x="1478" y="308"/>
                  </a:lnTo>
                  <a:lnTo>
                    <a:pt x="1490" y="306"/>
                  </a:lnTo>
                  <a:lnTo>
                    <a:pt x="1502" y="302"/>
                  </a:lnTo>
                  <a:lnTo>
                    <a:pt x="1514" y="298"/>
                  </a:lnTo>
                  <a:lnTo>
                    <a:pt x="1524" y="292"/>
                  </a:lnTo>
                  <a:lnTo>
                    <a:pt x="1534" y="284"/>
                  </a:lnTo>
                  <a:lnTo>
                    <a:pt x="1538" y="278"/>
                  </a:lnTo>
                  <a:lnTo>
                    <a:pt x="1542" y="272"/>
                  </a:lnTo>
                  <a:lnTo>
                    <a:pt x="1544" y="270"/>
                  </a:lnTo>
                  <a:lnTo>
                    <a:pt x="1548" y="270"/>
                  </a:lnTo>
                  <a:lnTo>
                    <a:pt x="1550" y="270"/>
                  </a:lnTo>
                  <a:lnTo>
                    <a:pt x="1556" y="272"/>
                  </a:lnTo>
                  <a:lnTo>
                    <a:pt x="1560" y="270"/>
                  </a:lnTo>
                  <a:lnTo>
                    <a:pt x="1566" y="268"/>
                  </a:lnTo>
                  <a:lnTo>
                    <a:pt x="1568" y="264"/>
                  </a:lnTo>
                  <a:lnTo>
                    <a:pt x="1570" y="260"/>
                  </a:lnTo>
                  <a:lnTo>
                    <a:pt x="1566" y="252"/>
                  </a:lnTo>
                  <a:lnTo>
                    <a:pt x="1564" y="246"/>
                  </a:lnTo>
                  <a:lnTo>
                    <a:pt x="1564" y="244"/>
                  </a:lnTo>
                  <a:lnTo>
                    <a:pt x="1566" y="242"/>
                  </a:lnTo>
                  <a:lnTo>
                    <a:pt x="1572" y="240"/>
                  </a:lnTo>
                  <a:lnTo>
                    <a:pt x="1574" y="238"/>
                  </a:lnTo>
                  <a:lnTo>
                    <a:pt x="1580" y="228"/>
                  </a:lnTo>
                  <a:lnTo>
                    <a:pt x="1580" y="216"/>
                  </a:lnTo>
                  <a:lnTo>
                    <a:pt x="1578" y="212"/>
                  </a:lnTo>
                  <a:lnTo>
                    <a:pt x="1576" y="208"/>
                  </a:lnTo>
                  <a:lnTo>
                    <a:pt x="1572" y="202"/>
                  </a:lnTo>
                  <a:lnTo>
                    <a:pt x="1566" y="202"/>
                  </a:lnTo>
                  <a:lnTo>
                    <a:pt x="1548" y="202"/>
                  </a:lnTo>
                  <a:lnTo>
                    <a:pt x="1546" y="204"/>
                  </a:lnTo>
                  <a:lnTo>
                    <a:pt x="1544" y="206"/>
                  </a:lnTo>
                  <a:lnTo>
                    <a:pt x="1542" y="210"/>
                  </a:lnTo>
                  <a:lnTo>
                    <a:pt x="1546" y="224"/>
                  </a:lnTo>
                  <a:lnTo>
                    <a:pt x="1550" y="236"/>
                  </a:lnTo>
                  <a:lnTo>
                    <a:pt x="1548" y="240"/>
                  </a:lnTo>
                  <a:lnTo>
                    <a:pt x="1542" y="240"/>
                  </a:lnTo>
                  <a:lnTo>
                    <a:pt x="1536" y="238"/>
                  </a:lnTo>
                  <a:lnTo>
                    <a:pt x="1530" y="242"/>
                  </a:lnTo>
                  <a:lnTo>
                    <a:pt x="1526" y="248"/>
                  </a:lnTo>
                  <a:lnTo>
                    <a:pt x="1522" y="254"/>
                  </a:lnTo>
                  <a:lnTo>
                    <a:pt x="1518" y="262"/>
                  </a:lnTo>
                  <a:lnTo>
                    <a:pt x="1514" y="266"/>
                  </a:lnTo>
                  <a:lnTo>
                    <a:pt x="1510" y="268"/>
                  </a:lnTo>
                  <a:lnTo>
                    <a:pt x="1504" y="266"/>
                  </a:lnTo>
                  <a:lnTo>
                    <a:pt x="1500" y="264"/>
                  </a:lnTo>
                  <a:lnTo>
                    <a:pt x="1498" y="264"/>
                  </a:lnTo>
                  <a:lnTo>
                    <a:pt x="1494" y="268"/>
                  </a:lnTo>
                  <a:lnTo>
                    <a:pt x="1490" y="270"/>
                  </a:lnTo>
                  <a:lnTo>
                    <a:pt x="1488" y="264"/>
                  </a:lnTo>
                  <a:lnTo>
                    <a:pt x="1486" y="256"/>
                  </a:lnTo>
                  <a:lnTo>
                    <a:pt x="1488" y="250"/>
                  </a:lnTo>
                  <a:lnTo>
                    <a:pt x="1490" y="248"/>
                  </a:lnTo>
                  <a:lnTo>
                    <a:pt x="1490" y="244"/>
                  </a:lnTo>
                  <a:lnTo>
                    <a:pt x="1488" y="242"/>
                  </a:lnTo>
                  <a:lnTo>
                    <a:pt x="1484" y="244"/>
                  </a:lnTo>
                  <a:lnTo>
                    <a:pt x="1480" y="250"/>
                  </a:lnTo>
                  <a:lnTo>
                    <a:pt x="1480" y="262"/>
                  </a:lnTo>
                  <a:lnTo>
                    <a:pt x="1478" y="266"/>
                  </a:lnTo>
                  <a:lnTo>
                    <a:pt x="1476" y="268"/>
                  </a:lnTo>
                  <a:lnTo>
                    <a:pt x="1470" y="270"/>
                  </a:lnTo>
                  <a:lnTo>
                    <a:pt x="1460" y="268"/>
                  </a:lnTo>
                  <a:lnTo>
                    <a:pt x="1448" y="266"/>
                  </a:lnTo>
                  <a:lnTo>
                    <a:pt x="1434" y="266"/>
                  </a:lnTo>
                  <a:lnTo>
                    <a:pt x="1424" y="264"/>
                  </a:lnTo>
                  <a:lnTo>
                    <a:pt x="1416" y="266"/>
                  </a:lnTo>
                  <a:lnTo>
                    <a:pt x="1414" y="268"/>
                  </a:lnTo>
                  <a:lnTo>
                    <a:pt x="1414" y="270"/>
                  </a:lnTo>
                  <a:lnTo>
                    <a:pt x="1416" y="278"/>
                  </a:lnTo>
                  <a:lnTo>
                    <a:pt x="1420" y="280"/>
                  </a:lnTo>
                  <a:lnTo>
                    <a:pt x="1428" y="284"/>
                  </a:lnTo>
                  <a:lnTo>
                    <a:pt x="1436" y="292"/>
                  </a:lnTo>
                  <a:close/>
                  <a:moveTo>
                    <a:pt x="1546" y="156"/>
                  </a:moveTo>
                  <a:lnTo>
                    <a:pt x="1546" y="156"/>
                  </a:lnTo>
                  <a:lnTo>
                    <a:pt x="1552" y="162"/>
                  </a:lnTo>
                  <a:lnTo>
                    <a:pt x="1562" y="170"/>
                  </a:lnTo>
                  <a:lnTo>
                    <a:pt x="1572" y="178"/>
                  </a:lnTo>
                  <a:lnTo>
                    <a:pt x="1582" y="190"/>
                  </a:lnTo>
                  <a:lnTo>
                    <a:pt x="1586" y="196"/>
                  </a:lnTo>
                  <a:lnTo>
                    <a:pt x="1588" y="202"/>
                  </a:lnTo>
                  <a:lnTo>
                    <a:pt x="1590" y="210"/>
                  </a:lnTo>
                  <a:lnTo>
                    <a:pt x="1590" y="220"/>
                  </a:lnTo>
                  <a:lnTo>
                    <a:pt x="1592" y="224"/>
                  </a:lnTo>
                  <a:lnTo>
                    <a:pt x="1594" y="232"/>
                  </a:lnTo>
                  <a:lnTo>
                    <a:pt x="1598" y="236"/>
                  </a:lnTo>
                  <a:lnTo>
                    <a:pt x="1602" y="234"/>
                  </a:lnTo>
                  <a:lnTo>
                    <a:pt x="1604" y="230"/>
                  </a:lnTo>
                  <a:lnTo>
                    <a:pt x="1608" y="222"/>
                  </a:lnTo>
                  <a:lnTo>
                    <a:pt x="1608" y="214"/>
                  </a:lnTo>
                  <a:lnTo>
                    <a:pt x="1608" y="206"/>
                  </a:lnTo>
                  <a:lnTo>
                    <a:pt x="1604" y="196"/>
                  </a:lnTo>
                  <a:lnTo>
                    <a:pt x="1596" y="190"/>
                  </a:lnTo>
                  <a:lnTo>
                    <a:pt x="1582" y="178"/>
                  </a:lnTo>
                  <a:lnTo>
                    <a:pt x="1574" y="168"/>
                  </a:lnTo>
                  <a:lnTo>
                    <a:pt x="1566" y="160"/>
                  </a:lnTo>
                  <a:lnTo>
                    <a:pt x="1556" y="154"/>
                  </a:lnTo>
                  <a:lnTo>
                    <a:pt x="1538" y="142"/>
                  </a:lnTo>
                  <a:lnTo>
                    <a:pt x="1526" y="132"/>
                  </a:lnTo>
                  <a:lnTo>
                    <a:pt x="1518" y="126"/>
                  </a:lnTo>
                  <a:lnTo>
                    <a:pt x="1516" y="126"/>
                  </a:lnTo>
                  <a:lnTo>
                    <a:pt x="1514" y="128"/>
                  </a:lnTo>
                  <a:lnTo>
                    <a:pt x="1510" y="132"/>
                  </a:lnTo>
                  <a:lnTo>
                    <a:pt x="1508" y="134"/>
                  </a:lnTo>
                  <a:lnTo>
                    <a:pt x="1510" y="136"/>
                  </a:lnTo>
                  <a:lnTo>
                    <a:pt x="1516" y="138"/>
                  </a:lnTo>
                  <a:lnTo>
                    <a:pt x="1530" y="144"/>
                  </a:lnTo>
                  <a:lnTo>
                    <a:pt x="1538" y="150"/>
                  </a:lnTo>
                  <a:lnTo>
                    <a:pt x="1546" y="156"/>
                  </a:lnTo>
                  <a:close/>
                  <a:moveTo>
                    <a:pt x="1500" y="128"/>
                  </a:moveTo>
                  <a:lnTo>
                    <a:pt x="1500" y="128"/>
                  </a:lnTo>
                  <a:lnTo>
                    <a:pt x="1502" y="126"/>
                  </a:lnTo>
                  <a:lnTo>
                    <a:pt x="1502" y="122"/>
                  </a:lnTo>
                  <a:lnTo>
                    <a:pt x="1496" y="116"/>
                  </a:lnTo>
                  <a:lnTo>
                    <a:pt x="1492" y="114"/>
                  </a:lnTo>
                  <a:lnTo>
                    <a:pt x="1490" y="114"/>
                  </a:lnTo>
                  <a:lnTo>
                    <a:pt x="1486" y="114"/>
                  </a:lnTo>
                  <a:lnTo>
                    <a:pt x="1484" y="118"/>
                  </a:lnTo>
                  <a:lnTo>
                    <a:pt x="1484" y="120"/>
                  </a:lnTo>
                  <a:lnTo>
                    <a:pt x="1484" y="124"/>
                  </a:lnTo>
                  <a:lnTo>
                    <a:pt x="1488" y="128"/>
                  </a:lnTo>
                  <a:lnTo>
                    <a:pt x="1494" y="130"/>
                  </a:lnTo>
                  <a:lnTo>
                    <a:pt x="1498" y="130"/>
                  </a:lnTo>
                  <a:lnTo>
                    <a:pt x="1500" y="128"/>
                  </a:lnTo>
                  <a:close/>
                  <a:moveTo>
                    <a:pt x="726" y="46"/>
                  </a:moveTo>
                  <a:lnTo>
                    <a:pt x="726" y="46"/>
                  </a:lnTo>
                  <a:lnTo>
                    <a:pt x="726" y="50"/>
                  </a:lnTo>
                  <a:lnTo>
                    <a:pt x="724" y="54"/>
                  </a:lnTo>
                  <a:lnTo>
                    <a:pt x="716" y="62"/>
                  </a:lnTo>
                  <a:lnTo>
                    <a:pt x="714" y="66"/>
                  </a:lnTo>
                  <a:lnTo>
                    <a:pt x="716" y="70"/>
                  </a:lnTo>
                  <a:lnTo>
                    <a:pt x="718" y="72"/>
                  </a:lnTo>
                  <a:lnTo>
                    <a:pt x="726" y="72"/>
                  </a:lnTo>
                  <a:lnTo>
                    <a:pt x="738" y="72"/>
                  </a:lnTo>
                  <a:lnTo>
                    <a:pt x="742" y="74"/>
                  </a:lnTo>
                  <a:lnTo>
                    <a:pt x="746" y="78"/>
                  </a:lnTo>
                  <a:lnTo>
                    <a:pt x="752" y="88"/>
                  </a:lnTo>
                  <a:lnTo>
                    <a:pt x="758" y="104"/>
                  </a:lnTo>
                  <a:lnTo>
                    <a:pt x="762" y="106"/>
                  </a:lnTo>
                  <a:lnTo>
                    <a:pt x="764" y="108"/>
                  </a:lnTo>
                  <a:lnTo>
                    <a:pt x="774" y="110"/>
                  </a:lnTo>
                  <a:lnTo>
                    <a:pt x="786" y="110"/>
                  </a:lnTo>
                  <a:lnTo>
                    <a:pt x="798" y="110"/>
                  </a:lnTo>
                  <a:lnTo>
                    <a:pt x="810" y="108"/>
                  </a:lnTo>
                  <a:lnTo>
                    <a:pt x="820" y="108"/>
                  </a:lnTo>
                  <a:lnTo>
                    <a:pt x="828" y="110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20"/>
                  </a:lnTo>
                  <a:lnTo>
                    <a:pt x="826" y="122"/>
                  </a:lnTo>
                  <a:lnTo>
                    <a:pt x="822" y="122"/>
                  </a:lnTo>
                  <a:lnTo>
                    <a:pt x="816" y="120"/>
                  </a:lnTo>
                  <a:lnTo>
                    <a:pt x="808" y="120"/>
                  </a:lnTo>
                  <a:lnTo>
                    <a:pt x="802" y="118"/>
                  </a:lnTo>
                  <a:lnTo>
                    <a:pt x="798" y="120"/>
                  </a:lnTo>
                  <a:lnTo>
                    <a:pt x="794" y="124"/>
                  </a:lnTo>
                  <a:lnTo>
                    <a:pt x="790" y="130"/>
                  </a:lnTo>
                  <a:lnTo>
                    <a:pt x="784" y="134"/>
                  </a:lnTo>
                  <a:lnTo>
                    <a:pt x="778" y="134"/>
                  </a:lnTo>
                  <a:lnTo>
                    <a:pt x="772" y="132"/>
                  </a:lnTo>
                  <a:lnTo>
                    <a:pt x="766" y="130"/>
                  </a:lnTo>
                  <a:lnTo>
                    <a:pt x="760" y="130"/>
                  </a:lnTo>
                  <a:lnTo>
                    <a:pt x="756" y="132"/>
                  </a:lnTo>
                  <a:lnTo>
                    <a:pt x="756" y="138"/>
                  </a:lnTo>
                  <a:lnTo>
                    <a:pt x="756" y="142"/>
                  </a:lnTo>
                  <a:lnTo>
                    <a:pt x="760" y="144"/>
                  </a:lnTo>
                  <a:lnTo>
                    <a:pt x="768" y="146"/>
                  </a:lnTo>
                  <a:lnTo>
                    <a:pt x="780" y="156"/>
                  </a:lnTo>
                  <a:lnTo>
                    <a:pt x="786" y="164"/>
                  </a:lnTo>
                  <a:lnTo>
                    <a:pt x="790" y="170"/>
                  </a:lnTo>
                  <a:lnTo>
                    <a:pt x="790" y="174"/>
                  </a:lnTo>
                  <a:lnTo>
                    <a:pt x="788" y="176"/>
                  </a:lnTo>
                  <a:lnTo>
                    <a:pt x="784" y="180"/>
                  </a:lnTo>
                  <a:lnTo>
                    <a:pt x="784" y="184"/>
                  </a:lnTo>
                  <a:lnTo>
                    <a:pt x="784" y="188"/>
                  </a:lnTo>
                  <a:lnTo>
                    <a:pt x="788" y="194"/>
                  </a:lnTo>
                  <a:lnTo>
                    <a:pt x="792" y="196"/>
                  </a:lnTo>
                  <a:lnTo>
                    <a:pt x="796" y="198"/>
                  </a:lnTo>
                  <a:lnTo>
                    <a:pt x="802" y="198"/>
                  </a:lnTo>
                  <a:lnTo>
                    <a:pt x="806" y="196"/>
                  </a:lnTo>
                  <a:lnTo>
                    <a:pt x="810" y="192"/>
                  </a:lnTo>
                  <a:lnTo>
                    <a:pt x="814" y="186"/>
                  </a:lnTo>
                  <a:lnTo>
                    <a:pt x="816" y="178"/>
                  </a:lnTo>
                  <a:lnTo>
                    <a:pt x="822" y="158"/>
                  </a:lnTo>
                  <a:lnTo>
                    <a:pt x="826" y="150"/>
                  </a:lnTo>
                  <a:lnTo>
                    <a:pt x="828" y="150"/>
                  </a:lnTo>
                  <a:lnTo>
                    <a:pt x="828" y="154"/>
                  </a:lnTo>
                  <a:lnTo>
                    <a:pt x="824" y="168"/>
                  </a:lnTo>
                  <a:lnTo>
                    <a:pt x="824" y="174"/>
                  </a:lnTo>
                  <a:lnTo>
                    <a:pt x="824" y="178"/>
                  </a:lnTo>
                  <a:lnTo>
                    <a:pt x="828" y="180"/>
                  </a:lnTo>
                  <a:lnTo>
                    <a:pt x="832" y="184"/>
                  </a:lnTo>
                  <a:lnTo>
                    <a:pt x="844" y="188"/>
                  </a:lnTo>
                  <a:lnTo>
                    <a:pt x="852" y="192"/>
                  </a:lnTo>
                  <a:lnTo>
                    <a:pt x="860" y="198"/>
                  </a:lnTo>
                  <a:lnTo>
                    <a:pt x="870" y="206"/>
                  </a:lnTo>
                  <a:lnTo>
                    <a:pt x="878" y="212"/>
                  </a:lnTo>
                  <a:lnTo>
                    <a:pt x="886" y="214"/>
                  </a:lnTo>
                  <a:lnTo>
                    <a:pt x="892" y="216"/>
                  </a:lnTo>
                  <a:lnTo>
                    <a:pt x="906" y="218"/>
                  </a:lnTo>
                  <a:lnTo>
                    <a:pt x="916" y="220"/>
                  </a:lnTo>
                  <a:lnTo>
                    <a:pt x="926" y="226"/>
                  </a:lnTo>
                  <a:lnTo>
                    <a:pt x="940" y="232"/>
                  </a:lnTo>
                  <a:lnTo>
                    <a:pt x="954" y="238"/>
                  </a:lnTo>
                  <a:lnTo>
                    <a:pt x="966" y="242"/>
                  </a:lnTo>
                  <a:lnTo>
                    <a:pt x="980" y="252"/>
                  </a:lnTo>
                  <a:lnTo>
                    <a:pt x="988" y="258"/>
                  </a:lnTo>
                  <a:lnTo>
                    <a:pt x="994" y="266"/>
                  </a:lnTo>
                  <a:lnTo>
                    <a:pt x="1004" y="284"/>
                  </a:lnTo>
                  <a:lnTo>
                    <a:pt x="1014" y="302"/>
                  </a:lnTo>
                  <a:lnTo>
                    <a:pt x="1024" y="318"/>
                  </a:lnTo>
                  <a:lnTo>
                    <a:pt x="1028" y="324"/>
                  </a:lnTo>
                  <a:lnTo>
                    <a:pt x="1030" y="328"/>
                  </a:lnTo>
                  <a:lnTo>
                    <a:pt x="1028" y="330"/>
                  </a:lnTo>
                  <a:lnTo>
                    <a:pt x="1026" y="332"/>
                  </a:lnTo>
                  <a:lnTo>
                    <a:pt x="1022" y="336"/>
                  </a:lnTo>
                  <a:lnTo>
                    <a:pt x="1020" y="338"/>
                  </a:lnTo>
                  <a:lnTo>
                    <a:pt x="1020" y="344"/>
                  </a:lnTo>
                  <a:lnTo>
                    <a:pt x="1024" y="350"/>
                  </a:lnTo>
                  <a:lnTo>
                    <a:pt x="1028" y="354"/>
                  </a:lnTo>
                  <a:lnTo>
                    <a:pt x="1036" y="360"/>
                  </a:lnTo>
                  <a:lnTo>
                    <a:pt x="1040" y="364"/>
                  </a:lnTo>
                  <a:lnTo>
                    <a:pt x="1044" y="368"/>
                  </a:lnTo>
                  <a:lnTo>
                    <a:pt x="1044" y="372"/>
                  </a:lnTo>
                  <a:lnTo>
                    <a:pt x="1040" y="380"/>
                  </a:lnTo>
                  <a:lnTo>
                    <a:pt x="1036" y="394"/>
                  </a:lnTo>
                  <a:lnTo>
                    <a:pt x="1036" y="396"/>
                  </a:lnTo>
                  <a:lnTo>
                    <a:pt x="1038" y="398"/>
                  </a:lnTo>
                  <a:lnTo>
                    <a:pt x="1044" y="396"/>
                  </a:lnTo>
                  <a:lnTo>
                    <a:pt x="1046" y="396"/>
                  </a:lnTo>
                  <a:lnTo>
                    <a:pt x="1050" y="396"/>
                  </a:lnTo>
                  <a:lnTo>
                    <a:pt x="1052" y="398"/>
                  </a:lnTo>
                  <a:lnTo>
                    <a:pt x="1054" y="398"/>
                  </a:lnTo>
                  <a:lnTo>
                    <a:pt x="1060" y="398"/>
                  </a:lnTo>
                  <a:lnTo>
                    <a:pt x="1068" y="398"/>
                  </a:lnTo>
                  <a:lnTo>
                    <a:pt x="1074" y="400"/>
                  </a:lnTo>
                  <a:lnTo>
                    <a:pt x="1080" y="404"/>
                  </a:lnTo>
                  <a:lnTo>
                    <a:pt x="1078" y="116"/>
                  </a:lnTo>
                  <a:lnTo>
                    <a:pt x="1070" y="114"/>
                  </a:lnTo>
                  <a:lnTo>
                    <a:pt x="1060" y="110"/>
                  </a:lnTo>
                  <a:lnTo>
                    <a:pt x="1038" y="100"/>
                  </a:lnTo>
                  <a:lnTo>
                    <a:pt x="1002" y="76"/>
                  </a:lnTo>
                  <a:lnTo>
                    <a:pt x="996" y="72"/>
                  </a:lnTo>
                  <a:lnTo>
                    <a:pt x="988" y="72"/>
                  </a:lnTo>
                  <a:lnTo>
                    <a:pt x="982" y="74"/>
                  </a:lnTo>
                  <a:lnTo>
                    <a:pt x="976" y="76"/>
                  </a:lnTo>
                  <a:lnTo>
                    <a:pt x="970" y="80"/>
                  </a:lnTo>
                  <a:lnTo>
                    <a:pt x="966" y="84"/>
                  </a:lnTo>
                  <a:lnTo>
                    <a:pt x="964" y="88"/>
                  </a:lnTo>
                  <a:lnTo>
                    <a:pt x="964" y="92"/>
                  </a:lnTo>
                  <a:lnTo>
                    <a:pt x="966" y="96"/>
                  </a:lnTo>
                  <a:lnTo>
                    <a:pt x="964" y="100"/>
                  </a:lnTo>
                  <a:lnTo>
                    <a:pt x="956" y="106"/>
                  </a:lnTo>
                  <a:lnTo>
                    <a:pt x="946" y="110"/>
                  </a:lnTo>
                  <a:lnTo>
                    <a:pt x="942" y="110"/>
                  </a:lnTo>
                  <a:lnTo>
                    <a:pt x="938" y="108"/>
                  </a:lnTo>
                  <a:lnTo>
                    <a:pt x="936" y="108"/>
                  </a:lnTo>
                  <a:lnTo>
                    <a:pt x="934" y="110"/>
                  </a:lnTo>
                  <a:lnTo>
                    <a:pt x="928" y="116"/>
                  </a:lnTo>
                  <a:lnTo>
                    <a:pt x="914" y="138"/>
                  </a:lnTo>
                  <a:lnTo>
                    <a:pt x="906" y="148"/>
                  </a:lnTo>
                  <a:lnTo>
                    <a:pt x="898" y="158"/>
                  </a:lnTo>
                  <a:lnTo>
                    <a:pt x="890" y="164"/>
                  </a:lnTo>
                  <a:lnTo>
                    <a:pt x="886" y="164"/>
                  </a:lnTo>
                  <a:lnTo>
                    <a:pt x="882" y="164"/>
                  </a:lnTo>
                  <a:lnTo>
                    <a:pt x="876" y="160"/>
                  </a:lnTo>
                  <a:lnTo>
                    <a:pt x="872" y="156"/>
                  </a:lnTo>
                  <a:lnTo>
                    <a:pt x="870" y="150"/>
                  </a:lnTo>
                  <a:lnTo>
                    <a:pt x="868" y="144"/>
                  </a:lnTo>
                  <a:lnTo>
                    <a:pt x="864" y="132"/>
                  </a:lnTo>
                  <a:lnTo>
                    <a:pt x="862" y="126"/>
                  </a:lnTo>
                  <a:lnTo>
                    <a:pt x="860" y="120"/>
                  </a:lnTo>
                  <a:lnTo>
                    <a:pt x="856" y="118"/>
                  </a:lnTo>
                  <a:lnTo>
                    <a:pt x="854" y="118"/>
                  </a:lnTo>
                  <a:lnTo>
                    <a:pt x="852" y="124"/>
                  </a:lnTo>
                  <a:lnTo>
                    <a:pt x="852" y="126"/>
                  </a:lnTo>
                  <a:lnTo>
                    <a:pt x="846" y="114"/>
                  </a:lnTo>
                  <a:lnTo>
                    <a:pt x="842" y="102"/>
                  </a:lnTo>
                  <a:lnTo>
                    <a:pt x="842" y="94"/>
                  </a:lnTo>
                  <a:lnTo>
                    <a:pt x="842" y="86"/>
                  </a:lnTo>
                  <a:lnTo>
                    <a:pt x="844" y="80"/>
                  </a:lnTo>
                  <a:lnTo>
                    <a:pt x="846" y="66"/>
                  </a:lnTo>
                  <a:lnTo>
                    <a:pt x="846" y="58"/>
                  </a:lnTo>
                  <a:lnTo>
                    <a:pt x="844" y="48"/>
                  </a:lnTo>
                  <a:lnTo>
                    <a:pt x="840" y="40"/>
                  </a:lnTo>
                  <a:lnTo>
                    <a:pt x="838" y="36"/>
                  </a:lnTo>
                  <a:lnTo>
                    <a:pt x="834" y="36"/>
                  </a:lnTo>
                  <a:lnTo>
                    <a:pt x="830" y="36"/>
                  </a:lnTo>
                  <a:lnTo>
                    <a:pt x="826" y="36"/>
                  </a:lnTo>
                  <a:lnTo>
                    <a:pt x="818" y="36"/>
                  </a:lnTo>
                  <a:lnTo>
                    <a:pt x="810" y="32"/>
                  </a:lnTo>
                  <a:lnTo>
                    <a:pt x="798" y="26"/>
                  </a:lnTo>
                  <a:lnTo>
                    <a:pt x="786" y="18"/>
                  </a:lnTo>
                  <a:lnTo>
                    <a:pt x="776" y="16"/>
                  </a:lnTo>
                  <a:lnTo>
                    <a:pt x="770" y="16"/>
                  </a:lnTo>
                  <a:lnTo>
                    <a:pt x="764" y="20"/>
                  </a:lnTo>
                  <a:lnTo>
                    <a:pt x="756" y="28"/>
                  </a:lnTo>
                  <a:lnTo>
                    <a:pt x="752" y="32"/>
                  </a:lnTo>
                  <a:lnTo>
                    <a:pt x="748" y="34"/>
                  </a:lnTo>
                  <a:lnTo>
                    <a:pt x="740" y="36"/>
                  </a:lnTo>
                  <a:lnTo>
                    <a:pt x="732" y="38"/>
                  </a:lnTo>
                  <a:lnTo>
                    <a:pt x="728" y="40"/>
                  </a:lnTo>
                  <a:lnTo>
                    <a:pt x="726" y="42"/>
                  </a:lnTo>
                  <a:lnTo>
                    <a:pt x="726" y="46"/>
                  </a:lnTo>
                  <a:close/>
                  <a:moveTo>
                    <a:pt x="1600" y="438"/>
                  </a:moveTo>
                  <a:lnTo>
                    <a:pt x="1600" y="438"/>
                  </a:lnTo>
                  <a:lnTo>
                    <a:pt x="1594" y="436"/>
                  </a:lnTo>
                  <a:lnTo>
                    <a:pt x="1588" y="434"/>
                  </a:lnTo>
                  <a:lnTo>
                    <a:pt x="1586" y="436"/>
                  </a:lnTo>
                  <a:lnTo>
                    <a:pt x="1588" y="438"/>
                  </a:lnTo>
                  <a:lnTo>
                    <a:pt x="1590" y="442"/>
                  </a:lnTo>
                  <a:lnTo>
                    <a:pt x="1590" y="444"/>
                  </a:lnTo>
                  <a:lnTo>
                    <a:pt x="1592" y="446"/>
                  </a:lnTo>
                  <a:lnTo>
                    <a:pt x="1596" y="448"/>
                  </a:lnTo>
                  <a:lnTo>
                    <a:pt x="1600" y="448"/>
                  </a:lnTo>
                  <a:lnTo>
                    <a:pt x="1604" y="446"/>
                  </a:lnTo>
                  <a:lnTo>
                    <a:pt x="1604" y="444"/>
                  </a:lnTo>
                  <a:lnTo>
                    <a:pt x="1600" y="438"/>
                  </a:lnTo>
                  <a:close/>
                  <a:moveTo>
                    <a:pt x="1606" y="1248"/>
                  </a:moveTo>
                  <a:lnTo>
                    <a:pt x="1606" y="1248"/>
                  </a:lnTo>
                  <a:lnTo>
                    <a:pt x="1606" y="1252"/>
                  </a:lnTo>
                  <a:lnTo>
                    <a:pt x="1604" y="1260"/>
                  </a:lnTo>
                  <a:lnTo>
                    <a:pt x="1604" y="1268"/>
                  </a:lnTo>
                  <a:lnTo>
                    <a:pt x="1604" y="1272"/>
                  </a:lnTo>
                  <a:lnTo>
                    <a:pt x="1606" y="1274"/>
                  </a:lnTo>
                  <a:lnTo>
                    <a:pt x="1608" y="1274"/>
                  </a:lnTo>
                  <a:lnTo>
                    <a:pt x="1610" y="1270"/>
                  </a:lnTo>
                  <a:lnTo>
                    <a:pt x="1610" y="1260"/>
                  </a:lnTo>
                  <a:lnTo>
                    <a:pt x="1614" y="1250"/>
                  </a:lnTo>
                  <a:lnTo>
                    <a:pt x="1620" y="1240"/>
                  </a:lnTo>
                  <a:lnTo>
                    <a:pt x="1620" y="1236"/>
                  </a:lnTo>
                  <a:lnTo>
                    <a:pt x="1618" y="1232"/>
                  </a:lnTo>
                  <a:lnTo>
                    <a:pt x="1618" y="1228"/>
                  </a:lnTo>
                  <a:lnTo>
                    <a:pt x="1616" y="1224"/>
                  </a:lnTo>
                  <a:lnTo>
                    <a:pt x="1616" y="1220"/>
                  </a:lnTo>
                  <a:lnTo>
                    <a:pt x="1614" y="1220"/>
                  </a:lnTo>
                  <a:lnTo>
                    <a:pt x="1612" y="1224"/>
                  </a:lnTo>
                  <a:lnTo>
                    <a:pt x="1612" y="1230"/>
                  </a:lnTo>
                  <a:lnTo>
                    <a:pt x="1612" y="1234"/>
                  </a:lnTo>
                  <a:lnTo>
                    <a:pt x="1612" y="1236"/>
                  </a:lnTo>
                  <a:lnTo>
                    <a:pt x="1608" y="1240"/>
                  </a:lnTo>
                  <a:lnTo>
                    <a:pt x="1606" y="1244"/>
                  </a:lnTo>
                  <a:lnTo>
                    <a:pt x="1604" y="1246"/>
                  </a:lnTo>
                  <a:lnTo>
                    <a:pt x="1606" y="1248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51" name="Freeform 6153">
              <a:extLst>
                <a:ext uri="{FF2B5EF4-FFF2-40B4-BE49-F238E27FC236}">
                  <a16:creationId xmlns:a16="http://schemas.microsoft.com/office/drawing/2014/main" id="{16273352-B768-46BB-A580-42E5F11561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0913" y="2755900"/>
              <a:ext cx="1762125" cy="2303463"/>
            </a:xfrm>
            <a:custGeom>
              <a:avLst/>
              <a:gdLst>
                <a:gd name="T0" fmla="*/ 1666909 w 2776"/>
                <a:gd name="T1" fmla="*/ 1643154 h 3628"/>
                <a:gd name="T2" fmla="*/ 1572963 w 2776"/>
                <a:gd name="T3" fmla="*/ 1734581 h 3628"/>
                <a:gd name="T4" fmla="*/ 1567885 w 2776"/>
                <a:gd name="T5" fmla="*/ 1859024 h 3628"/>
                <a:gd name="T6" fmla="*/ 1595815 w 2776"/>
                <a:gd name="T7" fmla="*/ 1991086 h 3628"/>
                <a:gd name="T8" fmla="*/ 1712613 w 2776"/>
                <a:gd name="T9" fmla="*/ 1728232 h 3628"/>
                <a:gd name="T10" fmla="*/ 1736734 w 2776"/>
                <a:gd name="T11" fmla="*/ 1666011 h 3628"/>
                <a:gd name="T12" fmla="*/ 1698648 w 2776"/>
                <a:gd name="T13" fmla="*/ 844434 h 3628"/>
                <a:gd name="T14" fmla="*/ 1576772 w 2776"/>
                <a:gd name="T15" fmla="*/ 868560 h 3628"/>
                <a:gd name="T16" fmla="*/ 1533607 w 2776"/>
                <a:gd name="T17" fmla="*/ 784752 h 3628"/>
                <a:gd name="T18" fmla="*/ 1484095 w 2776"/>
                <a:gd name="T19" fmla="*/ 730150 h 3628"/>
                <a:gd name="T20" fmla="*/ 1434583 w 2776"/>
                <a:gd name="T21" fmla="*/ 633643 h 3628"/>
                <a:gd name="T22" fmla="*/ 1401575 w 2776"/>
                <a:gd name="T23" fmla="*/ 539676 h 3628"/>
                <a:gd name="T24" fmla="*/ 1353332 w 2776"/>
                <a:gd name="T25" fmla="*/ 454597 h 3628"/>
                <a:gd name="T26" fmla="*/ 1301281 w 2776"/>
                <a:gd name="T27" fmla="*/ 313647 h 3628"/>
                <a:gd name="T28" fmla="*/ 1263195 w 2776"/>
                <a:gd name="T29" fmla="*/ 199363 h 3628"/>
                <a:gd name="T30" fmla="*/ 1197179 w 2776"/>
                <a:gd name="T31" fmla="*/ 219680 h 3628"/>
                <a:gd name="T32" fmla="*/ 1090537 w 2776"/>
                <a:gd name="T33" fmla="*/ 195553 h 3628"/>
                <a:gd name="T34" fmla="*/ 983895 w 2776"/>
                <a:gd name="T35" fmla="*/ 156189 h 3628"/>
                <a:gd name="T36" fmla="*/ 873445 w 2776"/>
                <a:gd name="T37" fmla="*/ 208251 h 3628"/>
                <a:gd name="T38" fmla="*/ 743952 w 2776"/>
                <a:gd name="T39" fmla="*/ 142220 h 3628"/>
                <a:gd name="T40" fmla="*/ 731256 w 2776"/>
                <a:gd name="T41" fmla="*/ 69840 h 3628"/>
                <a:gd name="T42" fmla="*/ 712213 w 2776"/>
                <a:gd name="T43" fmla="*/ 20317 h 3628"/>
                <a:gd name="T44" fmla="*/ 633502 w 2776"/>
                <a:gd name="T45" fmla="*/ 8889 h 3628"/>
                <a:gd name="T46" fmla="*/ 534477 w 2776"/>
                <a:gd name="T47" fmla="*/ 17778 h 3628"/>
                <a:gd name="T48" fmla="*/ 424027 w 2776"/>
                <a:gd name="T49" fmla="*/ 54602 h 3628"/>
                <a:gd name="T50" fmla="*/ 344046 w 2776"/>
                <a:gd name="T51" fmla="*/ 72380 h 3628"/>
                <a:gd name="T52" fmla="*/ 210744 w 2776"/>
                <a:gd name="T53" fmla="*/ 162538 h 3628"/>
                <a:gd name="T54" fmla="*/ 124415 w 2776"/>
                <a:gd name="T55" fmla="*/ 312377 h 3628"/>
                <a:gd name="T56" fmla="*/ 38086 w 2776"/>
                <a:gd name="T57" fmla="*/ 453328 h 3628"/>
                <a:gd name="T58" fmla="*/ 15235 w 2776"/>
                <a:gd name="T59" fmla="*/ 537136 h 3628"/>
                <a:gd name="T60" fmla="*/ 38086 w 2776"/>
                <a:gd name="T61" fmla="*/ 626024 h 3628"/>
                <a:gd name="T62" fmla="*/ 25391 w 2776"/>
                <a:gd name="T63" fmla="*/ 775863 h 3628"/>
                <a:gd name="T64" fmla="*/ 34278 w 2776"/>
                <a:gd name="T65" fmla="*/ 802530 h 3628"/>
                <a:gd name="T66" fmla="*/ 34278 w 2776"/>
                <a:gd name="T67" fmla="*/ 825386 h 3628"/>
                <a:gd name="T68" fmla="*/ 54590 w 2776"/>
                <a:gd name="T69" fmla="*/ 848243 h 3628"/>
                <a:gd name="T70" fmla="*/ 71094 w 2776"/>
                <a:gd name="T71" fmla="*/ 863481 h 3628"/>
                <a:gd name="T72" fmla="*/ 106642 w 2776"/>
                <a:gd name="T73" fmla="*/ 909195 h 3628"/>
                <a:gd name="T74" fmla="*/ 115528 w 2776"/>
                <a:gd name="T75" fmla="*/ 940941 h 3628"/>
                <a:gd name="T76" fmla="*/ 171388 w 2776"/>
                <a:gd name="T77" fmla="*/ 996813 h 3628"/>
                <a:gd name="T78" fmla="*/ 319925 w 2776"/>
                <a:gd name="T79" fmla="*/ 1036177 h 3628"/>
                <a:gd name="T80" fmla="*/ 411332 w 2776"/>
                <a:gd name="T81" fmla="*/ 1038717 h 3628"/>
                <a:gd name="T82" fmla="*/ 535747 w 2776"/>
                <a:gd name="T83" fmla="*/ 993003 h 3628"/>
                <a:gd name="T84" fmla="*/ 632232 w 2776"/>
                <a:gd name="T85" fmla="*/ 1052685 h 3628"/>
                <a:gd name="T86" fmla="*/ 690631 w 2776"/>
                <a:gd name="T87" fmla="*/ 1069193 h 3628"/>
                <a:gd name="T88" fmla="*/ 686822 w 2776"/>
                <a:gd name="T89" fmla="*/ 1158081 h 3628"/>
                <a:gd name="T90" fmla="*/ 700787 w 2776"/>
                <a:gd name="T91" fmla="*/ 1193636 h 3628"/>
                <a:gd name="T92" fmla="*/ 690631 w 2776"/>
                <a:gd name="T93" fmla="*/ 1262206 h 3628"/>
                <a:gd name="T94" fmla="*/ 766804 w 2776"/>
                <a:gd name="T95" fmla="*/ 1376491 h 3628"/>
                <a:gd name="T96" fmla="*/ 797273 w 2776"/>
                <a:gd name="T97" fmla="*/ 1521251 h 3628"/>
                <a:gd name="T98" fmla="*/ 746491 w 2776"/>
                <a:gd name="T99" fmla="*/ 1737121 h 3628"/>
                <a:gd name="T100" fmla="*/ 846785 w 2776"/>
                <a:gd name="T101" fmla="*/ 2073625 h 3628"/>
                <a:gd name="T102" fmla="*/ 903914 w 2776"/>
                <a:gd name="T103" fmla="*/ 2242511 h 3628"/>
                <a:gd name="T104" fmla="*/ 934383 w 2776"/>
                <a:gd name="T105" fmla="*/ 2289495 h 3628"/>
                <a:gd name="T106" fmla="*/ 1009286 w 2776"/>
                <a:gd name="T107" fmla="*/ 2284416 h 3628"/>
                <a:gd name="T108" fmla="*/ 1104502 w 2776"/>
                <a:gd name="T109" fmla="*/ 2269178 h 3628"/>
                <a:gd name="T110" fmla="*/ 1280968 w 2776"/>
                <a:gd name="T111" fmla="*/ 2079974 h 3628"/>
                <a:gd name="T112" fmla="*/ 1354602 w 2776"/>
                <a:gd name="T113" fmla="*/ 1940293 h 3628"/>
                <a:gd name="T114" fmla="*/ 1338098 w 2776"/>
                <a:gd name="T115" fmla="*/ 1812041 h 3628"/>
                <a:gd name="T116" fmla="*/ 1482826 w 2776"/>
                <a:gd name="T117" fmla="*/ 1673630 h 3628"/>
                <a:gd name="T118" fmla="*/ 1475208 w 2776"/>
                <a:gd name="T119" fmla="*/ 1513632 h 3628"/>
                <a:gd name="T120" fmla="*/ 1448548 w 2776"/>
                <a:gd name="T121" fmla="*/ 1400617 h 3628"/>
                <a:gd name="T122" fmla="*/ 1491712 w 2776"/>
                <a:gd name="T123" fmla="*/ 1268555 h 3628"/>
                <a:gd name="T124" fmla="*/ 1679605 w 2776"/>
                <a:gd name="T125" fmla="*/ 1045066 h 362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776"/>
                <a:gd name="T190" fmla="*/ 0 h 3628"/>
                <a:gd name="T191" fmla="*/ 2776 w 2776"/>
                <a:gd name="T192" fmla="*/ 3628 h 362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776" h="3628">
                  <a:moveTo>
                    <a:pt x="2710" y="2504"/>
                  </a:moveTo>
                  <a:lnTo>
                    <a:pt x="2710" y="2504"/>
                  </a:lnTo>
                  <a:lnTo>
                    <a:pt x="2706" y="2498"/>
                  </a:lnTo>
                  <a:lnTo>
                    <a:pt x="2702" y="2492"/>
                  </a:lnTo>
                  <a:lnTo>
                    <a:pt x="2698" y="2476"/>
                  </a:lnTo>
                  <a:lnTo>
                    <a:pt x="2696" y="2470"/>
                  </a:lnTo>
                  <a:lnTo>
                    <a:pt x="2692" y="2466"/>
                  </a:lnTo>
                  <a:lnTo>
                    <a:pt x="2690" y="2468"/>
                  </a:lnTo>
                  <a:lnTo>
                    <a:pt x="2684" y="2472"/>
                  </a:lnTo>
                  <a:lnTo>
                    <a:pt x="2680" y="2480"/>
                  </a:lnTo>
                  <a:lnTo>
                    <a:pt x="2678" y="2486"/>
                  </a:lnTo>
                  <a:lnTo>
                    <a:pt x="2676" y="2508"/>
                  </a:lnTo>
                  <a:lnTo>
                    <a:pt x="2674" y="2518"/>
                  </a:lnTo>
                  <a:lnTo>
                    <a:pt x="2672" y="2526"/>
                  </a:lnTo>
                  <a:lnTo>
                    <a:pt x="2668" y="2532"/>
                  </a:lnTo>
                  <a:lnTo>
                    <a:pt x="2664" y="2536"/>
                  </a:lnTo>
                  <a:lnTo>
                    <a:pt x="2656" y="2542"/>
                  </a:lnTo>
                  <a:lnTo>
                    <a:pt x="2648" y="2544"/>
                  </a:lnTo>
                  <a:lnTo>
                    <a:pt x="2634" y="2546"/>
                  </a:lnTo>
                  <a:lnTo>
                    <a:pt x="2632" y="2548"/>
                  </a:lnTo>
                  <a:lnTo>
                    <a:pt x="2632" y="2554"/>
                  </a:lnTo>
                  <a:lnTo>
                    <a:pt x="2638" y="2566"/>
                  </a:lnTo>
                  <a:lnTo>
                    <a:pt x="2636" y="2572"/>
                  </a:lnTo>
                  <a:lnTo>
                    <a:pt x="2636" y="2576"/>
                  </a:lnTo>
                  <a:lnTo>
                    <a:pt x="2626" y="2588"/>
                  </a:lnTo>
                  <a:lnTo>
                    <a:pt x="2606" y="2608"/>
                  </a:lnTo>
                  <a:lnTo>
                    <a:pt x="2596" y="2618"/>
                  </a:lnTo>
                  <a:lnTo>
                    <a:pt x="2588" y="2628"/>
                  </a:lnTo>
                  <a:lnTo>
                    <a:pt x="2578" y="2640"/>
                  </a:lnTo>
                  <a:lnTo>
                    <a:pt x="2572" y="2646"/>
                  </a:lnTo>
                  <a:lnTo>
                    <a:pt x="2564" y="2650"/>
                  </a:lnTo>
                  <a:lnTo>
                    <a:pt x="2554" y="2652"/>
                  </a:lnTo>
                  <a:lnTo>
                    <a:pt x="2538" y="2656"/>
                  </a:lnTo>
                  <a:lnTo>
                    <a:pt x="2530" y="2658"/>
                  </a:lnTo>
                  <a:lnTo>
                    <a:pt x="2526" y="2660"/>
                  </a:lnTo>
                  <a:lnTo>
                    <a:pt x="2522" y="2664"/>
                  </a:lnTo>
                  <a:lnTo>
                    <a:pt x="2520" y="2668"/>
                  </a:lnTo>
                  <a:lnTo>
                    <a:pt x="2516" y="2670"/>
                  </a:lnTo>
                  <a:lnTo>
                    <a:pt x="2512" y="2670"/>
                  </a:lnTo>
                  <a:lnTo>
                    <a:pt x="2506" y="2670"/>
                  </a:lnTo>
                  <a:lnTo>
                    <a:pt x="2500" y="2670"/>
                  </a:lnTo>
                  <a:lnTo>
                    <a:pt x="2496" y="2670"/>
                  </a:lnTo>
                  <a:lnTo>
                    <a:pt x="2496" y="2672"/>
                  </a:lnTo>
                  <a:lnTo>
                    <a:pt x="2496" y="2676"/>
                  </a:lnTo>
                  <a:lnTo>
                    <a:pt x="2494" y="2690"/>
                  </a:lnTo>
                  <a:lnTo>
                    <a:pt x="2492" y="2700"/>
                  </a:lnTo>
                  <a:lnTo>
                    <a:pt x="2486" y="2712"/>
                  </a:lnTo>
                  <a:lnTo>
                    <a:pt x="2480" y="2724"/>
                  </a:lnTo>
                  <a:lnTo>
                    <a:pt x="2478" y="2732"/>
                  </a:lnTo>
                  <a:lnTo>
                    <a:pt x="2478" y="2738"/>
                  </a:lnTo>
                  <a:lnTo>
                    <a:pt x="2478" y="2742"/>
                  </a:lnTo>
                  <a:lnTo>
                    <a:pt x="2482" y="2750"/>
                  </a:lnTo>
                  <a:lnTo>
                    <a:pt x="2482" y="2754"/>
                  </a:lnTo>
                  <a:lnTo>
                    <a:pt x="2482" y="2762"/>
                  </a:lnTo>
                  <a:lnTo>
                    <a:pt x="2480" y="2772"/>
                  </a:lnTo>
                  <a:lnTo>
                    <a:pt x="2480" y="2778"/>
                  </a:lnTo>
                  <a:lnTo>
                    <a:pt x="2484" y="2790"/>
                  </a:lnTo>
                  <a:lnTo>
                    <a:pt x="2488" y="2798"/>
                  </a:lnTo>
                  <a:lnTo>
                    <a:pt x="2488" y="2802"/>
                  </a:lnTo>
                  <a:lnTo>
                    <a:pt x="2488" y="2806"/>
                  </a:lnTo>
                  <a:lnTo>
                    <a:pt x="2488" y="2814"/>
                  </a:lnTo>
                  <a:lnTo>
                    <a:pt x="2490" y="2820"/>
                  </a:lnTo>
                  <a:lnTo>
                    <a:pt x="2494" y="2832"/>
                  </a:lnTo>
                  <a:lnTo>
                    <a:pt x="2498" y="2848"/>
                  </a:lnTo>
                  <a:lnTo>
                    <a:pt x="2498" y="2860"/>
                  </a:lnTo>
                  <a:lnTo>
                    <a:pt x="2496" y="2868"/>
                  </a:lnTo>
                  <a:lnTo>
                    <a:pt x="2492" y="2876"/>
                  </a:lnTo>
                  <a:lnTo>
                    <a:pt x="2488" y="2884"/>
                  </a:lnTo>
                  <a:lnTo>
                    <a:pt x="2480" y="2900"/>
                  </a:lnTo>
                  <a:lnTo>
                    <a:pt x="2476" y="2908"/>
                  </a:lnTo>
                  <a:lnTo>
                    <a:pt x="2474" y="2916"/>
                  </a:lnTo>
                  <a:lnTo>
                    <a:pt x="2472" y="2924"/>
                  </a:lnTo>
                  <a:lnTo>
                    <a:pt x="2470" y="2928"/>
                  </a:lnTo>
                  <a:lnTo>
                    <a:pt x="2466" y="2928"/>
                  </a:lnTo>
                  <a:lnTo>
                    <a:pt x="2464" y="2928"/>
                  </a:lnTo>
                  <a:lnTo>
                    <a:pt x="2462" y="2930"/>
                  </a:lnTo>
                  <a:lnTo>
                    <a:pt x="2458" y="2934"/>
                  </a:lnTo>
                  <a:lnTo>
                    <a:pt x="2454" y="2942"/>
                  </a:lnTo>
                  <a:lnTo>
                    <a:pt x="2450" y="2954"/>
                  </a:lnTo>
                  <a:lnTo>
                    <a:pt x="2448" y="2968"/>
                  </a:lnTo>
                  <a:lnTo>
                    <a:pt x="2446" y="2980"/>
                  </a:lnTo>
                  <a:lnTo>
                    <a:pt x="2448" y="2990"/>
                  </a:lnTo>
                  <a:lnTo>
                    <a:pt x="2448" y="2998"/>
                  </a:lnTo>
                  <a:lnTo>
                    <a:pt x="2456" y="3012"/>
                  </a:lnTo>
                  <a:lnTo>
                    <a:pt x="2464" y="3026"/>
                  </a:lnTo>
                  <a:lnTo>
                    <a:pt x="2466" y="3034"/>
                  </a:lnTo>
                  <a:lnTo>
                    <a:pt x="2466" y="3040"/>
                  </a:lnTo>
                  <a:lnTo>
                    <a:pt x="2466" y="3054"/>
                  </a:lnTo>
                  <a:lnTo>
                    <a:pt x="2464" y="3062"/>
                  </a:lnTo>
                  <a:lnTo>
                    <a:pt x="2466" y="3072"/>
                  </a:lnTo>
                  <a:lnTo>
                    <a:pt x="2468" y="3084"/>
                  </a:lnTo>
                  <a:lnTo>
                    <a:pt x="2474" y="3100"/>
                  </a:lnTo>
                  <a:lnTo>
                    <a:pt x="2480" y="3114"/>
                  </a:lnTo>
                  <a:lnTo>
                    <a:pt x="2486" y="3122"/>
                  </a:lnTo>
                  <a:lnTo>
                    <a:pt x="2492" y="3126"/>
                  </a:lnTo>
                  <a:lnTo>
                    <a:pt x="2498" y="3130"/>
                  </a:lnTo>
                  <a:lnTo>
                    <a:pt x="2510" y="3134"/>
                  </a:lnTo>
                  <a:lnTo>
                    <a:pt x="2514" y="3136"/>
                  </a:lnTo>
                  <a:lnTo>
                    <a:pt x="2520" y="3142"/>
                  </a:lnTo>
                  <a:lnTo>
                    <a:pt x="2522" y="3144"/>
                  </a:lnTo>
                  <a:lnTo>
                    <a:pt x="2526" y="3146"/>
                  </a:lnTo>
                  <a:lnTo>
                    <a:pt x="2534" y="3146"/>
                  </a:lnTo>
                  <a:lnTo>
                    <a:pt x="2544" y="3144"/>
                  </a:lnTo>
                  <a:lnTo>
                    <a:pt x="2554" y="3140"/>
                  </a:lnTo>
                  <a:lnTo>
                    <a:pt x="2574" y="3128"/>
                  </a:lnTo>
                  <a:lnTo>
                    <a:pt x="2584" y="3124"/>
                  </a:lnTo>
                  <a:lnTo>
                    <a:pt x="2594" y="3122"/>
                  </a:lnTo>
                  <a:lnTo>
                    <a:pt x="2598" y="3120"/>
                  </a:lnTo>
                  <a:lnTo>
                    <a:pt x="2602" y="3116"/>
                  </a:lnTo>
                  <a:lnTo>
                    <a:pt x="2610" y="3096"/>
                  </a:lnTo>
                  <a:lnTo>
                    <a:pt x="2620" y="3068"/>
                  </a:lnTo>
                  <a:lnTo>
                    <a:pt x="2628" y="3034"/>
                  </a:lnTo>
                  <a:lnTo>
                    <a:pt x="2648" y="2952"/>
                  </a:lnTo>
                  <a:lnTo>
                    <a:pt x="2668" y="2870"/>
                  </a:lnTo>
                  <a:lnTo>
                    <a:pt x="2682" y="2822"/>
                  </a:lnTo>
                  <a:lnTo>
                    <a:pt x="2694" y="2792"/>
                  </a:lnTo>
                  <a:lnTo>
                    <a:pt x="2696" y="2780"/>
                  </a:lnTo>
                  <a:lnTo>
                    <a:pt x="2700" y="2768"/>
                  </a:lnTo>
                  <a:lnTo>
                    <a:pt x="2700" y="2756"/>
                  </a:lnTo>
                  <a:lnTo>
                    <a:pt x="2698" y="2742"/>
                  </a:lnTo>
                  <a:lnTo>
                    <a:pt x="2698" y="2730"/>
                  </a:lnTo>
                  <a:lnTo>
                    <a:pt x="2698" y="2722"/>
                  </a:lnTo>
                  <a:lnTo>
                    <a:pt x="2700" y="2718"/>
                  </a:lnTo>
                  <a:lnTo>
                    <a:pt x="2704" y="2714"/>
                  </a:lnTo>
                  <a:lnTo>
                    <a:pt x="2710" y="2710"/>
                  </a:lnTo>
                  <a:lnTo>
                    <a:pt x="2712" y="2706"/>
                  </a:lnTo>
                  <a:lnTo>
                    <a:pt x="2710" y="2700"/>
                  </a:lnTo>
                  <a:lnTo>
                    <a:pt x="2710" y="2690"/>
                  </a:lnTo>
                  <a:lnTo>
                    <a:pt x="2712" y="2684"/>
                  </a:lnTo>
                  <a:lnTo>
                    <a:pt x="2712" y="2674"/>
                  </a:lnTo>
                  <a:lnTo>
                    <a:pt x="2712" y="2670"/>
                  </a:lnTo>
                  <a:lnTo>
                    <a:pt x="2710" y="2662"/>
                  </a:lnTo>
                  <a:lnTo>
                    <a:pt x="2706" y="2654"/>
                  </a:lnTo>
                  <a:lnTo>
                    <a:pt x="2706" y="2648"/>
                  </a:lnTo>
                  <a:lnTo>
                    <a:pt x="2706" y="2642"/>
                  </a:lnTo>
                  <a:lnTo>
                    <a:pt x="2708" y="2638"/>
                  </a:lnTo>
                  <a:lnTo>
                    <a:pt x="2710" y="2636"/>
                  </a:lnTo>
                  <a:lnTo>
                    <a:pt x="2714" y="2640"/>
                  </a:lnTo>
                  <a:lnTo>
                    <a:pt x="2718" y="2646"/>
                  </a:lnTo>
                  <a:lnTo>
                    <a:pt x="2722" y="2658"/>
                  </a:lnTo>
                  <a:lnTo>
                    <a:pt x="2724" y="2662"/>
                  </a:lnTo>
                  <a:lnTo>
                    <a:pt x="2728" y="2662"/>
                  </a:lnTo>
                  <a:lnTo>
                    <a:pt x="2732" y="2658"/>
                  </a:lnTo>
                  <a:lnTo>
                    <a:pt x="2734" y="2652"/>
                  </a:lnTo>
                  <a:lnTo>
                    <a:pt x="2736" y="2644"/>
                  </a:lnTo>
                  <a:lnTo>
                    <a:pt x="2738" y="2634"/>
                  </a:lnTo>
                  <a:lnTo>
                    <a:pt x="2736" y="2624"/>
                  </a:lnTo>
                  <a:lnTo>
                    <a:pt x="2734" y="2614"/>
                  </a:lnTo>
                  <a:lnTo>
                    <a:pt x="2732" y="2604"/>
                  </a:lnTo>
                  <a:lnTo>
                    <a:pt x="2730" y="2590"/>
                  </a:lnTo>
                  <a:lnTo>
                    <a:pt x="2724" y="2556"/>
                  </a:lnTo>
                  <a:lnTo>
                    <a:pt x="2720" y="2522"/>
                  </a:lnTo>
                  <a:lnTo>
                    <a:pt x="2716" y="2510"/>
                  </a:lnTo>
                  <a:lnTo>
                    <a:pt x="2710" y="2504"/>
                  </a:lnTo>
                  <a:close/>
                  <a:moveTo>
                    <a:pt x="2770" y="1364"/>
                  </a:moveTo>
                  <a:lnTo>
                    <a:pt x="2770" y="1364"/>
                  </a:lnTo>
                  <a:lnTo>
                    <a:pt x="2764" y="1352"/>
                  </a:lnTo>
                  <a:lnTo>
                    <a:pt x="2762" y="1342"/>
                  </a:lnTo>
                  <a:lnTo>
                    <a:pt x="2764" y="1332"/>
                  </a:lnTo>
                  <a:lnTo>
                    <a:pt x="2766" y="1322"/>
                  </a:lnTo>
                  <a:lnTo>
                    <a:pt x="2770" y="1316"/>
                  </a:lnTo>
                  <a:lnTo>
                    <a:pt x="2770" y="1308"/>
                  </a:lnTo>
                  <a:lnTo>
                    <a:pt x="2768" y="1304"/>
                  </a:lnTo>
                  <a:lnTo>
                    <a:pt x="2762" y="1300"/>
                  </a:lnTo>
                  <a:lnTo>
                    <a:pt x="2752" y="1300"/>
                  </a:lnTo>
                  <a:lnTo>
                    <a:pt x="2746" y="1302"/>
                  </a:lnTo>
                  <a:lnTo>
                    <a:pt x="2730" y="1314"/>
                  </a:lnTo>
                  <a:lnTo>
                    <a:pt x="2720" y="1320"/>
                  </a:lnTo>
                  <a:lnTo>
                    <a:pt x="2708" y="1326"/>
                  </a:lnTo>
                  <a:lnTo>
                    <a:pt x="2694" y="1330"/>
                  </a:lnTo>
                  <a:lnTo>
                    <a:pt x="2676" y="1330"/>
                  </a:lnTo>
                  <a:lnTo>
                    <a:pt x="2660" y="1332"/>
                  </a:lnTo>
                  <a:lnTo>
                    <a:pt x="2650" y="1332"/>
                  </a:lnTo>
                  <a:lnTo>
                    <a:pt x="2646" y="1334"/>
                  </a:lnTo>
                  <a:lnTo>
                    <a:pt x="2646" y="1336"/>
                  </a:lnTo>
                  <a:lnTo>
                    <a:pt x="2646" y="1338"/>
                  </a:lnTo>
                  <a:lnTo>
                    <a:pt x="2644" y="1340"/>
                  </a:lnTo>
                  <a:lnTo>
                    <a:pt x="2640" y="1340"/>
                  </a:lnTo>
                  <a:lnTo>
                    <a:pt x="2630" y="1340"/>
                  </a:lnTo>
                  <a:lnTo>
                    <a:pt x="2618" y="1340"/>
                  </a:lnTo>
                  <a:lnTo>
                    <a:pt x="2608" y="1342"/>
                  </a:lnTo>
                  <a:lnTo>
                    <a:pt x="2602" y="1346"/>
                  </a:lnTo>
                  <a:lnTo>
                    <a:pt x="2596" y="1352"/>
                  </a:lnTo>
                  <a:lnTo>
                    <a:pt x="2590" y="1356"/>
                  </a:lnTo>
                  <a:lnTo>
                    <a:pt x="2584" y="1360"/>
                  </a:lnTo>
                  <a:lnTo>
                    <a:pt x="2574" y="1360"/>
                  </a:lnTo>
                  <a:lnTo>
                    <a:pt x="2564" y="1358"/>
                  </a:lnTo>
                  <a:lnTo>
                    <a:pt x="2552" y="1356"/>
                  </a:lnTo>
                  <a:lnTo>
                    <a:pt x="2542" y="1356"/>
                  </a:lnTo>
                  <a:lnTo>
                    <a:pt x="2534" y="1360"/>
                  </a:lnTo>
                  <a:lnTo>
                    <a:pt x="2528" y="1366"/>
                  </a:lnTo>
                  <a:lnTo>
                    <a:pt x="2520" y="1370"/>
                  </a:lnTo>
                  <a:lnTo>
                    <a:pt x="2512" y="1374"/>
                  </a:lnTo>
                  <a:lnTo>
                    <a:pt x="2504" y="1376"/>
                  </a:lnTo>
                  <a:lnTo>
                    <a:pt x="2494" y="1374"/>
                  </a:lnTo>
                  <a:lnTo>
                    <a:pt x="2484" y="1368"/>
                  </a:lnTo>
                  <a:lnTo>
                    <a:pt x="2476" y="1362"/>
                  </a:lnTo>
                  <a:lnTo>
                    <a:pt x="2470" y="1356"/>
                  </a:lnTo>
                  <a:lnTo>
                    <a:pt x="2466" y="1350"/>
                  </a:lnTo>
                  <a:lnTo>
                    <a:pt x="2458" y="1334"/>
                  </a:lnTo>
                  <a:lnTo>
                    <a:pt x="2454" y="1328"/>
                  </a:lnTo>
                  <a:lnTo>
                    <a:pt x="2448" y="1320"/>
                  </a:lnTo>
                  <a:lnTo>
                    <a:pt x="2444" y="1318"/>
                  </a:lnTo>
                  <a:lnTo>
                    <a:pt x="2438" y="1316"/>
                  </a:lnTo>
                  <a:lnTo>
                    <a:pt x="2428" y="1316"/>
                  </a:lnTo>
                  <a:lnTo>
                    <a:pt x="2426" y="1316"/>
                  </a:lnTo>
                  <a:lnTo>
                    <a:pt x="2428" y="1314"/>
                  </a:lnTo>
                  <a:lnTo>
                    <a:pt x="2444" y="1302"/>
                  </a:lnTo>
                  <a:lnTo>
                    <a:pt x="2450" y="1298"/>
                  </a:lnTo>
                  <a:lnTo>
                    <a:pt x="2452" y="1294"/>
                  </a:lnTo>
                  <a:lnTo>
                    <a:pt x="2452" y="1288"/>
                  </a:lnTo>
                  <a:lnTo>
                    <a:pt x="2452" y="1284"/>
                  </a:lnTo>
                  <a:lnTo>
                    <a:pt x="2448" y="1272"/>
                  </a:lnTo>
                  <a:lnTo>
                    <a:pt x="2440" y="1260"/>
                  </a:lnTo>
                  <a:lnTo>
                    <a:pt x="2436" y="1256"/>
                  </a:lnTo>
                  <a:lnTo>
                    <a:pt x="2432" y="1254"/>
                  </a:lnTo>
                  <a:lnTo>
                    <a:pt x="2426" y="1252"/>
                  </a:lnTo>
                  <a:lnTo>
                    <a:pt x="2422" y="1244"/>
                  </a:lnTo>
                  <a:lnTo>
                    <a:pt x="2418" y="1238"/>
                  </a:lnTo>
                  <a:lnTo>
                    <a:pt x="2416" y="1236"/>
                  </a:lnTo>
                  <a:lnTo>
                    <a:pt x="2414" y="1232"/>
                  </a:lnTo>
                  <a:lnTo>
                    <a:pt x="2410" y="1224"/>
                  </a:lnTo>
                  <a:lnTo>
                    <a:pt x="2404" y="1214"/>
                  </a:lnTo>
                  <a:lnTo>
                    <a:pt x="2402" y="1214"/>
                  </a:lnTo>
                  <a:lnTo>
                    <a:pt x="2402" y="1216"/>
                  </a:lnTo>
                  <a:lnTo>
                    <a:pt x="2396" y="1208"/>
                  </a:lnTo>
                  <a:lnTo>
                    <a:pt x="2394" y="1204"/>
                  </a:lnTo>
                  <a:lnTo>
                    <a:pt x="2392" y="1202"/>
                  </a:lnTo>
                  <a:lnTo>
                    <a:pt x="2388" y="1202"/>
                  </a:lnTo>
                  <a:lnTo>
                    <a:pt x="2384" y="1202"/>
                  </a:lnTo>
                  <a:lnTo>
                    <a:pt x="2382" y="1198"/>
                  </a:lnTo>
                  <a:lnTo>
                    <a:pt x="2378" y="1192"/>
                  </a:lnTo>
                  <a:lnTo>
                    <a:pt x="2372" y="1182"/>
                  </a:lnTo>
                  <a:lnTo>
                    <a:pt x="2366" y="1172"/>
                  </a:lnTo>
                  <a:lnTo>
                    <a:pt x="2362" y="1166"/>
                  </a:lnTo>
                  <a:lnTo>
                    <a:pt x="2358" y="1164"/>
                  </a:lnTo>
                  <a:lnTo>
                    <a:pt x="2356" y="1164"/>
                  </a:lnTo>
                  <a:lnTo>
                    <a:pt x="2354" y="1166"/>
                  </a:lnTo>
                  <a:lnTo>
                    <a:pt x="2352" y="1166"/>
                  </a:lnTo>
                  <a:lnTo>
                    <a:pt x="2348" y="1162"/>
                  </a:lnTo>
                  <a:lnTo>
                    <a:pt x="2344" y="1156"/>
                  </a:lnTo>
                  <a:lnTo>
                    <a:pt x="2340" y="1150"/>
                  </a:lnTo>
                  <a:lnTo>
                    <a:pt x="2338" y="1150"/>
                  </a:lnTo>
                  <a:lnTo>
                    <a:pt x="2334" y="1150"/>
                  </a:lnTo>
                  <a:lnTo>
                    <a:pt x="2332" y="1152"/>
                  </a:lnTo>
                  <a:lnTo>
                    <a:pt x="2330" y="1152"/>
                  </a:lnTo>
                  <a:lnTo>
                    <a:pt x="2326" y="1150"/>
                  </a:lnTo>
                  <a:lnTo>
                    <a:pt x="2322" y="1144"/>
                  </a:lnTo>
                  <a:lnTo>
                    <a:pt x="2316" y="1132"/>
                  </a:lnTo>
                  <a:lnTo>
                    <a:pt x="2312" y="1124"/>
                  </a:lnTo>
                  <a:lnTo>
                    <a:pt x="2310" y="1122"/>
                  </a:lnTo>
                  <a:lnTo>
                    <a:pt x="2308" y="1124"/>
                  </a:lnTo>
                  <a:lnTo>
                    <a:pt x="2308" y="1128"/>
                  </a:lnTo>
                  <a:lnTo>
                    <a:pt x="2308" y="1140"/>
                  </a:lnTo>
                  <a:lnTo>
                    <a:pt x="2308" y="1144"/>
                  </a:lnTo>
                  <a:lnTo>
                    <a:pt x="2306" y="1146"/>
                  </a:lnTo>
                  <a:lnTo>
                    <a:pt x="2304" y="1142"/>
                  </a:lnTo>
                  <a:lnTo>
                    <a:pt x="2300" y="1136"/>
                  </a:lnTo>
                  <a:lnTo>
                    <a:pt x="2298" y="1126"/>
                  </a:lnTo>
                  <a:lnTo>
                    <a:pt x="2290" y="1110"/>
                  </a:lnTo>
                  <a:lnTo>
                    <a:pt x="2286" y="1100"/>
                  </a:lnTo>
                  <a:lnTo>
                    <a:pt x="2284" y="1086"/>
                  </a:lnTo>
                  <a:lnTo>
                    <a:pt x="2280" y="1058"/>
                  </a:lnTo>
                  <a:lnTo>
                    <a:pt x="2276" y="1042"/>
                  </a:lnTo>
                  <a:lnTo>
                    <a:pt x="2272" y="1026"/>
                  </a:lnTo>
                  <a:lnTo>
                    <a:pt x="2268" y="1012"/>
                  </a:lnTo>
                  <a:lnTo>
                    <a:pt x="2260" y="998"/>
                  </a:lnTo>
                  <a:lnTo>
                    <a:pt x="2252" y="988"/>
                  </a:lnTo>
                  <a:lnTo>
                    <a:pt x="2248" y="984"/>
                  </a:lnTo>
                  <a:lnTo>
                    <a:pt x="2244" y="986"/>
                  </a:lnTo>
                  <a:lnTo>
                    <a:pt x="2242" y="986"/>
                  </a:lnTo>
                  <a:lnTo>
                    <a:pt x="2240" y="984"/>
                  </a:lnTo>
                  <a:lnTo>
                    <a:pt x="2236" y="976"/>
                  </a:lnTo>
                  <a:lnTo>
                    <a:pt x="2230" y="968"/>
                  </a:lnTo>
                  <a:lnTo>
                    <a:pt x="2226" y="966"/>
                  </a:lnTo>
                  <a:lnTo>
                    <a:pt x="2222" y="966"/>
                  </a:lnTo>
                  <a:lnTo>
                    <a:pt x="2220" y="966"/>
                  </a:lnTo>
                  <a:lnTo>
                    <a:pt x="2218" y="964"/>
                  </a:lnTo>
                  <a:lnTo>
                    <a:pt x="2212" y="956"/>
                  </a:lnTo>
                  <a:lnTo>
                    <a:pt x="2208" y="944"/>
                  </a:lnTo>
                  <a:lnTo>
                    <a:pt x="2206" y="928"/>
                  </a:lnTo>
                  <a:lnTo>
                    <a:pt x="2202" y="900"/>
                  </a:lnTo>
                  <a:lnTo>
                    <a:pt x="2200" y="890"/>
                  </a:lnTo>
                  <a:lnTo>
                    <a:pt x="2202" y="884"/>
                  </a:lnTo>
                  <a:lnTo>
                    <a:pt x="2204" y="876"/>
                  </a:lnTo>
                  <a:lnTo>
                    <a:pt x="2204" y="870"/>
                  </a:lnTo>
                  <a:lnTo>
                    <a:pt x="2200" y="858"/>
                  </a:lnTo>
                  <a:lnTo>
                    <a:pt x="2198" y="850"/>
                  </a:lnTo>
                  <a:lnTo>
                    <a:pt x="2200" y="848"/>
                  </a:lnTo>
                  <a:lnTo>
                    <a:pt x="2204" y="850"/>
                  </a:lnTo>
                  <a:lnTo>
                    <a:pt x="2208" y="850"/>
                  </a:lnTo>
                  <a:lnTo>
                    <a:pt x="2210" y="848"/>
                  </a:lnTo>
                  <a:lnTo>
                    <a:pt x="2204" y="842"/>
                  </a:lnTo>
                  <a:lnTo>
                    <a:pt x="2198" y="826"/>
                  </a:lnTo>
                  <a:lnTo>
                    <a:pt x="2194" y="816"/>
                  </a:lnTo>
                  <a:lnTo>
                    <a:pt x="2192" y="802"/>
                  </a:lnTo>
                  <a:lnTo>
                    <a:pt x="2190" y="794"/>
                  </a:lnTo>
                  <a:lnTo>
                    <a:pt x="2188" y="790"/>
                  </a:lnTo>
                  <a:lnTo>
                    <a:pt x="2184" y="786"/>
                  </a:lnTo>
                  <a:lnTo>
                    <a:pt x="2176" y="784"/>
                  </a:lnTo>
                  <a:lnTo>
                    <a:pt x="2174" y="782"/>
                  </a:lnTo>
                  <a:lnTo>
                    <a:pt x="2170" y="780"/>
                  </a:lnTo>
                  <a:lnTo>
                    <a:pt x="2166" y="772"/>
                  </a:lnTo>
                  <a:lnTo>
                    <a:pt x="2162" y="766"/>
                  </a:lnTo>
                  <a:lnTo>
                    <a:pt x="2160" y="764"/>
                  </a:lnTo>
                  <a:lnTo>
                    <a:pt x="2154" y="764"/>
                  </a:lnTo>
                  <a:lnTo>
                    <a:pt x="2150" y="762"/>
                  </a:lnTo>
                  <a:lnTo>
                    <a:pt x="2146" y="758"/>
                  </a:lnTo>
                  <a:lnTo>
                    <a:pt x="2138" y="746"/>
                  </a:lnTo>
                  <a:lnTo>
                    <a:pt x="2134" y="752"/>
                  </a:lnTo>
                  <a:lnTo>
                    <a:pt x="2138" y="746"/>
                  </a:lnTo>
                  <a:lnTo>
                    <a:pt x="2134" y="732"/>
                  </a:lnTo>
                  <a:lnTo>
                    <a:pt x="2132" y="716"/>
                  </a:lnTo>
                  <a:lnTo>
                    <a:pt x="2132" y="710"/>
                  </a:lnTo>
                  <a:lnTo>
                    <a:pt x="2134" y="706"/>
                  </a:lnTo>
                  <a:lnTo>
                    <a:pt x="2136" y="702"/>
                  </a:lnTo>
                  <a:lnTo>
                    <a:pt x="2142" y="702"/>
                  </a:lnTo>
                  <a:lnTo>
                    <a:pt x="2144" y="702"/>
                  </a:lnTo>
                  <a:lnTo>
                    <a:pt x="2138" y="698"/>
                  </a:lnTo>
                  <a:lnTo>
                    <a:pt x="2134" y="692"/>
                  </a:lnTo>
                  <a:lnTo>
                    <a:pt x="2128" y="684"/>
                  </a:lnTo>
                  <a:lnTo>
                    <a:pt x="2120" y="674"/>
                  </a:lnTo>
                  <a:lnTo>
                    <a:pt x="2116" y="662"/>
                  </a:lnTo>
                  <a:lnTo>
                    <a:pt x="2108" y="642"/>
                  </a:lnTo>
                  <a:lnTo>
                    <a:pt x="2098" y="624"/>
                  </a:lnTo>
                  <a:lnTo>
                    <a:pt x="2082" y="594"/>
                  </a:lnTo>
                  <a:lnTo>
                    <a:pt x="2072" y="572"/>
                  </a:lnTo>
                  <a:lnTo>
                    <a:pt x="2070" y="564"/>
                  </a:lnTo>
                  <a:lnTo>
                    <a:pt x="2070" y="556"/>
                  </a:lnTo>
                  <a:lnTo>
                    <a:pt x="2070" y="550"/>
                  </a:lnTo>
                  <a:lnTo>
                    <a:pt x="2070" y="544"/>
                  </a:lnTo>
                  <a:lnTo>
                    <a:pt x="2064" y="534"/>
                  </a:lnTo>
                  <a:lnTo>
                    <a:pt x="2058" y="526"/>
                  </a:lnTo>
                  <a:lnTo>
                    <a:pt x="2056" y="520"/>
                  </a:lnTo>
                  <a:lnTo>
                    <a:pt x="2056" y="512"/>
                  </a:lnTo>
                  <a:lnTo>
                    <a:pt x="2054" y="504"/>
                  </a:lnTo>
                  <a:lnTo>
                    <a:pt x="2050" y="494"/>
                  </a:lnTo>
                  <a:lnTo>
                    <a:pt x="2036" y="474"/>
                  </a:lnTo>
                  <a:lnTo>
                    <a:pt x="2022" y="452"/>
                  </a:lnTo>
                  <a:lnTo>
                    <a:pt x="2018" y="442"/>
                  </a:lnTo>
                  <a:lnTo>
                    <a:pt x="2016" y="434"/>
                  </a:lnTo>
                  <a:lnTo>
                    <a:pt x="2016" y="426"/>
                  </a:lnTo>
                  <a:lnTo>
                    <a:pt x="2014" y="422"/>
                  </a:lnTo>
                  <a:lnTo>
                    <a:pt x="2010" y="416"/>
                  </a:lnTo>
                  <a:lnTo>
                    <a:pt x="2008" y="412"/>
                  </a:lnTo>
                  <a:lnTo>
                    <a:pt x="2008" y="408"/>
                  </a:lnTo>
                  <a:lnTo>
                    <a:pt x="2010" y="402"/>
                  </a:lnTo>
                  <a:lnTo>
                    <a:pt x="2014" y="394"/>
                  </a:lnTo>
                  <a:lnTo>
                    <a:pt x="2000" y="332"/>
                  </a:lnTo>
                  <a:lnTo>
                    <a:pt x="1998" y="332"/>
                  </a:lnTo>
                  <a:lnTo>
                    <a:pt x="1996" y="328"/>
                  </a:lnTo>
                  <a:lnTo>
                    <a:pt x="1992" y="326"/>
                  </a:lnTo>
                  <a:lnTo>
                    <a:pt x="1990" y="326"/>
                  </a:lnTo>
                  <a:lnTo>
                    <a:pt x="1986" y="326"/>
                  </a:lnTo>
                  <a:lnTo>
                    <a:pt x="1984" y="324"/>
                  </a:lnTo>
                  <a:lnTo>
                    <a:pt x="1984" y="322"/>
                  </a:lnTo>
                  <a:lnTo>
                    <a:pt x="1984" y="320"/>
                  </a:lnTo>
                  <a:lnTo>
                    <a:pt x="1986" y="318"/>
                  </a:lnTo>
                  <a:lnTo>
                    <a:pt x="1988" y="316"/>
                  </a:lnTo>
                  <a:lnTo>
                    <a:pt x="1990" y="314"/>
                  </a:lnTo>
                  <a:lnTo>
                    <a:pt x="1992" y="316"/>
                  </a:lnTo>
                  <a:lnTo>
                    <a:pt x="1998" y="320"/>
                  </a:lnTo>
                  <a:lnTo>
                    <a:pt x="1996" y="316"/>
                  </a:lnTo>
                  <a:lnTo>
                    <a:pt x="1990" y="310"/>
                  </a:lnTo>
                  <a:lnTo>
                    <a:pt x="1988" y="308"/>
                  </a:lnTo>
                  <a:lnTo>
                    <a:pt x="1986" y="308"/>
                  </a:lnTo>
                  <a:lnTo>
                    <a:pt x="1980" y="312"/>
                  </a:lnTo>
                  <a:lnTo>
                    <a:pt x="1976" y="314"/>
                  </a:lnTo>
                  <a:lnTo>
                    <a:pt x="1974" y="314"/>
                  </a:lnTo>
                  <a:lnTo>
                    <a:pt x="1966" y="310"/>
                  </a:lnTo>
                  <a:lnTo>
                    <a:pt x="1958" y="306"/>
                  </a:lnTo>
                  <a:lnTo>
                    <a:pt x="1954" y="306"/>
                  </a:lnTo>
                  <a:lnTo>
                    <a:pt x="1948" y="308"/>
                  </a:lnTo>
                  <a:lnTo>
                    <a:pt x="1938" y="312"/>
                  </a:lnTo>
                  <a:lnTo>
                    <a:pt x="1932" y="312"/>
                  </a:lnTo>
                  <a:lnTo>
                    <a:pt x="1928" y="312"/>
                  </a:lnTo>
                  <a:lnTo>
                    <a:pt x="1922" y="318"/>
                  </a:lnTo>
                  <a:lnTo>
                    <a:pt x="1920" y="320"/>
                  </a:lnTo>
                  <a:lnTo>
                    <a:pt x="1916" y="322"/>
                  </a:lnTo>
                  <a:lnTo>
                    <a:pt x="1908" y="326"/>
                  </a:lnTo>
                  <a:lnTo>
                    <a:pt x="1892" y="340"/>
                  </a:lnTo>
                  <a:lnTo>
                    <a:pt x="1886" y="346"/>
                  </a:lnTo>
                  <a:lnTo>
                    <a:pt x="1880" y="346"/>
                  </a:lnTo>
                  <a:lnTo>
                    <a:pt x="1874" y="346"/>
                  </a:lnTo>
                  <a:lnTo>
                    <a:pt x="1866" y="344"/>
                  </a:lnTo>
                  <a:lnTo>
                    <a:pt x="1854" y="336"/>
                  </a:lnTo>
                  <a:lnTo>
                    <a:pt x="1848" y="334"/>
                  </a:lnTo>
                  <a:lnTo>
                    <a:pt x="1844" y="334"/>
                  </a:lnTo>
                  <a:lnTo>
                    <a:pt x="1836" y="332"/>
                  </a:lnTo>
                  <a:lnTo>
                    <a:pt x="1830" y="330"/>
                  </a:lnTo>
                  <a:lnTo>
                    <a:pt x="1826" y="326"/>
                  </a:lnTo>
                  <a:lnTo>
                    <a:pt x="1822" y="326"/>
                  </a:lnTo>
                  <a:lnTo>
                    <a:pt x="1818" y="326"/>
                  </a:lnTo>
                  <a:lnTo>
                    <a:pt x="1812" y="326"/>
                  </a:lnTo>
                  <a:lnTo>
                    <a:pt x="1812" y="324"/>
                  </a:lnTo>
                  <a:lnTo>
                    <a:pt x="1808" y="322"/>
                  </a:lnTo>
                  <a:lnTo>
                    <a:pt x="1804" y="318"/>
                  </a:lnTo>
                  <a:lnTo>
                    <a:pt x="1794" y="314"/>
                  </a:lnTo>
                  <a:lnTo>
                    <a:pt x="1778" y="310"/>
                  </a:lnTo>
                  <a:lnTo>
                    <a:pt x="1762" y="308"/>
                  </a:lnTo>
                  <a:lnTo>
                    <a:pt x="1750" y="306"/>
                  </a:lnTo>
                  <a:lnTo>
                    <a:pt x="1734" y="308"/>
                  </a:lnTo>
                  <a:lnTo>
                    <a:pt x="1724" y="310"/>
                  </a:lnTo>
                  <a:lnTo>
                    <a:pt x="1718" y="310"/>
                  </a:lnTo>
                  <a:lnTo>
                    <a:pt x="1718" y="308"/>
                  </a:lnTo>
                  <a:lnTo>
                    <a:pt x="1716" y="302"/>
                  </a:lnTo>
                  <a:lnTo>
                    <a:pt x="1714" y="292"/>
                  </a:lnTo>
                  <a:lnTo>
                    <a:pt x="1710" y="288"/>
                  </a:lnTo>
                  <a:lnTo>
                    <a:pt x="1706" y="286"/>
                  </a:lnTo>
                  <a:lnTo>
                    <a:pt x="1700" y="284"/>
                  </a:lnTo>
                  <a:lnTo>
                    <a:pt x="1692" y="284"/>
                  </a:lnTo>
                  <a:lnTo>
                    <a:pt x="1678" y="284"/>
                  </a:lnTo>
                  <a:lnTo>
                    <a:pt x="1672" y="282"/>
                  </a:lnTo>
                  <a:lnTo>
                    <a:pt x="1666" y="280"/>
                  </a:lnTo>
                  <a:lnTo>
                    <a:pt x="1654" y="278"/>
                  </a:lnTo>
                  <a:lnTo>
                    <a:pt x="1648" y="276"/>
                  </a:lnTo>
                  <a:lnTo>
                    <a:pt x="1644" y="274"/>
                  </a:lnTo>
                  <a:lnTo>
                    <a:pt x="1640" y="266"/>
                  </a:lnTo>
                  <a:lnTo>
                    <a:pt x="1638" y="262"/>
                  </a:lnTo>
                  <a:lnTo>
                    <a:pt x="1632" y="256"/>
                  </a:lnTo>
                  <a:lnTo>
                    <a:pt x="1624" y="250"/>
                  </a:lnTo>
                  <a:lnTo>
                    <a:pt x="1612" y="242"/>
                  </a:lnTo>
                  <a:lnTo>
                    <a:pt x="1596" y="236"/>
                  </a:lnTo>
                  <a:lnTo>
                    <a:pt x="1584" y="236"/>
                  </a:lnTo>
                  <a:lnTo>
                    <a:pt x="1574" y="238"/>
                  </a:lnTo>
                  <a:lnTo>
                    <a:pt x="1568" y="242"/>
                  </a:lnTo>
                  <a:lnTo>
                    <a:pt x="1564" y="244"/>
                  </a:lnTo>
                  <a:lnTo>
                    <a:pt x="1560" y="246"/>
                  </a:lnTo>
                  <a:lnTo>
                    <a:pt x="1550" y="246"/>
                  </a:lnTo>
                  <a:lnTo>
                    <a:pt x="1544" y="248"/>
                  </a:lnTo>
                  <a:lnTo>
                    <a:pt x="1536" y="252"/>
                  </a:lnTo>
                  <a:lnTo>
                    <a:pt x="1528" y="260"/>
                  </a:lnTo>
                  <a:lnTo>
                    <a:pt x="1516" y="274"/>
                  </a:lnTo>
                  <a:lnTo>
                    <a:pt x="1510" y="284"/>
                  </a:lnTo>
                  <a:lnTo>
                    <a:pt x="1508" y="292"/>
                  </a:lnTo>
                  <a:lnTo>
                    <a:pt x="1508" y="302"/>
                  </a:lnTo>
                  <a:lnTo>
                    <a:pt x="1510" y="314"/>
                  </a:lnTo>
                  <a:lnTo>
                    <a:pt x="1512" y="324"/>
                  </a:lnTo>
                  <a:lnTo>
                    <a:pt x="1514" y="334"/>
                  </a:lnTo>
                  <a:lnTo>
                    <a:pt x="1512" y="344"/>
                  </a:lnTo>
                  <a:lnTo>
                    <a:pt x="1506" y="354"/>
                  </a:lnTo>
                  <a:lnTo>
                    <a:pt x="1498" y="362"/>
                  </a:lnTo>
                  <a:lnTo>
                    <a:pt x="1492" y="368"/>
                  </a:lnTo>
                  <a:lnTo>
                    <a:pt x="1484" y="374"/>
                  </a:lnTo>
                  <a:lnTo>
                    <a:pt x="1478" y="376"/>
                  </a:lnTo>
                  <a:lnTo>
                    <a:pt x="1470" y="376"/>
                  </a:lnTo>
                  <a:lnTo>
                    <a:pt x="1464" y="374"/>
                  </a:lnTo>
                  <a:lnTo>
                    <a:pt x="1458" y="368"/>
                  </a:lnTo>
                  <a:lnTo>
                    <a:pt x="1452" y="362"/>
                  </a:lnTo>
                  <a:lnTo>
                    <a:pt x="1446" y="356"/>
                  </a:lnTo>
                  <a:lnTo>
                    <a:pt x="1438" y="350"/>
                  </a:lnTo>
                  <a:lnTo>
                    <a:pt x="1418" y="338"/>
                  </a:lnTo>
                  <a:lnTo>
                    <a:pt x="1398" y="330"/>
                  </a:lnTo>
                  <a:lnTo>
                    <a:pt x="1376" y="328"/>
                  </a:lnTo>
                  <a:lnTo>
                    <a:pt x="1358" y="326"/>
                  </a:lnTo>
                  <a:lnTo>
                    <a:pt x="1350" y="324"/>
                  </a:lnTo>
                  <a:lnTo>
                    <a:pt x="1344" y="320"/>
                  </a:lnTo>
                  <a:lnTo>
                    <a:pt x="1338" y="316"/>
                  </a:lnTo>
                  <a:lnTo>
                    <a:pt x="1334" y="310"/>
                  </a:lnTo>
                  <a:lnTo>
                    <a:pt x="1330" y="300"/>
                  </a:lnTo>
                  <a:lnTo>
                    <a:pt x="1326" y="288"/>
                  </a:lnTo>
                  <a:lnTo>
                    <a:pt x="1324" y="276"/>
                  </a:lnTo>
                  <a:lnTo>
                    <a:pt x="1320" y="268"/>
                  </a:lnTo>
                  <a:lnTo>
                    <a:pt x="1314" y="262"/>
                  </a:lnTo>
                  <a:lnTo>
                    <a:pt x="1306" y="260"/>
                  </a:lnTo>
                  <a:lnTo>
                    <a:pt x="1294" y="258"/>
                  </a:lnTo>
                  <a:lnTo>
                    <a:pt x="1288" y="256"/>
                  </a:lnTo>
                  <a:lnTo>
                    <a:pt x="1284" y="254"/>
                  </a:lnTo>
                  <a:lnTo>
                    <a:pt x="1272" y="248"/>
                  </a:lnTo>
                  <a:lnTo>
                    <a:pt x="1256" y="242"/>
                  </a:lnTo>
                  <a:lnTo>
                    <a:pt x="1238" y="240"/>
                  </a:lnTo>
                  <a:lnTo>
                    <a:pt x="1230" y="240"/>
                  </a:lnTo>
                  <a:lnTo>
                    <a:pt x="1224" y="240"/>
                  </a:lnTo>
                  <a:lnTo>
                    <a:pt x="1216" y="242"/>
                  </a:lnTo>
                  <a:lnTo>
                    <a:pt x="1210" y="242"/>
                  </a:lnTo>
                  <a:lnTo>
                    <a:pt x="1196" y="236"/>
                  </a:lnTo>
                  <a:lnTo>
                    <a:pt x="1182" y="230"/>
                  </a:lnTo>
                  <a:lnTo>
                    <a:pt x="1172" y="224"/>
                  </a:lnTo>
                  <a:lnTo>
                    <a:pt x="1160" y="218"/>
                  </a:lnTo>
                  <a:lnTo>
                    <a:pt x="1156" y="214"/>
                  </a:lnTo>
                  <a:lnTo>
                    <a:pt x="1154" y="206"/>
                  </a:lnTo>
                  <a:lnTo>
                    <a:pt x="1152" y="198"/>
                  </a:lnTo>
                  <a:lnTo>
                    <a:pt x="1150" y="198"/>
                  </a:lnTo>
                  <a:lnTo>
                    <a:pt x="1148" y="198"/>
                  </a:lnTo>
                  <a:lnTo>
                    <a:pt x="1144" y="200"/>
                  </a:lnTo>
                  <a:lnTo>
                    <a:pt x="1142" y="200"/>
                  </a:lnTo>
                  <a:lnTo>
                    <a:pt x="1140" y="198"/>
                  </a:lnTo>
                  <a:lnTo>
                    <a:pt x="1132" y="196"/>
                  </a:lnTo>
                  <a:lnTo>
                    <a:pt x="1124" y="194"/>
                  </a:lnTo>
                  <a:lnTo>
                    <a:pt x="1118" y="194"/>
                  </a:lnTo>
                  <a:lnTo>
                    <a:pt x="1114" y="190"/>
                  </a:lnTo>
                  <a:lnTo>
                    <a:pt x="1110" y="184"/>
                  </a:lnTo>
                  <a:lnTo>
                    <a:pt x="1108" y="176"/>
                  </a:lnTo>
                  <a:lnTo>
                    <a:pt x="1110" y="170"/>
                  </a:lnTo>
                  <a:lnTo>
                    <a:pt x="1116" y="162"/>
                  </a:lnTo>
                  <a:lnTo>
                    <a:pt x="1134" y="144"/>
                  </a:lnTo>
                  <a:lnTo>
                    <a:pt x="1142" y="134"/>
                  </a:lnTo>
                  <a:lnTo>
                    <a:pt x="1150" y="124"/>
                  </a:lnTo>
                  <a:lnTo>
                    <a:pt x="1154" y="116"/>
                  </a:lnTo>
                  <a:lnTo>
                    <a:pt x="1154" y="114"/>
                  </a:lnTo>
                  <a:lnTo>
                    <a:pt x="1152" y="110"/>
                  </a:lnTo>
                  <a:lnTo>
                    <a:pt x="1150" y="106"/>
                  </a:lnTo>
                  <a:lnTo>
                    <a:pt x="1148" y="102"/>
                  </a:lnTo>
                  <a:lnTo>
                    <a:pt x="1148" y="96"/>
                  </a:lnTo>
                  <a:lnTo>
                    <a:pt x="1148" y="92"/>
                  </a:lnTo>
                  <a:lnTo>
                    <a:pt x="1146" y="90"/>
                  </a:lnTo>
                  <a:lnTo>
                    <a:pt x="1142" y="86"/>
                  </a:lnTo>
                  <a:lnTo>
                    <a:pt x="1136" y="82"/>
                  </a:lnTo>
                  <a:lnTo>
                    <a:pt x="1132" y="78"/>
                  </a:lnTo>
                  <a:lnTo>
                    <a:pt x="1128" y="74"/>
                  </a:lnTo>
                  <a:lnTo>
                    <a:pt x="1124" y="64"/>
                  </a:lnTo>
                  <a:lnTo>
                    <a:pt x="1124" y="60"/>
                  </a:lnTo>
                  <a:lnTo>
                    <a:pt x="1124" y="56"/>
                  </a:lnTo>
                  <a:lnTo>
                    <a:pt x="1126" y="52"/>
                  </a:lnTo>
                  <a:lnTo>
                    <a:pt x="1130" y="50"/>
                  </a:lnTo>
                  <a:lnTo>
                    <a:pt x="1140" y="42"/>
                  </a:lnTo>
                  <a:lnTo>
                    <a:pt x="1148" y="34"/>
                  </a:lnTo>
                  <a:lnTo>
                    <a:pt x="1152" y="26"/>
                  </a:lnTo>
                  <a:lnTo>
                    <a:pt x="1152" y="20"/>
                  </a:lnTo>
                  <a:lnTo>
                    <a:pt x="1152" y="16"/>
                  </a:lnTo>
                  <a:lnTo>
                    <a:pt x="1148" y="14"/>
                  </a:lnTo>
                  <a:lnTo>
                    <a:pt x="1146" y="16"/>
                  </a:lnTo>
                  <a:lnTo>
                    <a:pt x="1136" y="22"/>
                  </a:lnTo>
                  <a:lnTo>
                    <a:pt x="1128" y="30"/>
                  </a:lnTo>
                  <a:lnTo>
                    <a:pt x="1124" y="32"/>
                  </a:lnTo>
                  <a:lnTo>
                    <a:pt x="1122" y="32"/>
                  </a:lnTo>
                  <a:lnTo>
                    <a:pt x="1120" y="30"/>
                  </a:lnTo>
                  <a:lnTo>
                    <a:pt x="1118" y="26"/>
                  </a:lnTo>
                  <a:lnTo>
                    <a:pt x="1118" y="18"/>
                  </a:lnTo>
                  <a:lnTo>
                    <a:pt x="1116" y="10"/>
                  </a:lnTo>
                  <a:lnTo>
                    <a:pt x="1112" y="6"/>
                  </a:lnTo>
                  <a:lnTo>
                    <a:pt x="1108" y="4"/>
                  </a:lnTo>
                  <a:lnTo>
                    <a:pt x="1096" y="0"/>
                  </a:lnTo>
                  <a:lnTo>
                    <a:pt x="1088" y="2"/>
                  </a:lnTo>
                  <a:lnTo>
                    <a:pt x="1080" y="4"/>
                  </a:lnTo>
                  <a:lnTo>
                    <a:pt x="1074" y="6"/>
                  </a:lnTo>
                  <a:lnTo>
                    <a:pt x="1064" y="16"/>
                  </a:lnTo>
                  <a:lnTo>
                    <a:pt x="1058" y="22"/>
                  </a:lnTo>
                  <a:lnTo>
                    <a:pt x="1052" y="22"/>
                  </a:lnTo>
                  <a:lnTo>
                    <a:pt x="1040" y="22"/>
                  </a:lnTo>
                  <a:lnTo>
                    <a:pt x="1034" y="22"/>
                  </a:lnTo>
                  <a:lnTo>
                    <a:pt x="1026" y="24"/>
                  </a:lnTo>
                  <a:lnTo>
                    <a:pt x="1022" y="28"/>
                  </a:lnTo>
                  <a:lnTo>
                    <a:pt x="1018" y="24"/>
                  </a:lnTo>
                  <a:lnTo>
                    <a:pt x="1014" y="20"/>
                  </a:lnTo>
                  <a:lnTo>
                    <a:pt x="1006" y="14"/>
                  </a:lnTo>
                  <a:lnTo>
                    <a:pt x="1002" y="12"/>
                  </a:lnTo>
                  <a:lnTo>
                    <a:pt x="998" y="14"/>
                  </a:lnTo>
                  <a:lnTo>
                    <a:pt x="994" y="18"/>
                  </a:lnTo>
                  <a:lnTo>
                    <a:pt x="992" y="20"/>
                  </a:lnTo>
                  <a:lnTo>
                    <a:pt x="988" y="22"/>
                  </a:lnTo>
                  <a:lnTo>
                    <a:pt x="984" y="22"/>
                  </a:lnTo>
                  <a:lnTo>
                    <a:pt x="978" y="20"/>
                  </a:lnTo>
                  <a:lnTo>
                    <a:pt x="966" y="16"/>
                  </a:lnTo>
                  <a:lnTo>
                    <a:pt x="962" y="16"/>
                  </a:lnTo>
                  <a:lnTo>
                    <a:pt x="960" y="18"/>
                  </a:lnTo>
                  <a:lnTo>
                    <a:pt x="954" y="22"/>
                  </a:lnTo>
                  <a:lnTo>
                    <a:pt x="942" y="26"/>
                  </a:lnTo>
                  <a:lnTo>
                    <a:pt x="936" y="28"/>
                  </a:lnTo>
                  <a:lnTo>
                    <a:pt x="930" y="30"/>
                  </a:lnTo>
                  <a:lnTo>
                    <a:pt x="924" y="36"/>
                  </a:lnTo>
                  <a:lnTo>
                    <a:pt x="920" y="38"/>
                  </a:lnTo>
                  <a:lnTo>
                    <a:pt x="918" y="38"/>
                  </a:lnTo>
                  <a:lnTo>
                    <a:pt x="914" y="36"/>
                  </a:lnTo>
                  <a:lnTo>
                    <a:pt x="910" y="32"/>
                  </a:lnTo>
                  <a:lnTo>
                    <a:pt x="906" y="28"/>
                  </a:lnTo>
                  <a:lnTo>
                    <a:pt x="900" y="26"/>
                  </a:lnTo>
                  <a:lnTo>
                    <a:pt x="886" y="22"/>
                  </a:lnTo>
                  <a:lnTo>
                    <a:pt x="870" y="24"/>
                  </a:lnTo>
                  <a:lnTo>
                    <a:pt x="854" y="26"/>
                  </a:lnTo>
                  <a:lnTo>
                    <a:pt x="848" y="28"/>
                  </a:lnTo>
                  <a:lnTo>
                    <a:pt x="842" y="28"/>
                  </a:lnTo>
                  <a:lnTo>
                    <a:pt x="832" y="28"/>
                  </a:lnTo>
                  <a:lnTo>
                    <a:pt x="822" y="28"/>
                  </a:lnTo>
                  <a:lnTo>
                    <a:pt x="820" y="30"/>
                  </a:lnTo>
                  <a:lnTo>
                    <a:pt x="816" y="32"/>
                  </a:lnTo>
                  <a:lnTo>
                    <a:pt x="812" y="38"/>
                  </a:lnTo>
                  <a:lnTo>
                    <a:pt x="804" y="40"/>
                  </a:lnTo>
                  <a:lnTo>
                    <a:pt x="776" y="42"/>
                  </a:lnTo>
                  <a:lnTo>
                    <a:pt x="754" y="46"/>
                  </a:lnTo>
                  <a:lnTo>
                    <a:pt x="732" y="52"/>
                  </a:lnTo>
                  <a:lnTo>
                    <a:pt x="724" y="58"/>
                  </a:lnTo>
                  <a:lnTo>
                    <a:pt x="716" y="64"/>
                  </a:lnTo>
                  <a:lnTo>
                    <a:pt x="710" y="70"/>
                  </a:lnTo>
                  <a:lnTo>
                    <a:pt x="706" y="76"/>
                  </a:lnTo>
                  <a:lnTo>
                    <a:pt x="704" y="82"/>
                  </a:lnTo>
                  <a:lnTo>
                    <a:pt x="700" y="86"/>
                  </a:lnTo>
                  <a:lnTo>
                    <a:pt x="698" y="86"/>
                  </a:lnTo>
                  <a:lnTo>
                    <a:pt x="696" y="84"/>
                  </a:lnTo>
                  <a:lnTo>
                    <a:pt x="690" y="80"/>
                  </a:lnTo>
                  <a:lnTo>
                    <a:pt x="686" y="82"/>
                  </a:lnTo>
                  <a:lnTo>
                    <a:pt x="682" y="84"/>
                  </a:lnTo>
                  <a:lnTo>
                    <a:pt x="680" y="86"/>
                  </a:lnTo>
                  <a:lnTo>
                    <a:pt x="676" y="88"/>
                  </a:lnTo>
                  <a:lnTo>
                    <a:pt x="670" y="86"/>
                  </a:lnTo>
                  <a:lnTo>
                    <a:pt x="668" y="86"/>
                  </a:lnTo>
                  <a:lnTo>
                    <a:pt x="664" y="88"/>
                  </a:lnTo>
                  <a:lnTo>
                    <a:pt x="662" y="90"/>
                  </a:lnTo>
                  <a:lnTo>
                    <a:pt x="656" y="96"/>
                  </a:lnTo>
                  <a:lnTo>
                    <a:pt x="650" y="104"/>
                  </a:lnTo>
                  <a:lnTo>
                    <a:pt x="640" y="114"/>
                  </a:lnTo>
                  <a:lnTo>
                    <a:pt x="634" y="118"/>
                  </a:lnTo>
                  <a:lnTo>
                    <a:pt x="628" y="120"/>
                  </a:lnTo>
                  <a:lnTo>
                    <a:pt x="622" y="120"/>
                  </a:lnTo>
                  <a:lnTo>
                    <a:pt x="616" y="120"/>
                  </a:lnTo>
                  <a:lnTo>
                    <a:pt x="600" y="120"/>
                  </a:lnTo>
                  <a:lnTo>
                    <a:pt x="596" y="118"/>
                  </a:lnTo>
                  <a:lnTo>
                    <a:pt x="592" y="116"/>
                  </a:lnTo>
                  <a:lnTo>
                    <a:pt x="588" y="112"/>
                  </a:lnTo>
                  <a:lnTo>
                    <a:pt x="586" y="108"/>
                  </a:lnTo>
                  <a:lnTo>
                    <a:pt x="586" y="104"/>
                  </a:lnTo>
                  <a:lnTo>
                    <a:pt x="584" y="104"/>
                  </a:lnTo>
                  <a:lnTo>
                    <a:pt x="580" y="108"/>
                  </a:lnTo>
                  <a:lnTo>
                    <a:pt x="578" y="110"/>
                  </a:lnTo>
                  <a:lnTo>
                    <a:pt x="574" y="112"/>
                  </a:lnTo>
                  <a:lnTo>
                    <a:pt x="570" y="114"/>
                  </a:lnTo>
                  <a:lnTo>
                    <a:pt x="562" y="112"/>
                  </a:lnTo>
                  <a:lnTo>
                    <a:pt x="558" y="110"/>
                  </a:lnTo>
                  <a:lnTo>
                    <a:pt x="552" y="110"/>
                  </a:lnTo>
                  <a:lnTo>
                    <a:pt x="542" y="114"/>
                  </a:lnTo>
                  <a:lnTo>
                    <a:pt x="536" y="116"/>
                  </a:lnTo>
                  <a:lnTo>
                    <a:pt x="530" y="118"/>
                  </a:lnTo>
                  <a:lnTo>
                    <a:pt x="520" y="116"/>
                  </a:lnTo>
                  <a:lnTo>
                    <a:pt x="510" y="112"/>
                  </a:lnTo>
                  <a:lnTo>
                    <a:pt x="502" y="108"/>
                  </a:lnTo>
                  <a:lnTo>
                    <a:pt x="498" y="102"/>
                  </a:lnTo>
                  <a:lnTo>
                    <a:pt x="494" y="98"/>
                  </a:lnTo>
                  <a:lnTo>
                    <a:pt x="492" y="94"/>
                  </a:lnTo>
                  <a:lnTo>
                    <a:pt x="464" y="96"/>
                  </a:lnTo>
                  <a:lnTo>
                    <a:pt x="454" y="122"/>
                  </a:lnTo>
                  <a:lnTo>
                    <a:pt x="444" y="152"/>
                  </a:lnTo>
                  <a:lnTo>
                    <a:pt x="436" y="166"/>
                  </a:lnTo>
                  <a:lnTo>
                    <a:pt x="426" y="180"/>
                  </a:lnTo>
                  <a:lnTo>
                    <a:pt x="414" y="190"/>
                  </a:lnTo>
                  <a:lnTo>
                    <a:pt x="400" y="200"/>
                  </a:lnTo>
                  <a:lnTo>
                    <a:pt x="380" y="206"/>
                  </a:lnTo>
                  <a:lnTo>
                    <a:pt x="368" y="212"/>
                  </a:lnTo>
                  <a:lnTo>
                    <a:pt x="360" y="218"/>
                  </a:lnTo>
                  <a:lnTo>
                    <a:pt x="356" y="222"/>
                  </a:lnTo>
                  <a:lnTo>
                    <a:pt x="352" y="232"/>
                  </a:lnTo>
                  <a:lnTo>
                    <a:pt x="348" y="238"/>
                  </a:lnTo>
                  <a:lnTo>
                    <a:pt x="342" y="244"/>
                  </a:lnTo>
                  <a:lnTo>
                    <a:pt x="334" y="252"/>
                  </a:lnTo>
                  <a:lnTo>
                    <a:pt x="332" y="256"/>
                  </a:lnTo>
                  <a:lnTo>
                    <a:pt x="330" y="260"/>
                  </a:lnTo>
                  <a:lnTo>
                    <a:pt x="330" y="264"/>
                  </a:lnTo>
                  <a:lnTo>
                    <a:pt x="330" y="270"/>
                  </a:lnTo>
                  <a:lnTo>
                    <a:pt x="330" y="274"/>
                  </a:lnTo>
                  <a:lnTo>
                    <a:pt x="326" y="282"/>
                  </a:lnTo>
                  <a:lnTo>
                    <a:pt x="320" y="292"/>
                  </a:lnTo>
                  <a:lnTo>
                    <a:pt x="312" y="306"/>
                  </a:lnTo>
                  <a:lnTo>
                    <a:pt x="308" y="320"/>
                  </a:lnTo>
                  <a:lnTo>
                    <a:pt x="308" y="336"/>
                  </a:lnTo>
                  <a:lnTo>
                    <a:pt x="310" y="350"/>
                  </a:lnTo>
                  <a:lnTo>
                    <a:pt x="314" y="376"/>
                  </a:lnTo>
                  <a:lnTo>
                    <a:pt x="314" y="388"/>
                  </a:lnTo>
                  <a:lnTo>
                    <a:pt x="310" y="398"/>
                  </a:lnTo>
                  <a:lnTo>
                    <a:pt x="298" y="420"/>
                  </a:lnTo>
                  <a:lnTo>
                    <a:pt x="288" y="434"/>
                  </a:lnTo>
                  <a:lnTo>
                    <a:pt x="282" y="442"/>
                  </a:lnTo>
                  <a:lnTo>
                    <a:pt x="276" y="446"/>
                  </a:lnTo>
                  <a:lnTo>
                    <a:pt x="264" y="452"/>
                  </a:lnTo>
                  <a:lnTo>
                    <a:pt x="258" y="456"/>
                  </a:lnTo>
                  <a:lnTo>
                    <a:pt x="250" y="466"/>
                  </a:lnTo>
                  <a:lnTo>
                    <a:pt x="240" y="478"/>
                  </a:lnTo>
                  <a:lnTo>
                    <a:pt x="228" y="484"/>
                  </a:lnTo>
                  <a:lnTo>
                    <a:pt x="218" y="488"/>
                  </a:lnTo>
                  <a:lnTo>
                    <a:pt x="206" y="490"/>
                  </a:lnTo>
                  <a:lnTo>
                    <a:pt x="196" y="492"/>
                  </a:lnTo>
                  <a:lnTo>
                    <a:pt x="188" y="496"/>
                  </a:lnTo>
                  <a:lnTo>
                    <a:pt x="180" y="500"/>
                  </a:lnTo>
                  <a:lnTo>
                    <a:pt x="174" y="510"/>
                  </a:lnTo>
                  <a:lnTo>
                    <a:pt x="164" y="538"/>
                  </a:lnTo>
                  <a:lnTo>
                    <a:pt x="156" y="556"/>
                  </a:lnTo>
                  <a:lnTo>
                    <a:pt x="148" y="566"/>
                  </a:lnTo>
                  <a:lnTo>
                    <a:pt x="140" y="572"/>
                  </a:lnTo>
                  <a:lnTo>
                    <a:pt x="134" y="574"/>
                  </a:lnTo>
                  <a:lnTo>
                    <a:pt x="128" y="578"/>
                  </a:lnTo>
                  <a:lnTo>
                    <a:pt x="124" y="584"/>
                  </a:lnTo>
                  <a:lnTo>
                    <a:pt x="120" y="596"/>
                  </a:lnTo>
                  <a:lnTo>
                    <a:pt x="116" y="610"/>
                  </a:lnTo>
                  <a:lnTo>
                    <a:pt x="114" y="614"/>
                  </a:lnTo>
                  <a:lnTo>
                    <a:pt x="110" y="620"/>
                  </a:lnTo>
                  <a:lnTo>
                    <a:pt x="108" y="640"/>
                  </a:lnTo>
                  <a:lnTo>
                    <a:pt x="104" y="660"/>
                  </a:lnTo>
                  <a:lnTo>
                    <a:pt x="102" y="666"/>
                  </a:lnTo>
                  <a:lnTo>
                    <a:pt x="98" y="670"/>
                  </a:lnTo>
                  <a:lnTo>
                    <a:pt x="90" y="678"/>
                  </a:lnTo>
                  <a:lnTo>
                    <a:pt x="78" y="692"/>
                  </a:lnTo>
                  <a:lnTo>
                    <a:pt x="64" y="706"/>
                  </a:lnTo>
                  <a:lnTo>
                    <a:pt x="58" y="712"/>
                  </a:lnTo>
                  <a:lnTo>
                    <a:pt x="58" y="714"/>
                  </a:lnTo>
                  <a:lnTo>
                    <a:pt x="60" y="714"/>
                  </a:lnTo>
                  <a:lnTo>
                    <a:pt x="64" y="714"/>
                  </a:lnTo>
                  <a:lnTo>
                    <a:pt x="66" y="714"/>
                  </a:lnTo>
                  <a:lnTo>
                    <a:pt x="66" y="716"/>
                  </a:lnTo>
                  <a:lnTo>
                    <a:pt x="60" y="726"/>
                  </a:lnTo>
                  <a:lnTo>
                    <a:pt x="54" y="740"/>
                  </a:lnTo>
                  <a:lnTo>
                    <a:pt x="52" y="750"/>
                  </a:lnTo>
                  <a:lnTo>
                    <a:pt x="50" y="762"/>
                  </a:lnTo>
                  <a:lnTo>
                    <a:pt x="48" y="772"/>
                  </a:lnTo>
                  <a:lnTo>
                    <a:pt x="46" y="778"/>
                  </a:lnTo>
                  <a:lnTo>
                    <a:pt x="42" y="782"/>
                  </a:lnTo>
                  <a:lnTo>
                    <a:pt x="36" y="786"/>
                  </a:lnTo>
                  <a:lnTo>
                    <a:pt x="32" y="788"/>
                  </a:lnTo>
                  <a:lnTo>
                    <a:pt x="28" y="794"/>
                  </a:lnTo>
                  <a:lnTo>
                    <a:pt x="24" y="800"/>
                  </a:lnTo>
                  <a:lnTo>
                    <a:pt x="20" y="812"/>
                  </a:lnTo>
                  <a:lnTo>
                    <a:pt x="16" y="834"/>
                  </a:lnTo>
                  <a:lnTo>
                    <a:pt x="14" y="850"/>
                  </a:lnTo>
                  <a:lnTo>
                    <a:pt x="16" y="858"/>
                  </a:lnTo>
                  <a:lnTo>
                    <a:pt x="16" y="860"/>
                  </a:lnTo>
                  <a:lnTo>
                    <a:pt x="18" y="860"/>
                  </a:lnTo>
                  <a:lnTo>
                    <a:pt x="20" y="860"/>
                  </a:lnTo>
                  <a:lnTo>
                    <a:pt x="22" y="858"/>
                  </a:lnTo>
                  <a:lnTo>
                    <a:pt x="22" y="852"/>
                  </a:lnTo>
                  <a:lnTo>
                    <a:pt x="24" y="846"/>
                  </a:lnTo>
                  <a:lnTo>
                    <a:pt x="24" y="844"/>
                  </a:lnTo>
                  <a:lnTo>
                    <a:pt x="26" y="844"/>
                  </a:lnTo>
                  <a:lnTo>
                    <a:pt x="30" y="846"/>
                  </a:lnTo>
                  <a:lnTo>
                    <a:pt x="30" y="850"/>
                  </a:lnTo>
                  <a:lnTo>
                    <a:pt x="32" y="860"/>
                  </a:lnTo>
                  <a:lnTo>
                    <a:pt x="34" y="868"/>
                  </a:lnTo>
                  <a:lnTo>
                    <a:pt x="36" y="868"/>
                  </a:lnTo>
                  <a:lnTo>
                    <a:pt x="38" y="868"/>
                  </a:lnTo>
                  <a:lnTo>
                    <a:pt x="42" y="868"/>
                  </a:lnTo>
                  <a:lnTo>
                    <a:pt x="44" y="868"/>
                  </a:lnTo>
                  <a:lnTo>
                    <a:pt x="48" y="878"/>
                  </a:lnTo>
                  <a:lnTo>
                    <a:pt x="50" y="890"/>
                  </a:lnTo>
                  <a:lnTo>
                    <a:pt x="50" y="902"/>
                  </a:lnTo>
                  <a:lnTo>
                    <a:pt x="50" y="910"/>
                  </a:lnTo>
                  <a:lnTo>
                    <a:pt x="46" y="918"/>
                  </a:lnTo>
                  <a:lnTo>
                    <a:pt x="42" y="926"/>
                  </a:lnTo>
                  <a:lnTo>
                    <a:pt x="38" y="930"/>
                  </a:lnTo>
                  <a:lnTo>
                    <a:pt x="40" y="932"/>
                  </a:lnTo>
                  <a:lnTo>
                    <a:pt x="42" y="936"/>
                  </a:lnTo>
                  <a:lnTo>
                    <a:pt x="46" y="940"/>
                  </a:lnTo>
                  <a:lnTo>
                    <a:pt x="50" y="948"/>
                  </a:lnTo>
                  <a:lnTo>
                    <a:pt x="54" y="958"/>
                  </a:lnTo>
                  <a:lnTo>
                    <a:pt x="58" y="972"/>
                  </a:lnTo>
                  <a:lnTo>
                    <a:pt x="60" y="986"/>
                  </a:lnTo>
                  <a:lnTo>
                    <a:pt x="60" y="1002"/>
                  </a:lnTo>
                  <a:lnTo>
                    <a:pt x="58" y="1016"/>
                  </a:lnTo>
                  <a:lnTo>
                    <a:pt x="54" y="1030"/>
                  </a:lnTo>
                  <a:lnTo>
                    <a:pt x="42" y="1066"/>
                  </a:lnTo>
                  <a:lnTo>
                    <a:pt x="40" y="1076"/>
                  </a:lnTo>
                  <a:lnTo>
                    <a:pt x="40" y="1086"/>
                  </a:lnTo>
                  <a:lnTo>
                    <a:pt x="40" y="1102"/>
                  </a:lnTo>
                  <a:lnTo>
                    <a:pt x="34" y="1122"/>
                  </a:lnTo>
                  <a:lnTo>
                    <a:pt x="28" y="1132"/>
                  </a:lnTo>
                  <a:lnTo>
                    <a:pt x="22" y="1142"/>
                  </a:lnTo>
                  <a:lnTo>
                    <a:pt x="16" y="1150"/>
                  </a:lnTo>
                  <a:lnTo>
                    <a:pt x="6" y="1156"/>
                  </a:lnTo>
                  <a:lnTo>
                    <a:pt x="2" y="1160"/>
                  </a:lnTo>
                  <a:lnTo>
                    <a:pt x="0" y="1162"/>
                  </a:lnTo>
                  <a:lnTo>
                    <a:pt x="2" y="1164"/>
                  </a:lnTo>
                  <a:lnTo>
                    <a:pt x="10" y="1164"/>
                  </a:lnTo>
                  <a:lnTo>
                    <a:pt x="14" y="1164"/>
                  </a:lnTo>
                  <a:lnTo>
                    <a:pt x="16" y="1168"/>
                  </a:lnTo>
                  <a:lnTo>
                    <a:pt x="22" y="1184"/>
                  </a:lnTo>
                  <a:lnTo>
                    <a:pt x="30" y="1202"/>
                  </a:lnTo>
                  <a:lnTo>
                    <a:pt x="34" y="1210"/>
                  </a:lnTo>
                  <a:lnTo>
                    <a:pt x="38" y="1218"/>
                  </a:lnTo>
                  <a:lnTo>
                    <a:pt x="40" y="1222"/>
                  </a:lnTo>
                  <a:lnTo>
                    <a:pt x="44" y="1224"/>
                  </a:lnTo>
                  <a:lnTo>
                    <a:pt x="46" y="1226"/>
                  </a:lnTo>
                  <a:lnTo>
                    <a:pt x="52" y="1226"/>
                  </a:lnTo>
                  <a:lnTo>
                    <a:pt x="64" y="1224"/>
                  </a:lnTo>
                  <a:lnTo>
                    <a:pt x="80" y="1224"/>
                  </a:lnTo>
                  <a:lnTo>
                    <a:pt x="62" y="1228"/>
                  </a:lnTo>
                  <a:lnTo>
                    <a:pt x="50" y="1232"/>
                  </a:lnTo>
                  <a:lnTo>
                    <a:pt x="40" y="1232"/>
                  </a:lnTo>
                  <a:lnTo>
                    <a:pt x="38" y="1232"/>
                  </a:lnTo>
                  <a:lnTo>
                    <a:pt x="36" y="1228"/>
                  </a:lnTo>
                  <a:lnTo>
                    <a:pt x="34" y="1226"/>
                  </a:lnTo>
                  <a:lnTo>
                    <a:pt x="32" y="1224"/>
                  </a:lnTo>
                  <a:lnTo>
                    <a:pt x="28" y="1228"/>
                  </a:lnTo>
                  <a:lnTo>
                    <a:pt x="26" y="1234"/>
                  </a:lnTo>
                  <a:lnTo>
                    <a:pt x="28" y="1242"/>
                  </a:lnTo>
                  <a:lnTo>
                    <a:pt x="30" y="1252"/>
                  </a:lnTo>
                  <a:lnTo>
                    <a:pt x="30" y="1260"/>
                  </a:lnTo>
                  <a:lnTo>
                    <a:pt x="30" y="1264"/>
                  </a:lnTo>
                  <a:lnTo>
                    <a:pt x="32" y="1264"/>
                  </a:lnTo>
                  <a:lnTo>
                    <a:pt x="34" y="1264"/>
                  </a:lnTo>
                  <a:lnTo>
                    <a:pt x="40" y="1262"/>
                  </a:lnTo>
                  <a:lnTo>
                    <a:pt x="44" y="1264"/>
                  </a:lnTo>
                  <a:lnTo>
                    <a:pt x="48" y="1266"/>
                  </a:lnTo>
                  <a:lnTo>
                    <a:pt x="54" y="1264"/>
                  </a:lnTo>
                  <a:lnTo>
                    <a:pt x="60" y="1264"/>
                  </a:lnTo>
                  <a:lnTo>
                    <a:pt x="64" y="1264"/>
                  </a:lnTo>
                  <a:lnTo>
                    <a:pt x="70" y="1268"/>
                  </a:lnTo>
                  <a:lnTo>
                    <a:pt x="76" y="1268"/>
                  </a:lnTo>
                  <a:lnTo>
                    <a:pt x="64" y="1270"/>
                  </a:lnTo>
                  <a:lnTo>
                    <a:pt x="54" y="1270"/>
                  </a:lnTo>
                  <a:lnTo>
                    <a:pt x="44" y="1268"/>
                  </a:lnTo>
                  <a:lnTo>
                    <a:pt x="38" y="1266"/>
                  </a:lnTo>
                  <a:lnTo>
                    <a:pt x="36" y="1268"/>
                  </a:lnTo>
                  <a:lnTo>
                    <a:pt x="32" y="1270"/>
                  </a:lnTo>
                  <a:lnTo>
                    <a:pt x="30" y="1274"/>
                  </a:lnTo>
                  <a:lnTo>
                    <a:pt x="30" y="1276"/>
                  </a:lnTo>
                  <a:lnTo>
                    <a:pt x="34" y="1278"/>
                  </a:lnTo>
                  <a:lnTo>
                    <a:pt x="38" y="1282"/>
                  </a:lnTo>
                  <a:lnTo>
                    <a:pt x="40" y="1286"/>
                  </a:lnTo>
                  <a:lnTo>
                    <a:pt x="42" y="1286"/>
                  </a:lnTo>
                  <a:lnTo>
                    <a:pt x="48" y="1284"/>
                  </a:lnTo>
                  <a:lnTo>
                    <a:pt x="52" y="1284"/>
                  </a:lnTo>
                  <a:lnTo>
                    <a:pt x="50" y="1290"/>
                  </a:lnTo>
                  <a:lnTo>
                    <a:pt x="46" y="1296"/>
                  </a:lnTo>
                  <a:lnTo>
                    <a:pt x="48" y="1298"/>
                  </a:lnTo>
                  <a:lnTo>
                    <a:pt x="48" y="1300"/>
                  </a:lnTo>
                  <a:lnTo>
                    <a:pt x="54" y="1300"/>
                  </a:lnTo>
                  <a:lnTo>
                    <a:pt x="60" y="1300"/>
                  </a:lnTo>
                  <a:lnTo>
                    <a:pt x="64" y="1298"/>
                  </a:lnTo>
                  <a:lnTo>
                    <a:pt x="64" y="1300"/>
                  </a:lnTo>
                  <a:lnTo>
                    <a:pt x="64" y="1306"/>
                  </a:lnTo>
                  <a:lnTo>
                    <a:pt x="64" y="1312"/>
                  </a:lnTo>
                  <a:lnTo>
                    <a:pt x="66" y="1312"/>
                  </a:lnTo>
                  <a:lnTo>
                    <a:pt x="70" y="1310"/>
                  </a:lnTo>
                  <a:lnTo>
                    <a:pt x="78" y="1304"/>
                  </a:lnTo>
                  <a:lnTo>
                    <a:pt x="86" y="1300"/>
                  </a:lnTo>
                  <a:lnTo>
                    <a:pt x="88" y="1300"/>
                  </a:lnTo>
                  <a:lnTo>
                    <a:pt x="88" y="1302"/>
                  </a:lnTo>
                  <a:lnTo>
                    <a:pt x="82" y="1304"/>
                  </a:lnTo>
                  <a:lnTo>
                    <a:pt x="80" y="1306"/>
                  </a:lnTo>
                  <a:lnTo>
                    <a:pt x="78" y="1308"/>
                  </a:lnTo>
                  <a:lnTo>
                    <a:pt x="80" y="1312"/>
                  </a:lnTo>
                  <a:lnTo>
                    <a:pt x="82" y="1318"/>
                  </a:lnTo>
                  <a:lnTo>
                    <a:pt x="84" y="1320"/>
                  </a:lnTo>
                  <a:lnTo>
                    <a:pt x="82" y="1324"/>
                  </a:lnTo>
                  <a:lnTo>
                    <a:pt x="80" y="1328"/>
                  </a:lnTo>
                  <a:lnTo>
                    <a:pt x="82" y="1328"/>
                  </a:lnTo>
                  <a:lnTo>
                    <a:pt x="84" y="1328"/>
                  </a:lnTo>
                  <a:lnTo>
                    <a:pt x="86" y="1332"/>
                  </a:lnTo>
                  <a:lnTo>
                    <a:pt x="86" y="1336"/>
                  </a:lnTo>
                  <a:lnTo>
                    <a:pt x="88" y="1336"/>
                  </a:lnTo>
                  <a:lnTo>
                    <a:pt x="90" y="1338"/>
                  </a:lnTo>
                  <a:lnTo>
                    <a:pt x="90" y="1342"/>
                  </a:lnTo>
                  <a:lnTo>
                    <a:pt x="92" y="1346"/>
                  </a:lnTo>
                  <a:lnTo>
                    <a:pt x="94" y="1344"/>
                  </a:lnTo>
                  <a:lnTo>
                    <a:pt x="100" y="1336"/>
                  </a:lnTo>
                  <a:lnTo>
                    <a:pt x="98" y="1344"/>
                  </a:lnTo>
                  <a:lnTo>
                    <a:pt x="100" y="1348"/>
                  </a:lnTo>
                  <a:lnTo>
                    <a:pt x="98" y="1352"/>
                  </a:lnTo>
                  <a:lnTo>
                    <a:pt x="100" y="1356"/>
                  </a:lnTo>
                  <a:lnTo>
                    <a:pt x="102" y="1356"/>
                  </a:lnTo>
                  <a:lnTo>
                    <a:pt x="104" y="1352"/>
                  </a:lnTo>
                  <a:lnTo>
                    <a:pt x="108" y="1346"/>
                  </a:lnTo>
                  <a:lnTo>
                    <a:pt x="110" y="1344"/>
                  </a:lnTo>
                  <a:lnTo>
                    <a:pt x="114" y="1344"/>
                  </a:lnTo>
                  <a:lnTo>
                    <a:pt x="116" y="1344"/>
                  </a:lnTo>
                  <a:lnTo>
                    <a:pt x="112" y="1346"/>
                  </a:lnTo>
                  <a:lnTo>
                    <a:pt x="110" y="1350"/>
                  </a:lnTo>
                  <a:lnTo>
                    <a:pt x="110" y="1354"/>
                  </a:lnTo>
                  <a:lnTo>
                    <a:pt x="110" y="1358"/>
                  </a:lnTo>
                  <a:lnTo>
                    <a:pt x="112" y="1360"/>
                  </a:lnTo>
                  <a:lnTo>
                    <a:pt x="114" y="1360"/>
                  </a:lnTo>
                  <a:lnTo>
                    <a:pt x="118" y="1356"/>
                  </a:lnTo>
                  <a:lnTo>
                    <a:pt x="118" y="1354"/>
                  </a:lnTo>
                  <a:lnTo>
                    <a:pt x="118" y="1362"/>
                  </a:lnTo>
                  <a:lnTo>
                    <a:pt x="118" y="1372"/>
                  </a:lnTo>
                  <a:lnTo>
                    <a:pt x="120" y="1378"/>
                  </a:lnTo>
                  <a:lnTo>
                    <a:pt x="124" y="1384"/>
                  </a:lnTo>
                  <a:lnTo>
                    <a:pt x="128" y="1386"/>
                  </a:lnTo>
                  <a:lnTo>
                    <a:pt x="134" y="1388"/>
                  </a:lnTo>
                  <a:lnTo>
                    <a:pt x="140" y="1392"/>
                  </a:lnTo>
                  <a:lnTo>
                    <a:pt x="146" y="1398"/>
                  </a:lnTo>
                  <a:lnTo>
                    <a:pt x="154" y="1402"/>
                  </a:lnTo>
                  <a:lnTo>
                    <a:pt x="158" y="1404"/>
                  </a:lnTo>
                  <a:lnTo>
                    <a:pt x="158" y="1406"/>
                  </a:lnTo>
                  <a:lnTo>
                    <a:pt x="158" y="1408"/>
                  </a:lnTo>
                  <a:lnTo>
                    <a:pt x="156" y="1414"/>
                  </a:lnTo>
                  <a:lnTo>
                    <a:pt x="154" y="1418"/>
                  </a:lnTo>
                  <a:lnTo>
                    <a:pt x="156" y="1420"/>
                  </a:lnTo>
                  <a:lnTo>
                    <a:pt x="162" y="1424"/>
                  </a:lnTo>
                  <a:lnTo>
                    <a:pt x="166" y="1426"/>
                  </a:lnTo>
                  <a:lnTo>
                    <a:pt x="166" y="1430"/>
                  </a:lnTo>
                  <a:lnTo>
                    <a:pt x="168" y="1432"/>
                  </a:lnTo>
                  <a:lnTo>
                    <a:pt x="170" y="1434"/>
                  </a:lnTo>
                  <a:lnTo>
                    <a:pt x="172" y="1436"/>
                  </a:lnTo>
                  <a:lnTo>
                    <a:pt x="170" y="1438"/>
                  </a:lnTo>
                  <a:lnTo>
                    <a:pt x="170" y="1440"/>
                  </a:lnTo>
                  <a:lnTo>
                    <a:pt x="170" y="1442"/>
                  </a:lnTo>
                  <a:lnTo>
                    <a:pt x="176" y="1448"/>
                  </a:lnTo>
                  <a:lnTo>
                    <a:pt x="176" y="1450"/>
                  </a:lnTo>
                  <a:lnTo>
                    <a:pt x="174" y="1450"/>
                  </a:lnTo>
                  <a:lnTo>
                    <a:pt x="172" y="1452"/>
                  </a:lnTo>
                  <a:lnTo>
                    <a:pt x="170" y="1454"/>
                  </a:lnTo>
                  <a:lnTo>
                    <a:pt x="172" y="1458"/>
                  </a:lnTo>
                  <a:lnTo>
                    <a:pt x="174" y="1462"/>
                  </a:lnTo>
                  <a:lnTo>
                    <a:pt x="176" y="1462"/>
                  </a:lnTo>
                  <a:lnTo>
                    <a:pt x="180" y="1462"/>
                  </a:lnTo>
                  <a:lnTo>
                    <a:pt x="186" y="1464"/>
                  </a:lnTo>
                  <a:lnTo>
                    <a:pt x="182" y="1468"/>
                  </a:lnTo>
                  <a:lnTo>
                    <a:pt x="178" y="1470"/>
                  </a:lnTo>
                  <a:lnTo>
                    <a:pt x="172" y="1470"/>
                  </a:lnTo>
                  <a:lnTo>
                    <a:pt x="170" y="1468"/>
                  </a:lnTo>
                  <a:lnTo>
                    <a:pt x="170" y="1472"/>
                  </a:lnTo>
                  <a:lnTo>
                    <a:pt x="174" y="1480"/>
                  </a:lnTo>
                  <a:lnTo>
                    <a:pt x="178" y="1482"/>
                  </a:lnTo>
                  <a:lnTo>
                    <a:pt x="182" y="1482"/>
                  </a:lnTo>
                  <a:lnTo>
                    <a:pt x="184" y="1486"/>
                  </a:lnTo>
                  <a:lnTo>
                    <a:pt x="186" y="1492"/>
                  </a:lnTo>
                  <a:lnTo>
                    <a:pt x="184" y="1494"/>
                  </a:lnTo>
                  <a:lnTo>
                    <a:pt x="182" y="1496"/>
                  </a:lnTo>
                  <a:lnTo>
                    <a:pt x="182" y="1498"/>
                  </a:lnTo>
                  <a:lnTo>
                    <a:pt x="186" y="1502"/>
                  </a:lnTo>
                  <a:lnTo>
                    <a:pt x="192" y="1504"/>
                  </a:lnTo>
                  <a:lnTo>
                    <a:pt x="196" y="1506"/>
                  </a:lnTo>
                  <a:lnTo>
                    <a:pt x="202" y="1510"/>
                  </a:lnTo>
                  <a:lnTo>
                    <a:pt x="204" y="1512"/>
                  </a:lnTo>
                  <a:lnTo>
                    <a:pt x="204" y="1514"/>
                  </a:lnTo>
                  <a:lnTo>
                    <a:pt x="202" y="1518"/>
                  </a:lnTo>
                  <a:lnTo>
                    <a:pt x="200" y="1520"/>
                  </a:lnTo>
                  <a:lnTo>
                    <a:pt x="202" y="1520"/>
                  </a:lnTo>
                  <a:lnTo>
                    <a:pt x="208" y="1524"/>
                  </a:lnTo>
                  <a:lnTo>
                    <a:pt x="228" y="1534"/>
                  </a:lnTo>
                  <a:lnTo>
                    <a:pt x="236" y="1538"/>
                  </a:lnTo>
                  <a:lnTo>
                    <a:pt x="242" y="1546"/>
                  </a:lnTo>
                  <a:lnTo>
                    <a:pt x="246" y="1552"/>
                  </a:lnTo>
                  <a:lnTo>
                    <a:pt x="250" y="1556"/>
                  </a:lnTo>
                  <a:lnTo>
                    <a:pt x="260" y="1562"/>
                  </a:lnTo>
                  <a:lnTo>
                    <a:pt x="268" y="1566"/>
                  </a:lnTo>
                  <a:lnTo>
                    <a:pt x="270" y="1570"/>
                  </a:lnTo>
                  <a:lnTo>
                    <a:pt x="272" y="1574"/>
                  </a:lnTo>
                  <a:lnTo>
                    <a:pt x="272" y="1576"/>
                  </a:lnTo>
                  <a:lnTo>
                    <a:pt x="274" y="1578"/>
                  </a:lnTo>
                  <a:lnTo>
                    <a:pt x="282" y="1582"/>
                  </a:lnTo>
                  <a:lnTo>
                    <a:pt x="294" y="1590"/>
                  </a:lnTo>
                  <a:lnTo>
                    <a:pt x="302" y="1596"/>
                  </a:lnTo>
                  <a:lnTo>
                    <a:pt x="310" y="1606"/>
                  </a:lnTo>
                  <a:lnTo>
                    <a:pt x="328" y="1626"/>
                  </a:lnTo>
                  <a:lnTo>
                    <a:pt x="346" y="1644"/>
                  </a:lnTo>
                  <a:lnTo>
                    <a:pt x="364" y="1654"/>
                  </a:lnTo>
                  <a:lnTo>
                    <a:pt x="380" y="1660"/>
                  </a:lnTo>
                  <a:lnTo>
                    <a:pt x="388" y="1664"/>
                  </a:lnTo>
                  <a:lnTo>
                    <a:pt x="392" y="1668"/>
                  </a:lnTo>
                  <a:lnTo>
                    <a:pt x="396" y="1670"/>
                  </a:lnTo>
                  <a:lnTo>
                    <a:pt x="402" y="1672"/>
                  </a:lnTo>
                  <a:lnTo>
                    <a:pt x="408" y="1670"/>
                  </a:lnTo>
                  <a:lnTo>
                    <a:pt x="412" y="1666"/>
                  </a:lnTo>
                  <a:lnTo>
                    <a:pt x="422" y="1658"/>
                  </a:lnTo>
                  <a:lnTo>
                    <a:pt x="436" y="1648"/>
                  </a:lnTo>
                  <a:lnTo>
                    <a:pt x="448" y="1642"/>
                  </a:lnTo>
                  <a:lnTo>
                    <a:pt x="462" y="1638"/>
                  </a:lnTo>
                  <a:lnTo>
                    <a:pt x="488" y="1634"/>
                  </a:lnTo>
                  <a:lnTo>
                    <a:pt x="504" y="1632"/>
                  </a:lnTo>
                  <a:lnTo>
                    <a:pt x="516" y="1632"/>
                  </a:lnTo>
                  <a:lnTo>
                    <a:pt x="530" y="1630"/>
                  </a:lnTo>
                  <a:lnTo>
                    <a:pt x="540" y="1628"/>
                  </a:lnTo>
                  <a:lnTo>
                    <a:pt x="554" y="1630"/>
                  </a:lnTo>
                  <a:lnTo>
                    <a:pt x="566" y="1630"/>
                  </a:lnTo>
                  <a:lnTo>
                    <a:pt x="572" y="1630"/>
                  </a:lnTo>
                  <a:lnTo>
                    <a:pt x="576" y="1630"/>
                  </a:lnTo>
                  <a:lnTo>
                    <a:pt x="580" y="1630"/>
                  </a:lnTo>
                  <a:lnTo>
                    <a:pt x="590" y="1632"/>
                  </a:lnTo>
                  <a:lnTo>
                    <a:pt x="592" y="1632"/>
                  </a:lnTo>
                  <a:lnTo>
                    <a:pt x="590" y="1632"/>
                  </a:lnTo>
                  <a:lnTo>
                    <a:pt x="582" y="1634"/>
                  </a:lnTo>
                  <a:lnTo>
                    <a:pt x="578" y="1634"/>
                  </a:lnTo>
                  <a:lnTo>
                    <a:pt x="576" y="1636"/>
                  </a:lnTo>
                  <a:lnTo>
                    <a:pt x="578" y="1636"/>
                  </a:lnTo>
                  <a:lnTo>
                    <a:pt x="594" y="1640"/>
                  </a:lnTo>
                  <a:lnTo>
                    <a:pt x="606" y="1644"/>
                  </a:lnTo>
                  <a:lnTo>
                    <a:pt x="618" y="1650"/>
                  </a:lnTo>
                  <a:lnTo>
                    <a:pt x="622" y="1652"/>
                  </a:lnTo>
                  <a:lnTo>
                    <a:pt x="626" y="1652"/>
                  </a:lnTo>
                  <a:lnTo>
                    <a:pt x="636" y="1644"/>
                  </a:lnTo>
                  <a:lnTo>
                    <a:pt x="648" y="1636"/>
                  </a:lnTo>
                  <a:lnTo>
                    <a:pt x="656" y="1632"/>
                  </a:lnTo>
                  <a:lnTo>
                    <a:pt x="664" y="1630"/>
                  </a:lnTo>
                  <a:lnTo>
                    <a:pt x="674" y="1628"/>
                  </a:lnTo>
                  <a:lnTo>
                    <a:pt x="680" y="1624"/>
                  </a:lnTo>
                  <a:lnTo>
                    <a:pt x="690" y="1614"/>
                  </a:lnTo>
                  <a:lnTo>
                    <a:pt x="698" y="1610"/>
                  </a:lnTo>
                  <a:lnTo>
                    <a:pt x="706" y="1606"/>
                  </a:lnTo>
                  <a:lnTo>
                    <a:pt x="716" y="1602"/>
                  </a:lnTo>
                  <a:lnTo>
                    <a:pt x="730" y="1600"/>
                  </a:lnTo>
                  <a:lnTo>
                    <a:pt x="742" y="1598"/>
                  </a:lnTo>
                  <a:lnTo>
                    <a:pt x="746" y="1596"/>
                  </a:lnTo>
                  <a:lnTo>
                    <a:pt x="746" y="1594"/>
                  </a:lnTo>
                  <a:lnTo>
                    <a:pt x="748" y="1590"/>
                  </a:lnTo>
                  <a:lnTo>
                    <a:pt x="754" y="1586"/>
                  </a:lnTo>
                  <a:lnTo>
                    <a:pt x="760" y="1582"/>
                  </a:lnTo>
                  <a:lnTo>
                    <a:pt x="774" y="1578"/>
                  </a:lnTo>
                  <a:lnTo>
                    <a:pt x="796" y="1574"/>
                  </a:lnTo>
                  <a:lnTo>
                    <a:pt x="814" y="1572"/>
                  </a:lnTo>
                  <a:lnTo>
                    <a:pt x="832" y="1572"/>
                  </a:lnTo>
                  <a:lnTo>
                    <a:pt x="838" y="1570"/>
                  </a:lnTo>
                  <a:lnTo>
                    <a:pt x="840" y="1568"/>
                  </a:lnTo>
                  <a:lnTo>
                    <a:pt x="844" y="1564"/>
                  </a:lnTo>
                  <a:lnTo>
                    <a:pt x="846" y="1566"/>
                  </a:lnTo>
                  <a:lnTo>
                    <a:pt x="850" y="1570"/>
                  </a:lnTo>
                  <a:lnTo>
                    <a:pt x="860" y="1570"/>
                  </a:lnTo>
                  <a:lnTo>
                    <a:pt x="874" y="1570"/>
                  </a:lnTo>
                  <a:lnTo>
                    <a:pt x="884" y="1574"/>
                  </a:lnTo>
                  <a:lnTo>
                    <a:pt x="890" y="1578"/>
                  </a:lnTo>
                  <a:lnTo>
                    <a:pt x="896" y="1584"/>
                  </a:lnTo>
                  <a:lnTo>
                    <a:pt x="908" y="1600"/>
                  </a:lnTo>
                  <a:lnTo>
                    <a:pt x="916" y="1616"/>
                  </a:lnTo>
                  <a:lnTo>
                    <a:pt x="924" y="1642"/>
                  </a:lnTo>
                  <a:lnTo>
                    <a:pt x="930" y="1654"/>
                  </a:lnTo>
                  <a:lnTo>
                    <a:pt x="936" y="1664"/>
                  </a:lnTo>
                  <a:lnTo>
                    <a:pt x="944" y="1670"/>
                  </a:lnTo>
                  <a:lnTo>
                    <a:pt x="948" y="1672"/>
                  </a:lnTo>
                  <a:lnTo>
                    <a:pt x="954" y="1672"/>
                  </a:lnTo>
                  <a:lnTo>
                    <a:pt x="970" y="1672"/>
                  </a:lnTo>
                  <a:lnTo>
                    <a:pt x="976" y="1672"/>
                  </a:lnTo>
                  <a:lnTo>
                    <a:pt x="984" y="1670"/>
                  </a:lnTo>
                  <a:lnTo>
                    <a:pt x="990" y="1668"/>
                  </a:lnTo>
                  <a:lnTo>
                    <a:pt x="992" y="1664"/>
                  </a:lnTo>
                  <a:lnTo>
                    <a:pt x="992" y="1662"/>
                  </a:lnTo>
                  <a:lnTo>
                    <a:pt x="992" y="1658"/>
                  </a:lnTo>
                  <a:lnTo>
                    <a:pt x="992" y="1656"/>
                  </a:lnTo>
                  <a:lnTo>
                    <a:pt x="996" y="1658"/>
                  </a:lnTo>
                  <a:lnTo>
                    <a:pt x="1002" y="1660"/>
                  </a:lnTo>
                  <a:lnTo>
                    <a:pt x="1008" y="1662"/>
                  </a:lnTo>
                  <a:lnTo>
                    <a:pt x="1018" y="1662"/>
                  </a:lnTo>
                  <a:lnTo>
                    <a:pt x="1028" y="1662"/>
                  </a:lnTo>
                  <a:lnTo>
                    <a:pt x="1036" y="1660"/>
                  </a:lnTo>
                  <a:lnTo>
                    <a:pt x="1040" y="1656"/>
                  </a:lnTo>
                  <a:lnTo>
                    <a:pt x="1042" y="1654"/>
                  </a:lnTo>
                  <a:lnTo>
                    <a:pt x="1042" y="1650"/>
                  </a:lnTo>
                  <a:lnTo>
                    <a:pt x="1036" y="1640"/>
                  </a:lnTo>
                  <a:lnTo>
                    <a:pt x="1048" y="1650"/>
                  </a:lnTo>
                  <a:lnTo>
                    <a:pt x="1048" y="1658"/>
                  </a:lnTo>
                  <a:lnTo>
                    <a:pt x="1050" y="1662"/>
                  </a:lnTo>
                  <a:lnTo>
                    <a:pt x="1052" y="1662"/>
                  </a:lnTo>
                  <a:lnTo>
                    <a:pt x="1056" y="1662"/>
                  </a:lnTo>
                  <a:lnTo>
                    <a:pt x="1060" y="1660"/>
                  </a:lnTo>
                  <a:lnTo>
                    <a:pt x="1062" y="1662"/>
                  </a:lnTo>
                  <a:lnTo>
                    <a:pt x="1064" y="1666"/>
                  </a:lnTo>
                  <a:lnTo>
                    <a:pt x="1066" y="1682"/>
                  </a:lnTo>
                  <a:lnTo>
                    <a:pt x="1070" y="1684"/>
                  </a:lnTo>
                  <a:lnTo>
                    <a:pt x="1076" y="1688"/>
                  </a:lnTo>
                  <a:lnTo>
                    <a:pt x="1082" y="1690"/>
                  </a:lnTo>
                  <a:lnTo>
                    <a:pt x="1084" y="1690"/>
                  </a:lnTo>
                  <a:lnTo>
                    <a:pt x="1086" y="1686"/>
                  </a:lnTo>
                  <a:lnTo>
                    <a:pt x="1088" y="1684"/>
                  </a:lnTo>
                  <a:lnTo>
                    <a:pt x="1090" y="1684"/>
                  </a:lnTo>
                  <a:lnTo>
                    <a:pt x="1094" y="1684"/>
                  </a:lnTo>
                  <a:lnTo>
                    <a:pt x="1096" y="1688"/>
                  </a:lnTo>
                  <a:lnTo>
                    <a:pt x="1096" y="1690"/>
                  </a:lnTo>
                  <a:lnTo>
                    <a:pt x="1094" y="1694"/>
                  </a:lnTo>
                  <a:lnTo>
                    <a:pt x="1090" y="1698"/>
                  </a:lnTo>
                  <a:lnTo>
                    <a:pt x="1090" y="1700"/>
                  </a:lnTo>
                  <a:lnTo>
                    <a:pt x="1092" y="1704"/>
                  </a:lnTo>
                  <a:lnTo>
                    <a:pt x="1096" y="1708"/>
                  </a:lnTo>
                  <a:lnTo>
                    <a:pt x="1094" y="1708"/>
                  </a:lnTo>
                  <a:lnTo>
                    <a:pt x="1094" y="1712"/>
                  </a:lnTo>
                  <a:lnTo>
                    <a:pt x="1100" y="1718"/>
                  </a:lnTo>
                  <a:lnTo>
                    <a:pt x="1102" y="1724"/>
                  </a:lnTo>
                  <a:lnTo>
                    <a:pt x="1104" y="1730"/>
                  </a:lnTo>
                  <a:lnTo>
                    <a:pt x="1104" y="1742"/>
                  </a:lnTo>
                  <a:lnTo>
                    <a:pt x="1100" y="1756"/>
                  </a:lnTo>
                  <a:lnTo>
                    <a:pt x="1100" y="1770"/>
                  </a:lnTo>
                  <a:lnTo>
                    <a:pt x="1100" y="1782"/>
                  </a:lnTo>
                  <a:lnTo>
                    <a:pt x="1098" y="1790"/>
                  </a:lnTo>
                  <a:lnTo>
                    <a:pt x="1094" y="1798"/>
                  </a:lnTo>
                  <a:lnTo>
                    <a:pt x="1090" y="1804"/>
                  </a:lnTo>
                  <a:lnTo>
                    <a:pt x="1084" y="1814"/>
                  </a:lnTo>
                  <a:lnTo>
                    <a:pt x="1082" y="1820"/>
                  </a:lnTo>
                  <a:lnTo>
                    <a:pt x="1082" y="1824"/>
                  </a:lnTo>
                  <a:lnTo>
                    <a:pt x="1082" y="1828"/>
                  </a:lnTo>
                  <a:lnTo>
                    <a:pt x="1084" y="1828"/>
                  </a:lnTo>
                  <a:lnTo>
                    <a:pt x="1088" y="1828"/>
                  </a:lnTo>
                  <a:lnTo>
                    <a:pt x="1092" y="1828"/>
                  </a:lnTo>
                  <a:lnTo>
                    <a:pt x="1090" y="1834"/>
                  </a:lnTo>
                  <a:lnTo>
                    <a:pt x="1090" y="1838"/>
                  </a:lnTo>
                  <a:lnTo>
                    <a:pt x="1092" y="1844"/>
                  </a:lnTo>
                  <a:lnTo>
                    <a:pt x="1094" y="1848"/>
                  </a:lnTo>
                  <a:lnTo>
                    <a:pt x="1092" y="1852"/>
                  </a:lnTo>
                  <a:lnTo>
                    <a:pt x="1090" y="1852"/>
                  </a:lnTo>
                  <a:lnTo>
                    <a:pt x="1088" y="1850"/>
                  </a:lnTo>
                  <a:lnTo>
                    <a:pt x="1086" y="1848"/>
                  </a:lnTo>
                  <a:lnTo>
                    <a:pt x="1082" y="1852"/>
                  </a:lnTo>
                  <a:lnTo>
                    <a:pt x="1082" y="1854"/>
                  </a:lnTo>
                  <a:lnTo>
                    <a:pt x="1082" y="1858"/>
                  </a:lnTo>
                  <a:lnTo>
                    <a:pt x="1086" y="1864"/>
                  </a:lnTo>
                  <a:lnTo>
                    <a:pt x="1094" y="1868"/>
                  </a:lnTo>
                  <a:lnTo>
                    <a:pt x="1106" y="1872"/>
                  </a:lnTo>
                  <a:lnTo>
                    <a:pt x="1110" y="1872"/>
                  </a:lnTo>
                  <a:lnTo>
                    <a:pt x="1110" y="1874"/>
                  </a:lnTo>
                  <a:lnTo>
                    <a:pt x="1110" y="1876"/>
                  </a:lnTo>
                  <a:lnTo>
                    <a:pt x="1106" y="1878"/>
                  </a:lnTo>
                  <a:lnTo>
                    <a:pt x="1104" y="1880"/>
                  </a:lnTo>
                  <a:lnTo>
                    <a:pt x="1098" y="1880"/>
                  </a:lnTo>
                  <a:lnTo>
                    <a:pt x="1094" y="1878"/>
                  </a:lnTo>
                  <a:lnTo>
                    <a:pt x="1090" y="1874"/>
                  </a:lnTo>
                  <a:lnTo>
                    <a:pt x="1084" y="1868"/>
                  </a:lnTo>
                  <a:lnTo>
                    <a:pt x="1082" y="1866"/>
                  </a:lnTo>
                  <a:lnTo>
                    <a:pt x="1080" y="1866"/>
                  </a:lnTo>
                  <a:lnTo>
                    <a:pt x="1080" y="1872"/>
                  </a:lnTo>
                  <a:lnTo>
                    <a:pt x="1080" y="1882"/>
                  </a:lnTo>
                  <a:lnTo>
                    <a:pt x="1078" y="1898"/>
                  </a:lnTo>
                  <a:lnTo>
                    <a:pt x="1074" y="1910"/>
                  </a:lnTo>
                  <a:lnTo>
                    <a:pt x="1072" y="1914"/>
                  </a:lnTo>
                  <a:lnTo>
                    <a:pt x="1068" y="1918"/>
                  </a:lnTo>
                  <a:lnTo>
                    <a:pt x="1066" y="1918"/>
                  </a:lnTo>
                  <a:lnTo>
                    <a:pt x="1062" y="1914"/>
                  </a:lnTo>
                  <a:lnTo>
                    <a:pt x="1056" y="1910"/>
                  </a:lnTo>
                  <a:lnTo>
                    <a:pt x="1056" y="1912"/>
                  </a:lnTo>
                  <a:lnTo>
                    <a:pt x="1058" y="1922"/>
                  </a:lnTo>
                  <a:lnTo>
                    <a:pt x="1064" y="1936"/>
                  </a:lnTo>
                  <a:lnTo>
                    <a:pt x="1076" y="1964"/>
                  </a:lnTo>
                  <a:lnTo>
                    <a:pt x="1080" y="1974"/>
                  </a:lnTo>
                  <a:lnTo>
                    <a:pt x="1084" y="1982"/>
                  </a:lnTo>
                  <a:lnTo>
                    <a:pt x="1088" y="1988"/>
                  </a:lnTo>
                  <a:lnTo>
                    <a:pt x="1094" y="1996"/>
                  </a:lnTo>
                  <a:lnTo>
                    <a:pt x="1100" y="2006"/>
                  </a:lnTo>
                  <a:lnTo>
                    <a:pt x="1110" y="2018"/>
                  </a:lnTo>
                  <a:lnTo>
                    <a:pt x="1132" y="2042"/>
                  </a:lnTo>
                  <a:lnTo>
                    <a:pt x="1140" y="2052"/>
                  </a:lnTo>
                  <a:lnTo>
                    <a:pt x="1142" y="2058"/>
                  </a:lnTo>
                  <a:lnTo>
                    <a:pt x="1150" y="2070"/>
                  </a:lnTo>
                  <a:lnTo>
                    <a:pt x="1172" y="2092"/>
                  </a:lnTo>
                  <a:lnTo>
                    <a:pt x="1178" y="2100"/>
                  </a:lnTo>
                  <a:lnTo>
                    <a:pt x="1180" y="2110"/>
                  </a:lnTo>
                  <a:lnTo>
                    <a:pt x="1184" y="2118"/>
                  </a:lnTo>
                  <a:lnTo>
                    <a:pt x="1190" y="2128"/>
                  </a:lnTo>
                  <a:lnTo>
                    <a:pt x="1194" y="2136"/>
                  </a:lnTo>
                  <a:lnTo>
                    <a:pt x="1196" y="2142"/>
                  </a:lnTo>
                  <a:lnTo>
                    <a:pt x="1194" y="2148"/>
                  </a:lnTo>
                  <a:lnTo>
                    <a:pt x="1194" y="2156"/>
                  </a:lnTo>
                  <a:lnTo>
                    <a:pt x="1194" y="2158"/>
                  </a:lnTo>
                  <a:lnTo>
                    <a:pt x="1196" y="2160"/>
                  </a:lnTo>
                  <a:lnTo>
                    <a:pt x="1198" y="2164"/>
                  </a:lnTo>
                  <a:lnTo>
                    <a:pt x="1200" y="2168"/>
                  </a:lnTo>
                  <a:lnTo>
                    <a:pt x="1204" y="2170"/>
                  </a:lnTo>
                  <a:lnTo>
                    <a:pt x="1208" y="2168"/>
                  </a:lnTo>
                  <a:lnTo>
                    <a:pt x="1216" y="2164"/>
                  </a:lnTo>
                  <a:lnTo>
                    <a:pt x="1222" y="2162"/>
                  </a:lnTo>
                  <a:lnTo>
                    <a:pt x="1226" y="2162"/>
                  </a:lnTo>
                  <a:lnTo>
                    <a:pt x="1234" y="2162"/>
                  </a:lnTo>
                  <a:lnTo>
                    <a:pt x="1226" y="2168"/>
                  </a:lnTo>
                  <a:lnTo>
                    <a:pt x="1220" y="2172"/>
                  </a:lnTo>
                  <a:lnTo>
                    <a:pt x="1208" y="2174"/>
                  </a:lnTo>
                  <a:lnTo>
                    <a:pt x="1202" y="2176"/>
                  </a:lnTo>
                  <a:lnTo>
                    <a:pt x="1200" y="2178"/>
                  </a:lnTo>
                  <a:lnTo>
                    <a:pt x="1202" y="2182"/>
                  </a:lnTo>
                  <a:lnTo>
                    <a:pt x="1212" y="2202"/>
                  </a:lnTo>
                  <a:lnTo>
                    <a:pt x="1226" y="2240"/>
                  </a:lnTo>
                  <a:lnTo>
                    <a:pt x="1232" y="2260"/>
                  </a:lnTo>
                  <a:lnTo>
                    <a:pt x="1238" y="2278"/>
                  </a:lnTo>
                  <a:lnTo>
                    <a:pt x="1238" y="2294"/>
                  </a:lnTo>
                  <a:lnTo>
                    <a:pt x="1236" y="2300"/>
                  </a:lnTo>
                  <a:lnTo>
                    <a:pt x="1234" y="2306"/>
                  </a:lnTo>
                  <a:lnTo>
                    <a:pt x="1230" y="2314"/>
                  </a:lnTo>
                  <a:lnTo>
                    <a:pt x="1230" y="2324"/>
                  </a:lnTo>
                  <a:lnTo>
                    <a:pt x="1230" y="2336"/>
                  </a:lnTo>
                  <a:lnTo>
                    <a:pt x="1234" y="2346"/>
                  </a:lnTo>
                  <a:lnTo>
                    <a:pt x="1246" y="2372"/>
                  </a:lnTo>
                  <a:lnTo>
                    <a:pt x="1256" y="2396"/>
                  </a:lnTo>
                  <a:lnTo>
                    <a:pt x="1260" y="2408"/>
                  </a:lnTo>
                  <a:lnTo>
                    <a:pt x="1262" y="2422"/>
                  </a:lnTo>
                  <a:lnTo>
                    <a:pt x="1262" y="2436"/>
                  </a:lnTo>
                  <a:lnTo>
                    <a:pt x="1262" y="2450"/>
                  </a:lnTo>
                  <a:lnTo>
                    <a:pt x="1258" y="2464"/>
                  </a:lnTo>
                  <a:lnTo>
                    <a:pt x="1254" y="2476"/>
                  </a:lnTo>
                  <a:lnTo>
                    <a:pt x="1246" y="2486"/>
                  </a:lnTo>
                  <a:lnTo>
                    <a:pt x="1238" y="2494"/>
                  </a:lnTo>
                  <a:lnTo>
                    <a:pt x="1230" y="2502"/>
                  </a:lnTo>
                  <a:lnTo>
                    <a:pt x="1222" y="2510"/>
                  </a:lnTo>
                  <a:lnTo>
                    <a:pt x="1218" y="2518"/>
                  </a:lnTo>
                  <a:lnTo>
                    <a:pt x="1212" y="2528"/>
                  </a:lnTo>
                  <a:lnTo>
                    <a:pt x="1206" y="2548"/>
                  </a:lnTo>
                  <a:lnTo>
                    <a:pt x="1202" y="2570"/>
                  </a:lnTo>
                  <a:lnTo>
                    <a:pt x="1196" y="2610"/>
                  </a:lnTo>
                  <a:lnTo>
                    <a:pt x="1192" y="2626"/>
                  </a:lnTo>
                  <a:lnTo>
                    <a:pt x="1188" y="2640"/>
                  </a:lnTo>
                  <a:lnTo>
                    <a:pt x="1182" y="2652"/>
                  </a:lnTo>
                  <a:lnTo>
                    <a:pt x="1178" y="2662"/>
                  </a:lnTo>
                  <a:lnTo>
                    <a:pt x="1176" y="2670"/>
                  </a:lnTo>
                  <a:lnTo>
                    <a:pt x="1176" y="2680"/>
                  </a:lnTo>
                  <a:lnTo>
                    <a:pt x="1178" y="2700"/>
                  </a:lnTo>
                  <a:lnTo>
                    <a:pt x="1178" y="2712"/>
                  </a:lnTo>
                  <a:lnTo>
                    <a:pt x="1178" y="2726"/>
                  </a:lnTo>
                  <a:lnTo>
                    <a:pt x="1176" y="2736"/>
                  </a:lnTo>
                  <a:lnTo>
                    <a:pt x="1176" y="2746"/>
                  </a:lnTo>
                  <a:lnTo>
                    <a:pt x="1180" y="2764"/>
                  </a:lnTo>
                  <a:lnTo>
                    <a:pt x="1188" y="2784"/>
                  </a:lnTo>
                  <a:lnTo>
                    <a:pt x="1200" y="2804"/>
                  </a:lnTo>
                  <a:lnTo>
                    <a:pt x="1222" y="2850"/>
                  </a:lnTo>
                  <a:lnTo>
                    <a:pt x="1234" y="2876"/>
                  </a:lnTo>
                  <a:lnTo>
                    <a:pt x="1242" y="2904"/>
                  </a:lnTo>
                  <a:lnTo>
                    <a:pt x="1250" y="2930"/>
                  </a:lnTo>
                  <a:lnTo>
                    <a:pt x="1260" y="2946"/>
                  </a:lnTo>
                  <a:lnTo>
                    <a:pt x="1268" y="2958"/>
                  </a:lnTo>
                  <a:lnTo>
                    <a:pt x="1276" y="2966"/>
                  </a:lnTo>
                  <a:lnTo>
                    <a:pt x="1284" y="2976"/>
                  </a:lnTo>
                  <a:lnTo>
                    <a:pt x="1288" y="2990"/>
                  </a:lnTo>
                  <a:lnTo>
                    <a:pt x="1288" y="3008"/>
                  </a:lnTo>
                  <a:lnTo>
                    <a:pt x="1286" y="3038"/>
                  </a:lnTo>
                  <a:lnTo>
                    <a:pt x="1284" y="3052"/>
                  </a:lnTo>
                  <a:lnTo>
                    <a:pt x="1286" y="3070"/>
                  </a:lnTo>
                  <a:lnTo>
                    <a:pt x="1294" y="3112"/>
                  </a:lnTo>
                  <a:lnTo>
                    <a:pt x="1304" y="3156"/>
                  </a:lnTo>
                  <a:lnTo>
                    <a:pt x="1308" y="3178"/>
                  </a:lnTo>
                  <a:lnTo>
                    <a:pt x="1310" y="3200"/>
                  </a:lnTo>
                  <a:lnTo>
                    <a:pt x="1312" y="3220"/>
                  </a:lnTo>
                  <a:lnTo>
                    <a:pt x="1318" y="3238"/>
                  </a:lnTo>
                  <a:lnTo>
                    <a:pt x="1326" y="3254"/>
                  </a:lnTo>
                  <a:lnTo>
                    <a:pt x="1334" y="3266"/>
                  </a:lnTo>
                  <a:lnTo>
                    <a:pt x="1342" y="3278"/>
                  </a:lnTo>
                  <a:lnTo>
                    <a:pt x="1352" y="3286"/>
                  </a:lnTo>
                  <a:lnTo>
                    <a:pt x="1366" y="3302"/>
                  </a:lnTo>
                  <a:lnTo>
                    <a:pt x="1376" y="3316"/>
                  </a:lnTo>
                  <a:lnTo>
                    <a:pt x="1384" y="3330"/>
                  </a:lnTo>
                  <a:lnTo>
                    <a:pt x="1388" y="3344"/>
                  </a:lnTo>
                  <a:lnTo>
                    <a:pt x="1392" y="3358"/>
                  </a:lnTo>
                  <a:lnTo>
                    <a:pt x="1396" y="3374"/>
                  </a:lnTo>
                  <a:lnTo>
                    <a:pt x="1402" y="3392"/>
                  </a:lnTo>
                  <a:lnTo>
                    <a:pt x="1410" y="3414"/>
                  </a:lnTo>
                  <a:lnTo>
                    <a:pt x="1424" y="3436"/>
                  </a:lnTo>
                  <a:lnTo>
                    <a:pt x="1436" y="3458"/>
                  </a:lnTo>
                  <a:lnTo>
                    <a:pt x="1444" y="3474"/>
                  </a:lnTo>
                  <a:lnTo>
                    <a:pt x="1446" y="3490"/>
                  </a:lnTo>
                  <a:lnTo>
                    <a:pt x="1446" y="3502"/>
                  </a:lnTo>
                  <a:lnTo>
                    <a:pt x="1442" y="3510"/>
                  </a:lnTo>
                  <a:lnTo>
                    <a:pt x="1438" y="3516"/>
                  </a:lnTo>
                  <a:lnTo>
                    <a:pt x="1434" y="3518"/>
                  </a:lnTo>
                  <a:lnTo>
                    <a:pt x="1432" y="3518"/>
                  </a:lnTo>
                  <a:lnTo>
                    <a:pt x="1430" y="3516"/>
                  </a:lnTo>
                  <a:lnTo>
                    <a:pt x="1426" y="3518"/>
                  </a:lnTo>
                  <a:lnTo>
                    <a:pt x="1424" y="3518"/>
                  </a:lnTo>
                  <a:lnTo>
                    <a:pt x="1424" y="3522"/>
                  </a:lnTo>
                  <a:lnTo>
                    <a:pt x="1424" y="3526"/>
                  </a:lnTo>
                  <a:lnTo>
                    <a:pt x="1424" y="3532"/>
                  </a:lnTo>
                  <a:lnTo>
                    <a:pt x="1428" y="3538"/>
                  </a:lnTo>
                  <a:lnTo>
                    <a:pt x="1432" y="3546"/>
                  </a:lnTo>
                  <a:lnTo>
                    <a:pt x="1442" y="3558"/>
                  </a:lnTo>
                  <a:lnTo>
                    <a:pt x="1446" y="3568"/>
                  </a:lnTo>
                  <a:lnTo>
                    <a:pt x="1448" y="3574"/>
                  </a:lnTo>
                  <a:lnTo>
                    <a:pt x="1444" y="3580"/>
                  </a:lnTo>
                  <a:lnTo>
                    <a:pt x="1442" y="3582"/>
                  </a:lnTo>
                  <a:lnTo>
                    <a:pt x="1442" y="3588"/>
                  </a:lnTo>
                  <a:lnTo>
                    <a:pt x="1442" y="3596"/>
                  </a:lnTo>
                  <a:lnTo>
                    <a:pt x="1446" y="3602"/>
                  </a:lnTo>
                  <a:lnTo>
                    <a:pt x="1448" y="3602"/>
                  </a:lnTo>
                  <a:lnTo>
                    <a:pt x="1448" y="3598"/>
                  </a:lnTo>
                  <a:lnTo>
                    <a:pt x="1450" y="3594"/>
                  </a:lnTo>
                  <a:lnTo>
                    <a:pt x="1452" y="3590"/>
                  </a:lnTo>
                  <a:lnTo>
                    <a:pt x="1454" y="3588"/>
                  </a:lnTo>
                  <a:lnTo>
                    <a:pt x="1458" y="3588"/>
                  </a:lnTo>
                  <a:lnTo>
                    <a:pt x="1460" y="3588"/>
                  </a:lnTo>
                  <a:lnTo>
                    <a:pt x="1462" y="3590"/>
                  </a:lnTo>
                  <a:lnTo>
                    <a:pt x="1464" y="3592"/>
                  </a:lnTo>
                  <a:lnTo>
                    <a:pt x="1464" y="3596"/>
                  </a:lnTo>
                  <a:lnTo>
                    <a:pt x="1464" y="3602"/>
                  </a:lnTo>
                  <a:lnTo>
                    <a:pt x="1466" y="3604"/>
                  </a:lnTo>
                  <a:lnTo>
                    <a:pt x="1470" y="3606"/>
                  </a:lnTo>
                  <a:lnTo>
                    <a:pt x="1472" y="3606"/>
                  </a:lnTo>
                  <a:lnTo>
                    <a:pt x="1478" y="3606"/>
                  </a:lnTo>
                  <a:lnTo>
                    <a:pt x="1480" y="3608"/>
                  </a:lnTo>
                  <a:lnTo>
                    <a:pt x="1482" y="3612"/>
                  </a:lnTo>
                  <a:lnTo>
                    <a:pt x="1484" y="3618"/>
                  </a:lnTo>
                  <a:lnTo>
                    <a:pt x="1486" y="3620"/>
                  </a:lnTo>
                  <a:lnTo>
                    <a:pt x="1490" y="3620"/>
                  </a:lnTo>
                  <a:lnTo>
                    <a:pt x="1494" y="3624"/>
                  </a:lnTo>
                  <a:lnTo>
                    <a:pt x="1496" y="3628"/>
                  </a:lnTo>
                  <a:lnTo>
                    <a:pt x="1500" y="3626"/>
                  </a:lnTo>
                  <a:lnTo>
                    <a:pt x="1506" y="3626"/>
                  </a:lnTo>
                  <a:lnTo>
                    <a:pt x="1510" y="3626"/>
                  </a:lnTo>
                  <a:lnTo>
                    <a:pt x="1514" y="3628"/>
                  </a:lnTo>
                  <a:lnTo>
                    <a:pt x="1516" y="3626"/>
                  </a:lnTo>
                  <a:lnTo>
                    <a:pt x="1520" y="3620"/>
                  </a:lnTo>
                  <a:lnTo>
                    <a:pt x="1526" y="3612"/>
                  </a:lnTo>
                  <a:lnTo>
                    <a:pt x="1532" y="3610"/>
                  </a:lnTo>
                  <a:lnTo>
                    <a:pt x="1540" y="3608"/>
                  </a:lnTo>
                  <a:lnTo>
                    <a:pt x="1552" y="3606"/>
                  </a:lnTo>
                  <a:lnTo>
                    <a:pt x="1558" y="3608"/>
                  </a:lnTo>
                  <a:lnTo>
                    <a:pt x="1564" y="3608"/>
                  </a:lnTo>
                  <a:lnTo>
                    <a:pt x="1576" y="3604"/>
                  </a:lnTo>
                  <a:lnTo>
                    <a:pt x="1584" y="3602"/>
                  </a:lnTo>
                  <a:lnTo>
                    <a:pt x="1590" y="3598"/>
                  </a:lnTo>
                  <a:lnTo>
                    <a:pt x="1594" y="3592"/>
                  </a:lnTo>
                  <a:lnTo>
                    <a:pt x="1600" y="3586"/>
                  </a:lnTo>
                  <a:lnTo>
                    <a:pt x="1602" y="3586"/>
                  </a:lnTo>
                  <a:lnTo>
                    <a:pt x="1608" y="3584"/>
                  </a:lnTo>
                  <a:lnTo>
                    <a:pt x="1620" y="3584"/>
                  </a:lnTo>
                  <a:lnTo>
                    <a:pt x="1632" y="3588"/>
                  </a:lnTo>
                  <a:lnTo>
                    <a:pt x="1642" y="3590"/>
                  </a:lnTo>
                  <a:lnTo>
                    <a:pt x="1648" y="3590"/>
                  </a:lnTo>
                  <a:lnTo>
                    <a:pt x="1652" y="3586"/>
                  </a:lnTo>
                  <a:lnTo>
                    <a:pt x="1656" y="3586"/>
                  </a:lnTo>
                  <a:lnTo>
                    <a:pt x="1664" y="3586"/>
                  </a:lnTo>
                  <a:lnTo>
                    <a:pt x="1678" y="3592"/>
                  </a:lnTo>
                  <a:lnTo>
                    <a:pt x="1686" y="3594"/>
                  </a:lnTo>
                  <a:lnTo>
                    <a:pt x="1694" y="3594"/>
                  </a:lnTo>
                  <a:lnTo>
                    <a:pt x="1702" y="3594"/>
                  </a:lnTo>
                  <a:lnTo>
                    <a:pt x="1706" y="3590"/>
                  </a:lnTo>
                  <a:lnTo>
                    <a:pt x="1712" y="3584"/>
                  </a:lnTo>
                  <a:lnTo>
                    <a:pt x="1718" y="3582"/>
                  </a:lnTo>
                  <a:lnTo>
                    <a:pt x="1724" y="3584"/>
                  </a:lnTo>
                  <a:lnTo>
                    <a:pt x="1730" y="3584"/>
                  </a:lnTo>
                  <a:lnTo>
                    <a:pt x="1738" y="3586"/>
                  </a:lnTo>
                  <a:lnTo>
                    <a:pt x="1740" y="3584"/>
                  </a:lnTo>
                  <a:lnTo>
                    <a:pt x="1740" y="3580"/>
                  </a:lnTo>
                  <a:lnTo>
                    <a:pt x="1740" y="3574"/>
                  </a:lnTo>
                  <a:lnTo>
                    <a:pt x="1742" y="3572"/>
                  </a:lnTo>
                  <a:lnTo>
                    <a:pt x="1748" y="3572"/>
                  </a:lnTo>
                  <a:lnTo>
                    <a:pt x="1756" y="3572"/>
                  </a:lnTo>
                  <a:lnTo>
                    <a:pt x="1764" y="3572"/>
                  </a:lnTo>
                  <a:lnTo>
                    <a:pt x="1774" y="3570"/>
                  </a:lnTo>
                  <a:lnTo>
                    <a:pt x="1782" y="3568"/>
                  </a:lnTo>
                  <a:lnTo>
                    <a:pt x="1792" y="3562"/>
                  </a:lnTo>
                  <a:lnTo>
                    <a:pt x="1810" y="3550"/>
                  </a:lnTo>
                  <a:lnTo>
                    <a:pt x="1832" y="3532"/>
                  </a:lnTo>
                  <a:lnTo>
                    <a:pt x="1858" y="3506"/>
                  </a:lnTo>
                  <a:lnTo>
                    <a:pt x="1870" y="3490"/>
                  </a:lnTo>
                  <a:lnTo>
                    <a:pt x="1884" y="3472"/>
                  </a:lnTo>
                  <a:lnTo>
                    <a:pt x="1892" y="3462"/>
                  </a:lnTo>
                  <a:lnTo>
                    <a:pt x="1898" y="3456"/>
                  </a:lnTo>
                  <a:lnTo>
                    <a:pt x="1912" y="3442"/>
                  </a:lnTo>
                  <a:lnTo>
                    <a:pt x="1920" y="3432"/>
                  </a:lnTo>
                  <a:lnTo>
                    <a:pt x="1930" y="3418"/>
                  </a:lnTo>
                  <a:lnTo>
                    <a:pt x="1940" y="3398"/>
                  </a:lnTo>
                  <a:lnTo>
                    <a:pt x="1952" y="3372"/>
                  </a:lnTo>
                  <a:lnTo>
                    <a:pt x="1968" y="3344"/>
                  </a:lnTo>
                  <a:lnTo>
                    <a:pt x="1980" y="3324"/>
                  </a:lnTo>
                  <a:lnTo>
                    <a:pt x="1992" y="3314"/>
                  </a:lnTo>
                  <a:lnTo>
                    <a:pt x="2002" y="3304"/>
                  </a:lnTo>
                  <a:lnTo>
                    <a:pt x="2010" y="3294"/>
                  </a:lnTo>
                  <a:lnTo>
                    <a:pt x="2018" y="3276"/>
                  </a:lnTo>
                  <a:lnTo>
                    <a:pt x="2026" y="3250"/>
                  </a:lnTo>
                  <a:lnTo>
                    <a:pt x="2030" y="3210"/>
                  </a:lnTo>
                  <a:lnTo>
                    <a:pt x="2034" y="3182"/>
                  </a:lnTo>
                  <a:lnTo>
                    <a:pt x="2032" y="3176"/>
                  </a:lnTo>
                  <a:lnTo>
                    <a:pt x="2030" y="3176"/>
                  </a:lnTo>
                  <a:lnTo>
                    <a:pt x="2026" y="3176"/>
                  </a:lnTo>
                  <a:lnTo>
                    <a:pt x="2024" y="3176"/>
                  </a:lnTo>
                  <a:lnTo>
                    <a:pt x="2022" y="3170"/>
                  </a:lnTo>
                  <a:lnTo>
                    <a:pt x="2020" y="3164"/>
                  </a:lnTo>
                  <a:lnTo>
                    <a:pt x="2024" y="3156"/>
                  </a:lnTo>
                  <a:lnTo>
                    <a:pt x="2028" y="3148"/>
                  </a:lnTo>
                  <a:lnTo>
                    <a:pt x="2036" y="3140"/>
                  </a:lnTo>
                  <a:lnTo>
                    <a:pt x="2046" y="3132"/>
                  </a:lnTo>
                  <a:lnTo>
                    <a:pt x="2056" y="3126"/>
                  </a:lnTo>
                  <a:lnTo>
                    <a:pt x="2070" y="3118"/>
                  </a:lnTo>
                  <a:lnTo>
                    <a:pt x="2084" y="3114"/>
                  </a:lnTo>
                  <a:lnTo>
                    <a:pt x="2096" y="3108"/>
                  </a:lnTo>
                  <a:lnTo>
                    <a:pt x="2108" y="3100"/>
                  </a:lnTo>
                  <a:lnTo>
                    <a:pt x="2118" y="3094"/>
                  </a:lnTo>
                  <a:lnTo>
                    <a:pt x="2126" y="3086"/>
                  </a:lnTo>
                  <a:lnTo>
                    <a:pt x="2132" y="3078"/>
                  </a:lnTo>
                  <a:lnTo>
                    <a:pt x="2136" y="3070"/>
                  </a:lnTo>
                  <a:lnTo>
                    <a:pt x="2136" y="3062"/>
                  </a:lnTo>
                  <a:lnTo>
                    <a:pt x="2134" y="3056"/>
                  </a:lnTo>
                  <a:lnTo>
                    <a:pt x="2130" y="3050"/>
                  </a:lnTo>
                  <a:lnTo>
                    <a:pt x="2130" y="3044"/>
                  </a:lnTo>
                  <a:lnTo>
                    <a:pt x="2132" y="3034"/>
                  </a:lnTo>
                  <a:lnTo>
                    <a:pt x="2136" y="3016"/>
                  </a:lnTo>
                  <a:lnTo>
                    <a:pt x="2138" y="3006"/>
                  </a:lnTo>
                  <a:lnTo>
                    <a:pt x="2138" y="2990"/>
                  </a:lnTo>
                  <a:lnTo>
                    <a:pt x="2136" y="2972"/>
                  </a:lnTo>
                  <a:lnTo>
                    <a:pt x="2136" y="2970"/>
                  </a:lnTo>
                  <a:lnTo>
                    <a:pt x="2134" y="2972"/>
                  </a:lnTo>
                  <a:lnTo>
                    <a:pt x="2132" y="2974"/>
                  </a:lnTo>
                  <a:lnTo>
                    <a:pt x="2130" y="2974"/>
                  </a:lnTo>
                  <a:lnTo>
                    <a:pt x="2128" y="2972"/>
                  </a:lnTo>
                  <a:lnTo>
                    <a:pt x="2126" y="2962"/>
                  </a:lnTo>
                  <a:lnTo>
                    <a:pt x="2120" y="2934"/>
                  </a:lnTo>
                  <a:lnTo>
                    <a:pt x="2120" y="2920"/>
                  </a:lnTo>
                  <a:lnTo>
                    <a:pt x="2118" y="2910"/>
                  </a:lnTo>
                  <a:lnTo>
                    <a:pt x="2108" y="2896"/>
                  </a:lnTo>
                  <a:lnTo>
                    <a:pt x="2104" y="2890"/>
                  </a:lnTo>
                  <a:lnTo>
                    <a:pt x="2102" y="2886"/>
                  </a:lnTo>
                  <a:lnTo>
                    <a:pt x="2102" y="2878"/>
                  </a:lnTo>
                  <a:lnTo>
                    <a:pt x="2104" y="2870"/>
                  </a:lnTo>
                  <a:lnTo>
                    <a:pt x="2104" y="2860"/>
                  </a:lnTo>
                  <a:lnTo>
                    <a:pt x="2104" y="2854"/>
                  </a:lnTo>
                  <a:lnTo>
                    <a:pt x="2108" y="2854"/>
                  </a:lnTo>
                  <a:lnTo>
                    <a:pt x="2114" y="2852"/>
                  </a:lnTo>
                  <a:lnTo>
                    <a:pt x="2120" y="2848"/>
                  </a:lnTo>
                  <a:lnTo>
                    <a:pt x="2126" y="2842"/>
                  </a:lnTo>
                  <a:lnTo>
                    <a:pt x="2136" y="2832"/>
                  </a:lnTo>
                  <a:lnTo>
                    <a:pt x="2144" y="2822"/>
                  </a:lnTo>
                  <a:lnTo>
                    <a:pt x="2150" y="2816"/>
                  </a:lnTo>
                  <a:lnTo>
                    <a:pt x="2160" y="2812"/>
                  </a:lnTo>
                  <a:lnTo>
                    <a:pt x="2166" y="2808"/>
                  </a:lnTo>
                  <a:lnTo>
                    <a:pt x="2170" y="2804"/>
                  </a:lnTo>
                  <a:lnTo>
                    <a:pt x="2178" y="2794"/>
                  </a:lnTo>
                  <a:lnTo>
                    <a:pt x="2186" y="2780"/>
                  </a:lnTo>
                  <a:lnTo>
                    <a:pt x="2196" y="2764"/>
                  </a:lnTo>
                  <a:lnTo>
                    <a:pt x="2206" y="2750"/>
                  </a:lnTo>
                  <a:lnTo>
                    <a:pt x="2216" y="2740"/>
                  </a:lnTo>
                  <a:lnTo>
                    <a:pt x="2226" y="2734"/>
                  </a:lnTo>
                  <a:lnTo>
                    <a:pt x="2236" y="2728"/>
                  </a:lnTo>
                  <a:lnTo>
                    <a:pt x="2246" y="2724"/>
                  </a:lnTo>
                  <a:lnTo>
                    <a:pt x="2266" y="2718"/>
                  </a:lnTo>
                  <a:lnTo>
                    <a:pt x="2276" y="2714"/>
                  </a:lnTo>
                  <a:lnTo>
                    <a:pt x="2284" y="2708"/>
                  </a:lnTo>
                  <a:lnTo>
                    <a:pt x="2294" y="2700"/>
                  </a:lnTo>
                  <a:lnTo>
                    <a:pt x="2302" y="2690"/>
                  </a:lnTo>
                  <a:lnTo>
                    <a:pt x="2320" y="2666"/>
                  </a:lnTo>
                  <a:lnTo>
                    <a:pt x="2336" y="2636"/>
                  </a:lnTo>
                  <a:lnTo>
                    <a:pt x="2344" y="2622"/>
                  </a:lnTo>
                  <a:lnTo>
                    <a:pt x="2344" y="2620"/>
                  </a:lnTo>
                  <a:lnTo>
                    <a:pt x="2344" y="2616"/>
                  </a:lnTo>
                  <a:lnTo>
                    <a:pt x="2348" y="2606"/>
                  </a:lnTo>
                  <a:lnTo>
                    <a:pt x="2350" y="2598"/>
                  </a:lnTo>
                  <a:lnTo>
                    <a:pt x="2352" y="2594"/>
                  </a:lnTo>
                  <a:lnTo>
                    <a:pt x="2350" y="2590"/>
                  </a:lnTo>
                  <a:lnTo>
                    <a:pt x="2348" y="2586"/>
                  </a:lnTo>
                  <a:lnTo>
                    <a:pt x="2344" y="2582"/>
                  </a:lnTo>
                  <a:lnTo>
                    <a:pt x="2340" y="2576"/>
                  </a:lnTo>
                  <a:lnTo>
                    <a:pt x="2338" y="2566"/>
                  </a:lnTo>
                  <a:lnTo>
                    <a:pt x="2338" y="2552"/>
                  </a:lnTo>
                  <a:lnTo>
                    <a:pt x="2338" y="2500"/>
                  </a:lnTo>
                  <a:lnTo>
                    <a:pt x="2338" y="2478"/>
                  </a:lnTo>
                  <a:lnTo>
                    <a:pt x="2334" y="2454"/>
                  </a:lnTo>
                  <a:lnTo>
                    <a:pt x="2334" y="2440"/>
                  </a:lnTo>
                  <a:lnTo>
                    <a:pt x="2334" y="2432"/>
                  </a:lnTo>
                  <a:lnTo>
                    <a:pt x="2338" y="2426"/>
                  </a:lnTo>
                  <a:lnTo>
                    <a:pt x="2342" y="2424"/>
                  </a:lnTo>
                  <a:lnTo>
                    <a:pt x="2344" y="2420"/>
                  </a:lnTo>
                  <a:lnTo>
                    <a:pt x="2344" y="2414"/>
                  </a:lnTo>
                  <a:lnTo>
                    <a:pt x="2340" y="2406"/>
                  </a:lnTo>
                  <a:lnTo>
                    <a:pt x="2334" y="2394"/>
                  </a:lnTo>
                  <a:lnTo>
                    <a:pt x="2324" y="2384"/>
                  </a:lnTo>
                  <a:lnTo>
                    <a:pt x="2318" y="2380"/>
                  </a:lnTo>
                  <a:lnTo>
                    <a:pt x="2312" y="2376"/>
                  </a:lnTo>
                  <a:lnTo>
                    <a:pt x="2308" y="2368"/>
                  </a:lnTo>
                  <a:lnTo>
                    <a:pt x="2304" y="2358"/>
                  </a:lnTo>
                  <a:lnTo>
                    <a:pt x="2302" y="2348"/>
                  </a:lnTo>
                  <a:lnTo>
                    <a:pt x="2300" y="2334"/>
                  </a:lnTo>
                  <a:lnTo>
                    <a:pt x="2292" y="2310"/>
                  </a:lnTo>
                  <a:lnTo>
                    <a:pt x="2288" y="2298"/>
                  </a:lnTo>
                  <a:lnTo>
                    <a:pt x="2288" y="2290"/>
                  </a:lnTo>
                  <a:lnTo>
                    <a:pt x="2288" y="2286"/>
                  </a:lnTo>
                  <a:lnTo>
                    <a:pt x="2290" y="2280"/>
                  </a:lnTo>
                  <a:lnTo>
                    <a:pt x="2292" y="2278"/>
                  </a:lnTo>
                  <a:lnTo>
                    <a:pt x="2294" y="2274"/>
                  </a:lnTo>
                  <a:lnTo>
                    <a:pt x="2294" y="2268"/>
                  </a:lnTo>
                  <a:lnTo>
                    <a:pt x="2292" y="2258"/>
                  </a:lnTo>
                  <a:lnTo>
                    <a:pt x="2288" y="2248"/>
                  </a:lnTo>
                  <a:lnTo>
                    <a:pt x="2288" y="2240"/>
                  </a:lnTo>
                  <a:lnTo>
                    <a:pt x="2290" y="2236"/>
                  </a:lnTo>
                  <a:lnTo>
                    <a:pt x="2292" y="2232"/>
                  </a:lnTo>
                  <a:lnTo>
                    <a:pt x="2294" y="2230"/>
                  </a:lnTo>
                  <a:lnTo>
                    <a:pt x="2296" y="2228"/>
                  </a:lnTo>
                  <a:lnTo>
                    <a:pt x="2296" y="2226"/>
                  </a:lnTo>
                  <a:lnTo>
                    <a:pt x="2294" y="2220"/>
                  </a:lnTo>
                  <a:lnTo>
                    <a:pt x="2282" y="2206"/>
                  </a:lnTo>
                  <a:lnTo>
                    <a:pt x="2272" y="2192"/>
                  </a:lnTo>
                  <a:lnTo>
                    <a:pt x="2268" y="2184"/>
                  </a:lnTo>
                  <a:lnTo>
                    <a:pt x="2266" y="2174"/>
                  </a:lnTo>
                  <a:lnTo>
                    <a:pt x="2268" y="2164"/>
                  </a:lnTo>
                  <a:lnTo>
                    <a:pt x="2272" y="2150"/>
                  </a:lnTo>
                  <a:lnTo>
                    <a:pt x="2276" y="2138"/>
                  </a:lnTo>
                  <a:lnTo>
                    <a:pt x="2278" y="2130"/>
                  </a:lnTo>
                  <a:lnTo>
                    <a:pt x="2282" y="2122"/>
                  </a:lnTo>
                  <a:lnTo>
                    <a:pt x="2288" y="2108"/>
                  </a:lnTo>
                  <a:lnTo>
                    <a:pt x="2304" y="2084"/>
                  </a:lnTo>
                  <a:lnTo>
                    <a:pt x="2308" y="2074"/>
                  </a:lnTo>
                  <a:lnTo>
                    <a:pt x="2310" y="2058"/>
                  </a:lnTo>
                  <a:lnTo>
                    <a:pt x="2312" y="2052"/>
                  </a:lnTo>
                  <a:lnTo>
                    <a:pt x="2314" y="2048"/>
                  </a:lnTo>
                  <a:lnTo>
                    <a:pt x="2320" y="2046"/>
                  </a:lnTo>
                  <a:lnTo>
                    <a:pt x="2322" y="2044"/>
                  </a:lnTo>
                  <a:lnTo>
                    <a:pt x="2324" y="2042"/>
                  </a:lnTo>
                  <a:lnTo>
                    <a:pt x="2324" y="2036"/>
                  </a:lnTo>
                  <a:lnTo>
                    <a:pt x="2322" y="2026"/>
                  </a:lnTo>
                  <a:lnTo>
                    <a:pt x="2324" y="2016"/>
                  </a:lnTo>
                  <a:lnTo>
                    <a:pt x="2326" y="2008"/>
                  </a:lnTo>
                  <a:lnTo>
                    <a:pt x="2332" y="2004"/>
                  </a:lnTo>
                  <a:lnTo>
                    <a:pt x="2338" y="2002"/>
                  </a:lnTo>
                  <a:lnTo>
                    <a:pt x="2350" y="1998"/>
                  </a:lnTo>
                  <a:lnTo>
                    <a:pt x="2354" y="1994"/>
                  </a:lnTo>
                  <a:lnTo>
                    <a:pt x="2354" y="1988"/>
                  </a:lnTo>
                  <a:lnTo>
                    <a:pt x="2352" y="1980"/>
                  </a:lnTo>
                  <a:lnTo>
                    <a:pt x="2356" y="1980"/>
                  </a:lnTo>
                  <a:lnTo>
                    <a:pt x="2360" y="1980"/>
                  </a:lnTo>
                  <a:lnTo>
                    <a:pt x="2366" y="1978"/>
                  </a:lnTo>
                  <a:lnTo>
                    <a:pt x="2372" y="1972"/>
                  </a:lnTo>
                  <a:lnTo>
                    <a:pt x="2380" y="1962"/>
                  </a:lnTo>
                  <a:lnTo>
                    <a:pt x="2388" y="1950"/>
                  </a:lnTo>
                  <a:lnTo>
                    <a:pt x="2390" y="1944"/>
                  </a:lnTo>
                  <a:lnTo>
                    <a:pt x="2394" y="1932"/>
                  </a:lnTo>
                  <a:lnTo>
                    <a:pt x="2396" y="1926"/>
                  </a:lnTo>
                  <a:lnTo>
                    <a:pt x="2400" y="1918"/>
                  </a:lnTo>
                  <a:lnTo>
                    <a:pt x="2408" y="1908"/>
                  </a:lnTo>
                  <a:lnTo>
                    <a:pt x="2422" y="1892"/>
                  </a:lnTo>
                  <a:lnTo>
                    <a:pt x="2450" y="1860"/>
                  </a:lnTo>
                  <a:lnTo>
                    <a:pt x="2470" y="1836"/>
                  </a:lnTo>
                  <a:lnTo>
                    <a:pt x="2494" y="1812"/>
                  </a:lnTo>
                  <a:lnTo>
                    <a:pt x="2532" y="1780"/>
                  </a:lnTo>
                  <a:lnTo>
                    <a:pt x="2556" y="1760"/>
                  </a:lnTo>
                  <a:lnTo>
                    <a:pt x="2580" y="1736"/>
                  </a:lnTo>
                  <a:lnTo>
                    <a:pt x="2604" y="1710"/>
                  </a:lnTo>
                  <a:lnTo>
                    <a:pt x="2626" y="1680"/>
                  </a:lnTo>
                  <a:lnTo>
                    <a:pt x="2646" y="1646"/>
                  </a:lnTo>
                  <a:lnTo>
                    <a:pt x="2666" y="1610"/>
                  </a:lnTo>
                  <a:lnTo>
                    <a:pt x="2686" y="1570"/>
                  </a:lnTo>
                  <a:lnTo>
                    <a:pt x="2702" y="1526"/>
                  </a:lnTo>
                  <a:lnTo>
                    <a:pt x="2712" y="1502"/>
                  </a:lnTo>
                  <a:lnTo>
                    <a:pt x="2722" y="1482"/>
                  </a:lnTo>
                  <a:lnTo>
                    <a:pt x="2738" y="1452"/>
                  </a:lnTo>
                  <a:lnTo>
                    <a:pt x="2750" y="1426"/>
                  </a:lnTo>
                  <a:lnTo>
                    <a:pt x="2752" y="1416"/>
                  </a:lnTo>
                  <a:lnTo>
                    <a:pt x="2754" y="1404"/>
                  </a:lnTo>
                  <a:lnTo>
                    <a:pt x="2758" y="1388"/>
                  </a:lnTo>
                  <a:lnTo>
                    <a:pt x="2762" y="1378"/>
                  </a:lnTo>
                  <a:lnTo>
                    <a:pt x="2768" y="1376"/>
                  </a:lnTo>
                  <a:lnTo>
                    <a:pt x="2772" y="1376"/>
                  </a:lnTo>
                  <a:lnTo>
                    <a:pt x="2776" y="1376"/>
                  </a:lnTo>
                  <a:lnTo>
                    <a:pt x="2770" y="136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52" name="Freeform 6155">
              <a:extLst>
                <a:ext uri="{FF2B5EF4-FFF2-40B4-BE49-F238E27FC236}">
                  <a16:creationId xmlns:a16="http://schemas.microsoft.com/office/drawing/2014/main" id="{DD02F821-650C-4E63-88CC-7B3036321C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8697" y="954107"/>
              <a:ext cx="1798643" cy="2608252"/>
            </a:xfrm>
            <a:custGeom>
              <a:avLst/>
              <a:gdLst>
                <a:gd name="T0" fmla="*/ 794599 w 2834"/>
                <a:gd name="T1" fmla="*/ 115556 h 4108"/>
                <a:gd name="T2" fmla="*/ 750173 w 2834"/>
                <a:gd name="T3" fmla="*/ 64762 h 4108"/>
                <a:gd name="T4" fmla="*/ 742557 w 2834"/>
                <a:gd name="T5" fmla="*/ 528256 h 4108"/>
                <a:gd name="T6" fmla="*/ 842833 w 2834"/>
                <a:gd name="T7" fmla="*/ 165080 h 4108"/>
                <a:gd name="T8" fmla="*/ 708285 w 2834"/>
                <a:gd name="T9" fmla="*/ 563811 h 4108"/>
                <a:gd name="T10" fmla="*/ 635933 w 2834"/>
                <a:gd name="T11" fmla="*/ 595557 h 4108"/>
                <a:gd name="T12" fmla="*/ 684167 w 2834"/>
                <a:gd name="T13" fmla="*/ 565081 h 4108"/>
                <a:gd name="T14" fmla="*/ 836487 w 2834"/>
                <a:gd name="T15" fmla="*/ 25397 h 4108"/>
                <a:gd name="T16" fmla="*/ 91392 w 2834"/>
                <a:gd name="T17" fmla="*/ 1043813 h 4108"/>
                <a:gd name="T18" fmla="*/ 44426 w 2834"/>
                <a:gd name="T19" fmla="*/ 1184766 h 4108"/>
                <a:gd name="T20" fmla="*/ 107893 w 2834"/>
                <a:gd name="T21" fmla="*/ 1048892 h 4108"/>
                <a:gd name="T22" fmla="*/ 119317 w 2834"/>
                <a:gd name="T23" fmla="*/ 1116194 h 4108"/>
                <a:gd name="T24" fmla="*/ 171359 w 2834"/>
                <a:gd name="T25" fmla="*/ 1036194 h 4108"/>
                <a:gd name="T26" fmla="*/ 129471 w 2834"/>
                <a:gd name="T27" fmla="*/ 1116194 h 4108"/>
                <a:gd name="T28" fmla="*/ 148511 w 2834"/>
                <a:gd name="T29" fmla="*/ 1240639 h 4108"/>
                <a:gd name="T30" fmla="*/ 200554 w 2834"/>
                <a:gd name="T31" fmla="*/ 1323179 h 4108"/>
                <a:gd name="T32" fmla="*/ 397299 w 2834"/>
                <a:gd name="T33" fmla="*/ 877463 h 4108"/>
                <a:gd name="T34" fmla="*/ 224671 w 2834"/>
                <a:gd name="T35" fmla="*/ 943495 h 4108"/>
                <a:gd name="T36" fmla="*/ 331294 w 2834"/>
                <a:gd name="T37" fmla="*/ 721272 h 4108"/>
                <a:gd name="T38" fmla="*/ 114239 w 2834"/>
                <a:gd name="T39" fmla="*/ 665399 h 4108"/>
                <a:gd name="T40" fmla="*/ 151050 w 2834"/>
                <a:gd name="T41" fmla="*/ 1219051 h 4108"/>
                <a:gd name="T42" fmla="*/ 576275 w 2834"/>
                <a:gd name="T43" fmla="*/ 1158099 h 4108"/>
                <a:gd name="T44" fmla="*/ 580083 w 2834"/>
                <a:gd name="T45" fmla="*/ 1159369 h 4108"/>
                <a:gd name="T46" fmla="*/ 694322 w 2834"/>
                <a:gd name="T47" fmla="*/ 1079368 h 4108"/>
                <a:gd name="T48" fmla="*/ 401107 w 2834"/>
                <a:gd name="T49" fmla="*/ 961273 h 4108"/>
                <a:gd name="T50" fmla="*/ 840295 w 2834"/>
                <a:gd name="T51" fmla="*/ 1010797 h 4108"/>
                <a:gd name="T52" fmla="*/ 605469 w 2834"/>
                <a:gd name="T53" fmla="*/ 1771434 h 4108"/>
                <a:gd name="T54" fmla="*/ 799676 w 2834"/>
                <a:gd name="T55" fmla="*/ 1789212 h 4108"/>
                <a:gd name="T56" fmla="*/ 858065 w 2834"/>
                <a:gd name="T57" fmla="*/ 1842545 h 4108"/>
                <a:gd name="T58" fmla="*/ 1586659 w 2834"/>
                <a:gd name="T59" fmla="*/ 2201912 h 4108"/>
                <a:gd name="T60" fmla="*/ 1488921 w 2834"/>
                <a:gd name="T61" fmla="*/ 2069848 h 4108"/>
                <a:gd name="T62" fmla="*/ 1391183 w 2834"/>
                <a:gd name="T63" fmla="*/ 620954 h 4108"/>
                <a:gd name="T64" fmla="*/ 1212208 w 2834"/>
                <a:gd name="T65" fmla="*/ 568891 h 4108"/>
                <a:gd name="T66" fmla="*/ 974843 w 2834"/>
                <a:gd name="T67" fmla="*/ 468573 h 4108"/>
                <a:gd name="T68" fmla="*/ 856796 w 2834"/>
                <a:gd name="T69" fmla="*/ 514287 h 4108"/>
                <a:gd name="T70" fmla="*/ 732402 w 2834"/>
                <a:gd name="T71" fmla="*/ 544764 h 4108"/>
                <a:gd name="T72" fmla="*/ 657512 w 2834"/>
                <a:gd name="T73" fmla="*/ 642542 h 4108"/>
                <a:gd name="T74" fmla="*/ 562312 w 2834"/>
                <a:gd name="T75" fmla="*/ 758098 h 4108"/>
                <a:gd name="T76" fmla="*/ 446803 w 2834"/>
                <a:gd name="T77" fmla="*/ 830479 h 4108"/>
                <a:gd name="T78" fmla="*/ 396030 w 2834"/>
                <a:gd name="T79" fmla="*/ 911749 h 4108"/>
                <a:gd name="T80" fmla="*/ 482344 w 2834"/>
                <a:gd name="T81" fmla="*/ 1027305 h 4108"/>
                <a:gd name="T82" fmla="*/ 679090 w 2834"/>
                <a:gd name="T83" fmla="*/ 1102226 h 4108"/>
                <a:gd name="T84" fmla="*/ 728594 w 2834"/>
                <a:gd name="T85" fmla="*/ 845717 h 4108"/>
                <a:gd name="T86" fmla="*/ 818716 w 2834"/>
                <a:gd name="T87" fmla="*/ 825399 h 4108"/>
                <a:gd name="T88" fmla="*/ 984998 w 2834"/>
                <a:gd name="T89" fmla="*/ 975241 h 4108"/>
                <a:gd name="T90" fmla="*/ 748903 w 2834"/>
                <a:gd name="T91" fmla="*/ 1168258 h 4108"/>
                <a:gd name="T92" fmla="*/ 514078 w 2834"/>
                <a:gd name="T93" fmla="*/ 1158099 h 4108"/>
                <a:gd name="T94" fmla="*/ 486152 w 2834"/>
                <a:gd name="T95" fmla="*/ 1146670 h 4108"/>
                <a:gd name="T96" fmla="*/ 392222 w 2834"/>
                <a:gd name="T97" fmla="*/ 1235559 h 4108"/>
                <a:gd name="T98" fmla="*/ 185322 w 2834"/>
                <a:gd name="T99" fmla="*/ 1389211 h 4108"/>
                <a:gd name="T100" fmla="*/ 171359 w 2834"/>
                <a:gd name="T101" fmla="*/ 1584767 h 4108"/>
                <a:gd name="T102" fmla="*/ 180244 w 2834"/>
                <a:gd name="T103" fmla="*/ 1823498 h 4108"/>
                <a:gd name="T104" fmla="*/ 542003 w 2834"/>
                <a:gd name="T105" fmla="*/ 1610164 h 4108"/>
                <a:gd name="T106" fmla="*/ 628317 w 2834"/>
                <a:gd name="T107" fmla="*/ 1615243 h 4108"/>
                <a:gd name="T108" fmla="*/ 786983 w 2834"/>
                <a:gd name="T109" fmla="*/ 1730799 h 4108"/>
                <a:gd name="T110" fmla="*/ 884721 w 2834"/>
                <a:gd name="T111" fmla="*/ 1789212 h 4108"/>
                <a:gd name="T112" fmla="*/ 972305 w 2834"/>
                <a:gd name="T113" fmla="*/ 1674926 h 4108"/>
                <a:gd name="T114" fmla="*/ 1124624 w 2834"/>
                <a:gd name="T115" fmla="*/ 1530163 h 4108"/>
                <a:gd name="T116" fmla="*/ 1213477 w 2834"/>
                <a:gd name="T117" fmla="*/ 1530163 h 4108"/>
                <a:gd name="T118" fmla="*/ 976113 w 2834"/>
                <a:gd name="T119" fmla="*/ 1692704 h 4108"/>
                <a:gd name="T120" fmla="*/ 1042118 w 2834"/>
                <a:gd name="T121" fmla="*/ 1838736 h 4108"/>
                <a:gd name="T122" fmla="*/ 1153819 w 2834"/>
                <a:gd name="T123" fmla="*/ 2114292 h 4108"/>
                <a:gd name="T124" fmla="*/ 1426724 w 2834"/>
                <a:gd name="T125" fmla="*/ 2595564 h 410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834"/>
                <a:gd name="T190" fmla="*/ 0 h 4108"/>
                <a:gd name="T191" fmla="*/ 2834 w 2834"/>
                <a:gd name="T192" fmla="*/ 4108 h 410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834" h="4108">
                  <a:moveTo>
                    <a:pt x="1216" y="808"/>
                  </a:moveTo>
                  <a:lnTo>
                    <a:pt x="1216" y="808"/>
                  </a:lnTo>
                  <a:lnTo>
                    <a:pt x="1216" y="806"/>
                  </a:lnTo>
                  <a:lnTo>
                    <a:pt x="1212" y="804"/>
                  </a:lnTo>
                  <a:lnTo>
                    <a:pt x="1208" y="804"/>
                  </a:lnTo>
                  <a:lnTo>
                    <a:pt x="1206" y="804"/>
                  </a:lnTo>
                  <a:lnTo>
                    <a:pt x="1206" y="806"/>
                  </a:lnTo>
                  <a:lnTo>
                    <a:pt x="1210" y="808"/>
                  </a:lnTo>
                  <a:lnTo>
                    <a:pt x="1214" y="808"/>
                  </a:lnTo>
                  <a:lnTo>
                    <a:pt x="1216" y="808"/>
                  </a:lnTo>
                  <a:close/>
                  <a:moveTo>
                    <a:pt x="1202" y="798"/>
                  </a:moveTo>
                  <a:lnTo>
                    <a:pt x="1202" y="798"/>
                  </a:lnTo>
                  <a:lnTo>
                    <a:pt x="1198" y="798"/>
                  </a:lnTo>
                  <a:lnTo>
                    <a:pt x="1194" y="802"/>
                  </a:lnTo>
                  <a:lnTo>
                    <a:pt x="1194" y="806"/>
                  </a:lnTo>
                  <a:lnTo>
                    <a:pt x="1196" y="806"/>
                  </a:lnTo>
                  <a:lnTo>
                    <a:pt x="1200" y="806"/>
                  </a:lnTo>
                  <a:lnTo>
                    <a:pt x="1202" y="802"/>
                  </a:lnTo>
                  <a:lnTo>
                    <a:pt x="1202" y="800"/>
                  </a:lnTo>
                  <a:lnTo>
                    <a:pt x="1202" y="798"/>
                  </a:lnTo>
                  <a:close/>
                  <a:moveTo>
                    <a:pt x="1082" y="898"/>
                  </a:moveTo>
                  <a:lnTo>
                    <a:pt x="1082" y="898"/>
                  </a:lnTo>
                  <a:lnTo>
                    <a:pt x="1078" y="896"/>
                  </a:lnTo>
                  <a:lnTo>
                    <a:pt x="1074" y="900"/>
                  </a:lnTo>
                  <a:lnTo>
                    <a:pt x="1072" y="902"/>
                  </a:lnTo>
                  <a:lnTo>
                    <a:pt x="1072" y="906"/>
                  </a:lnTo>
                  <a:lnTo>
                    <a:pt x="1072" y="910"/>
                  </a:lnTo>
                  <a:lnTo>
                    <a:pt x="1066" y="914"/>
                  </a:lnTo>
                  <a:lnTo>
                    <a:pt x="1062" y="916"/>
                  </a:lnTo>
                  <a:lnTo>
                    <a:pt x="1064" y="914"/>
                  </a:lnTo>
                  <a:lnTo>
                    <a:pt x="1066" y="910"/>
                  </a:lnTo>
                  <a:lnTo>
                    <a:pt x="1064" y="908"/>
                  </a:lnTo>
                  <a:lnTo>
                    <a:pt x="1062" y="908"/>
                  </a:lnTo>
                  <a:lnTo>
                    <a:pt x="1060" y="908"/>
                  </a:lnTo>
                  <a:lnTo>
                    <a:pt x="1060" y="906"/>
                  </a:lnTo>
                  <a:lnTo>
                    <a:pt x="1062" y="902"/>
                  </a:lnTo>
                  <a:lnTo>
                    <a:pt x="1066" y="896"/>
                  </a:lnTo>
                  <a:lnTo>
                    <a:pt x="1066" y="894"/>
                  </a:lnTo>
                  <a:lnTo>
                    <a:pt x="1064" y="892"/>
                  </a:lnTo>
                  <a:lnTo>
                    <a:pt x="1058" y="892"/>
                  </a:lnTo>
                  <a:lnTo>
                    <a:pt x="1054" y="896"/>
                  </a:lnTo>
                  <a:lnTo>
                    <a:pt x="1048" y="900"/>
                  </a:lnTo>
                  <a:lnTo>
                    <a:pt x="1046" y="906"/>
                  </a:lnTo>
                  <a:lnTo>
                    <a:pt x="1046" y="912"/>
                  </a:lnTo>
                  <a:lnTo>
                    <a:pt x="1046" y="916"/>
                  </a:lnTo>
                  <a:lnTo>
                    <a:pt x="1046" y="918"/>
                  </a:lnTo>
                  <a:lnTo>
                    <a:pt x="1042" y="920"/>
                  </a:lnTo>
                  <a:lnTo>
                    <a:pt x="1036" y="922"/>
                  </a:lnTo>
                  <a:lnTo>
                    <a:pt x="1036" y="924"/>
                  </a:lnTo>
                  <a:lnTo>
                    <a:pt x="1036" y="928"/>
                  </a:lnTo>
                  <a:lnTo>
                    <a:pt x="1032" y="938"/>
                  </a:lnTo>
                  <a:lnTo>
                    <a:pt x="1030" y="942"/>
                  </a:lnTo>
                  <a:lnTo>
                    <a:pt x="1034" y="940"/>
                  </a:lnTo>
                  <a:lnTo>
                    <a:pt x="1040" y="938"/>
                  </a:lnTo>
                  <a:lnTo>
                    <a:pt x="1044" y="938"/>
                  </a:lnTo>
                  <a:lnTo>
                    <a:pt x="1048" y="940"/>
                  </a:lnTo>
                  <a:lnTo>
                    <a:pt x="1050" y="940"/>
                  </a:lnTo>
                  <a:lnTo>
                    <a:pt x="1052" y="940"/>
                  </a:lnTo>
                  <a:lnTo>
                    <a:pt x="1054" y="936"/>
                  </a:lnTo>
                  <a:lnTo>
                    <a:pt x="1056" y="934"/>
                  </a:lnTo>
                  <a:lnTo>
                    <a:pt x="1058" y="932"/>
                  </a:lnTo>
                  <a:lnTo>
                    <a:pt x="1060" y="934"/>
                  </a:lnTo>
                  <a:lnTo>
                    <a:pt x="1062" y="936"/>
                  </a:lnTo>
                  <a:lnTo>
                    <a:pt x="1064" y="936"/>
                  </a:lnTo>
                  <a:lnTo>
                    <a:pt x="1068" y="930"/>
                  </a:lnTo>
                  <a:lnTo>
                    <a:pt x="1070" y="926"/>
                  </a:lnTo>
                  <a:lnTo>
                    <a:pt x="1072" y="924"/>
                  </a:lnTo>
                  <a:lnTo>
                    <a:pt x="1076" y="920"/>
                  </a:lnTo>
                  <a:lnTo>
                    <a:pt x="1084" y="920"/>
                  </a:lnTo>
                  <a:lnTo>
                    <a:pt x="1088" y="918"/>
                  </a:lnTo>
                  <a:lnTo>
                    <a:pt x="1090" y="916"/>
                  </a:lnTo>
                  <a:lnTo>
                    <a:pt x="1090" y="914"/>
                  </a:lnTo>
                  <a:lnTo>
                    <a:pt x="1090" y="910"/>
                  </a:lnTo>
                  <a:lnTo>
                    <a:pt x="1086" y="904"/>
                  </a:lnTo>
                  <a:lnTo>
                    <a:pt x="1082" y="898"/>
                  </a:lnTo>
                  <a:close/>
                  <a:moveTo>
                    <a:pt x="1190" y="808"/>
                  </a:moveTo>
                  <a:lnTo>
                    <a:pt x="1190" y="808"/>
                  </a:lnTo>
                  <a:lnTo>
                    <a:pt x="1188" y="808"/>
                  </a:lnTo>
                  <a:lnTo>
                    <a:pt x="1186" y="808"/>
                  </a:lnTo>
                  <a:lnTo>
                    <a:pt x="1184" y="808"/>
                  </a:lnTo>
                  <a:lnTo>
                    <a:pt x="1182" y="808"/>
                  </a:lnTo>
                  <a:lnTo>
                    <a:pt x="1180" y="808"/>
                  </a:lnTo>
                  <a:lnTo>
                    <a:pt x="1178" y="810"/>
                  </a:lnTo>
                  <a:lnTo>
                    <a:pt x="1176" y="814"/>
                  </a:lnTo>
                  <a:lnTo>
                    <a:pt x="1178" y="814"/>
                  </a:lnTo>
                  <a:lnTo>
                    <a:pt x="1178" y="816"/>
                  </a:lnTo>
                  <a:lnTo>
                    <a:pt x="1184" y="814"/>
                  </a:lnTo>
                  <a:lnTo>
                    <a:pt x="1188" y="810"/>
                  </a:lnTo>
                  <a:lnTo>
                    <a:pt x="1190" y="808"/>
                  </a:lnTo>
                  <a:close/>
                  <a:moveTo>
                    <a:pt x="1400" y="746"/>
                  </a:moveTo>
                  <a:lnTo>
                    <a:pt x="1400" y="746"/>
                  </a:lnTo>
                  <a:lnTo>
                    <a:pt x="1394" y="744"/>
                  </a:lnTo>
                  <a:lnTo>
                    <a:pt x="1390" y="744"/>
                  </a:lnTo>
                  <a:lnTo>
                    <a:pt x="1388" y="744"/>
                  </a:lnTo>
                  <a:lnTo>
                    <a:pt x="1390" y="748"/>
                  </a:lnTo>
                  <a:lnTo>
                    <a:pt x="1394" y="750"/>
                  </a:lnTo>
                  <a:lnTo>
                    <a:pt x="1398" y="750"/>
                  </a:lnTo>
                  <a:lnTo>
                    <a:pt x="1400" y="748"/>
                  </a:lnTo>
                  <a:lnTo>
                    <a:pt x="1400" y="746"/>
                  </a:lnTo>
                  <a:close/>
                  <a:moveTo>
                    <a:pt x="1252" y="182"/>
                  </a:moveTo>
                  <a:lnTo>
                    <a:pt x="1252" y="182"/>
                  </a:lnTo>
                  <a:lnTo>
                    <a:pt x="1256" y="186"/>
                  </a:lnTo>
                  <a:lnTo>
                    <a:pt x="1256" y="188"/>
                  </a:lnTo>
                  <a:lnTo>
                    <a:pt x="1258" y="190"/>
                  </a:lnTo>
                  <a:lnTo>
                    <a:pt x="1258" y="192"/>
                  </a:lnTo>
                  <a:lnTo>
                    <a:pt x="1262" y="192"/>
                  </a:lnTo>
                  <a:lnTo>
                    <a:pt x="1272" y="190"/>
                  </a:lnTo>
                  <a:lnTo>
                    <a:pt x="1290" y="186"/>
                  </a:lnTo>
                  <a:lnTo>
                    <a:pt x="1306" y="186"/>
                  </a:lnTo>
                  <a:lnTo>
                    <a:pt x="1312" y="184"/>
                  </a:lnTo>
                  <a:lnTo>
                    <a:pt x="1316" y="182"/>
                  </a:lnTo>
                  <a:lnTo>
                    <a:pt x="1318" y="178"/>
                  </a:lnTo>
                  <a:lnTo>
                    <a:pt x="1318" y="172"/>
                  </a:lnTo>
                  <a:lnTo>
                    <a:pt x="1316" y="166"/>
                  </a:lnTo>
                  <a:lnTo>
                    <a:pt x="1312" y="162"/>
                  </a:lnTo>
                  <a:lnTo>
                    <a:pt x="1306" y="160"/>
                  </a:lnTo>
                  <a:lnTo>
                    <a:pt x="1300" y="158"/>
                  </a:lnTo>
                  <a:lnTo>
                    <a:pt x="1284" y="158"/>
                  </a:lnTo>
                  <a:lnTo>
                    <a:pt x="1266" y="162"/>
                  </a:lnTo>
                  <a:lnTo>
                    <a:pt x="1250" y="166"/>
                  </a:lnTo>
                  <a:lnTo>
                    <a:pt x="1238" y="168"/>
                  </a:lnTo>
                  <a:lnTo>
                    <a:pt x="1238" y="170"/>
                  </a:lnTo>
                  <a:lnTo>
                    <a:pt x="1238" y="174"/>
                  </a:lnTo>
                  <a:lnTo>
                    <a:pt x="1252" y="182"/>
                  </a:lnTo>
                  <a:close/>
                  <a:moveTo>
                    <a:pt x="1236" y="808"/>
                  </a:moveTo>
                  <a:lnTo>
                    <a:pt x="1236" y="808"/>
                  </a:lnTo>
                  <a:lnTo>
                    <a:pt x="1238" y="806"/>
                  </a:lnTo>
                  <a:lnTo>
                    <a:pt x="1236" y="804"/>
                  </a:lnTo>
                  <a:lnTo>
                    <a:pt x="1228" y="802"/>
                  </a:lnTo>
                  <a:lnTo>
                    <a:pt x="1224" y="798"/>
                  </a:lnTo>
                  <a:lnTo>
                    <a:pt x="1220" y="796"/>
                  </a:lnTo>
                  <a:lnTo>
                    <a:pt x="1216" y="794"/>
                  </a:lnTo>
                  <a:lnTo>
                    <a:pt x="1216" y="798"/>
                  </a:lnTo>
                  <a:lnTo>
                    <a:pt x="1216" y="802"/>
                  </a:lnTo>
                  <a:lnTo>
                    <a:pt x="1220" y="806"/>
                  </a:lnTo>
                  <a:lnTo>
                    <a:pt x="1228" y="810"/>
                  </a:lnTo>
                  <a:lnTo>
                    <a:pt x="1236" y="808"/>
                  </a:lnTo>
                  <a:close/>
                  <a:moveTo>
                    <a:pt x="902" y="108"/>
                  </a:moveTo>
                  <a:lnTo>
                    <a:pt x="902" y="108"/>
                  </a:lnTo>
                  <a:lnTo>
                    <a:pt x="902" y="114"/>
                  </a:lnTo>
                  <a:lnTo>
                    <a:pt x="904" y="120"/>
                  </a:lnTo>
                  <a:lnTo>
                    <a:pt x="906" y="124"/>
                  </a:lnTo>
                  <a:lnTo>
                    <a:pt x="910" y="126"/>
                  </a:lnTo>
                  <a:lnTo>
                    <a:pt x="912" y="128"/>
                  </a:lnTo>
                  <a:lnTo>
                    <a:pt x="910" y="128"/>
                  </a:lnTo>
                  <a:lnTo>
                    <a:pt x="900" y="130"/>
                  </a:lnTo>
                  <a:lnTo>
                    <a:pt x="886" y="130"/>
                  </a:lnTo>
                  <a:lnTo>
                    <a:pt x="884" y="132"/>
                  </a:lnTo>
                  <a:lnTo>
                    <a:pt x="886" y="136"/>
                  </a:lnTo>
                  <a:lnTo>
                    <a:pt x="898" y="148"/>
                  </a:lnTo>
                  <a:lnTo>
                    <a:pt x="922" y="172"/>
                  </a:lnTo>
                  <a:lnTo>
                    <a:pt x="936" y="184"/>
                  </a:lnTo>
                  <a:lnTo>
                    <a:pt x="948" y="192"/>
                  </a:lnTo>
                  <a:lnTo>
                    <a:pt x="960" y="194"/>
                  </a:lnTo>
                  <a:lnTo>
                    <a:pt x="970" y="192"/>
                  </a:lnTo>
                  <a:lnTo>
                    <a:pt x="980" y="188"/>
                  </a:lnTo>
                  <a:lnTo>
                    <a:pt x="990" y="182"/>
                  </a:lnTo>
                  <a:lnTo>
                    <a:pt x="1018" y="164"/>
                  </a:lnTo>
                  <a:lnTo>
                    <a:pt x="1038" y="152"/>
                  </a:lnTo>
                  <a:lnTo>
                    <a:pt x="1040" y="152"/>
                  </a:lnTo>
                  <a:lnTo>
                    <a:pt x="1042" y="154"/>
                  </a:lnTo>
                  <a:lnTo>
                    <a:pt x="1042" y="158"/>
                  </a:lnTo>
                  <a:lnTo>
                    <a:pt x="1048" y="160"/>
                  </a:lnTo>
                  <a:lnTo>
                    <a:pt x="1056" y="164"/>
                  </a:lnTo>
                  <a:lnTo>
                    <a:pt x="1072" y="166"/>
                  </a:lnTo>
                  <a:lnTo>
                    <a:pt x="1088" y="168"/>
                  </a:lnTo>
                  <a:lnTo>
                    <a:pt x="1096" y="170"/>
                  </a:lnTo>
                  <a:lnTo>
                    <a:pt x="1094" y="172"/>
                  </a:lnTo>
                  <a:lnTo>
                    <a:pt x="1088" y="176"/>
                  </a:lnTo>
                  <a:lnTo>
                    <a:pt x="1058" y="186"/>
                  </a:lnTo>
                  <a:lnTo>
                    <a:pt x="1014" y="198"/>
                  </a:lnTo>
                  <a:lnTo>
                    <a:pt x="994" y="206"/>
                  </a:lnTo>
                  <a:lnTo>
                    <a:pt x="980" y="210"/>
                  </a:lnTo>
                  <a:lnTo>
                    <a:pt x="972" y="216"/>
                  </a:lnTo>
                  <a:lnTo>
                    <a:pt x="970" y="218"/>
                  </a:lnTo>
                  <a:lnTo>
                    <a:pt x="970" y="220"/>
                  </a:lnTo>
                  <a:lnTo>
                    <a:pt x="976" y="222"/>
                  </a:lnTo>
                  <a:lnTo>
                    <a:pt x="988" y="224"/>
                  </a:lnTo>
                  <a:lnTo>
                    <a:pt x="1008" y="224"/>
                  </a:lnTo>
                  <a:lnTo>
                    <a:pt x="1034" y="222"/>
                  </a:lnTo>
                  <a:lnTo>
                    <a:pt x="1058" y="220"/>
                  </a:lnTo>
                  <a:lnTo>
                    <a:pt x="1072" y="220"/>
                  </a:lnTo>
                  <a:lnTo>
                    <a:pt x="1074" y="222"/>
                  </a:lnTo>
                  <a:lnTo>
                    <a:pt x="1076" y="222"/>
                  </a:lnTo>
                  <a:lnTo>
                    <a:pt x="1072" y="226"/>
                  </a:lnTo>
                  <a:lnTo>
                    <a:pt x="1064" y="232"/>
                  </a:lnTo>
                  <a:lnTo>
                    <a:pt x="1050" y="236"/>
                  </a:lnTo>
                  <a:lnTo>
                    <a:pt x="1036" y="242"/>
                  </a:lnTo>
                  <a:lnTo>
                    <a:pt x="1018" y="244"/>
                  </a:lnTo>
                  <a:lnTo>
                    <a:pt x="994" y="250"/>
                  </a:lnTo>
                  <a:lnTo>
                    <a:pt x="988" y="252"/>
                  </a:lnTo>
                  <a:lnTo>
                    <a:pt x="984" y="256"/>
                  </a:lnTo>
                  <a:lnTo>
                    <a:pt x="986" y="260"/>
                  </a:lnTo>
                  <a:lnTo>
                    <a:pt x="990" y="264"/>
                  </a:lnTo>
                  <a:lnTo>
                    <a:pt x="1014" y="274"/>
                  </a:lnTo>
                  <a:lnTo>
                    <a:pt x="1028" y="280"/>
                  </a:lnTo>
                  <a:lnTo>
                    <a:pt x="1036" y="286"/>
                  </a:lnTo>
                  <a:lnTo>
                    <a:pt x="1048" y="296"/>
                  </a:lnTo>
                  <a:lnTo>
                    <a:pt x="1052" y="302"/>
                  </a:lnTo>
                  <a:lnTo>
                    <a:pt x="1060" y="308"/>
                  </a:lnTo>
                  <a:lnTo>
                    <a:pt x="1072" y="312"/>
                  </a:lnTo>
                  <a:lnTo>
                    <a:pt x="1090" y="318"/>
                  </a:lnTo>
                  <a:lnTo>
                    <a:pt x="1098" y="320"/>
                  </a:lnTo>
                  <a:lnTo>
                    <a:pt x="1104" y="320"/>
                  </a:lnTo>
                  <a:lnTo>
                    <a:pt x="1110" y="318"/>
                  </a:lnTo>
                  <a:lnTo>
                    <a:pt x="1114" y="316"/>
                  </a:lnTo>
                  <a:lnTo>
                    <a:pt x="1116" y="312"/>
                  </a:lnTo>
                  <a:lnTo>
                    <a:pt x="1116" y="306"/>
                  </a:lnTo>
                  <a:lnTo>
                    <a:pt x="1118" y="294"/>
                  </a:lnTo>
                  <a:lnTo>
                    <a:pt x="1120" y="282"/>
                  </a:lnTo>
                  <a:lnTo>
                    <a:pt x="1124" y="268"/>
                  </a:lnTo>
                  <a:lnTo>
                    <a:pt x="1128" y="262"/>
                  </a:lnTo>
                  <a:lnTo>
                    <a:pt x="1132" y="256"/>
                  </a:lnTo>
                  <a:lnTo>
                    <a:pt x="1138" y="252"/>
                  </a:lnTo>
                  <a:lnTo>
                    <a:pt x="1146" y="248"/>
                  </a:lnTo>
                  <a:lnTo>
                    <a:pt x="1160" y="242"/>
                  </a:lnTo>
                  <a:lnTo>
                    <a:pt x="1166" y="236"/>
                  </a:lnTo>
                  <a:lnTo>
                    <a:pt x="1166" y="230"/>
                  </a:lnTo>
                  <a:lnTo>
                    <a:pt x="1164" y="224"/>
                  </a:lnTo>
                  <a:lnTo>
                    <a:pt x="1162" y="218"/>
                  </a:lnTo>
                  <a:lnTo>
                    <a:pt x="1162" y="214"/>
                  </a:lnTo>
                  <a:lnTo>
                    <a:pt x="1162" y="212"/>
                  </a:lnTo>
                  <a:lnTo>
                    <a:pt x="1166" y="208"/>
                  </a:lnTo>
                  <a:lnTo>
                    <a:pt x="1176" y="204"/>
                  </a:lnTo>
                  <a:lnTo>
                    <a:pt x="1182" y="202"/>
                  </a:lnTo>
                  <a:lnTo>
                    <a:pt x="1188" y="200"/>
                  </a:lnTo>
                  <a:lnTo>
                    <a:pt x="1190" y="196"/>
                  </a:lnTo>
                  <a:lnTo>
                    <a:pt x="1192" y="192"/>
                  </a:lnTo>
                  <a:lnTo>
                    <a:pt x="1194" y="186"/>
                  </a:lnTo>
                  <a:lnTo>
                    <a:pt x="1194" y="178"/>
                  </a:lnTo>
                  <a:lnTo>
                    <a:pt x="1196" y="170"/>
                  </a:lnTo>
                  <a:lnTo>
                    <a:pt x="1198" y="166"/>
                  </a:lnTo>
                  <a:lnTo>
                    <a:pt x="1202" y="164"/>
                  </a:lnTo>
                  <a:lnTo>
                    <a:pt x="1206" y="160"/>
                  </a:lnTo>
                  <a:lnTo>
                    <a:pt x="1212" y="158"/>
                  </a:lnTo>
                  <a:lnTo>
                    <a:pt x="1234" y="156"/>
                  </a:lnTo>
                  <a:lnTo>
                    <a:pt x="1272" y="152"/>
                  </a:lnTo>
                  <a:lnTo>
                    <a:pt x="1284" y="148"/>
                  </a:lnTo>
                  <a:lnTo>
                    <a:pt x="1290" y="146"/>
                  </a:lnTo>
                  <a:lnTo>
                    <a:pt x="1290" y="144"/>
                  </a:lnTo>
                  <a:lnTo>
                    <a:pt x="1290" y="142"/>
                  </a:lnTo>
                  <a:lnTo>
                    <a:pt x="1284" y="138"/>
                  </a:lnTo>
                  <a:lnTo>
                    <a:pt x="1274" y="136"/>
                  </a:lnTo>
                  <a:lnTo>
                    <a:pt x="1260" y="130"/>
                  </a:lnTo>
                  <a:lnTo>
                    <a:pt x="1244" y="126"/>
                  </a:lnTo>
                  <a:lnTo>
                    <a:pt x="1236" y="124"/>
                  </a:lnTo>
                  <a:lnTo>
                    <a:pt x="1226" y="118"/>
                  </a:lnTo>
                  <a:lnTo>
                    <a:pt x="1224" y="116"/>
                  </a:lnTo>
                  <a:lnTo>
                    <a:pt x="1220" y="114"/>
                  </a:lnTo>
                  <a:lnTo>
                    <a:pt x="1202" y="114"/>
                  </a:lnTo>
                  <a:lnTo>
                    <a:pt x="1190" y="112"/>
                  </a:lnTo>
                  <a:lnTo>
                    <a:pt x="1186" y="110"/>
                  </a:lnTo>
                  <a:lnTo>
                    <a:pt x="1184" y="106"/>
                  </a:lnTo>
                  <a:lnTo>
                    <a:pt x="1182" y="102"/>
                  </a:lnTo>
                  <a:lnTo>
                    <a:pt x="1182" y="96"/>
                  </a:lnTo>
                  <a:lnTo>
                    <a:pt x="1182" y="90"/>
                  </a:lnTo>
                  <a:lnTo>
                    <a:pt x="1178" y="84"/>
                  </a:lnTo>
                  <a:lnTo>
                    <a:pt x="1170" y="78"/>
                  </a:lnTo>
                  <a:lnTo>
                    <a:pt x="1162" y="74"/>
                  </a:lnTo>
                  <a:lnTo>
                    <a:pt x="1156" y="76"/>
                  </a:lnTo>
                  <a:lnTo>
                    <a:pt x="1152" y="82"/>
                  </a:lnTo>
                  <a:lnTo>
                    <a:pt x="1148" y="88"/>
                  </a:lnTo>
                  <a:lnTo>
                    <a:pt x="1144" y="96"/>
                  </a:lnTo>
                  <a:lnTo>
                    <a:pt x="1144" y="98"/>
                  </a:lnTo>
                  <a:lnTo>
                    <a:pt x="1142" y="94"/>
                  </a:lnTo>
                  <a:lnTo>
                    <a:pt x="1140" y="84"/>
                  </a:lnTo>
                  <a:lnTo>
                    <a:pt x="1140" y="78"/>
                  </a:lnTo>
                  <a:lnTo>
                    <a:pt x="1142" y="74"/>
                  </a:lnTo>
                  <a:lnTo>
                    <a:pt x="1144" y="70"/>
                  </a:lnTo>
                  <a:lnTo>
                    <a:pt x="1150" y="66"/>
                  </a:lnTo>
                  <a:lnTo>
                    <a:pt x="1152" y="64"/>
                  </a:lnTo>
                  <a:lnTo>
                    <a:pt x="1132" y="54"/>
                  </a:lnTo>
                  <a:lnTo>
                    <a:pt x="1124" y="50"/>
                  </a:lnTo>
                  <a:lnTo>
                    <a:pt x="1108" y="50"/>
                  </a:lnTo>
                  <a:lnTo>
                    <a:pt x="1100" y="50"/>
                  </a:lnTo>
                  <a:lnTo>
                    <a:pt x="1092" y="48"/>
                  </a:lnTo>
                  <a:lnTo>
                    <a:pt x="1084" y="42"/>
                  </a:lnTo>
                  <a:lnTo>
                    <a:pt x="1080" y="40"/>
                  </a:lnTo>
                  <a:lnTo>
                    <a:pt x="1076" y="40"/>
                  </a:lnTo>
                  <a:lnTo>
                    <a:pt x="1070" y="40"/>
                  </a:lnTo>
                  <a:lnTo>
                    <a:pt x="1062" y="44"/>
                  </a:lnTo>
                  <a:lnTo>
                    <a:pt x="1058" y="48"/>
                  </a:lnTo>
                  <a:lnTo>
                    <a:pt x="1056" y="54"/>
                  </a:lnTo>
                  <a:lnTo>
                    <a:pt x="1054" y="58"/>
                  </a:lnTo>
                  <a:lnTo>
                    <a:pt x="1056" y="66"/>
                  </a:lnTo>
                  <a:lnTo>
                    <a:pt x="1060" y="80"/>
                  </a:lnTo>
                  <a:lnTo>
                    <a:pt x="1068" y="94"/>
                  </a:lnTo>
                  <a:lnTo>
                    <a:pt x="1084" y="120"/>
                  </a:lnTo>
                  <a:lnTo>
                    <a:pt x="1086" y="130"/>
                  </a:lnTo>
                  <a:lnTo>
                    <a:pt x="1086" y="132"/>
                  </a:lnTo>
                  <a:lnTo>
                    <a:pt x="1084" y="132"/>
                  </a:lnTo>
                  <a:lnTo>
                    <a:pt x="1080" y="132"/>
                  </a:lnTo>
                  <a:lnTo>
                    <a:pt x="1076" y="130"/>
                  </a:lnTo>
                  <a:lnTo>
                    <a:pt x="1068" y="122"/>
                  </a:lnTo>
                  <a:lnTo>
                    <a:pt x="1048" y="96"/>
                  </a:lnTo>
                  <a:lnTo>
                    <a:pt x="1036" y="82"/>
                  </a:lnTo>
                  <a:lnTo>
                    <a:pt x="1026" y="72"/>
                  </a:lnTo>
                  <a:lnTo>
                    <a:pt x="1020" y="68"/>
                  </a:lnTo>
                  <a:lnTo>
                    <a:pt x="1014" y="66"/>
                  </a:lnTo>
                  <a:lnTo>
                    <a:pt x="1008" y="64"/>
                  </a:lnTo>
                  <a:lnTo>
                    <a:pt x="1004" y="66"/>
                  </a:lnTo>
                  <a:lnTo>
                    <a:pt x="998" y="68"/>
                  </a:lnTo>
                  <a:lnTo>
                    <a:pt x="994" y="70"/>
                  </a:lnTo>
                  <a:lnTo>
                    <a:pt x="990" y="78"/>
                  </a:lnTo>
                  <a:lnTo>
                    <a:pt x="988" y="88"/>
                  </a:lnTo>
                  <a:lnTo>
                    <a:pt x="986" y="96"/>
                  </a:lnTo>
                  <a:lnTo>
                    <a:pt x="986" y="108"/>
                  </a:lnTo>
                  <a:lnTo>
                    <a:pt x="984" y="106"/>
                  </a:lnTo>
                  <a:lnTo>
                    <a:pt x="980" y="100"/>
                  </a:lnTo>
                  <a:lnTo>
                    <a:pt x="974" y="90"/>
                  </a:lnTo>
                  <a:lnTo>
                    <a:pt x="968" y="84"/>
                  </a:lnTo>
                  <a:lnTo>
                    <a:pt x="960" y="80"/>
                  </a:lnTo>
                  <a:lnTo>
                    <a:pt x="954" y="78"/>
                  </a:lnTo>
                  <a:lnTo>
                    <a:pt x="950" y="76"/>
                  </a:lnTo>
                  <a:lnTo>
                    <a:pt x="948" y="76"/>
                  </a:lnTo>
                  <a:lnTo>
                    <a:pt x="960" y="72"/>
                  </a:lnTo>
                  <a:lnTo>
                    <a:pt x="972" y="70"/>
                  </a:lnTo>
                  <a:lnTo>
                    <a:pt x="978" y="66"/>
                  </a:lnTo>
                  <a:lnTo>
                    <a:pt x="984" y="62"/>
                  </a:lnTo>
                  <a:lnTo>
                    <a:pt x="984" y="60"/>
                  </a:lnTo>
                  <a:lnTo>
                    <a:pt x="982" y="56"/>
                  </a:lnTo>
                  <a:lnTo>
                    <a:pt x="978" y="56"/>
                  </a:lnTo>
                  <a:lnTo>
                    <a:pt x="970" y="56"/>
                  </a:lnTo>
                  <a:lnTo>
                    <a:pt x="958" y="60"/>
                  </a:lnTo>
                  <a:lnTo>
                    <a:pt x="946" y="62"/>
                  </a:lnTo>
                  <a:lnTo>
                    <a:pt x="938" y="62"/>
                  </a:lnTo>
                  <a:lnTo>
                    <a:pt x="934" y="62"/>
                  </a:lnTo>
                  <a:lnTo>
                    <a:pt x="930" y="58"/>
                  </a:lnTo>
                  <a:lnTo>
                    <a:pt x="928" y="56"/>
                  </a:lnTo>
                  <a:lnTo>
                    <a:pt x="926" y="56"/>
                  </a:lnTo>
                  <a:lnTo>
                    <a:pt x="922" y="58"/>
                  </a:lnTo>
                  <a:lnTo>
                    <a:pt x="916" y="60"/>
                  </a:lnTo>
                  <a:lnTo>
                    <a:pt x="908" y="64"/>
                  </a:lnTo>
                  <a:lnTo>
                    <a:pt x="904" y="64"/>
                  </a:lnTo>
                  <a:lnTo>
                    <a:pt x="902" y="64"/>
                  </a:lnTo>
                  <a:lnTo>
                    <a:pt x="900" y="60"/>
                  </a:lnTo>
                  <a:lnTo>
                    <a:pt x="896" y="58"/>
                  </a:lnTo>
                  <a:lnTo>
                    <a:pt x="892" y="58"/>
                  </a:lnTo>
                  <a:lnTo>
                    <a:pt x="884" y="60"/>
                  </a:lnTo>
                  <a:lnTo>
                    <a:pt x="874" y="64"/>
                  </a:lnTo>
                  <a:lnTo>
                    <a:pt x="862" y="72"/>
                  </a:lnTo>
                  <a:lnTo>
                    <a:pt x="856" y="78"/>
                  </a:lnTo>
                  <a:lnTo>
                    <a:pt x="854" y="82"/>
                  </a:lnTo>
                  <a:lnTo>
                    <a:pt x="854" y="88"/>
                  </a:lnTo>
                  <a:lnTo>
                    <a:pt x="858" y="92"/>
                  </a:lnTo>
                  <a:lnTo>
                    <a:pt x="862" y="98"/>
                  </a:lnTo>
                  <a:lnTo>
                    <a:pt x="872" y="112"/>
                  </a:lnTo>
                  <a:lnTo>
                    <a:pt x="878" y="116"/>
                  </a:lnTo>
                  <a:lnTo>
                    <a:pt x="884" y="118"/>
                  </a:lnTo>
                  <a:lnTo>
                    <a:pt x="890" y="114"/>
                  </a:lnTo>
                  <a:lnTo>
                    <a:pt x="894" y="110"/>
                  </a:lnTo>
                  <a:lnTo>
                    <a:pt x="902" y="104"/>
                  </a:lnTo>
                  <a:lnTo>
                    <a:pt x="902" y="108"/>
                  </a:lnTo>
                  <a:close/>
                  <a:moveTo>
                    <a:pt x="1272" y="818"/>
                  </a:moveTo>
                  <a:lnTo>
                    <a:pt x="1272" y="818"/>
                  </a:lnTo>
                  <a:lnTo>
                    <a:pt x="1272" y="816"/>
                  </a:lnTo>
                  <a:lnTo>
                    <a:pt x="1270" y="814"/>
                  </a:lnTo>
                  <a:lnTo>
                    <a:pt x="1266" y="812"/>
                  </a:lnTo>
                  <a:lnTo>
                    <a:pt x="1264" y="814"/>
                  </a:lnTo>
                  <a:lnTo>
                    <a:pt x="1264" y="818"/>
                  </a:lnTo>
                  <a:lnTo>
                    <a:pt x="1264" y="820"/>
                  </a:lnTo>
                  <a:lnTo>
                    <a:pt x="1272" y="818"/>
                  </a:lnTo>
                  <a:close/>
                  <a:moveTo>
                    <a:pt x="1168" y="848"/>
                  </a:moveTo>
                  <a:lnTo>
                    <a:pt x="1168" y="848"/>
                  </a:lnTo>
                  <a:lnTo>
                    <a:pt x="1176" y="848"/>
                  </a:lnTo>
                  <a:lnTo>
                    <a:pt x="1180" y="848"/>
                  </a:lnTo>
                  <a:lnTo>
                    <a:pt x="1182" y="844"/>
                  </a:lnTo>
                  <a:lnTo>
                    <a:pt x="1184" y="840"/>
                  </a:lnTo>
                  <a:lnTo>
                    <a:pt x="1190" y="836"/>
                  </a:lnTo>
                  <a:lnTo>
                    <a:pt x="1192" y="834"/>
                  </a:lnTo>
                  <a:lnTo>
                    <a:pt x="1192" y="832"/>
                  </a:lnTo>
                  <a:lnTo>
                    <a:pt x="1192" y="830"/>
                  </a:lnTo>
                  <a:lnTo>
                    <a:pt x="1188" y="828"/>
                  </a:lnTo>
                  <a:lnTo>
                    <a:pt x="1182" y="826"/>
                  </a:lnTo>
                  <a:lnTo>
                    <a:pt x="1180" y="826"/>
                  </a:lnTo>
                  <a:lnTo>
                    <a:pt x="1180" y="828"/>
                  </a:lnTo>
                  <a:lnTo>
                    <a:pt x="1176" y="830"/>
                  </a:lnTo>
                  <a:lnTo>
                    <a:pt x="1174" y="830"/>
                  </a:lnTo>
                  <a:lnTo>
                    <a:pt x="1172" y="832"/>
                  </a:lnTo>
                  <a:lnTo>
                    <a:pt x="1170" y="832"/>
                  </a:lnTo>
                  <a:lnTo>
                    <a:pt x="1166" y="832"/>
                  </a:lnTo>
                  <a:lnTo>
                    <a:pt x="1164" y="832"/>
                  </a:lnTo>
                  <a:lnTo>
                    <a:pt x="1162" y="834"/>
                  </a:lnTo>
                  <a:lnTo>
                    <a:pt x="1162" y="838"/>
                  </a:lnTo>
                  <a:lnTo>
                    <a:pt x="1160" y="842"/>
                  </a:lnTo>
                  <a:lnTo>
                    <a:pt x="1156" y="842"/>
                  </a:lnTo>
                  <a:lnTo>
                    <a:pt x="1154" y="842"/>
                  </a:lnTo>
                  <a:lnTo>
                    <a:pt x="1152" y="844"/>
                  </a:lnTo>
                  <a:lnTo>
                    <a:pt x="1152" y="846"/>
                  </a:lnTo>
                  <a:lnTo>
                    <a:pt x="1154" y="848"/>
                  </a:lnTo>
                  <a:lnTo>
                    <a:pt x="1168" y="848"/>
                  </a:lnTo>
                  <a:close/>
                  <a:moveTo>
                    <a:pt x="1214" y="822"/>
                  </a:moveTo>
                  <a:lnTo>
                    <a:pt x="1214" y="822"/>
                  </a:lnTo>
                  <a:lnTo>
                    <a:pt x="1218" y="816"/>
                  </a:lnTo>
                  <a:lnTo>
                    <a:pt x="1218" y="814"/>
                  </a:lnTo>
                  <a:lnTo>
                    <a:pt x="1216" y="814"/>
                  </a:lnTo>
                  <a:lnTo>
                    <a:pt x="1212" y="812"/>
                  </a:lnTo>
                  <a:lnTo>
                    <a:pt x="1208" y="814"/>
                  </a:lnTo>
                  <a:lnTo>
                    <a:pt x="1206" y="814"/>
                  </a:lnTo>
                  <a:lnTo>
                    <a:pt x="1202" y="812"/>
                  </a:lnTo>
                  <a:lnTo>
                    <a:pt x="1198" y="810"/>
                  </a:lnTo>
                  <a:lnTo>
                    <a:pt x="1196" y="812"/>
                  </a:lnTo>
                  <a:lnTo>
                    <a:pt x="1192" y="814"/>
                  </a:lnTo>
                  <a:lnTo>
                    <a:pt x="1190" y="814"/>
                  </a:lnTo>
                  <a:lnTo>
                    <a:pt x="1188" y="814"/>
                  </a:lnTo>
                  <a:lnTo>
                    <a:pt x="1188" y="816"/>
                  </a:lnTo>
                  <a:lnTo>
                    <a:pt x="1184" y="820"/>
                  </a:lnTo>
                  <a:lnTo>
                    <a:pt x="1182" y="822"/>
                  </a:lnTo>
                  <a:lnTo>
                    <a:pt x="1184" y="824"/>
                  </a:lnTo>
                  <a:lnTo>
                    <a:pt x="1190" y="824"/>
                  </a:lnTo>
                  <a:lnTo>
                    <a:pt x="1196" y="828"/>
                  </a:lnTo>
                  <a:lnTo>
                    <a:pt x="1200" y="830"/>
                  </a:lnTo>
                  <a:lnTo>
                    <a:pt x="1204" y="830"/>
                  </a:lnTo>
                  <a:lnTo>
                    <a:pt x="1214" y="822"/>
                  </a:lnTo>
                  <a:close/>
                  <a:moveTo>
                    <a:pt x="1352" y="792"/>
                  </a:moveTo>
                  <a:lnTo>
                    <a:pt x="1352" y="792"/>
                  </a:lnTo>
                  <a:lnTo>
                    <a:pt x="1348" y="790"/>
                  </a:lnTo>
                  <a:lnTo>
                    <a:pt x="1344" y="788"/>
                  </a:lnTo>
                  <a:lnTo>
                    <a:pt x="1338" y="788"/>
                  </a:lnTo>
                  <a:lnTo>
                    <a:pt x="1330" y="790"/>
                  </a:lnTo>
                  <a:lnTo>
                    <a:pt x="1328" y="792"/>
                  </a:lnTo>
                  <a:lnTo>
                    <a:pt x="1330" y="794"/>
                  </a:lnTo>
                  <a:lnTo>
                    <a:pt x="1340" y="798"/>
                  </a:lnTo>
                  <a:lnTo>
                    <a:pt x="1350" y="796"/>
                  </a:lnTo>
                  <a:lnTo>
                    <a:pt x="1352" y="796"/>
                  </a:lnTo>
                  <a:lnTo>
                    <a:pt x="1352" y="792"/>
                  </a:lnTo>
                  <a:close/>
                  <a:moveTo>
                    <a:pt x="1326" y="780"/>
                  </a:moveTo>
                  <a:lnTo>
                    <a:pt x="1326" y="780"/>
                  </a:lnTo>
                  <a:lnTo>
                    <a:pt x="1330" y="778"/>
                  </a:lnTo>
                  <a:lnTo>
                    <a:pt x="1334" y="776"/>
                  </a:lnTo>
                  <a:lnTo>
                    <a:pt x="1338" y="776"/>
                  </a:lnTo>
                  <a:lnTo>
                    <a:pt x="1342" y="776"/>
                  </a:lnTo>
                  <a:lnTo>
                    <a:pt x="1346" y="778"/>
                  </a:lnTo>
                  <a:lnTo>
                    <a:pt x="1350" y="776"/>
                  </a:lnTo>
                  <a:lnTo>
                    <a:pt x="1364" y="766"/>
                  </a:lnTo>
                  <a:lnTo>
                    <a:pt x="1372" y="760"/>
                  </a:lnTo>
                  <a:lnTo>
                    <a:pt x="1372" y="758"/>
                  </a:lnTo>
                  <a:lnTo>
                    <a:pt x="1372" y="756"/>
                  </a:lnTo>
                  <a:lnTo>
                    <a:pt x="1368" y="756"/>
                  </a:lnTo>
                  <a:lnTo>
                    <a:pt x="1362" y="756"/>
                  </a:lnTo>
                  <a:lnTo>
                    <a:pt x="1356" y="758"/>
                  </a:lnTo>
                  <a:lnTo>
                    <a:pt x="1358" y="760"/>
                  </a:lnTo>
                  <a:lnTo>
                    <a:pt x="1358" y="762"/>
                  </a:lnTo>
                  <a:lnTo>
                    <a:pt x="1356" y="764"/>
                  </a:lnTo>
                  <a:lnTo>
                    <a:pt x="1350" y="762"/>
                  </a:lnTo>
                  <a:lnTo>
                    <a:pt x="1348" y="762"/>
                  </a:lnTo>
                  <a:lnTo>
                    <a:pt x="1346" y="762"/>
                  </a:lnTo>
                  <a:lnTo>
                    <a:pt x="1342" y="766"/>
                  </a:lnTo>
                  <a:lnTo>
                    <a:pt x="1342" y="770"/>
                  </a:lnTo>
                  <a:lnTo>
                    <a:pt x="1340" y="768"/>
                  </a:lnTo>
                  <a:lnTo>
                    <a:pt x="1338" y="766"/>
                  </a:lnTo>
                  <a:lnTo>
                    <a:pt x="1332" y="766"/>
                  </a:lnTo>
                  <a:lnTo>
                    <a:pt x="1318" y="770"/>
                  </a:lnTo>
                  <a:lnTo>
                    <a:pt x="1314" y="774"/>
                  </a:lnTo>
                  <a:lnTo>
                    <a:pt x="1318" y="776"/>
                  </a:lnTo>
                  <a:lnTo>
                    <a:pt x="1320" y="776"/>
                  </a:lnTo>
                  <a:lnTo>
                    <a:pt x="1322" y="778"/>
                  </a:lnTo>
                  <a:lnTo>
                    <a:pt x="1320" y="780"/>
                  </a:lnTo>
                  <a:lnTo>
                    <a:pt x="1326" y="780"/>
                  </a:lnTo>
                  <a:close/>
                  <a:moveTo>
                    <a:pt x="1414" y="220"/>
                  </a:moveTo>
                  <a:lnTo>
                    <a:pt x="1414" y="220"/>
                  </a:lnTo>
                  <a:lnTo>
                    <a:pt x="1408" y="216"/>
                  </a:lnTo>
                  <a:lnTo>
                    <a:pt x="1402" y="216"/>
                  </a:lnTo>
                  <a:lnTo>
                    <a:pt x="1392" y="218"/>
                  </a:lnTo>
                  <a:lnTo>
                    <a:pt x="1388" y="220"/>
                  </a:lnTo>
                  <a:lnTo>
                    <a:pt x="1382" y="220"/>
                  </a:lnTo>
                  <a:lnTo>
                    <a:pt x="1374" y="218"/>
                  </a:lnTo>
                  <a:lnTo>
                    <a:pt x="1364" y="214"/>
                  </a:lnTo>
                  <a:lnTo>
                    <a:pt x="1356" y="208"/>
                  </a:lnTo>
                  <a:lnTo>
                    <a:pt x="1354" y="204"/>
                  </a:lnTo>
                  <a:lnTo>
                    <a:pt x="1356" y="200"/>
                  </a:lnTo>
                  <a:lnTo>
                    <a:pt x="1360" y="198"/>
                  </a:lnTo>
                  <a:lnTo>
                    <a:pt x="1370" y="194"/>
                  </a:lnTo>
                  <a:lnTo>
                    <a:pt x="1370" y="192"/>
                  </a:lnTo>
                  <a:lnTo>
                    <a:pt x="1366" y="190"/>
                  </a:lnTo>
                  <a:lnTo>
                    <a:pt x="1354" y="188"/>
                  </a:lnTo>
                  <a:lnTo>
                    <a:pt x="1336" y="188"/>
                  </a:lnTo>
                  <a:lnTo>
                    <a:pt x="1316" y="188"/>
                  </a:lnTo>
                  <a:lnTo>
                    <a:pt x="1296" y="190"/>
                  </a:lnTo>
                  <a:lnTo>
                    <a:pt x="1280" y="194"/>
                  </a:lnTo>
                  <a:lnTo>
                    <a:pt x="1274" y="196"/>
                  </a:lnTo>
                  <a:lnTo>
                    <a:pt x="1270" y="198"/>
                  </a:lnTo>
                  <a:lnTo>
                    <a:pt x="1270" y="202"/>
                  </a:lnTo>
                  <a:lnTo>
                    <a:pt x="1272" y="204"/>
                  </a:lnTo>
                  <a:lnTo>
                    <a:pt x="1276" y="208"/>
                  </a:lnTo>
                  <a:lnTo>
                    <a:pt x="1286" y="212"/>
                  </a:lnTo>
                  <a:lnTo>
                    <a:pt x="1292" y="214"/>
                  </a:lnTo>
                  <a:lnTo>
                    <a:pt x="1292" y="216"/>
                  </a:lnTo>
                  <a:lnTo>
                    <a:pt x="1292" y="218"/>
                  </a:lnTo>
                  <a:lnTo>
                    <a:pt x="1286" y="224"/>
                  </a:lnTo>
                  <a:lnTo>
                    <a:pt x="1272" y="236"/>
                  </a:lnTo>
                  <a:lnTo>
                    <a:pt x="1264" y="242"/>
                  </a:lnTo>
                  <a:lnTo>
                    <a:pt x="1262" y="246"/>
                  </a:lnTo>
                  <a:lnTo>
                    <a:pt x="1264" y="248"/>
                  </a:lnTo>
                  <a:lnTo>
                    <a:pt x="1270" y="250"/>
                  </a:lnTo>
                  <a:lnTo>
                    <a:pt x="1288" y="250"/>
                  </a:lnTo>
                  <a:lnTo>
                    <a:pt x="1314" y="246"/>
                  </a:lnTo>
                  <a:lnTo>
                    <a:pt x="1324" y="248"/>
                  </a:lnTo>
                  <a:lnTo>
                    <a:pt x="1328" y="248"/>
                  </a:lnTo>
                  <a:lnTo>
                    <a:pt x="1328" y="250"/>
                  </a:lnTo>
                  <a:lnTo>
                    <a:pt x="1328" y="256"/>
                  </a:lnTo>
                  <a:lnTo>
                    <a:pt x="1328" y="260"/>
                  </a:lnTo>
                  <a:lnTo>
                    <a:pt x="1326" y="264"/>
                  </a:lnTo>
                  <a:lnTo>
                    <a:pt x="1326" y="266"/>
                  </a:lnTo>
                  <a:lnTo>
                    <a:pt x="1328" y="266"/>
                  </a:lnTo>
                  <a:lnTo>
                    <a:pt x="1336" y="266"/>
                  </a:lnTo>
                  <a:lnTo>
                    <a:pt x="1350" y="260"/>
                  </a:lnTo>
                  <a:lnTo>
                    <a:pt x="1376" y="250"/>
                  </a:lnTo>
                  <a:lnTo>
                    <a:pt x="1402" y="238"/>
                  </a:lnTo>
                  <a:lnTo>
                    <a:pt x="1412" y="234"/>
                  </a:lnTo>
                  <a:lnTo>
                    <a:pt x="1418" y="228"/>
                  </a:lnTo>
                  <a:lnTo>
                    <a:pt x="1420" y="226"/>
                  </a:lnTo>
                  <a:lnTo>
                    <a:pt x="1420" y="224"/>
                  </a:lnTo>
                  <a:lnTo>
                    <a:pt x="1418" y="222"/>
                  </a:lnTo>
                  <a:lnTo>
                    <a:pt x="1414" y="220"/>
                  </a:lnTo>
                  <a:close/>
                  <a:moveTo>
                    <a:pt x="1370" y="792"/>
                  </a:moveTo>
                  <a:lnTo>
                    <a:pt x="1370" y="792"/>
                  </a:lnTo>
                  <a:lnTo>
                    <a:pt x="1378" y="782"/>
                  </a:lnTo>
                  <a:lnTo>
                    <a:pt x="1380" y="776"/>
                  </a:lnTo>
                  <a:lnTo>
                    <a:pt x="1378" y="774"/>
                  </a:lnTo>
                  <a:lnTo>
                    <a:pt x="1376" y="772"/>
                  </a:lnTo>
                  <a:lnTo>
                    <a:pt x="1372" y="770"/>
                  </a:lnTo>
                  <a:lnTo>
                    <a:pt x="1370" y="774"/>
                  </a:lnTo>
                  <a:lnTo>
                    <a:pt x="1362" y="776"/>
                  </a:lnTo>
                  <a:lnTo>
                    <a:pt x="1354" y="780"/>
                  </a:lnTo>
                  <a:lnTo>
                    <a:pt x="1350" y="784"/>
                  </a:lnTo>
                  <a:lnTo>
                    <a:pt x="1350" y="786"/>
                  </a:lnTo>
                  <a:lnTo>
                    <a:pt x="1350" y="788"/>
                  </a:lnTo>
                  <a:lnTo>
                    <a:pt x="1356" y="792"/>
                  </a:lnTo>
                  <a:lnTo>
                    <a:pt x="1364" y="794"/>
                  </a:lnTo>
                  <a:lnTo>
                    <a:pt x="1366" y="794"/>
                  </a:lnTo>
                  <a:lnTo>
                    <a:pt x="1370" y="792"/>
                  </a:lnTo>
                  <a:close/>
                  <a:moveTo>
                    <a:pt x="1388" y="762"/>
                  </a:moveTo>
                  <a:lnTo>
                    <a:pt x="1388" y="762"/>
                  </a:lnTo>
                  <a:lnTo>
                    <a:pt x="1384" y="762"/>
                  </a:lnTo>
                  <a:lnTo>
                    <a:pt x="1380" y="764"/>
                  </a:lnTo>
                  <a:lnTo>
                    <a:pt x="1380" y="766"/>
                  </a:lnTo>
                  <a:lnTo>
                    <a:pt x="1380" y="770"/>
                  </a:lnTo>
                  <a:lnTo>
                    <a:pt x="1384" y="776"/>
                  </a:lnTo>
                  <a:lnTo>
                    <a:pt x="1386" y="778"/>
                  </a:lnTo>
                  <a:lnTo>
                    <a:pt x="1388" y="778"/>
                  </a:lnTo>
                  <a:lnTo>
                    <a:pt x="1394" y="776"/>
                  </a:lnTo>
                  <a:lnTo>
                    <a:pt x="1396" y="772"/>
                  </a:lnTo>
                  <a:lnTo>
                    <a:pt x="1396" y="770"/>
                  </a:lnTo>
                  <a:lnTo>
                    <a:pt x="1396" y="766"/>
                  </a:lnTo>
                  <a:lnTo>
                    <a:pt x="1392" y="764"/>
                  </a:lnTo>
                  <a:lnTo>
                    <a:pt x="1388" y="762"/>
                  </a:lnTo>
                  <a:close/>
                  <a:moveTo>
                    <a:pt x="1264" y="804"/>
                  </a:moveTo>
                  <a:lnTo>
                    <a:pt x="1264" y="804"/>
                  </a:lnTo>
                  <a:lnTo>
                    <a:pt x="1264" y="800"/>
                  </a:lnTo>
                  <a:lnTo>
                    <a:pt x="1262" y="798"/>
                  </a:lnTo>
                  <a:lnTo>
                    <a:pt x="1258" y="798"/>
                  </a:lnTo>
                  <a:lnTo>
                    <a:pt x="1252" y="802"/>
                  </a:lnTo>
                  <a:lnTo>
                    <a:pt x="1248" y="804"/>
                  </a:lnTo>
                  <a:lnTo>
                    <a:pt x="1248" y="808"/>
                  </a:lnTo>
                  <a:lnTo>
                    <a:pt x="1250" y="810"/>
                  </a:lnTo>
                  <a:lnTo>
                    <a:pt x="1254" y="812"/>
                  </a:lnTo>
                  <a:lnTo>
                    <a:pt x="1260" y="814"/>
                  </a:lnTo>
                  <a:lnTo>
                    <a:pt x="1262" y="812"/>
                  </a:lnTo>
                  <a:lnTo>
                    <a:pt x="1264" y="804"/>
                  </a:lnTo>
                  <a:close/>
                  <a:moveTo>
                    <a:pt x="1102" y="904"/>
                  </a:moveTo>
                  <a:lnTo>
                    <a:pt x="1102" y="904"/>
                  </a:lnTo>
                  <a:lnTo>
                    <a:pt x="1102" y="908"/>
                  </a:lnTo>
                  <a:lnTo>
                    <a:pt x="1104" y="908"/>
                  </a:lnTo>
                  <a:lnTo>
                    <a:pt x="1112" y="908"/>
                  </a:lnTo>
                  <a:lnTo>
                    <a:pt x="1114" y="906"/>
                  </a:lnTo>
                  <a:lnTo>
                    <a:pt x="1112" y="902"/>
                  </a:lnTo>
                  <a:lnTo>
                    <a:pt x="1106" y="902"/>
                  </a:lnTo>
                  <a:lnTo>
                    <a:pt x="1104" y="902"/>
                  </a:lnTo>
                  <a:lnTo>
                    <a:pt x="1102" y="904"/>
                  </a:lnTo>
                  <a:close/>
                  <a:moveTo>
                    <a:pt x="1116" y="898"/>
                  </a:moveTo>
                  <a:lnTo>
                    <a:pt x="1116" y="898"/>
                  </a:lnTo>
                  <a:lnTo>
                    <a:pt x="1120" y="900"/>
                  </a:lnTo>
                  <a:lnTo>
                    <a:pt x="1122" y="898"/>
                  </a:lnTo>
                  <a:lnTo>
                    <a:pt x="1124" y="896"/>
                  </a:lnTo>
                  <a:lnTo>
                    <a:pt x="1124" y="894"/>
                  </a:lnTo>
                  <a:lnTo>
                    <a:pt x="1120" y="892"/>
                  </a:lnTo>
                  <a:lnTo>
                    <a:pt x="1116" y="894"/>
                  </a:lnTo>
                  <a:lnTo>
                    <a:pt x="1114" y="896"/>
                  </a:lnTo>
                  <a:lnTo>
                    <a:pt x="1116" y="898"/>
                  </a:lnTo>
                  <a:close/>
                  <a:moveTo>
                    <a:pt x="1150" y="850"/>
                  </a:moveTo>
                  <a:lnTo>
                    <a:pt x="1150" y="850"/>
                  </a:lnTo>
                  <a:lnTo>
                    <a:pt x="1148" y="850"/>
                  </a:lnTo>
                  <a:lnTo>
                    <a:pt x="1148" y="848"/>
                  </a:lnTo>
                  <a:lnTo>
                    <a:pt x="1146" y="846"/>
                  </a:lnTo>
                  <a:lnTo>
                    <a:pt x="1144" y="846"/>
                  </a:lnTo>
                  <a:lnTo>
                    <a:pt x="1142" y="848"/>
                  </a:lnTo>
                  <a:lnTo>
                    <a:pt x="1140" y="846"/>
                  </a:lnTo>
                  <a:lnTo>
                    <a:pt x="1138" y="844"/>
                  </a:lnTo>
                  <a:lnTo>
                    <a:pt x="1136" y="846"/>
                  </a:lnTo>
                  <a:lnTo>
                    <a:pt x="1136" y="848"/>
                  </a:lnTo>
                  <a:lnTo>
                    <a:pt x="1132" y="848"/>
                  </a:lnTo>
                  <a:lnTo>
                    <a:pt x="1130" y="846"/>
                  </a:lnTo>
                  <a:lnTo>
                    <a:pt x="1130" y="850"/>
                  </a:lnTo>
                  <a:lnTo>
                    <a:pt x="1130" y="852"/>
                  </a:lnTo>
                  <a:lnTo>
                    <a:pt x="1128" y="850"/>
                  </a:lnTo>
                  <a:lnTo>
                    <a:pt x="1124" y="850"/>
                  </a:lnTo>
                  <a:lnTo>
                    <a:pt x="1120" y="850"/>
                  </a:lnTo>
                  <a:lnTo>
                    <a:pt x="1118" y="854"/>
                  </a:lnTo>
                  <a:lnTo>
                    <a:pt x="1120" y="856"/>
                  </a:lnTo>
                  <a:lnTo>
                    <a:pt x="1124" y="856"/>
                  </a:lnTo>
                  <a:lnTo>
                    <a:pt x="1124" y="858"/>
                  </a:lnTo>
                  <a:lnTo>
                    <a:pt x="1120" y="860"/>
                  </a:lnTo>
                  <a:lnTo>
                    <a:pt x="1114" y="860"/>
                  </a:lnTo>
                  <a:lnTo>
                    <a:pt x="1108" y="860"/>
                  </a:lnTo>
                  <a:lnTo>
                    <a:pt x="1108" y="862"/>
                  </a:lnTo>
                  <a:lnTo>
                    <a:pt x="1110" y="862"/>
                  </a:lnTo>
                  <a:lnTo>
                    <a:pt x="1110" y="864"/>
                  </a:lnTo>
                  <a:lnTo>
                    <a:pt x="1108" y="866"/>
                  </a:lnTo>
                  <a:lnTo>
                    <a:pt x="1106" y="866"/>
                  </a:lnTo>
                  <a:lnTo>
                    <a:pt x="1108" y="868"/>
                  </a:lnTo>
                  <a:lnTo>
                    <a:pt x="1110" y="870"/>
                  </a:lnTo>
                  <a:lnTo>
                    <a:pt x="1108" y="870"/>
                  </a:lnTo>
                  <a:lnTo>
                    <a:pt x="1108" y="872"/>
                  </a:lnTo>
                  <a:lnTo>
                    <a:pt x="1108" y="874"/>
                  </a:lnTo>
                  <a:lnTo>
                    <a:pt x="1108" y="876"/>
                  </a:lnTo>
                  <a:lnTo>
                    <a:pt x="1108" y="878"/>
                  </a:lnTo>
                  <a:lnTo>
                    <a:pt x="1106" y="880"/>
                  </a:lnTo>
                  <a:lnTo>
                    <a:pt x="1104" y="882"/>
                  </a:lnTo>
                  <a:lnTo>
                    <a:pt x="1108" y="884"/>
                  </a:lnTo>
                  <a:lnTo>
                    <a:pt x="1114" y="884"/>
                  </a:lnTo>
                  <a:lnTo>
                    <a:pt x="1114" y="886"/>
                  </a:lnTo>
                  <a:lnTo>
                    <a:pt x="1114" y="888"/>
                  </a:lnTo>
                  <a:lnTo>
                    <a:pt x="1116" y="888"/>
                  </a:lnTo>
                  <a:lnTo>
                    <a:pt x="1120" y="884"/>
                  </a:lnTo>
                  <a:lnTo>
                    <a:pt x="1122" y="880"/>
                  </a:lnTo>
                  <a:lnTo>
                    <a:pt x="1126" y="876"/>
                  </a:lnTo>
                  <a:lnTo>
                    <a:pt x="1130" y="874"/>
                  </a:lnTo>
                  <a:lnTo>
                    <a:pt x="1132" y="876"/>
                  </a:lnTo>
                  <a:lnTo>
                    <a:pt x="1132" y="878"/>
                  </a:lnTo>
                  <a:lnTo>
                    <a:pt x="1134" y="878"/>
                  </a:lnTo>
                  <a:lnTo>
                    <a:pt x="1142" y="878"/>
                  </a:lnTo>
                  <a:lnTo>
                    <a:pt x="1146" y="876"/>
                  </a:lnTo>
                  <a:lnTo>
                    <a:pt x="1148" y="874"/>
                  </a:lnTo>
                  <a:lnTo>
                    <a:pt x="1146" y="870"/>
                  </a:lnTo>
                  <a:lnTo>
                    <a:pt x="1146" y="866"/>
                  </a:lnTo>
                  <a:lnTo>
                    <a:pt x="1148" y="864"/>
                  </a:lnTo>
                  <a:lnTo>
                    <a:pt x="1150" y="862"/>
                  </a:lnTo>
                  <a:lnTo>
                    <a:pt x="1150" y="860"/>
                  </a:lnTo>
                  <a:lnTo>
                    <a:pt x="1152" y="852"/>
                  </a:lnTo>
                  <a:lnTo>
                    <a:pt x="1152" y="850"/>
                  </a:lnTo>
                  <a:lnTo>
                    <a:pt x="1150" y="850"/>
                  </a:lnTo>
                  <a:close/>
                  <a:moveTo>
                    <a:pt x="1254" y="830"/>
                  </a:moveTo>
                  <a:lnTo>
                    <a:pt x="1254" y="830"/>
                  </a:lnTo>
                  <a:lnTo>
                    <a:pt x="1260" y="826"/>
                  </a:lnTo>
                  <a:lnTo>
                    <a:pt x="1262" y="824"/>
                  </a:lnTo>
                  <a:lnTo>
                    <a:pt x="1260" y="820"/>
                  </a:lnTo>
                  <a:lnTo>
                    <a:pt x="1258" y="822"/>
                  </a:lnTo>
                  <a:lnTo>
                    <a:pt x="1256" y="826"/>
                  </a:lnTo>
                  <a:lnTo>
                    <a:pt x="1254" y="830"/>
                  </a:lnTo>
                  <a:close/>
                  <a:moveTo>
                    <a:pt x="1226" y="818"/>
                  </a:moveTo>
                  <a:lnTo>
                    <a:pt x="1226" y="818"/>
                  </a:lnTo>
                  <a:lnTo>
                    <a:pt x="1222" y="818"/>
                  </a:lnTo>
                  <a:lnTo>
                    <a:pt x="1218" y="820"/>
                  </a:lnTo>
                  <a:lnTo>
                    <a:pt x="1214" y="826"/>
                  </a:lnTo>
                  <a:lnTo>
                    <a:pt x="1216" y="826"/>
                  </a:lnTo>
                  <a:lnTo>
                    <a:pt x="1220" y="824"/>
                  </a:lnTo>
                  <a:lnTo>
                    <a:pt x="1224" y="822"/>
                  </a:lnTo>
                  <a:lnTo>
                    <a:pt x="1226" y="818"/>
                  </a:lnTo>
                  <a:close/>
                  <a:moveTo>
                    <a:pt x="1074" y="928"/>
                  </a:moveTo>
                  <a:lnTo>
                    <a:pt x="1074" y="928"/>
                  </a:lnTo>
                  <a:lnTo>
                    <a:pt x="1074" y="930"/>
                  </a:lnTo>
                  <a:lnTo>
                    <a:pt x="1074" y="932"/>
                  </a:lnTo>
                  <a:lnTo>
                    <a:pt x="1078" y="932"/>
                  </a:lnTo>
                  <a:lnTo>
                    <a:pt x="1082" y="930"/>
                  </a:lnTo>
                  <a:lnTo>
                    <a:pt x="1084" y="926"/>
                  </a:lnTo>
                  <a:lnTo>
                    <a:pt x="1084" y="924"/>
                  </a:lnTo>
                  <a:lnTo>
                    <a:pt x="1080" y="924"/>
                  </a:lnTo>
                  <a:lnTo>
                    <a:pt x="1076" y="924"/>
                  </a:lnTo>
                  <a:lnTo>
                    <a:pt x="1074" y="928"/>
                  </a:lnTo>
                  <a:close/>
                  <a:moveTo>
                    <a:pt x="772" y="1274"/>
                  </a:moveTo>
                  <a:lnTo>
                    <a:pt x="772" y="1274"/>
                  </a:lnTo>
                  <a:lnTo>
                    <a:pt x="784" y="1270"/>
                  </a:lnTo>
                  <a:lnTo>
                    <a:pt x="788" y="1270"/>
                  </a:lnTo>
                  <a:lnTo>
                    <a:pt x="790" y="1268"/>
                  </a:lnTo>
                  <a:lnTo>
                    <a:pt x="790" y="1266"/>
                  </a:lnTo>
                  <a:lnTo>
                    <a:pt x="788" y="1264"/>
                  </a:lnTo>
                  <a:lnTo>
                    <a:pt x="786" y="1264"/>
                  </a:lnTo>
                  <a:lnTo>
                    <a:pt x="784" y="1262"/>
                  </a:lnTo>
                  <a:lnTo>
                    <a:pt x="784" y="1260"/>
                  </a:lnTo>
                  <a:lnTo>
                    <a:pt x="778" y="1262"/>
                  </a:lnTo>
                  <a:lnTo>
                    <a:pt x="768" y="1266"/>
                  </a:lnTo>
                  <a:lnTo>
                    <a:pt x="760" y="1268"/>
                  </a:lnTo>
                  <a:lnTo>
                    <a:pt x="758" y="1270"/>
                  </a:lnTo>
                  <a:lnTo>
                    <a:pt x="756" y="1274"/>
                  </a:lnTo>
                  <a:lnTo>
                    <a:pt x="758" y="1276"/>
                  </a:lnTo>
                  <a:lnTo>
                    <a:pt x="760" y="1276"/>
                  </a:lnTo>
                  <a:lnTo>
                    <a:pt x="772" y="1274"/>
                  </a:lnTo>
                  <a:close/>
                  <a:moveTo>
                    <a:pt x="776" y="1258"/>
                  </a:moveTo>
                  <a:lnTo>
                    <a:pt x="776" y="1258"/>
                  </a:lnTo>
                  <a:lnTo>
                    <a:pt x="780" y="1256"/>
                  </a:lnTo>
                  <a:lnTo>
                    <a:pt x="778" y="1252"/>
                  </a:lnTo>
                  <a:lnTo>
                    <a:pt x="776" y="1250"/>
                  </a:lnTo>
                  <a:lnTo>
                    <a:pt x="774" y="1252"/>
                  </a:lnTo>
                  <a:lnTo>
                    <a:pt x="772" y="1254"/>
                  </a:lnTo>
                  <a:lnTo>
                    <a:pt x="764" y="1256"/>
                  </a:lnTo>
                  <a:lnTo>
                    <a:pt x="760" y="1258"/>
                  </a:lnTo>
                  <a:lnTo>
                    <a:pt x="758" y="1258"/>
                  </a:lnTo>
                  <a:lnTo>
                    <a:pt x="758" y="1260"/>
                  </a:lnTo>
                  <a:lnTo>
                    <a:pt x="764" y="1260"/>
                  </a:lnTo>
                  <a:lnTo>
                    <a:pt x="776" y="1258"/>
                  </a:lnTo>
                  <a:close/>
                  <a:moveTo>
                    <a:pt x="892" y="180"/>
                  </a:moveTo>
                  <a:lnTo>
                    <a:pt x="892" y="180"/>
                  </a:lnTo>
                  <a:lnTo>
                    <a:pt x="904" y="186"/>
                  </a:lnTo>
                  <a:lnTo>
                    <a:pt x="912" y="188"/>
                  </a:lnTo>
                  <a:lnTo>
                    <a:pt x="912" y="186"/>
                  </a:lnTo>
                  <a:lnTo>
                    <a:pt x="910" y="182"/>
                  </a:lnTo>
                  <a:lnTo>
                    <a:pt x="906" y="176"/>
                  </a:lnTo>
                  <a:lnTo>
                    <a:pt x="900" y="170"/>
                  </a:lnTo>
                  <a:lnTo>
                    <a:pt x="894" y="164"/>
                  </a:lnTo>
                  <a:lnTo>
                    <a:pt x="888" y="164"/>
                  </a:lnTo>
                  <a:lnTo>
                    <a:pt x="882" y="162"/>
                  </a:lnTo>
                  <a:lnTo>
                    <a:pt x="878" y="158"/>
                  </a:lnTo>
                  <a:lnTo>
                    <a:pt x="870" y="144"/>
                  </a:lnTo>
                  <a:lnTo>
                    <a:pt x="866" y="138"/>
                  </a:lnTo>
                  <a:lnTo>
                    <a:pt x="860" y="134"/>
                  </a:lnTo>
                  <a:lnTo>
                    <a:pt x="856" y="132"/>
                  </a:lnTo>
                  <a:lnTo>
                    <a:pt x="850" y="132"/>
                  </a:lnTo>
                  <a:lnTo>
                    <a:pt x="846" y="136"/>
                  </a:lnTo>
                  <a:lnTo>
                    <a:pt x="846" y="142"/>
                  </a:lnTo>
                  <a:lnTo>
                    <a:pt x="860" y="164"/>
                  </a:lnTo>
                  <a:lnTo>
                    <a:pt x="866" y="174"/>
                  </a:lnTo>
                  <a:lnTo>
                    <a:pt x="868" y="174"/>
                  </a:lnTo>
                  <a:lnTo>
                    <a:pt x="870" y="174"/>
                  </a:lnTo>
                  <a:lnTo>
                    <a:pt x="872" y="172"/>
                  </a:lnTo>
                  <a:lnTo>
                    <a:pt x="876" y="172"/>
                  </a:lnTo>
                  <a:lnTo>
                    <a:pt x="884" y="174"/>
                  </a:lnTo>
                  <a:lnTo>
                    <a:pt x="892" y="180"/>
                  </a:lnTo>
                  <a:close/>
                  <a:moveTo>
                    <a:pt x="1006" y="948"/>
                  </a:moveTo>
                  <a:lnTo>
                    <a:pt x="1006" y="948"/>
                  </a:lnTo>
                  <a:lnTo>
                    <a:pt x="1016" y="944"/>
                  </a:lnTo>
                  <a:lnTo>
                    <a:pt x="1026" y="934"/>
                  </a:lnTo>
                  <a:lnTo>
                    <a:pt x="1030" y="932"/>
                  </a:lnTo>
                  <a:lnTo>
                    <a:pt x="1030" y="930"/>
                  </a:lnTo>
                  <a:lnTo>
                    <a:pt x="1026" y="930"/>
                  </a:lnTo>
                  <a:lnTo>
                    <a:pt x="1018" y="930"/>
                  </a:lnTo>
                  <a:lnTo>
                    <a:pt x="1008" y="932"/>
                  </a:lnTo>
                  <a:lnTo>
                    <a:pt x="1004" y="934"/>
                  </a:lnTo>
                  <a:lnTo>
                    <a:pt x="1006" y="936"/>
                  </a:lnTo>
                  <a:lnTo>
                    <a:pt x="1006" y="938"/>
                  </a:lnTo>
                  <a:lnTo>
                    <a:pt x="1002" y="938"/>
                  </a:lnTo>
                  <a:lnTo>
                    <a:pt x="998" y="938"/>
                  </a:lnTo>
                  <a:lnTo>
                    <a:pt x="998" y="940"/>
                  </a:lnTo>
                  <a:lnTo>
                    <a:pt x="1000" y="942"/>
                  </a:lnTo>
                  <a:lnTo>
                    <a:pt x="998" y="946"/>
                  </a:lnTo>
                  <a:lnTo>
                    <a:pt x="996" y="948"/>
                  </a:lnTo>
                  <a:lnTo>
                    <a:pt x="1000" y="948"/>
                  </a:lnTo>
                  <a:lnTo>
                    <a:pt x="1006" y="948"/>
                  </a:lnTo>
                  <a:close/>
                  <a:moveTo>
                    <a:pt x="1028" y="900"/>
                  </a:moveTo>
                  <a:lnTo>
                    <a:pt x="1028" y="900"/>
                  </a:lnTo>
                  <a:lnTo>
                    <a:pt x="1024" y="900"/>
                  </a:lnTo>
                  <a:lnTo>
                    <a:pt x="1022" y="902"/>
                  </a:lnTo>
                  <a:lnTo>
                    <a:pt x="1022" y="904"/>
                  </a:lnTo>
                  <a:lnTo>
                    <a:pt x="1018" y="906"/>
                  </a:lnTo>
                  <a:lnTo>
                    <a:pt x="1016" y="904"/>
                  </a:lnTo>
                  <a:lnTo>
                    <a:pt x="1014" y="902"/>
                  </a:lnTo>
                  <a:lnTo>
                    <a:pt x="1012" y="902"/>
                  </a:lnTo>
                  <a:lnTo>
                    <a:pt x="1010" y="904"/>
                  </a:lnTo>
                  <a:lnTo>
                    <a:pt x="1008" y="904"/>
                  </a:lnTo>
                  <a:lnTo>
                    <a:pt x="1006" y="904"/>
                  </a:lnTo>
                  <a:lnTo>
                    <a:pt x="1004" y="906"/>
                  </a:lnTo>
                  <a:lnTo>
                    <a:pt x="1004" y="910"/>
                  </a:lnTo>
                  <a:lnTo>
                    <a:pt x="1002" y="912"/>
                  </a:lnTo>
                  <a:lnTo>
                    <a:pt x="1002" y="914"/>
                  </a:lnTo>
                  <a:lnTo>
                    <a:pt x="1004" y="916"/>
                  </a:lnTo>
                  <a:lnTo>
                    <a:pt x="1008" y="918"/>
                  </a:lnTo>
                  <a:lnTo>
                    <a:pt x="1012" y="916"/>
                  </a:lnTo>
                  <a:lnTo>
                    <a:pt x="1016" y="914"/>
                  </a:lnTo>
                  <a:lnTo>
                    <a:pt x="1026" y="910"/>
                  </a:lnTo>
                  <a:lnTo>
                    <a:pt x="1030" y="910"/>
                  </a:lnTo>
                  <a:lnTo>
                    <a:pt x="1026" y="914"/>
                  </a:lnTo>
                  <a:lnTo>
                    <a:pt x="1020" y="918"/>
                  </a:lnTo>
                  <a:lnTo>
                    <a:pt x="1020" y="920"/>
                  </a:lnTo>
                  <a:lnTo>
                    <a:pt x="1030" y="918"/>
                  </a:lnTo>
                  <a:lnTo>
                    <a:pt x="1040" y="916"/>
                  </a:lnTo>
                  <a:lnTo>
                    <a:pt x="1042" y="914"/>
                  </a:lnTo>
                  <a:lnTo>
                    <a:pt x="1042" y="912"/>
                  </a:lnTo>
                  <a:lnTo>
                    <a:pt x="1042" y="910"/>
                  </a:lnTo>
                  <a:lnTo>
                    <a:pt x="1040" y="906"/>
                  </a:lnTo>
                  <a:lnTo>
                    <a:pt x="1040" y="904"/>
                  </a:lnTo>
                  <a:lnTo>
                    <a:pt x="1042" y="902"/>
                  </a:lnTo>
                  <a:lnTo>
                    <a:pt x="1042" y="900"/>
                  </a:lnTo>
                  <a:lnTo>
                    <a:pt x="1038" y="896"/>
                  </a:lnTo>
                  <a:lnTo>
                    <a:pt x="1034" y="890"/>
                  </a:lnTo>
                  <a:lnTo>
                    <a:pt x="1032" y="890"/>
                  </a:lnTo>
                  <a:lnTo>
                    <a:pt x="1030" y="890"/>
                  </a:lnTo>
                  <a:lnTo>
                    <a:pt x="1028" y="890"/>
                  </a:lnTo>
                  <a:lnTo>
                    <a:pt x="1028" y="892"/>
                  </a:lnTo>
                  <a:lnTo>
                    <a:pt x="1030" y="896"/>
                  </a:lnTo>
                  <a:lnTo>
                    <a:pt x="1032" y="900"/>
                  </a:lnTo>
                  <a:lnTo>
                    <a:pt x="1028" y="900"/>
                  </a:lnTo>
                  <a:close/>
                  <a:moveTo>
                    <a:pt x="996" y="942"/>
                  </a:moveTo>
                  <a:lnTo>
                    <a:pt x="996" y="942"/>
                  </a:lnTo>
                  <a:lnTo>
                    <a:pt x="996" y="940"/>
                  </a:lnTo>
                  <a:lnTo>
                    <a:pt x="994" y="938"/>
                  </a:lnTo>
                  <a:lnTo>
                    <a:pt x="990" y="938"/>
                  </a:lnTo>
                  <a:lnTo>
                    <a:pt x="988" y="938"/>
                  </a:lnTo>
                  <a:lnTo>
                    <a:pt x="990" y="940"/>
                  </a:lnTo>
                  <a:lnTo>
                    <a:pt x="992" y="942"/>
                  </a:lnTo>
                  <a:lnTo>
                    <a:pt x="994" y="942"/>
                  </a:lnTo>
                  <a:lnTo>
                    <a:pt x="996" y="942"/>
                  </a:lnTo>
                  <a:close/>
                  <a:moveTo>
                    <a:pt x="942" y="966"/>
                  </a:moveTo>
                  <a:lnTo>
                    <a:pt x="942" y="966"/>
                  </a:lnTo>
                  <a:lnTo>
                    <a:pt x="940" y="974"/>
                  </a:lnTo>
                  <a:lnTo>
                    <a:pt x="946" y="970"/>
                  </a:lnTo>
                  <a:lnTo>
                    <a:pt x="948" y="968"/>
                  </a:lnTo>
                  <a:lnTo>
                    <a:pt x="950" y="964"/>
                  </a:lnTo>
                  <a:lnTo>
                    <a:pt x="950" y="958"/>
                  </a:lnTo>
                  <a:lnTo>
                    <a:pt x="950" y="956"/>
                  </a:lnTo>
                  <a:lnTo>
                    <a:pt x="948" y="956"/>
                  </a:lnTo>
                  <a:lnTo>
                    <a:pt x="942" y="966"/>
                  </a:lnTo>
                  <a:close/>
                  <a:moveTo>
                    <a:pt x="970" y="956"/>
                  </a:moveTo>
                  <a:lnTo>
                    <a:pt x="970" y="956"/>
                  </a:lnTo>
                  <a:lnTo>
                    <a:pt x="972" y="956"/>
                  </a:lnTo>
                  <a:lnTo>
                    <a:pt x="974" y="956"/>
                  </a:lnTo>
                  <a:lnTo>
                    <a:pt x="976" y="956"/>
                  </a:lnTo>
                  <a:lnTo>
                    <a:pt x="978" y="954"/>
                  </a:lnTo>
                  <a:lnTo>
                    <a:pt x="982" y="952"/>
                  </a:lnTo>
                  <a:lnTo>
                    <a:pt x="984" y="950"/>
                  </a:lnTo>
                  <a:lnTo>
                    <a:pt x="988" y="946"/>
                  </a:lnTo>
                  <a:lnTo>
                    <a:pt x="992" y="946"/>
                  </a:lnTo>
                  <a:lnTo>
                    <a:pt x="990" y="944"/>
                  </a:lnTo>
                  <a:lnTo>
                    <a:pt x="980" y="942"/>
                  </a:lnTo>
                  <a:lnTo>
                    <a:pt x="976" y="940"/>
                  </a:lnTo>
                  <a:lnTo>
                    <a:pt x="972" y="942"/>
                  </a:lnTo>
                  <a:lnTo>
                    <a:pt x="970" y="944"/>
                  </a:lnTo>
                  <a:lnTo>
                    <a:pt x="966" y="948"/>
                  </a:lnTo>
                  <a:lnTo>
                    <a:pt x="966" y="952"/>
                  </a:lnTo>
                  <a:lnTo>
                    <a:pt x="966" y="954"/>
                  </a:lnTo>
                  <a:lnTo>
                    <a:pt x="964" y="956"/>
                  </a:lnTo>
                  <a:lnTo>
                    <a:pt x="966" y="958"/>
                  </a:lnTo>
                  <a:lnTo>
                    <a:pt x="968" y="958"/>
                  </a:lnTo>
                  <a:lnTo>
                    <a:pt x="970" y="956"/>
                  </a:lnTo>
                  <a:close/>
                  <a:moveTo>
                    <a:pt x="958" y="954"/>
                  </a:moveTo>
                  <a:lnTo>
                    <a:pt x="958" y="954"/>
                  </a:lnTo>
                  <a:lnTo>
                    <a:pt x="958" y="956"/>
                  </a:lnTo>
                  <a:lnTo>
                    <a:pt x="956" y="956"/>
                  </a:lnTo>
                  <a:lnTo>
                    <a:pt x="954" y="956"/>
                  </a:lnTo>
                  <a:lnTo>
                    <a:pt x="954" y="960"/>
                  </a:lnTo>
                  <a:lnTo>
                    <a:pt x="956" y="962"/>
                  </a:lnTo>
                  <a:lnTo>
                    <a:pt x="962" y="958"/>
                  </a:lnTo>
                  <a:lnTo>
                    <a:pt x="964" y="954"/>
                  </a:lnTo>
                  <a:lnTo>
                    <a:pt x="962" y="950"/>
                  </a:lnTo>
                  <a:lnTo>
                    <a:pt x="960" y="950"/>
                  </a:lnTo>
                  <a:lnTo>
                    <a:pt x="958" y="954"/>
                  </a:lnTo>
                  <a:close/>
                  <a:moveTo>
                    <a:pt x="1028" y="966"/>
                  </a:moveTo>
                  <a:lnTo>
                    <a:pt x="1028" y="966"/>
                  </a:lnTo>
                  <a:lnTo>
                    <a:pt x="1032" y="966"/>
                  </a:lnTo>
                  <a:lnTo>
                    <a:pt x="1034" y="964"/>
                  </a:lnTo>
                  <a:lnTo>
                    <a:pt x="1030" y="962"/>
                  </a:lnTo>
                  <a:lnTo>
                    <a:pt x="1028" y="962"/>
                  </a:lnTo>
                  <a:lnTo>
                    <a:pt x="1026" y="964"/>
                  </a:lnTo>
                  <a:lnTo>
                    <a:pt x="1026" y="966"/>
                  </a:lnTo>
                  <a:lnTo>
                    <a:pt x="1028" y="966"/>
                  </a:lnTo>
                  <a:close/>
                  <a:moveTo>
                    <a:pt x="1078" y="890"/>
                  </a:moveTo>
                  <a:lnTo>
                    <a:pt x="1078" y="890"/>
                  </a:lnTo>
                  <a:lnTo>
                    <a:pt x="1080" y="892"/>
                  </a:lnTo>
                  <a:lnTo>
                    <a:pt x="1082" y="894"/>
                  </a:lnTo>
                  <a:lnTo>
                    <a:pt x="1088" y="896"/>
                  </a:lnTo>
                  <a:lnTo>
                    <a:pt x="1092" y="896"/>
                  </a:lnTo>
                  <a:lnTo>
                    <a:pt x="1092" y="894"/>
                  </a:lnTo>
                  <a:lnTo>
                    <a:pt x="1088" y="892"/>
                  </a:lnTo>
                  <a:lnTo>
                    <a:pt x="1082" y="890"/>
                  </a:lnTo>
                  <a:lnTo>
                    <a:pt x="1078" y="890"/>
                  </a:lnTo>
                  <a:close/>
                  <a:moveTo>
                    <a:pt x="1054" y="890"/>
                  </a:moveTo>
                  <a:lnTo>
                    <a:pt x="1054" y="890"/>
                  </a:lnTo>
                  <a:lnTo>
                    <a:pt x="1060" y="890"/>
                  </a:lnTo>
                  <a:lnTo>
                    <a:pt x="1062" y="888"/>
                  </a:lnTo>
                  <a:lnTo>
                    <a:pt x="1068" y="878"/>
                  </a:lnTo>
                  <a:lnTo>
                    <a:pt x="1072" y="872"/>
                  </a:lnTo>
                  <a:lnTo>
                    <a:pt x="1074" y="868"/>
                  </a:lnTo>
                  <a:lnTo>
                    <a:pt x="1072" y="868"/>
                  </a:lnTo>
                  <a:lnTo>
                    <a:pt x="1066" y="870"/>
                  </a:lnTo>
                  <a:lnTo>
                    <a:pt x="1054" y="878"/>
                  </a:lnTo>
                  <a:lnTo>
                    <a:pt x="1050" y="882"/>
                  </a:lnTo>
                  <a:lnTo>
                    <a:pt x="1046" y="890"/>
                  </a:lnTo>
                  <a:lnTo>
                    <a:pt x="1044" y="894"/>
                  </a:lnTo>
                  <a:lnTo>
                    <a:pt x="1044" y="896"/>
                  </a:lnTo>
                  <a:lnTo>
                    <a:pt x="1046" y="898"/>
                  </a:lnTo>
                  <a:lnTo>
                    <a:pt x="1048" y="898"/>
                  </a:lnTo>
                  <a:lnTo>
                    <a:pt x="1048" y="894"/>
                  </a:lnTo>
                  <a:lnTo>
                    <a:pt x="1050" y="892"/>
                  </a:lnTo>
                  <a:lnTo>
                    <a:pt x="1054" y="890"/>
                  </a:lnTo>
                  <a:close/>
                  <a:moveTo>
                    <a:pt x="752" y="1276"/>
                  </a:moveTo>
                  <a:lnTo>
                    <a:pt x="752" y="1276"/>
                  </a:lnTo>
                  <a:lnTo>
                    <a:pt x="750" y="1274"/>
                  </a:lnTo>
                  <a:lnTo>
                    <a:pt x="742" y="1274"/>
                  </a:lnTo>
                  <a:lnTo>
                    <a:pt x="738" y="1276"/>
                  </a:lnTo>
                  <a:lnTo>
                    <a:pt x="736" y="1278"/>
                  </a:lnTo>
                  <a:lnTo>
                    <a:pt x="742" y="1282"/>
                  </a:lnTo>
                  <a:lnTo>
                    <a:pt x="748" y="1282"/>
                  </a:lnTo>
                  <a:lnTo>
                    <a:pt x="750" y="1278"/>
                  </a:lnTo>
                  <a:lnTo>
                    <a:pt x="752" y="1276"/>
                  </a:lnTo>
                  <a:close/>
                  <a:moveTo>
                    <a:pt x="1156" y="42"/>
                  </a:moveTo>
                  <a:lnTo>
                    <a:pt x="1156" y="42"/>
                  </a:lnTo>
                  <a:lnTo>
                    <a:pt x="1164" y="44"/>
                  </a:lnTo>
                  <a:lnTo>
                    <a:pt x="1166" y="46"/>
                  </a:lnTo>
                  <a:lnTo>
                    <a:pt x="1164" y="48"/>
                  </a:lnTo>
                  <a:lnTo>
                    <a:pt x="1162" y="48"/>
                  </a:lnTo>
                  <a:lnTo>
                    <a:pt x="1160" y="50"/>
                  </a:lnTo>
                  <a:lnTo>
                    <a:pt x="1162" y="52"/>
                  </a:lnTo>
                  <a:lnTo>
                    <a:pt x="1166" y="56"/>
                  </a:lnTo>
                  <a:lnTo>
                    <a:pt x="1176" y="62"/>
                  </a:lnTo>
                  <a:lnTo>
                    <a:pt x="1186" y="66"/>
                  </a:lnTo>
                  <a:lnTo>
                    <a:pt x="1194" y="68"/>
                  </a:lnTo>
                  <a:lnTo>
                    <a:pt x="1204" y="68"/>
                  </a:lnTo>
                  <a:lnTo>
                    <a:pt x="1214" y="66"/>
                  </a:lnTo>
                  <a:lnTo>
                    <a:pt x="1238" y="62"/>
                  </a:lnTo>
                  <a:lnTo>
                    <a:pt x="1252" y="60"/>
                  </a:lnTo>
                  <a:lnTo>
                    <a:pt x="1270" y="58"/>
                  </a:lnTo>
                  <a:lnTo>
                    <a:pt x="1296" y="58"/>
                  </a:lnTo>
                  <a:lnTo>
                    <a:pt x="1298" y="60"/>
                  </a:lnTo>
                  <a:lnTo>
                    <a:pt x="1294" y="62"/>
                  </a:lnTo>
                  <a:lnTo>
                    <a:pt x="1274" y="66"/>
                  </a:lnTo>
                  <a:lnTo>
                    <a:pt x="1236" y="74"/>
                  </a:lnTo>
                  <a:lnTo>
                    <a:pt x="1220" y="78"/>
                  </a:lnTo>
                  <a:lnTo>
                    <a:pt x="1216" y="80"/>
                  </a:lnTo>
                  <a:lnTo>
                    <a:pt x="1216" y="82"/>
                  </a:lnTo>
                  <a:lnTo>
                    <a:pt x="1216" y="84"/>
                  </a:lnTo>
                  <a:lnTo>
                    <a:pt x="1220" y="86"/>
                  </a:lnTo>
                  <a:lnTo>
                    <a:pt x="1232" y="88"/>
                  </a:lnTo>
                  <a:lnTo>
                    <a:pt x="1270" y="92"/>
                  </a:lnTo>
                  <a:lnTo>
                    <a:pt x="1308" y="94"/>
                  </a:lnTo>
                  <a:lnTo>
                    <a:pt x="1324" y="96"/>
                  </a:lnTo>
                  <a:lnTo>
                    <a:pt x="1336" y="100"/>
                  </a:lnTo>
                  <a:lnTo>
                    <a:pt x="1360" y="110"/>
                  </a:lnTo>
                  <a:lnTo>
                    <a:pt x="1370" y="114"/>
                  </a:lnTo>
                  <a:lnTo>
                    <a:pt x="1380" y="114"/>
                  </a:lnTo>
                  <a:lnTo>
                    <a:pt x="1390" y="112"/>
                  </a:lnTo>
                  <a:lnTo>
                    <a:pt x="1402" y="106"/>
                  </a:lnTo>
                  <a:lnTo>
                    <a:pt x="1412" y="98"/>
                  </a:lnTo>
                  <a:lnTo>
                    <a:pt x="1420" y="96"/>
                  </a:lnTo>
                  <a:lnTo>
                    <a:pt x="1424" y="94"/>
                  </a:lnTo>
                  <a:lnTo>
                    <a:pt x="1430" y="96"/>
                  </a:lnTo>
                  <a:lnTo>
                    <a:pt x="1438" y="98"/>
                  </a:lnTo>
                  <a:lnTo>
                    <a:pt x="1446" y="98"/>
                  </a:lnTo>
                  <a:lnTo>
                    <a:pt x="1456" y="96"/>
                  </a:lnTo>
                  <a:lnTo>
                    <a:pt x="1464" y="92"/>
                  </a:lnTo>
                  <a:lnTo>
                    <a:pt x="1468" y="88"/>
                  </a:lnTo>
                  <a:lnTo>
                    <a:pt x="1468" y="84"/>
                  </a:lnTo>
                  <a:lnTo>
                    <a:pt x="1468" y="80"/>
                  </a:lnTo>
                  <a:lnTo>
                    <a:pt x="1470" y="76"/>
                  </a:lnTo>
                  <a:lnTo>
                    <a:pt x="1476" y="72"/>
                  </a:lnTo>
                  <a:lnTo>
                    <a:pt x="1488" y="66"/>
                  </a:lnTo>
                  <a:lnTo>
                    <a:pt x="1506" y="58"/>
                  </a:lnTo>
                  <a:lnTo>
                    <a:pt x="1516" y="54"/>
                  </a:lnTo>
                  <a:lnTo>
                    <a:pt x="1522" y="48"/>
                  </a:lnTo>
                  <a:lnTo>
                    <a:pt x="1520" y="42"/>
                  </a:lnTo>
                  <a:lnTo>
                    <a:pt x="1516" y="38"/>
                  </a:lnTo>
                  <a:lnTo>
                    <a:pt x="1510" y="34"/>
                  </a:lnTo>
                  <a:lnTo>
                    <a:pt x="1502" y="30"/>
                  </a:lnTo>
                  <a:lnTo>
                    <a:pt x="1492" y="28"/>
                  </a:lnTo>
                  <a:lnTo>
                    <a:pt x="1484" y="28"/>
                  </a:lnTo>
                  <a:lnTo>
                    <a:pt x="1468" y="28"/>
                  </a:lnTo>
                  <a:lnTo>
                    <a:pt x="1450" y="24"/>
                  </a:lnTo>
                  <a:lnTo>
                    <a:pt x="1430" y="18"/>
                  </a:lnTo>
                  <a:lnTo>
                    <a:pt x="1406" y="14"/>
                  </a:lnTo>
                  <a:lnTo>
                    <a:pt x="1394" y="12"/>
                  </a:lnTo>
                  <a:lnTo>
                    <a:pt x="1388" y="14"/>
                  </a:lnTo>
                  <a:lnTo>
                    <a:pt x="1384" y="16"/>
                  </a:lnTo>
                  <a:lnTo>
                    <a:pt x="1382" y="20"/>
                  </a:lnTo>
                  <a:lnTo>
                    <a:pt x="1378" y="28"/>
                  </a:lnTo>
                  <a:lnTo>
                    <a:pt x="1374" y="30"/>
                  </a:lnTo>
                  <a:lnTo>
                    <a:pt x="1366" y="30"/>
                  </a:lnTo>
                  <a:lnTo>
                    <a:pt x="1360" y="28"/>
                  </a:lnTo>
                  <a:lnTo>
                    <a:pt x="1358" y="24"/>
                  </a:lnTo>
                  <a:lnTo>
                    <a:pt x="1358" y="20"/>
                  </a:lnTo>
                  <a:lnTo>
                    <a:pt x="1360" y="16"/>
                  </a:lnTo>
                  <a:lnTo>
                    <a:pt x="1362" y="10"/>
                  </a:lnTo>
                  <a:lnTo>
                    <a:pt x="1362" y="6"/>
                  </a:lnTo>
                  <a:lnTo>
                    <a:pt x="1360" y="4"/>
                  </a:lnTo>
                  <a:lnTo>
                    <a:pt x="1350" y="0"/>
                  </a:lnTo>
                  <a:lnTo>
                    <a:pt x="1344" y="0"/>
                  </a:lnTo>
                  <a:lnTo>
                    <a:pt x="1340" y="2"/>
                  </a:lnTo>
                  <a:lnTo>
                    <a:pt x="1334" y="4"/>
                  </a:lnTo>
                  <a:lnTo>
                    <a:pt x="1332" y="8"/>
                  </a:lnTo>
                  <a:lnTo>
                    <a:pt x="1328" y="14"/>
                  </a:lnTo>
                  <a:lnTo>
                    <a:pt x="1326" y="22"/>
                  </a:lnTo>
                  <a:lnTo>
                    <a:pt x="1324" y="36"/>
                  </a:lnTo>
                  <a:lnTo>
                    <a:pt x="1322" y="40"/>
                  </a:lnTo>
                  <a:lnTo>
                    <a:pt x="1320" y="40"/>
                  </a:lnTo>
                  <a:lnTo>
                    <a:pt x="1318" y="40"/>
                  </a:lnTo>
                  <a:lnTo>
                    <a:pt x="1314" y="36"/>
                  </a:lnTo>
                  <a:lnTo>
                    <a:pt x="1306" y="24"/>
                  </a:lnTo>
                  <a:lnTo>
                    <a:pt x="1300" y="20"/>
                  </a:lnTo>
                  <a:lnTo>
                    <a:pt x="1296" y="18"/>
                  </a:lnTo>
                  <a:lnTo>
                    <a:pt x="1292" y="18"/>
                  </a:lnTo>
                  <a:lnTo>
                    <a:pt x="1286" y="18"/>
                  </a:lnTo>
                  <a:lnTo>
                    <a:pt x="1278" y="20"/>
                  </a:lnTo>
                  <a:lnTo>
                    <a:pt x="1268" y="18"/>
                  </a:lnTo>
                  <a:lnTo>
                    <a:pt x="1252" y="16"/>
                  </a:lnTo>
                  <a:lnTo>
                    <a:pt x="1232" y="8"/>
                  </a:lnTo>
                  <a:lnTo>
                    <a:pt x="1216" y="2"/>
                  </a:lnTo>
                  <a:lnTo>
                    <a:pt x="1208" y="2"/>
                  </a:lnTo>
                  <a:lnTo>
                    <a:pt x="1208" y="4"/>
                  </a:lnTo>
                  <a:lnTo>
                    <a:pt x="1212" y="10"/>
                  </a:lnTo>
                  <a:lnTo>
                    <a:pt x="1216" y="16"/>
                  </a:lnTo>
                  <a:lnTo>
                    <a:pt x="1216" y="20"/>
                  </a:lnTo>
                  <a:lnTo>
                    <a:pt x="1216" y="22"/>
                  </a:lnTo>
                  <a:lnTo>
                    <a:pt x="1212" y="22"/>
                  </a:lnTo>
                  <a:lnTo>
                    <a:pt x="1200" y="16"/>
                  </a:lnTo>
                  <a:lnTo>
                    <a:pt x="1188" y="12"/>
                  </a:lnTo>
                  <a:lnTo>
                    <a:pt x="1182" y="12"/>
                  </a:lnTo>
                  <a:lnTo>
                    <a:pt x="1184" y="14"/>
                  </a:lnTo>
                  <a:lnTo>
                    <a:pt x="1188" y="18"/>
                  </a:lnTo>
                  <a:lnTo>
                    <a:pt x="1192" y="24"/>
                  </a:lnTo>
                  <a:lnTo>
                    <a:pt x="1194" y="28"/>
                  </a:lnTo>
                  <a:lnTo>
                    <a:pt x="1194" y="30"/>
                  </a:lnTo>
                  <a:lnTo>
                    <a:pt x="1190" y="30"/>
                  </a:lnTo>
                  <a:lnTo>
                    <a:pt x="1180" y="28"/>
                  </a:lnTo>
                  <a:lnTo>
                    <a:pt x="1166" y="26"/>
                  </a:lnTo>
                  <a:lnTo>
                    <a:pt x="1154" y="24"/>
                  </a:lnTo>
                  <a:lnTo>
                    <a:pt x="1148" y="24"/>
                  </a:lnTo>
                  <a:lnTo>
                    <a:pt x="1142" y="26"/>
                  </a:lnTo>
                  <a:lnTo>
                    <a:pt x="1142" y="30"/>
                  </a:lnTo>
                  <a:lnTo>
                    <a:pt x="1144" y="34"/>
                  </a:lnTo>
                  <a:lnTo>
                    <a:pt x="1148" y="38"/>
                  </a:lnTo>
                  <a:lnTo>
                    <a:pt x="1156" y="42"/>
                  </a:lnTo>
                  <a:close/>
                  <a:moveTo>
                    <a:pt x="388" y="1446"/>
                  </a:moveTo>
                  <a:lnTo>
                    <a:pt x="388" y="1446"/>
                  </a:lnTo>
                  <a:lnTo>
                    <a:pt x="384" y="1448"/>
                  </a:lnTo>
                  <a:lnTo>
                    <a:pt x="384" y="1450"/>
                  </a:lnTo>
                  <a:lnTo>
                    <a:pt x="384" y="1452"/>
                  </a:lnTo>
                  <a:lnTo>
                    <a:pt x="386" y="1456"/>
                  </a:lnTo>
                  <a:lnTo>
                    <a:pt x="388" y="1454"/>
                  </a:lnTo>
                  <a:lnTo>
                    <a:pt x="390" y="1452"/>
                  </a:lnTo>
                  <a:lnTo>
                    <a:pt x="390" y="1448"/>
                  </a:lnTo>
                  <a:lnTo>
                    <a:pt x="388" y="1446"/>
                  </a:lnTo>
                  <a:close/>
                  <a:moveTo>
                    <a:pt x="164" y="1358"/>
                  </a:moveTo>
                  <a:lnTo>
                    <a:pt x="164" y="1358"/>
                  </a:lnTo>
                  <a:lnTo>
                    <a:pt x="166" y="1356"/>
                  </a:lnTo>
                  <a:lnTo>
                    <a:pt x="168" y="1358"/>
                  </a:lnTo>
                  <a:lnTo>
                    <a:pt x="170" y="1356"/>
                  </a:lnTo>
                  <a:lnTo>
                    <a:pt x="172" y="1354"/>
                  </a:lnTo>
                  <a:lnTo>
                    <a:pt x="170" y="1354"/>
                  </a:lnTo>
                  <a:lnTo>
                    <a:pt x="168" y="1350"/>
                  </a:lnTo>
                  <a:lnTo>
                    <a:pt x="164" y="1346"/>
                  </a:lnTo>
                  <a:lnTo>
                    <a:pt x="164" y="1348"/>
                  </a:lnTo>
                  <a:lnTo>
                    <a:pt x="164" y="1350"/>
                  </a:lnTo>
                  <a:lnTo>
                    <a:pt x="164" y="1352"/>
                  </a:lnTo>
                  <a:lnTo>
                    <a:pt x="164" y="1354"/>
                  </a:lnTo>
                  <a:lnTo>
                    <a:pt x="164" y="1358"/>
                  </a:lnTo>
                  <a:close/>
                  <a:moveTo>
                    <a:pt x="148" y="1644"/>
                  </a:moveTo>
                  <a:lnTo>
                    <a:pt x="148" y="1644"/>
                  </a:lnTo>
                  <a:lnTo>
                    <a:pt x="150" y="1642"/>
                  </a:lnTo>
                  <a:lnTo>
                    <a:pt x="150" y="1640"/>
                  </a:lnTo>
                  <a:lnTo>
                    <a:pt x="152" y="1636"/>
                  </a:lnTo>
                  <a:lnTo>
                    <a:pt x="156" y="1634"/>
                  </a:lnTo>
                  <a:lnTo>
                    <a:pt x="160" y="1634"/>
                  </a:lnTo>
                  <a:lnTo>
                    <a:pt x="162" y="1634"/>
                  </a:lnTo>
                  <a:lnTo>
                    <a:pt x="162" y="1632"/>
                  </a:lnTo>
                  <a:lnTo>
                    <a:pt x="162" y="1630"/>
                  </a:lnTo>
                  <a:lnTo>
                    <a:pt x="164" y="1630"/>
                  </a:lnTo>
                  <a:lnTo>
                    <a:pt x="166" y="1628"/>
                  </a:lnTo>
                  <a:lnTo>
                    <a:pt x="166" y="1626"/>
                  </a:lnTo>
                  <a:lnTo>
                    <a:pt x="164" y="1624"/>
                  </a:lnTo>
                  <a:lnTo>
                    <a:pt x="166" y="1622"/>
                  </a:lnTo>
                  <a:lnTo>
                    <a:pt x="164" y="1620"/>
                  </a:lnTo>
                  <a:lnTo>
                    <a:pt x="166" y="1618"/>
                  </a:lnTo>
                  <a:lnTo>
                    <a:pt x="168" y="1618"/>
                  </a:lnTo>
                  <a:lnTo>
                    <a:pt x="170" y="1618"/>
                  </a:lnTo>
                  <a:lnTo>
                    <a:pt x="174" y="1616"/>
                  </a:lnTo>
                  <a:lnTo>
                    <a:pt x="176" y="1614"/>
                  </a:lnTo>
                  <a:lnTo>
                    <a:pt x="172" y="1614"/>
                  </a:lnTo>
                  <a:lnTo>
                    <a:pt x="168" y="1614"/>
                  </a:lnTo>
                  <a:lnTo>
                    <a:pt x="172" y="1610"/>
                  </a:lnTo>
                  <a:lnTo>
                    <a:pt x="174" y="1606"/>
                  </a:lnTo>
                  <a:lnTo>
                    <a:pt x="174" y="1600"/>
                  </a:lnTo>
                  <a:lnTo>
                    <a:pt x="172" y="1598"/>
                  </a:lnTo>
                  <a:lnTo>
                    <a:pt x="170" y="1598"/>
                  </a:lnTo>
                  <a:lnTo>
                    <a:pt x="164" y="1602"/>
                  </a:lnTo>
                  <a:lnTo>
                    <a:pt x="158" y="1606"/>
                  </a:lnTo>
                  <a:lnTo>
                    <a:pt x="150" y="1610"/>
                  </a:lnTo>
                  <a:lnTo>
                    <a:pt x="148" y="1612"/>
                  </a:lnTo>
                  <a:lnTo>
                    <a:pt x="148" y="1614"/>
                  </a:lnTo>
                  <a:lnTo>
                    <a:pt x="148" y="1616"/>
                  </a:lnTo>
                  <a:lnTo>
                    <a:pt x="148" y="1620"/>
                  </a:lnTo>
                  <a:lnTo>
                    <a:pt x="146" y="1620"/>
                  </a:lnTo>
                  <a:lnTo>
                    <a:pt x="144" y="1618"/>
                  </a:lnTo>
                  <a:lnTo>
                    <a:pt x="142" y="1616"/>
                  </a:lnTo>
                  <a:lnTo>
                    <a:pt x="140" y="1616"/>
                  </a:lnTo>
                  <a:lnTo>
                    <a:pt x="136" y="1622"/>
                  </a:lnTo>
                  <a:lnTo>
                    <a:pt x="136" y="1624"/>
                  </a:lnTo>
                  <a:lnTo>
                    <a:pt x="138" y="1628"/>
                  </a:lnTo>
                  <a:lnTo>
                    <a:pt x="140" y="1630"/>
                  </a:lnTo>
                  <a:lnTo>
                    <a:pt x="138" y="1632"/>
                  </a:lnTo>
                  <a:lnTo>
                    <a:pt x="144" y="1636"/>
                  </a:lnTo>
                  <a:lnTo>
                    <a:pt x="146" y="1636"/>
                  </a:lnTo>
                  <a:lnTo>
                    <a:pt x="142" y="1638"/>
                  </a:lnTo>
                  <a:lnTo>
                    <a:pt x="138" y="1642"/>
                  </a:lnTo>
                  <a:lnTo>
                    <a:pt x="136" y="1644"/>
                  </a:lnTo>
                  <a:lnTo>
                    <a:pt x="138" y="1646"/>
                  </a:lnTo>
                  <a:lnTo>
                    <a:pt x="140" y="1648"/>
                  </a:lnTo>
                  <a:lnTo>
                    <a:pt x="142" y="1648"/>
                  </a:lnTo>
                  <a:lnTo>
                    <a:pt x="144" y="1644"/>
                  </a:lnTo>
                  <a:lnTo>
                    <a:pt x="148" y="1644"/>
                  </a:lnTo>
                  <a:close/>
                  <a:moveTo>
                    <a:pt x="84" y="2020"/>
                  </a:moveTo>
                  <a:lnTo>
                    <a:pt x="84" y="2020"/>
                  </a:lnTo>
                  <a:lnTo>
                    <a:pt x="88" y="2008"/>
                  </a:lnTo>
                  <a:lnTo>
                    <a:pt x="90" y="2008"/>
                  </a:lnTo>
                  <a:lnTo>
                    <a:pt x="92" y="2012"/>
                  </a:lnTo>
                  <a:lnTo>
                    <a:pt x="94" y="2014"/>
                  </a:lnTo>
                  <a:lnTo>
                    <a:pt x="96" y="2014"/>
                  </a:lnTo>
                  <a:lnTo>
                    <a:pt x="106" y="2008"/>
                  </a:lnTo>
                  <a:lnTo>
                    <a:pt x="120" y="2000"/>
                  </a:lnTo>
                  <a:lnTo>
                    <a:pt x="126" y="1996"/>
                  </a:lnTo>
                  <a:lnTo>
                    <a:pt x="132" y="1994"/>
                  </a:lnTo>
                  <a:lnTo>
                    <a:pt x="142" y="1992"/>
                  </a:lnTo>
                  <a:lnTo>
                    <a:pt x="148" y="1990"/>
                  </a:lnTo>
                  <a:lnTo>
                    <a:pt x="152" y="1990"/>
                  </a:lnTo>
                  <a:lnTo>
                    <a:pt x="160" y="1990"/>
                  </a:lnTo>
                  <a:lnTo>
                    <a:pt x="166" y="1992"/>
                  </a:lnTo>
                  <a:lnTo>
                    <a:pt x="168" y="1988"/>
                  </a:lnTo>
                  <a:lnTo>
                    <a:pt x="168" y="1980"/>
                  </a:lnTo>
                  <a:lnTo>
                    <a:pt x="168" y="1974"/>
                  </a:lnTo>
                  <a:lnTo>
                    <a:pt x="172" y="1966"/>
                  </a:lnTo>
                  <a:lnTo>
                    <a:pt x="176" y="1958"/>
                  </a:lnTo>
                  <a:lnTo>
                    <a:pt x="178" y="1950"/>
                  </a:lnTo>
                  <a:lnTo>
                    <a:pt x="180" y="1934"/>
                  </a:lnTo>
                  <a:lnTo>
                    <a:pt x="178" y="1920"/>
                  </a:lnTo>
                  <a:lnTo>
                    <a:pt x="174" y="1906"/>
                  </a:lnTo>
                  <a:lnTo>
                    <a:pt x="168" y="1888"/>
                  </a:lnTo>
                  <a:lnTo>
                    <a:pt x="166" y="1884"/>
                  </a:lnTo>
                  <a:lnTo>
                    <a:pt x="170" y="1884"/>
                  </a:lnTo>
                  <a:lnTo>
                    <a:pt x="172" y="1882"/>
                  </a:lnTo>
                  <a:lnTo>
                    <a:pt x="172" y="1880"/>
                  </a:lnTo>
                  <a:lnTo>
                    <a:pt x="168" y="1874"/>
                  </a:lnTo>
                  <a:lnTo>
                    <a:pt x="172" y="1874"/>
                  </a:lnTo>
                  <a:lnTo>
                    <a:pt x="176" y="1876"/>
                  </a:lnTo>
                  <a:lnTo>
                    <a:pt x="178" y="1878"/>
                  </a:lnTo>
                  <a:lnTo>
                    <a:pt x="180" y="1878"/>
                  </a:lnTo>
                  <a:lnTo>
                    <a:pt x="186" y="1870"/>
                  </a:lnTo>
                  <a:lnTo>
                    <a:pt x="190" y="1866"/>
                  </a:lnTo>
                  <a:lnTo>
                    <a:pt x="194" y="1866"/>
                  </a:lnTo>
                  <a:lnTo>
                    <a:pt x="196" y="1864"/>
                  </a:lnTo>
                  <a:lnTo>
                    <a:pt x="198" y="1862"/>
                  </a:lnTo>
                  <a:lnTo>
                    <a:pt x="196" y="1858"/>
                  </a:lnTo>
                  <a:lnTo>
                    <a:pt x="194" y="1858"/>
                  </a:lnTo>
                  <a:lnTo>
                    <a:pt x="192" y="1858"/>
                  </a:lnTo>
                  <a:lnTo>
                    <a:pt x="194" y="1854"/>
                  </a:lnTo>
                  <a:lnTo>
                    <a:pt x="196" y="1850"/>
                  </a:lnTo>
                  <a:lnTo>
                    <a:pt x="196" y="1848"/>
                  </a:lnTo>
                  <a:lnTo>
                    <a:pt x="196" y="1850"/>
                  </a:lnTo>
                  <a:lnTo>
                    <a:pt x="200" y="1858"/>
                  </a:lnTo>
                  <a:lnTo>
                    <a:pt x="202" y="1858"/>
                  </a:lnTo>
                  <a:lnTo>
                    <a:pt x="204" y="1856"/>
                  </a:lnTo>
                  <a:lnTo>
                    <a:pt x="204" y="1850"/>
                  </a:lnTo>
                  <a:lnTo>
                    <a:pt x="202" y="1844"/>
                  </a:lnTo>
                  <a:lnTo>
                    <a:pt x="198" y="1840"/>
                  </a:lnTo>
                  <a:lnTo>
                    <a:pt x="196" y="1838"/>
                  </a:lnTo>
                  <a:lnTo>
                    <a:pt x="194" y="1838"/>
                  </a:lnTo>
                  <a:lnTo>
                    <a:pt x="186" y="1840"/>
                  </a:lnTo>
                  <a:lnTo>
                    <a:pt x="184" y="1840"/>
                  </a:lnTo>
                  <a:lnTo>
                    <a:pt x="186" y="1838"/>
                  </a:lnTo>
                  <a:lnTo>
                    <a:pt x="192" y="1834"/>
                  </a:lnTo>
                  <a:lnTo>
                    <a:pt x="194" y="1832"/>
                  </a:lnTo>
                  <a:lnTo>
                    <a:pt x="192" y="1828"/>
                  </a:lnTo>
                  <a:lnTo>
                    <a:pt x="190" y="1828"/>
                  </a:lnTo>
                  <a:lnTo>
                    <a:pt x="186" y="1826"/>
                  </a:lnTo>
                  <a:lnTo>
                    <a:pt x="182" y="1820"/>
                  </a:lnTo>
                  <a:lnTo>
                    <a:pt x="176" y="1808"/>
                  </a:lnTo>
                  <a:lnTo>
                    <a:pt x="174" y="1806"/>
                  </a:lnTo>
                  <a:lnTo>
                    <a:pt x="172" y="1804"/>
                  </a:lnTo>
                  <a:lnTo>
                    <a:pt x="164" y="1806"/>
                  </a:lnTo>
                  <a:lnTo>
                    <a:pt x="156" y="1808"/>
                  </a:lnTo>
                  <a:lnTo>
                    <a:pt x="148" y="1808"/>
                  </a:lnTo>
                  <a:lnTo>
                    <a:pt x="142" y="1810"/>
                  </a:lnTo>
                  <a:lnTo>
                    <a:pt x="140" y="1812"/>
                  </a:lnTo>
                  <a:lnTo>
                    <a:pt x="138" y="1814"/>
                  </a:lnTo>
                  <a:lnTo>
                    <a:pt x="130" y="1816"/>
                  </a:lnTo>
                  <a:lnTo>
                    <a:pt x="126" y="1818"/>
                  </a:lnTo>
                  <a:lnTo>
                    <a:pt x="124" y="1822"/>
                  </a:lnTo>
                  <a:lnTo>
                    <a:pt x="122" y="1828"/>
                  </a:lnTo>
                  <a:lnTo>
                    <a:pt x="120" y="1834"/>
                  </a:lnTo>
                  <a:lnTo>
                    <a:pt x="116" y="1836"/>
                  </a:lnTo>
                  <a:lnTo>
                    <a:pt x="112" y="1836"/>
                  </a:lnTo>
                  <a:lnTo>
                    <a:pt x="116" y="1836"/>
                  </a:lnTo>
                  <a:lnTo>
                    <a:pt x="120" y="1832"/>
                  </a:lnTo>
                  <a:lnTo>
                    <a:pt x="122" y="1826"/>
                  </a:lnTo>
                  <a:lnTo>
                    <a:pt x="124" y="1818"/>
                  </a:lnTo>
                  <a:lnTo>
                    <a:pt x="128" y="1816"/>
                  </a:lnTo>
                  <a:lnTo>
                    <a:pt x="132" y="1814"/>
                  </a:lnTo>
                  <a:lnTo>
                    <a:pt x="132" y="1810"/>
                  </a:lnTo>
                  <a:lnTo>
                    <a:pt x="134" y="1808"/>
                  </a:lnTo>
                  <a:lnTo>
                    <a:pt x="138" y="1806"/>
                  </a:lnTo>
                  <a:lnTo>
                    <a:pt x="140" y="1804"/>
                  </a:lnTo>
                  <a:lnTo>
                    <a:pt x="134" y="1798"/>
                  </a:lnTo>
                  <a:lnTo>
                    <a:pt x="130" y="1796"/>
                  </a:lnTo>
                  <a:lnTo>
                    <a:pt x="126" y="1796"/>
                  </a:lnTo>
                  <a:lnTo>
                    <a:pt x="124" y="1798"/>
                  </a:lnTo>
                  <a:lnTo>
                    <a:pt x="122" y="1800"/>
                  </a:lnTo>
                  <a:lnTo>
                    <a:pt x="118" y="1804"/>
                  </a:lnTo>
                  <a:lnTo>
                    <a:pt x="116" y="1804"/>
                  </a:lnTo>
                  <a:lnTo>
                    <a:pt x="112" y="1804"/>
                  </a:lnTo>
                  <a:lnTo>
                    <a:pt x="104" y="1806"/>
                  </a:lnTo>
                  <a:lnTo>
                    <a:pt x="94" y="1810"/>
                  </a:lnTo>
                  <a:lnTo>
                    <a:pt x="86" y="1816"/>
                  </a:lnTo>
                  <a:lnTo>
                    <a:pt x="84" y="1820"/>
                  </a:lnTo>
                  <a:lnTo>
                    <a:pt x="84" y="1824"/>
                  </a:lnTo>
                  <a:lnTo>
                    <a:pt x="84" y="1828"/>
                  </a:lnTo>
                  <a:lnTo>
                    <a:pt x="82" y="1830"/>
                  </a:lnTo>
                  <a:lnTo>
                    <a:pt x="76" y="1834"/>
                  </a:lnTo>
                  <a:lnTo>
                    <a:pt x="70" y="1836"/>
                  </a:lnTo>
                  <a:lnTo>
                    <a:pt x="68" y="1838"/>
                  </a:lnTo>
                  <a:lnTo>
                    <a:pt x="68" y="1840"/>
                  </a:lnTo>
                  <a:lnTo>
                    <a:pt x="70" y="1842"/>
                  </a:lnTo>
                  <a:lnTo>
                    <a:pt x="76" y="1842"/>
                  </a:lnTo>
                  <a:lnTo>
                    <a:pt x="86" y="1842"/>
                  </a:lnTo>
                  <a:lnTo>
                    <a:pt x="94" y="1844"/>
                  </a:lnTo>
                  <a:lnTo>
                    <a:pt x="94" y="1846"/>
                  </a:lnTo>
                  <a:lnTo>
                    <a:pt x="90" y="1848"/>
                  </a:lnTo>
                  <a:lnTo>
                    <a:pt x="82" y="1856"/>
                  </a:lnTo>
                  <a:lnTo>
                    <a:pt x="78" y="1862"/>
                  </a:lnTo>
                  <a:lnTo>
                    <a:pt x="74" y="1866"/>
                  </a:lnTo>
                  <a:lnTo>
                    <a:pt x="70" y="1866"/>
                  </a:lnTo>
                  <a:lnTo>
                    <a:pt x="62" y="1864"/>
                  </a:lnTo>
                  <a:lnTo>
                    <a:pt x="58" y="1866"/>
                  </a:lnTo>
                  <a:lnTo>
                    <a:pt x="54" y="1866"/>
                  </a:lnTo>
                  <a:lnTo>
                    <a:pt x="48" y="1864"/>
                  </a:lnTo>
                  <a:lnTo>
                    <a:pt x="40" y="1860"/>
                  </a:lnTo>
                  <a:lnTo>
                    <a:pt x="30" y="1860"/>
                  </a:lnTo>
                  <a:lnTo>
                    <a:pt x="22" y="1862"/>
                  </a:lnTo>
                  <a:lnTo>
                    <a:pt x="14" y="1868"/>
                  </a:lnTo>
                  <a:lnTo>
                    <a:pt x="14" y="1870"/>
                  </a:lnTo>
                  <a:lnTo>
                    <a:pt x="18" y="1870"/>
                  </a:lnTo>
                  <a:lnTo>
                    <a:pt x="20" y="1870"/>
                  </a:lnTo>
                  <a:lnTo>
                    <a:pt x="20" y="1872"/>
                  </a:lnTo>
                  <a:lnTo>
                    <a:pt x="20" y="1874"/>
                  </a:lnTo>
                  <a:lnTo>
                    <a:pt x="18" y="1878"/>
                  </a:lnTo>
                  <a:lnTo>
                    <a:pt x="16" y="1884"/>
                  </a:lnTo>
                  <a:lnTo>
                    <a:pt x="18" y="1886"/>
                  </a:lnTo>
                  <a:lnTo>
                    <a:pt x="22" y="1888"/>
                  </a:lnTo>
                  <a:lnTo>
                    <a:pt x="28" y="1888"/>
                  </a:lnTo>
                  <a:lnTo>
                    <a:pt x="38" y="1888"/>
                  </a:lnTo>
                  <a:lnTo>
                    <a:pt x="38" y="1890"/>
                  </a:lnTo>
                  <a:lnTo>
                    <a:pt x="34" y="1892"/>
                  </a:lnTo>
                  <a:lnTo>
                    <a:pt x="24" y="1898"/>
                  </a:lnTo>
                  <a:lnTo>
                    <a:pt x="22" y="1900"/>
                  </a:lnTo>
                  <a:lnTo>
                    <a:pt x="20" y="1904"/>
                  </a:lnTo>
                  <a:lnTo>
                    <a:pt x="16" y="1908"/>
                  </a:lnTo>
                  <a:lnTo>
                    <a:pt x="14" y="1912"/>
                  </a:lnTo>
                  <a:lnTo>
                    <a:pt x="16" y="1914"/>
                  </a:lnTo>
                  <a:lnTo>
                    <a:pt x="24" y="1922"/>
                  </a:lnTo>
                  <a:lnTo>
                    <a:pt x="36" y="1928"/>
                  </a:lnTo>
                  <a:lnTo>
                    <a:pt x="40" y="1928"/>
                  </a:lnTo>
                  <a:lnTo>
                    <a:pt x="44" y="1928"/>
                  </a:lnTo>
                  <a:lnTo>
                    <a:pt x="52" y="1926"/>
                  </a:lnTo>
                  <a:lnTo>
                    <a:pt x="58" y="1928"/>
                  </a:lnTo>
                  <a:lnTo>
                    <a:pt x="60" y="1928"/>
                  </a:lnTo>
                  <a:lnTo>
                    <a:pt x="60" y="1930"/>
                  </a:lnTo>
                  <a:lnTo>
                    <a:pt x="50" y="1934"/>
                  </a:lnTo>
                  <a:lnTo>
                    <a:pt x="44" y="1936"/>
                  </a:lnTo>
                  <a:lnTo>
                    <a:pt x="42" y="1938"/>
                  </a:lnTo>
                  <a:lnTo>
                    <a:pt x="42" y="1940"/>
                  </a:lnTo>
                  <a:lnTo>
                    <a:pt x="42" y="1944"/>
                  </a:lnTo>
                  <a:lnTo>
                    <a:pt x="42" y="1948"/>
                  </a:lnTo>
                  <a:lnTo>
                    <a:pt x="40" y="1952"/>
                  </a:lnTo>
                  <a:lnTo>
                    <a:pt x="36" y="1956"/>
                  </a:lnTo>
                  <a:lnTo>
                    <a:pt x="28" y="1962"/>
                  </a:lnTo>
                  <a:lnTo>
                    <a:pt x="22" y="1966"/>
                  </a:lnTo>
                  <a:lnTo>
                    <a:pt x="22" y="1968"/>
                  </a:lnTo>
                  <a:lnTo>
                    <a:pt x="26" y="1968"/>
                  </a:lnTo>
                  <a:lnTo>
                    <a:pt x="30" y="1968"/>
                  </a:lnTo>
                  <a:lnTo>
                    <a:pt x="58" y="1960"/>
                  </a:lnTo>
                  <a:lnTo>
                    <a:pt x="64" y="1960"/>
                  </a:lnTo>
                  <a:lnTo>
                    <a:pt x="66" y="1960"/>
                  </a:lnTo>
                  <a:lnTo>
                    <a:pt x="66" y="1962"/>
                  </a:lnTo>
                  <a:lnTo>
                    <a:pt x="66" y="1964"/>
                  </a:lnTo>
                  <a:lnTo>
                    <a:pt x="62" y="1966"/>
                  </a:lnTo>
                  <a:lnTo>
                    <a:pt x="50" y="1968"/>
                  </a:lnTo>
                  <a:lnTo>
                    <a:pt x="36" y="1970"/>
                  </a:lnTo>
                  <a:lnTo>
                    <a:pt x="28" y="1974"/>
                  </a:lnTo>
                  <a:lnTo>
                    <a:pt x="24" y="1978"/>
                  </a:lnTo>
                  <a:lnTo>
                    <a:pt x="26" y="1982"/>
                  </a:lnTo>
                  <a:lnTo>
                    <a:pt x="28" y="1984"/>
                  </a:lnTo>
                  <a:lnTo>
                    <a:pt x="26" y="1986"/>
                  </a:lnTo>
                  <a:lnTo>
                    <a:pt x="22" y="1984"/>
                  </a:lnTo>
                  <a:lnTo>
                    <a:pt x="14" y="1984"/>
                  </a:lnTo>
                  <a:lnTo>
                    <a:pt x="10" y="1986"/>
                  </a:lnTo>
                  <a:lnTo>
                    <a:pt x="4" y="1988"/>
                  </a:lnTo>
                  <a:lnTo>
                    <a:pt x="0" y="1994"/>
                  </a:lnTo>
                  <a:lnTo>
                    <a:pt x="0" y="1996"/>
                  </a:lnTo>
                  <a:lnTo>
                    <a:pt x="2" y="1996"/>
                  </a:lnTo>
                  <a:lnTo>
                    <a:pt x="6" y="1996"/>
                  </a:lnTo>
                  <a:lnTo>
                    <a:pt x="10" y="1996"/>
                  </a:lnTo>
                  <a:lnTo>
                    <a:pt x="14" y="1996"/>
                  </a:lnTo>
                  <a:lnTo>
                    <a:pt x="14" y="2000"/>
                  </a:lnTo>
                  <a:lnTo>
                    <a:pt x="10" y="2004"/>
                  </a:lnTo>
                  <a:lnTo>
                    <a:pt x="6" y="2010"/>
                  </a:lnTo>
                  <a:lnTo>
                    <a:pt x="4" y="2012"/>
                  </a:lnTo>
                  <a:lnTo>
                    <a:pt x="8" y="2014"/>
                  </a:lnTo>
                  <a:lnTo>
                    <a:pt x="12" y="2016"/>
                  </a:lnTo>
                  <a:lnTo>
                    <a:pt x="18" y="2018"/>
                  </a:lnTo>
                  <a:lnTo>
                    <a:pt x="20" y="2020"/>
                  </a:lnTo>
                  <a:lnTo>
                    <a:pt x="16" y="2024"/>
                  </a:lnTo>
                  <a:lnTo>
                    <a:pt x="14" y="2026"/>
                  </a:lnTo>
                  <a:lnTo>
                    <a:pt x="16" y="2026"/>
                  </a:lnTo>
                  <a:lnTo>
                    <a:pt x="28" y="2022"/>
                  </a:lnTo>
                  <a:lnTo>
                    <a:pt x="36" y="2020"/>
                  </a:lnTo>
                  <a:lnTo>
                    <a:pt x="36" y="2022"/>
                  </a:lnTo>
                  <a:lnTo>
                    <a:pt x="30" y="2026"/>
                  </a:lnTo>
                  <a:lnTo>
                    <a:pt x="28" y="2030"/>
                  </a:lnTo>
                  <a:lnTo>
                    <a:pt x="28" y="2032"/>
                  </a:lnTo>
                  <a:lnTo>
                    <a:pt x="30" y="2034"/>
                  </a:lnTo>
                  <a:lnTo>
                    <a:pt x="38" y="2034"/>
                  </a:lnTo>
                  <a:lnTo>
                    <a:pt x="48" y="2032"/>
                  </a:lnTo>
                  <a:lnTo>
                    <a:pt x="70" y="2028"/>
                  </a:lnTo>
                  <a:lnTo>
                    <a:pt x="78" y="2024"/>
                  </a:lnTo>
                  <a:lnTo>
                    <a:pt x="84" y="2020"/>
                  </a:lnTo>
                  <a:close/>
                  <a:moveTo>
                    <a:pt x="154" y="1672"/>
                  </a:moveTo>
                  <a:lnTo>
                    <a:pt x="154" y="1672"/>
                  </a:lnTo>
                  <a:lnTo>
                    <a:pt x="156" y="1672"/>
                  </a:lnTo>
                  <a:lnTo>
                    <a:pt x="158" y="1670"/>
                  </a:lnTo>
                  <a:lnTo>
                    <a:pt x="162" y="1672"/>
                  </a:lnTo>
                  <a:lnTo>
                    <a:pt x="162" y="1674"/>
                  </a:lnTo>
                  <a:lnTo>
                    <a:pt x="162" y="1676"/>
                  </a:lnTo>
                  <a:lnTo>
                    <a:pt x="162" y="1678"/>
                  </a:lnTo>
                  <a:lnTo>
                    <a:pt x="164" y="1682"/>
                  </a:lnTo>
                  <a:lnTo>
                    <a:pt x="168" y="1684"/>
                  </a:lnTo>
                  <a:lnTo>
                    <a:pt x="170" y="1684"/>
                  </a:lnTo>
                  <a:lnTo>
                    <a:pt x="174" y="1682"/>
                  </a:lnTo>
                  <a:lnTo>
                    <a:pt x="180" y="1682"/>
                  </a:lnTo>
                  <a:lnTo>
                    <a:pt x="182" y="1684"/>
                  </a:lnTo>
                  <a:lnTo>
                    <a:pt x="182" y="1688"/>
                  </a:lnTo>
                  <a:lnTo>
                    <a:pt x="180" y="1692"/>
                  </a:lnTo>
                  <a:lnTo>
                    <a:pt x="180" y="1694"/>
                  </a:lnTo>
                  <a:lnTo>
                    <a:pt x="182" y="1692"/>
                  </a:lnTo>
                  <a:lnTo>
                    <a:pt x="186" y="1688"/>
                  </a:lnTo>
                  <a:lnTo>
                    <a:pt x="192" y="1678"/>
                  </a:lnTo>
                  <a:lnTo>
                    <a:pt x="192" y="1676"/>
                  </a:lnTo>
                  <a:lnTo>
                    <a:pt x="190" y="1676"/>
                  </a:lnTo>
                  <a:lnTo>
                    <a:pt x="184" y="1678"/>
                  </a:lnTo>
                  <a:lnTo>
                    <a:pt x="180" y="1676"/>
                  </a:lnTo>
                  <a:lnTo>
                    <a:pt x="178" y="1674"/>
                  </a:lnTo>
                  <a:lnTo>
                    <a:pt x="176" y="1672"/>
                  </a:lnTo>
                  <a:lnTo>
                    <a:pt x="174" y="1662"/>
                  </a:lnTo>
                  <a:lnTo>
                    <a:pt x="172" y="1654"/>
                  </a:lnTo>
                  <a:lnTo>
                    <a:pt x="170" y="1652"/>
                  </a:lnTo>
                  <a:lnTo>
                    <a:pt x="168" y="1650"/>
                  </a:lnTo>
                  <a:lnTo>
                    <a:pt x="166" y="1650"/>
                  </a:lnTo>
                  <a:lnTo>
                    <a:pt x="166" y="1652"/>
                  </a:lnTo>
                  <a:lnTo>
                    <a:pt x="166" y="1656"/>
                  </a:lnTo>
                  <a:lnTo>
                    <a:pt x="166" y="1662"/>
                  </a:lnTo>
                  <a:lnTo>
                    <a:pt x="166" y="1664"/>
                  </a:lnTo>
                  <a:lnTo>
                    <a:pt x="162" y="1664"/>
                  </a:lnTo>
                  <a:lnTo>
                    <a:pt x="160" y="1660"/>
                  </a:lnTo>
                  <a:lnTo>
                    <a:pt x="158" y="1658"/>
                  </a:lnTo>
                  <a:lnTo>
                    <a:pt x="154" y="1656"/>
                  </a:lnTo>
                  <a:lnTo>
                    <a:pt x="154" y="1658"/>
                  </a:lnTo>
                  <a:lnTo>
                    <a:pt x="154" y="1660"/>
                  </a:lnTo>
                  <a:lnTo>
                    <a:pt x="156" y="1664"/>
                  </a:lnTo>
                  <a:lnTo>
                    <a:pt x="154" y="1666"/>
                  </a:lnTo>
                  <a:lnTo>
                    <a:pt x="150" y="1666"/>
                  </a:lnTo>
                  <a:lnTo>
                    <a:pt x="150" y="1668"/>
                  </a:lnTo>
                  <a:lnTo>
                    <a:pt x="154" y="1672"/>
                  </a:lnTo>
                  <a:close/>
                  <a:moveTo>
                    <a:pt x="146" y="1346"/>
                  </a:moveTo>
                  <a:lnTo>
                    <a:pt x="146" y="1346"/>
                  </a:lnTo>
                  <a:lnTo>
                    <a:pt x="142" y="1346"/>
                  </a:lnTo>
                  <a:lnTo>
                    <a:pt x="144" y="1352"/>
                  </a:lnTo>
                  <a:lnTo>
                    <a:pt x="148" y="1358"/>
                  </a:lnTo>
                  <a:lnTo>
                    <a:pt x="154" y="1362"/>
                  </a:lnTo>
                  <a:lnTo>
                    <a:pt x="158" y="1364"/>
                  </a:lnTo>
                  <a:lnTo>
                    <a:pt x="160" y="1364"/>
                  </a:lnTo>
                  <a:lnTo>
                    <a:pt x="162" y="1362"/>
                  </a:lnTo>
                  <a:lnTo>
                    <a:pt x="160" y="1360"/>
                  </a:lnTo>
                  <a:lnTo>
                    <a:pt x="158" y="1358"/>
                  </a:lnTo>
                  <a:lnTo>
                    <a:pt x="160" y="1358"/>
                  </a:lnTo>
                  <a:lnTo>
                    <a:pt x="160" y="1356"/>
                  </a:lnTo>
                  <a:lnTo>
                    <a:pt x="158" y="1356"/>
                  </a:lnTo>
                  <a:lnTo>
                    <a:pt x="154" y="1354"/>
                  </a:lnTo>
                  <a:lnTo>
                    <a:pt x="154" y="1352"/>
                  </a:lnTo>
                  <a:lnTo>
                    <a:pt x="154" y="1350"/>
                  </a:lnTo>
                  <a:lnTo>
                    <a:pt x="152" y="1350"/>
                  </a:lnTo>
                  <a:lnTo>
                    <a:pt x="148" y="1350"/>
                  </a:lnTo>
                  <a:lnTo>
                    <a:pt x="148" y="1348"/>
                  </a:lnTo>
                  <a:lnTo>
                    <a:pt x="148" y="1346"/>
                  </a:lnTo>
                  <a:lnTo>
                    <a:pt x="146" y="1346"/>
                  </a:lnTo>
                  <a:close/>
                  <a:moveTo>
                    <a:pt x="166" y="1740"/>
                  </a:moveTo>
                  <a:lnTo>
                    <a:pt x="166" y="1740"/>
                  </a:lnTo>
                  <a:lnTo>
                    <a:pt x="166" y="1742"/>
                  </a:lnTo>
                  <a:lnTo>
                    <a:pt x="168" y="1742"/>
                  </a:lnTo>
                  <a:lnTo>
                    <a:pt x="174" y="1740"/>
                  </a:lnTo>
                  <a:lnTo>
                    <a:pt x="188" y="1736"/>
                  </a:lnTo>
                  <a:lnTo>
                    <a:pt x="194" y="1734"/>
                  </a:lnTo>
                  <a:lnTo>
                    <a:pt x="192" y="1732"/>
                  </a:lnTo>
                  <a:lnTo>
                    <a:pt x="190" y="1728"/>
                  </a:lnTo>
                  <a:lnTo>
                    <a:pt x="184" y="1724"/>
                  </a:lnTo>
                  <a:lnTo>
                    <a:pt x="178" y="1722"/>
                  </a:lnTo>
                  <a:lnTo>
                    <a:pt x="176" y="1718"/>
                  </a:lnTo>
                  <a:lnTo>
                    <a:pt x="174" y="1718"/>
                  </a:lnTo>
                  <a:lnTo>
                    <a:pt x="170" y="1720"/>
                  </a:lnTo>
                  <a:lnTo>
                    <a:pt x="168" y="1722"/>
                  </a:lnTo>
                  <a:lnTo>
                    <a:pt x="166" y="1724"/>
                  </a:lnTo>
                  <a:lnTo>
                    <a:pt x="174" y="1728"/>
                  </a:lnTo>
                  <a:lnTo>
                    <a:pt x="176" y="1730"/>
                  </a:lnTo>
                  <a:lnTo>
                    <a:pt x="174" y="1730"/>
                  </a:lnTo>
                  <a:lnTo>
                    <a:pt x="172" y="1732"/>
                  </a:lnTo>
                  <a:lnTo>
                    <a:pt x="172" y="1734"/>
                  </a:lnTo>
                  <a:lnTo>
                    <a:pt x="172" y="1736"/>
                  </a:lnTo>
                  <a:lnTo>
                    <a:pt x="170" y="1736"/>
                  </a:lnTo>
                  <a:lnTo>
                    <a:pt x="168" y="1738"/>
                  </a:lnTo>
                  <a:lnTo>
                    <a:pt x="166" y="1740"/>
                  </a:lnTo>
                  <a:close/>
                  <a:moveTo>
                    <a:pt x="362" y="2084"/>
                  </a:moveTo>
                  <a:lnTo>
                    <a:pt x="362" y="2084"/>
                  </a:lnTo>
                  <a:lnTo>
                    <a:pt x="370" y="2088"/>
                  </a:lnTo>
                  <a:lnTo>
                    <a:pt x="376" y="2088"/>
                  </a:lnTo>
                  <a:lnTo>
                    <a:pt x="380" y="2086"/>
                  </a:lnTo>
                  <a:lnTo>
                    <a:pt x="378" y="2082"/>
                  </a:lnTo>
                  <a:lnTo>
                    <a:pt x="376" y="2080"/>
                  </a:lnTo>
                  <a:lnTo>
                    <a:pt x="372" y="2078"/>
                  </a:lnTo>
                  <a:lnTo>
                    <a:pt x="366" y="2080"/>
                  </a:lnTo>
                  <a:lnTo>
                    <a:pt x="362" y="2084"/>
                  </a:lnTo>
                  <a:close/>
                  <a:moveTo>
                    <a:pt x="174" y="1354"/>
                  </a:moveTo>
                  <a:lnTo>
                    <a:pt x="174" y="1354"/>
                  </a:lnTo>
                  <a:lnTo>
                    <a:pt x="176" y="1352"/>
                  </a:lnTo>
                  <a:lnTo>
                    <a:pt x="176" y="1350"/>
                  </a:lnTo>
                  <a:lnTo>
                    <a:pt x="174" y="1348"/>
                  </a:lnTo>
                  <a:lnTo>
                    <a:pt x="174" y="1350"/>
                  </a:lnTo>
                  <a:lnTo>
                    <a:pt x="172" y="1350"/>
                  </a:lnTo>
                  <a:lnTo>
                    <a:pt x="172" y="1352"/>
                  </a:lnTo>
                  <a:lnTo>
                    <a:pt x="174" y="1354"/>
                  </a:lnTo>
                  <a:close/>
                  <a:moveTo>
                    <a:pt x="168" y="1784"/>
                  </a:moveTo>
                  <a:lnTo>
                    <a:pt x="168" y="1784"/>
                  </a:lnTo>
                  <a:lnTo>
                    <a:pt x="170" y="1784"/>
                  </a:lnTo>
                  <a:lnTo>
                    <a:pt x="176" y="1780"/>
                  </a:lnTo>
                  <a:lnTo>
                    <a:pt x="178" y="1776"/>
                  </a:lnTo>
                  <a:lnTo>
                    <a:pt x="178" y="1772"/>
                  </a:lnTo>
                  <a:lnTo>
                    <a:pt x="176" y="1768"/>
                  </a:lnTo>
                  <a:lnTo>
                    <a:pt x="176" y="1764"/>
                  </a:lnTo>
                  <a:lnTo>
                    <a:pt x="176" y="1762"/>
                  </a:lnTo>
                  <a:lnTo>
                    <a:pt x="174" y="1762"/>
                  </a:lnTo>
                  <a:lnTo>
                    <a:pt x="172" y="1764"/>
                  </a:lnTo>
                  <a:lnTo>
                    <a:pt x="170" y="1766"/>
                  </a:lnTo>
                  <a:lnTo>
                    <a:pt x="168" y="1766"/>
                  </a:lnTo>
                  <a:lnTo>
                    <a:pt x="166" y="1764"/>
                  </a:lnTo>
                  <a:lnTo>
                    <a:pt x="166" y="1766"/>
                  </a:lnTo>
                  <a:lnTo>
                    <a:pt x="162" y="1768"/>
                  </a:lnTo>
                  <a:lnTo>
                    <a:pt x="158" y="1772"/>
                  </a:lnTo>
                  <a:lnTo>
                    <a:pt x="158" y="1774"/>
                  </a:lnTo>
                  <a:lnTo>
                    <a:pt x="160" y="1776"/>
                  </a:lnTo>
                  <a:lnTo>
                    <a:pt x="162" y="1776"/>
                  </a:lnTo>
                  <a:lnTo>
                    <a:pt x="166" y="1774"/>
                  </a:lnTo>
                  <a:lnTo>
                    <a:pt x="168" y="1774"/>
                  </a:lnTo>
                  <a:lnTo>
                    <a:pt x="170" y="1776"/>
                  </a:lnTo>
                  <a:lnTo>
                    <a:pt x="170" y="1778"/>
                  </a:lnTo>
                  <a:lnTo>
                    <a:pt x="168" y="1780"/>
                  </a:lnTo>
                  <a:lnTo>
                    <a:pt x="166" y="1782"/>
                  </a:lnTo>
                  <a:lnTo>
                    <a:pt x="168" y="1784"/>
                  </a:lnTo>
                  <a:close/>
                  <a:moveTo>
                    <a:pt x="190" y="1748"/>
                  </a:moveTo>
                  <a:lnTo>
                    <a:pt x="190" y="1748"/>
                  </a:lnTo>
                  <a:lnTo>
                    <a:pt x="186" y="1752"/>
                  </a:lnTo>
                  <a:lnTo>
                    <a:pt x="182" y="1756"/>
                  </a:lnTo>
                  <a:lnTo>
                    <a:pt x="178" y="1762"/>
                  </a:lnTo>
                  <a:lnTo>
                    <a:pt x="178" y="1768"/>
                  </a:lnTo>
                  <a:lnTo>
                    <a:pt x="180" y="1768"/>
                  </a:lnTo>
                  <a:lnTo>
                    <a:pt x="182" y="1766"/>
                  </a:lnTo>
                  <a:lnTo>
                    <a:pt x="188" y="1758"/>
                  </a:lnTo>
                  <a:lnTo>
                    <a:pt x="192" y="1750"/>
                  </a:lnTo>
                  <a:lnTo>
                    <a:pt x="192" y="1748"/>
                  </a:lnTo>
                  <a:lnTo>
                    <a:pt x="190" y="1748"/>
                  </a:lnTo>
                  <a:close/>
                  <a:moveTo>
                    <a:pt x="700" y="1324"/>
                  </a:moveTo>
                  <a:lnTo>
                    <a:pt x="700" y="1324"/>
                  </a:lnTo>
                  <a:lnTo>
                    <a:pt x="698" y="1322"/>
                  </a:lnTo>
                  <a:lnTo>
                    <a:pt x="694" y="1322"/>
                  </a:lnTo>
                  <a:lnTo>
                    <a:pt x="690" y="1324"/>
                  </a:lnTo>
                  <a:lnTo>
                    <a:pt x="690" y="1326"/>
                  </a:lnTo>
                  <a:lnTo>
                    <a:pt x="692" y="1326"/>
                  </a:lnTo>
                  <a:lnTo>
                    <a:pt x="696" y="1326"/>
                  </a:lnTo>
                  <a:lnTo>
                    <a:pt x="700" y="1326"/>
                  </a:lnTo>
                  <a:lnTo>
                    <a:pt x="700" y="1324"/>
                  </a:lnTo>
                  <a:close/>
                  <a:moveTo>
                    <a:pt x="494" y="1970"/>
                  </a:moveTo>
                  <a:lnTo>
                    <a:pt x="494" y="1970"/>
                  </a:lnTo>
                  <a:lnTo>
                    <a:pt x="492" y="1962"/>
                  </a:lnTo>
                  <a:lnTo>
                    <a:pt x="486" y="1954"/>
                  </a:lnTo>
                  <a:lnTo>
                    <a:pt x="478" y="1948"/>
                  </a:lnTo>
                  <a:lnTo>
                    <a:pt x="470" y="1944"/>
                  </a:lnTo>
                  <a:lnTo>
                    <a:pt x="460" y="1942"/>
                  </a:lnTo>
                  <a:lnTo>
                    <a:pt x="452" y="1942"/>
                  </a:lnTo>
                  <a:lnTo>
                    <a:pt x="446" y="1944"/>
                  </a:lnTo>
                  <a:lnTo>
                    <a:pt x="442" y="1948"/>
                  </a:lnTo>
                  <a:lnTo>
                    <a:pt x="438" y="1954"/>
                  </a:lnTo>
                  <a:lnTo>
                    <a:pt x="434" y="1954"/>
                  </a:lnTo>
                  <a:lnTo>
                    <a:pt x="432" y="1952"/>
                  </a:lnTo>
                  <a:lnTo>
                    <a:pt x="428" y="1950"/>
                  </a:lnTo>
                  <a:lnTo>
                    <a:pt x="424" y="1948"/>
                  </a:lnTo>
                  <a:lnTo>
                    <a:pt x="424" y="1946"/>
                  </a:lnTo>
                  <a:lnTo>
                    <a:pt x="428" y="1942"/>
                  </a:lnTo>
                  <a:lnTo>
                    <a:pt x="434" y="1938"/>
                  </a:lnTo>
                  <a:lnTo>
                    <a:pt x="436" y="1936"/>
                  </a:lnTo>
                  <a:lnTo>
                    <a:pt x="438" y="1932"/>
                  </a:lnTo>
                  <a:lnTo>
                    <a:pt x="434" y="1924"/>
                  </a:lnTo>
                  <a:lnTo>
                    <a:pt x="428" y="1914"/>
                  </a:lnTo>
                  <a:lnTo>
                    <a:pt x="418" y="1906"/>
                  </a:lnTo>
                  <a:lnTo>
                    <a:pt x="410" y="1902"/>
                  </a:lnTo>
                  <a:lnTo>
                    <a:pt x="408" y="1898"/>
                  </a:lnTo>
                  <a:lnTo>
                    <a:pt x="410" y="1898"/>
                  </a:lnTo>
                  <a:lnTo>
                    <a:pt x="418" y="1902"/>
                  </a:lnTo>
                  <a:lnTo>
                    <a:pt x="424" y="1906"/>
                  </a:lnTo>
                  <a:lnTo>
                    <a:pt x="428" y="1906"/>
                  </a:lnTo>
                  <a:lnTo>
                    <a:pt x="430" y="1904"/>
                  </a:lnTo>
                  <a:lnTo>
                    <a:pt x="428" y="1902"/>
                  </a:lnTo>
                  <a:lnTo>
                    <a:pt x="422" y="1894"/>
                  </a:lnTo>
                  <a:lnTo>
                    <a:pt x="418" y="1888"/>
                  </a:lnTo>
                  <a:lnTo>
                    <a:pt x="416" y="1884"/>
                  </a:lnTo>
                  <a:lnTo>
                    <a:pt x="416" y="1876"/>
                  </a:lnTo>
                  <a:lnTo>
                    <a:pt x="416" y="1872"/>
                  </a:lnTo>
                  <a:lnTo>
                    <a:pt x="416" y="1870"/>
                  </a:lnTo>
                  <a:lnTo>
                    <a:pt x="412" y="1868"/>
                  </a:lnTo>
                  <a:lnTo>
                    <a:pt x="408" y="1866"/>
                  </a:lnTo>
                  <a:lnTo>
                    <a:pt x="406" y="1864"/>
                  </a:lnTo>
                  <a:lnTo>
                    <a:pt x="404" y="1858"/>
                  </a:lnTo>
                  <a:lnTo>
                    <a:pt x="400" y="1852"/>
                  </a:lnTo>
                  <a:lnTo>
                    <a:pt x="396" y="1850"/>
                  </a:lnTo>
                  <a:lnTo>
                    <a:pt x="390" y="1848"/>
                  </a:lnTo>
                  <a:lnTo>
                    <a:pt x="380" y="1844"/>
                  </a:lnTo>
                  <a:lnTo>
                    <a:pt x="376" y="1842"/>
                  </a:lnTo>
                  <a:lnTo>
                    <a:pt x="372" y="1836"/>
                  </a:lnTo>
                  <a:lnTo>
                    <a:pt x="366" y="1822"/>
                  </a:lnTo>
                  <a:lnTo>
                    <a:pt x="360" y="1806"/>
                  </a:lnTo>
                  <a:lnTo>
                    <a:pt x="358" y="1794"/>
                  </a:lnTo>
                  <a:lnTo>
                    <a:pt x="356" y="1786"/>
                  </a:lnTo>
                  <a:lnTo>
                    <a:pt x="354" y="1782"/>
                  </a:lnTo>
                  <a:lnTo>
                    <a:pt x="352" y="1780"/>
                  </a:lnTo>
                  <a:lnTo>
                    <a:pt x="346" y="1774"/>
                  </a:lnTo>
                  <a:lnTo>
                    <a:pt x="342" y="1768"/>
                  </a:lnTo>
                  <a:lnTo>
                    <a:pt x="336" y="1762"/>
                  </a:lnTo>
                  <a:lnTo>
                    <a:pt x="322" y="1756"/>
                  </a:lnTo>
                  <a:lnTo>
                    <a:pt x="314" y="1754"/>
                  </a:lnTo>
                  <a:lnTo>
                    <a:pt x="310" y="1754"/>
                  </a:lnTo>
                  <a:lnTo>
                    <a:pt x="308" y="1754"/>
                  </a:lnTo>
                  <a:lnTo>
                    <a:pt x="306" y="1756"/>
                  </a:lnTo>
                  <a:lnTo>
                    <a:pt x="302" y="1758"/>
                  </a:lnTo>
                  <a:lnTo>
                    <a:pt x="298" y="1760"/>
                  </a:lnTo>
                  <a:lnTo>
                    <a:pt x="290" y="1758"/>
                  </a:lnTo>
                  <a:lnTo>
                    <a:pt x="286" y="1758"/>
                  </a:lnTo>
                  <a:lnTo>
                    <a:pt x="288" y="1756"/>
                  </a:lnTo>
                  <a:lnTo>
                    <a:pt x="294" y="1754"/>
                  </a:lnTo>
                  <a:lnTo>
                    <a:pt x="300" y="1748"/>
                  </a:lnTo>
                  <a:lnTo>
                    <a:pt x="302" y="1746"/>
                  </a:lnTo>
                  <a:lnTo>
                    <a:pt x="304" y="1746"/>
                  </a:lnTo>
                  <a:lnTo>
                    <a:pt x="308" y="1746"/>
                  </a:lnTo>
                  <a:lnTo>
                    <a:pt x="316" y="1742"/>
                  </a:lnTo>
                  <a:lnTo>
                    <a:pt x="318" y="1742"/>
                  </a:lnTo>
                  <a:lnTo>
                    <a:pt x="318" y="1740"/>
                  </a:lnTo>
                  <a:lnTo>
                    <a:pt x="316" y="1738"/>
                  </a:lnTo>
                  <a:lnTo>
                    <a:pt x="310" y="1736"/>
                  </a:lnTo>
                  <a:lnTo>
                    <a:pt x="308" y="1734"/>
                  </a:lnTo>
                  <a:lnTo>
                    <a:pt x="308" y="1730"/>
                  </a:lnTo>
                  <a:lnTo>
                    <a:pt x="304" y="1728"/>
                  </a:lnTo>
                  <a:lnTo>
                    <a:pt x="304" y="1726"/>
                  </a:lnTo>
                  <a:lnTo>
                    <a:pt x="306" y="1728"/>
                  </a:lnTo>
                  <a:lnTo>
                    <a:pt x="312" y="1728"/>
                  </a:lnTo>
                  <a:lnTo>
                    <a:pt x="314" y="1728"/>
                  </a:lnTo>
                  <a:lnTo>
                    <a:pt x="318" y="1726"/>
                  </a:lnTo>
                  <a:lnTo>
                    <a:pt x="326" y="1716"/>
                  </a:lnTo>
                  <a:lnTo>
                    <a:pt x="334" y="1696"/>
                  </a:lnTo>
                  <a:lnTo>
                    <a:pt x="342" y="1678"/>
                  </a:lnTo>
                  <a:lnTo>
                    <a:pt x="348" y="1668"/>
                  </a:lnTo>
                  <a:lnTo>
                    <a:pt x="350" y="1664"/>
                  </a:lnTo>
                  <a:lnTo>
                    <a:pt x="348" y="1656"/>
                  </a:lnTo>
                  <a:lnTo>
                    <a:pt x="346" y="1652"/>
                  </a:lnTo>
                  <a:lnTo>
                    <a:pt x="342" y="1650"/>
                  </a:lnTo>
                  <a:lnTo>
                    <a:pt x="332" y="1650"/>
                  </a:lnTo>
                  <a:lnTo>
                    <a:pt x="320" y="1650"/>
                  </a:lnTo>
                  <a:lnTo>
                    <a:pt x="302" y="1650"/>
                  </a:lnTo>
                  <a:lnTo>
                    <a:pt x="286" y="1650"/>
                  </a:lnTo>
                  <a:lnTo>
                    <a:pt x="274" y="1652"/>
                  </a:lnTo>
                  <a:lnTo>
                    <a:pt x="268" y="1656"/>
                  </a:lnTo>
                  <a:lnTo>
                    <a:pt x="262" y="1658"/>
                  </a:lnTo>
                  <a:lnTo>
                    <a:pt x="258" y="1658"/>
                  </a:lnTo>
                  <a:lnTo>
                    <a:pt x="258" y="1654"/>
                  </a:lnTo>
                  <a:lnTo>
                    <a:pt x="268" y="1644"/>
                  </a:lnTo>
                  <a:lnTo>
                    <a:pt x="270" y="1642"/>
                  </a:lnTo>
                  <a:lnTo>
                    <a:pt x="268" y="1642"/>
                  </a:lnTo>
                  <a:lnTo>
                    <a:pt x="264" y="1642"/>
                  </a:lnTo>
                  <a:lnTo>
                    <a:pt x="258" y="1642"/>
                  </a:lnTo>
                  <a:lnTo>
                    <a:pt x="260" y="1640"/>
                  </a:lnTo>
                  <a:lnTo>
                    <a:pt x="270" y="1632"/>
                  </a:lnTo>
                  <a:lnTo>
                    <a:pt x="284" y="1620"/>
                  </a:lnTo>
                  <a:lnTo>
                    <a:pt x="296" y="1608"/>
                  </a:lnTo>
                  <a:lnTo>
                    <a:pt x="300" y="1604"/>
                  </a:lnTo>
                  <a:lnTo>
                    <a:pt x="300" y="1600"/>
                  </a:lnTo>
                  <a:lnTo>
                    <a:pt x="298" y="1598"/>
                  </a:lnTo>
                  <a:lnTo>
                    <a:pt x="298" y="1596"/>
                  </a:lnTo>
                  <a:lnTo>
                    <a:pt x="300" y="1592"/>
                  </a:lnTo>
                  <a:lnTo>
                    <a:pt x="300" y="1590"/>
                  </a:lnTo>
                  <a:lnTo>
                    <a:pt x="292" y="1588"/>
                  </a:lnTo>
                  <a:lnTo>
                    <a:pt x="286" y="1588"/>
                  </a:lnTo>
                  <a:lnTo>
                    <a:pt x="284" y="1590"/>
                  </a:lnTo>
                  <a:lnTo>
                    <a:pt x="284" y="1592"/>
                  </a:lnTo>
                  <a:lnTo>
                    <a:pt x="280" y="1592"/>
                  </a:lnTo>
                  <a:lnTo>
                    <a:pt x="272" y="1592"/>
                  </a:lnTo>
                  <a:lnTo>
                    <a:pt x="262" y="1594"/>
                  </a:lnTo>
                  <a:lnTo>
                    <a:pt x="254" y="1596"/>
                  </a:lnTo>
                  <a:lnTo>
                    <a:pt x="246" y="1596"/>
                  </a:lnTo>
                  <a:lnTo>
                    <a:pt x="242" y="1594"/>
                  </a:lnTo>
                  <a:lnTo>
                    <a:pt x="238" y="1596"/>
                  </a:lnTo>
                  <a:lnTo>
                    <a:pt x="236" y="1596"/>
                  </a:lnTo>
                  <a:lnTo>
                    <a:pt x="232" y="1594"/>
                  </a:lnTo>
                  <a:lnTo>
                    <a:pt x="226" y="1592"/>
                  </a:lnTo>
                  <a:lnTo>
                    <a:pt x="222" y="1590"/>
                  </a:lnTo>
                  <a:lnTo>
                    <a:pt x="218" y="1594"/>
                  </a:lnTo>
                  <a:lnTo>
                    <a:pt x="218" y="1600"/>
                  </a:lnTo>
                  <a:lnTo>
                    <a:pt x="218" y="1602"/>
                  </a:lnTo>
                  <a:lnTo>
                    <a:pt x="218" y="1604"/>
                  </a:lnTo>
                  <a:lnTo>
                    <a:pt x="214" y="1606"/>
                  </a:lnTo>
                  <a:lnTo>
                    <a:pt x="212" y="1606"/>
                  </a:lnTo>
                  <a:lnTo>
                    <a:pt x="216" y="1612"/>
                  </a:lnTo>
                  <a:lnTo>
                    <a:pt x="218" y="1616"/>
                  </a:lnTo>
                  <a:lnTo>
                    <a:pt x="212" y="1616"/>
                  </a:lnTo>
                  <a:lnTo>
                    <a:pt x="206" y="1614"/>
                  </a:lnTo>
                  <a:lnTo>
                    <a:pt x="206" y="1618"/>
                  </a:lnTo>
                  <a:lnTo>
                    <a:pt x="210" y="1622"/>
                  </a:lnTo>
                  <a:lnTo>
                    <a:pt x="210" y="1624"/>
                  </a:lnTo>
                  <a:lnTo>
                    <a:pt x="210" y="1626"/>
                  </a:lnTo>
                  <a:lnTo>
                    <a:pt x="208" y="1626"/>
                  </a:lnTo>
                  <a:lnTo>
                    <a:pt x="204" y="1626"/>
                  </a:lnTo>
                  <a:lnTo>
                    <a:pt x="202" y="1626"/>
                  </a:lnTo>
                  <a:lnTo>
                    <a:pt x="204" y="1628"/>
                  </a:lnTo>
                  <a:lnTo>
                    <a:pt x="206" y="1632"/>
                  </a:lnTo>
                  <a:lnTo>
                    <a:pt x="206" y="1636"/>
                  </a:lnTo>
                  <a:lnTo>
                    <a:pt x="206" y="1638"/>
                  </a:lnTo>
                  <a:lnTo>
                    <a:pt x="202" y="1638"/>
                  </a:lnTo>
                  <a:lnTo>
                    <a:pt x="190" y="1638"/>
                  </a:lnTo>
                  <a:lnTo>
                    <a:pt x="188" y="1640"/>
                  </a:lnTo>
                  <a:lnTo>
                    <a:pt x="188" y="1646"/>
                  </a:lnTo>
                  <a:lnTo>
                    <a:pt x="190" y="1650"/>
                  </a:lnTo>
                  <a:lnTo>
                    <a:pt x="190" y="1654"/>
                  </a:lnTo>
                  <a:lnTo>
                    <a:pt x="188" y="1660"/>
                  </a:lnTo>
                  <a:lnTo>
                    <a:pt x="188" y="1668"/>
                  </a:lnTo>
                  <a:lnTo>
                    <a:pt x="188" y="1672"/>
                  </a:lnTo>
                  <a:lnTo>
                    <a:pt x="190" y="1674"/>
                  </a:lnTo>
                  <a:lnTo>
                    <a:pt x="194" y="1674"/>
                  </a:lnTo>
                  <a:lnTo>
                    <a:pt x="196" y="1676"/>
                  </a:lnTo>
                  <a:lnTo>
                    <a:pt x="194" y="1682"/>
                  </a:lnTo>
                  <a:lnTo>
                    <a:pt x="192" y="1686"/>
                  </a:lnTo>
                  <a:lnTo>
                    <a:pt x="190" y="1690"/>
                  </a:lnTo>
                  <a:lnTo>
                    <a:pt x="188" y="1690"/>
                  </a:lnTo>
                  <a:lnTo>
                    <a:pt x="190" y="1692"/>
                  </a:lnTo>
                  <a:lnTo>
                    <a:pt x="190" y="1694"/>
                  </a:lnTo>
                  <a:lnTo>
                    <a:pt x="190" y="1696"/>
                  </a:lnTo>
                  <a:lnTo>
                    <a:pt x="186" y="1698"/>
                  </a:lnTo>
                  <a:lnTo>
                    <a:pt x="184" y="1700"/>
                  </a:lnTo>
                  <a:lnTo>
                    <a:pt x="188" y="1702"/>
                  </a:lnTo>
                  <a:lnTo>
                    <a:pt x="188" y="1704"/>
                  </a:lnTo>
                  <a:lnTo>
                    <a:pt x="186" y="1706"/>
                  </a:lnTo>
                  <a:lnTo>
                    <a:pt x="182" y="1708"/>
                  </a:lnTo>
                  <a:lnTo>
                    <a:pt x="178" y="1708"/>
                  </a:lnTo>
                  <a:lnTo>
                    <a:pt x="174" y="1708"/>
                  </a:lnTo>
                  <a:lnTo>
                    <a:pt x="172" y="1710"/>
                  </a:lnTo>
                  <a:lnTo>
                    <a:pt x="172" y="1712"/>
                  </a:lnTo>
                  <a:lnTo>
                    <a:pt x="174" y="1714"/>
                  </a:lnTo>
                  <a:lnTo>
                    <a:pt x="182" y="1714"/>
                  </a:lnTo>
                  <a:lnTo>
                    <a:pt x="190" y="1712"/>
                  </a:lnTo>
                  <a:lnTo>
                    <a:pt x="192" y="1714"/>
                  </a:lnTo>
                  <a:lnTo>
                    <a:pt x="184" y="1716"/>
                  </a:lnTo>
                  <a:lnTo>
                    <a:pt x="180" y="1718"/>
                  </a:lnTo>
                  <a:lnTo>
                    <a:pt x="180" y="1720"/>
                  </a:lnTo>
                  <a:lnTo>
                    <a:pt x="184" y="1722"/>
                  </a:lnTo>
                  <a:lnTo>
                    <a:pt x="188" y="1722"/>
                  </a:lnTo>
                  <a:lnTo>
                    <a:pt x="190" y="1722"/>
                  </a:lnTo>
                  <a:lnTo>
                    <a:pt x="192" y="1724"/>
                  </a:lnTo>
                  <a:lnTo>
                    <a:pt x="196" y="1724"/>
                  </a:lnTo>
                  <a:lnTo>
                    <a:pt x="200" y="1720"/>
                  </a:lnTo>
                  <a:lnTo>
                    <a:pt x="208" y="1714"/>
                  </a:lnTo>
                  <a:lnTo>
                    <a:pt x="206" y="1720"/>
                  </a:lnTo>
                  <a:lnTo>
                    <a:pt x="202" y="1726"/>
                  </a:lnTo>
                  <a:lnTo>
                    <a:pt x="202" y="1730"/>
                  </a:lnTo>
                  <a:lnTo>
                    <a:pt x="202" y="1734"/>
                  </a:lnTo>
                  <a:lnTo>
                    <a:pt x="198" y="1738"/>
                  </a:lnTo>
                  <a:lnTo>
                    <a:pt x="196" y="1740"/>
                  </a:lnTo>
                  <a:lnTo>
                    <a:pt x="196" y="1744"/>
                  </a:lnTo>
                  <a:lnTo>
                    <a:pt x="198" y="1748"/>
                  </a:lnTo>
                  <a:lnTo>
                    <a:pt x="194" y="1754"/>
                  </a:lnTo>
                  <a:lnTo>
                    <a:pt x="192" y="1758"/>
                  </a:lnTo>
                  <a:lnTo>
                    <a:pt x="192" y="1762"/>
                  </a:lnTo>
                  <a:lnTo>
                    <a:pt x="194" y="1764"/>
                  </a:lnTo>
                  <a:lnTo>
                    <a:pt x="194" y="1768"/>
                  </a:lnTo>
                  <a:lnTo>
                    <a:pt x="194" y="1772"/>
                  </a:lnTo>
                  <a:lnTo>
                    <a:pt x="194" y="1774"/>
                  </a:lnTo>
                  <a:lnTo>
                    <a:pt x="200" y="1770"/>
                  </a:lnTo>
                  <a:lnTo>
                    <a:pt x="198" y="1774"/>
                  </a:lnTo>
                  <a:lnTo>
                    <a:pt x="194" y="1784"/>
                  </a:lnTo>
                  <a:lnTo>
                    <a:pt x="188" y="1794"/>
                  </a:lnTo>
                  <a:lnTo>
                    <a:pt x="188" y="1800"/>
                  </a:lnTo>
                  <a:lnTo>
                    <a:pt x="192" y="1802"/>
                  </a:lnTo>
                  <a:lnTo>
                    <a:pt x="194" y="1802"/>
                  </a:lnTo>
                  <a:lnTo>
                    <a:pt x="196" y="1800"/>
                  </a:lnTo>
                  <a:lnTo>
                    <a:pt x="198" y="1792"/>
                  </a:lnTo>
                  <a:lnTo>
                    <a:pt x="202" y="1780"/>
                  </a:lnTo>
                  <a:lnTo>
                    <a:pt x="204" y="1776"/>
                  </a:lnTo>
                  <a:lnTo>
                    <a:pt x="206" y="1772"/>
                  </a:lnTo>
                  <a:lnTo>
                    <a:pt x="208" y="1770"/>
                  </a:lnTo>
                  <a:lnTo>
                    <a:pt x="208" y="1768"/>
                  </a:lnTo>
                  <a:lnTo>
                    <a:pt x="204" y="1764"/>
                  </a:lnTo>
                  <a:lnTo>
                    <a:pt x="202" y="1760"/>
                  </a:lnTo>
                  <a:lnTo>
                    <a:pt x="204" y="1758"/>
                  </a:lnTo>
                  <a:lnTo>
                    <a:pt x="206" y="1756"/>
                  </a:lnTo>
                  <a:lnTo>
                    <a:pt x="210" y="1754"/>
                  </a:lnTo>
                  <a:lnTo>
                    <a:pt x="208" y="1756"/>
                  </a:lnTo>
                  <a:lnTo>
                    <a:pt x="208" y="1762"/>
                  </a:lnTo>
                  <a:lnTo>
                    <a:pt x="208" y="1764"/>
                  </a:lnTo>
                  <a:lnTo>
                    <a:pt x="210" y="1766"/>
                  </a:lnTo>
                  <a:lnTo>
                    <a:pt x="214" y="1766"/>
                  </a:lnTo>
                  <a:lnTo>
                    <a:pt x="216" y="1764"/>
                  </a:lnTo>
                  <a:lnTo>
                    <a:pt x="216" y="1762"/>
                  </a:lnTo>
                  <a:lnTo>
                    <a:pt x="220" y="1764"/>
                  </a:lnTo>
                  <a:lnTo>
                    <a:pt x="222" y="1764"/>
                  </a:lnTo>
                  <a:lnTo>
                    <a:pt x="224" y="1758"/>
                  </a:lnTo>
                  <a:lnTo>
                    <a:pt x="224" y="1756"/>
                  </a:lnTo>
                  <a:lnTo>
                    <a:pt x="228" y="1756"/>
                  </a:lnTo>
                  <a:lnTo>
                    <a:pt x="232" y="1758"/>
                  </a:lnTo>
                  <a:lnTo>
                    <a:pt x="238" y="1762"/>
                  </a:lnTo>
                  <a:lnTo>
                    <a:pt x="230" y="1764"/>
                  </a:lnTo>
                  <a:lnTo>
                    <a:pt x="224" y="1766"/>
                  </a:lnTo>
                  <a:lnTo>
                    <a:pt x="224" y="1768"/>
                  </a:lnTo>
                  <a:lnTo>
                    <a:pt x="224" y="1772"/>
                  </a:lnTo>
                  <a:lnTo>
                    <a:pt x="230" y="1780"/>
                  </a:lnTo>
                  <a:lnTo>
                    <a:pt x="234" y="1786"/>
                  </a:lnTo>
                  <a:lnTo>
                    <a:pt x="234" y="1790"/>
                  </a:lnTo>
                  <a:lnTo>
                    <a:pt x="234" y="1794"/>
                  </a:lnTo>
                  <a:lnTo>
                    <a:pt x="230" y="1798"/>
                  </a:lnTo>
                  <a:lnTo>
                    <a:pt x="224" y="1806"/>
                  </a:lnTo>
                  <a:lnTo>
                    <a:pt x="222" y="1810"/>
                  </a:lnTo>
                  <a:lnTo>
                    <a:pt x="220" y="1816"/>
                  </a:lnTo>
                  <a:lnTo>
                    <a:pt x="222" y="1822"/>
                  </a:lnTo>
                  <a:lnTo>
                    <a:pt x="220" y="1822"/>
                  </a:lnTo>
                  <a:lnTo>
                    <a:pt x="216" y="1818"/>
                  </a:lnTo>
                  <a:lnTo>
                    <a:pt x="214" y="1820"/>
                  </a:lnTo>
                  <a:lnTo>
                    <a:pt x="214" y="1822"/>
                  </a:lnTo>
                  <a:lnTo>
                    <a:pt x="214" y="1826"/>
                  </a:lnTo>
                  <a:lnTo>
                    <a:pt x="220" y="1834"/>
                  </a:lnTo>
                  <a:lnTo>
                    <a:pt x="224" y="1840"/>
                  </a:lnTo>
                  <a:lnTo>
                    <a:pt x="224" y="1838"/>
                  </a:lnTo>
                  <a:lnTo>
                    <a:pt x="224" y="1836"/>
                  </a:lnTo>
                  <a:lnTo>
                    <a:pt x="222" y="1830"/>
                  </a:lnTo>
                  <a:lnTo>
                    <a:pt x="224" y="1828"/>
                  </a:lnTo>
                  <a:lnTo>
                    <a:pt x="228" y="1828"/>
                  </a:lnTo>
                  <a:lnTo>
                    <a:pt x="234" y="1832"/>
                  </a:lnTo>
                  <a:lnTo>
                    <a:pt x="240" y="1838"/>
                  </a:lnTo>
                  <a:lnTo>
                    <a:pt x="244" y="1840"/>
                  </a:lnTo>
                  <a:lnTo>
                    <a:pt x="246" y="1838"/>
                  </a:lnTo>
                  <a:lnTo>
                    <a:pt x="246" y="1834"/>
                  </a:lnTo>
                  <a:lnTo>
                    <a:pt x="246" y="1828"/>
                  </a:lnTo>
                  <a:lnTo>
                    <a:pt x="246" y="1826"/>
                  </a:lnTo>
                  <a:lnTo>
                    <a:pt x="246" y="1828"/>
                  </a:lnTo>
                  <a:lnTo>
                    <a:pt x="252" y="1830"/>
                  </a:lnTo>
                  <a:lnTo>
                    <a:pt x="260" y="1834"/>
                  </a:lnTo>
                  <a:lnTo>
                    <a:pt x="264" y="1834"/>
                  </a:lnTo>
                  <a:lnTo>
                    <a:pt x="266" y="1830"/>
                  </a:lnTo>
                  <a:lnTo>
                    <a:pt x="270" y="1826"/>
                  </a:lnTo>
                  <a:lnTo>
                    <a:pt x="274" y="1826"/>
                  </a:lnTo>
                  <a:lnTo>
                    <a:pt x="276" y="1828"/>
                  </a:lnTo>
                  <a:lnTo>
                    <a:pt x="278" y="1824"/>
                  </a:lnTo>
                  <a:lnTo>
                    <a:pt x="282" y="1822"/>
                  </a:lnTo>
                  <a:lnTo>
                    <a:pt x="286" y="1820"/>
                  </a:lnTo>
                  <a:lnTo>
                    <a:pt x="292" y="1820"/>
                  </a:lnTo>
                  <a:lnTo>
                    <a:pt x="292" y="1822"/>
                  </a:lnTo>
                  <a:lnTo>
                    <a:pt x="288" y="1826"/>
                  </a:lnTo>
                  <a:lnTo>
                    <a:pt x="280" y="1838"/>
                  </a:lnTo>
                  <a:lnTo>
                    <a:pt x="276" y="1844"/>
                  </a:lnTo>
                  <a:lnTo>
                    <a:pt x="276" y="1850"/>
                  </a:lnTo>
                  <a:lnTo>
                    <a:pt x="276" y="1854"/>
                  </a:lnTo>
                  <a:lnTo>
                    <a:pt x="278" y="1858"/>
                  </a:lnTo>
                  <a:lnTo>
                    <a:pt x="286" y="1866"/>
                  </a:lnTo>
                  <a:lnTo>
                    <a:pt x="292" y="1872"/>
                  </a:lnTo>
                  <a:lnTo>
                    <a:pt x="294" y="1876"/>
                  </a:lnTo>
                  <a:lnTo>
                    <a:pt x="296" y="1874"/>
                  </a:lnTo>
                  <a:lnTo>
                    <a:pt x="300" y="1872"/>
                  </a:lnTo>
                  <a:lnTo>
                    <a:pt x="302" y="1870"/>
                  </a:lnTo>
                  <a:lnTo>
                    <a:pt x="304" y="1870"/>
                  </a:lnTo>
                  <a:lnTo>
                    <a:pt x="308" y="1870"/>
                  </a:lnTo>
                  <a:lnTo>
                    <a:pt x="308" y="1872"/>
                  </a:lnTo>
                  <a:lnTo>
                    <a:pt x="308" y="1874"/>
                  </a:lnTo>
                  <a:lnTo>
                    <a:pt x="306" y="1878"/>
                  </a:lnTo>
                  <a:lnTo>
                    <a:pt x="306" y="1880"/>
                  </a:lnTo>
                  <a:lnTo>
                    <a:pt x="306" y="1882"/>
                  </a:lnTo>
                  <a:lnTo>
                    <a:pt x="308" y="1882"/>
                  </a:lnTo>
                  <a:lnTo>
                    <a:pt x="306" y="1884"/>
                  </a:lnTo>
                  <a:lnTo>
                    <a:pt x="300" y="1888"/>
                  </a:lnTo>
                  <a:lnTo>
                    <a:pt x="298" y="1890"/>
                  </a:lnTo>
                  <a:lnTo>
                    <a:pt x="298" y="1892"/>
                  </a:lnTo>
                  <a:lnTo>
                    <a:pt x="298" y="1894"/>
                  </a:lnTo>
                  <a:lnTo>
                    <a:pt x="302" y="1896"/>
                  </a:lnTo>
                  <a:lnTo>
                    <a:pt x="304" y="1898"/>
                  </a:lnTo>
                  <a:lnTo>
                    <a:pt x="302" y="1900"/>
                  </a:lnTo>
                  <a:lnTo>
                    <a:pt x="300" y="1902"/>
                  </a:lnTo>
                  <a:lnTo>
                    <a:pt x="300" y="1906"/>
                  </a:lnTo>
                  <a:lnTo>
                    <a:pt x="300" y="1910"/>
                  </a:lnTo>
                  <a:lnTo>
                    <a:pt x="302" y="1916"/>
                  </a:lnTo>
                  <a:lnTo>
                    <a:pt x="308" y="1924"/>
                  </a:lnTo>
                  <a:lnTo>
                    <a:pt x="304" y="1922"/>
                  </a:lnTo>
                  <a:lnTo>
                    <a:pt x="300" y="1918"/>
                  </a:lnTo>
                  <a:lnTo>
                    <a:pt x="296" y="1916"/>
                  </a:lnTo>
                  <a:lnTo>
                    <a:pt x="294" y="1918"/>
                  </a:lnTo>
                  <a:lnTo>
                    <a:pt x="296" y="1922"/>
                  </a:lnTo>
                  <a:lnTo>
                    <a:pt x="298" y="1926"/>
                  </a:lnTo>
                  <a:lnTo>
                    <a:pt x="294" y="1924"/>
                  </a:lnTo>
                  <a:lnTo>
                    <a:pt x="290" y="1922"/>
                  </a:lnTo>
                  <a:lnTo>
                    <a:pt x="286" y="1922"/>
                  </a:lnTo>
                  <a:lnTo>
                    <a:pt x="282" y="1922"/>
                  </a:lnTo>
                  <a:lnTo>
                    <a:pt x="276" y="1924"/>
                  </a:lnTo>
                  <a:lnTo>
                    <a:pt x="272" y="1924"/>
                  </a:lnTo>
                  <a:lnTo>
                    <a:pt x="270" y="1922"/>
                  </a:lnTo>
                  <a:lnTo>
                    <a:pt x="266" y="1924"/>
                  </a:lnTo>
                  <a:lnTo>
                    <a:pt x="264" y="1926"/>
                  </a:lnTo>
                  <a:lnTo>
                    <a:pt x="260" y="1926"/>
                  </a:lnTo>
                  <a:lnTo>
                    <a:pt x="256" y="1928"/>
                  </a:lnTo>
                  <a:lnTo>
                    <a:pt x="252" y="1932"/>
                  </a:lnTo>
                  <a:lnTo>
                    <a:pt x="246" y="1940"/>
                  </a:lnTo>
                  <a:lnTo>
                    <a:pt x="240" y="1944"/>
                  </a:lnTo>
                  <a:lnTo>
                    <a:pt x="236" y="1946"/>
                  </a:lnTo>
                  <a:lnTo>
                    <a:pt x="232" y="1950"/>
                  </a:lnTo>
                  <a:lnTo>
                    <a:pt x="230" y="1956"/>
                  </a:lnTo>
                  <a:lnTo>
                    <a:pt x="234" y="1954"/>
                  </a:lnTo>
                  <a:lnTo>
                    <a:pt x="238" y="1954"/>
                  </a:lnTo>
                  <a:lnTo>
                    <a:pt x="240" y="1954"/>
                  </a:lnTo>
                  <a:lnTo>
                    <a:pt x="244" y="1952"/>
                  </a:lnTo>
                  <a:lnTo>
                    <a:pt x="252" y="1948"/>
                  </a:lnTo>
                  <a:lnTo>
                    <a:pt x="256" y="1946"/>
                  </a:lnTo>
                  <a:lnTo>
                    <a:pt x="258" y="1946"/>
                  </a:lnTo>
                  <a:lnTo>
                    <a:pt x="256" y="1948"/>
                  </a:lnTo>
                  <a:lnTo>
                    <a:pt x="256" y="1954"/>
                  </a:lnTo>
                  <a:lnTo>
                    <a:pt x="258" y="1954"/>
                  </a:lnTo>
                  <a:lnTo>
                    <a:pt x="260" y="1956"/>
                  </a:lnTo>
                  <a:lnTo>
                    <a:pt x="258" y="1960"/>
                  </a:lnTo>
                  <a:lnTo>
                    <a:pt x="256" y="1964"/>
                  </a:lnTo>
                  <a:lnTo>
                    <a:pt x="256" y="1968"/>
                  </a:lnTo>
                  <a:lnTo>
                    <a:pt x="258" y="1974"/>
                  </a:lnTo>
                  <a:lnTo>
                    <a:pt x="258" y="1978"/>
                  </a:lnTo>
                  <a:lnTo>
                    <a:pt x="256" y="1982"/>
                  </a:lnTo>
                  <a:lnTo>
                    <a:pt x="252" y="1986"/>
                  </a:lnTo>
                  <a:lnTo>
                    <a:pt x="246" y="1990"/>
                  </a:lnTo>
                  <a:lnTo>
                    <a:pt x="232" y="1998"/>
                  </a:lnTo>
                  <a:lnTo>
                    <a:pt x="222" y="2000"/>
                  </a:lnTo>
                  <a:lnTo>
                    <a:pt x="216" y="2000"/>
                  </a:lnTo>
                  <a:lnTo>
                    <a:pt x="210" y="2006"/>
                  </a:lnTo>
                  <a:lnTo>
                    <a:pt x="208" y="2008"/>
                  </a:lnTo>
                  <a:lnTo>
                    <a:pt x="208" y="2010"/>
                  </a:lnTo>
                  <a:lnTo>
                    <a:pt x="212" y="2012"/>
                  </a:lnTo>
                  <a:lnTo>
                    <a:pt x="216" y="2012"/>
                  </a:lnTo>
                  <a:lnTo>
                    <a:pt x="216" y="2014"/>
                  </a:lnTo>
                  <a:lnTo>
                    <a:pt x="214" y="2016"/>
                  </a:lnTo>
                  <a:lnTo>
                    <a:pt x="214" y="2020"/>
                  </a:lnTo>
                  <a:lnTo>
                    <a:pt x="216" y="2024"/>
                  </a:lnTo>
                  <a:lnTo>
                    <a:pt x="224" y="2024"/>
                  </a:lnTo>
                  <a:lnTo>
                    <a:pt x="232" y="2022"/>
                  </a:lnTo>
                  <a:lnTo>
                    <a:pt x="240" y="2018"/>
                  </a:lnTo>
                  <a:lnTo>
                    <a:pt x="246" y="2018"/>
                  </a:lnTo>
                  <a:lnTo>
                    <a:pt x="250" y="2022"/>
                  </a:lnTo>
                  <a:lnTo>
                    <a:pt x="250" y="2026"/>
                  </a:lnTo>
                  <a:lnTo>
                    <a:pt x="248" y="2028"/>
                  </a:lnTo>
                  <a:lnTo>
                    <a:pt x="250" y="2030"/>
                  </a:lnTo>
                  <a:lnTo>
                    <a:pt x="256" y="2028"/>
                  </a:lnTo>
                  <a:lnTo>
                    <a:pt x="260" y="2028"/>
                  </a:lnTo>
                  <a:lnTo>
                    <a:pt x="264" y="2028"/>
                  </a:lnTo>
                  <a:lnTo>
                    <a:pt x="270" y="2030"/>
                  </a:lnTo>
                  <a:lnTo>
                    <a:pt x="274" y="2034"/>
                  </a:lnTo>
                  <a:lnTo>
                    <a:pt x="280" y="2038"/>
                  </a:lnTo>
                  <a:lnTo>
                    <a:pt x="284" y="2040"/>
                  </a:lnTo>
                  <a:lnTo>
                    <a:pt x="288" y="2040"/>
                  </a:lnTo>
                  <a:lnTo>
                    <a:pt x="292" y="2038"/>
                  </a:lnTo>
                  <a:lnTo>
                    <a:pt x="298" y="2032"/>
                  </a:lnTo>
                  <a:lnTo>
                    <a:pt x="302" y="2030"/>
                  </a:lnTo>
                  <a:lnTo>
                    <a:pt x="304" y="2028"/>
                  </a:lnTo>
                  <a:lnTo>
                    <a:pt x="310" y="2026"/>
                  </a:lnTo>
                  <a:lnTo>
                    <a:pt x="314" y="2024"/>
                  </a:lnTo>
                  <a:lnTo>
                    <a:pt x="320" y="2020"/>
                  </a:lnTo>
                  <a:lnTo>
                    <a:pt x="326" y="2016"/>
                  </a:lnTo>
                  <a:lnTo>
                    <a:pt x="322" y="2022"/>
                  </a:lnTo>
                  <a:lnTo>
                    <a:pt x="318" y="2026"/>
                  </a:lnTo>
                  <a:lnTo>
                    <a:pt x="312" y="2032"/>
                  </a:lnTo>
                  <a:lnTo>
                    <a:pt x="306" y="2036"/>
                  </a:lnTo>
                  <a:lnTo>
                    <a:pt x="304" y="2044"/>
                  </a:lnTo>
                  <a:lnTo>
                    <a:pt x="302" y="2048"/>
                  </a:lnTo>
                  <a:lnTo>
                    <a:pt x="294" y="2050"/>
                  </a:lnTo>
                  <a:lnTo>
                    <a:pt x="284" y="2050"/>
                  </a:lnTo>
                  <a:lnTo>
                    <a:pt x="280" y="2050"/>
                  </a:lnTo>
                  <a:lnTo>
                    <a:pt x="274" y="2048"/>
                  </a:lnTo>
                  <a:lnTo>
                    <a:pt x="262" y="2048"/>
                  </a:lnTo>
                  <a:lnTo>
                    <a:pt x="256" y="2048"/>
                  </a:lnTo>
                  <a:lnTo>
                    <a:pt x="252" y="2050"/>
                  </a:lnTo>
                  <a:lnTo>
                    <a:pt x="252" y="2052"/>
                  </a:lnTo>
                  <a:lnTo>
                    <a:pt x="252" y="2054"/>
                  </a:lnTo>
                  <a:lnTo>
                    <a:pt x="252" y="2058"/>
                  </a:lnTo>
                  <a:lnTo>
                    <a:pt x="250" y="2058"/>
                  </a:lnTo>
                  <a:lnTo>
                    <a:pt x="246" y="2060"/>
                  </a:lnTo>
                  <a:lnTo>
                    <a:pt x="242" y="2060"/>
                  </a:lnTo>
                  <a:lnTo>
                    <a:pt x="238" y="2062"/>
                  </a:lnTo>
                  <a:lnTo>
                    <a:pt x="238" y="2066"/>
                  </a:lnTo>
                  <a:lnTo>
                    <a:pt x="238" y="2070"/>
                  </a:lnTo>
                  <a:lnTo>
                    <a:pt x="238" y="2074"/>
                  </a:lnTo>
                  <a:lnTo>
                    <a:pt x="236" y="2076"/>
                  </a:lnTo>
                  <a:lnTo>
                    <a:pt x="232" y="2078"/>
                  </a:lnTo>
                  <a:lnTo>
                    <a:pt x="230" y="2082"/>
                  </a:lnTo>
                  <a:lnTo>
                    <a:pt x="230" y="2084"/>
                  </a:lnTo>
                  <a:lnTo>
                    <a:pt x="226" y="2086"/>
                  </a:lnTo>
                  <a:lnTo>
                    <a:pt x="220" y="2092"/>
                  </a:lnTo>
                  <a:lnTo>
                    <a:pt x="214" y="2100"/>
                  </a:lnTo>
                  <a:lnTo>
                    <a:pt x="210" y="2106"/>
                  </a:lnTo>
                  <a:lnTo>
                    <a:pt x="206" y="2106"/>
                  </a:lnTo>
                  <a:lnTo>
                    <a:pt x="202" y="2108"/>
                  </a:lnTo>
                  <a:lnTo>
                    <a:pt x="198" y="2108"/>
                  </a:lnTo>
                  <a:lnTo>
                    <a:pt x="194" y="2108"/>
                  </a:lnTo>
                  <a:lnTo>
                    <a:pt x="192" y="2112"/>
                  </a:lnTo>
                  <a:lnTo>
                    <a:pt x="192" y="2114"/>
                  </a:lnTo>
                  <a:lnTo>
                    <a:pt x="192" y="2118"/>
                  </a:lnTo>
                  <a:lnTo>
                    <a:pt x="194" y="2118"/>
                  </a:lnTo>
                  <a:lnTo>
                    <a:pt x="196" y="2118"/>
                  </a:lnTo>
                  <a:lnTo>
                    <a:pt x="200" y="2116"/>
                  </a:lnTo>
                  <a:lnTo>
                    <a:pt x="202" y="2116"/>
                  </a:lnTo>
                  <a:lnTo>
                    <a:pt x="206" y="2118"/>
                  </a:lnTo>
                  <a:lnTo>
                    <a:pt x="210" y="2122"/>
                  </a:lnTo>
                  <a:lnTo>
                    <a:pt x="212" y="2122"/>
                  </a:lnTo>
                  <a:lnTo>
                    <a:pt x="214" y="2122"/>
                  </a:lnTo>
                  <a:lnTo>
                    <a:pt x="216" y="2120"/>
                  </a:lnTo>
                  <a:lnTo>
                    <a:pt x="216" y="2118"/>
                  </a:lnTo>
                  <a:lnTo>
                    <a:pt x="218" y="2116"/>
                  </a:lnTo>
                  <a:lnTo>
                    <a:pt x="222" y="2112"/>
                  </a:lnTo>
                  <a:lnTo>
                    <a:pt x="226" y="2110"/>
                  </a:lnTo>
                  <a:lnTo>
                    <a:pt x="230" y="2106"/>
                  </a:lnTo>
                  <a:lnTo>
                    <a:pt x="234" y="2102"/>
                  </a:lnTo>
                  <a:lnTo>
                    <a:pt x="244" y="2100"/>
                  </a:lnTo>
                  <a:lnTo>
                    <a:pt x="252" y="2100"/>
                  </a:lnTo>
                  <a:lnTo>
                    <a:pt x="258" y="2102"/>
                  </a:lnTo>
                  <a:lnTo>
                    <a:pt x="270" y="2108"/>
                  </a:lnTo>
                  <a:lnTo>
                    <a:pt x="274" y="2110"/>
                  </a:lnTo>
                  <a:lnTo>
                    <a:pt x="276" y="2108"/>
                  </a:lnTo>
                  <a:lnTo>
                    <a:pt x="280" y="2098"/>
                  </a:lnTo>
                  <a:lnTo>
                    <a:pt x="282" y="2088"/>
                  </a:lnTo>
                  <a:lnTo>
                    <a:pt x="284" y="2086"/>
                  </a:lnTo>
                  <a:lnTo>
                    <a:pt x="286" y="2084"/>
                  </a:lnTo>
                  <a:lnTo>
                    <a:pt x="288" y="2086"/>
                  </a:lnTo>
                  <a:lnTo>
                    <a:pt x="290" y="2084"/>
                  </a:lnTo>
                  <a:lnTo>
                    <a:pt x="298" y="2080"/>
                  </a:lnTo>
                  <a:lnTo>
                    <a:pt x="302" y="2078"/>
                  </a:lnTo>
                  <a:lnTo>
                    <a:pt x="306" y="2078"/>
                  </a:lnTo>
                  <a:lnTo>
                    <a:pt x="312" y="2080"/>
                  </a:lnTo>
                  <a:lnTo>
                    <a:pt x="316" y="2084"/>
                  </a:lnTo>
                  <a:lnTo>
                    <a:pt x="322" y="2088"/>
                  </a:lnTo>
                  <a:lnTo>
                    <a:pt x="324" y="2088"/>
                  </a:lnTo>
                  <a:lnTo>
                    <a:pt x="328" y="2086"/>
                  </a:lnTo>
                  <a:lnTo>
                    <a:pt x="330" y="2086"/>
                  </a:lnTo>
                  <a:lnTo>
                    <a:pt x="334" y="2086"/>
                  </a:lnTo>
                  <a:lnTo>
                    <a:pt x="342" y="2086"/>
                  </a:lnTo>
                  <a:lnTo>
                    <a:pt x="344" y="2084"/>
                  </a:lnTo>
                  <a:lnTo>
                    <a:pt x="346" y="2082"/>
                  </a:lnTo>
                  <a:lnTo>
                    <a:pt x="356" y="2078"/>
                  </a:lnTo>
                  <a:lnTo>
                    <a:pt x="366" y="2076"/>
                  </a:lnTo>
                  <a:lnTo>
                    <a:pt x="368" y="2074"/>
                  </a:lnTo>
                  <a:lnTo>
                    <a:pt x="368" y="2072"/>
                  </a:lnTo>
                  <a:lnTo>
                    <a:pt x="374" y="2074"/>
                  </a:lnTo>
                  <a:lnTo>
                    <a:pt x="380" y="2076"/>
                  </a:lnTo>
                  <a:lnTo>
                    <a:pt x="382" y="2076"/>
                  </a:lnTo>
                  <a:lnTo>
                    <a:pt x="384" y="2074"/>
                  </a:lnTo>
                  <a:lnTo>
                    <a:pt x="386" y="2076"/>
                  </a:lnTo>
                  <a:lnTo>
                    <a:pt x="388" y="2078"/>
                  </a:lnTo>
                  <a:lnTo>
                    <a:pt x="392" y="2078"/>
                  </a:lnTo>
                  <a:lnTo>
                    <a:pt x="400" y="2074"/>
                  </a:lnTo>
                  <a:lnTo>
                    <a:pt x="410" y="2072"/>
                  </a:lnTo>
                  <a:lnTo>
                    <a:pt x="416" y="2074"/>
                  </a:lnTo>
                  <a:lnTo>
                    <a:pt x="422" y="2074"/>
                  </a:lnTo>
                  <a:lnTo>
                    <a:pt x="428" y="2076"/>
                  </a:lnTo>
                  <a:lnTo>
                    <a:pt x="432" y="2076"/>
                  </a:lnTo>
                  <a:lnTo>
                    <a:pt x="440" y="2074"/>
                  </a:lnTo>
                  <a:lnTo>
                    <a:pt x="448" y="2070"/>
                  </a:lnTo>
                  <a:lnTo>
                    <a:pt x="456" y="2068"/>
                  </a:lnTo>
                  <a:lnTo>
                    <a:pt x="460" y="2068"/>
                  </a:lnTo>
                  <a:lnTo>
                    <a:pt x="462" y="2064"/>
                  </a:lnTo>
                  <a:lnTo>
                    <a:pt x="464" y="2060"/>
                  </a:lnTo>
                  <a:lnTo>
                    <a:pt x="470" y="2056"/>
                  </a:lnTo>
                  <a:lnTo>
                    <a:pt x="478" y="2052"/>
                  </a:lnTo>
                  <a:lnTo>
                    <a:pt x="480" y="2048"/>
                  </a:lnTo>
                  <a:lnTo>
                    <a:pt x="480" y="2044"/>
                  </a:lnTo>
                  <a:lnTo>
                    <a:pt x="480" y="2040"/>
                  </a:lnTo>
                  <a:lnTo>
                    <a:pt x="480" y="2038"/>
                  </a:lnTo>
                  <a:lnTo>
                    <a:pt x="478" y="2038"/>
                  </a:lnTo>
                  <a:lnTo>
                    <a:pt x="472" y="2038"/>
                  </a:lnTo>
                  <a:lnTo>
                    <a:pt x="462" y="2040"/>
                  </a:lnTo>
                  <a:lnTo>
                    <a:pt x="456" y="2040"/>
                  </a:lnTo>
                  <a:lnTo>
                    <a:pt x="450" y="2038"/>
                  </a:lnTo>
                  <a:lnTo>
                    <a:pt x="448" y="2036"/>
                  </a:lnTo>
                  <a:lnTo>
                    <a:pt x="450" y="2036"/>
                  </a:lnTo>
                  <a:lnTo>
                    <a:pt x="446" y="2034"/>
                  </a:lnTo>
                  <a:lnTo>
                    <a:pt x="444" y="2032"/>
                  </a:lnTo>
                  <a:lnTo>
                    <a:pt x="448" y="2030"/>
                  </a:lnTo>
                  <a:lnTo>
                    <a:pt x="456" y="2030"/>
                  </a:lnTo>
                  <a:lnTo>
                    <a:pt x="458" y="2028"/>
                  </a:lnTo>
                  <a:lnTo>
                    <a:pt x="460" y="2026"/>
                  </a:lnTo>
                  <a:lnTo>
                    <a:pt x="460" y="2020"/>
                  </a:lnTo>
                  <a:lnTo>
                    <a:pt x="458" y="2020"/>
                  </a:lnTo>
                  <a:lnTo>
                    <a:pt x="456" y="2020"/>
                  </a:lnTo>
                  <a:lnTo>
                    <a:pt x="458" y="2016"/>
                  </a:lnTo>
                  <a:lnTo>
                    <a:pt x="462" y="2014"/>
                  </a:lnTo>
                  <a:lnTo>
                    <a:pt x="464" y="2014"/>
                  </a:lnTo>
                  <a:lnTo>
                    <a:pt x="472" y="2014"/>
                  </a:lnTo>
                  <a:lnTo>
                    <a:pt x="476" y="2014"/>
                  </a:lnTo>
                  <a:lnTo>
                    <a:pt x="476" y="2012"/>
                  </a:lnTo>
                  <a:lnTo>
                    <a:pt x="474" y="2010"/>
                  </a:lnTo>
                  <a:lnTo>
                    <a:pt x="474" y="2008"/>
                  </a:lnTo>
                  <a:lnTo>
                    <a:pt x="474" y="2006"/>
                  </a:lnTo>
                  <a:lnTo>
                    <a:pt x="482" y="2000"/>
                  </a:lnTo>
                  <a:lnTo>
                    <a:pt x="486" y="1996"/>
                  </a:lnTo>
                  <a:lnTo>
                    <a:pt x="490" y="1990"/>
                  </a:lnTo>
                  <a:lnTo>
                    <a:pt x="494" y="1982"/>
                  </a:lnTo>
                  <a:lnTo>
                    <a:pt x="494" y="1970"/>
                  </a:lnTo>
                  <a:close/>
                  <a:moveTo>
                    <a:pt x="662" y="1344"/>
                  </a:moveTo>
                  <a:lnTo>
                    <a:pt x="662" y="1344"/>
                  </a:lnTo>
                  <a:lnTo>
                    <a:pt x="660" y="1344"/>
                  </a:lnTo>
                  <a:lnTo>
                    <a:pt x="656" y="1346"/>
                  </a:lnTo>
                  <a:lnTo>
                    <a:pt x="656" y="1350"/>
                  </a:lnTo>
                  <a:lnTo>
                    <a:pt x="656" y="1354"/>
                  </a:lnTo>
                  <a:lnTo>
                    <a:pt x="660" y="1354"/>
                  </a:lnTo>
                  <a:lnTo>
                    <a:pt x="662" y="1352"/>
                  </a:lnTo>
                  <a:lnTo>
                    <a:pt x="664" y="1348"/>
                  </a:lnTo>
                  <a:lnTo>
                    <a:pt x="664" y="1346"/>
                  </a:lnTo>
                  <a:lnTo>
                    <a:pt x="662" y="1344"/>
                  </a:lnTo>
                  <a:close/>
                  <a:moveTo>
                    <a:pt x="652" y="1354"/>
                  </a:moveTo>
                  <a:lnTo>
                    <a:pt x="652" y="1354"/>
                  </a:lnTo>
                  <a:lnTo>
                    <a:pt x="650" y="1352"/>
                  </a:lnTo>
                  <a:lnTo>
                    <a:pt x="648" y="1352"/>
                  </a:lnTo>
                  <a:lnTo>
                    <a:pt x="646" y="1352"/>
                  </a:lnTo>
                  <a:lnTo>
                    <a:pt x="644" y="1356"/>
                  </a:lnTo>
                  <a:lnTo>
                    <a:pt x="646" y="1358"/>
                  </a:lnTo>
                  <a:lnTo>
                    <a:pt x="648" y="1358"/>
                  </a:lnTo>
                  <a:lnTo>
                    <a:pt x="652" y="1356"/>
                  </a:lnTo>
                  <a:lnTo>
                    <a:pt x="652" y="1354"/>
                  </a:lnTo>
                  <a:close/>
                  <a:moveTo>
                    <a:pt x="150" y="1398"/>
                  </a:moveTo>
                  <a:lnTo>
                    <a:pt x="150" y="1398"/>
                  </a:lnTo>
                  <a:lnTo>
                    <a:pt x="148" y="1396"/>
                  </a:lnTo>
                  <a:lnTo>
                    <a:pt x="146" y="1394"/>
                  </a:lnTo>
                  <a:lnTo>
                    <a:pt x="146" y="1396"/>
                  </a:lnTo>
                  <a:lnTo>
                    <a:pt x="144" y="1398"/>
                  </a:lnTo>
                  <a:lnTo>
                    <a:pt x="146" y="1402"/>
                  </a:lnTo>
                  <a:lnTo>
                    <a:pt x="152" y="1410"/>
                  </a:lnTo>
                  <a:lnTo>
                    <a:pt x="154" y="1412"/>
                  </a:lnTo>
                  <a:lnTo>
                    <a:pt x="156" y="1412"/>
                  </a:lnTo>
                  <a:lnTo>
                    <a:pt x="158" y="1412"/>
                  </a:lnTo>
                  <a:lnTo>
                    <a:pt x="156" y="1410"/>
                  </a:lnTo>
                  <a:lnTo>
                    <a:pt x="154" y="1404"/>
                  </a:lnTo>
                  <a:lnTo>
                    <a:pt x="154" y="1400"/>
                  </a:lnTo>
                  <a:lnTo>
                    <a:pt x="150" y="1398"/>
                  </a:lnTo>
                  <a:close/>
                  <a:moveTo>
                    <a:pt x="732" y="1304"/>
                  </a:moveTo>
                  <a:lnTo>
                    <a:pt x="732" y="1304"/>
                  </a:lnTo>
                  <a:lnTo>
                    <a:pt x="734" y="1302"/>
                  </a:lnTo>
                  <a:lnTo>
                    <a:pt x="732" y="1300"/>
                  </a:lnTo>
                  <a:lnTo>
                    <a:pt x="730" y="1298"/>
                  </a:lnTo>
                  <a:lnTo>
                    <a:pt x="728" y="1300"/>
                  </a:lnTo>
                  <a:lnTo>
                    <a:pt x="726" y="1302"/>
                  </a:lnTo>
                  <a:lnTo>
                    <a:pt x="724" y="1302"/>
                  </a:lnTo>
                  <a:lnTo>
                    <a:pt x="722" y="1300"/>
                  </a:lnTo>
                  <a:lnTo>
                    <a:pt x="720" y="1302"/>
                  </a:lnTo>
                  <a:lnTo>
                    <a:pt x="720" y="1304"/>
                  </a:lnTo>
                  <a:lnTo>
                    <a:pt x="724" y="1306"/>
                  </a:lnTo>
                  <a:lnTo>
                    <a:pt x="732" y="1304"/>
                  </a:lnTo>
                  <a:close/>
                  <a:moveTo>
                    <a:pt x="618" y="1384"/>
                  </a:moveTo>
                  <a:lnTo>
                    <a:pt x="618" y="1384"/>
                  </a:lnTo>
                  <a:lnTo>
                    <a:pt x="622" y="1384"/>
                  </a:lnTo>
                  <a:lnTo>
                    <a:pt x="626" y="1382"/>
                  </a:lnTo>
                  <a:lnTo>
                    <a:pt x="628" y="1380"/>
                  </a:lnTo>
                  <a:lnTo>
                    <a:pt x="628" y="1378"/>
                  </a:lnTo>
                  <a:lnTo>
                    <a:pt x="622" y="1378"/>
                  </a:lnTo>
                  <a:lnTo>
                    <a:pt x="618" y="1378"/>
                  </a:lnTo>
                  <a:lnTo>
                    <a:pt x="616" y="1380"/>
                  </a:lnTo>
                  <a:lnTo>
                    <a:pt x="618" y="1384"/>
                  </a:lnTo>
                  <a:close/>
                  <a:moveTo>
                    <a:pt x="620" y="1456"/>
                  </a:moveTo>
                  <a:lnTo>
                    <a:pt x="620" y="1456"/>
                  </a:lnTo>
                  <a:lnTo>
                    <a:pt x="616" y="1454"/>
                  </a:lnTo>
                  <a:lnTo>
                    <a:pt x="618" y="1456"/>
                  </a:lnTo>
                  <a:lnTo>
                    <a:pt x="622" y="1462"/>
                  </a:lnTo>
                  <a:lnTo>
                    <a:pt x="624" y="1462"/>
                  </a:lnTo>
                  <a:lnTo>
                    <a:pt x="626" y="1464"/>
                  </a:lnTo>
                  <a:lnTo>
                    <a:pt x="624" y="1462"/>
                  </a:lnTo>
                  <a:lnTo>
                    <a:pt x="622" y="1458"/>
                  </a:lnTo>
                  <a:lnTo>
                    <a:pt x="620" y="1456"/>
                  </a:lnTo>
                  <a:close/>
                  <a:moveTo>
                    <a:pt x="630" y="1474"/>
                  </a:moveTo>
                  <a:lnTo>
                    <a:pt x="630" y="1474"/>
                  </a:lnTo>
                  <a:lnTo>
                    <a:pt x="626" y="1468"/>
                  </a:lnTo>
                  <a:lnTo>
                    <a:pt x="622" y="1466"/>
                  </a:lnTo>
                  <a:lnTo>
                    <a:pt x="622" y="1468"/>
                  </a:lnTo>
                  <a:lnTo>
                    <a:pt x="626" y="1474"/>
                  </a:lnTo>
                  <a:lnTo>
                    <a:pt x="628" y="1476"/>
                  </a:lnTo>
                  <a:lnTo>
                    <a:pt x="630" y="1474"/>
                  </a:lnTo>
                  <a:close/>
                  <a:moveTo>
                    <a:pt x="624" y="1490"/>
                  </a:moveTo>
                  <a:lnTo>
                    <a:pt x="624" y="1490"/>
                  </a:lnTo>
                  <a:lnTo>
                    <a:pt x="626" y="1490"/>
                  </a:lnTo>
                  <a:lnTo>
                    <a:pt x="626" y="1486"/>
                  </a:lnTo>
                  <a:lnTo>
                    <a:pt x="624" y="1476"/>
                  </a:lnTo>
                  <a:lnTo>
                    <a:pt x="622" y="1474"/>
                  </a:lnTo>
                  <a:lnTo>
                    <a:pt x="622" y="1476"/>
                  </a:lnTo>
                  <a:lnTo>
                    <a:pt x="622" y="1480"/>
                  </a:lnTo>
                  <a:lnTo>
                    <a:pt x="622" y="1486"/>
                  </a:lnTo>
                  <a:lnTo>
                    <a:pt x="622" y="1490"/>
                  </a:lnTo>
                  <a:lnTo>
                    <a:pt x="624" y="1490"/>
                  </a:lnTo>
                  <a:close/>
                  <a:moveTo>
                    <a:pt x="302" y="1578"/>
                  </a:moveTo>
                  <a:lnTo>
                    <a:pt x="302" y="1578"/>
                  </a:lnTo>
                  <a:lnTo>
                    <a:pt x="300" y="1580"/>
                  </a:lnTo>
                  <a:lnTo>
                    <a:pt x="300" y="1582"/>
                  </a:lnTo>
                  <a:lnTo>
                    <a:pt x="302" y="1582"/>
                  </a:lnTo>
                  <a:lnTo>
                    <a:pt x="304" y="1584"/>
                  </a:lnTo>
                  <a:lnTo>
                    <a:pt x="306" y="1582"/>
                  </a:lnTo>
                  <a:lnTo>
                    <a:pt x="306" y="1580"/>
                  </a:lnTo>
                  <a:lnTo>
                    <a:pt x="304" y="1578"/>
                  </a:lnTo>
                  <a:lnTo>
                    <a:pt x="302" y="1578"/>
                  </a:lnTo>
                  <a:close/>
                  <a:moveTo>
                    <a:pt x="160" y="1386"/>
                  </a:moveTo>
                  <a:lnTo>
                    <a:pt x="160" y="1386"/>
                  </a:lnTo>
                  <a:lnTo>
                    <a:pt x="158" y="1382"/>
                  </a:lnTo>
                  <a:lnTo>
                    <a:pt x="154" y="1378"/>
                  </a:lnTo>
                  <a:lnTo>
                    <a:pt x="150" y="1378"/>
                  </a:lnTo>
                  <a:lnTo>
                    <a:pt x="148" y="1378"/>
                  </a:lnTo>
                  <a:lnTo>
                    <a:pt x="148" y="1380"/>
                  </a:lnTo>
                  <a:lnTo>
                    <a:pt x="148" y="1382"/>
                  </a:lnTo>
                  <a:lnTo>
                    <a:pt x="152" y="1384"/>
                  </a:lnTo>
                  <a:lnTo>
                    <a:pt x="156" y="1386"/>
                  </a:lnTo>
                  <a:lnTo>
                    <a:pt x="160" y="1386"/>
                  </a:lnTo>
                  <a:close/>
                  <a:moveTo>
                    <a:pt x="320" y="1546"/>
                  </a:moveTo>
                  <a:lnTo>
                    <a:pt x="320" y="1546"/>
                  </a:lnTo>
                  <a:lnTo>
                    <a:pt x="318" y="1546"/>
                  </a:lnTo>
                  <a:lnTo>
                    <a:pt x="316" y="1546"/>
                  </a:lnTo>
                  <a:lnTo>
                    <a:pt x="314" y="1548"/>
                  </a:lnTo>
                  <a:lnTo>
                    <a:pt x="312" y="1552"/>
                  </a:lnTo>
                  <a:lnTo>
                    <a:pt x="314" y="1552"/>
                  </a:lnTo>
                  <a:lnTo>
                    <a:pt x="318" y="1552"/>
                  </a:lnTo>
                  <a:lnTo>
                    <a:pt x="318" y="1550"/>
                  </a:lnTo>
                  <a:lnTo>
                    <a:pt x="320" y="1548"/>
                  </a:lnTo>
                  <a:lnTo>
                    <a:pt x="322" y="1546"/>
                  </a:lnTo>
                  <a:lnTo>
                    <a:pt x="320" y="1546"/>
                  </a:lnTo>
                  <a:close/>
                  <a:moveTo>
                    <a:pt x="354" y="1486"/>
                  </a:moveTo>
                  <a:lnTo>
                    <a:pt x="354" y="1486"/>
                  </a:lnTo>
                  <a:lnTo>
                    <a:pt x="356" y="1488"/>
                  </a:lnTo>
                  <a:lnTo>
                    <a:pt x="356" y="1490"/>
                  </a:lnTo>
                  <a:lnTo>
                    <a:pt x="358" y="1488"/>
                  </a:lnTo>
                  <a:lnTo>
                    <a:pt x="362" y="1490"/>
                  </a:lnTo>
                  <a:lnTo>
                    <a:pt x="364" y="1492"/>
                  </a:lnTo>
                  <a:lnTo>
                    <a:pt x="364" y="1490"/>
                  </a:lnTo>
                  <a:lnTo>
                    <a:pt x="366" y="1488"/>
                  </a:lnTo>
                  <a:lnTo>
                    <a:pt x="370" y="1490"/>
                  </a:lnTo>
                  <a:lnTo>
                    <a:pt x="372" y="1492"/>
                  </a:lnTo>
                  <a:lnTo>
                    <a:pt x="372" y="1494"/>
                  </a:lnTo>
                  <a:lnTo>
                    <a:pt x="370" y="1500"/>
                  </a:lnTo>
                  <a:lnTo>
                    <a:pt x="368" y="1506"/>
                  </a:lnTo>
                  <a:lnTo>
                    <a:pt x="368" y="1508"/>
                  </a:lnTo>
                  <a:lnTo>
                    <a:pt x="370" y="1512"/>
                  </a:lnTo>
                  <a:lnTo>
                    <a:pt x="372" y="1512"/>
                  </a:lnTo>
                  <a:lnTo>
                    <a:pt x="372" y="1510"/>
                  </a:lnTo>
                  <a:lnTo>
                    <a:pt x="374" y="1502"/>
                  </a:lnTo>
                  <a:lnTo>
                    <a:pt x="376" y="1496"/>
                  </a:lnTo>
                  <a:lnTo>
                    <a:pt x="374" y="1490"/>
                  </a:lnTo>
                  <a:lnTo>
                    <a:pt x="374" y="1488"/>
                  </a:lnTo>
                  <a:lnTo>
                    <a:pt x="376" y="1484"/>
                  </a:lnTo>
                  <a:lnTo>
                    <a:pt x="380" y="1476"/>
                  </a:lnTo>
                  <a:lnTo>
                    <a:pt x="380" y="1472"/>
                  </a:lnTo>
                  <a:lnTo>
                    <a:pt x="378" y="1474"/>
                  </a:lnTo>
                  <a:lnTo>
                    <a:pt x="376" y="1476"/>
                  </a:lnTo>
                  <a:lnTo>
                    <a:pt x="376" y="1474"/>
                  </a:lnTo>
                  <a:lnTo>
                    <a:pt x="376" y="1472"/>
                  </a:lnTo>
                  <a:lnTo>
                    <a:pt x="374" y="1470"/>
                  </a:lnTo>
                  <a:lnTo>
                    <a:pt x="372" y="1470"/>
                  </a:lnTo>
                  <a:lnTo>
                    <a:pt x="372" y="1472"/>
                  </a:lnTo>
                  <a:lnTo>
                    <a:pt x="370" y="1474"/>
                  </a:lnTo>
                  <a:lnTo>
                    <a:pt x="370" y="1472"/>
                  </a:lnTo>
                  <a:lnTo>
                    <a:pt x="370" y="1462"/>
                  </a:lnTo>
                  <a:lnTo>
                    <a:pt x="370" y="1460"/>
                  </a:lnTo>
                  <a:lnTo>
                    <a:pt x="368" y="1460"/>
                  </a:lnTo>
                  <a:lnTo>
                    <a:pt x="364" y="1464"/>
                  </a:lnTo>
                  <a:lnTo>
                    <a:pt x="358" y="1468"/>
                  </a:lnTo>
                  <a:lnTo>
                    <a:pt x="358" y="1470"/>
                  </a:lnTo>
                  <a:lnTo>
                    <a:pt x="364" y="1474"/>
                  </a:lnTo>
                  <a:lnTo>
                    <a:pt x="368" y="1476"/>
                  </a:lnTo>
                  <a:lnTo>
                    <a:pt x="368" y="1480"/>
                  </a:lnTo>
                  <a:lnTo>
                    <a:pt x="366" y="1482"/>
                  </a:lnTo>
                  <a:lnTo>
                    <a:pt x="360" y="1482"/>
                  </a:lnTo>
                  <a:lnTo>
                    <a:pt x="356" y="1482"/>
                  </a:lnTo>
                  <a:lnTo>
                    <a:pt x="356" y="1484"/>
                  </a:lnTo>
                  <a:lnTo>
                    <a:pt x="354" y="1486"/>
                  </a:lnTo>
                  <a:close/>
                  <a:moveTo>
                    <a:pt x="312" y="1560"/>
                  </a:moveTo>
                  <a:lnTo>
                    <a:pt x="312" y="1560"/>
                  </a:lnTo>
                  <a:lnTo>
                    <a:pt x="312" y="1562"/>
                  </a:lnTo>
                  <a:lnTo>
                    <a:pt x="314" y="1562"/>
                  </a:lnTo>
                  <a:lnTo>
                    <a:pt x="318" y="1560"/>
                  </a:lnTo>
                  <a:lnTo>
                    <a:pt x="316" y="1558"/>
                  </a:lnTo>
                  <a:lnTo>
                    <a:pt x="314" y="1556"/>
                  </a:lnTo>
                  <a:lnTo>
                    <a:pt x="312" y="1560"/>
                  </a:lnTo>
                  <a:close/>
                  <a:moveTo>
                    <a:pt x="744" y="1294"/>
                  </a:moveTo>
                  <a:lnTo>
                    <a:pt x="744" y="1294"/>
                  </a:lnTo>
                  <a:lnTo>
                    <a:pt x="746" y="1296"/>
                  </a:lnTo>
                  <a:lnTo>
                    <a:pt x="748" y="1296"/>
                  </a:lnTo>
                  <a:lnTo>
                    <a:pt x="750" y="1294"/>
                  </a:lnTo>
                  <a:lnTo>
                    <a:pt x="752" y="1292"/>
                  </a:lnTo>
                  <a:lnTo>
                    <a:pt x="748" y="1288"/>
                  </a:lnTo>
                  <a:lnTo>
                    <a:pt x="746" y="1288"/>
                  </a:lnTo>
                  <a:lnTo>
                    <a:pt x="744" y="1290"/>
                  </a:lnTo>
                  <a:lnTo>
                    <a:pt x="744" y="1294"/>
                  </a:lnTo>
                  <a:close/>
                  <a:moveTo>
                    <a:pt x="380" y="1462"/>
                  </a:moveTo>
                  <a:lnTo>
                    <a:pt x="380" y="1462"/>
                  </a:lnTo>
                  <a:lnTo>
                    <a:pt x="382" y="1460"/>
                  </a:lnTo>
                  <a:lnTo>
                    <a:pt x="382" y="1456"/>
                  </a:lnTo>
                  <a:lnTo>
                    <a:pt x="382" y="1454"/>
                  </a:lnTo>
                  <a:lnTo>
                    <a:pt x="380" y="1454"/>
                  </a:lnTo>
                  <a:lnTo>
                    <a:pt x="378" y="1454"/>
                  </a:lnTo>
                  <a:lnTo>
                    <a:pt x="378" y="1456"/>
                  </a:lnTo>
                  <a:lnTo>
                    <a:pt x="376" y="1460"/>
                  </a:lnTo>
                  <a:lnTo>
                    <a:pt x="374" y="1462"/>
                  </a:lnTo>
                  <a:lnTo>
                    <a:pt x="376" y="1468"/>
                  </a:lnTo>
                  <a:lnTo>
                    <a:pt x="378" y="1468"/>
                  </a:lnTo>
                  <a:lnTo>
                    <a:pt x="378" y="1466"/>
                  </a:lnTo>
                  <a:lnTo>
                    <a:pt x="380" y="1464"/>
                  </a:lnTo>
                  <a:lnTo>
                    <a:pt x="380" y="1462"/>
                  </a:lnTo>
                  <a:close/>
                  <a:moveTo>
                    <a:pt x="134" y="1090"/>
                  </a:moveTo>
                  <a:lnTo>
                    <a:pt x="134" y="1090"/>
                  </a:lnTo>
                  <a:lnTo>
                    <a:pt x="148" y="1086"/>
                  </a:lnTo>
                  <a:lnTo>
                    <a:pt x="158" y="1086"/>
                  </a:lnTo>
                  <a:lnTo>
                    <a:pt x="190" y="1088"/>
                  </a:lnTo>
                  <a:lnTo>
                    <a:pt x="200" y="1088"/>
                  </a:lnTo>
                  <a:lnTo>
                    <a:pt x="202" y="1090"/>
                  </a:lnTo>
                  <a:lnTo>
                    <a:pt x="202" y="1092"/>
                  </a:lnTo>
                  <a:lnTo>
                    <a:pt x="198" y="1094"/>
                  </a:lnTo>
                  <a:lnTo>
                    <a:pt x="186" y="1100"/>
                  </a:lnTo>
                  <a:lnTo>
                    <a:pt x="182" y="1104"/>
                  </a:lnTo>
                  <a:lnTo>
                    <a:pt x="180" y="1108"/>
                  </a:lnTo>
                  <a:lnTo>
                    <a:pt x="182" y="1110"/>
                  </a:lnTo>
                  <a:lnTo>
                    <a:pt x="186" y="1112"/>
                  </a:lnTo>
                  <a:lnTo>
                    <a:pt x="196" y="1112"/>
                  </a:lnTo>
                  <a:lnTo>
                    <a:pt x="204" y="1114"/>
                  </a:lnTo>
                  <a:lnTo>
                    <a:pt x="198" y="1118"/>
                  </a:lnTo>
                  <a:lnTo>
                    <a:pt x="190" y="1120"/>
                  </a:lnTo>
                  <a:lnTo>
                    <a:pt x="182" y="1120"/>
                  </a:lnTo>
                  <a:lnTo>
                    <a:pt x="174" y="1118"/>
                  </a:lnTo>
                  <a:lnTo>
                    <a:pt x="166" y="1116"/>
                  </a:lnTo>
                  <a:lnTo>
                    <a:pt x="162" y="1116"/>
                  </a:lnTo>
                  <a:lnTo>
                    <a:pt x="156" y="1120"/>
                  </a:lnTo>
                  <a:lnTo>
                    <a:pt x="150" y="1122"/>
                  </a:lnTo>
                  <a:lnTo>
                    <a:pt x="144" y="1124"/>
                  </a:lnTo>
                  <a:lnTo>
                    <a:pt x="132" y="1124"/>
                  </a:lnTo>
                  <a:lnTo>
                    <a:pt x="122" y="1126"/>
                  </a:lnTo>
                  <a:lnTo>
                    <a:pt x="120" y="1130"/>
                  </a:lnTo>
                  <a:lnTo>
                    <a:pt x="120" y="1132"/>
                  </a:lnTo>
                  <a:lnTo>
                    <a:pt x="122" y="1136"/>
                  </a:lnTo>
                  <a:lnTo>
                    <a:pt x="124" y="1138"/>
                  </a:lnTo>
                  <a:lnTo>
                    <a:pt x="134" y="1136"/>
                  </a:lnTo>
                  <a:lnTo>
                    <a:pt x="152" y="1134"/>
                  </a:lnTo>
                  <a:lnTo>
                    <a:pt x="162" y="1134"/>
                  </a:lnTo>
                  <a:lnTo>
                    <a:pt x="174" y="1136"/>
                  </a:lnTo>
                  <a:lnTo>
                    <a:pt x="180" y="1138"/>
                  </a:lnTo>
                  <a:lnTo>
                    <a:pt x="184" y="1140"/>
                  </a:lnTo>
                  <a:lnTo>
                    <a:pt x="186" y="1142"/>
                  </a:lnTo>
                  <a:lnTo>
                    <a:pt x="186" y="1146"/>
                  </a:lnTo>
                  <a:lnTo>
                    <a:pt x="186" y="1152"/>
                  </a:lnTo>
                  <a:lnTo>
                    <a:pt x="188" y="1154"/>
                  </a:lnTo>
                  <a:lnTo>
                    <a:pt x="190" y="1156"/>
                  </a:lnTo>
                  <a:lnTo>
                    <a:pt x="198" y="1160"/>
                  </a:lnTo>
                  <a:lnTo>
                    <a:pt x="202" y="1166"/>
                  </a:lnTo>
                  <a:lnTo>
                    <a:pt x="202" y="1174"/>
                  </a:lnTo>
                  <a:lnTo>
                    <a:pt x="198" y="1184"/>
                  </a:lnTo>
                  <a:lnTo>
                    <a:pt x="196" y="1186"/>
                  </a:lnTo>
                  <a:lnTo>
                    <a:pt x="190" y="1186"/>
                  </a:lnTo>
                  <a:lnTo>
                    <a:pt x="180" y="1184"/>
                  </a:lnTo>
                  <a:lnTo>
                    <a:pt x="172" y="1184"/>
                  </a:lnTo>
                  <a:lnTo>
                    <a:pt x="170" y="1186"/>
                  </a:lnTo>
                  <a:lnTo>
                    <a:pt x="170" y="1190"/>
                  </a:lnTo>
                  <a:lnTo>
                    <a:pt x="172" y="1196"/>
                  </a:lnTo>
                  <a:lnTo>
                    <a:pt x="174" y="1198"/>
                  </a:lnTo>
                  <a:lnTo>
                    <a:pt x="176" y="1200"/>
                  </a:lnTo>
                  <a:lnTo>
                    <a:pt x="182" y="1202"/>
                  </a:lnTo>
                  <a:lnTo>
                    <a:pt x="196" y="1202"/>
                  </a:lnTo>
                  <a:lnTo>
                    <a:pt x="220" y="1200"/>
                  </a:lnTo>
                  <a:lnTo>
                    <a:pt x="232" y="1200"/>
                  </a:lnTo>
                  <a:lnTo>
                    <a:pt x="242" y="1202"/>
                  </a:lnTo>
                  <a:lnTo>
                    <a:pt x="252" y="1206"/>
                  </a:lnTo>
                  <a:lnTo>
                    <a:pt x="260" y="1208"/>
                  </a:lnTo>
                  <a:lnTo>
                    <a:pt x="274" y="1216"/>
                  </a:lnTo>
                  <a:lnTo>
                    <a:pt x="282" y="1218"/>
                  </a:lnTo>
                  <a:lnTo>
                    <a:pt x="292" y="1220"/>
                  </a:lnTo>
                  <a:lnTo>
                    <a:pt x="300" y="1220"/>
                  </a:lnTo>
                  <a:lnTo>
                    <a:pt x="308" y="1224"/>
                  </a:lnTo>
                  <a:lnTo>
                    <a:pt x="318" y="1228"/>
                  </a:lnTo>
                  <a:lnTo>
                    <a:pt x="322" y="1230"/>
                  </a:lnTo>
                  <a:lnTo>
                    <a:pt x="328" y="1232"/>
                  </a:lnTo>
                  <a:lnTo>
                    <a:pt x="336" y="1232"/>
                  </a:lnTo>
                  <a:lnTo>
                    <a:pt x="346" y="1230"/>
                  </a:lnTo>
                  <a:lnTo>
                    <a:pt x="356" y="1226"/>
                  </a:lnTo>
                  <a:lnTo>
                    <a:pt x="362" y="1222"/>
                  </a:lnTo>
                  <a:lnTo>
                    <a:pt x="368" y="1214"/>
                  </a:lnTo>
                  <a:lnTo>
                    <a:pt x="370" y="1210"/>
                  </a:lnTo>
                  <a:lnTo>
                    <a:pt x="374" y="1206"/>
                  </a:lnTo>
                  <a:lnTo>
                    <a:pt x="380" y="1206"/>
                  </a:lnTo>
                  <a:lnTo>
                    <a:pt x="388" y="1206"/>
                  </a:lnTo>
                  <a:lnTo>
                    <a:pt x="396" y="1204"/>
                  </a:lnTo>
                  <a:lnTo>
                    <a:pt x="404" y="1204"/>
                  </a:lnTo>
                  <a:lnTo>
                    <a:pt x="418" y="1198"/>
                  </a:lnTo>
                  <a:lnTo>
                    <a:pt x="452" y="1176"/>
                  </a:lnTo>
                  <a:lnTo>
                    <a:pt x="462" y="1172"/>
                  </a:lnTo>
                  <a:lnTo>
                    <a:pt x="470" y="1170"/>
                  </a:lnTo>
                  <a:lnTo>
                    <a:pt x="484" y="1168"/>
                  </a:lnTo>
                  <a:lnTo>
                    <a:pt x="488" y="1166"/>
                  </a:lnTo>
                  <a:lnTo>
                    <a:pt x="494" y="1164"/>
                  </a:lnTo>
                  <a:lnTo>
                    <a:pt x="500" y="1160"/>
                  </a:lnTo>
                  <a:lnTo>
                    <a:pt x="504" y="1154"/>
                  </a:lnTo>
                  <a:lnTo>
                    <a:pt x="514" y="1142"/>
                  </a:lnTo>
                  <a:lnTo>
                    <a:pt x="522" y="1136"/>
                  </a:lnTo>
                  <a:lnTo>
                    <a:pt x="528" y="1134"/>
                  </a:lnTo>
                  <a:lnTo>
                    <a:pt x="534" y="1126"/>
                  </a:lnTo>
                  <a:lnTo>
                    <a:pt x="540" y="1112"/>
                  </a:lnTo>
                  <a:lnTo>
                    <a:pt x="542" y="1104"/>
                  </a:lnTo>
                  <a:lnTo>
                    <a:pt x="542" y="1098"/>
                  </a:lnTo>
                  <a:lnTo>
                    <a:pt x="542" y="1090"/>
                  </a:lnTo>
                  <a:lnTo>
                    <a:pt x="538" y="1086"/>
                  </a:lnTo>
                  <a:lnTo>
                    <a:pt x="532" y="1082"/>
                  </a:lnTo>
                  <a:lnTo>
                    <a:pt x="526" y="1080"/>
                  </a:lnTo>
                  <a:lnTo>
                    <a:pt x="518" y="1078"/>
                  </a:lnTo>
                  <a:lnTo>
                    <a:pt x="514" y="1076"/>
                  </a:lnTo>
                  <a:lnTo>
                    <a:pt x="510" y="1072"/>
                  </a:lnTo>
                  <a:lnTo>
                    <a:pt x="506" y="1068"/>
                  </a:lnTo>
                  <a:lnTo>
                    <a:pt x="502" y="1066"/>
                  </a:lnTo>
                  <a:lnTo>
                    <a:pt x="496" y="1068"/>
                  </a:lnTo>
                  <a:lnTo>
                    <a:pt x="494" y="1066"/>
                  </a:lnTo>
                  <a:lnTo>
                    <a:pt x="492" y="1064"/>
                  </a:lnTo>
                  <a:lnTo>
                    <a:pt x="496" y="1058"/>
                  </a:lnTo>
                  <a:lnTo>
                    <a:pt x="500" y="1052"/>
                  </a:lnTo>
                  <a:lnTo>
                    <a:pt x="500" y="1048"/>
                  </a:lnTo>
                  <a:lnTo>
                    <a:pt x="496" y="1046"/>
                  </a:lnTo>
                  <a:lnTo>
                    <a:pt x="492" y="1046"/>
                  </a:lnTo>
                  <a:lnTo>
                    <a:pt x="486" y="1044"/>
                  </a:lnTo>
                  <a:lnTo>
                    <a:pt x="484" y="1044"/>
                  </a:lnTo>
                  <a:lnTo>
                    <a:pt x="484" y="1040"/>
                  </a:lnTo>
                  <a:lnTo>
                    <a:pt x="488" y="1036"/>
                  </a:lnTo>
                  <a:lnTo>
                    <a:pt x="500" y="1028"/>
                  </a:lnTo>
                  <a:lnTo>
                    <a:pt x="500" y="1024"/>
                  </a:lnTo>
                  <a:lnTo>
                    <a:pt x="500" y="1022"/>
                  </a:lnTo>
                  <a:lnTo>
                    <a:pt x="494" y="1022"/>
                  </a:lnTo>
                  <a:lnTo>
                    <a:pt x="484" y="1026"/>
                  </a:lnTo>
                  <a:lnTo>
                    <a:pt x="474" y="1032"/>
                  </a:lnTo>
                  <a:lnTo>
                    <a:pt x="466" y="1036"/>
                  </a:lnTo>
                  <a:lnTo>
                    <a:pt x="462" y="1036"/>
                  </a:lnTo>
                  <a:lnTo>
                    <a:pt x="460" y="1034"/>
                  </a:lnTo>
                  <a:lnTo>
                    <a:pt x="456" y="1028"/>
                  </a:lnTo>
                  <a:lnTo>
                    <a:pt x="450" y="1020"/>
                  </a:lnTo>
                  <a:lnTo>
                    <a:pt x="446" y="1016"/>
                  </a:lnTo>
                  <a:lnTo>
                    <a:pt x="442" y="1012"/>
                  </a:lnTo>
                  <a:lnTo>
                    <a:pt x="436" y="1012"/>
                  </a:lnTo>
                  <a:lnTo>
                    <a:pt x="430" y="1012"/>
                  </a:lnTo>
                  <a:lnTo>
                    <a:pt x="424" y="1014"/>
                  </a:lnTo>
                  <a:lnTo>
                    <a:pt x="420" y="1018"/>
                  </a:lnTo>
                  <a:lnTo>
                    <a:pt x="418" y="1022"/>
                  </a:lnTo>
                  <a:lnTo>
                    <a:pt x="420" y="1026"/>
                  </a:lnTo>
                  <a:lnTo>
                    <a:pt x="424" y="1034"/>
                  </a:lnTo>
                  <a:lnTo>
                    <a:pt x="424" y="1038"/>
                  </a:lnTo>
                  <a:lnTo>
                    <a:pt x="424" y="1040"/>
                  </a:lnTo>
                  <a:lnTo>
                    <a:pt x="420" y="1042"/>
                  </a:lnTo>
                  <a:lnTo>
                    <a:pt x="418" y="1042"/>
                  </a:lnTo>
                  <a:lnTo>
                    <a:pt x="406" y="1038"/>
                  </a:lnTo>
                  <a:lnTo>
                    <a:pt x="402" y="1036"/>
                  </a:lnTo>
                  <a:lnTo>
                    <a:pt x="396" y="1038"/>
                  </a:lnTo>
                  <a:lnTo>
                    <a:pt x="390" y="1046"/>
                  </a:lnTo>
                  <a:lnTo>
                    <a:pt x="386" y="1050"/>
                  </a:lnTo>
                  <a:lnTo>
                    <a:pt x="382" y="1052"/>
                  </a:lnTo>
                  <a:lnTo>
                    <a:pt x="378" y="1052"/>
                  </a:lnTo>
                  <a:lnTo>
                    <a:pt x="374" y="1048"/>
                  </a:lnTo>
                  <a:lnTo>
                    <a:pt x="362" y="1038"/>
                  </a:lnTo>
                  <a:lnTo>
                    <a:pt x="358" y="1038"/>
                  </a:lnTo>
                  <a:lnTo>
                    <a:pt x="356" y="1038"/>
                  </a:lnTo>
                  <a:lnTo>
                    <a:pt x="354" y="1038"/>
                  </a:lnTo>
                  <a:lnTo>
                    <a:pt x="352" y="1042"/>
                  </a:lnTo>
                  <a:lnTo>
                    <a:pt x="352" y="1052"/>
                  </a:lnTo>
                  <a:lnTo>
                    <a:pt x="352" y="1056"/>
                  </a:lnTo>
                  <a:lnTo>
                    <a:pt x="350" y="1058"/>
                  </a:lnTo>
                  <a:lnTo>
                    <a:pt x="350" y="1060"/>
                  </a:lnTo>
                  <a:lnTo>
                    <a:pt x="346" y="1058"/>
                  </a:lnTo>
                  <a:lnTo>
                    <a:pt x="342" y="1052"/>
                  </a:lnTo>
                  <a:lnTo>
                    <a:pt x="338" y="1042"/>
                  </a:lnTo>
                  <a:lnTo>
                    <a:pt x="336" y="1038"/>
                  </a:lnTo>
                  <a:lnTo>
                    <a:pt x="330" y="1036"/>
                  </a:lnTo>
                  <a:lnTo>
                    <a:pt x="326" y="1036"/>
                  </a:lnTo>
                  <a:lnTo>
                    <a:pt x="320" y="1038"/>
                  </a:lnTo>
                  <a:lnTo>
                    <a:pt x="314" y="1042"/>
                  </a:lnTo>
                  <a:lnTo>
                    <a:pt x="308" y="1048"/>
                  </a:lnTo>
                  <a:lnTo>
                    <a:pt x="306" y="1054"/>
                  </a:lnTo>
                  <a:lnTo>
                    <a:pt x="306" y="1060"/>
                  </a:lnTo>
                  <a:lnTo>
                    <a:pt x="304" y="1070"/>
                  </a:lnTo>
                  <a:lnTo>
                    <a:pt x="304" y="1072"/>
                  </a:lnTo>
                  <a:lnTo>
                    <a:pt x="302" y="1072"/>
                  </a:lnTo>
                  <a:lnTo>
                    <a:pt x="294" y="1066"/>
                  </a:lnTo>
                  <a:lnTo>
                    <a:pt x="286" y="1052"/>
                  </a:lnTo>
                  <a:lnTo>
                    <a:pt x="280" y="1044"/>
                  </a:lnTo>
                  <a:lnTo>
                    <a:pt x="276" y="1042"/>
                  </a:lnTo>
                  <a:lnTo>
                    <a:pt x="272" y="1040"/>
                  </a:lnTo>
                  <a:lnTo>
                    <a:pt x="268" y="1042"/>
                  </a:lnTo>
                  <a:lnTo>
                    <a:pt x="266" y="1046"/>
                  </a:lnTo>
                  <a:lnTo>
                    <a:pt x="266" y="1052"/>
                  </a:lnTo>
                  <a:lnTo>
                    <a:pt x="266" y="1056"/>
                  </a:lnTo>
                  <a:lnTo>
                    <a:pt x="268" y="1062"/>
                  </a:lnTo>
                  <a:lnTo>
                    <a:pt x="270" y="1074"/>
                  </a:lnTo>
                  <a:lnTo>
                    <a:pt x="270" y="1078"/>
                  </a:lnTo>
                  <a:lnTo>
                    <a:pt x="270" y="1080"/>
                  </a:lnTo>
                  <a:lnTo>
                    <a:pt x="266" y="1082"/>
                  </a:lnTo>
                  <a:lnTo>
                    <a:pt x="264" y="1082"/>
                  </a:lnTo>
                  <a:lnTo>
                    <a:pt x="260" y="1080"/>
                  </a:lnTo>
                  <a:lnTo>
                    <a:pt x="256" y="1074"/>
                  </a:lnTo>
                  <a:lnTo>
                    <a:pt x="252" y="1070"/>
                  </a:lnTo>
                  <a:lnTo>
                    <a:pt x="248" y="1072"/>
                  </a:lnTo>
                  <a:lnTo>
                    <a:pt x="246" y="1076"/>
                  </a:lnTo>
                  <a:lnTo>
                    <a:pt x="242" y="1082"/>
                  </a:lnTo>
                  <a:lnTo>
                    <a:pt x="240" y="1088"/>
                  </a:lnTo>
                  <a:lnTo>
                    <a:pt x="236" y="1090"/>
                  </a:lnTo>
                  <a:lnTo>
                    <a:pt x="234" y="1092"/>
                  </a:lnTo>
                  <a:lnTo>
                    <a:pt x="232" y="1090"/>
                  </a:lnTo>
                  <a:lnTo>
                    <a:pt x="228" y="1084"/>
                  </a:lnTo>
                  <a:lnTo>
                    <a:pt x="226" y="1076"/>
                  </a:lnTo>
                  <a:lnTo>
                    <a:pt x="226" y="1070"/>
                  </a:lnTo>
                  <a:lnTo>
                    <a:pt x="228" y="1060"/>
                  </a:lnTo>
                  <a:lnTo>
                    <a:pt x="228" y="1058"/>
                  </a:lnTo>
                  <a:lnTo>
                    <a:pt x="228" y="1054"/>
                  </a:lnTo>
                  <a:lnTo>
                    <a:pt x="224" y="1050"/>
                  </a:lnTo>
                  <a:lnTo>
                    <a:pt x="216" y="1046"/>
                  </a:lnTo>
                  <a:lnTo>
                    <a:pt x="204" y="1036"/>
                  </a:lnTo>
                  <a:lnTo>
                    <a:pt x="200" y="1030"/>
                  </a:lnTo>
                  <a:lnTo>
                    <a:pt x="194" y="1026"/>
                  </a:lnTo>
                  <a:lnTo>
                    <a:pt x="184" y="1020"/>
                  </a:lnTo>
                  <a:lnTo>
                    <a:pt x="174" y="1018"/>
                  </a:lnTo>
                  <a:lnTo>
                    <a:pt x="168" y="1018"/>
                  </a:lnTo>
                  <a:lnTo>
                    <a:pt x="162" y="1018"/>
                  </a:lnTo>
                  <a:lnTo>
                    <a:pt x="158" y="1020"/>
                  </a:lnTo>
                  <a:lnTo>
                    <a:pt x="154" y="1024"/>
                  </a:lnTo>
                  <a:lnTo>
                    <a:pt x="152" y="1026"/>
                  </a:lnTo>
                  <a:lnTo>
                    <a:pt x="152" y="1030"/>
                  </a:lnTo>
                  <a:lnTo>
                    <a:pt x="154" y="1032"/>
                  </a:lnTo>
                  <a:lnTo>
                    <a:pt x="162" y="1038"/>
                  </a:lnTo>
                  <a:lnTo>
                    <a:pt x="170" y="1042"/>
                  </a:lnTo>
                  <a:lnTo>
                    <a:pt x="180" y="1048"/>
                  </a:lnTo>
                  <a:lnTo>
                    <a:pt x="186" y="1054"/>
                  </a:lnTo>
                  <a:lnTo>
                    <a:pt x="188" y="1058"/>
                  </a:lnTo>
                  <a:lnTo>
                    <a:pt x="186" y="1058"/>
                  </a:lnTo>
                  <a:lnTo>
                    <a:pt x="178" y="1056"/>
                  </a:lnTo>
                  <a:lnTo>
                    <a:pt x="166" y="1048"/>
                  </a:lnTo>
                  <a:lnTo>
                    <a:pt x="154" y="1040"/>
                  </a:lnTo>
                  <a:lnTo>
                    <a:pt x="148" y="1038"/>
                  </a:lnTo>
                  <a:lnTo>
                    <a:pt x="144" y="1036"/>
                  </a:lnTo>
                  <a:lnTo>
                    <a:pt x="140" y="1038"/>
                  </a:lnTo>
                  <a:lnTo>
                    <a:pt x="136" y="1040"/>
                  </a:lnTo>
                  <a:lnTo>
                    <a:pt x="130" y="1048"/>
                  </a:lnTo>
                  <a:lnTo>
                    <a:pt x="128" y="1058"/>
                  </a:lnTo>
                  <a:lnTo>
                    <a:pt x="128" y="1064"/>
                  </a:lnTo>
                  <a:lnTo>
                    <a:pt x="126" y="1066"/>
                  </a:lnTo>
                  <a:lnTo>
                    <a:pt x="122" y="1068"/>
                  </a:lnTo>
                  <a:lnTo>
                    <a:pt x="118" y="1068"/>
                  </a:lnTo>
                  <a:lnTo>
                    <a:pt x="116" y="1070"/>
                  </a:lnTo>
                  <a:lnTo>
                    <a:pt x="116" y="1074"/>
                  </a:lnTo>
                  <a:lnTo>
                    <a:pt x="114" y="1080"/>
                  </a:lnTo>
                  <a:lnTo>
                    <a:pt x="112" y="1080"/>
                  </a:lnTo>
                  <a:lnTo>
                    <a:pt x="106" y="1078"/>
                  </a:lnTo>
                  <a:lnTo>
                    <a:pt x="102" y="1078"/>
                  </a:lnTo>
                  <a:lnTo>
                    <a:pt x="98" y="1080"/>
                  </a:lnTo>
                  <a:lnTo>
                    <a:pt x="96" y="1082"/>
                  </a:lnTo>
                  <a:lnTo>
                    <a:pt x="96" y="1084"/>
                  </a:lnTo>
                  <a:lnTo>
                    <a:pt x="100" y="1086"/>
                  </a:lnTo>
                  <a:lnTo>
                    <a:pt x="104" y="1090"/>
                  </a:lnTo>
                  <a:lnTo>
                    <a:pt x="118" y="1092"/>
                  </a:lnTo>
                  <a:lnTo>
                    <a:pt x="126" y="1092"/>
                  </a:lnTo>
                  <a:lnTo>
                    <a:pt x="134" y="1090"/>
                  </a:lnTo>
                  <a:close/>
                  <a:moveTo>
                    <a:pt x="306" y="1550"/>
                  </a:moveTo>
                  <a:lnTo>
                    <a:pt x="306" y="1550"/>
                  </a:lnTo>
                  <a:lnTo>
                    <a:pt x="304" y="1546"/>
                  </a:lnTo>
                  <a:lnTo>
                    <a:pt x="302" y="1544"/>
                  </a:lnTo>
                  <a:lnTo>
                    <a:pt x="300" y="1544"/>
                  </a:lnTo>
                  <a:lnTo>
                    <a:pt x="300" y="1546"/>
                  </a:lnTo>
                  <a:lnTo>
                    <a:pt x="302" y="1548"/>
                  </a:lnTo>
                  <a:lnTo>
                    <a:pt x="306" y="1550"/>
                  </a:lnTo>
                  <a:close/>
                  <a:moveTo>
                    <a:pt x="294" y="1582"/>
                  </a:moveTo>
                  <a:lnTo>
                    <a:pt x="294" y="1582"/>
                  </a:lnTo>
                  <a:lnTo>
                    <a:pt x="296" y="1580"/>
                  </a:lnTo>
                  <a:lnTo>
                    <a:pt x="294" y="1576"/>
                  </a:lnTo>
                  <a:lnTo>
                    <a:pt x="290" y="1572"/>
                  </a:lnTo>
                  <a:lnTo>
                    <a:pt x="288" y="1572"/>
                  </a:lnTo>
                  <a:lnTo>
                    <a:pt x="286" y="1574"/>
                  </a:lnTo>
                  <a:lnTo>
                    <a:pt x="286" y="1576"/>
                  </a:lnTo>
                  <a:lnTo>
                    <a:pt x="290" y="1580"/>
                  </a:lnTo>
                  <a:lnTo>
                    <a:pt x="294" y="1582"/>
                  </a:lnTo>
                  <a:close/>
                  <a:moveTo>
                    <a:pt x="134" y="1350"/>
                  </a:moveTo>
                  <a:lnTo>
                    <a:pt x="134" y="1350"/>
                  </a:lnTo>
                  <a:lnTo>
                    <a:pt x="134" y="1354"/>
                  </a:lnTo>
                  <a:lnTo>
                    <a:pt x="134" y="1356"/>
                  </a:lnTo>
                  <a:lnTo>
                    <a:pt x="138" y="1360"/>
                  </a:lnTo>
                  <a:lnTo>
                    <a:pt x="140" y="1362"/>
                  </a:lnTo>
                  <a:lnTo>
                    <a:pt x="144" y="1364"/>
                  </a:lnTo>
                  <a:lnTo>
                    <a:pt x="150" y="1372"/>
                  </a:lnTo>
                  <a:lnTo>
                    <a:pt x="154" y="1374"/>
                  </a:lnTo>
                  <a:lnTo>
                    <a:pt x="154" y="1370"/>
                  </a:lnTo>
                  <a:lnTo>
                    <a:pt x="152" y="1364"/>
                  </a:lnTo>
                  <a:lnTo>
                    <a:pt x="148" y="1360"/>
                  </a:lnTo>
                  <a:lnTo>
                    <a:pt x="146" y="1358"/>
                  </a:lnTo>
                  <a:lnTo>
                    <a:pt x="144" y="1358"/>
                  </a:lnTo>
                  <a:lnTo>
                    <a:pt x="142" y="1354"/>
                  </a:lnTo>
                  <a:lnTo>
                    <a:pt x="140" y="1350"/>
                  </a:lnTo>
                  <a:lnTo>
                    <a:pt x="136" y="1348"/>
                  </a:lnTo>
                  <a:lnTo>
                    <a:pt x="134" y="1348"/>
                  </a:lnTo>
                  <a:lnTo>
                    <a:pt x="134" y="1350"/>
                  </a:lnTo>
                  <a:close/>
                  <a:moveTo>
                    <a:pt x="138" y="1658"/>
                  </a:moveTo>
                  <a:lnTo>
                    <a:pt x="138" y="1658"/>
                  </a:lnTo>
                  <a:lnTo>
                    <a:pt x="140" y="1652"/>
                  </a:lnTo>
                  <a:lnTo>
                    <a:pt x="138" y="1650"/>
                  </a:lnTo>
                  <a:lnTo>
                    <a:pt x="136" y="1650"/>
                  </a:lnTo>
                  <a:lnTo>
                    <a:pt x="132" y="1652"/>
                  </a:lnTo>
                  <a:lnTo>
                    <a:pt x="128" y="1652"/>
                  </a:lnTo>
                  <a:lnTo>
                    <a:pt x="124" y="1652"/>
                  </a:lnTo>
                  <a:lnTo>
                    <a:pt x="122" y="1654"/>
                  </a:lnTo>
                  <a:lnTo>
                    <a:pt x="120" y="1656"/>
                  </a:lnTo>
                  <a:lnTo>
                    <a:pt x="122" y="1656"/>
                  </a:lnTo>
                  <a:lnTo>
                    <a:pt x="126" y="1660"/>
                  </a:lnTo>
                  <a:lnTo>
                    <a:pt x="134" y="1660"/>
                  </a:lnTo>
                  <a:lnTo>
                    <a:pt x="136" y="1660"/>
                  </a:lnTo>
                  <a:lnTo>
                    <a:pt x="138" y="1658"/>
                  </a:lnTo>
                  <a:close/>
                  <a:moveTo>
                    <a:pt x="124" y="1360"/>
                  </a:moveTo>
                  <a:lnTo>
                    <a:pt x="124" y="1360"/>
                  </a:lnTo>
                  <a:lnTo>
                    <a:pt x="122" y="1360"/>
                  </a:lnTo>
                  <a:lnTo>
                    <a:pt x="124" y="1362"/>
                  </a:lnTo>
                  <a:lnTo>
                    <a:pt x="132" y="1368"/>
                  </a:lnTo>
                  <a:lnTo>
                    <a:pt x="134" y="1370"/>
                  </a:lnTo>
                  <a:lnTo>
                    <a:pt x="138" y="1368"/>
                  </a:lnTo>
                  <a:lnTo>
                    <a:pt x="138" y="1366"/>
                  </a:lnTo>
                  <a:lnTo>
                    <a:pt x="136" y="1362"/>
                  </a:lnTo>
                  <a:lnTo>
                    <a:pt x="132" y="1358"/>
                  </a:lnTo>
                  <a:lnTo>
                    <a:pt x="130" y="1358"/>
                  </a:lnTo>
                  <a:lnTo>
                    <a:pt x="124" y="1360"/>
                  </a:lnTo>
                  <a:close/>
                  <a:moveTo>
                    <a:pt x="162" y="1352"/>
                  </a:moveTo>
                  <a:lnTo>
                    <a:pt x="162" y="1352"/>
                  </a:lnTo>
                  <a:lnTo>
                    <a:pt x="162" y="1348"/>
                  </a:lnTo>
                  <a:lnTo>
                    <a:pt x="160" y="1344"/>
                  </a:lnTo>
                  <a:lnTo>
                    <a:pt x="160" y="1350"/>
                  </a:lnTo>
                  <a:lnTo>
                    <a:pt x="160" y="1352"/>
                  </a:lnTo>
                  <a:lnTo>
                    <a:pt x="162" y="1352"/>
                  </a:lnTo>
                  <a:close/>
                  <a:moveTo>
                    <a:pt x="128" y="1670"/>
                  </a:moveTo>
                  <a:lnTo>
                    <a:pt x="128" y="1670"/>
                  </a:lnTo>
                  <a:lnTo>
                    <a:pt x="126" y="1670"/>
                  </a:lnTo>
                  <a:lnTo>
                    <a:pt x="124" y="1672"/>
                  </a:lnTo>
                  <a:lnTo>
                    <a:pt x="122" y="1678"/>
                  </a:lnTo>
                  <a:lnTo>
                    <a:pt x="124" y="1686"/>
                  </a:lnTo>
                  <a:lnTo>
                    <a:pt x="126" y="1688"/>
                  </a:lnTo>
                  <a:lnTo>
                    <a:pt x="128" y="1688"/>
                  </a:lnTo>
                  <a:lnTo>
                    <a:pt x="130" y="1688"/>
                  </a:lnTo>
                  <a:lnTo>
                    <a:pt x="130" y="1684"/>
                  </a:lnTo>
                  <a:lnTo>
                    <a:pt x="128" y="1682"/>
                  </a:lnTo>
                  <a:lnTo>
                    <a:pt x="128" y="1680"/>
                  </a:lnTo>
                  <a:lnTo>
                    <a:pt x="130" y="1678"/>
                  </a:lnTo>
                  <a:lnTo>
                    <a:pt x="132" y="1674"/>
                  </a:lnTo>
                  <a:lnTo>
                    <a:pt x="130" y="1672"/>
                  </a:lnTo>
                  <a:lnTo>
                    <a:pt x="128" y="1670"/>
                  </a:lnTo>
                  <a:close/>
                  <a:moveTo>
                    <a:pt x="238" y="1920"/>
                  </a:moveTo>
                  <a:lnTo>
                    <a:pt x="238" y="1920"/>
                  </a:lnTo>
                  <a:lnTo>
                    <a:pt x="236" y="1924"/>
                  </a:lnTo>
                  <a:lnTo>
                    <a:pt x="238" y="1926"/>
                  </a:lnTo>
                  <a:lnTo>
                    <a:pt x="240" y="1930"/>
                  </a:lnTo>
                  <a:lnTo>
                    <a:pt x="246" y="1930"/>
                  </a:lnTo>
                  <a:lnTo>
                    <a:pt x="248" y="1930"/>
                  </a:lnTo>
                  <a:lnTo>
                    <a:pt x="252" y="1926"/>
                  </a:lnTo>
                  <a:lnTo>
                    <a:pt x="252" y="1924"/>
                  </a:lnTo>
                  <a:lnTo>
                    <a:pt x="254" y="1920"/>
                  </a:lnTo>
                  <a:lnTo>
                    <a:pt x="252" y="1918"/>
                  </a:lnTo>
                  <a:lnTo>
                    <a:pt x="250" y="1916"/>
                  </a:lnTo>
                  <a:lnTo>
                    <a:pt x="248" y="1914"/>
                  </a:lnTo>
                  <a:lnTo>
                    <a:pt x="244" y="1916"/>
                  </a:lnTo>
                  <a:lnTo>
                    <a:pt x="240" y="1916"/>
                  </a:lnTo>
                  <a:lnTo>
                    <a:pt x="238" y="1920"/>
                  </a:lnTo>
                  <a:close/>
                  <a:moveTo>
                    <a:pt x="232" y="1878"/>
                  </a:moveTo>
                  <a:lnTo>
                    <a:pt x="232" y="1878"/>
                  </a:lnTo>
                  <a:lnTo>
                    <a:pt x="236" y="1878"/>
                  </a:lnTo>
                  <a:lnTo>
                    <a:pt x="240" y="1876"/>
                  </a:lnTo>
                  <a:lnTo>
                    <a:pt x="246" y="1870"/>
                  </a:lnTo>
                  <a:lnTo>
                    <a:pt x="248" y="1862"/>
                  </a:lnTo>
                  <a:lnTo>
                    <a:pt x="246" y="1858"/>
                  </a:lnTo>
                  <a:lnTo>
                    <a:pt x="244" y="1856"/>
                  </a:lnTo>
                  <a:lnTo>
                    <a:pt x="240" y="1858"/>
                  </a:lnTo>
                  <a:lnTo>
                    <a:pt x="234" y="1866"/>
                  </a:lnTo>
                  <a:lnTo>
                    <a:pt x="230" y="1874"/>
                  </a:lnTo>
                  <a:lnTo>
                    <a:pt x="230" y="1876"/>
                  </a:lnTo>
                  <a:lnTo>
                    <a:pt x="232" y="1878"/>
                  </a:lnTo>
                  <a:close/>
                  <a:moveTo>
                    <a:pt x="290" y="1568"/>
                  </a:moveTo>
                  <a:lnTo>
                    <a:pt x="290" y="1568"/>
                  </a:lnTo>
                  <a:lnTo>
                    <a:pt x="294" y="1572"/>
                  </a:lnTo>
                  <a:lnTo>
                    <a:pt x="298" y="1572"/>
                  </a:lnTo>
                  <a:lnTo>
                    <a:pt x="302" y="1572"/>
                  </a:lnTo>
                  <a:lnTo>
                    <a:pt x="304" y="1572"/>
                  </a:lnTo>
                  <a:lnTo>
                    <a:pt x="306" y="1574"/>
                  </a:lnTo>
                  <a:lnTo>
                    <a:pt x="310" y="1574"/>
                  </a:lnTo>
                  <a:lnTo>
                    <a:pt x="312" y="1572"/>
                  </a:lnTo>
                  <a:lnTo>
                    <a:pt x="312" y="1570"/>
                  </a:lnTo>
                  <a:lnTo>
                    <a:pt x="310" y="1568"/>
                  </a:lnTo>
                  <a:lnTo>
                    <a:pt x="310" y="1570"/>
                  </a:lnTo>
                  <a:lnTo>
                    <a:pt x="308" y="1570"/>
                  </a:lnTo>
                  <a:lnTo>
                    <a:pt x="308" y="1568"/>
                  </a:lnTo>
                  <a:lnTo>
                    <a:pt x="304" y="1566"/>
                  </a:lnTo>
                  <a:lnTo>
                    <a:pt x="302" y="1566"/>
                  </a:lnTo>
                  <a:lnTo>
                    <a:pt x="300" y="1566"/>
                  </a:lnTo>
                  <a:lnTo>
                    <a:pt x="300" y="1564"/>
                  </a:lnTo>
                  <a:lnTo>
                    <a:pt x="302" y="1560"/>
                  </a:lnTo>
                  <a:lnTo>
                    <a:pt x="300" y="1560"/>
                  </a:lnTo>
                  <a:lnTo>
                    <a:pt x="296" y="1556"/>
                  </a:lnTo>
                  <a:lnTo>
                    <a:pt x="292" y="1556"/>
                  </a:lnTo>
                  <a:lnTo>
                    <a:pt x="290" y="1560"/>
                  </a:lnTo>
                  <a:lnTo>
                    <a:pt x="288" y="1564"/>
                  </a:lnTo>
                  <a:lnTo>
                    <a:pt x="290" y="1568"/>
                  </a:lnTo>
                  <a:close/>
                  <a:moveTo>
                    <a:pt x="208" y="1778"/>
                  </a:moveTo>
                  <a:lnTo>
                    <a:pt x="208" y="1778"/>
                  </a:lnTo>
                  <a:lnTo>
                    <a:pt x="206" y="1784"/>
                  </a:lnTo>
                  <a:lnTo>
                    <a:pt x="206" y="1788"/>
                  </a:lnTo>
                  <a:lnTo>
                    <a:pt x="210" y="1792"/>
                  </a:lnTo>
                  <a:lnTo>
                    <a:pt x="214" y="1792"/>
                  </a:lnTo>
                  <a:lnTo>
                    <a:pt x="216" y="1792"/>
                  </a:lnTo>
                  <a:lnTo>
                    <a:pt x="218" y="1788"/>
                  </a:lnTo>
                  <a:lnTo>
                    <a:pt x="216" y="1782"/>
                  </a:lnTo>
                  <a:lnTo>
                    <a:pt x="212" y="1776"/>
                  </a:lnTo>
                  <a:lnTo>
                    <a:pt x="210" y="1776"/>
                  </a:lnTo>
                  <a:lnTo>
                    <a:pt x="208" y="1778"/>
                  </a:lnTo>
                  <a:close/>
                  <a:moveTo>
                    <a:pt x="618" y="1434"/>
                  </a:moveTo>
                  <a:lnTo>
                    <a:pt x="618" y="1434"/>
                  </a:lnTo>
                  <a:lnTo>
                    <a:pt x="620" y="1434"/>
                  </a:lnTo>
                  <a:lnTo>
                    <a:pt x="622" y="1430"/>
                  </a:lnTo>
                  <a:lnTo>
                    <a:pt x="622" y="1428"/>
                  </a:lnTo>
                  <a:lnTo>
                    <a:pt x="620" y="1426"/>
                  </a:lnTo>
                  <a:lnTo>
                    <a:pt x="616" y="1430"/>
                  </a:lnTo>
                  <a:lnTo>
                    <a:pt x="616" y="1432"/>
                  </a:lnTo>
                  <a:lnTo>
                    <a:pt x="618" y="1434"/>
                  </a:lnTo>
                  <a:close/>
                  <a:moveTo>
                    <a:pt x="882" y="1770"/>
                  </a:moveTo>
                  <a:lnTo>
                    <a:pt x="882" y="1770"/>
                  </a:lnTo>
                  <a:lnTo>
                    <a:pt x="876" y="1774"/>
                  </a:lnTo>
                  <a:lnTo>
                    <a:pt x="870" y="1774"/>
                  </a:lnTo>
                  <a:lnTo>
                    <a:pt x="866" y="1772"/>
                  </a:lnTo>
                  <a:lnTo>
                    <a:pt x="860" y="1774"/>
                  </a:lnTo>
                  <a:lnTo>
                    <a:pt x="860" y="1776"/>
                  </a:lnTo>
                  <a:lnTo>
                    <a:pt x="864" y="1778"/>
                  </a:lnTo>
                  <a:lnTo>
                    <a:pt x="870" y="1782"/>
                  </a:lnTo>
                  <a:lnTo>
                    <a:pt x="870" y="1784"/>
                  </a:lnTo>
                  <a:lnTo>
                    <a:pt x="870" y="1786"/>
                  </a:lnTo>
                  <a:lnTo>
                    <a:pt x="870" y="1788"/>
                  </a:lnTo>
                  <a:lnTo>
                    <a:pt x="872" y="1790"/>
                  </a:lnTo>
                  <a:lnTo>
                    <a:pt x="874" y="1792"/>
                  </a:lnTo>
                  <a:lnTo>
                    <a:pt x="872" y="1796"/>
                  </a:lnTo>
                  <a:lnTo>
                    <a:pt x="870" y="1798"/>
                  </a:lnTo>
                  <a:lnTo>
                    <a:pt x="872" y="1800"/>
                  </a:lnTo>
                  <a:lnTo>
                    <a:pt x="874" y="1800"/>
                  </a:lnTo>
                  <a:lnTo>
                    <a:pt x="876" y="1804"/>
                  </a:lnTo>
                  <a:lnTo>
                    <a:pt x="876" y="1806"/>
                  </a:lnTo>
                  <a:lnTo>
                    <a:pt x="878" y="1806"/>
                  </a:lnTo>
                  <a:lnTo>
                    <a:pt x="882" y="1806"/>
                  </a:lnTo>
                  <a:lnTo>
                    <a:pt x="886" y="1806"/>
                  </a:lnTo>
                  <a:lnTo>
                    <a:pt x="888" y="1808"/>
                  </a:lnTo>
                  <a:lnTo>
                    <a:pt x="892" y="1806"/>
                  </a:lnTo>
                  <a:lnTo>
                    <a:pt x="894" y="1808"/>
                  </a:lnTo>
                  <a:lnTo>
                    <a:pt x="896" y="1810"/>
                  </a:lnTo>
                  <a:lnTo>
                    <a:pt x="896" y="1814"/>
                  </a:lnTo>
                  <a:lnTo>
                    <a:pt x="894" y="1814"/>
                  </a:lnTo>
                  <a:lnTo>
                    <a:pt x="892" y="1814"/>
                  </a:lnTo>
                  <a:lnTo>
                    <a:pt x="890" y="1816"/>
                  </a:lnTo>
                  <a:lnTo>
                    <a:pt x="892" y="1816"/>
                  </a:lnTo>
                  <a:lnTo>
                    <a:pt x="894" y="1818"/>
                  </a:lnTo>
                  <a:lnTo>
                    <a:pt x="898" y="1820"/>
                  </a:lnTo>
                  <a:lnTo>
                    <a:pt x="898" y="1822"/>
                  </a:lnTo>
                  <a:lnTo>
                    <a:pt x="896" y="1824"/>
                  </a:lnTo>
                  <a:lnTo>
                    <a:pt x="896" y="1826"/>
                  </a:lnTo>
                  <a:lnTo>
                    <a:pt x="900" y="1832"/>
                  </a:lnTo>
                  <a:lnTo>
                    <a:pt x="902" y="1836"/>
                  </a:lnTo>
                  <a:lnTo>
                    <a:pt x="904" y="1840"/>
                  </a:lnTo>
                  <a:lnTo>
                    <a:pt x="904" y="1844"/>
                  </a:lnTo>
                  <a:lnTo>
                    <a:pt x="906" y="1846"/>
                  </a:lnTo>
                  <a:lnTo>
                    <a:pt x="906" y="1848"/>
                  </a:lnTo>
                  <a:lnTo>
                    <a:pt x="908" y="1848"/>
                  </a:lnTo>
                  <a:lnTo>
                    <a:pt x="908" y="1844"/>
                  </a:lnTo>
                  <a:lnTo>
                    <a:pt x="908" y="1838"/>
                  </a:lnTo>
                  <a:lnTo>
                    <a:pt x="910" y="1834"/>
                  </a:lnTo>
                  <a:lnTo>
                    <a:pt x="912" y="1832"/>
                  </a:lnTo>
                  <a:lnTo>
                    <a:pt x="912" y="1828"/>
                  </a:lnTo>
                  <a:lnTo>
                    <a:pt x="908" y="1824"/>
                  </a:lnTo>
                  <a:lnTo>
                    <a:pt x="902" y="1822"/>
                  </a:lnTo>
                  <a:lnTo>
                    <a:pt x="904" y="1822"/>
                  </a:lnTo>
                  <a:lnTo>
                    <a:pt x="906" y="1820"/>
                  </a:lnTo>
                  <a:lnTo>
                    <a:pt x="910" y="1820"/>
                  </a:lnTo>
                  <a:lnTo>
                    <a:pt x="912" y="1818"/>
                  </a:lnTo>
                  <a:lnTo>
                    <a:pt x="912" y="1816"/>
                  </a:lnTo>
                  <a:lnTo>
                    <a:pt x="912" y="1812"/>
                  </a:lnTo>
                  <a:lnTo>
                    <a:pt x="912" y="1810"/>
                  </a:lnTo>
                  <a:lnTo>
                    <a:pt x="912" y="1808"/>
                  </a:lnTo>
                  <a:lnTo>
                    <a:pt x="918" y="1804"/>
                  </a:lnTo>
                  <a:lnTo>
                    <a:pt x="924" y="1802"/>
                  </a:lnTo>
                  <a:lnTo>
                    <a:pt x="926" y="1800"/>
                  </a:lnTo>
                  <a:lnTo>
                    <a:pt x="924" y="1798"/>
                  </a:lnTo>
                  <a:lnTo>
                    <a:pt x="918" y="1794"/>
                  </a:lnTo>
                  <a:lnTo>
                    <a:pt x="914" y="1790"/>
                  </a:lnTo>
                  <a:lnTo>
                    <a:pt x="914" y="1788"/>
                  </a:lnTo>
                  <a:lnTo>
                    <a:pt x="916" y="1784"/>
                  </a:lnTo>
                  <a:lnTo>
                    <a:pt x="922" y="1782"/>
                  </a:lnTo>
                  <a:lnTo>
                    <a:pt x="926" y="1782"/>
                  </a:lnTo>
                  <a:lnTo>
                    <a:pt x="928" y="1778"/>
                  </a:lnTo>
                  <a:lnTo>
                    <a:pt x="928" y="1772"/>
                  </a:lnTo>
                  <a:lnTo>
                    <a:pt x="928" y="1764"/>
                  </a:lnTo>
                  <a:lnTo>
                    <a:pt x="930" y="1758"/>
                  </a:lnTo>
                  <a:lnTo>
                    <a:pt x="932" y="1754"/>
                  </a:lnTo>
                  <a:lnTo>
                    <a:pt x="930" y="1752"/>
                  </a:lnTo>
                  <a:lnTo>
                    <a:pt x="920" y="1750"/>
                  </a:lnTo>
                  <a:lnTo>
                    <a:pt x="914" y="1750"/>
                  </a:lnTo>
                  <a:lnTo>
                    <a:pt x="908" y="1752"/>
                  </a:lnTo>
                  <a:lnTo>
                    <a:pt x="904" y="1756"/>
                  </a:lnTo>
                  <a:lnTo>
                    <a:pt x="902" y="1760"/>
                  </a:lnTo>
                  <a:lnTo>
                    <a:pt x="904" y="1762"/>
                  </a:lnTo>
                  <a:lnTo>
                    <a:pt x="904" y="1764"/>
                  </a:lnTo>
                  <a:lnTo>
                    <a:pt x="900" y="1772"/>
                  </a:lnTo>
                  <a:lnTo>
                    <a:pt x="898" y="1776"/>
                  </a:lnTo>
                  <a:lnTo>
                    <a:pt x="896" y="1774"/>
                  </a:lnTo>
                  <a:lnTo>
                    <a:pt x="896" y="1770"/>
                  </a:lnTo>
                  <a:lnTo>
                    <a:pt x="898" y="1762"/>
                  </a:lnTo>
                  <a:lnTo>
                    <a:pt x="896" y="1760"/>
                  </a:lnTo>
                  <a:lnTo>
                    <a:pt x="894" y="1760"/>
                  </a:lnTo>
                  <a:lnTo>
                    <a:pt x="890" y="1760"/>
                  </a:lnTo>
                  <a:lnTo>
                    <a:pt x="884" y="1758"/>
                  </a:lnTo>
                  <a:lnTo>
                    <a:pt x="880" y="1758"/>
                  </a:lnTo>
                  <a:lnTo>
                    <a:pt x="876" y="1758"/>
                  </a:lnTo>
                  <a:lnTo>
                    <a:pt x="878" y="1760"/>
                  </a:lnTo>
                  <a:lnTo>
                    <a:pt x="882" y="1762"/>
                  </a:lnTo>
                  <a:lnTo>
                    <a:pt x="886" y="1764"/>
                  </a:lnTo>
                  <a:lnTo>
                    <a:pt x="884" y="1768"/>
                  </a:lnTo>
                  <a:lnTo>
                    <a:pt x="882" y="1770"/>
                  </a:lnTo>
                  <a:close/>
                  <a:moveTo>
                    <a:pt x="850" y="1762"/>
                  </a:moveTo>
                  <a:lnTo>
                    <a:pt x="850" y="1762"/>
                  </a:lnTo>
                  <a:lnTo>
                    <a:pt x="848" y="1760"/>
                  </a:lnTo>
                  <a:lnTo>
                    <a:pt x="846" y="1764"/>
                  </a:lnTo>
                  <a:lnTo>
                    <a:pt x="848" y="1768"/>
                  </a:lnTo>
                  <a:lnTo>
                    <a:pt x="848" y="1772"/>
                  </a:lnTo>
                  <a:lnTo>
                    <a:pt x="850" y="1772"/>
                  </a:lnTo>
                  <a:lnTo>
                    <a:pt x="850" y="1770"/>
                  </a:lnTo>
                  <a:lnTo>
                    <a:pt x="852" y="1766"/>
                  </a:lnTo>
                  <a:lnTo>
                    <a:pt x="850" y="1762"/>
                  </a:lnTo>
                  <a:close/>
                  <a:moveTo>
                    <a:pt x="834" y="1814"/>
                  </a:moveTo>
                  <a:lnTo>
                    <a:pt x="834" y="1814"/>
                  </a:lnTo>
                  <a:lnTo>
                    <a:pt x="846" y="1816"/>
                  </a:lnTo>
                  <a:lnTo>
                    <a:pt x="852" y="1814"/>
                  </a:lnTo>
                  <a:lnTo>
                    <a:pt x="856" y="1812"/>
                  </a:lnTo>
                  <a:lnTo>
                    <a:pt x="858" y="1808"/>
                  </a:lnTo>
                  <a:lnTo>
                    <a:pt x="858" y="1806"/>
                  </a:lnTo>
                  <a:lnTo>
                    <a:pt x="858" y="1800"/>
                  </a:lnTo>
                  <a:lnTo>
                    <a:pt x="856" y="1794"/>
                  </a:lnTo>
                  <a:lnTo>
                    <a:pt x="856" y="1790"/>
                  </a:lnTo>
                  <a:lnTo>
                    <a:pt x="856" y="1788"/>
                  </a:lnTo>
                  <a:lnTo>
                    <a:pt x="852" y="1784"/>
                  </a:lnTo>
                  <a:lnTo>
                    <a:pt x="850" y="1782"/>
                  </a:lnTo>
                  <a:lnTo>
                    <a:pt x="850" y="1784"/>
                  </a:lnTo>
                  <a:lnTo>
                    <a:pt x="848" y="1786"/>
                  </a:lnTo>
                  <a:lnTo>
                    <a:pt x="840" y="1782"/>
                  </a:lnTo>
                  <a:lnTo>
                    <a:pt x="836" y="1782"/>
                  </a:lnTo>
                  <a:lnTo>
                    <a:pt x="830" y="1784"/>
                  </a:lnTo>
                  <a:lnTo>
                    <a:pt x="824" y="1786"/>
                  </a:lnTo>
                  <a:lnTo>
                    <a:pt x="818" y="1786"/>
                  </a:lnTo>
                  <a:lnTo>
                    <a:pt x="816" y="1786"/>
                  </a:lnTo>
                  <a:lnTo>
                    <a:pt x="814" y="1788"/>
                  </a:lnTo>
                  <a:lnTo>
                    <a:pt x="814" y="1790"/>
                  </a:lnTo>
                  <a:lnTo>
                    <a:pt x="816" y="1792"/>
                  </a:lnTo>
                  <a:lnTo>
                    <a:pt x="820" y="1798"/>
                  </a:lnTo>
                  <a:lnTo>
                    <a:pt x="824" y="1806"/>
                  </a:lnTo>
                  <a:lnTo>
                    <a:pt x="824" y="1810"/>
                  </a:lnTo>
                  <a:lnTo>
                    <a:pt x="826" y="1808"/>
                  </a:lnTo>
                  <a:lnTo>
                    <a:pt x="828" y="1808"/>
                  </a:lnTo>
                  <a:lnTo>
                    <a:pt x="830" y="1808"/>
                  </a:lnTo>
                  <a:lnTo>
                    <a:pt x="830" y="1810"/>
                  </a:lnTo>
                  <a:lnTo>
                    <a:pt x="830" y="1812"/>
                  </a:lnTo>
                  <a:lnTo>
                    <a:pt x="830" y="1814"/>
                  </a:lnTo>
                  <a:lnTo>
                    <a:pt x="834" y="1814"/>
                  </a:lnTo>
                  <a:close/>
                  <a:moveTo>
                    <a:pt x="898" y="1832"/>
                  </a:moveTo>
                  <a:lnTo>
                    <a:pt x="898" y="1832"/>
                  </a:lnTo>
                  <a:lnTo>
                    <a:pt x="894" y="1826"/>
                  </a:lnTo>
                  <a:lnTo>
                    <a:pt x="892" y="1826"/>
                  </a:lnTo>
                  <a:lnTo>
                    <a:pt x="890" y="1828"/>
                  </a:lnTo>
                  <a:lnTo>
                    <a:pt x="890" y="1830"/>
                  </a:lnTo>
                  <a:lnTo>
                    <a:pt x="888" y="1830"/>
                  </a:lnTo>
                  <a:lnTo>
                    <a:pt x="878" y="1824"/>
                  </a:lnTo>
                  <a:lnTo>
                    <a:pt x="872" y="1822"/>
                  </a:lnTo>
                  <a:lnTo>
                    <a:pt x="868" y="1822"/>
                  </a:lnTo>
                  <a:lnTo>
                    <a:pt x="866" y="1826"/>
                  </a:lnTo>
                  <a:lnTo>
                    <a:pt x="866" y="1830"/>
                  </a:lnTo>
                  <a:lnTo>
                    <a:pt x="870" y="1834"/>
                  </a:lnTo>
                  <a:lnTo>
                    <a:pt x="876" y="1838"/>
                  </a:lnTo>
                  <a:lnTo>
                    <a:pt x="886" y="1840"/>
                  </a:lnTo>
                  <a:lnTo>
                    <a:pt x="894" y="1842"/>
                  </a:lnTo>
                  <a:lnTo>
                    <a:pt x="898" y="1842"/>
                  </a:lnTo>
                  <a:lnTo>
                    <a:pt x="900" y="1840"/>
                  </a:lnTo>
                  <a:lnTo>
                    <a:pt x="898" y="1832"/>
                  </a:lnTo>
                  <a:close/>
                  <a:moveTo>
                    <a:pt x="914" y="1822"/>
                  </a:moveTo>
                  <a:lnTo>
                    <a:pt x="914" y="1822"/>
                  </a:lnTo>
                  <a:lnTo>
                    <a:pt x="912" y="1824"/>
                  </a:lnTo>
                  <a:lnTo>
                    <a:pt x="914" y="1826"/>
                  </a:lnTo>
                  <a:lnTo>
                    <a:pt x="918" y="1824"/>
                  </a:lnTo>
                  <a:lnTo>
                    <a:pt x="924" y="1820"/>
                  </a:lnTo>
                  <a:lnTo>
                    <a:pt x="926" y="1820"/>
                  </a:lnTo>
                  <a:lnTo>
                    <a:pt x="926" y="1818"/>
                  </a:lnTo>
                  <a:lnTo>
                    <a:pt x="922" y="1816"/>
                  </a:lnTo>
                  <a:lnTo>
                    <a:pt x="918" y="1816"/>
                  </a:lnTo>
                  <a:lnTo>
                    <a:pt x="914" y="1822"/>
                  </a:lnTo>
                  <a:close/>
                  <a:moveTo>
                    <a:pt x="868" y="1848"/>
                  </a:moveTo>
                  <a:lnTo>
                    <a:pt x="868" y="1848"/>
                  </a:lnTo>
                  <a:lnTo>
                    <a:pt x="866" y="1850"/>
                  </a:lnTo>
                  <a:lnTo>
                    <a:pt x="868" y="1852"/>
                  </a:lnTo>
                  <a:lnTo>
                    <a:pt x="872" y="1854"/>
                  </a:lnTo>
                  <a:lnTo>
                    <a:pt x="876" y="1854"/>
                  </a:lnTo>
                  <a:lnTo>
                    <a:pt x="880" y="1854"/>
                  </a:lnTo>
                  <a:lnTo>
                    <a:pt x="878" y="1852"/>
                  </a:lnTo>
                  <a:lnTo>
                    <a:pt x="876" y="1848"/>
                  </a:lnTo>
                  <a:lnTo>
                    <a:pt x="872" y="1848"/>
                  </a:lnTo>
                  <a:lnTo>
                    <a:pt x="868" y="1848"/>
                  </a:lnTo>
                  <a:close/>
                  <a:moveTo>
                    <a:pt x="1030" y="1820"/>
                  </a:moveTo>
                  <a:lnTo>
                    <a:pt x="1030" y="1820"/>
                  </a:lnTo>
                  <a:lnTo>
                    <a:pt x="1032" y="1818"/>
                  </a:lnTo>
                  <a:lnTo>
                    <a:pt x="1034" y="1814"/>
                  </a:lnTo>
                  <a:lnTo>
                    <a:pt x="1032" y="1810"/>
                  </a:lnTo>
                  <a:lnTo>
                    <a:pt x="1030" y="1808"/>
                  </a:lnTo>
                  <a:lnTo>
                    <a:pt x="1022" y="1802"/>
                  </a:lnTo>
                  <a:lnTo>
                    <a:pt x="1018" y="1800"/>
                  </a:lnTo>
                  <a:lnTo>
                    <a:pt x="1016" y="1802"/>
                  </a:lnTo>
                  <a:lnTo>
                    <a:pt x="1014" y="1806"/>
                  </a:lnTo>
                  <a:lnTo>
                    <a:pt x="1016" y="1812"/>
                  </a:lnTo>
                  <a:lnTo>
                    <a:pt x="1022" y="1818"/>
                  </a:lnTo>
                  <a:lnTo>
                    <a:pt x="1026" y="1820"/>
                  </a:lnTo>
                  <a:lnTo>
                    <a:pt x="1030" y="1820"/>
                  </a:lnTo>
                  <a:close/>
                  <a:moveTo>
                    <a:pt x="952" y="1846"/>
                  </a:moveTo>
                  <a:lnTo>
                    <a:pt x="952" y="1846"/>
                  </a:lnTo>
                  <a:lnTo>
                    <a:pt x="952" y="1848"/>
                  </a:lnTo>
                  <a:lnTo>
                    <a:pt x="954" y="1850"/>
                  </a:lnTo>
                  <a:lnTo>
                    <a:pt x="954" y="1854"/>
                  </a:lnTo>
                  <a:lnTo>
                    <a:pt x="954" y="1856"/>
                  </a:lnTo>
                  <a:lnTo>
                    <a:pt x="952" y="1858"/>
                  </a:lnTo>
                  <a:lnTo>
                    <a:pt x="952" y="1860"/>
                  </a:lnTo>
                  <a:lnTo>
                    <a:pt x="960" y="1866"/>
                  </a:lnTo>
                  <a:lnTo>
                    <a:pt x="962" y="1866"/>
                  </a:lnTo>
                  <a:lnTo>
                    <a:pt x="964" y="1866"/>
                  </a:lnTo>
                  <a:lnTo>
                    <a:pt x="964" y="1864"/>
                  </a:lnTo>
                  <a:lnTo>
                    <a:pt x="964" y="1862"/>
                  </a:lnTo>
                  <a:lnTo>
                    <a:pt x="966" y="1860"/>
                  </a:lnTo>
                  <a:lnTo>
                    <a:pt x="968" y="1858"/>
                  </a:lnTo>
                  <a:lnTo>
                    <a:pt x="972" y="1862"/>
                  </a:lnTo>
                  <a:lnTo>
                    <a:pt x="976" y="1864"/>
                  </a:lnTo>
                  <a:lnTo>
                    <a:pt x="976" y="1862"/>
                  </a:lnTo>
                  <a:lnTo>
                    <a:pt x="976" y="1860"/>
                  </a:lnTo>
                  <a:lnTo>
                    <a:pt x="972" y="1858"/>
                  </a:lnTo>
                  <a:lnTo>
                    <a:pt x="972" y="1856"/>
                  </a:lnTo>
                  <a:lnTo>
                    <a:pt x="972" y="1854"/>
                  </a:lnTo>
                  <a:lnTo>
                    <a:pt x="974" y="1850"/>
                  </a:lnTo>
                  <a:lnTo>
                    <a:pt x="974" y="1846"/>
                  </a:lnTo>
                  <a:lnTo>
                    <a:pt x="972" y="1846"/>
                  </a:lnTo>
                  <a:lnTo>
                    <a:pt x="970" y="1844"/>
                  </a:lnTo>
                  <a:lnTo>
                    <a:pt x="966" y="1842"/>
                  </a:lnTo>
                  <a:lnTo>
                    <a:pt x="964" y="1840"/>
                  </a:lnTo>
                  <a:lnTo>
                    <a:pt x="960" y="1838"/>
                  </a:lnTo>
                  <a:lnTo>
                    <a:pt x="956" y="1840"/>
                  </a:lnTo>
                  <a:lnTo>
                    <a:pt x="954" y="1842"/>
                  </a:lnTo>
                  <a:lnTo>
                    <a:pt x="958" y="1844"/>
                  </a:lnTo>
                  <a:lnTo>
                    <a:pt x="964" y="1846"/>
                  </a:lnTo>
                  <a:lnTo>
                    <a:pt x="966" y="1848"/>
                  </a:lnTo>
                  <a:lnTo>
                    <a:pt x="964" y="1850"/>
                  </a:lnTo>
                  <a:lnTo>
                    <a:pt x="960" y="1850"/>
                  </a:lnTo>
                  <a:lnTo>
                    <a:pt x="952" y="1846"/>
                  </a:lnTo>
                  <a:close/>
                  <a:moveTo>
                    <a:pt x="862" y="1678"/>
                  </a:moveTo>
                  <a:lnTo>
                    <a:pt x="862" y="1678"/>
                  </a:lnTo>
                  <a:lnTo>
                    <a:pt x="864" y="1678"/>
                  </a:lnTo>
                  <a:lnTo>
                    <a:pt x="868" y="1678"/>
                  </a:lnTo>
                  <a:lnTo>
                    <a:pt x="872" y="1674"/>
                  </a:lnTo>
                  <a:lnTo>
                    <a:pt x="872" y="1672"/>
                  </a:lnTo>
                  <a:lnTo>
                    <a:pt x="868" y="1672"/>
                  </a:lnTo>
                  <a:lnTo>
                    <a:pt x="864" y="1674"/>
                  </a:lnTo>
                  <a:lnTo>
                    <a:pt x="862" y="1678"/>
                  </a:lnTo>
                  <a:close/>
                  <a:moveTo>
                    <a:pt x="860" y="1816"/>
                  </a:moveTo>
                  <a:lnTo>
                    <a:pt x="860" y="1816"/>
                  </a:lnTo>
                  <a:lnTo>
                    <a:pt x="860" y="1814"/>
                  </a:lnTo>
                  <a:lnTo>
                    <a:pt x="860" y="1812"/>
                  </a:lnTo>
                  <a:lnTo>
                    <a:pt x="858" y="1814"/>
                  </a:lnTo>
                  <a:lnTo>
                    <a:pt x="856" y="1818"/>
                  </a:lnTo>
                  <a:lnTo>
                    <a:pt x="850" y="1826"/>
                  </a:lnTo>
                  <a:lnTo>
                    <a:pt x="848" y="1830"/>
                  </a:lnTo>
                  <a:lnTo>
                    <a:pt x="848" y="1834"/>
                  </a:lnTo>
                  <a:lnTo>
                    <a:pt x="850" y="1836"/>
                  </a:lnTo>
                  <a:lnTo>
                    <a:pt x="852" y="1836"/>
                  </a:lnTo>
                  <a:lnTo>
                    <a:pt x="854" y="1830"/>
                  </a:lnTo>
                  <a:lnTo>
                    <a:pt x="860" y="1816"/>
                  </a:lnTo>
                  <a:close/>
                  <a:moveTo>
                    <a:pt x="1100" y="2508"/>
                  </a:moveTo>
                  <a:lnTo>
                    <a:pt x="1100" y="2508"/>
                  </a:lnTo>
                  <a:lnTo>
                    <a:pt x="1102" y="2508"/>
                  </a:lnTo>
                  <a:lnTo>
                    <a:pt x="1100" y="2506"/>
                  </a:lnTo>
                  <a:lnTo>
                    <a:pt x="1094" y="2504"/>
                  </a:lnTo>
                  <a:lnTo>
                    <a:pt x="1086" y="2504"/>
                  </a:lnTo>
                  <a:lnTo>
                    <a:pt x="1084" y="2504"/>
                  </a:lnTo>
                  <a:lnTo>
                    <a:pt x="1084" y="2506"/>
                  </a:lnTo>
                  <a:lnTo>
                    <a:pt x="1086" y="2508"/>
                  </a:lnTo>
                  <a:lnTo>
                    <a:pt x="1092" y="2510"/>
                  </a:lnTo>
                  <a:lnTo>
                    <a:pt x="1096" y="2510"/>
                  </a:lnTo>
                  <a:lnTo>
                    <a:pt x="1100" y="2508"/>
                  </a:lnTo>
                  <a:close/>
                  <a:moveTo>
                    <a:pt x="1092" y="2518"/>
                  </a:moveTo>
                  <a:lnTo>
                    <a:pt x="1092" y="2518"/>
                  </a:lnTo>
                  <a:lnTo>
                    <a:pt x="1108" y="2520"/>
                  </a:lnTo>
                  <a:lnTo>
                    <a:pt x="1110" y="2518"/>
                  </a:lnTo>
                  <a:lnTo>
                    <a:pt x="1108" y="2516"/>
                  </a:lnTo>
                  <a:lnTo>
                    <a:pt x="1100" y="2514"/>
                  </a:lnTo>
                  <a:lnTo>
                    <a:pt x="1086" y="2514"/>
                  </a:lnTo>
                  <a:lnTo>
                    <a:pt x="1084" y="2514"/>
                  </a:lnTo>
                  <a:lnTo>
                    <a:pt x="1082" y="2516"/>
                  </a:lnTo>
                  <a:lnTo>
                    <a:pt x="1092" y="2518"/>
                  </a:lnTo>
                  <a:close/>
                  <a:moveTo>
                    <a:pt x="1108" y="1672"/>
                  </a:moveTo>
                  <a:lnTo>
                    <a:pt x="1108" y="1672"/>
                  </a:lnTo>
                  <a:lnTo>
                    <a:pt x="1106" y="1672"/>
                  </a:lnTo>
                  <a:lnTo>
                    <a:pt x="1104" y="1674"/>
                  </a:lnTo>
                  <a:lnTo>
                    <a:pt x="1102" y="1682"/>
                  </a:lnTo>
                  <a:lnTo>
                    <a:pt x="1100" y="1692"/>
                  </a:lnTo>
                  <a:lnTo>
                    <a:pt x="1094" y="1700"/>
                  </a:lnTo>
                  <a:lnTo>
                    <a:pt x="1090" y="1710"/>
                  </a:lnTo>
                  <a:lnTo>
                    <a:pt x="1086" y="1722"/>
                  </a:lnTo>
                  <a:lnTo>
                    <a:pt x="1084" y="1734"/>
                  </a:lnTo>
                  <a:lnTo>
                    <a:pt x="1084" y="1740"/>
                  </a:lnTo>
                  <a:lnTo>
                    <a:pt x="1086" y="1744"/>
                  </a:lnTo>
                  <a:lnTo>
                    <a:pt x="1090" y="1734"/>
                  </a:lnTo>
                  <a:lnTo>
                    <a:pt x="1100" y="1708"/>
                  </a:lnTo>
                  <a:lnTo>
                    <a:pt x="1108" y="1684"/>
                  </a:lnTo>
                  <a:lnTo>
                    <a:pt x="1110" y="1676"/>
                  </a:lnTo>
                  <a:lnTo>
                    <a:pt x="1110" y="1674"/>
                  </a:lnTo>
                  <a:lnTo>
                    <a:pt x="1108" y="1672"/>
                  </a:lnTo>
                  <a:close/>
                  <a:moveTo>
                    <a:pt x="1804" y="2938"/>
                  </a:moveTo>
                  <a:lnTo>
                    <a:pt x="1804" y="2938"/>
                  </a:lnTo>
                  <a:lnTo>
                    <a:pt x="1810" y="2932"/>
                  </a:lnTo>
                  <a:lnTo>
                    <a:pt x="1812" y="2928"/>
                  </a:lnTo>
                  <a:lnTo>
                    <a:pt x="1808" y="2930"/>
                  </a:lnTo>
                  <a:lnTo>
                    <a:pt x="1800" y="2934"/>
                  </a:lnTo>
                  <a:lnTo>
                    <a:pt x="1790" y="2940"/>
                  </a:lnTo>
                  <a:lnTo>
                    <a:pt x="1776" y="2946"/>
                  </a:lnTo>
                  <a:lnTo>
                    <a:pt x="1768" y="2946"/>
                  </a:lnTo>
                  <a:lnTo>
                    <a:pt x="1760" y="2944"/>
                  </a:lnTo>
                  <a:lnTo>
                    <a:pt x="1754" y="2944"/>
                  </a:lnTo>
                  <a:lnTo>
                    <a:pt x="1750" y="2944"/>
                  </a:lnTo>
                  <a:lnTo>
                    <a:pt x="1748" y="2946"/>
                  </a:lnTo>
                  <a:lnTo>
                    <a:pt x="1748" y="2948"/>
                  </a:lnTo>
                  <a:lnTo>
                    <a:pt x="1748" y="2954"/>
                  </a:lnTo>
                  <a:lnTo>
                    <a:pt x="1746" y="2954"/>
                  </a:lnTo>
                  <a:lnTo>
                    <a:pt x="1742" y="2954"/>
                  </a:lnTo>
                  <a:lnTo>
                    <a:pt x="1736" y="2954"/>
                  </a:lnTo>
                  <a:lnTo>
                    <a:pt x="1732" y="2958"/>
                  </a:lnTo>
                  <a:lnTo>
                    <a:pt x="1730" y="2960"/>
                  </a:lnTo>
                  <a:lnTo>
                    <a:pt x="1726" y="2960"/>
                  </a:lnTo>
                  <a:lnTo>
                    <a:pt x="1722" y="2960"/>
                  </a:lnTo>
                  <a:lnTo>
                    <a:pt x="1722" y="2962"/>
                  </a:lnTo>
                  <a:lnTo>
                    <a:pt x="1726" y="2974"/>
                  </a:lnTo>
                  <a:lnTo>
                    <a:pt x="1728" y="2978"/>
                  </a:lnTo>
                  <a:lnTo>
                    <a:pt x="1732" y="2980"/>
                  </a:lnTo>
                  <a:lnTo>
                    <a:pt x="1736" y="2982"/>
                  </a:lnTo>
                  <a:lnTo>
                    <a:pt x="1742" y="2982"/>
                  </a:lnTo>
                  <a:lnTo>
                    <a:pt x="1748" y="2982"/>
                  </a:lnTo>
                  <a:lnTo>
                    <a:pt x="1750" y="2984"/>
                  </a:lnTo>
                  <a:lnTo>
                    <a:pt x="1752" y="2986"/>
                  </a:lnTo>
                  <a:lnTo>
                    <a:pt x="1754" y="2984"/>
                  </a:lnTo>
                  <a:lnTo>
                    <a:pt x="1754" y="2982"/>
                  </a:lnTo>
                  <a:lnTo>
                    <a:pt x="1756" y="2980"/>
                  </a:lnTo>
                  <a:lnTo>
                    <a:pt x="1764" y="2978"/>
                  </a:lnTo>
                  <a:lnTo>
                    <a:pt x="1770" y="2976"/>
                  </a:lnTo>
                  <a:lnTo>
                    <a:pt x="1774" y="2974"/>
                  </a:lnTo>
                  <a:lnTo>
                    <a:pt x="1776" y="2970"/>
                  </a:lnTo>
                  <a:lnTo>
                    <a:pt x="1780" y="2966"/>
                  </a:lnTo>
                  <a:lnTo>
                    <a:pt x="1782" y="2964"/>
                  </a:lnTo>
                  <a:lnTo>
                    <a:pt x="1790" y="2964"/>
                  </a:lnTo>
                  <a:lnTo>
                    <a:pt x="1794" y="2964"/>
                  </a:lnTo>
                  <a:lnTo>
                    <a:pt x="1796" y="2962"/>
                  </a:lnTo>
                  <a:lnTo>
                    <a:pt x="1794" y="2960"/>
                  </a:lnTo>
                  <a:lnTo>
                    <a:pt x="1790" y="2954"/>
                  </a:lnTo>
                  <a:lnTo>
                    <a:pt x="1790" y="2950"/>
                  </a:lnTo>
                  <a:lnTo>
                    <a:pt x="1796" y="2944"/>
                  </a:lnTo>
                  <a:lnTo>
                    <a:pt x="1804" y="2938"/>
                  </a:lnTo>
                  <a:close/>
                  <a:moveTo>
                    <a:pt x="1538" y="2902"/>
                  </a:moveTo>
                  <a:lnTo>
                    <a:pt x="1538" y="2902"/>
                  </a:lnTo>
                  <a:lnTo>
                    <a:pt x="1540" y="2906"/>
                  </a:lnTo>
                  <a:lnTo>
                    <a:pt x="1538" y="2910"/>
                  </a:lnTo>
                  <a:lnTo>
                    <a:pt x="1538" y="2914"/>
                  </a:lnTo>
                  <a:lnTo>
                    <a:pt x="1542" y="2918"/>
                  </a:lnTo>
                  <a:lnTo>
                    <a:pt x="1544" y="2918"/>
                  </a:lnTo>
                  <a:lnTo>
                    <a:pt x="1548" y="2914"/>
                  </a:lnTo>
                  <a:lnTo>
                    <a:pt x="1554" y="2904"/>
                  </a:lnTo>
                  <a:lnTo>
                    <a:pt x="1558" y="2894"/>
                  </a:lnTo>
                  <a:lnTo>
                    <a:pt x="1560" y="2888"/>
                  </a:lnTo>
                  <a:lnTo>
                    <a:pt x="1560" y="2886"/>
                  </a:lnTo>
                  <a:lnTo>
                    <a:pt x="1558" y="2886"/>
                  </a:lnTo>
                  <a:lnTo>
                    <a:pt x="1554" y="2886"/>
                  </a:lnTo>
                  <a:lnTo>
                    <a:pt x="1546" y="2892"/>
                  </a:lnTo>
                  <a:lnTo>
                    <a:pt x="1540" y="2898"/>
                  </a:lnTo>
                  <a:lnTo>
                    <a:pt x="1538" y="2900"/>
                  </a:lnTo>
                  <a:lnTo>
                    <a:pt x="1538" y="2902"/>
                  </a:lnTo>
                  <a:close/>
                  <a:moveTo>
                    <a:pt x="644" y="1508"/>
                  </a:moveTo>
                  <a:lnTo>
                    <a:pt x="644" y="1508"/>
                  </a:lnTo>
                  <a:lnTo>
                    <a:pt x="646" y="1510"/>
                  </a:lnTo>
                  <a:lnTo>
                    <a:pt x="648" y="1508"/>
                  </a:lnTo>
                  <a:lnTo>
                    <a:pt x="650" y="1500"/>
                  </a:lnTo>
                  <a:lnTo>
                    <a:pt x="650" y="1498"/>
                  </a:lnTo>
                  <a:lnTo>
                    <a:pt x="646" y="1498"/>
                  </a:lnTo>
                  <a:lnTo>
                    <a:pt x="640" y="1500"/>
                  </a:lnTo>
                  <a:lnTo>
                    <a:pt x="636" y="1504"/>
                  </a:lnTo>
                  <a:lnTo>
                    <a:pt x="634" y="1510"/>
                  </a:lnTo>
                  <a:lnTo>
                    <a:pt x="636" y="1514"/>
                  </a:lnTo>
                  <a:lnTo>
                    <a:pt x="638" y="1516"/>
                  </a:lnTo>
                  <a:lnTo>
                    <a:pt x="642" y="1518"/>
                  </a:lnTo>
                  <a:lnTo>
                    <a:pt x="644" y="1516"/>
                  </a:lnTo>
                  <a:lnTo>
                    <a:pt x="644" y="1514"/>
                  </a:lnTo>
                  <a:lnTo>
                    <a:pt x="642" y="1508"/>
                  </a:lnTo>
                  <a:lnTo>
                    <a:pt x="640" y="1506"/>
                  </a:lnTo>
                  <a:lnTo>
                    <a:pt x="644" y="1508"/>
                  </a:lnTo>
                  <a:close/>
                  <a:moveTo>
                    <a:pt x="632" y="1558"/>
                  </a:moveTo>
                  <a:lnTo>
                    <a:pt x="632" y="1558"/>
                  </a:lnTo>
                  <a:lnTo>
                    <a:pt x="634" y="1556"/>
                  </a:lnTo>
                  <a:lnTo>
                    <a:pt x="634" y="1554"/>
                  </a:lnTo>
                  <a:lnTo>
                    <a:pt x="634" y="1548"/>
                  </a:lnTo>
                  <a:lnTo>
                    <a:pt x="630" y="1544"/>
                  </a:lnTo>
                  <a:lnTo>
                    <a:pt x="630" y="1546"/>
                  </a:lnTo>
                  <a:lnTo>
                    <a:pt x="630" y="1554"/>
                  </a:lnTo>
                  <a:lnTo>
                    <a:pt x="630" y="1558"/>
                  </a:lnTo>
                  <a:lnTo>
                    <a:pt x="632" y="1558"/>
                  </a:lnTo>
                  <a:close/>
                  <a:moveTo>
                    <a:pt x="628" y="1528"/>
                  </a:moveTo>
                  <a:lnTo>
                    <a:pt x="628" y="1528"/>
                  </a:lnTo>
                  <a:lnTo>
                    <a:pt x="630" y="1528"/>
                  </a:lnTo>
                  <a:lnTo>
                    <a:pt x="630" y="1526"/>
                  </a:lnTo>
                  <a:lnTo>
                    <a:pt x="632" y="1522"/>
                  </a:lnTo>
                  <a:lnTo>
                    <a:pt x="632" y="1520"/>
                  </a:lnTo>
                  <a:lnTo>
                    <a:pt x="634" y="1520"/>
                  </a:lnTo>
                  <a:lnTo>
                    <a:pt x="634" y="1522"/>
                  </a:lnTo>
                  <a:lnTo>
                    <a:pt x="636" y="1522"/>
                  </a:lnTo>
                  <a:lnTo>
                    <a:pt x="638" y="1522"/>
                  </a:lnTo>
                  <a:lnTo>
                    <a:pt x="638" y="1520"/>
                  </a:lnTo>
                  <a:lnTo>
                    <a:pt x="636" y="1518"/>
                  </a:lnTo>
                  <a:lnTo>
                    <a:pt x="632" y="1514"/>
                  </a:lnTo>
                  <a:lnTo>
                    <a:pt x="628" y="1512"/>
                  </a:lnTo>
                  <a:lnTo>
                    <a:pt x="628" y="1516"/>
                  </a:lnTo>
                  <a:lnTo>
                    <a:pt x="628" y="1528"/>
                  </a:lnTo>
                  <a:close/>
                  <a:moveTo>
                    <a:pt x="1186" y="1636"/>
                  </a:moveTo>
                  <a:lnTo>
                    <a:pt x="1186" y="1636"/>
                  </a:lnTo>
                  <a:lnTo>
                    <a:pt x="1180" y="1640"/>
                  </a:lnTo>
                  <a:lnTo>
                    <a:pt x="1176" y="1638"/>
                  </a:lnTo>
                  <a:lnTo>
                    <a:pt x="1174" y="1638"/>
                  </a:lnTo>
                  <a:lnTo>
                    <a:pt x="1164" y="1646"/>
                  </a:lnTo>
                  <a:lnTo>
                    <a:pt x="1156" y="1656"/>
                  </a:lnTo>
                  <a:lnTo>
                    <a:pt x="1150" y="1666"/>
                  </a:lnTo>
                  <a:lnTo>
                    <a:pt x="1150" y="1676"/>
                  </a:lnTo>
                  <a:lnTo>
                    <a:pt x="1154" y="1682"/>
                  </a:lnTo>
                  <a:lnTo>
                    <a:pt x="1154" y="1686"/>
                  </a:lnTo>
                  <a:lnTo>
                    <a:pt x="1154" y="1690"/>
                  </a:lnTo>
                  <a:lnTo>
                    <a:pt x="1154" y="1696"/>
                  </a:lnTo>
                  <a:lnTo>
                    <a:pt x="1154" y="1700"/>
                  </a:lnTo>
                  <a:lnTo>
                    <a:pt x="1158" y="1700"/>
                  </a:lnTo>
                  <a:lnTo>
                    <a:pt x="1162" y="1696"/>
                  </a:lnTo>
                  <a:lnTo>
                    <a:pt x="1166" y="1690"/>
                  </a:lnTo>
                  <a:lnTo>
                    <a:pt x="1170" y="1682"/>
                  </a:lnTo>
                  <a:lnTo>
                    <a:pt x="1178" y="1674"/>
                  </a:lnTo>
                  <a:lnTo>
                    <a:pt x="1182" y="1670"/>
                  </a:lnTo>
                  <a:lnTo>
                    <a:pt x="1184" y="1666"/>
                  </a:lnTo>
                  <a:lnTo>
                    <a:pt x="1182" y="1662"/>
                  </a:lnTo>
                  <a:lnTo>
                    <a:pt x="1180" y="1658"/>
                  </a:lnTo>
                  <a:lnTo>
                    <a:pt x="1180" y="1656"/>
                  </a:lnTo>
                  <a:lnTo>
                    <a:pt x="1182" y="1652"/>
                  </a:lnTo>
                  <a:lnTo>
                    <a:pt x="1186" y="1646"/>
                  </a:lnTo>
                  <a:lnTo>
                    <a:pt x="1194" y="1638"/>
                  </a:lnTo>
                  <a:lnTo>
                    <a:pt x="1198" y="1632"/>
                  </a:lnTo>
                  <a:lnTo>
                    <a:pt x="1196" y="1630"/>
                  </a:lnTo>
                  <a:lnTo>
                    <a:pt x="1194" y="1632"/>
                  </a:lnTo>
                  <a:lnTo>
                    <a:pt x="1186" y="1636"/>
                  </a:lnTo>
                  <a:close/>
                  <a:moveTo>
                    <a:pt x="1058" y="962"/>
                  </a:moveTo>
                  <a:lnTo>
                    <a:pt x="1058" y="962"/>
                  </a:lnTo>
                  <a:lnTo>
                    <a:pt x="1050" y="960"/>
                  </a:lnTo>
                  <a:lnTo>
                    <a:pt x="1048" y="962"/>
                  </a:lnTo>
                  <a:lnTo>
                    <a:pt x="1046" y="964"/>
                  </a:lnTo>
                  <a:lnTo>
                    <a:pt x="1048" y="964"/>
                  </a:lnTo>
                  <a:lnTo>
                    <a:pt x="1054" y="964"/>
                  </a:lnTo>
                  <a:lnTo>
                    <a:pt x="1058" y="962"/>
                  </a:lnTo>
                  <a:close/>
                  <a:moveTo>
                    <a:pt x="1366" y="1568"/>
                  </a:moveTo>
                  <a:lnTo>
                    <a:pt x="1366" y="1568"/>
                  </a:lnTo>
                  <a:lnTo>
                    <a:pt x="1364" y="1566"/>
                  </a:lnTo>
                  <a:lnTo>
                    <a:pt x="1360" y="1564"/>
                  </a:lnTo>
                  <a:lnTo>
                    <a:pt x="1356" y="1564"/>
                  </a:lnTo>
                  <a:lnTo>
                    <a:pt x="1354" y="1566"/>
                  </a:lnTo>
                  <a:lnTo>
                    <a:pt x="1356" y="1568"/>
                  </a:lnTo>
                  <a:lnTo>
                    <a:pt x="1360" y="1570"/>
                  </a:lnTo>
                  <a:lnTo>
                    <a:pt x="1364" y="1570"/>
                  </a:lnTo>
                  <a:lnTo>
                    <a:pt x="1366" y="1568"/>
                  </a:lnTo>
                  <a:close/>
                  <a:moveTo>
                    <a:pt x="1332" y="1588"/>
                  </a:moveTo>
                  <a:lnTo>
                    <a:pt x="1332" y="1588"/>
                  </a:lnTo>
                  <a:lnTo>
                    <a:pt x="1336" y="1586"/>
                  </a:lnTo>
                  <a:lnTo>
                    <a:pt x="1338" y="1584"/>
                  </a:lnTo>
                  <a:lnTo>
                    <a:pt x="1338" y="1582"/>
                  </a:lnTo>
                  <a:lnTo>
                    <a:pt x="1342" y="1580"/>
                  </a:lnTo>
                  <a:lnTo>
                    <a:pt x="1344" y="1582"/>
                  </a:lnTo>
                  <a:lnTo>
                    <a:pt x="1346" y="1580"/>
                  </a:lnTo>
                  <a:lnTo>
                    <a:pt x="1346" y="1578"/>
                  </a:lnTo>
                  <a:lnTo>
                    <a:pt x="1348" y="1578"/>
                  </a:lnTo>
                  <a:lnTo>
                    <a:pt x="1350" y="1578"/>
                  </a:lnTo>
                  <a:lnTo>
                    <a:pt x="1352" y="1576"/>
                  </a:lnTo>
                  <a:lnTo>
                    <a:pt x="1350" y="1574"/>
                  </a:lnTo>
                  <a:lnTo>
                    <a:pt x="1346" y="1570"/>
                  </a:lnTo>
                  <a:lnTo>
                    <a:pt x="1336" y="1562"/>
                  </a:lnTo>
                  <a:lnTo>
                    <a:pt x="1334" y="1562"/>
                  </a:lnTo>
                  <a:lnTo>
                    <a:pt x="1330" y="1566"/>
                  </a:lnTo>
                  <a:lnTo>
                    <a:pt x="1326" y="1568"/>
                  </a:lnTo>
                  <a:lnTo>
                    <a:pt x="1320" y="1570"/>
                  </a:lnTo>
                  <a:lnTo>
                    <a:pt x="1316" y="1570"/>
                  </a:lnTo>
                  <a:lnTo>
                    <a:pt x="1312" y="1570"/>
                  </a:lnTo>
                  <a:lnTo>
                    <a:pt x="1310" y="1572"/>
                  </a:lnTo>
                  <a:lnTo>
                    <a:pt x="1312" y="1574"/>
                  </a:lnTo>
                  <a:lnTo>
                    <a:pt x="1322" y="1574"/>
                  </a:lnTo>
                  <a:lnTo>
                    <a:pt x="1324" y="1574"/>
                  </a:lnTo>
                  <a:lnTo>
                    <a:pt x="1326" y="1576"/>
                  </a:lnTo>
                  <a:lnTo>
                    <a:pt x="1326" y="1580"/>
                  </a:lnTo>
                  <a:lnTo>
                    <a:pt x="1328" y="1584"/>
                  </a:lnTo>
                  <a:lnTo>
                    <a:pt x="1330" y="1586"/>
                  </a:lnTo>
                  <a:lnTo>
                    <a:pt x="1332" y="1588"/>
                  </a:lnTo>
                  <a:close/>
                  <a:moveTo>
                    <a:pt x="1306" y="1608"/>
                  </a:moveTo>
                  <a:lnTo>
                    <a:pt x="1306" y="1608"/>
                  </a:lnTo>
                  <a:lnTo>
                    <a:pt x="1304" y="1610"/>
                  </a:lnTo>
                  <a:lnTo>
                    <a:pt x="1302" y="1612"/>
                  </a:lnTo>
                  <a:lnTo>
                    <a:pt x="1304" y="1616"/>
                  </a:lnTo>
                  <a:lnTo>
                    <a:pt x="1310" y="1618"/>
                  </a:lnTo>
                  <a:lnTo>
                    <a:pt x="1316" y="1622"/>
                  </a:lnTo>
                  <a:lnTo>
                    <a:pt x="1316" y="1624"/>
                  </a:lnTo>
                  <a:lnTo>
                    <a:pt x="1312" y="1628"/>
                  </a:lnTo>
                  <a:lnTo>
                    <a:pt x="1308" y="1630"/>
                  </a:lnTo>
                  <a:lnTo>
                    <a:pt x="1308" y="1634"/>
                  </a:lnTo>
                  <a:lnTo>
                    <a:pt x="1308" y="1636"/>
                  </a:lnTo>
                  <a:lnTo>
                    <a:pt x="1314" y="1636"/>
                  </a:lnTo>
                  <a:lnTo>
                    <a:pt x="1316" y="1634"/>
                  </a:lnTo>
                  <a:lnTo>
                    <a:pt x="1318" y="1630"/>
                  </a:lnTo>
                  <a:lnTo>
                    <a:pt x="1322" y="1620"/>
                  </a:lnTo>
                  <a:lnTo>
                    <a:pt x="1326" y="1618"/>
                  </a:lnTo>
                  <a:lnTo>
                    <a:pt x="1328" y="1616"/>
                  </a:lnTo>
                  <a:lnTo>
                    <a:pt x="1330" y="1616"/>
                  </a:lnTo>
                  <a:lnTo>
                    <a:pt x="1334" y="1618"/>
                  </a:lnTo>
                  <a:lnTo>
                    <a:pt x="1340" y="1614"/>
                  </a:lnTo>
                  <a:lnTo>
                    <a:pt x="1348" y="1610"/>
                  </a:lnTo>
                  <a:lnTo>
                    <a:pt x="1352" y="1604"/>
                  </a:lnTo>
                  <a:lnTo>
                    <a:pt x="1356" y="1602"/>
                  </a:lnTo>
                  <a:lnTo>
                    <a:pt x="1358" y="1602"/>
                  </a:lnTo>
                  <a:lnTo>
                    <a:pt x="1358" y="1604"/>
                  </a:lnTo>
                  <a:lnTo>
                    <a:pt x="1362" y="1604"/>
                  </a:lnTo>
                  <a:lnTo>
                    <a:pt x="1364" y="1602"/>
                  </a:lnTo>
                  <a:lnTo>
                    <a:pt x="1362" y="1602"/>
                  </a:lnTo>
                  <a:lnTo>
                    <a:pt x="1354" y="1596"/>
                  </a:lnTo>
                  <a:lnTo>
                    <a:pt x="1348" y="1594"/>
                  </a:lnTo>
                  <a:lnTo>
                    <a:pt x="1342" y="1594"/>
                  </a:lnTo>
                  <a:lnTo>
                    <a:pt x="1338" y="1594"/>
                  </a:lnTo>
                  <a:lnTo>
                    <a:pt x="1334" y="1592"/>
                  </a:lnTo>
                  <a:lnTo>
                    <a:pt x="1330" y="1590"/>
                  </a:lnTo>
                  <a:lnTo>
                    <a:pt x="1324" y="1592"/>
                  </a:lnTo>
                  <a:lnTo>
                    <a:pt x="1318" y="1594"/>
                  </a:lnTo>
                  <a:lnTo>
                    <a:pt x="1314" y="1600"/>
                  </a:lnTo>
                  <a:lnTo>
                    <a:pt x="1312" y="1602"/>
                  </a:lnTo>
                  <a:lnTo>
                    <a:pt x="1310" y="1602"/>
                  </a:lnTo>
                  <a:lnTo>
                    <a:pt x="1308" y="1598"/>
                  </a:lnTo>
                  <a:lnTo>
                    <a:pt x="1304" y="1598"/>
                  </a:lnTo>
                  <a:lnTo>
                    <a:pt x="1304" y="1600"/>
                  </a:lnTo>
                  <a:lnTo>
                    <a:pt x="1306" y="1604"/>
                  </a:lnTo>
                  <a:lnTo>
                    <a:pt x="1308" y="1606"/>
                  </a:lnTo>
                  <a:lnTo>
                    <a:pt x="1308" y="1608"/>
                  </a:lnTo>
                  <a:lnTo>
                    <a:pt x="1306" y="1608"/>
                  </a:lnTo>
                  <a:close/>
                  <a:moveTo>
                    <a:pt x="1364" y="1596"/>
                  </a:moveTo>
                  <a:lnTo>
                    <a:pt x="1364" y="1596"/>
                  </a:lnTo>
                  <a:lnTo>
                    <a:pt x="1364" y="1592"/>
                  </a:lnTo>
                  <a:lnTo>
                    <a:pt x="1360" y="1590"/>
                  </a:lnTo>
                  <a:lnTo>
                    <a:pt x="1356" y="1588"/>
                  </a:lnTo>
                  <a:lnTo>
                    <a:pt x="1354" y="1588"/>
                  </a:lnTo>
                  <a:lnTo>
                    <a:pt x="1354" y="1592"/>
                  </a:lnTo>
                  <a:lnTo>
                    <a:pt x="1356" y="1596"/>
                  </a:lnTo>
                  <a:lnTo>
                    <a:pt x="1360" y="1598"/>
                  </a:lnTo>
                  <a:lnTo>
                    <a:pt x="1364" y="1596"/>
                  </a:lnTo>
                  <a:close/>
                  <a:moveTo>
                    <a:pt x="1102" y="2532"/>
                  </a:moveTo>
                  <a:lnTo>
                    <a:pt x="1102" y="2532"/>
                  </a:lnTo>
                  <a:lnTo>
                    <a:pt x="1110" y="2530"/>
                  </a:lnTo>
                  <a:lnTo>
                    <a:pt x="1112" y="2530"/>
                  </a:lnTo>
                  <a:lnTo>
                    <a:pt x="1110" y="2528"/>
                  </a:lnTo>
                  <a:lnTo>
                    <a:pt x="1098" y="2526"/>
                  </a:lnTo>
                  <a:lnTo>
                    <a:pt x="1092" y="2528"/>
                  </a:lnTo>
                  <a:lnTo>
                    <a:pt x="1094" y="2530"/>
                  </a:lnTo>
                  <a:lnTo>
                    <a:pt x="1096" y="2532"/>
                  </a:lnTo>
                  <a:lnTo>
                    <a:pt x="1102" y="2532"/>
                  </a:lnTo>
                  <a:close/>
                  <a:moveTo>
                    <a:pt x="470" y="2754"/>
                  </a:moveTo>
                  <a:lnTo>
                    <a:pt x="470" y="2754"/>
                  </a:lnTo>
                  <a:lnTo>
                    <a:pt x="472" y="2756"/>
                  </a:lnTo>
                  <a:lnTo>
                    <a:pt x="476" y="2756"/>
                  </a:lnTo>
                  <a:lnTo>
                    <a:pt x="482" y="2752"/>
                  </a:lnTo>
                  <a:lnTo>
                    <a:pt x="486" y="2746"/>
                  </a:lnTo>
                  <a:lnTo>
                    <a:pt x="486" y="2744"/>
                  </a:lnTo>
                  <a:lnTo>
                    <a:pt x="484" y="2740"/>
                  </a:lnTo>
                  <a:lnTo>
                    <a:pt x="482" y="2740"/>
                  </a:lnTo>
                  <a:lnTo>
                    <a:pt x="480" y="2740"/>
                  </a:lnTo>
                  <a:lnTo>
                    <a:pt x="474" y="2744"/>
                  </a:lnTo>
                  <a:lnTo>
                    <a:pt x="470" y="2750"/>
                  </a:lnTo>
                  <a:lnTo>
                    <a:pt x="470" y="2752"/>
                  </a:lnTo>
                  <a:lnTo>
                    <a:pt x="470" y="2754"/>
                  </a:lnTo>
                  <a:close/>
                  <a:moveTo>
                    <a:pt x="808" y="2632"/>
                  </a:moveTo>
                  <a:lnTo>
                    <a:pt x="808" y="2632"/>
                  </a:lnTo>
                  <a:lnTo>
                    <a:pt x="804" y="2628"/>
                  </a:lnTo>
                  <a:lnTo>
                    <a:pt x="802" y="2626"/>
                  </a:lnTo>
                  <a:lnTo>
                    <a:pt x="798" y="2624"/>
                  </a:lnTo>
                  <a:lnTo>
                    <a:pt x="794" y="2626"/>
                  </a:lnTo>
                  <a:lnTo>
                    <a:pt x="790" y="2628"/>
                  </a:lnTo>
                  <a:lnTo>
                    <a:pt x="776" y="2638"/>
                  </a:lnTo>
                  <a:lnTo>
                    <a:pt x="768" y="2644"/>
                  </a:lnTo>
                  <a:lnTo>
                    <a:pt x="762" y="2646"/>
                  </a:lnTo>
                  <a:lnTo>
                    <a:pt x="758" y="2644"/>
                  </a:lnTo>
                  <a:lnTo>
                    <a:pt x="756" y="2642"/>
                  </a:lnTo>
                  <a:lnTo>
                    <a:pt x="752" y="2640"/>
                  </a:lnTo>
                  <a:lnTo>
                    <a:pt x="750" y="2650"/>
                  </a:lnTo>
                  <a:lnTo>
                    <a:pt x="752" y="2654"/>
                  </a:lnTo>
                  <a:lnTo>
                    <a:pt x="752" y="2658"/>
                  </a:lnTo>
                  <a:lnTo>
                    <a:pt x="756" y="2664"/>
                  </a:lnTo>
                  <a:lnTo>
                    <a:pt x="760" y="2672"/>
                  </a:lnTo>
                  <a:lnTo>
                    <a:pt x="762" y="2678"/>
                  </a:lnTo>
                  <a:lnTo>
                    <a:pt x="762" y="2686"/>
                  </a:lnTo>
                  <a:lnTo>
                    <a:pt x="762" y="2694"/>
                  </a:lnTo>
                  <a:lnTo>
                    <a:pt x="764" y="2698"/>
                  </a:lnTo>
                  <a:lnTo>
                    <a:pt x="764" y="2702"/>
                  </a:lnTo>
                  <a:lnTo>
                    <a:pt x="762" y="2714"/>
                  </a:lnTo>
                  <a:lnTo>
                    <a:pt x="760" y="2728"/>
                  </a:lnTo>
                  <a:lnTo>
                    <a:pt x="764" y="2742"/>
                  </a:lnTo>
                  <a:lnTo>
                    <a:pt x="766" y="2746"/>
                  </a:lnTo>
                  <a:lnTo>
                    <a:pt x="770" y="2750"/>
                  </a:lnTo>
                  <a:lnTo>
                    <a:pt x="774" y="2752"/>
                  </a:lnTo>
                  <a:lnTo>
                    <a:pt x="778" y="2752"/>
                  </a:lnTo>
                  <a:lnTo>
                    <a:pt x="782" y="2752"/>
                  </a:lnTo>
                  <a:lnTo>
                    <a:pt x="784" y="2748"/>
                  </a:lnTo>
                  <a:lnTo>
                    <a:pt x="788" y="2742"/>
                  </a:lnTo>
                  <a:lnTo>
                    <a:pt x="790" y="2738"/>
                  </a:lnTo>
                  <a:lnTo>
                    <a:pt x="792" y="2736"/>
                  </a:lnTo>
                  <a:lnTo>
                    <a:pt x="796" y="2738"/>
                  </a:lnTo>
                  <a:lnTo>
                    <a:pt x="802" y="2740"/>
                  </a:lnTo>
                  <a:lnTo>
                    <a:pt x="806" y="2740"/>
                  </a:lnTo>
                  <a:lnTo>
                    <a:pt x="808" y="2736"/>
                  </a:lnTo>
                  <a:lnTo>
                    <a:pt x="810" y="2726"/>
                  </a:lnTo>
                  <a:lnTo>
                    <a:pt x="814" y="2708"/>
                  </a:lnTo>
                  <a:lnTo>
                    <a:pt x="816" y="2698"/>
                  </a:lnTo>
                  <a:lnTo>
                    <a:pt x="814" y="2690"/>
                  </a:lnTo>
                  <a:lnTo>
                    <a:pt x="812" y="2682"/>
                  </a:lnTo>
                  <a:lnTo>
                    <a:pt x="810" y="2678"/>
                  </a:lnTo>
                  <a:lnTo>
                    <a:pt x="814" y="2672"/>
                  </a:lnTo>
                  <a:lnTo>
                    <a:pt x="818" y="2668"/>
                  </a:lnTo>
                  <a:lnTo>
                    <a:pt x="818" y="2662"/>
                  </a:lnTo>
                  <a:lnTo>
                    <a:pt x="818" y="2652"/>
                  </a:lnTo>
                  <a:lnTo>
                    <a:pt x="814" y="2642"/>
                  </a:lnTo>
                  <a:lnTo>
                    <a:pt x="808" y="2632"/>
                  </a:lnTo>
                  <a:close/>
                  <a:moveTo>
                    <a:pt x="576" y="2694"/>
                  </a:moveTo>
                  <a:lnTo>
                    <a:pt x="576" y="2694"/>
                  </a:lnTo>
                  <a:lnTo>
                    <a:pt x="578" y="2696"/>
                  </a:lnTo>
                  <a:lnTo>
                    <a:pt x="580" y="2696"/>
                  </a:lnTo>
                  <a:lnTo>
                    <a:pt x="584" y="2696"/>
                  </a:lnTo>
                  <a:lnTo>
                    <a:pt x="588" y="2698"/>
                  </a:lnTo>
                  <a:lnTo>
                    <a:pt x="592" y="2702"/>
                  </a:lnTo>
                  <a:lnTo>
                    <a:pt x="594" y="2700"/>
                  </a:lnTo>
                  <a:lnTo>
                    <a:pt x="596" y="2698"/>
                  </a:lnTo>
                  <a:lnTo>
                    <a:pt x="594" y="2692"/>
                  </a:lnTo>
                  <a:lnTo>
                    <a:pt x="594" y="2690"/>
                  </a:lnTo>
                  <a:lnTo>
                    <a:pt x="590" y="2688"/>
                  </a:lnTo>
                  <a:lnTo>
                    <a:pt x="584" y="2686"/>
                  </a:lnTo>
                  <a:lnTo>
                    <a:pt x="578" y="2688"/>
                  </a:lnTo>
                  <a:lnTo>
                    <a:pt x="576" y="2690"/>
                  </a:lnTo>
                  <a:lnTo>
                    <a:pt x="576" y="2694"/>
                  </a:lnTo>
                  <a:close/>
                  <a:moveTo>
                    <a:pt x="1022" y="2792"/>
                  </a:moveTo>
                  <a:lnTo>
                    <a:pt x="1022" y="2792"/>
                  </a:lnTo>
                  <a:lnTo>
                    <a:pt x="1016" y="2792"/>
                  </a:lnTo>
                  <a:lnTo>
                    <a:pt x="1010" y="2794"/>
                  </a:lnTo>
                  <a:lnTo>
                    <a:pt x="998" y="2800"/>
                  </a:lnTo>
                  <a:lnTo>
                    <a:pt x="990" y="2802"/>
                  </a:lnTo>
                  <a:lnTo>
                    <a:pt x="982" y="2802"/>
                  </a:lnTo>
                  <a:lnTo>
                    <a:pt x="974" y="2800"/>
                  </a:lnTo>
                  <a:lnTo>
                    <a:pt x="966" y="2796"/>
                  </a:lnTo>
                  <a:lnTo>
                    <a:pt x="960" y="2790"/>
                  </a:lnTo>
                  <a:lnTo>
                    <a:pt x="954" y="2790"/>
                  </a:lnTo>
                  <a:lnTo>
                    <a:pt x="950" y="2792"/>
                  </a:lnTo>
                  <a:lnTo>
                    <a:pt x="948" y="2794"/>
                  </a:lnTo>
                  <a:lnTo>
                    <a:pt x="944" y="2800"/>
                  </a:lnTo>
                  <a:lnTo>
                    <a:pt x="942" y="2800"/>
                  </a:lnTo>
                  <a:lnTo>
                    <a:pt x="938" y="2794"/>
                  </a:lnTo>
                  <a:lnTo>
                    <a:pt x="936" y="2794"/>
                  </a:lnTo>
                  <a:lnTo>
                    <a:pt x="934" y="2792"/>
                  </a:lnTo>
                  <a:lnTo>
                    <a:pt x="930" y="2796"/>
                  </a:lnTo>
                  <a:lnTo>
                    <a:pt x="926" y="2802"/>
                  </a:lnTo>
                  <a:lnTo>
                    <a:pt x="924" y="2814"/>
                  </a:lnTo>
                  <a:lnTo>
                    <a:pt x="926" y="2820"/>
                  </a:lnTo>
                  <a:lnTo>
                    <a:pt x="930" y="2822"/>
                  </a:lnTo>
                  <a:lnTo>
                    <a:pt x="944" y="2828"/>
                  </a:lnTo>
                  <a:lnTo>
                    <a:pt x="954" y="2832"/>
                  </a:lnTo>
                  <a:lnTo>
                    <a:pt x="966" y="2840"/>
                  </a:lnTo>
                  <a:lnTo>
                    <a:pt x="976" y="2848"/>
                  </a:lnTo>
                  <a:lnTo>
                    <a:pt x="982" y="2850"/>
                  </a:lnTo>
                  <a:lnTo>
                    <a:pt x="986" y="2850"/>
                  </a:lnTo>
                  <a:lnTo>
                    <a:pt x="994" y="2852"/>
                  </a:lnTo>
                  <a:lnTo>
                    <a:pt x="1000" y="2858"/>
                  </a:lnTo>
                  <a:lnTo>
                    <a:pt x="1008" y="2864"/>
                  </a:lnTo>
                  <a:lnTo>
                    <a:pt x="1016" y="2870"/>
                  </a:lnTo>
                  <a:lnTo>
                    <a:pt x="1030" y="2874"/>
                  </a:lnTo>
                  <a:lnTo>
                    <a:pt x="1032" y="2874"/>
                  </a:lnTo>
                  <a:lnTo>
                    <a:pt x="1032" y="2870"/>
                  </a:lnTo>
                  <a:lnTo>
                    <a:pt x="1034" y="2862"/>
                  </a:lnTo>
                  <a:lnTo>
                    <a:pt x="1036" y="2852"/>
                  </a:lnTo>
                  <a:lnTo>
                    <a:pt x="1036" y="2844"/>
                  </a:lnTo>
                  <a:lnTo>
                    <a:pt x="1034" y="2840"/>
                  </a:lnTo>
                  <a:lnTo>
                    <a:pt x="1032" y="2838"/>
                  </a:lnTo>
                  <a:lnTo>
                    <a:pt x="1030" y="2834"/>
                  </a:lnTo>
                  <a:lnTo>
                    <a:pt x="1030" y="2828"/>
                  </a:lnTo>
                  <a:lnTo>
                    <a:pt x="1036" y="2814"/>
                  </a:lnTo>
                  <a:lnTo>
                    <a:pt x="1050" y="2788"/>
                  </a:lnTo>
                  <a:lnTo>
                    <a:pt x="1052" y="2786"/>
                  </a:lnTo>
                  <a:lnTo>
                    <a:pt x="1050" y="2784"/>
                  </a:lnTo>
                  <a:lnTo>
                    <a:pt x="1042" y="2788"/>
                  </a:lnTo>
                  <a:lnTo>
                    <a:pt x="1032" y="2792"/>
                  </a:lnTo>
                  <a:lnTo>
                    <a:pt x="1026" y="2792"/>
                  </a:lnTo>
                  <a:lnTo>
                    <a:pt x="1022" y="2792"/>
                  </a:lnTo>
                  <a:close/>
                  <a:moveTo>
                    <a:pt x="802" y="2526"/>
                  </a:moveTo>
                  <a:lnTo>
                    <a:pt x="802" y="2526"/>
                  </a:lnTo>
                  <a:lnTo>
                    <a:pt x="800" y="2524"/>
                  </a:lnTo>
                  <a:lnTo>
                    <a:pt x="800" y="2526"/>
                  </a:lnTo>
                  <a:lnTo>
                    <a:pt x="798" y="2534"/>
                  </a:lnTo>
                  <a:lnTo>
                    <a:pt x="798" y="2540"/>
                  </a:lnTo>
                  <a:lnTo>
                    <a:pt x="798" y="2542"/>
                  </a:lnTo>
                  <a:lnTo>
                    <a:pt x="794" y="2542"/>
                  </a:lnTo>
                  <a:lnTo>
                    <a:pt x="790" y="2542"/>
                  </a:lnTo>
                  <a:lnTo>
                    <a:pt x="788" y="2542"/>
                  </a:lnTo>
                  <a:lnTo>
                    <a:pt x="782" y="2546"/>
                  </a:lnTo>
                  <a:lnTo>
                    <a:pt x="778" y="2548"/>
                  </a:lnTo>
                  <a:lnTo>
                    <a:pt x="774" y="2550"/>
                  </a:lnTo>
                  <a:lnTo>
                    <a:pt x="772" y="2550"/>
                  </a:lnTo>
                  <a:lnTo>
                    <a:pt x="772" y="2554"/>
                  </a:lnTo>
                  <a:lnTo>
                    <a:pt x="770" y="2568"/>
                  </a:lnTo>
                  <a:lnTo>
                    <a:pt x="770" y="2580"/>
                  </a:lnTo>
                  <a:lnTo>
                    <a:pt x="770" y="2584"/>
                  </a:lnTo>
                  <a:lnTo>
                    <a:pt x="772" y="2586"/>
                  </a:lnTo>
                  <a:lnTo>
                    <a:pt x="776" y="2586"/>
                  </a:lnTo>
                  <a:lnTo>
                    <a:pt x="776" y="2588"/>
                  </a:lnTo>
                  <a:lnTo>
                    <a:pt x="774" y="2592"/>
                  </a:lnTo>
                  <a:lnTo>
                    <a:pt x="772" y="2594"/>
                  </a:lnTo>
                  <a:lnTo>
                    <a:pt x="772" y="2596"/>
                  </a:lnTo>
                  <a:lnTo>
                    <a:pt x="778" y="2596"/>
                  </a:lnTo>
                  <a:lnTo>
                    <a:pt x="780" y="2598"/>
                  </a:lnTo>
                  <a:lnTo>
                    <a:pt x="778" y="2602"/>
                  </a:lnTo>
                  <a:lnTo>
                    <a:pt x="776" y="2604"/>
                  </a:lnTo>
                  <a:lnTo>
                    <a:pt x="776" y="2606"/>
                  </a:lnTo>
                  <a:lnTo>
                    <a:pt x="778" y="2608"/>
                  </a:lnTo>
                  <a:lnTo>
                    <a:pt x="786" y="2612"/>
                  </a:lnTo>
                  <a:lnTo>
                    <a:pt x="788" y="2614"/>
                  </a:lnTo>
                  <a:lnTo>
                    <a:pt x="790" y="2616"/>
                  </a:lnTo>
                  <a:lnTo>
                    <a:pt x="792" y="2616"/>
                  </a:lnTo>
                  <a:lnTo>
                    <a:pt x="794" y="2616"/>
                  </a:lnTo>
                  <a:lnTo>
                    <a:pt x="794" y="2612"/>
                  </a:lnTo>
                  <a:lnTo>
                    <a:pt x="794" y="2610"/>
                  </a:lnTo>
                  <a:lnTo>
                    <a:pt x="796" y="2606"/>
                  </a:lnTo>
                  <a:lnTo>
                    <a:pt x="800" y="2604"/>
                  </a:lnTo>
                  <a:lnTo>
                    <a:pt x="800" y="2600"/>
                  </a:lnTo>
                  <a:lnTo>
                    <a:pt x="802" y="2588"/>
                  </a:lnTo>
                  <a:lnTo>
                    <a:pt x="802" y="2582"/>
                  </a:lnTo>
                  <a:lnTo>
                    <a:pt x="804" y="2578"/>
                  </a:lnTo>
                  <a:lnTo>
                    <a:pt x="808" y="2574"/>
                  </a:lnTo>
                  <a:lnTo>
                    <a:pt x="808" y="2562"/>
                  </a:lnTo>
                  <a:lnTo>
                    <a:pt x="806" y="2552"/>
                  </a:lnTo>
                  <a:lnTo>
                    <a:pt x="804" y="2546"/>
                  </a:lnTo>
                  <a:lnTo>
                    <a:pt x="804" y="2544"/>
                  </a:lnTo>
                  <a:lnTo>
                    <a:pt x="804" y="2540"/>
                  </a:lnTo>
                  <a:lnTo>
                    <a:pt x="804" y="2530"/>
                  </a:lnTo>
                  <a:lnTo>
                    <a:pt x="804" y="2528"/>
                  </a:lnTo>
                  <a:lnTo>
                    <a:pt x="802" y="2526"/>
                  </a:lnTo>
                  <a:close/>
                  <a:moveTo>
                    <a:pt x="550" y="2700"/>
                  </a:moveTo>
                  <a:lnTo>
                    <a:pt x="550" y="2700"/>
                  </a:lnTo>
                  <a:lnTo>
                    <a:pt x="548" y="2696"/>
                  </a:lnTo>
                  <a:lnTo>
                    <a:pt x="544" y="2696"/>
                  </a:lnTo>
                  <a:lnTo>
                    <a:pt x="538" y="2698"/>
                  </a:lnTo>
                  <a:lnTo>
                    <a:pt x="532" y="2702"/>
                  </a:lnTo>
                  <a:lnTo>
                    <a:pt x="520" y="2712"/>
                  </a:lnTo>
                  <a:lnTo>
                    <a:pt x="518" y="2716"/>
                  </a:lnTo>
                  <a:lnTo>
                    <a:pt x="520" y="2718"/>
                  </a:lnTo>
                  <a:lnTo>
                    <a:pt x="520" y="2720"/>
                  </a:lnTo>
                  <a:lnTo>
                    <a:pt x="526" y="2718"/>
                  </a:lnTo>
                  <a:lnTo>
                    <a:pt x="530" y="2718"/>
                  </a:lnTo>
                  <a:lnTo>
                    <a:pt x="532" y="2720"/>
                  </a:lnTo>
                  <a:lnTo>
                    <a:pt x="536" y="2726"/>
                  </a:lnTo>
                  <a:lnTo>
                    <a:pt x="542" y="2730"/>
                  </a:lnTo>
                  <a:lnTo>
                    <a:pt x="546" y="2732"/>
                  </a:lnTo>
                  <a:lnTo>
                    <a:pt x="548" y="2732"/>
                  </a:lnTo>
                  <a:lnTo>
                    <a:pt x="554" y="2726"/>
                  </a:lnTo>
                  <a:lnTo>
                    <a:pt x="562" y="2708"/>
                  </a:lnTo>
                  <a:lnTo>
                    <a:pt x="564" y="2706"/>
                  </a:lnTo>
                  <a:lnTo>
                    <a:pt x="564" y="2704"/>
                  </a:lnTo>
                  <a:lnTo>
                    <a:pt x="558" y="2704"/>
                  </a:lnTo>
                  <a:lnTo>
                    <a:pt x="552" y="2706"/>
                  </a:lnTo>
                  <a:lnTo>
                    <a:pt x="550" y="2704"/>
                  </a:lnTo>
                  <a:lnTo>
                    <a:pt x="550" y="2700"/>
                  </a:lnTo>
                  <a:close/>
                  <a:moveTo>
                    <a:pt x="1254" y="2806"/>
                  </a:moveTo>
                  <a:lnTo>
                    <a:pt x="1254" y="2806"/>
                  </a:lnTo>
                  <a:lnTo>
                    <a:pt x="1252" y="2810"/>
                  </a:lnTo>
                  <a:lnTo>
                    <a:pt x="1254" y="2814"/>
                  </a:lnTo>
                  <a:lnTo>
                    <a:pt x="1260" y="2818"/>
                  </a:lnTo>
                  <a:lnTo>
                    <a:pt x="1264" y="2820"/>
                  </a:lnTo>
                  <a:lnTo>
                    <a:pt x="1266" y="2818"/>
                  </a:lnTo>
                  <a:lnTo>
                    <a:pt x="1266" y="2816"/>
                  </a:lnTo>
                  <a:lnTo>
                    <a:pt x="1264" y="2812"/>
                  </a:lnTo>
                  <a:lnTo>
                    <a:pt x="1258" y="2808"/>
                  </a:lnTo>
                  <a:lnTo>
                    <a:pt x="1254" y="2806"/>
                  </a:lnTo>
                  <a:close/>
                  <a:moveTo>
                    <a:pt x="1410" y="2874"/>
                  </a:moveTo>
                  <a:lnTo>
                    <a:pt x="1410" y="2874"/>
                  </a:lnTo>
                  <a:lnTo>
                    <a:pt x="1412" y="2870"/>
                  </a:lnTo>
                  <a:lnTo>
                    <a:pt x="1410" y="2868"/>
                  </a:lnTo>
                  <a:lnTo>
                    <a:pt x="1408" y="2868"/>
                  </a:lnTo>
                  <a:lnTo>
                    <a:pt x="1402" y="2870"/>
                  </a:lnTo>
                  <a:lnTo>
                    <a:pt x="1402" y="2872"/>
                  </a:lnTo>
                  <a:lnTo>
                    <a:pt x="1400" y="2874"/>
                  </a:lnTo>
                  <a:lnTo>
                    <a:pt x="1402" y="2876"/>
                  </a:lnTo>
                  <a:lnTo>
                    <a:pt x="1406" y="2876"/>
                  </a:lnTo>
                  <a:lnTo>
                    <a:pt x="1410" y="2874"/>
                  </a:lnTo>
                  <a:close/>
                  <a:moveTo>
                    <a:pt x="1214" y="2706"/>
                  </a:moveTo>
                  <a:lnTo>
                    <a:pt x="1214" y="2706"/>
                  </a:lnTo>
                  <a:lnTo>
                    <a:pt x="1214" y="2712"/>
                  </a:lnTo>
                  <a:lnTo>
                    <a:pt x="1218" y="2718"/>
                  </a:lnTo>
                  <a:lnTo>
                    <a:pt x="1224" y="2722"/>
                  </a:lnTo>
                  <a:lnTo>
                    <a:pt x="1230" y="2726"/>
                  </a:lnTo>
                  <a:lnTo>
                    <a:pt x="1232" y="2726"/>
                  </a:lnTo>
                  <a:lnTo>
                    <a:pt x="1230" y="2724"/>
                  </a:lnTo>
                  <a:lnTo>
                    <a:pt x="1228" y="2720"/>
                  </a:lnTo>
                  <a:lnTo>
                    <a:pt x="1224" y="2714"/>
                  </a:lnTo>
                  <a:lnTo>
                    <a:pt x="1222" y="2708"/>
                  </a:lnTo>
                  <a:lnTo>
                    <a:pt x="1222" y="2704"/>
                  </a:lnTo>
                  <a:lnTo>
                    <a:pt x="1218" y="2702"/>
                  </a:lnTo>
                  <a:lnTo>
                    <a:pt x="1216" y="2702"/>
                  </a:lnTo>
                  <a:lnTo>
                    <a:pt x="1214" y="2706"/>
                  </a:lnTo>
                  <a:close/>
                  <a:moveTo>
                    <a:pt x="1468" y="2954"/>
                  </a:moveTo>
                  <a:lnTo>
                    <a:pt x="1468" y="2954"/>
                  </a:lnTo>
                  <a:lnTo>
                    <a:pt x="1464" y="2956"/>
                  </a:lnTo>
                  <a:lnTo>
                    <a:pt x="1462" y="2956"/>
                  </a:lnTo>
                  <a:lnTo>
                    <a:pt x="1460" y="2952"/>
                  </a:lnTo>
                  <a:lnTo>
                    <a:pt x="1460" y="2948"/>
                  </a:lnTo>
                  <a:lnTo>
                    <a:pt x="1456" y="2946"/>
                  </a:lnTo>
                  <a:lnTo>
                    <a:pt x="1452" y="2946"/>
                  </a:lnTo>
                  <a:lnTo>
                    <a:pt x="1446" y="2948"/>
                  </a:lnTo>
                  <a:lnTo>
                    <a:pt x="1442" y="2946"/>
                  </a:lnTo>
                  <a:lnTo>
                    <a:pt x="1434" y="2944"/>
                  </a:lnTo>
                  <a:lnTo>
                    <a:pt x="1424" y="2942"/>
                  </a:lnTo>
                  <a:lnTo>
                    <a:pt x="1418" y="2942"/>
                  </a:lnTo>
                  <a:lnTo>
                    <a:pt x="1410" y="2944"/>
                  </a:lnTo>
                  <a:lnTo>
                    <a:pt x="1406" y="2944"/>
                  </a:lnTo>
                  <a:lnTo>
                    <a:pt x="1402" y="2942"/>
                  </a:lnTo>
                  <a:lnTo>
                    <a:pt x="1398" y="2938"/>
                  </a:lnTo>
                  <a:lnTo>
                    <a:pt x="1396" y="2934"/>
                  </a:lnTo>
                  <a:lnTo>
                    <a:pt x="1394" y="2932"/>
                  </a:lnTo>
                  <a:lnTo>
                    <a:pt x="1392" y="2934"/>
                  </a:lnTo>
                  <a:lnTo>
                    <a:pt x="1390" y="2934"/>
                  </a:lnTo>
                  <a:lnTo>
                    <a:pt x="1386" y="2934"/>
                  </a:lnTo>
                  <a:lnTo>
                    <a:pt x="1382" y="2932"/>
                  </a:lnTo>
                  <a:lnTo>
                    <a:pt x="1380" y="2928"/>
                  </a:lnTo>
                  <a:lnTo>
                    <a:pt x="1378" y="2928"/>
                  </a:lnTo>
                  <a:lnTo>
                    <a:pt x="1378" y="2930"/>
                  </a:lnTo>
                  <a:lnTo>
                    <a:pt x="1376" y="2934"/>
                  </a:lnTo>
                  <a:lnTo>
                    <a:pt x="1374" y="2936"/>
                  </a:lnTo>
                  <a:lnTo>
                    <a:pt x="1372" y="2938"/>
                  </a:lnTo>
                  <a:lnTo>
                    <a:pt x="1372" y="2946"/>
                  </a:lnTo>
                  <a:lnTo>
                    <a:pt x="1372" y="2950"/>
                  </a:lnTo>
                  <a:lnTo>
                    <a:pt x="1376" y="2952"/>
                  </a:lnTo>
                  <a:lnTo>
                    <a:pt x="1388" y="2952"/>
                  </a:lnTo>
                  <a:lnTo>
                    <a:pt x="1402" y="2954"/>
                  </a:lnTo>
                  <a:lnTo>
                    <a:pt x="1410" y="2958"/>
                  </a:lnTo>
                  <a:lnTo>
                    <a:pt x="1418" y="2962"/>
                  </a:lnTo>
                  <a:lnTo>
                    <a:pt x="1422" y="2964"/>
                  </a:lnTo>
                  <a:lnTo>
                    <a:pt x="1428" y="2966"/>
                  </a:lnTo>
                  <a:lnTo>
                    <a:pt x="1440" y="2966"/>
                  </a:lnTo>
                  <a:lnTo>
                    <a:pt x="1452" y="2964"/>
                  </a:lnTo>
                  <a:lnTo>
                    <a:pt x="1468" y="2964"/>
                  </a:lnTo>
                  <a:lnTo>
                    <a:pt x="1476" y="2962"/>
                  </a:lnTo>
                  <a:lnTo>
                    <a:pt x="1480" y="2960"/>
                  </a:lnTo>
                  <a:lnTo>
                    <a:pt x="1482" y="2958"/>
                  </a:lnTo>
                  <a:lnTo>
                    <a:pt x="1484" y="2954"/>
                  </a:lnTo>
                  <a:lnTo>
                    <a:pt x="1482" y="2952"/>
                  </a:lnTo>
                  <a:lnTo>
                    <a:pt x="1478" y="2950"/>
                  </a:lnTo>
                  <a:lnTo>
                    <a:pt x="1474" y="2950"/>
                  </a:lnTo>
                  <a:lnTo>
                    <a:pt x="1468" y="2954"/>
                  </a:lnTo>
                  <a:close/>
                  <a:moveTo>
                    <a:pt x="1518" y="2942"/>
                  </a:moveTo>
                  <a:lnTo>
                    <a:pt x="1518" y="2942"/>
                  </a:lnTo>
                  <a:lnTo>
                    <a:pt x="1520" y="2940"/>
                  </a:lnTo>
                  <a:lnTo>
                    <a:pt x="1520" y="2938"/>
                  </a:lnTo>
                  <a:lnTo>
                    <a:pt x="1518" y="2926"/>
                  </a:lnTo>
                  <a:lnTo>
                    <a:pt x="1516" y="2924"/>
                  </a:lnTo>
                  <a:lnTo>
                    <a:pt x="1516" y="2926"/>
                  </a:lnTo>
                  <a:lnTo>
                    <a:pt x="1514" y="2932"/>
                  </a:lnTo>
                  <a:lnTo>
                    <a:pt x="1514" y="2938"/>
                  </a:lnTo>
                  <a:lnTo>
                    <a:pt x="1516" y="2940"/>
                  </a:lnTo>
                  <a:lnTo>
                    <a:pt x="1518" y="2942"/>
                  </a:lnTo>
                  <a:close/>
                  <a:moveTo>
                    <a:pt x="1252" y="2768"/>
                  </a:moveTo>
                  <a:lnTo>
                    <a:pt x="1252" y="2768"/>
                  </a:lnTo>
                  <a:lnTo>
                    <a:pt x="1254" y="2768"/>
                  </a:lnTo>
                  <a:lnTo>
                    <a:pt x="1256" y="2766"/>
                  </a:lnTo>
                  <a:lnTo>
                    <a:pt x="1256" y="2764"/>
                  </a:lnTo>
                  <a:lnTo>
                    <a:pt x="1254" y="2760"/>
                  </a:lnTo>
                  <a:lnTo>
                    <a:pt x="1254" y="2758"/>
                  </a:lnTo>
                  <a:lnTo>
                    <a:pt x="1252" y="2758"/>
                  </a:lnTo>
                  <a:lnTo>
                    <a:pt x="1250" y="2762"/>
                  </a:lnTo>
                  <a:lnTo>
                    <a:pt x="1248" y="2766"/>
                  </a:lnTo>
                  <a:lnTo>
                    <a:pt x="1250" y="2768"/>
                  </a:lnTo>
                  <a:lnTo>
                    <a:pt x="1252" y="2768"/>
                  </a:lnTo>
                  <a:close/>
                  <a:moveTo>
                    <a:pt x="1256" y="2790"/>
                  </a:moveTo>
                  <a:lnTo>
                    <a:pt x="1256" y="2790"/>
                  </a:lnTo>
                  <a:lnTo>
                    <a:pt x="1254" y="2786"/>
                  </a:lnTo>
                  <a:lnTo>
                    <a:pt x="1252" y="2782"/>
                  </a:lnTo>
                  <a:lnTo>
                    <a:pt x="1252" y="2780"/>
                  </a:lnTo>
                  <a:lnTo>
                    <a:pt x="1250" y="2780"/>
                  </a:lnTo>
                  <a:lnTo>
                    <a:pt x="1248" y="2782"/>
                  </a:lnTo>
                  <a:lnTo>
                    <a:pt x="1244" y="2782"/>
                  </a:lnTo>
                  <a:lnTo>
                    <a:pt x="1242" y="2784"/>
                  </a:lnTo>
                  <a:lnTo>
                    <a:pt x="1242" y="2790"/>
                  </a:lnTo>
                  <a:lnTo>
                    <a:pt x="1244" y="2794"/>
                  </a:lnTo>
                  <a:lnTo>
                    <a:pt x="1246" y="2794"/>
                  </a:lnTo>
                  <a:lnTo>
                    <a:pt x="1250" y="2794"/>
                  </a:lnTo>
                  <a:lnTo>
                    <a:pt x="1256" y="2796"/>
                  </a:lnTo>
                  <a:lnTo>
                    <a:pt x="1260" y="2798"/>
                  </a:lnTo>
                  <a:lnTo>
                    <a:pt x="1260" y="2794"/>
                  </a:lnTo>
                  <a:lnTo>
                    <a:pt x="1256" y="2790"/>
                  </a:lnTo>
                  <a:close/>
                  <a:moveTo>
                    <a:pt x="1348" y="2902"/>
                  </a:moveTo>
                  <a:lnTo>
                    <a:pt x="1348" y="2902"/>
                  </a:lnTo>
                  <a:lnTo>
                    <a:pt x="1352" y="2904"/>
                  </a:lnTo>
                  <a:lnTo>
                    <a:pt x="1352" y="2902"/>
                  </a:lnTo>
                  <a:lnTo>
                    <a:pt x="1352" y="2898"/>
                  </a:lnTo>
                  <a:lnTo>
                    <a:pt x="1350" y="2892"/>
                  </a:lnTo>
                  <a:lnTo>
                    <a:pt x="1346" y="2890"/>
                  </a:lnTo>
                  <a:lnTo>
                    <a:pt x="1344" y="2892"/>
                  </a:lnTo>
                  <a:lnTo>
                    <a:pt x="1346" y="2896"/>
                  </a:lnTo>
                  <a:lnTo>
                    <a:pt x="1348" y="2902"/>
                  </a:lnTo>
                  <a:close/>
                  <a:moveTo>
                    <a:pt x="1448" y="2860"/>
                  </a:moveTo>
                  <a:lnTo>
                    <a:pt x="1448" y="2860"/>
                  </a:lnTo>
                  <a:lnTo>
                    <a:pt x="1450" y="2860"/>
                  </a:lnTo>
                  <a:lnTo>
                    <a:pt x="1452" y="2860"/>
                  </a:lnTo>
                  <a:lnTo>
                    <a:pt x="1454" y="2854"/>
                  </a:lnTo>
                  <a:lnTo>
                    <a:pt x="1452" y="2848"/>
                  </a:lnTo>
                  <a:lnTo>
                    <a:pt x="1452" y="2846"/>
                  </a:lnTo>
                  <a:lnTo>
                    <a:pt x="1448" y="2846"/>
                  </a:lnTo>
                  <a:lnTo>
                    <a:pt x="1446" y="2850"/>
                  </a:lnTo>
                  <a:lnTo>
                    <a:pt x="1444" y="2852"/>
                  </a:lnTo>
                  <a:lnTo>
                    <a:pt x="1446" y="2856"/>
                  </a:lnTo>
                  <a:lnTo>
                    <a:pt x="1448" y="2860"/>
                  </a:lnTo>
                  <a:close/>
                  <a:moveTo>
                    <a:pt x="1440" y="2848"/>
                  </a:moveTo>
                  <a:lnTo>
                    <a:pt x="1440" y="2848"/>
                  </a:lnTo>
                  <a:lnTo>
                    <a:pt x="1438" y="2848"/>
                  </a:lnTo>
                  <a:lnTo>
                    <a:pt x="1434" y="2850"/>
                  </a:lnTo>
                  <a:lnTo>
                    <a:pt x="1434" y="2854"/>
                  </a:lnTo>
                  <a:lnTo>
                    <a:pt x="1436" y="2856"/>
                  </a:lnTo>
                  <a:lnTo>
                    <a:pt x="1438" y="2856"/>
                  </a:lnTo>
                  <a:lnTo>
                    <a:pt x="1440" y="2854"/>
                  </a:lnTo>
                  <a:lnTo>
                    <a:pt x="1440" y="2850"/>
                  </a:lnTo>
                  <a:lnTo>
                    <a:pt x="1440" y="2848"/>
                  </a:lnTo>
                  <a:close/>
                  <a:moveTo>
                    <a:pt x="2822" y="3608"/>
                  </a:moveTo>
                  <a:lnTo>
                    <a:pt x="2822" y="3608"/>
                  </a:lnTo>
                  <a:lnTo>
                    <a:pt x="2818" y="3606"/>
                  </a:lnTo>
                  <a:lnTo>
                    <a:pt x="2814" y="3598"/>
                  </a:lnTo>
                  <a:lnTo>
                    <a:pt x="2802" y="3578"/>
                  </a:lnTo>
                  <a:lnTo>
                    <a:pt x="2798" y="3570"/>
                  </a:lnTo>
                  <a:lnTo>
                    <a:pt x="2792" y="3562"/>
                  </a:lnTo>
                  <a:lnTo>
                    <a:pt x="2786" y="3558"/>
                  </a:lnTo>
                  <a:lnTo>
                    <a:pt x="2782" y="3556"/>
                  </a:lnTo>
                  <a:lnTo>
                    <a:pt x="2780" y="3558"/>
                  </a:lnTo>
                  <a:lnTo>
                    <a:pt x="2776" y="3558"/>
                  </a:lnTo>
                  <a:lnTo>
                    <a:pt x="2774" y="3558"/>
                  </a:lnTo>
                  <a:lnTo>
                    <a:pt x="2768" y="3554"/>
                  </a:lnTo>
                  <a:lnTo>
                    <a:pt x="2762" y="3550"/>
                  </a:lnTo>
                  <a:lnTo>
                    <a:pt x="2756" y="3548"/>
                  </a:lnTo>
                  <a:lnTo>
                    <a:pt x="2746" y="3546"/>
                  </a:lnTo>
                  <a:lnTo>
                    <a:pt x="2738" y="3544"/>
                  </a:lnTo>
                  <a:lnTo>
                    <a:pt x="2728" y="3540"/>
                  </a:lnTo>
                  <a:lnTo>
                    <a:pt x="2720" y="3532"/>
                  </a:lnTo>
                  <a:lnTo>
                    <a:pt x="2712" y="3524"/>
                  </a:lnTo>
                  <a:lnTo>
                    <a:pt x="2706" y="3516"/>
                  </a:lnTo>
                  <a:lnTo>
                    <a:pt x="2700" y="3506"/>
                  </a:lnTo>
                  <a:lnTo>
                    <a:pt x="2696" y="3496"/>
                  </a:lnTo>
                  <a:lnTo>
                    <a:pt x="2694" y="3488"/>
                  </a:lnTo>
                  <a:lnTo>
                    <a:pt x="2694" y="3464"/>
                  </a:lnTo>
                  <a:lnTo>
                    <a:pt x="2694" y="3458"/>
                  </a:lnTo>
                  <a:lnTo>
                    <a:pt x="2692" y="3454"/>
                  </a:lnTo>
                  <a:lnTo>
                    <a:pt x="2692" y="3448"/>
                  </a:lnTo>
                  <a:lnTo>
                    <a:pt x="2694" y="3442"/>
                  </a:lnTo>
                  <a:lnTo>
                    <a:pt x="2696" y="3438"/>
                  </a:lnTo>
                  <a:lnTo>
                    <a:pt x="2696" y="3434"/>
                  </a:lnTo>
                  <a:lnTo>
                    <a:pt x="2696" y="3430"/>
                  </a:lnTo>
                  <a:lnTo>
                    <a:pt x="2698" y="3422"/>
                  </a:lnTo>
                  <a:lnTo>
                    <a:pt x="2700" y="3418"/>
                  </a:lnTo>
                  <a:lnTo>
                    <a:pt x="2698" y="3416"/>
                  </a:lnTo>
                  <a:lnTo>
                    <a:pt x="2696" y="3414"/>
                  </a:lnTo>
                  <a:lnTo>
                    <a:pt x="2694" y="3416"/>
                  </a:lnTo>
                  <a:lnTo>
                    <a:pt x="2692" y="3416"/>
                  </a:lnTo>
                  <a:lnTo>
                    <a:pt x="2692" y="3420"/>
                  </a:lnTo>
                  <a:lnTo>
                    <a:pt x="2694" y="3424"/>
                  </a:lnTo>
                  <a:lnTo>
                    <a:pt x="2692" y="3424"/>
                  </a:lnTo>
                  <a:lnTo>
                    <a:pt x="2688" y="3422"/>
                  </a:lnTo>
                  <a:lnTo>
                    <a:pt x="2686" y="3422"/>
                  </a:lnTo>
                  <a:lnTo>
                    <a:pt x="2684" y="3432"/>
                  </a:lnTo>
                  <a:lnTo>
                    <a:pt x="2680" y="3444"/>
                  </a:lnTo>
                  <a:lnTo>
                    <a:pt x="2678" y="3444"/>
                  </a:lnTo>
                  <a:lnTo>
                    <a:pt x="2676" y="3444"/>
                  </a:lnTo>
                  <a:lnTo>
                    <a:pt x="2674" y="3444"/>
                  </a:lnTo>
                  <a:lnTo>
                    <a:pt x="2670" y="3452"/>
                  </a:lnTo>
                  <a:lnTo>
                    <a:pt x="2666" y="3458"/>
                  </a:lnTo>
                  <a:lnTo>
                    <a:pt x="2660" y="3462"/>
                  </a:lnTo>
                  <a:lnTo>
                    <a:pt x="2654" y="3468"/>
                  </a:lnTo>
                  <a:lnTo>
                    <a:pt x="2646" y="3476"/>
                  </a:lnTo>
                  <a:lnTo>
                    <a:pt x="2638" y="3488"/>
                  </a:lnTo>
                  <a:lnTo>
                    <a:pt x="2628" y="3496"/>
                  </a:lnTo>
                  <a:lnTo>
                    <a:pt x="2614" y="3508"/>
                  </a:lnTo>
                  <a:lnTo>
                    <a:pt x="2616" y="3510"/>
                  </a:lnTo>
                  <a:lnTo>
                    <a:pt x="2618" y="3512"/>
                  </a:lnTo>
                  <a:lnTo>
                    <a:pt x="2618" y="3516"/>
                  </a:lnTo>
                  <a:lnTo>
                    <a:pt x="2614" y="3524"/>
                  </a:lnTo>
                  <a:lnTo>
                    <a:pt x="2606" y="3530"/>
                  </a:lnTo>
                  <a:lnTo>
                    <a:pt x="2598" y="3532"/>
                  </a:lnTo>
                  <a:lnTo>
                    <a:pt x="2588" y="3534"/>
                  </a:lnTo>
                  <a:lnTo>
                    <a:pt x="2578" y="3532"/>
                  </a:lnTo>
                  <a:lnTo>
                    <a:pt x="2558" y="3528"/>
                  </a:lnTo>
                  <a:lnTo>
                    <a:pt x="2546" y="3528"/>
                  </a:lnTo>
                  <a:lnTo>
                    <a:pt x="2538" y="3532"/>
                  </a:lnTo>
                  <a:lnTo>
                    <a:pt x="2522" y="3538"/>
                  </a:lnTo>
                  <a:lnTo>
                    <a:pt x="2514" y="3538"/>
                  </a:lnTo>
                  <a:lnTo>
                    <a:pt x="2512" y="3538"/>
                  </a:lnTo>
                  <a:lnTo>
                    <a:pt x="2510" y="3536"/>
                  </a:lnTo>
                  <a:lnTo>
                    <a:pt x="2510" y="3528"/>
                  </a:lnTo>
                  <a:lnTo>
                    <a:pt x="2510" y="3522"/>
                  </a:lnTo>
                  <a:lnTo>
                    <a:pt x="2506" y="3522"/>
                  </a:lnTo>
                  <a:lnTo>
                    <a:pt x="2502" y="3522"/>
                  </a:lnTo>
                  <a:lnTo>
                    <a:pt x="2496" y="3522"/>
                  </a:lnTo>
                  <a:lnTo>
                    <a:pt x="2492" y="3520"/>
                  </a:lnTo>
                  <a:lnTo>
                    <a:pt x="2490" y="3518"/>
                  </a:lnTo>
                  <a:lnTo>
                    <a:pt x="2492" y="3514"/>
                  </a:lnTo>
                  <a:lnTo>
                    <a:pt x="2496" y="3510"/>
                  </a:lnTo>
                  <a:lnTo>
                    <a:pt x="2496" y="3506"/>
                  </a:lnTo>
                  <a:lnTo>
                    <a:pt x="2492" y="3508"/>
                  </a:lnTo>
                  <a:lnTo>
                    <a:pt x="2490" y="3508"/>
                  </a:lnTo>
                  <a:lnTo>
                    <a:pt x="2488" y="3508"/>
                  </a:lnTo>
                  <a:lnTo>
                    <a:pt x="2486" y="3506"/>
                  </a:lnTo>
                  <a:lnTo>
                    <a:pt x="2488" y="3504"/>
                  </a:lnTo>
                  <a:lnTo>
                    <a:pt x="2490" y="3504"/>
                  </a:lnTo>
                  <a:lnTo>
                    <a:pt x="2494" y="3504"/>
                  </a:lnTo>
                  <a:lnTo>
                    <a:pt x="2496" y="3502"/>
                  </a:lnTo>
                  <a:lnTo>
                    <a:pt x="2498" y="3496"/>
                  </a:lnTo>
                  <a:lnTo>
                    <a:pt x="2502" y="3480"/>
                  </a:lnTo>
                  <a:lnTo>
                    <a:pt x="2502" y="3474"/>
                  </a:lnTo>
                  <a:lnTo>
                    <a:pt x="2500" y="3468"/>
                  </a:lnTo>
                  <a:lnTo>
                    <a:pt x="2496" y="3462"/>
                  </a:lnTo>
                  <a:lnTo>
                    <a:pt x="2496" y="3458"/>
                  </a:lnTo>
                  <a:lnTo>
                    <a:pt x="2498" y="3454"/>
                  </a:lnTo>
                  <a:lnTo>
                    <a:pt x="2500" y="3448"/>
                  </a:lnTo>
                  <a:lnTo>
                    <a:pt x="2498" y="3440"/>
                  </a:lnTo>
                  <a:lnTo>
                    <a:pt x="2494" y="3434"/>
                  </a:lnTo>
                  <a:lnTo>
                    <a:pt x="2490" y="3428"/>
                  </a:lnTo>
                  <a:lnTo>
                    <a:pt x="2486" y="3426"/>
                  </a:lnTo>
                  <a:lnTo>
                    <a:pt x="2484" y="3426"/>
                  </a:lnTo>
                  <a:lnTo>
                    <a:pt x="2480" y="3430"/>
                  </a:lnTo>
                  <a:lnTo>
                    <a:pt x="2476" y="3444"/>
                  </a:lnTo>
                  <a:lnTo>
                    <a:pt x="2470" y="3456"/>
                  </a:lnTo>
                  <a:lnTo>
                    <a:pt x="2470" y="3466"/>
                  </a:lnTo>
                  <a:lnTo>
                    <a:pt x="2468" y="3498"/>
                  </a:lnTo>
                  <a:lnTo>
                    <a:pt x="2464" y="3486"/>
                  </a:lnTo>
                  <a:lnTo>
                    <a:pt x="2460" y="3478"/>
                  </a:lnTo>
                  <a:lnTo>
                    <a:pt x="2458" y="3468"/>
                  </a:lnTo>
                  <a:lnTo>
                    <a:pt x="2452" y="3462"/>
                  </a:lnTo>
                  <a:lnTo>
                    <a:pt x="2448" y="3456"/>
                  </a:lnTo>
                  <a:lnTo>
                    <a:pt x="2448" y="3454"/>
                  </a:lnTo>
                  <a:lnTo>
                    <a:pt x="2448" y="3450"/>
                  </a:lnTo>
                  <a:lnTo>
                    <a:pt x="2444" y="3444"/>
                  </a:lnTo>
                  <a:lnTo>
                    <a:pt x="2442" y="3438"/>
                  </a:lnTo>
                  <a:lnTo>
                    <a:pt x="2442" y="3434"/>
                  </a:lnTo>
                  <a:lnTo>
                    <a:pt x="2442" y="3428"/>
                  </a:lnTo>
                  <a:lnTo>
                    <a:pt x="2444" y="3420"/>
                  </a:lnTo>
                  <a:lnTo>
                    <a:pt x="2442" y="3414"/>
                  </a:lnTo>
                  <a:lnTo>
                    <a:pt x="2440" y="3408"/>
                  </a:lnTo>
                  <a:lnTo>
                    <a:pt x="2438" y="3402"/>
                  </a:lnTo>
                  <a:lnTo>
                    <a:pt x="2438" y="3400"/>
                  </a:lnTo>
                  <a:lnTo>
                    <a:pt x="2442" y="3400"/>
                  </a:lnTo>
                  <a:lnTo>
                    <a:pt x="2444" y="3404"/>
                  </a:lnTo>
                  <a:lnTo>
                    <a:pt x="2448" y="3404"/>
                  </a:lnTo>
                  <a:lnTo>
                    <a:pt x="2448" y="3406"/>
                  </a:lnTo>
                  <a:lnTo>
                    <a:pt x="2446" y="3408"/>
                  </a:lnTo>
                  <a:lnTo>
                    <a:pt x="2444" y="3410"/>
                  </a:lnTo>
                  <a:lnTo>
                    <a:pt x="2448" y="3410"/>
                  </a:lnTo>
                  <a:lnTo>
                    <a:pt x="2450" y="3412"/>
                  </a:lnTo>
                  <a:lnTo>
                    <a:pt x="2448" y="3414"/>
                  </a:lnTo>
                  <a:lnTo>
                    <a:pt x="2450" y="3416"/>
                  </a:lnTo>
                  <a:lnTo>
                    <a:pt x="2454" y="3420"/>
                  </a:lnTo>
                  <a:lnTo>
                    <a:pt x="2456" y="3422"/>
                  </a:lnTo>
                  <a:lnTo>
                    <a:pt x="2458" y="3422"/>
                  </a:lnTo>
                  <a:lnTo>
                    <a:pt x="2460" y="3422"/>
                  </a:lnTo>
                  <a:lnTo>
                    <a:pt x="2460" y="3420"/>
                  </a:lnTo>
                  <a:lnTo>
                    <a:pt x="2460" y="3418"/>
                  </a:lnTo>
                  <a:lnTo>
                    <a:pt x="2462" y="3416"/>
                  </a:lnTo>
                  <a:lnTo>
                    <a:pt x="2464" y="3412"/>
                  </a:lnTo>
                  <a:lnTo>
                    <a:pt x="2466" y="3406"/>
                  </a:lnTo>
                  <a:lnTo>
                    <a:pt x="2466" y="3402"/>
                  </a:lnTo>
                  <a:lnTo>
                    <a:pt x="2468" y="3400"/>
                  </a:lnTo>
                  <a:lnTo>
                    <a:pt x="2468" y="3402"/>
                  </a:lnTo>
                  <a:lnTo>
                    <a:pt x="2474" y="3404"/>
                  </a:lnTo>
                  <a:lnTo>
                    <a:pt x="2476" y="3404"/>
                  </a:lnTo>
                  <a:lnTo>
                    <a:pt x="2476" y="3402"/>
                  </a:lnTo>
                  <a:lnTo>
                    <a:pt x="2478" y="3402"/>
                  </a:lnTo>
                  <a:lnTo>
                    <a:pt x="2480" y="3400"/>
                  </a:lnTo>
                  <a:lnTo>
                    <a:pt x="2480" y="3398"/>
                  </a:lnTo>
                  <a:lnTo>
                    <a:pt x="2482" y="3396"/>
                  </a:lnTo>
                  <a:lnTo>
                    <a:pt x="2482" y="3394"/>
                  </a:lnTo>
                  <a:lnTo>
                    <a:pt x="2482" y="3392"/>
                  </a:lnTo>
                  <a:lnTo>
                    <a:pt x="2482" y="3388"/>
                  </a:lnTo>
                  <a:lnTo>
                    <a:pt x="2480" y="3386"/>
                  </a:lnTo>
                  <a:lnTo>
                    <a:pt x="2482" y="3384"/>
                  </a:lnTo>
                  <a:lnTo>
                    <a:pt x="2480" y="3384"/>
                  </a:lnTo>
                  <a:lnTo>
                    <a:pt x="2478" y="3384"/>
                  </a:lnTo>
                  <a:lnTo>
                    <a:pt x="2478" y="3386"/>
                  </a:lnTo>
                  <a:lnTo>
                    <a:pt x="2476" y="3388"/>
                  </a:lnTo>
                  <a:lnTo>
                    <a:pt x="2472" y="3388"/>
                  </a:lnTo>
                  <a:lnTo>
                    <a:pt x="2470" y="3388"/>
                  </a:lnTo>
                  <a:lnTo>
                    <a:pt x="2468" y="3382"/>
                  </a:lnTo>
                  <a:lnTo>
                    <a:pt x="2466" y="3378"/>
                  </a:lnTo>
                  <a:lnTo>
                    <a:pt x="2468" y="3374"/>
                  </a:lnTo>
                  <a:lnTo>
                    <a:pt x="2468" y="3372"/>
                  </a:lnTo>
                  <a:lnTo>
                    <a:pt x="2466" y="3370"/>
                  </a:lnTo>
                  <a:lnTo>
                    <a:pt x="2464" y="3370"/>
                  </a:lnTo>
                  <a:lnTo>
                    <a:pt x="2464" y="3374"/>
                  </a:lnTo>
                  <a:lnTo>
                    <a:pt x="2462" y="3378"/>
                  </a:lnTo>
                  <a:lnTo>
                    <a:pt x="2462" y="3380"/>
                  </a:lnTo>
                  <a:lnTo>
                    <a:pt x="2460" y="3380"/>
                  </a:lnTo>
                  <a:lnTo>
                    <a:pt x="2456" y="3380"/>
                  </a:lnTo>
                  <a:lnTo>
                    <a:pt x="2452" y="3382"/>
                  </a:lnTo>
                  <a:lnTo>
                    <a:pt x="2450" y="3384"/>
                  </a:lnTo>
                  <a:lnTo>
                    <a:pt x="2446" y="3384"/>
                  </a:lnTo>
                  <a:lnTo>
                    <a:pt x="2444" y="3384"/>
                  </a:lnTo>
                  <a:lnTo>
                    <a:pt x="2444" y="3388"/>
                  </a:lnTo>
                  <a:lnTo>
                    <a:pt x="2442" y="3394"/>
                  </a:lnTo>
                  <a:lnTo>
                    <a:pt x="2434" y="3388"/>
                  </a:lnTo>
                  <a:lnTo>
                    <a:pt x="2422" y="3378"/>
                  </a:lnTo>
                  <a:lnTo>
                    <a:pt x="2414" y="3368"/>
                  </a:lnTo>
                  <a:lnTo>
                    <a:pt x="2410" y="3364"/>
                  </a:lnTo>
                  <a:lnTo>
                    <a:pt x="2410" y="3358"/>
                  </a:lnTo>
                  <a:lnTo>
                    <a:pt x="2410" y="3354"/>
                  </a:lnTo>
                  <a:lnTo>
                    <a:pt x="2408" y="3352"/>
                  </a:lnTo>
                  <a:lnTo>
                    <a:pt x="2402" y="3350"/>
                  </a:lnTo>
                  <a:lnTo>
                    <a:pt x="2394" y="3350"/>
                  </a:lnTo>
                  <a:lnTo>
                    <a:pt x="2392" y="3348"/>
                  </a:lnTo>
                  <a:lnTo>
                    <a:pt x="2392" y="3344"/>
                  </a:lnTo>
                  <a:lnTo>
                    <a:pt x="2390" y="3338"/>
                  </a:lnTo>
                  <a:lnTo>
                    <a:pt x="2386" y="3330"/>
                  </a:lnTo>
                  <a:lnTo>
                    <a:pt x="2382" y="3320"/>
                  </a:lnTo>
                  <a:lnTo>
                    <a:pt x="2376" y="3302"/>
                  </a:lnTo>
                  <a:lnTo>
                    <a:pt x="2370" y="3290"/>
                  </a:lnTo>
                  <a:lnTo>
                    <a:pt x="2366" y="3284"/>
                  </a:lnTo>
                  <a:lnTo>
                    <a:pt x="2364" y="3280"/>
                  </a:lnTo>
                  <a:lnTo>
                    <a:pt x="2362" y="3270"/>
                  </a:lnTo>
                  <a:lnTo>
                    <a:pt x="2360" y="3266"/>
                  </a:lnTo>
                  <a:lnTo>
                    <a:pt x="2358" y="3264"/>
                  </a:lnTo>
                  <a:lnTo>
                    <a:pt x="2352" y="3262"/>
                  </a:lnTo>
                  <a:lnTo>
                    <a:pt x="2346" y="3260"/>
                  </a:lnTo>
                  <a:lnTo>
                    <a:pt x="2346" y="3258"/>
                  </a:lnTo>
                  <a:lnTo>
                    <a:pt x="2346" y="3254"/>
                  </a:lnTo>
                  <a:lnTo>
                    <a:pt x="2350" y="3250"/>
                  </a:lnTo>
                  <a:lnTo>
                    <a:pt x="2354" y="3248"/>
                  </a:lnTo>
                  <a:lnTo>
                    <a:pt x="2360" y="3250"/>
                  </a:lnTo>
                  <a:lnTo>
                    <a:pt x="2362" y="3248"/>
                  </a:lnTo>
                  <a:lnTo>
                    <a:pt x="2362" y="3246"/>
                  </a:lnTo>
                  <a:lnTo>
                    <a:pt x="2354" y="3228"/>
                  </a:lnTo>
                  <a:lnTo>
                    <a:pt x="2354" y="3224"/>
                  </a:lnTo>
                  <a:lnTo>
                    <a:pt x="2356" y="3224"/>
                  </a:lnTo>
                  <a:lnTo>
                    <a:pt x="2364" y="3226"/>
                  </a:lnTo>
                  <a:lnTo>
                    <a:pt x="2372" y="3230"/>
                  </a:lnTo>
                  <a:lnTo>
                    <a:pt x="2376" y="3232"/>
                  </a:lnTo>
                  <a:lnTo>
                    <a:pt x="2378" y="3230"/>
                  </a:lnTo>
                  <a:lnTo>
                    <a:pt x="2384" y="3226"/>
                  </a:lnTo>
                  <a:lnTo>
                    <a:pt x="2390" y="3226"/>
                  </a:lnTo>
                  <a:lnTo>
                    <a:pt x="2392" y="3224"/>
                  </a:lnTo>
                  <a:lnTo>
                    <a:pt x="2394" y="3216"/>
                  </a:lnTo>
                  <a:lnTo>
                    <a:pt x="2396" y="3212"/>
                  </a:lnTo>
                  <a:lnTo>
                    <a:pt x="2398" y="3212"/>
                  </a:lnTo>
                  <a:lnTo>
                    <a:pt x="2406" y="3218"/>
                  </a:lnTo>
                  <a:lnTo>
                    <a:pt x="2412" y="3222"/>
                  </a:lnTo>
                  <a:lnTo>
                    <a:pt x="2416" y="3224"/>
                  </a:lnTo>
                  <a:lnTo>
                    <a:pt x="2424" y="3224"/>
                  </a:lnTo>
                  <a:lnTo>
                    <a:pt x="2430" y="3222"/>
                  </a:lnTo>
                  <a:lnTo>
                    <a:pt x="2436" y="3218"/>
                  </a:lnTo>
                  <a:lnTo>
                    <a:pt x="2438" y="3218"/>
                  </a:lnTo>
                  <a:lnTo>
                    <a:pt x="2440" y="3220"/>
                  </a:lnTo>
                  <a:lnTo>
                    <a:pt x="2442" y="3222"/>
                  </a:lnTo>
                  <a:lnTo>
                    <a:pt x="2444" y="3232"/>
                  </a:lnTo>
                  <a:lnTo>
                    <a:pt x="2448" y="3238"/>
                  </a:lnTo>
                  <a:lnTo>
                    <a:pt x="2452" y="3244"/>
                  </a:lnTo>
                  <a:lnTo>
                    <a:pt x="2452" y="3220"/>
                  </a:lnTo>
                  <a:lnTo>
                    <a:pt x="2414" y="3146"/>
                  </a:lnTo>
                  <a:lnTo>
                    <a:pt x="2378" y="3050"/>
                  </a:lnTo>
                  <a:lnTo>
                    <a:pt x="2372" y="3006"/>
                  </a:lnTo>
                  <a:lnTo>
                    <a:pt x="2378" y="2910"/>
                  </a:lnTo>
                  <a:lnTo>
                    <a:pt x="2378" y="2868"/>
                  </a:lnTo>
                  <a:lnTo>
                    <a:pt x="2392" y="2778"/>
                  </a:lnTo>
                  <a:lnTo>
                    <a:pt x="2386" y="2780"/>
                  </a:lnTo>
                  <a:lnTo>
                    <a:pt x="2382" y="2780"/>
                  </a:lnTo>
                  <a:lnTo>
                    <a:pt x="2380" y="2778"/>
                  </a:lnTo>
                  <a:lnTo>
                    <a:pt x="2380" y="2776"/>
                  </a:lnTo>
                  <a:lnTo>
                    <a:pt x="2378" y="2770"/>
                  </a:lnTo>
                  <a:lnTo>
                    <a:pt x="2376" y="2768"/>
                  </a:lnTo>
                  <a:lnTo>
                    <a:pt x="2374" y="2768"/>
                  </a:lnTo>
                  <a:lnTo>
                    <a:pt x="2376" y="2768"/>
                  </a:lnTo>
                  <a:lnTo>
                    <a:pt x="2378" y="2770"/>
                  </a:lnTo>
                  <a:lnTo>
                    <a:pt x="2380" y="2776"/>
                  </a:lnTo>
                  <a:lnTo>
                    <a:pt x="2380" y="2778"/>
                  </a:lnTo>
                  <a:lnTo>
                    <a:pt x="2382" y="2780"/>
                  </a:lnTo>
                  <a:lnTo>
                    <a:pt x="2386" y="2780"/>
                  </a:lnTo>
                  <a:lnTo>
                    <a:pt x="2392" y="2778"/>
                  </a:lnTo>
                  <a:lnTo>
                    <a:pt x="2390" y="2764"/>
                  </a:lnTo>
                  <a:lnTo>
                    <a:pt x="2394" y="2746"/>
                  </a:lnTo>
                  <a:lnTo>
                    <a:pt x="2390" y="2726"/>
                  </a:lnTo>
                  <a:lnTo>
                    <a:pt x="2386" y="2674"/>
                  </a:lnTo>
                  <a:lnTo>
                    <a:pt x="2384" y="2658"/>
                  </a:lnTo>
                  <a:lnTo>
                    <a:pt x="2386" y="2626"/>
                  </a:lnTo>
                  <a:lnTo>
                    <a:pt x="2360" y="2586"/>
                  </a:lnTo>
                  <a:lnTo>
                    <a:pt x="2336" y="2534"/>
                  </a:lnTo>
                  <a:lnTo>
                    <a:pt x="2284" y="2470"/>
                  </a:lnTo>
                  <a:lnTo>
                    <a:pt x="2274" y="2434"/>
                  </a:lnTo>
                  <a:lnTo>
                    <a:pt x="2302" y="2390"/>
                  </a:lnTo>
                  <a:lnTo>
                    <a:pt x="2334" y="2368"/>
                  </a:lnTo>
                  <a:lnTo>
                    <a:pt x="2352" y="2336"/>
                  </a:lnTo>
                  <a:lnTo>
                    <a:pt x="2346" y="2304"/>
                  </a:lnTo>
                  <a:lnTo>
                    <a:pt x="2318" y="2270"/>
                  </a:lnTo>
                  <a:lnTo>
                    <a:pt x="2280" y="2246"/>
                  </a:lnTo>
                  <a:lnTo>
                    <a:pt x="2264" y="2186"/>
                  </a:lnTo>
                  <a:lnTo>
                    <a:pt x="2274" y="2140"/>
                  </a:lnTo>
                  <a:lnTo>
                    <a:pt x="2288" y="2090"/>
                  </a:lnTo>
                  <a:lnTo>
                    <a:pt x="2290" y="2086"/>
                  </a:lnTo>
                  <a:lnTo>
                    <a:pt x="2296" y="2086"/>
                  </a:lnTo>
                  <a:lnTo>
                    <a:pt x="2308" y="2088"/>
                  </a:lnTo>
                  <a:lnTo>
                    <a:pt x="2328" y="2096"/>
                  </a:lnTo>
                  <a:lnTo>
                    <a:pt x="2370" y="2082"/>
                  </a:lnTo>
                  <a:lnTo>
                    <a:pt x="2376" y="2058"/>
                  </a:lnTo>
                  <a:lnTo>
                    <a:pt x="2440" y="2024"/>
                  </a:lnTo>
                  <a:lnTo>
                    <a:pt x="2384" y="1780"/>
                  </a:lnTo>
                  <a:lnTo>
                    <a:pt x="2264" y="1588"/>
                  </a:lnTo>
                  <a:lnTo>
                    <a:pt x="2204" y="1444"/>
                  </a:lnTo>
                  <a:lnTo>
                    <a:pt x="2204" y="1264"/>
                  </a:lnTo>
                  <a:lnTo>
                    <a:pt x="2212" y="1228"/>
                  </a:lnTo>
                  <a:lnTo>
                    <a:pt x="2224" y="1194"/>
                  </a:lnTo>
                  <a:lnTo>
                    <a:pt x="2232" y="1174"/>
                  </a:lnTo>
                  <a:lnTo>
                    <a:pt x="2240" y="1156"/>
                  </a:lnTo>
                  <a:lnTo>
                    <a:pt x="2248" y="1138"/>
                  </a:lnTo>
                  <a:lnTo>
                    <a:pt x="2258" y="1112"/>
                  </a:lnTo>
                  <a:lnTo>
                    <a:pt x="2282" y="1046"/>
                  </a:lnTo>
                  <a:lnTo>
                    <a:pt x="2276" y="1048"/>
                  </a:lnTo>
                  <a:lnTo>
                    <a:pt x="2274" y="1046"/>
                  </a:lnTo>
                  <a:lnTo>
                    <a:pt x="2270" y="1038"/>
                  </a:lnTo>
                  <a:lnTo>
                    <a:pt x="2266" y="1032"/>
                  </a:lnTo>
                  <a:lnTo>
                    <a:pt x="2262" y="1026"/>
                  </a:lnTo>
                  <a:lnTo>
                    <a:pt x="2256" y="1018"/>
                  </a:lnTo>
                  <a:lnTo>
                    <a:pt x="2246" y="1014"/>
                  </a:lnTo>
                  <a:lnTo>
                    <a:pt x="2236" y="1006"/>
                  </a:lnTo>
                  <a:lnTo>
                    <a:pt x="2234" y="1004"/>
                  </a:lnTo>
                  <a:lnTo>
                    <a:pt x="2232" y="1000"/>
                  </a:lnTo>
                  <a:lnTo>
                    <a:pt x="2234" y="998"/>
                  </a:lnTo>
                  <a:lnTo>
                    <a:pt x="2234" y="994"/>
                  </a:lnTo>
                  <a:lnTo>
                    <a:pt x="2242" y="988"/>
                  </a:lnTo>
                  <a:lnTo>
                    <a:pt x="2250" y="982"/>
                  </a:lnTo>
                  <a:lnTo>
                    <a:pt x="2262" y="978"/>
                  </a:lnTo>
                  <a:lnTo>
                    <a:pt x="2274" y="974"/>
                  </a:lnTo>
                  <a:lnTo>
                    <a:pt x="2286" y="974"/>
                  </a:lnTo>
                  <a:lnTo>
                    <a:pt x="2292" y="974"/>
                  </a:lnTo>
                  <a:lnTo>
                    <a:pt x="2296" y="972"/>
                  </a:lnTo>
                  <a:lnTo>
                    <a:pt x="2298" y="968"/>
                  </a:lnTo>
                  <a:lnTo>
                    <a:pt x="2300" y="966"/>
                  </a:lnTo>
                  <a:lnTo>
                    <a:pt x="2298" y="956"/>
                  </a:lnTo>
                  <a:lnTo>
                    <a:pt x="2294" y="946"/>
                  </a:lnTo>
                  <a:lnTo>
                    <a:pt x="2284" y="936"/>
                  </a:lnTo>
                  <a:lnTo>
                    <a:pt x="2272" y="928"/>
                  </a:lnTo>
                  <a:lnTo>
                    <a:pt x="2258" y="922"/>
                  </a:lnTo>
                  <a:lnTo>
                    <a:pt x="2250" y="922"/>
                  </a:lnTo>
                  <a:lnTo>
                    <a:pt x="2242" y="920"/>
                  </a:lnTo>
                  <a:lnTo>
                    <a:pt x="2224" y="920"/>
                  </a:lnTo>
                  <a:lnTo>
                    <a:pt x="2208" y="918"/>
                  </a:lnTo>
                  <a:lnTo>
                    <a:pt x="2182" y="912"/>
                  </a:lnTo>
                  <a:lnTo>
                    <a:pt x="2174" y="912"/>
                  </a:lnTo>
                  <a:lnTo>
                    <a:pt x="2172" y="912"/>
                  </a:lnTo>
                  <a:lnTo>
                    <a:pt x="2172" y="914"/>
                  </a:lnTo>
                  <a:lnTo>
                    <a:pt x="2174" y="918"/>
                  </a:lnTo>
                  <a:lnTo>
                    <a:pt x="2186" y="928"/>
                  </a:lnTo>
                  <a:lnTo>
                    <a:pt x="2192" y="934"/>
                  </a:lnTo>
                  <a:lnTo>
                    <a:pt x="2196" y="942"/>
                  </a:lnTo>
                  <a:lnTo>
                    <a:pt x="2198" y="948"/>
                  </a:lnTo>
                  <a:lnTo>
                    <a:pt x="2200" y="954"/>
                  </a:lnTo>
                  <a:lnTo>
                    <a:pt x="2196" y="966"/>
                  </a:lnTo>
                  <a:lnTo>
                    <a:pt x="2192" y="978"/>
                  </a:lnTo>
                  <a:lnTo>
                    <a:pt x="2188" y="990"/>
                  </a:lnTo>
                  <a:lnTo>
                    <a:pt x="2186" y="1000"/>
                  </a:lnTo>
                  <a:lnTo>
                    <a:pt x="2186" y="1006"/>
                  </a:lnTo>
                  <a:lnTo>
                    <a:pt x="2188" y="1012"/>
                  </a:lnTo>
                  <a:lnTo>
                    <a:pt x="2194" y="1016"/>
                  </a:lnTo>
                  <a:lnTo>
                    <a:pt x="2200" y="1022"/>
                  </a:lnTo>
                  <a:lnTo>
                    <a:pt x="2212" y="1032"/>
                  </a:lnTo>
                  <a:lnTo>
                    <a:pt x="2216" y="1036"/>
                  </a:lnTo>
                  <a:lnTo>
                    <a:pt x="2218" y="1040"/>
                  </a:lnTo>
                  <a:lnTo>
                    <a:pt x="2216" y="1046"/>
                  </a:lnTo>
                  <a:lnTo>
                    <a:pt x="2214" y="1054"/>
                  </a:lnTo>
                  <a:lnTo>
                    <a:pt x="2208" y="1062"/>
                  </a:lnTo>
                  <a:lnTo>
                    <a:pt x="2204" y="1072"/>
                  </a:lnTo>
                  <a:lnTo>
                    <a:pt x="2200" y="1084"/>
                  </a:lnTo>
                  <a:lnTo>
                    <a:pt x="2202" y="1098"/>
                  </a:lnTo>
                  <a:lnTo>
                    <a:pt x="2202" y="1106"/>
                  </a:lnTo>
                  <a:lnTo>
                    <a:pt x="2200" y="1104"/>
                  </a:lnTo>
                  <a:lnTo>
                    <a:pt x="2192" y="1096"/>
                  </a:lnTo>
                  <a:lnTo>
                    <a:pt x="2180" y="1084"/>
                  </a:lnTo>
                  <a:lnTo>
                    <a:pt x="2166" y="1072"/>
                  </a:lnTo>
                  <a:lnTo>
                    <a:pt x="2156" y="1068"/>
                  </a:lnTo>
                  <a:lnTo>
                    <a:pt x="2148" y="1066"/>
                  </a:lnTo>
                  <a:lnTo>
                    <a:pt x="2136" y="1064"/>
                  </a:lnTo>
                  <a:lnTo>
                    <a:pt x="2126" y="1066"/>
                  </a:lnTo>
                  <a:lnTo>
                    <a:pt x="2114" y="1070"/>
                  </a:lnTo>
                  <a:lnTo>
                    <a:pt x="2102" y="1076"/>
                  </a:lnTo>
                  <a:lnTo>
                    <a:pt x="2078" y="1092"/>
                  </a:lnTo>
                  <a:lnTo>
                    <a:pt x="2056" y="1104"/>
                  </a:lnTo>
                  <a:lnTo>
                    <a:pt x="2040" y="1114"/>
                  </a:lnTo>
                  <a:lnTo>
                    <a:pt x="2028" y="1122"/>
                  </a:lnTo>
                  <a:lnTo>
                    <a:pt x="2022" y="1130"/>
                  </a:lnTo>
                  <a:lnTo>
                    <a:pt x="2020" y="1134"/>
                  </a:lnTo>
                  <a:lnTo>
                    <a:pt x="2022" y="1140"/>
                  </a:lnTo>
                  <a:lnTo>
                    <a:pt x="2026" y="1150"/>
                  </a:lnTo>
                  <a:lnTo>
                    <a:pt x="2040" y="1166"/>
                  </a:lnTo>
                  <a:lnTo>
                    <a:pt x="2052" y="1180"/>
                  </a:lnTo>
                  <a:lnTo>
                    <a:pt x="2054" y="1186"/>
                  </a:lnTo>
                  <a:lnTo>
                    <a:pt x="2054" y="1192"/>
                  </a:lnTo>
                  <a:lnTo>
                    <a:pt x="2054" y="1196"/>
                  </a:lnTo>
                  <a:lnTo>
                    <a:pt x="2050" y="1198"/>
                  </a:lnTo>
                  <a:lnTo>
                    <a:pt x="2046" y="1200"/>
                  </a:lnTo>
                  <a:lnTo>
                    <a:pt x="2040" y="1202"/>
                  </a:lnTo>
                  <a:lnTo>
                    <a:pt x="2026" y="1202"/>
                  </a:lnTo>
                  <a:lnTo>
                    <a:pt x="2006" y="1198"/>
                  </a:lnTo>
                  <a:lnTo>
                    <a:pt x="1984" y="1190"/>
                  </a:lnTo>
                  <a:lnTo>
                    <a:pt x="1958" y="1180"/>
                  </a:lnTo>
                  <a:lnTo>
                    <a:pt x="1934" y="1170"/>
                  </a:lnTo>
                  <a:lnTo>
                    <a:pt x="1916" y="1164"/>
                  </a:lnTo>
                  <a:lnTo>
                    <a:pt x="1900" y="1162"/>
                  </a:lnTo>
                  <a:lnTo>
                    <a:pt x="1892" y="1164"/>
                  </a:lnTo>
                  <a:lnTo>
                    <a:pt x="1888" y="1166"/>
                  </a:lnTo>
                  <a:lnTo>
                    <a:pt x="1886" y="1170"/>
                  </a:lnTo>
                  <a:lnTo>
                    <a:pt x="1886" y="1176"/>
                  </a:lnTo>
                  <a:lnTo>
                    <a:pt x="1892" y="1186"/>
                  </a:lnTo>
                  <a:lnTo>
                    <a:pt x="1900" y="1196"/>
                  </a:lnTo>
                  <a:lnTo>
                    <a:pt x="1912" y="1206"/>
                  </a:lnTo>
                  <a:lnTo>
                    <a:pt x="1924" y="1214"/>
                  </a:lnTo>
                  <a:lnTo>
                    <a:pt x="1946" y="1222"/>
                  </a:lnTo>
                  <a:lnTo>
                    <a:pt x="1954" y="1226"/>
                  </a:lnTo>
                  <a:lnTo>
                    <a:pt x="1956" y="1228"/>
                  </a:lnTo>
                  <a:lnTo>
                    <a:pt x="1956" y="1232"/>
                  </a:lnTo>
                  <a:lnTo>
                    <a:pt x="1952" y="1238"/>
                  </a:lnTo>
                  <a:lnTo>
                    <a:pt x="1940" y="1246"/>
                  </a:lnTo>
                  <a:lnTo>
                    <a:pt x="1926" y="1252"/>
                  </a:lnTo>
                  <a:lnTo>
                    <a:pt x="1920" y="1252"/>
                  </a:lnTo>
                  <a:lnTo>
                    <a:pt x="1916" y="1252"/>
                  </a:lnTo>
                  <a:lnTo>
                    <a:pt x="1908" y="1248"/>
                  </a:lnTo>
                  <a:lnTo>
                    <a:pt x="1902" y="1240"/>
                  </a:lnTo>
                  <a:lnTo>
                    <a:pt x="1894" y="1232"/>
                  </a:lnTo>
                  <a:lnTo>
                    <a:pt x="1886" y="1224"/>
                  </a:lnTo>
                  <a:lnTo>
                    <a:pt x="1874" y="1216"/>
                  </a:lnTo>
                  <a:lnTo>
                    <a:pt x="1868" y="1212"/>
                  </a:lnTo>
                  <a:lnTo>
                    <a:pt x="1858" y="1210"/>
                  </a:lnTo>
                  <a:lnTo>
                    <a:pt x="1844" y="1206"/>
                  </a:lnTo>
                  <a:lnTo>
                    <a:pt x="1836" y="1202"/>
                  </a:lnTo>
                  <a:lnTo>
                    <a:pt x="1832" y="1196"/>
                  </a:lnTo>
                  <a:lnTo>
                    <a:pt x="1832" y="1188"/>
                  </a:lnTo>
                  <a:lnTo>
                    <a:pt x="1832" y="1182"/>
                  </a:lnTo>
                  <a:lnTo>
                    <a:pt x="1830" y="1174"/>
                  </a:lnTo>
                  <a:lnTo>
                    <a:pt x="1826" y="1164"/>
                  </a:lnTo>
                  <a:lnTo>
                    <a:pt x="1818" y="1156"/>
                  </a:lnTo>
                  <a:lnTo>
                    <a:pt x="1814" y="1152"/>
                  </a:lnTo>
                  <a:lnTo>
                    <a:pt x="1812" y="1148"/>
                  </a:lnTo>
                  <a:lnTo>
                    <a:pt x="1812" y="1144"/>
                  </a:lnTo>
                  <a:lnTo>
                    <a:pt x="1812" y="1140"/>
                  </a:lnTo>
                  <a:lnTo>
                    <a:pt x="1816" y="1134"/>
                  </a:lnTo>
                  <a:lnTo>
                    <a:pt x="1822" y="1128"/>
                  </a:lnTo>
                  <a:lnTo>
                    <a:pt x="1826" y="1122"/>
                  </a:lnTo>
                  <a:lnTo>
                    <a:pt x="1830" y="1114"/>
                  </a:lnTo>
                  <a:lnTo>
                    <a:pt x="1828" y="1110"/>
                  </a:lnTo>
                  <a:lnTo>
                    <a:pt x="1826" y="1106"/>
                  </a:lnTo>
                  <a:lnTo>
                    <a:pt x="1822" y="1100"/>
                  </a:lnTo>
                  <a:lnTo>
                    <a:pt x="1816" y="1096"/>
                  </a:lnTo>
                  <a:lnTo>
                    <a:pt x="1800" y="1084"/>
                  </a:lnTo>
                  <a:lnTo>
                    <a:pt x="1784" y="1076"/>
                  </a:lnTo>
                  <a:lnTo>
                    <a:pt x="1758" y="1060"/>
                  </a:lnTo>
                  <a:lnTo>
                    <a:pt x="1746" y="1054"/>
                  </a:lnTo>
                  <a:lnTo>
                    <a:pt x="1738" y="1046"/>
                  </a:lnTo>
                  <a:lnTo>
                    <a:pt x="1730" y="1036"/>
                  </a:lnTo>
                  <a:lnTo>
                    <a:pt x="1726" y="1026"/>
                  </a:lnTo>
                  <a:lnTo>
                    <a:pt x="1724" y="1018"/>
                  </a:lnTo>
                  <a:lnTo>
                    <a:pt x="1726" y="1016"/>
                  </a:lnTo>
                  <a:lnTo>
                    <a:pt x="1736" y="1026"/>
                  </a:lnTo>
                  <a:lnTo>
                    <a:pt x="1746" y="1036"/>
                  </a:lnTo>
                  <a:lnTo>
                    <a:pt x="1762" y="1044"/>
                  </a:lnTo>
                  <a:lnTo>
                    <a:pt x="1782" y="1054"/>
                  </a:lnTo>
                  <a:lnTo>
                    <a:pt x="1808" y="1060"/>
                  </a:lnTo>
                  <a:lnTo>
                    <a:pt x="1836" y="1066"/>
                  </a:lnTo>
                  <a:lnTo>
                    <a:pt x="1864" y="1074"/>
                  </a:lnTo>
                  <a:lnTo>
                    <a:pt x="1920" y="1092"/>
                  </a:lnTo>
                  <a:lnTo>
                    <a:pt x="1948" y="1098"/>
                  </a:lnTo>
                  <a:lnTo>
                    <a:pt x="1962" y="1100"/>
                  </a:lnTo>
                  <a:lnTo>
                    <a:pt x="1976" y="1100"/>
                  </a:lnTo>
                  <a:lnTo>
                    <a:pt x="1990" y="1098"/>
                  </a:lnTo>
                  <a:lnTo>
                    <a:pt x="2002" y="1096"/>
                  </a:lnTo>
                  <a:lnTo>
                    <a:pt x="2016" y="1092"/>
                  </a:lnTo>
                  <a:lnTo>
                    <a:pt x="2030" y="1084"/>
                  </a:lnTo>
                  <a:lnTo>
                    <a:pt x="2052" y="1070"/>
                  </a:lnTo>
                  <a:lnTo>
                    <a:pt x="2072" y="1056"/>
                  </a:lnTo>
                  <a:lnTo>
                    <a:pt x="2084" y="1042"/>
                  </a:lnTo>
                  <a:lnTo>
                    <a:pt x="2090" y="1036"/>
                  </a:lnTo>
                  <a:lnTo>
                    <a:pt x="2092" y="1030"/>
                  </a:lnTo>
                  <a:lnTo>
                    <a:pt x="2094" y="1022"/>
                  </a:lnTo>
                  <a:lnTo>
                    <a:pt x="2092" y="1016"/>
                  </a:lnTo>
                  <a:lnTo>
                    <a:pt x="2090" y="1010"/>
                  </a:lnTo>
                  <a:lnTo>
                    <a:pt x="2086" y="1002"/>
                  </a:lnTo>
                  <a:lnTo>
                    <a:pt x="2080" y="994"/>
                  </a:lnTo>
                  <a:lnTo>
                    <a:pt x="2072" y="988"/>
                  </a:lnTo>
                  <a:lnTo>
                    <a:pt x="2050" y="970"/>
                  </a:lnTo>
                  <a:lnTo>
                    <a:pt x="2010" y="946"/>
                  </a:lnTo>
                  <a:lnTo>
                    <a:pt x="1982" y="934"/>
                  </a:lnTo>
                  <a:lnTo>
                    <a:pt x="1954" y="920"/>
                  </a:lnTo>
                  <a:lnTo>
                    <a:pt x="1910" y="896"/>
                  </a:lnTo>
                  <a:lnTo>
                    <a:pt x="1884" y="882"/>
                  </a:lnTo>
                  <a:lnTo>
                    <a:pt x="1868" y="874"/>
                  </a:lnTo>
                  <a:lnTo>
                    <a:pt x="1854" y="870"/>
                  </a:lnTo>
                  <a:lnTo>
                    <a:pt x="1844" y="870"/>
                  </a:lnTo>
                  <a:lnTo>
                    <a:pt x="1834" y="872"/>
                  </a:lnTo>
                  <a:lnTo>
                    <a:pt x="1822" y="872"/>
                  </a:lnTo>
                  <a:lnTo>
                    <a:pt x="1808" y="870"/>
                  </a:lnTo>
                  <a:lnTo>
                    <a:pt x="1786" y="866"/>
                  </a:lnTo>
                  <a:lnTo>
                    <a:pt x="1768" y="858"/>
                  </a:lnTo>
                  <a:lnTo>
                    <a:pt x="1758" y="852"/>
                  </a:lnTo>
                  <a:lnTo>
                    <a:pt x="1756" y="850"/>
                  </a:lnTo>
                  <a:lnTo>
                    <a:pt x="1756" y="846"/>
                  </a:lnTo>
                  <a:lnTo>
                    <a:pt x="1758" y="844"/>
                  </a:lnTo>
                  <a:lnTo>
                    <a:pt x="1758" y="840"/>
                  </a:lnTo>
                  <a:lnTo>
                    <a:pt x="1752" y="834"/>
                  </a:lnTo>
                  <a:lnTo>
                    <a:pt x="1740" y="828"/>
                  </a:lnTo>
                  <a:lnTo>
                    <a:pt x="1726" y="824"/>
                  </a:lnTo>
                  <a:lnTo>
                    <a:pt x="1718" y="824"/>
                  </a:lnTo>
                  <a:lnTo>
                    <a:pt x="1712" y="826"/>
                  </a:lnTo>
                  <a:lnTo>
                    <a:pt x="1710" y="830"/>
                  </a:lnTo>
                  <a:lnTo>
                    <a:pt x="1706" y="834"/>
                  </a:lnTo>
                  <a:lnTo>
                    <a:pt x="1698" y="838"/>
                  </a:lnTo>
                  <a:lnTo>
                    <a:pt x="1686" y="838"/>
                  </a:lnTo>
                  <a:lnTo>
                    <a:pt x="1666" y="834"/>
                  </a:lnTo>
                  <a:lnTo>
                    <a:pt x="1658" y="832"/>
                  </a:lnTo>
                  <a:lnTo>
                    <a:pt x="1652" y="832"/>
                  </a:lnTo>
                  <a:lnTo>
                    <a:pt x="1648" y="832"/>
                  </a:lnTo>
                  <a:lnTo>
                    <a:pt x="1644" y="828"/>
                  </a:lnTo>
                  <a:lnTo>
                    <a:pt x="1640" y="828"/>
                  </a:lnTo>
                  <a:lnTo>
                    <a:pt x="1638" y="830"/>
                  </a:lnTo>
                  <a:lnTo>
                    <a:pt x="1636" y="834"/>
                  </a:lnTo>
                  <a:lnTo>
                    <a:pt x="1630" y="836"/>
                  </a:lnTo>
                  <a:lnTo>
                    <a:pt x="1620" y="838"/>
                  </a:lnTo>
                  <a:lnTo>
                    <a:pt x="1618" y="838"/>
                  </a:lnTo>
                  <a:lnTo>
                    <a:pt x="1618" y="834"/>
                  </a:lnTo>
                  <a:lnTo>
                    <a:pt x="1622" y="830"/>
                  </a:lnTo>
                  <a:lnTo>
                    <a:pt x="1622" y="826"/>
                  </a:lnTo>
                  <a:lnTo>
                    <a:pt x="1620" y="822"/>
                  </a:lnTo>
                  <a:lnTo>
                    <a:pt x="1618" y="820"/>
                  </a:lnTo>
                  <a:lnTo>
                    <a:pt x="1614" y="818"/>
                  </a:lnTo>
                  <a:lnTo>
                    <a:pt x="1608" y="818"/>
                  </a:lnTo>
                  <a:lnTo>
                    <a:pt x="1598" y="816"/>
                  </a:lnTo>
                  <a:lnTo>
                    <a:pt x="1590" y="814"/>
                  </a:lnTo>
                  <a:lnTo>
                    <a:pt x="1586" y="812"/>
                  </a:lnTo>
                  <a:lnTo>
                    <a:pt x="1580" y="810"/>
                  </a:lnTo>
                  <a:lnTo>
                    <a:pt x="1576" y="810"/>
                  </a:lnTo>
                  <a:lnTo>
                    <a:pt x="1580" y="808"/>
                  </a:lnTo>
                  <a:lnTo>
                    <a:pt x="1592" y="808"/>
                  </a:lnTo>
                  <a:lnTo>
                    <a:pt x="1612" y="812"/>
                  </a:lnTo>
                  <a:lnTo>
                    <a:pt x="1624" y="812"/>
                  </a:lnTo>
                  <a:lnTo>
                    <a:pt x="1634" y="812"/>
                  </a:lnTo>
                  <a:lnTo>
                    <a:pt x="1640" y="810"/>
                  </a:lnTo>
                  <a:lnTo>
                    <a:pt x="1646" y="808"/>
                  </a:lnTo>
                  <a:lnTo>
                    <a:pt x="1654" y="800"/>
                  </a:lnTo>
                  <a:lnTo>
                    <a:pt x="1658" y="800"/>
                  </a:lnTo>
                  <a:lnTo>
                    <a:pt x="1662" y="800"/>
                  </a:lnTo>
                  <a:lnTo>
                    <a:pt x="1668" y="800"/>
                  </a:lnTo>
                  <a:lnTo>
                    <a:pt x="1672" y="798"/>
                  </a:lnTo>
                  <a:lnTo>
                    <a:pt x="1674" y="796"/>
                  </a:lnTo>
                  <a:lnTo>
                    <a:pt x="1676" y="794"/>
                  </a:lnTo>
                  <a:lnTo>
                    <a:pt x="1676" y="790"/>
                  </a:lnTo>
                  <a:lnTo>
                    <a:pt x="1674" y="788"/>
                  </a:lnTo>
                  <a:lnTo>
                    <a:pt x="1672" y="786"/>
                  </a:lnTo>
                  <a:lnTo>
                    <a:pt x="1668" y="786"/>
                  </a:lnTo>
                  <a:lnTo>
                    <a:pt x="1660" y="786"/>
                  </a:lnTo>
                  <a:lnTo>
                    <a:pt x="1658" y="782"/>
                  </a:lnTo>
                  <a:lnTo>
                    <a:pt x="1656" y="780"/>
                  </a:lnTo>
                  <a:lnTo>
                    <a:pt x="1650" y="778"/>
                  </a:lnTo>
                  <a:lnTo>
                    <a:pt x="1648" y="776"/>
                  </a:lnTo>
                  <a:lnTo>
                    <a:pt x="1644" y="774"/>
                  </a:lnTo>
                  <a:lnTo>
                    <a:pt x="1640" y="770"/>
                  </a:lnTo>
                  <a:lnTo>
                    <a:pt x="1636" y="766"/>
                  </a:lnTo>
                  <a:lnTo>
                    <a:pt x="1634" y="766"/>
                  </a:lnTo>
                  <a:lnTo>
                    <a:pt x="1630" y="768"/>
                  </a:lnTo>
                  <a:lnTo>
                    <a:pt x="1624" y="768"/>
                  </a:lnTo>
                  <a:lnTo>
                    <a:pt x="1624" y="766"/>
                  </a:lnTo>
                  <a:lnTo>
                    <a:pt x="1620" y="764"/>
                  </a:lnTo>
                  <a:lnTo>
                    <a:pt x="1614" y="766"/>
                  </a:lnTo>
                  <a:lnTo>
                    <a:pt x="1606" y="768"/>
                  </a:lnTo>
                  <a:lnTo>
                    <a:pt x="1606" y="764"/>
                  </a:lnTo>
                  <a:lnTo>
                    <a:pt x="1606" y="762"/>
                  </a:lnTo>
                  <a:lnTo>
                    <a:pt x="1606" y="760"/>
                  </a:lnTo>
                  <a:lnTo>
                    <a:pt x="1602" y="758"/>
                  </a:lnTo>
                  <a:lnTo>
                    <a:pt x="1596" y="756"/>
                  </a:lnTo>
                  <a:lnTo>
                    <a:pt x="1588" y="754"/>
                  </a:lnTo>
                  <a:lnTo>
                    <a:pt x="1582" y="754"/>
                  </a:lnTo>
                  <a:lnTo>
                    <a:pt x="1578" y="758"/>
                  </a:lnTo>
                  <a:lnTo>
                    <a:pt x="1574" y="760"/>
                  </a:lnTo>
                  <a:lnTo>
                    <a:pt x="1572" y="766"/>
                  </a:lnTo>
                  <a:lnTo>
                    <a:pt x="1570" y="770"/>
                  </a:lnTo>
                  <a:lnTo>
                    <a:pt x="1570" y="780"/>
                  </a:lnTo>
                  <a:lnTo>
                    <a:pt x="1572" y="786"/>
                  </a:lnTo>
                  <a:lnTo>
                    <a:pt x="1568" y="786"/>
                  </a:lnTo>
                  <a:lnTo>
                    <a:pt x="1564" y="782"/>
                  </a:lnTo>
                  <a:lnTo>
                    <a:pt x="1560" y="782"/>
                  </a:lnTo>
                  <a:lnTo>
                    <a:pt x="1558" y="782"/>
                  </a:lnTo>
                  <a:lnTo>
                    <a:pt x="1550" y="784"/>
                  </a:lnTo>
                  <a:lnTo>
                    <a:pt x="1548" y="784"/>
                  </a:lnTo>
                  <a:lnTo>
                    <a:pt x="1548" y="782"/>
                  </a:lnTo>
                  <a:lnTo>
                    <a:pt x="1554" y="778"/>
                  </a:lnTo>
                  <a:lnTo>
                    <a:pt x="1560" y="772"/>
                  </a:lnTo>
                  <a:lnTo>
                    <a:pt x="1564" y="768"/>
                  </a:lnTo>
                  <a:lnTo>
                    <a:pt x="1564" y="766"/>
                  </a:lnTo>
                  <a:lnTo>
                    <a:pt x="1562" y="766"/>
                  </a:lnTo>
                  <a:lnTo>
                    <a:pt x="1556" y="766"/>
                  </a:lnTo>
                  <a:lnTo>
                    <a:pt x="1554" y="766"/>
                  </a:lnTo>
                  <a:lnTo>
                    <a:pt x="1554" y="762"/>
                  </a:lnTo>
                  <a:lnTo>
                    <a:pt x="1558" y="758"/>
                  </a:lnTo>
                  <a:lnTo>
                    <a:pt x="1564" y="756"/>
                  </a:lnTo>
                  <a:lnTo>
                    <a:pt x="1572" y="752"/>
                  </a:lnTo>
                  <a:lnTo>
                    <a:pt x="1574" y="750"/>
                  </a:lnTo>
                  <a:lnTo>
                    <a:pt x="1574" y="748"/>
                  </a:lnTo>
                  <a:lnTo>
                    <a:pt x="1572" y="746"/>
                  </a:lnTo>
                  <a:lnTo>
                    <a:pt x="1570" y="746"/>
                  </a:lnTo>
                  <a:lnTo>
                    <a:pt x="1566" y="746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2"/>
                  </a:lnTo>
                  <a:lnTo>
                    <a:pt x="1560" y="740"/>
                  </a:lnTo>
                  <a:lnTo>
                    <a:pt x="1558" y="740"/>
                  </a:lnTo>
                  <a:lnTo>
                    <a:pt x="1554" y="740"/>
                  </a:lnTo>
                  <a:lnTo>
                    <a:pt x="1548" y="742"/>
                  </a:lnTo>
                  <a:lnTo>
                    <a:pt x="1544" y="742"/>
                  </a:lnTo>
                  <a:lnTo>
                    <a:pt x="1540" y="740"/>
                  </a:lnTo>
                  <a:lnTo>
                    <a:pt x="1538" y="738"/>
                  </a:lnTo>
                  <a:lnTo>
                    <a:pt x="1536" y="738"/>
                  </a:lnTo>
                  <a:lnTo>
                    <a:pt x="1534" y="740"/>
                  </a:lnTo>
                  <a:lnTo>
                    <a:pt x="1532" y="744"/>
                  </a:lnTo>
                  <a:lnTo>
                    <a:pt x="1530" y="744"/>
                  </a:lnTo>
                  <a:lnTo>
                    <a:pt x="1528" y="744"/>
                  </a:lnTo>
                  <a:lnTo>
                    <a:pt x="1524" y="742"/>
                  </a:lnTo>
                  <a:lnTo>
                    <a:pt x="1522" y="744"/>
                  </a:lnTo>
                  <a:lnTo>
                    <a:pt x="1518" y="746"/>
                  </a:lnTo>
                  <a:lnTo>
                    <a:pt x="1518" y="750"/>
                  </a:lnTo>
                  <a:lnTo>
                    <a:pt x="1518" y="752"/>
                  </a:lnTo>
                  <a:lnTo>
                    <a:pt x="1520" y="752"/>
                  </a:lnTo>
                  <a:lnTo>
                    <a:pt x="1524" y="754"/>
                  </a:lnTo>
                  <a:lnTo>
                    <a:pt x="1530" y="754"/>
                  </a:lnTo>
                  <a:lnTo>
                    <a:pt x="1528" y="756"/>
                  </a:lnTo>
                  <a:lnTo>
                    <a:pt x="1522" y="760"/>
                  </a:lnTo>
                  <a:lnTo>
                    <a:pt x="1522" y="762"/>
                  </a:lnTo>
                  <a:lnTo>
                    <a:pt x="1520" y="764"/>
                  </a:lnTo>
                  <a:lnTo>
                    <a:pt x="1516" y="766"/>
                  </a:lnTo>
                  <a:lnTo>
                    <a:pt x="1516" y="768"/>
                  </a:lnTo>
                  <a:lnTo>
                    <a:pt x="1514" y="772"/>
                  </a:lnTo>
                  <a:lnTo>
                    <a:pt x="1512" y="772"/>
                  </a:lnTo>
                  <a:lnTo>
                    <a:pt x="1510" y="774"/>
                  </a:lnTo>
                  <a:lnTo>
                    <a:pt x="1510" y="780"/>
                  </a:lnTo>
                  <a:lnTo>
                    <a:pt x="1510" y="782"/>
                  </a:lnTo>
                  <a:lnTo>
                    <a:pt x="1510" y="784"/>
                  </a:lnTo>
                  <a:lnTo>
                    <a:pt x="1504" y="786"/>
                  </a:lnTo>
                  <a:lnTo>
                    <a:pt x="1496" y="790"/>
                  </a:lnTo>
                  <a:lnTo>
                    <a:pt x="1492" y="792"/>
                  </a:lnTo>
                  <a:lnTo>
                    <a:pt x="1490" y="790"/>
                  </a:lnTo>
                  <a:lnTo>
                    <a:pt x="1492" y="784"/>
                  </a:lnTo>
                  <a:lnTo>
                    <a:pt x="1494" y="776"/>
                  </a:lnTo>
                  <a:lnTo>
                    <a:pt x="1496" y="770"/>
                  </a:lnTo>
                  <a:lnTo>
                    <a:pt x="1496" y="766"/>
                  </a:lnTo>
                  <a:lnTo>
                    <a:pt x="1498" y="760"/>
                  </a:lnTo>
                  <a:lnTo>
                    <a:pt x="1500" y="754"/>
                  </a:lnTo>
                  <a:lnTo>
                    <a:pt x="1498" y="750"/>
                  </a:lnTo>
                  <a:lnTo>
                    <a:pt x="1494" y="750"/>
                  </a:lnTo>
                  <a:lnTo>
                    <a:pt x="1490" y="752"/>
                  </a:lnTo>
                  <a:lnTo>
                    <a:pt x="1480" y="762"/>
                  </a:lnTo>
                  <a:lnTo>
                    <a:pt x="1456" y="784"/>
                  </a:lnTo>
                  <a:lnTo>
                    <a:pt x="1450" y="790"/>
                  </a:lnTo>
                  <a:lnTo>
                    <a:pt x="1450" y="794"/>
                  </a:lnTo>
                  <a:lnTo>
                    <a:pt x="1450" y="798"/>
                  </a:lnTo>
                  <a:lnTo>
                    <a:pt x="1446" y="804"/>
                  </a:lnTo>
                  <a:lnTo>
                    <a:pt x="1440" y="810"/>
                  </a:lnTo>
                  <a:lnTo>
                    <a:pt x="1436" y="810"/>
                  </a:lnTo>
                  <a:lnTo>
                    <a:pt x="1434" y="810"/>
                  </a:lnTo>
                  <a:lnTo>
                    <a:pt x="1432" y="810"/>
                  </a:lnTo>
                  <a:lnTo>
                    <a:pt x="1428" y="812"/>
                  </a:lnTo>
                  <a:lnTo>
                    <a:pt x="1426" y="812"/>
                  </a:lnTo>
                  <a:lnTo>
                    <a:pt x="1428" y="808"/>
                  </a:lnTo>
                  <a:lnTo>
                    <a:pt x="1432" y="802"/>
                  </a:lnTo>
                  <a:lnTo>
                    <a:pt x="1436" y="798"/>
                  </a:lnTo>
                  <a:lnTo>
                    <a:pt x="1436" y="794"/>
                  </a:lnTo>
                  <a:lnTo>
                    <a:pt x="1436" y="792"/>
                  </a:lnTo>
                  <a:lnTo>
                    <a:pt x="1438" y="790"/>
                  </a:lnTo>
                  <a:lnTo>
                    <a:pt x="1442" y="784"/>
                  </a:lnTo>
                  <a:lnTo>
                    <a:pt x="1440" y="782"/>
                  </a:lnTo>
                  <a:lnTo>
                    <a:pt x="1440" y="778"/>
                  </a:lnTo>
                  <a:lnTo>
                    <a:pt x="1448" y="770"/>
                  </a:lnTo>
                  <a:lnTo>
                    <a:pt x="1466" y="756"/>
                  </a:lnTo>
                  <a:lnTo>
                    <a:pt x="1466" y="754"/>
                  </a:lnTo>
                  <a:lnTo>
                    <a:pt x="1458" y="754"/>
                  </a:lnTo>
                  <a:lnTo>
                    <a:pt x="1454" y="752"/>
                  </a:lnTo>
                  <a:lnTo>
                    <a:pt x="1450" y="752"/>
                  </a:lnTo>
                  <a:lnTo>
                    <a:pt x="1446" y="748"/>
                  </a:lnTo>
                  <a:lnTo>
                    <a:pt x="1446" y="746"/>
                  </a:lnTo>
                  <a:lnTo>
                    <a:pt x="1444" y="752"/>
                  </a:lnTo>
                  <a:lnTo>
                    <a:pt x="1442" y="758"/>
                  </a:lnTo>
                  <a:lnTo>
                    <a:pt x="1442" y="760"/>
                  </a:lnTo>
                  <a:lnTo>
                    <a:pt x="1440" y="758"/>
                  </a:lnTo>
                  <a:lnTo>
                    <a:pt x="1438" y="754"/>
                  </a:lnTo>
                  <a:lnTo>
                    <a:pt x="1434" y="750"/>
                  </a:lnTo>
                  <a:lnTo>
                    <a:pt x="1430" y="748"/>
                  </a:lnTo>
                  <a:lnTo>
                    <a:pt x="1426" y="750"/>
                  </a:lnTo>
                  <a:lnTo>
                    <a:pt x="1424" y="750"/>
                  </a:lnTo>
                  <a:lnTo>
                    <a:pt x="1420" y="748"/>
                  </a:lnTo>
                  <a:lnTo>
                    <a:pt x="1418" y="746"/>
                  </a:lnTo>
                  <a:lnTo>
                    <a:pt x="1414" y="746"/>
                  </a:lnTo>
                  <a:lnTo>
                    <a:pt x="1412" y="748"/>
                  </a:lnTo>
                  <a:lnTo>
                    <a:pt x="1414" y="752"/>
                  </a:lnTo>
                  <a:lnTo>
                    <a:pt x="1416" y="754"/>
                  </a:lnTo>
                  <a:lnTo>
                    <a:pt x="1416" y="758"/>
                  </a:lnTo>
                  <a:lnTo>
                    <a:pt x="1414" y="760"/>
                  </a:lnTo>
                  <a:lnTo>
                    <a:pt x="1408" y="758"/>
                  </a:lnTo>
                  <a:lnTo>
                    <a:pt x="1402" y="754"/>
                  </a:lnTo>
                  <a:lnTo>
                    <a:pt x="1400" y="756"/>
                  </a:lnTo>
                  <a:lnTo>
                    <a:pt x="1402" y="760"/>
                  </a:lnTo>
                  <a:lnTo>
                    <a:pt x="1410" y="764"/>
                  </a:lnTo>
                  <a:lnTo>
                    <a:pt x="1418" y="768"/>
                  </a:lnTo>
                  <a:lnTo>
                    <a:pt x="1422" y="770"/>
                  </a:lnTo>
                  <a:lnTo>
                    <a:pt x="1418" y="772"/>
                  </a:lnTo>
                  <a:lnTo>
                    <a:pt x="1410" y="770"/>
                  </a:lnTo>
                  <a:lnTo>
                    <a:pt x="1404" y="768"/>
                  </a:lnTo>
                  <a:lnTo>
                    <a:pt x="1402" y="768"/>
                  </a:lnTo>
                  <a:lnTo>
                    <a:pt x="1402" y="770"/>
                  </a:lnTo>
                  <a:lnTo>
                    <a:pt x="1400" y="774"/>
                  </a:lnTo>
                  <a:lnTo>
                    <a:pt x="1396" y="778"/>
                  </a:lnTo>
                  <a:lnTo>
                    <a:pt x="1388" y="782"/>
                  </a:lnTo>
                  <a:lnTo>
                    <a:pt x="1376" y="790"/>
                  </a:lnTo>
                  <a:lnTo>
                    <a:pt x="1372" y="792"/>
                  </a:lnTo>
                  <a:lnTo>
                    <a:pt x="1372" y="794"/>
                  </a:lnTo>
                  <a:lnTo>
                    <a:pt x="1366" y="798"/>
                  </a:lnTo>
                  <a:lnTo>
                    <a:pt x="1362" y="800"/>
                  </a:lnTo>
                  <a:lnTo>
                    <a:pt x="1360" y="802"/>
                  </a:lnTo>
                  <a:lnTo>
                    <a:pt x="1360" y="804"/>
                  </a:lnTo>
                  <a:lnTo>
                    <a:pt x="1362" y="808"/>
                  </a:lnTo>
                  <a:lnTo>
                    <a:pt x="1360" y="810"/>
                  </a:lnTo>
                  <a:lnTo>
                    <a:pt x="1358" y="810"/>
                  </a:lnTo>
                  <a:lnTo>
                    <a:pt x="1358" y="812"/>
                  </a:lnTo>
                  <a:lnTo>
                    <a:pt x="1362" y="816"/>
                  </a:lnTo>
                  <a:lnTo>
                    <a:pt x="1368" y="818"/>
                  </a:lnTo>
                  <a:lnTo>
                    <a:pt x="1370" y="818"/>
                  </a:lnTo>
                  <a:lnTo>
                    <a:pt x="1368" y="818"/>
                  </a:lnTo>
                  <a:lnTo>
                    <a:pt x="1362" y="818"/>
                  </a:lnTo>
                  <a:lnTo>
                    <a:pt x="1356" y="818"/>
                  </a:lnTo>
                  <a:lnTo>
                    <a:pt x="1350" y="816"/>
                  </a:lnTo>
                  <a:lnTo>
                    <a:pt x="1350" y="814"/>
                  </a:lnTo>
                  <a:lnTo>
                    <a:pt x="1350" y="810"/>
                  </a:lnTo>
                  <a:lnTo>
                    <a:pt x="1350" y="806"/>
                  </a:lnTo>
                  <a:lnTo>
                    <a:pt x="1350" y="804"/>
                  </a:lnTo>
                  <a:lnTo>
                    <a:pt x="1342" y="802"/>
                  </a:lnTo>
                  <a:lnTo>
                    <a:pt x="1334" y="800"/>
                  </a:lnTo>
                  <a:lnTo>
                    <a:pt x="1326" y="800"/>
                  </a:lnTo>
                  <a:lnTo>
                    <a:pt x="1324" y="798"/>
                  </a:lnTo>
                  <a:lnTo>
                    <a:pt x="1322" y="798"/>
                  </a:lnTo>
                  <a:lnTo>
                    <a:pt x="1320" y="796"/>
                  </a:lnTo>
                  <a:lnTo>
                    <a:pt x="1318" y="798"/>
                  </a:lnTo>
                  <a:lnTo>
                    <a:pt x="1312" y="796"/>
                  </a:lnTo>
                  <a:lnTo>
                    <a:pt x="1308" y="794"/>
                  </a:lnTo>
                  <a:lnTo>
                    <a:pt x="1306" y="794"/>
                  </a:lnTo>
                  <a:lnTo>
                    <a:pt x="1306" y="796"/>
                  </a:lnTo>
                  <a:lnTo>
                    <a:pt x="1304" y="802"/>
                  </a:lnTo>
                  <a:lnTo>
                    <a:pt x="1302" y="808"/>
                  </a:lnTo>
                  <a:lnTo>
                    <a:pt x="1300" y="802"/>
                  </a:lnTo>
                  <a:lnTo>
                    <a:pt x="1298" y="800"/>
                  </a:lnTo>
                  <a:lnTo>
                    <a:pt x="1294" y="796"/>
                  </a:lnTo>
                  <a:lnTo>
                    <a:pt x="1290" y="796"/>
                  </a:lnTo>
                  <a:lnTo>
                    <a:pt x="1284" y="798"/>
                  </a:lnTo>
                  <a:lnTo>
                    <a:pt x="1278" y="802"/>
                  </a:lnTo>
                  <a:lnTo>
                    <a:pt x="1280" y="804"/>
                  </a:lnTo>
                  <a:lnTo>
                    <a:pt x="1286" y="806"/>
                  </a:lnTo>
                  <a:lnTo>
                    <a:pt x="1288" y="808"/>
                  </a:lnTo>
                  <a:lnTo>
                    <a:pt x="1290" y="810"/>
                  </a:lnTo>
                  <a:lnTo>
                    <a:pt x="1294" y="812"/>
                  </a:lnTo>
                  <a:lnTo>
                    <a:pt x="1298" y="812"/>
                  </a:lnTo>
                  <a:lnTo>
                    <a:pt x="1302" y="814"/>
                  </a:lnTo>
                  <a:lnTo>
                    <a:pt x="1304" y="816"/>
                  </a:lnTo>
                  <a:lnTo>
                    <a:pt x="1308" y="816"/>
                  </a:lnTo>
                  <a:lnTo>
                    <a:pt x="1310" y="818"/>
                  </a:lnTo>
                  <a:lnTo>
                    <a:pt x="1308" y="820"/>
                  </a:lnTo>
                  <a:lnTo>
                    <a:pt x="1306" y="822"/>
                  </a:lnTo>
                  <a:lnTo>
                    <a:pt x="1306" y="824"/>
                  </a:lnTo>
                  <a:lnTo>
                    <a:pt x="1312" y="832"/>
                  </a:lnTo>
                  <a:lnTo>
                    <a:pt x="1314" y="836"/>
                  </a:lnTo>
                  <a:lnTo>
                    <a:pt x="1312" y="836"/>
                  </a:lnTo>
                  <a:lnTo>
                    <a:pt x="1296" y="824"/>
                  </a:lnTo>
                  <a:lnTo>
                    <a:pt x="1286" y="818"/>
                  </a:lnTo>
                  <a:lnTo>
                    <a:pt x="1280" y="816"/>
                  </a:lnTo>
                  <a:lnTo>
                    <a:pt x="1278" y="818"/>
                  </a:lnTo>
                  <a:lnTo>
                    <a:pt x="1278" y="822"/>
                  </a:lnTo>
                  <a:lnTo>
                    <a:pt x="1280" y="822"/>
                  </a:lnTo>
                  <a:lnTo>
                    <a:pt x="1280" y="824"/>
                  </a:lnTo>
                  <a:lnTo>
                    <a:pt x="1276" y="826"/>
                  </a:lnTo>
                  <a:lnTo>
                    <a:pt x="1274" y="826"/>
                  </a:lnTo>
                  <a:lnTo>
                    <a:pt x="1272" y="826"/>
                  </a:lnTo>
                  <a:lnTo>
                    <a:pt x="1272" y="824"/>
                  </a:lnTo>
                  <a:lnTo>
                    <a:pt x="1274" y="822"/>
                  </a:lnTo>
                  <a:lnTo>
                    <a:pt x="1272" y="822"/>
                  </a:lnTo>
                  <a:lnTo>
                    <a:pt x="1266" y="824"/>
                  </a:lnTo>
                  <a:lnTo>
                    <a:pt x="1252" y="834"/>
                  </a:lnTo>
                  <a:lnTo>
                    <a:pt x="1252" y="836"/>
                  </a:lnTo>
                  <a:lnTo>
                    <a:pt x="1250" y="838"/>
                  </a:lnTo>
                  <a:lnTo>
                    <a:pt x="1248" y="846"/>
                  </a:lnTo>
                  <a:lnTo>
                    <a:pt x="1246" y="850"/>
                  </a:lnTo>
                  <a:lnTo>
                    <a:pt x="1244" y="856"/>
                  </a:lnTo>
                  <a:lnTo>
                    <a:pt x="1238" y="862"/>
                  </a:lnTo>
                  <a:lnTo>
                    <a:pt x="1228" y="868"/>
                  </a:lnTo>
                  <a:lnTo>
                    <a:pt x="1238" y="856"/>
                  </a:lnTo>
                  <a:lnTo>
                    <a:pt x="1242" y="844"/>
                  </a:lnTo>
                  <a:lnTo>
                    <a:pt x="1244" y="832"/>
                  </a:lnTo>
                  <a:lnTo>
                    <a:pt x="1244" y="824"/>
                  </a:lnTo>
                  <a:lnTo>
                    <a:pt x="1242" y="820"/>
                  </a:lnTo>
                  <a:lnTo>
                    <a:pt x="1240" y="822"/>
                  </a:lnTo>
                  <a:lnTo>
                    <a:pt x="1238" y="824"/>
                  </a:lnTo>
                  <a:lnTo>
                    <a:pt x="1236" y="826"/>
                  </a:lnTo>
                  <a:lnTo>
                    <a:pt x="1236" y="824"/>
                  </a:lnTo>
                  <a:lnTo>
                    <a:pt x="1232" y="822"/>
                  </a:lnTo>
                  <a:lnTo>
                    <a:pt x="1230" y="822"/>
                  </a:lnTo>
                  <a:lnTo>
                    <a:pt x="1224" y="834"/>
                  </a:lnTo>
                  <a:lnTo>
                    <a:pt x="1222" y="840"/>
                  </a:lnTo>
                  <a:lnTo>
                    <a:pt x="1222" y="842"/>
                  </a:lnTo>
                  <a:lnTo>
                    <a:pt x="1222" y="844"/>
                  </a:lnTo>
                  <a:lnTo>
                    <a:pt x="1220" y="846"/>
                  </a:lnTo>
                  <a:lnTo>
                    <a:pt x="1216" y="848"/>
                  </a:lnTo>
                  <a:lnTo>
                    <a:pt x="1214" y="848"/>
                  </a:lnTo>
                  <a:lnTo>
                    <a:pt x="1214" y="846"/>
                  </a:lnTo>
                  <a:lnTo>
                    <a:pt x="1216" y="840"/>
                  </a:lnTo>
                  <a:lnTo>
                    <a:pt x="1218" y="836"/>
                  </a:lnTo>
                  <a:lnTo>
                    <a:pt x="1216" y="832"/>
                  </a:lnTo>
                  <a:lnTo>
                    <a:pt x="1214" y="830"/>
                  </a:lnTo>
                  <a:lnTo>
                    <a:pt x="1212" y="830"/>
                  </a:lnTo>
                  <a:lnTo>
                    <a:pt x="1204" y="832"/>
                  </a:lnTo>
                  <a:lnTo>
                    <a:pt x="1198" y="836"/>
                  </a:lnTo>
                  <a:lnTo>
                    <a:pt x="1186" y="844"/>
                  </a:lnTo>
                  <a:lnTo>
                    <a:pt x="1184" y="846"/>
                  </a:lnTo>
                  <a:lnTo>
                    <a:pt x="1188" y="848"/>
                  </a:lnTo>
                  <a:lnTo>
                    <a:pt x="1188" y="850"/>
                  </a:lnTo>
                  <a:lnTo>
                    <a:pt x="1188" y="854"/>
                  </a:lnTo>
                  <a:lnTo>
                    <a:pt x="1188" y="856"/>
                  </a:lnTo>
                  <a:lnTo>
                    <a:pt x="1190" y="858"/>
                  </a:lnTo>
                  <a:lnTo>
                    <a:pt x="1196" y="860"/>
                  </a:lnTo>
                  <a:lnTo>
                    <a:pt x="1200" y="862"/>
                  </a:lnTo>
                  <a:lnTo>
                    <a:pt x="1204" y="864"/>
                  </a:lnTo>
                  <a:lnTo>
                    <a:pt x="1208" y="868"/>
                  </a:lnTo>
                  <a:lnTo>
                    <a:pt x="1210" y="876"/>
                  </a:lnTo>
                  <a:lnTo>
                    <a:pt x="1200" y="872"/>
                  </a:lnTo>
                  <a:lnTo>
                    <a:pt x="1198" y="870"/>
                  </a:lnTo>
                  <a:lnTo>
                    <a:pt x="1200" y="868"/>
                  </a:lnTo>
                  <a:lnTo>
                    <a:pt x="1202" y="868"/>
                  </a:lnTo>
                  <a:lnTo>
                    <a:pt x="1196" y="864"/>
                  </a:lnTo>
                  <a:lnTo>
                    <a:pt x="1190" y="862"/>
                  </a:lnTo>
                  <a:lnTo>
                    <a:pt x="1186" y="860"/>
                  </a:lnTo>
                  <a:lnTo>
                    <a:pt x="1182" y="854"/>
                  </a:lnTo>
                  <a:lnTo>
                    <a:pt x="1180" y="852"/>
                  </a:lnTo>
                  <a:lnTo>
                    <a:pt x="1174" y="852"/>
                  </a:lnTo>
                  <a:lnTo>
                    <a:pt x="1166" y="854"/>
                  </a:lnTo>
                  <a:lnTo>
                    <a:pt x="1166" y="856"/>
                  </a:lnTo>
                  <a:lnTo>
                    <a:pt x="1174" y="862"/>
                  </a:lnTo>
                  <a:lnTo>
                    <a:pt x="1178" y="866"/>
                  </a:lnTo>
                  <a:lnTo>
                    <a:pt x="1176" y="868"/>
                  </a:lnTo>
                  <a:lnTo>
                    <a:pt x="1172" y="868"/>
                  </a:lnTo>
                  <a:lnTo>
                    <a:pt x="1168" y="862"/>
                  </a:lnTo>
                  <a:lnTo>
                    <a:pt x="1158" y="854"/>
                  </a:lnTo>
                  <a:lnTo>
                    <a:pt x="1154" y="854"/>
                  </a:lnTo>
                  <a:lnTo>
                    <a:pt x="1154" y="858"/>
                  </a:lnTo>
                  <a:lnTo>
                    <a:pt x="1154" y="860"/>
                  </a:lnTo>
                  <a:lnTo>
                    <a:pt x="1154" y="862"/>
                  </a:lnTo>
                  <a:lnTo>
                    <a:pt x="1152" y="864"/>
                  </a:lnTo>
                  <a:lnTo>
                    <a:pt x="1150" y="868"/>
                  </a:lnTo>
                  <a:lnTo>
                    <a:pt x="1150" y="872"/>
                  </a:lnTo>
                  <a:lnTo>
                    <a:pt x="1152" y="876"/>
                  </a:lnTo>
                  <a:lnTo>
                    <a:pt x="1152" y="878"/>
                  </a:lnTo>
                  <a:lnTo>
                    <a:pt x="1146" y="880"/>
                  </a:lnTo>
                  <a:lnTo>
                    <a:pt x="1138" y="884"/>
                  </a:lnTo>
                  <a:lnTo>
                    <a:pt x="1134" y="886"/>
                  </a:lnTo>
                  <a:lnTo>
                    <a:pt x="1130" y="888"/>
                  </a:lnTo>
                  <a:lnTo>
                    <a:pt x="1128" y="892"/>
                  </a:lnTo>
                  <a:lnTo>
                    <a:pt x="1128" y="894"/>
                  </a:lnTo>
                  <a:lnTo>
                    <a:pt x="1134" y="896"/>
                  </a:lnTo>
                  <a:lnTo>
                    <a:pt x="1138" y="898"/>
                  </a:lnTo>
                  <a:lnTo>
                    <a:pt x="1132" y="900"/>
                  </a:lnTo>
                  <a:lnTo>
                    <a:pt x="1122" y="902"/>
                  </a:lnTo>
                  <a:lnTo>
                    <a:pt x="1120" y="906"/>
                  </a:lnTo>
                  <a:lnTo>
                    <a:pt x="1118" y="908"/>
                  </a:lnTo>
                  <a:lnTo>
                    <a:pt x="1114" y="912"/>
                  </a:lnTo>
                  <a:lnTo>
                    <a:pt x="1108" y="912"/>
                  </a:lnTo>
                  <a:lnTo>
                    <a:pt x="1102" y="912"/>
                  </a:lnTo>
                  <a:lnTo>
                    <a:pt x="1096" y="916"/>
                  </a:lnTo>
                  <a:lnTo>
                    <a:pt x="1090" y="924"/>
                  </a:lnTo>
                  <a:lnTo>
                    <a:pt x="1088" y="928"/>
                  </a:lnTo>
                  <a:lnTo>
                    <a:pt x="1088" y="930"/>
                  </a:lnTo>
                  <a:lnTo>
                    <a:pt x="1092" y="930"/>
                  </a:lnTo>
                  <a:lnTo>
                    <a:pt x="1096" y="928"/>
                  </a:lnTo>
                  <a:lnTo>
                    <a:pt x="1106" y="926"/>
                  </a:lnTo>
                  <a:lnTo>
                    <a:pt x="1108" y="926"/>
                  </a:lnTo>
                  <a:lnTo>
                    <a:pt x="1108" y="930"/>
                  </a:lnTo>
                  <a:lnTo>
                    <a:pt x="1112" y="930"/>
                  </a:lnTo>
                  <a:lnTo>
                    <a:pt x="1124" y="924"/>
                  </a:lnTo>
                  <a:lnTo>
                    <a:pt x="1128" y="924"/>
                  </a:lnTo>
                  <a:lnTo>
                    <a:pt x="1130" y="924"/>
                  </a:lnTo>
                  <a:lnTo>
                    <a:pt x="1128" y="928"/>
                  </a:lnTo>
                  <a:lnTo>
                    <a:pt x="1120" y="932"/>
                  </a:lnTo>
                  <a:lnTo>
                    <a:pt x="1110" y="936"/>
                  </a:lnTo>
                  <a:lnTo>
                    <a:pt x="1102" y="936"/>
                  </a:lnTo>
                  <a:lnTo>
                    <a:pt x="1100" y="936"/>
                  </a:lnTo>
                  <a:lnTo>
                    <a:pt x="1096" y="934"/>
                  </a:lnTo>
                  <a:lnTo>
                    <a:pt x="1088" y="934"/>
                  </a:lnTo>
                  <a:lnTo>
                    <a:pt x="1078" y="936"/>
                  </a:lnTo>
                  <a:lnTo>
                    <a:pt x="1072" y="938"/>
                  </a:lnTo>
                  <a:lnTo>
                    <a:pt x="1070" y="940"/>
                  </a:lnTo>
                  <a:lnTo>
                    <a:pt x="1074" y="942"/>
                  </a:lnTo>
                  <a:lnTo>
                    <a:pt x="1076" y="944"/>
                  </a:lnTo>
                  <a:lnTo>
                    <a:pt x="1076" y="946"/>
                  </a:lnTo>
                  <a:lnTo>
                    <a:pt x="1080" y="948"/>
                  </a:lnTo>
                  <a:lnTo>
                    <a:pt x="1086" y="948"/>
                  </a:lnTo>
                  <a:lnTo>
                    <a:pt x="1084" y="952"/>
                  </a:lnTo>
                  <a:lnTo>
                    <a:pt x="1080" y="958"/>
                  </a:lnTo>
                  <a:lnTo>
                    <a:pt x="1078" y="960"/>
                  </a:lnTo>
                  <a:lnTo>
                    <a:pt x="1076" y="964"/>
                  </a:lnTo>
                  <a:lnTo>
                    <a:pt x="1076" y="968"/>
                  </a:lnTo>
                  <a:lnTo>
                    <a:pt x="1074" y="966"/>
                  </a:lnTo>
                  <a:lnTo>
                    <a:pt x="1070" y="960"/>
                  </a:lnTo>
                  <a:lnTo>
                    <a:pt x="1070" y="954"/>
                  </a:lnTo>
                  <a:lnTo>
                    <a:pt x="1070" y="948"/>
                  </a:lnTo>
                  <a:lnTo>
                    <a:pt x="1068" y="944"/>
                  </a:lnTo>
                  <a:lnTo>
                    <a:pt x="1066" y="944"/>
                  </a:lnTo>
                  <a:lnTo>
                    <a:pt x="1064" y="948"/>
                  </a:lnTo>
                  <a:lnTo>
                    <a:pt x="1060" y="954"/>
                  </a:lnTo>
                  <a:lnTo>
                    <a:pt x="1058" y="954"/>
                  </a:lnTo>
                  <a:lnTo>
                    <a:pt x="1056" y="954"/>
                  </a:lnTo>
                  <a:lnTo>
                    <a:pt x="1056" y="952"/>
                  </a:lnTo>
                  <a:lnTo>
                    <a:pt x="1052" y="950"/>
                  </a:lnTo>
                  <a:lnTo>
                    <a:pt x="1046" y="952"/>
                  </a:lnTo>
                  <a:lnTo>
                    <a:pt x="1042" y="956"/>
                  </a:lnTo>
                  <a:lnTo>
                    <a:pt x="1040" y="956"/>
                  </a:lnTo>
                  <a:lnTo>
                    <a:pt x="1040" y="958"/>
                  </a:lnTo>
                  <a:lnTo>
                    <a:pt x="1042" y="960"/>
                  </a:lnTo>
                  <a:lnTo>
                    <a:pt x="1044" y="960"/>
                  </a:lnTo>
                  <a:lnTo>
                    <a:pt x="1048" y="958"/>
                  </a:lnTo>
                  <a:lnTo>
                    <a:pt x="1054" y="958"/>
                  </a:lnTo>
                  <a:lnTo>
                    <a:pt x="1062" y="960"/>
                  </a:lnTo>
                  <a:lnTo>
                    <a:pt x="1064" y="962"/>
                  </a:lnTo>
                  <a:lnTo>
                    <a:pt x="1064" y="964"/>
                  </a:lnTo>
                  <a:lnTo>
                    <a:pt x="1060" y="966"/>
                  </a:lnTo>
                  <a:lnTo>
                    <a:pt x="1050" y="966"/>
                  </a:lnTo>
                  <a:lnTo>
                    <a:pt x="1032" y="970"/>
                  </a:lnTo>
                  <a:lnTo>
                    <a:pt x="1020" y="974"/>
                  </a:lnTo>
                  <a:lnTo>
                    <a:pt x="1018" y="976"/>
                  </a:lnTo>
                  <a:lnTo>
                    <a:pt x="1020" y="978"/>
                  </a:lnTo>
                  <a:lnTo>
                    <a:pt x="1022" y="980"/>
                  </a:lnTo>
                  <a:lnTo>
                    <a:pt x="1018" y="984"/>
                  </a:lnTo>
                  <a:lnTo>
                    <a:pt x="1016" y="986"/>
                  </a:lnTo>
                  <a:lnTo>
                    <a:pt x="1020" y="988"/>
                  </a:lnTo>
                  <a:lnTo>
                    <a:pt x="1026" y="988"/>
                  </a:lnTo>
                  <a:lnTo>
                    <a:pt x="1030" y="986"/>
                  </a:lnTo>
                  <a:lnTo>
                    <a:pt x="1036" y="980"/>
                  </a:lnTo>
                  <a:lnTo>
                    <a:pt x="1042" y="976"/>
                  </a:lnTo>
                  <a:lnTo>
                    <a:pt x="1046" y="976"/>
                  </a:lnTo>
                  <a:lnTo>
                    <a:pt x="1052" y="976"/>
                  </a:lnTo>
                  <a:lnTo>
                    <a:pt x="1060" y="980"/>
                  </a:lnTo>
                  <a:lnTo>
                    <a:pt x="1058" y="980"/>
                  </a:lnTo>
                  <a:lnTo>
                    <a:pt x="1050" y="980"/>
                  </a:lnTo>
                  <a:lnTo>
                    <a:pt x="1040" y="982"/>
                  </a:lnTo>
                  <a:lnTo>
                    <a:pt x="1034" y="986"/>
                  </a:lnTo>
                  <a:lnTo>
                    <a:pt x="1034" y="988"/>
                  </a:lnTo>
                  <a:lnTo>
                    <a:pt x="1036" y="990"/>
                  </a:lnTo>
                  <a:lnTo>
                    <a:pt x="1034" y="990"/>
                  </a:lnTo>
                  <a:lnTo>
                    <a:pt x="1026" y="992"/>
                  </a:lnTo>
                  <a:lnTo>
                    <a:pt x="1016" y="996"/>
                  </a:lnTo>
                  <a:lnTo>
                    <a:pt x="1016" y="998"/>
                  </a:lnTo>
                  <a:lnTo>
                    <a:pt x="1020" y="1002"/>
                  </a:lnTo>
                  <a:lnTo>
                    <a:pt x="1022" y="1002"/>
                  </a:lnTo>
                  <a:lnTo>
                    <a:pt x="1022" y="1004"/>
                  </a:lnTo>
                  <a:lnTo>
                    <a:pt x="1020" y="1006"/>
                  </a:lnTo>
                  <a:lnTo>
                    <a:pt x="1016" y="1004"/>
                  </a:lnTo>
                  <a:lnTo>
                    <a:pt x="1014" y="1002"/>
                  </a:lnTo>
                  <a:lnTo>
                    <a:pt x="1010" y="1004"/>
                  </a:lnTo>
                  <a:lnTo>
                    <a:pt x="1004" y="1012"/>
                  </a:lnTo>
                  <a:lnTo>
                    <a:pt x="1008" y="1014"/>
                  </a:lnTo>
                  <a:lnTo>
                    <a:pt x="1012" y="1014"/>
                  </a:lnTo>
                  <a:lnTo>
                    <a:pt x="1016" y="1012"/>
                  </a:lnTo>
                  <a:lnTo>
                    <a:pt x="1024" y="1012"/>
                  </a:lnTo>
                  <a:lnTo>
                    <a:pt x="1036" y="1012"/>
                  </a:lnTo>
                  <a:lnTo>
                    <a:pt x="1050" y="1016"/>
                  </a:lnTo>
                  <a:lnTo>
                    <a:pt x="1048" y="1016"/>
                  </a:lnTo>
                  <a:lnTo>
                    <a:pt x="1046" y="1018"/>
                  </a:lnTo>
                  <a:lnTo>
                    <a:pt x="1046" y="1022"/>
                  </a:lnTo>
                  <a:lnTo>
                    <a:pt x="1046" y="1024"/>
                  </a:lnTo>
                  <a:lnTo>
                    <a:pt x="1044" y="1022"/>
                  </a:lnTo>
                  <a:lnTo>
                    <a:pt x="1038" y="1018"/>
                  </a:lnTo>
                  <a:lnTo>
                    <a:pt x="1034" y="1016"/>
                  </a:lnTo>
                  <a:lnTo>
                    <a:pt x="1028" y="1016"/>
                  </a:lnTo>
                  <a:lnTo>
                    <a:pt x="1020" y="1016"/>
                  </a:lnTo>
                  <a:lnTo>
                    <a:pt x="1014" y="1018"/>
                  </a:lnTo>
                  <a:lnTo>
                    <a:pt x="1008" y="1020"/>
                  </a:lnTo>
                  <a:lnTo>
                    <a:pt x="1002" y="1020"/>
                  </a:lnTo>
                  <a:lnTo>
                    <a:pt x="998" y="1020"/>
                  </a:lnTo>
                  <a:lnTo>
                    <a:pt x="996" y="1020"/>
                  </a:lnTo>
                  <a:lnTo>
                    <a:pt x="994" y="1022"/>
                  </a:lnTo>
                  <a:lnTo>
                    <a:pt x="990" y="1022"/>
                  </a:lnTo>
                  <a:lnTo>
                    <a:pt x="988" y="1024"/>
                  </a:lnTo>
                  <a:lnTo>
                    <a:pt x="988" y="1026"/>
                  </a:lnTo>
                  <a:lnTo>
                    <a:pt x="988" y="1028"/>
                  </a:lnTo>
                  <a:lnTo>
                    <a:pt x="988" y="1030"/>
                  </a:lnTo>
                  <a:lnTo>
                    <a:pt x="986" y="1032"/>
                  </a:lnTo>
                  <a:lnTo>
                    <a:pt x="982" y="1034"/>
                  </a:lnTo>
                  <a:lnTo>
                    <a:pt x="976" y="1034"/>
                  </a:lnTo>
                  <a:lnTo>
                    <a:pt x="968" y="1036"/>
                  </a:lnTo>
                  <a:lnTo>
                    <a:pt x="970" y="1038"/>
                  </a:lnTo>
                  <a:lnTo>
                    <a:pt x="974" y="1042"/>
                  </a:lnTo>
                  <a:lnTo>
                    <a:pt x="974" y="1044"/>
                  </a:lnTo>
                  <a:lnTo>
                    <a:pt x="972" y="1046"/>
                  </a:lnTo>
                  <a:lnTo>
                    <a:pt x="966" y="1050"/>
                  </a:lnTo>
                  <a:lnTo>
                    <a:pt x="964" y="1050"/>
                  </a:lnTo>
                  <a:lnTo>
                    <a:pt x="962" y="1050"/>
                  </a:lnTo>
                  <a:lnTo>
                    <a:pt x="956" y="1052"/>
                  </a:lnTo>
                  <a:lnTo>
                    <a:pt x="954" y="1056"/>
                  </a:lnTo>
                  <a:lnTo>
                    <a:pt x="956" y="1058"/>
                  </a:lnTo>
                  <a:lnTo>
                    <a:pt x="958" y="1058"/>
                  </a:lnTo>
                  <a:lnTo>
                    <a:pt x="958" y="1060"/>
                  </a:lnTo>
                  <a:lnTo>
                    <a:pt x="954" y="1062"/>
                  </a:lnTo>
                  <a:lnTo>
                    <a:pt x="954" y="1064"/>
                  </a:lnTo>
                  <a:lnTo>
                    <a:pt x="956" y="1066"/>
                  </a:lnTo>
                  <a:lnTo>
                    <a:pt x="954" y="1064"/>
                  </a:lnTo>
                  <a:lnTo>
                    <a:pt x="950" y="1064"/>
                  </a:lnTo>
                  <a:lnTo>
                    <a:pt x="946" y="1064"/>
                  </a:lnTo>
                  <a:lnTo>
                    <a:pt x="946" y="1066"/>
                  </a:lnTo>
                  <a:lnTo>
                    <a:pt x="948" y="1068"/>
                  </a:lnTo>
                  <a:lnTo>
                    <a:pt x="950" y="1070"/>
                  </a:lnTo>
                  <a:lnTo>
                    <a:pt x="950" y="1072"/>
                  </a:lnTo>
                  <a:lnTo>
                    <a:pt x="948" y="1076"/>
                  </a:lnTo>
                  <a:lnTo>
                    <a:pt x="948" y="1080"/>
                  </a:lnTo>
                  <a:lnTo>
                    <a:pt x="954" y="1080"/>
                  </a:lnTo>
                  <a:lnTo>
                    <a:pt x="958" y="1080"/>
                  </a:lnTo>
                  <a:lnTo>
                    <a:pt x="954" y="1082"/>
                  </a:lnTo>
                  <a:lnTo>
                    <a:pt x="948" y="1084"/>
                  </a:lnTo>
                  <a:lnTo>
                    <a:pt x="946" y="1086"/>
                  </a:lnTo>
                  <a:lnTo>
                    <a:pt x="954" y="1086"/>
                  </a:lnTo>
                  <a:lnTo>
                    <a:pt x="964" y="1084"/>
                  </a:lnTo>
                  <a:lnTo>
                    <a:pt x="988" y="1078"/>
                  </a:lnTo>
                  <a:lnTo>
                    <a:pt x="994" y="1078"/>
                  </a:lnTo>
                  <a:lnTo>
                    <a:pt x="990" y="1080"/>
                  </a:lnTo>
                  <a:lnTo>
                    <a:pt x="982" y="1084"/>
                  </a:lnTo>
                  <a:lnTo>
                    <a:pt x="972" y="1086"/>
                  </a:lnTo>
                  <a:lnTo>
                    <a:pt x="954" y="1090"/>
                  </a:lnTo>
                  <a:lnTo>
                    <a:pt x="946" y="1092"/>
                  </a:lnTo>
                  <a:lnTo>
                    <a:pt x="936" y="1094"/>
                  </a:lnTo>
                  <a:lnTo>
                    <a:pt x="932" y="1096"/>
                  </a:lnTo>
                  <a:lnTo>
                    <a:pt x="936" y="1096"/>
                  </a:lnTo>
                  <a:lnTo>
                    <a:pt x="942" y="1098"/>
                  </a:lnTo>
                  <a:lnTo>
                    <a:pt x="944" y="1098"/>
                  </a:lnTo>
                  <a:lnTo>
                    <a:pt x="946" y="1100"/>
                  </a:lnTo>
                  <a:lnTo>
                    <a:pt x="944" y="1104"/>
                  </a:lnTo>
                  <a:lnTo>
                    <a:pt x="940" y="1106"/>
                  </a:lnTo>
                  <a:lnTo>
                    <a:pt x="934" y="1108"/>
                  </a:lnTo>
                  <a:lnTo>
                    <a:pt x="932" y="1114"/>
                  </a:lnTo>
                  <a:lnTo>
                    <a:pt x="930" y="1118"/>
                  </a:lnTo>
                  <a:lnTo>
                    <a:pt x="928" y="1120"/>
                  </a:lnTo>
                  <a:lnTo>
                    <a:pt x="924" y="1122"/>
                  </a:lnTo>
                  <a:lnTo>
                    <a:pt x="920" y="1122"/>
                  </a:lnTo>
                  <a:lnTo>
                    <a:pt x="920" y="1128"/>
                  </a:lnTo>
                  <a:lnTo>
                    <a:pt x="922" y="1132"/>
                  </a:lnTo>
                  <a:lnTo>
                    <a:pt x="924" y="1134"/>
                  </a:lnTo>
                  <a:lnTo>
                    <a:pt x="926" y="1134"/>
                  </a:lnTo>
                  <a:lnTo>
                    <a:pt x="928" y="1138"/>
                  </a:lnTo>
                  <a:lnTo>
                    <a:pt x="928" y="1140"/>
                  </a:lnTo>
                  <a:lnTo>
                    <a:pt x="928" y="1142"/>
                  </a:lnTo>
                  <a:lnTo>
                    <a:pt x="922" y="1146"/>
                  </a:lnTo>
                  <a:lnTo>
                    <a:pt x="918" y="1150"/>
                  </a:lnTo>
                  <a:lnTo>
                    <a:pt x="918" y="1152"/>
                  </a:lnTo>
                  <a:lnTo>
                    <a:pt x="920" y="1152"/>
                  </a:lnTo>
                  <a:lnTo>
                    <a:pt x="922" y="1156"/>
                  </a:lnTo>
                  <a:lnTo>
                    <a:pt x="922" y="1160"/>
                  </a:lnTo>
                  <a:lnTo>
                    <a:pt x="918" y="1164"/>
                  </a:lnTo>
                  <a:lnTo>
                    <a:pt x="910" y="1166"/>
                  </a:lnTo>
                  <a:lnTo>
                    <a:pt x="904" y="1168"/>
                  </a:lnTo>
                  <a:lnTo>
                    <a:pt x="900" y="1168"/>
                  </a:lnTo>
                  <a:lnTo>
                    <a:pt x="898" y="1170"/>
                  </a:lnTo>
                  <a:lnTo>
                    <a:pt x="892" y="1172"/>
                  </a:lnTo>
                  <a:lnTo>
                    <a:pt x="888" y="1174"/>
                  </a:lnTo>
                  <a:lnTo>
                    <a:pt x="884" y="1174"/>
                  </a:lnTo>
                  <a:lnTo>
                    <a:pt x="880" y="1176"/>
                  </a:lnTo>
                  <a:lnTo>
                    <a:pt x="876" y="1176"/>
                  </a:lnTo>
                  <a:lnTo>
                    <a:pt x="866" y="1176"/>
                  </a:lnTo>
                  <a:lnTo>
                    <a:pt x="862" y="1176"/>
                  </a:lnTo>
                  <a:lnTo>
                    <a:pt x="860" y="1178"/>
                  </a:lnTo>
                  <a:lnTo>
                    <a:pt x="860" y="1180"/>
                  </a:lnTo>
                  <a:lnTo>
                    <a:pt x="864" y="1180"/>
                  </a:lnTo>
                  <a:lnTo>
                    <a:pt x="868" y="1180"/>
                  </a:lnTo>
                  <a:lnTo>
                    <a:pt x="876" y="1180"/>
                  </a:lnTo>
                  <a:lnTo>
                    <a:pt x="878" y="1182"/>
                  </a:lnTo>
                  <a:lnTo>
                    <a:pt x="880" y="1184"/>
                  </a:lnTo>
                  <a:lnTo>
                    <a:pt x="878" y="1186"/>
                  </a:lnTo>
                  <a:lnTo>
                    <a:pt x="878" y="1188"/>
                  </a:lnTo>
                  <a:lnTo>
                    <a:pt x="886" y="1184"/>
                  </a:lnTo>
                  <a:lnTo>
                    <a:pt x="892" y="1182"/>
                  </a:lnTo>
                  <a:lnTo>
                    <a:pt x="892" y="1184"/>
                  </a:lnTo>
                  <a:lnTo>
                    <a:pt x="890" y="1186"/>
                  </a:lnTo>
                  <a:lnTo>
                    <a:pt x="886" y="1190"/>
                  </a:lnTo>
                  <a:lnTo>
                    <a:pt x="884" y="1190"/>
                  </a:lnTo>
                  <a:lnTo>
                    <a:pt x="882" y="1192"/>
                  </a:lnTo>
                  <a:lnTo>
                    <a:pt x="886" y="1194"/>
                  </a:lnTo>
                  <a:lnTo>
                    <a:pt x="890" y="1196"/>
                  </a:lnTo>
                  <a:lnTo>
                    <a:pt x="890" y="1198"/>
                  </a:lnTo>
                  <a:lnTo>
                    <a:pt x="890" y="1200"/>
                  </a:lnTo>
                  <a:lnTo>
                    <a:pt x="886" y="1204"/>
                  </a:lnTo>
                  <a:lnTo>
                    <a:pt x="886" y="1206"/>
                  </a:lnTo>
                  <a:lnTo>
                    <a:pt x="884" y="1208"/>
                  </a:lnTo>
                  <a:lnTo>
                    <a:pt x="878" y="1208"/>
                  </a:lnTo>
                  <a:lnTo>
                    <a:pt x="874" y="1208"/>
                  </a:lnTo>
                  <a:lnTo>
                    <a:pt x="872" y="1208"/>
                  </a:lnTo>
                  <a:lnTo>
                    <a:pt x="870" y="1204"/>
                  </a:lnTo>
                  <a:lnTo>
                    <a:pt x="868" y="1198"/>
                  </a:lnTo>
                  <a:lnTo>
                    <a:pt x="866" y="1198"/>
                  </a:lnTo>
                  <a:lnTo>
                    <a:pt x="864" y="1198"/>
                  </a:lnTo>
                  <a:lnTo>
                    <a:pt x="862" y="1198"/>
                  </a:lnTo>
                  <a:lnTo>
                    <a:pt x="862" y="1200"/>
                  </a:lnTo>
                  <a:lnTo>
                    <a:pt x="862" y="1202"/>
                  </a:lnTo>
                  <a:lnTo>
                    <a:pt x="860" y="1204"/>
                  </a:lnTo>
                  <a:lnTo>
                    <a:pt x="852" y="1204"/>
                  </a:lnTo>
                  <a:lnTo>
                    <a:pt x="848" y="1208"/>
                  </a:lnTo>
                  <a:lnTo>
                    <a:pt x="846" y="1210"/>
                  </a:lnTo>
                  <a:lnTo>
                    <a:pt x="846" y="1214"/>
                  </a:lnTo>
                  <a:lnTo>
                    <a:pt x="846" y="1216"/>
                  </a:lnTo>
                  <a:lnTo>
                    <a:pt x="844" y="1218"/>
                  </a:lnTo>
                  <a:lnTo>
                    <a:pt x="840" y="1220"/>
                  </a:lnTo>
                  <a:lnTo>
                    <a:pt x="834" y="1222"/>
                  </a:lnTo>
                  <a:lnTo>
                    <a:pt x="832" y="1224"/>
                  </a:lnTo>
                  <a:lnTo>
                    <a:pt x="830" y="1228"/>
                  </a:lnTo>
                  <a:lnTo>
                    <a:pt x="828" y="1234"/>
                  </a:lnTo>
                  <a:lnTo>
                    <a:pt x="824" y="1240"/>
                  </a:lnTo>
                  <a:lnTo>
                    <a:pt x="818" y="1246"/>
                  </a:lnTo>
                  <a:lnTo>
                    <a:pt x="812" y="1250"/>
                  </a:lnTo>
                  <a:lnTo>
                    <a:pt x="808" y="1252"/>
                  </a:lnTo>
                  <a:lnTo>
                    <a:pt x="806" y="1256"/>
                  </a:lnTo>
                  <a:lnTo>
                    <a:pt x="806" y="1258"/>
                  </a:lnTo>
                  <a:lnTo>
                    <a:pt x="806" y="1260"/>
                  </a:lnTo>
                  <a:lnTo>
                    <a:pt x="810" y="1260"/>
                  </a:lnTo>
                  <a:lnTo>
                    <a:pt x="816" y="1258"/>
                  </a:lnTo>
                  <a:lnTo>
                    <a:pt x="818" y="1258"/>
                  </a:lnTo>
                  <a:lnTo>
                    <a:pt x="818" y="1262"/>
                  </a:lnTo>
                  <a:lnTo>
                    <a:pt x="820" y="1262"/>
                  </a:lnTo>
                  <a:lnTo>
                    <a:pt x="822" y="1264"/>
                  </a:lnTo>
                  <a:lnTo>
                    <a:pt x="822" y="1268"/>
                  </a:lnTo>
                  <a:lnTo>
                    <a:pt x="824" y="1270"/>
                  </a:lnTo>
                  <a:lnTo>
                    <a:pt x="826" y="1270"/>
                  </a:lnTo>
                  <a:lnTo>
                    <a:pt x="834" y="1270"/>
                  </a:lnTo>
                  <a:lnTo>
                    <a:pt x="848" y="1264"/>
                  </a:lnTo>
                  <a:lnTo>
                    <a:pt x="862" y="1254"/>
                  </a:lnTo>
                  <a:lnTo>
                    <a:pt x="868" y="1250"/>
                  </a:lnTo>
                  <a:lnTo>
                    <a:pt x="868" y="1246"/>
                  </a:lnTo>
                  <a:lnTo>
                    <a:pt x="864" y="1244"/>
                  </a:lnTo>
                  <a:lnTo>
                    <a:pt x="858" y="1244"/>
                  </a:lnTo>
                  <a:lnTo>
                    <a:pt x="862" y="1242"/>
                  </a:lnTo>
                  <a:lnTo>
                    <a:pt x="870" y="1238"/>
                  </a:lnTo>
                  <a:lnTo>
                    <a:pt x="874" y="1236"/>
                  </a:lnTo>
                  <a:lnTo>
                    <a:pt x="876" y="1234"/>
                  </a:lnTo>
                  <a:lnTo>
                    <a:pt x="880" y="1236"/>
                  </a:lnTo>
                  <a:lnTo>
                    <a:pt x="884" y="1236"/>
                  </a:lnTo>
                  <a:lnTo>
                    <a:pt x="884" y="1238"/>
                  </a:lnTo>
                  <a:lnTo>
                    <a:pt x="878" y="1240"/>
                  </a:lnTo>
                  <a:lnTo>
                    <a:pt x="874" y="1242"/>
                  </a:lnTo>
                  <a:lnTo>
                    <a:pt x="872" y="1244"/>
                  </a:lnTo>
                  <a:lnTo>
                    <a:pt x="874" y="1246"/>
                  </a:lnTo>
                  <a:lnTo>
                    <a:pt x="880" y="1248"/>
                  </a:lnTo>
                  <a:lnTo>
                    <a:pt x="884" y="1250"/>
                  </a:lnTo>
                  <a:lnTo>
                    <a:pt x="880" y="1254"/>
                  </a:lnTo>
                  <a:lnTo>
                    <a:pt x="860" y="1262"/>
                  </a:lnTo>
                  <a:lnTo>
                    <a:pt x="854" y="1266"/>
                  </a:lnTo>
                  <a:lnTo>
                    <a:pt x="858" y="1268"/>
                  </a:lnTo>
                  <a:lnTo>
                    <a:pt x="856" y="1268"/>
                  </a:lnTo>
                  <a:lnTo>
                    <a:pt x="856" y="1270"/>
                  </a:lnTo>
                  <a:lnTo>
                    <a:pt x="856" y="1272"/>
                  </a:lnTo>
                  <a:lnTo>
                    <a:pt x="858" y="1272"/>
                  </a:lnTo>
                  <a:lnTo>
                    <a:pt x="862" y="1274"/>
                  </a:lnTo>
                  <a:lnTo>
                    <a:pt x="860" y="1276"/>
                  </a:lnTo>
                  <a:lnTo>
                    <a:pt x="856" y="1276"/>
                  </a:lnTo>
                  <a:lnTo>
                    <a:pt x="852" y="1276"/>
                  </a:lnTo>
                  <a:lnTo>
                    <a:pt x="844" y="1276"/>
                  </a:lnTo>
                  <a:lnTo>
                    <a:pt x="836" y="1276"/>
                  </a:lnTo>
                  <a:lnTo>
                    <a:pt x="830" y="1276"/>
                  </a:lnTo>
                  <a:lnTo>
                    <a:pt x="826" y="1280"/>
                  </a:lnTo>
                  <a:lnTo>
                    <a:pt x="822" y="1282"/>
                  </a:lnTo>
                  <a:lnTo>
                    <a:pt x="822" y="1276"/>
                  </a:lnTo>
                  <a:lnTo>
                    <a:pt x="818" y="1268"/>
                  </a:lnTo>
                  <a:lnTo>
                    <a:pt x="814" y="1262"/>
                  </a:lnTo>
                  <a:lnTo>
                    <a:pt x="810" y="1262"/>
                  </a:lnTo>
                  <a:lnTo>
                    <a:pt x="806" y="1266"/>
                  </a:lnTo>
                  <a:lnTo>
                    <a:pt x="798" y="1268"/>
                  </a:lnTo>
                  <a:lnTo>
                    <a:pt x="796" y="1268"/>
                  </a:lnTo>
                  <a:lnTo>
                    <a:pt x="794" y="1270"/>
                  </a:lnTo>
                  <a:lnTo>
                    <a:pt x="792" y="1274"/>
                  </a:lnTo>
                  <a:lnTo>
                    <a:pt x="792" y="1276"/>
                  </a:lnTo>
                  <a:lnTo>
                    <a:pt x="790" y="1274"/>
                  </a:lnTo>
                  <a:lnTo>
                    <a:pt x="784" y="1274"/>
                  </a:lnTo>
                  <a:lnTo>
                    <a:pt x="778" y="1274"/>
                  </a:lnTo>
                  <a:lnTo>
                    <a:pt x="762" y="1280"/>
                  </a:lnTo>
                  <a:lnTo>
                    <a:pt x="760" y="1282"/>
                  </a:lnTo>
                  <a:lnTo>
                    <a:pt x="760" y="1284"/>
                  </a:lnTo>
                  <a:lnTo>
                    <a:pt x="766" y="1288"/>
                  </a:lnTo>
                  <a:lnTo>
                    <a:pt x="768" y="1290"/>
                  </a:lnTo>
                  <a:lnTo>
                    <a:pt x="768" y="1292"/>
                  </a:lnTo>
                  <a:lnTo>
                    <a:pt x="766" y="1294"/>
                  </a:lnTo>
                  <a:lnTo>
                    <a:pt x="760" y="1294"/>
                  </a:lnTo>
                  <a:lnTo>
                    <a:pt x="754" y="1296"/>
                  </a:lnTo>
                  <a:lnTo>
                    <a:pt x="752" y="1298"/>
                  </a:lnTo>
                  <a:lnTo>
                    <a:pt x="752" y="1300"/>
                  </a:lnTo>
                  <a:lnTo>
                    <a:pt x="756" y="1302"/>
                  </a:lnTo>
                  <a:lnTo>
                    <a:pt x="746" y="1300"/>
                  </a:lnTo>
                  <a:lnTo>
                    <a:pt x="738" y="1298"/>
                  </a:lnTo>
                  <a:lnTo>
                    <a:pt x="742" y="1300"/>
                  </a:lnTo>
                  <a:lnTo>
                    <a:pt x="744" y="1304"/>
                  </a:lnTo>
                  <a:lnTo>
                    <a:pt x="744" y="1306"/>
                  </a:lnTo>
                  <a:lnTo>
                    <a:pt x="740" y="1308"/>
                  </a:lnTo>
                  <a:lnTo>
                    <a:pt x="728" y="1308"/>
                  </a:lnTo>
                  <a:lnTo>
                    <a:pt x="716" y="1308"/>
                  </a:lnTo>
                  <a:lnTo>
                    <a:pt x="708" y="1306"/>
                  </a:lnTo>
                  <a:lnTo>
                    <a:pt x="704" y="1308"/>
                  </a:lnTo>
                  <a:lnTo>
                    <a:pt x="702" y="1310"/>
                  </a:lnTo>
                  <a:lnTo>
                    <a:pt x="702" y="1316"/>
                  </a:lnTo>
                  <a:lnTo>
                    <a:pt x="704" y="1318"/>
                  </a:lnTo>
                  <a:lnTo>
                    <a:pt x="708" y="1320"/>
                  </a:lnTo>
                  <a:lnTo>
                    <a:pt x="712" y="1320"/>
                  </a:lnTo>
                  <a:lnTo>
                    <a:pt x="718" y="1320"/>
                  </a:lnTo>
                  <a:lnTo>
                    <a:pt x="726" y="1318"/>
                  </a:lnTo>
                  <a:lnTo>
                    <a:pt x="724" y="1320"/>
                  </a:lnTo>
                  <a:lnTo>
                    <a:pt x="720" y="1324"/>
                  </a:lnTo>
                  <a:lnTo>
                    <a:pt x="720" y="1328"/>
                  </a:lnTo>
                  <a:lnTo>
                    <a:pt x="722" y="1332"/>
                  </a:lnTo>
                  <a:lnTo>
                    <a:pt x="724" y="1334"/>
                  </a:lnTo>
                  <a:lnTo>
                    <a:pt x="718" y="1332"/>
                  </a:lnTo>
                  <a:lnTo>
                    <a:pt x="704" y="1328"/>
                  </a:lnTo>
                  <a:lnTo>
                    <a:pt x="696" y="1328"/>
                  </a:lnTo>
                  <a:lnTo>
                    <a:pt x="686" y="1330"/>
                  </a:lnTo>
                  <a:lnTo>
                    <a:pt x="678" y="1334"/>
                  </a:lnTo>
                  <a:lnTo>
                    <a:pt x="676" y="1336"/>
                  </a:lnTo>
                  <a:lnTo>
                    <a:pt x="678" y="1336"/>
                  </a:lnTo>
                  <a:lnTo>
                    <a:pt x="682" y="1338"/>
                  </a:lnTo>
                  <a:lnTo>
                    <a:pt x="694" y="1340"/>
                  </a:lnTo>
                  <a:lnTo>
                    <a:pt x="698" y="1342"/>
                  </a:lnTo>
                  <a:lnTo>
                    <a:pt x="702" y="1344"/>
                  </a:lnTo>
                  <a:lnTo>
                    <a:pt x="704" y="1348"/>
                  </a:lnTo>
                  <a:lnTo>
                    <a:pt x="700" y="1346"/>
                  </a:lnTo>
                  <a:lnTo>
                    <a:pt x="696" y="1344"/>
                  </a:lnTo>
                  <a:lnTo>
                    <a:pt x="692" y="1344"/>
                  </a:lnTo>
                  <a:lnTo>
                    <a:pt x="684" y="1344"/>
                  </a:lnTo>
                  <a:lnTo>
                    <a:pt x="676" y="1346"/>
                  </a:lnTo>
                  <a:lnTo>
                    <a:pt x="668" y="1350"/>
                  </a:lnTo>
                  <a:lnTo>
                    <a:pt x="664" y="1354"/>
                  </a:lnTo>
                  <a:lnTo>
                    <a:pt x="662" y="1356"/>
                  </a:lnTo>
                  <a:lnTo>
                    <a:pt x="662" y="1358"/>
                  </a:lnTo>
                  <a:lnTo>
                    <a:pt x="664" y="1358"/>
                  </a:lnTo>
                  <a:lnTo>
                    <a:pt x="658" y="1358"/>
                  </a:lnTo>
                  <a:lnTo>
                    <a:pt x="654" y="1358"/>
                  </a:lnTo>
                  <a:lnTo>
                    <a:pt x="652" y="1358"/>
                  </a:lnTo>
                  <a:lnTo>
                    <a:pt x="652" y="1360"/>
                  </a:lnTo>
                  <a:lnTo>
                    <a:pt x="654" y="1362"/>
                  </a:lnTo>
                  <a:lnTo>
                    <a:pt x="652" y="1364"/>
                  </a:lnTo>
                  <a:lnTo>
                    <a:pt x="646" y="1362"/>
                  </a:lnTo>
                  <a:lnTo>
                    <a:pt x="628" y="1360"/>
                  </a:lnTo>
                  <a:lnTo>
                    <a:pt x="628" y="1362"/>
                  </a:lnTo>
                  <a:lnTo>
                    <a:pt x="632" y="1366"/>
                  </a:lnTo>
                  <a:lnTo>
                    <a:pt x="632" y="1368"/>
                  </a:lnTo>
                  <a:lnTo>
                    <a:pt x="626" y="1370"/>
                  </a:lnTo>
                  <a:lnTo>
                    <a:pt x="622" y="1370"/>
                  </a:lnTo>
                  <a:lnTo>
                    <a:pt x="624" y="1372"/>
                  </a:lnTo>
                  <a:lnTo>
                    <a:pt x="628" y="1374"/>
                  </a:lnTo>
                  <a:lnTo>
                    <a:pt x="632" y="1376"/>
                  </a:lnTo>
                  <a:lnTo>
                    <a:pt x="644" y="1376"/>
                  </a:lnTo>
                  <a:lnTo>
                    <a:pt x="660" y="1378"/>
                  </a:lnTo>
                  <a:lnTo>
                    <a:pt x="666" y="1378"/>
                  </a:lnTo>
                  <a:lnTo>
                    <a:pt x="674" y="1382"/>
                  </a:lnTo>
                  <a:lnTo>
                    <a:pt x="682" y="1386"/>
                  </a:lnTo>
                  <a:lnTo>
                    <a:pt x="680" y="1386"/>
                  </a:lnTo>
                  <a:lnTo>
                    <a:pt x="672" y="1384"/>
                  </a:lnTo>
                  <a:lnTo>
                    <a:pt x="668" y="1384"/>
                  </a:lnTo>
                  <a:lnTo>
                    <a:pt x="664" y="1386"/>
                  </a:lnTo>
                  <a:lnTo>
                    <a:pt x="662" y="1386"/>
                  </a:lnTo>
                  <a:lnTo>
                    <a:pt x="660" y="1386"/>
                  </a:lnTo>
                  <a:lnTo>
                    <a:pt x="654" y="1382"/>
                  </a:lnTo>
                  <a:lnTo>
                    <a:pt x="648" y="1380"/>
                  </a:lnTo>
                  <a:lnTo>
                    <a:pt x="644" y="1378"/>
                  </a:lnTo>
                  <a:lnTo>
                    <a:pt x="638" y="1380"/>
                  </a:lnTo>
                  <a:lnTo>
                    <a:pt x="630" y="1384"/>
                  </a:lnTo>
                  <a:lnTo>
                    <a:pt x="624" y="1390"/>
                  </a:lnTo>
                  <a:lnTo>
                    <a:pt x="622" y="1394"/>
                  </a:lnTo>
                  <a:lnTo>
                    <a:pt x="624" y="1396"/>
                  </a:lnTo>
                  <a:lnTo>
                    <a:pt x="626" y="1398"/>
                  </a:lnTo>
                  <a:lnTo>
                    <a:pt x="632" y="1404"/>
                  </a:lnTo>
                  <a:lnTo>
                    <a:pt x="628" y="1406"/>
                  </a:lnTo>
                  <a:lnTo>
                    <a:pt x="622" y="1410"/>
                  </a:lnTo>
                  <a:lnTo>
                    <a:pt x="622" y="1412"/>
                  </a:lnTo>
                  <a:lnTo>
                    <a:pt x="624" y="1412"/>
                  </a:lnTo>
                  <a:lnTo>
                    <a:pt x="628" y="1416"/>
                  </a:lnTo>
                  <a:lnTo>
                    <a:pt x="626" y="1418"/>
                  </a:lnTo>
                  <a:lnTo>
                    <a:pt x="626" y="1420"/>
                  </a:lnTo>
                  <a:lnTo>
                    <a:pt x="624" y="1424"/>
                  </a:lnTo>
                  <a:lnTo>
                    <a:pt x="626" y="1426"/>
                  </a:lnTo>
                  <a:lnTo>
                    <a:pt x="628" y="1428"/>
                  </a:lnTo>
                  <a:lnTo>
                    <a:pt x="632" y="1430"/>
                  </a:lnTo>
                  <a:lnTo>
                    <a:pt x="636" y="1430"/>
                  </a:lnTo>
                  <a:lnTo>
                    <a:pt x="642" y="1430"/>
                  </a:lnTo>
                  <a:lnTo>
                    <a:pt x="648" y="1428"/>
                  </a:lnTo>
                  <a:lnTo>
                    <a:pt x="654" y="1424"/>
                  </a:lnTo>
                  <a:lnTo>
                    <a:pt x="660" y="1424"/>
                  </a:lnTo>
                  <a:lnTo>
                    <a:pt x="670" y="1426"/>
                  </a:lnTo>
                  <a:lnTo>
                    <a:pt x="678" y="1428"/>
                  </a:lnTo>
                  <a:lnTo>
                    <a:pt x="680" y="1426"/>
                  </a:lnTo>
                  <a:lnTo>
                    <a:pt x="684" y="1422"/>
                  </a:lnTo>
                  <a:lnTo>
                    <a:pt x="686" y="1420"/>
                  </a:lnTo>
                  <a:lnTo>
                    <a:pt x="688" y="1418"/>
                  </a:lnTo>
                  <a:lnTo>
                    <a:pt x="692" y="1420"/>
                  </a:lnTo>
                  <a:lnTo>
                    <a:pt x="700" y="1424"/>
                  </a:lnTo>
                  <a:lnTo>
                    <a:pt x="704" y="1426"/>
                  </a:lnTo>
                  <a:lnTo>
                    <a:pt x="710" y="1426"/>
                  </a:lnTo>
                  <a:lnTo>
                    <a:pt x="720" y="1424"/>
                  </a:lnTo>
                  <a:lnTo>
                    <a:pt x="726" y="1424"/>
                  </a:lnTo>
                  <a:lnTo>
                    <a:pt x="726" y="1426"/>
                  </a:lnTo>
                  <a:lnTo>
                    <a:pt x="724" y="1426"/>
                  </a:lnTo>
                  <a:lnTo>
                    <a:pt x="716" y="1430"/>
                  </a:lnTo>
                  <a:lnTo>
                    <a:pt x="710" y="1432"/>
                  </a:lnTo>
                  <a:lnTo>
                    <a:pt x="708" y="1434"/>
                  </a:lnTo>
                  <a:lnTo>
                    <a:pt x="708" y="1436"/>
                  </a:lnTo>
                  <a:lnTo>
                    <a:pt x="708" y="1438"/>
                  </a:lnTo>
                  <a:lnTo>
                    <a:pt x="708" y="1440"/>
                  </a:lnTo>
                  <a:lnTo>
                    <a:pt x="700" y="1434"/>
                  </a:lnTo>
                  <a:lnTo>
                    <a:pt x="694" y="1428"/>
                  </a:lnTo>
                  <a:lnTo>
                    <a:pt x="690" y="1428"/>
                  </a:lnTo>
                  <a:lnTo>
                    <a:pt x="688" y="1428"/>
                  </a:lnTo>
                  <a:lnTo>
                    <a:pt x="686" y="1430"/>
                  </a:lnTo>
                  <a:lnTo>
                    <a:pt x="682" y="1434"/>
                  </a:lnTo>
                  <a:lnTo>
                    <a:pt x="680" y="1434"/>
                  </a:lnTo>
                  <a:lnTo>
                    <a:pt x="676" y="1432"/>
                  </a:lnTo>
                  <a:lnTo>
                    <a:pt x="672" y="1430"/>
                  </a:lnTo>
                  <a:lnTo>
                    <a:pt x="666" y="1430"/>
                  </a:lnTo>
                  <a:lnTo>
                    <a:pt x="656" y="1432"/>
                  </a:lnTo>
                  <a:lnTo>
                    <a:pt x="646" y="1436"/>
                  </a:lnTo>
                  <a:lnTo>
                    <a:pt x="640" y="1436"/>
                  </a:lnTo>
                  <a:lnTo>
                    <a:pt x="636" y="1436"/>
                  </a:lnTo>
                  <a:lnTo>
                    <a:pt x="626" y="1434"/>
                  </a:lnTo>
                  <a:lnTo>
                    <a:pt x="624" y="1436"/>
                  </a:lnTo>
                  <a:lnTo>
                    <a:pt x="626" y="1442"/>
                  </a:lnTo>
                  <a:lnTo>
                    <a:pt x="626" y="1446"/>
                  </a:lnTo>
                  <a:lnTo>
                    <a:pt x="626" y="1448"/>
                  </a:lnTo>
                  <a:lnTo>
                    <a:pt x="632" y="1448"/>
                  </a:lnTo>
                  <a:lnTo>
                    <a:pt x="636" y="1448"/>
                  </a:lnTo>
                  <a:lnTo>
                    <a:pt x="636" y="1450"/>
                  </a:lnTo>
                  <a:lnTo>
                    <a:pt x="638" y="1454"/>
                  </a:lnTo>
                  <a:lnTo>
                    <a:pt x="636" y="1456"/>
                  </a:lnTo>
                  <a:lnTo>
                    <a:pt x="630" y="1454"/>
                  </a:lnTo>
                  <a:lnTo>
                    <a:pt x="626" y="1454"/>
                  </a:lnTo>
                  <a:lnTo>
                    <a:pt x="624" y="1454"/>
                  </a:lnTo>
                  <a:lnTo>
                    <a:pt x="626" y="1458"/>
                  </a:lnTo>
                  <a:lnTo>
                    <a:pt x="628" y="1460"/>
                  </a:lnTo>
                  <a:lnTo>
                    <a:pt x="630" y="1462"/>
                  </a:lnTo>
                  <a:lnTo>
                    <a:pt x="634" y="1462"/>
                  </a:lnTo>
                  <a:lnTo>
                    <a:pt x="638" y="1462"/>
                  </a:lnTo>
                  <a:lnTo>
                    <a:pt x="640" y="1464"/>
                  </a:lnTo>
                  <a:lnTo>
                    <a:pt x="638" y="1468"/>
                  </a:lnTo>
                  <a:lnTo>
                    <a:pt x="638" y="1472"/>
                  </a:lnTo>
                  <a:lnTo>
                    <a:pt x="636" y="1476"/>
                  </a:lnTo>
                  <a:lnTo>
                    <a:pt x="630" y="1478"/>
                  </a:lnTo>
                  <a:lnTo>
                    <a:pt x="626" y="1480"/>
                  </a:lnTo>
                  <a:lnTo>
                    <a:pt x="626" y="1482"/>
                  </a:lnTo>
                  <a:lnTo>
                    <a:pt x="636" y="1490"/>
                  </a:lnTo>
                  <a:lnTo>
                    <a:pt x="638" y="1492"/>
                  </a:lnTo>
                  <a:lnTo>
                    <a:pt x="642" y="1490"/>
                  </a:lnTo>
                  <a:lnTo>
                    <a:pt x="646" y="1488"/>
                  </a:lnTo>
                  <a:lnTo>
                    <a:pt x="648" y="1490"/>
                  </a:lnTo>
                  <a:lnTo>
                    <a:pt x="650" y="1494"/>
                  </a:lnTo>
                  <a:lnTo>
                    <a:pt x="652" y="1492"/>
                  </a:lnTo>
                  <a:lnTo>
                    <a:pt x="654" y="1492"/>
                  </a:lnTo>
                  <a:lnTo>
                    <a:pt x="654" y="1496"/>
                  </a:lnTo>
                  <a:lnTo>
                    <a:pt x="654" y="1500"/>
                  </a:lnTo>
                  <a:lnTo>
                    <a:pt x="654" y="1502"/>
                  </a:lnTo>
                  <a:lnTo>
                    <a:pt x="656" y="1502"/>
                  </a:lnTo>
                  <a:lnTo>
                    <a:pt x="658" y="1502"/>
                  </a:lnTo>
                  <a:lnTo>
                    <a:pt x="658" y="1500"/>
                  </a:lnTo>
                  <a:lnTo>
                    <a:pt x="660" y="1494"/>
                  </a:lnTo>
                  <a:lnTo>
                    <a:pt x="662" y="1488"/>
                  </a:lnTo>
                  <a:lnTo>
                    <a:pt x="662" y="1486"/>
                  </a:lnTo>
                  <a:lnTo>
                    <a:pt x="666" y="1486"/>
                  </a:lnTo>
                  <a:lnTo>
                    <a:pt x="668" y="1486"/>
                  </a:lnTo>
                  <a:lnTo>
                    <a:pt x="670" y="1488"/>
                  </a:lnTo>
                  <a:lnTo>
                    <a:pt x="666" y="1496"/>
                  </a:lnTo>
                  <a:lnTo>
                    <a:pt x="660" y="1504"/>
                  </a:lnTo>
                  <a:lnTo>
                    <a:pt x="654" y="1508"/>
                  </a:lnTo>
                  <a:lnTo>
                    <a:pt x="652" y="1510"/>
                  </a:lnTo>
                  <a:lnTo>
                    <a:pt x="650" y="1512"/>
                  </a:lnTo>
                  <a:lnTo>
                    <a:pt x="654" y="1514"/>
                  </a:lnTo>
                  <a:lnTo>
                    <a:pt x="658" y="1518"/>
                  </a:lnTo>
                  <a:lnTo>
                    <a:pt x="658" y="1520"/>
                  </a:lnTo>
                  <a:lnTo>
                    <a:pt x="656" y="1522"/>
                  </a:lnTo>
                  <a:lnTo>
                    <a:pt x="650" y="1524"/>
                  </a:lnTo>
                  <a:lnTo>
                    <a:pt x="648" y="1522"/>
                  </a:lnTo>
                  <a:lnTo>
                    <a:pt x="644" y="1522"/>
                  </a:lnTo>
                  <a:lnTo>
                    <a:pt x="636" y="1526"/>
                  </a:lnTo>
                  <a:lnTo>
                    <a:pt x="632" y="1530"/>
                  </a:lnTo>
                  <a:lnTo>
                    <a:pt x="632" y="1536"/>
                  </a:lnTo>
                  <a:lnTo>
                    <a:pt x="632" y="1540"/>
                  </a:lnTo>
                  <a:lnTo>
                    <a:pt x="634" y="1544"/>
                  </a:lnTo>
                  <a:lnTo>
                    <a:pt x="640" y="1548"/>
                  </a:lnTo>
                  <a:lnTo>
                    <a:pt x="644" y="1548"/>
                  </a:lnTo>
                  <a:lnTo>
                    <a:pt x="646" y="1548"/>
                  </a:lnTo>
                  <a:lnTo>
                    <a:pt x="646" y="1546"/>
                  </a:lnTo>
                  <a:lnTo>
                    <a:pt x="648" y="1546"/>
                  </a:lnTo>
                  <a:lnTo>
                    <a:pt x="650" y="1546"/>
                  </a:lnTo>
                  <a:lnTo>
                    <a:pt x="654" y="1548"/>
                  </a:lnTo>
                  <a:lnTo>
                    <a:pt x="656" y="1544"/>
                  </a:lnTo>
                  <a:lnTo>
                    <a:pt x="658" y="1542"/>
                  </a:lnTo>
                  <a:lnTo>
                    <a:pt x="660" y="1540"/>
                  </a:lnTo>
                  <a:lnTo>
                    <a:pt x="664" y="1542"/>
                  </a:lnTo>
                  <a:lnTo>
                    <a:pt x="666" y="1544"/>
                  </a:lnTo>
                  <a:lnTo>
                    <a:pt x="664" y="1548"/>
                  </a:lnTo>
                  <a:lnTo>
                    <a:pt x="662" y="1548"/>
                  </a:lnTo>
                  <a:lnTo>
                    <a:pt x="660" y="1550"/>
                  </a:lnTo>
                  <a:lnTo>
                    <a:pt x="660" y="1552"/>
                  </a:lnTo>
                  <a:lnTo>
                    <a:pt x="662" y="1554"/>
                  </a:lnTo>
                  <a:lnTo>
                    <a:pt x="664" y="1556"/>
                  </a:lnTo>
                  <a:lnTo>
                    <a:pt x="662" y="1558"/>
                  </a:lnTo>
                  <a:lnTo>
                    <a:pt x="660" y="1560"/>
                  </a:lnTo>
                  <a:lnTo>
                    <a:pt x="660" y="1562"/>
                  </a:lnTo>
                  <a:lnTo>
                    <a:pt x="662" y="1564"/>
                  </a:lnTo>
                  <a:lnTo>
                    <a:pt x="662" y="1568"/>
                  </a:lnTo>
                  <a:lnTo>
                    <a:pt x="658" y="1570"/>
                  </a:lnTo>
                  <a:lnTo>
                    <a:pt x="654" y="1572"/>
                  </a:lnTo>
                  <a:lnTo>
                    <a:pt x="652" y="1570"/>
                  </a:lnTo>
                  <a:lnTo>
                    <a:pt x="648" y="1568"/>
                  </a:lnTo>
                  <a:lnTo>
                    <a:pt x="646" y="1566"/>
                  </a:lnTo>
                  <a:lnTo>
                    <a:pt x="644" y="1576"/>
                  </a:lnTo>
                  <a:lnTo>
                    <a:pt x="642" y="1586"/>
                  </a:lnTo>
                  <a:lnTo>
                    <a:pt x="646" y="1592"/>
                  </a:lnTo>
                  <a:lnTo>
                    <a:pt x="652" y="1598"/>
                  </a:lnTo>
                  <a:lnTo>
                    <a:pt x="658" y="1600"/>
                  </a:lnTo>
                  <a:lnTo>
                    <a:pt x="662" y="1600"/>
                  </a:lnTo>
                  <a:lnTo>
                    <a:pt x="664" y="1604"/>
                  </a:lnTo>
                  <a:lnTo>
                    <a:pt x="668" y="1608"/>
                  </a:lnTo>
                  <a:lnTo>
                    <a:pt x="674" y="1612"/>
                  </a:lnTo>
                  <a:lnTo>
                    <a:pt x="688" y="1616"/>
                  </a:lnTo>
                  <a:lnTo>
                    <a:pt x="690" y="1618"/>
                  </a:lnTo>
                  <a:lnTo>
                    <a:pt x="688" y="1620"/>
                  </a:lnTo>
                  <a:lnTo>
                    <a:pt x="688" y="1624"/>
                  </a:lnTo>
                  <a:lnTo>
                    <a:pt x="690" y="1626"/>
                  </a:lnTo>
                  <a:lnTo>
                    <a:pt x="692" y="1628"/>
                  </a:lnTo>
                  <a:lnTo>
                    <a:pt x="694" y="1628"/>
                  </a:lnTo>
                  <a:lnTo>
                    <a:pt x="696" y="1626"/>
                  </a:lnTo>
                  <a:lnTo>
                    <a:pt x="700" y="1626"/>
                  </a:lnTo>
                  <a:lnTo>
                    <a:pt x="704" y="1630"/>
                  </a:lnTo>
                  <a:lnTo>
                    <a:pt x="706" y="1632"/>
                  </a:lnTo>
                  <a:lnTo>
                    <a:pt x="710" y="1630"/>
                  </a:lnTo>
                  <a:lnTo>
                    <a:pt x="720" y="1628"/>
                  </a:lnTo>
                  <a:lnTo>
                    <a:pt x="734" y="1628"/>
                  </a:lnTo>
                  <a:lnTo>
                    <a:pt x="746" y="1626"/>
                  </a:lnTo>
                  <a:lnTo>
                    <a:pt x="752" y="1624"/>
                  </a:lnTo>
                  <a:lnTo>
                    <a:pt x="756" y="1620"/>
                  </a:lnTo>
                  <a:lnTo>
                    <a:pt x="760" y="1618"/>
                  </a:lnTo>
                  <a:lnTo>
                    <a:pt x="766" y="1614"/>
                  </a:lnTo>
                  <a:lnTo>
                    <a:pt x="774" y="1608"/>
                  </a:lnTo>
                  <a:lnTo>
                    <a:pt x="780" y="1600"/>
                  </a:lnTo>
                  <a:lnTo>
                    <a:pt x="782" y="1596"/>
                  </a:lnTo>
                  <a:lnTo>
                    <a:pt x="784" y="1594"/>
                  </a:lnTo>
                  <a:lnTo>
                    <a:pt x="790" y="1592"/>
                  </a:lnTo>
                  <a:lnTo>
                    <a:pt x="792" y="1592"/>
                  </a:lnTo>
                  <a:lnTo>
                    <a:pt x="794" y="1588"/>
                  </a:lnTo>
                  <a:lnTo>
                    <a:pt x="794" y="1586"/>
                  </a:lnTo>
                  <a:lnTo>
                    <a:pt x="796" y="1586"/>
                  </a:lnTo>
                  <a:lnTo>
                    <a:pt x="800" y="1584"/>
                  </a:lnTo>
                  <a:lnTo>
                    <a:pt x="804" y="1582"/>
                  </a:lnTo>
                  <a:lnTo>
                    <a:pt x="800" y="1578"/>
                  </a:lnTo>
                  <a:lnTo>
                    <a:pt x="798" y="1576"/>
                  </a:lnTo>
                  <a:lnTo>
                    <a:pt x="802" y="1574"/>
                  </a:lnTo>
                  <a:lnTo>
                    <a:pt x="810" y="1572"/>
                  </a:lnTo>
                  <a:lnTo>
                    <a:pt x="812" y="1570"/>
                  </a:lnTo>
                  <a:lnTo>
                    <a:pt x="812" y="1566"/>
                  </a:lnTo>
                  <a:lnTo>
                    <a:pt x="812" y="1562"/>
                  </a:lnTo>
                  <a:lnTo>
                    <a:pt x="816" y="1564"/>
                  </a:lnTo>
                  <a:lnTo>
                    <a:pt x="820" y="1568"/>
                  </a:lnTo>
                  <a:lnTo>
                    <a:pt x="822" y="1570"/>
                  </a:lnTo>
                  <a:lnTo>
                    <a:pt x="824" y="1568"/>
                  </a:lnTo>
                  <a:lnTo>
                    <a:pt x="828" y="1566"/>
                  </a:lnTo>
                  <a:lnTo>
                    <a:pt x="834" y="1566"/>
                  </a:lnTo>
                  <a:lnTo>
                    <a:pt x="838" y="1564"/>
                  </a:lnTo>
                  <a:lnTo>
                    <a:pt x="838" y="1558"/>
                  </a:lnTo>
                  <a:lnTo>
                    <a:pt x="838" y="1554"/>
                  </a:lnTo>
                  <a:lnTo>
                    <a:pt x="840" y="1552"/>
                  </a:lnTo>
                  <a:lnTo>
                    <a:pt x="844" y="1550"/>
                  </a:lnTo>
                  <a:lnTo>
                    <a:pt x="846" y="1548"/>
                  </a:lnTo>
                  <a:lnTo>
                    <a:pt x="842" y="1540"/>
                  </a:lnTo>
                  <a:lnTo>
                    <a:pt x="840" y="1536"/>
                  </a:lnTo>
                  <a:lnTo>
                    <a:pt x="838" y="1532"/>
                  </a:lnTo>
                  <a:lnTo>
                    <a:pt x="840" y="1528"/>
                  </a:lnTo>
                  <a:lnTo>
                    <a:pt x="844" y="1532"/>
                  </a:lnTo>
                  <a:lnTo>
                    <a:pt x="846" y="1534"/>
                  </a:lnTo>
                  <a:lnTo>
                    <a:pt x="848" y="1534"/>
                  </a:lnTo>
                  <a:lnTo>
                    <a:pt x="850" y="1530"/>
                  </a:lnTo>
                  <a:lnTo>
                    <a:pt x="850" y="1528"/>
                  </a:lnTo>
                  <a:lnTo>
                    <a:pt x="852" y="1530"/>
                  </a:lnTo>
                  <a:lnTo>
                    <a:pt x="852" y="1536"/>
                  </a:lnTo>
                  <a:lnTo>
                    <a:pt x="850" y="1538"/>
                  </a:lnTo>
                  <a:lnTo>
                    <a:pt x="850" y="1540"/>
                  </a:lnTo>
                  <a:lnTo>
                    <a:pt x="852" y="1542"/>
                  </a:lnTo>
                  <a:lnTo>
                    <a:pt x="854" y="1548"/>
                  </a:lnTo>
                  <a:lnTo>
                    <a:pt x="854" y="1552"/>
                  </a:lnTo>
                  <a:lnTo>
                    <a:pt x="856" y="1554"/>
                  </a:lnTo>
                  <a:lnTo>
                    <a:pt x="862" y="1556"/>
                  </a:lnTo>
                  <a:lnTo>
                    <a:pt x="866" y="1556"/>
                  </a:lnTo>
                  <a:lnTo>
                    <a:pt x="866" y="1558"/>
                  </a:lnTo>
                  <a:lnTo>
                    <a:pt x="868" y="1558"/>
                  </a:lnTo>
                  <a:lnTo>
                    <a:pt x="876" y="1560"/>
                  </a:lnTo>
                  <a:lnTo>
                    <a:pt x="874" y="1564"/>
                  </a:lnTo>
                  <a:lnTo>
                    <a:pt x="872" y="1566"/>
                  </a:lnTo>
                  <a:lnTo>
                    <a:pt x="872" y="1570"/>
                  </a:lnTo>
                  <a:lnTo>
                    <a:pt x="874" y="1576"/>
                  </a:lnTo>
                  <a:lnTo>
                    <a:pt x="876" y="1584"/>
                  </a:lnTo>
                  <a:lnTo>
                    <a:pt x="876" y="1594"/>
                  </a:lnTo>
                  <a:lnTo>
                    <a:pt x="876" y="1602"/>
                  </a:lnTo>
                  <a:lnTo>
                    <a:pt x="876" y="1608"/>
                  </a:lnTo>
                  <a:lnTo>
                    <a:pt x="878" y="1612"/>
                  </a:lnTo>
                  <a:lnTo>
                    <a:pt x="882" y="1616"/>
                  </a:lnTo>
                  <a:lnTo>
                    <a:pt x="886" y="1616"/>
                  </a:lnTo>
                  <a:lnTo>
                    <a:pt x="890" y="1614"/>
                  </a:lnTo>
                  <a:lnTo>
                    <a:pt x="896" y="1610"/>
                  </a:lnTo>
                  <a:lnTo>
                    <a:pt x="898" y="1612"/>
                  </a:lnTo>
                  <a:lnTo>
                    <a:pt x="900" y="1614"/>
                  </a:lnTo>
                  <a:lnTo>
                    <a:pt x="902" y="1618"/>
                  </a:lnTo>
                  <a:lnTo>
                    <a:pt x="902" y="1622"/>
                  </a:lnTo>
                  <a:lnTo>
                    <a:pt x="900" y="1628"/>
                  </a:lnTo>
                  <a:lnTo>
                    <a:pt x="896" y="1638"/>
                  </a:lnTo>
                  <a:lnTo>
                    <a:pt x="898" y="1644"/>
                  </a:lnTo>
                  <a:lnTo>
                    <a:pt x="900" y="1652"/>
                  </a:lnTo>
                  <a:lnTo>
                    <a:pt x="906" y="1672"/>
                  </a:lnTo>
                  <a:lnTo>
                    <a:pt x="916" y="1694"/>
                  </a:lnTo>
                  <a:lnTo>
                    <a:pt x="928" y="1710"/>
                  </a:lnTo>
                  <a:lnTo>
                    <a:pt x="932" y="1716"/>
                  </a:lnTo>
                  <a:lnTo>
                    <a:pt x="936" y="1716"/>
                  </a:lnTo>
                  <a:lnTo>
                    <a:pt x="942" y="1716"/>
                  </a:lnTo>
                  <a:lnTo>
                    <a:pt x="944" y="1718"/>
                  </a:lnTo>
                  <a:lnTo>
                    <a:pt x="944" y="1720"/>
                  </a:lnTo>
                  <a:lnTo>
                    <a:pt x="942" y="1726"/>
                  </a:lnTo>
                  <a:lnTo>
                    <a:pt x="934" y="1728"/>
                  </a:lnTo>
                  <a:lnTo>
                    <a:pt x="932" y="1730"/>
                  </a:lnTo>
                  <a:lnTo>
                    <a:pt x="934" y="1732"/>
                  </a:lnTo>
                  <a:lnTo>
                    <a:pt x="936" y="1738"/>
                  </a:lnTo>
                  <a:lnTo>
                    <a:pt x="938" y="1742"/>
                  </a:lnTo>
                  <a:lnTo>
                    <a:pt x="932" y="1740"/>
                  </a:lnTo>
                  <a:lnTo>
                    <a:pt x="926" y="1740"/>
                  </a:lnTo>
                  <a:lnTo>
                    <a:pt x="934" y="1752"/>
                  </a:lnTo>
                  <a:lnTo>
                    <a:pt x="940" y="1760"/>
                  </a:lnTo>
                  <a:lnTo>
                    <a:pt x="944" y="1768"/>
                  </a:lnTo>
                  <a:lnTo>
                    <a:pt x="946" y="1778"/>
                  </a:lnTo>
                  <a:lnTo>
                    <a:pt x="946" y="1782"/>
                  </a:lnTo>
                  <a:lnTo>
                    <a:pt x="944" y="1786"/>
                  </a:lnTo>
                  <a:lnTo>
                    <a:pt x="940" y="1792"/>
                  </a:lnTo>
                  <a:lnTo>
                    <a:pt x="942" y="1796"/>
                  </a:lnTo>
                  <a:lnTo>
                    <a:pt x="946" y="1798"/>
                  </a:lnTo>
                  <a:lnTo>
                    <a:pt x="954" y="1798"/>
                  </a:lnTo>
                  <a:lnTo>
                    <a:pt x="972" y="1796"/>
                  </a:lnTo>
                  <a:lnTo>
                    <a:pt x="982" y="1794"/>
                  </a:lnTo>
                  <a:lnTo>
                    <a:pt x="990" y="1794"/>
                  </a:lnTo>
                  <a:lnTo>
                    <a:pt x="996" y="1794"/>
                  </a:lnTo>
                  <a:lnTo>
                    <a:pt x="998" y="1788"/>
                  </a:lnTo>
                  <a:lnTo>
                    <a:pt x="1000" y="1774"/>
                  </a:lnTo>
                  <a:lnTo>
                    <a:pt x="1000" y="1768"/>
                  </a:lnTo>
                  <a:lnTo>
                    <a:pt x="1002" y="1760"/>
                  </a:lnTo>
                  <a:lnTo>
                    <a:pt x="1004" y="1756"/>
                  </a:lnTo>
                  <a:lnTo>
                    <a:pt x="1010" y="1756"/>
                  </a:lnTo>
                  <a:lnTo>
                    <a:pt x="1018" y="1756"/>
                  </a:lnTo>
                  <a:lnTo>
                    <a:pt x="1018" y="1754"/>
                  </a:lnTo>
                  <a:lnTo>
                    <a:pt x="1018" y="1752"/>
                  </a:lnTo>
                  <a:lnTo>
                    <a:pt x="1020" y="1750"/>
                  </a:lnTo>
                  <a:lnTo>
                    <a:pt x="1024" y="1748"/>
                  </a:lnTo>
                  <a:lnTo>
                    <a:pt x="1034" y="1746"/>
                  </a:lnTo>
                  <a:lnTo>
                    <a:pt x="1042" y="1746"/>
                  </a:lnTo>
                  <a:lnTo>
                    <a:pt x="1050" y="1746"/>
                  </a:lnTo>
                  <a:lnTo>
                    <a:pt x="1058" y="1750"/>
                  </a:lnTo>
                  <a:lnTo>
                    <a:pt x="1062" y="1750"/>
                  </a:lnTo>
                  <a:lnTo>
                    <a:pt x="1064" y="1750"/>
                  </a:lnTo>
                  <a:lnTo>
                    <a:pt x="1070" y="1736"/>
                  </a:lnTo>
                  <a:lnTo>
                    <a:pt x="1076" y="1720"/>
                  </a:lnTo>
                  <a:lnTo>
                    <a:pt x="1082" y="1708"/>
                  </a:lnTo>
                  <a:lnTo>
                    <a:pt x="1086" y="1700"/>
                  </a:lnTo>
                  <a:lnTo>
                    <a:pt x="1088" y="1692"/>
                  </a:lnTo>
                  <a:lnTo>
                    <a:pt x="1088" y="1684"/>
                  </a:lnTo>
                  <a:lnTo>
                    <a:pt x="1090" y="1676"/>
                  </a:lnTo>
                  <a:lnTo>
                    <a:pt x="1092" y="1666"/>
                  </a:lnTo>
                  <a:lnTo>
                    <a:pt x="1092" y="1658"/>
                  </a:lnTo>
                  <a:lnTo>
                    <a:pt x="1090" y="1654"/>
                  </a:lnTo>
                  <a:lnTo>
                    <a:pt x="1092" y="1650"/>
                  </a:lnTo>
                  <a:lnTo>
                    <a:pt x="1094" y="1644"/>
                  </a:lnTo>
                  <a:lnTo>
                    <a:pt x="1098" y="1638"/>
                  </a:lnTo>
                  <a:lnTo>
                    <a:pt x="1098" y="1634"/>
                  </a:lnTo>
                  <a:lnTo>
                    <a:pt x="1098" y="1632"/>
                  </a:lnTo>
                  <a:lnTo>
                    <a:pt x="1096" y="1626"/>
                  </a:lnTo>
                  <a:lnTo>
                    <a:pt x="1098" y="1622"/>
                  </a:lnTo>
                  <a:lnTo>
                    <a:pt x="1100" y="1618"/>
                  </a:lnTo>
                  <a:lnTo>
                    <a:pt x="1098" y="1610"/>
                  </a:lnTo>
                  <a:lnTo>
                    <a:pt x="1096" y="1606"/>
                  </a:lnTo>
                  <a:lnTo>
                    <a:pt x="1096" y="1604"/>
                  </a:lnTo>
                  <a:lnTo>
                    <a:pt x="1098" y="1604"/>
                  </a:lnTo>
                  <a:lnTo>
                    <a:pt x="1100" y="1602"/>
                  </a:lnTo>
                  <a:lnTo>
                    <a:pt x="1102" y="1600"/>
                  </a:lnTo>
                  <a:lnTo>
                    <a:pt x="1100" y="1598"/>
                  </a:lnTo>
                  <a:lnTo>
                    <a:pt x="1100" y="1596"/>
                  </a:lnTo>
                  <a:lnTo>
                    <a:pt x="1102" y="1592"/>
                  </a:lnTo>
                  <a:lnTo>
                    <a:pt x="1112" y="1588"/>
                  </a:lnTo>
                  <a:lnTo>
                    <a:pt x="1124" y="1582"/>
                  </a:lnTo>
                  <a:lnTo>
                    <a:pt x="1130" y="1578"/>
                  </a:lnTo>
                  <a:lnTo>
                    <a:pt x="1132" y="1574"/>
                  </a:lnTo>
                  <a:lnTo>
                    <a:pt x="1134" y="1570"/>
                  </a:lnTo>
                  <a:lnTo>
                    <a:pt x="1134" y="1568"/>
                  </a:lnTo>
                  <a:lnTo>
                    <a:pt x="1138" y="1572"/>
                  </a:lnTo>
                  <a:lnTo>
                    <a:pt x="1142" y="1576"/>
                  </a:lnTo>
                  <a:lnTo>
                    <a:pt x="1144" y="1574"/>
                  </a:lnTo>
                  <a:lnTo>
                    <a:pt x="1146" y="1572"/>
                  </a:lnTo>
                  <a:lnTo>
                    <a:pt x="1152" y="1566"/>
                  </a:lnTo>
                  <a:lnTo>
                    <a:pt x="1158" y="1562"/>
                  </a:lnTo>
                  <a:lnTo>
                    <a:pt x="1164" y="1560"/>
                  </a:lnTo>
                  <a:lnTo>
                    <a:pt x="1164" y="1558"/>
                  </a:lnTo>
                  <a:lnTo>
                    <a:pt x="1164" y="1556"/>
                  </a:lnTo>
                  <a:lnTo>
                    <a:pt x="1166" y="1554"/>
                  </a:lnTo>
                  <a:lnTo>
                    <a:pt x="1170" y="1552"/>
                  </a:lnTo>
                  <a:lnTo>
                    <a:pt x="1172" y="1550"/>
                  </a:lnTo>
                  <a:lnTo>
                    <a:pt x="1172" y="1548"/>
                  </a:lnTo>
                  <a:lnTo>
                    <a:pt x="1172" y="1546"/>
                  </a:lnTo>
                  <a:lnTo>
                    <a:pt x="1170" y="1542"/>
                  </a:lnTo>
                  <a:lnTo>
                    <a:pt x="1168" y="1540"/>
                  </a:lnTo>
                  <a:lnTo>
                    <a:pt x="1164" y="1540"/>
                  </a:lnTo>
                  <a:lnTo>
                    <a:pt x="1152" y="1546"/>
                  </a:lnTo>
                  <a:lnTo>
                    <a:pt x="1144" y="1550"/>
                  </a:lnTo>
                  <a:lnTo>
                    <a:pt x="1136" y="1550"/>
                  </a:lnTo>
                  <a:lnTo>
                    <a:pt x="1128" y="1550"/>
                  </a:lnTo>
                  <a:lnTo>
                    <a:pt x="1122" y="1546"/>
                  </a:lnTo>
                  <a:lnTo>
                    <a:pt x="1112" y="1540"/>
                  </a:lnTo>
                  <a:lnTo>
                    <a:pt x="1104" y="1538"/>
                  </a:lnTo>
                  <a:lnTo>
                    <a:pt x="1094" y="1538"/>
                  </a:lnTo>
                  <a:lnTo>
                    <a:pt x="1086" y="1538"/>
                  </a:lnTo>
                  <a:lnTo>
                    <a:pt x="1076" y="1538"/>
                  </a:lnTo>
                  <a:lnTo>
                    <a:pt x="1084" y="1534"/>
                  </a:lnTo>
                  <a:lnTo>
                    <a:pt x="1092" y="1530"/>
                  </a:lnTo>
                  <a:lnTo>
                    <a:pt x="1098" y="1530"/>
                  </a:lnTo>
                  <a:lnTo>
                    <a:pt x="1110" y="1530"/>
                  </a:lnTo>
                  <a:lnTo>
                    <a:pt x="1118" y="1534"/>
                  </a:lnTo>
                  <a:lnTo>
                    <a:pt x="1122" y="1534"/>
                  </a:lnTo>
                  <a:lnTo>
                    <a:pt x="1124" y="1532"/>
                  </a:lnTo>
                  <a:lnTo>
                    <a:pt x="1126" y="1532"/>
                  </a:lnTo>
                  <a:lnTo>
                    <a:pt x="1128" y="1532"/>
                  </a:lnTo>
                  <a:lnTo>
                    <a:pt x="1134" y="1538"/>
                  </a:lnTo>
                  <a:lnTo>
                    <a:pt x="1142" y="1544"/>
                  </a:lnTo>
                  <a:lnTo>
                    <a:pt x="1146" y="1544"/>
                  </a:lnTo>
                  <a:lnTo>
                    <a:pt x="1150" y="1542"/>
                  </a:lnTo>
                  <a:lnTo>
                    <a:pt x="1178" y="1528"/>
                  </a:lnTo>
                  <a:lnTo>
                    <a:pt x="1190" y="1518"/>
                  </a:lnTo>
                  <a:lnTo>
                    <a:pt x="1192" y="1516"/>
                  </a:lnTo>
                  <a:lnTo>
                    <a:pt x="1192" y="1512"/>
                  </a:lnTo>
                  <a:lnTo>
                    <a:pt x="1184" y="1500"/>
                  </a:lnTo>
                  <a:lnTo>
                    <a:pt x="1178" y="1496"/>
                  </a:lnTo>
                  <a:lnTo>
                    <a:pt x="1172" y="1496"/>
                  </a:lnTo>
                  <a:lnTo>
                    <a:pt x="1168" y="1496"/>
                  </a:lnTo>
                  <a:lnTo>
                    <a:pt x="1168" y="1494"/>
                  </a:lnTo>
                  <a:lnTo>
                    <a:pt x="1168" y="1490"/>
                  </a:lnTo>
                  <a:lnTo>
                    <a:pt x="1170" y="1484"/>
                  </a:lnTo>
                  <a:lnTo>
                    <a:pt x="1168" y="1482"/>
                  </a:lnTo>
                  <a:lnTo>
                    <a:pt x="1164" y="1480"/>
                  </a:lnTo>
                  <a:lnTo>
                    <a:pt x="1158" y="1476"/>
                  </a:lnTo>
                  <a:lnTo>
                    <a:pt x="1154" y="1472"/>
                  </a:lnTo>
                  <a:lnTo>
                    <a:pt x="1148" y="1468"/>
                  </a:lnTo>
                  <a:lnTo>
                    <a:pt x="1144" y="1466"/>
                  </a:lnTo>
                  <a:lnTo>
                    <a:pt x="1138" y="1468"/>
                  </a:lnTo>
                  <a:lnTo>
                    <a:pt x="1132" y="1468"/>
                  </a:lnTo>
                  <a:lnTo>
                    <a:pt x="1132" y="1466"/>
                  </a:lnTo>
                  <a:lnTo>
                    <a:pt x="1132" y="1462"/>
                  </a:lnTo>
                  <a:lnTo>
                    <a:pt x="1130" y="1462"/>
                  </a:lnTo>
                  <a:lnTo>
                    <a:pt x="1126" y="1460"/>
                  </a:lnTo>
                  <a:lnTo>
                    <a:pt x="1124" y="1460"/>
                  </a:lnTo>
                  <a:lnTo>
                    <a:pt x="1122" y="1458"/>
                  </a:lnTo>
                  <a:lnTo>
                    <a:pt x="1118" y="1450"/>
                  </a:lnTo>
                  <a:lnTo>
                    <a:pt x="1116" y="1440"/>
                  </a:lnTo>
                  <a:lnTo>
                    <a:pt x="1116" y="1428"/>
                  </a:lnTo>
                  <a:lnTo>
                    <a:pt x="1116" y="1416"/>
                  </a:lnTo>
                  <a:lnTo>
                    <a:pt x="1116" y="1406"/>
                  </a:lnTo>
                  <a:lnTo>
                    <a:pt x="1120" y="1398"/>
                  </a:lnTo>
                  <a:lnTo>
                    <a:pt x="1120" y="1396"/>
                  </a:lnTo>
                  <a:lnTo>
                    <a:pt x="1124" y="1396"/>
                  </a:lnTo>
                  <a:lnTo>
                    <a:pt x="1126" y="1394"/>
                  </a:lnTo>
                  <a:lnTo>
                    <a:pt x="1128" y="1392"/>
                  </a:lnTo>
                  <a:lnTo>
                    <a:pt x="1126" y="1386"/>
                  </a:lnTo>
                  <a:lnTo>
                    <a:pt x="1126" y="1374"/>
                  </a:lnTo>
                  <a:lnTo>
                    <a:pt x="1126" y="1368"/>
                  </a:lnTo>
                  <a:lnTo>
                    <a:pt x="1128" y="1360"/>
                  </a:lnTo>
                  <a:lnTo>
                    <a:pt x="1132" y="1356"/>
                  </a:lnTo>
                  <a:lnTo>
                    <a:pt x="1132" y="1352"/>
                  </a:lnTo>
                  <a:lnTo>
                    <a:pt x="1130" y="1352"/>
                  </a:lnTo>
                  <a:lnTo>
                    <a:pt x="1128" y="1350"/>
                  </a:lnTo>
                  <a:lnTo>
                    <a:pt x="1124" y="1350"/>
                  </a:lnTo>
                  <a:lnTo>
                    <a:pt x="1122" y="1348"/>
                  </a:lnTo>
                  <a:lnTo>
                    <a:pt x="1122" y="1342"/>
                  </a:lnTo>
                  <a:lnTo>
                    <a:pt x="1122" y="1336"/>
                  </a:lnTo>
                  <a:lnTo>
                    <a:pt x="1124" y="1338"/>
                  </a:lnTo>
                  <a:lnTo>
                    <a:pt x="1130" y="1340"/>
                  </a:lnTo>
                  <a:lnTo>
                    <a:pt x="1136" y="1340"/>
                  </a:lnTo>
                  <a:lnTo>
                    <a:pt x="1142" y="1338"/>
                  </a:lnTo>
                  <a:lnTo>
                    <a:pt x="1148" y="1334"/>
                  </a:lnTo>
                  <a:lnTo>
                    <a:pt x="1148" y="1332"/>
                  </a:lnTo>
                  <a:lnTo>
                    <a:pt x="1148" y="1330"/>
                  </a:lnTo>
                  <a:lnTo>
                    <a:pt x="1146" y="1326"/>
                  </a:lnTo>
                  <a:lnTo>
                    <a:pt x="1144" y="1324"/>
                  </a:lnTo>
                  <a:lnTo>
                    <a:pt x="1142" y="1322"/>
                  </a:lnTo>
                  <a:lnTo>
                    <a:pt x="1144" y="1322"/>
                  </a:lnTo>
                  <a:lnTo>
                    <a:pt x="1152" y="1320"/>
                  </a:lnTo>
                  <a:lnTo>
                    <a:pt x="1160" y="1318"/>
                  </a:lnTo>
                  <a:lnTo>
                    <a:pt x="1166" y="1312"/>
                  </a:lnTo>
                  <a:lnTo>
                    <a:pt x="1170" y="1308"/>
                  </a:lnTo>
                  <a:lnTo>
                    <a:pt x="1172" y="1302"/>
                  </a:lnTo>
                  <a:lnTo>
                    <a:pt x="1178" y="1294"/>
                  </a:lnTo>
                  <a:lnTo>
                    <a:pt x="1180" y="1292"/>
                  </a:lnTo>
                  <a:lnTo>
                    <a:pt x="1186" y="1292"/>
                  </a:lnTo>
                  <a:lnTo>
                    <a:pt x="1190" y="1294"/>
                  </a:lnTo>
                  <a:lnTo>
                    <a:pt x="1194" y="1292"/>
                  </a:lnTo>
                  <a:lnTo>
                    <a:pt x="1196" y="1286"/>
                  </a:lnTo>
                  <a:lnTo>
                    <a:pt x="1200" y="1278"/>
                  </a:lnTo>
                  <a:lnTo>
                    <a:pt x="1204" y="1274"/>
                  </a:lnTo>
                  <a:lnTo>
                    <a:pt x="1208" y="1274"/>
                  </a:lnTo>
                  <a:lnTo>
                    <a:pt x="1214" y="1274"/>
                  </a:lnTo>
                  <a:lnTo>
                    <a:pt x="1218" y="1274"/>
                  </a:lnTo>
                  <a:lnTo>
                    <a:pt x="1222" y="1268"/>
                  </a:lnTo>
                  <a:lnTo>
                    <a:pt x="1226" y="1264"/>
                  </a:lnTo>
                  <a:lnTo>
                    <a:pt x="1228" y="1264"/>
                  </a:lnTo>
                  <a:lnTo>
                    <a:pt x="1232" y="1264"/>
                  </a:lnTo>
                  <a:lnTo>
                    <a:pt x="1236" y="1264"/>
                  </a:lnTo>
                  <a:lnTo>
                    <a:pt x="1238" y="1264"/>
                  </a:lnTo>
                  <a:lnTo>
                    <a:pt x="1240" y="1260"/>
                  </a:lnTo>
                  <a:lnTo>
                    <a:pt x="1244" y="1254"/>
                  </a:lnTo>
                  <a:lnTo>
                    <a:pt x="1246" y="1254"/>
                  </a:lnTo>
                  <a:lnTo>
                    <a:pt x="1250" y="1254"/>
                  </a:lnTo>
                  <a:lnTo>
                    <a:pt x="1254" y="1252"/>
                  </a:lnTo>
                  <a:lnTo>
                    <a:pt x="1258" y="1250"/>
                  </a:lnTo>
                  <a:lnTo>
                    <a:pt x="1262" y="1240"/>
                  </a:lnTo>
                  <a:lnTo>
                    <a:pt x="1268" y="1226"/>
                  </a:lnTo>
                  <a:lnTo>
                    <a:pt x="1274" y="1220"/>
                  </a:lnTo>
                  <a:lnTo>
                    <a:pt x="1284" y="1214"/>
                  </a:lnTo>
                  <a:lnTo>
                    <a:pt x="1290" y="1208"/>
                  </a:lnTo>
                  <a:lnTo>
                    <a:pt x="1292" y="1206"/>
                  </a:lnTo>
                  <a:lnTo>
                    <a:pt x="1292" y="1204"/>
                  </a:lnTo>
                  <a:lnTo>
                    <a:pt x="1290" y="1202"/>
                  </a:lnTo>
                  <a:lnTo>
                    <a:pt x="1284" y="1198"/>
                  </a:lnTo>
                  <a:lnTo>
                    <a:pt x="1280" y="1194"/>
                  </a:lnTo>
                  <a:lnTo>
                    <a:pt x="1276" y="1190"/>
                  </a:lnTo>
                  <a:lnTo>
                    <a:pt x="1276" y="1184"/>
                  </a:lnTo>
                  <a:lnTo>
                    <a:pt x="1276" y="1180"/>
                  </a:lnTo>
                  <a:lnTo>
                    <a:pt x="1282" y="1174"/>
                  </a:lnTo>
                  <a:lnTo>
                    <a:pt x="1288" y="1168"/>
                  </a:lnTo>
                  <a:lnTo>
                    <a:pt x="1290" y="1164"/>
                  </a:lnTo>
                  <a:lnTo>
                    <a:pt x="1292" y="1156"/>
                  </a:lnTo>
                  <a:lnTo>
                    <a:pt x="1292" y="1150"/>
                  </a:lnTo>
                  <a:lnTo>
                    <a:pt x="1294" y="1146"/>
                  </a:lnTo>
                  <a:lnTo>
                    <a:pt x="1298" y="1144"/>
                  </a:lnTo>
                  <a:lnTo>
                    <a:pt x="1300" y="1144"/>
                  </a:lnTo>
                  <a:lnTo>
                    <a:pt x="1306" y="1142"/>
                  </a:lnTo>
                  <a:lnTo>
                    <a:pt x="1310" y="1140"/>
                  </a:lnTo>
                  <a:lnTo>
                    <a:pt x="1310" y="1138"/>
                  </a:lnTo>
                  <a:lnTo>
                    <a:pt x="1314" y="1132"/>
                  </a:lnTo>
                  <a:lnTo>
                    <a:pt x="1320" y="1126"/>
                  </a:lnTo>
                  <a:lnTo>
                    <a:pt x="1338" y="1114"/>
                  </a:lnTo>
                  <a:lnTo>
                    <a:pt x="1340" y="1112"/>
                  </a:lnTo>
                  <a:lnTo>
                    <a:pt x="1344" y="1112"/>
                  </a:lnTo>
                  <a:lnTo>
                    <a:pt x="1346" y="1116"/>
                  </a:lnTo>
                  <a:lnTo>
                    <a:pt x="1348" y="1118"/>
                  </a:lnTo>
                  <a:lnTo>
                    <a:pt x="1350" y="1120"/>
                  </a:lnTo>
                  <a:lnTo>
                    <a:pt x="1354" y="1120"/>
                  </a:lnTo>
                  <a:lnTo>
                    <a:pt x="1358" y="1118"/>
                  </a:lnTo>
                  <a:lnTo>
                    <a:pt x="1364" y="1116"/>
                  </a:lnTo>
                  <a:lnTo>
                    <a:pt x="1368" y="1116"/>
                  </a:lnTo>
                  <a:lnTo>
                    <a:pt x="1378" y="1116"/>
                  </a:lnTo>
                  <a:lnTo>
                    <a:pt x="1386" y="1116"/>
                  </a:lnTo>
                  <a:lnTo>
                    <a:pt x="1392" y="1116"/>
                  </a:lnTo>
                  <a:lnTo>
                    <a:pt x="1396" y="1114"/>
                  </a:lnTo>
                  <a:lnTo>
                    <a:pt x="1408" y="1116"/>
                  </a:lnTo>
                  <a:lnTo>
                    <a:pt x="1414" y="1120"/>
                  </a:lnTo>
                  <a:lnTo>
                    <a:pt x="1418" y="1124"/>
                  </a:lnTo>
                  <a:lnTo>
                    <a:pt x="1428" y="1126"/>
                  </a:lnTo>
                  <a:lnTo>
                    <a:pt x="1438" y="1130"/>
                  </a:lnTo>
                  <a:lnTo>
                    <a:pt x="1440" y="1134"/>
                  </a:lnTo>
                  <a:lnTo>
                    <a:pt x="1442" y="1136"/>
                  </a:lnTo>
                  <a:lnTo>
                    <a:pt x="1442" y="1144"/>
                  </a:lnTo>
                  <a:lnTo>
                    <a:pt x="1440" y="1154"/>
                  </a:lnTo>
                  <a:lnTo>
                    <a:pt x="1440" y="1162"/>
                  </a:lnTo>
                  <a:lnTo>
                    <a:pt x="1442" y="1166"/>
                  </a:lnTo>
                  <a:lnTo>
                    <a:pt x="1446" y="1168"/>
                  </a:lnTo>
                  <a:lnTo>
                    <a:pt x="1444" y="1174"/>
                  </a:lnTo>
                  <a:lnTo>
                    <a:pt x="1442" y="1176"/>
                  </a:lnTo>
                  <a:lnTo>
                    <a:pt x="1440" y="1176"/>
                  </a:lnTo>
                  <a:lnTo>
                    <a:pt x="1434" y="1176"/>
                  </a:lnTo>
                  <a:lnTo>
                    <a:pt x="1422" y="1178"/>
                  </a:lnTo>
                  <a:lnTo>
                    <a:pt x="1416" y="1180"/>
                  </a:lnTo>
                  <a:lnTo>
                    <a:pt x="1412" y="1184"/>
                  </a:lnTo>
                  <a:lnTo>
                    <a:pt x="1406" y="1196"/>
                  </a:lnTo>
                  <a:lnTo>
                    <a:pt x="1398" y="1208"/>
                  </a:lnTo>
                  <a:lnTo>
                    <a:pt x="1390" y="1216"/>
                  </a:lnTo>
                  <a:lnTo>
                    <a:pt x="1382" y="1222"/>
                  </a:lnTo>
                  <a:lnTo>
                    <a:pt x="1372" y="1228"/>
                  </a:lnTo>
                  <a:lnTo>
                    <a:pt x="1368" y="1232"/>
                  </a:lnTo>
                  <a:lnTo>
                    <a:pt x="1366" y="1236"/>
                  </a:lnTo>
                  <a:lnTo>
                    <a:pt x="1366" y="1238"/>
                  </a:lnTo>
                  <a:lnTo>
                    <a:pt x="1366" y="1242"/>
                  </a:lnTo>
                  <a:lnTo>
                    <a:pt x="1358" y="1244"/>
                  </a:lnTo>
                  <a:lnTo>
                    <a:pt x="1354" y="1246"/>
                  </a:lnTo>
                  <a:lnTo>
                    <a:pt x="1350" y="1248"/>
                  </a:lnTo>
                  <a:lnTo>
                    <a:pt x="1346" y="1254"/>
                  </a:lnTo>
                  <a:lnTo>
                    <a:pt x="1344" y="1258"/>
                  </a:lnTo>
                  <a:lnTo>
                    <a:pt x="1342" y="1260"/>
                  </a:lnTo>
                  <a:lnTo>
                    <a:pt x="1338" y="1260"/>
                  </a:lnTo>
                  <a:lnTo>
                    <a:pt x="1334" y="1260"/>
                  </a:lnTo>
                  <a:lnTo>
                    <a:pt x="1332" y="1260"/>
                  </a:lnTo>
                  <a:lnTo>
                    <a:pt x="1328" y="1264"/>
                  </a:lnTo>
                  <a:lnTo>
                    <a:pt x="1326" y="1268"/>
                  </a:lnTo>
                  <a:lnTo>
                    <a:pt x="1324" y="1270"/>
                  </a:lnTo>
                  <a:lnTo>
                    <a:pt x="1322" y="1270"/>
                  </a:lnTo>
                  <a:lnTo>
                    <a:pt x="1320" y="1272"/>
                  </a:lnTo>
                  <a:lnTo>
                    <a:pt x="1318" y="1272"/>
                  </a:lnTo>
                  <a:lnTo>
                    <a:pt x="1318" y="1278"/>
                  </a:lnTo>
                  <a:lnTo>
                    <a:pt x="1318" y="1286"/>
                  </a:lnTo>
                  <a:lnTo>
                    <a:pt x="1318" y="1288"/>
                  </a:lnTo>
                  <a:lnTo>
                    <a:pt x="1314" y="1292"/>
                  </a:lnTo>
                  <a:lnTo>
                    <a:pt x="1310" y="1294"/>
                  </a:lnTo>
                  <a:lnTo>
                    <a:pt x="1308" y="1294"/>
                  </a:lnTo>
                  <a:lnTo>
                    <a:pt x="1300" y="1292"/>
                  </a:lnTo>
                  <a:lnTo>
                    <a:pt x="1294" y="1290"/>
                  </a:lnTo>
                  <a:lnTo>
                    <a:pt x="1292" y="1292"/>
                  </a:lnTo>
                  <a:lnTo>
                    <a:pt x="1290" y="1296"/>
                  </a:lnTo>
                  <a:lnTo>
                    <a:pt x="1290" y="1300"/>
                  </a:lnTo>
                  <a:lnTo>
                    <a:pt x="1286" y="1304"/>
                  </a:lnTo>
                  <a:lnTo>
                    <a:pt x="1278" y="1314"/>
                  </a:lnTo>
                  <a:lnTo>
                    <a:pt x="1276" y="1322"/>
                  </a:lnTo>
                  <a:lnTo>
                    <a:pt x="1274" y="1328"/>
                  </a:lnTo>
                  <a:lnTo>
                    <a:pt x="1274" y="1338"/>
                  </a:lnTo>
                  <a:lnTo>
                    <a:pt x="1278" y="1346"/>
                  </a:lnTo>
                  <a:lnTo>
                    <a:pt x="1282" y="1354"/>
                  </a:lnTo>
                  <a:lnTo>
                    <a:pt x="1282" y="1360"/>
                  </a:lnTo>
                  <a:lnTo>
                    <a:pt x="1282" y="1364"/>
                  </a:lnTo>
                  <a:lnTo>
                    <a:pt x="1280" y="1366"/>
                  </a:lnTo>
                  <a:lnTo>
                    <a:pt x="1278" y="1368"/>
                  </a:lnTo>
                  <a:lnTo>
                    <a:pt x="1278" y="1372"/>
                  </a:lnTo>
                  <a:lnTo>
                    <a:pt x="1280" y="1378"/>
                  </a:lnTo>
                  <a:lnTo>
                    <a:pt x="1288" y="1388"/>
                  </a:lnTo>
                  <a:lnTo>
                    <a:pt x="1292" y="1394"/>
                  </a:lnTo>
                  <a:lnTo>
                    <a:pt x="1294" y="1396"/>
                  </a:lnTo>
                  <a:lnTo>
                    <a:pt x="1294" y="1398"/>
                  </a:lnTo>
                  <a:lnTo>
                    <a:pt x="1292" y="1400"/>
                  </a:lnTo>
                  <a:lnTo>
                    <a:pt x="1288" y="1402"/>
                  </a:lnTo>
                  <a:lnTo>
                    <a:pt x="1286" y="1404"/>
                  </a:lnTo>
                  <a:lnTo>
                    <a:pt x="1286" y="1406"/>
                  </a:lnTo>
                  <a:lnTo>
                    <a:pt x="1288" y="1416"/>
                  </a:lnTo>
                  <a:lnTo>
                    <a:pt x="1288" y="1424"/>
                  </a:lnTo>
                  <a:lnTo>
                    <a:pt x="1282" y="1444"/>
                  </a:lnTo>
                  <a:lnTo>
                    <a:pt x="1280" y="1456"/>
                  </a:lnTo>
                  <a:lnTo>
                    <a:pt x="1280" y="1462"/>
                  </a:lnTo>
                  <a:lnTo>
                    <a:pt x="1282" y="1464"/>
                  </a:lnTo>
                  <a:lnTo>
                    <a:pt x="1286" y="1466"/>
                  </a:lnTo>
                  <a:lnTo>
                    <a:pt x="1298" y="1470"/>
                  </a:lnTo>
                  <a:lnTo>
                    <a:pt x="1322" y="1476"/>
                  </a:lnTo>
                  <a:lnTo>
                    <a:pt x="1328" y="1478"/>
                  </a:lnTo>
                  <a:lnTo>
                    <a:pt x="1330" y="1480"/>
                  </a:lnTo>
                  <a:lnTo>
                    <a:pt x="1328" y="1484"/>
                  </a:lnTo>
                  <a:lnTo>
                    <a:pt x="1328" y="1492"/>
                  </a:lnTo>
                  <a:lnTo>
                    <a:pt x="1328" y="1500"/>
                  </a:lnTo>
                  <a:lnTo>
                    <a:pt x="1330" y="1504"/>
                  </a:lnTo>
                  <a:lnTo>
                    <a:pt x="1334" y="1504"/>
                  </a:lnTo>
                  <a:lnTo>
                    <a:pt x="1336" y="1504"/>
                  </a:lnTo>
                  <a:lnTo>
                    <a:pt x="1340" y="1500"/>
                  </a:lnTo>
                  <a:lnTo>
                    <a:pt x="1346" y="1494"/>
                  </a:lnTo>
                  <a:lnTo>
                    <a:pt x="1352" y="1494"/>
                  </a:lnTo>
                  <a:lnTo>
                    <a:pt x="1354" y="1496"/>
                  </a:lnTo>
                  <a:lnTo>
                    <a:pt x="1354" y="1498"/>
                  </a:lnTo>
                  <a:lnTo>
                    <a:pt x="1354" y="1500"/>
                  </a:lnTo>
                  <a:lnTo>
                    <a:pt x="1352" y="1506"/>
                  </a:lnTo>
                  <a:lnTo>
                    <a:pt x="1346" y="1512"/>
                  </a:lnTo>
                  <a:lnTo>
                    <a:pt x="1346" y="1516"/>
                  </a:lnTo>
                  <a:lnTo>
                    <a:pt x="1352" y="1514"/>
                  </a:lnTo>
                  <a:lnTo>
                    <a:pt x="1366" y="1508"/>
                  </a:lnTo>
                  <a:lnTo>
                    <a:pt x="1376" y="1504"/>
                  </a:lnTo>
                  <a:lnTo>
                    <a:pt x="1390" y="1504"/>
                  </a:lnTo>
                  <a:lnTo>
                    <a:pt x="1408" y="1500"/>
                  </a:lnTo>
                  <a:lnTo>
                    <a:pt x="1436" y="1488"/>
                  </a:lnTo>
                  <a:lnTo>
                    <a:pt x="1448" y="1484"/>
                  </a:lnTo>
                  <a:lnTo>
                    <a:pt x="1454" y="1484"/>
                  </a:lnTo>
                  <a:lnTo>
                    <a:pt x="1458" y="1484"/>
                  </a:lnTo>
                  <a:lnTo>
                    <a:pt x="1462" y="1484"/>
                  </a:lnTo>
                  <a:lnTo>
                    <a:pt x="1466" y="1486"/>
                  </a:lnTo>
                  <a:lnTo>
                    <a:pt x="1470" y="1482"/>
                  </a:lnTo>
                  <a:lnTo>
                    <a:pt x="1476" y="1476"/>
                  </a:lnTo>
                  <a:lnTo>
                    <a:pt x="1478" y="1476"/>
                  </a:lnTo>
                  <a:lnTo>
                    <a:pt x="1484" y="1478"/>
                  </a:lnTo>
                  <a:lnTo>
                    <a:pt x="1490" y="1476"/>
                  </a:lnTo>
                  <a:lnTo>
                    <a:pt x="1498" y="1474"/>
                  </a:lnTo>
                  <a:lnTo>
                    <a:pt x="1506" y="1472"/>
                  </a:lnTo>
                  <a:lnTo>
                    <a:pt x="1512" y="1470"/>
                  </a:lnTo>
                  <a:lnTo>
                    <a:pt x="1522" y="1470"/>
                  </a:lnTo>
                  <a:lnTo>
                    <a:pt x="1532" y="1470"/>
                  </a:lnTo>
                  <a:lnTo>
                    <a:pt x="1538" y="1470"/>
                  </a:lnTo>
                  <a:lnTo>
                    <a:pt x="1546" y="1466"/>
                  </a:lnTo>
                  <a:lnTo>
                    <a:pt x="1550" y="1468"/>
                  </a:lnTo>
                  <a:lnTo>
                    <a:pt x="1556" y="1468"/>
                  </a:lnTo>
                  <a:lnTo>
                    <a:pt x="1566" y="1462"/>
                  </a:lnTo>
                  <a:lnTo>
                    <a:pt x="1574" y="1456"/>
                  </a:lnTo>
                  <a:lnTo>
                    <a:pt x="1578" y="1454"/>
                  </a:lnTo>
                  <a:lnTo>
                    <a:pt x="1580" y="1456"/>
                  </a:lnTo>
                  <a:lnTo>
                    <a:pt x="1582" y="1458"/>
                  </a:lnTo>
                  <a:lnTo>
                    <a:pt x="1578" y="1458"/>
                  </a:lnTo>
                  <a:lnTo>
                    <a:pt x="1576" y="1462"/>
                  </a:lnTo>
                  <a:lnTo>
                    <a:pt x="1578" y="1466"/>
                  </a:lnTo>
                  <a:lnTo>
                    <a:pt x="1580" y="1470"/>
                  </a:lnTo>
                  <a:lnTo>
                    <a:pt x="1578" y="1472"/>
                  </a:lnTo>
                  <a:lnTo>
                    <a:pt x="1572" y="1470"/>
                  </a:lnTo>
                  <a:lnTo>
                    <a:pt x="1568" y="1468"/>
                  </a:lnTo>
                  <a:lnTo>
                    <a:pt x="1572" y="1474"/>
                  </a:lnTo>
                  <a:lnTo>
                    <a:pt x="1578" y="1480"/>
                  </a:lnTo>
                  <a:lnTo>
                    <a:pt x="1582" y="1480"/>
                  </a:lnTo>
                  <a:lnTo>
                    <a:pt x="1584" y="1482"/>
                  </a:lnTo>
                  <a:lnTo>
                    <a:pt x="1588" y="1486"/>
                  </a:lnTo>
                  <a:lnTo>
                    <a:pt x="1592" y="1490"/>
                  </a:lnTo>
                  <a:lnTo>
                    <a:pt x="1596" y="1490"/>
                  </a:lnTo>
                  <a:lnTo>
                    <a:pt x="1608" y="1490"/>
                  </a:lnTo>
                  <a:lnTo>
                    <a:pt x="1618" y="1490"/>
                  </a:lnTo>
                  <a:lnTo>
                    <a:pt x="1622" y="1492"/>
                  </a:lnTo>
                  <a:lnTo>
                    <a:pt x="1626" y="1494"/>
                  </a:lnTo>
                  <a:lnTo>
                    <a:pt x="1628" y="1498"/>
                  </a:lnTo>
                  <a:lnTo>
                    <a:pt x="1632" y="1500"/>
                  </a:lnTo>
                  <a:lnTo>
                    <a:pt x="1638" y="1502"/>
                  </a:lnTo>
                  <a:lnTo>
                    <a:pt x="1642" y="1504"/>
                  </a:lnTo>
                  <a:lnTo>
                    <a:pt x="1642" y="1508"/>
                  </a:lnTo>
                  <a:lnTo>
                    <a:pt x="1638" y="1510"/>
                  </a:lnTo>
                  <a:lnTo>
                    <a:pt x="1634" y="1510"/>
                  </a:lnTo>
                  <a:lnTo>
                    <a:pt x="1610" y="1504"/>
                  </a:lnTo>
                  <a:lnTo>
                    <a:pt x="1602" y="1502"/>
                  </a:lnTo>
                  <a:lnTo>
                    <a:pt x="1596" y="1504"/>
                  </a:lnTo>
                  <a:lnTo>
                    <a:pt x="1594" y="1506"/>
                  </a:lnTo>
                  <a:lnTo>
                    <a:pt x="1592" y="1510"/>
                  </a:lnTo>
                  <a:lnTo>
                    <a:pt x="1590" y="1512"/>
                  </a:lnTo>
                  <a:lnTo>
                    <a:pt x="1588" y="1516"/>
                  </a:lnTo>
                  <a:lnTo>
                    <a:pt x="1584" y="1516"/>
                  </a:lnTo>
                  <a:lnTo>
                    <a:pt x="1578" y="1514"/>
                  </a:lnTo>
                  <a:lnTo>
                    <a:pt x="1574" y="1512"/>
                  </a:lnTo>
                  <a:lnTo>
                    <a:pt x="1570" y="1514"/>
                  </a:lnTo>
                  <a:lnTo>
                    <a:pt x="1568" y="1516"/>
                  </a:lnTo>
                  <a:lnTo>
                    <a:pt x="1568" y="1518"/>
                  </a:lnTo>
                  <a:lnTo>
                    <a:pt x="1568" y="1522"/>
                  </a:lnTo>
                  <a:lnTo>
                    <a:pt x="1568" y="1524"/>
                  </a:lnTo>
                  <a:lnTo>
                    <a:pt x="1564" y="1524"/>
                  </a:lnTo>
                  <a:lnTo>
                    <a:pt x="1560" y="1520"/>
                  </a:lnTo>
                  <a:lnTo>
                    <a:pt x="1556" y="1518"/>
                  </a:lnTo>
                  <a:lnTo>
                    <a:pt x="1552" y="1516"/>
                  </a:lnTo>
                  <a:lnTo>
                    <a:pt x="1552" y="1518"/>
                  </a:lnTo>
                  <a:lnTo>
                    <a:pt x="1552" y="1520"/>
                  </a:lnTo>
                  <a:lnTo>
                    <a:pt x="1554" y="1530"/>
                  </a:lnTo>
                  <a:lnTo>
                    <a:pt x="1554" y="1534"/>
                  </a:lnTo>
                  <a:lnTo>
                    <a:pt x="1552" y="1536"/>
                  </a:lnTo>
                  <a:lnTo>
                    <a:pt x="1540" y="1540"/>
                  </a:lnTo>
                  <a:lnTo>
                    <a:pt x="1530" y="1542"/>
                  </a:lnTo>
                  <a:lnTo>
                    <a:pt x="1518" y="1540"/>
                  </a:lnTo>
                  <a:lnTo>
                    <a:pt x="1508" y="1536"/>
                  </a:lnTo>
                  <a:lnTo>
                    <a:pt x="1498" y="1532"/>
                  </a:lnTo>
                  <a:lnTo>
                    <a:pt x="1488" y="1530"/>
                  </a:lnTo>
                  <a:lnTo>
                    <a:pt x="1476" y="1528"/>
                  </a:lnTo>
                  <a:lnTo>
                    <a:pt x="1460" y="1526"/>
                  </a:lnTo>
                  <a:lnTo>
                    <a:pt x="1454" y="1524"/>
                  </a:lnTo>
                  <a:lnTo>
                    <a:pt x="1450" y="1524"/>
                  </a:lnTo>
                  <a:lnTo>
                    <a:pt x="1448" y="1526"/>
                  </a:lnTo>
                  <a:lnTo>
                    <a:pt x="1448" y="1528"/>
                  </a:lnTo>
                  <a:lnTo>
                    <a:pt x="1446" y="1532"/>
                  </a:lnTo>
                  <a:lnTo>
                    <a:pt x="1442" y="1534"/>
                  </a:lnTo>
                  <a:lnTo>
                    <a:pt x="1436" y="1534"/>
                  </a:lnTo>
                  <a:lnTo>
                    <a:pt x="1422" y="1534"/>
                  </a:lnTo>
                  <a:lnTo>
                    <a:pt x="1408" y="1534"/>
                  </a:lnTo>
                  <a:lnTo>
                    <a:pt x="1398" y="1538"/>
                  </a:lnTo>
                  <a:lnTo>
                    <a:pt x="1394" y="1542"/>
                  </a:lnTo>
                  <a:lnTo>
                    <a:pt x="1392" y="1544"/>
                  </a:lnTo>
                  <a:lnTo>
                    <a:pt x="1390" y="1548"/>
                  </a:lnTo>
                  <a:lnTo>
                    <a:pt x="1388" y="1550"/>
                  </a:lnTo>
                  <a:lnTo>
                    <a:pt x="1380" y="1552"/>
                  </a:lnTo>
                  <a:lnTo>
                    <a:pt x="1374" y="1554"/>
                  </a:lnTo>
                  <a:lnTo>
                    <a:pt x="1372" y="1558"/>
                  </a:lnTo>
                  <a:lnTo>
                    <a:pt x="1370" y="1562"/>
                  </a:lnTo>
                  <a:lnTo>
                    <a:pt x="1368" y="1572"/>
                  </a:lnTo>
                  <a:lnTo>
                    <a:pt x="1368" y="1580"/>
                  </a:lnTo>
                  <a:lnTo>
                    <a:pt x="1370" y="1588"/>
                  </a:lnTo>
                  <a:lnTo>
                    <a:pt x="1372" y="1594"/>
                  </a:lnTo>
                  <a:lnTo>
                    <a:pt x="1378" y="1604"/>
                  </a:lnTo>
                  <a:lnTo>
                    <a:pt x="1382" y="1610"/>
                  </a:lnTo>
                  <a:lnTo>
                    <a:pt x="1386" y="1614"/>
                  </a:lnTo>
                  <a:lnTo>
                    <a:pt x="1390" y="1614"/>
                  </a:lnTo>
                  <a:lnTo>
                    <a:pt x="1396" y="1614"/>
                  </a:lnTo>
                  <a:lnTo>
                    <a:pt x="1402" y="1610"/>
                  </a:lnTo>
                  <a:lnTo>
                    <a:pt x="1410" y="1606"/>
                  </a:lnTo>
                  <a:lnTo>
                    <a:pt x="1410" y="1608"/>
                  </a:lnTo>
                  <a:lnTo>
                    <a:pt x="1410" y="1610"/>
                  </a:lnTo>
                  <a:lnTo>
                    <a:pt x="1402" y="1640"/>
                  </a:lnTo>
                  <a:lnTo>
                    <a:pt x="1402" y="1646"/>
                  </a:lnTo>
                  <a:lnTo>
                    <a:pt x="1404" y="1654"/>
                  </a:lnTo>
                  <a:lnTo>
                    <a:pt x="1406" y="1668"/>
                  </a:lnTo>
                  <a:lnTo>
                    <a:pt x="1408" y="1676"/>
                  </a:lnTo>
                  <a:lnTo>
                    <a:pt x="1406" y="1682"/>
                  </a:lnTo>
                  <a:lnTo>
                    <a:pt x="1402" y="1686"/>
                  </a:lnTo>
                  <a:lnTo>
                    <a:pt x="1392" y="1692"/>
                  </a:lnTo>
                  <a:lnTo>
                    <a:pt x="1380" y="1694"/>
                  </a:lnTo>
                  <a:lnTo>
                    <a:pt x="1370" y="1694"/>
                  </a:lnTo>
                  <a:lnTo>
                    <a:pt x="1364" y="1690"/>
                  </a:lnTo>
                  <a:lnTo>
                    <a:pt x="1360" y="1684"/>
                  </a:lnTo>
                  <a:lnTo>
                    <a:pt x="1354" y="1672"/>
                  </a:lnTo>
                  <a:lnTo>
                    <a:pt x="1348" y="1666"/>
                  </a:lnTo>
                  <a:lnTo>
                    <a:pt x="1342" y="1662"/>
                  </a:lnTo>
                  <a:lnTo>
                    <a:pt x="1336" y="1660"/>
                  </a:lnTo>
                  <a:lnTo>
                    <a:pt x="1334" y="1656"/>
                  </a:lnTo>
                  <a:lnTo>
                    <a:pt x="1332" y="1652"/>
                  </a:lnTo>
                  <a:lnTo>
                    <a:pt x="1332" y="1650"/>
                  </a:lnTo>
                  <a:lnTo>
                    <a:pt x="1332" y="1648"/>
                  </a:lnTo>
                  <a:lnTo>
                    <a:pt x="1324" y="1648"/>
                  </a:lnTo>
                  <a:lnTo>
                    <a:pt x="1302" y="1656"/>
                  </a:lnTo>
                  <a:lnTo>
                    <a:pt x="1294" y="1660"/>
                  </a:lnTo>
                  <a:lnTo>
                    <a:pt x="1292" y="1664"/>
                  </a:lnTo>
                  <a:lnTo>
                    <a:pt x="1286" y="1674"/>
                  </a:lnTo>
                  <a:lnTo>
                    <a:pt x="1284" y="1678"/>
                  </a:lnTo>
                  <a:lnTo>
                    <a:pt x="1286" y="1684"/>
                  </a:lnTo>
                  <a:lnTo>
                    <a:pt x="1286" y="1688"/>
                  </a:lnTo>
                  <a:lnTo>
                    <a:pt x="1286" y="1690"/>
                  </a:lnTo>
                  <a:lnTo>
                    <a:pt x="1280" y="1694"/>
                  </a:lnTo>
                  <a:lnTo>
                    <a:pt x="1274" y="1700"/>
                  </a:lnTo>
                  <a:lnTo>
                    <a:pt x="1272" y="1704"/>
                  </a:lnTo>
                  <a:lnTo>
                    <a:pt x="1270" y="1710"/>
                  </a:lnTo>
                  <a:lnTo>
                    <a:pt x="1266" y="1720"/>
                  </a:lnTo>
                  <a:lnTo>
                    <a:pt x="1266" y="1732"/>
                  </a:lnTo>
                  <a:lnTo>
                    <a:pt x="1268" y="1752"/>
                  </a:lnTo>
                  <a:lnTo>
                    <a:pt x="1268" y="1766"/>
                  </a:lnTo>
                  <a:lnTo>
                    <a:pt x="1270" y="1772"/>
                  </a:lnTo>
                  <a:lnTo>
                    <a:pt x="1274" y="1776"/>
                  </a:lnTo>
                  <a:lnTo>
                    <a:pt x="1278" y="1782"/>
                  </a:lnTo>
                  <a:lnTo>
                    <a:pt x="1280" y="1790"/>
                  </a:lnTo>
                  <a:lnTo>
                    <a:pt x="1280" y="1804"/>
                  </a:lnTo>
                  <a:lnTo>
                    <a:pt x="1278" y="1806"/>
                  </a:lnTo>
                  <a:lnTo>
                    <a:pt x="1276" y="1808"/>
                  </a:lnTo>
                  <a:lnTo>
                    <a:pt x="1276" y="1816"/>
                  </a:lnTo>
                  <a:lnTo>
                    <a:pt x="1278" y="1818"/>
                  </a:lnTo>
                  <a:lnTo>
                    <a:pt x="1276" y="1822"/>
                  </a:lnTo>
                  <a:lnTo>
                    <a:pt x="1270" y="1824"/>
                  </a:lnTo>
                  <a:lnTo>
                    <a:pt x="1264" y="1826"/>
                  </a:lnTo>
                  <a:lnTo>
                    <a:pt x="1258" y="1824"/>
                  </a:lnTo>
                  <a:lnTo>
                    <a:pt x="1256" y="1824"/>
                  </a:lnTo>
                  <a:lnTo>
                    <a:pt x="1256" y="1822"/>
                  </a:lnTo>
                  <a:lnTo>
                    <a:pt x="1258" y="1816"/>
                  </a:lnTo>
                  <a:lnTo>
                    <a:pt x="1268" y="1804"/>
                  </a:lnTo>
                  <a:lnTo>
                    <a:pt x="1270" y="1800"/>
                  </a:lnTo>
                  <a:lnTo>
                    <a:pt x="1268" y="1800"/>
                  </a:lnTo>
                  <a:lnTo>
                    <a:pt x="1256" y="1814"/>
                  </a:lnTo>
                  <a:lnTo>
                    <a:pt x="1248" y="1820"/>
                  </a:lnTo>
                  <a:lnTo>
                    <a:pt x="1246" y="1822"/>
                  </a:lnTo>
                  <a:lnTo>
                    <a:pt x="1240" y="1820"/>
                  </a:lnTo>
                  <a:lnTo>
                    <a:pt x="1232" y="1820"/>
                  </a:lnTo>
                  <a:lnTo>
                    <a:pt x="1226" y="1822"/>
                  </a:lnTo>
                  <a:lnTo>
                    <a:pt x="1224" y="1824"/>
                  </a:lnTo>
                  <a:lnTo>
                    <a:pt x="1224" y="1830"/>
                  </a:lnTo>
                  <a:lnTo>
                    <a:pt x="1224" y="1836"/>
                  </a:lnTo>
                  <a:lnTo>
                    <a:pt x="1224" y="1840"/>
                  </a:lnTo>
                  <a:lnTo>
                    <a:pt x="1220" y="1846"/>
                  </a:lnTo>
                  <a:lnTo>
                    <a:pt x="1214" y="1852"/>
                  </a:lnTo>
                  <a:lnTo>
                    <a:pt x="1202" y="1858"/>
                  </a:lnTo>
                  <a:lnTo>
                    <a:pt x="1188" y="1860"/>
                  </a:lnTo>
                  <a:lnTo>
                    <a:pt x="1182" y="1858"/>
                  </a:lnTo>
                  <a:lnTo>
                    <a:pt x="1176" y="1856"/>
                  </a:lnTo>
                  <a:lnTo>
                    <a:pt x="1172" y="1854"/>
                  </a:lnTo>
                  <a:lnTo>
                    <a:pt x="1170" y="1848"/>
                  </a:lnTo>
                  <a:lnTo>
                    <a:pt x="1166" y="1836"/>
                  </a:lnTo>
                  <a:lnTo>
                    <a:pt x="1172" y="1840"/>
                  </a:lnTo>
                  <a:lnTo>
                    <a:pt x="1180" y="1844"/>
                  </a:lnTo>
                  <a:lnTo>
                    <a:pt x="1184" y="1844"/>
                  </a:lnTo>
                  <a:lnTo>
                    <a:pt x="1184" y="1842"/>
                  </a:lnTo>
                  <a:lnTo>
                    <a:pt x="1180" y="1840"/>
                  </a:lnTo>
                  <a:lnTo>
                    <a:pt x="1168" y="1832"/>
                  </a:lnTo>
                  <a:lnTo>
                    <a:pt x="1160" y="1828"/>
                  </a:lnTo>
                  <a:lnTo>
                    <a:pt x="1152" y="1828"/>
                  </a:lnTo>
                  <a:lnTo>
                    <a:pt x="1136" y="1832"/>
                  </a:lnTo>
                  <a:lnTo>
                    <a:pt x="1118" y="1836"/>
                  </a:lnTo>
                  <a:lnTo>
                    <a:pt x="1112" y="1838"/>
                  </a:lnTo>
                  <a:lnTo>
                    <a:pt x="1110" y="1840"/>
                  </a:lnTo>
                  <a:lnTo>
                    <a:pt x="1098" y="1844"/>
                  </a:lnTo>
                  <a:lnTo>
                    <a:pt x="1090" y="1848"/>
                  </a:lnTo>
                  <a:lnTo>
                    <a:pt x="1086" y="1850"/>
                  </a:lnTo>
                  <a:lnTo>
                    <a:pt x="1082" y="1856"/>
                  </a:lnTo>
                  <a:lnTo>
                    <a:pt x="1080" y="1858"/>
                  </a:lnTo>
                  <a:lnTo>
                    <a:pt x="1074" y="1862"/>
                  </a:lnTo>
                  <a:lnTo>
                    <a:pt x="1066" y="1864"/>
                  </a:lnTo>
                  <a:lnTo>
                    <a:pt x="1054" y="1868"/>
                  </a:lnTo>
                  <a:lnTo>
                    <a:pt x="1034" y="1874"/>
                  </a:lnTo>
                  <a:lnTo>
                    <a:pt x="1020" y="1880"/>
                  </a:lnTo>
                  <a:lnTo>
                    <a:pt x="1008" y="1884"/>
                  </a:lnTo>
                  <a:lnTo>
                    <a:pt x="1002" y="1884"/>
                  </a:lnTo>
                  <a:lnTo>
                    <a:pt x="996" y="1884"/>
                  </a:lnTo>
                  <a:lnTo>
                    <a:pt x="992" y="1882"/>
                  </a:lnTo>
                  <a:lnTo>
                    <a:pt x="986" y="1878"/>
                  </a:lnTo>
                  <a:lnTo>
                    <a:pt x="980" y="1870"/>
                  </a:lnTo>
                  <a:lnTo>
                    <a:pt x="978" y="1870"/>
                  </a:lnTo>
                  <a:lnTo>
                    <a:pt x="980" y="1874"/>
                  </a:lnTo>
                  <a:lnTo>
                    <a:pt x="984" y="1884"/>
                  </a:lnTo>
                  <a:lnTo>
                    <a:pt x="984" y="1886"/>
                  </a:lnTo>
                  <a:lnTo>
                    <a:pt x="984" y="1888"/>
                  </a:lnTo>
                  <a:lnTo>
                    <a:pt x="982" y="1888"/>
                  </a:lnTo>
                  <a:lnTo>
                    <a:pt x="982" y="1890"/>
                  </a:lnTo>
                  <a:lnTo>
                    <a:pt x="984" y="1890"/>
                  </a:lnTo>
                  <a:lnTo>
                    <a:pt x="988" y="1890"/>
                  </a:lnTo>
                  <a:lnTo>
                    <a:pt x="992" y="1888"/>
                  </a:lnTo>
                  <a:lnTo>
                    <a:pt x="996" y="1890"/>
                  </a:lnTo>
                  <a:lnTo>
                    <a:pt x="998" y="1892"/>
                  </a:lnTo>
                  <a:lnTo>
                    <a:pt x="1002" y="1892"/>
                  </a:lnTo>
                  <a:lnTo>
                    <a:pt x="1004" y="1890"/>
                  </a:lnTo>
                  <a:lnTo>
                    <a:pt x="1008" y="1890"/>
                  </a:lnTo>
                  <a:lnTo>
                    <a:pt x="1010" y="1894"/>
                  </a:lnTo>
                  <a:lnTo>
                    <a:pt x="1010" y="1900"/>
                  </a:lnTo>
                  <a:lnTo>
                    <a:pt x="1010" y="1902"/>
                  </a:lnTo>
                  <a:lnTo>
                    <a:pt x="1008" y="1902"/>
                  </a:lnTo>
                  <a:lnTo>
                    <a:pt x="1004" y="1900"/>
                  </a:lnTo>
                  <a:lnTo>
                    <a:pt x="998" y="1898"/>
                  </a:lnTo>
                  <a:lnTo>
                    <a:pt x="996" y="1898"/>
                  </a:lnTo>
                  <a:lnTo>
                    <a:pt x="986" y="1896"/>
                  </a:lnTo>
                  <a:lnTo>
                    <a:pt x="980" y="1892"/>
                  </a:lnTo>
                  <a:lnTo>
                    <a:pt x="980" y="1890"/>
                  </a:lnTo>
                  <a:lnTo>
                    <a:pt x="980" y="1886"/>
                  </a:lnTo>
                  <a:lnTo>
                    <a:pt x="980" y="1884"/>
                  </a:lnTo>
                  <a:lnTo>
                    <a:pt x="978" y="1882"/>
                  </a:lnTo>
                  <a:lnTo>
                    <a:pt x="976" y="1878"/>
                  </a:lnTo>
                  <a:lnTo>
                    <a:pt x="976" y="1872"/>
                  </a:lnTo>
                  <a:lnTo>
                    <a:pt x="976" y="1870"/>
                  </a:lnTo>
                  <a:lnTo>
                    <a:pt x="974" y="1870"/>
                  </a:lnTo>
                  <a:lnTo>
                    <a:pt x="970" y="1872"/>
                  </a:lnTo>
                  <a:lnTo>
                    <a:pt x="962" y="1872"/>
                  </a:lnTo>
                  <a:lnTo>
                    <a:pt x="958" y="1870"/>
                  </a:lnTo>
                  <a:lnTo>
                    <a:pt x="954" y="1868"/>
                  </a:lnTo>
                  <a:lnTo>
                    <a:pt x="950" y="1860"/>
                  </a:lnTo>
                  <a:lnTo>
                    <a:pt x="948" y="1856"/>
                  </a:lnTo>
                  <a:lnTo>
                    <a:pt x="946" y="1854"/>
                  </a:lnTo>
                  <a:lnTo>
                    <a:pt x="944" y="1854"/>
                  </a:lnTo>
                  <a:lnTo>
                    <a:pt x="938" y="1854"/>
                  </a:lnTo>
                  <a:lnTo>
                    <a:pt x="932" y="1852"/>
                  </a:lnTo>
                  <a:lnTo>
                    <a:pt x="930" y="1850"/>
                  </a:lnTo>
                  <a:lnTo>
                    <a:pt x="926" y="1850"/>
                  </a:lnTo>
                  <a:lnTo>
                    <a:pt x="924" y="1854"/>
                  </a:lnTo>
                  <a:lnTo>
                    <a:pt x="920" y="1862"/>
                  </a:lnTo>
                  <a:lnTo>
                    <a:pt x="912" y="1868"/>
                  </a:lnTo>
                  <a:lnTo>
                    <a:pt x="908" y="1870"/>
                  </a:lnTo>
                  <a:lnTo>
                    <a:pt x="900" y="1870"/>
                  </a:lnTo>
                  <a:lnTo>
                    <a:pt x="894" y="1872"/>
                  </a:lnTo>
                  <a:lnTo>
                    <a:pt x="890" y="1874"/>
                  </a:lnTo>
                  <a:lnTo>
                    <a:pt x="886" y="1880"/>
                  </a:lnTo>
                  <a:lnTo>
                    <a:pt x="884" y="1884"/>
                  </a:lnTo>
                  <a:lnTo>
                    <a:pt x="882" y="1884"/>
                  </a:lnTo>
                  <a:lnTo>
                    <a:pt x="878" y="1882"/>
                  </a:lnTo>
                  <a:lnTo>
                    <a:pt x="874" y="1880"/>
                  </a:lnTo>
                  <a:lnTo>
                    <a:pt x="870" y="1880"/>
                  </a:lnTo>
                  <a:lnTo>
                    <a:pt x="864" y="1882"/>
                  </a:lnTo>
                  <a:lnTo>
                    <a:pt x="860" y="1882"/>
                  </a:lnTo>
                  <a:lnTo>
                    <a:pt x="858" y="1882"/>
                  </a:lnTo>
                  <a:lnTo>
                    <a:pt x="856" y="1880"/>
                  </a:lnTo>
                  <a:lnTo>
                    <a:pt x="856" y="1878"/>
                  </a:lnTo>
                  <a:lnTo>
                    <a:pt x="858" y="1876"/>
                  </a:lnTo>
                  <a:lnTo>
                    <a:pt x="864" y="1872"/>
                  </a:lnTo>
                  <a:lnTo>
                    <a:pt x="870" y="1870"/>
                  </a:lnTo>
                  <a:lnTo>
                    <a:pt x="870" y="1868"/>
                  </a:lnTo>
                  <a:lnTo>
                    <a:pt x="870" y="1864"/>
                  </a:lnTo>
                  <a:lnTo>
                    <a:pt x="870" y="1862"/>
                  </a:lnTo>
                  <a:lnTo>
                    <a:pt x="870" y="1858"/>
                  </a:lnTo>
                  <a:lnTo>
                    <a:pt x="870" y="1856"/>
                  </a:lnTo>
                  <a:lnTo>
                    <a:pt x="862" y="1858"/>
                  </a:lnTo>
                  <a:lnTo>
                    <a:pt x="856" y="1860"/>
                  </a:lnTo>
                  <a:lnTo>
                    <a:pt x="852" y="1860"/>
                  </a:lnTo>
                  <a:lnTo>
                    <a:pt x="848" y="1860"/>
                  </a:lnTo>
                  <a:lnTo>
                    <a:pt x="846" y="1858"/>
                  </a:lnTo>
                  <a:lnTo>
                    <a:pt x="842" y="1854"/>
                  </a:lnTo>
                  <a:lnTo>
                    <a:pt x="840" y="1854"/>
                  </a:lnTo>
                  <a:lnTo>
                    <a:pt x="838" y="1854"/>
                  </a:lnTo>
                  <a:lnTo>
                    <a:pt x="834" y="1856"/>
                  </a:lnTo>
                  <a:lnTo>
                    <a:pt x="832" y="1854"/>
                  </a:lnTo>
                  <a:lnTo>
                    <a:pt x="830" y="1852"/>
                  </a:lnTo>
                  <a:lnTo>
                    <a:pt x="826" y="1850"/>
                  </a:lnTo>
                  <a:lnTo>
                    <a:pt x="822" y="1850"/>
                  </a:lnTo>
                  <a:lnTo>
                    <a:pt x="824" y="1848"/>
                  </a:lnTo>
                  <a:lnTo>
                    <a:pt x="826" y="1844"/>
                  </a:lnTo>
                  <a:lnTo>
                    <a:pt x="828" y="1842"/>
                  </a:lnTo>
                  <a:lnTo>
                    <a:pt x="826" y="1838"/>
                  </a:lnTo>
                  <a:lnTo>
                    <a:pt x="824" y="1834"/>
                  </a:lnTo>
                  <a:lnTo>
                    <a:pt x="822" y="1832"/>
                  </a:lnTo>
                  <a:lnTo>
                    <a:pt x="820" y="1834"/>
                  </a:lnTo>
                  <a:lnTo>
                    <a:pt x="816" y="1832"/>
                  </a:lnTo>
                  <a:lnTo>
                    <a:pt x="812" y="1830"/>
                  </a:lnTo>
                  <a:lnTo>
                    <a:pt x="808" y="1830"/>
                  </a:lnTo>
                  <a:lnTo>
                    <a:pt x="806" y="1832"/>
                  </a:lnTo>
                  <a:lnTo>
                    <a:pt x="802" y="1830"/>
                  </a:lnTo>
                  <a:lnTo>
                    <a:pt x="808" y="1826"/>
                  </a:lnTo>
                  <a:lnTo>
                    <a:pt x="810" y="1824"/>
                  </a:lnTo>
                  <a:lnTo>
                    <a:pt x="810" y="1826"/>
                  </a:lnTo>
                  <a:lnTo>
                    <a:pt x="812" y="1828"/>
                  </a:lnTo>
                  <a:lnTo>
                    <a:pt x="816" y="1828"/>
                  </a:lnTo>
                  <a:lnTo>
                    <a:pt x="818" y="1826"/>
                  </a:lnTo>
                  <a:lnTo>
                    <a:pt x="820" y="1826"/>
                  </a:lnTo>
                  <a:lnTo>
                    <a:pt x="824" y="1828"/>
                  </a:lnTo>
                  <a:lnTo>
                    <a:pt x="826" y="1826"/>
                  </a:lnTo>
                  <a:lnTo>
                    <a:pt x="828" y="1824"/>
                  </a:lnTo>
                  <a:lnTo>
                    <a:pt x="828" y="1822"/>
                  </a:lnTo>
                  <a:lnTo>
                    <a:pt x="822" y="1818"/>
                  </a:lnTo>
                  <a:lnTo>
                    <a:pt x="816" y="1814"/>
                  </a:lnTo>
                  <a:lnTo>
                    <a:pt x="812" y="1816"/>
                  </a:lnTo>
                  <a:lnTo>
                    <a:pt x="810" y="1818"/>
                  </a:lnTo>
                  <a:lnTo>
                    <a:pt x="806" y="1814"/>
                  </a:lnTo>
                  <a:lnTo>
                    <a:pt x="806" y="1812"/>
                  </a:lnTo>
                  <a:lnTo>
                    <a:pt x="806" y="1810"/>
                  </a:lnTo>
                  <a:lnTo>
                    <a:pt x="810" y="1808"/>
                  </a:lnTo>
                  <a:lnTo>
                    <a:pt x="812" y="1804"/>
                  </a:lnTo>
                  <a:lnTo>
                    <a:pt x="814" y="1804"/>
                  </a:lnTo>
                  <a:lnTo>
                    <a:pt x="812" y="1802"/>
                  </a:lnTo>
                  <a:lnTo>
                    <a:pt x="810" y="1798"/>
                  </a:lnTo>
                  <a:lnTo>
                    <a:pt x="810" y="1794"/>
                  </a:lnTo>
                  <a:lnTo>
                    <a:pt x="810" y="1792"/>
                  </a:lnTo>
                  <a:lnTo>
                    <a:pt x="808" y="1790"/>
                  </a:lnTo>
                  <a:lnTo>
                    <a:pt x="808" y="1788"/>
                  </a:lnTo>
                  <a:lnTo>
                    <a:pt x="808" y="1786"/>
                  </a:lnTo>
                  <a:lnTo>
                    <a:pt x="814" y="1784"/>
                  </a:lnTo>
                  <a:lnTo>
                    <a:pt x="818" y="1782"/>
                  </a:lnTo>
                  <a:lnTo>
                    <a:pt x="818" y="1780"/>
                  </a:lnTo>
                  <a:lnTo>
                    <a:pt x="818" y="1778"/>
                  </a:lnTo>
                  <a:lnTo>
                    <a:pt x="818" y="1776"/>
                  </a:lnTo>
                  <a:lnTo>
                    <a:pt x="822" y="1776"/>
                  </a:lnTo>
                  <a:lnTo>
                    <a:pt x="826" y="1774"/>
                  </a:lnTo>
                  <a:lnTo>
                    <a:pt x="826" y="1772"/>
                  </a:lnTo>
                  <a:lnTo>
                    <a:pt x="824" y="1768"/>
                  </a:lnTo>
                  <a:lnTo>
                    <a:pt x="820" y="1764"/>
                  </a:lnTo>
                  <a:lnTo>
                    <a:pt x="824" y="1766"/>
                  </a:lnTo>
                  <a:lnTo>
                    <a:pt x="828" y="1768"/>
                  </a:lnTo>
                  <a:lnTo>
                    <a:pt x="832" y="1768"/>
                  </a:lnTo>
                  <a:lnTo>
                    <a:pt x="834" y="1766"/>
                  </a:lnTo>
                  <a:lnTo>
                    <a:pt x="834" y="1764"/>
                  </a:lnTo>
                  <a:lnTo>
                    <a:pt x="834" y="1760"/>
                  </a:lnTo>
                  <a:lnTo>
                    <a:pt x="834" y="1750"/>
                  </a:lnTo>
                  <a:lnTo>
                    <a:pt x="836" y="1742"/>
                  </a:lnTo>
                  <a:lnTo>
                    <a:pt x="836" y="1740"/>
                  </a:lnTo>
                  <a:lnTo>
                    <a:pt x="840" y="1738"/>
                  </a:lnTo>
                  <a:lnTo>
                    <a:pt x="844" y="1738"/>
                  </a:lnTo>
                  <a:lnTo>
                    <a:pt x="844" y="1742"/>
                  </a:lnTo>
                  <a:lnTo>
                    <a:pt x="842" y="1744"/>
                  </a:lnTo>
                  <a:lnTo>
                    <a:pt x="842" y="1746"/>
                  </a:lnTo>
                  <a:lnTo>
                    <a:pt x="844" y="1748"/>
                  </a:lnTo>
                  <a:lnTo>
                    <a:pt x="848" y="1750"/>
                  </a:lnTo>
                  <a:lnTo>
                    <a:pt x="848" y="1748"/>
                  </a:lnTo>
                  <a:lnTo>
                    <a:pt x="850" y="1746"/>
                  </a:lnTo>
                  <a:lnTo>
                    <a:pt x="852" y="1746"/>
                  </a:lnTo>
                  <a:lnTo>
                    <a:pt x="854" y="1748"/>
                  </a:lnTo>
                  <a:lnTo>
                    <a:pt x="856" y="1746"/>
                  </a:lnTo>
                  <a:lnTo>
                    <a:pt x="858" y="1744"/>
                  </a:lnTo>
                  <a:lnTo>
                    <a:pt x="864" y="1732"/>
                  </a:lnTo>
                  <a:lnTo>
                    <a:pt x="864" y="1730"/>
                  </a:lnTo>
                  <a:lnTo>
                    <a:pt x="864" y="1728"/>
                  </a:lnTo>
                  <a:lnTo>
                    <a:pt x="858" y="1726"/>
                  </a:lnTo>
                  <a:lnTo>
                    <a:pt x="844" y="1724"/>
                  </a:lnTo>
                  <a:lnTo>
                    <a:pt x="840" y="1722"/>
                  </a:lnTo>
                  <a:lnTo>
                    <a:pt x="838" y="1722"/>
                  </a:lnTo>
                  <a:lnTo>
                    <a:pt x="840" y="1718"/>
                  </a:lnTo>
                  <a:lnTo>
                    <a:pt x="842" y="1714"/>
                  </a:lnTo>
                  <a:lnTo>
                    <a:pt x="840" y="1710"/>
                  </a:lnTo>
                  <a:lnTo>
                    <a:pt x="838" y="1706"/>
                  </a:lnTo>
                  <a:lnTo>
                    <a:pt x="838" y="1700"/>
                  </a:lnTo>
                  <a:lnTo>
                    <a:pt x="840" y="1690"/>
                  </a:lnTo>
                  <a:lnTo>
                    <a:pt x="842" y="1686"/>
                  </a:lnTo>
                  <a:lnTo>
                    <a:pt x="844" y="1684"/>
                  </a:lnTo>
                  <a:lnTo>
                    <a:pt x="846" y="1680"/>
                  </a:lnTo>
                  <a:lnTo>
                    <a:pt x="848" y="1676"/>
                  </a:lnTo>
                  <a:lnTo>
                    <a:pt x="848" y="1670"/>
                  </a:lnTo>
                  <a:lnTo>
                    <a:pt x="846" y="1662"/>
                  </a:lnTo>
                  <a:lnTo>
                    <a:pt x="844" y="1658"/>
                  </a:lnTo>
                  <a:lnTo>
                    <a:pt x="844" y="1656"/>
                  </a:lnTo>
                  <a:lnTo>
                    <a:pt x="846" y="1652"/>
                  </a:lnTo>
                  <a:lnTo>
                    <a:pt x="850" y="1648"/>
                  </a:lnTo>
                  <a:lnTo>
                    <a:pt x="850" y="1646"/>
                  </a:lnTo>
                  <a:lnTo>
                    <a:pt x="846" y="1646"/>
                  </a:lnTo>
                  <a:lnTo>
                    <a:pt x="844" y="1650"/>
                  </a:lnTo>
                  <a:lnTo>
                    <a:pt x="838" y="1654"/>
                  </a:lnTo>
                  <a:lnTo>
                    <a:pt x="830" y="1656"/>
                  </a:lnTo>
                  <a:lnTo>
                    <a:pt x="824" y="1658"/>
                  </a:lnTo>
                  <a:lnTo>
                    <a:pt x="822" y="1660"/>
                  </a:lnTo>
                  <a:lnTo>
                    <a:pt x="814" y="1672"/>
                  </a:lnTo>
                  <a:lnTo>
                    <a:pt x="810" y="1676"/>
                  </a:lnTo>
                  <a:lnTo>
                    <a:pt x="804" y="1680"/>
                  </a:lnTo>
                  <a:lnTo>
                    <a:pt x="796" y="1684"/>
                  </a:lnTo>
                  <a:lnTo>
                    <a:pt x="786" y="1686"/>
                  </a:lnTo>
                  <a:lnTo>
                    <a:pt x="776" y="1686"/>
                  </a:lnTo>
                  <a:lnTo>
                    <a:pt x="768" y="1690"/>
                  </a:lnTo>
                  <a:lnTo>
                    <a:pt x="762" y="1694"/>
                  </a:lnTo>
                  <a:lnTo>
                    <a:pt x="758" y="1700"/>
                  </a:lnTo>
                  <a:lnTo>
                    <a:pt x="754" y="1708"/>
                  </a:lnTo>
                  <a:lnTo>
                    <a:pt x="752" y="1718"/>
                  </a:lnTo>
                  <a:lnTo>
                    <a:pt x="748" y="1736"/>
                  </a:lnTo>
                  <a:lnTo>
                    <a:pt x="748" y="1752"/>
                  </a:lnTo>
                  <a:lnTo>
                    <a:pt x="750" y="1762"/>
                  </a:lnTo>
                  <a:lnTo>
                    <a:pt x="752" y="1770"/>
                  </a:lnTo>
                  <a:lnTo>
                    <a:pt x="750" y="1778"/>
                  </a:lnTo>
                  <a:lnTo>
                    <a:pt x="746" y="1784"/>
                  </a:lnTo>
                  <a:lnTo>
                    <a:pt x="748" y="1786"/>
                  </a:lnTo>
                  <a:lnTo>
                    <a:pt x="750" y="1786"/>
                  </a:lnTo>
                  <a:lnTo>
                    <a:pt x="754" y="1790"/>
                  </a:lnTo>
                  <a:lnTo>
                    <a:pt x="758" y="1792"/>
                  </a:lnTo>
                  <a:lnTo>
                    <a:pt x="758" y="1790"/>
                  </a:lnTo>
                  <a:lnTo>
                    <a:pt x="758" y="1788"/>
                  </a:lnTo>
                  <a:lnTo>
                    <a:pt x="762" y="1790"/>
                  </a:lnTo>
                  <a:lnTo>
                    <a:pt x="764" y="1792"/>
                  </a:lnTo>
                  <a:lnTo>
                    <a:pt x="768" y="1792"/>
                  </a:lnTo>
                  <a:lnTo>
                    <a:pt x="772" y="1796"/>
                  </a:lnTo>
                  <a:lnTo>
                    <a:pt x="772" y="1804"/>
                  </a:lnTo>
                  <a:lnTo>
                    <a:pt x="770" y="1810"/>
                  </a:lnTo>
                  <a:lnTo>
                    <a:pt x="768" y="1808"/>
                  </a:lnTo>
                  <a:lnTo>
                    <a:pt x="766" y="1806"/>
                  </a:lnTo>
                  <a:lnTo>
                    <a:pt x="764" y="1806"/>
                  </a:lnTo>
                  <a:lnTo>
                    <a:pt x="764" y="1810"/>
                  </a:lnTo>
                  <a:lnTo>
                    <a:pt x="764" y="1814"/>
                  </a:lnTo>
                  <a:lnTo>
                    <a:pt x="768" y="1812"/>
                  </a:lnTo>
                  <a:lnTo>
                    <a:pt x="770" y="1812"/>
                  </a:lnTo>
                  <a:lnTo>
                    <a:pt x="770" y="1814"/>
                  </a:lnTo>
                  <a:lnTo>
                    <a:pt x="770" y="1826"/>
                  </a:lnTo>
                  <a:lnTo>
                    <a:pt x="770" y="1830"/>
                  </a:lnTo>
                  <a:lnTo>
                    <a:pt x="774" y="1836"/>
                  </a:lnTo>
                  <a:lnTo>
                    <a:pt x="784" y="1848"/>
                  </a:lnTo>
                  <a:lnTo>
                    <a:pt x="786" y="1850"/>
                  </a:lnTo>
                  <a:lnTo>
                    <a:pt x="786" y="1852"/>
                  </a:lnTo>
                  <a:lnTo>
                    <a:pt x="782" y="1854"/>
                  </a:lnTo>
                  <a:lnTo>
                    <a:pt x="774" y="1856"/>
                  </a:lnTo>
                  <a:lnTo>
                    <a:pt x="772" y="1858"/>
                  </a:lnTo>
                  <a:lnTo>
                    <a:pt x="770" y="1860"/>
                  </a:lnTo>
                  <a:lnTo>
                    <a:pt x="770" y="1864"/>
                  </a:lnTo>
                  <a:lnTo>
                    <a:pt x="776" y="1864"/>
                  </a:lnTo>
                  <a:lnTo>
                    <a:pt x="780" y="1862"/>
                  </a:lnTo>
                  <a:lnTo>
                    <a:pt x="780" y="1864"/>
                  </a:lnTo>
                  <a:lnTo>
                    <a:pt x="778" y="1866"/>
                  </a:lnTo>
                  <a:lnTo>
                    <a:pt x="778" y="1870"/>
                  </a:lnTo>
                  <a:lnTo>
                    <a:pt x="778" y="1872"/>
                  </a:lnTo>
                  <a:lnTo>
                    <a:pt x="782" y="1874"/>
                  </a:lnTo>
                  <a:lnTo>
                    <a:pt x="786" y="1876"/>
                  </a:lnTo>
                  <a:lnTo>
                    <a:pt x="784" y="1878"/>
                  </a:lnTo>
                  <a:lnTo>
                    <a:pt x="780" y="1880"/>
                  </a:lnTo>
                  <a:lnTo>
                    <a:pt x="780" y="1882"/>
                  </a:lnTo>
                  <a:lnTo>
                    <a:pt x="782" y="1886"/>
                  </a:lnTo>
                  <a:lnTo>
                    <a:pt x="790" y="1886"/>
                  </a:lnTo>
                  <a:lnTo>
                    <a:pt x="798" y="1890"/>
                  </a:lnTo>
                  <a:lnTo>
                    <a:pt x="804" y="1894"/>
                  </a:lnTo>
                  <a:lnTo>
                    <a:pt x="804" y="1898"/>
                  </a:lnTo>
                  <a:lnTo>
                    <a:pt x="800" y="1896"/>
                  </a:lnTo>
                  <a:lnTo>
                    <a:pt x="794" y="1892"/>
                  </a:lnTo>
                  <a:lnTo>
                    <a:pt x="786" y="1890"/>
                  </a:lnTo>
                  <a:lnTo>
                    <a:pt x="780" y="1890"/>
                  </a:lnTo>
                  <a:lnTo>
                    <a:pt x="772" y="1888"/>
                  </a:lnTo>
                  <a:lnTo>
                    <a:pt x="770" y="1888"/>
                  </a:lnTo>
                  <a:lnTo>
                    <a:pt x="768" y="1890"/>
                  </a:lnTo>
                  <a:lnTo>
                    <a:pt x="768" y="1900"/>
                  </a:lnTo>
                  <a:lnTo>
                    <a:pt x="770" y="1910"/>
                  </a:lnTo>
                  <a:lnTo>
                    <a:pt x="768" y="1916"/>
                  </a:lnTo>
                  <a:lnTo>
                    <a:pt x="766" y="1918"/>
                  </a:lnTo>
                  <a:lnTo>
                    <a:pt x="764" y="1920"/>
                  </a:lnTo>
                  <a:lnTo>
                    <a:pt x="764" y="1918"/>
                  </a:lnTo>
                  <a:lnTo>
                    <a:pt x="764" y="1914"/>
                  </a:lnTo>
                  <a:lnTo>
                    <a:pt x="764" y="1908"/>
                  </a:lnTo>
                  <a:lnTo>
                    <a:pt x="764" y="1906"/>
                  </a:lnTo>
                  <a:lnTo>
                    <a:pt x="762" y="1904"/>
                  </a:lnTo>
                  <a:lnTo>
                    <a:pt x="758" y="1904"/>
                  </a:lnTo>
                  <a:lnTo>
                    <a:pt x="756" y="1906"/>
                  </a:lnTo>
                  <a:lnTo>
                    <a:pt x="756" y="1912"/>
                  </a:lnTo>
                  <a:lnTo>
                    <a:pt x="754" y="1916"/>
                  </a:lnTo>
                  <a:lnTo>
                    <a:pt x="750" y="1914"/>
                  </a:lnTo>
                  <a:lnTo>
                    <a:pt x="748" y="1912"/>
                  </a:lnTo>
                  <a:lnTo>
                    <a:pt x="748" y="1910"/>
                  </a:lnTo>
                  <a:lnTo>
                    <a:pt x="750" y="1904"/>
                  </a:lnTo>
                  <a:lnTo>
                    <a:pt x="748" y="1902"/>
                  </a:lnTo>
                  <a:lnTo>
                    <a:pt x="746" y="1900"/>
                  </a:lnTo>
                  <a:lnTo>
                    <a:pt x="742" y="1898"/>
                  </a:lnTo>
                  <a:lnTo>
                    <a:pt x="734" y="1898"/>
                  </a:lnTo>
                  <a:lnTo>
                    <a:pt x="720" y="1898"/>
                  </a:lnTo>
                  <a:lnTo>
                    <a:pt x="714" y="1900"/>
                  </a:lnTo>
                  <a:lnTo>
                    <a:pt x="710" y="1906"/>
                  </a:lnTo>
                  <a:lnTo>
                    <a:pt x="708" y="1914"/>
                  </a:lnTo>
                  <a:lnTo>
                    <a:pt x="706" y="1916"/>
                  </a:lnTo>
                  <a:lnTo>
                    <a:pt x="706" y="1920"/>
                  </a:lnTo>
                  <a:lnTo>
                    <a:pt x="710" y="1922"/>
                  </a:lnTo>
                  <a:lnTo>
                    <a:pt x="714" y="1922"/>
                  </a:lnTo>
                  <a:lnTo>
                    <a:pt x="714" y="1924"/>
                  </a:lnTo>
                  <a:lnTo>
                    <a:pt x="712" y="1926"/>
                  </a:lnTo>
                  <a:lnTo>
                    <a:pt x="708" y="1926"/>
                  </a:lnTo>
                  <a:lnTo>
                    <a:pt x="706" y="1926"/>
                  </a:lnTo>
                  <a:lnTo>
                    <a:pt x="700" y="1918"/>
                  </a:lnTo>
                  <a:lnTo>
                    <a:pt x="696" y="1914"/>
                  </a:lnTo>
                  <a:lnTo>
                    <a:pt x="688" y="1914"/>
                  </a:lnTo>
                  <a:lnTo>
                    <a:pt x="664" y="1918"/>
                  </a:lnTo>
                  <a:lnTo>
                    <a:pt x="654" y="1920"/>
                  </a:lnTo>
                  <a:lnTo>
                    <a:pt x="646" y="1924"/>
                  </a:lnTo>
                  <a:lnTo>
                    <a:pt x="640" y="1926"/>
                  </a:lnTo>
                  <a:lnTo>
                    <a:pt x="636" y="1930"/>
                  </a:lnTo>
                  <a:lnTo>
                    <a:pt x="634" y="1934"/>
                  </a:lnTo>
                  <a:lnTo>
                    <a:pt x="634" y="1938"/>
                  </a:lnTo>
                  <a:lnTo>
                    <a:pt x="634" y="1940"/>
                  </a:lnTo>
                  <a:lnTo>
                    <a:pt x="636" y="1940"/>
                  </a:lnTo>
                  <a:lnTo>
                    <a:pt x="638" y="1940"/>
                  </a:lnTo>
                  <a:lnTo>
                    <a:pt x="640" y="1942"/>
                  </a:lnTo>
                  <a:lnTo>
                    <a:pt x="640" y="1946"/>
                  </a:lnTo>
                  <a:lnTo>
                    <a:pt x="640" y="1950"/>
                  </a:lnTo>
                  <a:lnTo>
                    <a:pt x="642" y="1950"/>
                  </a:lnTo>
                  <a:lnTo>
                    <a:pt x="644" y="1952"/>
                  </a:lnTo>
                  <a:lnTo>
                    <a:pt x="646" y="1952"/>
                  </a:lnTo>
                  <a:lnTo>
                    <a:pt x="646" y="1954"/>
                  </a:lnTo>
                  <a:lnTo>
                    <a:pt x="646" y="1958"/>
                  </a:lnTo>
                  <a:lnTo>
                    <a:pt x="646" y="1962"/>
                  </a:lnTo>
                  <a:lnTo>
                    <a:pt x="648" y="1964"/>
                  </a:lnTo>
                  <a:lnTo>
                    <a:pt x="650" y="1966"/>
                  </a:lnTo>
                  <a:lnTo>
                    <a:pt x="654" y="1968"/>
                  </a:lnTo>
                  <a:lnTo>
                    <a:pt x="656" y="1972"/>
                  </a:lnTo>
                  <a:lnTo>
                    <a:pt x="654" y="1976"/>
                  </a:lnTo>
                  <a:lnTo>
                    <a:pt x="652" y="1980"/>
                  </a:lnTo>
                  <a:lnTo>
                    <a:pt x="648" y="1984"/>
                  </a:lnTo>
                  <a:lnTo>
                    <a:pt x="644" y="1986"/>
                  </a:lnTo>
                  <a:lnTo>
                    <a:pt x="638" y="1988"/>
                  </a:lnTo>
                  <a:lnTo>
                    <a:pt x="634" y="1986"/>
                  </a:lnTo>
                  <a:lnTo>
                    <a:pt x="628" y="1980"/>
                  </a:lnTo>
                  <a:lnTo>
                    <a:pt x="624" y="1974"/>
                  </a:lnTo>
                  <a:lnTo>
                    <a:pt x="624" y="1970"/>
                  </a:lnTo>
                  <a:lnTo>
                    <a:pt x="624" y="1968"/>
                  </a:lnTo>
                  <a:lnTo>
                    <a:pt x="626" y="1966"/>
                  </a:lnTo>
                  <a:lnTo>
                    <a:pt x="630" y="1964"/>
                  </a:lnTo>
                  <a:lnTo>
                    <a:pt x="634" y="1960"/>
                  </a:lnTo>
                  <a:lnTo>
                    <a:pt x="632" y="1958"/>
                  </a:lnTo>
                  <a:lnTo>
                    <a:pt x="628" y="1956"/>
                  </a:lnTo>
                  <a:lnTo>
                    <a:pt x="626" y="1952"/>
                  </a:lnTo>
                  <a:lnTo>
                    <a:pt x="626" y="1946"/>
                  </a:lnTo>
                  <a:lnTo>
                    <a:pt x="630" y="1942"/>
                  </a:lnTo>
                  <a:lnTo>
                    <a:pt x="630" y="1940"/>
                  </a:lnTo>
                  <a:lnTo>
                    <a:pt x="628" y="1940"/>
                  </a:lnTo>
                  <a:lnTo>
                    <a:pt x="618" y="1946"/>
                  </a:lnTo>
                  <a:lnTo>
                    <a:pt x="614" y="1944"/>
                  </a:lnTo>
                  <a:lnTo>
                    <a:pt x="612" y="1946"/>
                  </a:lnTo>
                  <a:lnTo>
                    <a:pt x="610" y="1954"/>
                  </a:lnTo>
                  <a:lnTo>
                    <a:pt x="606" y="1968"/>
                  </a:lnTo>
                  <a:lnTo>
                    <a:pt x="604" y="1978"/>
                  </a:lnTo>
                  <a:lnTo>
                    <a:pt x="600" y="1986"/>
                  </a:lnTo>
                  <a:lnTo>
                    <a:pt x="592" y="2000"/>
                  </a:lnTo>
                  <a:lnTo>
                    <a:pt x="588" y="2004"/>
                  </a:lnTo>
                  <a:lnTo>
                    <a:pt x="586" y="2004"/>
                  </a:lnTo>
                  <a:lnTo>
                    <a:pt x="586" y="2008"/>
                  </a:lnTo>
                  <a:lnTo>
                    <a:pt x="586" y="2010"/>
                  </a:lnTo>
                  <a:lnTo>
                    <a:pt x="584" y="2012"/>
                  </a:lnTo>
                  <a:lnTo>
                    <a:pt x="578" y="2014"/>
                  </a:lnTo>
                  <a:lnTo>
                    <a:pt x="572" y="2016"/>
                  </a:lnTo>
                  <a:lnTo>
                    <a:pt x="570" y="2018"/>
                  </a:lnTo>
                  <a:lnTo>
                    <a:pt x="572" y="2020"/>
                  </a:lnTo>
                  <a:lnTo>
                    <a:pt x="578" y="2024"/>
                  </a:lnTo>
                  <a:lnTo>
                    <a:pt x="586" y="2024"/>
                  </a:lnTo>
                  <a:lnTo>
                    <a:pt x="590" y="2026"/>
                  </a:lnTo>
                  <a:lnTo>
                    <a:pt x="584" y="2030"/>
                  </a:lnTo>
                  <a:lnTo>
                    <a:pt x="570" y="2026"/>
                  </a:lnTo>
                  <a:lnTo>
                    <a:pt x="564" y="2026"/>
                  </a:lnTo>
                  <a:lnTo>
                    <a:pt x="562" y="2028"/>
                  </a:lnTo>
                  <a:lnTo>
                    <a:pt x="562" y="2030"/>
                  </a:lnTo>
                  <a:lnTo>
                    <a:pt x="562" y="2032"/>
                  </a:lnTo>
                  <a:lnTo>
                    <a:pt x="568" y="2034"/>
                  </a:lnTo>
                  <a:lnTo>
                    <a:pt x="574" y="2036"/>
                  </a:lnTo>
                  <a:lnTo>
                    <a:pt x="580" y="2036"/>
                  </a:lnTo>
                  <a:lnTo>
                    <a:pt x="586" y="2036"/>
                  </a:lnTo>
                  <a:lnTo>
                    <a:pt x="588" y="2036"/>
                  </a:lnTo>
                  <a:lnTo>
                    <a:pt x="588" y="2038"/>
                  </a:lnTo>
                  <a:lnTo>
                    <a:pt x="588" y="2040"/>
                  </a:lnTo>
                  <a:lnTo>
                    <a:pt x="580" y="2042"/>
                  </a:lnTo>
                  <a:lnTo>
                    <a:pt x="576" y="2042"/>
                  </a:lnTo>
                  <a:lnTo>
                    <a:pt x="572" y="2042"/>
                  </a:lnTo>
                  <a:lnTo>
                    <a:pt x="566" y="2038"/>
                  </a:lnTo>
                  <a:lnTo>
                    <a:pt x="564" y="2038"/>
                  </a:lnTo>
                  <a:lnTo>
                    <a:pt x="558" y="2040"/>
                  </a:lnTo>
                  <a:lnTo>
                    <a:pt x="550" y="2044"/>
                  </a:lnTo>
                  <a:lnTo>
                    <a:pt x="540" y="2048"/>
                  </a:lnTo>
                  <a:lnTo>
                    <a:pt x="532" y="2054"/>
                  </a:lnTo>
                  <a:lnTo>
                    <a:pt x="524" y="2058"/>
                  </a:lnTo>
                  <a:lnTo>
                    <a:pt x="504" y="2060"/>
                  </a:lnTo>
                  <a:lnTo>
                    <a:pt x="492" y="2064"/>
                  </a:lnTo>
                  <a:lnTo>
                    <a:pt x="488" y="2068"/>
                  </a:lnTo>
                  <a:lnTo>
                    <a:pt x="486" y="2070"/>
                  </a:lnTo>
                  <a:lnTo>
                    <a:pt x="484" y="2074"/>
                  </a:lnTo>
                  <a:lnTo>
                    <a:pt x="484" y="2078"/>
                  </a:lnTo>
                  <a:lnTo>
                    <a:pt x="486" y="2086"/>
                  </a:lnTo>
                  <a:lnTo>
                    <a:pt x="484" y="2090"/>
                  </a:lnTo>
                  <a:lnTo>
                    <a:pt x="484" y="2094"/>
                  </a:lnTo>
                  <a:lnTo>
                    <a:pt x="486" y="2098"/>
                  </a:lnTo>
                  <a:lnTo>
                    <a:pt x="486" y="2100"/>
                  </a:lnTo>
                  <a:lnTo>
                    <a:pt x="484" y="2100"/>
                  </a:lnTo>
                  <a:lnTo>
                    <a:pt x="484" y="2102"/>
                  </a:lnTo>
                  <a:lnTo>
                    <a:pt x="486" y="2106"/>
                  </a:lnTo>
                  <a:lnTo>
                    <a:pt x="488" y="2108"/>
                  </a:lnTo>
                  <a:lnTo>
                    <a:pt x="486" y="2110"/>
                  </a:lnTo>
                  <a:lnTo>
                    <a:pt x="482" y="2112"/>
                  </a:lnTo>
                  <a:lnTo>
                    <a:pt x="480" y="2114"/>
                  </a:lnTo>
                  <a:lnTo>
                    <a:pt x="478" y="2118"/>
                  </a:lnTo>
                  <a:lnTo>
                    <a:pt x="472" y="2120"/>
                  </a:lnTo>
                  <a:lnTo>
                    <a:pt x="444" y="2132"/>
                  </a:lnTo>
                  <a:lnTo>
                    <a:pt x="434" y="2136"/>
                  </a:lnTo>
                  <a:lnTo>
                    <a:pt x="428" y="2140"/>
                  </a:lnTo>
                  <a:lnTo>
                    <a:pt x="426" y="2144"/>
                  </a:lnTo>
                  <a:lnTo>
                    <a:pt x="426" y="2146"/>
                  </a:lnTo>
                  <a:lnTo>
                    <a:pt x="426" y="2150"/>
                  </a:lnTo>
                  <a:lnTo>
                    <a:pt x="428" y="2152"/>
                  </a:lnTo>
                  <a:lnTo>
                    <a:pt x="432" y="2154"/>
                  </a:lnTo>
                  <a:lnTo>
                    <a:pt x="434" y="2154"/>
                  </a:lnTo>
                  <a:lnTo>
                    <a:pt x="432" y="2156"/>
                  </a:lnTo>
                  <a:lnTo>
                    <a:pt x="420" y="2162"/>
                  </a:lnTo>
                  <a:lnTo>
                    <a:pt x="416" y="2164"/>
                  </a:lnTo>
                  <a:lnTo>
                    <a:pt x="412" y="2164"/>
                  </a:lnTo>
                  <a:lnTo>
                    <a:pt x="402" y="2162"/>
                  </a:lnTo>
                  <a:lnTo>
                    <a:pt x="392" y="2158"/>
                  </a:lnTo>
                  <a:lnTo>
                    <a:pt x="384" y="2158"/>
                  </a:lnTo>
                  <a:lnTo>
                    <a:pt x="376" y="2160"/>
                  </a:lnTo>
                  <a:lnTo>
                    <a:pt x="374" y="2160"/>
                  </a:lnTo>
                  <a:lnTo>
                    <a:pt x="372" y="2156"/>
                  </a:lnTo>
                  <a:lnTo>
                    <a:pt x="372" y="2148"/>
                  </a:lnTo>
                  <a:lnTo>
                    <a:pt x="370" y="2142"/>
                  </a:lnTo>
                  <a:lnTo>
                    <a:pt x="368" y="2140"/>
                  </a:lnTo>
                  <a:lnTo>
                    <a:pt x="364" y="2140"/>
                  </a:lnTo>
                  <a:lnTo>
                    <a:pt x="356" y="2140"/>
                  </a:lnTo>
                  <a:lnTo>
                    <a:pt x="348" y="2140"/>
                  </a:lnTo>
                  <a:lnTo>
                    <a:pt x="346" y="2138"/>
                  </a:lnTo>
                  <a:lnTo>
                    <a:pt x="346" y="2142"/>
                  </a:lnTo>
                  <a:lnTo>
                    <a:pt x="348" y="2148"/>
                  </a:lnTo>
                  <a:lnTo>
                    <a:pt x="348" y="2152"/>
                  </a:lnTo>
                  <a:lnTo>
                    <a:pt x="348" y="2156"/>
                  </a:lnTo>
                  <a:lnTo>
                    <a:pt x="352" y="2160"/>
                  </a:lnTo>
                  <a:lnTo>
                    <a:pt x="356" y="2164"/>
                  </a:lnTo>
                  <a:lnTo>
                    <a:pt x="358" y="2172"/>
                  </a:lnTo>
                  <a:lnTo>
                    <a:pt x="360" y="2180"/>
                  </a:lnTo>
                  <a:lnTo>
                    <a:pt x="360" y="2188"/>
                  </a:lnTo>
                  <a:lnTo>
                    <a:pt x="360" y="2192"/>
                  </a:lnTo>
                  <a:lnTo>
                    <a:pt x="360" y="2194"/>
                  </a:lnTo>
                  <a:lnTo>
                    <a:pt x="362" y="2200"/>
                  </a:lnTo>
                  <a:lnTo>
                    <a:pt x="364" y="2202"/>
                  </a:lnTo>
                  <a:lnTo>
                    <a:pt x="358" y="2204"/>
                  </a:lnTo>
                  <a:lnTo>
                    <a:pt x="352" y="2204"/>
                  </a:lnTo>
                  <a:lnTo>
                    <a:pt x="350" y="2202"/>
                  </a:lnTo>
                  <a:lnTo>
                    <a:pt x="348" y="2198"/>
                  </a:lnTo>
                  <a:lnTo>
                    <a:pt x="346" y="2198"/>
                  </a:lnTo>
                  <a:lnTo>
                    <a:pt x="344" y="2198"/>
                  </a:lnTo>
                  <a:lnTo>
                    <a:pt x="344" y="2200"/>
                  </a:lnTo>
                  <a:lnTo>
                    <a:pt x="342" y="2202"/>
                  </a:lnTo>
                  <a:lnTo>
                    <a:pt x="338" y="2202"/>
                  </a:lnTo>
                  <a:lnTo>
                    <a:pt x="334" y="2202"/>
                  </a:lnTo>
                  <a:lnTo>
                    <a:pt x="332" y="2200"/>
                  </a:lnTo>
                  <a:lnTo>
                    <a:pt x="330" y="2198"/>
                  </a:lnTo>
                  <a:lnTo>
                    <a:pt x="326" y="2200"/>
                  </a:lnTo>
                  <a:lnTo>
                    <a:pt x="318" y="2206"/>
                  </a:lnTo>
                  <a:lnTo>
                    <a:pt x="314" y="2208"/>
                  </a:lnTo>
                  <a:lnTo>
                    <a:pt x="310" y="2206"/>
                  </a:lnTo>
                  <a:lnTo>
                    <a:pt x="302" y="2192"/>
                  </a:lnTo>
                  <a:lnTo>
                    <a:pt x="298" y="2186"/>
                  </a:lnTo>
                  <a:lnTo>
                    <a:pt x="296" y="2186"/>
                  </a:lnTo>
                  <a:lnTo>
                    <a:pt x="292" y="2188"/>
                  </a:lnTo>
                  <a:lnTo>
                    <a:pt x="286" y="2190"/>
                  </a:lnTo>
                  <a:lnTo>
                    <a:pt x="282" y="2190"/>
                  </a:lnTo>
                  <a:lnTo>
                    <a:pt x="280" y="2190"/>
                  </a:lnTo>
                  <a:lnTo>
                    <a:pt x="278" y="2194"/>
                  </a:lnTo>
                  <a:lnTo>
                    <a:pt x="278" y="2198"/>
                  </a:lnTo>
                  <a:lnTo>
                    <a:pt x="276" y="2200"/>
                  </a:lnTo>
                  <a:lnTo>
                    <a:pt x="270" y="2200"/>
                  </a:lnTo>
                  <a:lnTo>
                    <a:pt x="264" y="2198"/>
                  </a:lnTo>
                  <a:lnTo>
                    <a:pt x="260" y="2196"/>
                  </a:lnTo>
                  <a:lnTo>
                    <a:pt x="258" y="2198"/>
                  </a:lnTo>
                  <a:lnTo>
                    <a:pt x="250" y="2200"/>
                  </a:lnTo>
                  <a:lnTo>
                    <a:pt x="240" y="2202"/>
                  </a:lnTo>
                  <a:lnTo>
                    <a:pt x="234" y="2206"/>
                  </a:lnTo>
                  <a:lnTo>
                    <a:pt x="230" y="2212"/>
                  </a:lnTo>
                  <a:lnTo>
                    <a:pt x="230" y="2216"/>
                  </a:lnTo>
                  <a:lnTo>
                    <a:pt x="232" y="2218"/>
                  </a:lnTo>
                  <a:lnTo>
                    <a:pt x="236" y="2218"/>
                  </a:lnTo>
                  <a:lnTo>
                    <a:pt x="240" y="2218"/>
                  </a:lnTo>
                  <a:lnTo>
                    <a:pt x="244" y="2218"/>
                  </a:lnTo>
                  <a:lnTo>
                    <a:pt x="246" y="2220"/>
                  </a:lnTo>
                  <a:lnTo>
                    <a:pt x="242" y="2220"/>
                  </a:lnTo>
                  <a:lnTo>
                    <a:pt x="238" y="2222"/>
                  </a:lnTo>
                  <a:lnTo>
                    <a:pt x="238" y="2224"/>
                  </a:lnTo>
                  <a:lnTo>
                    <a:pt x="236" y="2226"/>
                  </a:lnTo>
                  <a:lnTo>
                    <a:pt x="238" y="2228"/>
                  </a:lnTo>
                  <a:lnTo>
                    <a:pt x="242" y="2228"/>
                  </a:lnTo>
                  <a:lnTo>
                    <a:pt x="246" y="2228"/>
                  </a:lnTo>
                  <a:lnTo>
                    <a:pt x="250" y="2230"/>
                  </a:lnTo>
                  <a:lnTo>
                    <a:pt x="246" y="2232"/>
                  </a:lnTo>
                  <a:lnTo>
                    <a:pt x="240" y="2234"/>
                  </a:lnTo>
                  <a:lnTo>
                    <a:pt x="234" y="2234"/>
                  </a:lnTo>
                  <a:lnTo>
                    <a:pt x="234" y="2236"/>
                  </a:lnTo>
                  <a:lnTo>
                    <a:pt x="236" y="2238"/>
                  </a:lnTo>
                  <a:lnTo>
                    <a:pt x="242" y="2244"/>
                  </a:lnTo>
                  <a:lnTo>
                    <a:pt x="244" y="2248"/>
                  </a:lnTo>
                  <a:lnTo>
                    <a:pt x="248" y="2250"/>
                  </a:lnTo>
                  <a:lnTo>
                    <a:pt x="252" y="2250"/>
                  </a:lnTo>
                  <a:lnTo>
                    <a:pt x="258" y="2248"/>
                  </a:lnTo>
                  <a:lnTo>
                    <a:pt x="264" y="2248"/>
                  </a:lnTo>
                  <a:lnTo>
                    <a:pt x="280" y="2254"/>
                  </a:lnTo>
                  <a:lnTo>
                    <a:pt x="286" y="2258"/>
                  </a:lnTo>
                  <a:lnTo>
                    <a:pt x="292" y="2260"/>
                  </a:lnTo>
                  <a:lnTo>
                    <a:pt x="296" y="2262"/>
                  </a:lnTo>
                  <a:lnTo>
                    <a:pt x="302" y="2262"/>
                  </a:lnTo>
                  <a:lnTo>
                    <a:pt x="306" y="2262"/>
                  </a:lnTo>
                  <a:lnTo>
                    <a:pt x="306" y="2266"/>
                  </a:lnTo>
                  <a:lnTo>
                    <a:pt x="306" y="2268"/>
                  </a:lnTo>
                  <a:lnTo>
                    <a:pt x="314" y="2268"/>
                  </a:lnTo>
                  <a:lnTo>
                    <a:pt x="318" y="2268"/>
                  </a:lnTo>
                  <a:lnTo>
                    <a:pt x="322" y="2268"/>
                  </a:lnTo>
                  <a:lnTo>
                    <a:pt x="324" y="2270"/>
                  </a:lnTo>
                  <a:lnTo>
                    <a:pt x="322" y="2272"/>
                  </a:lnTo>
                  <a:lnTo>
                    <a:pt x="320" y="2276"/>
                  </a:lnTo>
                  <a:lnTo>
                    <a:pt x="320" y="2280"/>
                  </a:lnTo>
                  <a:lnTo>
                    <a:pt x="322" y="2282"/>
                  </a:lnTo>
                  <a:lnTo>
                    <a:pt x="330" y="2282"/>
                  </a:lnTo>
                  <a:lnTo>
                    <a:pt x="334" y="2282"/>
                  </a:lnTo>
                  <a:lnTo>
                    <a:pt x="334" y="2286"/>
                  </a:lnTo>
                  <a:lnTo>
                    <a:pt x="332" y="2290"/>
                  </a:lnTo>
                  <a:lnTo>
                    <a:pt x="334" y="2290"/>
                  </a:lnTo>
                  <a:lnTo>
                    <a:pt x="336" y="2292"/>
                  </a:lnTo>
                  <a:lnTo>
                    <a:pt x="340" y="2292"/>
                  </a:lnTo>
                  <a:lnTo>
                    <a:pt x="342" y="2294"/>
                  </a:lnTo>
                  <a:lnTo>
                    <a:pt x="342" y="2298"/>
                  </a:lnTo>
                  <a:lnTo>
                    <a:pt x="338" y="2300"/>
                  </a:lnTo>
                  <a:lnTo>
                    <a:pt x="336" y="2302"/>
                  </a:lnTo>
                  <a:lnTo>
                    <a:pt x="336" y="2306"/>
                  </a:lnTo>
                  <a:lnTo>
                    <a:pt x="340" y="2314"/>
                  </a:lnTo>
                  <a:lnTo>
                    <a:pt x="348" y="2324"/>
                  </a:lnTo>
                  <a:lnTo>
                    <a:pt x="358" y="2332"/>
                  </a:lnTo>
                  <a:lnTo>
                    <a:pt x="368" y="2336"/>
                  </a:lnTo>
                  <a:lnTo>
                    <a:pt x="374" y="2338"/>
                  </a:lnTo>
                  <a:lnTo>
                    <a:pt x="376" y="2338"/>
                  </a:lnTo>
                  <a:lnTo>
                    <a:pt x="374" y="2342"/>
                  </a:lnTo>
                  <a:lnTo>
                    <a:pt x="374" y="2346"/>
                  </a:lnTo>
                  <a:lnTo>
                    <a:pt x="376" y="2348"/>
                  </a:lnTo>
                  <a:lnTo>
                    <a:pt x="378" y="2352"/>
                  </a:lnTo>
                  <a:lnTo>
                    <a:pt x="378" y="2360"/>
                  </a:lnTo>
                  <a:lnTo>
                    <a:pt x="376" y="2364"/>
                  </a:lnTo>
                  <a:lnTo>
                    <a:pt x="374" y="2366"/>
                  </a:lnTo>
                  <a:lnTo>
                    <a:pt x="370" y="2368"/>
                  </a:lnTo>
                  <a:lnTo>
                    <a:pt x="370" y="2370"/>
                  </a:lnTo>
                  <a:lnTo>
                    <a:pt x="378" y="2376"/>
                  </a:lnTo>
                  <a:lnTo>
                    <a:pt x="388" y="2382"/>
                  </a:lnTo>
                  <a:lnTo>
                    <a:pt x="392" y="2388"/>
                  </a:lnTo>
                  <a:lnTo>
                    <a:pt x="394" y="2396"/>
                  </a:lnTo>
                  <a:lnTo>
                    <a:pt x="394" y="2402"/>
                  </a:lnTo>
                  <a:lnTo>
                    <a:pt x="394" y="2404"/>
                  </a:lnTo>
                  <a:lnTo>
                    <a:pt x="392" y="2398"/>
                  </a:lnTo>
                  <a:lnTo>
                    <a:pt x="388" y="2388"/>
                  </a:lnTo>
                  <a:lnTo>
                    <a:pt x="384" y="2384"/>
                  </a:lnTo>
                  <a:lnTo>
                    <a:pt x="380" y="2382"/>
                  </a:lnTo>
                  <a:lnTo>
                    <a:pt x="378" y="2390"/>
                  </a:lnTo>
                  <a:lnTo>
                    <a:pt x="372" y="2410"/>
                  </a:lnTo>
                  <a:lnTo>
                    <a:pt x="370" y="2426"/>
                  </a:lnTo>
                  <a:lnTo>
                    <a:pt x="372" y="2428"/>
                  </a:lnTo>
                  <a:lnTo>
                    <a:pt x="374" y="2426"/>
                  </a:lnTo>
                  <a:lnTo>
                    <a:pt x="376" y="2426"/>
                  </a:lnTo>
                  <a:lnTo>
                    <a:pt x="378" y="2426"/>
                  </a:lnTo>
                  <a:lnTo>
                    <a:pt x="378" y="2430"/>
                  </a:lnTo>
                  <a:lnTo>
                    <a:pt x="376" y="2432"/>
                  </a:lnTo>
                  <a:lnTo>
                    <a:pt x="374" y="2432"/>
                  </a:lnTo>
                  <a:lnTo>
                    <a:pt x="372" y="2436"/>
                  </a:lnTo>
                  <a:lnTo>
                    <a:pt x="370" y="2460"/>
                  </a:lnTo>
                  <a:lnTo>
                    <a:pt x="366" y="2480"/>
                  </a:lnTo>
                  <a:lnTo>
                    <a:pt x="362" y="2492"/>
                  </a:lnTo>
                  <a:lnTo>
                    <a:pt x="358" y="2500"/>
                  </a:lnTo>
                  <a:lnTo>
                    <a:pt x="352" y="2502"/>
                  </a:lnTo>
                  <a:lnTo>
                    <a:pt x="342" y="2506"/>
                  </a:lnTo>
                  <a:lnTo>
                    <a:pt x="334" y="2506"/>
                  </a:lnTo>
                  <a:lnTo>
                    <a:pt x="326" y="2504"/>
                  </a:lnTo>
                  <a:lnTo>
                    <a:pt x="314" y="2500"/>
                  </a:lnTo>
                  <a:lnTo>
                    <a:pt x="308" y="2500"/>
                  </a:lnTo>
                  <a:lnTo>
                    <a:pt x="300" y="2502"/>
                  </a:lnTo>
                  <a:lnTo>
                    <a:pt x="286" y="2498"/>
                  </a:lnTo>
                  <a:lnTo>
                    <a:pt x="278" y="2496"/>
                  </a:lnTo>
                  <a:lnTo>
                    <a:pt x="270" y="2496"/>
                  </a:lnTo>
                  <a:lnTo>
                    <a:pt x="252" y="2498"/>
                  </a:lnTo>
                  <a:lnTo>
                    <a:pt x="232" y="2498"/>
                  </a:lnTo>
                  <a:lnTo>
                    <a:pt x="220" y="2498"/>
                  </a:lnTo>
                  <a:lnTo>
                    <a:pt x="206" y="2494"/>
                  </a:lnTo>
                  <a:lnTo>
                    <a:pt x="192" y="2490"/>
                  </a:lnTo>
                  <a:lnTo>
                    <a:pt x="182" y="2490"/>
                  </a:lnTo>
                  <a:lnTo>
                    <a:pt x="172" y="2492"/>
                  </a:lnTo>
                  <a:lnTo>
                    <a:pt x="154" y="2492"/>
                  </a:lnTo>
                  <a:lnTo>
                    <a:pt x="142" y="2492"/>
                  </a:lnTo>
                  <a:lnTo>
                    <a:pt x="134" y="2490"/>
                  </a:lnTo>
                  <a:lnTo>
                    <a:pt x="120" y="2486"/>
                  </a:lnTo>
                  <a:lnTo>
                    <a:pt x="110" y="2482"/>
                  </a:lnTo>
                  <a:lnTo>
                    <a:pt x="104" y="2484"/>
                  </a:lnTo>
                  <a:lnTo>
                    <a:pt x="98" y="2486"/>
                  </a:lnTo>
                  <a:lnTo>
                    <a:pt x="92" y="2490"/>
                  </a:lnTo>
                  <a:lnTo>
                    <a:pt x="88" y="2492"/>
                  </a:lnTo>
                  <a:lnTo>
                    <a:pt x="86" y="2500"/>
                  </a:lnTo>
                  <a:lnTo>
                    <a:pt x="86" y="2504"/>
                  </a:lnTo>
                  <a:lnTo>
                    <a:pt x="82" y="2506"/>
                  </a:lnTo>
                  <a:lnTo>
                    <a:pt x="78" y="2506"/>
                  </a:lnTo>
                  <a:lnTo>
                    <a:pt x="72" y="2506"/>
                  </a:lnTo>
                  <a:lnTo>
                    <a:pt x="66" y="2508"/>
                  </a:lnTo>
                  <a:lnTo>
                    <a:pt x="54" y="2516"/>
                  </a:lnTo>
                  <a:lnTo>
                    <a:pt x="50" y="2520"/>
                  </a:lnTo>
                  <a:lnTo>
                    <a:pt x="48" y="2524"/>
                  </a:lnTo>
                  <a:lnTo>
                    <a:pt x="48" y="2528"/>
                  </a:lnTo>
                  <a:lnTo>
                    <a:pt x="50" y="2530"/>
                  </a:lnTo>
                  <a:lnTo>
                    <a:pt x="54" y="2534"/>
                  </a:lnTo>
                  <a:lnTo>
                    <a:pt x="56" y="2540"/>
                  </a:lnTo>
                  <a:lnTo>
                    <a:pt x="58" y="2546"/>
                  </a:lnTo>
                  <a:lnTo>
                    <a:pt x="60" y="2552"/>
                  </a:lnTo>
                  <a:lnTo>
                    <a:pt x="64" y="2560"/>
                  </a:lnTo>
                  <a:lnTo>
                    <a:pt x="64" y="2570"/>
                  </a:lnTo>
                  <a:lnTo>
                    <a:pt x="64" y="2578"/>
                  </a:lnTo>
                  <a:lnTo>
                    <a:pt x="66" y="2588"/>
                  </a:lnTo>
                  <a:lnTo>
                    <a:pt x="64" y="2594"/>
                  </a:lnTo>
                  <a:lnTo>
                    <a:pt x="66" y="2596"/>
                  </a:lnTo>
                  <a:lnTo>
                    <a:pt x="68" y="2600"/>
                  </a:lnTo>
                  <a:lnTo>
                    <a:pt x="66" y="2602"/>
                  </a:lnTo>
                  <a:lnTo>
                    <a:pt x="66" y="2606"/>
                  </a:lnTo>
                  <a:lnTo>
                    <a:pt x="66" y="2612"/>
                  </a:lnTo>
                  <a:lnTo>
                    <a:pt x="74" y="2628"/>
                  </a:lnTo>
                  <a:lnTo>
                    <a:pt x="74" y="2632"/>
                  </a:lnTo>
                  <a:lnTo>
                    <a:pt x="74" y="2640"/>
                  </a:lnTo>
                  <a:lnTo>
                    <a:pt x="70" y="2654"/>
                  </a:lnTo>
                  <a:lnTo>
                    <a:pt x="66" y="2670"/>
                  </a:lnTo>
                  <a:lnTo>
                    <a:pt x="64" y="2680"/>
                  </a:lnTo>
                  <a:lnTo>
                    <a:pt x="66" y="2684"/>
                  </a:lnTo>
                  <a:lnTo>
                    <a:pt x="64" y="2688"/>
                  </a:lnTo>
                  <a:lnTo>
                    <a:pt x="60" y="2694"/>
                  </a:lnTo>
                  <a:lnTo>
                    <a:pt x="56" y="2708"/>
                  </a:lnTo>
                  <a:lnTo>
                    <a:pt x="54" y="2716"/>
                  </a:lnTo>
                  <a:lnTo>
                    <a:pt x="50" y="2720"/>
                  </a:lnTo>
                  <a:lnTo>
                    <a:pt x="46" y="2724"/>
                  </a:lnTo>
                  <a:lnTo>
                    <a:pt x="44" y="2726"/>
                  </a:lnTo>
                  <a:lnTo>
                    <a:pt x="44" y="2730"/>
                  </a:lnTo>
                  <a:lnTo>
                    <a:pt x="44" y="2734"/>
                  </a:lnTo>
                  <a:lnTo>
                    <a:pt x="44" y="2740"/>
                  </a:lnTo>
                  <a:lnTo>
                    <a:pt x="40" y="2750"/>
                  </a:lnTo>
                  <a:lnTo>
                    <a:pt x="38" y="2756"/>
                  </a:lnTo>
                  <a:lnTo>
                    <a:pt x="38" y="2760"/>
                  </a:lnTo>
                  <a:lnTo>
                    <a:pt x="40" y="2762"/>
                  </a:lnTo>
                  <a:lnTo>
                    <a:pt x="44" y="2764"/>
                  </a:lnTo>
                  <a:lnTo>
                    <a:pt x="52" y="2764"/>
                  </a:lnTo>
                  <a:lnTo>
                    <a:pt x="50" y="2766"/>
                  </a:lnTo>
                  <a:lnTo>
                    <a:pt x="50" y="2770"/>
                  </a:lnTo>
                  <a:lnTo>
                    <a:pt x="50" y="2772"/>
                  </a:lnTo>
                  <a:lnTo>
                    <a:pt x="50" y="2776"/>
                  </a:lnTo>
                  <a:lnTo>
                    <a:pt x="50" y="2778"/>
                  </a:lnTo>
                  <a:lnTo>
                    <a:pt x="52" y="2778"/>
                  </a:lnTo>
                  <a:lnTo>
                    <a:pt x="58" y="2776"/>
                  </a:lnTo>
                  <a:lnTo>
                    <a:pt x="64" y="2778"/>
                  </a:lnTo>
                  <a:lnTo>
                    <a:pt x="66" y="2780"/>
                  </a:lnTo>
                  <a:lnTo>
                    <a:pt x="66" y="2782"/>
                  </a:lnTo>
                  <a:lnTo>
                    <a:pt x="68" y="2788"/>
                  </a:lnTo>
                  <a:lnTo>
                    <a:pt x="66" y="2794"/>
                  </a:lnTo>
                  <a:lnTo>
                    <a:pt x="64" y="2804"/>
                  </a:lnTo>
                  <a:lnTo>
                    <a:pt x="66" y="2810"/>
                  </a:lnTo>
                  <a:lnTo>
                    <a:pt x="66" y="2820"/>
                  </a:lnTo>
                  <a:lnTo>
                    <a:pt x="62" y="2842"/>
                  </a:lnTo>
                  <a:lnTo>
                    <a:pt x="60" y="2856"/>
                  </a:lnTo>
                  <a:lnTo>
                    <a:pt x="62" y="2856"/>
                  </a:lnTo>
                  <a:lnTo>
                    <a:pt x="64" y="2856"/>
                  </a:lnTo>
                  <a:lnTo>
                    <a:pt x="68" y="2852"/>
                  </a:lnTo>
                  <a:lnTo>
                    <a:pt x="72" y="2850"/>
                  </a:lnTo>
                  <a:lnTo>
                    <a:pt x="80" y="2850"/>
                  </a:lnTo>
                  <a:lnTo>
                    <a:pt x="92" y="2854"/>
                  </a:lnTo>
                  <a:lnTo>
                    <a:pt x="104" y="2858"/>
                  </a:lnTo>
                  <a:lnTo>
                    <a:pt x="110" y="2856"/>
                  </a:lnTo>
                  <a:lnTo>
                    <a:pt x="114" y="2852"/>
                  </a:lnTo>
                  <a:lnTo>
                    <a:pt x="124" y="2846"/>
                  </a:lnTo>
                  <a:lnTo>
                    <a:pt x="130" y="2844"/>
                  </a:lnTo>
                  <a:lnTo>
                    <a:pt x="136" y="2844"/>
                  </a:lnTo>
                  <a:lnTo>
                    <a:pt x="142" y="2846"/>
                  </a:lnTo>
                  <a:lnTo>
                    <a:pt x="148" y="2850"/>
                  </a:lnTo>
                  <a:lnTo>
                    <a:pt x="158" y="2858"/>
                  </a:lnTo>
                  <a:lnTo>
                    <a:pt x="160" y="2862"/>
                  </a:lnTo>
                  <a:lnTo>
                    <a:pt x="162" y="2866"/>
                  </a:lnTo>
                  <a:lnTo>
                    <a:pt x="162" y="2874"/>
                  </a:lnTo>
                  <a:lnTo>
                    <a:pt x="166" y="2882"/>
                  </a:lnTo>
                  <a:lnTo>
                    <a:pt x="174" y="2892"/>
                  </a:lnTo>
                  <a:lnTo>
                    <a:pt x="182" y="2902"/>
                  </a:lnTo>
                  <a:lnTo>
                    <a:pt x="190" y="2908"/>
                  </a:lnTo>
                  <a:lnTo>
                    <a:pt x="196" y="2910"/>
                  </a:lnTo>
                  <a:lnTo>
                    <a:pt x="198" y="2910"/>
                  </a:lnTo>
                  <a:lnTo>
                    <a:pt x="202" y="2906"/>
                  </a:lnTo>
                  <a:lnTo>
                    <a:pt x="206" y="2902"/>
                  </a:lnTo>
                  <a:lnTo>
                    <a:pt x="208" y="2898"/>
                  </a:lnTo>
                  <a:lnTo>
                    <a:pt x="212" y="2892"/>
                  </a:lnTo>
                  <a:lnTo>
                    <a:pt x="214" y="2888"/>
                  </a:lnTo>
                  <a:lnTo>
                    <a:pt x="218" y="2886"/>
                  </a:lnTo>
                  <a:lnTo>
                    <a:pt x="228" y="2884"/>
                  </a:lnTo>
                  <a:lnTo>
                    <a:pt x="236" y="2884"/>
                  </a:lnTo>
                  <a:lnTo>
                    <a:pt x="238" y="2882"/>
                  </a:lnTo>
                  <a:lnTo>
                    <a:pt x="240" y="2880"/>
                  </a:lnTo>
                  <a:lnTo>
                    <a:pt x="246" y="2874"/>
                  </a:lnTo>
                  <a:lnTo>
                    <a:pt x="254" y="2868"/>
                  </a:lnTo>
                  <a:lnTo>
                    <a:pt x="264" y="2868"/>
                  </a:lnTo>
                  <a:lnTo>
                    <a:pt x="270" y="2868"/>
                  </a:lnTo>
                  <a:lnTo>
                    <a:pt x="276" y="2870"/>
                  </a:lnTo>
                  <a:lnTo>
                    <a:pt x="284" y="2872"/>
                  </a:lnTo>
                  <a:lnTo>
                    <a:pt x="292" y="2874"/>
                  </a:lnTo>
                  <a:lnTo>
                    <a:pt x="310" y="2870"/>
                  </a:lnTo>
                  <a:lnTo>
                    <a:pt x="322" y="2868"/>
                  </a:lnTo>
                  <a:lnTo>
                    <a:pt x="328" y="2866"/>
                  </a:lnTo>
                  <a:lnTo>
                    <a:pt x="332" y="2868"/>
                  </a:lnTo>
                  <a:lnTo>
                    <a:pt x="336" y="2870"/>
                  </a:lnTo>
                  <a:lnTo>
                    <a:pt x="340" y="2866"/>
                  </a:lnTo>
                  <a:lnTo>
                    <a:pt x="346" y="2852"/>
                  </a:lnTo>
                  <a:lnTo>
                    <a:pt x="350" y="2844"/>
                  </a:lnTo>
                  <a:lnTo>
                    <a:pt x="356" y="2836"/>
                  </a:lnTo>
                  <a:lnTo>
                    <a:pt x="364" y="2830"/>
                  </a:lnTo>
                  <a:lnTo>
                    <a:pt x="374" y="2828"/>
                  </a:lnTo>
                  <a:lnTo>
                    <a:pt x="390" y="2826"/>
                  </a:lnTo>
                  <a:lnTo>
                    <a:pt x="392" y="2824"/>
                  </a:lnTo>
                  <a:lnTo>
                    <a:pt x="390" y="2818"/>
                  </a:lnTo>
                  <a:lnTo>
                    <a:pt x="392" y="2808"/>
                  </a:lnTo>
                  <a:lnTo>
                    <a:pt x="396" y="2798"/>
                  </a:lnTo>
                  <a:lnTo>
                    <a:pt x="402" y="2788"/>
                  </a:lnTo>
                  <a:lnTo>
                    <a:pt x="410" y="2780"/>
                  </a:lnTo>
                  <a:lnTo>
                    <a:pt x="424" y="2768"/>
                  </a:lnTo>
                  <a:lnTo>
                    <a:pt x="428" y="2764"/>
                  </a:lnTo>
                  <a:lnTo>
                    <a:pt x="430" y="2760"/>
                  </a:lnTo>
                  <a:lnTo>
                    <a:pt x="428" y="2756"/>
                  </a:lnTo>
                  <a:lnTo>
                    <a:pt x="422" y="2752"/>
                  </a:lnTo>
                  <a:lnTo>
                    <a:pt x="416" y="2746"/>
                  </a:lnTo>
                  <a:lnTo>
                    <a:pt x="412" y="2740"/>
                  </a:lnTo>
                  <a:lnTo>
                    <a:pt x="410" y="2734"/>
                  </a:lnTo>
                  <a:lnTo>
                    <a:pt x="410" y="2724"/>
                  </a:lnTo>
                  <a:lnTo>
                    <a:pt x="412" y="2714"/>
                  </a:lnTo>
                  <a:lnTo>
                    <a:pt x="418" y="2702"/>
                  </a:lnTo>
                  <a:lnTo>
                    <a:pt x="424" y="2690"/>
                  </a:lnTo>
                  <a:lnTo>
                    <a:pt x="438" y="2670"/>
                  </a:lnTo>
                  <a:lnTo>
                    <a:pt x="446" y="2664"/>
                  </a:lnTo>
                  <a:lnTo>
                    <a:pt x="450" y="2660"/>
                  </a:lnTo>
                  <a:lnTo>
                    <a:pt x="460" y="2656"/>
                  </a:lnTo>
                  <a:lnTo>
                    <a:pt x="460" y="2654"/>
                  </a:lnTo>
                  <a:lnTo>
                    <a:pt x="460" y="2652"/>
                  </a:lnTo>
                  <a:lnTo>
                    <a:pt x="454" y="2648"/>
                  </a:lnTo>
                  <a:lnTo>
                    <a:pt x="454" y="2646"/>
                  </a:lnTo>
                  <a:lnTo>
                    <a:pt x="454" y="2642"/>
                  </a:lnTo>
                  <a:lnTo>
                    <a:pt x="458" y="2638"/>
                  </a:lnTo>
                  <a:lnTo>
                    <a:pt x="466" y="2634"/>
                  </a:lnTo>
                  <a:lnTo>
                    <a:pt x="484" y="2628"/>
                  </a:lnTo>
                  <a:lnTo>
                    <a:pt x="502" y="2624"/>
                  </a:lnTo>
                  <a:lnTo>
                    <a:pt x="508" y="2620"/>
                  </a:lnTo>
                  <a:lnTo>
                    <a:pt x="510" y="2616"/>
                  </a:lnTo>
                  <a:lnTo>
                    <a:pt x="514" y="2612"/>
                  </a:lnTo>
                  <a:lnTo>
                    <a:pt x="520" y="2608"/>
                  </a:lnTo>
                  <a:lnTo>
                    <a:pt x="536" y="2600"/>
                  </a:lnTo>
                  <a:lnTo>
                    <a:pt x="544" y="2596"/>
                  </a:lnTo>
                  <a:lnTo>
                    <a:pt x="550" y="2590"/>
                  </a:lnTo>
                  <a:lnTo>
                    <a:pt x="552" y="2584"/>
                  </a:lnTo>
                  <a:lnTo>
                    <a:pt x="552" y="2580"/>
                  </a:lnTo>
                  <a:lnTo>
                    <a:pt x="550" y="2576"/>
                  </a:lnTo>
                  <a:lnTo>
                    <a:pt x="550" y="2572"/>
                  </a:lnTo>
                  <a:lnTo>
                    <a:pt x="550" y="2570"/>
                  </a:lnTo>
                  <a:lnTo>
                    <a:pt x="554" y="2566"/>
                  </a:lnTo>
                  <a:lnTo>
                    <a:pt x="556" y="2566"/>
                  </a:lnTo>
                  <a:lnTo>
                    <a:pt x="556" y="2562"/>
                  </a:lnTo>
                  <a:lnTo>
                    <a:pt x="554" y="2560"/>
                  </a:lnTo>
                  <a:lnTo>
                    <a:pt x="548" y="2554"/>
                  </a:lnTo>
                  <a:lnTo>
                    <a:pt x="548" y="2542"/>
                  </a:lnTo>
                  <a:lnTo>
                    <a:pt x="548" y="2536"/>
                  </a:lnTo>
                  <a:lnTo>
                    <a:pt x="548" y="2532"/>
                  </a:lnTo>
                  <a:lnTo>
                    <a:pt x="548" y="2524"/>
                  </a:lnTo>
                  <a:lnTo>
                    <a:pt x="548" y="2518"/>
                  </a:lnTo>
                  <a:lnTo>
                    <a:pt x="550" y="2514"/>
                  </a:lnTo>
                  <a:lnTo>
                    <a:pt x="556" y="2510"/>
                  </a:lnTo>
                  <a:lnTo>
                    <a:pt x="564" y="2508"/>
                  </a:lnTo>
                  <a:lnTo>
                    <a:pt x="572" y="2502"/>
                  </a:lnTo>
                  <a:lnTo>
                    <a:pt x="584" y="2494"/>
                  </a:lnTo>
                  <a:lnTo>
                    <a:pt x="586" y="2494"/>
                  </a:lnTo>
                  <a:lnTo>
                    <a:pt x="588" y="2494"/>
                  </a:lnTo>
                  <a:lnTo>
                    <a:pt x="590" y="2498"/>
                  </a:lnTo>
                  <a:lnTo>
                    <a:pt x="592" y="2500"/>
                  </a:lnTo>
                  <a:lnTo>
                    <a:pt x="598" y="2502"/>
                  </a:lnTo>
                  <a:lnTo>
                    <a:pt x="604" y="2502"/>
                  </a:lnTo>
                  <a:lnTo>
                    <a:pt x="608" y="2504"/>
                  </a:lnTo>
                  <a:lnTo>
                    <a:pt x="610" y="2506"/>
                  </a:lnTo>
                  <a:lnTo>
                    <a:pt x="616" y="2506"/>
                  </a:lnTo>
                  <a:lnTo>
                    <a:pt x="626" y="2504"/>
                  </a:lnTo>
                  <a:lnTo>
                    <a:pt x="630" y="2504"/>
                  </a:lnTo>
                  <a:lnTo>
                    <a:pt x="634" y="2506"/>
                  </a:lnTo>
                  <a:lnTo>
                    <a:pt x="640" y="2512"/>
                  </a:lnTo>
                  <a:lnTo>
                    <a:pt x="644" y="2516"/>
                  </a:lnTo>
                  <a:lnTo>
                    <a:pt x="646" y="2516"/>
                  </a:lnTo>
                  <a:lnTo>
                    <a:pt x="650" y="2514"/>
                  </a:lnTo>
                  <a:lnTo>
                    <a:pt x="654" y="2516"/>
                  </a:lnTo>
                  <a:lnTo>
                    <a:pt x="656" y="2518"/>
                  </a:lnTo>
                  <a:lnTo>
                    <a:pt x="660" y="2520"/>
                  </a:lnTo>
                  <a:lnTo>
                    <a:pt x="664" y="2520"/>
                  </a:lnTo>
                  <a:lnTo>
                    <a:pt x="678" y="2518"/>
                  </a:lnTo>
                  <a:lnTo>
                    <a:pt x="690" y="2512"/>
                  </a:lnTo>
                  <a:lnTo>
                    <a:pt x="692" y="2508"/>
                  </a:lnTo>
                  <a:lnTo>
                    <a:pt x="694" y="2506"/>
                  </a:lnTo>
                  <a:lnTo>
                    <a:pt x="694" y="2502"/>
                  </a:lnTo>
                  <a:lnTo>
                    <a:pt x="696" y="2500"/>
                  </a:lnTo>
                  <a:lnTo>
                    <a:pt x="704" y="2494"/>
                  </a:lnTo>
                  <a:lnTo>
                    <a:pt x="726" y="2482"/>
                  </a:lnTo>
                  <a:lnTo>
                    <a:pt x="738" y="2476"/>
                  </a:lnTo>
                  <a:lnTo>
                    <a:pt x="748" y="2472"/>
                  </a:lnTo>
                  <a:lnTo>
                    <a:pt x="754" y="2466"/>
                  </a:lnTo>
                  <a:lnTo>
                    <a:pt x="758" y="2462"/>
                  </a:lnTo>
                  <a:lnTo>
                    <a:pt x="762" y="2452"/>
                  </a:lnTo>
                  <a:lnTo>
                    <a:pt x="766" y="2448"/>
                  </a:lnTo>
                  <a:lnTo>
                    <a:pt x="774" y="2444"/>
                  </a:lnTo>
                  <a:lnTo>
                    <a:pt x="780" y="2444"/>
                  </a:lnTo>
                  <a:lnTo>
                    <a:pt x="786" y="2444"/>
                  </a:lnTo>
                  <a:lnTo>
                    <a:pt x="792" y="2448"/>
                  </a:lnTo>
                  <a:lnTo>
                    <a:pt x="798" y="2454"/>
                  </a:lnTo>
                  <a:lnTo>
                    <a:pt x="808" y="2462"/>
                  </a:lnTo>
                  <a:lnTo>
                    <a:pt x="814" y="2466"/>
                  </a:lnTo>
                  <a:lnTo>
                    <a:pt x="820" y="2466"/>
                  </a:lnTo>
                  <a:lnTo>
                    <a:pt x="826" y="2466"/>
                  </a:lnTo>
                  <a:lnTo>
                    <a:pt x="830" y="2468"/>
                  </a:lnTo>
                  <a:lnTo>
                    <a:pt x="832" y="2474"/>
                  </a:lnTo>
                  <a:lnTo>
                    <a:pt x="834" y="2480"/>
                  </a:lnTo>
                  <a:lnTo>
                    <a:pt x="836" y="2494"/>
                  </a:lnTo>
                  <a:lnTo>
                    <a:pt x="838" y="2500"/>
                  </a:lnTo>
                  <a:lnTo>
                    <a:pt x="842" y="2504"/>
                  </a:lnTo>
                  <a:lnTo>
                    <a:pt x="844" y="2508"/>
                  </a:lnTo>
                  <a:lnTo>
                    <a:pt x="846" y="2512"/>
                  </a:lnTo>
                  <a:lnTo>
                    <a:pt x="846" y="2518"/>
                  </a:lnTo>
                  <a:lnTo>
                    <a:pt x="846" y="2522"/>
                  </a:lnTo>
                  <a:lnTo>
                    <a:pt x="846" y="2526"/>
                  </a:lnTo>
                  <a:lnTo>
                    <a:pt x="848" y="2530"/>
                  </a:lnTo>
                  <a:lnTo>
                    <a:pt x="854" y="2536"/>
                  </a:lnTo>
                  <a:lnTo>
                    <a:pt x="870" y="2546"/>
                  </a:lnTo>
                  <a:lnTo>
                    <a:pt x="872" y="2550"/>
                  </a:lnTo>
                  <a:lnTo>
                    <a:pt x="872" y="2556"/>
                  </a:lnTo>
                  <a:lnTo>
                    <a:pt x="872" y="2560"/>
                  </a:lnTo>
                  <a:lnTo>
                    <a:pt x="874" y="2562"/>
                  </a:lnTo>
                  <a:lnTo>
                    <a:pt x="882" y="2564"/>
                  </a:lnTo>
                  <a:lnTo>
                    <a:pt x="890" y="2566"/>
                  </a:lnTo>
                  <a:lnTo>
                    <a:pt x="894" y="2570"/>
                  </a:lnTo>
                  <a:lnTo>
                    <a:pt x="898" y="2576"/>
                  </a:lnTo>
                  <a:lnTo>
                    <a:pt x="902" y="2584"/>
                  </a:lnTo>
                  <a:lnTo>
                    <a:pt x="906" y="2586"/>
                  </a:lnTo>
                  <a:lnTo>
                    <a:pt x="910" y="2588"/>
                  </a:lnTo>
                  <a:lnTo>
                    <a:pt x="920" y="2598"/>
                  </a:lnTo>
                  <a:lnTo>
                    <a:pt x="932" y="2612"/>
                  </a:lnTo>
                  <a:lnTo>
                    <a:pt x="944" y="2620"/>
                  </a:lnTo>
                  <a:lnTo>
                    <a:pt x="956" y="2624"/>
                  </a:lnTo>
                  <a:lnTo>
                    <a:pt x="970" y="2624"/>
                  </a:lnTo>
                  <a:lnTo>
                    <a:pt x="974" y="2626"/>
                  </a:lnTo>
                  <a:lnTo>
                    <a:pt x="978" y="2628"/>
                  </a:lnTo>
                  <a:lnTo>
                    <a:pt x="982" y="2638"/>
                  </a:lnTo>
                  <a:lnTo>
                    <a:pt x="988" y="2646"/>
                  </a:lnTo>
                  <a:lnTo>
                    <a:pt x="990" y="2650"/>
                  </a:lnTo>
                  <a:lnTo>
                    <a:pt x="996" y="2650"/>
                  </a:lnTo>
                  <a:lnTo>
                    <a:pt x="1002" y="2650"/>
                  </a:lnTo>
                  <a:lnTo>
                    <a:pt x="1004" y="2650"/>
                  </a:lnTo>
                  <a:lnTo>
                    <a:pt x="1004" y="2656"/>
                  </a:lnTo>
                  <a:lnTo>
                    <a:pt x="1002" y="2658"/>
                  </a:lnTo>
                  <a:lnTo>
                    <a:pt x="1004" y="2658"/>
                  </a:lnTo>
                  <a:lnTo>
                    <a:pt x="1006" y="2660"/>
                  </a:lnTo>
                  <a:lnTo>
                    <a:pt x="1012" y="2658"/>
                  </a:lnTo>
                  <a:lnTo>
                    <a:pt x="1018" y="2658"/>
                  </a:lnTo>
                  <a:lnTo>
                    <a:pt x="1020" y="2660"/>
                  </a:lnTo>
                  <a:lnTo>
                    <a:pt x="1022" y="2662"/>
                  </a:lnTo>
                  <a:lnTo>
                    <a:pt x="1022" y="2666"/>
                  </a:lnTo>
                  <a:lnTo>
                    <a:pt x="1022" y="2674"/>
                  </a:lnTo>
                  <a:lnTo>
                    <a:pt x="1024" y="2680"/>
                  </a:lnTo>
                  <a:lnTo>
                    <a:pt x="1030" y="2684"/>
                  </a:lnTo>
                  <a:lnTo>
                    <a:pt x="1040" y="2690"/>
                  </a:lnTo>
                  <a:lnTo>
                    <a:pt x="1050" y="2694"/>
                  </a:lnTo>
                  <a:lnTo>
                    <a:pt x="1054" y="2698"/>
                  </a:lnTo>
                  <a:lnTo>
                    <a:pt x="1058" y="2702"/>
                  </a:lnTo>
                  <a:lnTo>
                    <a:pt x="1062" y="2710"/>
                  </a:lnTo>
                  <a:lnTo>
                    <a:pt x="1066" y="2720"/>
                  </a:lnTo>
                  <a:lnTo>
                    <a:pt x="1070" y="2740"/>
                  </a:lnTo>
                  <a:lnTo>
                    <a:pt x="1072" y="2752"/>
                  </a:lnTo>
                  <a:lnTo>
                    <a:pt x="1072" y="2758"/>
                  </a:lnTo>
                  <a:lnTo>
                    <a:pt x="1066" y="2762"/>
                  </a:lnTo>
                  <a:lnTo>
                    <a:pt x="1064" y="2768"/>
                  </a:lnTo>
                  <a:lnTo>
                    <a:pt x="1064" y="2772"/>
                  </a:lnTo>
                  <a:lnTo>
                    <a:pt x="1062" y="2776"/>
                  </a:lnTo>
                  <a:lnTo>
                    <a:pt x="1060" y="2784"/>
                  </a:lnTo>
                  <a:lnTo>
                    <a:pt x="1054" y="2790"/>
                  </a:lnTo>
                  <a:lnTo>
                    <a:pt x="1052" y="2796"/>
                  </a:lnTo>
                  <a:lnTo>
                    <a:pt x="1054" y="2802"/>
                  </a:lnTo>
                  <a:lnTo>
                    <a:pt x="1058" y="2806"/>
                  </a:lnTo>
                  <a:lnTo>
                    <a:pt x="1064" y="2808"/>
                  </a:lnTo>
                  <a:lnTo>
                    <a:pt x="1068" y="2808"/>
                  </a:lnTo>
                  <a:lnTo>
                    <a:pt x="1070" y="2806"/>
                  </a:lnTo>
                  <a:lnTo>
                    <a:pt x="1072" y="2804"/>
                  </a:lnTo>
                  <a:lnTo>
                    <a:pt x="1076" y="2794"/>
                  </a:lnTo>
                  <a:lnTo>
                    <a:pt x="1084" y="2784"/>
                  </a:lnTo>
                  <a:lnTo>
                    <a:pt x="1088" y="2780"/>
                  </a:lnTo>
                  <a:lnTo>
                    <a:pt x="1090" y="2776"/>
                  </a:lnTo>
                  <a:lnTo>
                    <a:pt x="1092" y="2768"/>
                  </a:lnTo>
                  <a:lnTo>
                    <a:pt x="1096" y="2760"/>
                  </a:lnTo>
                  <a:lnTo>
                    <a:pt x="1098" y="2756"/>
                  </a:lnTo>
                  <a:lnTo>
                    <a:pt x="1104" y="2752"/>
                  </a:lnTo>
                  <a:lnTo>
                    <a:pt x="1110" y="2748"/>
                  </a:lnTo>
                  <a:lnTo>
                    <a:pt x="1114" y="2742"/>
                  </a:lnTo>
                  <a:lnTo>
                    <a:pt x="1116" y="2738"/>
                  </a:lnTo>
                  <a:lnTo>
                    <a:pt x="1114" y="2732"/>
                  </a:lnTo>
                  <a:lnTo>
                    <a:pt x="1112" y="2726"/>
                  </a:lnTo>
                  <a:lnTo>
                    <a:pt x="1108" y="2722"/>
                  </a:lnTo>
                  <a:lnTo>
                    <a:pt x="1104" y="2718"/>
                  </a:lnTo>
                  <a:lnTo>
                    <a:pt x="1098" y="2716"/>
                  </a:lnTo>
                  <a:lnTo>
                    <a:pt x="1090" y="2712"/>
                  </a:lnTo>
                  <a:lnTo>
                    <a:pt x="1086" y="2708"/>
                  </a:lnTo>
                  <a:lnTo>
                    <a:pt x="1086" y="2704"/>
                  </a:lnTo>
                  <a:lnTo>
                    <a:pt x="1090" y="2698"/>
                  </a:lnTo>
                  <a:lnTo>
                    <a:pt x="1092" y="2692"/>
                  </a:lnTo>
                  <a:lnTo>
                    <a:pt x="1094" y="2684"/>
                  </a:lnTo>
                  <a:lnTo>
                    <a:pt x="1096" y="2676"/>
                  </a:lnTo>
                  <a:lnTo>
                    <a:pt x="1100" y="2672"/>
                  </a:lnTo>
                  <a:lnTo>
                    <a:pt x="1104" y="2670"/>
                  </a:lnTo>
                  <a:lnTo>
                    <a:pt x="1112" y="2666"/>
                  </a:lnTo>
                  <a:lnTo>
                    <a:pt x="1116" y="2668"/>
                  </a:lnTo>
                  <a:lnTo>
                    <a:pt x="1124" y="2670"/>
                  </a:lnTo>
                  <a:lnTo>
                    <a:pt x="1134" y="2672"/>
                  </a:lnTo>
                  <a:lnTo>
                    <a:pt x="1140" y="2674"/>
                  </a:lnTo>
                  <a:lnTo>
                    <a:pt x="1144" y="2678"/>
                  </a:lnTo>
                  <a:lnTo>
                    <a:pt x="1148" y="2688"/>
                  </a:lnTo>
                  <a:lnTo>
                    <a:pt x="1150" y="2696"/>
                  </a:lnTo>
                  <a:lnTo>
                    <a:pt x="1154" y="2700"/>
                  </a:lnTo>
                  <a:lnTo>
                    <a:pt x="1158" y="2702"/>
                  </a:lnTo>
                  <a:lnTo>
                    <a:pt x="1166" y="2702"/>
                  </a:lnTo>
                  <a:lnTo>
                    <a:pt x="1166" y="2700"/>
                  </a:lnTo>
                  <a:lnTo>
                    <a:pt x="1166" y="2696"/>
                  </a:lnTo>
                  <a:lnTo>
                    <a:pt x="1168" y="2688"/>
                  </a:lnTo>
                  <a:lnTo>
                    <a:pt x="1168" y="2684"/>
                  </a:lnTo>
                  <a:lnTo>
                    <a:pt x="1168" y="2678"/>
                  </a:lnTo>
                  <a:lnTo>
                    <a:pt x="1166" y="2674"/>
                  </a:lnTo>
                  <a:lnTo>
                    <a:pt x="1162" y="2670"/>
                  </a:lnTo>
                  <a:lnTo>
                    <a:pt x="1152" y="2662"/>
                  </a:lnTo>
                  <a:lnTo>
                    <a:pt x="1142" y="2654"/>
                  </a:lnTo>
                  <a:lnTo>
                    <a:pt x="1126" y="2646"/>
                  </a:lnTo>
                  <a:lnTo>
                    <a:pt x="1120" y="2642"/>
                  </a:lnTo>
                  <a:lnTo>
                    <a:pt x="1114" y="2636"/>
                  </a:lnTo>
                  <a:lnTo>
                    <a:pt x="1110" y="2632"/>
                  </a:lnTo>
                  <a:lnTo>
                    <a:pt x="1102" y="2628"/>
                  </a:lnTo>
                  <a:lnTo>
                    <a:pt x="1082" y="2620"/>
                  </a:lnTo>
                  <a:lnTo>
                    <a:pt x="1074" y="2616"/>
                  </a:lnTo>
                  <a:lnTo>
                    <a:pt x="1068" y="2610"/>
                  </a:lnTo>
                  <a:lnTo>
                    <a:pt x="1066" y="2606"/>
                  </a:lnTo>
                  <a:lnTo>
                    <a:pt x="1066" y="2602"/>
                  </a:lnTo>
                  <a:lnTo>
                    <a:pt x="1070" y="2600"/>
                  </a:lnTo>
                  <a:lnTo>
                    <a:pt x="1074" y="2594"/>
                  </a:lnTo>
                  <a:lnTo>
                    <a:pt x="1076" y="2592"/>
                  </a:lnTo>
                  <a:lnTo>
                    <a:pt x="1074" y="2590"/>
                  </a:lnTo>
                  <a:lnTo>
                    <a:pt x="1068" y="2588"/>
                  </a:lnTo>
                  <a:lnTo>
                    <a:pt x="1060" y="2586"/>
                  </a:lnTo>
                  <a:lnTo>
                    <a:pt x="1036" y="2584"/>
                  </a:lnTo>
                  <a:lnTo>
                    <a:pt x="1026" y="2580"/>
                  </a:lnTo>
                  <a:lnTo>
                    <a:pt x="1016" y="2576"/>
                  </a:lnTo>
                  <a:lnTo>
                    <a:pt x="1002" y="2560"/>
                  </a:lnTo>
                  <a:lnTo>
                    <a:pt x="990" y="2544"/>
                  </a:lnTo>
                  <a:lnTo>
                    <a:pt x="984" y="2530"/>
                  </a:lnTo>
                  <a:lnTo>
                    <a:pt x="978" y="2518"/>
                  </a:lnTo>
                  <a:lnTo>
                    <a:pt x="974" y="2498"/>
                  </a:lnTo>
                  <a:lnTo>
                    <a:pt x="970" y="2492"/>
                  </a:lnTo>
                  <a:lnTo>
                    <a:pt x="966" y="2490"/>
                  </a:lnTo>
                  <a:lnTo>
                    <a:pt x="958" y="2488"/>
                  </a:lnTo>
                  <a:lnTo>
                    <a:pt x="950" y="2484"/>
                  </a:lnTo>
                  <a:lnTo>
                    <a:pt x="944" y="2476"/>
                  </a:lnTo>
                  <a:lnTo>
                    <a:pt x="934" y="2468"/>
                  </a:lnTo>
                  <a:lnTo>
                    <a:pt x="928" y="2462"/>
                  </a:lnTo>
                  <a:lnTo>
                    <a:pt x="922" y="2456"/>
                  </a:lnTo>
                  <a:lnTo>
                    <a:pt x="920" y="2448"/>
                  </a:lnTo>
                  <a:lnTo>
                    <a:pt x="918" y="2442"/>
                  </a:lnTo>
                  <a:lnTo>
                    <a:pt x="916" y="2434"/>
                  </a:lnTo>
                  <a:lnTo>
                    <a:pt x="918" y="2428"/>
                  </a:lnTo>
                  <a:lnTo>
                    <a:pt x="920" y="2424"/>
                  </a:lnTo>
                  <a:lnTo>
                    <a:pt x="922" y="2422"/>
                  </a:lnTo>
                  <a:lnTo>
                    <a:pt x="926" y="2420"/>
                  </a:lnTo>
                  <a:lnTo>
                    <a:pt x="928" y="2418"/>
                  </a:lnTo>
                  <a:lnTo>
                    <a:pt x="926" y="2414"/>
                  </a:lnTo>
                  <a:lnTo>
                    <a:pt x="918" y="2400"/>
                  </a:lnTo>
                  <a:lnTo>
                    <a:pt x="914" y="2394"/>
                  </a:lnTo>
                  <a:lnTo>
                    <a:pt x="916" y="2388"/>
                  </a:lnTo>
                  <a:lnTo>
                    <a:pt x="920" y="2384"/>
                  </a:lnTo>
                  <a:lnTo>
                    <a:pt x="924" y="2386"/>
                  </a:lnTo>
                  <a:lnTo>
                    <a:pt x="926" y="2388"/>
                  </a:lnTo>
                  <a:lnTo>
                    <a:pt x="930" y="2388"/>
                  </a:lnTo>
                  <a:lnTo>
                    <a:pt x="934" y="2384"/>
                  </a:lnTo>
                  <a:lnTo>
                    <a:pt x="940" y="2378"/>
                  </a:lnTo>
                  <a:lnTo>
                    <a:pt x="950" y="2372"/>
                  </a:lnTo>
                  <a:lnTo>
                    <a:pt x="956" y="2370"/>
                  </a:lnTo>
                  <a:lnTo>
                    <a:pt x="958" y="2372"/>
                  </a:lnTo>
                  <a:lnTo>
                    <a:pt x="960" y="2374"/>
                  </a:lnTo>
                  <a:lnTo>
                    <a:pt x="966" y="2374"/>
                  </a:lnTo>
                  <a:lnTo>
                    <a:pt x="972" y="2372"/>
                  </a:lnTo>
                  <a:lnTo>
                    <a:pt x="974" y="2374"/>
                  </a:lnTo>
                  <a:lnTo>
                    <a:pt x="974" y="2378"/>
                  </a:lnTo>
                  <a:lnTo>
                    <a:pt x="974" y="2380"/>
                  </a:lnTo>
                  <a:lnTo>
                    <a:pt x="972" y="2382"/>
                  </a:lnTo>
                  <a:lnTo>
                    <a:pt x="970" y="2382"/>
                  </a:lnTo>
                  <a:lnTo>
                    <a:pt x="968" y="2384"/>
                  </a:lnTo>
                  <a:lnTo>
                    <a:pt x="968" y="2386"/>
                  </a:lnTo>
                  <a:lnTo>
                    <a:pt x="970" y="2398"/>
                  </a:lnTo>
                  <a:lnTo>
                    <a:pt x="976" y="2414"/>
                  </a:lnTo>
                  <a:lnTo>
                    <a:pt x="982" y="2426"/>
                  </a:lnTo>
                  <a:lnTo>
                    <a:pt x="986" y="2428"/>
                  </a:lnTo>
                  <a:lnTo>
                    <a:pt x="988" y="2424"/>
                  </a:lnTo>
                  <a:lnTo>
                    <a:pt x="994" y="2402"/>
                  </a:lnTo>
                  <a:lnTo>
                    <a:pt x="996" y="2398"/>
                  </a:lnTo>
                  <a:lnTo>
                    <a:pt x="1000" y="2394"/>
                  </a:lnTo>
                  <a:lnTo>
                    <a:pt x="1004" y="2394"/>
                  </a:lnTo>
                  <a:lnTo>
                    <a:pt x="1008" y="2398"/>
                  </a:lnTo>
                  <a:lnTo>
                    <a:pt x="1016" y="2404"/>
                  </a:lnTo>
                  <a:lnTo>
                    <a:pt x="1020" y="2410"/>
                  </a:lnTo>
                  <a:lnTo>
                    <a:pt x="1022" y="2414"/>
                  </a:lnTo>
                  <a:lnTo>
                    <a:pt x="1022" y="2420"/>
                  </a:lnTo>
                  <a:lnTo>
                    <a:pt x="1024" y="2428"/>
                  </a:lnTo>
                  <a:lnTo>
                    <a:pt x="1026" y="2434"/>
                  </a:lnTo>
                  <a:lnTo>
                    <a:pt x="1030" y="2440"/>
                  </a:lnTo>
                  <a:lnTo>
                    <a:pt x="1034" y="2446"/>
                  </a:lnTo>
                  <a:lnTo>
                    <a:pt x="1036" y="2450"/>
                  </a:lnTo>
                  <a:lnTo>
                    <a:pt x="1036" y="2452"/>
                  </a:lnTo>
                  <a:lnTo>
                    <a:pt x="1034" y="2454"/>
                  </a:lnTo>
                  <a:lnTo>
                    <a:pt x="1034" y="2456"/>
                  </a:lnTo>
                  <a:lnTo>
                    <a:pt x="1034" y="2460"/>
                  </a:lnTo>
                  <a:lnTo>
                    <a:pt x="1038" y="2464"/>
                  </a:lnTo>
                  <a:lnTo>
                    <a:pt x="1046" y="2472"/>
                  </a:lnTo>
                  <a:lnTo>
                    <a:pt x="1056" y="2480"/>
                  </a:lnTo>
                  <a:lnTo>
                    <a:pt x="1062" y="2486"/>
                  </a:lnTo>
                  <a:lnTo>
                    <a:pt x="1066" y="2494"/>
                  </a:lnTo>
                  <a:lnTo>
                    <a:pt x="1066" y="2496"/>
                  </a:lnTo>
                  <a:lnTo>
                    <a:pt x="1068" y="2496"/>
                  </a:lnTo>
                  <a:lnTo>
                    <a:pt x="1076" y="2496"/>
                  </a:lnTo>
                  <a:lnTo>
                    <a:pt x="1084" y="2496"/>
                  </a:lnTo>
                  <a:lnTo>
                    <a:pt x="1090" y="2498"/>
                  </a:lnTo>
                  <a:lnTo>
                    <a:pt x="1102" y="2504"/>
                  </a:lnTo>
                  <a:lnTo>
                    <a:pt x="1114" y="2516"/>
                  </a:lnTo>
                  <a:lnTo>
                    <a:pt x="1128" y="2528"/>
                  </a:lnTo>
                  <a:lnTo>
                    <a:pt x="1114" y="2524"/>
                  </a:lnTo>
                  <a:lnTo>
                    <a:pt x="1110" y="2524"/>
                  </a:lnTo>
                  <a:lnTo>
                    <a:pt x="1110" y="2526"/>
                  </a:lnTo>
                  <a:lnTo>
                    <a:pt x="1116" y="2530"/>
                  </a:lnTo>
                  <a:lnTo>
                    <a:pt x="1134" y="2536"/>
                  </a:lnTo>
                  <a:lnTo>
                    <a:pt x="1144" y="2540"/>
                  </a:lnTo>
                  <a:lnTo>
                    <a:pt x="1152" y="2544"/>
                  </a:lnTo>
                  <a:lnTo>
                    <a:pt x="1160" y="2552"/>
                  </a:lnTo>
                  <a:lnTo>
                    <a:pt x="1162" y="2558"/>
                  </a:lnTo>
                  <a:lnTo>
                    <a:pt x="1164" y="2560"/>
                  </a:lnTo>
                  <a:lnTo>
                    <a:pt x="1166" y="2560"/>
                  </a:lnTo>
                  <a:lnTo>
                    <a:pt x="1174" y="2560"/>
                  </a:lnTo>
                  <a:lnTo>
                    <a:pt x="1176" y="2562"/>
                  </a:lnTo>
                  <a:lnTo>
                    <a:pt x="1184" y="2566"/>
                  </a:lnTo>
                  <a:lnTo>
                    <a:pt x="1188" y="2568"/>
                  </a:lnTo>
                  <a:lnTo>
                    <a:pt x="1190" y="2574"/>
                  </a:lnTo>
                  <a:lnTo>
                    <a:pt x="1190" y="2582"/>
                  </a:lnTo>
                  <a:lnTo>
                    <a:pt x="1192" y="2584"/>
                  </a:lnTo>
                  <a:lnTo>
                    <a:pt x="1196" y="2586"/>
                  </a:lnTo>
                  <a:lnTo>
                    <a:pt x="1204" y="2588"/>
                  </a:lnTo>
                  <a:lnTo>
                    <a:pt x="1208" y="2590"/>
                  </a:lnTo>
                  <a:lnTo>
                    <a:pt x="1208" y="2596"/>
                  </a:lnTo>
                  <a:lnTo>
                    <a:pt x="1208" y="2610"/>
                  </a:lnTo>
                  <a:lnTo>
                    <a:pt x="1206" y="2626"/>
                  </a:lnTo>
                  <a:lnTo>
                    <a:pt x="1206" y="2632"/>
                  </a:lnTo>
                  <a:lnTo>
                    <a:pt x="1206" y="2636"/>
                  </a:lnTo>
                  <a:lnTo>
                    <a:pt x="1206" y="2638"/>
                  </a:lnTo>
                  <a:lnTo>
                    <a:pt x="1206" y="2640"/>
                  </a:lnTo>
                  <a:lnTo>
                    <a:pt x="1204" y="2646"/>
                  </a:lnTo>
                  <a:lnTo>
                    <a:pt x="1200" y="2652"/>
                  </a:lnTo>
                  <a:lnTo>
                    <a:pt x="1200" y="2656"/>
                  </a:lnTo>
                  <a:lnTo>
                    <a:pt x="1202" y="2662"/>
                  </a:lnTo>
                  <a:lnTo>
                    <a:pt x="1202" y="2666"/>
                  </a:lnTo>
                  <a:lnTo>
                    <a:pt x="1202" y="2670"/>
                  </a:lnTo>
                  <a:lnTo>
                    <a:pt x="1202" y="2672"/>
                  </a:lnTo>
                  <a:lnTo>
                    <a:pt x="1200" y="2674"/>
                  </a:lnTo>
                  <a:lnTo>
                    <a:pt x="1202" y="2674"/>
                  </a:lnTo>
                  <a:lnTo>
                    <a:pt x="1208" y="2680"/>
                  </a:lnTo>
                  <a:lnTo>
                    <a:pt x="1216" y="2686"/>
                  </a:lnTo>
                  <a:lnTo>
                    <a:pt x="1222" y="2690"/>
                  </a:lnTo>
                  <a:lnTo>
                    <a:pt x="1224" y="2696"/>
                  </a:lnTo>
                  <a:lnTo>
                    <a:pt x="1224" y="2700"/>
                  </a:lnTo>
                  <a:lnTo>
                    <a:pt x="1226" y="2706"/>
                  </a:lnTo>
                  <a:lnTo>
                    <a:pt x="1228" y="2708"/>
                  </a:lnTo>
                  <a:lnTo>
                    <a:pt x="1230" y="2710"/>
                  </a:lnTo>
                  <a:lnTo>
                    <a:pt x="1240" y="2726"/>
                  </a:lnTo>
                  <a:lnTo>
                    <a:pt x="1246" y="2736"/>
                  </a:lnTo>
                  <a:lnTo>
                    <a:pt x="1250" y="2740"/>
                  </a:lnTo>
                  <a:lnTo>
                    <a:pt x="1254" y="2744"/>
                  </a:lnTo>
                  <a:lnTo>
                    <a:pt x="1258" y="2748"/>
                  </a:lnTo>
                  <a:lnTo>
                    <a:pt x="1260" y="2748"/>
                  </a:lnTo>
                  <a:lnTo>
                    <a:pt x="1260" y="2746"/>
                  </a:lnTo>
                  <a:lnTo>
                    <a:pt x="1262" y="2746"/>
                  </a:lnTo>
                  <a:lnTo>
                    <a:pt x="1266" y="2746"/>
                  </a:lnTo>
                  <a:lnTo>
                    <a:pt x="1272" y="2750"/>
                  </a:lnTo>
                  <a:lnTo>
                    <a:pt x="1274" y="2752"/>
                  </a:lnTo>
                  <a:lnTo>
                    <a:pt x="1266" y="2754"/>
                  </a:lnTo>
                  <a:lnTo>
                    <a:pt x="1258" y="2754"/>
                  </a:lnTo>
                  <a:lnTo>
                    <a:pt x="1258" y="2758"/>
                  </a:lnTo>
                  <a:lnTo>
                    <a:pt x="1260" y="2762"/>
                  </a:lnTo>
                  <a:lnTo>
                    <a:pt x="1268" y="2772"/>
                  </a:lnTo>
                  <a:lnTo>
                    <a:pt x="1272" y="2780"/>
                  </a:lnTo>
                  <a:lnTo>
                    <a:pt x="1274" y="2786"/>
                  </a:lnTo>
                  <a:lnTo>
                    <a:pt x="1276" y="2786"/>
                  </a:lnTo>
                  <a:lnTo>
                    <a:pt x="1280" y="2784"/>
                  </a:lnTo>
                  <a:lnTo>
                    <a:pt x="1284" y="2780"/>
                  </a:lnTo>
                  <a:lnTo>
                    <a:pt x="1286" y="2782"/>
                  </a:lnTo>
                  <a:lnTo>
                    <a:pt x="1290" y="2782"/>
                  </a:lnTo>
                  <a:lnTo>
                    <a:pt x="1300" y="2782"/>
                  </a:lnTo>
                  <a:lnTo>
                    <a:pt x="1312" y="2780"/>
                  </a:lnTo>
                  <a:lnTo>
                    <a:pt x="1316" y="2782"/>
                  </a:lnTo>
                  <a:lnTo>
                    <a:pt x="1318" y="2784"/>
                  </a:lnTo>
                  <a:lnTo>
                    <a:pt x="1324" y="2784"/>
                  </a:lnTo>
                  <a:lnTo>
                    <a:pt x="1330" y="2782"/>
                  </a:lnTo>
                  <a:lnTo>
                    <a:pt x="1336" y="2786"/>
                  </a:lnTo>
                  <a:lnTo>
                    <a:pt x="1342" y="2790"/>
                  </a:lnTo>
                  <a:lnTo>
                    <a:pt x="1348" y="2790"/>
                  </a:lnTo>
                  <a:lnTo>
                    <a:pt x="1354" y="2790"/>
                  </a:lnTo>
                  <a:lnTo>
                    <a:pt x="1358" y="2792"/>
                  </a:lnTo>
                  <a:lnTo>
                    <a:pt x="1358" y="2794"/>
                  </a:lnTo>
                  <a:lnTo>
                    <a:pt x="1358" y="2796"/>
                  </a:lnTo>
                  <a:lnTo>
                    <a:pt x="1350" y="2800"/>
                  </a:lnTo>
                  <a:lnTo>
                    <a:pt x="1342" y="2802"/>
                  </a:lnTo>
                  <a:lnTo>
                    <a:pt x="1336" y="2800"/>
                  </a:lnTo>
                  <a:lnTo>
                    <a:pt x="1322" y="2792"/>
                  </a:lnTo>
                  <a:lnTo>
                    <a:pt x="1312" y="2788"/>
                  </a:lnTo>
                  <a:lnTo>
                    <a:pt x="1306" y="2786"/>
                  </a:lnTo>
                  <a:lnTo>
                    <a:pt x="1302" y="2786"/>
                  </a:lnTo>
                  <a:lnTo>
                    <a:pt x="1298" y="2792"/>
                  </a:lnTo>
                  <a:lnTo>
                    <a:pt x="1296" y="2794"/>
                  </a:lnTo>
                  <a:lnTo>
                    <a:pt x="1292" y="2794"/>
                  </a:lnTo>
                  <a:lnTo>
                    <a:pt x="1288" y="2792"/>
                  </a:lnTo>
                  <a:lnTo>
                    <a:pt x="1282" y="2792"/>
                  </a:lnTo>
                  <a:lnTo>
                    <a:pt x="1282" y="2794"/>
                  </a:lnTo>
                  <a:lnTo>
                    <a:pt x="1280" y="2798"/>
                  </a:lnTo>
                  <a:lnTo>
                    <a:pt x="1280" y="2802"/>
                  </a:lnTo>
                  <a:lnTo>
                    <a:pt x="1278" y="2804"/>
                  </a:lnTo>
                  <a:lnTo>
                    <a:pt x="1274" y="2808"/>
                  </a:lnTo>
                  <a:lnTo>
                    <a:pt x="1272" y="2808"/>
                  </a:lnTo>
                  <a:lnTo>
                    <a:pt x="1276" y="2812"/>
                  </a:lnTo>
                  <a:lnTo>
                    <a:pt x="1280" y="2816"/>
                  </a:lnTo>
                  <a:lnTo>
                    <a:pt x="1280" y="2820"/>
                  </a:lnTo>
                  <a:lnTo>
                    <a:pt x="1280" y="2824"/>
                  </a:lnTo>
                  <a:lnTo>
                    <a:pt x="1286" y="2824"/>
                  </a:lnTo>
                  <a:lnTo>
                    <a:pt x="1288" y="2824"/>
                  </a:lnTo>
                  <a:lnTo>
                    <a:pt x="1292" y="2826"/>
                  </a:lnTo>
                  <a:lnTo>
                    <a:pt x="1294" y="2832"/>
                  </a:lnTo>
                  <a:lnTo>
                    <a:pt x="1294" y="2838"/>
                  </a:lnTo>
                  <a:lnTo>
                    <a:pt x="1292" y="2844"/>
                  </a:lnTo>
                  <a:lnTo>
                    <a:pt x="1292" y="2848"/>
                  </a:lnTo>
                  <a:lnTo>
                    <a:pt x="1292" y="2854"/>
                  </a:lnTo>
                  <a:lnTo>
                    <a:pt x="1298" y="2864"/>
                  </a:lnTo>
                  <a:lnTo>
                    <a:pt x="1300" y="2866"/>
                  </a:lnTo>
                  <a:lnTo>
                    <a:pt x="1304" y="2868"/>
                  </a:lnTo>
                  <a:lnTo>
                    <a:pt x="1306" y="2866"/>
                  </a:lnTo>
                  <a:lnTo>
                    <a:pt x="1308" y="2862"/>
                  </a:lnTo>
                  <a:lnTo>
                    <a:pt x="1308" y="2856"/>
                  </a:lnTo>
                  <a:lnTo>
                    <a:pt x="1310" y="2854"/>
                  </a:lnTo>
                  <a:lnTo>
                    <a:pt x="1314" y="2854"/>
                  </a:lnTo>
                  <a:lnTo>
                    <a:pt x="1316" y="2856"/>
                  </a:lnTo>
                  <a:lnTo>
                    <a:pt x="1320" y="2866"/>
                  </a:lnTo>
                  <a:lnTo>
                    <a:pt x="1322" y="2880"/>
                  </a:lnTo>
                  <a:lnTo>
                    <a:pt x="1324" y="2888"/>
                  </a:lnTo>
                  <a:lnTo>
                    <a:pt x="1326" y="2888"/>
                  </a:lnTo>
                  <a:lnTo>
                    <a:pt x="1328" y="2888"/>
                  </a:lnTo>
                  <a:lnTo>
                    <a:pt x="1330" y="2882"/>
                  </a:lnTo>
                  <a:lnTo>
                    <a:pt x="1332" y="2874"/>
                  </a:lnTo>
                  <a:lnTo>
                    <a:pt x="1334" y="2866"/>
                  </a:lnTo>
                  <a:lnTo>
                    <a:pt x="1336" y="2866"/>
                  </a:lnTo>
                  <a:lnTo>
                    <a:pt x="1338" y="2868"/>
                  </a:lnTo>
                  <a:lnTo>
                    <a:pt x="1342" y="2872"/>
                  </a:lnTo>
                  <a:lnTo>
                    <a:pt x="1348" y="2882"/>
                  </a:lnTo>
                  <a:lnTo>
                    <a:pt x="1350" y="2886"/>
                  </a:lnTo>
                  <a:lnTo>
                    <a:pt x="1354" y="2888"/>
                  </a:lnTo>
                  <a:lnTo>
                    <a:pt x="1356" y="2886"/>
                  </a:lnTo>
                  <a:lnTo>
                    <a:pt x="1356" y="2884"/>
                  </a:lnTo>
                  <a:lnTo>
                    <a:pt x="1356" y="2876"/>
                  </a:lnTo>
                  <a:lnTo>
                    <a:pt x="1348" y="2854"/>
                  </a:lnTo>
                  <a:lnTo>
                    <a:pt x="1340" y="2834"/>
                  </a:lnTo>
                  <a:lnTo>
                    <a:pt x="1338" y="2828"/>
                  </a:lnTo>
                  <a:lnTo>
                    <a:pt x="1338" y="2826"/>
                  </a:lnTo>
                  <a:lnTo>
                    <a:pt x="1340" y="2824"/>
                  </a:lnTo>
                  <a:lnTo>
                    <a:pt x="1346" y="2826"/>
                  </a:lnTo>
                  <a:lnTo>
                    <a:pt x="1350" y="2828"/>
                  </a:lnTo>
                  <a:lnTo>
                    <a:pt x="1352" y="2832"/>
                  </a:lnTo>
                  <a:lnTo>
                    <a:pt x="1354" y="2838"/>
                  </a:lnTo>
                  <a:lnTo>
                    <a:pt x="1356" y="2840"/>
                  </a:lnTo>
                  <a:lnTo>
                    <a:pt x="1358" y="2840"/>
                  </a:lnTo>
                  <a:lnTo>
                    <a:pt x="1368" y="2836"/>
                  </a:lnTo>
                  <a:lnTo>
                    <a:pt x="1370" y="2834"/>
                  </a:lnTo>
                  <a:lnTo>
                    <a:pt x="1372" y="2832"/>
                  </a:lnTo>
                  <a:lnTo>
                    <a:pt x="1370" y="2828"/>
                  </a:lnTo>
                  <a:lnTo>
                    <a:pt x="1366" y="2824"/>
                  </a:lnTo>
                  <a:lnTo>
                    <a:pt x="1360" y="2822"/>
                  </a:lnTo>
                  <a:lnTo>
                    <a:pt x="1356" y="2822"/>
                  </a:lnTo>
                  <a:lnTo>
                    <a:pt x="1356" y="2820"/>
                  </a:lnTo>
                  <a:lnTo>
                    <a:pt x="1356" y="2816"/>
                  </a:lnTo>
                  <a:lnTo>
                    <a:pt x="1354" y="2812"/>
                  </a:lnTo>
                  <a:lnTo>
                    <a:pt x="1352" y="2810"/>
                  </a:lnTo>
                  <a:lnTo>
                    <a:pt x="1354" y="2808"/>
                  </a:lnTo>
                  <a:lnTo>
                    <a:pt x="1360" y="2802"/>
                  </a:lnTo>
                  <a:lnTo>
                    <a:pt x="1368" y="2800"/>
                  </a:lnTo>
                  <a:lnTo>
                    <a:pt x="1370" y="2800"/>
                  </a:lnTo>
                  <a:lnTo>
                    <a:pt x="1374" y="2802"/>
                  </a:lnTo>
                  <a:lnTo>
                    <a:pt x="1382" y="2816"/>
                  </a:lnTo>
                  <a:lnTo>
                    <a:pt x="1388" y="2820"/>
                  </a:lnTo>
                  <a:lnTo>
                    <a:pt x="1390" y="2820"/>
                  </a:lnTo>
                  <a:lnTo>
                    <a:pt x="1392" y="2820"/>
                  </a:lnTo>
                  <a:lnTo>
                    <a:pt x="1394" y="2818"/>
                  </a:lnTo>
                  <a:lnTo>
                    <a:pt x="1394" y="2816"/>
                  </a:lnTo>
                  <a:lnTo>
                    <a:pt x="1394" y="2810"/>
                  </a:lnTo>
                  <a:lnTo>
                    <a:pt x="1392" y="2804"/>
                  </a:lnTo>
                  <a:lnTo>
                    <a:pt x="1392" y="2796"/>
                  </a:lnTo>
                  <a:lnTo>
                    <a:pt x="1392" y="2794"/>
                  </a:lnTo>
                  <a:lnTo>
                    <a:pt x="1390" y="2790"/>
                  </a:lnTo>
                  <a:lnTo>
                    <a:pt x="1386" y="2788"/>
                  </a:lnTo>
                  <a:lnTo>
                    <a:pt x="1378" y="2784"/>
                  </a:lnTo>
                  <a:lnTo>
                    <a:pt x="1376" y="2782"/>
                  </a:lnTo>
                  <a:lnTo>
                    <a:pt x="1374" y="2780"/>
                  </a:lnTo>
                  <a:lnTo>
                    <a:pt x="1370" y="2774"/>
                  </a:lnTo>
                  <a:lnTo>
                    <a:pt x="1366" y="2774"/>
                  </a:lnTo>
                  <a:lnTo>
                    <a:pt x="1364" y="2772"/>
                  </a:lnTo>
                  <a:lnTo>
                    <a:pt x="1360" y="2768"/>
                  </a:lnTo>
                  <a:lnTo>
                    <a:pt x="1358" y="2764"/>
                  </a:lnTo>
                  <a:lnTo>
                    <a:pt x="1352" y="2762"/>
                  </a:lnTo>
                  <a:lnTo>
                    <a:pt x="1340" y="2758"/>
                  </a:lnTo>
                  <a:lnTo>
                    <a:pt x="1332" y="2754"/>
                  </a:lnTo>
                  <a:lnTo>
                    <a:pt x="1332" y="2752"/>
                  </a:lnTo>
                  <a:lnTo>
                    <a:pt x="1338" y="2752"/>
                  </a:lnTo>
                  <a:lnTo>
                    <a:pt x="1346" y="2750"/>
                  </a:lnTo>
                  <a:lnTo>
                    <a:pt x="1348" y="2746"/>
                  </a:lnTo>
                  <a:lnTo>
                    <a:pt x="1348" y="2744"/>
                  </a:lnTo>
                  <a:lnTo>
                    <a:pt x="1346" y="2740"/>
                  </a:lnTo>
                  <a:lnTo>
                    <a:pt x="1344" y="2732"/>
                  </a:lnTo>
                  <a:lnTo>
                    <a:pt x="1344" y="2730"/>
                  </a:lnTo>
                  <a:lnTo>
                    <a:pt x="1348" y="2730"/>
                  </a:lnTo>
                  <a:lnTo>
                    <a:pt x="1352" y="2730"/>
                  </a:lnTo>
                  <a:lnTo>
                    <a:pt x="1354" y="2732"/>
                  </a:lnTo>
                  <a:lnTo>
                    <a:pt x="1354" y="2738"/>
                  </a:lnTo>
                  <a:lnTo>
                    <a:pt x="1354" y="2742"/>
                  </a:lnTo>
                  <a:lnTo>
                    <a:pt x="1356" y="2742"/>
                  </a:lnTo>
                  <a:lnTo>
                    <a:pt x="1358" y="2742"/>
                  </a:lnTo>
                  <a:lnTo>
                    <a:pt x="1360" y="2738"/>
                  </a:lnTo>
                  <a:lnTo>
                    <a:pt x="1360" y="2736"/>
                  </a:lnTo>
                  <a:lnTo>
                    <a:pt x="1360" y="2728"/>
                  </a:lnTo>
                  <a:lnTo>
                    <a:pt x="1354" y="2720"/>
                  </a:lnTo>
                  <a:lnTo>
                    <a:pt x="1348" y="2710"/>
                  </a:lnTo>
                  <a:lnTo>
                    <a:pt x="1340" y="2702"/>
                  </a:lnTo>
                  <a:lnTo>
                    <a:pt x="1334" y="2692"/>
                  </a:lnTo>
                  <a:lnTo>
                    <a:pt x="1330" y="2682"/>
                  </a:lnTo>
                  <a:lnTo>
                    <a:pt x="1330" y="2678"/>
                  </a:lnTo>
                  <a:lnTo>
                    <a:pt x="1332" y="2674"/>
                  </a:lnTo>
                  <a:lnTo>
                    <a:pt x="1336" y="2666"/>
                  </a:lnTo>
                  <a:lnTo>
                    <a:pt x="1340" y="2660"/>
                  </a:lnTo>
                  <a:lnTo>
                    <a:pt x="1344" y="2660"/>
                  </a:lnTo>
                  <a:lnTo>
                    <a:pt x="1346" y="2660"/>
                  </a:lnTo>
                  <a:lnTo>
                    <a:pt x="1346" y="2662"/>
                  </a:lnTo>
                  <a:lnTo>
                    <a:pt x="1346" y="2668"/>
                  </a:lnTo>
                  <a:lnTo>
                    <a:pt x="1346" y="2670"/>
                  </a:lnTo>
                  <a:lnTo>
                    <a:pt x="1346" y="2672"/>
                  </a:lnTo>
                  <a:lnTo>
                    <a:pt x="1352" y="2674"/>
                  </a:lnTo>
                  <a:lnTo>
                    <a:pt x="1358" y="2676"/>
                  </a:lnTo>
                  <a:lnTo>
                    <a:pt x="1360" y="2680"/>
                  </a:lnTo>
                  <a:lnTo>
                    <a:pt x="1362" y="2686"/>
                  </a:lnTo>
                  <a:lnTo>
                    <a:pt x="1362" y="2690"/>
                  </a:lnTo>
                  <a:lnTo>
                    <a:pt x="1366" y="2694"/>
                  </a:lnTo>
                  <a:lnTo>
                    <a:pt x="1372" y="2696"/>
                  </a:lnTo>
                  <a:lnTo>
                    <a:pt x="1374" y="2696"/>
                  </a:lnTo>
                  <a:lnTo>
                    <a:pt x="1376" y="2696"/>
                  </a:lnTo>
                  <a:lnTo>
                    <a:pt x="1376" y="2694"/>
                  </a:lnTo>
                  <a:lnTo>
                    <a:pt x="1374" y="2690"/>
                  </a:lnTo>
                  <a:lnTo>
                    <a:pt x="1368" y="2684"/>
                  </a:lnTo>
                  <a:lnTo>
                    <a:pt x="1368" y="2678"/>
                  </a:lnTo>
                  <a:lnTo>
                    <a:pt x="1370" y="2678"/>
                  </a:lnTo>
                  <a:lnTo>
                    <a:pt x="1378" y="2684"/>
                  </a:lnTo>
                  <a:lnTo>
                    <a:pt x="1386" y="2692"/>
                  </a:lnTo>
                  <a:lnTo>
                    <a:pt x="1390" y="2694"/>
                  </a:lnTo>
                  <a:lnTo>
                    <a:pt x="1392" y="2694"/>
                  </a:lnTo>
                  <a:lnTo>
                    <a:pt x="1390" y="2692"/>
                  </a:lnTo>
                  <a:lnTo>
                    <a:pt x="1386" y="2684"/>
                  </a:lnTo>
                  <a:lnTo>
                    <a:pt x="1380" y="2676"/>
                  </a:lnTo>
                  <a:lnTo>
                    <a:pt x="1380" y="2674"/>
                  </a:lnTo>
                  <a:lnTo>
                    <a:pt x="1382" y="2674"/>
                  </a:lnTo>
                  <a:lnTo>
                    <a:pt x="1394" y="2680"/>
                  </a:lnTo>
                  <a:lnTo>
                    <a:pt x="1402" y="2684"/>
                  </a:lnTo>
                  <a:lnTo>
                    <a:pt x="1406" y="2684"/>
                  </a:lnTo>
                  <a:lnTo>
                    <a:pt x="1404" y="2682"/>
                  </a:lnTo>
                  <a:lnTo>
                    <a:pt x="1400" y="2676"/>
                  </a:lnTo>
                  <a:lnTo>
                    <a:pt x="1392" y="2670"/>
                  </a:lnTo>
                  <a:lnTo>
                    <a:pt x="1386" y="2668"/>
                  </a:lnTo>
                  <a:lnTo>
                    <a:pt x="1384" y="2668"/>
                  </a:lnTo>
                  <a:lnTo>
                    <a:pt x="1384" y="2664"/>
                  </a:lnTo>
                  <a:lnTo>
                    <a:pt x="1384" y="2662"/>
                  </a:lnTo>
                  <a:lnTo>
                    <a:pt x="1384" y="2660"/>
                  </a:lnTo>
                  <a:lnTo>
                    <a:pt x="1380" y="2656"/>
                  </a:lnTo>
                  <a:lnTo>
                    <a:pt x="1380" y="2654"/>
                  </a:lnTo>
                  <a:lnTo>
                    <a:pt x="1388" y="2652"/>
                  </a:lnTo>
                  <a:lnTo>
                    <a:pt x="1392" y="2652"/>
                  </a:lnTo>
                  <a:lnTo>
                    <a:pt x="1398" y="2650"/>
                  </a:lnTo>
                  <a:lnTo>
                    <a:pt x="1404" y="2644"/>
                  </a:lnTo>
                  <a:lnTo>
                    <a:pt x="1408" y="2642"/>
                  </a:lnTo>
                  <a:lnTo>
                    <a:pt x="1412" y="2640"/>
                  </a:lnTo>
                  <a:lnTo>
                    <a:pt x="1418" y="2642"/>
                  </a:lnTo>
                  <a:lnTo>
                    <a:pt x="1422" y="2644"/>
                  </a:lnTo>
                  <a:lnTo>
                    <a:pt x="1426" y="2644"/>
                  </a:lnTo>
                  <a:lnTo>
                    <a:pt x="1430" y="2640"/>
                  </a:lnTo>
                  <a:lnTo>
                    <a:pt x="1436" y="2638"/>
                  </a:lnTo>
                  <a:lnTo>
                    <a:pt x="1438" y="2638"/>
                  </a:lnTo>
                  <a:lnTo>
                    <a:pt x="1444" y="2640"/>
                  </a:lnTo>
                  <a:lnTo>
                    <a:pt x="1450" y="2644"/>
                  </a:lnTo>
                  <a:lnTo>
                    <a:pt x="1454" y="2644"/>
                  </a:lnTo>
                  <a:lnTo>
                    <a:pt x="1464" y="2644"/>
                  </a:lnTo>
                  <a:lnTo>
                    <a:pt x="1470" y="2644"/>
                  </a:lnTo>
                  <a:lnTo>
                    <a:pt x="1472" y="2646"/>
                  </a:lnTo>
                  <a:lnTo>
                    <a:pt x="1472" y="2650"/>
                  </a:lnTo>
                  <a:lnTo>
                    <a:pt x="1474" y="2656"/>
                  </a:lnTo>
                  <a:lnTo>
                    <a:pt x="1480" y="2660"/>
                  </a:lnTo>
                  <a:lnTo>
                    <a:pt x="1486" y="2660"/>
                  </a:lnTo>
                  <a:lnTo>
                    <a:pt x="1492" y="2658"/>
                  </a:lnTo>
                  <a:lnTo>
                    <a:pt x="1504" y="2656"/>
                  </a:lnTo>
                  <a:lnTo>
                    <a:pt x="1504" y="2658"/>
                  </a:lnTo>
                  <a:lnTo>
                    <a:pt x="1502" y="2660"/>
                  </a:lnTo>
                  <a:lnTo>
                    <a:pt x="1484" y="2668"/>
                  </a:lnTo>
                  <a:lnTo>
                    <a:pt x="1480" y="2672"/>
                  </a:lnTo>
                  <a:lnTo>
                    <a:pt x="1478" y="2680"/>
                  </a:lnTo>
                  <a:lnTo>
                    <a:pt x="1480" y="2684"/>
                  </a:lnTo>
                  <a:lnTo>
                    <a:pt x="1482" y="2682"/>
                  </a:lnTo>
                  <a:lnTo>
                    <a:pt x="1494" y="2670"/>
                  </a:lnTo>
                  <a:lnTo>
                    <a:pt x="1506" y="2662"/>
                  </a:lnTo>
                  <a:lnTo>
                    <a:pt x="1514" y="2658"/>
                  </a:lnTo>
                  <a:lnTo>
                    <a:pt x="1522" y="2654"/>
                  </a:lnTo>
                  <a:lnTo>
                    <a:pt x="1528" y="2646"/>
                  </a:lnTo>
                  <a:lnTo>
                    <a:pt x="1532" y="2638"/>
                  </a:lnTo>
                  <a:lnTo>
                    <a:pt x="1536" y="2636"/>
                  </a:lnTo>
                  <a:lnTo>
                    <a:pt x="1538" y="2634"/>
                  </a:lnTo>
                  <a:lnTo>
                    <a:pt x="1540" y="2636"/>
                  </a:lnTo>
                  <a:lnTo>
                    <a:pt x="1544" y="2640"/>
                  </a:lnTo>
                  <a:lnTo>
                    <a:pt x="1548" y="2640"/>
                  </a:lnTo>
                  <a:lnTo>
                    <a:pt x="1552" y="2638"/>
                  </a:lnTo>
                  <a:lnTo>
                    <a:pt x="1556" y="2634"/>
                  </a:lnTo>
                  <a:lnTo>
                    <a:pt x="1562" y="2634"/>
                  </a:lnTo>
                  <a:lnTo>
                    <a:pt x="1572" y="2638"/>
                  </a:lnTo>
                  <a:lnTo>
                    <a:pt x="1580" y="2638"/>
                  </a:lnTo>
                  <a:lnTo>
                    <a:pt x="1586" y="2638"/>
                  </a:lnTo>
                  <a:lnTo>
                    <a:pt x="1590" y="2634"/>
                  </a:lnTo>
                  <a:lnTo>
                    <a:pt x="1594" y="2626"/>
                  </a:lnTo>
                  <a:lnTo>
                    <a:pt x="1594" y="2624"/>
                  </a:lnTo>
                  <a:lnTo>
                    <a:pt x="1592" y="2624"/>
                  </a:lnTo>
                  <a:lnTo>
                    <a:pt x="1584" y="2622"/>
                  </a:lnTo>
                  <a:lnTo>
                    <a:pt x="1572" y="2616"/>
                  </a:lnTo>
                  <a:lnTo>
                    <a:pt x="1560" y="2608"/>
                  </a:lnTo>
                  <a:lnTo>
                    <a:pt x="1554" y="2600"/>
                  </a:lnTo>
                  <a:lnTo>
                    <a:pt x="1552" y="2592"/>
                  </a:lnTo>
                  <a:lnTo>
                    <a:pt x="1552" y="2582"/>
                  </a:lnTo>
                  <a:lnTo>
                    <a:pt x="1552" y="2578"/>
                  </a:lnTo>
                  <a:lnTo>
                    <a:pt x="1550" y="2576"/>
                  </a:lnTo>
                  <a:lnTo>
                    <a:pt x="1546" y="2572"/>
                  </a:lnTo>
                  <a:lnTo>
                    <a:pt x="1542" y="2570"/>
                  </a:lnTo>
                  <a:lnTo>
                    <a:pt x="1540" y="2568"/>
                  </a:lnTo>
                  <a:lnTo>
                    <a:pt x="1540" y="2564"/>
                  </a:lnTo>
                  <a:lnTo>
                    <a:pt x="1540" y="2560"/>
                  </a:lnTo>
                  <a:lnTo>
                    <a:pt x="1538" y="2558"/>
                  </a:lnTo>
                  <a:lnTo>
                    <a:pt x="1530" y="2556"/>
                  </a:lnTo>
                  <a:lnTo>
                    <a:pt x="1528" y="2556"/>
                  </a:lnTo>
                  <a:lnTo>
                    <a:pt x="1528" y="2554"/>
                  </a:lnTo>
                  <a:lnTo>
                    <a:pt x="1536" y="2546"/>
                  </a:lnTo>
                  <a:lnTo>
                    <a:pt x="1542" y="2542"/>
                  </a:lnTo>
                  <a:lnTo>
                    <a:pt x="1546" y="2538"/>
                  </a:lnTo>
                  <a:lnTo>
                    <a:pt x="1546" y="2534"/>
                  </a:lnTo>
                  <a:lnTo>
                    <a:pt x="1546" y="2530"/>
                  </a:lnTo>
                  <a:lnTo>
                    <a:pt x="1546" y="2522"/>
                  </a:lnTo>
                  <a:lnTo>
                    <a:pt x="1546" y="2516"/>
                  </a:lnTo>
                  <a:lnTo>
                    <a:pt x="1550" y="2510"/>
                  </a:lnTo>
                  <a:lnTo>
                    <a:pt x="1554" y="2504"/>
                  </a:lnTo>
                  <a:lnTo>
                    <a:pt x="1560" y="2502"/>
                  </a:lnTo>
                  <a:lnTo>
                    <a:pt x="1566" y="2504"/>
                  </a:lnTo>
                  <a:lnTo>
                    <a:pt x="1570" y="2504"/>
                  </a:lnTo>
                  <a:lnTo>
                    <a:pt x="1572" y="2502"/>
                  </a:lnTo>
                  <a:lnTo>
                    <a:pt x="1574" y="2496"/>
                  </a:lnTo>
                  <a:lnTo>
                    <a:pt x="1574" y="2484"/>
                  </a:lnTo>
                  <a:lnTo>
                    <a:pt x="1578" y="2458"/>
                  </a:lnTo>
                  <a:lnTo>
                    <a:pt x="1580" y="2448"/>
                  </a:lnTo>
                  <a:lnTo>
                    <a:pt x="1584" y="2440"/>
                  </a:lnTo>
                  <a:lnTo>
                    <a:pt x="1588" y="2434"/>
                  </a:lnTo>
                  <a:lnTo>
                    <a:pt x="1594" y="2428"/>
                  </a:lnTo>
                  <a:lnTo>
                    <a:pt x="1600" y="2426"/>
                  </a:lnTo>
                  <a:lnTo>
                    <a:pt x="1608" y="2422"/>
                  </a:lnTo>
                  <a:lnTo>
                    <a:pt x="1614" y="2418"/>
                  </a:lnTo>
                  <a:lnTo>
                    <a:pt x="1618" y="2414"/>
                  </a:lnTo>
                  <a:lnTo>
                    <a:pt x="1620" y="2406"/>
                  </a:lnTo>
                  <a:lnTo>
                    <a:pt x="1620" y="2398"/>
                  </a:lnTo>
                  <a:lnTo>
                    <a:pt x="1620" y="2390"/>
                  </a:lnTo>
                  <a:lnTo>
                    <a:pt x="1620" y="2386"/>
                  </a:lnTo>
                  <a:lnTo>
                    <a:pt x="1618" y="2384"/>
                  </a:lnTo>
                  <a:lnTo>
                    <a:pt x="1616" y="2378"/>
                  </a:lnTo>
                  <a:lnTo>
                    <a:pt x="1616" y="2372"/>
                  </a:lnTo>
                  <a:lnTo>
                    <a:pt x="1620" y="2372"/>
                  </a:lnTo>
                  <a:lnTo>
                    <a:pt x="1626" y="2372"/>
                  </a:lnTo>
                  <a:lnTo>
                    <a:pt x="1630" y="2370"/>
                  </a:lnTo>
                  <a:lnTo>
                    <a:pt x="1636" y="2366"/>
                  </a:lnTo>
                  <a:lnTo>
                    <a:pt x="1646" y="2358"/>
                  </a:lnTo>
                  <a:lnTo>
                    <a:pt x="1654" y="2348"/>
                  </a:lnTo>
                  <a:lnTo>
                    <a:pt x="1660" y="2340"/>
                  </a:lnTo>
                  <a:lnTo>
                    <a:pt x="1662" y="2330"/>
                  </a:lnTo>
                  <a:lnTo>
                    <a:pt x="1662" y="2326"/>
                  </a:lnTo>
                  <a:lnTo>
                    <a:pt x="1664" y="2324"/>
                  </a:lnTo>
                  <a:lnTo>
                    <a:pt x="1668" y="2322"/>
                  </a:lnTo>
                  <a:lnTo>
                    <a:pt x="1672" y="2320"/>
                  </a:lnTo>
                  <a:lnTo>
                    <a:pt x="1682" y="2320"/>
                  </a:lnTo>
                  <a:lnTo>
                    <a:pt x="1690" y="2318"/>
                  </a:lnTo>
                  <a:lnTo>
                    <a:pt x="1698" y="2318"/>
                  </a:lnTo>
                  <a:lnTo>
                    <a:pt x="1702" y="2318"/>
                  </a:lnTo>
                  <a:lnTo>
                    <a:pt x="1704" y="2318"/>
                  </a:lnTo>
                  <a:lnTo>
                    <a:pt x="1706" y="2312"/>
                  </a:lnTo>
                  <a:lnTo>
                    <a:pt x="1708" y="2296"/>
                  </a:lnTo>
                  <a:lnTo>
                    <a:pt x="1708" y="2294"/>
                  </a:lnTo>
                  <a:lnTo>
                    <a:pt x="1710" y="2298"/>
                  </a:lnTo>
                  <a:lnTo>
                    <a:pt x="1712" y="2308"/>
                  </a:lnTo>
                  <a:lnTo>
                    <a:pt x="1712" y="2316"/>
                  </a:lnTo>
                  <a:lnTo>
                    <a:pt x="1714" y="2320"/>
                  </a:lnTo>
                  <a:lnTo>
                    <a:pt x="1718" y="2322"/>
                  </a:lnTo>
                  <a:lnTo>
                    <a:pt x="1724" y="2322"/>
                  </a:lnTo>
                  <a:lnTo>
                    <a:pt x="1732" y="2322"/>
                  </a:lnTo>
                  <a:lnTo>
                    <a:pt x="1726" y="2324"/>
                  </a:lnTo>
                  <a:lnTo>
                    <a:pt x="1720" y="2326"/>
                  </a:lnTo>
                  <a:lnTo>
                    <a:pt x="1708" y="2324"/>
                  </a:lnTo>
                  <a:lnTo>
                    <a:pt x="1700" y="2322"/>
                  </a:lnTo>
                  <a:lnTo>
                    <a:pt x="1696" y="2322"/>
                  </a:lnTo>
                  <a:lnTo>
                    <a:pt x="1696" y="2324"/>
                  </a:lnTo>
                  <a:lnTo>
                    <a:pt x="1696" y="2326"/>
                  </a:lnTo>
                  <a:lnTo>
                    <a:pt x="1700" y="2330"/>
                  </a:lnTo>
                  <a:lnTo>
                    <a:pt x="1708" y="2336"/>
                  </a:lnTo>
                  <a:lnTo>
                    <a:pt x="1718" y="2342"/>
                  </a:lnTo>
                  <a:lnTo>
                    <a:pt x="1722" y="2346"/>
                  </a:lnTo>
                  <a:lnTo>
                    <a:pt x="1722" y="2348"/>
                  </a:lnTo>
                  <a:lnTo>
                    <a:pt x="1724" y="2350"/>
                  </a:lnTo>
                  <a:lnTo>
                    <a:pt x="1728" y="2350"/>
                  </a:lnTo>
                  <a:lnTo>
                    <a:pt x="1740" y="2350"/>
                  </a:lnTo>
                  <a:lnTo>
                    <a:pt x="1754" y="2348"/>
                  </a:lnTo>
                  <a:lnTo>
                    <a:pt x="1760" y="2348"/>
                  </a:lnTo>
                  <a:lnTo>
                    <a:pt x="1764" y="2350"/>
                  </a:lnTo>
                  <a:lnTo>
                    <a:pt x="1766" y="2352"/>
                  </a:lnTo>
                  <a:lnTo>
                    <a:pt x="1768" y="2352"/>
                  </a:lnTo>
                  <a:lnTo>
                    <a:pt x="1772" y="2350"/>
                  </a:lnTo>
                  <a:lnTo>
                    <a:pt x="1776" y="2350"/>
                  </a:lnTo>
                  <a:lnTo>
                    <a:pt x="1780" y="2356"/>
                  </a:lnTo>
                  <a:lnTo>
                    <a:pt x="1780" y="2358"/>
                  </a:lnTo>
                  <a:lnTo>
                    <a:pt x="1778" y="2360"/>
                  </a:lnTo>
                  <a:lnTo>
                    <a:pt x="1774" y="2364"/>
                  </a:lnTo>
                  <a:lnTo>
                    <a:pt x="1756" y="2374"/>
                  </a:lnTo>
                  <a:lnTo>
                    <a:pt x="1738" y="2382"/>
                  </a:lnTo>
                  <a:lnTo>
                    <a:pt x="1732" y="2386"/>
                  </a:lnTo>
                  <a:lnTo>
                    <a:pt x="1732" y="2388"/>
                  </a:lnTo>
                  <a:lnTo>
                    <a:pt x="1732" y="2390"/>
                  </a:lnTo>
                  <a:lnTo>
                    <a:pt x="1736" y="2392"/>
                  </a:lnTo>
                  <a:lnTo>
                    <a:pt x="1742" y="2394"/>
                  </a:lnTo>
                  <a:lnTo>
                    <a:pt x="1756" y="2398"/>
                  </a:lnTo>
                  <a:lnTo>
                    <a:pt x="1762" y="2400"/>
                  </a:lnTo>
                  <a:lnTo>
                    <a:pt x="1768" y="2404"/>
                  </a:lnTo>
                  <a:lnTo>
                    <a:pt x="1772" y="2410"/>
                  </a:lnTo>
                  <a:lnTo>
                    <a:pt x="1774" y="2416"/>
                  </a:lnTo>
                  <a:lnTo>
                    <a:pt x="1774" y="2424"/>
                  </a:lnTo>
                  <a:lnTo>
                    <a:pt x="1772" y="2428"/>
                  </a:lnTo>
                  <a:lnTo>
                    <a:pt x="1768" y="2432"/>
                  </a:lnTo>
                  <a:lnTo>
                    <a:pt x="1766" y="2434"/>
                  </a:lnTo>
                  <a:lnTo>
                    <a:pt x="1768" y="2434"/>
                  </a:lnTo>
                  <a:lnTo>
                    <a:pt x="1774" y="2442"/>
                  </a:lnTo>
                  <a:lnTo>
                    <a:pt x="1780" y="2446"/>
                  </a:lnTo>
                  <a:lnTo>
                    <a:pt x="1788" y="2448"/>
                  </a:lnTo>
                  <a:lnTo>
                    <a:pt x="1794" y="2446"/>
                  </a:lnTo>
                  <a:lnTo>
                    <a:pt x="1800" y="2442"/>
                  </a:lnTo>
                  <a:lnTo>
                    <a:pt x="1810" y="2432"/>
                  </a:lnTo>
                  <a:lnTo>
                    <a:pt x="1822" y="2422"/>
                  </a:lnTo>
                  <a:lnTo>
                    <a:pt x="1826" y="2420"/>
                  </a:lnTo>
                  <a:lnTo>
                    <a:pt x="1830" y="2420"/>
                  </a:lnTo>
                  <a:lnTo>
                    <a:pt x="1832" y="2422"/>
                  </a:lnTo>
                  <a:lnTo>
                    <a:pt x="1836" y="2422"/>
                  </a:lnTo>
                  <a:lnTo>
                    <a:pt x="1844" y="2416"/>
                  </a:lnTo>
                  <a:lnTo>
                    <a:pt x="1850" y="2410"/>
                  </a:lnTo>
                  <a:lnTo>
                    <a:pt x="1856" y="2408"/>
                  </a:lnTo>
                  <a:lnTo>
                    <a:pt x="1860" y="2408"/>
                  </a:lnTo>
                  <a:lnTo>
                    <a:pt x="1862" y="2408"/>
                  </a:lnTo>
                  <a:lnTo>
                    <a:pt x="1870" y="2412"/>
                  </a:lnTo>
                  <a:lnTo>
                    <a:pt x="1876" y="2414"/>
                  </a:lnTo>
                  <a:lnTo>
                    <a:pt x="1882" y="2412"/>
                  </a:lnTo>
                  <a:lnTo>
                    <a:pt x="1892" y="2408"/>
                  </a:lnTo>
                  <a:lnTo>
                    <a:pt x="1894" y="2406"/>
                  </a:lnTo>
                  <a:lnTo>
                    <a:pt x="1892" y="2404"/>
                  </a:lnTo>
                  <a:lnTo>
                    <a:pt x="1892" y="2400"/>
                  </a:lnTo>
                  <a:lnTo>
                    <a:pt x="1892" y="2398"/>
                  </a:lnTo>
                  <a:lnTo>
                    <a:pt x="1894" y="2394"/>
                  </a:lnTo>
                  <a:lnTo>
                    <a:pt x="1896" y="2390"/>
                  </a:lnTo>
                  <a:lnTo>
                    <a:pt x="1894" y="2386"/>
                  </a:lnTo>
                  <a:lnTo>
                    <a:pt x="1886" y="2384"/>
                  </a:lnTo>
                  <a:lnTo>
                    <a:pt x="1874" y="2386"/>
                  </a:lnTo>
                  <a:lnTo>
                    <a:pt x="1868" y="2388"/>
                  </a:lnTo>
                  <a:lnTo>
                    <a:pt x="1862" y="2392"/>
                  </a:lnTo>
                  <a:lnTo>
                    <a:pt x="1854" y="2396"/>
                  </a:lnTo>
                  <a:lnTo>
                    <a:pt x="1852" y="2396"/>
                  </a:lnTo>
                  <a:lnTo>
                    <a:pt x="1848" y="2392"/>
                  </a:lnTo>
                  <a:lnTo>
                    <a:pt x="1842" y="2386"/>
                  </a:lnTo>
                  <a:lnTo>
                    <a:pt x="1836" y="2376"/>
                  </a:lnTo>
                  <a:lnTo>
                    <a:pt x="1826" y="2358"/>
                  </a:lnTo>
                  <a:lnTo>
                    <a:pt x="1824" y="2348"/>
                  </a:lnTo>
                  <a:lnTo>
                    <a:pt x="1824" y="2346"/>
                  </a:lnTo>
                  <a:lnTo>
                    <a:pt x="1824" y="2344"/>
                  </a:lnTo>
                  <a:lnTo>
                    <a:pt x="1830" y="2342"/>
                  </a:lnTo>
                  <a:lnTo>
                    <a:pt x="1836" y="2340"/>
                  </a:lnTo>
                  <a:lnTo>
                    <a:pt x="1838" y="2340"/>
                  </a:lnTo>
                  <a:lnTo>
                    <a:pt x="1838" y="2342"/>
                  </a:lnTo>
                  <a:lnTo>
                    <a:pt x="1838" y="2344"/>
                  </a:lnTo>
                  <a:lnTo>
                    <a:pt x="1838" y="2348"/>
                  </a:lnTo>
                  <a:lnTo>
                    <a:pt x="1842" y="2346"/>
                  </a:lnTo>
                  <a:lnTo>
                    <a:pt x="1852" y="2336"/>
                  </a:lnTo>
                  <a:lnTo>
                    <a:pt x="1862" y="2326"/>
                  </a:lnTo>
                  <a:lnTo>
                    <a:pt x="1872" y="2318"/>
                  </a:lnTo>
                  <a:lnTo>
                    <a:pt x="1876" y="2316"/>
                  </a:lnTo>
                  <a:lnTo>
                    <a:pt x="1880" y="2316"/>
                  </a:lnTo>
                  <a:lnTo>
                    <a:pt x="1886" y="2318"/>
                  </a:lnTo>
                  <a:lnTo>
                    <a:pt x="1896" y="2316"/>
                  </a:lnTo>
                  <a:lnTo>
                    <a:pt x="1906" y="2312"/>
                  </a:lnTo>
                  <a:lnTo>
                    <a:pt x="1916" y="2308"/>
                  </a:lnTo>
                  <a:lnTo>
                    <a:pt x="1934" y="2296"/>
                  </a:lnTo>
                  <a:lnTo>
                    <a:pt x="1944" y="2292"/>
                  </a:lnTo>
                  <a:lnTo>
                    <a:pt x="1952" y="2292"/>
                  </a:lnTo>
                  <a:lnTo>
                    <a:pt x="1956" y="2294"/>
                  </a:lnTo>
                  <a:lnTo>
                    <a:pt x="1960" y="2296"/>
                  </a:lnTo>
                  <a:lnTo>
                    <a:pt x="1964" y="2294"/>
                  </a:lnTo>
                  <a:lnTo>
                    <a:pt x="1972" y="2288"/>
                  </a:lnTo>
                  <a:lnTo>
                    <a:pt x="1976" y="2288"/>
                  </a:lnTo>
                  <a:lnTo>
                    <a:pt x="1980" y="2290"/>
                  </a:lnTo>
                  <a:lnTo>
                    <a:pt x="1986" y="2288"/>
                  </a:lnTo>
                  <a:lnTo>
                    <a:pt x="1992" y="2286"/>
                  </a:lnTo>
                  <a:lnTo>
                    <a:pt x="1998" y="2284"/>
                  </a:lnTo>
                  <a:lnTo>
                    <a:pt x="2002" y="2284"/>
                  </a:lnTo>
                  <a:lnTo>
                    <a:pt x="2004" y="2286"/>
                  </a:lnTo>
                  <a:lnTo>
                    <a:pt x="2004" y="2288"/>
                  </a:lnTo>
                  <a:lnTo>
                    <a:pt x="2004" y="2290"/>
                  </a:lnTo>
                  <a:lnTo>
                    <a:pt x="2000" y="2294"/>
                  </a:lnTo>
                  <a:lnTo>
                    <a:pt x="1996" y="2298"/>
                  </a:lnTo>
                  <a:lnTo>
                    <a:pt x="1988" y="2300"/>
                  </a:lnTo>
                  <a:lnTo>
                    <a:pt x="1980" y="2302"/>
                  </a:lnTo>
                  <a:lnTo>
                    <a:pt x="1974" y="2306"/>
                  </a:lnTo>
                  <a:lnTo>
                    <a:pt x="1968" y="2312"/>
                  </a:lnTo>
                  <a:lnTo>
                    <a:pt x="1962" y="2316"/>
                  </a:lnTo>
                  <a:lnTo>
                    <a:pt x="1948" y="2318"/>
                  </a:lnTo>
                  <a:lnTo>
                    <a:pt x="1944" y="2318"/>
                  </a:lnTo>
                  <a:lnTo>
                    <a:pt x="1944" y="2320"/>
                  </a:lnTo>
                  <a:lnTo>
                    <a:pt x="1944" y="2324"/>
                  </a:lnTo>
                  <a:lnTo>
                    <a:pt x="1946" y="2326"/>
                  </a:lnTo>
                  <a:lnTo>
                    <a:pt x="1952" y="2332"/>
                  </a:lnTo>
                  <a:lnTo>
                    <a:pt x="1956" y="2334"/>
                  </a:lnTo>
                  <a:lnTo>
                    <a:pt x="1958" y="2334"/>
                  </a:lnTo>
                  <a:lnTo>
                    <a:pt x="1962" y="2334"/>
                  </a:lnTo>
                  <a:lnTo>
                    <a:pt x="1968" y="2338"/>
                  </a:lnTo>
                  <a:lnTo>
                    <a:pt x="1974" y="2344"/>
                  </a:lnTo>
                  <a:lnTo>
                    <a:pt x="1978" y="2352"/>
                  </a:lnTo>
                  <a:lnTo>
                    <a:pt x="1976" y="2354"/>
                  </a:lnTo>
                  <a:lnTo>
                    <a:pt x="1972" y="2352"/>
                  </a:lnTo>
                  <a:lnTo>
                    <a:pt x="1964" y="2350"/>
                  </a:lnTo>
                  <a:lnTo>
                    <a:pt x="1958" y="2350"/>
                  </a:lnTo>
                  <a:lnTo>
                    <a:pt x="1952" y="2354"/>
                  </a:lnTo>
                  <a:lnTo>
                    <a:pt x="1948" y="2362"/>
                  </a:lnTo>
                  <a:lnTo>
                    <a:pt x="1942" y="2376"/>
                  </a:lnTo>
                  <a:lnTo>
                    <a:pt x="1940" y="2382"/>
                  </a:lnTo>
                  <a:lnTo>
                    <a:pt x="1942" y="2388"/>
                  </a:lnTo>
                  <a:lnTo>
                    <a:pt x="1944" y="2396"/>
                  </a:lnTo>
                  <a:lnTo>
                    <a:pt x="1942" y="2396"/>
                  </a:lnTo>
                  <a:lnTo>
                    <a:pt x="1940" y="2396"/>
                  </a:lnTo>
                  <a:lnTo>
                    <a:pt x="1934" y="2394"/>
                  </a:lnTo>
                  <a:lnTo>
                    <a:pt x="1930" y="2392"/>
                  </a:lnTo>
                  <a:lnTo>
                    <a:pt x="1926" y="2394"/>
                  </a:lnTo>
                  <a:lnTo>
                    <a:pt x="1922" y="2394"/>
                  </a:lnTo>
                  <a:lnTo>
                    <a:pt x="1918" y="2392"/>
                  </a:lnTo>
                  <a:lnTo>
                    <a:pt x="1910" y="2390"/>
                  </a:lnTo>
                  <a:lnTo>
                    <a:pt x="1904" y="2388"/>
                  </a:lnTo>
                  <a:lnTo>
                    <a:pt x="1904" y="2390"/>
                  </a:lnTo>
                  <a:lnTo>
                    <a:pt x="1904" y="2392"/>
                  </a:lnTo>
                  <a:lnTo>
                    <a:pt x="1904" y="2396"/>
                  </a:lnTo>
                  <a:lnTo>
                    <a:pt x="1904" y="2398"/>
                  </a:lnTo>
                  <a:lnTo>
                    <a:pt x="1900" y="2402"/>
                  </a:lnTo>
                  <a:lnTo>
                    <a:pt x="1900" y="2404"/>
                  </a:lnTo>
                  <a:lnTo>
                    <a:pt x="1912" y="2410"/>
                  </a:lnTo>
                  <a:lnTo>
                    <a:pt x="1918" y="2414"/>
                  </a:lnTo>
                  <a:lnTo>
                    <a:pt x="1924" y="2418"/>
                  </a:lnTo>
                  <a:lnTo>
                    <a:pt x="1928" y="2424"/>
                  </a:lnTo>
                  <a:lnTo>
                    <a:pt x="1934" y="2430"/>
                  </a:lnTo>
                  <a:lnTo>
                    <a:pt x="1938" y="2432"/>
                  </a:lnTo>
                  <a:lnTo>
                    <a:pt x="1944" y="2434"/>
                  </a:lnTo>
                  <a:lnTo>
                    <a:pt x="1950" y="2434"/>
                  </a:lnTo>
                  <a:lnTo>
                    <a:pt x="1954" y="2436"/>
                  </a:lnTo>
                  <a:lnTo>
                    <a:pt x="1956" y="2440"/>
                  </a:lnTo>
                  <a:lnTo>
                    <a:pt x="1958" y="2442"/>
                  </a:lnTo>
                  <a:lnTo>
                    <a:pt x="1960" y="2446"/>
                  </a:lnTo>
                  <a:lnTo>
                    <a:pt x="1966" y="2448"/>
                  </a:lnTo>
                  <a:lnTo>
                    <a:pt x="1976" y="2452"/>
                  </a:lnTo>
                  <a:lnTo>
                    <a:pt x="1990" y="2456"/>
                  </a:lnTo>
                  <a:lnTo>
                    <a:pt x="1994" y="2458"/>
                  </a:lnTo>
                  <a:lnTo>
                    <a:pt x="1996" y="2462"/>
                  </a:lnTo>
                  <a:lnTo>
                    <a:pt x="2006" y="2474"/>
                  </a:lnTo>
                  <a:lnTo>
                    <a:pt x="2034" y="2504"/>
                  </a:lnTo>
                  <a:lnTo>
                    <a:pt x="2042" y="2510"/>
                  </a:lnTo>
                  <a:lnTo>
                    <a:pt x="2050" y="2516"/>
                  </a:lnTo>
                  <a:lnTo>
                    <a:pt x="2062" y="2520"/>
                  </a:lnTo>
                  <a:lnTo>
                    <a:pt x="2070" y="2522"/>
                  </a:lnTo>
                  <a:lnTo>
                    <a:pt x="2074" y="2526"/>
                  </a:lnTo>
                  <a:lnTo>
                    <a:pt x="2076" y="2530"/>
                  </a:lnTo>
                  <a:lnTo>
                    <a:pt x="2080" y="2534"/>
                  </a:lnTo>
                  <a:lnTo>
                    <a:pt x="2082" y="2538"/>
                  </a:lnTo>
                  <a:lnTo>
                    <a:pt x="2088" y="2538"/>
                  </a:lnTo>
                  <a:lnTo>
                    <a:pt x="2092" y="2540"/>
                  </a:lnTo>
                  <a:lnTo>
                    <a:pt x="2094" y="2544"/>
                  </a:lnTo>
                  <a:lnTo>
                    <a:pt x="2098" y="2552"/>
                  </a:lnTo>
                  <a:lnTo>
                    <a:pt x="2100" y="2562"/>
                  </a:lnTo>
                  <a:lnTo>
                    <a:pt x="2104" y="2584"/>
                  </a:lnTo>
                  <a:lnTo>
                    <a:pt x="2104" y="2598"/>
                  </a:lnTo>
                  <a:lnTo>
                    <a:pt x="2100" y="2606"/>
                  </a:lnTo>
                  <a:lnTo>
                    <a:pt x="2096" y="2610"/>
                  </a:lnTo>
                  <a:lnTo>
                    <a:pt x="2086" y="2618"/>
                  </a:lnTo>
                  <a:lnTo>
                    <a:pt x="2066" y="2630"/>
                  </a:lnTo>
                  <a:lnTo>
                    <a:pt x="2054" y="2636"/>
                  </a:lnTo>
                  <a:lnTo>
                    <a:pt x="2044" y="2640"/>
                  </a:lnTo>
                  <a:lnTo>
                    <a:pt x="2032" y="2638"/>
                  </a:lnTo>
                  <a:lnTo>
                    <a:pt x="2028" y="2638"/>
                  </a:lnTo>
                  <a:lnTo>
                    <a:pt x="2024" y="2634"/>
                  </a:lnTo>
                  <a:lnTo>
                    <a:pt x="2014" y="2630"/>
                  </a:lnTo>
                  <a:lnTo>
                    <a:pt x="2006" y="2630"/>
                  </a:lnTo>
                  <a:lnTo>
                    <a:pt x="1996" y="2632"/>
                  </a:lnTo>
                  <a:lnTo>
                    <a:pt x="1986" y="2636"/>
                  </a:lnTo>
                  <a:lnTo>
                    <a:pt x="1976" y="2640"/>
                  </a:lnTo>
                  <a:lnTo>
                    <a:pt x="1968" y="2642"/>
                  </a:lnTo>
                  <a:lnTo>
                    <a:pt x="1960" y="2642"/>
                  </a:lnTo>
                  <a:lnTo>
                    <a:pt x="1956" y="2640"/>
                  </a:lnTo>
                  <a:lnTo>
                    <a:pt x="1952" y="2636"/>
                  </a:lnTo>
                  <a:lnTo>
                    <a:pt x="1942" y="2630"/>
                  </a:lnTo>
                  <a:lnTo>
                    <a:pt x="1940" y="2630"/>
                  </a:lnTo>
                  <a:lnTo>
                    <a:pt x="1938" y="2632"/>
                  </a:lnTo>
                  <a:lnTo>
                    <a:pt x="1936" y="2634"/>
                  </a:lnTo>
                  <a:lnTo>
                    <a:pt x="1932" y="2634"/>
                  </a:lnTo>
                  <a:lnTo>
                    <a:pt x="1924" y="2630"/>
                  </a:lnTo>
                  <a:lnTo>
                    <a:pt x="1918" y="2626"/>
                  </a:lnTo>
                  <a:lnTo>
                    <a:pt x="1914" y="2622"/>
                  </a:lnTo>
                  <a:lnTo>
                    <a:pt x="1910" y="2618"/>
                  </a:lnTo>
                  <a:lnTo>
                    <a:pt x="1908" y="2616"/>
                  </a:lnTo>
                  <a:lnTo>
                    <a:pt x="1906" y="2616"/>
                  </a:lnTo>
                  <a:lnTo>
                    <a:pt x="1896" y="2620"/>
                  </a:lnTo>
                  <a:lnTo>
                    <a:pt x="1890" y="2620"/>
                  </a:lnTo>
                  <a:lnTo>
                    <a:pt x="1886" y="2618"/>
                  </a:lnTo>
                  <a:lnTo>
                    <a:pt x="1884" y="2614"/>
                  </a:lnTo>
                  <a:lnTo>
                    <a:pt x="1882" y="2608"/>
                  </a:lnTo>
                  <a:lnTo>
                    <a:pt x="1880" y="2602"/>
                  </a:lnTo>
                  <a:lnTo>
                    <a:pt x="1876" y="2598"/>
                  </a:lnTo>
                  <a:lnTo>
                    <a:pt x="1870" y="2596"/>
                  </a:lnTo>
                  <a:lnTo>
                    <a:pt x="1860" y="2598"/>
                  </a:lnTo>
                  <a:lnTo>
                    <a:pt x="1850" y="2600"/>
                  </a:lnTo>
                  <a:lnTo>
                    <a:pt x="1844" y="2596"/>
                  </a:lnTo>
                  <a:lnTo>
                    <a:pt x="1842" y="2592"/>
                  </a:lnTo>
                  <a:lnTo>
                    <a:pt x="1840" y="2586"/>
                  </a:lnTo>
                  <a:lnTo>
                    <a:pt x="1840" y="2582"/>
                  </a:lnTo>
                  <a:lnTo>
                    <a:pt x="1838" y="2578"/>
                  </a:lnTo>
                  <a:lnTo>
                    <a:pt x="1836" y="2576"/>
                  </a:lnTo>
                  <a:lnTo>
                    <a:pt x="1830" y="2580"/>
                  </a:lnTo>
                  <a:lnTo>
                    <a:pt x="1822" y="2582"/>
                  </a:lnTo>
                  <a:lnTo>
                    <a:pt x="1814" y="2584"/>
                  </a:lnTo>
                  <a:lnTo>
                    <a:pt x="1798" y="2582"/>
                  </a:lnTo>
                  <a:lnTo>
                    <a:pt x="1788" y="2580"/>
                  </a:lnTo>
                  <a:lnTo>
                    <a:pt x="1778" y="2580"/>
                  </a:lnTo>
                  <a:lnTo>
                    <a:pt x="1766" y="2582"/>
                  </a:lnTo>
                  <a:lnTo>
                    <a:pt x="1752" y="2586"/>
                  </a:lnTo>
                  <a:lnTo>
                    <a:pt x="1724" y="2596"/>
                  </a:lnTo>
                  <a:lnTo>
                    <a:pt x="1706" y="2608"/>
                  </a:lnTo>
                  <a:lnTo>
                    <a:pt x="1694" y="2618"/>
                  </a:lnTo>
                  <a:lnTo>
                    <a:pt x="1688" y="2624"/>
                  </a:lnTo>
                  <a:lnTo>
                    <a:pt x="1684" y="2630"/>
                  </a:lnTo>
                  <a:lnTo>
                    <a:pt x="1678" y="2632"/>
                  </a:lnTo>
                  <a:lnTo>
                    <a:pt x="1668" y="2632"/>
                  </a:lnTo>
                  <a:lnTo>
                    <a:pt x="1656" y="2628"/>
                  </a:lnTo>
                  <a:lnTo>
                    <a:pt x="1646" y="2626"/>
                  </a:lnTo>
                  <a:lnTo>
                    <a:pt x="1638" y="2626"/>
                  </a:lnTo>
                  <a:lnTo>
                    <a:pt x="1630" y="2628"/>
                  </a:lnTo>
                  <a:lnTo>
                    <a:pt x="1618" y="2628"/>
                  </a:lnTo>
                  <a:lnTo>
                    <a:pt x="1608" y="2624"/>
                  </a:lnTo>
                  <a:lnTo>
                    <a:pt x="1602" y="2626"/>
                  </a:lnTo>
                  <a:lnTo>
                    <a:pt x="1598" y="2628"/>
                  </a:lnTo>
                  <a:lnTo>
                    <a:pt x="1596" y="2634"/>
                  </a:lnTo>
                  <a:lnTo>
                    <a:pt x="1594" y="2638"/>
                  </a:lnTo>
                  <a:lnTo>
                    <a:pt x="1596" y="2640"/>
                  </a:lnTo>
                  <a:lnTo>
                    <a:pt x="1600" y="2642"/>
                  </a:lnTo>
                  <a:lnTo>
                    <a:pt x="1604" y="2646"/>
                  </a:lnTo>
                  <a:lnTo>
                    <a:pt x="1608" y="2650"/>
                  </a:lnTo>
                  <a:lnTo>
                    <a:pt x="1612" y="2650"/>
                  </a:lnTo>
                  <a:lnTo>
                    <a:pt x="1620" y="2652"/>
                  </a:lnTo>
                  <a:lnTo>
                    <a:pt x="1622" y="2652"/>
                  </a:lnTo>
                  <a:lnTo>
                    <a:pt x="1620" y="2652"/>
                  </a:lnTo>
                  <a:lnTo>
                    <a:pt x="1606" y="2656"/>
                  </a:lnTo>
                  <a:lnTo>
                    <a:pt x="1584" y="2660"/>
                  </a:lnTo>
                  <a:lnTo>
                    <a:pt x="1584" y="2662"/>
                  </a:lnTo>
                  <a:lnTo>
                    <a:pt x="1584" y="2664"/>
                  </a:lnTo>
                  <a:lnTo>
                    <a:pt x="1592" y="2666"/>
                  </a:lnTo>
                  <a:lnTo>
                    <a:pt x="1594" y="2668"/>
                  </a:lnTo>
                  <a:lnTo>
                    <a:pt x="1594" y="2672"/>
                  </a:lnTo>
                  <a:lnTo>
                    <a:pt x="1586" y="2674"/>
                  </a:lnTo>
                  <a:lnTo>
                    <a:pt x="1570" y="2674"/>
                  </a:lnTo>
                  <a:lnTo>
                    <a:pt x="1558" y="2672"/>
                  </a:lnTo>
                  <a:lnTo>
                    <a:pt x="1554" y="2670"/>
                  </a:lnTo>
                  <a:lnTo>
                    <a:pt x="1552" y="2666"/>
                  </a:lnTo>
                  <a:lnTo>
                    <a:pt x="1552" y="2664"/>
                  </a:lnTo>
                  <a:lnTo>
                    <a:pt x="1550" y="2662"/>
                  </a:lnTo>
                  <a:lnTo>
                    <a:pt x="1544" y="2662"/>
                  </a:lnTo>
                  <a:lnTo>
                    <a:pt x="1538" y="2666"/>
                  </a:lnTo>
                  <a:lnTo>
                    <a:pt x="1536" y="2668"/>
                  </a:lnTo>
                  <a:lnTo>
                    <a:pt x="1538" y="2670"/>
                  </a:lnTo>
                  <a:lnTo>
                    <a:pt x="1540" y="2672"/>
                  </a:lnTo>
                  <a:lnTo>
                    <a:pt x="1540" y="2674"/>
                  </a:lnTo>
                  <a:lnTo>
                    <a:pt x="1536" y="2676"/>
                  </a:lnTo>
                  <a:lnTo>
                    <a:pt x="1530" y="2676"/>
                  </a:lnTo>
                  <a:lnTo>
                    <a:pt x="1528" y="2674"/>
                  </a:lnTo>
                  <a:lnTo>
                    <a:pt x="1526" y="2672"/>
                  </a:lnTo>
                  <a:lnTo>
                    <a:pt x="1524" y="2670"/>
                  </a:lnTo>
                  <a:lnTo>
                    <a:pt x="1520" y="2668"/>
                  </a:lnTo>
                  <a:lnTo>
                    <a:pt x="1516" y="2666"/>
                  </a:lnTo>
                  <a:lnTo>
                    <a:pt x="1510" y="2668"/>
                  </a:lnTo>
                  <a:lnTo>
                    <a:pt x="1506" y="2670"/>
                  </a:lnTo>
                  <a:lnTo>
                    <a:pt x="1500" y="2672"/>
                  </a:lnTo>
                  <a:lnTo>
                    <a:pt x="1494" y="2678"/>
                  </a:lnTo>
                  <a:lnTo>
                    <a:pt x="1488" y="2686"/>
                  </a:lnTo>
                  <a:lnTo>
                    <a:pt x="1482" y="2692"/>
                  </a:lnTo>
                  <a:lnTo>
                    <a:pt x="1480" y="2694"/>
                  </a:lnTo>
                  <a:lnTo>
                    <a:pt x="1478" y="2696"/>
                  </a:lnTo>
                  <a:lnTo>
                    <a:pt x="1476" y="2706"/>
                  </a:lnTo>
                  <a:lnTo>
                    <a:pt x="1474" y="2716"/>
                  </a:lnTo>
                  <a:lnTo>
                    <a:pt x="1474" y="2718"/>
                  </a:lnTo>
                  <a:lnTo>
                    <a:pt x="1476" y="2720"/>
                  </a:lnTo>
                  <a:lnTo>
                    <a:pt x="1482" y="2720"/>
                  </a:lnTo>
                  <a:lnTo>
                    <a:pt x="1496" y="2716"/>
                  </a:lnTo>
                  <a:lnTo>
                    <a:pt x="1504" y="2716"/>
                  </a:lnTo>
                  <a:lnTo>
                    <a:pt x="1506" y="2716"/>
                  </a:lnTo>
                  <a:lnTo>
                    <a:pt x="1506" y="2718"/>
                  </a:lnTo>
                  <a:lnTo>
                    <a:pt x="1504" y="2720"/>
                  </a:lnTo>
                  <a:lnTo>
                    <a:pt x="1500" y="2728"/>
                  </a:lnTo>
                  <a:lnTo>
                    <a:pt x="1498" y="2732"/>
                  </a:lnTo>
                  <a:lnTo>
                    <a:pt x="1502" y="2734"/>
                  </a:lnTo>
                  <a:lnTo>
                    <a:pt x="1504" y="2738"/>
                  </a:lnTo>
                  <a:lnTo>
                    <a:pt x="1504" y="2740"/>
                  </a:lnTo>
                  <a:lnTo>
                    <a:pt x="1502" y="2746"/>
                  </a:lnTo>
                  <a:lnTo>
                    <a:pt x="1502" y="2750"/>
                  </a:lnTo>
                  <a:lnTo>
                    <a:pt x="1504" y="2752"/>
                  </a:lnTo>
                  <a:lnTo>
                    <a:pt x="1506" y="2752"/>
                  </a:lnTo>
                  <a:lnTo>
                    <a:pt x="1510" y="2754"/>
                  </a:lnTo>
                  <a:lnTo>
                    <a:pt x="1510" y="2756"/>
                  </a:lnTo>
                  <a:lnTo>
                    <a:pt x="1504" y="2760"/>
                  </a:lnTo>
                  <a:lnTo>
                    <a:pt x="1498" y="2766"/>
                  </a:lnTo>
                  <a:lnTo>
                    <a:pt x="1498" y="2768"/>
                  </a:lnTo>
                  <a:lnTo>
                    <a:pt x="1502" y="2770"/>
                  </a:lnTo>
                  <a:lnTo>
                    <a:pt x="1508" y="2774"/>
                  </a:lnTo>
                  <a:lnTo>
                    <a:pt x="1510" y="2778"/>
                  </a:lnTo>
                  <a:lnTo>
                    <a:pt x="1510" y="2780"/>
                  </a:lnTo>
                  <a:lnTo>
                    <a:pt x="1508" y="2782"/>
                  </a:lnTo>
                  <a:lnTo>
                    <a:pt x="1504" y="2782"/>
                  </a:lnTo>
                  <a:lnTo>
                    <a:pt x="1500" y="2782"/>
                  </a:lnTo>
                  <a:lnTo>
                    <a:pt x="1496" y="2780"/>
                  </a:lnTo>
                  <a:lnTo>
                    <a:pt x="1494" y="2774"/>
                  </a:lnTo>
                  <a:lnTo>
                    <a:pt x="1492" y="2768"/>
                  </a:lnTo>
                  <a:lnTo>
                    <a:pt x="1488" y="2768"/>
                  </a:lnTo>
                  <a:lnTo>
                    <a:pt x="1486" y="2768"/>
                  </a:lnTo>
                  <a:lnTo>
                    <a:pt x="1486" y="2772"/>
                  </a:lnTo>
                  <a:lnTo>
                    <a:pt x="1484" y="2782"/>
                  </a:lnTo>
                  <a:lnTo>
                    <a:pt x="1486" y="2788"/>
                  </a:lnTo>
                  <a:lnTo>
                    <a:pt x="1490" y="2792"/>
                  </a:lnTo>
                  <a:lnTo>
                    <a:pt x="1494" y="2794"/>
                  </a:lnTo>
                  <a:lnTo>
                    <a:pt x="1498" y="2794"/>
                  </a:lnTo>
                  <a:lnTo>
                    <a:pt x="1500" y="2794"/>
                  </a:lnTo>
                  <a:lnTo>
                    <a:pt x="1504" y="2796"/>
                  </a:lnTo>
                  <a:lnTo>
                    <a:pt x="1508" y="2800"/>
                  </a:lnTo>
                  <a:lnTo>
                    <a:pt x="1510" y="2800"/>
                  </a:lnTo>
                  <a:lnTo>
                    <a:pt x="1518" y="2802"/>
                  </a:lnTo>
                  <a:lnTo>
                    <a:pt x="1520" y="2802"/>
                  </a:lnTo>
                  <a:lnTo>
                    <a:pt x="1522" y="2804"/>
                  </a:lnTo>
                  <a:lnTo>
                    <a:pt x="1522" y="2806"/>
                  </a:lnTo>
                  <a:lnTo>
                    <a:pt x="1520" y="2810"/>
                  </a:lnTo>
                  <a:lnTo>
                    <a:pt x="1516" y="2818"/>
                  </a:lnTo>
                  <a:lnTo>
                    <a:pt x="1516" y="2822"/>
                  </a:lnTo>
                  <a:lnTo>
                    <a:pt x="1520" y="2826"/>
                  </a:lnTo>
                  <a:lnTo>
                    <a:pt x="1520" y="2832"/>
                  </a:lnTo>
                  <a:lnTo>
                    <a:pt x="1520" y="2836"/>
                  </a:lnTo>
                  <a:lnTo>
                    <a:pt x="1522" y="2838"/>
                  </a:lnTo>
                  <a:lnTo>
                    <a:pt x="1526" y="2838"/>
                  </a:lnTo>
                  <a:lnTo>
                    <a:pt x="1528" y="2840"/>
                  </a:lnTo>
                  <a:lnTo>
                    <a:pt x="1530" y="2844"/>
                  </a:lnTo>
                  <a:lnTo>
                    <a:pt x="1530" y="2848"/>
                  </a:lnTo>
                  <a:lnTo>
                    <a:pt x="1530" y="2850"/>
                  </a:lnTo>
                  <a:lnTo>
                    <a:pt x="1524" y="2850"/>
                  </a:lnTo>
                  <a:lnTo>
                    <a:pt x="1518" y="2850"/>
                  </a:lnTo>
                  <a:lnTo>
                    <a:pt x="1520" y="2854"/>
                  </a:lnTo>
                  <a:lnTo>
                    <a:pt x="1522" y="2856"/>
                  </a:lnTo>
                  <a:lnTo>
                    <a:pt x="1528" y="2858"/>
                  </a:lnTo>
                  <a:lnTo>
                    <a:pt x="1542" y="2856"/>
                  </a:lnTo>
                  <a:lnTo>
                    <a:pt x="1552" y="2856"/>
                  </a:lnTo>
                  <a:lnTo>
                    <a:pt x="1556" y="2858"/>
                  </a:lnTo>
                  <a:lnTo>
                    <a:pt x="1554" y="2860"/>
                  </a:lnTo>
                  <a:lnTo>
                    <a:pt x="1550" y="2864"/>
                  </a:lnTo>
                  <a:lnTo>
                    <a:pt x="1546" y="2866"/>
                  </a:lnTo>
                  <a:lnTo>
                    <a:pt x="1534" y="2868"/>
                  </a:lnTo>
                  <a:lnTo>
                    <a:pt x="1526" y="2870"/>
                  </a:lnTo>
                  <a:lnTo>
                    <a:pt x="1524" y="2870"/>
                  </a:lnTo>
                  <a:lnTo>
                    <a:pt x="1526" y="2872"/>
                  </a:lnTo>
                  <a:lnTo>
                    <a:pt x="1528" y="2876"/>
                  </a:lnTo>
                  <a:lnTo>
                    <a:pt x="1532" y="2876"/>
                  </a:lnTo>
                  <a:lnTo>
                    <a:pt x="1540" y="2874"/>
                  </a:lnTo>
                  <a:lnTo>
                    <a:pt x="1548" y="2872"/>
                  </a:lnTo>
                  <a:lnTo>
                    <a:pt x="1550" y="2872"/>
                  </a:lnTo>
                  <a:lnTo>
                    <a:pt x="1552" y="2876"/>
                  </a:lnTo>
                  <a:lnTo>
                    <a:pt x="1552" y="2878"/>
                  </a:lnTo>
                  <a:lnTo>
                    <a:pt x="1554" y="2878"/>
                  </a:lnTo>
                  <a:lnTo>
                    <a:pt x="1560" y="2872"/>
                  </a:lnTo>
                  <a:lnTo>
                    <a:pt x="1564" y="2870"/>
                  </a:lnTo>
                  <a:lnTo>
                    <a:pt x="1568" y="2868"/>
                  </a:lnTo>
                  <a:lnTo>
                    <a:pt x="1572" y="2868"/>
                  </a:lnTo>
                  <a:lnTo>
                    <a:pt x="1576" y="2870"/>
                  </a:lnTo>
                  <a:lnTo>
                    <a:pt x="1580" y="2874"/>
                  </a:lnTo>
                  <a:lnTo>
                    <a:pt x="1582" y="2874"/>
                  </a:lnTo>
                  <a:lnTo>
                    <a:pt x="1588" y="2874"/>
                  </a:lnTo>
                  <a:lnTo>
                    <a:pt x="1590" y="2872"/>
                  </a:lnTo>
                  <a:lnTo>
                    <a:pt x="1592" y="2874"/>
                  </a:lnTo>
                  <a:lnTo>
                    <a:pt x="1594" y="2880"/>
                  </a:lnTo>
                  <a:lnTo>
                    <a:pt x="1598" y="2886"/>
                  </a:lnTo>
                  <a:lnTo>
                    <a:pt x="1602" y="2892"/>
                  </a:lnTo>
                  <a:lnTo>
                    <a:pt x="1610" y="2900"/>
                  </a:lnTo>
                  <a:lnTo>
                    <a:pt x="1616" y="2902"/>
                  </a:lnTo>
                  <a:lnTo>
                    <a:pt x="1620" y="2904"/>
                  </a:lnTo>
                  <a:lnTo>
                    <a:pt x="1624" y="2904"/>
                  </a:lnTo>
                  <a:lnTo>
                    <a:pt x="1628" y="2902"/>
                  </a:lnTo>
                  <a:lnTo>
                    <a:pt x="1634" y="2896"/>
                  </a:lnTo>
                  <a:lnTo>
                    <a:pt x="1638" y="2894"/>
                  </a:lnTo>
                  <a:lnTo>
                    <a:pt x="1640" y="2894"/>
                  </a:lnTo>
                  <a:lnTo>
                    <a:pt x="1642" y="2896"/>
                  </a:lnTo>
                  <a:lnTo>
                    <a:pt x="1646" y="2898"/>
                  </a:lnTo>
                  <a:lnTo>
                    <a:pt x="1648" y="2896"/>
                  </a:lnTo>
                  <a:lnTo>
                    <a:pt x="1652" y="2894"/>
                  </a:lnTo>
                  <a:lnTo>
                    <a:pt x="1654" y="2890"/>
                  </a:lnTo>
                  <a:lnTo>
                    <a:pt x="1654" y="2884"/>
                  </a:lnTo>
                  <a:lnTo>
                    <a:pt x="1654" y="2872"/>
                  </a:lnTo>
                  <a:lnTo>
                    <a:pt x="1656" y="2866"/>
                  </a:lnTo>
                  <a:lnTo>
                    <a:pt x="1662" y="2864"/>
                  </a:lnTo>
                  <a:lnTo>
                    <a:pt x="1670" y="2864"/>
                  </a:lnTo>
                  <a:lnTo>
                    <a:pt x="1686" y="2868"/>
                  </a:lnTo>
                  <a:lnTo>
                    <a:pt x="1700" y="2874"/>
                  </a:lnTo>
                  <a:lnTo>
                    <a:pt x="1712" y="2882"/>
                  </a:lnTo>
                  <a:lnTo>
                    <a:pt x="1720" y="2890"/>
                  </a:lnTo>
                  <a:lnTo>
                    <a:pt x="1728" y="2898"/>
                  </a:lnTo>
                  <a:lnTo>
                    <a:pt x="1732" y="2904"/>
                  </a:lnTo>
                  <a:lnTo>
                    <a:pt x="1738" y="2908"/>
                  </a:lnTo>
                  <a:lnTo>
                    <a:pt x="1744" y="2910"/>
                  </a:lnTo>
                  <a:lnTo>
                    <a:pt x="1752" y="2908"/>
                  </a:lnTo>
                  <a:lnTo>
                    <a:pt x="1766" y="2904"/>
                  </a:lnTo>
                  <a:lnTo>
                    <a:pt x="1778" y="2902"/>
                  </a:lnTo>
                  <a:lnTo>
                    <a:pt x="1782" y="2900"/>
                  </a:lnTo>
                  <a:lnTo>
                    <a:pt x="1788" y="2898"/>
                  </a:lnTo>
                  <a:lnTo>
                    <a:pt x="1794" y="2892"/>
                  </a:lnTo>
                  <a:lnTo>
                    <a:pt x="1802" y="2884"/>
                  </a:lnTo>
                  <a:lnTo>
                    <a:pt x="1814" y="2872"/>
                  </a:lnTo>
                  <a:lnTo>
                    <a:pt x="1822" y="2868"/>
                  </a:lnTo>
                  <a:lnTo>
                    <a:pt x="1828" y="2868"/>
                  </a:lnTo>
                  <a:lnTo>
                    <a:pt x="1834" y="2872"/>
                  </a:lnTo>
                  <a:lnTo>
                    <a:pt x="1838" y="2876"/>
                  </a:lnTo>
                  <a:lnTo>
                    <a:pt x="1844" y="2880"/>
                  </a:lnTo>
                  <a:lnTo>
                    <a:pt x="1848" y="2880"/>
                  </a:lnTo>
                  <a:lnTo>
                    <a:pt x="1856" y="2876"/>
                  </a:lnTo>
                  <a:lnTo>
                    <a:pt x="1868" y="2864"/>
                  </a:lnTo>
                  <a:lnTo>
                    <a:pt x="1876" y="2860"/>
                  </a:lnTo>
                  <a:lnTo>
                    <a:pt x="1878" y="2860"/>
                  </a:lnTo>
                  <a:lnTo>
                    <a:pt x="1880" y="2862"/>
                  </a:lnTo>
                  <a:lnTo>
                    <a:pt x="1882" y="2870"/>
                  </a:lnTo>
                  <a:lnTo>
                    <a:pt x="1882" y="2874"/>
                  </a:lnTo>
                  <a:lnTo>
                    <a:pt x="1880" y="2878"/>
                  </a:lnTo>
                  <a:lnTo>
                    <a:pt x="1872" y="2886"/>
                  </a:lnTo>
                  <a:lnTo>
                    <a:pt x="1866" y="2892"/>
                  </a:lnTo>
                  <a:lnTo>
                    <a:pt x="1864" y="2894"/>
                  </a:lnTo>
                  <a:lnTo>
                    <a:pt x="1866" y="2896"/>
                  </a:lnTo>
                  <a:lnTo>
                    <a:pt x="1872" y="2906"/>
                  </a:lnTo>
                  <a:lnTo>
                    <a:pt x="1872" y="2910"/>
                  </a:lnTo>
                  <a:lnTo>
                    <a:pt x="1872" y="2914"/>
                  </a:lnTo>
                  <a:lnTo>
                    <a:pt x="1868" y="2918"/>
                  </a:lnTo>
                  <a:lnTo>
                    <a:pt x="1864" y="2924"/>
                  </a:lnTo>
                  <a:lnTo>
                    <a:pt x="1862" y="2930"/>
                  </a:lnTo>
                  <a:lnTo>
                    <a:pt x="1866" y="2940"/>
                  </a:lnTo>
                  <a:lnTo>
                    <a:pt x="1870" y="2948"/>
                  </a:lnTo>
                  <a:lnTo>
                    <a:pt x="1870" y="2956"/>
                  </a:lnTo>
                  <a:lnTo>
                    <a:pt x="1870" y="2966"/>
                  </a:lnTo>
                  <a:lnTo>
                    <a:pt x="1872" y="2980"/>
                  </a:lnTo>
                  <a:lnTo>
                    <a:pt x="1872" y="2986"/>
                  </a:lnTo>
                  <a:lnTo>
                    <a:pt x="1870" y="2990"/>
                  </a:lnTo>
                  <a:lnTo>
                    <a:pt x="1866" y="2996"/>
                  </a:lnTo>
                  <a:lnTo>
                    <a:pt x="1860" y="3000"/>
                  </a:lnTo>
                  <a:lnTo>
                    <a:pt x="1858" y="3006"/>
                  </a:lnTo>
                  <a:lnTo>
                    <a:pt x="1858" y="3012"/>
                  </a:lnTo>
                  <a:lnTo>
                    <a:pt x="1858" y="3020"/>
                  </a:lnTo>
                  <a:lnTo>
                    <a:pt x="1856" y="3020"/>
                  </a:lnTo>
                  <a:lnTo>
                    <a:pt x="1854" y="3024"/>
                  </a:lnTo>
                  <a:lnTo>
                    <a:pt x="1850" y="3034"/>
                  </a:lnTo>
                  <a:lnTo>
                    <a:pt x="1848" y="3044"/>
                  </a:lnTo>
                  <a:lnTo>
                    <a:pt x="1846" y="3050"/>
                  </a:lnTo>
                  <a:lnTo>
                    <a:pt x="1842" y="3054"/>
                  </a:lnTo>
                  <a:lnTo>
                    <a:pt x="1838" y="3064"/>
                  </a:lnTo>
                  <a:lnTo>
                    <a:pt x="1824" y="3108"/>
                  </a:lnTo>
                  <a:lnTo>
                    <a:pt x="1818" y="3130"/>
                  </a:lnTo>
                  <a:lnTo>
                    <a:pt x="1814" y="3144"/>
                  </a:lnTo>
                  <a:lnTo>
                    <a:pt x="1806" y="3154"/>
                  </a:lnTo>
                  <a:lnTo>
                    <a:pt x="1800" y="3160"/>
                  </a:lnTo>
                  <a:lnTo>
                    <a:pt x="1768" y="3170"/>
                  </a:lnTo>
                  <a:lnTo>
                    <a:pt x="1764" y="3170"/>
                  </a:lnTo>
                  <a:lnTo>
                    <a:pt x="1760" y="3166"/>
                  </a:lnTo>
                  <a:lnTo>
                    <a:pt x="1756" y="3164"/>
                  </a:lnTo>
                  <a:lnTo>
                    <a:pt x="1754" y="3166"/>
                  </a:lnTo>
                  <a:lnTo>
                    <a:pt x="1748" y="3168"/>
                  </a:lnTo>
                  <a:lnTo>
                    <a:pt x="1744" y="3170"/>
                  </a:lnTo>
                  <a:lnTo>
                    <a:pt x="1740" y="3170"/>
                  </a:lnTo>
                  <a:lnTo>
                    <a:pt x="1734" y="3168"/>
                  </a:lnTo>
                  <a:lnTo>
                    <a:pt x="1728" y="3164"/>
                  </a:lnTo>
                  <a:lnTo>
                    <a:pt x="1726" y="3162"/>
                  </a:lnTo>
                  <a:lnTo>
                    <a:pt x="1724" y="3162"/>
                  </a:lnTo>
                  <a:lnTo>
                    <a:pt x="1724" y="3164"/>
                  </a:lnTo>
                  <a:lnTo>
                    <a:pt x="1724" y="3168"/>
                  </a:lnTo>
                  <a:lnTo>
                    <a:pt x="1720" y="3170"/>
                  </a:lnTo>
                  <a:lnTo>
                    <a:pt x="1734" y="3232"/>
                  </a:lnTo>
                  <a:lnTo>
                    <a:pt x="1734" y="3230"/>
                  </a:lnTo>
                  <a:lnTo>
                    <a:pt x="1738" y="3232"/>
                  </a:lnTo>
                  <a:lnTo>
                    <a:pt x="1738" y="3236"/>
                  </a:lnTo>
                  <a:lnTo>
                    <a:pt x="1738" y="3242"/>
                  </a:lnTo>
                  <a:lnTo>
                    <a:pt x="1740" y="3252"/>
                  </a:lnTo>
                  <a:lnTo>
                    <a:pt x="1744" y="3260"/>
                  </a:lnTo>
                  <a:lnTo>
                    <a:pt x="1750" y="3266"/>
                  </a:lnTo>
                  <a:lnTo>
                    <a:pt x="1754" y="3272"/>
                  </a:lnTo>
                  <a:lnTo>
                    <a:pt x="1758" y="3278"/>
                  </a:lnTo>
                  <a:lnTo>
                    <a:pt x="1760" y="3288"/>
                  </a:lnTo>
                  <a:lnTo>
                    <a:pt x="1762" y="3300"/>
                  </a:lnTo>
                  <a:lnTo>
                    <a:pt x="1766" y="3306"/>
                  </a:lnTo>
                  <a:lnTo>
                    <a:pt x="1770" y="3312"/>
                  </a:lnTo>
                  <a:lnTo>
                    <a:pt x="1784" y="3328"/>
                  </a:lnTo>
                  <a:lnTo>
                    <a:pt x="1792" y="3340"/>
                  </a:lnTo>
                  <a:lnTo>
                    <a:pt x="1796" y="3344"/>
                  </a:lnTo>
                  <a:lnTo>
                    <a:pt x="1800" y="3346"/>
                  </a:lnTo>
                  <a:lnTo>
                    <a:pt x="1802" y="3344"/>
                  </a:lnTo>
                  <a:lnTo>
                    <a:pt x="1804" y="3340"/>
                  </a:lnTo>
                  <a:lnTo>
                    <a:pt x="1810" y="3328"/>
                  </a:lnTo>
                  <a:lnTo>
                    <a:pt x="1812" y="3314"/>
                  </a:lnTo>
                  <a:lnTo>
                    <a:pt x="1816" y="3292"/>
                  </a:lnTo>
                  <a:lnTo>
                    <a:pt x="1830" y="3254"/>
                  </a:lnTo>
                  <a:lnTo>
                    <a:pt x="1832" y="3250"/>
                  </a:lnTo>
                  <a:lnTo>
                    <a:pt x="1832" y="3256"/>
                  </a:lnTo>
                  <a:lnTo>
                    <a:pt x="1832" y="3260"/>
                  </a:lnTo>
                  <a:lnTo>
                    <a:pt x="1826" y="3286"/>
                  </a:lnTo>
                  <a:lnTo>
                    <a:pt x="1826" y="3296"/>
                  </a:lnTo>
                  <a:lnTo>
                    <a:pt x="1826" y="3302"/>
                  </a:lnTo>
                  <a:lnTo>
                    <a:pt x="1822" y="3312"/>
                  </a:lnTo>
                  <a:lnTo>
                    <a:pt x="1818" y="3328"/>
                  </a:lnTo>
                  <a:lnTo>
                    <a:pt x="1818" y="3330"/>
                  </a:lnTo>
                  <a:lnTo>
                    <a:pt x="1824" y="3328"/>
                  </a:lnTo>
                  <a:lnTo>
                    <a:pt x="1828" y="3326"/>
                  </a:lnTo>
                  <a:lnTo>
                    <a:pt x="1834" y="3326"/>
                  </a:lnTo>
                  <a:lnTo>
                    <a:pt x="1838" y="3328"/>
                  </a:lnTo>
                  <a:lnTo>
                    <a:pt x="1840" y="3330"/>
                  </a:lnTo>
                  <a:lnTo>
                    <a:pt x="1848" y="3340"/>
                  </a:lnTo>
                  <a:lnTo>
                    <a:pt x="1864" y="3372"/>
                  </a:lnTo>
                  <a:lnTo>
                    <a:pt x="1880" y="3406"/>
                  </a:lnTo>
                  <a:lnTo>
                    <a:pt x="1888" y="3418"/>
                  </a:lnTo>
                  <a:lnTo>
                    <a:pt x="1896" y="3428"/>
                  </a:lnTo>
                  <a:lnTo>
                    <a:pt x="1900" y="3434"/>
                  </a:lnTo>
                  <a:lnTo>
                    <a:pt x="1900" y="3440"/>
                  </a:lnTo>
                  <a:lnTo>
                    <a:pt x="1902" y="3444"/>
                  </a:lnTo>
                  <a:lnTo>
                    <a:pt x="1908" y="3450"/>
                  </a:lnTo>
                  <a:lnTo>
                    <a:pt x="1916" y="3458"/>
                  </a:lnTo>
                  <a:lnTo>
                    <a:pt x="1922" y="3470"/>
                  </a:lnTo>
                  <a:lnTo>
                    <a:pt x="1926" y="3482"/>
                  </a:lnTo>
                  <a:lnTo>
                    <a:pt x="1926" y="3486"/>
                  </a:lnTo>
                  <a:lnTo>
                    <a:pt x="1924" y="3492"/>
                  </a:lnTo>
                  <a:lnTo>
                    <a:pt x="1922" y="3496"/>
                  </a:lnTo>
                  <a:lnTo>
                    <a:pt x="1924" y="3502"/>
                  </a:lnTo>
                  <a:lnTo>
                    <a:pt x="1926" y="3506"/>
                  </a:lnTo>
                  <a:lnTo>
                    <a:pt x="1928" y="3512"/>
                  </a:lnTo>
                  <a:lnTo>
                    <a:pt x="1938" y="3522"/>
                  </a:lnTo>
                  <a:lnTo>
                    <a:pt x="1944" y="3526"/>
                  </a:lnTo>
                  <a:lnTo>
                    <a:pt x="1952" y="3528"/>
                  </a:lnTo>
                  <a:lnTo>
                    <a:pt x="1958" y="3532"/>
                  </a:lnTo>
                  <a:lnTo>
                    <a:pt x="1964" y="3538"/>
                  </a:lnTo>
                  <a:lnTo>
                    <a:pt x="1970" y="3548"/>
                  </a:lnTo>
                  <a:lnTo>
                    <a:pt x="1976" y="3560"/>
                  </a:lnTo>
                  <a:lnTo>
                    <a:pt x="1988" y="3586"/>
                  </a:lnTo>
                  <a:lnTo>
                    <a:pt x="1996" y="3610"/>
                  </a:lnTo>
                  <a:lnTo>
                    <a:pt x="1998" y="3620"/>
                  </a:lnTo>
                  <a:lnTo>
                    <a:pt x="1998" y="3626"/>
                  </a:lnTo>
                  <a:lnTo>
                    <a:pt x="1998" y="3632"/>
                  </a:lnTo>
                  <a:lnTo>
                    <a:pt x="1996" y="3636"/>
                  </a:lnTo>
                  <a:lnTo>
                    <a:pt x="1994" y="3638"/>
                  </a:lnTo>
                  <a:lnTo>
                    <a:pt x="1992" y="3642"/>
                  </a:lnTo>
                  <a:lnTo>
                    <a:pt x="1994" y="3648"/>
                  </a:lnTo>
                  <a:lnTo>
                    <a:pt x="1996" y="3656"/>
                  </a:lnTo>
                  <a:lnTo>
                    <a:pt x="2000" y="3664"/>
                  </a:lnTo>
                  <a:lnTo>
                    <a:pt x="2000" y="3668"/>
                  </a:lnTo>
                  <a:lnTo>
                    <a:pt x="1998" y="3670"/>
                  </a:lnTo>
                  <a:lnTo>
                    <a:pt x="1998" y="3672"/>
                  </a:lnTo>
                  <a:lnTo>
                    <a:pt x="1996" y="3674"/>
                  </a:lnTo>
                  <a:lnTo>
                    <a:pt x="1996" y="3676"/>
                  </a:lnTo>
                  <a:lnTo>
                    <a:pt x="2004" y="3690"/>
                  </a:lnTo>
                  <a:lnTo>
                    <a:pt x="2014" y="3706"/>
                  </a:lnTo>
                  <a:lnTo>
                    <a:pt x="2020" y="3716"/>
                  </a:lnTo>
                  <a:lnTo>
                    <a:pt x="2026" y="3722"/>
                  </a:lnTo>
                  <a:lnTo>
                    <a:pt x="2036" y="3726"/>
                  </a:lnTo>
                  <a:lnTo>
                    <a:pt x="2042" y="3730"/>
                  </a:lnTo>
                  <a:lnTo>
                    <a:pt x="2048" y="3734"/>
                  </a:lnTo>
                  <a:lnTo>
                    <a:pt x="2058" y="3744"/>
                  </a:lnTo>
                  <a:lnTo>
                    <a:pt x="2064" y="3758"/>
                  </a:lnTo>
                  <a:lnTo>
                    <a:pt x="2072" y="3770"/>
                  </a:lnTo>
                  <a:lnTo>
                    <a:pt x="2078" y="3778"/>
                  </a:lnTo>
                  <a:lnTo>
                    <a:pt x="2082" y="3782"/>
                  </a:lnTo>
                  <a:lnTo>
                    <a:pt x="2084" y="3786"/>
                  </a:lnTo>
                  <a:lnTo>
                    <a:pt x="2084" y="3796"/>
                  </a:lnTo>
                  <a:lnTo>
                    <a:pt x="2086" y="3804"/>
                  </a:lnTo>
                  <a:lnTo>
                    <a:pt x="2088" y="3810"/>
                  </a:lnTo>
                  <a:lnTo>
                    <a:pt x="2092" y="3816"/>
                  </a:lnTo>
                  <a:lnTo>
                    <a:pt x="2094" y="3824"/>
                  </a:lnTo>
                  <a:lnTo>
                    <a:pt x="2096" y="3830"/>
                  </a:lnTo>
                  <a:lnTo>
                    <a:pt x="2098" y="3836"/>
                  </a:lnTo>
                  <a:lnTo>
                    <a:pt x="2108" y="3848"/>
                  </a:lnTo>
                  <a:lnTo>
                    <a:pt x="2120" y="3862"/>
                  </a:lnTo>
                  <a:lnTo>
                    <a:pt x="2124" y="3870"/>
                  </a:lnTo>
                  <a:lnTo>
                    <a:pt x="2126" y="3878"/>
                  </a:lnTo>
                  <a:lnTo>
                    <a:pt x="2128" y="3884"/>
                  </a:lnTo>
                  <a:lnTo>
                    <a:pt x="2130" y="3886"/>
                  </a:lnTo>
                  <a:lnTo>
                    <a:pt x="2134" y="3886"/>
                  </a:lnTo>
                  <a:lnTo>
                    <a:pt x="2138" y="3888"/>
                  </a:lnTo>
                  <a:lnTo>
                    <a:pt x="2140" y="3892"/>
                  </a:lnTo>
                  <a:lnTo>
                    <a:pt x="2144" y="3902"/>
                  </a:lnTo>
                  <a:lnTo>
                    <a:pt x="2146" y="3918"/>
                  </a:lnTo>
                  <a:lnTo>
                    <a:pt x="2148" y="3936"/>
                  </a:lnTo>
                  <a:lnTo>
                    <a:pt x="2146" y="3944"/>
                  </a:lnTo>
                  <a:lnTo>
                    <a:pt x="2142" y="3952"/>
                  </a:lnTo>
                  <a:lnTo>
                    <a:pt x="2142" y="3954"/>
                  </a:lnTo>
                  <a:lnTo>
                    <a:pt x="2142" y="3958"/>
                  </a:lnTo>
                  <a:lnTo>
                    <a:pt x="2144" y="3964"/>
                  </a:lnTo>
                  <a:lnTo>
                    <a:pt x="2146" y="3968"/>
                  </a:lnTo>
                  <a:lnTo>
                    <a:pt x="2146" y="3972"/>
                  </a:lnTo>
                  <a:lnTo>
                    <a:pt x="2144" y="3974"/>
                  </a:lnTo>
                  <a:lnTo>
                    <a:pt x="2140" y="3976"/>
                  </a:lnTo>
                  <a:lnTo>
                    <a:pt x="2142" y="3980"/>
                  </a:lnTo>
                  <a:lnTo>
                    <a:pt x="2146" y="3982"/>
                  </a:lnTo>
                  <a:lnTo>
                    <a:pt x="2148" y="3986"/>
                  </a:lnTo>
                  <a:lnTo>
                    <a:pt x="2150" y="3988"/>
                  </a:lnTo>
                  <a:lnTo>
                    <a:pt x="2150" y="3996"/>
                  </a:lnTo>
                  <a:lnTo>
                    <a:pt x="2152" y="4000"/>
                  </a:lnTo>
                  <a:lnTo>
                    <a:pt x="2154" y="4008"/>
                  </a:lnTo>
                  <a:lnTo>
                    <a:pt x="2156" y="4020"/>
                  </a:lnTo>
                  <a:lnTo>
                    <a:pt x="2158" y="4034"/>
                  </a:lnTo>
                  <a:lnTo>
                    <a:pt x="2162" y="4044"/>
                  </a:lnTo>
                  <a:lnTo>
                    <a:pt x="2166" y="4054"/>
                  </a:lnTo>
                  <a:lnTo>
                    <a:pt x="2166" y="4058"/>
                  </a:lnTo>
                  <a:lnTo>
                    <a:pt x="2166" y="4064"/>
                  </a:lnTo>
                  <a:lnTo>
                    <a:pt x="2164" y="4072"/>
                  </a:lnTo>
                  <a:lnTo>
                    <a:pt x="2166" y="4076"/>
                  </a:lnTo>
                  <a:lnTo>
                    <a:pt x="2168" y="4082"/>
                  </a:lnTo>
                  <a:lnTo>
                    <a:pt x="2172" y="4092"/>
                  </a:lnTo>
                  <a:lnTo>
                    <a:pt x="2176" y="4100"/>
                  </a:lnTo>
                  <a:lnTo>
                    <a:pt x="2178" y="4102"/>
                  </a:lnTo>
                  <a:lnTo>
                    <a:pt x="2180" y="4102"/>
                  </a:lnTo>
                  <a:lnTo>
                    <a:pt x="2184" y="4100"/>
                  </a:lnTo>
                  <a:lnTo>
                    <a:pt x="2186" y="4102"/>
                  </a:lnTo>
                  <a:lnTo>
                    <a:pt x="2190" y="4104"/>
                  </a:lnTo>
                  <a:lnTo>
                    <a:pt x="2196" y="4108"/>
                  </a:lnTo>
                  <a:lnTo>
                    <a:pt x="2200" y="4106"/>
                  </a:lnTo>
                  <a:lnTo>
                    <a:pt x="2204" y="4104"/>
                  </a:lnTo>
                  <a:lnTo>
                    <a:pt x="2208" y="4104"/>
                  </a:lnTo>
                  <a:lnTo>
                    <a:pt x="2212" y="4104"/>
                  </a:lnTo>
                  <a:lnTo>
                    <a:pt x="2214" y="4102"/>
                  </a:lnTo>
                  <a:lnTo>
                    <a:pt x="2218" y="4098"/>
                  </a:lnTo>
                  <a:lnTo>
                    <a:pt x="2226" y="4098"/>
                  </a:lnTo>
                  <a:lnTo>
                    <a:pt x="2232" y="4100"/>
                  </a:lnTo>
                  <a:lnTo>
                    <a:pt x="2236" y="4098"/>
                  </a:lnTo>
                  <a:lnTo>
                    <a:pt x="2238" y="4096"/>
                  </a:lnTo>
                  <a:lnTo>
                    <a:pt x="2240" y="4094"/>
                  </a:lnTo>
                  <a:lnTo>
                    <a:pt x="2242" y="4090"/>
                  </a:lnTo>
                  <a:lnTo>
                    <a:pt x="2244" y="4088"/>
                  </a:lnTo>
                  <a:lnTo>
                    <a:pt x="2248" y="4088"/>
                  </a:lnTo>
                  <a:lnTo>
                    <a:pt x="2252" y="4086"/>
                  </a:lnTo>
                  <a:lnTo>
                    <a:pt x="2254" y="4084"/>
                  </a:lnTo>
                  <a:lnTo>
                    <a:pt x="2258" y="4074"/>
                  </a:lnTo>
                  <a:lnTo>
                    <a:pt x="2262" y="4070"/>
                  </a:lnTo>
                  <a:lnTo>
                    <a:pt x="2266" y="4068"/>
                  </a:lnTo>
                  <a:lnTo>
                    <a:pt x="2274" y="4066"/>
                  </a:lnTo>
                  <a:lnTo>
                    <a:pt x="2284" y="4066"/>
                  </a:lnTo>
                  <a:lnTo>
                    <a:pt x="2300" y="4066"/>
                  </a:lnTo>
                  <a:lnTo>
                    <a:pt x="2312" y="4062"/>
                  </a:lnTo>
                  <a:lnTo>
                    <a:pt x="2324" y="4058"/>
                  </a:lnTo>
                  <a:lnTo>
                    <a:pt x="2334" y="4050"/>
                  </a:lnTo>
                  <a:lnTo>
                    <a:pt x="2348" y="4038"/>
                  </a:lnTo>
                  <a:lnTo>
                    <a:pt x="2356" y="4036"/>
                  </a:lnTo>
                  <a:lnTo>
                    <a:pt x="2364" y="4036"/>
                  </a:lnTo>
                  <a:lnTo>
                    <a:pt x="2370" y="4038"/>
                  </a:lnTo>
                  <a:lnTo>
                    <a:pt x="2374" y="4038"/>
                  </a:lnTo>
                  <a:lnTo>
                    <a:pt x="2382" y="4034"/>
                  </a:lnTo>
                  <a:lnTo>
                    <a:pt x="2390" y="4028"/>
                  </a:lnTo>
                  <a:lnTo>
                    <a:pt x="2398" y="4020"/>
                  </a:lnTo>
                  <a:lnTo>
                    <a:pt x="2406" y="4010"/>
                  </a:lnTo>
                  <a:lnTo>
                    <a:pt x="2416" y="4002"/>
                  </a:lnTo>
                  <a:lnTo>
                    <a:pt x="2426" y="3998"/>
                  </a:lnTo>
                  <a:lnTo>
                    <a:pt x="2432" y="3996"/>
                  </a:lnTo>
                  <a:lnTo>
                    <a:pt x="2438" y="3998"/>
                  </a:lnTo>
                  <a:lnTo>
                    <a:pt x="2442" y="3998"/>
                  </a:lnTo>
                  <a:lnTo>
                    <a:pt x="2446" y="3996"/>
                  </a:lnTo>
                  <a:lnTo>
                    <a:pt x="2452" y="3992"/>
                  </a:lnTo>
                  <a:lnTo>
                    <a:pt x="2462" y="3986"/>
                  </a:lnTo>
                  <a:lnTo>
                    <a:pt x="2468" y="3982"/>
                  </a:lnTo>
                  <a:lnTo>
                    <a:pt x="2480" y="3978"/>
                  </a:lnTo>
                  <a:lnTo>
                    <a:pt x="2500" y="3972"/>
                  </a:lnTo>
                  <a:lnTo>
                    <a:pt x="2506" y="3968"/>
                  </a:lnTo>
                  <a:lnTo>
                    <a:pt x="2510" y="3966"/>
                  </a:lnTo>
                  <a:lnTo>
                    <a:pt x="2520" y="3962"/>
                  </a:lnTo>
                  <a:lnTo>
                    <a:pt x="2526" y="3960"/>
                  </a:lnTo>
                  <a:lnTo>
                    <a:pt x="2528" y="3954"/>
                  </a:lnTo>
                  <a:lnTo>
                    <a:pt x="2528" y="3942"/>
                  </a:lnTo>
                  <a:lnTo>
                    <a:pt x="2528" y="3934"/>
                  </a:lnTo>
                  <a:lnTo>
                    <a:pt x="2532" y="3926"/>
                  </a:lnTo>
                  <a:lnTo>
                    <a:pt x="2542" y="3916"/>
                  </a:lnTo>
                  <a:lnTo>
                    <a:pt x="2562" y="3906"/>
                  </a:lnTo>
                  <a:lnTo>
                    <a:pt x="2566" y="3902"/>
                  </a:lnTo>
                  <a:lnTo>
                    <a:pt x="2572" y="3902"/>
                  </a:lnTo>
                  <a:lnTo>
                    <a:pt x="2578" y="3902"/>
                  </a:lnTo>
                  <a:lnTo>
                    <a:pt x="2584" y="3902"/>
                  </a:lnTo>
                  <a:lnTo>
                    <a:pt x="2586" y="3900"/>
                  </a:lnTo>
                  <a:lnTo>
                    <a:pt x="2594" y="3894"/>
                  </a:lnTo>
                  <a:lnTo>
                    <a:pt x="2600" y="3892"/>
                  </a:lnTo>
                  <a:lnTo>
                    <a:pt x="2606" y="3890"/>
                  </a:lnTo>
                  <a:lnTo>
                    <a:pt x="2614" y="3888"/>
                  </a:lnTo>
                  <a:lnTo>
                    <a:pt x="2624" y="3890"/>
                  </a:lnTo>
                  <a:lnTo>
                    <a:pt x="2630" y="3890"/>
                  </a:lnTo>
                  <a:lnTo>
                    <a:pt x="2634" y="3890"/>
                  </a:lnTo>
                  <a:lnTo>
                    <a:pt x="2638" y="3888"/>
                  </a:lnTo>
                  <a:lnTo>
                    <a:pt x="2642" y="3886"/>
                  </a:lnTo>
                  <a:lnTo>
                    <a:pt x="2646" y="3878"/>
                  </a:lnTo>
                  <a:lnTo>
                    <a:pt x="2650" y="3868"/>
                  </a:lnTo>
                  <a:lnTo>
                    <a:pt x="2654" y="3858"/>
                  </a:lnTo>
                  <a:lnTo>
                    <a:pt x="2658" y="3850"/>
                  </a:lnTo>
                  <a:lnTo>
                    <a:pt x="2664" y="3844"/>
                  </a:lnTo>
                  <a:lnTo>
                    <a:pt x="2670" y="3842"/>
                  </a:lnTo>
                  <a:lnTo>
                    <a:pt x="2676" y="3842"/>
                  </a:lnTo>
                  <a:lnTo>
                    <a:pt x="2690" y="3840"/>
                  </a:lnTo>
                  <a:lnTo>
                    <a:pt x="2698" y="3836"/>
                  </a:lnTo>
                  <a:lnTo>
                    <a:pt x="2702" y="3830"/>
                  </a:lnTo>
                  <a:lnTo>
                    <a:pt x="2704" y="3822"/>
                  </a:lnTo>
                  <a:lnTo>
                    <a:pt x="2708" y="3814"/>
                  </a:lnTo>
                  <a:lnTo>
                    <a:pt x="2712" y="3806"/>
                  </a:lnTo>
                  <a:lnTo>
                    <a:pt x="2720" y="3798"/>
                  </a:lnTo>
                  <a:lnTo>
                    <a:pt x="2734" y="3794"/>
                  </a:lnTo>
                  <a:lnTo>
                    <a:pt x="2746" y="3790"/>
                  </a:lnTo>
                  <a:lnTo>
                    <a:pt x="2752" y="3786"/>
                  </a:lnTo>
                  <a:lnTo>
                    <a:pt x="2754" y="3782"/>
                  </a:lnTo>
                  <a:lnTo>
                    <a:pt x="2752" y="3776"/>
                  </a:lnTo>
                  <a:lnTo>
                    <a:pt x="2750" y="3768"/>
                  </a:lnTo>
                  <a:lnTo>
                    <a:pt x="2750" y="3758"/>
                  </a:lnTo>
                  <a:lnTo>
                    <a:pt x="2750" y="3746"/>
                  </a:lnTo>
                  <a:lnTo>
                    <a:pt x="2754" y="3730"/>
                  </a:lnTo>
                  <a:lnTo>
                    <a:pt x="2760" y="3716"/>
                  </a:lnTo>
                  <a:lnTo>
                    <a:pt x="2764" y="3710"/>
                  </a:lnTo>
                  <a:lnTo>
                    <a:pt x="2768" y="3712"/>
                  </a:lnTo>
                  <a:lnTo>
                    <a:pt x="2770" y="3714"/>
                  </a:lnTo>
                  <a:lnTo>
                    <a:pt x="2772" y="3718"/>
                  </a:lnTo>
                  <a:lnTo>
                    <a:pt x="2776" y="3720"/>
                  </a:lnTo>
                  <a:lnTo>
                    <a:pt x="2780" y="3716"/>
                  </a:lnTo>
                  <a:lnTo>
                    <a:pt x="2786" y="3704"/>
                  </a:lnTo>
                  <a:lnTo>
                    <a:pt x="2792" y="3692"/>
                  </a:lnTo>
                  <a:lnTo>
                    <a:pt x="2796" y="3684"/>
                  </a:lnTo>
                  <a:lnTo>
                    <a:pt x="2806" y="3674"/>
                  </a:lnTo>
                  <a:lnTo>
                    <a:pt x="2816" y="3664"/>
                  </a:lnTo>
                  <a:lnTo>
                    <a:pt x="2820" y="3656"/>
                  </a:lnTo>
                  <a:lnTo>
                    <a:pt x="2824" y="3644"/>
                  </a:lnTo>
                  <a:lnTo>
                    <a:pt x="2830" y="3628"/>
                  </a:lnTo>
                  <a:lnTo>
                    <a:pt x="2834" y="3618"/>
                  </a:lnTo>
                  <a:lnTo>
                    <a:pt x="2834" y="3616"/>
                  </a:lnTo>
                  <a:lnTo>
                    <a:pt x="2832" y="3614"/>
                  </a:lnTo>
                  <a:lnTo>
                    <a:pt x="2822" y="3608"/>
                  </a:lnTo>
                  <a:close/>
                  <a:moveTo>
                    <a:pt x="2468" y="3400"/>
                  </a:moveTo>
                  <a:lnTo>
                    <a:pt x="2468" y="3400"/>
                  </a:lnTo>
                  <a:lnTo>
                    <a:pt x="2470" y="3400"/>
                  </a:lnTo>
                  <a:lnTo>
                    <a:pt x="2468" y="3400"/>
                  </a:lnTo>
                  <a:close/>
                  <a:moveTo>
                    <a:pt x="1836" y="3098"/>
                  </a:moveTo>
                  <a:lnTo>
                    <a:pt x="1836" y="3098"/>
                  </a:lnTo>
                  <a:lnTo>
                    <a:pt x="1838" y="3094"/>
                  </a:lnTo>
                  <a:lnTo>
                    <a:pt x="1842" y="3094"/>
                  </a:lnTo>
                  <a:lnTo>
                    <a:pt x="1838" y="3094"/>
                  </a:lnTo>
                  <a:lnTo>
                    <a:pt x="1836" y="3098"/>
                  </a:lnTo>
                  <a:close/>
                  <a:moveTo>
                    <a:pt x="1856" y="3100"/>
                  </a:moveTo>
                  <a:lnTo>
                    <a:pt x="1856" y="3100"/>
                  </a:lnTo>
                  <a:lnTo>
                    <a:pt x="1856" y="3102"/>
                  </a:lnTo>
                  <a:lnTo>
                    <a:pt x="1856" y="3100"/>
                  </a:lnTo>
                  <a:lnTo>
                    <a:pt x="1856" y="3090"/>
                  </a:lnTo>
                  <a:lnTo>
                    <a:pt x="1858" y="3084"/>
                  </a:lnTo>
                  <a:lnTo>
                    <a:pt x="1860" y="3082"/>
                  </a:lnTo>
                  <a:lnTo>
                    <a:pt x="1858" y="3084"/>
                  </a:lnTo>
                  <a:lnTo>
                    <a:pt x="1856" y="3090"/>
                  </a:lnTo>
                  <a:lnTo>
                    <a:pt x="1856" y="310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53" name="Freeform 6156">
              <a:extLst>
                <a:ext uri="{FF2B5EF4-FFF2-40B4-BE49-F238E27FC236}">
                  <a16:creationId xmlns:a16="http://schemas.microsoft.com/office/drawing/2014/main" id="{6F46D3FD-3965-4875-8FBA-C08401C31C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67288" y="879494"/>
              <a:ext cx="3719525" cy="3473436"/>
            </a:xfrm>
            <a:custGeom>
              <a:avLst/>
              <a:gdLst>
                <a:gd name="T0" fmla="*/ 334096 w 5856"/>
                <a:gd name="T1" fmla="*/ 341505 h 5472"/>
                <a:gd name="T2" fmla="*/ 374746 w 5856"/>
                <a:gd name="T3" fmla="*/ 60938 h 5472"/>
                <a:gd name="T4" fmla="*/ 2452998 w 5856"/>
                <a:gd name="T5" fmla="*/ 316114 h 5472"/>
                <a:gd name="T6" fmla="*/ 3177084 w 5856"/>
                <a:gd name="T7" fmla="*/ 608108 h 5472"/>
                <a:gd name="T8" fmla="*/ 2139228 w 5856"/>
                <a:gd name="T9" fmla="*/ 481154 h 5472"/>
                <a:gd name="T10" fmla="*/ 256606 w 5856"/>
                <a:gd name="T11" fmla="*/ 559865 h 5472"/>
                <a:gd name="T12" fmla="*/ 48272 w 5856"/>
                <a:gd name="T13" fmla="*/ 76172 h 5472"/>
                <a:gd name="T14" fmla="*/ 461128 w 5856"/>
                <a:gd name="T15" fmla="*/ 11426 h 5472"/>
                <a:gd name="T16" fmla="*/ 438262 w 5856"/>
                <a:gd name="T17" fmla="*/ 78711 h 5472"/>
                <a:gd name="T18" fmla="*/ 1814025 w 5856"/>
                <a:gd name="T19" fmla="*/ 3336340 h 5472"/>
                <a:gd name="T20" fmla="*/ 2066820 w 5856"/>
                <a:gd name="T21" fmla="*/ 2794248 h 5472"/>
                <a:gd name="T22" fmla="*/ 2090956 w 5856"/>
                <a:gd name="T23" fmla="*/ 2845030 h 5472"/>
                <a:gd name="T24" fmla="*/ 2021088 w 5856"/>
                <a:gd name="T25" fmla="*/ 2668564 h 5472"/>
                <a:gd name="T26" fmla="*/ 2068090 w 5856"/>
                <a:gd name="T27" fmla="*/ 2759971 h 5472"/>
                <a:gd name="T28" fmla="*/ 2012196 w 5856"/>
                <a:gd name="T29" fmla="*/ 2762510 h 5472"/>
                <a:gd name="T30" fmla="*/ 2125255 w 5856"/>
                <a:gd name="T31" fmla="*/ 3088781 h 5472"/>
                <a:gd name="T32" fmla="*/ 2097307 w 5856"/>
                <a:gd name="T33" fmla="*/ 1976667 h 5472"/>
                <a:gd name="T34" fmla="*/ 2010925 w 5856"/>
                <a:gd name="T35" fmla="*/ 3324914 h 5472"/>
                <a:gd name="T36" fmla="*/ 2102389 w 5856"/>
                <a:gd name="T37" fmla="*/ 1863679 h 5472"/>
                <a:gd name="T38" fmla="*/ 1256352 w 5856"/>
                <a:gd name="T39" fmla="*/ 2824717 h 5472"/>
                <a:gd name="T40" fmla="*/ 1637450 w 5856"/>
                <a:gd name="T41" fmla="*/ 2959288 h 5472"/>
                <a:gd name="T42" fmla="*/ 1636179 w 5856"/>
                <a:gd name="T43" fmla="*/ 3313488 h 5472"/>
                <a:gd name="T44" fmla="*/ 1580285 w 5856"/>
                <a:gd name="T45" fmla="*/ 3222082 h 5472"/>
                <a:gd name="T46" fmla="*/ 1342734 w 5856"/>
                <a:gd name="T47" fmla="*/ 2956749 h 5472"/>
                <a:gd name="T48" fmla="*/ 5081 w 5856"/>
                <a:gd name="T49" fmla="*/ 3446790 h 5472"/>
                <a:gd name="T50" fmla="*/ 2179879 w 5856"/>
                <a:gd name="T51" fmla="*/ 2182332 h 5472"/>
                <a:gd name="T52" fmla="*/ 2291667 w 5856"/>
                <a:gd name="T53" fmla="*/ 2007136 h 5472"/>
                <a:gd name="T54" fmla="*/ 1948679 w 5856"/>
                <a:gd name="T55" fmla="*/ 3044347 h 5472"/>
                <a:gd name="T56" fmla="*/ 1984248 w 5856"/>
                <a:gd name="T57" fmla="*/ 3100206 h 5472"/>
                <a:gd name="T58" fmla="*/ 1942328 w 5856"/>
                <a:gd name="T59" fmla="*/ 2744736 h 5472"/>
                <a:gd name="T60" fmla="*/ 2132876 w 5856"/>
                <a:gd name="T61" fmla="*/ 3114171 h 5472"/>
                <a:gd name="T62" fmla="*/ 2483486 w 5856"/>
                <a:gd name="T63" fmla="*/ 1744342 h 5472"/>
                <a:gd name="T64" fmla="*/ 2336129 w 5856"/>
                <a:gd name="T65" fmla="*/ 1971589 h 5472"/>
                <a:gd name="T66" fmla="*/ 2107470 w 5856"/>
                <a:gd name="T67" fmla="*/ 1984284 h 5472"/>
                <a:gd name="T68" fmla="*/ 2536840 w 5856"/>
                <a:gd name="T69" fmla="*/ 1350786 h 5472"/>
                <a:gd name="T70" fmla="*/ 2451728 w 5856"/>
                <a:gd name="T71" fmla="*/ 1727838 h 5472"/>
                <a:gd name="T72" fmla="*/ 2022358 w 5856"/>
                <a:gd name="T73" fmla="*/ 2660947 h 5472"/>
                <a:gd name="T74" fmla="*/ 1906759 w 5856"/>
                <a:gd name="T75" fmla="*/ 2780283 h 5472"/>
                <a:gd name="T76" fmla="*/ 2087145 w 5856"/>
                <a:gd name="T77" fmla="*/ 2730772 h 5472"/>
                <a:gd name="T78" fmla="*/ 1878811 w 5856"/>
                <a:gd name="T79" fmla="*/ 2870420 h 5472"/>
                <a:gd name="T80" fmla="*/ 1669208 w 5856"/>
                <a:gd name="T81" fmla="*/ 3111632 h 5472"/>
                <a:gd name="T82" fmla="*/ 2046494 w 5856"/>
                <a:gd name="T83" fmla="*/ 2306747 h 5472"/>
                <a:gd name="T84" fmla="*/ 3226627 w 5856"/>
                <a:gd name="T85" fmla="*/ 603030 h 5472"/>
                <a:gd name="T86" fmla="*/ 2160824 w 5856"/>
                <a:gd name="T87" fmla="*/ 505275 h 5472"/>
                <a:gd name="T88" fmla="*/ 1448171 w 5856"/>
                <a:gd name="T89" fmla="*/ 275489 h 5472"/>
                <a:gd name="T90" fmla="*/ 899390 w 5856"/>
                <a:gd name="T91" fmla="*/ 483693 h 5472"/>
                <a:gd name="T92" fmla="*/ 736789 w 5856"/>
                <a:gd name="T93" fmla="*/ 700784 h 5472"/>
                <a:gd name="T94" fmla="*/ 137195 w 5856"/>
                <a:gd name="T95" fmla="*/ 684280 h 5472"/>
                <a:gd name="T96" fmla="*/ 415396 w 5856"/>
                <a:gd name="T97" fmla="*/ 2273739 h 5472"/>
                <a:gd name="T98" fmla="*/ 814279 w 5856"/>
                <a:gd name="T99" fmla="*/ 2748545 h 5472"/>
                <a:gd name="T100" fmla="*/ 1185214 w 5856"/>
                <a:gd name="T101" fmla="*/ 2338485 h 5472"/>
                <a:gd name="T102" fmla="*/ 1393547 w 5856"/>
                <a:gd name="T103" fmla="*/ 2695225 h 5472"/>
                <a:gd name="T104" fmla="*/ 1451982 w 5856"/>
                <a:gd name="T105" fmla="*/ 2856456 h 5472"/>
                <a:gd name="T106" fmla="*/ 1629828 w 5856"/>
                <a:gd name="T107" fmla="*/ 2740928 h 5472"/>
                <a:gd name="T108" fmla="*/ 1744157 w 5856"/>
                <a:gd name="T109" fmla="*/ 2391805 h 5472"/>
                <a:gd name="T110" fmla="*/ 1933435 w 5856"/>
                <a:gd name="T111" fmla="*/ 2254696 h 5472"/>
                <a:gd name="T112" fmla="*/ 1986789 w 5856"/>
                <a:gd name="T113" fmla="*/ 2059187 h 5472"/>
                <a:gd name="T114" fmla="*/ 1905488 w 5856"/>
                <a:gd name="T115" fmla="*/ 1812897 h 5472"/>
                <a:gd name="T116" fmla="*/ 2103659 w 5856"/>
                <a:gd name="T117" fmla="*/ 1858600 h 5472"/>
                <a:gd name="T118" fmla="*/ 2129066 w 5856"/>
                <a:gd name="T119" fmla="*/ 1809089 h 5472"/>
                <a:gd name="T120" fmla="*/ 2413618 w 5856"/>
                <a:gd name="T121" fmla="*/ 1277153 h 5472"/>
                <a:gd name="T122" fmla="*/ 3003049 w 5856"/>
                <a:gd name="T123" fmla="*/ 983890 h 5472"/>
                <a:gd name="T124" fmla="*/ 3079269 w 5856"/>
                <a:gd name="T125" fmla="*/ 1027054 h 547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856"/>
                <a:gd name="T190" fmla="*/ 0 h 5472"/>
                <a:gd name="T191" fmla="*/ 5856 w 5856"/>
                <a:gd name="T192" fmla="*/ 5472 h 547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856" h="5472">
                  <a:moveTo>
                    <a:pt x="1912" y="64"/>
                  </a:moveTo>
                  <a:lnTo>
                    <a:pt x="1912" y="64"/>
                  </a:lnTo>
                  <a:lnTo>
                    <a:pt x="1910" y="60"/>
                  </a:lnTo>
                  <a:lnTo>
                    <a:pt x="1902" y="58"/>
                  </a:lnTo>
                  <a:lnTo>
                    <a:pt x="1882" y="54"/>
                  </a:lnTo>
                  <a:lnTo>
                    <a:pt x="1862" y="54"/>
                  </a:lnTo>
                  <a:lnTo>
                    <a:pt x="1854" y="56"/>
                  </a:lnTo>
                  <a:lnTo>
                    <a:pt x="1850" y="60"/>
                  </a:lnTo>
                  <a:lnTo>
                    <a:pt x="1850" y="62"/>
                  </a:lnTo>
                  <a:lnTo>
                    <a:pt x="1852" y="64"/>
                  </a:lnTo>
                  <a:lnTo>
                    <a:pt x="1858" y="68"/>
                  </a:lnTo>
                  <a:lnTo>
                    <a:pt x="1868" y="70"/>
                  </a:lnTo>
                  <a:lnTo>
                    <a:pt x="1880" y="70"/>
                  </a:lnTo>
                  <a:lnTo>
                    <a:pt x="1902" y="68"/>
                  </a:lnTo>
                  <a:lnTo>
                    <a:pt x="1908" y="66"/>
                  </a:lnTo>
                  <a:lnTo>
                    <a:pt x="1912" y="64"/>
                  </a:lnTo>
                  <a:close/>
                  <a:moveTo>
                    <a:pt x="1078" y="706"/>
                  </a:moveTo>
                  <a:lnTo>
                    <a:pt x="1078" y="706"/>
                  </a:lnTo>
                  <a:lnTo>
                    <a:pt x="1094" y="702"/>
                  </a:lnTo>
                  <a:lnTo>
                    <a:pt x="1100" y="700"/>
                  </a:lnTo>
                  <a:lnTo>
                    <a:pt x="1104" y="698"/>
                  </a:lnTo>
                  <a:lnTo>
                    <a:pt x="1104" y="694"/>
                  </a:lnTo>
                  <a:lnTo>
                    <a:pt x="1104" y="690"/>
                  </a:lnTo>
                  <a:lnTo>
                    <a:pt x="1102" y="684"/>
                  </a:lnTo>
                  <a:lnTo>
                    <a:pt x="1094" y="678"/>
                  </a:lnTo>
                  <a:lnTo>
                    <a:pt x="1082" y="674"/>
                  </a:lnTo>
                  <a:lnTo>
                    <a:pt x="1070" y="674"/>
                  </a:lnTo>
                  <a:lnTo>
                    <a:pt x="1058" y="676"/>
                  </a:lnTo>
                  <a:lnTo>
                    <a:pt x="1048" y="682"/>
                  </a:lnTo>
                  <a:lnTo>
                    <a:pt x="1040" y="688"/>
                  </a:lnTo>
                  <a:lnTo>
                    <a:pt x="1036" y="694"/>
                  </a:lnTo>
                  <a:lnTo>
                    <a:pt x="1036" y="700"/>
                  </a:lnTo>
                  <a:lnTo>
                    <a:pt x="1040" y="704"/>
                  </a:lnTo>
                  <a:lnTo>
                    <a:pt x="1048" y="708"/>
                  </a:lnTo>
                  <a:lnTo>
                    <a:pt x="1060" y="708"/>
                  </a:lnTo>
                  <a:lnTo>
                    <a:pt x="1078" y="706"/>
                  </a:lnTo>
                  <a:close/>
                  <a:moveTo>
                    <a:pt x="1928" y="154"/>
                  </a:moveTo>
                  <a:lnTo>
                    <a:pt x="1928" y="154"/>
                  </a:lnTo>
                  <a:lnTo>
                    <a:pt x="1914" y="152"/>
                  </a:lnTo>
                  <a:lnTo>
                    <a:pt x="1902" y="154"/>
                  </a:lnTo>
                  <a:lnTo>
                    <a:pt x="1894" y="156"/>
                  </a:lnTo>
                  <a:lnTo>
                    <a:pt x="1890" y="160"/>
                  </a:lnTo>
                  <a:lnTo>
                    <a:pt x="1890" y="164"/>
                  </a:lnTo>
                  <a:lnTo>
                    <a:pt x="1894" y="168"/>
                  </a:lnTo>
                  <a:lnTo>
                    <a:pt x="1900" y="172"/>
                  </a:lnTo>
                  <a:lnTo>
                    <a:pt x="1910" y="176"/>
                  </a:lnTo>
                  <a:lnTo>
                    <a:pt x="1920" y="178"/>
                  </a:lnTo>
                  <a:lnTo>
                    <a:pt x="1926" y="180"/>
                  </a:lnTo>
                  <a:lnTo>
                    <a:pt x="1932" y="186"/>
                  </a:lnTo>
                  <a:lnTo>
                    <a:pt x="1934" y="188"/>
                  </a:lnTo>
                  <a:lnTo>
                    <a:pt x="1938" y="190"/>
                  </a:lnTo>
                  <a:lnTo>
                    <a:pt x="1956" y="188"/>
                  </a:lnTo>
                  <a:lnTo>
                    <a:pt x="1982" y="180"/>
                  </a:lnTo>
                  <a:lnTo>
                    <a:pt x="1996" y="174"/>
                  </a:lnTo>
                  <a:lnTo>
                    <a:pt x="2000" y="172"/>
                  </a:lnTo>
                  <a:lnTo>
                    <a:pt x="2000" y="170"/>
                  </a:lnTo>
                  <a:lnTo>
                    <a:pt x="1998" y="168"/>
                  </a:lnTo>
                  <a:lnTo>
                    <a:pt x="1994" y="166"/>
                  </a:lnTo>
                  <a:lnTo>
                    <a:pt x="1982" y="162"/>
                  </a:lnTo>
                  <a:lnTo>
                    <a:pt x="1964" y="158"/>
                  </a:lnTo>
                  <a:lnTo>
                    <a:pt x="1928" y="154"/>
                  </a:lnTo>
                  <a:close/>
                  <a:moveTo>
                    <a:pt x="526" y="138"/>
                  </a:moveTo>
                  <a:lnTo>
                    <a:pt x="526" y="138"/>
                  </a:lnTo>
                  <a:lnTo>
                    <a:pt x="532" y="144"/>
                  </a:lnTo>
                  <a:lnTo>
                    <a:pt x="538" y="148"/>
                  </a:lnTo>
                  <a:lnTo>
                    <a:pt x="552" y="152"/>
                  </a:lnTo>
                  <a:lnTo>
                    <a:pt x="558" y="154"/>
                  </a:lnTo>
                  <a:lnTo>
                    <a:pt x="562" y="152"/>
                  </a:lnTo>
                  <a:lnTo>
                    <a:pt x="564" y="150"/>
                  </a:lnTo>
                  <a:lnTo>
                    <a:pt x="564" y="146"/>
                  </a:lnTo>
                  <a:lnTo>
                    <a:pt x="564" y="142"/>
                  </a:lnTo>
                  <a:lnTo>
                    <a:pt x="568" y="140"/>
                  </a:lnTo>
                  <a:lnTo>
                    <a:pt x="572" y="136"/>
                  </a:lnTo>
                  <a:lnTo>
                    <a:pt x="582" y="136"/>
                  </a:lnTo>
                  <a:lnTo>
                    <a:pt x="600" y="134"/>
                  </a:lnTo>
                  <a:lnTo>
                    <a:pt x="604" y="132"/>
                  </a:lnTo>
                  <a:lnTo>
                    <a:pt x="606" y="130"/>
                  </a:lnTo>
                  <a:lnTo>
                    <a:pt x="604" y="128"/>
                  </a:lnTo>
                  <a:lnTo>
                    <a:pt x="598" y="126"/>
                  </a:lnTo>
                  <a:lnTo>
                    <a:pt x="580" y="122"/>
                  </a:lnTo>
                  <a:lnTo>
                    <a:pt x="556" y="120"/>
                  </a:lnTo>
                  <a:lnTo>
                    <a:pt x="534" y="122"/>
                  </a:lnTo>
                  <a:lnTo>
                    <a:pt x="526" y="124"/>
                  </a:lnTo>
                  <a:lnTo>
                    <a:pt x="522" y="126"/>
                  </a:lnTo>
                  <a:lnTo>
                    <a:pt x="522" y="132"/>
                  </a:lnTo>
                  <a:lnTo>
                    <a:pt x="526" y="138"/>
                  </a:lnTo>
                  <a:close/>
                  <a:moveTo>
                    <a:pt x="658" y="948"/>
                  </a:moveTo>
                  <a:lnTo>
                    <a:pt x="658" y="948"/>
                  </a:lnTo>
                  <a:lnTo>
                    <a:pt x="658" y="944"/>
                  </a:lnTo>
                  <a:lnTo>
                    <a:pt x="656" y="942"/>
                  </a:lnTo>
                  <a:lnTo>
                    <a:pt x="644" y="936"/>
                  </a:lnTo>
                  <a:lnTo>
                    <a:pt x="628" y="926"/>
                  </a:lnTo>
                  <a:lnTo>
                    <a:pt x="620" y="920"/>
                  </a:lnTo>
                  <a:lnTo>
                    <a:pt x="612" y="912"/>
                  </a:lnTo>
                  <a:lnTo>
                    <a:pt x="602" y="904"/>
                  </a:lnTo>
                  <a:lnTo>
                    <a:pt x="594" y="904"/>
                  </a:lnTo>
                  <a:lnTo>
                    <a:pt x="588" y="906"/>
                  </a:lnTo>
                  <a:lnTo>
                    <a:pt x="582" y="908"/>
                  </a:lnTo>
                  <a:lnTo>
                    <a:pt x="580" y="910"/>
                  </a:lnTo>
                  <a:lnTo>
                    <a:pt x="580" y="912"/>
                  </a:lnTo>
                  <a:lnTo>
                    <a:pt x="582" y="916"/>
                  </a:lnTo>
                  <a:lnTo>
                    <a:pt x="584" y="920"/>
                  </a:lnTo>
                  <a:lnTo>
                    <a:pt x="582" y="920"/>
                  </a:lnTo>
                  <a:lnTo>
                    <a:pt x="578" y="918"/>
                  </a:lnTo>
                  <a:lnTo>
                    <a:pt x="576" y="918"/>
                  </a:lnTo>
                  <a:lnTo>
                    <a:pt x="574" y="920"/>
                  </a:lnTo>
                  <a:lnTo>
                    <a:pt x="576" y="924"/>
                  </a:lnTo>
                  <a:lnTo>
                    <a:pt x="580" y="930"/>
                  </a:lnTo>
                  <a:lnTo>
                    <a:pt x="588" y="940"/>
                  </a:lnTo>
                  <a:lnTo>
                    <a:pt x="594" y="944"/>
                  </a:lnTo>
                  <a:lnTo>
                    <a:pt x="596" y="946"/>
                  </a:lnTo>
                  <a:lnTo>
                    <a:pt x="600" y="944"/>
                  </a:lnTo>
                  <a:lnTo>
                    <a:pt x="600" y="942"/>
                  </a:lnTo>
                  <a:lnTo>
                    <a:pt x="604" y="942"/>
                  </a:lnTo>
                  <a:lnTo>
                    <a:pt x="610" y="942"/>
                  </a:lnTo>
                  <a:lnTo>
                    <a:pt x="618" y="946"/>
                  </a:lnTo>
                  <a:lnTo>
                    <a:pt x="620" y="948"/>
                  </a:lnTo>
                  <a:lnTo>
                    <a:pt x="620" y="952"/>
                  </a:lnTo>
                  <a:lnTo>
                    <a:pt x="620" y="956"/>
                  </a:lnTo>
                  <a:lnTo>
                    <a:pt x="624" y="958"/>
                  </a:lnTo>
                  <a:lnTo>
                    <a:pt x="638" y="956"/>
                  </a:lnTo>
                  <a:lnTo>
                    <a:pt x="652" y="954"/>
                  </a:lnTo>
                  <a:lnTo>
                    <a:pt x="656" y="950"/>
                  </a:lnTo>
                  <a:lnTo>
                    <a:pt x="658" y="948"/>
                  </a:lnTo>
                  <a:close/>
                  <a:moveTo>
                    <a:pt x="768" y="460"/>
                  </a:moveTo>
                  <a:lnTo>
                    <a:pt x="768" y="460"/>
                  </a:lnTo>
                  <a:lnTo>
                    <a:pt x="752" y="466"/>
                  </a:lnTo>
                  <a:lnTo>
                    <a:pt x="742" y="468"/>
                  </a:lnTo>
                  <a:lnTo>
                    <a:pt x="736" y="468"/>
                  </a:lnTo>
                  <a:lnTo>
                    <a:pt x="732" y="466"/>
                  </a:lnTo>
                  <a:lnTo>
                    <a:pt x="728" y="462"/>
                  </a:lnTo>
                  <a:lnTo>
                    <a:pt x="722" y="460"/>
                  </a:lnTo>
                  <a:lnTo>
                    <a:pt x="712" y="458"/>
                  </a:lnTo>
                  <a:lnTo>
                    <a:pt x="698" y="460"/>
                  </a:lnTo>
                  <a:lnTo>
                    <a:pt x="682" y="462"/>
                  </a:lnTo>
                  <a:lnTo>
                    <a:pt x="674" y="464"/>
                  </a:lnTo>
                  <a:lnTo>
                    <a:pt x="672" y="468"/>
                  </a:lnTo>
                  <a:lnTo>
                    <a:pt x="672" y="470"/>
                  </a:lnTo>
                  <a:lnTo>
                    <a:pt x="674" y="474"/>
                  </a:lnTo>
                  <a:lnTo>
                    <a:pt x="674" y="476"/>
                  </a:lnTo>
                  <a:lnTo>
                    <a:pt x="672" y="478"/>
                  </a:lnTo>
                  <a:lnTo>
                    <a:pt x="664" y="476"/>
                  </a:lnTo>
                  <a:lnTo>
                    <a:pt x="652" y="478"/>
                  </a:lnTo>
                  <a:lnTo>
                    <a:pt x="636" y="480"/>
                  </a:lnTo>
                  <a:lnTo>
                    <a:pt x="620" y="484"/>
                  </a:lnTo>
                  <a:lnTo>
                    <a:pt x="602" y="492"/>
                  </a:lnTo>
                  <a:lnTo>
                    <a:pt x="584" y="500"/>
                  </a:lnTo>
                  <a:lnTo>
                    <a:pt x="568" y="508"/>
                  </a:lnTo>
                  <a:lnTo>
                    <a:pt x="554" y="518"/>
                  </a:lnTo>
                  <a:lnTo>
                    <a:pt x="544" y="528"/>
                  </a:lnTo>
                  <a:lnTo>
                    <a:pt x="538" y="536"/>
                  </a:lnTo>
                  <a:lnTo>
                    <a:pt x="532" y="538"/>
                  </a:lnTo>
                  <a:lnTo>
                    <a:pt x="528" y="538"/>
                  </a:lnTo>
                  <a:lnTo>
                    <a:pt x="526" y="538"/>
                  </a:lnTo>
                  <a:lnTo>
                    <a:pt x="524" y="536"/>
                  </a:lnTo>
                  <a:lnTo>
                    <a:pt x="520" y="534"/>
                  </a:lnTo>
                  <a:lnTo>
                    <a:pt x="514" y="536"/>
                  </a:lnTo>
                  <a:lnTo>
                    <a:pt x="506" y="542"/>
                  </a:lnTo>
                  <a:lnTo>
                    <a:pt x="498" y="548"/>
                  </a:lnTo>
                  <a:lnTo>
                    <a:pt x="494" y="550"/>
                  </a:lnTo>
                  <a:lnTo>
                    <a:pt x="490" y="548"/>
                  </a:lnTo>
                  <a:lnTo>
                    <a:pt x="488" y="546"/>
                  </a:lnTo>
                  <a:lnTo>
                    <a:pt x="488" y="544"/>
                  </a:lnTo>
                  <a:lnTo>
                    <a:pt x="484" y="542"/>
                  </a:lnTo>
                  <a:lnTo>
                    <a:pt x="480" y="542"/>
                  </a:lnTo>
                  <a:lnTo>
                    <a:pt x="474" y="546"/>
                  </a:lnTo>
                  <a:lnTo>
                    <a:pt x="470" y="550"/>
                  </a:lnTo>
                  <a:lnTo>
                    <a:pt x="468" y="554"/>
                  </a:lnTo>
                  <a:lnTo>
                    <a:pt x="470" y="558"/>
                  </a:lnTo>
                  <a:lnTo>
                    <a:pt x="474" y="560"/>
                  </a:lnTo>
                  <a:lnTo>
                    <a:pt x="480" y="564"/>
                  </a:lnTo>
                  <a:lnTo>
                    <a:pt x="480" y="568"/>
                  </a:lnTo>
                  <a:lnTo>
                    <a:pt x="476" y="570"/>
                  </a:lnTo>
                  <a:lnTo>
                    <a:pt x="472" y="572"/>
                  </a:lnTo>
                  <a:lnTo>
                    <a:pt x="470" y="576"/>
                  </a:lnTo>
                  <a:lnTo>
                    <a:pt x="472" y="578"/>
                  </a:lnTo>
                  <a:lnTo>
                    <a:pt x="476" y="580"/>
                  </a:lnTo>
                  <a:lnTo>
                    <a:pt x="478" y="582"/>
                  </a:lnTo>
                  <a:lnTo>
                    <a:pt x="478" y="584"/>
                  </a:lnTo>
                  <a:lnTo>
                    <a:pt x="476" y="586"/>
                  </a:lnTo>
                  <a:lnTo>
                    <a:pt x="468" y="586"/>
                  </a:lnTo>
                  <a:lnTo>
                    <a:pt x="460" y="588"/>
                  </a:lnTo>
                  <a:lnTo>
                    <a:pt x="454" y="594"/>
                  </a:lnTo>
                  <a:lnTo>
                    <a:pt x="450" y="600"/>
                  </a:lnTo>
                  <a:lnTo>
                    <a:pt x="446" y="606"/>
                  </a:lnTo>
                  <a:lnTo>
                    <a:pt x="442" y="614"/>
                  </a:lnTo>
                  <a:lnTo>
                    <a:pt x="436" y="622"/>
                  </a:lnTo>
                  <a:lnTo>
                    <a:pt x="426" y="630"/>
                  </a:lnTo>
                  <a:lnTo>
                    <a:pt x="414" y="636"/>
                  </a:lnTo>
                  <a:lnTo>
                    <a:pt x="390" y="648"/>
                  </a:lnTo>
                  <a:lnTo>
                    <a:pt x="384" y="654"/>
                  </a:lnTo>
                  <a:lnTo>
                    <a:pt x="380" y="658"/>
                  </a:lnTo>
                  <a:lnTo>
                    <a:pt x="380" y="662"/>
                  </a:lnTo>
                  <a:lnTo>
                    <a:pt x="382" y="666"/>
                  </a:lnTo>
                  <a:lnTo>
                    <a:pt x="390" y="666"/>
                  </a:lnTo>
                  <a:lnTo>
                    <a:pt x="400" y="666"/>
                  </a:lnTo>
                  <a:lnTo>
                    <a:pt x="408" y="668"/>
                  </a:lnTo>
                  <a:lnTo>
                    <a:pt x="410" y="670"/>
                  </a:lnTo>
                  <a:lnTo>
                    <a:pt x="408" y="674"/>
                  </a:lnTo>
                  <a:lnTo>
                    <a:pt x="406" y="678"/>
                  </a:lnTo>
                  <a:lnTo>
                    <a:pt x="402" y="680"/>
                  </a:lnTo>
                  <a:lnTo>
                    <a:pt x="402" y="684"/>
                  </a:lnTo>
                  <a:lnTo>
                    <a:pt x="406" y="684"/>
                  </a:lnTo>
                  <a:lnTo>
                    <a:pt x="416" y="682"/>
                  </a:lnTo>
                  <a:lnTo>
                    <a:pt x="438" y="676"/>
                  </a:lnTo>
                  <a:lnTo>
                    <a:pt x="446" y="676"/>
                  </a:lnTo>
                  <a:lnTo>
                    <a:pt x="454" y="676"/>
                  </a:lnTo>
                  <a:lnTo>
                    <a:pt x="460" y="678"/>
                  </a:lnTo>
                  <a:lnTo>
                    <a:pt x="466" y="682"/>
                  </a:lnTo>
                  <a:lnTo>
                    <a:pt x="486" y="692"/>
                  </a:lnTo>
                  <a:lnTo>
                    <a:pt x="496" y="696"/>
                  </a:lnTo>
                  <a:lnTo>
                    <a:pt x="508" y="694"/>
                  </a:lnTo>
                  <a:lnTo>
                    <a:pt x="514" y="692"/>
                  </a:lnTo>
                  <a:lnTo>
                    <a:pt x="518" y="690"/>
                  </a:lnTo>
                  <a:lnTo>
                    <a:pt x="522" y="686"/>
                  </a:lnTo>
                  <a:lnTo>
                    <a:pt x="524" y="680"/>
                  </a:lnTo>
                  <a:lnTo>
                    <a:pt x="526" y="674"/>
                  </a:lnTo>
                  <a:lnTo>
                    <a:pt x="528" y="672"/>
                  </a:lnTo>
                  <a:lnTo>
                    <a:pt x="538" y="670"/>
                  </a:lnTo>
                  <a:lnTo>
                    <a:pt x="542" y="668"/>
                  </a:lnTo>
                  <a:lnTo>
                    <a:pt x="546" y="664"/>
                  </a:lnTo>
                  <a:lnTo>
                    <a:pt x="550" y="660"/>
                  </a:lnTo>
                  <a:lnTo>
                    <a:pt x="554" y="650"/>
                  </a:lnTo>
                  <a:lnTo>
                    <a:pt x="558" y="640"/>
                  </a:lnTo>
                  <a:lnTo>
                    <a:pt x="562" y="634"/>
                  </a:lnTo>
                  <a:lnTo>
                    <a:pt x="566" y="630"/>
                  </a:lnTo>
                  <a:lnTo>
                    <a:pt x="572" y="628"/>
                  </a:lnTo>
                  <a:lnTo>
                    <a:pt x="580" y="624"/>
                  </a:lnTo>
                  <a:lnTo>
                    <a:pt x="584" y="622"/>
                  </a:lnTo>
                  <a:lnTo>
                    <a:pt x="586" y="616"/>
                  </a:lnTo>
                  <a:lnTo>
                    <a:pt x="588" y="606"/>
                  </a:lnTo>
                  <a:lnTo>
                    <a:pt x="590" y="602"/>
                  </a:lnTo>
                  <a:lnTo>
                    <a:pt x="594" y="600"/>
                  </a:lnTo>
                  <a:lnTo>
                    <a:pt x="610" y="594"/>
                  </a:lnTo>
                  <a:lnTo>
                    <a:pt x="638" y="584"/>
                  </a:lnTo>
                  <a:lnTo>
                    <a:pt x="652" y="578"/>
                  </a:lnTo>
                  <a:lnTo>
                    <a:pt x="658" y="572"/>
                  </a:lnTo>
                  <a:lnTo>
                    <a:pt x="662" y="568"/>
                  </a:lnTo>
                  <a:lnTo>
                    <a:pt x="664" y="564"/>
                  </a:lnTo>
                  <a:lnTo>
                    <a:pt x="668" y="558"/>
                  </a:lnTo>
                  <a:lnTo>
                    <a:pt x="674" y="552"/>
                  </a:lnTo>
                  <a:lnTo>
                    <a:pt x="688" y="544"/>
                  </a:lnTo>
                  <a:lnTo>
                    <a:pt x="712" y="534"/>
                  </a:lnTo>
                  <a:lnTo>
                    <a:pt x="744" y="522"/>
                  </a:lnTo>
                  <a:lnTo>
                    <a:pt x="778" y="512"/>
                  </a:lnTo>
                  <a:lnTo>
                    <a:pt x="854" y="492"/>
                  </a:lnTo>
                  <a:lnTo>
                    <a:pt x="924" y="474"/>
                  </a:lnTo>
                  <a:lnTo>
                    <a:pt x="956" y="464"/>
                  </a:lnTo>
                  <a:lnTo>
                    <a:pt x="980" y="454"/>
                  </a:lnTo>
                  <a:lnTo>
                    <a:pt x="990" y="448"/>
                  </a:lnTo>
                  <a:lnTo>
                    <a:pt x="998" y="444"/>
                  </a:lnTo>
                  <a:lnTo>
                    <a:pt x="1002" y="438"/>
                  </a:lnTo>
                  <a:lnTo>
                    <a:pt x="1002" y="432"/>
                  </a:lnTo>
                  <a:lnTo>
                    <a:pt x="1002" y="428"/>
                  </a:lnTo>
                  <a:lnTo>
                    <a:pt x="1000" y="424"/>
                  </a:lnTo>
                  <a:lnTo>
                    <a:pt x="996" y="420"/>
                  </a:lnTo>
                  <a:lnTo>
                    <a:pt x="990" y="416"/>
                  </a:lnTo>
                  <a:lnTo>
                    <a:pt x="974" y="410"/>
                  </a:lnTo>
                  <a:lnTo>
                    <a:pt x="954" y="406"/>
                  </a:lnTo>
                  <a:lnTo>
                    <a:pt x="932" y="408"/>
                  </a:lnTo>
                  <a:lnTo>
                    <a:pt x="908" y="412"/>
                  </a:lnTo>
                  <a:lnTo>
                    <a:pt x="878" y="422"/>
                  </a:lnTo>
                  <a:lnTo>
                    <a:pt x="874" y="426"/>
                  </a:lnTo>
                  <a:lnTo>
                    <a:pt x="870" y="428"/>
                  </a:lnTo>
                  <a:lnTo>
                    <a:pt x="868" y="430"/>
                  </a:lnTo>
                  <a:lnTo>
                    <a:pt x="864" y="434"/>
                  </a:lnTo>
                  <a:lnTo>
                    <a:pt x="856" y="438"/>
                  </a:lnTo>
                  <a:lnTo>
                    <a:pt x="842" y="444"/>
                  </a:lnTo>
                  <a:lnTo>
                    <a:pt x="818" y="450"/>
                  </a:lnTo>
                  <a:lnTo>
                    <a:pt x="808" y="450"/>
                  </a:lnTo>
                  <a:lnTo>
                    <a:pt x="798" y="452"/>
                  </a:lnTo>
                  <a:lnTo>
                    <a:pt x="768" y="460"/>
                  </a:lnTo>
                  <a:close/>
                  <a:moveTo>
                    <a:pt x="484" y="70"/>
                  </a:moveTo>
                  <a:lnTo>
                    <a:pt x="484" y="70"/>
                  </a:lnTo>
                  <a:lnTo>
                    <a:pt x="482" y="70"/>
                  </a:lnTo>
                  <a:lnTo>
                    <a:pt x="484" y="70"/>
                  </a:lnTo>
                  <a:lnTo>
                    <a:pt x="490" y="72"/>
                  </a:lnTo>
                  <a:lnTo>
                    <a:pt x="500" y="74"/>
                  </a:lnTo>
                  <a:lnTo>
                    <a:pt x="510" y="78"/>
                  </a:lnTo>
                  <a:lnTo>
                    <a:pt x="528" y="86"/>
                  </a:lnTo>
                  <a:lnTo>
                    <a:pt x="538" y="86"/>
                  </a:lnTo>
                  <a:lnTo>
                    <a:pt x="554" y="86"/>
                  </a:lnTo>
                  <a:lnTo>
                    <a:pt x="568" y="86"/>
                  </a:lnTo>
                  <a:lnTo>
                    <a:pt x="568" y="84"/>
                  </a:lnTo>
                  <a:lnTo>
                    <a:pt x="566" y="82"/>
                  </a:lnTo>
                  <a:lnTo>
                    <a:pt x="544" y="76"/>
                  </a:lnTo>
                  <a:lnTo>
                    <a:pt x="530" y="72"/>
                  </a:lnTo>
                  <a:lnTo>
                    <a:pt x="512" y="70"/>
                  </a:lnTo>
                  <a:lnTo>
                    <a:pt x="496" y="68"/>
                  </a:lnTo>
                  <a:lnTo>
                    <a:pt x="484" y="70"/>
                  </a:lnTo>
                  <a:close/>
                  <a:moveTo>
                    <a:pt x="542" y="114"/>
                  </a:moveTo>
                  <a:lnTo>
                    <a:pt x="542" y="114"/>
                  </a:lnTo>
                  <a:lnTo>
                    <a:pt x="554" y="116"/>
                  </a:lnTo>
                  <a:lnTo>
                    <a:pt x="558" y="114"/>
                  </a:lnTo>
                  <a:lnTo>
                    <a:pt x="560" y="112"/>
                  </a:lnTo>
                  <a:lnTo>
                    <a:pt x="560" y="110"/>
                  </a:lnTo>
                  <a:lnTo>
                    <a:pt x="560" y="108"/>
                  </a:lnTo>
                  <a:lnTo>
                    <a:pt x="554" y="106"/>
                  </a:lnTo>
                  <a:lnTo>
                    <a:pt x="542" y="106"/>
                  </a:lnTo>
                  <a:lnTo>
                    <a:pt x="532" y="108"/>
                  </a:lnTo>
                  <a:lnTo>
                    <a:pt x="530" y="110"/>
                  </a:lnTo>
                  <a:lnTo>
                    <a:pt x="532" y="112"/>
                  </a:lnTo>
                  <a:lnTo>
                    <a:pt x="534" y="114"/>
                  </a:lnTo>
                  <a:lnTo>
                    <a:pt x="542" y="114"/>
                  </a:lnTo>
                  <a:close/>
                  <a:moveTo>
                    <a:pt x="590" y="96"/>
                  </a:moveTo>
                  <a:lnTo>
                    <a:pt x="590" y="96"/>
                  </a:lnTo>
                  <a:lnTo>
                    <a:pt x="596" y="94"/>
                  </a:lnTo>
                  <a:lnTo>
                    <a:pt x="598" y="92"/>
                  </a:lnTo>
                  <a:lnTo>
                    <a:pt x="598" y="90"/>
                  </a:lnTo>
                  <a:lnTo>
                    <a:pt x="596" y="88"/>
                  </a:lnTo>
                  <a:lnTo>
                    <a:pt x="592" y="86"/>
                  </a:lnTo>
                  <a:lnTo>
                    <a:pt x="584" y="86"/>
                  </a:lnTo>
                  <a:lnTo>
                    <a:pt x="574" y="88"/>
                  </a:lnTo>
                  <a:lnTo>
                    <a:pt x="562" y="90"/>
                  </a:lnTo>
                  <a:lnTo>
                    <a:pt x="556" y="92"/>
                  </a:lnTo>
                  <a:lnTo>
                    <a:pt x="556" y="94"/>
                  </a:lnTo>
                  <a:lnTo>
                    <a:pt x="560" y="96"/>
                  </a:lnTo>
                  <a:lnTo>
                    <a:pt x="576" y="96"/>
                  </a:lnTo>
                  <a:lnTo>
                    <a:pt x="590" y="96"/>
                  </a:lnTo>
                  <a:close/>
                  <a:moveTo>
                    <a:pt x="554" y="70"/>
                  </a:moveTo>
                  <a:lnTo>
                    <a:pt x="554" y="70"/>
                  </a:lnTo>
                  <a:lnTo>
                    <a:pt x="554" y="72"/>
                  </a:lnTo>
                  <a:lnTo>
                    <a:pt x="554" y="74"/>
                  </a:lnTo>
                  <a:lnTo>
                    <a:pt x="562" y="78"/>
                  </a:lnTo>
                  <a:lnTo>
                    <a:pt x="572" y="80"/>
                  </a:lnTo>
                  <a:lnTo>
                    <a:pt x="582" y="80"/>
                  </a:lnTo>
                  <a:lnTo>
                    <a:pt x="584" y="78"/>
                  </a:lnTo>
                  <a:lnTo>
                    <a:pt x="584" y="76"/>
                  </a:lnTo>
                  <a:lnTo>
                    <a:pt x="576" y="72"/>
                  </a:lnTo>
                  <a:lnTo>
                    <a:pt x="564" y="68"/>
                  </a:lnTo>
                  <a:lnTo>
                    <a:pt x="558" y="68"/>
                  </a:lnTo>
                  <a:lnTo>
                    <a:pt x="554" y="70"/>
                  </a:lnTo>
                  <a:close/>
                  <a:moveTo>
                    <a:pt x="1962" y="108"/>
                  </a:moveTo>
                  <a:lnTo>
                    <a:pt x="1962" y="108"/>
                  </a:lnTo>
                  <a:lnTo>
                    <a:pt x="1950" y="114"/>
                  </a:lnTo>
                  <a:lnTo>
                    <a:pt x="1938" y="120"/>
                  </a:lnTo>
                  <a:lnTo>
                    <a:pt x="1916" y="128"/>
                  </a:lnTo>
                  <a:lnTo>
                    <a:pt x="1908" y="132"/>
                  </a:lnTo>
                  <a:lnTo>
                    <a:pt x="1906" y="134"/>
                  </a:lnTo>
                  <a:lnTo>
                    <a:pt x="1908" y="136"/>
                  </a:lnTo>
                  <a:lnTo>
                    <a:pt x="1918" y="138"/>
                  </a:lnTo>
                  <a:lnTo>
                    <a:pt x="1930" y="138"/>
                  </a:lnTo>
                  <a:lnTo>
                    <a:pt x="1938" y="142"/>
                  </a:lnTo>
                  <a:lnTo>
                    <a:pt x="1952" y="146"/>
                  </a:lnTo>
                  <a:lnTo>
                    <a:pt x="1968" y="154"/>
                  </a:lnTo>
                  <a:lnTo>
                    <a:pt x="1980" y="156"/>
                  </a:lnTo>
                  <a:lnTo>
                    <a:pt x="1994" y="158"/>
                  </a:lnTo>
                  <a:lnTo>
                    <a:pt x="2010" y="158"/>
                  </a:lnTo>
                  <a:lnTo>
                    <a:pt x="2016" y="158"/>
                  </a:lnTo>
                  <a:lnTo>
                    <a:pt x="2020" y="156"/>
                  </a:lnTo>
                  <a:lnTo>
                    <a:pt x="2022" y="152"/>
                  </a:lnTo>
                  <a:lnTo>
                    <a:pt x="2024" y="150"/>
                  </a:lnTo>
                  <a:lnTo>
                    <a:pt x="2028" y="146"/>
                  </a:lnTo>
                  <a:lnTo>
                    <a:pt x="2040" y="142"/>
                  </a:lnTo>
                  <a:lnTo>
                    <a:pt x="2058" y="140"/>
                  </a:lnTo>
                  <a:lnTo>
                    <a:pt x="2100" y="140"/>
                  </a:lnTo>
                  <a:lnTo>
                    <a:pt x="2130" y="140"/>
                  </a:lnTo>
                  <a:lnTo>
                    <a:pt x="2138" y="138"/>
                  </a:lnTo>
                  <a:lnTo>
                    <a:pt x="2142" y="136"/>
                  </a:lnTo>
                  <a:lnTo>
                    <a:pt x="2142" y="130"/>
                  </a:lnTo>
                  <a:lnTo>
                    <a:pt x="2136" y="122"/>
                  </a:lnTo>
                  <a:lnTo>
                    <a:pt x="2132" y="114"/>
                  </a:lnTo>
                  <a:lnTo>
                    <a:pt x="2132" y="112"/>
                  </a:lnTo>
                  <a:lnTo>
                    <a:pt x="2134" y="110"/>
                  </a:lnTo>
                  <a:lnTo>
                    <a:pt x="2140" y="108"/>
                  </a:lnTo>
                  <a:lnTo>
                    <a:pt x="2146" y="106"/>
                  </a:lnTo>
                  <a:lnTo>
                    <a:pt x="2162" y="104"/>
                  </a:lnTo>
                  <a:lnTo>
                    <a:pt x="2164" y="102"/>
                  </a:lnTo>
                  <a:lnTo>
                    <a:pt x="2166" y="100"/>
                  </a:lnTo>
                  <a:lnTo>
                    <a:pt x="2164" y="96"/>
                  </a:lnTo>
                  <a:lnTo>
                    <a:pt x="2160" y="92"/>
                  </a:lnTo>
                  <a:lnTo>
                    <a:pt x="2154" y="90"/>
                  </a:lnTo>
                  <a:lnTo>
                    <a:pt x="2142" y="88"/>
                  </a:lnTo>
                  <a:lnTo>
                    <a:pt x="2136" y="88"/>
                  </a:lnTo>
                  <a:lnTo>
                    <a:pt x="2128" y="86"/>
                  </a:lnTo>
                  <a:lnTo>
                    <a:pt x="2118" y="82"/>
                  </a:lnTo>
                  <a:lnTo>
                    <a:pt x="2110" y="74"/>
                  </a:lnTo>
                  <a:lnTo>
                    <a:pt x="2090" y="60"/>
                  </a:lnTo>
                  <a:lnTo>
                    <a:pt x="2082" y="56"/>
                  </a:lnTo>
                  <a:lnTo>
                    <a:pt x="2076" y="52"/>
                  </a:lnTo>
                  <a:lnTo>
                    <a:pt x="2068" y="50"/>
                  </a:lnTo>
                  <a:lnTo>
                    <a:pt x="2060" y="50"/>
                  </a:lnTo>
                  <a:lnTo>
                    <a:pt x="2052" y="54"/>
                  </a:lnTo>
                  <a:lnTo>
                    <a:pt x="2044" y="58"/>
                  </a:lnTo>
                  <a:lnTo>
                    <a:pt x="2034" y="62"/>
                  </a:lnTo>
                  <a:lnTo>
                    <a:pt x="2026" y="66"/>
                  </a:lnTo>
                  <a:lnTo>
                    <a:pt x="2008" y="68"/>
                  </a:lnTo>
                  <a:lnTo>
                    <a:pt x="1988" y="74"/>
                  </a:lnTo>
                  <a:lnTo>
                    <a:pt x="1978" y="78"/>
                  </a:lnTo>
                  <a:lnTo>
                    <a:pt x="1964" y="84"/>
                  </a:lnTo>
                  <a:lnTo>
                    <a:pt x="1954" y="92"/>
                  </a:lnTo>
                  <a:lnTo>
                    <a:pt x="1952" y="94"/>
                  </a:lnTo>
                  <a:lnTo>
                    <a:pt x="1954" y="96"/>
                  </a:lnTo>
                  <a:lnTo>
                    <a:pt x="1960" y="98"/>
                  </a:lnTo>
                  <a:lnTo>
                    <a:pt x="1964" y="98"/>
                  </a:lnTo>
                  <a:lnTo>
                    <a:pt x="1968" y="98"/>
                  </a:lnTo>
                  <a:lnTo>
                    <a:pt x="1968" y="100"/>
                  </a:lnTo>
                  <a:lnTo>
                    <a:pt x="1968" y="102"/>
                  </a:lnTo>
                  <a:lnTo>
                    <a:pt x="1962" y="108"/>
                  </a:lnTo>
                  <a:close/>
                  <a:moveTo>
                    <a:pt x="3810" y="584"/>
                  </a:moveTo>
                  <a:lnTo>
                    <a:pt x="3810" y="584"/>
                  </a:lnTo>
                  <a:lnTo>
                    <a:pt x="3826" y="588"/>
                  </a:lnTo>
                  <a:lnTo>
                    <a:pt x="3834" y="588"/>
                  </a:lnTo>
                  <a:lnTo>
                    <a:pt x="3840" y="584"/>
                  </a:lnTo>
                  <a:lnTo>
                    <a:pt x="3842" y="580"/>
                  </a:lnTo>
                  <a:lnTo>
                    <a:pt x="3842" y="574"/>
                  </a:lnTo>
                  <a:lnTo>
                    <a:pt x="3846" y="570"/>
                  </a:lnTo>
                  <a:lnTo>
                    <a:pt x="3852" y="568"/>
                  </a:lnTo>
                  <a:lnTo>
                    <a:pt x="3864" y="570"/>
                  </a:lnTo>
                  <a:lnTo>
                    <a:pt x="3878" y="574"/>
                  </a:lnTo>
                  <a:lnTo>
                    <a:pt x="3890" y="572"/>
                  </a:lnTo>
                  <a:lnTo>
                    <a:pt x="3900" y="570"/>
                  </a:lnTo>
                  <a:lnTo>
                    <a:pt x="3910" y="566"/>
                  </a:lnTo>
                  <a:lnTo>
                    <a:pt x="3918" y="562"/>
                  </a:lnTo>
                  <a:lnTo>
                    <a:pt x="3926" y="560"/>
                  </a:lnTo>
                  <a:lnTo>
                    <a:pt x="3934" y="562"/>
                  </a:lnTo>
                  <a:lnTo>
                    <a:pt x="3942" y="566"/>
                  </a:lnTo>
                  <a:lnTo>
                    <a:pt x="3952" y="570"/>
                  </a:lnTo>
                  <a:lnTo>
                    <a:pt x="3962" y="572"/>
                  </a:lnTo>
                  <a:lnTo>
                    <a:pt x="3974" y="572"/>
                  </a:lnTo>
                  <a:lnTo>
                    <a:pt x="3986" y="570"/>
                  </a:lnTo>
                  <a:lnTo>
                    <a:pt x="4014" y="562"/>
                  </a:lnTo>
                  <a:lnTo>
                    <a:pt x="4048" y="552"/>
                  </a:lnTo>
                  <a:lnTo>
                    <a:pt x="4056" y="546"/>
                  </a:lnTo>
                  <a:lnTo>
                    <a:pt x="4060" y="542"/>
                  </a:lnTo>
                  <a:lnTo>
                    <a:pt x="4060" y="538"/>
                  </a:lnTo>
                  <a:lnTo>
                    <a:pt x="4056" y="534"/>
                  </a:lnTo>
                  <a:lnTo>
                    <a:pt x="4054" y="530"/>
                  </a:lnTo>
                  <a:lnTo>
                    <a:pt x="4054" y="528"/>
                  </a:lnTo>
                  <a:lnTo>
                    <a:pt x="4056" y="524"/>
                  </a:lnTo>
                  <a:lnTo>
                    <a:pt x="4066" y="524"/>
                  </a:lnTo>
                  <a:lnTo>
                    <a:pt x="4070" y="522"/>
                  </a:lnTo>
                  <a:lnTo>
                    <a:pt x="4074" y="520"/>
                  </a:lnTo>
                  <a:lnTo>
                    <a:pt x="4076" y="518"/>
                  </a:lnTo>
                  <a:lnTo>
                    <a:pt x="4074" y="516"/>
                  </a:lnTo>
                  <a:lnTo>
                    <a:pt x="4068" y="512"/>
                  </a:lnTo>
                  <a:lnTo>
                    <a:pt x="4056" y="506"/>
                  </a:lnTo>
                  <a:lnTo>
                    <a:pt x="4042" y="500"/>
                  </a:lnTo>
                  <a:lnTo>
                    <a:pt x="4026" y="498"/>
                  </a:lnTo>
                  <a:lnTo>
                    <a:pt x="4010" y="496"/>
                  </a:lnTo>
                  <a:lnTo>
                    <a:pt x="3994" y="498"/>
                  </a:lnTo>
                  <a:lnTo>
                    <a:pt x="3980" y="498"/>
                  </a:lnTo>
                  <a:lnTo>
                    <a:pt x="3968" y="496"/>
                  </a:lnTo>
                  <a:lnTo>
                    <a:pt x="3958" y="490"/>
                  </a:lnTo>
                  <a:lnTo>
                    <a:pt x="3948" y="484"/>
                  </a:lnTo>
                  <a:lnTo>
                    <a:pt x="3938" y="478"/>
                  </a:lnTo>
                  <a:lnTo>
                    <a:pt x="3928" y="472"/>
                  </a:lnTo>
                  <a:lnTo>
                    <a:pt x="3918" y="470"/>
                  </a:lnTo>
                  <a:lnTo>
                    <a:pt x="3912" y="472"/>
                  </a:lnTo>
                  <a:lnTo>
                    <a:pt x="3906" y="474"/>
                  </a:lnTo>
                  <a:lnTo>
                    <a:pt x="3898" y="480"/>
                  </a:lnTo>
                  <a:lnTo>
                    <a:pt x="3894" y="486"/>
                  </a:lnTo>
                  <a:lnTo>
                    <a:pt x="3892" y="492"/>
                  </a:lnTo>
                  <a:lnTo>
                    <a:pt x="3894" y="498"/>
                  </a:lnTo>
                  <a:lnTo>
                    <a:pt x="3900" y="506"/>
                  </a:lnTo>
                  <a:lnTo>
                    <a:pt x="3900" y="510"/>
                  </a:lnTo>
                  <a:lnTo>
                    <a:pt x="3896" y="512"/>
                  </a:lnTo>
                  <a:lnTo>
                    <a:pt x="3890" y="512"/>
                  </a:lnTo>
                  <a:lnTo>
                    <a:pt x="3882" y="508"/>
                  </a:lnTo>
                  <a:lnTo>
                    <a:pt x="3862" y="498"/>
                  </a:lnTo>
                  <a:lnTo>
                    <a:pt x="3842" y="484"/>
                  </a:lnTo>
                  <a:lnTo>
                    <a:pt x="3822" y="472"/>
                  </a:lnTo>
                  <a:lnTo>
                    <a:pt x="3814" y="468"/>
                  </a:lnTo>
                  <a:lnTo>
                    <a:pt x="3808" y="468"/>
                  </a:lnTo>
                  <a:lnTo>
                    <a:pt x="3800" y="466"/>
                  </a:lnTo>
                  <a:lnTo>
                    <a:pt x="3794" y="468"/>
                  </a:lnTo>
                  <a:lnTo>
                    <a:pt x="3778" y="476"/>
                  </a:lnTo>
                  <a:lnTo>
                    <a:pt x="3758" y="488"/>
                  </a:lnTo>
                  <a:lnTo>
                    <a:pt x="3748" y="496"/>
                  </a:lnTo>
                  <a:lnTo>
                    <a:pt x="3746" y="502"/>
                  </a:lnTo>
                  <a:lnTo>
                    <a:pt x="3746" y="508"/>
                  </a:lnTo>
                  <a:lnTo>
                    <a:pt x="3748" y="514"/>
                  </a:lnTo>
                  <a:lnTo>
                    <a:pt x="3752" y="524"/>
                  </a:lnTo>
                  <a:lnTo>
                    <a:pt x="3752" y="530"/>
                  </a:lnTo>
                  <a:lnTo>
                    <a:pt x="3746" y="532"/>
                  </a:lnTo>
                  <a:lnTo>
                    <a:pt x="3742" y="536"/>
                  </a:lnTo>
                  <a:lnTo>
                    <a:pt x="3742" y="542"/>
                  </a:lnTo>
                  <a:lnTo>
                    <a:pt x="3744" y="548"/>
                  </a:lnTo>
                  <a:lnTo>
                    <a:pt x="3752" y="554"/>
                  </a:lnTo>
                  <a:lnTo>
                    <a:pt x="3762" y="560"/>
                  </a:lnTo>
                  <a:lnTo>
                    <a:pt x="3776" y="568"/>
                  </a:lnTo>
                  <a:lnTo>
                    <a:pt x="3810" y="584"/>
                  </a:lnTo>
                  <a:close/>
                  <a:moveTo>
                    <a:pt x="4172" y="572"/>
                  </a:moveTo>
                  <a:lnTo>
                    <a:pt x="4172" y="572"/>
                  </a:lnTo>
                  <a:lnTo>
                    <a:pt x="4198" y="578"/>
                  </a:lnTo>
                  <a:lnTo>
                    <a:pt x="4218" y="578"/>
                  </a:lnTo>
                  <a:lnTo>
                    <a:pt x="4262" y="576"/>
                  </a:lnTo>
                  <a:lnTo>
                    <a:pt x="4276" y="574"/>
                  </a:lnTo>
                  <a:lnTo>
                    <a:pt x="4288" y="570"/>
                  </a:lnTo>
                  <a:lnTo>
                    <a:pt x="4294" y="566"/>
                  </a:lnTo>
                  <a:lnTo>
                    <a:pt x="4300" y="560"/>
                  </a:lnTo>
                  <a:lnTo>
                    <a:pt x="4300" y="556"/>
                  </a:lnTo>
                  <a:lnTo>
                    <a:pt x="4300" y="552"/>
                  </a:lnTo>
                  <a:lnTo>
                    <a:pt x="4296" y="550"/>
                  </a:lnTo>
                  <a:lnTo>
                    <a:pt x="4288" y="550"/>
                  </a:lnTo>
                  <a:lnTo>
                    <a:pt x="4280" y="550"/>
                  </a:lnTo>
                  <a:lnTo>
                    <a:pt x="4274" y="548"/>
                  </a:lnTo>
                  <a:lnTo>
                    <a:pt x="4266" y="540"/>
                  </a:lnTo>
                  <a:lnTo>
                    <a:pt x="4260" y="536"/>
                  </a:lnTo>
                  <a:lnTo>
                    <a:pt x="4252" y="534"/>
                  </a:lnTo>
                  <a:lnTo>
                    <a:pt x="4244" y="536"/>
                  </a:lnTo>
                  <a:lnTo>
                    <a:pt x="4230" y="540"/>
                  </a:lnTo>
                  <a:lnTo>
                    <a:pt x="4220" y="542"/>
                  </a:lnTo>
                  <a:lnTo>
                    <a:pt x="4214" y="542"/>
                  </a:lnTo>
                  <a:lnTo>
                    <a:pt x="4212" y="540"/>
                  </a:lnTo>
                  <a:lnTo>
                    <a:pt x="4212" y="536"/>
                  </a:lnTo>
                  <a:lnTo>
                    <a:pt x="4210" y="532"/>
                  </a:lnTo>
                  <a:lnTo>
                    <a:pt x="4204" y="528"/>
                  </a:lnTo>
                  <a:lnTo>
                    <a:pt x="4194" y="526"/>
                  </a:lnTo>
                  <a:lnTo>
                    <a:pt x="4174" y="528"/>
                  </a:lnTo>
                  <a:lnTo>
                    <a:pt x="4154" y="528"/>
                  </a:lnTo>
                  <a:lnTo>
                    <a:pt x="4142" y="526"/>
                  </a:lnTo>
                  <a:lnTo>
                    <a:pt x="4132" y="524"/>
                  </a:lnTo>
                  <a:lnTo>
                    <a:pt x="4126" y="520"/>
                  </a:lnTo>
                  <a:lnTo>
                    <a:pt x="4122" y="514"/>
                  </a:lnTo>
                  <a:lnTo>
                    <a:pt x="4122" y="516"/>
                  </a:lnTo>
                  <a:lnTo>
                    <a:pt x="4118" y="518"/>
                  </a:lnTo>
                  <a:lnTo>
                    <a:pt x="4112" y="530"/>
                  </a:lnTo>
                  <a:lnTo>
                    <a:pt x="4108" y="536"/>
                  </a:lnTo>
                  <a:lnTo>
                    <a:pt x="4110" y="542"/>
                  </a:lnTo>
                  <a:lnTo>
                    <a:pt x="4114" y="550"/>
                  </a:lnTo>
                  <a:lnTo>
                    <a:pt x="4126" y="556"/>
                  </a:lnTo>
                  <a:lnTo>
                    <a:pt x="4144" y="564"/>
                  </a:lnTo>
                  <a:lnTo>
                    <a:pt x="4172" y="572"/>
                  </a:lnTo>
                  <a:close/>
                  <a:moveTo>
                    <a:pt x="5478" y="870"/>
                  </a:moveTo>
                  <a:lnTo>
                    <a:pt x="5478" y="866"/>
                  </a:lnTo>
                  <a:lnTo>
                    <a:pt x="5548" y="856"/>
                  </a:lnTo>
                  <a:lnTo>
                    <a:pt x="5558" y="854"/>
                  </a:lnTo>
                  <a:lnTo>
                    <a:pt x="5564" y="852"/>
                  </a:lnTo>
                  <a:lnTo>
                    <a:pt x="5570" y="848"/>
                  </a:lnTo>
                  <a:lnTo>
                    <a:pt x="5572" y="846"/>
                  </a:lnTo>
                  <a:lnTo>
                    <a:pt x="5570" y="842"/>
                  </a:lnTo>
                  <a:lnTo>
                    <a:pt x="5568" y="838"/>
                  </a:lnTo>
                  <a:lnTo>
                    <a:pt x="5560" y="832"/>
                  </a:lnTo>
                  <a:lnTo>
                    <a:pt x="5546" y="826"/>
                  </a:lnTo>
                  <a:lnTo>
                    <a:pt x="5530" y="820"/>
                  </a:lnTo>
                  <a:lnTo>
                    <a:pt x="5512" y="818"/>
                  </a:lnTo>
                  <a:lnTo>
                    <a:pt x="5494" y="818"/>
                  </a:lnTo>
                  <a:lnTo>
                    <a:pt x="5478" y="820"/>
                  </a:lnTo>
                  <a:lnTo>
                    <a:pt x="5478" y="818"/>
                  </a:lnTo>
                  <a:lnTo>
                    <a:pt x="5454" y="826"/>
                  </a:lnTo>
                  <a:lnTo>
                    <a:pt x="5444" y="832"/>
                  </a:lnTo>
                  <a:lnTo>
                    <a:pt x="5434" y="838"/>
                  </a:lnTo>
                  <a:lnTo>
                    <a:pt x="5428" y="844"/>
                  </a:lnTo>
                  <a:lnTo>
                    <a:pt x="5422" y="850"/>
                  </a:lnTo>
                  <a:lnTo>
                    <a:pt x="5418" y="856"/>
                  </a:lnTo>
                  <a:lnTo>
                    <a:pt x="5418" y="864"/>
                  </a:lnTo>
                  <a:lnTo>
                    <a:pt x="5418" y="868"/>
                  </a:lnTo>
                  <a:lnTo>
                    <a:pt x="5422" y="872"/>
                  </a:lnTo>
                  <a:lnTo>
                    <a:pt x="5426" y="874"/>
                  </a:lnTo>
                  <a:lnTo>
                    <a:pt x="5434" y="874"/>
                  </a:lnTo>
                  <a:lnTo>
                    <a:pt x="5452" y="874"/>
                  </a:lnTo>
                  <a:lnTo>
                    <a:pt x="5478" y="870"/>
                  </a:lnTo>
                  <a:close/>
                  <a:moveTo>
                    <a:pt x="2060" y="404"/>
                  </a:moveTo>
                  <a:lnTo>
                    <a:pt x="2060" y="404"/>
                  </a:lnTo>
                  <a:lnTo>
                    <a:pt x="2068" y="408"/>
                  </a:lnTo>
                  <a:lnTo>
                    <a:pt x="2078" y="408"/>
                  </a:lnTo>
                  <a:lnTo>
                    <a:pt x="2088" y="406"/>
                  </a:lnTo>
                  <a:lnTo>
                    <a:pt x="2096" y="404"/>
                  </a:lnTo>
                  <a:lnTo>
                    <a:pt x="2104" y="400"/>
                  </a:lnTo>
                  <a:lnTo>
                    <a:pt x="2108" y="396"/>
                  </a:lnTo>
                  <a:lnTo>
                    <a:pt x="2112" y="392"/>
                  </a:lnTo>
                  <a:lnTo>
                    <a:pt x="2112" y="388"/>
                  </a:lnTo>
                  <a:lnTo>
                    <a:pt x="2106" y="386"/>
                  </a:lnTo>
                  <a:lnTo>
                    <a:pt x="2100" y="386"/>
                  </a:lnTo>
                  <a:lnTo>
                    <a:pt x="2080" y="392"/>
                  </a:lnTo>
                  <a:lnTo>
                    <a:pt x="2064" y="398"/>
                  </a:lnTo>
                  <a:lnTo>
                    <a:pt x="2060" y="402"/>
                  </a:lnTo>
                  <a:lnTo>
                    <a:pt x="2058" y="404"/>
                  </a:lnTo>
                  <a:lnTo>
                    <a:pt x="2060" y="404"/>
                  </a:lnTo>
                  <a:close/>
                  <a:moveTo>
                    <a:pt x="3868" y="678"/>
                  </a:moveTo>
                  <a:lnTo>
                    <a:pt x="3868" y="678"/>
                  </a:lnTo>
                  <a:lnTo>
                    <a:pt x="3858" y="686"/>
                  </a:lnTo>
                  <a:lnTo>
                    <a:pt x="3856" y="688"/>
                  </a:lnTo>
                  <a:lnTo>
                    <a:pt x="3858" y="690"/>
                  </a:lnTo>
                  <a:lnTo>
                    <a:pt x="3866" y="690"/>
                  </a:lnTo>
                  <a:lnTo>
                    <a:pt x="3896" y="688"/>
                  </a:lnTo>
                  <a:lnTo>
                    <a:pt x="3916" y="688"/>
                  </a:lnTo>
                  <a:lnTo>
                    <a:pt x="3940" y="692"/>
                  </a:lnTo>
                  <a:lnTo>
                    <a:pt x="3970" y="696"/>
                  </a:lnTo>
                  <a:lnTo>
                    <a:pt x="3990" y="696"/>
                  </a:lnTo>
                  <a:lnTo>
                    <a:pt x="4004" y="694"/>
                  </a:lnTo>
                  <a:lnTo>
                    <a:pt x="4006" y="692"/>
                  </a:lnTo>
                  <a:lnTo>
                    <a:pt x="4008" y="690"/>
                  </a:lnTo>
                  <a:lnTo>
                    <a:pt x="4008" y="686"/>
                  </a:lnTo>
                  <a:lnTo>
                    <a:pt x="4006" y="682"/>
                  </a:lnTo>
                  <a:lnTo>
                    <a:pt x="4000" y="674"/>
                  </a:lnTo>
                  <a:lnTo>
                    <a:pt x="3988" y="664"/>
                  </a:lnTo>
                  <a:lnTo>
                    <a:pt x="3972" y="654"/>
                  </a:lnTo>
                  <a:lnTo>
                    <a:pt x="3956" y="648"/>
                  </a:lnTo>
                  <a:lnTo>
                    <a:pt x="3940" y="644"/>
                  </a:lnTo>
                  <a:lnTo>
                    <a:pt x="3928" y="646"/>
                  </a:lnTo>
                  <a:lnTo>
                    <a:pt x="3916" y="648"/>
                  </a:lnTo>
                  <a:lnTo>
                    <a:pt x="3904" y="654"/>
                  </a:lnTo>
                  <a:lnTo>
                    <a:pt x="3894" y="662"/>
                  </a:lnTo>
                  <a:lnTo>
                    <a:pt x="3868" y="678"/>
                  </a:lnTo>
                  <a:close/>
                  <a:moveTo>
                    <a:pt x="5044" y="956"/>
                  </a:moveTo>
                  <a:lnTo>
                    <a:pt x="5044" y="956"/>
                  </a:lnTo>
                  <a:lnTo>
                    <a:pt x="5046" y="954"/>
                  </a:lnTo>
                  <a:lnTo>
                    <a:pt x="5046" y="950"/>
                  </a:lnTo>
                  <a:lnTo>
                    <a:pt x="5044" y="948"/>
                  </a:lnTo>
                  <a:lnTo>
                    <a:pt x="5042" y="946"/>
                  </a:lnTo>
                  <a:lnTo>
                    <a:pt x="5034" y="942"/>
                  </a:lnTo>
                  <a:lnTo>
                    <a:pt x="5024" y="940"/>
                  </a:lnTo>
                  <a:lnTo>
                    <a:pt x="5012" y="938"/>
                  </a:lnTo>
                  <a:lnTo>
                    <a:pt x="5000" y="938"/>
                  </a:lnTo>
                  <a:lnTo>
                    <a:pt x="4990" y="938"/>
                  </a:lnTo>
                  <a:lnTo>
                    <a:pt x="4984" y="942"/>
                  </a:lnTo>
                  <a:lnTo>
                    <a:pt x="4982" y="944"/>
                  </a:lnTo>
                  <a:lnTo>
                    <a:pt x="4982" y="946"/>
                  </a:lnTo>
                  <a:lnTo>
                    <a:pt x="4986" y="950"/>
                  </a:lnTo>
                  <a:lnTo>
                    <a:pt x="4992" y="954"/>
                  </a:lnTo>
                  <a:lnTo>
                    <a:pt x="5002" y="958"/>
                  </a:lnTo>
                  <a:lnTo>
                    <a:pt x="5014" y="960"/>
                  </a:lnTo>
                  <a:lnTo>
                    <a:pt x="5024" y="962"/>
                  </a:lnTo>
                  <a:lnTo>
                    <a:pt x="5034" y="960"/>
                  </a:lnTo>
                  <a:lnTo>
                    <a:pt x="5044" y="956"/>
                  </a:lnTo>
                  <a:close/>
                  <a:moveTo>
                    <a:pt x="3698" y="530"/>
                  </a:moveTo>
                  <a:lnTo>
                    <a:pt x="3698" y="530"/>
                  </a:lnTo>
                  <a:lnTo>
                    <a:pt x="3704" y="524"/>
                  </a:lnTo>
                  <a:lnTo>
                    <a:pt x="3706" y="518"/>
                  </a:lnTo>
                  <a:lnTo>
                    <a:pt x="3704" y="508"/>
                  </a:lnTo>
                  <a:lnTo>
                    <a:pt x="3696" y="498"/>
                  </a:lnTo>
                  <a:lnTo>
                    <a:pt x="3694" y="496"/>
                  </a:lnTo>
                  <a:lnTo>
                    <a:pt x="3692" y="496"/>
                  </a:lnTo>
                  <a:lnTo>
                    <a:pt x="3688" y="500"/>
                  </a:lnTo>
                  <a:lnTo>
                    <a:pt x="3684" y="506"/>
                  </a:lnTo>
                  <a:lnTo>
                    <a:pt x="3682" y="514"/>
                  </a:lnTo>
                  <a:lnTo>
                    <a:pt x="3680" y="524"/>
                  </a:lnTo>
                  <a:lnTo>
                    <a:pt x="3684" y="530"/>
                  </a:lnTo>
                  <a:lnTo>
                    <a:pt x="3686" y="532"/>
                  </a:lnTo>
                  <a:lnTo>
                    <a:pt x="3688" y="532"/>
                  </a:lnTo>
                  <a:lnTo>
                    <a:pt x="3692" y="532"/>
                  </a:lnTo>
                  <a:lnTo>
                    <a:pt x="3698" y="530"/>
                  </a:lnTo>
                  <a:close/>
                  <a:moveTo>
                    <a:pt x="2260" y="322"/>
                  </a:moveTo>
                  <a:lnTo>
                    <a:pt x="2260" y="322"/>
                  </a:lnTo>
                  <a:lnTo>
                    <a:pt x="2286" y="316"/>
                  </a:lnTo>
                  <a:lnTo>
                    <a:pt x="2314" y="310"/>
                  </a:lnTo>
                  <a:lnTo>
                    <a:pt x="2350" y="306"/>
                  </a:lnTo>
                  <a:lnTo>
                    <a:pt x="2398" y="304"/>
                  </a:lnTo>
                  <a:lnTo>
                    <a:pt x="2424" y="302"/>
                  </a:lnTo>
                  <a:lnTo>
                    <a:pt x="2442" y="298"/>
                  </a:lnTo>
                  <a:lnTo>
                    <a:pt x="2456" y="294"/>
                  </a:lnTo>
                  <a:lnTo>
                    <a:pt x="2464" y="288"/>
                  </a:lnTo>
                  <a:lnTo>
                    <a:pt x="2466" y="284"/>
                  </a:lnTo>
                  <a:lnTo>
                    <a:pt x="2466" y="282"/>
                  </a:lnTo>
                  <a:lnTo>
                    <a:pt x="2462" y="274"/>
                  </a:lnTo>
                  <a:lnTo>
                    <a:pt x="2456" y="266"/>
                  </a:lnTo>
                  <a:lnTo>
                    <a:pt x="2442" y="256"/>
                  </a:lnTo>
                  <a:lnTo>
                    <a:pt x="2420" y="240"/>
                  </a:lnTo>
                  <a:lnTo>
                    <a:pt x="2412" y="234"/>
                  </a:lnTo>
                  <a:lnTo>
                    <a:pt x="2406" y="232"/>
                  </a:lnTo>
                  <a:lnTo>
                    <a:pt x="2398" y="232"/>
                  </a:lnTo>
                  <a:lnTo>
                    <a:pt x="2388" y="236"/>
                  </a:lnTo>
                  <a:lnTo>
                    <a:pt x="2376" y="242"/>
                  </a:lnTo>
                  <a:lnTo>
                    <a:pt x="2360" y="254"/>
                  </a:lnTo>
                  <a:lnTo>
                    <a:pt x="2346" y="262"/>
                  </a:lnTo>
                  <a:lnTo>
                    <a:pt x="2344" y="264"/>
                  </a:lnTo>
                  <a:lnTo>
                    <a:pt x="2344" y="262"/>
                  </a:lnTo>
                  <a:lnTo>
                    <a:pt x="2356" y="248"/>
                  </a:lnTo>
                  <a:lnTo>
                    <a:pt x="2364" y="238"/>
                  </a:lnTo>
                  <a:lnTo>
                    <a:pt x="2372" y="226"/>
                  </a:lnTo>
                  <a:lnTo>
                    <a:pt x="2376" y="218"/>
                  </a:lnTo>
                  <a:lnTo>
                    <a:pt x="2374" y="214"/>
                  </a:lnTo>
                  <a:lnTo>
                    <a:pt x="2372" y="212"/>
                  </a:lnTo>
                  <a:lnTo>
                    <a:pt x="2354" y="208"/>
                  </a:lnTo>
                  <a:lnTo>
                    <a:pt x="2344" y="206"/>
                  </a:lnTo>
                  <a:lnTo>
                    <a:pt x="2336" y="206"/>
                  </a:lnTo>
                  <a:lnTo>
                    <a:pt x="2326" y="208"/>
                  </a:lnTo>
                  <a:lnTo>
                    <a:pt x="2316" y="212"/>
                  </a:lnTo>
                  <a:lnTo>
                    <a:pt x="2306" y="222"/>
                  </a:lnTo>
                  <a:lnTo>
                    <a:pt x="2294" y="236"/>
                  </a:lnTo>
                  <a:lnTo>
                    <a:pt x="2286" y="248"/>
                  </a:lnTo>
                  <a:lnTo>
                    <a:pt x="2278" y="256"/>
                  </a:lnTo>
                  <a:lnTo>
                    <a:pt x="2266" y="264"/>
                  </a:lnTo>
                  <a:lnTo>
                    <a:pt x="2260" y="270"/>
                  </a:lnTo>
                  <a:lnTo>
                    <a:pt x="2252" y="278"/>
                  </a:lnTo>
                  <a:lnTo>
                    <a:pt x="2242" y="292"/>
                  </a:lnTo>
                  <a:lnTo>
                    <a:pt x="2230" y="314"/>
                  </a:lnTo>
                  <a:lnTo>
                    <a:pt x="2226" y="324"/>
                  </a:lnTo>
                  <a:lnTo>
                    <a:pt x="2226" y="328"/>
                  </a:lnTo>
                  <a:lnTo>
                    <a:pt x="2228" y="330"/>
                  </a:lnTo>
                  <a:lnTo>
                    <a:pt x="2238" y="328"/>
                  </a:lnTo>
                  <a:lnTo>
                    <a:pt x="2260" y="322"/>
                  </a:lnTo>
                  <a:close/>
                  <a:moveTo>
                    <a:pt x="2156" y="150"/>
                  </a:moveTo>
                  <a:lnTo>
                    <a:pt x="2156" y="150"/>
                  </a:lnTo>
                  <a:lnTo>
                    <a:pt x="2132" y="150"/>
                  </a:lnTo>
                  <a:lnTo>
                    <a:pt x="2100" y="148"/>
                  </a:lnTo>
                  <a:lnTo>
                    <a:pt x="2084" y="150"/>
                  </a:lnTo>
                  <a:lnTo>
                    <a:pt x="2068" y="152"/>
                  </a:lnTo>
                  <a:lnTo>
                    <a:pt x="2054" y="156"/>
                  </a:lnTo>
                  <a:lnTo>
                    <a:pt x="2042" y="162"/>
                  </a:lnTo>
                  <a:lnTo>
                    <a:pt x="2016" y="178"/>
                  </a:lnTo>
                  <a:lnTo>
                    <a:pt x="1988" y="192"/>
                  </a:lnTo>
                  <a:lnTo>
                    <a:pt x="1980" y="198"/>
                  </a:lnTo>
                  <a:lnTo>
                    <a:pt x="1978" y="200"/>
                  </a:lnTo>
                  <a:lnTo>
                    <a:pt x="1978" y="202"/>
                  </a:lnTo>
                  <a:lnTo>
                    <a:pt x="1980" y="204"/>
                  </a:lnTo>
                  <a:lnTo>
                    <a:pt x="1982" y="204"/>
                  </a:lnTo>
                  <a:lnTo>
                    <a:pt x="1996" y="206"/>
                  </a:lnTo>
                  <a:lnTo>
                    <a:pt x="2012" y="206"/>
                  </a:lnTo>
                  <a:lnTo>
                    <a:pt x="2020" y="208"/>
                  </a:lnTo>
                  <a:lnTo>
                    <a:pt x="2024" y="210"/>
                  </a:lnTo>
                  <a:lnTo>
                    <a:pt x="2024" y="214"/>
                  </a:lnTo>
                  <a:lnTo>
                    <a:pt x="2024" y="218"/>
                  </a:lnTo>
                  <a:lnTo>
                    <a:pt x="2026" y="224"/>
                  </a:lnTo>
                  <a:lnTo>
                    <a:pt x="2030" y="230"/>
                  </a:lnTo>
                  <a:lnTo>
                    <a:pt x="2038" y="234"/>
                  </a:lnTo>
                  <a:lnTo>
                    <a:pt x="2046" y="238"/>
                  </a:lnTo>
                  <a:lnTo>
                    <a:pt x="2054" y="238"/>
                  </a:lnTo>
                  <a:lnTo>
                    <a:pt x="2074" y="240"/>
                  </a:lnTo>
                  <a:lnTo>
                    <a:pt x="2100" y="244"/>
                  </a:lnTo>
                  <a:lnTo>
                    <a:pt x="2118" y="246"/>
                  </a:lnTo>
                  <a:lnTo>
                    <a:pt x="2138" y="252"/>
                  </a:lnTo>
                  <a:lnTo>
                    <a:pt x="2158" y="258"/>
                  </a:lnTo>
                  <a:lnTo>
                    <a:pt x="2180" y="260"/>
                  </a:lnTo>
                  <a:lnTo>
                    <a:pt x="2200" y="260"/>
                  </a:lnTo>
                  <a:lnTo>
                    <a:pt x="2218" y="258"/>
                  </a:lnTo>
                  <a:lnTo>
                    <a:pt x="2232" y="252"/>
                  </a:lnTo>
                  <a:lnTo>
                    <a:pt x="2240" y="248"/>
                  </a:lnTo>
                  <a:lnTo>
                    <a:pt x="2244" y="244"/>
                  </a:lnTo>
                  <a:lnTo>
                    <a:pt x="2244" y="240"/>
                  </a:lnTo>
                  <a:lnTo>
                    <a:pt x="2242" y="238"/>
                  </a:lnTo>
                  <a:lnTo>
                    <a:pt x="2240" y="234"/>
                  </a:lnTo>
                  <a:lnTo>
                    <a:pt x="2236" y="232"/>
                  </a:lnTo>
                  <a:lnTo>
                    <a:pt x="2236" y="228"/>
                  </a:lnTo>
                  <a:lnTo>
                    <a:pt x="2236" y="220"/>
                  </a:lnTo>
                  <a:lnTo>
                    <a:pt x="2238" y="210"/>
                  </a:lnTo>
                  <a:lnTo>
                    <a:pt x="2244" y="202"/>
                  </a:lnTo>
                  <a:lnTo>
                    <a:pt x="2248" y="192"/>
                  </a:lnTo>
                  <a:lnTo>
                    <a:pt x="2252" y="184"/>
                  </a:lnTo>
                  <a:lnTo>
                    <a:pt x="2252" y="180"/>
                  </a:lnTo>
                  <a:lnTo>
                    <a:pt x="2252" y="176"/>
                  </a:lnTo>
                  <a:lnTo>
                    <a:pt x="2250" y="174"/>
                  </a:lnTo>
                  <a:lnTo>
                    <a:pt x="2246" y="172"/>
                  </a:lnTo>
                  <a:lnTo>
                    <a:pt x="2238" y="166"/>
                  </a:lnTo>
                  <a:lnTo>
                    <a:pt x="2234" y="162"/>
                  </a:lnTo>
                  <a:lnTo>
                    <a:pt x="2230" y="160"/>
                  </a:lnTo>
                  <a:lnTo>
                    <a:pt x="2226" y="156"/>
                  </a:lnTo>
                  <a:lnTo>
                    <a:pt x="2220" y="156"/>
                  </a:lnTo>
                  <a:lnTo>
                    <a:pt x="2212" y="156"/>
                  </a:lnTo>
                  <a:lnTo>
                    <a:pt x="2184" y="164"/>
                  </a:lnTo>
                  <a:lnTo>
                    <a:pt x="2170" y="170"/>
                  </a:lnTo>
                  <a:lnTo>
                    <a:pt x="2162" y="170"/>
                  </a:lnTo>
                  <a:lnTo>
                    <a:pt x="2160" y="168"/>
                  </a:lnTo>
                  <a:lnTo>
                    <a:pt x="2162" y="164"/>
                  </a:lnTo>
                  <a:lnTo>
                    <a:pt x="2164" y="158"/>
                  </a:lnTo>
                  <a:lnTo>
                    <a:pt x="2164" y="154"/>
                  </a:lnTo>
                  <a:lnTo>
                    <a:pt x="2164" y="150"/>
                  </a:lnTo>
                  <a:lnTo>
                    <a:pt x="2156" y="150"/>
                  </a:lnTo>
                  <a:close/>
                  <a:moveTo>
                    <a:pt x="3192" y="724"/>
                  </a:moveTo>
                  <a:lnTo>
                    <a:pt x="3192" y="724"/>
                  </a:lnTo>
                  <a:lnTo>
                    <a:pt x="3218" y="728"/>
                  </a:lnTo>
                  <a:lnTo>
                    <a:pt x="3242" y="734"/>
                  </a:lnTo>
                  <a:lnTo>
                    <a:pt x="3268" y="744"/>
                  </a:lnTo>
                  <a:lnTo>
                    <a:pt x="3300" y="758"/>
                  </a:lnTo>
                  <a:lnTo>
                    <a:pt x="3308" y="762"/>
                  </a:lnTo>
                  <a:lnTo>
                    <a:pt x="3314" y="764"/>
                  </a:lnTo>
                  <a:lnTo>
                    <a:pt x="3316" y="762"/>
                  </a:lnTo>
                  <a:lnTo>
                    <a:pt x="3316" y="760"/>
                  </a:lnTo>
                  <a:lnTo>
                    <a:pt x="3314" y="752"/>
                  </a:lnTo>
                  <a:lnTo>
                    <a:pt x="3316" y="748"/>
                  </a:lnTo>
                  <a:lnTo>
                    <a:pt x="3320" y="746"/>
                  </a:lnTo>
                  <a:lnTo>
                    <a:pt x="3332" y="746"/>
                  </a:lnTo>
                  <a:lnTo>
                    <a:pt x="3338" y="746"/>
                  </a:lnTo>
                  <a:lnTo>
                    <a:pt x="3368" y="758"/>
                  </a:lnTo>
                  <a:lnTo>
                    <a:pt x="3390" y="768"/>
                  </a:lnTo>
                  <a:lnTo>
                    <a:pt x="3412" y="778"/>
                  </a:lnTo>
                  <a:lnTo>
                    <a:pt x="3420" y="782"/>
                  </a:lnTo>
                  <a:lnTo>
                    <a:pt x="3428" y="782"/>
                  </a:lnTo>
                  <a:lnTo>
                    <a:pt x="3434" y="778"/>
                  </a:lnTo>
                  <a:lnTo>
                    <a:pt x="3440" y="772"/>
                  </a:lnTo>
                  <a:lnTo>
                    <a:pt x="3440" y="766"/>
                  </a:lnTo>
                  <a:lnTo>
                    <a:pt x="3440" y="762"/>
                  </a:lnTo>
                  <a:lnTo>
                    <a:pt x="3436" y="756"/>
                  </a:lnTo>
                  <a:lnTo>
                    <a:pt x="3430" y="752"/>
                  </a:lnTo>
                  <a:lnTo>
                    <a:pt x="3422" y="748"/>
                  </a:lnTo>
                  <a:lnTo>
                    <a:pt x="3414" y="746"/>
                  </a:lnTo>
                  <a:lnTo>
                    <a:pt x="3412" y="744"/>
                  </a:lnTo>
                  <a:lnTo>
                    <a:pt x="3412" y="742"/>
                  </a:lnTo>
                  <a:lnTo>
                    <a:pt x="3414" y="742"/>
                  </a:lnTo>
                  <a:lnTo>
                    <a:pt x="3422" y="738"/>
                  </a:lnTo>
                  <a:lnTo>
                    <a:pt x="3432" y="736"/>
                  </a:lnTo>
                  <a:lnTo>
                    <a:pt x="3432" y="734"/>
                  </a:lnTo>
                  <a:lnTo>
                    <a:pt x="3432" y="732"/>
                  </a:lnTo>
                  <a:lnTo>
                    <a:pt x="3426" y="730"/>
                  </a:lnTo>
                  <a:lnTo>
                    <a:pt x="3418" y="726"/>
                  </a:lnTo>
                  <a:lnTo>
                    <a:pt x="3410" y="724"/>
                  </a:lnTo>
                  <a:lnTo>
                    <a:pt x="3406" y="720"/>
                  </a:lnTo>
                  <a:lnTo>
                    <a:pt x="3406" y="718"/>
                  </a:lnTo>
                  <a:lnTo>
                    <a:pt x="3416" y="714"/>
                  </a:lnTo>
                  <a:lnTo>
                    <a:pt x="3428" y="710"/>
                  </a:lnTo>
                  <a:lnTo>
                    <a:pt x="3430" y="708"/>
                  </a:lnTo>
                  <a:lnTo>
                    <a:pt x="3430" y="706"/>
                  </a:lnTo>
                  <a:lnTo>
                    <a:pt x="3426" y="702"/>
                  </a:lnTo>
                  <a:lnTo>
                    <a:pt x="3418" y="696"/>
                  </a:lnTo>
                  <a:lnTo>
                    <a:pt x="3392" y="686"/>
                  </a:lnTo>
                  <a:lnTo>
                    <a:pt x="3364" y="676"/>
                  </a:lnTo>
                  <a:lnTo>
                    <a:pt x="3352" y="674"/>
                  </a:lnTo>
                  <a:lnTo>
                    <a:pt x="3342" y="676"/>
                  </a:lnTo>
                  <a:lnTo>
                    <a:pt x="3336" y="678"/>
                  </a:lnTo>
                  <a:lnTo>
                    <a:pt x="3330" y="684"/>
                  </a:lnTo>
                  <a:lnTo>
                    <a:pt x="3326" y="688"/>
                  </a:lnTo>
                  <a:lnTo>
                    <a:pt x="3322" y="690"/>
                  </a:lnTo>
                  <a:lnTo>
                    <a:pt x="3320" y="688"/>
                  </a:lnTo>
                  <a:lnTo>
                    <a:pt x="3316" y="682"/>
                  </a:lnTo>
                  <a:lnTo>
                    <a:pt x="3312" y="676"/>
                  </a:lnTo>
                  <a:lnTo>
                    <a:pt x="3306" y="672"/>
                  </a:lnTo>
                  <a:lnTo>
                    <a:pt x="3302" y="668"/>
                  </a:lnTo>
                  <a:lnTo>
                    <a:pt x="3294" y="668"/>
                  </a:lnTo>
                  <a:lnTo>
                    <a:pt x="3278" y="666"/>
                  </a:lnTo>
                  <a:lnTo>
                    <a:pt x="3270" y="664"/>
                  </a:lnTo>
                  <a:lnTo>
                    <a:pt x="3258" y="660"/>
                  </a:lnTo>
                  <a:lnTo>
                    <a:pt x="3244" y="656"/>
                  </a:lnTo>
                  <a:lnTo>
                    <a:pt x="3230" y="654"/>
                  </a:lnTo>
                  <a:lnTo>
                    <a:pt x="3216" y="656"/>
                  </a:lnTo>
                  <a:lnTo>
                    <a:pt x="3204" y="660"/>
                  </a:lnTo>
                  <a:lnTo>
                    <a:pt x="3194" y="666"/>
                  </a:lnTo>
                  <a:lnTo>
                    <a:pt x="3186" y="674"/>
                  </a:lnTo>
                  <a:lnTo>
                    <a:pt x="3186" y="676"/>
                  </a:lnTo>
                  <a:lnTo>
                    <a:pt x="3186" y="680"/>
                  </a:lnTo>
                  <a:lnTo>
                    <a:pt x="3188" y="684"/>
                  </a:lnTo>
                  <a:lnTo>
                    <a:pt x="3190" y="688"/>
                  </a:lnTo>
                  <a:lnTo>
                    <a:pt x="3194" y="692"/>
                  </a:lnTo>
                  <a:lnTo>
                    <a:pt x="3196" y="696"/>
                  </a:lnTo>
                  <a:lnTo>
                    <a:pt x="3196" y="700"/>
                  </a:lnTo>
                  <a:lnTo>
                    <a:pt x="3196" y="702"/>
                  </a:lnTo>
                  <a:lnTo>
                    <a:pt x="3190" y="706"/>
                  </a:lnTo>
                  <a:lnTo>
                    <a:pt x="3184" y="712"/>
                  </a:lnTo>
                  <a:lnTo>
                    <a:pt x="3178" y="714"/>
                  </a:lnTo>
                  <a:lnTo>
                    <a:pt x="3176" y="718"/>
                  </a:lnTo>
                  <a:lnTo>
                    <a:pt x="3180" y="720"/>
                  </a:lnTo>
                  <a:lnTo>
                    <a:pt x="3192" y="724"/>
                  </a:lnTo>
                  <a:close/>
                  <a:moveTo>
                    <a:pt x="614" y="10"/>
                  </a:moveTo>
                  <a:lnTo>
                    <a:pt x="614" y="10"/>
                  </a:lnTo>
                  <a:lnTo>
                    <a:pt x="614" y="8"/>
                  </a:lnTo>
                  <a:lnTo>
                    <a:pt x="612" y="6"/>
                  </a:lnTo>
                  <a:lnTo>
                    <a:pt x="606" y="4"/>
                  </a:lnTo>
                  <a:lnTo>
                    <a:pt x="588" y="0"/>
                  </a:lnTo>
                  <a:lnTo>
                    <a:pt x="576" y="0"/>
                  </a:lnTo>
                  <a:lnTo>
                    <a:pt x="566" y="2"/>
                  </a:lnTo>
                  <a:lnTo>
                    <a:pt x="558" y="4"/>
                  </a:lnTo>
                  <a:lnTo>
                    <a:pt x="554" y="10"/>
                  </a:lnTo>
                  <a:lnTo>
                    <a:pt x="552" y="12"/>
                  </a:lnTo>
                  <a:lnTo>
                    <a:pt x="554" y="14"/>
                  </a:lnTo>
                  <a:lnTo>
                    <a:pt x="558" y="18"/>
                  </a:lnTo>
                  <a:lnTo>
                    <a:pt x="568" y="18"/>
                  </a:lnTo>
                  <a:lnTo>
                    <a:pt x="578" y="18"/>
                  </a:lnTo>
                  <a:lnTo>
                    <a:pt x="602" y="16"/>
                  </a:lnTo>
                  <a:lnTo>
                    <a:pt x="610" y="12"/>
                  </a:lnTo>
                  <a:lnTo>
                    <a:pt x="614" y="10"/>
                  </a:lnTo>
                  <a:close/>
                  <a:moveTo>
                    <a:pt x="444" y="80"/>
                  </a:moveTo>
                  <a:lnTo>
                    <a:pt x="444" y="80"/>
                  </a:lnTo>
                  <a:lnTo>
                    <a:pt x="450" y="82"/>
                  </a:lnTo>
                  <a:lnTo>
                    <a:pt x="450" y="84"/>
                  </a:lnTo>
                  <a:lnTo>
                    <a:pt x="456" y="86"/>
                  </a:lnTo>
                  <a:lnTo>
                    <a:pt x="474" y="88"/>
                  </a:lnTo>
                  <a:lnTo>
                    <a:pt x="502" y="94"/>
                  </a:lnTo>
                  <a:lnTo>
                    <a:pt x="514" y="100"/>
                  </a:lnTo>
                  <a:lnTo>
                    <a:pt x="524" y="102"/>
                  </a:lnTo>
                  <a:lnTo>
                    <a:pt x="536" y="100"/>
                  </a:lnTo>
                  <a:lnTo>
                    <a:pt x="544" y="96"/>
                  </a:lnTo>
                  <a:lnTo>
                    <a:pt x="546" y="94"/>
                  </a:lnTo>
                  <a:lnTo>
                    <a:pt x="544" y="94"/>
                  </a:lnTo>
                  <a:lnTo>
                    <a:pt x="520" y="88"/>
                  </a:lnTo>
                  <a:lnTo>
                    <a:pt x="492" y="76"/>
                  </a:lnTo>
                  <a:lnTo>
                    <a:pt x="478" y="74"/>
                  </a:lnTo>
                  <a:lnTo>
                    <a:pt x="466" y="76"/>
                  </a:lnTo>
                  <a:lnTo>
                    <a:pt x="458" y="76"/>
                  </a:lnTo>
                  <a:lnTo>
                    <a:pt x="452" y="74"/>
                  </a:lnTo>
                  <a:lnTo>
                    <a:pt x="438" y="70"/>
                  </a:lnTo>
                  <a:lnTo>
                    <a:pt x="432" y="68"/>
                  </a:lnTo>
                  <a:lnTo>
                    <a:pt x="426" y="66"/>
                  </a:lnTo>
                  <a:lnTo>
                    <a:pt x="420" y="68"/>
                  </a:lnTo>
                  <a:lnTo>
                    <a:pt x="414" y="74"/>
                  </a:lnTo>
                  <a:lnTo>
                    <a:pt x="412" y="76"/>
                  </a:lnTo>
                  <a:lnTo>
                    <a:pt x="414" y="76"/>
                  </a:lnTo>
                  <a:lnTo>
                    <a:pt x="420" y="78"/>
                  </a:lnTo>
                  <a:lnTo>
                    <a:pt x="432" y="78"/>
                  </a:lnTo>
                  <a:lnTo>
                    <a:pt x="444" y="80"/>
                  </a:lnTo>
                  <a:close/>
                  <a:moveTo>
                    <a:pt x="296" y="786"/>
                  </a:moveTo>
                  <a:lnTo>
                    <a:pt x="296" y="786"/>
                  </a:lnTo>
                  <a:lnTo>
                    <a:pt x="290" y="806"/>
                  </a:lnTo>
                  <a:lnTo>
                    <a:pt x="288" y="812"/>
                  </a:lnTo>
                  <a:lnTo>
                    <a:pt x="288" y="818"/>
                  </a:lnTo>
                  <a:lnTo>
                    <a:pt x="292" y="822"/>
                  </a:lnTo>
                  <a:lnTo>
                    <a:pt x="300" y="826"/>
                  </a:lnTo>
                  <a:lnTo>
                    <a:pt x="310" y="828"/>
                  </a:lnTo>
                  <a:lnTo>
                    <a:pt x="324" y="828"/>
                  </a:lnTo>
                  <a:lnTo>
                    <a:pt x="340" y="828"/>
                  </a:lnTo>
                  <a:lnTo>
                    <a:pt x="338" y="830"/>
                  </a:lnTo>
                  <a:lnTo>
                    <a:pt x="334" y="832"/>
                  </a:lnTo>
                  <a:lnTo>
                    <a:pt x="330" y="836"/>
                  </a:lnTo>
                  <a:lnTo>
                    <a:pt x="330" y="842"/>
                  </a:lnTo>
                  <a:lnTo>
                    <a:pt x="330" y="844"/>
                  </a:lnTo>
                  <a:lnTo>
                    <a:pt x="332" y="848"/>
                  </a:lnTo>
                  <a:lnTo>
                    <a:pt x="344" y="856"/>
                  </a:lnTo>
                  <a:lnTo>
                    <a:pt x="350" y="858"/>
                  </a:lnTo>
                  <a:lnTo>
                    <a:pt x="356" y="860"/>
                  </a:lnTo>
                  <a:lnTo>
                    <a:pt x="360" y="860"/>
                  </a:lnTo>
                  <a:lnTo>
                    <a:pt x="362" y="858"/>
                  </a:lnTo>
                  <a:lnTo>
                    <a:pt x="364" y="852"/>
                  </a:lnTo>
                  <a:lnTo>
                    <a:pt x="366" y="844"/>
                  </a:lnTo>
                  <a:lnTo>
                    <a:pt x="366" y="838"/>
                  </a:lnTo>
                  <a:lnTo>
                    <a:pt x="366" y="834"/>
                  </a:lnTo>
                  <a:lnTo>
                    <a:pt x="368" y="832"/>
                  </a:lnTo>
                  <a:lnTo>
                    <a:pt x="370" y="834"/>
                  </a:lnTo>
                  <a:lnTo>
                    <a:pt x="376" y="842"/>
                  </a:lnTo>
                  <a:lnTo>
                    <a:pt x="380" y="848"/>
                  </a:lnTo>
                  <a:lnTo>
                    <a:pt x="382" y="852"/>
                  </a:lnTo>
                  <a:lnTo>
                    <a:pt x="382" y="856"/>
                  </a:lnTo>
                  <a:lnTo>
                    <a:pt x="382" y="860"/>
                  </a:lnTo>
                  <a:lnTo>
                    <a:pt x="378" y="866"/>
                  </a:lnTo>
                  <a:lnTo>
                    <a:pt x="372" y="870"/>
                  </a:lnTo>
                  <a:lnTo>
                    <a:pt x="368" y="874"/>
                  </a:lnTo>
                  <a:lnTo>
                    <a:pt x="368" y="876"/>
                  </a:lnTo>
                  <a:lnTo>
                    <a:pt x="374" y="878"/>
                  </a:lnTo>
                  <a:lnTo>
                    <a:pt x="388" y="880"/>
                  </a:lnTo>
                  <a:lnTo>
                    <a:pt x="404" y="882"/>
                  </a:lnTo>
                  <a:lnTo>
                    <a:pt x="414" y="884"/>
                  </a:lnTo>
                  <a:lnTo>
                    <a:pt x="420" y="886"/>
                  </a:lnTo>
                  <a:lnTo>
                    <a:pt x="424" y="888"/>
                  </a:lnTo>
                  <a:lnTo>
                    <a:pt x="426" y="890"/>
                  </a:lnTo>
                  <a:lnTo>
                    <a:pt x="430" y="892"/>
                  </a:lnTo>
                  <a:lnTo>
                    <a:pt x="450" y="892"/>
                  </a:lnTo>
                  <a:lnTo>
                    <a:pt x="464" y="894"/>
                  </a:lnTo>
                  <a:lnTo>
                    <a:pt x="476" y="894"/>
                  </a:lnTo>
                  <a:lnTo>
                    <a:pt x="494" y="898"/>
                  </a:lnTo>
                  <a:lnTo>
                    <a:pt x="504" y="898"/>
                  </a:lnTo>
                  <a:lnTo>
                    <a:pt x="514" y="898"/>
                  </a:lnTo>
                  <a:lnTo>
                    <a:pt x="524" y="894"/>
                  </a:lnTo>
                  <a:lnTo>
                    <a:pt x="536" y="888"/>
                  </a:lnTo>
                  <a:lnTo>
                    <a:pt x="540" y="886"/>
                  </a:lnTo>
                  <a:lnTo>
                    <a:pt x="540" y="884"/>
                  </a:lnTo>
                  <a:lnTo>
                    <a:pt x="540" y="882"/>
                  </a:lnTo>
                  <a:lnTo>
                    <a:pt x="538" y="878"/>
                  </a:lnTo>
                  <a:lnTo>
                    <a:pt x="530" y="874"/>
                  </a:lnTo>
                  <a:lnTo>
                    <a:pt x="518" y="868"/>
                  </a:lnTo>
                  <a:lnTo>
                    <a:pt x="506" y="862"/>
                  </a:lnTo>
                  <a:lnTo>
                    <a:pt x="494" y="854"/>
                  </a:lnTo>
                  <a:lnTo>
                    <a:pt x="484" y="846"/>
                  </a:lnTo>
                  <a:lnTo>
                    <a:pt x="476" y="836"/>
                  </a:lnTo>
                  <a:lnTo>
                    <a:pt x="472" y="826"/>
                  </a:lnTo>
                  <a:lnTo>
                    <a:pt x="466" y="820"/>
                  </a:lnTo>
                  <a:lnTo>
                    <a:pt x="456" y="808"/>
                  </a:lnTo>
                  <a:lnTo>
                    <a:pt x="452" y="800"/>
                  </a:lnTo>
                  <a:lnTo>
                    <a:pt x="448" y="792"/>
                  </a:lnTo>
                  <a:lnTo>
                    <a:pt x="448" y="780"/>
                  </a:lnTo>
                  <a:lnTo>
                    <a:pt x="450" y="764"/>
                  </a:lnTo>
                  <a:lnTo>
                    <a:pt x="452" y="756"/>
                  </a:lnTo>
                  <a:lnTo>
                    <a:pt x="456" y="748"/>
                  </a:lnTo>
                  <a:lnTo>
                    <a:pt x="464" y="736"/>
                  </a:lnTo>
                  <a:lnTo>
                    <a:pt x="474" y="726"/>
                  </a:lnTo>
                  <a:lnTo>
                    <a:pt x="482" y="718"/>
                  </a:lnTo>
                  <a:lnTo>
                    <a:pt x="490" y="712"/>
                  </a:lnTo>
                  <a:lnTo>
                    <a:pt x="492" y="706"/>
                  </a:lnTo>
                  <a:lnTo>
                    <a:pt x="492" y="704"/>
                  </a:lnTo>
                  <a:lnTo>
                    <a:pt x="488" y="702"/>
                  </a:lnTo>
                  <a:lnTo>
                    <a:pt x="478" y="696"/>
                  </a:lnTo>
                  <a:lnTo>
                    <a:pt x="458" y="688"/>
                  </a:lnTo>
                  <a:lnTo>
                    <a:pt x="454" y="686"/>
                  </a:lnTo>
                  <a:lnTo>
                    <a:pt x="448" y="686"/>
                  </a:lnTo>
                  <a:lnTo>
                    <a:pt x="434" y="688"/>
                  </a:lnTo>
                  <a:lnTo>
                    <a:pt x="400" y="694"/>
                  </a:lnTo>
                  <a:lnTo>
                    <a:pt x="378" y="698"/>
                  </a:lnTo>
                  <a:lnTo>
                    <a:pt x="366" y="700"/>
                  </a:lnTo>
                  <a:lnTo>
                    <a:pt x="362" y="702"/>
                  </a:lnTo>
                  <a:lnTo>
                    <a:pt x="362" y="706"/>
                  </a:lnTo>
                  <a:lnTo>
                    <a:pt x="362" y="708"/>
                  </a:lnTo>
                  <a:lnTo>
                    <a:pt x="362" y="712"/>
                  </a:lnTo>
                  <a:lnTo>
                    <a:pt x="358" y="716"/>
                  </a:lnTo>
                  <a:lnTo>
                    <a:pt x="348" y="720"/>
                  </a:lnTo>
                  <a:lnTo>
                    <a:pt x="338" y="726"/>
                  </a:lnTo>
                  <a:lnTo>
                    <a:pt x="334" y="730"/>
                  </a:lnTo>
                  <a:lnTo>
                    <a:pt x="332" y="734"/>
                  </a:lnTo>
                  <a:lnTo>
                    <a:pt x="334" y="736"/>
                  </a:lnTo>
                  <a:lnTo>
                    <a:pt x="338" y="742"/>
                  </a:lnTo>
                  <a:lnTo>
                    <a:pt x="340" y="746"/>
                  </a:lnTo>
                  <a:lnTo>
                    <a:pt x="340" y="754"/>
                  </a:lnTo>
                  <a:lnTo>
                    <a:pt x="336" y="764"/>
                  </a:lnTo>
                  <a:lnTo>
                    <a:pt x="330" y="774"/>
                  </a:lnTo>
                  <a:lnTo>
                    <a:pt x="324" y="778"/>
                  </a:lnTo>
                  <a:lnTo>
                    <a:pt x="320" y="778"/>
                  </a:lnTo>
                  <a:lnTo>
                    <a:pt x="316" y="776"/>
                  </a:lnTo>
                  <a:lnTo>
                    <a:pt x="310" y="774"/>
                  </a:lnTo>
                  <a:lnTo>
                    <a:pt x="306" y="774"/>
                  </a:lnTo>
                  <a:lnTo>
                    <a:pt x="302" y="778"/>
                  </a:lnTo>
                  <a:lnTo>
                    <a:pt x="296" y="786"/>
                  </a:lnTo>
                  <a:close/>
                  <a:moveTo>
                    <a:pt x="282" y="168"/>
                  </a:moveTo>
                  <a:lnTo>
                    <a:pt x="282" y="168"/>
                  </a:lnTo>
                  <a:lnTo>
                    <a:pt x="290" y="168"/>
                  </a:lnTo>
                  <a:lnTo>
                    <a:pt x="294" y="164"/>
                  </a:lnTo>
                  <a:lnTo>
                    <a:pt x="292" y="160"/>
                  </a:lnTo>
                  <a:lnTo>
                    <a:pt x="288" y="158"/>
                  </a:lnTo>
                  <a:lnTo>
                    <a:pt x="280" y="154"/>
                  </a:lnTo>
                  <a:lnTo>
                    <a:pt x="270" y="152"/>
                  </a:lnTo>
                  <a:lnTo>
                    <a:pt x="260" y="152"/>
                  </a:lnTo>
                  <a:lnTo>
                    <a:pt x="250" y="156"/>
                  </a:lnTo>
                  <a:lnTo>
                    <a:pt x="242" y="160"/>
                  </a:lnTo>
                  <a:lnTo>
                    <a:pt x="240" y="164"/>
                  </a:lnTo>
                  <a:lnTo>
                    <a:pt x="240" y="166"/>
                  </a:lnTo>
                  <a:lnTo>
                    <a:pt x="244" y="166"/>
                  </a:lnTo>
                  <a:lnTo>
                    <a:pt x="260" y="168"/>
                  </a:lnTo>
                  <a:lnTo>
                    <a:pt x="282" y="168"/>
                  </a:lnTo>
                  <a:close/>
                  <a:moveTo>
                    <a:pt x="416" y="96"/>
                  </a:moveTo>
                  <a:lnTo>
                    <a:pt x="416" y="96"/>
                  </a:lnTo>
                  <a:lnTo>
                    <a:pt x="424" y="96"/>
                  </a:lnTo>
                  <a:lnTo>
                    <a:pt x="428" y="100"/>
                  </a:lnTo>
                  <a:lnTo>
                    <a:pt x="432" y="100"/>
                  </a:lnTo>
                  <a:lnTo>
                    <a:pt x="440" y="100"/>
                  </a:lnTo>
                  <a:lnTo>
                    <a:pt x="452" y="98"/>
                  </a:lnTo>
                  <a:lnTo>
                    <a:pt x="464" y="96"/>
                  </a:lnTo>
                  <a:lnTo>
                    <a:pt x="470" y="96"/>
                  </a:lnTo>
                  <a:lnTo>
                    <a:pt x="472" y="96"/>
                  </a:lnTo>
                  <a:lnTo>
                    <a:pt x="470" y="94"/>
                  </a:lnTo>
                  <a:lnTo>
                    <a:pt x="452" y="88"/>
                  </a:lnTo>
                  <a:lnTo>
                    <a:pt x="440" y="86"/>
                  </a:lnTo>
                  <a:lnTo>
                    <a:pt x="436" y="86"/>
                  </a:lnTo>
                  <a:lnTo>
                    <a:pt x="432" y="88"/>
                  </a:lnTo>
                  <a:lnTo>
                    <a:pt x="428" y="90"/>
                  </a:lnTo>
                  <a:lnTo>
                    <a:pt x="424" y="90"/>
                  </a:lnTo>
                  <a:lnTo>
                    <a:pt x="414" y="88"/>
                  </a:lnTo>
                  <a:lnTo>
                    <a:pt x="404" y="86"/>
                  </a:lnTo>
                  <a:lnTo>
                    <a:pt x="398" y="88"/>
                  </a:lnTo>
                  <a:lnTo>
                    <a:pt x="396" y="92"/>
                  </a:lnTo>
                  <a:lnTo>
                    <a:pt x="394" y="94"/>
                  </a:lnTo>
                  <a:lnTo>
                    <a:pt x="398" y="96"/>
                  </a:lnTo>
                  <a:lnTo>
                    <a:pt x="416" y="96"/>
                  </a:lnTo>
                  <a:close/>
                  <a:moveTo>
                    <a:pt x="406" y="124"/>
                  </a:moveTo>
                  <a:lnTo>
                    <a:pt x="406" y="124"/>
                  </a:lnTo>
                  <a:lnTo>
                    <a:pt x="414" y="122"/>
                  </a:lnTo>
                  <a:lnTo>
                    <a:pt x="416" y="122"/>
                  </a:lnTo>
                  <a:lnTo>
                    <a:pt x="416" y="120"/>
                  </a:lnTo>
                  <a:lnTo>
                    <a:pt x="414" y="116"/>
                  </a:lnTo>
                  <a:lnTo>
                    <a:pt x="408" y="112"/>
                  </a:lnTo>
                  <a:lnTo>
                    <a:pt x="402" y="110"/>
                  </a:lnTo>
                  <a:lnTo>
                    <a:pt x="394" y="110"/>
                  </a:lnTo>
                  <a:lnTo>
                    <a:pt x="390" y="112"/>
                  </a:lnTo>
                  <a:lnTo>
                    <a:pt x="392" y="114"/>
                  </a:lnTo>
                  <a:lnTo>
                    <a:pt x="392" y="116"/>
                  </a:lnTo>
                  <a:lnTo>
                    <a:pt x="392" y="118"/>
                  </a:lnTo>
                  <a:lnTo>
                    <a:pt x="390" y="120"/>
                  </a:lnTo>
                  <a:lnTo>
                    <a:pt x="390" y="122"/>
                  </a:lnTo>
                  <a:lnTo>
                    <a:pt x="392" y="124"/>
                  </a:lnTo>
                  <a:lnTo>
                    <a:pt x="406" y="124"/>
                  </a:lnTo>
                  <a:close/>
                  <a:moveTo>
                    <a:pt x="382" y="134"/>
                  </a:moveTo>
                  <a:lnTo>
                    <a:pt x="382" y="134"/>
                  </a:lnTo>
                  <a:lnTo>
                    <a:pt x="372" y="126"/>
                  </a:lnTo>
                  <a:lnTo>
                    <a:pt x="368" y="124"/>
                  </a:lnTo>
                  <a:lnTo>
                    <a:pt x="364" y="124"/>
                  </a:lnTo>
                  <a:lnTo>
                    <a:pt x="350" y="128"/>
                  </a:lnTo>
                  <a:lnTo>
                    <a:pt x="330" y="136"/>
                  </a:lnTo>
                  <a:lnTo>
                    <a:pt x="328" y="138"/>
                  </a:lnTo>
                  <a:lnTo>
                    <a:pt x="326" y="140"/>
                  </a:lnTo>
                  <a:lnTo>
                    <a:pt x="328" y="142"/>
                  </a:lnTo>
                  <a:lnTo>
                    <a:pt x="332" y="144"/>
                  </a:lnTo>
                  <a:lnTo>
                    <a:pt x="342" y="146"/>
                  </a:lnTo>
                  <a:lnTo>
                    <a:pt x="356" y="148"/>
                  </a:lnTo>
                  <a:lnTo>
                    <a:pt x="370" y="148"/>
                  </a:lnTo>
                  <a:lnTo>
                    <a:pt x="380" y="146"/>
                  </a:lnTo>
                  <a:lnTo>
                    <a:pt x="384" y="144"/>
                  </a:lnTo>
                  <a:lnTo>
                    <a:pt x="386" y="142"/>
                  </a:lnTo>
                  <a:lnTo>
                    <a:pt x="386" y="138"/>
                  </a:lnTo>
                  <a:lnTo>
                    <a:pt x="382" y="134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54" y="118"/>
                  </a:lnTo>
                  <a:lnTo>
                    <a:pt x="62" y="114"/>
                  </a:lnTo>
                  <a:lnTo>
                    <a:pt x="66" y="114"/>
                  </a:lnTo>
                  <a:lnTo>
                    <a:pt x="70" y="116"/>
                  </a:lnTo>
                  <a:lnTo>
                    <a:pt x="76" y="120"/>
                  </a:lnTo>
                  <a:lnTo>
                    <a:pt x="80" y="122"/>
                  </a:lnTo>
                  <a:lnTo>
                    <a:pt x="86" y="124"/>
                  </a:lnTo>
                  <a:lnTo>
                    <a:pt x="92" y="122"/>
                  </a:lnTo>
                  <a:lnTo>
                    <a:pt x="102" y="118"/>
                  </a:lnTo>
                  <a:lnTo>
                    <a:pt x="118" y="110"/>
                  </a:lnTo>
                  <a:lnTo>
                    <a:pt x="130" y="104"/>
                  </a:lnTo>
                  <a:lnTo>
                    <a:pt x="134" y="102"/>
                  </a:lnTo>
                  <a:lnTo>
                    <a:pt x="140" y="102"/>
                  </a:lnTo>
                  <a:lnTo>
                    <a:pt x="148" y="102"/>
                  </a:lnTo>
                  <a:lnTo>
                    <a:pt x="158" y="106"/>
                  </a:lnTo>
                  <a:lnTo>
                    <a:pt x="168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82" y="106"/>
                  </a:lnTo>
                  <a:lnTo>
                    <a:pt x="182" y="102"/>
                  </a:lnTo>
                  <a:lnTo>
                    <a:pt x="176" y="98"/>
                  </a:lnTo>
                  <a:lnTo>
                    <a:pt x="166" y="94"/>
                  </a:lnTo>
                  <a:lnTo>
                    <a:pt x="150" y="90"/>
                  </a:lnTo>
                  <a:lnTo>
                    <a:pt x="126" y="86"/>
                  </a:lnTo>
                  <a:lnTo>
                    <a:pt x="122" y="88"/>
                  </a:lnTo>
                  <a:lnTo>
                    <a:pt x="120" y="90"/>
                  </a:lnTo>
                  <a:lnTo>
                    <a:pt x="118" y="92"/>
                  </a:lnTo>
                  <a:lnTo>
                    <a:pt x="114" y="94"/>
                  </a:lnTo>
                  <a:lnTo>
                    <a:pt x="108" y="98"/>
                  </a:lnTo>
                  <a:lnTo>
                    <a:pt x="96" y="100"/>
                  </a:lnTo>
                  <a:lnTo>
                    <a:pt x="64" y="104"/>
                  </a:lnTo>
                  <a:lnTo>
                    <a:pt x="42" y="108"/>
                  </a:lnTo>
                  <a:lnTo>
                    <a:pt x="34" y="110"/>
                  </a:lnTo>
                  <a:lnTo>
                    <a:pt x="32" y="112"/>
                  </a:lnTo>
                  <a:lnTo>
                    <a:pt x="36" y="114"/>
                  </a:lnTo>
                  <a:lnTo>
                    <a:pt x="46" y="116"/>
                  </a:lnTo>
                  <a:close/>
                  <a:moveTo>
                    <a:pt x="202" y="100"/>
                  </a:moveTo>
                  <a:lnTo>
                    <a:pt x="202" y="100"/>
                  </a:lnTo>
                  <a:lnTo>
                    <a:pt x="210" y="106"/>
                  </a:lnTo>
                  <a:lnTo>
                    <a:pt x="210" y="108"/>
                  </a:lnTo>
                  <a:lnTo>
                    <a:pt x="210" y="112"/>
                  </a:lnTo>
                  <a:lnTo>
                    <a:pt x="208" y="114"/>
                  </a:lnTo>
                  <a:lnTo>
                    <a:pt x="202" y="116"/>
                  </a:lnTo>
                  <a:lnTo>
                    <a:pt x="178" y="118"/>
                  </a:lnTo>
                  <a:lnTo>
                    <a:pt x="152" y="118"/>
                  </a:lnTo>
                  <a:lnTo>
                    <a:pt x="136" y="118"/>
                  </a:lnTo>
                  <a:lnTo>
                    <a:pt x="132" y="120"/>
                  </a:lnTo>
                  <a:lnTo>
                    <a:pt x="134" y="124"/>
                  </a:lnTo>
                  <a:lnTo>
                    <a:pt x="140" y="126"/>
                  </a:lnTo>
                  <a:lnTo>
                    <a:pt x="146" y="132"/>
                  </a:lnTo>
                  <a:lnTo>
                    <a:pt x="146" y="134"/>
                  </a:lnTo>
                  <a:lnTo>
                    <a:pt x="144" y="134"/>
                  </a:lnTo>
                  <a:lnTo>
                    <a:pt x="124" y="132"/>
                  </a:lnTo>
                  <a:lnTo>
                    <a:pt x="110" y="132"/>
                  </a:lnTo>
                  <a:lnTo>
                    <a:pt x="100" y="132"/>
                  </a:lnTo>
                  <a:lnTo>
                    <a:pt x="96" y="134"/>
                  </a:lnTo>
                  <a:lnTo>
                    <a:pt x="96" y="136"/>
                  </a:lnTo>
                  <a:lnTo>
                    <a:pt x="100" y="140"/>
                  </a:lnTo>
                  <a:lnTo>
                    <a:pt x="110" y="144"/>
                  </a:lnTo>
                  <a:lnTo>
                    <a:pt x="118" y="148"/>
                  </a:lnTo>
                  <a:lnTo>
                    <a:pt x="122" y="148"/>
                  </a:lnTo>
                  <a:lnTo>
                    <a:pt x="128" y="144"/>
                  </a:lnTo>
                  <a:lnTo>
                    <a:pt x="140" y="140"/>
                  </a:lnTo>
                  <a:lnTo>
                    <a:pt x="146" y="140"/>
                  </a:lnTo>
                  <a:lnTo>
                    <a:pt x="148" y="140"/>
                  </a:lnTo>
                  <a:lnTo>
                    <a:pt x="146" y="146"/>
                  </a:lnTo>
                  <a:lnTo>
                    <a:pt x="146" y="150"/>
                  </a:lnTo>
                  <a:lnTo>
                    <a:pt x="146" y="152"/>
                  </a:lnTo>
                  <a:lnTo>
                    <a:pt x="150" y="152"/>
                  </a:lnTo>
                  <a:lnTo>
                    <a:pt x="160" y="150"/>
                  </a:lnTo>
                  <a:lnTo>
                    <a:pt x="168" y="148"/>
                  </a:lnTo>
                  <a:lnTo>
                    <a:pt x="176" y="146"/>
                  </a:lnTo>
                  <a:lnTo>
                    <a:pt x="184" y="148"/>
                  </a:lnTo>
                  <a:lnTo>
                    <a:pt x="190" y="150"/>
                  </a:lnTo>
                  <a:lnTo>
                    <a:pt x="192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198" y="142"/>
                  </a:lnTo>
                  <a:lnTo>
                    <a:pt x="192" y="140"/>
                  </a:lnTo>
                  <a:lnTo>
                    <a:pt x="184" y="138"/>
                  </a:lnTo>
                  <a:lnTo>
                    <a:pt x="184" y="136"/>
                  </a:lnTo>
                  <a:lnTo>
                    <a:pt x="186" y="134"/>
                  </a:lnTo>
                  <a:lnTo>
                    <a:pt x="196" y="130"/>
                  </a:lnTo>
                  <a:lnTo>
                    <a:pt x="206" y="130"/>
                  </a:lnTo>
                  <a:lnTo>
                    <a:pt x="216" y="128"/>
                  </a:lnTo>
                  <a:lnTo>
                    <a:pt x="220" y="126"/>
                  </a:lnTo>
                  <a:lnTo>
                    <a:pt x="226" y="124"/>
                  </a:lnTo>
                  <a:lnTo>
                    <a:pt x="230" y="120"/>
                  </a:lnTo>
                  <a:lnTo>
                    <a:pt x="234" y="118"/>
                  </a:lnTo>
                  <a:lnTo>
                    <a:pt x="246" y="118"/>
                  </a:lnTo>
                  <a:lnTo>
                    <a:pt x="262" y="118"/>
                  </a:lnTo>
                  <a:lnTo>
                    <a:pt x="286" y="114"/>
                  </a:lnTo>
                  <a:lnTo>
                    <a:pt x="298" y="112"/>
                  </a:lnTo>
                  <a:lnTo>
                    <a:pt x="304" y="108"/>
                  </a:lnTo>
                  <a:lnTo>
                    <a:pt x="306" y="104"/>
                  </a:lnTo>
                  <a:lnTo>
                    <a:pt x="304" y="102"/>
                  </a:lnTo>
                  <a:lnTo>
                    <a:pt x="298" y="98"/>
                  </a:lnTo>
                  <a:lnTo>
                    <a:pt x="290" y="96"/>
                  </a:lnTo>
                  <a:lnTo>
                    <a:pt x="280" y="96"/>
                  </a:lnTo>
                  <a:lnTo>
                    <a:pt x="270" y="98"/>
                  </a:lnTo>
                  <a:lnTo>
                    <a:pt x="256" y="98"/>
                  </a:lnTo>
                  <a:lnTo>
                    <a:pt x="258" y="98"/>
                  </a:lnTo>
                  <a:lnTo>
                    <a:pt x="260" y="96"/>
                  </a:lnTo>
                  <a:lnTo>
                    <a:pt x="262" y="94"/>
                  </a:lnTo>
                  <a:lnTo>
                    <a:pt x="262" y="92"/>
                  </a:lnTo>
                  <a:lnTo>
                    <a:pt x="258" y="90"/>
                  </a:lnTo>
                  <a:lnTo>
                    <a:pt x="250" y="88"/>
                  </a:lnTo>
                  <a:lnTo>
                    <a:pt x="228" y="88"/>
                  </a:lnTo>
                  <a:lnTo>
                    <a:pt x="208" y="90"/>
                  </a:lnTo>
                  <a:lnTo>
                    <a:pt x="202" y="92"/>
                  </a:lnTo>
                  <a:lnTo>
                    <a:pt x="198" y="96"/>
                  </a:lnTo>
                  <a:lnTo>
                    <a:pt x="198" y="98"/>
                  </a:lnTo>
                  <a:lnTo>
                    <a:pt x="202" y="100"/>
                  </a:lnTo>
                  <a:close/>
                  <a:moveTo>
                    <a:pt x="272" y="70"/>
                  </a:moveTo>
                  <a:lnTo>
                    <a:pt x="272" y="70"/>
                  </a:lnTo>
                  <a:lnTo>
                    <a:pt x="276" y="66"/>
                  </a:lnTo>
                  <a:lnTo>
                    <a:pt x="278" y="64"/>
                  </a:lnTo>
                  <a:lnTo>
                    <a:pt x="276" y="62"/>
                  </a:lnTo>
                  <a:lnTo>
                    <a:pt x="274" y="60"/>
                  </a:lnTo>
                  <a:lnTo>
                    <a:pt x="268" y="60"/>
                  </a:lnTo>
                  <a:lnTo>
                    <a:pt x="262" y="60"/>
                  </a:lnTo>
                  <a:lnTo>
                    <a:pt x="256" y="62"/>
                  </a:lnTo>
                  <a:lnTo>
                    <a:pt x="250" y="66"/>
                  </a:lnTo>
                  <a:lnTo>
                    <a:pt x="246" y="72"/>
                  </a:lnTo>
                  <a:lnTo>
                    <a:pt x="244" y="76"/>
                  </a:lnTo>
                  <a:lnTo>
                    <a:pt x="244" y="78"/>
                  </a:lnTo>
                  <a:lnTo>
                    <a:pt x="248" y="78"/>
                  </a:lnTo>
                  <a:lnTo>
                    <a:pt x="258" y="74"/>
                  </a:lnTo>
                  <a:lnTo>
                    <a:pt x="272" y="70"/>
                  </a:lnTo>
                  <a:close/>
                  <a:moveTo>
                    <a:pt x="228" y="142"/>
                  </a:moveTo>
                  <a:lnTo>
                    <a:pt x="228" y="142"/>
                  </a:lnTo>
                  <a:lnTo>
                    <a:pt x="222" y="144"/>
                  </a:lnTo>
                  <a:lnTo>
                    <a:pt x="220" y="146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2" y="156"/>
                  </a:lnTo>
                  <a:lnTo>
                    <a:pt x="226" y="156"/>
                  </a:lnTo>
                  <a:lnTo>
                    <a:pt x="232" y="156"/>
                  </a:lnTo>
                  <a:lnTo>
                    <a:pt x="238" y="154"/>
                  </a:lnTo>
                  <a:lnTo>
                    <a:pt x="246" y="148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6" y="140"/>
                  </a:lnTo>
                  <a:lnTo>
                    <a:pt x="242" y="138"/>
                  </a:lnTo>
                  <a:lnTo>
                    <a:pt x="228" y="142"/>
                  </a:lnTo>
                  <a:close/>
                  <a:moveTo>
                    <a:pt x="790" y="22"/>
                  </a:moveTo>
                  <a:lnTo>
                    <a:pt x="790" y="22"/>
                  </a:lnTo>
                  <a:lnTo>
                    <a:pt x="792" y="20"/>
                  </a:lnTo>
                  <a:lnTo>
                    <a:pt x="792" y="18"/>
                  </a:lnTo>
                  <a:lnTo>
                    <a:pt x="788" y="14"/>
                  </a:lnTo>
                  <a:lnTo>
                    <a:pt x="780" y="12"/>
                  </a:lnTo>
                  <a:lnTo>
                    <a:pt x="770" y="12"/>
                  </a:lnTo>
                  <a:lnTo>
                    <a:pt x="748" y="12"/>
                  </a:lnTo>
                  <a:lnTo>
                    <a:pt x="736" y="14"/>
                  </a:lnTo>
                  <a:lnTo>
                    <a:pt x="728" y="18"/>
                  </a:lnTo>
                  <a:lnTo>
                    <a:pt x="726" y="18"/>
                  </a:lnTo>
                  <a:lnTo>
                    <a:pt x="726" y="20"/>
                  </a:lnTo>
                  <a:lnTo>
                    <a:pt x="730" y="22"/>
                  </a:lnTo>
                  <a:lnTo>
                    <a:pt x="750" y="26"/>
                  </a:lnTo>
                  <a:lnTo>
                    <a:pt x="774" y="26"/>
                  </a:lnTo>
                  <a:lnTo>
                    <a:pt x="784" y="26"/>
                  </a:lnTo>
                  <a:lnTo>
                    <a:pt x="790" y="22"/>
                  </a:lnTo>
                  <a:close/>
                  <a:moveTo>
                    <a:pt x="596" y="154"/>
                  </a:moveTo>
                  <a:lnTo>
                    <a:pt x="596" y="154"/>
                  </a:lnTo>
                  <a:lnTo>
                    <a:pt x="588" y="158"/>
                  </a:lnTo>
                  <a:lnTo>
                    <a:pt x="586" y="160"/>
                  </a:lnTo>
                  <a:lnTo>
                    <a:pt x="588" y="162"/>
                  </a:lnTo>
                  <a:lnTo>
                    <a:pt x="592" y="164"/>
                  </a:lnTo>
                  <a:lnTo>
                    <a:pt x="608" y="164"/>
                  </a:lnTo>
                  <a:lnTo>
                    <a:pt x="628" y="164"/>
                  </a:lnTo>
                  <a:lnTo>
                    <a:pt x="634" y="162"/>
                  </a:lnTo>
                  <a:lnTo>
                    <a:pt x="638" y="160"/>
                  </a:lnTo>
                  <a:lnTo>
                    <a:pt x="636" y="158"/>
                  </a:lnTo>
                  <a:lnTo>
                    <a:pt x="632" y="156"/>
                  </a:lnTo>
                  <a:lnTo>
                    <a:pt x="618" y="152"/>
                  </a:lnTo>
                  <a:lnTo>
                    <a:pt x="610" y="152"/>
                  </a:lnTo>
                  <a:lnTo>
                    <a:pt x="600" y="154"/>
                  </a:lnTo>
                  <a:lnTo>
                    <a:pt x="596" y="154"/>
                  </a:lnTo>
                  <a:close/>
                  <a:moveTo>
                    <a:pt x="482" y="98"/>
                  </a:moveTo>
                  <a:lnTo>
                    <a:pt x="482" y="98"/>
                  </a:lnTo>
                  <a:lnTo>
                    <a:pt x="460" y="100"/>
                  </a:lnTo>
                  <a:lnTo>
                    <a:pt x="458" y="102"/>
                  </a:lnTo>
                  <a:lnTo>
                    <a:pt x="462" y="106"/>
                  </a:lnTo>
                  <a:lnTo>
                    <a:pt x="470" y="108"/>
                  </a:lnTo>
                  <a:lnTo>
                    <a:pt x="482" y="108"/>
                  </a:lnTo>
                  <a:lnTo>
                    <a:pt x="510" y="106"/>
                  </a:lnTo>
                  <a:lnTo>
                    <a:pt x="514" y="106"/>
                  </a:lnTo>
                  <a:lnTo>
                    <a:pt x="516" y="104"/>
                  </a:lnTo>
                  <a:lnTo>
                    <a:pt x="508" y="100"/>
                  </a:lnTo>
                  <a:lnTo>
                    <a:pt x="496" y="98"/>
                  </a:lnTo>
                  <a:lnTo>
                    <a:pt x="482" y="98"/>
                  </a:lnTo>
                  <a:close/>
                  <a:moveTo>
                    <a:pt x="796" y="100"/>
                  </a:moveTo>
                  <a:lnTo>
                    <a:pt x="796" y="100"/>
                  </a:lnTo>
                  <a:lnTo>
                    <a:pt x="822" y="96"/>
                  </a:lnTo>
                  <a:lnTo>
                    <a:pt x="842" y="92"/>
                  </a:lnTo>
                  <a:lnTo>
                    <a:pt x="848" y="90"/>
                  </a:lnTo>
                  <a:lnTo>
                    <a:pt x="854" y="88"/>
                  </a:lnTo>
                  <a:lnTo>
                    <a:pt x="856" y="84"/>
                  </a:lnTo>
                  <a:lnTo>
                    <a:pt x="858" y="78"/>
                  </a:lnTo>
                  <a:lnTo>
                    <a:pt x="856" y="70"/>
                  </a:lnTo>
                  <a:lnTo>
                    <a:pt x="852" y="66"/>
                  </a:lnTo>
                  <a:lnTo>
                    <a:pt x="844" y="62"/>
                  </a:lnTo>
                  <a:lnTo>
                    <a:pt x="836" y="60"/>
                  </a:lnTo>
                  <a:lnTo>
                    <a:pt x="828" y="60"/>
                  </a:lnTo>
                  <a:lnTo>
                    <a:pt x="820" y="60"/>
                  </a:lnTo>
                  <a:lnTo>
                    <a:pt x="812" y="62"/>
                  </a:lnTo>
                  <a:lnTo>
                    <a:pt x="806" y="66"/>
                  </a:lnTo>
                  <a:lnTo>
                    <a:pt x="800" y="70"/>
                  </a:lnTo>
                  <a:lnTo>
                    <a:pt x="796" y="72"/>
                  </a:lnTo>
                  <a:lnTo>
                    <a:pt x="784" y="74"/>
                  </a:lnTo>
                  <a:lnTo>
                    <a:pt x="768" y="76"/>
                  </a:lnTo>
                  <a:lnTo>
                    <a:pt x="758" y="80"/>
                  </a:lnTo>
                  <a:lnTo>
                    <a:pt x="748" y="86"/>
                  </a:lnTo>
                  <a:lnTo>
                    <a:pt x="742" y="90"/>
                  </a:lnTo>
                  <a:lnTo>
                    <a:pt x="740" y="94"/>
                  </a:lnTo>
                  <a:lnTo>
                    <a:pt x="742" y="98"/>
                  </a:lnTo>
                  <a:lnTo>
                    <a:pt x="748" y="100"/>
                  </a:lnTo>
                  <a:lnTo>
                    <a:pt x="758" y="102"/>
                  </a:lnTo>
                  <a:lnTo>
                    <a:pt x="768" y="102"/>
                  </a:lnTo>
                  <a:lnTo>
                    <a:pt x="796" y="100"/>
                  </a:lnTo>
                  <a:close/>
                  <a:moveTo>
                    <a:pt x="506" y="132"/>
                  </a:moveTo>
                  <a:lnTo>
                    <a:pt x="506" y="132"/>
                  </a:lnTo>
                  <a:lnTo>
                    <a:pt x="494" y="134"/>
                  </a:lnTo>
                  <a:lnTo>
                    <a:pt x="482" y="132"/>
                  </a:lnTo>
                  <a:lnTo>
                    <a:pt x="476" y="134"/>
                  </a:lnTo>
                  <a:lnTo>
                    <a:pt x="472" y="136"/>
                  </a:lnTo>
                  <a:lnTo>
                    <a:pt x="468" y="140"/>
                  </a:lnTo>
                  <a:lnTo>
                    <a:pt x="466" y="148"/>
                  </a:lnTo>
                  <a:lnTo>
                    <a:pt x="466" y="154"/>
                  </a:lnTo>
                  <a:lnTo>
                    <a:pt x="468" y="156"/>
                  </a:lnTo>
                  <a:lnTo>
                    <a:pt x="472" y="158"/>
                  </a:lnTo>
                  <a:lnTo>
                    <a:pt x="478" y="158"/>
                  </a:lnTo>
                  <a:lnTo>
                    <a:pt x="494" y="158"/>
                  </a:lnTo>
                  <a:lnTo>
                    <a:pt x="512" y="158"/>
                  </a:lnTo>
                  <a:lnTo>
                    <a:pt x="520" y="156"/>
                  </a:lnTo>
                  <a:lnTo>
                    <a:pt x="524" y="154"/>
                  </a:lnTo>
                  <a:lnTo>
                    <a:pt x="526" y="150"/>
                  </a:lnTo>
                  <a:lnTo>
                    <a:pt x="524" y="144"/>
                  </a:lnTo>
                  <a:lnTo>
                    <a:pt x="522" y="138"/>
                  </a:lnTo>
                  <a:lnTo>
                    <a:pt x="516" y="134"/>
                  </a:lnTo>
                  <a:lnTo>
                    <a:pt x="512" y="132"/>
                  </a:lnTo>
                  <a:lnTo>
                    <a:pt x="506" y="132"/>
                  </a:lnTo>
                  <a:close/>
                  <a:moveTo>
                    <a:pt x="456" y="58"/>
                  </a:moveTo>
                  <a:lnTo>
                    <a:pt x="456" y="58"/>
                  </a:lnTo>
                  <a:lnTo>
                    <a:pt x="460" y="58"/>
                  </a:lnTo>
                  <a:lnTo>
                    <a:pt x="464" y="58"/>
                  </a:lnTo>
                  <a:lnTo>
                    <a:pt x="470" y="58"/>
                  </a:lnTo>
                  <a:lnTo>
                    <a:pt x="480" y="58"/>
                  </a:lnTo>
                  <a:lnTo>
                    <a:pt x="486" y="58"/>
                  </a:lnTo>
                  <a:lnTo>
                    <a:pt x="492" y="62"/>
                  </a:lnTo>
                  <a:lnTo>
                    <a:pt x="496" y="64"/>
                  </a:lnTo>
                  <a:lnTo>
                    <a:pt x="500" y="64"/>
                  </a:lnTo>
                  <a:lnTo>
                    <a:pt x="508" y="60"/>
                  </a:lnTo>
                  <a:lnTo>
                    <a:pt x="524" y="56"/>
                  </a:lnTo>
                  <a:lnTo>
                    <a:pt x="548" y="52"/>
                  </a:lnTo>
                  <a:lnTo>
                    <a:pt x="552" y="52"/>
                  </a:lnTo>
                  <a:lnTo>
                    <a:pt x="550" y="50"/>
                  </a:lnTo>
                  <a:lnTo>
                    <a:pt x="540" y="48"/>
                  </a:lnTo>
                  <a:lnTo>
                    <a:pt x="498" y="44"/>
                  </a:lnTo>
                  <a:lnTo>
                    <a:pt x="492" y="44"/>
                  </a:lnTo>
                  <a:lnTo>
                    <a:pt x="488" y="44"/>
                  </a:lnTo>
                  <a:lnTo>
                    <a:pt x="488" y="46"/>
                  </a:lnTo>
                  <a:lnTo>
                    <a:pt x="490" y="48"/>
                  </a:lnTo>
                  <a:lnTo>
                    <a:pt x="494" y="52"/>
                  </a:lnTo>
                  <a:lnTo>
                    <a:pt x="492" y="54"/>
                  </a:lnTo>
                  <a:lnTo>
                    <a:pt x="488" y="54"/>
                  </a:lnTo>
                  <a:lnTo>
                    <a:pt x="462" y="52"/>
                  </a:lnTo>
                  <a:lnTo>
                    <a:pt x="454" y="54"/>
                  </a:lnTo>
                  <a:lnTo>
                    <a:pt x="454" y="56"/>
                  </a:lnTo>
                  <a:lnTo>
                    <a:pt x="456" y="58"/>
                  </a:lnTo>
                  <a:close/>
                  <a:moveTo>
                    <a:pt x="678" y="84"/>
                  </a:moveTo>
                  <a:lnTo>
                    <a:pt x="678" y="84"/>
                  </a:lnTo>
                  <a:lnTo>
                    <a:pt x="688" y="82"/>
                  </a:lnTo>
                  <a:lnTo>
                    <a:pt x="696" y="78"/>
                  </a:lnTo>
                  <a:lnTo>
                    <a:pt x="704" y="74"/>
                  </a:lnTo>
                  <a:lnTo>
                    <a:pt x="710" y="70"/>
                  </a:lnTo>
                  <a:lnTo>
                    <a:pt x="710" y="68"/>
                  </a:lnTo>
                  <a:lnTo>
                    <a:pt x="710" y="66"/>
                  </a:lnTo>
                  <a:lnTo>
                    <a:pt x="704" y="64"/>
                  </a:lnTo>
                  <a:lnTo>
                    <a:pt x="692" y="64"/>
                  </a:lnTo>
                  <a:lnTo>
                    <a:pt x="670" y="68"/>
                  </a:lnTo>
                  <a:lnTo>
                    <a:pt x="654" y="72"/>
                  </a:lnTo>
                  <a:lnTo>
                    <a:pt x="646" y="76"/>
                  </a:lnTo>
                  <a:lnTo>
                    <a:pt x="644" y="80"/>
                  </a:lnTo>
                  <a:lnTo>
                    <a:pt x="646" y="82"/>
                  </a:lnTo>
                  <a:lnTo>
                    <a:pt x="658" y="84"/>
                  </a:lnTo>
                  <a:lnTo>
                    <a:pt x="678" y="84"/>
                  </a:lnTo>
                  <a:close/>
                  <a:moveTo>
                    <a:pt x="568" y="44"/>
                  </a:moveTo>
                  <a:lnTo>
                    <a:pt x="568" y="44"/>
                  </a:lnTo>
                  <a:lnTo>
                    <a:pt x="580" y="44"/>
                  </a:lnTo>
                  <a:lnTo>
                    <a:pt x="582" y="44"/>
                  </a:lnTo>
                  <a:lnTo>
                    <a:pt x="580" y="42"/>
                  </a:lnTo>
                  <a:lnTo>
                    <a:pt x="570" y="38"/>
                  </a:lnTo>
                  <a:lnTo>
                    <a:pt x="556" y="34"/>
                  </a:lnTo>
                  <a:lnTo>
                    <a:pt x="544" y="30"/>
                  </a:lnTo>
                  <a:lnTo>
                    <a:pt x="536" y="28"/>
                  </a:lnTo>
                  <a:lnTo>
                    <a:pt x="528" y="30"/>
                  </a:lnTo>
                  <a:lnTo>
                    <a:pt x="518" y="34"/>
                  </a:lnTo>
                  <a:lnTo>
                    <a:pt x="510" y="38"/>
                  </a:lnTo>
                  <a:lnTo>
                    <a:pt x="508" y="40"/>
                  </a:lnTo>
                  <a:lnTo>
                    <a:pt x="510" y="40"/>
                  </a:lnTo>
                  <a:lnTo>
                    <a:pt x="520" y="40"/>
                  </a:lnTo>
                  <a:lnTo>
                    <a:pt x="542" y="42"/>
                  </a:lnTo>
                  <a:lnTo>
                    <a:pt x="568" y="44"/>
                  </a:lnTo>
                  <a:close/>
                  <a:moveTo>
                    <a:pt x="672" y="122"/>
                  </a:moveTo>
                  <a:lnTo>
                    <a:pt x="672" y="122"/>
                  </a:lnTo>
                  <a:lnTo>
                    <a:pt x="682" y="124"/>
                  </a:lnTo>
                  <a:lnTo>
                    <a:pt x="690" y="124"/>
                  </a:lnTo>
                  <a:lnTo>
                    <a:pt x="694" y="124"/>
                  </a:lnTo>
                  <a:lnTo>
                    <a:pt x="698" y="120"/>
                  </a:lnTo>
                  <a:lnTo>
                    <a:pt x="706" y="116"/>
                  </a:lnTo>
                  <a:lnTo>
                    <a:pt x="710" y="112"/>
                  </a:lnTo>
                  <a:lnTo>
                    <a:pt x="718" y="112"/>
                  </a:lnTo>
                  <a:lnTo>
                    <a:pt x="724" y="110"/>
                  </a:lnTo>
                  <a:lnTo>
                    <a:pt x="728" y="106"/>
                  </a:lnTo>
                  <a:lnTo>
                    <a:pt x="730" y="100"/>
                  </a:lnTo>
                  <a:lnTo>
                    <a:pt x="728" y="94"/>
                  </a:lnTo>
                  <a:lnTo>
                    <a:pt x="724" y="88"/>
                  </a:lnTo>
                  <a:lnTo>
                    <a:pt x="716" y="84"/>
                  </a:lnTo>
                  <a:lnTo>
                    <a:pt x="704" y="84"/>
                  </a:lnTo>
                  <a:lnTo>
                    <a:pt x="688" y="88"/>
                  </a:lnTo>
                  <a:lnTo>
                    <a:pt x="670" y="94"/>
                  </a:lnTo>
                  <a:lnTo>
                    <a:pt x="656" y="94"/>
                  </a:lnTo>
                  <a:lnTo>
                    <a:pt x="644" y="92"/>
                  </a:lnTo>
                  <a:lnTo>
                    <a:pt x="634" y="90"/>
                  </a:lnTo>
                  <a:lnTo>
                    <a:pt x="626" y="90"/>
                  </a:lnTo>
                  <a:lnTo>
                    <a:pt x="620" y="90"/>
                  </a:lnTo>
                  <a:lnTo>
                    <a:pt x="614" y="94"/>
                  </a:lnTo>
                  <a:lnTo>
                    <a:pt x="608" y="104"/>
                  </a:lnTo>
                  <a:lnTo>
                    <a:pt x="606" y="116"/>
                  </a:lnTo>
                  <a:lnTo>
                    <a:pt x="606" y="118"/>
                  </a:lnTo>
                  <a:lnTo>
                    <a:pt x="608" y="122"/>
                  </a:lnTo>
                  <a:lnTo>
                    <a:pt x="614" y="124"/>
                  </a:lnTo>
                  <a:lnTo>
                    <a:pt x="622" y="124"/>
                  </a:lnTo>
                  <a:lnTo>
                    <a:pt x="646" y="120"/>
                  </a:lnTo>
                  <a:lnTo>
                    <a:pt x="660" y="120"/>
                  </a:lnTo>
                  <a:lnTo>
                    <a:pt x="672" y="122"/>
                  </a:lnTo>
                  <a:close/>
                  <a:moveTo>
                    <a:pt x="4428" y="2314"/>
                  </a:moveTo>
                  <a:lnTo>
                    <a:pt x="4428" y="2314"/>
                  </a:lnTo>
                  <a:lnTo>
                    <a:pt x="4426" y="2314"/>
                  </a:lnTo>
                  <a:lnTo>
                    <a:pt x="4428" y="2314"/>
                  </a:lnTo>
                  <a:lnTo>
                    <a:pt x="4432" y="2310"/>
                  </a:lnTo>
                  <a:lnTo>
                    <a:pt x="4436" y="2306"/>
                  </a:lnTo>
                  <a:lnTo>
                    <a:pt x="4436" y="2302"/>
                  </a:lnTo>
                  <a:lnTo>
                    <a:pt x="4432" y="2304"/>
                  </a:lnTo>
                  <a:lnTo>
                    <a:pt x="4428" y="2314"/>
                  </a:lnTo>
                  <a:close/>
                  <a:moveTo>
                    <a:pt x="4510" y="2192"/>
                  </a:moveTo>
                  <a:lnTo>
                    <a:pt x="4510" y="2192"/>
                  </a:lnTo>
                  <a:lnTo>
                    <a:pt x="4508" y="2194"/>
                  </a:lnTo>
                  <a:lnTo>
                    <a:pt x="4506" y="2196"/>
                  </a:lnTo>
                  <a:lnTo>
                    <a:pt x="4502" y="2202"/>
                  </a:lnTo>
                  <a:lnTo>
                    <a:pt x="4498" y="2210"/>
                  </a:lnTo>
                  <a:lnTo>
                    <a:pt x="4496" y="2214"/>
                  </a:lnTo>
                  <a:lnTo>
                    <a:pt x="4492" y="2216"/>
                  </a:lnTo>
                  <a:lnTo>
                    <a:pt x="4482" y="2220"/>
                  </a:lnTo>
                  <a:lnTo>
                    <a:pt x="4476" y="2224"/>
                  </a:lnTo>
                  <a:lnTo>
                    <a:pt x="4476" y="2226"/>
                  </a:lnTo>
                  <a:lnTo>
                    <a:pt x="4474" y="2228"/>
                  </a:lnTo>
                  <a:lnTo>
                    <a:pt x="4478" y="2236"/>
                  </a:lnTo>
                  <a:lnTo>
                    <a:pt x="4480" y="2238"/>
                  </a:lnTo>
                  <a:lnTo>
                    <a:pt x="4482" y="2238"/>
                  </a:lnTo>
                  <a:lnTo>
                    <a:pt x="4484" y="2236"/>
                  </a:lnTo>
                  <a:lnTo>
                    <a:pt x="4490" y="2230"/>
                  </a:lnTo>
                  <a:lnTo>
                    <a:pt x="4494" y="2228"/>
                  </a:lnTo>
                  <a:lnTo>
                    <a:pt x="4498" y="2226"/>
                  </a:lnTo>
                  <a:lnTo>
                    <a:pt x="4504" y="2224"/>
                  </a:lnTo>
                  <a:lnTo>
                    <a:pt x="4508" y="2220"/>
                  </a:lnTo>
                  <a:lnTo>
                    <a:pt x="4510" y="2214"/>
                  </a:lnTo>
                  <a:lnTo>
                    <a:pt x="4512" y="2208"/>
                  </a:lnTo>
                  <a:lnTo>
                    <a:pt x="4512" y="2198"/>
                  </a:lnTo>
                  <a:lnTo>
                    <a:pt x="4512" y="2194"/>
                  </a:lnTo>
                  <a:lnTo>
                    <a:pt x="4510" y="2192"/>
                  </a:lnTo>
                  <a:close/>
                  <a:moveTo>
                    <a:pt x="4462" y="2262"/>
                  </a:moveTo>
                  <a:lnTo>
                    <a:pt x="4462" y="2262"/>
                  </a:lnTo>
                  <a:lnTo>
                    <a:pt x="4460" y="2260"/>
                  </a:lnTo>
                  <a:lnTo>
                    <a:pt x="4456" y="2262"/>
                  </a:lnTo>
                  <a:lnTo>
                    <a:pt x="4452" y="2272"/>
                  </a:lnTo>
                  <a:lnTo>
                    <a:pt x="4448" y="2284"/>
                  </a:lnTo>
                  <a:lnTo>
                    <a:pt x="4448" y="2292"/>
                  </a:lnTo>
                  <a:lnTo>
                    <a:pt x="4448" y="2294"/>
                  </a:lnTo>
                  <a:lnTo>
                    <a:pt x="4452" y="2292"/>
                  </a:lnTo>
                  <a:lnTo>
                    <a:pt x="4458" y="2282"/>
                  </a:lnTo>
                  <a:lnTo>
                    <a:pt x="4462" y="2272"/>
                  </a:lnTo>
                  <a:lnTo>
                    <a:pt x="4462" y="2266"/>
                  </a:lnTo>
                  <a:lnTo>
                    <a:pt x="4462" y="2262"/>
                  </a:lnTo>
                  <a:close/>
                  <a:moveTo>
                    <a:pt x="4486" y="4072"/>
                  </a:moveTo>
                  <a:lnTo>
                    <a:pt x="4486" y="4072"/>
                  </a:lnTo>
                  <a:lnTo>
                    <a:pt x="4482" y="4070"/>
                  </a:lnTo>
                  <a:lnTo>
                    <a:pt x="4482" y="4068"/>
                  </a:lnTo>
                  <a:lnTo>
                    <a:pt x="4480" y="4066"/>
                  </a:lnTo>
                  <a:lnTo>
                    <a:pt x="4478" y="4064"/>
                  </a:lnTo>
                  <a:lnTo>
                    <a:pt x="4474" y="4064"/>
                  </a:lnTo>
                  <a:lnTo>
                    <a:pt x="4470" y="4064"/>
                  </a:lnTo>
                  <a:lnTo>
                    <a:pt x="4460" y="4068"/>
                  </a:lnTo>
                  <a:lnTo>
                    <a:pt x="4450" y="4076"/>
                  </a:lnTo>
                  <a:lnTo>
                    <a:pt x="4448" y="4080"/>
                  </a:lnTo>
                  <a:lnTo>
                    <a:pt x="4448" y="4084"/>
                  </a:lnTo>
                  <a:lnTo>
                    <a:pt x="4446" y="4088"/>
                  </a:lnTo>
                  <a:lnTo>
                    <a:pt x="4442" y="4094"/>
                  </a:lnTo>
                  <a:lnTo>
                    <a:pt x="4440" y="4100"/>
                  </a:lnTo>
                  <a:lnTo>
                    <a:pt x="4438" y="4104"/>
                  </a:lnTo>
                  <a:lnTo>
                    <a:pt x="4440" y="4106"/>
                  </a:lnTo>
                  <a:lnTo>
                    <a:pt x="4442" y="4104"/>
                  </a:lnTo>
                  <a:lnTo>
                    <a:pt x="4448" y="4104"/>
                  </a:lnTo>
                  <a:lnTo>
                    <a:pt x="4458" y="4106"/>
                  </a:lnTo>
                  <a:lnTo>
                    <a:pt x="4462" y="4106"/>
                  </a:lnTo>
                  <a:lnTo>
                    <a:pt x="4466" y="4106"/>
                  </a:lnTo>
                  <a:lnTo>
                    <a:pt x="4470" y="4102"/>
                  </a:lnTo>
                  <a:lnTo>
                    <a:pt x="4474" y="4098"/>
                  </a:lnTo>
                  <a:lnTo>
                    <a:pt x="4478" y="4094"/>
                  </a:lnTo>
                  <a:lnTo>
                    <a:pt x="4480" y="4092"/>
                  </a:lnTo>
                  <a:lnTo>
                    <a:pt x="4482" y="4090"/>
                  </a:lnTo>
                  <a:lnTo>
                    <a:pt x="4484" y="4082"/>
                  </a:lnTo>
                  <a:lnTo>
                    <a:pt x="4488" y="4074"/>
                  </a:lnTo>
                  <a:lnTo>
                    <a:pt x="4488" y="4072"/>
                  </a:lnTo>
                  <a:lnTo>
                    <a:pt x="4486" y="4072"/>
                  </a:lnTo>
                  <a:close/>
                  <a:moveTo>
                    <a:pt x="2916" y="5240"/>
                  </a:moveTo>
                  <a:lnTo>
                    <a:pt x="2916" y="5240"/>
                  </a:lnTo>
                  <a:lnTo>
                    <a:pt x="2912" y="5240"/>
                  </a:lnTo>
                  <a:lnTo>
                    <a:pt x="2908" y="5240"/>
                  </a:lnTo>
                  <a:lnTo>
                    <a:pt x="2902" y="5244"/>
                  </a:lnTo>
                  <a:lnTo>
                    <a:pt x="2898" y="5248"/>
                  </a:lnTo>
                  <a:lnTo>
                    <a:pt x="2896" y="5252"/>
                  </a:lnTo>
                  <a:lnTo>
                    <a:pt x="2896" y="5260"/>
                  </a:lnTo>
                  <a:lnTo>
                    <a:pt x="2896" y="5264"/>
                  </a:lnTo>
                  <a:lnTo>
                    <a:pt x="2894" y="5266"/>
                  </a:lnTo>
                  <a:lnTo>
                    <a:pt x="2890" y="5266"/>
                  </a:lnTo>
                  <a:lnTo>
                    <a:pt x="2888" y="5270"/>
                  </a:lnTo>
                  <a:lnTo>
                    <a:pt x="2892" y="5272"/>
                  </a:lnTo>
                  <a:lnTo>
                    <a:pt x="2904" y="5274"/>
                  </a:lnTo>
                  <a:lnTo>
                    <a:pt x="2914" y="5274"/>
                  </a:lnTo>
                  <a:lnTo>
                    <a:pt x="2916" y="5272"/>
                  </a:lnTo>
                  <a:lnTo>
                    <a:pt x="2918" y="5272"/>
                  </a:lnTo>
                  <a:lnTo>
                    <a:pt x="2918" y="5266"/>
                  </a:lnTo>
                  <a:lnTo>
                    <a:pt x="2920" y="5258"/>
                  </a:lnTo>
                  <a:lnTo>
                    <a:pt x="2924" y="5250"/>
                  </a:lnTo>
                  <a:lnTo>
                    <a:pt x="2924" y="5246"/>
                  </a:lnTo>
                  <a:lnTo>
                    <a:pt x="2922" y="5242"/>
                  </a:lnTo>
                  <a:lnTo>
                    <a:pt x="2916" y="5240"/>
                  </a:lnTo>
                  <a:close/>
                  <a:moveTo>
                    <a:pt x="2868" y="5234"/>
                  </a:moveTo>
                  <a:lnTo>
                    <a:pt x="2868" y="5234"/>
                  </a:lnTo>
                  <a:lnTo>
                    <a:pt x="2866" y="5232"/>
                  </a:lnTo>
                  <a:lnTo>
                    <a:pt x="2864" y="5232"/>
                  </a:lnTo>
                  <a:lnTo>
                    <a:pt x="2860" y="5234"/>
                  </a:lnTo>
                  <a:lnTo>
                    <a:pt x="2854" y="5238"/>
                  </a:lnTo>
                  <a:lnTo>
                    <a:pt x="2850" y="5238"/>
                  </a:lnTo>
                  <a:lnTo>
                    <a:pt x="2844" y="5236"/>
                  </a:lnTo>
                  <a:lnTo>
                    <a:pt x="2838" y="5234"/>
                  </a:lnTo>
                  <a:lnTo>
                    <a:pt x="2836" y="5234"/>
                  </a:lnTo>
                  <a:lnTo>
                    <a:pt x="2834" y="5236"/>
                  </a:lnTo>
                  <a:lnTo>
                    <a:pt x="2834" y="5240"/>
                  </a:lnTo>
                  <a:lnTo>
                    <a:pt x="2836" y="5246"/>
                  </a:lnTo>
                  <a:lnTo>
                    <a:pt x="2840" y="5248"/>
                  </a:lnTo>
                  <a:lnTo>
                    <a:pt x="2844" y="5250"/>
                  </a:lnTo>
                  <a:lnTo>
                    <a:pt x="2850" y="5252"/>
                  </a:lnTo>
                  <a:lnTo>
                    <a:pt x="2856" y="5256"/>
                  </a:lnTo>
                  <a:lnTo>
                    <a:pt x="2860" y="5262"/>
                  </a:lnTo>
                  <a:lnTo>
                    <a:pt x="2860" y="5266"/>
                  </a:lnTo>
                  <a:lnTo>
                    <a:pt x="2860" y="5270"/>
                  </a:lnTo>
                  <a:lnTo>
                    <a:pt x="2862" y="5270"/>
                  </a:lnTo>
                  <a:lnTo>
                    <a:pt x="2866" y="5270"/>
                  </a:lnTo>
                  <a:lnTo>
                    <a:pt x="2868" y="5266"/>
                  </a:lnTo>
                  <a:lnTo>
                    <a:pt x="2870" y="5260"/>
                  </a:lnTo>
                  <a:lnTo>
                    <a:pt x="2876" y="5254"/>
                  </a:lnTo>
                  <a:lnTo>
                    <a:pt x="2882" y="5250"/>
                  </a:lnTo>
                  <a:lnTo>
                    <a:pt x="2882" y="5246"/>
                  </a:lnTo>
                  <a:lnTo>
                    <a:pt x="2882" y="5244"/>
                  </a:lnTo>
                  <a:lnTo>
                    <a:pt x="2876" y="5240"/>
                  </a:lnTo>
                  <a:lnTo>
                    <a:pt x="2868" y="5234"/>
                  </a:lnTo>
                  <a:close/>
                  <a:moveTo>
                    <a:pt x="2906" y="5026"/>
                  </a:moveTo>
                  <a:lnTo>
                    <a:pt x="2906" y="5026"/>
                  </a:lnTo>
                  <a:lnTo>
                    <a:pt x="2906" y="5016"/>
                  </a:lnTo>
                  <a:lnTo>
                    <a:pt x="2906" y="5006"/>
                  </a:lnTo>
                  <a:lnTo>
                    <a:pt x="2904" y="5000"/>
                  </a:lnTo>
                  <a:lnTo>
                    <a:pt x="2902" y="5000"/>
                  </a:lnTo>
                  <a:lnTo>
                    <a:pt x="2900" y="5002"/>
                  </a:lnTo>
                  <a:lnTo>
                    <a:pt x="2898" y="5010"/>
                  </a:lnTo>
                  <a:lnTo>
                    <a:pt x="2898" y="5018"/>
                  </a:lnTo>
                  <a:lnTo>
                    <a:pt x="2898" y="5026"/>
                  </a:lnTo>
                  <a:lnTo>
                    <a:pt x="2896" y="5036"/>
                  </a:lnTo>
                  <a:lnTo>
                    <a:pt x="2896" y="5038"/>
                  </a:lnTo>
                  <a:lnTo>
                    <a:pt x="2898" y="5038"/>
                  </a:lnTo>
                  <a:lnTo>
                    <a:pt x="2902" y="5034"/>
                  </a:lnTo>
                  <a:lnTo>
                    <a:pt x="2906" y="5026"/>
                  </a:lnTo>
                  <a:close/>
                  <a:moveTo>
                    <a:pt x="3284" y="4314"/>
                  </a:moveTo>
                  <a:lnTo>
                    <a:pt x="3284" y="4314"/>
                  </a:lnTo>
                  <a:lnTo>
                    <a:pt x="3286" y="4316"/>
                  </a:lnTo>
                  <a:lnTo>
                    <a:pt x="3288" y="4318"/>
                  </a:lnTo>
                  <a:lnTo>
                    <a:pt x="3290" y="4318"/>
                  </a:lnTo>
                  <a:lnTo>
                    <a:pt x="3290" y="4316"/>
                  </a:lnTo>
                  <a:lnTo>
                    <a:pt x="3290" y="4314"/>
                  </a:lnTo>
                  <a:lnTo>
                    <a:pt x="3288" y="4312"/>
                  </a:lnTo>
                  <a:lnTo>
                    <a:pt x="3284" y="4314"/>
                  </a:lnTo>
                  <a:close/>
                  <a:moveTo>
                    <a:pt x="3284" y="4332"/>
                  </a:moveTo>
                  <a:lnTo>
                    <a:pt x="3284" y="4332"/>
                  </a:lnTo>
                  <a:lnTo>
                    <a:pt x="3284" y="4330"/>
                  </a:lnTo>
                  <a:lnTo>
                    <a:pt x="3282" y="4330"/>
                  </a:lnTo>
                  <a:lnTo>
                    <a:pt x="3278" y="4336"/>
                  </a:lnTo>
                  <a:lnTo>
                    <a:pt x="3278" y="4344"/>
                  </a:lnTo>
                  <a:lnTo>
                    <a:pt x="3278" y="4350"/>
                  </a:lnTo>
                  <a:lnTo>
                    <a:pt x="3282" y="4354"/>
                  </a:lnTo>
                  <a:lnTo>
                    <a:pt x="3284" y="4358"/>
                  </a:lnTo>
                  <a:lnTo>
                    <a:pt x="3286" y="4358"/>
                  </a:lnTo>
                  <a:lnTo>
                    <a:pt x="3286" y="4354"/>
                  </a:lnTo>
                  <a:lnTo>
                    <a:pt x="3284" y="4332"/>
                  </a:lnTo>
                  <a:close/>
                  <a:moveTo>
                    <a:pt x="2868" y="5178"/>
                  </a:moveTo>
                  <a:lnTo>
                    <a:pt x="2868" y="5178"/>
                  </a:lnTo>
                  <a:lnTo>
                    <a:pt x="2870" y="5178"/>
                  </a:lnTo>
                  <a:lnTo>
                    <a:pt x="2872" y="5178"/>
                  </a:lnTo>
                  <a:lnTo>
                    <a:pt x="2874" y="5178"/>
                  </a:lnTo>
                  <a:lnTo>
                    <a:pt x="2876" y="5178"/>
                  </a:lnTo>
                  <a:lnTo>
                    <a:pt x="2876" y="5176"/>
                  </a:lnTo>
                  <a:lnTo>
                    <a:pt x="2874" y="5174"/>
                  </a:lnTo>
                  <a:lnTo>
                    <a:pt x="2872" y="5172"/>
                  </a:lnTo>
                  <a:lnTo>
                    <a:pt x="2866" y="5172"/>
                  </a:lnTo>
                  <a:lnTo>
                    <a:pt x="2862" y="5174"/>
                  </a:lnTo>
                  <a:lnTo>
                    <a:pt x="2864" y="5176"/>
                  </a:lnTo>
                  <a:lnTo>
                    <a:pt x="2866" y="5178"/>
                  </a:lnTo>
                  <a:lnTo>
                    <a:pt x="2868" y="5178"/>
                  </a:lnTo>
                  <a:close/>
                  <a:moveTo>
                    <a:pt x="2798" y="5190"/>
                  </a:moveTo>
                  <a:lnTo>
                    <a:pt x="2798" y="5190"/>
                  </a:lnTo>
                  <a:lnTo>
                    <a:pt x="2804" y="5186"/>
                  </a:lnTo>
                  <a:lnTo>
                    <a:pt x="2812" y="5182"/>
                  </a:lnTo>
                  <a:lnTo>
                    <a:pt x="2818" y="5180"/>
                  </a:lnTo>
                  <a:lnTo>
                    <a:pt x="2818" y="5178"/>
                  </a:lnTo>
                  <a:lnTo>
                    <a:pt x="2818" y="5176"/>
                  </a:lnTo>
                  <a:lnTo>
                    <a:pt x="2814" y="5174"/>
                  </a:lnTo>
                  <a:lnTo>
                    <a:pt x="2810" y="5174"/>
                  </a:lnTo>
                  <a:lnTo>
                    <a:pt x="2804" y="5176"/>
                  </a:lnTo>
                  <a:lnTo>
                    <a:pt x="2794" y="5176"/>
                  </a:lnTo>
                  <a:lnTo>
                    <a:pt x="2780" y="5174"/>
                  </a:lnTo>
                  <a:lnTo>
                    <a:pt x="2770" y="5176"/>
                  </a:lnTo>
                  <a:lnTo>
                    <a:pt x="2764" y="5180"/>
                  </a:lnTo>
                  <a:lnTo>
                    <a:pt x="2764" y="5182"/>
                  </a:lnTo>
                  <a:lnTo>
                    <a:pt x="2764" y="5186"/>
                  </a:lnTo>
                  <a:lnTo>
                    <a:pt x="2768" y="5188"/>
                  </a:lnTo>
                  <a:lnTo>
                    <a:pt x="2780" y="5192"/>
                  </a:lnTo>
                  <a:lnTo>
                    <a:pt x="2790" y="5192"/>
                  </a:lnTo>
                  <a:lnTo>
                    <a:pt x="2796" y="5192"/>
                  </a:lnTo>
                  <a:lnTo>
                    <a:pt x="2798" y="5190"/>
                  </a:lnTo>
                  <a:close/>
                  <a:moveTo>
                    <a:pt x="4914" y="1916"/>
                  </a:moveTo>
                  <a:lnTo>
                    <a:pt x="4914" y="1916"/>
                  </a:lnTo>
                  <a:lnTo>
                    <a:pt x="4910" y="1920"/>
                  </a:lnTo>
                  <a:lnTo>
                    <a:pt x="4910" y="1924"/>
                  </a:lnTo>
                  <a:lnTo>
                    <a:pt x="4912" y="1928"/>
                  </a:lnTo>
                  <a:lnTo>
                    <a:pt x="4914" y="1934"/>
                  </a:lnTo>
                  <a:lnTo>
                    <a:pt x="4926" y="1944"/>
                  </a:lnTo>
                  <a:lnTo>
                    <a:pt x="4938" y="1954"/>
                  </a:lnTo>
                  <a:lnTo>
                    <a:pt x="4942" y="1958"/>
                  </a:lnTo>
                  <a:lnTo>
                    <a:pt x="4942" y="1954"/>
                  </a:lnTo>
                  <a:lnTo>
                    <a:pt x="4940" y="1946"/>
                  </a:lnTo>
                  <a:lnTo>
                    <a:pt x="4936" y="1936"/>
                  </a:lnTo>
                  <a:lnTo>
                    <a:pt x="4930" y="1926"/>
                  </a:lnTo>
                  <a:lnTo>
                    <a:pt x="4924" y="1918"/>
                  </a:lnTo>
                  <a:lnTo>
                    <a:pt x="4918" y="1914"/>
                  </a:lnTo>
                  <a:lnTo>
                    <a:pt x="4916" y="1914"/>
                  </a:lnTo>
                  <a:lnTo>
                    <a:pt x="4914" y="1916"/>
                  </a:lnTo>
                  <a:close/>
                  <a:moveTo>
                    <a:pt x="4520" y="2200"/>
                  </a:moveTo>
                  <a:lnTo>
                    <a:pt x="4520" y="2200"/>
                  </a:lnTo>
                  <a:lnTo>
                    <a:pt x="4522" y="2200"/>
                  </a:lnTo>
                  <a:lnTo>
                    <a:pt x="4524" y="2200"/>
                  </a:lnTo>
                  <a:lnTo>
                    <a:pt x="4528" y="2196"/>
                  </a:lnTo>
                  <a:lnTo>
                    <a:pt x="4528" y="2192"/>
                  </a:lnTo>
                  <a:lnTo>
                    <a:pt x="4528" y="2188"/>
                  </a:lnTo>
                  <a:lnTo>
                    <a:pt x="4524" y="2188"/>
                  </a:lnTo>
                  <a:lnTo>
                    <a:pt x="4520" y="2190"/>
                  </a:lnTo>
                  <a:lnTo>
                    <a:pt x="4518" y="2194"/>
                  </a:lnTo>
                  <a:lnTo>
                    <a:pt x="4518" y="2196"/>
                  </a:lnTo>
                  <a:lnTo>
                    <a:pt x="4520" y="2200"/>
                  </a:lnTo>
                  <a:close/>
                  <a:moveTo>
                    <a:pt x="4814" y="1702"/>
                  </a:moveTo>
                  <a:lnTo>
                    <a:pt x="4814" y="1702"/>
                  </a:lnTo>
                  <a:lnTo>
                    <a:pt x="4812" y="1704"/>
                  </a:lnTo>
                  <a:lnTo>
                    <a:pt x="4812" y="1706"/>
                  </a:lnTo>
                  <a:lnTo>
                    <a:pt x="4816" y="1706"/>
                  </a:lnTo>
                  <a:lnTo>
                    <a:pt x="4832" y="1700"/>
                  </a:lnTo>
                  <a:lnTo>
                    <a:pt x="4842" y="1696"/>
                  </a:lnTo>
                  <a:lnTo>
                    <a:pt x="4850" y="1690"/>
                  </a:lnTo>
                  <a:lnTo>
                    <a:pt x="4856" y="1684"/>
                  </a:lnTo>
                  <a:lnTo>
                    <a:pt x="4858" y="1678"/>
                  </a:lnTo>
                  <a:lnTo>
                    <a:pt x="4856" y="1674"/>
                  </a:lnTo>
                  <a:lnTo>
                    <a:pt x="4852" y="1672"/>
                  </a:lnTo>
                  <a:lnTo>
                    <a:pt x="4848" y="1672"/>
                  </a:lnTo>
                  <a:lnTo>
                    <a:pt x="4842" y="1674"/>
                  </a:lnTo>
                  <a:lnTo>
                    <a:pt x="4828" y="1686"/>
                  </a:lnTo>
                  <a:lnTo>
                    <a:pt x="4814" y="1702"/>
                  </a:lnTo>
                  <a:close/>
                  <a:moveTo>
                    <a:pt x="3278" y="4364"/>
                  </a:moveTo>
                  <a:lnTo>
                    <a:pt x="3278" y="4364"/>
                  </a:lnTo>
                  <a:lnTo>
                    <a:pt x="3276" y="4362"/>
                  </a:lnTo>
                  <a:lnTo>
                    <a:pt x="3274" y="4362"/>
                  </a:lnTo>
                  <a:lnTo>
                    <a:pt x="3278" y="4384"/>
                  </a:lnTo>
                  <a:lnTo>
                    <a:pt x="3278" y="4398"/>
                  </a:lnTo>
                  <a:lnTo>
                    <a:pt x="3278" y="4400"/>
                  </a:lnTo>
                  <a:lnTo>
                    <a:pt x="3276" y="4402"/>
                  </a:lnTo>
                  <a:lnTo>
                    <a:pt x="3272" y="4402"/>
                  </a:lnTo>
                  <a:lnTo>
                    <a:pt x="3266" y="4398"/>
                  </a:lnTo>
                  <a:lnTo>
                    <a:pt x="3264" y="4400"/>
                  </a:lnTo>
                  <a:lnTo>
                    <a:pt x="3264" y="4406"/>
                  </a:lnTo>
                  <a:lnTo>
                    <a:pt x="3262" y="4408"/>
                  </a:lnTo>
                  <a:lnTo>
                    <a:pt x="3260" y="4408"/>
                  </a:lnTo>
                  <a:lnTo>
                    <a:pt x="3256" y="4404"/>
                  </a:lnTo>
                  <a:lnTo>
                    <a:pt x="3254" y="4402"/>
                  </a:lnTo>
                  <a:lnTo>
                    <a:pt x="3252" y="4400"/>
                  </a:lnTo>
                  <a:lnTo>
                    <a:pt x="3250" y="4402"/>
                  </a:lnTo>
                  <a:lnTo>
                    <a:pt x="3248" y="4404"/>
                  </a:lnTo>
                  <a:lnTo>
                    <a:pt x="3248" y="4424"/>
                  </a:lnTo>
                  <a:lnTo>
                    <a:pt x="3248" y="4426"/>
                  </a:lnTo>
                  <a:lnTo>
                    <a:pt x="3246" y="4426"/>
                  </a:lnTo>
                  <a:lnTo>
                    <a:pt x="3240" y="4422"/>
                  </a:lnTo>
                  <a:lnTo>
                    <a:pt x="3238" y="4422"/>
                  </a:lnTo>
                  <a:lnTo>
                    <a:pt x="3234" y="4420"/>
                  </a:lnTo>
                  <a:lnTo>
                    <a:pt x="3232" y="4422"/>
                  </a:lnTo>
                  <a:lnTo>
                    <a:pt x="3230" y="4428"/>
                  </a:lnTo>
                  <a:lnTo>
                    <a:pt x="3226" y="4438"/>
                  </a:lnTo>
                  <a:lnTo>
                    <a:pt x="3224" y="4440"/>
                  </a:lnTo>
                  <a:lnTo>
                    <a:pt x="3220" y="4440"/>
                  </a:lnTo>
                  <a:lnTo>
                    <a:pt x="3214" y="4444"/>
                  </a:lnTo>
                  <a:lnTo>
                    <a:pt x="3210" y="4446"/>
                  </a:lnTo>
                  <a:lnTo>
                    <a:pt x="3212" y="4440"/>
                  </a:lnTo>
                  <a:lnTo>
                    <a:pt x="3212" y="4432"/>
                  </a:lnTo>
                  <a:lnTo>
                    <a:pt x="3210" y="4424"/>
                  </a:lnTo>
                  <a:lnTo>
                    <a:pt x="3208" y="4420"/>
                  </a:lnTo>
                  <a:lnTo>
                    <a:pt x="3204" y="4418"/>
                  </a:lnTo>
                  <a:lnTo>
                    <a:pt x="3200" y="4418"/>
                  </a:lnTo>
                  <a:lnTo>
                    <a:pt x="3198" y="4420"/>
                  </a:lnTo>
                  <a:lnTo>
                    <a:pt x="3198" y="4418"/>
                  </a:lnTo>
                  <a:lnTo>
                    <a:pt x="3196" y="4416"/>
                  </a:lnTo>
                  <a:lnTo>
                    <a:pt x="3194" y="4414"/>
                  </a:lnTo>
                  <a:lnTo>
                    <a:pt x="3192" y="4416"/>
                  </a:lnTo>
                  <a:lnTo>
                    <a:pt x="3192" y="4420"/>
                  </a:lnTo>
                  <a:lnTo>
                    <a:pt x="3190" y="4422"/>
                  </a:lnTo>
                  <a:lnTo>
                    <a:pt x="3188" y="4424"/>
                  </a:lnTo>
                  <a:lnTo>
                    <a:pt x="3186" y="4424"/>
                  </a:lnTo>
                  <a:lnTo>
                    <a:pt x="3182" y="4424"/>
                  </a:lnTo>
                  <a:lnTo>
                    <a:pt x="3178" y="4428"/>
                  </a:lnTo>
                  <a:lnTo>
                    <a:pt x="3176" y="4432"/>
                  </a:lnTo>
                  <a:lnTo>
                    <a:pt x="3178" y="4438"/>
                  </a:lnTo>
                  <a:lnTo>
                    <a:pt x="3178" y="4440"/>
                  </a:lnTo>
                  <a:lnTo>
                    <a:pt x="3174" y="4442"/>
                  </a:lnTo>
                  <a:lnTo>
                    <a:pt x="3170" y="4444"/>
                  </a:lnTo>
                  <a:lnTo>
                    <a:pt x="3166" y="4442"/>
                  </a:lnTo>
                  <a:lnTo>
                    <a:pt x="3164" y="4442"/>
                  </a:lnTo>
                  <a:lnTo>
                    <a:pt x="3162" y="4442"/>
                  </a:lnTo>
                  <a:lnTo>
                    <a:pt x="3160" y="4444"/>
                  </a:lnTo>
                  <a:lnTo>
                    <a:pt x="3156" y="4446"/>
                  </a:lnTo>
                  <a:lnTo>
                    <a:pt x="3150" y="4448"/>
                  </a:lnTo>
                  <a:lnTo>
                    <a:pt x="3146" y="4452"/>
                  </a:lnTo>
                  <a:lnTo>
                    <a:pt x="3142" y="4458"/>
                  </a:lnTo>
                  <a:lnTo>
                    <a:pt x="3140" y="4462"/>
                  </a:lnTo>
                  <a:lnTo>
                    <a:pt x="3140" y="4472"/>
                  </a:lnTo>
                  <a:lnTo>
                    <a:pt x="3138" y="4478"/>
                  </a:lnTo>
                  <a:lnTo>
                    <a:pt x="3134" y="4488"/>
                  </a:lnTo>
                  <a:lnTo>
                    <a:pt x="3132" y="4492"/>
                  </a:lnTo>
                  <a:lnTo>
                    <a:pt x="3134" y="4496"/>
                  </a:lnTo>
                  <a:lnTo>
                    <a:pt x="3136" y="4500"/>
                  </a:lnTo>
                  <a:lnTo>
                    <a:pt x="3138" y="4504"/>
                  </a:lnTo>
                  <a:lnTo>
                    <a:pt x="3140" y="4504"/>
                  </a:lnTo>
                  <a:lnTo>
                    <a:pt x="3144" y="4500"/>
                  </a:lnTo>
                  <a:lnTo>
                    <a:pt x="3148" y="4488"/>
                  </a:lnTo>
                  <a:lnTo>
                    <a:pt x="3150" y="4480"/>
                  </a:lnTo>
                  <a:lnTo>
                    <a:pt x="3152" y="4478"/>
                  </a:lnTo>
                  <a:lnTo>
                    <a:pt x="3152" y="4476"/>
                  </a:lnTo>
                  <a:lnTo>
                    <a:pt x="3154" y="4474"/>
                  </a:lnTo>
                  <a:lnTo>
                    <a:pt x="3156" y="4472"/>
                  </a:lnTo>
                  <a:lnTo>
                    <a:pt x="3156" y="4470"/>
                  </a:lnTo>
                  <a:lnTo>
                    <a:pt x="3158" y="4466"/>
                  </a:lnTo>
                  <a:lnTo>
                    <a:pt x="3160" y="4462"/>
                  </a:lnTo>
                  <a:lnTo>
                    <a:pt x="3164" y="4460"/>
                  </a:lnTo>
                  <a:lnTo>
                    <a:pt x="3168" y="4462"/>
                  </a:lnTo>
                  <a:lnTo>
                    <a:pt x="3170" y="4466"/>
                  </a:lnTo>
                  <a:lnTo>
                    <a:pt x="3168" y="4472"/>
                  </a:lnTo>
                  <a:lnTo>
                    <a:pt x="3168" y="4474"/>
                  </a:lnTo>
                  <a:lnTo>
                    <a:pt x="3172" y="4474"/>
                  </a:lnTo>
                  <a:lnTo>
                    <a:pt x="3178" y="4472"/>
                  </a:lnTo>
                  <a:lnTo>
                    <a:pt x="3182" y="4466"/>
                  </a:lnTo>
                  <a:lnTo>
                    <a:pt x="3184" y="4462"/>
                  </a:lnTo>
                  <a:lnTo>
                    <a:pt x="3184" y="4466"/>
                  </a:lnTo>
                  <a:lnTo>
                    <a:pt x="3184" y="4472"/>
                  </a:lnTo>
                  <a:lnTo>
                    <a:pt x="3184" y="4474"/>
                  </a:lnTo>
                  <a:lnTo>
                    <a:pt x="3186" y="4476"/>
                  </a:lnTo>
                  <a:lnTo>
                    <a:pt x="3192" y="4478"/>
                  </a:lnTo>
                  <a:lnTo>
                    <a:pt x="3194" y="4480"/>
                  </a:lnTo>
                  <a:lnTo>
                    <a:pt x="3194" y="4476"/>
                  </a:lnTo>
                  <a:lnTo>
                    <a:pt x="3194" y="4470"/>
                  </a:lnTo>
                  <a:lnTo>
                    <a:pt x="3196" y="4466"/>
                  </a:lnTo>
                  <a:lnTo>
                    <a:pt x="3198" y="4464"/>
                  </a:lnTo>
                  <a:lnTo>
                    <a:pt x="3196" y="4462"/>
                  </a:lnTo>
                  <a:lnTo>
                    <a:pt x="3194" y="4460"/>
                  </a:lnTo>
                  <a:lnTo>
                    <a:pt x="3196" y="4458"/>
                  </a:lnTo>
                  <a:lnTo>
                    <a:pt x="3200" y="4458"/>
                  </a:lnTo>
                  <a:lnTo>
                    <a:pt x="3206" y="4460"/>
                  </a:lnTo>
                  <a:lnTo>
                    <a:pt x="3210" y="4464"/>
                  </a:lnTo>
                  <a:lnTo>
                    <a:pt x="3216" y="4466"/>
                  </a:lnTo>
                  <a:lnTo>
                    <a:pt x="3218" y="4468"/>
                  </a:lnTo>
                  <a:lnTo>
                    <a:pt x="3222" y="4472"/>
                  </a:lnTo>
                  <a:lnTo>
                    <a:pt x="3222" y="4476"/>
                  </a:lnTo>
                  <a:lnTo>
                    <a:pt x="3224" y="4478"/>
                  </a:lnTo>
                  <a:lnTo>
                    <a:pt x="3226" y="4478"/>
                  </a:lnTo>
                  <a:lnTo>
                    <a:pt x="3226" y="4482"/>
                  </a:lnTo>
                  <a:lnTo>
                    <a:pt x="3224" y="4486"/>
                  </a:lnTo>
                  <a:lnTo>
                    <a:pt x="3220" y="4492"/>
                  </a:lnTo>
                  <a:lnTo>
                    <a:pt x="3216" y="4500"/>
                  </a:lnTo>
                  <a:lnTo>
                    <a:pt x="3216" y="4502"/>
                  </a:lnTo>
                  <a:lnTo>
                    <a:pt x="3216" y="4506"/>
                  </a:lnTo>
                  <a:lnTo>
                    <a:pt x="3218" y="4520"/>
                  </a:lnTo>
                  <a:lnTo>
                    <a:pt x="3220" y="4526"/>
                  </a:lnTo>
                  <a:lnTo>
                    <a:pt x="3222" y="4532"/>
                  </a:lnTo>
                  <a:lnTo>
                    <a:pt x="3224" y="4534"/>
                  </a:lnTo>
                  <a:lnTo>
                    <a:pt x="3224" y="4536"/>
                  </a:lnTo>
                  <a:lnTo>
                    <a:pt x="3226" y="4538"/>
                  </a:lnTo>
                  <a:lnTo>
                    <a:pt x="3234" y="4544"/>
                  </a:lnTo>
                  <a:lnTo>
                    <a:pt x="3252" y="4552"/>
                  </a:lnTo>
                  <a:lnTo>
                    <a:pt x="3256" y="4554"/>
                  </a:lnTo>
                  <a:lnTo>
                    <a:pt x="3260" y="4548"/>
                  </a:lnTo>
                  <a:lnTo>
                    <a:pt x="3264" y="4542"/>
                  </a:lnTo>
                  <a:lnTo>
                    <a:pt x="3266" y="4542"/>
                  </a:lnTo>
                  <a:lnTo>
                    <a:pt x="3268" y="4544"/>
                  </a:lnTo>
                  <a:lnTo>
                    <a:pt x="3266" y="4550"/>
                  </a:lnTo>
                  <a:lnTo>
                    <a:pt x="3266" y="4556"/>
                  </a:lnTo>
                  <a:lnTo>
                    <a:pt x="3268" y="4564"/>
                  </a:lnTo>
                  <a:lnTo>
                    <a:pt x="3270" y="4566"/>
                  </a:lnTo>
                  <a:lnTo>
                    <a:pt x="3272" y="4568"/>
                  </a:lnTo>
                  <a:lnTo>
                    <a:pt x="3274" y="4566"/>
                  </a:lnTo>
                  <a:lnTo>
                    <a:pt x="3278" y="4564"/>
                  </a:lnTo>
                  <a:lnTo>
                    <a:pt x="3282" y="4554"/>
                  </a:lnTo>
                  <a:lnTo>
                    <a:pt x="3284" y="4546"/>
                  </a:lnTo>
                  <a:lnTo>
                    <a:pt x="3286" y="4540"/>
                  </a:lnTo>
                  <a:lnTo>
                    <a:pt x="3284" y="4534"/>
                  </a:lnTo>
                  <a:lnTo>
                    <a:pt x="3280" y="4524"/>
                  </a:lnTo>
                  <a:lnTo>
                    <a:pt x="3278" y="4520"/>
                  </a:lnTo>
                  <a:lnTo>
                    <a:pt x="3276" y="4518"/>
                  </a:lnTo>
                  <a:lnTo>
                    <a:pt x="3274" y="4516"/>
                  </a:lnTo>
                  <a:lnTo>
                    <a:pt x="3274" y="4514"/>
                  </a:lnTo>
                  <a:lnTo>
                    <a:pt x="3274" y="4508"/>
                  </a:lnTo>
                  <a:lnTo>
                    <a:pt x="3276" y="4500"/>
                  </a:lnTo>
                  <a:lnTo>
                    <a:pt x="3280" y="4496"/>
                  </a:lnTo>
                  <a:lnTo>
                    <a:pt x="3284" y="4494"/>
                  </a:lnTo>
                  <a:lnTo>
                    <a:pt x="3284" y="4490"/>
                  </a:lnTo>
                  <a:lnTo>
                    <a:pt x="3284" y="4486"/>
                  </a:lnTo>
                  <a:lnTo>
                    <a:pt x="3288" y="4484"/>
                  </a:lnTo>
                  <a:lnTo>
                    <a:pt x="3290" y="4482"/>
                  </a:lnTo>
                  <a:lnTo>
                    <a:pt x="3292" y="4482"/>
                  </a:lnTo>
                  <a:lnTo>
                    <a:pt x="3292" y="4490"/>
                  </a:lnTo>
                  <a:lnTo>
                    <a:pt x="3294" y="4498"/>
                  </a:lnTo>
                  <a:lnTo>
                    <a:pt x="3296" y="4502"/>
                  </a:lnTo>
                  <a:lnTo>
                    <a:pt x="3300" y="4506"/>
                  </a:lnTo>
                  <a:lnTo>
                    <a:pt x="3302" y="4510"/>
                  </a:lnTo>
                  <a:lnTo>
                    <a:pt x="3300" y="4512"/>
                  </a:lnTo>
                  <a:lnTo>
                    <a:pt x="3300" y="4518"/>
                  </a:lnTo>
                  <a:lnTo>
                    <a:pt x="3302" y="4528"/>
                  </a:lnTo>
                  <a:lnTo>
                    <a:pt x="3304" y="4530"/>
                  </a:lnTo>
                  <a:lnTo>
                    <a:pt x="3306" y="4530"/>
                  </a:lnTo>
                  <a:lnTo>
                    <a:pt x="3306" y="4526"/>
                  </a:lnTo>
                  <a:lnTo>
                    <a:pt x="3308" y="4518"/>
                  </a:lnTo>
                  <a:lnTo>
                    <a:pt x="3306" y="4508"/>
                  </a:lnTo>
                  <a:lnTo>
                    <a:pt x="3304" y="4502"/>
                  </a:lnTo>
                  <a:lnTo>
                    <a:pt x="3308" y="4504"/>
                  </a:lnTo>
                  <a:lnTo>
                    <a:pt x="3310" y="4506"/>
                  </a:lnTo>
                  <a:lnTo>
                    <a:pt x="3312" y="4506"/>
                  </a:lnTo>
                  <a:lnTo>
                    <a:pt x="3310" y="4504"/>
                  </a:lnTo>
                  <a:lnTo>
                    <a:pt x="3310" y="4500"/>
                  </a:lnTo>
                  <a:lnTo>
                    <a:pt x="3312" y="4498"/>
                  </a:lnTo>
                  <a:lnTo>
                    <a:pt x="3316" y="4498"/>
                  </a:lnTo>
                  <a:lnTo>
                    <a:pt x="3320" y="4492"/>
                  </a:lnTo>
                  <a:lnTo>
                    <a:pt x="3322" y="4488"/>
                  </a:lnTo>
                  <a:lnTo>
                    <a:pt x="3322" y="4482"/>
                  </a:lnTo>
                  <a:lnTo>
                    <a:pt x="3320" y="4468"/>
                  </a:lnTo>
                  <a:lnTo>
                    <a:pt x="3320" y="4464"/>
                  </a:lnTo>
                  <a:lnTo>
                    <a:pt x="3318" y="4462"/>
                  </a:lnTo>
                  <a:lnTo>
                    <a:pt x="3316" y="4460"/>
                  </a:lnTo>
                  <a:lnTo>
                    <a:pt x="3314" y="4458"/>
                  </a:lnTo>
                  <a:lnTo>
                    <a:pt x="3314" y="4452"/>
                  </a:lnTo>
                  <a:lnTo>
                    <a:pt x="3316" y="4446"/>
                  </a:lnTo>
                  <a:lnTo>
                    <a:pt x="3316" y="4442"/>
                  </a:lnTo>
                  <a:lnTo>
                    <a:pt x="3314" y="4438"/>
                  </a:lnTo>
                  <a:lnTo>
                    <a:pt x="3314" y="4432"/>
                  </a:lnTo>
                  <a:lnTo>
                    <a:pt x="3314" y="4428"/>
                  </a:lnTo>
                  <a:lnTo>
                    <a:pt x="3312" y="4424"/>
                  </a:lnTo>
                  <a:lnTo>
                    <a:pt x="3310" y="4424"/>
                  </a:lnTo>
                  <a:lnTo>
                    <a:pt x="3308" y="4424"/>
                  </a:lnTo>
                  <a:lnTo>
                    <a:pt x="3304" y="4424"/>
                  </a:lnTo>
                  <a:lnTo>
                    <a:pt x="3302" y="4422"/>
                  </a:lnTo>
                  <a:lnTo>
                    <a:pt x="3302" y="4420"/>
                  </a:lnTo>
                  <a:lnTo>
                    <a:pt x="3304" y="4418"/>
                  </a:lnTo>
                  <a:lnTo>
                    <a:pt x="3308" y="4416"/>
                  </a:lnTo>
                  <a:lnTo>
                    <a:pt x="3310" y="4412"/>
                  </a:lnTo>
                  <a:lnTo>
                    <a:pt x="3312" y="4406"/>
                  </a:lnTo>
                  <a:lnTo>
                    <a:pt x="3308" y="4400"/>
                  </a:lnTo>
                  <a:lnTo>
                    <a:pt x="3306" y="4396"/>
                  </a:lnTo>
                  <a:lnTo>
                    <a:pt x="3306" y="4390"/>
                  </a:lnTo>
                  <a:lnTo>
                    <a:pt x="3306" y="4386"/>
                  </a:lnTo>
                  <a:lnTo>
                    <a:pt x="3302" y="4388"/>
                  </a:lnTo>
                  <a:lnTo>
                    <a:pt x="3300" y="4388"/>
                  </a:lnTo>
                  <a:lnTo>
                    <a:pt x="3298" y="4384"/>
                  </a:lnTo>
                  <a:lnTo>
                    <a:pt x="3296" y="4380"/>
                  </a:lnTo>
                  <a:lnTo>
                    <a:pt x="3292" y="4376"/>
                  </a:lnTo>
                  <a:lnTo>
                    <a:pt x="3288" y="4374"/>
                  </a:lnTo>
                  <a:lnTo>
                    <a:pt x="3284" y="4372"/>
                  </a:lnTo>
                  <a:lnTo>
                    <a:pt x="3282" y="4368"/>
                  </a:lnTo>
                  <a:lnTo>
                    <a:pt x="3282" y="4366"/>
                  </a:lnTo>
                  <a:lnTo>
                    <a:pt x="3278" y="4364"/>
                  </a:lnTo>
                  <a:close/>
                  <a:moveTo>
                    <a:pt x="3136" y="4268"/>
                  </a:moveTo>
                  <a:lnTo>
                    <a:pt x="3136" y="4268"/>
                  </a:lnTo>
                  <a:lnTo>
                    <a:pt x="3138" y="4270"/>
                  </a:lnTo>
                  <a:lnTo>
                    <a:pt x="3140" y="4272"/>
                  </a:lnTo>
                  <a:lnTo>
                    <a:pt x="3140" y="4278"/>
                  </a:lnTo>
                  <a:lnTo>
                    <a:pt x="3138" y="4286"/>
                  </a:lnTo>
                  <a:lnTo>
                    <a:pt x="3138" y="4296"/>
                  </a:lnTo>
                  <a:lnTo>
                    <a:pt x="3140" y="4302"/>
                  </a:lnTo>
                  <a:lnTo>
                    <a:pt x="3136" y="4306"/>
                  </a:lnTo>
                  <a:lnTo>
                    <a:pt x="3134" y="4312"/>
                  </a:lnTo>
                  <a:lnTo>
                    <a:pt x="3134" y="4324"/>
                  </a:lnTo>
                  <a:lnTo>
                    <a:pt x="3134" y="4328"/>
                  </a:lnTo>
                  <a:lnTo>
                    <a:pt x="3136" y="4330"/>
                  </a:lnTo>
                  <a:lnTo>
                    <a:pt x="3138" y="4330"/>
                  </a:lnTo>
                  <a:lnTo>
                    <a:pt x="3140" y="4328"/>
                  </a:lnTo>
                  <a:lnTo>
                    <a:pt x="3146" y="4324"/>
                  </a:lnTo>
                  <a:lnTo>
                    <a:pt x="3148" y="4320"/>
                  </a:lnTo>
                  <a:lnTo>
                    <a:pt x="3152" y="4320"/>
                  </a:lnTo>
                  <a:lnTo>
                    <a:pt x="3158" y="4318"/>
                  </a:lnTo>
                  <a:lnTo>
                    <a:pt x="3166" y="4312"/>
                  </a:lnTo>
                  <a:lnTo>
                    <a:pt x="3178" y="4298"/>
                  </a:lnTo>
                  <a:lnTo>
                    <a:pt x="3182" y="4296"/>
                  </a:lnTo>
                  <a:lnTo>
                    <a:pt x="3182" y="4292"/>
                  </a:lnTo>
                  <a:lnTo>
                    <a:pt x="3184" y="4282"/>
                  </a:lnTo>
                  <a:lnTo>
                    <a:pt x="3182" y="4276"/>
                  </a:lnTo>
                  <a:lnTo>
                    <a:pt x="3180" y="4276"/>
                  </a:lnTo>
                  <a:lnTo>
                    <a:pt x="3178" y="4276"/>
                  </a:lnTo>
                  <a:lnTo>
                    <a:pt x="3176" y="4278"/>
                  </a:lnTo>
                  <a:lnTo>
                    <a:pt x="3172" y="4276"/>
                  </a:lnTo>
                  <a:lnTo>
                    <a:pt x="3168" y="4274"/>
                  </a:lnTo>
                  <a:lnTo>
                    <a:pt x="3166" y="4274"/>
                  </a:lnTo>
                  <a:lnTo>
                    <a:pt x="3164" y="4274"/>
                  </a:lnTo>
                  <a:lnTo>
                    <a:pt x="3162" y="4276"/>
                  </a:lnTo>
                  <a:lnTo>
                    <a:pt x="3160" y="4274"/>
                  </a:lnTo>
                  <a:lnTo>
                    <a:pt x="3154" y="4270"/>
                  </a:lnTo>
                  <a:lnTo>
                    <a:pt x="3146" y="4264"/>
                  </a:lnTo>
                  <a:lnTo>
                    <a:pt x="3138" y="4258"/>
                  </a:lnTo>
                  <a:lnTo>
                    <a:pt x="3132" y="4258"/>
                  </a:lnTo>
                  <a:lnTo>
                    <a:pt x="3130" y="4260"/>
                  </a:lnTo>
                  <a:lnTo>
                    <a:pt x="3130" y="4264"/>
                  </a:lnTo>
                  <a:lnTo>
                    <a:pt x="3136" y="4268"/>
                  </a:lnTo>
                  <a:close/>
                  <a:moveTo>
                    <a:pt x="3270" y="4928"/>
                  </a:moveTo>
                  <a:lnTo>
                    <a:pt x="3270" y="4928"/>
                  </a:lnTo>
                  <a:lnTo>
                    <a:pt x="3268" y="4926"/>
                  </a:lnTo>
                  <a:lnTo>
                    <a:pt x="3264" y="4924"/>
                  </a:lnTo>
                  <a:lnTo>
                    <a:pt x="3250" y="4920"/>
                  </a:lnTo>
                  <a:lnTo>
                    <a:pt x="3244" y="4920"/>
                  </a:lnTo>
                  <a:lnTo>
                    <a:pt x="3238" y="4920"/>
                  </a:lnTo>
                  <a:lnTo>
                    <a:pt x="3232" y="4924"/>
                  </a:lnTo>
                  <a:lnTo>
                    <a:pt x="3230" y="4930"/>
                  </a:lnTo>
                  <a:lnTo>
                    <a:pt x="3232" y="4934"/>
                  </a:lnTo>
                  <a:lnTo>
                    <a:pt x="3236" y="4936"/>
                  </a:lnTo>
                  <a:lnTo>
                    <a:pt x="3242" y="4936"/>
                  </a:lnTo>
                  <a:lnTo>
                    <a:pt x="3250" y="4936"/>
                  </a:lnTo>
                  <a:lnTo>
                    <a:pt x="3264" y="4934"/>
                  </a:lnTo>
                  <a:lnTo>
                    <a:pt x="3268" y="4932"/>
                  </a:lnTo>
                  <a:lnTo>
                    <a:pt x="3270" y="4928"/>
                  </a:lnTo>
                  <a:close/>
                  <a:moveTo>
                    <a:pt x="3148" y="4520"/>
                  </a:moveTo>
                  <a:lnTo>
                    <a:pt x="3148" y="4520"/>
                  </a:lnTo>
                  <a:lnTo>
                    <a:pt x="3146" y="4516"/>
                  </a:lnTo>
                  <a:lnTo>
                    <a:pt x="3138" y="4512"/>
                  </a:lnTo>
                  <a:lnTo>
                    <a:pt x="3136" y="4512"/>
                  </a:lnTo>
                  <a:lnTo>
                    <a:pt x="3132" y="4512"/>
                  </a:lnTo>
                  <a:lnTo>
                    <a:pt x="3130" y="4516"/>
                  </a:lnTo>
                  <a:lnTo>
                    <a:pt x="3130" y="4520"/>
                  </a:lnTo>
                  <a:lnTo>
                    <a:pt x="3130" y="4524"/>
                  </a:lnTo>
                  <a:lnTo>
                    <a:pt x="3132" y="4526"/>
                  </a:lnTo>
                  <a:lnTo>
                    <a:pt x="3136" y="4528"/>
                  </a:lnTo>
                  <a:lnTo>
                    <a:pt x="3140" y="4526"/>
                  </a:lnTo>
                  <a:lnTo>
                    <a:pt x="3146" y="4524"/>
                  </a:lnTo>
                  <a:lnTo>
                    <a:pt x="3148" y="4520"/>
                  </a:lnTo>
                  <a:close/>
                  <a:moveTo>
                    <a:pt x="3204" y="4288"/>
                  </a:moveTo>
                  <a:lnTo>
                    <a:pt x="3204" y="4288"/>
                  </a:lnTo>
                  <a:lnTo>
                    <a:pt x="3204" y="4290"/>
                  </a:lnTo>
                  <a:lnTo>
                    <a:pt x="3204" y="4294"/>
                  </a:lnTo>
                  <a:lnTo>
                    <a:pt x="3206" y="4296"/>
                  </a:lnTo>
                  <a:lnTo>
                    <a:pt x="3208" y="4296"/>
                  </a:lnTo>
                  <a:lnTo>
                    <a:pt x="3208" y="4294"/>
                  </a:lnTo>
                  <a:lnTo>
                    <a:pt x="3208" y="4292"/>
                  </a:lnTo>
                  <a:lnTo>
                    <a:pt x="3206" y="4288"/>
                  </a:lnTo>
                  <a:lnTo>
                    <a:pt x="3204" y="4288"/>
                  </a:lnTo>
                  <a:close/>
                  <a:moveTo>
                    <a:pt x="3186" y="4210"/>
                  </a:moveTo>
                  <a:lnTo>
                    <a:pt x="3186" y="4210"/>
                  </a:lnTo>
                  <a:lnTo>
                    <a:pt x="3184" y="4208"/>
                  </a:lnTo>
                  <a:lnTo>
                    <a:pt x="3182" y="4204"/>
                  </a:lnTo>
                  <a:lnTo>
                    <a:pt x="3178" y="4200"/>
                  </a:lnTo>
                  <a:lnTo>
                    <a:pt x="3174" y="4198"/>
                  </a:lnTo>
                  <a:lnTo>
                    <a:pt x="3174" y="4200"/>
                  </a:lnTo>
                  <a:lnTo>
                    <a:pt x="3174" y="4202"/>
                  </a:lnTo>
                  <a:lnTo>
                    <a:pt x="3178" y="4206"/>
                  </a:lnTo>
                  <a:lnTo>
                    <a:pt x="3180" y="4212"/>
                  </a:lnTo>
                  <a:lnTo>
                    <a:pt x="3184" y="4214"/>
                  </a:lnTo>
                  <a:lnTo>
                    <a:pt x="3190" y="4220"/>
                  </a:lnTo>
                  <a:lnTo>
                    <a:pt x="3192" y="4220"/>
                  </a:lnTo>
                  <a:lnTo>
                    <a:pt x="3190" y="4216"/>
                  </a:lnTo>
                  <a:lnTo>
                    <a:pt x="3188" y="4212"/>
                  </a:lnTo>
                  <a:lnTo>
                    <a:pt x="3186" y="4210"/>
                  </a:lnTo>
                  <a:close/>
                  <a:moveTo>
                    <a:pt x="3250" y="5238"/>
                  </a:moveTo>
                  <a:lnTo>
                    <a:pt x="3250" y="5238"/>
                  </a:lnTo>
                  <a:lnTo>
                    <a:pt x="3240" y="5236"/>
                  </a:lnTo>
                  <a:lnTo>
                    <a:pt x="3236" y="5234"/>
                  </a:lnTo>
                  <a:lnTo>
                    <a:pt x="3234" y="5234"/>
                  </a:lnTo>
                  <a:lnTo>
                    <a:pt x="3232" y="5242"/>
                  </a:lnTo>
                  <a:lnTo>
                    <a:pt x="3230" y="5250"/>
                  </a:lnTo>
                  <a:lnTo>
                    <a:pt x="3232" y="5250"/>
                  </a:lnTo>
                  <a:lnTo>
                    <a:pt x="3234" y="5250"/>
                  </a:lnTo>
                  <a:lnTo>
                    <a:pt x="3244" y="5248"/>
                  </a:lnTo>
                  <a:lnTo>
                    <a:pt x="3256" y="5248"/>
                  </a:lnTo>
                  <a:lnTo>
                    <a:pt x="3260" y="5246"/>
                  </a:lnTo>
                  <a:lnTo>
                    <a:pt x="3262" y="5246"/>
                  </a:lnTo>
                  <a:lnTo>
                    <a:pt x="3264" y="5244"/>
                  </a:lnTo>
                  <a:lnTo>
                    <a:pt x="3262" y="5242"/>
                  </a:lnTo>
                  <a:lnTo>
                    <a:pt x="3258" y="5238"/>
                  </a:lnTo>
                  <a:lnTo>
                    <a:pt x="3254" y="5236"/>
                  </a:lnTo>
                  <a:lnTo>
                    <a:pt x="3250" y="5238"/>
                  </a:lnTo>
                  <a:close/>
                  <a:moveTo>
                    <a:pt x="3160" y="4332"/>
                  </a:moveTo>
                  <a:lnTo>
                    <a:pt x="3160" y="4332"/>
                  </a:lnTo>
                  <a:lnTo>
                    <a:pt x="3162" y="4332"/>
                  </a:lnTo>
                  <a:lnTo>
                    <a:pt x="3166" y="4328"/>
                  </a:lnTo>
                  <a:lnTo>
                    <a:pt x="3168" y="4322"/>
                  </a:lnTo>
                  <a:lnTo>
                    <a:pt x="3166" y="4318"/>
                  </a:lnTo>
                  <a:lnTo>
                    <a:pt x="3164" y="4318"/>
                  </a:lnTo>
                  <a:lnTo>
                    <a:pt x="3162" y="4320"/>
                  </a:lnTo>
                  <a:lnTo>
                    <a:pt x="3160" y="4322"/>
                  </a:lnTo>
                  <a:lnTo>
                    <a:pt x="3160" y="4326"/>
                  </a:lnTo>
                  <a:lnTo>
                    <a:pt x="3160" y="4328"/>
                  </a:lnTo>
                  <a:lnTo>
                    <a:pt x="3158" y="4328"/>
                  </a:lnTo>
                  <a:lnTo>
                    <a:pt x="3158" y="4330"/>
                  </a:lnTo>
                  <a:lnTo>
                    <a:pt x="3160" y="4332"/>
                  </a:lnTo>
                  <a:close/>
                  <a:moveTo>
                    <a:pt x="3190" y="5244"/>
                  </a:moveTo>
                  <a:lnTo>
                    <a:pt x="3190" y="5244"/>
                  </a:lnTo>
                  <a:lnTo>
                    <a:pt x="3188" y="5242"/>
                  </a:lnTo>
                  <a:lnTo>
                    <a:pt x="3186" y="5240"/>
                  </a:lnTo>
                  <a:lnTo>
                    <a:pt x="3182" y="5242"/>
                  </a:lnTo>
                  <a:lnTo>
                    <a:pt x="3178" y="5244"/>
                  </a:lnTo>
                  <a:lnTo>
                    <a:pt x="3176" y="5248"/>
                  </a:lnTo>
                  <a:lnTo>
                    <a:pt x="3178" y="5248"/>
                  </a:lnTo>
                  <a:lnTo>
                    <a:pt x="3184" y="5248"/>
                  </a:lnTo>
                  <a:lnTo>
                    <a:pt x="3188" y="5248"/>
                  </a:lnTo>
                  <a:lnTo>
                    <a:pt x="3190" y="5244"/>
                  </a:lnTo>
                  <a:close/>
                  <a:moveTo>
                    <a:pt x="3176" y="5252"/>
                  </a:moveTo>
                  <a:lnTo>
                    <a:pt x="3176" y="5252"/>
                  </a:lnTo>
                  <a:lnTo>
                    <a:pt x="3172" y="5254"/>
                  </a:lnTo>
                  <a:lnTo>
                    <a:pt x="3172" y="5256"/>
                  </a:lnTo>
                  <a:lnTo>
                    <a:pt x="3176" y="5258"/>
                  </a:lnTo>
                  <a:lnTo>
                    <a:pt x="3180" y="5254"/>
                  </a:lnTo>
                  <a:lnTo>
                    <a:pt x="3182" y="5252"/>
                  </a:lnTo>
                  <a:lnTo>
                    <a:pt x="3182" y="5250"/>
                  </a:lnTo>
                  <a:lnTo>
                    <a:pt x="3176" y="5252"/>
                  </a:lnTo>
                  <a:close/>
                  <a:moveTo>
                    <a:pt x="3224" y="5242"/>
                  </a:moveTo>
                  <a:lnTo>
                    <a:pt x="3224" y="5242"/>
                  </a:lnTo>
                  <a:lnTo>
                    <a:pt x="3220" y="5246"/>
                  </a:lnTo>
                  <a:lnTo>
                    <a:pt x="3218" y="5246"/>
                  </a:lnTo>
                  <a:lnTo>
                    <a:pt x="3216" y="5244"/>
                  </a:lnTo>
                  <a:lnTo>
                    <a:pt x="3214" y="5248"/>
                  </a:lnTo>
                  <a:lnTo>
                    <a:pt x="3214" y="5250"/>
                  </a:lnTo>
                  <a:lnTo>
                    <a:pt x="3216" y="5254"/>
                  </a:lnTo>
                  <a:lnTo>
                    <a:pt x="3220" y="5256"/>
                  </a:lnTo>
                  <a:lnTo>
                    <a:pt x="3222" y="5254"/>
                  </a:lnTo>
                  <a:lnTo>
                    <a:pt x="3224" y="5252"/>
                  </a:lnTo>
                  <a:lnTo>
                    <a:pt x="3228" y="5246"/>
                  </a:lnTo>
                  <a:lnTo>
                    <a:pt x="3228" y="5240"/>
                  </a:lnTo>
                  <a:lnTo>
                    <a:pt x="3228" y="5238"/>
                  </a:lnTo>
                  <a:lnTo>
                    <a:pt x="3226" y="5238"/>
                  </a:lnTo>
                  <a:lnTo>
                    <a:pt x="3224" y="5242"/>
                  </a:lnTo>
                  <a:close/>
                  <a:moveTo>
                    <a:pt x="3202" y="5252"/>
                  </a:moveTo>
                  <a:lnTo>
                    <a:pt x="3202" y="5252"/>
                  </a:lnTo>
                  <a:lnTo>
                    <a:pt x="3204" y="5250"/>
                  </a:lnTo>
                  <a:lnTo>
                    <a:pt x="3206" y="5248"/>
                  </a:lnTo>
                  <a:lnTo>
                    <a:pt x="3206" y="5246"/>
                  </a:lnTo>
                  <a:lnTo>
                    <a:pt x="3210" y="5244"/>
                  </a:lnTo>
                  <a:lnTo>
                    <a:pt x="3212" y="5240"/>
                  </a:lnTo>
                  <a:lnTo>
                    <a:pt x="3208" y="5240"/>
                  </a:lnTo>
                  <a:lnTo>
                    <a:pt x="3198" y="5240"/>
                  </a:lnTo>
                  <a:lnTo>
                    <a:pt x="3194" y="5242"/>
                  </a:lnTo>
                  <a:lnTo>
                    <a:pt x="3194" y="5246"/>
                  </a:lnTo>
                  <a:lnTo>
                    <a:pt x="3194" y="5248"/>
                  </a:lnTo>
                  <a:lnTo>
                    <a:pt x="3188" y="5254"/>
                  </a:lnTo>
                  <a:lnTo>
                    <a:pt x="3184" y="5256"/>
                  </a:lnTo>
                  <a:lnTo>
                    <a:pt x="3186" y="5256"/>
                  </a:lnTo>
                  <a:lnTo>
                    <a:pt x="3196" y="5258"/>
                  </a:lnTo>
                  <a:lnTo>
                    <a:pt x="3200" y="5256"/>
                  </a:lnTo>
                  <a:lnTo>
                    <a:pt x="3200" y="5254"/>
                  </a:lnTo>
                  <a:lnTo>
                    <a:pt x="3202" y="5252"/>
                  </a:lnTo>
                  <a:close/>
                  <a:moveTo>
                    <a:pt x="3244" y="4390"/>
                  </a:moveTo>
                  <a:lnTo>
                    <a:pt x="3244" y="4390"/>
                  </a:lnTo>
                  <a:lnTo>
                    <a:pt x="3242" y="4392"/>
                  </a:lnTo>
                  <a:lnTo>
                    <a:pt x="3242" y="4394"/>
                  </a:lnTo>
                  <a:lnTo>
                    <a:pt x="3246" y="4396"/>
                  </a:lnTo>
                  <a:lnTo>
                    <a:pt x="3250" y="4396"/>
                  </a:lnTo>
                  <a:lnTo>
                    <a:pt x="3252" y="4394"/>
                  </a:lnTo>
                  <a:lnTo>
                    <a:pt x="3250" y="4392"/>
                  </a:lnTo>
                  <a:lnTo>
                    <a:pt x="3246" y="4390"/>
                  </a:lnTo>
                  <a:lnTo>
                    <a:pt x="3244" y="4390"/>
                  </a:lnTo>
                  <a:close/>
                  <a:moveTo>
                    <a:pt x="3228" y="4278"/>
                  </a:moveTo>
                  <a:lnTo>
                    <a:pt x="3228" y="4278"/>
                  </a:lnTo>
                  <a:lnTo>
                    <a:pt x="3228" y="4280"/>
                  </a:lnTo>
                  <a:lnTo>
                    <a:pt x="3230" y="4284"/>
                  </a:lnTo>
                  <a:lnTo>
                    <a:pt x="3234" y="4290"/>
                  </a:lnTo>
                  <a:lnTo>
                    <a:pt x="3234" y="4294"/>
                  </a:lnTo>
                  <a:lnTo>
                    <a:pt x="3232" y="4298"/>
                  </a:lnTo>
                  <a:lnTo>
                    <a:pt x="3234" y="4300"/>
                  </a:lnTo>
                  <a:lnTo>
                    <a:pt x="3234" y="4302"/>
                  </a:lnTo>
                  <a:lnTo>
                    <a:pt x="3232" y="4304"/>
                  </a:lnTo>
                  <a:lnTo>
                    <a:pt x="3232" y="4306"/>
                  </a:lnTo>
                  <a:lnTo>
                    <a:pt x="3234" y="4308"/>
                  </a:lnTo>
                  <a:lnTo>
                    <a:pt x="3238" y="4308"/>
                  </a:lnTo>
                  <a:lnTo>
                    <a:pt x="3240" y="4306"/>
                  </a:lnTo>
                  <a:lnTo>
                    <a:pt x="3240" y="4304"/>
                  </a:lnTo>
                  <a:lnTo>
                    <a:pt x="3242" y="4304"/>
                  </a:lnTo>
                  <a:lnTo>
                    <a:pt x="3246" y="4308"/>
                  </a:lnTo>
                  <a:lnTo>
                    <a:pt x="3248" y="4314"/>
                  </a:lnTo>
                  <a:lnTo>
                    <a:pt x="3248" y="4318"/>
                  </a:lnTo>
                  <a:lnTo>
                    <a:pt x="3248" y="4322"/>
                  </a:lnTo>
                  <a:lnTo>
                    <a:pt x="3246" y="4328"/>
                  </a:lnTo>
                  <a:lnTo>
                    <a:pt x="3248" y="4332"/>
                  </a:lnTo>
                  <a:lnTo>
                    <a:pt x="3248" y="4334"/>
                  </a:lnTo>
                  <a:lnTo>
                    <a:pt x="3248" y="4338"/>
                  </a:lnTo>
                  <a:lnTo>
                    <a:pt x="3246" y="4342"/>
                  </a:lnTo>
                  <a:lnTo>
                    <a:pt x="3248" y="4344"/>
                  </a:lnTo>
                  <a:lnTo>
                    <a:pt x="3256" y="4348"/>
                  </a:lnTo>
                  <a:lnTo>
                    <a:pt x="3258" y="4350"/>
                  </a:lnTo>
                  <a:lnTo>
                    <a:pt x="3258" y="4344"/>
                  </a:lnTo>
                  <a:lnTo>
                    <a:pt x="3256" y="4338"/>
                  </a:lnTo>
                  <a:lnTo>
                    <a:pt x="3256" y="4336"/>
                  </a:lnTo>
                  <a:lnTo>
                    <a:pt x="3256" y="4334"/>
                  </a:lnTo>
                  <a:lnTo>
                    <a:pt x="3258" y="4336"/>
                  </a:lnTo>
                  <a:lnTo>
                    <a:pt x="3260" y="4342"/>
                  </a:lnTo>
                  <a:lnTo>
                    <a:pt x="3262" y="4348"/>
                  </a:lnTo>
                  <a:lnTo>
                    <a:pt x="3266" y="4354"/>
                  </a:lnTo>
                  <a:lnTo>
                    <a:pt x="3270" y="4356"/>
                  </a:lnTo>
                  <a:lnTo>
                    <a:pt x="3270" y="4354"/>
                  </a:lnTo>
                  <a:lnTo>
                    <a:pt x="3266" y="4344"/>
                  </a:lnTo>
                  <a:lnTo>
                    <a:pt x="3264" y="4342"/>
                  </a:lnTo>
                  <a:lnTo>
                    <a:pt x="3266" y="4342"/>
                  </a:lnTo>
                  <a:lnTo>
                    <a:pt x="3268" y="4340"/>
                  </a:lnTo>
                  <a:lnTo>
                    <a:pt x="3270" y="4338"/>
                  </a:lnTo>
                  <a:lnTo>
                    <a:pt x="3268" y="4332"/>
                  </a:lnTo>
                  <a:lnTo>
                    <a:pt x="3266" y="4330"/>
                  </a:lnTo>
                  <a:lnTo>
                    <a:pt x="3266" y="4326"/>
                  </a:lnTo>
                  <a:lnTo>
                    <a:pt x="3264" y="4322"/>
                  </a:lnTo>
                  <a:lnTo>
                    <a:pt x="3260" y="4318"/>
                  </a:lnTo>
                  <a:lnTo>
                    <a:pt x="3260" y="4316"/>
                  </a:lnTo>
                  <a:lnTo>
                    <a:pt x="3258" y="4312"/>
                  </a:lnTo>
                  <a:lnTo>
                    <a:pt x="3258" y="4304"/>
                  </a:lnTo>
                  <a:lnTo>
                    <a:pt x="3258" y="4296"/>
                  </a:lnTo>
                  <a:lnTo>
                    <a:pt x="3258" y="4294"/>
                  </a:lnTo>
                  <a:lnTo>
                    <a:pt x="3256" y="4292"/>
                  </a:lnTo>
                  <a:lnTo>
                    <a:pt x="3254" y="4290"/>
                  </a:lnTo>
                  <a:lnTo>
                    <a:pt x="3256" y="4288"/>
                  </a:lnTo>
                  <a:lnTo>
                    <a:pt x="3256" y="4284"/>
                  </a:lnTo>
                  <a:lnTo>
                    <a:pt x="3252" y="4284"/>
                  </a:lnTo>
                  <a:lnTo>
                    <a:pt x="3248" y="4284"/>
                  </a:lnTo>
                  <a:lnTo>
                    <a:pt x="3246" y="4286"/>
                  </a:lnTo>
                  <a:lnTo>
                    <a:pt x="3244" y="4288"/>
                  </a:lnTo>
                  <a:lnTo>
                    <a:pt x="3240" y="4286"/>
                  </a:lnTo>
                  <a:lnTo>
                    <a:pt x="3234" y="4280"/>
                  </a:lnTo>
                  <a:lnTo>
                    <a:pt x="3230" y="4278"/>
                  </a:lnTo>
                  <a:lnTo>
                    <a:pt x="3228" y="4278"/>
                  </a:lnTo>
                  <a:close/>
                  <a:moveTo>
                    <a:pt x="3292" y="3100"/>
                  </a:moveTo>
                  <a:lnTo>
                    <a:pt x="3292" y="3100"/>
                  </a:lnTo>
                  <a:lnTo>
                    <a:pt x="3294" y="3100"/>
                  </a:lnTo>
                  <a:lnTo>
                    <a:pt x="3296" y="3094"/>
                  </a:lnTo>
                  <a:lnTo>
                    <a:pt x="3296" y="3092"/>
                  </a:lnTo>
                  <a:lnTo>
                    <a:pt x="3294" y="3094"/>
                  </a:lnTo>
                  <a:lnTo>
                    <a:pt x="3292" y="3096"/>
                  </a:lnTo>
                  <a:lnTo>
                    <a:pt x="3292" y="3100"/>
                  </a:lnTo>
                  <a:close/>
                  <a:moveTo>
                    <a:pt x="3208" y="4238"/>
                  </a:moveTo>
                  <a:lnTo>
                    <a:pt x="3208" y="4238"/>
                  </a:lnTo>
                  <a:lnTo>
                    <a:pt x="3210" y="4234"/>
                  </a:lnTo>
                  <a:lnTo>
                    <a:pt x="3208" y="4228"/>
                  </a:lnTo>
                  <a:lnTo>
                    <a:pt x="3204" y="4224"/>
                  </a:lnTo>
                  <a:lnTo>
                    <a:pt x="3202" y="4222"/>
                  </a:lnTo>
                  <a:lnTo>
                    <a:pt x="3200" y="4222"/>
                  </a:lnTo>
                  <a:lnTo>
                    <a:pt x="3200" y="4224"/>
                  </a:lnTo>
                  <a:lnTo>
                    <a:pt x="3204" y="4230"/>
                  </a:lnTo>
                  <a:lnTo>
                    <a:pt x="3208" y="4238"/>
                  </a:lnTo>
                  <a:close/>
                  <a:moveTo>
                    <a:pt x="3164" y="4238"/>
                  </a:moveTo>
                  <a:lnTo>
                    <a:pt x="3164" y="4238"/>
                  </a:lnTo>
                  <a:lnTo>
                    <a:pt x="3164" y="4232"/>
                  </a:lnTo>
                  <a:lnTo>
                    <a:pt x="3162" y="4230"/>
                  </a:lnTo>
                  <a:lnTo>
                    <a:pt x="3158" y="4230"/>
                  </a:lnTo>
                  <a:lnTo>
                    <a:pt x="3154" y="4232"/>
                  </a:lnTo>
                  <a:lnTo>
                    <a:pt x="3152" y="4232"/>
                  </a:lnTo>
                  <a:lnTo>
                    <a:pt x="3154" y="4234"/>
                  </a:lnTo>
                  <a:lnTo>
                    <a:pt x="3156" y="4236"/>
                  </a:lnTo>
                  <a:lnTo>
                    <a:pt x="3160" y="4240"/>
                  </a:lnTo>
                  <a:lnTo>
                    <a:pt x="3162" y="4240"/>
                  </a:lnTo>
                  <a:lnTo>
                    <a:pt x="3164" y="4238"/>
                  </a:lnTo>
                  <a:close/>
                  <a:moveTo>
                    <a:pt x="3196" y="4228"/>
                  </a:moveTo>
                  <a:lnTo>
                    <a:pt x="3196" y="4228"/>
                  </a:lnTo>
                  <a:lnTo>
                    <a:pt x="3192" y="4228"/>
                  </a:lnTo>
                  <a:lnTo>
                    <a:pt x="3190" y="4228"/>
                  </a:lnTo>
                  <a:lnTo>
                    <a:pt x="3188" y="4228"/>
                  </a:lnTo>
                  <a:lnTo>
                    <a:pt x="3186" y="4232"/>
                  </a:lnTo>
                  <a:lnTo>
                    <a:pt x="3188" y="4238"/>
                  </a:lnTo>
                  <a:lnTo>
                    <a:pt x="3186" y="4242"/>
                  </a:lnTo>
                  <a:lnTo>
                    <a:pt x="3182" y="4256"/>
                  </a:lnTo>
                  <a:lnTo>
                    <a:pt x="3182" y="4258"/>
                  </a:lnTo>
                  <a:lnTo>
                    <a:pt x="3184" y="4258"/>
                  </a:lnTo>
                  <a:lnTo>
                    <a:pt x="3186" y="4254"/>
                  </a:lnTo>
                  <a:lnTo>
                    <a:pt x="3196" y="4244"/>
                  </a:lnTo>
                  <a:lnTo>
                    <a:pt x="3198" y="4244"/>
                  </a:lnTo>
                  <a:lnTo>
                    <a:pt x="3200" y="4244"/>
                  </a:lnTo>
                  <a:lnTo>
                    <a:pt x="3202" y="4250"/>
                  </a:lnTo>
                  <a:lnTo>
                    <a:pt x="3204" y="4256"/>
                  </a:lnTo>
                  <a:lnTo>
                    <a:pt x="3206" y="4258"/>
                  </a:lnTo>
                  <a:lnTo>
                    <a:pt x="3208" y="4260"/>
                  </a:lnTo>
                  <a:lnTo>
                    <a:pt x="3212" y="4262"/>
                  </a:lnTo>
                  <a:lnTo>
                    <a:pt x="3218" y="4266"/>
                  </a:lnTo>
                  <a:lnTo>
                    <a:pt x="3222" y="4268"/>
                  </a:lnTo>
                  <a:lnTo>
                    <a:pt x="3220" y="4264"/>
                  </a:lnTo>
                  <a:lnTo>
                    <a:pt x="3218" y="4258"/>
                  </a:lnTo>
                  <a:lnTo>
                    <a:pt x="3216" y="4252"/>
                  </a:lnTo>
                  <a:lnTo>
                    <a:pt x="3214" y="4246"/>
                  </a:lnTo>
                  <a:lnTo>
                    <a:pt x="3210" y="4242"/>
                  </a:lnTo>
                  <a:lnTo>
                    <a:pt x="3206" y="4240"/>
                  </a:lnTo>
                  <a:lnTo>
                    <a:pt x="3202" y="4234"/>
                  </a:lnTo>
                  <a:lnTo>
                    <a:pt x="3198" y="4230"/>
                  </a:lnTo>
                  <a:lnTo>
                    <a:pt x="3196" y="4228"/>
                  </a:lnTo>
                  <a:close/>
                  <a:moveTo>
                    <a:pt x="3152" y="5104"/>
                  </a:moveTo>
                  <a:lnTo>
                    <a:pt x="3152" y="5104"/>
                  </a:lnTo>
                  <a:lnTo>
                    <a:pt x="3160" y="5100"/>
                  </a:lnTo>
                  <a:lnTo>
                    <a:pt x="3162" y="5098"/>
                  </a:lnTo>
                  <a:lnTo>
                    <a:pt x="3162" y="5094"/>
                  </a:lnTo>
                  <a:lnTo>
                    <a:pt x="3160" y="5090"/>
                  </a:lnTo>
                  <a:lnTo>
                    <a:pt x="3162" y="5084"/>
                  </a:lnTo>
                  <a:lnTo>
                    <a:pt x="3164" y="5078"/>
                  </a:lnTo>
                  <a:lnTo>
                    <a:pt x="3166" y="5070"/>
                  </a:lnTo>
                  <a:lnTo>
                    <a:pt x="3164" y="5066"/>
                  </a:lnTo>
                  <a:lnTo>
                    <a:pt x="3164" y="5064"/>
                  </a:lnTo>
                  <a:lnTo>
                    <a:pt x="3160" y="5064"/>
                  </a:lnTo>
                  <a:lnTo>
                    <a:pt x="3158" y="5064"/>
                  </a:lnTo>
                  <a:lnTo>
                    <a:pt x="3152" y="5070"/>
                  </a:lnTo>
                  <a:lnTo>
                    <a:pt x="3150" y="5074"/>
                  </a:lnTo>
                  <a:lnTo>
                    <a:pt x="3150" y="5078"/>
                  </a:lnTo>
                  <a:lnTo>
                    <a:pt x="3150" y="5090"/>
                  </a:lnTo>
                  <a:lnTo>
                    <a:pt x="3148" y="5098"/>
                  </a:lnTo>
                  <a:lnTo>
                    <a:pt x="3148" y="5104"/>
                  </a:lnTo>
                  <a:lnTo>
                    <a:pt x="3148" y="5106"/>
                  </a:lnTo>
                  <a:lnTo>
                    <a:pt x="3152" y="5104"/>
                  </a:lnTo>
                  <a:close/>
                  <a:moveTo>
                    <a:pt x="3192" y="4332"/>
                  </a:moveTo>
                  <a:lnTo>
                    <a:pt x="3192" y="4332"/>
                  </a:lnTo>
                  <a:lnTo>
                    <a:pt x="3198" y="4322"/>
                  </a:lnTo>
                  <a:lnTo>
                    <a:pt x="3198" y="4314"/>
                  </a:lnTo>
                  <a:lnTo>
                    <a:pt x="3196" y="4308"/>
                  </a:lnTo>
                  <a:lnTo>
                    <a:pt x="3196" y="4306"/>
                  </a:lnTo>
                  <a:lnTo>
                    <a:pt x="3192" y="4306"/>
                  </a:lnTo>
                  <a:lnTo>
                    <a:pt x="3190" y="4304"/>
                  </a:lnTo>
                  <a:lnTo>
                    <a:pt x="3186" y="4304"/>
                  </a:lnTo>
                  <a:lnTo>
                    <a:pt x="3184" y="4304"/>
                  </a:lnTo>
                  <a:lnTo>
                    <a:pt x="3178" y="4306"/>
                  </a:lnTo>
                  <a:lnTo>
                    <a:pt x="3176" y="4310"/>
                  </a:lnTo>
                  <a:lnTo>
                    <a:pt x="3174" y="4312"/>
                  </a:lnTo>
                  <a:lnTo>
                    <a:pt x="3174" y="4316"/>
                  </a:lnTo>
                  <a:lnTo>
                    <a:pt x="3176" y="4320"/>
                  </a:lnTo>
                  <a:lnTo>
                    <a:pt x="3174" y="4322"/>
                  </a:lnTo>
                  <a:lnTo>
                    <a:pt x="3172" y="4324"/>
                  </a:lnTo>
                  <a:lnTo>
                    <a:pt x="3170" y="4326"/>
                  </a:lnTo>
                  <a:lnTo>
                    <a:pt x="3170" y="4330"/>
                  </a:lnTo>
                  <a:lnTo>
                    <a:pt x="3172" y="4336"/>
                  </a:lnTo>
                  <a:lnTo>
                    <a:pt x="3172" y="4344"/>
                  </a:lnTo>
                  <a:lnTo>
                    <a:pt x="3172" y="4348"/>
                  </a:lnTo>
                  <a:lnTo>
                    <a:pt x="3168" y="4352"/>
                  </a:lnTo>
                  <a:lnTo>
                    <a:pt x="3164" y="4354"/>
                  </a:lnTo>
                  <a:lnTo>
                    <a:pt x="3162" y="4354"/>
                  </a:lnTo>
                  <a:lnTo>
                    <a:pt x="3158" y="4352"/>
                  </a:lnTo>
                  <a:lnTo>
                    <a:pt x="3154" y="4352"/>
                  </a:lnTo>
                  <a:lnTo>
                    <a:pt x="3152" y="4358"/>
                  </a:lnTo>
                  <a:lnTo>
                    <a:pt x="3152" y="4364"/>
                  </a:lnTo>
                  <a:lnTo>
                    <a:pt x="3156" y="4372"/>
                  </a:lnTo>
                  <a:lnTo>
                    <a:pt x="3162" y="4380"/>
                  </a:lnTo>
                  <a:lnTo>
                    <a:pt x="3166" y="4382"/>
                  </a:lnTo>
                  <a:lnTo>
                    <a:pt x="3170" y="4384"/>
                  </a:lnTo>
                  <a:lnTo>
                    <a:pt x="3172" y="4392"/>
                  </a:lnTo>
                  <a:lnTo>
                    <a:pt x="3176" y="4398"/>
                  </a:lnTo>
                  <a:lnTo>
                    <a:pt x="3178" y="4400"/>
                  </a:lnTo>
                  <a:lnTo>
                    <a:pt x="3180" y="4400"/>
                  </a:lnTo>
                  <a:lnTo>
                    <a:pt x="3184" y="4396"/>
                  </a:lnTo>
                  <a:lnTo>
                    <a:pt x="3188" y="4392"/>
                  </a:lnTo>
                  <a:lnTo>
                    <a:pt x="3190" y="4388"/>
                  </a:lnTo>
                  <a:lnTo>
                    <a:pt x="3190" y="4384"/>
                  </a:lnTo>
                  <a:lnTo>
                    <a:pt x="3186" y="4376"/>
                  </a:lnTo>
                  <a:lnTo>
                    <a:pt x="3182" y="4364"/>
                  </a:lnTo>
                  <a:lnTo>
                    <a:pt x="3182" y="4360"/>
                  </a:lnTo>
                  <a:lnTo>
                    <a:pt x="3184" y="4356"/>
                  </a:lnTo>
                  <a:lnTo>
                    <a:pt x="3188" y="4348"/>
                  </a:lnTo>
                  <a:lnTo>
                    <a:pt x="3188" y="4344"/>
                  </a:lnTo>
                  <a:lnTo>
                    <a:pt x="3190" y="4338"/>
                  </a:lnTo>
                  <a:lnTo>
                    <a:pt x="3192" y="4332"/>
                  </a:lnTo>
                  <a:close/>
                  <a:moveTo>
                    <a:pt x="3202" y="4390"/>
                  </a:moveTo>
                  <a:lnTo>
                    <a:pt x="3202" y="4390"/>
                  </a:lnTo>
                  <a:lnTo>
                    <a:pt x="3200" y="4392"/>
                  </a:lnTo>
                  <a:lnTo>
                    <a:pt x="3196" y="4392"/>
                  </a:lnTo>
                  <a:lnTo>
                    <a:pt x="3198" y="4394"/>
                  </a:lnTo>
                  <a:lnTo>
                    <a:pt x="3202" y="4396"/>
                  </a:lnTo>
                  <a:lnTo>
                    <a:pt x="3204" y="4396"/>
                  </a:lnTo>
                  <a:lnTo>
                    <a:pt x="3206" y="4394"/>
                  </a:lnTo>
                  <a:lnTo>
                    <a:pt x="3204" y="4390"/>
                  </a:lnTo>
                  <a:lnTo>
                    <a:pt x="3202" y="4388"/>
                  </a:lnTo>
                  <a:lnTo>
                    <a:pt x="3202" y="4390"/>
                  </a:lnTo>
                  <a:close/>
                  <a:moveTo>
                    <a:pt x="3218" y="4324"/>
                  </a:moveTo>
                  <a:lnTo>
                    <a:pt x="3218" y="4324"/>
                  </a:lnTo>
                  <a:lnTo>
                    <a:pt x="3218" y="4318"/>
                  </a:lnTo>
                  <a:lnTo>
                    <a:pt x="3220" y="4314"/>
                  </a:lnTo>
                  <a:lnTo>
                    <a:pt x="3222" y="4310"/>
                  </a:lnTo>
                  <a:lnTo>
                    <a:pt x="3222" y="4308"/>
                  </a:lnTo>
                  <a:lnTo>
                    <a:pt x="3220" y="4300"/>
                  </a:lnTo>
                  <a:lnTo>
                    <a:pt x="3220" y="4292"/>
                  </a:lnTo>
                  <a:lnTo>
                    <a:pt x="3218" y="4290"/>
                  </a:lnTo>
                  <a:lnTo>
                    <a:pt x="3216" y="4298"/>
                  </a:lnTo>
                  <a:lnTo>
                    <a:pt x="3210" y="4312"/>
                  </a:lnTo>
                  <a:lnTo>
                    <a:pt x="3208" y="4316"/>
                  </a:lnTo>
                  <a:lnTo>
                    <a:pt x="3206" y="4324"/>
                  </a:lnTo>
                  <a:lnTo>
                    <a:pt x="3204" y="4334"/>
                  </a:lnTo>
                  <a:lnTo>
                    <a:pt x="3198" y="4342"/>
                  </a:lnTo>
                  <a:lnTo>
                    <a:pt x="3194" y="4348"/>
                  </a:lnTo>
                  <a:lnTo>
                    <a:pt x="3192" y="4354"/>
                  </a:lnTo>
                  <a:lnTo>
                    <a:pt x="3192" y="4362"/>
                  </a:lnTo>
                  <a:lnTo>
                    <a:pt x="3190" y="4374"/>
                  </a:lnTo>
                  <a:lnTo>
                    <a:pt x="3190" y="4380"/>
                  </a:lnTo>
                  <a:lnTo>
                    <a:pt x="3192" y="4380"/>
                  </a:lnTo>
                  <a:lnTo>
                    <a:pt x="3194" y="4376"/>
                  </a:lnTo>
                  <a:lnTo>
                    <a:pt x="3198" y="4368"/>
                  </a:lnTo>
                  <a:lnTo>
                    <a:pt x="3200" y="4362"/>
                  </a:lnTo>
                  <a:lnTo>
                    <a:pt x="3202" y="4360"/>
                  </a:lnTo>
                  <a:lnTo>
                    <a:pt x="3204" y="4358"/>
                  </a:lnTo>
                  <a:lnTo>
                    <a:pt x="3204" y="4352"/>
                  </a:lnTo>
                  <a:lnTo>
                    <a:pt x="3204" y="4348"/>
                  </a:lnTo>
                  <a:lnTo>
                    <a:pt x="3206" y="4344"/>
                  </a:lnTo>
                  <a:lnTo>
                    <a:pt x="3212" y="4340"/>
                  </a:lnTo>
                  <a:lnTo>
                    <a:pt x="3218" y="4332"/>
                  </a:lnTo>
                  <a:lnTo>
                    <a:pt x="3220" y="4328"/>
                  </a:lnTo>
                  <a:lnTo>
                    <a:pt x="3218" y="4324"/>
                  </a:lnTo>
                  <a:close/>
                  <a:moveTo>
                    <a:pt x="3226" y="4342"/>
                  </a:moveTo>
                  <a:lnTo>
                    <a:pt x="3226" y="4342"/>
                  </a:lnTo>
                  <a:lnTo>
                    <a:pt x="3222" y="4350"/>
                  </a:lnTo>
                  <a:lnTo>
                    <a:pt x="3216" y="4354"/>
                  </a:lnTo>
                  <a:lnTo>
                    <a:pt x="3214" y="4356"/>
                  </a:lnTo>
                  <a:lnTo>
                    <a:pt x="3210" y="4360"/>
                  </a:lnTo>
                  <a:lnTo>
                    <a:pt x="3210" y="4364"/>
                  </a:lnTo>
                  <a:lnTo>
                    <a:pt x="3212" y="4368"/>
                  </a:lnTo>
                  <a:lnTo>
                    <a:pt x="3214" y="4370"/>
                  </a:lnTo>
                  <a:lnTo>
                    <a:pt x="3216" y="4372"/>
                  </a:lnTo>
                  <a:lnTo>
                    <a:pt x="3224" y="4372"/>
                  </a:lnTo>
                  <a:lnTo>
                    <a:pt x="3230" y="4370"/>
                  </a:lnTo>
                  <a:lnTo>
                    <a:pt x="3234" y="4368"/>
                  </a:lnTo>
                  <a:lnTo>
                    <a:pt x="3236" y="4366"/>
                  </a:lnTo>
                  <a:lnTo>
                    <a:pt x="3240" y="4366"/>
                  </a:lnTo>
                  <a:lnTo>
                    <a:pt x="3240" y="4364"/>
                  </a:lnTo>
                  <a:lnTo>
                    <a:pt x="3240" y="4362"/>
                  </a:lnTo>
                  <a:lnTo>
                    <a:pt x="3240" y="4356"/>
                  </a:lnTo>
                  <a:lnTo>
                    <a:pt x="3242" y="4352"/>
                  </a:lnTo>
                  <a:lnTo>
                    <a:pt x="3242" y="4346"/>
                  </a:lnTo>
                  <a:lnTo>
                    <a:pt x="3242" y="4344"/>
                  </a:lnTo>
                  <a:lnTo>
                    <a:pt x="3240" y="4344"/>
                  </a:lnTo>
                  <a:lnTo>
                    <a:pt x="3238" y="4346"/>
                  </a:lnTo>
                  <a:lnTo>
                    <a:pt x="3238" y="4348"/>
                  </a:lnTo>
                  <a:lnTo>
                    <a:pt x="3234" y="4348"/>
                  </a:lnTo>
                  <a:lnTo>
                    <a:pt x="3232" y="4346"/>
                  </a:lnTo>
                  <a:lnTo>
                    <a:pt x="3228" y="4342"/>
                  </a:lnTo>
                  <a:lnTo>
                    <a:pt x="3228" y="4340"/>
                  </a:lnTo>
                  <a:lnTo>
                    <a:pt x="3226" y="4342"/>
                  </a:lnTo>
                  <a:close/>
                  <a:moveTo>
                    <a:pt x="3240" y="4278"/>
                  </a:moveTo>
                  <a:lnTo>
                    <a:pt x="3240" y="4278"/>
                  </a:lnTo>
                  <a:lnTo>
                    <a:pt x="3242" y="4278"/>
                  </a:lnTo>
                  <a:lnTo>
                    <a:pt x="3242" y="4274"/>
                  </a:lnTo>
                  <a:lnTo>
                    <a:pt x="3240" y="4270"/>
                  </a:lnTo>
                  <a:lnTo>
                    <a:pt x="3236" y="4270"/>
                  </a:lnTo>
                  <a:lnTo>
                    <a:pt x="3234" y="4270"/>
                  </a:lnTo>
                  <a:lnTo>
                    <a:pt x="3234" y="4274"/>
                  </a:lnTo>
                  <a:lnTo>
                    <a:pt x="3236" y="4278"/>
                  </a:lnTo>
                  <a:lnTo>
                    <a:pt x="3240" y="4278"/>
                  </a:lnTo>
                  <a:close/>
                  <a:moveTo>
                    <a:pt x="3164" y="5116"/>
                  </a:moveTo>
                  <a:lnTo>
                    <a:pt x="3164" y="5116"/>
                  </a:lnTo>
                  <a:lnTo>
                    <a:pt x="3166" y="5118"/>
                  </a:lnTo>
                  <a:lnTo>
                    <a:pt x="3168" y="5116"/>
                  </a:lnTo>
                  <a:lnTo>
                    <a:pt x="3172" y="5110"/>
                  </a:lnTo>
                  <a:lnTo>
                    <a:pt x="3174" y="5106"/>
                  </a:lnTo>
                  <a:lnTo>
                    <a:pt x="3176" y="5104"/>
                  </a:lnTo>
                  <a:lnTo>
                    <a:pt x="3182" y="5102"/>
                  </a:lnTo>
                  <a:lnTo>
                    <a:pt x="3184" y="5102"/>
                  </a:lnTo>
                  <a:lnTo>
                    <a:pt x="3186" y="5100"/>
                  </a:lnTo>
                  <a:lnTo>
                    <a:pt x="3180" y="5092"/>
                  </a:lnTo>
                  <a:lnTo>
                    <a:pt x="3176" y="5086"/>
                  </a:lnTo>
                  <a:lnTo>
                    <a:pt x="3176" y="5082"/>
                  </a:lnTo>
                  <a:lnTo>
                    <a:pt x="3176" y="5078"/>
                  </a:lnTo>
                  <a:lnTo>
                    <a:pt x="3178" y="5076"/>
                  </a:lnTo>
                  <a:lnTo>
                    <a:pt x="3184" y="5070"/>
                  </a:lnTo>
                  <a:lnTo>
                    <a:pt x="3184" y="5064"/>
                  </a:lnTo>
                  <a:lnTo>
                    <a:pt x="3182" y="5058"/>
                  </a:lnTo>
                  <a:lnTo>
                    <a:pt x="3180" y="5054"/>
                  </a:lnTo>
                  <a:lnTo>
                    <a:pt x="3178" y="5052"/>
                  </a:lnTo>
                  <a:lnTo>
                    <a:pt x="3174" y="5054"/>
                  </a:lnTo>
                  <a:lnTo>
                    <a:pt x="3172" y="5058"/>
                  </a:lnTo>
                  <a:lnTo>
                    <a:pt x="3170" y="5070"/>
                  </a:lnTo>
                  <a:lnTo>
                    <a:pt x="3168" y="5086"/>
                  </a:lnTo>
                  <a:lnTo>
                    <a:pt x="3166" y="5094"/>
                  </a:lnTo>
                  <a:lnTo>
                    <a:pt x="3164" y="5100"/>
                  </a:lnTo>
                  <a:lnTo>
                    <a:pt x="3160" y="5108"/>
                  </a:lnTo>
                  <a:lnTo>
                    <a:pt x="3158" y="5110"/>
                  </a:lnTo>
                  <a:lnTo>
                    <a:pt x="3158" y="5112"/>
                  </a:lnTo>
                  <a:lnTo>
                    <a:pt x="3164" y="5116"/>
                  </a:lnTo>
                  <a:close/>
                  <a:moveTo>
                    <a:pt x="3346" y="4866"/>
                  </a:moveTo>
                  <a:lnTo>
                    <a:pt x="3346" y="4866"/>
                  </a:lnTo>
                  <a:lnTo>
                    <a:pt x="3348" y="4862"/>
                  </a:lnTo>
                  <a:lnTo>
                    <a:pt x="3348" y="4858"/>
                  </a:lnTo>
                  <a:lnTo>
                    <a:pt x="3348" y="4852"/>
                  </a:lnTo>
                  <a:lnTo>
                    <a:pt x="3346" y="4852"/>
                  </a:lnTo>
                  <a:lnTo>
                    <a:pt x="3344" y="4852"/>
                  </a:lnTo>
                  <a:lnTo>
                    <a:pt x="3342" y="4856"/>
                  </a:lnTo>
                  <a:lnTo>
                    <a:pt x="3342" y="4860"/>
                  </a:lnTo>
                  <a:lnTo>
                    <a:pt x="3342" y="4864"/>
                  </a:lnTo>
                  <a:lnTo>
                    <a:pt x="3344" y="4866"/>
                  </a:lnTo>
                  <a:lnTo>
                    <a:pt x="3346" y="4866"/>
                  </a:lnTo>
                  <a:close/>
                  <a:moveTo>
                    <a:pt x="3342" y="4998"/>
                  </a:moveTo>
                  <a:lnTo>
                    <a:pt x="3342" y="4998"/>
                  </a:lnTo>
                  <a:lnTo>
                    <a:pt x="3336" y="4992"/>
                  </a:lnTo>
                  <a:lnTo>
                    <a:pt x="3330" y="4990"/>
                  </a:lnTo>
                  <a:lnTo>
                    <a:pt x="3324" y="4986"/>
                  </a:lnTo>
                  <a:lnTo>
                    <a:pt x="3316" y="4986"/>
                  </a:lnTo>
                  <a:lnTo>
                    <a:pt x="3310" y="4986"/>
                  </a:lnTo>
                  <a:lnTo>
                    <a:pt x="3304" y="4988"/>
                  </a:lnTo>
                  <a:lnTo>
                    <a:pt x="3300" y="4992"/>
                  </a:lnTo>
                  <a:lnTo>
                    <a:pt x="3298" y="4996"/>
                  </a:lnTo>
                  <a:lnTo>
                    <a:pt x="3298" y="5002"/>
                  </a:lnTo>
                  <a:lnTo>
                    <a:pt x="3304" y="5010"/>
                  </a:lnTo>
                  <a:lnTo>
                    <a:pt x="3312" y="5016"/>
                  </a:lnTo>
                  <a:lnTo>
                    <a:pt x="3320" y="5024"/>
                  </a:lnTo>
                  <a:lnTo>
                    <a:pt x="3326" y="5026"/>
                  </a:lnTo>
                  <a:lnTo>
                    <a:pt x="3332" y="5026"/>
                  </a:lnTo>
                  <a:lnTo>
                    <a:pt x="3336" y="5024"/>
                  </a:lnTo>
                  <a:lnTo>
                    <a:pt x="3342" y="5020"/>
                  </a:lnTo>
                  <a:lnTo>
                    <a:pt x="3344" y="5016"/>
                  </a:lnTo>
                  <a:lnTo>
                    <a:pt x="3346" y="5010"/>
                  </a:lnTo>
                  <a:lnTo>
                    <a:pt x="3344" y="5004"/>
                  </a:lnTo>
                  <a:lnTo>
                    <a:pt x="3342" y="4998"/>
                  </a:lnTo>
                  <a:close/>
                  <a:moveTo>
                    <a:pt x="3330" y="5214"/>
                  </a:moveTo>
                  <a:lnTo>
                    <a:pt x="3330" y="5214"/>
                  </a:lnTo>
                  <a:lnTo>
                    <a:pt x="3328" y="5212"/>
                  </a:lnTo>
                  <a:lnTo>
                    <a:pt x="3326" y="5210"/>
                  </a:lnTo>
                  <a:lnTo>
                    <a:pt x="3314" y="5210"/>
                  </a:lnTo>
                  <a:lnTo>
                    <a:pt x="3302" y="5214"/>
                  </a:lnTo>
                  <a:lnTo>
                    <a:pt x="3296" y="5216"/>
                  </a:lnTo>
                  <a:lnTo>
                    <a:pt x="3290" y="5220"/>
                  </a:lnTo>
                  <a:lnTo>
                    <a:pt x="3290" y="5224"/>
                  </a:lnTo>
                  <a:lnTo>
                    <a:pt x="3292" y="5224"/>
                  </a:lnTo>
                  <a:lnTo>
                    <a:pt x="3306" y="5224"/>
                  </a:lnTo>
                  <a:lnTo>
                    <a:pt x="3322" y="5220"/>
                  </a:lnTo>
                  <a:lnTo>
                    <a:pt x="3328" y="5216"/>
                  </a:lnTo>
                  <a:lnTo>
                    <a:pt x="3330" y="5214"/>
                  </a:lnTo>
                  <a:close/>
                  <a:moveTo>
                    <a:pt x="3294" y="4936"/>
                  </a:moveTo>
                  <a:lnTo>
                    <a:pt x="3294" y="4936"/>
                  </a:lnTo>
                  <a:lnTo>
                    <a:pt x="3292" y="4938"/>
                  </a:lnTo>
                  <a:lnTo>
                    <a:pt x="3292" y="4942"/>
                  </a:lnTo>
                  <a:lnTo>
                    <a:pt x="3296" y="4956"/>
                  </a:lnTo>
                  <a:lnTo>
                    <a:pt x="3298" y="4960"/>
                  </a:lnTo>
                  <a:lnTo>
                    <a:pt x="3300" y="4960"/>
                  </a:lnTo>
                  <a:lnTo>
                    <a:pt x="3300" y="4956"/>
                  </a:lnTo>
                  <a:lnTo>
                    <a:pt x="3298" y="4950"/>
                  </a:lnTo>
                  <a:lnTo>
                    <a:pt x="3298" y="4944"/>
                  </a:lnTo>
                  <a:lnTo>
                    <a:pt x="3296" y="4938"/>
                  </a:lnTo>
                  <a:lnTo>
                    <a:pt x="3296" y="4936"/>
                  </a:lnTo>
                  <a:lnTo>
                    <a:pt x="3294" y="4936"/>
                  </a:lnTo>
                  <a:close/>
                  <a:moveTo>
                    <a:pt x="3344" y="5246"/>
                  </a:moveTo>
                  <a:lnTo>
                    <a:pt x="3344" y="5246"/>
                  </a:lnTo>
                  <a:lnTo>
                    <a:pt x="3340" y="5244"/>
                  </a:lnTo>
                  <a:lnTo>
                    <a:pt x="3336" y="5244"/>
                  </a:lnTo>
                  <a:lnTo>
                    <a:pt x="3330" y="5248"/>
                  </a:lnTo>
                  <a:lnTo>
                    <a:pt x="3322" y="5250"/>
                  </a:lnTo>
                  <a:lnTo>
                    <a:pt x="3316" y="5250"/>
                  </a:lnTo>
                  <a:lnTo>
                    <a:pt x="3312" y="5250"/>
                  </a:lnTo>
                  <a:lnTo>
                    <a:pt x="3306" y="5252"/>
                  </a:lnTo>
                  <a:lnTo>
                    <a:pt x="3300" y="5254"/>
                  </a:lnTo>
                  <a:lnTo>
                    <a:pt x="3296" y="5254"/>
                  </a:lnTo>
                  <a:lnTo>
                    <a:pt x="3292" y="5254"/>
                  </a:lnTo>
                  <a:lnTo>
                    <a:pt x="3286" y="5254"/>
                  </a:lnTo>
                  <a:lnTo>
                    <a:pt x="3268" y="5258"/>
                  </a:lnTo>
                  <a:lnTo>
                    <a:pt x="3260" y="5262"/>
                  </a:lnTo>
                  <a:lnTo>
                    <a:pt x="3258" y="5266"/>
                  </a:lnTo>
                  <a:lnTo>
                    <a:pt x="3256" y="5272"/>
                  </a:lnTo>
                  <a:lnTo>
                    <a:pt x="3248" y="5278"/>
                  </a:lnTo>
                  <a:lnTo>
                    <a:pt x="3240" y="5284"/>
                  </a:lnTo>
                  <a:lnTo>
                    <a:pt x="3234" y="5286"/>
                  </a:lnTo>
                  <a:lnTo>
                    <a:pt x="3226" y="5290"/>
                  </a:lnTo>
                  <a:lnTo>
                    <a:pt x="3216" y="5296"/>
                  </a:lnTo>
                  <a:lnTo>
                    <a:pt x="3206" y="5304"/>
                  </a:lnTo>
                  <a:lnTo>
                    <a:pt x="3202" y="5310"/>
                  </a:lnTo>
                  <a:lnTo>
                    <a:pt x="3200" y="5322"/>
                  </a:lnTo>
                  <a:lnTo>
                    <a:pt x="3198" y="5326"/>
                  </a:lnTo>
                  <a:lnTo>
                    <a:pt x="3200" y="5328"/>
                  </a:lnTo>
                  <a:lnTo>
                    <a:pt x="3202" y="5330"/>
                  </a:lnTo>
                  <a:lnTo>
                    <a:pt x="3204" y="5330"/>
                  </a:lnTo>
                  <a:lnTo>
                    <a:pt x="3202" y="5332"/>
                  </a:lnTo>
                  <a:lnTo>
                    <a:pt x="3198" y="5336"/>
                  </a:lnTo>
                  <a:lnTo>
                    <a:pt x="3194" y="5340"/>
                  </a:lnTo>
                  <a:lnTo>
                    <a:pt x="3194" y="5342"/>
                  </a:lnTo>
                  <a:lnTo>
                    <a:pt x="3194" y="5344"/>
                  </a:lnTo>
                  <a:lnTo>
                    <a:pt x="3202" y="5346"/>
                  </a:lnTo>
                  <a:lnTo>
                    <a:pt x="3206" y="5346"/>
                  </a:lnTo>
                  <a:lnTo>
                    <a:pt x="3210" y="5344"/>
                  </a:lnTo>
                  <a:lnTo>
                    <a:pt x="3216" y="5340"/>
                  </a:lnTo>
                  <a:lnTo>
                    <a:pt x="3220" y="5336"/>
                  </a:lnTo>
                  <a:lnTo>
                    <a:pt x="3222" y="5336"/>
                  </a:lnTo>
                  <a:lnTo>
                    <a:pt x="3226" y="5336"/>
                  </a:lnTo>
                  <a:lnTo>
                    <a:pt x="3230" y="5336"/>
                  </a:lnTo>
                  <a:lnTo>
                    <a:pt x="3234" y="5334"/>
                  </a:lnTo>
                  <a:lnTo>
                    <a:pt x="3244" y="5320"/>
                  </a:lnTo>
                  <a:lnTo>
                    <a:pt x="3252" y="5312"/>
                  </a:lnTo>
                  <a:lnTo>
                    <a:pt x="3256" y="5306"/>
                  </a:lnTo>
                  <a:lnTo>
                    <a:pt x="3260" y="5300"/>
                  </a:lnTo>
                  <a:lnTo>
                    <a:pt x="3268" y="5294"/>
                  </a:lnTo>
                  <a:lnTo>
                    <a:pt x="3280" y="5288"/>
                  </a:lnTo>
                  <a:lnTo>
                    <a:pt x="3288" y="5286"/>
                  </a:lnTo>
                  <a:lnTo>
                    <a:pt x="3294" y="5284"/>
                  </a:lnTo>
                  <a:lnTo>
                    <a:pt x="3300" y="5280"/>
                  </a:lnTo>
                  <a:lnTo>
                    <a:pt x="3304" y="5278"/>
                  </a:lnTo>
                  <a:lnTo>
                    <a:pt x="3308" y="5278"/>
                  </a:lnTo>
                  <a:lnTo>
                    <a:pt x="3314" y="5276"/>
                  </a:lnTo>
                  <a:lnTo>
                    <a:pt x="3318" y="5272"/>
                  </a:lnTo>
                  <a:lnTo>
                    <a:pt x="3324" y="5266"/>
                  </a:lnTo>
                  <a:lnTo>
                    <a:pt x="3328" y="5266"/>
                  </a:lnTo>
                  <a:lnTo>
                    <a:pt x="3334" y="5264"/>
                  </a:lnTo>
                  <a:lnTo>
                    <a:pt x="3340" y="5260"/>
                  </a:lnTo>
                  <a:lnTo>
                    <a:pt x="3348" y="5252"/>
                  </a:lnTo>
                  <a:lnTo>
                    <a:pt x="3348" y="5248"/>
                  </a:lnTo>
                  <a:lnTo>
                    <a:pt x="3344" y="5246"/>
                  </a:lnTo>
                  <a:close/>
                  <a:moveTo>
                    <a:pt x="3328" y="4618"/>
                  </a:moveTo>
                  <a:lnTo>
                    <a:pt x="3328" y="4618"/>
                  </a:lnTo>
                  <a:lnTo>
                    <a:pt x="3326" y="4622"/>
                  </a:lnTo>
                  <a:lnTo>
                    <a:pt x="3326" y="4628"/>
                  </a:lnTo>
                  <a:lnTo>
                    <a:pt x="3326" y="4630"/>
                  </a:lnTo>
                  <a:lnTo>
                    <a:pt x="3328" y="4632"/>
                  </a:lnTo>
                  <a:lnTo>
                    <a:pt x="3328" y="4634"/>
                  </a:lnTo>
                  <a:lnTo>
                    <a:pt x="3326" y="4638"/>
                  </a:lnTo>
                  <a:lnTo>
                    <a:pt x="3324" y="4642"/>
                  </a:lnTo>
                  <a:lnTo>
                    <a:pt x="3326" y="4644"/>
                  </a:lnTo>
                  <a:lnTo>
                    <a:pt x="3330" y="4642"/>
                  </a:lnTo>
                  <a:lnTo>
                    <a:pt x="3330" y="4640"/>
                  </a:lnTo>
                  <a:lnTo>
                    <a:pt x="3332" y="4636"/>
                  </a:lnTo>
                  <a:lnTo>
                    <a:pt x="3332" y="4632"/>
                  </a:lnTo>
                  <a:lnTo>
                    <a:pt x="3334" y="4630"/>
                  </a:lnTo>
                  <a:lnTo>
                    <a:pt x="3334" y="4628"/>
                  </a:lnTo>
                  <a:lnTo>
                    <a:pt x="3332" y="4624"/>
                  </a:lnTo>
                  <a:lnTo>
                    <a:pt x="3332" y="4620"/>
                  </a:lnTo>
                  <a:lnTo>
                    <a:pt x="3332" y="4618"/>
                  </a:lnTo>
                  <a:lnTo>
                    <a:pt x="3328" y="4618"/>
                  </a:lnTo>
                  <a:close/>
                  <a:moveTo>
                    <a:pt x="3302" y="3114"/>
                  </a:moveTo>
                  <a:lnTo>
                    <a:pt x="3302" y="3114"/>
                  </a:lnTo>
                  <a:lnTo>
                    <a:pt x="3304" y="3116"/>
                  </a:lnTo>
                  <a:lnTo>
                    <a:pt x="3308" y="3114"/>
                  </a:lnTo>
                  <a:lnTo>
                    <a:pt x="3310" y="3112"/>
                  </a:lnTo>
                  <a:lnTo>
                    <a:pt x="3310" y="3108"/>
                  </a:lnTo>
                  <a:lnTo>
                    <a:pt x="3306" y="3108"/>
                  </a:lnTo>
                  <a:lnTo>
                    <a:pt x="3302" y="3110"/>
                  </a:lnTo>
                  <a:lnTo>
                    <a:pt x="3300" y="3112"/>
                  </a:lnTo>
                  <a:lnTo>
                    <a:pt x="3302" y="3114"/>
                  </a:lnTo>
                  <a:close/>
                  <a:moveTo>
                    <a:pt x="3298" y="3086"/>
                  </a:moveTo>
                  <a:lnTo>
                    <a:pt x="3298" y="3086"/>
                  </a:lnTo>
                  <a:lnTo>
                    <a:pt x="3296" y="3088"/>
                  </a:lnTo>
                  <a:lnTo>
                    <a:pt x="3298" y="3090"/>
                  </a:lnTo>
                  <a:lnTo>
                    <a:pt x="3302" y="3096"/>
                  </a:lnTo>
                  <a:lnTo>
                    <a:pt x="3302" y="3098"/>
                  </a:lnTo>
                  <a:lnTo>
                    <a:pt x="3304" y="3094"/>
                  </a:lnTo>
                  <a:lnTo>
                    <a:pt x="3302" y="3088"/>
                  </a:lnTo>
                  <a:lnTo>
                    <a:pt x="3300" y="3086"/>
                  </a:lnTo>
                  <a:lnTo>
                    <a:pt x="3298" y="3086"/>
                  </a:lnTo>
                  <a:close/>
                  <a:moveTo>
                    <a:pt x="3298" y="4354"/>
                  </a:moveTo>
                  <a:lnTo>
                    <a:pt x="3298" y="4354"/>
                  </a:lnTo>
                  <a:lnTo>
                    <a:pt x="3296" y="4358"/>
                  </a:lnTo>
                  <a:lnTo>
                    <a:pt x="3296" y="4362"/>
                  </a:lnTo>
                  <a:lnTo>
                    <a:pt x="3298" y="4362"/>
                  </a:lnTo>
                  <a:lnTo>
                    <a:pt x="3300" y="4364"/>
                  </a:lnTo>
                  <a:lnTo>
                    <a:pt x="3304" y="4362"/>
                  </a:lnTo>
                  <a:lnTo>
                    <a:pt x="3304" y="4360"/>
                  </a:lnTo>
                  <a:lnTo>
                    <a:pt x="3302" y="4356"/>
                  </a:lnTo>
                  <a:lnTo>
                    <a:pt x="3300" y="4348"/>
                  </a:lnTo>
                  <a:lnTo>
                    <a:pt x="3298" y="4354"/>
                  </a:lnTo>
                  <a:close/>
                  <a:moveTo>
                    <a:pt x="3274" y="4930"/>
                  </a:moveTo>
                  <a:lnTo>
                    <a:pt x="3274" y="4930"/>
                  </a:lnTo>
                  <a:lnTo>
                    <a:pt x="3274" y="4932"/>
                  </a:lnTo>
                  <a:lnTo>
                    <a:pt x="3278" y="4934"/>
                  </a:lnTo>
                  <a:lnTo>
                    <a:pt x="3288" y="4934"/>
                  </a:lnTo>
                  <a:lnTo>
                    <a:pt x="3310" y="4928"/>
                  </a:lnTo>
                  <a:lnTo>
                    <a:pt x="3312" y="4926"/>
                  </a:lnTo>
                  <a:lnTo>
                    <a:pt x="3310" y="4926"/>
                  </a:lnTo>
                  <a:lnTo>
                    <a:pt x="3296" y="4924"/>
                  </a:lnTo>
                  <a:lnTo>
                    <a:pt x="3282" y="4924"/>
                  </a:lnTo>
                  <a:lnTo>
                    <a:pt x="3276" y="4926"/>
                  </a:lnTo>
                  <a:lnTo>
                    <a:pt x="3274" y="4930"/>
                  </a:lnTo>
                  <a:close/>
                  <a:moveTo>
                    <a:pt x="3132" y="5104"/>
                  </a:moveTo>
                  <a:lnTo>
                    <a:pt x="3132" y="5104"/>
                  </a:lnTo>
                  <a:lnTo>
                    <a:pt x="3136" y="5106"/>
                  </a:lnTo>
                  <a:lnTo>
                    <a:pt x="3138" y="5104"/>
                  </a:lnTo>
                  <a:lnTo>
                    <a:pt x="3136" y="5096"/>
                  </a:lnTo>
                  <a:lnTo>
                    <a:pt x="3134" y="5090"/>
                  </a:lnTo>
                  <a:lnTo>
                    <a:pt x="3132" y="5086"/>
                  </a:lnTo>
                  <a:lnTo>
                    <a:pt x="3130" y="5088"/>
                  </a:lnTo>
                  <a:lnTo>
                    <a:pt x="3130" y="5096"/>
                  </a:lnTo>
                  <a:lnTo>
                    <a:pt x="3132" y="5104"/>
                  </a:lnTo>
                  <a:close/>
                  <a:moveTo>
                    <a:pt x="3196" y="4912"/>
                  </a:moveTo>
                  <a:lnTo>
                    <a:pt x="3196" y="4912"/>
                  </a:lnTo>
                  <a:lnTo>
                    <a:pt x="3198" y="4908"/>
                  </a:lnTo>
                  <a:lnTo>
                    <a:pt x="3198" y="4904"/>
                  </a:lnTo>
                  <a:lnTo>
                    <a:pt x="3196" y="4900"/>
                  </a:lnTo>
                  <a:lnTo>
                    <a:pt x="3192" y="4900"/>
                  </a:lnTo>
                  <a:lnTo>
                    <a:pt x="3190" y="4902"/>
                  </a:lnTo>
                  <a:lnTo>
                    <a:pt x="3188" y="4904"/>
                  </a:lnTo>
                  <a:lnTo>
                    <a:pt x="3188" y="4908"/>
                  </a:lnTo>
                  <a:lnTo>
                    <a:pt x="3192" y="4912"/>
                  </a:lnTo>
                  <a:lnTo>
                    <a:pt x="3194" y="4912"/>
                  </a:lnTo>
                  <a:lnTo>
                    <a:pt x="3196" y="4912"/>
                  </a:lnTo>
                  <a:close/>
                  <a:moveTo>
                    <a:pt x="3180" y="4896"/>
                  </a:moveTo>
                  <a:lnTo>
                    <a:pt x="3180" y="4896"/>
                  </a:lnTo>
                  <a:lnTo>
                    <a:pt x="3176" y="4896"/>
                  </a:lnTo>
                  <a:lnTo>
                    <a:pt x="3172" y="4900"/>
                  </a:lnTo>
                  <a:lnTo>
                    <a:pt x="3170" y="4906"/>
                  </a:lnTo>
                  <a:lnTo>
                    <a:pt x="3172" y="4916"/>
                  </a:lnTo>
                  <a:lnTo>
                    <a:pt x="3174" y="4916"/>
                  </a:lnTo>
                  <a:lnTo>
                    <a:pt x="3180" y="4908"/>
                  </a:lnTo>
                  <a:lnTo>
                    <a:pt x="3184" y="4900"/>
                  </a:lnTo>
                  <a:lnTo>
                    <a:pt x="3182" y="4898"/>
                  </a:lnTo>
                  <a:lnTo>
                    <a:pt x="3180" y="4896"/>
                  </a:lnTo>
                  <a:close/>
                  <a:moveTo>
                    <a:pt x="3184" y="5356"/>
                  </a:moveTo>
                  <a:lnTo>
                    <a:pt x="3184" y="5356"/>
                  </a:lnTo>
                  <a:lnTo>
                    <a:pt x="3180" y="5360"/>
                  </a:lnTo>
                  <a:lnTo>
                    <a:pt x="3174" y="5364"/>
                  </a:lnTo>
                  <a:lnTo>
                    <a:pt x="3170" y="5366"/>
                  </a:lnTo>
                  <a:lnTo>
                    <a:pt x="3168" y="5370"/>
                  </a:lnTo>
                  <a:lnTo>
                    <a:pt x="3168" y="5372"/>
                  </a:lnTo>
                  <a:lnTo>
                    <a:pt x="3170" y="5372"/>
                  </a:lnTo>
                  <a:lnTo>
                    <a:pt x="3178" y="5370"/>
                  </a:lnTo>
                  <a:lnTo>
                    <a:pt x="3190" y="5362"/>
                  </a:lnTo>
                  <a:lnTo>
                    <a:pt x="3194" y="5358"/>
                  </a:lnTo>
                  <a:lnTo>
                    <a:pt x="3192" y="5352"/>
                  </a:lnTo>
                  <a:lnTo>
                    <a:pt x="3192" y="5350"/>
                  </a:lnTo>
                  <a:lnTo>
                    <a:pt x="3190" y="5350"/>
                  </a:lnTo>
                  <a:lnTo>
                    <a:pt x="3188" y="5352"/>
                  </a:lnTo>
                  <a:lnTo>
                    <a:pt x="3184" y="5356"/>
                  </a:lnTo>
                  <a:close/>
                  <a:moveTo>
                    <a:pt x="3074" y="5152"/>
                  </a:moveTo>
                  <a:lnTo>
                    <a:pt x="3074" y="5152"/>
                  </a:lnTo>
                  <a:lnTo>
                    <a:pt x="3076" y="5154"/>
                  </a:lnTo>
                  <a:lnTo>
                    <a:pt x="3078" y="5144"/>
                  </a:lnTo>
                  <a:lnTo>
                    <a:pt x="3076" y="5132"/>
                  </a:lnTo>
                  <a:lnTo>
                    <a:pt x="3076" y="5122"/>
                  </a:lnTo>
                  <a:lnTo>
                    <a:pt x="3074" y="5122"/>
                  </a:lnTo>
                  <a:lnTo>
                    <a:pt x="3074" y="5124"/>
                  </a:lnTo>
                  <a:lnTo>
                    <a:pt x="3072" y="5130"/>
                  </a:lnTo>
                  <a:lnTo>
                    <a:pt x="3072" y="5142"/>
                  </a:lnTo>
                  <a:lnTo>
                    <a:pt x="3074" y="5152"/>
                  </a:lnTo>
                  <a:close/>
                  <a:moveTo>
                    <a:pt x="3070" y="5308"/>
                  </a:moveTo>
                  <a:lnTo>
                    <a:pt x="3070" y="5308"/>
                  </a:lnTo>
                  <a:lnTo>
                    <a:pt x="3066" y="5308"/>
                  </a:lnTo>
                  <a:lnTo>
                    <a:pt x="3066" y="5306"/>
                  </a:lnTo>
                  <a:lnTo>
                    <a:pt x="3064" y="5304"/>
                  </a:lnTo>
                  <a:lnTo>
                    <a:pt x="3060" y="5298"/>
                  </a:lnTo>
                  <a:lnTo>
                    <a:pt x="3054" y="5294"/>
                  </a:lnTo>
                  <a:lnTo>
                    <a:pt x="3048" y="5294"/>
                  </a:lnTo>
                  <a:lnTo>
                    <a:pt x="3046" y="5296"/>
                  </a:lnTo>
                  <a:lnTo>
                    <a:pt x="3042" y="5296"/>
                  </a:lnTo>
                  <a:lnTo>
                    <a:pt x="3036" y="5294"/>
                  </a:lnTo>
                  <a:lnTo>
                    <a:pt x="3026" y="5294"/>
                  </a:lnTo>
                  <a:lnTo>
                    <a:pt x="3020" y="5296"/>
                  </a:lnTo>
                  <a:lnTo>
                    <a:pt x="3016" y="5298"/>
                  </a:lnTo>
                  <a:lnTo>
                    <a:pt x="3014" y="5302"/>
                  </a:lnTo>
                  <a:lnTo>
                    <a:pt x="3012" y="5306"/>
                  </a:lnTo>
                  <a:lnTo>
                    <a:pt x="3014" y="5310"/>
                  </a:lnTo>
                  <a:lnTo>
                    <a:pt x="3016" y="5312"/>
                  </a:lnTo>
                  <a:lnTo>
                    <a:pt x="3026" y="5316"/>
                  </a:lnTo>
                  <a:lnTo>
                    <a:pt x="3036" y="5318"/>
                  </a:lnTo>
                  <a:lnTo>
                    <a:pt x="3046" y="5322"/>
                  </a:lnTo>
                  <a:lnTo>
                    <a:pt x="3054" y="5328"/>
                  </a:lnTo>
                  <a:lnTo>
                    <a:pt x="3058" y="5334"/>
                  </a:lnTo>
                  <a:lnTo>
                    <a:pt x="3060" y="5338"/>
                  </a:lnTo>
                  <a:lnTo>
                    <a:pt x="3064" y="5340"/>
                  </a:lnTo>
                  <a:lnTo>
                    <a:pt x="3068" y="5340"/>
                  </a:lnTo>
                  <a:lnTo>
                    <a:pt x="3070" y="5342"/>
                  </a:lnTo>
                  <a:lnTo>
                    <a:pt x="3074" y="5342"/>
                  </a:lnTo>
                  <a:lnTo>
                    <a:pt x="3076" y="5340"/>
                  </a:lnTo>
                  <a:lnTo>
                    <a:pt x="3078" y="5338"/>
                  </a:lnTo>
                  <a:lnTo>
                    <a:pt x="3080" y="5338"/>
                  </a:lnTo>
                  <a:lnTo>
                    <a:pt x="3082" y="5336"/>
                  </a:lnTo>
                  <a:lnTo>
                    <a:pt x="3086" y="5332"/>
                  </a:lnTo>
                  <a:lnTo>
                    <a:pt x="3086" y="5330"/>
                  </a:lnTo>
                  <a:lnTo>
                    <a:pt x="3086" y="5326"/>
                  </a:lnTo>
                  <a:lnTo>
                    <a:pt x="3082" y="5320"/>
                  </a:lnTo>
                  <a:lnTo>
                    <a:pt x="3076" y="5312"/>
                  </a:lnTo>
                  <a:lnTo>
                    <a:pt x="3070" y="5308"/>
                  </a:lnTo>
                  <a:close/>
                  <a:moveTo>
                    <a:pt x="3176" y="5238"/>
                  </a:moveTo>
                  <a:lnTo>
                    <a:pt x="3176" y="5238"/>
                  </a:lnTo>
                  <a:lnTo>
                    <a:pt x="3174" y="5234"/>
                  </a:lnTo>
                  <a:lnTo>
                    <a:pt x="3172" y="5234"/>
                  </a:lnTo>
                  <a:lnTo>
                    <a:pt x="3168" y="5234"/>
                  </a:lnTo>
                  <a:lnTo>
                    <a:pt x="3166" y="5238"/>
                  </a:lnTo>
                  <a:lnTo>
                    <a:pt x="3166" y="5240"/>
                  </a:lnTo>
                  <a:lnTo>
                    <a:pt x="3168" y="5240"/>
                  </a:lnTo>
                  <a:lnTo>
                    <a:pt x="3170" y="5242"/>
                  </a:lnTo>
                  <a:lnTo>
                    <a:pt x="3168" y="5246"/>
                  </a:lnTo>
                  <a:lnTo>
                    <a:pt x="3160" y="5248"/>
                  </a:lnTo>
                  <a:lnTo>
                    <a:pt x="3156" y="5252"/>
                  </a:lnTo>
                  <a:lnTo>
                    <a:pt x="3156" y="5256"/>
                  </a:lnTo>
                  <a:lnTo>
                    <a:pt x="3156" y="5258"/>
                  </a:lnTo>
                  <a:lnTo>
                    <a:pt x="3152" y="5260"/>
                  </a:lnTo>
                  <a:lnTo>
                    <a:pt x="3148" y="5260"/>
                  </a:lnTo>
                  <a:lnTo>
                    <a:pt x="3146" y="5260"/>
                  </a:lnTo>
                  <a:lnTo>
                    <a:pt x="3142" y="5256"/>
                  </a:lnTo>
                  <a:lnTo>
                    <a:pt x="3136" y="5252"/>
                  </a:lnTo>
                  <a:lnTo>
                    <a:pt x="3134" y="5250"/>
                  </a:lnTo>
                  <a:lnTo>
                    <a:pt x="3132" y="5252"/>
                  </a:lnTo>
                  <a:lnTo>
                    <a:pt x="3128" y="5254"/>
                  </a:lnTo>
                  <a:lnTo>
                    <a:pt x="3124" y="5254"/>
                  </a:lnTo>
                  <a:lnTo>
                    <a:pt x="3120" y="5254"/>
                  </a:lnTo>
                  <a:lnTo>
                    <a:pt x="3116" y="5256"/>
                  </a:lnTo>
                  <a:lnTo>
                    <a:pt x="3114" y="5258"/>
                  </a:lnTo>
                  <a:lnTo>
                    <a:pt x="3112" y="5256"/>
                  </a:lnTo>
                  <a:lnTo>
                    <a:pt x="3106" y="5254"/>
                  </a:lnTo>
                  <a:lnTo>
                    <a:pt x="3100" y="5250"/>
                  </a:lnTo>
                  <a:lnTo>
                    <a:pt x="3092" y="5246"/>
                  </a:lnTo>
                  <a:lnTo>
                    <a:pt x="3076" y="5242"/>
                  </a:lnTo>
                  <a:lnTo>
                    <a:pt x="3068" y="5242"/>
                  </a:lnTo>
                  <a:lnTo>
                    <a:pt x="3064" y="5242"/>
                  </a:lnTo>
                  <a:lnTo>
                    <a:pt x="3060" y="5246"/>
                  </a:lnTo>
                  <a:lnTo>
                    <a:pt x="3056" y="5250"/>
                  </a:lnTo>
                  <a:lnTo>
                    <a:pt x="3050" y="5252"/>
                  </a:lnTo>
                  <a:lnTo>
                    <a:pt x="3048" y="5256"/>
                  </a:lnTo>
                  <a:lnTo>
                    <a:pt x="3048" y="5262"/>
                  </a:lnTo>
                  <a:lnTo>
                    <a:pt x="3050" y="5270"/>
                  </a:lnTo>
                  <a:lnTo>
                    <a:pt x="3050" y="5272"/>
                  </a:lnTo>
                  <a:lnTo>
                    <a:pt x="3052" y="5272"/>
                  </a:lnTo>
                  <a:lnTo>
                    <a:pt x="3056" y="5270"/>
                  </a:lnTo>
                  <a:lnTo>
                    <a:pt x="3062" y="5268"/>
                  </a:lnTo>
                  <a:lnTo>
                    <a:pt x="3078" y="5270"/>
                  </a:lnTo>
                  <a:lnTo>
                    <a:pt x="3086" y="5272"/>
                  </a:lnTo>
                  <a:lnTo>
                    <a:pt x="3092" y="5274"/>
                  </a:lnTo>
                  <a:lnTo>
                    <a:pt x="3096" y="5278"/>
                  </a:lnTo>
                  <a:lnTo>
                    <a:pt x="3098" y="5276"/>
                  </a:lnTo>
                  <a:lnTo>
                    <a:pt x="3102" y="5274"/>
                  </a:lnTo>
                  <a:lnTo>
                    <a:pt x="3106" y="5274"/>
                  </a:lnTo>
                  <a:lnTo>
                    <a:pt x="3108" y="5274"/>
                  </a:lnTo>
                  <a:lnTo>
                    <a:pt x="3110" y="5272"/>
                  </a:lnTo>
                  <a:lnTo>
                    <a:pt x="3112" y="5270"/>
                  </a:lnTo>
                  <a:lnTo>
                    <a:pt x="3120" y="5272"/>
                  </a:lnTo>
                  <a:lnTo>
                    <a:pt x="3124" y="5272"/>
                  </a:lnTo>
                  <a:lnTo>
                    <a:pt x="3128" y="5272"/>
                  </a:lnTo>
                  <a:lnTo>
                    <a:pt x="3134" y="5270"/>
                  </a:lnTo>
                  <a:lnTo>
                    <a:pt x="3138" y="5268"/>
                  </a:lnTo>
                  <a:lnTo>
                    <a:pt x="3142" y="5266"/>
                  </a:lnTo>
                  <a:lnTo>
                    <a:pt x="3150" y="5266"/>
                  </a:lnTo>
                  <a:lnTo>
                    <a:pt x="3158" y="5264"/>
                  </a:lnTo>
                  <a:lnTo>
                    <a:pt x="3166" y="5260"/>
                  </a:lnTo>
                  <a:lnTo>
                    <a:pt x="3168" y="5258"/>
                  </a:lnTo>
                  <a:lnTo>
                    <a:pt x="3170" y="5254"/>
                  </a:lnTo>
                  <a:lnTo>
                    <a:pt x="3170" y="5252"/>
                  </a:lnTo>
                  <a:lnTo>
                    <a:pt x="3174" y="5248"/>
                  </a:lnTo>
                  <a:lnTo>
                    <a:pt x="3176" y="5244"/>
                  </a:lnTo>
                  <a:lnTo>
                    <a:pt x="3176" y="5238"/>
                  </a:lnTo>
                  <a:close/>
                  <a:moveTo>
                    <a:pt x="3042" y="5268"/>
                  </a:moveTo>
                  <a:lnTo>
                    <a:pt x="3042" y="5268"/>
                  </a:lnTo>
                  <a:lnTo>
                    <a:pt x="3044" y="5266"/>
                  </a:lnTo>
                  <a:lnTo>
                    <a:pt x="3046" y="5264"/>
                  </a:lnTo>
                  <a:lnTo>
                    <a:pt x="3044" y="5262"/>
                  </a:lnTo>
                  <a:lnTo>
                    <a:pt x="3042" y="5260"/>
                  </a:lnTo>
                  <a:lnTo>
                    <a:pt x="3040" y="5262"/>
                  </a:lnTo>
                  <a:lnTo>
                    <a:pt x="3040" y="5266"/>
                  </a:lnTo>
                  <a:lnTo>
                    <a:pt x="3040" y="5268"/>
                  </a:lnTo>
                  <a:lnTo>
                    <a:pt x="3042" y="5268"/>
                  </a:lnTo>
                  <a:close/>
                  <a:moveTo>
                    <a:pt x="3038" y="5258"/>
                  </a:moveTo>
                  <a:lnTo>
                    <a:pt x="3038" y="5258"/>
                  </a:lnTo>
                  <a:lnTo>
                    <a:pt x="3040" y="5256"/>
                  </a:lnTo>
                  <a:lnTo>
                    <a:pt x="3040" y="5254"/>
                  </a:lnTo>
                  <a:lnTo>
                    <a:pt x="3038" y="5252"/>
                  </a:lnTo>
                  <a:lnTo>
                    <a:pt x="3034" y="5250"/>
                  </a:lnTo>
                  <a:lnTo>
                    <a:pt x="3032" y="5250"/>
                  </a:lnTo>
                  <a:lnTo>
                    <a:pt x="3032" y="5252"/>
                  </a:lnTo>
                  <a:lnTo>
                    <a:pt x="3032" y="5258"/>
                  </a:lnTo>
                  <a:lnTo>
                    <a:pt x="3030" y="5262"/>
                  </a:lnTo>
                  <a:lnTo>
                    <a:pt x="3032" y="5266"/>
                  </a:lnTo>
                  <a:lnTo>
                    <a:pt x="3032" y="5264"/>
                  </a:lnTo>
                  <a:lnTo>
                    <a:pt x="3034" y="5260"/>
                  </a:lnTo>
                  <a:lnTo>
                    <a:pt x="3038" y="5258"/>
                  </a:lnTo>
                  <a:close/>
                  <a:moveTo>
                    <a:pt x="2740" y="626"/>
                  </a:moveTo>
                  <a:lnTo>
                    <a:pt x="2740" y="626"/>
                  </a:lnTo>
                  <a:lnTo>
                    <a:pt x="2756" y="630"/>
                  </a:lnTo>
                  <a:lnTo>
                    <a:pt x="2768" y="628"/>
                  </a:lnTo>
                  <a:lnTo>
                    <a:pt x="2778" y="624"/>
                  </a:lnTo>
                  <a:lnTo>
                    <a:pt x="2784" y="618"/>
                  </a:lnTo>
                  <a:lnTo>
                    <a:pt x="2786" y="612"/>
                  </a:lnTo>
                  <a:lnTo>
                    <a:pt x="2786" y="608"/>
                  </a:lnTo>
                  <a:lnTo>
                    <a:pt x="2784" y="604"/>
                  </a:lnTo>
                  <a:lnTo>
                    <a:pt x="2782" y="602"/>
                  </a:lnTo>
                  <a:lnTo>
                    <a:pt x="2776" y="600"/>
                  </a:lnTo>
                  <a:lnTo>
                    <a:pt x="2764" y="598"/>
                  </a:lnTo>
                  <a:lnTo>
                    <a:pt x="2748" y="598"/>
                  </a:lnTo>
                  <a:lnTo>
                    <a:pt x="2736" y="598"/>
                  </a:lnTo>
                  <a:lnTo>
                    <a:pt x="2726" y="600"/>
                  </a:lnTo>
                  <a:lnTo>
                    <a:pt x="2720" y="604"/>
                  </a:lnTo>
                  <a:lnTo>
                    <a:pt x="2716" y="608"/>
                  </a:lnTo>
                  <a:lnTo>
                    <a:pt x="2720" y="614"/>
                  </a:lnTo>
                  <a:lnTo>
                    <a:pt x="2726" y="618"/>
                  </a:lnTo>
                  <a:lnTo>
                    <a:pt x="2740" y="626"/>
                  </a:lnTo>
                  <a:close/>
                  <a:moveTo>
                    <a:pt x="162" y="3354"/>
                  </a:moveTo>
                  <a:lnTo>
                    <a:pt x="162" y="3354"/>
                  </a:lnTo>
                  <a:lnTo>
                    <a:pt x="160" y="3358"/>
                  </a:lnTo>
                  <a:lnTo>
                    <a:pt x="162" y="3364"/>
                  </a:lnTo>
                  <a:lnTo>
                    <a:pt x="164" y="3366"/>
                  </a:lnTo>
                  <a:lnTo>
                    <a:pt x="166" y="3368"/>
                  </a:lnTo>
                  <a:lnTo>
                    <a:pt x="168" y="3366"/>
                  </a:lnTo>
                  <a:lnTo>
                    <a:pt x="168" y="3362"/>
                  </a:lnTo>
                  <a:lnTo>
                    <a:pt x="166" y="3356"/>
                  </a:lnTo>
                  <a:lnTo>
                    <a:pt x="164" y="3352"/>
                  </a:lnTo>
                  <a:lnTo>
                    <a:pt x="162" y="3352"/>
                  </a:lnTo>
                  <a:lnTo>
                    <a:pt x="162" y="3354"/>
                  </a:lnTo>
                  <a:close/>
                  <a:moveTo>
                    <a:pt x="3766" y="1952"/>
                  </a:moveTo>
                  <a:lnTo>
                    <a:pt x="3766" y="1952"/>
                  </a:lnTo>
                  <a:lnTo>
                    <a:pt x="3772" y="1954"/>
                  </a:lnTo>
                  <a:lnTo>
                    <a:pt x="3776" y="1954"/>
                  </a:lnTo>
                  <a:lnTo>
                    <a:pt x="3780" y="1950"/>
                  </a:lnTo>
                  <a:lnTo>
                    <a:pt x="3782" y="1944"/>
                  </a:lnTo>
                  <a:lnTo>
                    <a:pt x="3784" y="1940"/>
                  </a:lnTo>
                  <a:lnTo>
                    <a:pt x="3782" y="1934"/>
                  </a:lnTo>
                  <a:lnTo>
                    <a:pt x="3780" y="1930"/>
                  </a:lnTo>
                  <a:lnTo>
                    <a:pt x="3774" y="1928"/>
                  </a:lnTo>
                  <a:lnTo>
                    <a:pt x="3768" y="1928"/>
                  </a:lnTo>
                  <a:lnTo>
                    <a:pt x="3764" y="1930"/>
                  </a:lnTo>
                  <a:lnTo>
                    <a:pt x="3760" y="1932"/>
                  </a:lnTo>
                  <a:lnTo>
                    <a:pt x="3758" y="1936"/>
                  </a:lnTo>
                  <a:lnTo>
                    <a:pt x="3758" y="1938"/>
                  </a:lnTo>
                  <a:lnTo>
                    <a:pt x="3760" y="1944"/>
                  </a:lnTo>
                  <a:lnTo>
                    <a:pt x="3762" y="1948"/>
                  </a:lnTo>
                  <a:lnTo>
                    <a:pt x="3766" y="1952"/>
                  </a:lnTo>
                  <a:close/>
                  <a:moveTo>
                    <a:pt x="3314" y="2942"/>
                  </a:moveTo>
                  <a:lnTo>
                    <a:pt x="3314" y="2942"/>
                  </a:lnTo>
                  <a:lnTo>
                    <a:pt x="3316" y="2940"/>
                  </a:lnTo>
                  <a:lnTo>
                    <a:pt x="3318" y="2936"/>
                  </a:lnTo>
                  <a:lnTo>
                    <a:pt x="3316" y="2932"/>
                  </a:lnTo>
                  <a:lnTo>
                    <a:pt x="3312" y="2930"/>
                  </a:lnTo>
                  <a:lnTo>
                    <a:pt x="3310" y="2930"/>
                  </a:lnTo>
                  <a:lnTo>
                    <a:pt x="3310" y="2932"/>
                  </a:lnTo>
                  <a:lnTo>
                    <a:pt x="3310" y="2936"/>
                  </a:lnTo>
                  <a:lnTo>
                    <a:pt x="3312" y="2940"/>
                  </a:lnTo>
                  <a:lnTo>
                    <a:pt x="3314" y="2942"/>
                  </a:lnTo>
                  <a:close/>
                  <a:moveTo>
                    <a:pt x="3310" y="2998"/>
                  </a:moveTo>
                  <a:lnTo>
                    <a:pt x="3310" y="2998"/>
                  </a:lnTo>
                  <a:lnTo>
                    <a:pt x="3308" y="2998"/>
                  </a:lnTo>
                  <a:lnTo>
                    <a:pt x="3308" y="3002"/>
                  </a:lnTo>
                  <a:lnTo>
                    <a:pt x="3310" y="3004"/>
                  </a:lnTo>
                  <a:lnTo>
                    <a:pt x="3312" y="3006"/>
                  </a:lnTo>
                  <a:lnTo>
                    <a:pt x="3314" y="3006"/>
                  </a:lnTo>
                  <a:lnTo>
                    <a:pt x="3314" y="3002"/>
                  </a:lnTo>
                  <a:lnTo>
                    <a:pt x="3312" y="2998"/>
                  </a:lnTo>
                  <a:lnTo>
                    <a:pt x="3310" y="2998"/>
                  </a:lnTo>
                  <a:close/>
                  <a:moveTo>
                    <a:pt x="468" y="3506"/>
                  </a:moveTo>
                  <a:lnTo>
                    <a:pt x="468" y="3506"/>
                  </a:lnTo>
                  <a:lnTo>
                    <a:pt x="468" y="3508"/>
                  </a:lnTo>
                  <a:lnTo>
                    <a:pt x="466" y="3510"/>
                  </a:lnTo>
                  <a:lnTo>
                    <a:pt x="458" y="3514"/>
                  </a:lnTo>
                  <a:lnTo>
                    <a:pt x="452" y="3518"/>
                  </a:lnTo>
                  <a:lnTo>
                    <a:pt x="450" y="3520"/>
                  </a:lnTo>
                  <a:lnTo>
                    <a:pt x="450" y="3522"/>
                  </a:lnTo>
                  <a:lnTo>
                    <a:pt x="452" y="3524"/>
                  </a:lnTo>
                  <a:lnTo>
                    <a:pt x="456" y="3524"/>
                  </a:lnTo>
                  <a:lnTo>
                    <a:pt x="464" y="3520"/>
                  </a:lnTo>
                  <a:lnTo>
                    <a:pt x="476" y="3514"/>
                  </a:lnTo>
                  <a:lnTo>
                    <a:pt x="484" y="3504"/>
                  </a:lnTo>
                  <a:lnTo>
                    <a:pt x="486" y="3502"/>
                  </a:lnTo>
                  <a:lnTo>
                    <a:pt x="486" y="3500"/>
                  </a:lnTo>
                  <a:lnTo>
                    <a:pt x="480" y="3502"/>
                  </a:lnTo>
                  <a:lnTo>
                    <a:pt x="468" y="3506"/>
                  </a:lnTo>
                  <a:close/>
                  <a:moveTo>
                    <a:pt x="1966" y="4176"/>
                  </a:moveTo>
                  <a:lnTo>
                    <a:pt x="1966" y="4176"/>
                  </a:lnTo>
                  <a:lnTo>
                    <a:pt x="1964" y="4176"/>
                  </a:lnTo>
                  <a:lnTo>
                    <a:pt x="1960" y="4184"/>
                  </a:lnTo>
                  <a:lnTo>
                    <a:pt x="1958" y="4200"/>
                  </a:lnTo>
                  <a:lnTo>
                    <a:pt x="1956" y="4222"/>
                  </a:lnTo>
                  <a:lnTo>
                    <a:pt x="1954" y="4242"/>
                  </a:lnTo>
                  <a:lnTo>
                    <a:pt x="1952" y="4252"/>
                  </a:lnTo>
                  <a:lnTo>
                    <a:pt x="1950" y="4260"/>
                  </a:lnTo>
                  <a:lnTo>
                    <a:pt x="1952" y="4272"/>
                  </a:lnTo>
                  <a:lnTo>
                    <a:pt x="1954" y="4278"/>
                  </a:lnTo>
                  <a:lnTo>
                    <a:pt x="1956" y="4280"/>
                  </a:lnTo>
                  <a:lnTo>
                    <a:pt x="1958" y="4274"/>
                  </a:lnTo>
                  <a:lnTo>
                    <a:pt x="1962" y="4248"/>
                  </a:lnTo>
                  <a:lnTo>
                    <a:pt x="1962" y="4240"/>
                  </a:lnTo>
                  <a:lnTo>
                    <a:pt x="1962" y="4236"/>
                  </a:lnTo>
                  <a:lnTo>
                    <a:pt x="1962" y="4234"/>
                  </a:lnTo>
                  <a:lnTo>
                    <a:pt x="1964" y="4232"/>
                  </a:lnTo>
                  <a:lnTo>
                    <a:pt x="1966" y="4228"/>
                  </a:lnTo>
                  <a:lnTo>
                    <a:pt x="1966" y="4226"/>
                  </a:lnTo>
                  <a:lnTo>
                    <a:pt x="1964" y="4218"/>
                  </a:lnTo>
                  <a:lnTo>
                    <a:pt x="1964" y="4210"/>
                  </a:lnTo>
                  <a:lnTo>
                    <a:pt x="1964" y="4206"/>
                  </a:lnTo>
                  <a:lnTo>
                    <a:pt x="1964" y="4204"/>
                  </a:lnTo>
                  <a:lnTo>
                    <a:pt x="1968" y="4200"/>
                  </a:lnTo>
                  <a:lnTo>
                    <a:pt x="1970" y="4192"/>
                  </a:lnTo>
                  <a:lnTo>
                    <a:pt x="1970" y="4182"/>
                  </a:lnTo>
                  <a:lnTo>
                    <a:pt x="1966" y="4176"/>
                  </a:lnTo>
                  <a:close/>
                  <a:moveTo>
                    <a:pt x="1508" y="4454"/>
                  </a:moveTo>
                  <a:lnTo>
                    <a:pt x="1508" y="4454"/>
                  </a:lnTo>
                  <a:lnTo>
                    <a:pt x="1504" y="4444"/>
                  </a:lnTo>
                  <a:lnTo>
                    <a:pt x="1498" y="4430"/>
                  </a:lnTo>
                  <a:lnTo>
                    <a:pt x="1492" y="4416"/>
                  </a:lnTo>
                  <a:lnTo>
                    <a:pt x="1484" y="4404"/>
                  </a:lnTo>
                  <a:lnTo>
                    <a:pt x="1478" y="4396"/>
                  </a:lnTo>
                  <a:lnTo>
                    <a:pt x="1474" y="4388"/>
                  </a:lnTo>
                  <a:lnTo>
                    <a:pt x="1472" y="4380"/>
                  </a:lnTo>
                  <a:lnTo>
                    <a:pt x="1464" y="4372"/>
                  </a:lnTo>
                  <a:lnTo>
                    <a:pt x="1456" y="4364"/>
                  </a:lnTo>
                  <a:lnTo>
                    <a:pt x="1448" y="4360"/>
                  </a:lnTo>
                  <a:lnTo>
                    <a:pt x="1442" y="4360"/>
                  </a:lnTo>
                  <a:lnTo>
                    <a:pt x="1438" y="4362"/>
                  </a:lnTo>
                  <a:lnTo>
                    <a:pt x="1438" y="4364"/>
                  </a:lnTo>
                  <a:lnTo>
                    <a:pt x="1440" y="4368"/>
                  </a:lnTo>
                  <a:lnTo>
                    <a:pt x="1444" y="4372"/>
                  </a:lnTo>
                  <a:lnTo>
                    <a:pt x="1446" y="4382"/>
                  </a:lnTo>
                  <a:lnTo>
                    <a:pt x="1446" y="4392"/>
                  </a:lnTo>
                  <a:lnTo>
                    <a:pt x="1444" y="4398"/>
                  </a:lnTo>
                  <a:lnTo>
                    <a:pt x="1440" y="4404"/>
                  </a:lnTo>
                  <a:lnTo>
                    <a:pt x="1440" y="4410"/>
                  </a:lnTo>
                  <a:lnTo>
                    <a:pt x="1440" y="4420"/>
                  </a:lnTo>
                  <a:lnTo>
                    <a:pt x="1438" y="4430"/>
                  </a:lnTo>
                  <a:lnTo>
                    <a:pt x="1436" y="4438"/>
                  </a:lnTo>
                  <a:lnTo>
                    <a:pt x="1436" y="4436"/>
                  </a:lnTo>
                  <a:lnTo>
                    <a:pt x="1434" y="4432"/>
                  </a:lnTo>
                  <a:lnTo>
                    <a:pt x="1432" y="4432"/>
                  </a:lnTo>
                  <a:lnTo>
                    <a:pt x="1430" y="4440"/>
                  </a:lnTo>
                  <a:lnTo>
                    <a:pt x="1432" y="4456"/>
                  </a:lnTo>
                  <a:lnTo>
                    <a:pt x="1434" y="4476"/>
                  </a:lnTo>
                  <a:lnTo>
                    <a:pt x="1434" y="4500"/>
                  </a:lnTo>
                  <a:lnTo>
                    <a:pt x="1436" y="4512"/>
                  </a:lnTo>
                  <a:lnTo>
                    <a:pt x="1438" y="4524"/>
                  </a:lnTo>
                  <a:lnTo>
                    <a:pt x="1442" y="4534"/>
                  </a:lnTo>
                  <a:lnTo>
                    <a:pt x="1450" y="4544"/>
                  </a:lnTo>
                  <a:lnTo>
                    <a:pt x="1458" y="4548"/>
                  </a:lnTo>
                  <a:lnTo>
                    <a:pt x="1464" y="4550"/>
                  </a:lnTo>
                  <a:lnTo>
                    <a:pt x="1470" y="4550"/>
                  </a:lnTo>
                  <a:lnTo>
                    <a:pt x="1476" y="4548"/>
                  </a:lnTo>
                  <a:lnTo>
                    <a:pt x="1488" y="4540"/>
                  </a:lnTo>
                  <a:lnTo>
                    <a:pt x="1502" y="4532"/>
                  </a:lnTo>
                  <a:lnTo>
                    <a:pt x="1508" y="4526"/>
                  </a:lnTo>
                  <a:lnTo>
                    <a:pt x="1512" y="4520"/>
                  </a:lnTo>
                  <a:lnTo>
                    <a:pt x="1516" y="4510"/>
                  </a:lnTo>
                  <a:lnTo>
                    <a:pt x="1518" y="4502"/>
                  </a:lnTo>
                  <a:lnTo>
                    <a:pt x="1518" y="4484"/>
                  </a:lnTo>
                  <a:lnTo>
                    <a:pt x="1516" y="4476"/>
                  </a:lnTo>
                  <a:lnTo>
                    <a:pt x="1514" y="4472"/>
                  </a:lnTo>
                  <a:lnTo>
                    <a:pt x="1512" y="4466"/>
                  </a:lnTo>
                  <a:lnTo>
                    <a:pt x="1512" y="4462"/>
                  </a:lnTo>
                  <a:lnTo>
                    <a:pt x="1510" y="4458"/>
                  </a:lnTo>
                  <a:lnTo>
                    <a:pt x="1508" y="4454"/>
                  </a:lnTo>
                  <a:close/>
                  <a:moveTo>
                    <a:pt x="1946" y="4308"/>
                  </a:moveTo>
                  <a:lnTo>
                    <a:pt x="1946" y="4308"/>
                  </a:lnTo>
                  <a:lnTo>
                    <a:pt x="1942" y="4310"/>
                  </a:lnTo>
                  <a:lnTo>
                    <a:pt x="1940" y="4316"/>
                  </a:lnTo>
                  <a:lnTo>
                    <a:pt x="1940" y="4322"/>
                  </a:lnTo>
                  <a:lnTo>
                    <a:pt x="1942" y="4328"/>
                  </a:lnTo>
                  <a:lnTo>
                    <a:pt x="1944" y="4328"/>
                  </a:lnTo>
                  <a:lnTo>
                    <a:pt x="1946" y="4326"/>
                  </a:lnTo>
                  <a:lnTo>
                    <a:pt x="1948" y="4320"/>
                  </a:lnTo>
                  <a:lnTo>
                    <a:pt x="1950" y="4312"/>
                  </a:lnTo>
                  <a:lnTo>
                    <a:pt x="1948" y="4310"/>
                  </a:lnTo>
                  <a:lnTo>
                    <a:pt x="1946" y="4308"/>
                  </a:lnTo>
                  <a:close/>
                  <a:moveTo>
                    <a:pt x="1996" y="4488"/>
                  </a:moveTo>
                  <a:lnTo>
                    <a:pt x="1996" y="4488"/>
                  </a:lnTo>
                  <a:lnTo>
                    <a:pt x="1994" y="4492"/>
                  </a:lnTo>
                  <a:lnTo>
                    <a:pt x="1994" y="4496"/>
                  </a:lnTo>
                  <a:lnTo>
                    <a:pt x="1994" y="4504"/>
                  </a:lnTo>
                  <a:lnTo>
                    <a:pt x="1998" y="4508"/>
                  </a:lnTo>
                  <a:lnTo>
                    <a:pt x="2000" y="4510"/>
                  </a:lnTo>
                  <a:lnTo>
                    <a:pt x="2002" y="4508"/>
                  </a:lnTo>
                  <a:lnTo>
                    <a:pt x="2004" y="4506"/>
                  </a:lnTo>
                  <a:lnTo>
                    <a:pt x="2004" y="4502"/>
                  </a:lnTo>
                  <a:lnTo>
                    <a:pt x="2004" y="4494"/>
                  </a:lnTo>
                  <a:lnTo>
                    <a:pt x="2000" y="4488"/>
                  </a:lnTo>
                  <a:lnTo>
                    <a:pt x="1998" y="4488"/>
                  </a:lnTo>
                  <a:lnTo>
                    <a:pt x="1996" y="4488"/>
                  </a:lnTo>
                  <a:close/>
                  <a:moveTo>
                    <a:pt x="1980" y="4454"/>
                  </a:moveTo>
                  <a:lnTo>
                    <a:pt x="1980" y="4454"/>
                  </a:lnTo>
                  <a:lnTo>
                    <a:pt x="1982" y="4454"/>
                  </a:lnTo>
                  <a:lnTo>
                    <a:pt x="1984" y="4454"/>
                  </a:lnTo>
                  <a:lnTo>
                    <a:pt x="1982" y="4448"/>
                  </a:lnTo>
                  <a:lnTo>
                    <a:pt x="1980" y="4448"/>
                  </a:lnTo>
                  <a:lnTo>
                    <a:pt x="1978" y="4448"/>
                  </a:lnTo>
                  <a:lnTo>
                    <a:pt x="1978" y="4450"/>
                  </a:lnTo>
                  <a:lnTo>
                    <a:pt x="1980" y="4454"/>
                  </a:lnTo>
                  <a:close/>
                  <a:moveTo>
                    <a:pt x="1954" y="4386"/>
                  </a:moveTo>
                  <a:lnTo>
                    <a:pt x="1954" y="4386"/>
                  </a:lnTo>
                  <a:lnTo>
                    <a:pt x="1952" y="4390"/>
                  </a:lnTo>
                  <a:lnTo>
                    <a:pt x="1952" y="4394"/>
                  </a:lnTo>
                  <a:lnTo>
                    <a:pt x="1954" y="4396"/>
                  </a:lnTo>
                  <a:lnTo>
                    <a:pt x="1958" y="4396"/>
                  </a:lnTo>
                  <a:lnTo>
                    <a:pt x="1960" y="4394"/>
                  </a:lnTo>
                  <a:lnTo>
                    <a:pt x="1958" y="4390"/>
                  </a:lnTo>
                  <a:lnTo>
                    <a:pt x="1958" y="4386"/>
                  </a:lnTo>
                  <a:lnTo>
                    <a:pt x="1956" y="4386"/>
                  </a:lnTo>
                  <a:lnTo>
                    <a:pt x="1954" y="4386"/>
                  </a:lnTo>
                  <a:close/>
                  <a:moveTo>
                    <a:pt x="2078" y="4702"/>
                  </a:moveTo>
                  <a:lnTo>
                    <a:pt x="2078" y="4702"/>
                  </a:lnTo>
                  <a:lnTo>
                    <a:pt x="2078" y="4706"/>
                  </a:lnTo>
                  <a:lnTo>
                    <a:pt x="2080" y="4710"/>
                  </a:lnTo>
                  <a:lnTo>
                    <a:pt x="2084" y="4714"/>
                  </a:lnTo>
                  <a:lnTo>
                    <a:pt x="2090" y="4720"/>
                  </a:lnTo>
                  <a:lnTo>
                    <a:pt x="2102" y="4728"/>
                  </a:lnTo>
                  <a:lnTo>
                    <a:pt x="2106" y="4730"/>
                  </a:lnTo>
                  <a:lnTo>
                    <a:pt x="2106" y="4726"/>
                  </a:lnTo>
                  <a:lnTo>
                    <a:pt x="2102" y="4716"/>
                  </a:lnTo>
                  <a:lnTo>
                    <a:pt x="2094" y="4706"/>
                  </a:lnTo>
                  <a:lnTo>
                    <a:pt x="2084" y="4700"/>
                  </a:lnTo>
                  <a:lnTo>
                    <a:pt x="2080" y="4700"/>
                  </a:lnTo>
                  <a:lnTo>
                    <a:pt x="2078" y="4702"/>
                  </a:lnTo>
                  <a:close/>
                  <a:moveTo>
                    <a:pt x="2508" y="4960"/>
                  </a:moveTo>
                  <a:lnTo>
                    <a:pt x="2508" y="4960"/>
                  </a:lnTo>
                  <a:lnTo>
                    <a:pt x="2502" y="4956"/>
                  </a:lnTo>
                  <a:lnTo>
                    <a:pt x="2500" y="4950"/>
                  </a:lnTo>
                  <a:lnTo>
                    <a:pt x="2496" y="4932"/>
                  </a:lnTo>
                  <a:lnTo>
                    <a:pt x="2494" y="4924"/>
                  </a:lnTo>
                  <a:lnTo>
                    <a:pt x="2490" y="4918"/>
                  </a:lnTo>
                  <a:lnTo>
                    <a:pt x="2484" y="4914"/>
                  </a:lnTo>
                  <a:lnTo>
                    <a:pt x="2476" y="4912"/>
                  </a:lnTo>
                  <a:lnTo>
                    <a:pt x="2466" y="4916"/>
                  </a:lnTo>
                  <a:lnTo>
                    <a:pt x="2464" y="4920"/>
                  </a:lnTo>
                  <a:lnTo>
                    <a:pt x="2464" y="4926"/>
                  </a:lnTo>
                  <a:lnTo>
                    <a:pt x="2462" y="4928"/>
                  </a:lnTo>
                  <a:lnTo>
                    <a:pt x="2460" y="4932"/>
                  </a:lnTo>
                  <a:lnTo>
                    <a:pt x="2456" y="4936"/>
                  </a:lnTo>
                  <a:lnTo>
                    <a:pt x="2454" y="4938"/>
                  </a:lnTo>
                  <a:lnTo>
                    <a:pt x="2454" y="4940"/>
                  </a:lnTo>
                  <a:lnTo>
                    <a:pt x="2456" y="4942"/>
                  </a:lnTo>
                  <a:lnTo>
                    <a:pt x="2464" y="4944"/>
                  </a:lnTo>
                  <a:lnTo>
                    <a:pt x="2474" y="4942"/>
                  </a:lnTo>
                  <a:lnTo>
                    <a:pt x="2478" y="4944"/>
                  </a:lnTo>
                  <a:lnTo>
                    <a:pt x="2480" y="4948"/>
                  </a:lnTo>
                  <a:lnTo>
                    <a:pt x="2484" y="4958"/>
                  </a:lnTo>
                  <a:lnTo>
                    <a:pt x="2488" y="4972"/>
                  </a:lnTo>
                  <a:lnTo>
                    <a:pt x="2490" y="4976"/>
                  </a:lnTo>
                  <a:lnTo>
                    <a:pt x="2494" y="4978"/>
                  </a:lnTo>
                  <a:lnTo>
                    <a:pt x="2502" y="4984"/>
                  </a:lnTo>
                  <a:lnTo>
                    <a:pt x="2508" y="4988"/>
                  </a:lnTo>
                  <a:lnTo>
                    <a:pt x="2512" y="4990"/>
                  </a:lnTo>
                  <a:lnTo>
                    <a:pt x="2516" y="4990"/>
                  </a:lnTo>
                  <a:lnTo>
                    <a:pt x="2518" y="4990"/>
                  </a:lnTo>
                  <a:lnTo>
                    <a:pt x="2520" y="4988"/>
                  </a:lnTo>
                  <a:lnTo>
                    <a:pt x="2518" y="4984"/>
                  </a:lnTo>
                  <a:lnTo>
                    <a:pt x="2516" y="4978"/>
                  </a:lnTo>
                  <a:lnTo>
                    <a:pt x="2514" y="4976"/>
                  </a:lnTo>
                  <a:lnTo>
                    <a:pt x="2516" y="4974"/>
                  </a:lnTo>
                  <a:lnTo>
                    <a:pt x="2518" y="4970"/>
                  </a:lnTo>
                  <a:lnTo>
                    <a:pt x="2518" y="4966"/>
                  </a:lnTo>
                  <a:lnTo>
                    <a:pt x="2514" y="4964"/>
                  </a:lnTo>
                  <a:lnTo>
                    <a:pt x="2508" y="4960"/>
                  </a:lnTo>
                  <a:close/>
                  <a:moveTo>
                    <a:pt x="2428" y="4870"/>
                  </a:moveTo>
                  <a:lnTo>
                    <a:pt x="2428" y="4870"/>
                  </a:lnTo>
                  <a:lnTo>
                    <a:pt x="2432" y="4868"/>
                  </a:lnTo>
                  <a:lnTo>
                    <a:pt x="2434" y="4862"/>
                  </a:lnTo>
                  <a:lnTo>
                    <a:pt x="2434" y="4858"/>
                  </a:lnTo>
                  <a:lnTo>
                    <a:pt x="2432" y="4856"/>
                  </a:lnTo>
                  <a:lnTo>
                    <a:pt x="2430" y="4856"/>
                  </a:lnTo>
                  <a:lnTo>
                    <a:pt x="2426" y="4858"/>
                  </a:lnTo>
                  <a:lnTo>
                    <a:pt x="2424" y="4860"/>
                  </a:lnTo>
                  <a:lnTo>
                    <a:pt x="2420" y="4866"/>
                  </a:lnTo>
                  <a:lnTo>
                    <a:pt x="2420" y="4868"/>
                  </a:lnTo>
                  <a:lnTo>
                    <a:pt x="2420" y="4872"/>
                  </a:lnTo>
                  <a:lnTo>
                    <a:pt x="2424" y="4872"/>
                  </a:lnTo>
                  <a:lnTo>
                    <a:pt x="2428" y="4870"/>
                  </a:lnTo>
                  <a:close/>
                  <a:moveTo>
                    <a:pt x="2450" y="4852"/>
                  </a:moveTo>
                  <a:lnTo>
                    <a:pt x="2450" y="4852"/>
                  </a:lnTo>
                  <a:lnTo>
                    <a:pt x="2444" y="4848"/>
                  </a:lnTo>
                  <a:lnTo>
                    <a:pt x="2434" y="4840"/>
                  </a:lnTo>
                  <a:lnTo>
                    <a:pt x="2430" y="4836"/>
                  </a:lnTo>
                  <a:lnTo>
                    <a:pt x="2428" y="4838"/>
                  </a:lnTo>
                  <a:lnTo>
                    <a:pt x="2428" y="4846"/>
                  </a:lnTo>
                  <a:lnTo>
                    <a:pt x="2430" y="4848"/>
                  </a:lnTo>
                  <a:lnTo>
                    <a:pt x="2432" y="4850"/>
                  </a:lnTo>
                  <a:lnTo>
                    <a:pt x="2438" y="4854"/>
                  </a:lnTo>
                  <a:lnTo>
                    <a:pt x="2446" y="4854"/>
                  </a:lnTo>
                  <a:lnTo>
                    <a:pt x="2450" y="4852"/>
                  </a:lnTo>
                  <a:close/>
                  <a:moveTo>
                    <a:pt x="2378" y="4806"/>
                  </a:moveTo>
                  <a:lnTo>
                    <a:pt x="2378" y="4806"/>
                  </a:lnTo>
                  <a:lnTo>
                    <a:pt x="2376" y="4806"/>
                  </a:lnTo>
                  <a:lnTo>
                    <a:pt x="2376" y="4810"/>
                  </a:lnTo>
                  <a:lnTo>
                    <a:pt x="2376" y="4812"/>
                  </a:lnTo>
                  <a:lnTo>
                    <a:pt x="2378" y="4814"/>
                  </a:lnTo>
                  <a:lnTo>
                    <a:pt x="2382" y="4814"/>
                  </a:lnTo>
                  <a:lnTo>
                    <a:pt x="2382" y="4810"/>
                  </a:lnTo>
                  <a:lnTo>
                    <a:pt x="2380" y="4806"/>
                  </a:lnTo>
                  <a:lnTo>
                    <a:pt x="2378" y="4806"/>
                  </a:lnTo>
                  <a:close/>
                  <a:moveTo>
                    <a:pt x="2422" y="4774"/>
                  </a:moveTo>
                  <a:lnTo>
                    <a:pt x="2422" y="4774"/>
                  </a:lnTo>
                  <a:lnTo>
                    <a:pt x="2414" y="4778"/>
                  </a:lnTo>
                  <a:lnTo>
                    <a:pt x="2412" y="4782"/>
                  </a:lnTo>
                  <a:lnTo>
                    <a:pt x="2410" y="4784"/>
                  </a:lnTo>
                  <a:lnTo>
                    <a:pt x="2406" y="4788"/>
                  </a:lnTo>
                  <a:lnTo>
                    <a:pt x="2406" y="4790"/>
                  </a:lnTo>
                  <a:lnTo>
                    <a:pt x="2410" y="4792"/>
                  </a:lnTo>
                  <a:lnTo>
                    <a:pt x="2414" y="4790"/>
                  </a:lnTo>
                  <a:lnTo>
                    <a:pt x="2420" y="4796"/>
                  </a:lnTo>
                  <a:lnTo>
                    <a:pt x="2416" y="4796"/>
                  </a:lnTo>
                  <a:lnTo>
                    <a:pt x="2414" y="4796"/>
                  </a:lnTo>
                  <a:lnTo>
                    <a:pt x="2414" y="4798"/>
                  </a:lnTo>
                  <a:lnTo>
                    <a:pt x="2414" y="4800"/>
                  </a:lnTo>
                  <a:lnTo>
                    <a:pt x="2418" y="4804"/>
                  </a:lnTo>
                  <a:lnTo>
                    <a:pt x="2420" y="4804"/>
                  </a:lnTo>
                  <a:lnTo>
                    <a:pt x="2422" y="4802"/>
                  </a:lnTo>
                  <a:lnTo>
                    <a:pt x="2420" y="4798"/>
                  </a:lnTo>
                  <a:lnTo>
                    <a:pt x="2432" y="4808"/>
                  </a:lnTo>
                  <a:lnTo>
                    <a:pt x="2436" y="4808"/>
                  </a:lnTo>
                  <a:lnTo>
                    <a:pt x="2438" y="4804"/>
                  </a:lnTo>
                  <a:lnTo>
                    <a:pt x="2438" y="4798"/>
                  </a:lnTo>
                  <a:lnTo>
                    <a:pt x="2438" y="4790"/>
                  </a:lnTo>
                  <a:lnTo>
                    <a:pt x="2436" y="4782"/>
                  </a:lnTo>
                  <a:lnTo>
                    <a:pt x="2434" y="4776"/>
                  </a:lnTo>
                  <a:lnTo>
                    <a:pt x="2428" y="4774"/>
                  </a:lnTo>
                  <a:lnTo>
                    <a:pt x="2422" y="4774"/>
                  </a:lnTo>
                  <a:close/>
                  <a:moveTo>
                    <a:pt x="2384" y="4796"/>
                  </a:moveTo>
                  <a:lnTo>
                    <a:pt x="2384" y="4796"/>
                  </a:lnTo>
                  <a:lnTo>
                    <a:pt x="2384" y="4798"/>
                  </a:lnTo>
                  <a:lnTo>
                    <a:pt x="2384" y="4802"/>
                  </a:lnTo>
                  <a:lnTo>
                    <a:pt x="2386" y="4806"/>
                  </a:lnTo>
                  <a:lnTo>
                    <a:pt x="2390" y="4806"/>
                  </a:lnTo>
                  <a:lnTo>
                    <a:pt x="2392" y="4806"/>
                  </a:lnTo>
                  <a:lnTo>
                    <a:pt x="2390" y="4802"/>
                  </a:lnTo>
                  <a:lnTo>
                    <a:pt x="2388" y="4798"/>
                  </a:lnTo>
                  <a:lnTo>
                    <a:pt x="2384" y="4796"/>
                  </a:lnTo>
                  <a:close/>
                  <a:moveTo>
                    <a:pt x="2578" y="4662"/>
                  </a:moveTo>
                  <a:lnTo>
                    <a:pt x="2578" y="4662"/>
                  </a:lnTo>
                  <a:lnTo>
                    <a:pt x="2580" y="4662"/>
                  </a:lnTo>
                  <a:lnTo>
                    <a:pt x="2584" y="4660"/>
                  </a:lnTo>
                  <a:lnTo>
                    <a:pt x="2584" y="4650"/>
                  </a:lnTo>
                  <a:lnTo>
                    <a:pt x="2584" y="4640"/>
                  </a:lnTo>
                  <a:lnTo>
                    <a:pt x="2582" y="4634"/>
                  </a:lnTo>
                  <a:lnTo>
                    <a:pt x="2578" y="4634"/>
                  </a:lnTo>
                  <a:lnTo>
                    <a:pt x="2574" y="4640"/>
                  </a:lnTo>
                  <a:lnTo>
                    <a:pt x="2570" y="4646"/>
                  </a:lnTo>
                  <a:lnTo>
                    <a:pt x="2572" y="4650"/>
                  </a:lnTo>
                  <a:lnTo>
                    <a:pt x="2574" y="4652"/>
                  </a:lnTo>
                  <a:lnTo>
                    <a:pt x="2578" y="4656"/>
                  </a:lnTo>
                  <a:lnTo>
                    <a:pt x="2576" y="4658"/>
                  </a:lnTo>
                  <a:lnTo>
                    <a:pt x="2574" y="4660"/>
                  </a:lnTo>
                  <a:lnTo>
                    <a:pt x="2578" y="4662"/>
                  </a:lnTo>
                  <a:close/>
                  <a:moveTo>
                    <a:pt x="2136" y="4766"/>
                  </a:moveTo>
                  <a:lnTo>
                    <a:pt x="2136" y="4766"/>
                  </a:lnTo>
                  <a:lnTo>
                    <a:pt x="2134" y="4768"/>
                  </a:lnTo>
                  <a:lnTo>
                    <a:pt x="2134" y="4772"/>
                  </a:lnTo>
                  <a:lnTo>
                    <a:pt x="2138" y="4782"/>
                  </a:lnTo>
                  <a:lnTo>
                    <a:pt x="2154" y="4806"/>
                  </a:lnTo>
                  <a:lnTo>
                    <a:pt x="2158" y="4812"/>
                  </a:lnTo>
                  <a:lnTo>
                    <a:pt x="2162" y="4812"/>
                  </a:lnTo>
                  <a:lnTo>
                    <a:pt x="2164" y="4810"/>
                  </a:lnTo>
                  <a:lnTo>
                    <a:pt x="2166" y="4806"/>
                  </a:lnTo>
                  <a:lnTo>
                    <a:pt x="2166" y="4794"/>
                  </a:lnTo>
                  <a:lnTo>
                    <a:pt x="2164" y="4790"/>
                  </a:lnTo>
                  <a:lnTo>
                    <a:pt x="2160" y="4786"/>
                  </a:lnTo>
                  <a:lnTo>
                    <a:pt x="2154" y="4780"/>
                  </a:lnTo>
                  <a:lnTo>
                    <a:pt x="2150" y="4772"/>
                  </a:lnTo>
                  <a:lnTo>
                    <a:pt x="2144" y="4768"/>
                  </a:lnTo>
                  <a:lnTo>
                    <a:pt x="2140" y="4766"/>
                  </a:lnTo>
                  <a:lnTo>
                    <a:pt x="2136" y="4766"/>
                  </a:lnTo>
                  <a:close/>
                  <a:moveTo>
                    <a:pt x="2832" y="5258"/>
                  </a:moveTo>
                  <a:lnTo>
                    <a:pt x="2832" y="5258"/>
                  </a:lnTo>
                  <a:lnTo>
                    <a:pt x="2828" y="5254"/>
                  </a:lnTo>
                  <a:lnTo>
                    <a:pt x="2828" y="5248"/>
                  </a:lnTo>
                  <a:lnTo>
                    <a:pt x="2832" y="5234"/>
                  </a:lnTo>
                  <a:lnTo>
                    <a:pt x="2832" y="5226"/>
                  </a:lnTo>
                  <a:lnTo>
                    <a:pt x="2832" y="5220"/>
                  </a:lnTo>
                  <a:lnTo>
                    <a:pt x="2828" y="5214"/>
                  </a:lnTo>
                  <a:lnTo>
                    <a:pt x="2820" y="5212"/>
                  </a:lnTo>
                  <a:lnTo>
                    <a:pt x="2808" y="5212"/>
                  </a:lnTo>
                  <a:lnTo>
                    <a:pt x="2798" y="5214"/>
                  </a:lnTo>
                  <a:lnTo>
                    <a:pt x="2786" y="5216"/>
                  </a:lnTo>
                  <a:lnTo>
                    <a:pt x="2780" y="5216"/>
                  </a:lnTo>
                  <a:lnTo>
                    <a:pt x="2772" y="5212"/>
                  </a:lnTo>
                  <a:lnTo>
                    <a:pt x="2762" y="5208"/>
                  </a:lnTo>
                  <a:lnTo>
                    <a:pt x="2762" y="5206"/>
                  </a:lnTo>
                  <a:lnTo>
                    <a:pt x="2762" y="5204"/>
                  </a:lnTo>
                  <a:lnTo>
                    <a:pt x="2762" y="5196"/>
                  </a:lnTo>
                  <a:lnTo>
                    <a:pt x="2762" y="5190"/>
                  </a:lnTo>
                  <a:lnTo>
                    <a:pt x="2758" y="5184"/>
                  </a:lnTo>
                  <a:lnTo>
                    <a:pt x="2754" y="5178"/>
                  </a:lnTo>
                  <a:lnTo>
                    <a:pt x="2752" y="5174"/>
                  </a:lnTo>
                  <a:lnTo>
                    <a:pt x="2748" y="5174"/>
                  </a:lnTo>
                  <a:lnTo>
                    <a:pt x="2746" y="5176"/>
                  </a:lnTo>
                  <a:lnTo>
                    <a:pt x="2740" y="5178"/>
                  </a:lnTo>
                  <a:lnTo>
                    <a:pt x="2738" y="5178"/>
                  </a:lnTo>
                  <a:lnTo>
                    <a:pt x="2734" y="5174"/>
                  </a:lnTo>
                  <a:lnTo>
                    <a:pt x="2730" y="5168"/>
                  </a:lnTo>
                  <a:lnTo>
                    <a:pt x="2728" y="5170"/>
                  </a:lnTo>
                  <a:lnTo>
                    <a:pt x="2726" y="5170"/>
                  </a:lnTo>
                  <a:lnTo>
                    <a:pt x="2720" y="5166"/>
                  </a:lnTo>
                  <a:lnTo>
                    <a:pt x="2718" y="5164"/>
                  </a:lnTo>
                  <a:lnTo>
                    <a:pt x="2714" y="5162"/>
                  </a:lnTo>
                  <a:lnTo>
                    <a:pt x="2708" y="5164"/>
                  </a:lnTo>
                  <a:lnTo>
                    <a:pt x="2704" y="5166"/>
                  </a:lnTo>
                  <a:lnTo>
                    <a:pt x="2700" y="5166"/>
                  </a:lnTo>
                  <a:lnTo>
                    <a:pt x="2698" y="5162"/>
                  </a:lnTo>
                  <a:lnTo>
                    <a:pt x="2694" y="5154"/>
                  </a:lnTo>
                  <a:lnTo>
                    <a:pt x="2692" y="5150"/>
                  </a:lnTo>
                  <a:lnTo>
                    <a:pt x="2688" y="5148"/>
                  </a:lnTo>
                  <a:lnTo>
                    <a:pt x="2686" y="5150"/>
                  </a:lnTo>
                  <a:lnTo>
                    <a:pt x="2682" y="5152"/>
                  </a:lnTo>
                  <a:lnTo>
                    <a:pt x="2680" y="5156"/>
                  </a:lnTo>
                  <a:lnTo>
                    <a:pt x="2676" y="5166"/>
                  </a:lnTo>
                  <a:lnTo>
                    <a:pt x="2670" y="5178"/>
                  </a:lnTo>
                  <a:lnTo>
                    <a:pt x="2668" y="5180"/>
                  </a:lnTo>
                  <a:lnTo>
                    <a:pt x="2666" y="5180"/>
                  </a:lnTo>
                  <a:lnTo>
                    <a:pt x="2660" y="5176"/>
                  </a:lnTo>
                  <a:lnTo>
                    <a:pt x="2654" y="5174"/>
                  </a:lnTo>
                  <a:lnTo>
                    <a:pt x="2646" y="5172"/>
                  </a:lnTo>
                  <a:lnTo>
                    <a:pt x="2634" y="5174"/>
                  </a:lnTo>
                  <a:lnTo>
                    <a:pt x="2630" y="5174"/>
                  </a:lnTo>
                  <a:lnTo>
                    <a:pt x="2626" y="5176"/>
                  </a:lnTo>
                  <a:lnTo>
                    <a:pt x="2620" y="5174"/>
                  </a:lnTo>
                  <a:lnTo>
                    <a:pt x="2612" y="5172"/>
                  </a:lnTo>
                  <a:lnTo>
                    <a:pt x="2604" y="5172"/>
                  </a:lnTo>
                  <a:lnTo>
                    <a:pt x="2600" y="5170"/>
                  </a:lnTo>
                  <a:lnTo>
                    <a:pt x="2596" y="5168"/>
                  </a:lnTo>
                  <a:lnTo>
                    <a:pt x="2594" y="5162"/>
                  </a:lnTo>
                  <a:lnTo>
                    <a:pt x="2590" y="5154"/>
                  </a:lnTo>
                  <a:lnTo>
                    <a:pt x="2588" y="5148"/>
                  </a:lnTo>
                  <a:lnTo>
                    <a:pt x="2586" y="5144"/>
                  </a:lnTo>
                  <a:lnTo>
                    <a:pt x="2584" y="5144"/>
                  </a:lnTo>
                  <a:lnTo>
                    <a:pt x="2582" y="5144"/>
                  </a:lnTo>
                  <a:lnTo>
                    <a:pt x="2576" y="5146"/>
                  </a:lnTo>
                  <a:lnTo>
                    <a:pt x="2574" y="5146"/>
                  </a:lnTo>
                  <a:lnTo>
                    <a:pt x="2570" y="5142"/>
                  </a:lnTo>
                  <a:lnTo>
                    <a:pt x="2566" y="5140"/>
                  </a:lnTo>
                  <a:lnTo>
                    <a:pt x="2564" y="5140"/>
                  </a:lnTo>
                  <a:lnTo>
                    <a:pt x="2558" y="5140"/>
                  </a:lnTo>
                  <a:lnTo>
                    <a:pt x="2554" y="5142"/>
                  </a:lnTo>
                  <a:lnTo>
                    <a:pt x="2552" y="5140"/>
                  </a:lnTo>
                  <a:lnTo>
                    <a:pt x="2550" y="5138"/>
                  </a:lnTo>
                  <a:lnTo>
                    <a:pt x="2544" y="5132"/>
                  </a:lnTo>
                  <a:lnTo>
                    <a:pt x="2538" y="5128"/>
                  </a:lnTo>
                  <a:lnTo>
                    <a:pt x="2532" y="5128"/>
                  </a:lnTo>
                  <a:lnTo>
                    <a:pt x="2530" y="5130"/>
                  </a:lnTo>
                  <a:lnTo>
                    <a:pt x="2530" y="5132"/>
                  </a:lnTo>
                  <a:lnTo>
                    <a:pt x="2528" y="5136"/>
                  </a:lnTo>
                  <a:lnTo>
                    <a:pt x="2526" y="5136"/>
                  </a:lnTo>
                  <a:lnTo>
                    <a:pt x="2520" y="5136"/>
                  </a:lnTo>
                  <a:lnTo>
                    <a:pt x="2512" y="5132"/>
                  </a:lnTo>
                  <a:lnTo>
                    <a:pt x="2498" y="5130"/>
                  </a:lnTo>
                  <a:lnTo>
                    <a:pt x="2492" y="5130"/>
                  </a:lnTo>
                  <a:lnTo>
                    <a:pt x="2488" y="5132"/>
                  </a:lnTo>
                  <a:lnTo>
                    <a:pt x="2486" y="5136"/>
                  </a:lnTo>
                  <a:lnTo>
                    <a:pt x="2484" y="5140"/>
                  </a:lnTo>
                  <a:lnTo>
                    <a:pt x="2482" y="5150"/>
                  </a:lnTo>
                  <a:lnTo>
                    <a:pt x="2480" y="5152"/>
                  </a:lnTo>
                  <a:lnTo>
                    <a:pt x="2478" y="5154"/>
                  </a:lnTo>
                  <a:lnTo>
                    <a:pt x="2474" y="5156"/>
                  </a:lnTo>
                  <a:lnTo>
                    <a:pt x="2472" y="5160"/>
                  </a:lnTo>
                  <a:lnTo>
                    <a:pt x="2472" y="5164"/>
                  </a:lnTo>
                  <a:lnTo>
                    <a:pt x="2464" y="5164"/>
                  </a:lnTo>
                  <a:lnTo>
                    <a:pt x="2460" y="5166"/>
                  </a:lnTo>
                  <a:lnTo>
                    <a:pt x="2458" y="5168"/>
                  </a:lnTo>
                  <a:lnTo>
                    <a:pt x="2460" y="5172"/>
                  </a:lnTo>
                  <a:lnTo>
                    <a:pt x="2464" y="5174"/>
                  </a:lnTo>
                  <a:lnTo>
                    <a:pt x="2474" y="5174"/>
                  </a:lnTo>
                  <a:lnTo>
                    <a:pt x="2482" y="5174"/>
                  </a:lnTo>
                  <a:lnTo>
                    <a:pt x="2490" y="5174"/>
                  </a:lnTo>
                  <a:lnTo>
                    <a:pt x="2494" y="5174"/>
                  </a:lnTo>
                  <a:lnTo>
                    <a:pt x="2496" y="5178"/>
                  </a:lnTo>
                  <a:lnTo>
                    <a:pt x="2500" y="5180"/>
                  </a:lnTo>
                  <a:lnTo>
                    <a:pt x="2504" y="5180"/>
                  </a:lnTo>
                  <a:lnTo>
                    <a:pt x="2510" y="5180"/>
                  </a:lnTo>
                  <a:lnTo>
                    <a:pt x="2512" y="5180"/>
                  </a:lnTo>
                  <a:lnTo>
                    <a:pt x="2508" y="5188"/>
                  </a:lnTo>
                  <a:lnTo>
                    <a:pt x="2506" y="5194"/>
                  </a:lnTo>
                  <a:lnTo>
                    <a:pt x="2508" y="5198"/>
                  </a:lnTo>
                  <a:lnTo>
                    <a:pt x="2510" y="5200"/>
                  </a:lnTo>
                  <a:lnTo>
                    <a:pt x="2516" y="5200"/>
                  </a:lnTo>
                  <a:lnTo>
                    <a:pt x="2536" y="5204"/>
                  </a:lnTo>
                  <a:lnTo>
                    <a:pt x="2550" y="5210"/>
                  </a:lnTo>
                  <a:lnTo>
                    <a:pt x="2570" y="5218"/>
                  </a:lnTo>
                  <a:lnTo>
                    <a:pt x="2576" y="5220"/>
                  </a:lnTo>
                  <a:lnTo>
                    <a:pt x="2584" y="5220"/>
                  </a:lnTo>
                  <a:lnTo>
                    <a:pt x="2588" y="5220"/>
                  </a:lnTo>
                  <a:lnTo>
                    <a:pt x="2594" y="5218"/>
                  </a:lnTo>
                  <a:lnTo>
                    <a:pt x="2602" y="5214"/>
                  </a:lnTo>
                  <a:lnTo>
                    <a:pt x="2606" y="5214"/>
                  </a:lnTo>
                  <a:lnTo>
                    <a:pt x="2608" y="5214"/>
                  </a:lnTo>
                  <a:lnTo>
                    <a:pt x="2614" y="5218"/>
                  </a:lnTo>
                  <a:lnTo>
                    <a:pt x="2620" y="5216"/>
                  </a:lnTo>
                  <a:lnTo>
                    <a:pt x="2628" y="5216"/>
                  </a:lnTo>
                  <a:lnTo>
                    <a:pt x="2642" y="5218"/>
                  </a:lnTo>
                  <a:lnTo>
                    <a:pt x="2648" y="5220"/>
                  </a:lnTo>
                  <a:lnTo>
                    <a:pt x="2654" y="5224"/>
                  </a:lnTo>
                  <a:lnTo>
                    <a:pt x="2662" y="5230"/>
                  </a:lnTo>
                  <a:lnTo>
                    <a:pt x="2668" y="5234"/>
                  </a:lnTo>
                  <a:lnTo>
                    <a:pt x="2676" y="5238"/>
                  </a:lnTo>
                  <a:lnTo>
                    <a:pt x="2690" y="5242"/>
                  </a:lnTo>
                  <a:lnTo>
                    <a:pt x="2706" y="5246"/>
                  </a:lnTo>
                  <a:lnTo>
                    <a:pt x="2722" y="5248"/>
                  </a:lnTo>
                  <a:lnTo>
                    <a:pt x="2726" y="5246"/>
                  </a:lnTo>
                  <a:lnTo>
                    <a:pt x="2728" y="5244"/>
                  </a:lnTo>
                  <a:lnTo>
                    <a:pt x="2732" y="5244"/>
                  </a:lnTo>
                  <a:lnTo>
                    <a:pt x="2752" y="5248"/>
                  </a:lnTo>
                  <a:lnTo>
                    <a:pt x="2764" y="5250"/>
                  </a:lnTo>
                  <a:lnTo>
                    <a:pt x="2770" y="5248"/>
                  </a:lnTo>
                  <a:lnTo>
                    <a:pt x="2772" y="5246"/>
                  </a:lnTo>
                  <a:lnTo>
                    <a:pt x="2774" y="5244"/>
                  </a:lnTo>
                  <a:lnTo>
                    <a:pt x="2774" y="5242"/>
                  </a:lnTo>
                  <a:lnTo>
                    <a:pt x="2776" y="5242"/>
                  </a:lnTo>
                  <a:lnTo>
                    <a:pt x="2794" y="5250"/>
                  </a:lnTo>
                  <a:lnTo>
                    <a:pt x="2806" y="5256"/>
                  </a:lnTo>
                  <a:lnTo>
                    <a:pt x="2814" y="5258"/>
                  </a:lnTo>
                  <a:lnTo>
                    <a:pt x="2820" y="5260"/>
                  </a:lnTo>
                  <a:lnTo>
                    <a:pt x="2828" y="5264"/>
                  </a:lnTo>
                  <a:lnTo>
                    <a:pt x="2834" y="5268"/>
                  </a:lnTo>
                  <a:lnTo>
                    <a:pt x="2836" y="5268"/>
                  </a:lnTo>
                  <a:lnTo>
                    <a:pt x="2836" y="5266"/>
                  </a:lnTo>
                  <a:lnTo>
                    <a:pt x="2836" y="5262"/>
                  </a:lnTo>
                  <a:lnTo>
                    <a:pt x="2832" y="5258"/>
                  </a:lnTo>
                  <a:close/>
                  <a:moveTo>
                    <a:pt x="2398" y="4778"/>
                  </a:moveTo>
                  <a:lnTo>
                    <a:pt x="2398" y="4778"/>
                  </a:lnTo>
                  <a:lnTo>
                    <a:pt x="2400" y="4780"/>
                  </a:lnTo>
                  <a:lnTo>
                    <a:pt x="2402" y="4780"/>
                  </a:lnTo>
                  <a:lnTo>
                    <a:pt x="2406" y="4780"/>
                  </a:lnTo>
                  <a:lnTo>
                    <a:pt x="2410" y="4776"/>
                  </a:lnTo>
                  <a:lnTo>
                    <a:pt x="2410" y="4774"/>
                  </a:lnTo>
                  <a:lnTo>
                    <a:pt x="2408" y="4772"/>
                  </a:lnTo>
                  <a:lnTo>
                    <a:pt x="2402" y="4772"/>
                  </a:lnTo>
                  <a:lnTo>
                    <a:pt x="2398" y="4774"/>
                  </a:lnTo>
                  <a:lnTo>
                    <a:pt x="2398" y="4776"/>
                  </a:lnTo>
                  <a:lnTo>
                    <a:pt x="2398" y="4778"/>
                  </a:lnTo>
                  <a:close/>
                  <a:moveTo>
                    <a:pt x="2330" y="4760"/>
                  </a:moveTo>
                  <a:lnTo>
                    <a:pt x="2330" y="4760"/>
                  </a:lnTo>
                  <a:lnTo>
                    <a:pt x="2330" y="4762"/>
                  </a:lnTo>
                  <a:lnTo>
                    <a:pt x="2332" y="4764"/>
                  </a:lnTo>
                  <a:lnTo>
                    <a:pt x="2340" y="4770"/>
                  </a:lnTo>
                  <a:lnTo>
                    <a:pt x="2348" y="4774"/>
                  </a:lnTo>
                  <a:lnTo>
                    <a:pt x="2350" y="4774"/>
                  </a:lnTo>
                  <a:lnTo>
                    <a:pt x="2350" y="4770"/>
                  </a:lnTo>
                  <a:lnTo>
                    <a:pt x="2350" y="4768"/>
                  </a:lnTo>
                  <a:lnTo>
                    <a:pt x="2346" y="4764"/>
                  </a:lnTo>
                  <a:lnTo>
                    <a:pt x="2340" y="4760"/>
                  </a:lnTo>
                  <a:lnTo>
                    <a:pt x="2334" y="4758"/>
                  </a:lnTo>
                  <a:lnTo>
                    <a:pt x="2332" y="4758"/>
                  </a:lnTo>
                  <a:lnTo>
                    <a:pt x="2330" y="4760"/>
                  </a:lnTo>
                  <a:close/>
                  <a:moveTo>
                    <a:pt x="2230" y="4942"/>
                  </a:moveTo>
                  <a:lnTo>
                    <a:pt x="2230" y="4942"/>
                  </a:lnTo>
                  <a:lnTo>
                    <a:pt x="2230" y="4944"/>
                  </a:lnTo>
                  <a:lnTo>
                    <a:pt x="2230" y="4946"/>
                  </a:lnTo>
                  <a:lnTo>
                    <a:pt x="2234" y="4952"/>
                  </a:lnTo>
                  <a:lnTo>
                    <a:pt x="2238" y="4956"/>
                  </a:lnTo>
                  <a:lnTo>
                    <a:pt x="2242" y="4956"/>
                  </a:lnTo>
                  <a:lnTo>
                    <a:pt x="2244" y="4954"/>
                  </a:lnTo>
                  <a:lnTo>
                    <a:pt x="2244" y="4952"/>
                  </a:lnTo>
                  <a:lnTo>
                    <a:pt x="2244" y="4950"/>
                  </a:lnTo>
                  <a:lnTo>
                    <a:pt x="2240" y="4944"/>
                  </a:lnTo>
                  <a:lnTo>
                    <a:pt x="2236" y="4940"/>
                  </a:lnTo>
                  <a:lnTo>
                    <a:pt x="2232" y="4940"/>
                  </a:lnTo>
                  <a:lnTo>
                    <a:pt x="2230" y="4942"/>
                  </a:lnTo>
                  <a:close/>
                  <a:moveTo>
                    <a:pt x="2194" y="4886"/>
                  </a:moveTo>
                  <a:lnTo>
                    <a:pt x="2194" y="4886"/>
                  </a:lnTo>
                  <a:lnTo>
                    <a:pt x="2192" y="4890"/>
                  </a:lnTo>
                  <a:lnTo>
                    <a:pt x="2192" y="4896"/>
                  </a:lnTo>
                  <a:lnTo>
                    <a:pt x="2194" y="4904"/>
                  </a:lnTo>
                  <a:lnTo>
                    <a:pt x="2198" y="4910"/>
                  </a:lnTo>
                  <a:lnTo>
                    <a:pt x="2208" y="4920"/>
                  </a:lnTo>
                  <a:lnTo>
                    <a:pt x="2214" y="4924"/>
                  </a:lnTo>
                  <a:lnTo>
                    <a:pt x="2218" y="4924"/>
                  </a:lnTo>
                  <a:lnTo>
                    <a:pt x="2220" y="4920"/>
                  </a:lnTo>
                  <a:lnTo>
                    <a:pt x="2220" y="4914"/>
                  </a:lnTo>
                  <a:lnTo>
                    <a:pt x="2214" y="4900"/>
                  </a:lnTo>
                  <a:lnTo>
                    <a:pt x="2210" y="4894"/>
                  </a:lnTo>
                  <a:lnTo>
                    <a:pt x="2204" y="4888"/>
                  </a:lnTo>
                  <a:lnTo>
                    <a:pt x="2200" y="4886"/>
                  </a:lnTo>
                  <a:lnTo>
                    <a:pt x="2194" y="4886"/>
                  </a:lnTo>
                  <a:close/>
                  <a:moveTo>
                    <a:pt x="2182" y="4866"/>
                  </a:moveTo>
                  <a:lnTo>
                    <a:pt x="2182" y="4866"/>
                  </a:lnTo>
                  <a:lnTo>
                    <a:pt x="2184" y="4868"/>
                  </a:lnTo>
                  <a:lnTo>
                    <a:pt x="2186" y="4866"/>
                  </a:lnTo>
                  <a:lnTo>
                    <a:pt x="2188" y="4862"/>
                  </a:lnTo>
                  <a:lnTo>
                    <a:pt x="2188" y="4856"/>
                  </a:lnTo>
                  <a:lnTo>
                    <a:pt x="2186" y="4850"/>
                  </a:lnTo>
                  <a:lnTo>
                    <a:pt x="2184" y="4850"/>
                  </a:lnTo>
                  <a:lnTo>
                    <a:pt x="2182" y="4850"/>
                  </a:lnTo>
                  <a:lnTo>
                    <a:pt x="2180" y="4854"/>
                  </a:lnTo>
                  <a:lnTo>
                    <a:pt x="2180" y="4860"/>
                  </a:lnTo>
                  <a:lnTo>
                    <a:pt x="2180" y="4864"/>
                  </a:lnTo>
                  <a:lnTo>
                    <a:pt x="2182" y="4866"/>
                  </a:lnTo>
                  <a:close/>
                  <a:moveTo>
                    <a:pt x="2248" y="4964"/>
                  </a:moveTo>
                  <a:lnTo>
                    <a:pt x="2248" y="4964"/>
                  </a:lnTo>
                  <a:lnTo>
                    <a:pt x="2246" y="4968"/>
                  </a:lnTo>
                  <a:lnTo>
                    <a:pt x="2246" y="4974"/>
                  </a:lnTo>
                  <a:lnTo>
                    <a:pt x="2248" y="4976"/>
                  </a:lnTo>
                  <a:lnTo>
                    <a:pt x="2252" y="4978"/>
                  </a:lnTo>
                  <a:lnTo>
                    <a:pt x="2254" y="4978"/>
                  </a:lnTo>
                  <a:lnTo>
                    <a:pt x="2256" y="4980"/>
                  </a:lnTo>
                  <a:lnTo>
                    <a:pt x="2260" y="4990"/>
                  </a:lnTo>
                  <a:lnTo>
                    <a:pt x="2262" y="4996"/>
                  </a:lnTo>
                  <a:lnTo>
                    <a:pt x="2264" y="4996"/>
                  </a:lnTo>
                  <a:lnTo>
                    <a:pt x="2266" y="4994"/>
                  </a:lnTo>
                  <a:lnTo>
                    <a:pt x="2266" y="4990"/>
                  </a:lnTo>
                  <a:lnTo>
                    <a:pt x="2266" y="4984"/>
                  </a:lnTo>
                  <a:lnTo>
                    <a:pt x="2260" y="4974"/>
                  </a:lnTo>
                  <a:lnTo>
                    <a:pt x="2254" y="4964"/>
                  </a:lnTo>
                  <a:lnTo>
                    <a:pt x="2250" y="4964"/>
                  </a:lnTo>
                  <a:lnTo>
                    <a:pt x="2248" y="4964"/>
                  </a:lnTo>
                  <a:close/>
                  <a:moveTo>
                    <a:pt x="2354" y="4788"/>
                  </a:moveTo>
                  <a:lnTo>
                    <a:pt x="2354" y="4788"/>
                  </a:lnTo>
                  <a:lnTo>
                    <a:pt x="2352" y="4784"/>
                  </a:lnTo>
                  <a:lnTo>
                    <a:pt x="2350" y="4792"/>
                  </a:lnTo>
                  <a:lnTo>
                    <a:pt x="2348" y="4796"/>
                  </a:lnTo>
                  <a:lnTo>
                    <a:pt x="2348" y="4800"/>
                  </a:lnTo>
                  <a:lnTo>
                    <a:pt x="2352" y="4800"/>
                  </a:lnTo>
                  <a:lnTo>
                    <a:pt x="2358" y="4802"/>
                  </a:lnTo>
                  <a:lnTo>
                    <a:pt x="2364" y="4802"/>
                  </a:lnTo>
                  <a:lnTo>
                    <a:pt x="2370" y="4804"/>
                  </a:lnTo>
                  <a:lnTo>
                    <a:pt x="2372" y="4804"/>
                  </a:lnTo>
                  <a:lnTo>
                    <a:pt x="2372" y="4800"/>
                  </a:lnTo>
                  <a:lnTo>
                    <a:pt x="2372" y="4798"/>
                  </a:lnTo>
                  <a:lnTo>
                    <a:pt x="2370" y="4796"/>
                  </a:lnTo>
                  <a:lnTo>
                    <a:pt x="2364" y="4794"/>
                  </a:lnTo>
                  <a:lnTo>
                    <a:pt x="2358" y="4792"/>
                  </a:lnTo>
                  <a:lnTo>
                    <a:pt x="2354" y="4788"/>
                  </a:lnTo>
                  <a:close/>
                  <a:moveTo>
                    <a:pt x="2484" y="5128"/>
                  </a:moveTo>
                  <a:lnTo>
                    <a:pt x="2484" y="5128"/>
                  </a:lnTo>
                  <a:lnTo>
                    <a:pt x="2486" y="5124"/>
                  </a:lnTo>
                  <a:lnTo>
                    <a:pt x="2486" y="5120"/>
                  </a:lnTo>
                  <a:lnTo>
                    <a:pt x="2488" y="5108"/>
                  </a:lnTo>
                  <a:lnTo>
                    <a:pt x="2486" y="5092"/>
                  </a:lnTo>
                  <a:lnTo>
                    <a:pt x="2488" y="5076"/>
                  </a:lnTo>
                  <a:lnTo>
                    <a:pt x="2488" y="5062"/>
                  </a:lnTo>
                  <a:lnTo>
                    <a:pt x="2486" y="5056"/>
                  </a:lnTo>
                  <a:lnTo>
                    <a:pt x="2484" y="5050"/>
                  </a:lnTo>
                  <a:lnTo>
                    <a:pt x="2486" y="5038"/>
                  </a:lnTo>
                  <a:lnTo>
                    <a:pt x="2488" y="5028"/>
                  </a:lnTo>
                  <a:lnTo>
                    <a:pt x="2488" y="5020"/>
                  </a:lnTo>
                  <a:lnTo>
                    <a:pt x="2486" y="5014"/>
                  </a:lnTo>
                  <a:lnTo>
                    <a:pt x="2492" y="5004"/>
                  </a:lnTo>
                  <a:lnTo>
                    <a:pt x="2494" y="4998"/>
                  </a:lnTo>
                  <a:lnTo>
                    <a:pt x="2496" y="4994"/>
                  </a:lnTo>
                  <a:lnTo>
                    <a:pt x="2494" y="4990"/>
                  </a:lnTo>
                  <a:lnTo>
                    <a:pt x="2492" y="4988"/>
                  </a:lnTo>
                  <a:lnTo>
                    <a:pt x="2486" y="4982"/>
                  </a:lnTo>
                  <a:lnTo>
                    <a:pt x="2482" y="4978"/>
                  </a:lnTo>
                  <a:lnTo>
                    <a:pt x="2480" y="4972"/>
                  </a:lnTo>
                  <a:lnTo>
                    <a:pt x="2476" y="4962"/>
                  </a:lnTo>
                  <a:lnTo>
                    <a:pt x="2472" y="4956"/>
                  </a:lnTo>
                  <a:lnTo>
                    <a:pt x="2468" y="4954"/>
                  </a:lnTo>
                  <a:lnTo>
                    <a:pt x="2460" y="4956"/>
                  </a:lnTo>
                  <a:lnTo>
                    <a:pt x="2456" y="4958"/>
                  </a:lnTo>
                  <a:lnTo>
                    <a:pt x="2452" y="4956"/>
                  </a:lnTo>
                  <a:lnTo>
                    <a:pt x="2450" y="4956"/>
                  </a:lnTo>
                  <a:lnTo>
                    <a:pt x="2446" y="4958"/>
                  </a:lnTo>
                  <a:lnTo>
                    <a:pt x="2440" y="4962"/>
                  </a:lnTo>
                  <a:lnTo>
                    <a:pt x="2442" y="4956"/>
                  </a:lnTo>
                  <a:lnTo>
                    <a:pt x="2446" y="4946"/>
                  </a:lnTo>
                  <a:lnTo>
                    <a:pt x="2446" y="4942"/>
                  </a:lnTo>
                  <a:lnTo>
                    <a:pt x="2442" y="4940"/>
                  </a:lnTo>
                  <a:lnTo>
                    <a:pt x="2438" y="4938"/>
                  </a:lnTo>
                  <a:lnTo>
                    <a:pt x="2436" y="4932"/>
                  </a:lnTo>
                  <a:lnTo>
                    <a:pt x="2430" y="4914"/>
                  </a:lnTo>
                  <a:lnTo>
                    <a:pt x="2428" y="4904"/>
                  </a:lnTo>
                  <a:lnTo>
                    <a:pt x="2426" y="4898"/>
                  </a:lnTo>
                  <a:lnTo>
                    <a:pt x="2422" y="4892"/>
                  </a:lnTo>
                  <a:lnTo>
                    <a:pt x="2420" y="4890"/>
                  </a:lnTo>
                  <a:lnTo>
                    <a:pt x="2416" y="4890"/>
                  </a:lnTo>
                  <a:lnTo>
                    <a:pt x="2410" y="4890"/>
                  </a:lnTo>
                  <a:lnTo>
                    <a:pt x="2404" y="4890"/>
                  </a:lnTo>
                  <a:lnTo>
                    <a:pt x="2394" y="4884"/>
                  </a:lnTo>
                  <a:lnTo>
                    <a:pt x="2390" y="4880"/>
                  </a:lnTo>
                  <a:lnTo>
                    <a:pt x="2388" y="4876"/>
                  </a:lnTo>
                  <a:lnTo>
                    <a:pt x="2388" y="4872"/>
                  </a:lnTo>
                  <a:lnTo>
                    <a:pt x="2388" y="4868"/>
                  </a:lnTo>
                  <a:lnTo>
                    <a:pt x="2390" y="4862"/>
                  </a:lnTo>
                  <a:lnTo>
                    <a:pt x="2392" y="4858"/>
                  </a:lnTo>
                  <a:lnTo>
                    <a:pt x="2390" y="4852"/>
                  </a:lnTo>
                  <a:lnTo>
                    <a:pt x="2390" y="4848"/>
                  </a:lnTo>
                  <a:lnTo>
                    <a:pt x="2392" y="4846"/>
                  </a:lnTo>
                  <a:lnTo>
                    <a:pt x="2396" y="4844"/>
                  </a:lnTo>
                  <a:lnTo>
                    <a:pt x="2400" y="4842"/>
                  </a:lnTo>
                  <a:lnTo>
                    <a:pt x="2402" y="4836"/>
                  </a:lnTo>
                  <a:lnTo>
                    <a:pt x="2402" y="4832"/>
                  </a:lnTo>
                  <a:lnTo>
                    <a:pt x="2400" y="4826"/>
                  </a:lnTo>
                  <a:lnTo>
                    <a:pt x="2396" y="4822"/>
                  </a:lnTo>
                  <a:lnTo>
                    <a:pt x="2392" y="4818"/>
                  </a:lnTo>
                  <a:lnTo>
                    <a:pt x="2386" y="4816"/>
                  </a:lnTo>
                  <a:lnTo>
                    <a:pt x="2380" y="4818"/>
                  </a:lnTo>
                  <a:lnTo>
                    <a:pt x="2376" y="4820"/>
                  </a:lnTo>
                  <a:lnTo>
                    <a:pt x="2374" y="4820"/>
                  </a:lnTo>
                  <a:lnTo>
                    <a:pt x="2372" y="4814"/>
                  </a:lnTo>
                  <a:lnTo>
                    <a:pt x="2372" y="4812"/>
                  </a:lnTo>
                  <a:lnTo>
                    <a:pt x="2368" y="4808"/>
                  </a:lnTo>
                  <a:lnTo>
                    <a:pt x="2364" y="4806"/>
                  </a:lnTo>
                  <a:lnTo>
                    <a:pt x="2356" y="4804"/>
                  </a:lnTo>
                  <a:lnTo>
                    <a:pt x="2348" y="4802"/>
                  </a:lnTo>
                  <a:lnTo>
                    <a:pt x="2342" y="4796"/>
                  </a:lnTo>
                  <a:lnTo>
                    <a:pt x="2340" y="4790"/>
                  </a:lnTo>
                  <a:lnTo>
                    <a:pt x="2338" y="4784"/>
                  </a:lnTo>
                  <a:lnTo>
                    <a:pt x="2336" y="4776"/>
                  </a:lnTo>
                  <a:lnTo>
                    <a:pt x="2332" y="4768"/>
                  </a:lnTo>
                  <a:lnTo>
                    <a:pt x="2324" y="4762"/>
                  </a:lnTo>
                  <a:lnTo>
                    <a:pt x="2314" y="4758"/>
                  </a:lnTo>
                  <a:lnTo>
                    <a:pt x="2308" y="4756"/>
                  </a:lnTo>
                  <a:lnTo>
                    <a:pt x="2304" y="4754"/>
                  </a:lnTo>
                  <a:lnTo>
                    <a:pt x="2302" y="4748"/>
                  </a:lnTo>
                  <a:lnTo>
                    <a:pt x="2300" y="4740"/>
                  </a:lnTo>
                  <a:lnTo>
                    <a:pt x="2298" y="4738"/>
                  </a:lnTo>
                  <a:lnTo>
                    <a:pt x="2296" y="4734"/>
                  </a:lnTo>
                  <a:lnTo>
                    <a:pt x="2288" y="4728"/>
                  </a:lnTo>
                  <a:lnTo>
                    <a:pt x="2284" y="4728"/>
                  </a:lnTo>
                  <a:lnTo>
                    <a:pt x="2282" y="4730"/>
                  </a:lnTo>
                  <a:lnTo>
                    <a:pt x="2282" y="4732"/>
                  </a:lnTo>
                  <a:lnTo>
                    <a:pt x="2282" y="4740"/>
                  </a:lnTo>
                  <a:lnTo>
                    <a:pt x="2282" y="4742"/>
                  </a:lnTo>
                  <a:lnTo>
                    <a:pt x="2280" y="4740"/>
                  </a:lnTo>
                  <a:lnTo>
                    <a:pt x="2274" y="4736"/>
                  </a:lnTo>
                  <a:lnTo>
                    <a:pt x="2270" y="4732"/>
                  </a:lnTo>
                  <a:lnTo>
                    <a:pt x="2266" y="4728"/>
                  </a:lnTo>
                  <a:lnTo>
                    <a:pt x="2262" y="4718"/>
                  </a:lnTo>
                  <a:lnTo>
                    <a:pt x="2258" y="4710"/>
                  </a:lnTo>
                  <a:lnTo>
                    <a:pt x="2254" y="4708"/>
                  </a:lnTo>
                  <a:lnTo>
                    <a:pt x="2252" y="4708"/>
                  </a:lnTo>
                  <a:lnTo>
                    <a:pt x="2248" y="4702"/>
                  </a:lnTo>
                  <a:lnTo>
                    <a:pt x="2242" y="4692"/>
                  </a:lnTo>
                  <a:lnTo>
                    <a:pt x="2234" y="4680"/>
                  </a:lnTo>
                  <a:lnTo>
                    <a:pt x="2222" y="4670"/>
                  </a:lnTo>
                  <a:lnTo>
                    <a:pt x="2214" y="4666"/>
                  </a:lnTo>
                  <a:lnTo>
                    <a:pt x="2208" y="4664"/>
                  </a:lnTo>
                  <a:lnTo>
                    <a:pt x="2204" y="4662"/>
                  </a:lnTo>
                  <a:lnTo>
                    <a:pt x="2200" y="4658"/>
                  </a:lnTo>
                  <a:lnTo>
                    <a:pt x="2196" y="4652"/>
                  </a:lnTo>
                  <a:lnTo>
                    <a:pt x="2192" y="4646"/>
                  </a:lnTo>
                  <a:lnTo>
                    <a:pt x="2190" y="4644"/>
                  </a:lnTo>
                  <a:lnTo>
                    <a:pt x="2186" y="4642"/>
                  </a:lnTo>
                  <a:lnTo>
                    <a:pt x="2182" y="4640"/>
                  </a:lnTo>
                  <a:lnTo>
                    <a:pt x="2180" y="4638"/>
                  </a:lnTo>
                  <a:lnTo>
                    <a:pt x="2180" y="4632"/>
                  </a:lnTo>
                  <a:lnTo>
                    <a:pt x="2178" y="4626"/>
                  </a:lnTo>
                  <a:lnTo>
                    <a:pt x="2176" y="4624"/>
                  </a:lnTo>
                  <a:lnTo>
                    <a:pt x="2174" y="4622"/>
                  </a:lnTo>
                  <a:lnTo>
                    <a:pt x="2170" y="4620"/>
                  </a:lnTo>
                  <a:lnTo>
                    <a:pt x="2168" y="4618"/>
                  </a:lnTo>
                  <a:lnTo>
                    <a:pt x="2166" y="4612"/>
                  </a:lnTo>
                  <a:lnTo>
                    <a:pt x="2166" y="4604"/>
                  </a:lnTo>
                  <a:lnTo>
                    <a:pt x="2162" y="4598"/>
                  </a:lnTo>
                  <a:lnTo>
                    <a:pt x="2158" y="4592"/>
                  </a:lnTo>
                  <a:lnTo>
                    <a:pt x="2150" y="4582"/>
                  </a:lnTo>
                  <a:lnTo>
                    <a:pt x="2146" y="4582"/>
                  </a:lnTo>
                  <a:lnTo>
                    <a:pt x="2146" y="4584"/>
                  </a:lnTo>
                  <a:lnTo>
                    <a:pt x="2142" y="4586"/>
                  </a:lnTo>
                  <a:lnTo>
                    <a:pt x="2138" y="4586"/>
                  </a:lnTo>
                  <a:lnTo>
                    <a:pt x="2134" y="4584"/>
                  </a:lnTo>
                  <a:lnTo>
                    <a:pt x="2130" y="4582"/>
                  </a:lnTo>
                  <a:lnTo>
                    <a:pt x="2128" y="4580"/>
                  </a:lnTo>
                  <a:lnTo>
                    <a:pt x="2122" y="4582"/>
                  </a:lnTo>
                  <a:lnTo>
                    <a:pt x="2114" y="4584"/>
                  </a:lnTo>
                  <a:lnTo>
                    <a:pt x="2108" y="4584"/>
                  </a:lnTo>
                  <a:lnTo>
                    <a:pt x="2098" y="4584"/>
                  </a:lnTo>
                  <a:lnTo>
                    <a:pt x="2088" y="4580"/>
                  </a:lnTo>
                  <a:lnTo>
                    <a:pt x="2086" y="4578"/>
                  </a:lnTo>
                  <a:lnTo>
                    <a:pt x="2084" y="4576"/>
                  </a:lnTo>
                  <a:lnTo>
                    <a:pt x="2082" y="4572"/>
                  </a:lnTo>
                  <a:lnTo>
                    <a:pt x="2078" y="4568"/>
                  </a:lnTo>
                  <a:lnTo>
                    <a:pt x="2070" y="4566"/>
                  </a:lnTo>
                  <a:lnTo>
                    <a:pt x="2062" y="4564"/>
                  </a:lnTo>
                  <a:lnTo>
                    <a:pt x="2058" y="4566"/>
                  </a:lnTo>
                  <a:lnTo>
                    <a:pt x="2056" y="4570"/>
                  </a:lnTo>
                  <a:lnTo>
                    <a:pt x="2056" y="4576"/>
                  </a:lnTo>
                  <a:lnTo>
                    <a:pt x="2058" y="4584"/>
                  </a:lnTo>
                  <a:lnTo>
                    <a:pt x="2060" y="4594"/>
                  </a:lnTo>
                  <a:lnTo>
                    <a:pt x="2070" y="4612"/>
                  </a:lnTo>
                  <a:lnTo>
                    <a:pt x="2080" y="4626"/>
                  </a:lnTo>
                  <a:lnTo>
                    <a:pt x="2086" y="4634"/>
                  </a:lnTo>
                  <a:lnTo>
                    <a:pt x="2094" y="4640"/>
                  </a:lnTo>
                  <a:lnTo>
                    <a:pt x="2102" y="4650"/>
                  </a:lnTo>
                  <a:lnTo>
                    <a:pt x="2104" y="4654"/>
                  </a:lnTo>
                  <a:lnTo>
                    <a:pt x="2108" y="4658"/>
                  </a:lnTo>
                  <a:lnTo>
                    <a:pt x="2114" y="4658"/>
                  </a:lnTo>
                  <a:lnTo>
                    <a:pt x="2116" y="4658"/>
                  </a:lnTo>
                  <a:lnTo>
                    <a:pt x="2120" y="4660"/>
                  </a:lnTo>
                  <a:lnTo>
                    <a:pt x="2124" y="4664"/>
                  </a:lnTo>
                  <a:lnTo>
                    <a:pt x="2130" y="4672"/>
                  </a:lnTo>
                  <a:lnTo>
                    <a:pt x="2138" y="4686"/>
                  </a:lnTo>
                  <a:lnTo>
                    <a:pt x="2138" y="4690"/>
                  </a:lnTo>
                  <a:lnTo>
                    <a:pt x="2138" y="4692"/>
                  </a:lnTo>
                  <a:lnTo>
                    <a:pt x="2146" y="4698"/>
                  </a:lnTo>
                  <a:lnTo>
                    <a:pt x="2152" y="4702"/>
                  </a:lnTo>
                  <a:lnTo>
                    <a:pt x="2154" y="4706"/>
                  </a:lnTo>
                  <a:lnTo>
                    <a:pt x="2154" y="4716"/>
                  </a:lnTo>
                  <a:lnTo>
                    <a:pt x="2156" y="4720"/>
                  </a:lnTo>
                  <a:lnTo>
                    <a:pt x="2158" y="4724"/>
                  </a:lnTo>
                  <a:lnTo>
                    <a:pt x="2162" y="4730"/>
                  </a:lnTo>
                  <a:lnTo>
                    <a:pt x="2172" y="4736"/>
                  </a:lnTo>
                  <a:lnTo>
                    <a:pt x="2182" y="4742"/>
                  </a:lnTo>
                  <a:lnTo>
                    <a:pt x="2192" y="4748"/>
                  </a:lnTo>
                  <a:lnTo>
                    <a:pt x="2198" y="4756"/>
                  </a:lnTo>
                  <a:lnTo>
                    <a:pt x="2200" y="4760"/>
                  </a:lnTo>
                  <a:lnTo>
                    <a:pt x="2200" y="4762"/>
                  </a:lnTo>
                  <a:lnTo>
                    <a:pt x="2198" y="4766"/>
                  </a:lnTo>
                  <a:lnTo>
                    <a:pt x="2198" y="4772"/>
                  </a:lnTo>
                  <a:lnTo>
                    <a:pt x="2206" y="4794"/>
                  </a:lnTo>
                  <a:lnTo>
                    <a:pt x="2214" y="4820"/>
                  </a:lnTo>
                  <a:lnTo>
                    <a:pt x="2218" y="4828"/>
                  </a:lnTo>
                  <a:lnTo>
                    <a:pt x="2226" y="4834"/>
                  </a:lnTo>
                  <a:lnTo>
                    <a:pt x="2234" y="4838"/>
                  </a:lnTo>
                  <a:lnTo>
                    <a:pt x="2236" y="4844"/>
                  </a:lnTo>
                  <a:lnTo>
                    <a:pt x="2240" y="4854"/>
                  </a:lnTo>
                  <a:lnTo>
                    <a:pt x="2254" y="4870"/>
                  </a:lnTo>
                  <a:lnTo>
                    <a:pt x="2260" y="4876"/>
                  </a:lnTo>
                  <a:lnTo>
                    <a:pt x="2262" y="4882"/>
                  </a:lnTo>
                  <a:lnTo>
                    <a:pt x="2264" y="4886"/>
                  </a:lnTo>
                  <a:lnTo>
                    <a:pt x="2264" y="4890"/>
                  </a:lnTo>
                  <a:lnTo>
                    <a:pt x="2262" y="4898"/>
                  </a:lnTo>
                  <a:lnTo>
                    <a:pt x="2264" y="4900"/>
                  </a:lnTo>
                  <a:lnTo>
                    <a:pt x="2266" y="4904"/>
                  </a:lnTo>
                  <a:lnTo>
                    <a:pt x="2274" y="4912"/>
                  </a:lnTo>
                  <a:lnTo>
                    <a:pt x="2278" y="4922"/>
                  </a:lnTo>
                  <a:lnTo>
                    <a:pt x="2282" y="4934"/>
                  </a:lnTo>
                  <a:lnTo>
                    <a:pt x="2284" y="4946"/>
                  </a:lnTo>
                  <a:lnTo>
                    <a:pt x="2290" y="4960"/>
                  </a:lnTo>
                  <a:lnTo>
                    <a:pt x="2300" y="4976"/>
                  </a:lnTo>
                  <a:lnTo>
                    <a:pt x="2312" y="4992"/>
                  </a:lnTo>
                  <a:lnTo>
                    <a:pt x="2326" y="5008"/>
                  </a:lnTo>
                  <a:lnTo>
                    <a:pt x="2336" y="5018"/>
                  </a:lnTo>
                  <a:lnTo>
                    <a:pt x="2342" y="5028"/>
                  </a:lnTo>
                  <a:lnTo>
                    <a:pt x="2350" y="5038"/>
                  </a:lnTo>
                  <a:lnTo>
                    <a:pt x="2364" y="5054"/>
                  </a:lnTo>
                  <a:lnTo>
                    <a:pt x="2380" y="5072"/>
                  </a:lnTo>
                  <a:lnTo>
                    <a:pt x="2394" y="5084"/>
                  </a:lnTo>
                  <a:lnTo>
                    <a:pt x="2404" y="5094"/>
                  </a:lnTo>
                  <a:lnTo>
                    <a:pt x="2416" y="5108"/>
                  </a:lnTo>
                  <a:lnTo>
                    <a:pt x="2426" y="5122"/>
                  </a:lnTo>
                  <a:lnTo>
                    <a:pt x="2434" y="5132"/>
                  </a:lnTo>
                  <a:lnTo>
                    <a:pt x="2436" y="5134"/>
                  </a:lnTo>
                  <a:lnTo>
                    <a:pt x="2438" y="5134"/>
                  </a:lnTo>
                  <a:lnTo>
                    <a:pt x="2434" y="5120"/>
                  </a:lnTo>
                  <a:lnTo>
                    <a:pt x="2434" y="5112"/>
                  </a:lnTo>
                  <a:lnTo>
                    <a:pt x="2434" y="5110"/>
                  </a:lnTo>
                  <a:lnTo>
                    <a:pt x="2438" y="5112"/>
                  </a:lnTo>
                  <a:lnTo>
                    <a:pt x="2444" y="5114"/>
                  </a:lnTo>
                  <a:lnTo>
                    <a:pt x="2450" y="5118"/>
                  </a:lnTo>
                  <a:lnTo>
                    <a:pt x="2454" y="5120"/>
                  </a:lnTo>
                  <a:lnTo>
                    <a:pt x="2458" y="5118"/>
                  </a:lnTo>
                  <a:lnTo>
                    <a:pt x="2460" y="5114"/>
                  </a:lnTo>
                  <a:lnTo>
                    <a:pt x="2462" y="5108"/>
                  </a:lnTo>
                  <a:lnTo>
                    <a:pt x="2464" y="5108"/>
                  </a:lnTo>
                  <a:lnTo>
                    <a:pt x="2470" y="5116"/>
                  </a:lnTo>
                  <a:lnTo>
                    <a:pt x="2476" y="5126"/>
                  </a:lnTo>
                  <a:lnTo>
                    <a:pt x="2480" y="5128"/>
                  </a:lnTo>
                  <a:lnTo>
                    <a:pt x="2484" y="5128"/>
                  </a:lnTo>
                  <a:close/>
                  <a:moveTo>
                    <a:pt x="2344" y="4774"/>
                  </a:moveTo>
                  <a:lnTo>
                    <a:pt x="2344" y="4774"/>
                  </a:lnTo>
                  <a:lnTo>
                    <a:pt x="2340" y="4772"/>
                  </a:lnTo>
                  <a:lnTo>
                    <a:pt x="2338" y="4772"/>
                  </a:lnTo>
                  <a:lnTo>
                    <a:pt x="2338" y="4774"/>
                  </a:lnTo>
                  <a:lnTo>
                    <a:pt x="2338" y="4776"/>
                  </a:lnTo>
                  <a:lnTo>
                    <a:pt x="2340" y="4784"/>
                  </a:lnTo>
                  <a:lnTo>
                    <a:pt x="2344" y="4792"/>
                  </a:lnTo>
                  <a:lnTo>
                    <a:pt x="2346" y="4792"/>
                  </a:lnTo>
                  <a:lnTo>
                    <a:pt x="2348" y="4788"/>
                  </a:lnTo>
                  <a:lnTo>
                    <a:pt x="2348" y="4780"/>
                  </a:lnTo>
                  <a:lnTo>
                    <a:pt x="2346" y="4776"/>
                  </a:lnTo>
                  <a:lnTo>
                    <a:pt x="2344" y="4774"/>
                  </a:lnTo>
                  <a:close/>
                  <a:moveTo>
                    <a:pt x="2374" y="4792"/>
                  </a:moveTo>
                  <a:lnTo>
                    <a:pt x="2374" y="4792"/>
                  </a:lnTo>
                  <a:lnTo>
                    <a:pt x="2372" y="4786"/>
                  </a:lnTo>
                  <a:lnTo>
                    <a:pt x="2366" y="4784"/>
                  </a:lnTo>
                  <a:lnTo>
                    <a:pt x="2360" y="4782"/>
                  </a:lnTo>
                  <a:lnTo>
                    <a:pt x="2358" y="4782"/>
                  </a:lnTo>
                  <a:lnTo>
                    <a:pt x="2358" y="4784"/>
                  </a:lnTo>
                  <a:lnTo>
                    <a:pt x="2358" y="4788"/>
                  </a:lnTo>
                  <a:lnTo>
                    <a:pt x="2364" y="4790"/>
                  </a:lnTo>
                  <a:lnTo>
                    <a:pt x="2372" y="4794"/>
                  </a:lnTo>
                  <a:lnTo>
                    <a:pt x="2374" y="4794"/>
                  </a:lnTo>
                  <a:lnTo>
                    <a:pt x="2374" y="4792"/>
                  </a:lnTo>
                  <a:close/>
                  <a:moveTo>
                    <a:pt x="2316" y="4736"/>
                  </a:moveTo>
                  <a:lnTo>
                    <a:pt x="2316" y="4736"/>
                  </a:lnTo>
                  <a:lnTo>
                    <a:pt x="2312" y="4736"/>
                  </a:lnTo>
                  <a:lnTo>
                    <a:pt x="2310" y="4736"/>
                  </a:lnTo>
                  <a:lnTo>
                    <a:pt x="2306" y="4740"/>
                  </a:lnTo>
                  <a:lnTo>
                    <a:pt x="2306" y="4746"/>
                  </a:lnTo>
                  <a:lnTo>
                    <a:pt x="2308" y="4750"/>
                  </a:lnTo>
                  <a:lnTo>
                    <a:pt x="2310" y="4752"/>
                  </a:lnTo>
                  <a:lnTo>
                    <a:pt x="2312" y="4752"/>
                  </a:lnTo>
                  <a:lnTo>
                    <a:pt x="2314" y="4752"/>
                  </a:lnTo>
                  <a:lnTo>
                    <a:pt x="2318" y="4746"/>
                  </a:lnTo>
                  <a:lnTo>
                    <a:pt x="2318" y="4740"/>
                  </a:lnTo>
                  <a:lnTo>
                    <a:pt x="2318" y="4736"/>
                  </a:lnTo>
                  <a:lnTo>
                    <a:pt x="2316" y="4736"/>
                  </a:lnTo>
                  <a:close/>
                  <a:moveTo>
                    <a:pt x="36" y="5458"/>
                  </a:moveTo>
                  <a:lnTo>
                    <a:pt x="36" y="5458"/>
                  </a:lnTo>
                  <a:lnTo>
                    <a:pt x="32" y="5458"/>
                  </a:lnTo>
                  <a:lnTo>
                    <a:pt x="30" y="5460"/>
                  </a:lnTo>
                  <a:lnTo>
                    <a:pt x="32" y="5464"/>
                  </a:lnTo>
                  <a:lnTo>
                    <a:pt x="36" y="5470"/>
                  </a:lnTo>
                  <a:lnTo>
                    <a:pt x="38" y="5472"/>
                  </a:lnTo>
                  <a:lnTo>
                    <a:pt x="40" y="5472"/>
                  </a:lnTo>
                  <a:lnTo>
                    <a:pt x="40" y="5468"/>
                  </a:lnTo>
                  <a:lnTo>
                    <a:pt x="40" y="5462"/>
                  </a:lnTo>
                  <a:lnTo>
                    <a:pt x="36" y="5458"/>
                  </a:lnTo>
                  <a:close/>
                  <a:moveTo>
                    <a:pt x="2554" y="4992"/>
                  </a:moveTo>
                  <a:lnTo>
                    <a:pt x="2554" y="4992"/>
                  </a:lnTo>
                  <a:lnTo>
                    <a:pt x="2558" y="4998"/>
                  </a:lnTo>
                  <a:lnTo>
                    <a:pt x="2560" y="4998"/>
                  </a:lnTo>
                  <a:lnTo>
                    <a:pt x="2562" y="4996"/>
                  </a:lnTo>
                  <a:lnTo>
                    <a:pt x="2564" y="4994"/>
                  </a:lnTo>
                  <a:lnTo>
                    <a:pt x="2566" y="4994"/>
                  </a:lnTo>
                  <a:lnTo>
                    <a:pt x="2570" y="4994"/>
                  </a:lnTo>
                  <a:lnTo>
                    <a:pt x="2574" y="4994"/>
                  </a:lnTo>
                  <a:lnTo>
                    <a:pt x="2578" y="4988"/>
                  </a:lnTo>
                  <a:lnTo>
                    <a:pt x="2582" y="4980"/>
                  </a:lnTo>
                  <a:lnTo>
                    <a:pt x="2582" y="4976"/>
                  </a:lnTo>
                  <a:lnTo>
                    <a:pt x="2580" y="4974"/>
                  </a:lnTo>
                  <a:lnTo>
                    <a:pt x="2576" y="4968"/>
                  </a:lnTo>
                  <a:lnTo>
                    <a:pt x="2568" y="4964"/>
                  </a:lnTo>
                  <a:lnTo>
                    <a:pt x="2562" y="4962"/>
                  </a:lnTo>
                  <a:lnTo>
                    <a:pt x="2558" y="4964"/>
                  </a:lnTo>
                  <a:lnTo>
                    <a:pt x="2556" y="4968"/>
                  </a:lnTo>
                  <a:lnTo>
                    <a:pt x="2554" y="4972"/>
                  </a:lnTo>
                  <a:lnTo>
                    <a:pt x="2552" y="4982"/>
                  </a:lnTo>
                  <a:lnTo>
                    <a:pt x="2552" y="4988"/>
                  </a:lnTo>
                  <a:lnTo>
                    <a:pt x="2554" y="4992"/>
                  </a:lnTo>
                  <a:close/>
                  <a:moveTo>
                    <a:pt x="8" y="5430"/>
                  </a:moveTo>
                  <a:lnTo>
                    <a:pt x="8" y="5430"/>
                  </a:lnTo>
                  <a:lnTo>
                    <a:pt x="6" y="5434"/>
                  </a:lnTo>
                  <a:lnTo>
                    <a:pt x="6" y="5436"/>
                  </a:lnTo>
                  <a:lnTo>
                    <a:pt x="6" y="5440"/>
                  </a:lnTo>
                  <a:lnTo>
                    <a:pt x="10" y="5444"/>
                  </a:lnTo>
                  <a:lnTo>
                    <a:pt x="14" y="5442"/>
                  </a:lnTo>
                  <a:lnTo>
                    <a:pt x="14" y="5438"/>
                  </a:lnTo>
                  <a:lnTo>
                    <a:pt x="14" y="5434"/>
                  </a:lnTo>
                  <a:lnTo>
                    <a:pt x="12" y="5430"/>
                  </a:lnTo>
                  <a:lnTo>
                    <a:pt x="10" y="5430"/>
                  </a:lnTo>
                  <a:lnTo>
                    <a:pt x="8" y="5430"/>
                  </a:lnTo>
                  <a:close/>
                  <a:moveTo>
                    <a:pt x="3222" y="4178"/>
                  </a:moveTo>
                  <a:lnTo>
                    <a:pt x="3222" y="4178"/>
                  </a:lnTo>
                  <a:lnTo>
                    <a:pt x="3224" y="4178"/>
                  </a:lnTo>
                  <a:lnTo>
                    <a:pt x="3228" y="4176"/>
                  </a:lnTo>
                  <a:lnTo>
                    <a:pt x="3232" y="4172"/>
                  </a:lnTo>
                  <a:lnTo>
                    <a:pt x="3234" y="4166"/>
                  </a:lnTo>
                  <a:lnTo>
                    <a:pt x="3232" y="4162"/>
                  </a:lnTo>
                  <a:lnTo>
                    <a:pt x="3232" y="4160"/>
                  </a:lnTo>
                  <a:lnTo>
                    <a:pt x="3230" y="4160"/>
                  </a:lnTo>
                  <a:lnTo>
                    <a:pt x="3228" y="4156"/>
                  </a:lnTo>
                  <a:lnTo>
                    <a:pt x="3226" y="4152"/>
                  </a:lnTo>
                  <a:lnTo>
                    <a:pt x="3224" y="4150"/>
                  </a:lnTo>
                  <a:lnTo>
                    <a:pt x="3222" y="4154"/>
                  </a:lnTo>
                  <a:lnTo>
                    <a:pt x="3222" y="4160"/>
                  </a:lnTo>
                  <a:lnTo>
                    <a:pt x="3222" y="4168"/>
                  </a:lnTo>
                  <a:lnTo>
                    <a:pt x="3220" y="4172"/>
                  </a:lnTo>
                  <a:lnTo>
                    <a:pt x="3218" y="4174"/>
                  </a:lnTo>
                  <a:lnTo>
                    <a:pt x="3222" y="4178"/>
                  </a:lnTo>
                  <a:close/>
                  <a:moveTo>
                    <a:pt x="3526" y="3176"/>
                  </a:moveTo>
                  <a:lnTo>
                    <a:pt x="3526" y="3176"/>
                  </a:lnTo>
                  <a:lnTo>
                    <a:pt x="3522" y="3176"/>
                  </a:lnTo>
                  <a:lnTo>
                    <a:pt x="3520" y="3174"/>
                  </a:lnTo>
                  <a:lnTo>
                    <a:pt x="3522" y="3168"/>
                  </a:lnTo>
                  <a:lnTo>
                    <a:pt x="3526" y="3162"/>
                  </a:lnTo>
                  <a:lnTo>
                    <a:pt x="3526" y="3158"/>
                  </a:lnTo>
                  <a:lnTo>
                    <a:pt x="3526" y="3154"/>
                  </a:lnTo>
                  <a:lnTo>
                    <a:pt x="3522" y="3152"/>
                  </a:lnTo>
                  <a:lnTo>
                    <a:pt x="3518" y="3152"/>
                  </a:lnTo>
                  <a:lnTo>
                    <a:pt x="3510" y="3156"/>
                  </a:lnTo>
                  <a:lnTo>
                    <a:pt x="3506" y="3156"/>
                  </a:lnTo>
                  <a:lnTo>
                    <a:pt x="3504" y="3156"/>
                  </a:lnTo>
                  <a:lnTo>
                    <a:pt x="3500" y="3154"/>
                  </a:lnTo>
                  <a:lnTo>
                    <a:pt x="3500" y="3148"/>
                  </a:lnTo>
                  <a:lnTo>
                    <a:pt x="3498" y="3146"/>
                  </a:lnTo>
                  <a:lnTo>
                    <a:pt x="3496" y="3142"/>
                  </a:lnTo>
                  <a:lnTo>
                    <a:pt x="3490" y="3140"/>
                  </a:lnTo>
                  <a:lnTo>
                    <a:pt x="3486" y="3140"/>
                  </a:lnTo>
                  <a:lnTo>
                    <a:pt x="3482" y="3140"/>
                  </a:lnTo>
                  <a:lnTo>
                    <a:pt x="3478" y="3144"/>
                  </a:lnTo>
                  <a:lnTo>
                    <a:pt x="3476" y="3148"/>
                  </a:lnTo>
                  <a:lnTo>
                    <a:pt x="3474" y="3154"/>
                  </a:lnTo>
                  <a:lnTo>
                    <a:pt x="3470" y="3154"/>
                  </a:lnTo>
                  <a:lnTo>
                    <a:pt x="3466" y="3154"/>
                  </a:lnTo>
                  <a:lnTo>
                    <a:pt x="3464" y="3160"/>
                  </a:lnTo>
                  <a:lnTo>
                    <a:pt x="3462" y="3164"/>
                  </a:lnTo>
                  <a:lnTo>
                    <a:pt x="3460" y="3164"/>
                  </a:lnTo>
                  <a:lnTo>
                    <a:pt x="3456" y="3160"/>
                  </a:lnTo>
                  <a:lnTo>
                    <a:pt x="3454" y="3158"/>
                  </a:lnTo>
                  <a:lnTo>
                    <a:pt x="3452" y="3164"/>
                  </a:lnTo>
                  <a:lnTo>
                    <a:pt x="3452" y="3168"/>
                  </a:lnTo>
                  <a:lnTo>
                    <a:pt x="3448" y="3170"/>
                  </a:lnTo>
                  <a:lnTo>
                    <a:pt x="3444" y="3168"/>
                  </a:lnTo>
                  <a:lnTo>
                    <a:pt x="3440" y="3168"/>
                  </a:lnTo>
                  <a:lnTo>
                    <a:pt x="3442" y="3174"/>
                  </a:lnTo>
                  <a:lnTo>
                    <a:pt x="3444" y="3182"/>
                  </a:lnTo>
                  <a:lnTo>
                    <a:pt x="3444" y="3186"/>
                  </a:lnTo>
                  <a:lnTo>
                    <a:pt x="3444" y="3190"/>
                  </a:lnTo>
                  <a:lnTo>
                    <a:pt x="3446" y="3196"/>
                  </a:lnTo>
                  <a:lnTo>
                    <a:pt x="3448" y="3200"/>
                  </a:lnTo>
                  <a:lnTo>
                    <a:pt x="3450" y="3204"/>
                  </a:lnTo>
                  <a:lnTo>
                    <a:pt x="3450" y="3210"/>
                  </a:lnTo>
                  <a:lnTo>
                    <a:pt x="3456" y="3204"/>
                  </a:lnTo>
                  <a:lnTo>
                    <a:pt x="3460" y="3202"/>
                  </a:lnTo>
                  <a:lnTo>
                    <a:pt x="3464" y="3200"/>
                  </a:lnTo>
                  <a:lnTo>
                    <a:pt x="3464" y="3202"/>
                  </a:lnTo>
                  <a:lnTo>
                    <a:pt x="3464" y="3204"/>
                  </a:lnTo>
                  <a:lnTo>
                    <a:pt x="3466" y="3208"/>
                  </a:lnTo>
                  <a:lnTo>
                    <a:pt x="3468" y="3208"/>
                  </a:lnTo>
                  <a:lnTo>
                    <a:pt x="3472" y="3206"/>
                  </a:lnTo>
                  <a:lnTo>
                    <a:pt x="3474" y="3204"/>
                  </a:lnTo>
                  <a:lnTo>
                    <a:pt x="3474" y="3200"/>
                  </a:lnTo>
                  <a:lnTo>
                    <a:pt x="3472" y="3198"/>
                  </a:lnTo>
                  <a:lnTo>
                    <a:pt x="3468" y="3194"/>
                  </a:lnTo>
                  <a:lnTo>
                    <a:pt x="3466" y="3192"/>
                  </a:lnTo>
                  <a:lnTo>
                    <a:pt x="3464" y="3188"/>
                  </a:lnTo>
                  <a:lnTo>
                    <a:pt x="3466" y="3182"/>
                  </a:lnTo>
                  <a:lnTo>
                    <a:pt x="3466" y="3180"/>
                  </a:lnTo>
                  <a:lnTo>
                    <a:pt x="3468" y="3180"/>
                  </a:lnTo>
                  <a:lnTo>
                    <a:pt x="3470" y="3182"/>
                  </a:lnTo>
                  <a:lnTo>
                    <a:pt x="3474" y="3186"/>
                  </a:lnTo>
                  <a:lnTo>
                    <a:pt x="3480" y="3196"/>
                  </a:lnTo>
                  <a:lnTo>
                    <a:pt x="3482" y="3208"/>
                  </a:lnTo>
                  <a:lnTo>
                    <a:pt x="3480" y="3218"/>
                  </a:lnTo>
                  <a:lnTo>
                    <a:pt x="3474" y="3228"/>
                  </a:lnTo>
                  <a:lnTo>
                    <a:pt x="3468" y="3236"/>
                  </a:lnTo>
                  <a:lnTo>
                    <a:pt x="3466" y="3242"/>
                  </a:lnTo>
                  <a:lnTo>
                    <a:pt x="3470" y="3258"/>
                  </a:lnTo>
                  <a:lnTo>
                    <a:pt x="3470" y="3266"/>
                  </a:lnTo>
                  <a:lnTo>
                    <a:pt x="3468" y="3270"/>
                  </a:lnTo>
                  <a:lnTo>
                    <a:pt x="3466" y="3274"/>
                  </a:lnTo>
                  <a:lnTo>
                    <a:pt x="3466" y="3276"/>
                  </a:lnTo>
                  <a:lnTo>
                    <a:pt x="3476" y="3280"/>
                  </a:lnTo>
                  <a:lnTo>
                    <a:pt x="3482" y="3282"/>
                  </a:lnTo>
                  <a:lnTo>
                    <a:pt x="3486" y="3286"/>
                  </a:lnTo>
                  <a:lnTo>
                    <a:pt x="3486" y="3290"/>
                  </a:lnTo>
                  <a:lnTo>
                    <a:pt x="3486" y="3292"/>
                  </a:lnTo>
                  <a:lnTo>
                    <a:pt x="3488" y="3292"/>
                  </a:lnTo>
                  <a:lnTo>
                    <a:pt x="3496" y="3288"/>
                  </a:lnTo>
                  <a:lnTo>
                    <a:pt x="3500" y="3284"/>
                  </a:lnTo>
                  <a:lnTo>
                    <a:pt x="3502" y="3280"/>
                  </a:lnTo>
                  <a:lnTo>
                    <a:pt x="3502" y="3278"/>
                  </a:lnTo>
                  <a:lnTo>
                    <a:pt x="3502" y="3276"/>
                  </a:lnTo>
                  <a:lnTo>
                    <a:pt x="3500" y="3272"/>
                  </a:lnTo>
                  <a:lnTo>
                    <a:pt x="3502" y="3270"/>
                  </a:lnTo>
                  <a:lnTo>
                    <a:pt x="3506" y="3268"/>
                  </a:lnTo>
                  <a:lnTo>
                    <a:pt x="3508" y="3270"/>
                  </a:lnTo>
                  <a:lnTo>
                    <a:pt x="3510" y="3274"/>
                  </a:lnTo>
                  <a:lnTo>
                    <a:pt x="3514" y="3272"/>
                  </a:lnTo>
                  <a:lnTo>
                    <a:pt x="3516" y="3268"/>
                  </a:lnTo>
                  <a:lnTo>
                    <a:pt x="3518" y="3260"/>
                  </a:lnTo>
                  <a:lnTo>
                    <a:pt x="3522" y="3236"/>
                  </a:lnTo>
                  <a:lnTo>
                    <a:pt x="3528" y="3212"/>
                  </a:lnTo>
                  <a:lnTo>
                    <a:pt x="3532" y="3202"/>
                  </a:lnTo>
                  <a:lnTo>
                    <a:pt x="3534" y="3200"/>
                  </a:lnTo>
                  <a:lnTo>
                    <a:pt x="3538" y="3198"/>
                  </a:lnTo>
                  <a:lnTo>
                    <a:pt x="3540" y="3196"/>
                  </a:lnTo>
                  <a:lnTo>
                    <a:pt x="3542" y="3194"/>
                  </a:lnTo>
                  <a:lnTo>
                    <a:pt x="3540" y="3186"/>
                  </a:lnTo>
                  <a:lnTo>
                    <a:pt x="3534" y="3180"/>
                  </a:lnTo>
                  <a:lnTo>
                    <a:pt x="3530" y="3178"/>
                  </a:lnTo>
                  <a:lnTo>
                    <a:pt x="3526" y="3176"/>
                  </a:lnTo>
                  <a:close/>
                  <a:moveTo>
                    <a:pt x="3432" y="3438"/>
                  </a:moveTo>
                  <a:lnTo>
                    <a:pt x="3432" y="3438"/>
                  </a:lnTo>
                  <a:lnTo>
                    <a:pt x="3432" y="3442"/>
                  </a:lnTo>
                  <a:lnTo>
                    <a:pt x="3434" y="3442"/>
                  </a:lnTo>
                  <a:lnTo>
                    <a:pt x="3440" y="3436"/>
                  </a:lnTo>
                  <a:lnTo>
                    <a:pt x="3446" y="3428"/>
                  </a:lnTo>
                  <a:lnTo>
                    <a:pt x="3448" y="3424"/>
                  </a:lnTo>
                  <a:lnTo>
                    <a:pt x="3448" y="3422"/>
                  </a:lnTo>
                  <a:lnTo>
                    <a:pt x="3444" y="3422"/>
                  </a:lnTo>
                  <a:lnTo>
                    <a:pt x="3438" y="3424"/>
                  </a:lnTo>
                  <a:lnTo>
                    <a:pt x="3434" y="3430"/>
                  </a:lnTo>
                  <a:lnTo>
                    <a:pt x="3432" y="3434"/>
                  </a:lnTo>
                  <a:lnTo>
                    <a:pt x="3432" y="3438"/>
                  </a:lnTo>
                  <a:close/>
                  <a:moveTo>
                    <a:pt x="3434" y="3100"/>
                  </a:moveTo>
                  <a:lnTo>
                    <a:pt x="3434" y="3100"/>
                  </a:lnTo>
                  <a:lnTo>
                    <a:pt x="3432" y="3102"/>
                  </a:lnTo>
                  <a:lnTo>
                    <a:pt x="3430" y="3106"/>
                  </a:lnTo>
                  <a:lnTo>
                    <a:pt x="3430" y="3110"/>
                  </a:lnTo>
                  <a:lnTo>
                    <a:pt x="3428" y="3116"/>
                  </a:lnTo>
                  <a:lnTo>
                    <a:pt x="3426" y="3126"/>
                  </a:lnTo>
                  <a:lnTo>
                    <a:pt x="3426" y="3130"/>
                  </a:lnTo>
                  <a:lnTo>
                    <a:pt x="3428" y="3128"/>
                  </a:lnTo>
                  <a:lnTo>
                    <a:pt x="3430" y="3124"/>
                  </a:lnTo>
                  <a:lnTo>
                    <a:pt x="3432" y="3120"/>
                  </a:lnTo>
                  <a:lnTo>
                    <a:pt x="3434" y="3114"/>
                  </a:lnTo>
                  <a:lnTo>
                    <a:pt x="3436" y="3110"/>
                  </a:lnTo>
                  <a:lnTo>
                    <a:pt x="3438" y="3104"/>
                  </a:lnTo>
                  <a:lnTo>
                    <a:pt x="3438" y="3100"/>
                  </a:lnTo>
                  <a:lnTo>
                    <a:pt x="3436" y="3100"/>
                  </a:lnTo>
                  <a:lnTo>
                    <a:pt x="3434" y="3100"/>
                  </a:lnTo>
                  <a:close/>
                  <a:moveTo>
                    <a:pt x="4106" y="2564"/>
                  </a:moveTo>
                  <a:lnTo>
                    <a:pt x="4106" y="2564"/>
                  </a:lnTo>
                  <a:lnTo>
                    <a:pt x="4098" y="2576"/>
                  </a:lnTo>
                  <a:lnTo>
                    <a:pt x="4088" y="2586"/>
                  </a:lnTo>
                  <a:lnTo>
                    <a:pt x="4084" y="2594"/>
                  </a:lnTo>
                  <a:lnTo>
                    <a:pt x="4082" y="2598"/>
                  </a:lnTo>
                  <a:lnTo>
                    <a:pt x="4084" y="2604"/>
                  </a:lnTo>
                  <a:lnTo>
                    <a:pt x="4086" y="2604"/>
                  </a:lnTo>
                  <a:lnTo>
                    <a:pt x="4088" y="2602"/>
                  </a:lnTo>
                  <a:lnTo>
                    <a:pt x="4094" y="2592"/>
                  </a:lnTo>
                  <a:lnTo>
                    <a:pt x="4098" y="2586"/>
                  </a:lnTo>
                  <a:lnTo>
                    <a:pt x="4104" y="2580"/>
                  </a:lnTo>
                  <a:lnTo>
                    <a:pt x="4112" y="2574"/>
                  </a:lnTo>
                  <a:lnTo>
                    <a:pt x="4122" y="2570"/>
                  </a:lnTo>
                  <a:lnTo>
                    <a:pt x="4126" y="2568"/>
                  </a:lnTo>
                  <a:lnTo>
                    <a:pt x="4126" y="2566"/>
                  </a:lnTo>
                  <a:lnTo>
                    <a:pt x="4120" y="2562"/>
                  </a:lnTo>
                  <a:lnTo>
                    <a:pt x="4112" y="2562"/>
                  </a:lnTo>
                  <a:lnTo>
                    <a:pt x="4108" y="2562"/>
                  </a:lnTo>
                  <a:lnTo>
                    <a:pt x="4106" y="2564"/>
                  </a:lnTo>
                  <a:close/>
                  <a:moveTo>
                    <a:pt x="3472" y="4884"/>
                  </a:moveTo>
                  <a:lnTo>
                    <a:pt x="3472" y="4884"/>
                  </a:lnTo>
                  <a:lnTo>
                    <a:pt x="3474" y="4884"/>
                  </a:lnTo>
                  <a:lnTo>
                    <a:pt x="3476" y="4884"/>
                  </a:lnTo>
                  <a:lnTo>
                    <a:pt x="3484" y="4882"/>
                  </a:lnTo>
                  <a:lnTo>
                    <a:pt x="3488" y="4880"/>
                  </a:lnTo>
                  <a:lnTo>
                    <a:pt x="3490" y="4878"/>
                  </a:lnTo>
                  <a:lnTo>
                    <a:pt x="3488" y="4878"/>
                  </a:lnTo>
                  <a:lnTo>
                    <a:pt x="3478" y="4878"/>
                  </a:lnTo>
                  <a:lnTo>
                    <a:pt x="3472" y="4880"/>
                  </a:lnTo>
                  <a:lnTo>
                    <a:pt x="3472" y="4882"/>
                  </a:lnTo>
                  <a:lnTo>
                    <a:pt x="3472" y="4884"/>
                  </a:lnTo>
                  <a:close/>
                  <a:moveTo>
                    <a:pt x="3468" y="3214"/>
                  </a:moveTo>
                  <a:lnTo>
                    <a:pt x="3468" y="3214"/>
                  </a:lnTo>
                  <a:lnTo>
                    <a:pt x="3468" y="3212"/>
                  </a:lnTo>
                  <a:lnTo>
                    <a:pt x="3466" y="3212"/>
                  </a:lnTo>
                  <a:lnTo>
                    <a:pt x="3462" y="3212"/>
                  </a:lnTo>
                  <a:lnTo>
                    <a:pt x="3460" y="3218"/>
                  </a:lnTo>
                  <a:lnTo>
                    <a:pt x="3460" y="3224"/>
                  </a:lnTo>
                  <a:lnTo>
                    <a:pt x="3460" y="3226"/>
                  </a:lnTo>
                  <a:lnTo>
                    <a:pt x="3462" y="3226"/>
                  </a:lnTo>
                  <a:lnTo>
                    <a:pt x="3464" y="3224"/>
                  </a:lnTo>
                  <a:lnTo>
                    <a:pt x="3468" y="3220"/>
                  </a:lnTo>
                  <a:lnTo>
                    <a:pt x="3468" y="3214"/>
                  </a:lnTo>
                  <a:close/>
                  <a:moveTo>
                    <a:pt x="3482" y="3322"/>
                  </a:moveTo>
                  <a:lnTo>
                    <a:pt x="3482" y="3322"/>
                  </a:lnTo>
                  <a:lnTo>
                    <a:pt x="3478" y="3322"/>
                  </a:lnTo>
                  <a:lnTo>
                    <a:pt x="3476" y="3326"/>
                  </a:lnTo>
                  <a:lnTo>
                    <a:pt x="3478" y="3330"/>
                  </a:lnTo>
                  <a:lnTo>
                    <a:pt x="3482" y="3332"/>
                  </a:lnTo>
                  <a:lnTo>
                    <a:pt x="3486" y="3332"/>
                  </a:lnTo>
                  <a:lnTo>
                    <a:pt x="3486" y="3328"/>
                  </a:lnTo>
                  <a:lnTo>
                    <a:pt x="3484" y="3324"/>
                  </a:lnTo>
                  <a:lnTo>
                    <a:pt x="3482" y="3322"/>
                  </a:lnTo>
                  <a:close/>
                  <a:moveTo>
                    <a:pt x="3652" y="3124"/>
                  </a:moveTo>
                  <a:lnTo>
                    <a:pt x="3652" y="3124"/>
                  </a:lnTo>
                  <a:lnTo>
                    <a:pt x="3654" y="3126"/>
                  </a:lnTo>
                  <a:lnTo>
                    <a:pt x="3656" y="3124"/>
                  </a:lnTo>
                  <a:lnTo>
                    <a:pt x="3658" y="3118"/>
                  </a:lnTo>
                  <a:lnTo>
                    <a:pt x="3662" y="3112"/>
                  </a:lnTo>
                  <a:lnTo>
                    <a:pt x="3662" y="3106"/>
                  </a:lnTo>
                  <a:lnTo>
                    <a:pt x="3662" y="3104"/>
                  </a:lnTo>
                  <a:lnTo>
                    <a:pt x="3660" y="3104"/>
                  </a:lnTo>
                  <a:lnTo>
                    <a:pt x="3656" y="3110"/>
                  </a:lnTo>
                  <a:lnTo>
                    <a:pt x="3652" y="3116"/>
                  </a:lnTo>
                  <a:lnTo>
                    <a:pt x="3652" y="3120"/>
                  </a:lnTo>
                  <a:lnTo>
                    <a:pt x="3652" y="3124"/>
                  </a:lnTo>
                  <a:close/>
                  <a:moveTo>
                    <a:pt x="3482" y="4890"/>
                  </a:moveTo>
                  <a:lnTo>
                    <a:pt x="3482" y="4890"/>
                  </a:lnTo>
                  <a:lnTo>
                    <a:pt x="3486" y="4896"/>
                  </a:lnTo>
                  <a:lnTo>
                    <a:pt x="3492" y="4904"/>
                  </a:lnTo>
                  <a:lnTo>
                    <a:pt x="3494" y="4904"/>
                  </a:lnTo>
                  <a:lnTo>
                    <a:pt x="3498" y="4898"/>
                  </a:lnTo>
                  <a:lnTo>
                    <a:pt x="3498" y="4890"/>
                  </a:lnTo>
                  <a:lnTo>
                    <a:pt x="3498" y="4888"/>
                  </a:lnTo>
                  <a:lnTo>
                    <a:pt x="3496" y="4886"/>
                  </a:lnTo>
                  <a:lnTo>
                    <a:pt x="3492" y="4884"/>
                  </a:lnTo>
                  <a:lnTo>
                    <a:pt x="3486" y="4884"/>
                  </a:lnTo>
                  <a:lnTo>
                    <a:pt x="3482" y="4886"/>
                  </a:lnTo>
                  <a:lnTo>
                    <a:pt x="3482" y="4888"/>
                  </a:lnTo>
                  <a:lnTo>
                    <a:pt x="3482" y="4890"/>
                  </a:lnTo>
                  <a:close/>
                  <a:moveTo>
                    <a:pt x="3640" y="3122"/>
                  </a:moveTo>
                  <a:lnTo>
                    <a:pt x="3640" y="3122"/>
                  </a:lnTo>
                  <a:lnTo>
                    <a:pt x="3634" y="3120"/>
                  </a:lnTo>
                  <a:lnTo>
                    <a:pt x="3628" y="3116"/>
                  </a:lnTo>
                  <a:lnTo>
                    <a:pt x="3620" y="3116"/>
                  </a:lnTo>
                  <a:lnTo>
                    <a:pt x="3612" y="3120"/>
                  </a:lnTo>
                  <a:lnTo>
                    <a:pt x="3608" y="3122"/>
                  </a:lnTo>
                  <a:lnTo>
                    <a:pt x="3604" y="3126"/>
                  </a:lnTo>
                  <a:lnTo>
                    <a:pt x="3602" y="3132"/>
                  </a:lnTo>
                  <a:lnTo>
                    <a:pt x="3600" y="3136"/>
                  </a:lnTo>
                  <a:lnTo>
                    <a:pt x="3598" y="3138"/>
                  </a:lnTo>
                  <a:lnTo>
                    <a:pt x="3596" y="3136"/>
                  </a:lnTo>
                  <a:lnTo>
                    <a:pt x="3592" y="3136"/>
                  </a:lnTo>
                  <a:lnTo>
                    <a:pt x="3590" y="3136"/>
                  </a:lnTo>
                  <a:lnTo>
                    <a:pt x="3586" y="3138"/>
                  </a:lnTo>
                  <a:lnTo>
                    <a:pt x="3582" y="3140"/>
                  </a:lnTo>
                  <a:lnTo>
                    <a:pt x="3580" y="3136"/>
                  </a:lnTo>
                  <a:lnTo>
                    <a:pt x="3580" y="3130"/>
                  </a:lnTo>
                  <a:lnTo>
                    <a:pt x="3578" y="3128"/>
                  </a:lnTo>
                  <a:lnTo>
                    <a:pt x="3576" y="3128"/>
                  </a:lnTo>
                  <a:lnTo>
                    <a:pt x="3574" y="3132"/>
                  </a:lnTo>
                  <a:lnTo>
                    <a:pt x="3568" y="3144"/>
                  </a:lnTo>
                  <a:lnTo>
                    <a:pt x="3564" y="3150"/>
                  </a:lnTo>
                  <a:lnTo>
                    <a:pt x="3560" y="3156"/>
                  </a:lnTo>
                  <a:lnTo>
                    <a:pt x="3550" y="3164"/>
                  </a:lnTo>
                  <a:lnTo>
                    <a:pt x="3544" y="3168"/>
                  </a:lnTo>
                  <a:lnTo>
                    <a:pt x="3548" y="3168"/>
                  </a:lnTo>
                  <a:lnTo>
                    <a:pt x="3554" y="3168"/>
                  </a:lnTo>
                  <a:lnTo>
                    <a:pt x="3556" y="3170"/>
                  </a:lnTo>
                  <a:lnTo>
                    <a:pt x="3558" y="3172"/>
                  </a:lnTo>
                  <a:lnTo>
                    <a:pt x="3558" y="3174"/>
                  </a:lnTo>
                  <a:lnTo>
                    <a:pt x="3558" y="3182"/>
                  </a:lnTo>
                  <a:lnTo>
                    <a:pt x="3558" y="3186"/>
                  </a:lnTo>
                  <a:lnTo>
                    <a:pt x="3562" y="3190"/>
                  </a:lnTo>
                  <a:lnTo>
                    <a:pt x="3564" y="3192"/>
                  </a:lnTo>
                  <a:lnTo>
                    <a:pt x="3564" y="3196"/>
                  </a:lnTo>
                  <a:lnTo>
                    <a:pt x="3564" y="3198"/>
                  </a:lnTo>
                  <a:lnTo>
                    <a:pt x="3562" y="3200"/>
                  </a:lnTo>
                  <a:lnTo>
                    <a:pt x="3564" y="3200"/>
                  </a:lnTo>
                  <a:lnTo>
                    <a:pt x="3574" y="3202"/>
                  </a:lnTo>
                  <a:lnTo>
                    <a:pt x="3578" y="3202"/>
                  </a:lnTo>
                  <a:lnTo>
                    <a:pt x="3580" y="3198"/>
                  </a:lnTo>
                  <a:lnTo>
                    <a:pt x="3584" y="3186"/>
                  </a:lnTo>
                  <a:lnTo>
                    <a:pt x="3588" y="3178"/>
                  </a:lnTo>
                  <a:lnTo>
                    <a:pt x="3590" y="3172"/>
                  </a:lnTo>
                  <a:lnTo>
                    <a:pt x="3594" y="3166"/>
                  </a:lnTo>
                  <a:lnTo>
                    <a:pt x="3602" y="3164"/>
                  </a:lnTo>
                  <a:lnTo>
                    <a:pt x="3608" y="3162"/>
                  </a:lnTo>
                  <a:lnTo>
                    <a:pt x="3614" y="3164"/>
                  </a:lnTo>
                  <a:lnTo>
                    <a:pt x="3620" y="3170"/>
                  </a:lnTo>
                  <a:lnTo>
                    <a:pt x="3624" y="3172"/>
                  </a:lnTo>
                  <a:lnTo>
                    <a:pt x="3626" y="3172"/>
                  </a:lnTo>
                  <a:lnTo>
                    <a:pt x="3628" y="3170"/>
                  </a:lnTo>
                  <a:lnTo>
                    <a:pt x="3630" y="3166"/>
                  </a:lnTo>
                  <a:lnTo>
                    <a:pt x="3632" y="3160"/>
                  </a:lnTo>
                  <a:lnTo>
                    <a:pt x="3636" y="3156"/>
                  </a:lnTo>
                  <a:lnTo>
                    <a:pt x="3642" y="3150"/>
                  </a:lnTo>
                  <a:lnTo>
                    <a:pt x="3646" y="3148"/>
                  </a:lnTo>
                  <a:lnTo>
                    <a:pt x="3648" y="3144"/>
                  </a:lnTo>
                  <a:lnTo>
                    <a:pt x="3646" y="3140"/>
                  </a:lnTo>
                  <a:lnTo>
                    <a:pt x="3644" y="3132"/>
                  </a:lnTo>
                  <a:lnTo>
                    <a:pt x="3644" y="3128"/>
                  </a:lnTo>
                  <a:lnTo>
                    <a:pt x="3644" y="3126"/>
                  </a:lnTo>
                  <a:lnTo>
                    <a:pt x="3640" y="3122"/>
                  </a:lnTo>
                  <a:close/>
                  <a:moveTo>
                    <a:pt x="3450" y="4936"/>
                  </a:moveTo>
                  <a:lnTo>
                    <a:pt x="3450" y="4936"/>
                  </a:lnTo>
                  <a:lnTo>
                    <a:pt x="3456" y="4938"/>
                  </a:lnTo>
                  <a:lnTo>
                    <a:pt x="3462" y="4940"/>
                  </a:lnTo>
                  <a:lnTo>
                    <a:pt x="3468" y="4940"/>
                  </a:lnTo>
                  <a:lnTo>
                    <a:pt x="3470" y="4938"/>
                  </a:lnTo>
                  <a:lnTo>
                    <a:pt x="3472" y="4934"/>
                  </a:lnTo>
                  <a:lnTo>
                    <a:pt x="3474" y="4926"/>
                  </a:lnTo>
                  <a:lnTo>
                    <a:pt x="3472" y="4922"/>
                  </a:lnTo>
                  <a:lnTo>
                    <a:pt x="3466" y="4922"/>
                  </a:lnTo>
                  <a:lnTo>
                    <a:pt x="3458" y="4924"/>
                  </a:lnTo>
                  <a:lnTo>
                    <a:pt x="3448" y="4930"/>
                  </a:lnTo>
                  <a:lnTo>
                    <a:pt x="3448" y="4932"/>
                  </a:lnTo>
                  <a:lnTo>
                    <a:pt x="3450" y="4936"/>
                  </a:lnTo>
                  <a:close/>
                  <a:moveTo>
                    <a:pt x="3012" y="5270"/>
                  </a:moveTo>
                  <a:lnTo>
                    <a:pt x="3012" y="5270"/>
                  </a:lnTo>
                  <a:lnTo>
                    <a:pt x="3008" y="5266"/>
                  </a:lnTo>
                  <a:lnTo>
                    <a:pt x="3006" y="5264"/>
                  </a:lnTo>
                  <a:lnTo>
                    <a:pt x="3008" y="5262"/>
                  </a:lnTo>
                  <a:lnTo>
                    <a:pt x="3012" y="5264"/>
                  </a:lnTo>
                  <a:lnTo>
                    <a:pt x="3020" y="5266"/>
                  </a:lnTo>
                  <a:lnTo>
                    <a:pt x="3022" y="5266"/>
                  </a:lnTo>
                  <a:lnTo>
                    <a:pt x="3022" y="5264"/>
                  </a:lnTo>
                  <a:lnTo>
                    <a:pt x="3022" y="5258"/>
                  </a:lnTo>
                  <a:lnTo>
                    <a:pt x="3020" y="5250"/>
                  </a:lnTo>
                  <a:lnTo>
                    <a:pt x="3014" y="5244"/>
                  </a:lnTo>
                  <a:lnTo>
                    <a:pt x="3010" y="5242"/>
                  </a:lnTo>
                  <a:lnTo>
                    <a:pt x="3008" y="5244"/>
                  </a:lnTo>
                  <a:lnTo>
                    <a:pt x="3006" y="5246"/>
                  </a:lnTo>
                  <a:lnTo>
                    <a:pt x="3004" y="5246"/>
                  </a:lnTo>
                  <a:lnTo>
                    <a:pt x="3000" y="5242"/>
                  </a:lnTo>
                  <a:lnTo>
                    <a:pt x="2998" y="5240"/>
                  </a:lnTo>
                  <a:lnTo>
                    <a:pt x="2994" y="5240"/>
                  </a:lnTo>
                  <a:lnTo>
                    <a:pt x="2992" y="5242"/>
                  </a:lnTo>
                  <a:lnTo>
                    <a:pt x="2988" y="5244"/>
                  </a:lnTo>
                  <a:lnTo>
                    <a:pt x="2986" y="5244"/>
                  </a:lnTo>
                  <a:lnTo>
                    <a:pt x="2982" y="5240"/>
                  </a:lnTo>
                  <a:lnTo>
                    <a:pt x="2978" y="5236"/>
                  </a:lnTo>
                  <a:lnTo>
                    <a:pt x="2974" y="5234"/>
                  </a:lnTo>
                  <a:lnTo>
                    <a:pt x="2970" y="5234"/>
                  </a:lnTo>
                  <a:lnTo>
                    <a:pt x="2966" y="5236"/>
                  </a:lnTo>
                  <a:lnTo>
                    <a:pt x="2964" y="5238"/>
                  </a:lnTo>
                  <a:lnTo>
                    <a:pt x="2964" y="5240"/>
                  </a:lnTo>
                  <a:lnTo>
                    <a:pt x="2966" y="5244"/>
                  </a:lnTo>
                  <a:lnTo>
                    <a:pt x="2970" y="5250"/>
                  </a:lnTo>
                  <a:lnTo>
                    <a:pt x="2974" y="5252"/>
                  </a:lnTo>
                  <a:lnTo>
                    <a:pt x="2978" y="5252"/>
                  </a:lnTo>
                  <a:lnTo>
                    <a:pt x="2984" y="5256"/>
                  </a:lnTo>
                  <a:lnTo>
                    <a:pt x="2986" y="5260"/>
                  </a:lnTo>
                  <a:lnTo>
                    <a:pt x="2984" y="5260"/>
                  </a:lnTo>
                  <a:lnTo>
                    <a:pt x="2982" y="5260"/>
                  </a:lnTo>
                  <a:lnTo>
                    <a:pt x="2976" y="5262"/>
                  </a:lnTo>
                  <a:lnTo>
                    <a:pt x="2972" y="5264"/>
                  </a:lnTo>
                  <a:lnTo>
                    <a:pt x="2970" y="5264"/>
                  </a:lnTo>
                  <a:lnTo>
                    <a:pt x="2966" y="5260"/>
                  </a:lnTo>
                  <a:lnTo>
                    <a:pt x="2960" y="5252"/>
                  </a:lnTo>
                  <a:lnTo>
                    <a:pt x="2956" y="5252"/>
                  </a:lnTo>
                  <a:lnTo>
                    <a:pt x="2954" y="5252"/>
                  </a:lnTo>
                  <a:lnTo>
                    <a:pt x="2948" y="5250"/>
                  </a:lnTo>
                  <a:lnTo>
                    <a:pt x="2944" y="5248"/>
                  </a:lnTo>
                  <a:lnTo>
                    <a:pt x="2940" y="5246"/>
                  </a:lnTo>
                  <a:lnTo>
                    <a:pt x="2938" y="5248"/>
                  </a:lnTo>
                  <a:lnTo>
                    <a:pt x="2936" y="5250"/>
                  </a:lnTo>
                  <a:lnTo>
                    <a:pt x="2932" y="5254"/>
                  </a:lnTo>
                  <a:lnTo>
                    <a:pt x="2928" y="5256"/>
                  </a:lnTo>
                  <a:lnTo>
                    <a:pt x="2926" y="5258"/>
                  </a:lnTo>
                  <a:lnTo>
                    <a:pt x="2926" y="5266"/>
                  </a:lnTo>
                  <a:lnTo>
                    <a:pt x="2926" y="5270"/>
                  </a:lnTo>
                  <a:lnTo>
                    <a:pt x="2926" y="5276"/>
                  </a:lnTo>
                  <a:lnTo>
                    <a:pt x="2926" y="5278"/>
                  </a:lnTo>
                  <a:lnTo>
                    <a:pt x="2928" y="5280"/>
                  </a:lnTo>
                  <a:lnTo>
                    <a:pt x="2938" y="5282"/>
                  </a:lnTo>
                  <a:lnTo>
                    <a:pt x="2948" y="5282"/>
                  </a:lnTo>
                  <a:lnTo>
                    <a:pt x="2960" y="5278"/>
                  </a:lnTo>
                  <a:lnTo>
                    <a:pt x="2970" y="5274"/>
                  </a:lnTo>
                  <a:lnTo>
                    <a:pt x="2978" y="5272"/>
                  </a:lnTo>
                  <a:lnTo>
                    <a:pt x="2984" y="5272"/>
                  </a:lnTo>
                  <a:lnTo>
                    <a:pt x="2986" y="5268"/>
                  </a:lnTo>
                  <a:lnTo>
                    <a:pt x="2988" y="5268"/>
                  </a:lnTo>
                  <a:lnTo>
                    <a:pt x="2990" y="5270"/>
                  </a:lnTo>
                  <a:lnTo>
                    <a:pt x="2992" y="5272"/>
                  </a:lnTo>
                  <a:lnTo>
                    <a:pt x="2994" y="5270"/>
                  </a:lnTo>
                  <a:lnTo>
                    <a:pt x="2998" y="5270"/>
                  </a:lnTo>
                  <a:lnTo>
                    <a:pt x="3004" y="5270"/>
                  </a:lnTo>
                  <a:lnTo>
                    <a:pt x="3014" y="5272"/>
                  </a:lnTo>
                  <a:lnTo>
                    <a:pt x="3016" y="5272"/>
                  </a:lnTo>
                  <a:lnTo>
                    <a:pt x="3012" y="5270"/>
                  </a:lnTo>
                  <a:close/>
                  <a:moveTo>
                    <a:pt x="3240" y="4810"/>
                  </a:moveTo>
                  <a:lnTo>
                    <a:pt x="3240" y="4810"/>
                  </a:lnTo>
                  <a:lnTo>
                    <a:pt x="3258" y="4782"/>
                  </a:lnTo>
                  <a:lnTo>
                    <a:pt x="3262" y="4776"/>
                  </a:lnTo>
                  <a:lnTo>
                    <a:pt x="3264" y="4770"/>
                  </a:lnTo>
                  <a:lnTo>
                    <a:pt x="3264" y="4764"/>
                  </a:lnTo>
                  <a:lnTo>
                    <a:pt x="3262" y="4760"/>
                  </a:lnTo>
                  <a:lnTo>
                    <a:pt x="3258" y="4756"/>
                  </a:lnTo>
                  <a:lnTo>
                    <a:pt x="3254" y="4756"/>
                  </a:lnTo>
                  <a:lnTo>
                    <a:pt x="3250" y="4758"/>
                  </a:lnTo>
                  <a:lnTo>
                    <a:pt x="3246" y="4764"/>
                  </a:lnTo>
                  <a:lnTo>
                    <a:pt x="3236" y="4776"/>
                  </a:lnTo>
                  <a:lnTo>
                    <a:pt x="3228" y="4792"/>
                  </a:lnTo>
                  <a:lnTo>
                    <a:pt x="3222" y="4796"/>
                  </a:lnTo>
                  <a:lnTo>
                    <a:pt x="3216" y="4798"/>
                  </a:lnTo>
                  <a:lnTo>
                    <a:pt x="3208" y="4798"/>
                  </a:lnTo>
                  <a:lnTo>
                    <a:pt x="3198" y="4798"/>
                  </a:lnTo>
                  <a:lnTo>
                    <a:pt x="3182" y="4794"/>
                  </a:lnTo>
                  <a:lnTo>
                    <a:pt x="3176" y="4794"/>
                  </a:lnTo>
                  <a:lnTo>
                    <a:pt x="3174" y="4796"/>
                  </a:lnTo>
                  <a:lnTo>
                    <a:pt x="3170" y="4798"/>
                  </a:lnTo>
                  <a:lnTo>
                    <a:pt x="3168" y="4798"/>
                  </a:lnTo>
                  <a:lnTo>
                    <a:pt x="3158" y="4794"/>
                  </a:lnTo>
                  <a:lnTo>
                    <a:pt x="3146" y="4792"/>
                  </a:lnTo>
                  <a:lnTo>
                    <a:pt x="3138" y="4790"/>
                  </a:lnTo>
                  <a:lnTo>
                    <a:pt x="3130" y="4790"/>
                  </a:lnTo>
                  <a:lnTo>
                    <a:pt x="3122" y="4790"/>
                  </a:lnTo>
                  <a:lnTo>
                    <a:pt x="3118" y="4788"/>
                  </a:lnTo>
                  <a:lnTo>
                    <a:pt x="3116" y="4786"/>
                  </a:lnTo>
                  <a:lnTo>
                    <a:pt x="3114" y="4784"/>
                  </a:lnTo>
                  <a:lnTo>
                    <a:pt x="3114" y="4780"/>
                  </a:lnTo>
                  <a:lnTo>
                    <a:pt x="3114" y="4778"/>
                  </a:lnTo>
                  <a:lnTo>
                    <a:pt x="3112" y="4778"/>
                  </a:lnTo>
                  <a:lnTo>
                    <a:pt x="3104" y="4778"/>
                  </a:lnTo>
                  <a:lnTo>
                    <a:pt x="3098" y="4776"/>
                  </a:lnTo>
                  <a:lnTo>
                    <a:pt x="3092" y="4776"/>
                  </a:lnTo>
                  <a:lnTo>
                    <a:pt x="3090" y="4778"/>
                  </a:lnTo>
                  <a:lnTo>
                    <a:pt x="3088" y="4780"/>
                  </a:lnTo>
                  <a:lnTo>
                    <a:pt x="3084" y="4788"/>
                  </a:lnTo>
                  <a:lnTo>
                    <a:pt x="3080" y="4796"/>
                  </a:lnTo>
                  <a:lnTo>
                    <a:pt x="3078" y="4800"/>
                  </a:lnTo>
                  <a:lnTo>
                    <a:pt x="3074" y="4800"/>
                  </a:lnTo>
                  <a:lnTo>
                    <a:pt x="3072" y="4800"/>
                  </a:lnTo>
                  <a:lnTo>
                    <a:pt x="3068" y="4796"/>
                  </a:lnTo>
                  <a:lnTo>
                    <a:pt x="3066" y="4792"/>
                  </a:lnTo>
                  <a:lnTo>
                    <a:pt x="3064" y="4792"/>
                  </a:lnTo>
                  <a:lnTo>
                    <a:pt x="3060" y="4798"/>
                  </a:lnTo>
                  <a:lnTo>
                    <a:pt x="3056" y="4810"/>
                  </a:lnTo>
                  <a:lnTo>
                    <a:pt x="3052" y="4820"/>
                  </a:lnTo>
                  <a:lnTo>
                    <a:pt x="3048" y="4824"/>
                  </a:lnTo>
                  <a:lnTo>
                    <a:pt x="3048" y="4828"/>
                  </a:lnTo>
                  <a:lnTo>
                    <a:pt x="3048" y="4834"/>
                  </a:lnTo>
                  <a:lnTo>
                    <a:pt x="3048" y="4838"/>
                  </a:lnTo>
                  <a:lnTo>
                    <a:pt x="3046" y="4840"/>
                  </a:lnTo>
                  <a:lnTo>
                    <a:pt x="3044" y="4842"/>
                  </a:lnTo>
                  <a:lnTo>
                    <a:pt x="3040" y="4844"/>
                  </a:lnTo>
                  <a:lnTo>
                    <a:pt x="3040" y="4848"/>
                  </a:lnTo>
                  <a:lnTo>
                    <a:pt x="3042" y="4854"/>
                  </a:lnTo>
                  <a:lnTo>
                    <a:pt x="3044" y="4864"/>
                  </a:lnTo>
                  <a:lnTo>
                    <a:pt x="3040" y="4876"/>
                  </a:lnTo>
                  <a:lnTo>
                    <a:pt x="3034" y="4886"/>
                  </a:lnTo>
                  <a:lnTo>
                    <a:pt x="3030" y="4900"/>
                  </a:lnTo>
                  <a:lnTo>
                    <a:pt x="3030" y="4908"/>
                  </a:lnTo>
                  <a:lnTo>
                    <a:pt x="3030" y="4918"/>
                  </a:lnTo>
                  <a:lnTo>
                    <a:pt x="3030" y="4932"/>
                  </a:lnTo>
                  <a:lnTo>
                    <a:pt x="3028" y="4934"/>
                  </a:lnTo>
                  <a:lnTo>
                    <a:pt x="3026" y="4936"/>
                  </a:lnTo>
                  <a:lnTo>
                    <a:pt x="3024" y="4936"/>
                  </a:lnTo>
                  <a:lnTo>
                    <a:pt x="3024" y="4938"/>
                  </a:lnTo>
                  <a:lnTo>
                    <a:pt x="3022" y="4944"/>
                  </a:lnTo>
                  <a:lnTo>
                    <a:pt x="3020" y="4952"/>
                  </a:lnTo>
                  <a:lnTo>
                    <a:pt x="3020" y="4960"/>
                  </a:lnTo>
                  <a:lnTo>
                    <a:pt x="3016" y="4964"/>
                  </a:lnTo>
                  <a:lnTo>
                    <a:pt x="3014" y="4968"/>
                  </a:lnTo>
                  <a:lnTo>
                    <a:pt x="3010" y="4968"/>
                  </a:lnTo>
                  <a:lnTo>
                    <a:pt x="3006" y="4970"/>
                  </a:lnTo>
                  <a:lnTo>
                    <a:pt x="3006" y="4972"/>
                  </a:lnTo>
                  <a:lnTo>
                    <a:pt x="3008" y="4976"/>
                  </a:lnTo>
                  <a:lnTo>
                    <a:pt x="3010" y="4984"/>
                  </a:lnTo>
                  <a:lnTo>
                    <a:pt x="3008" y="4986"/>
                  </a:lnTo>
                  <a:lnTo>
                    <a:pt x="3006" y="4990"/>
                  </a:lnTo>
                  <a:lnTo>
                    <a:pt x="3008" y="5002"/>
                  </a:lnTo>
                  <a:lnTo>
                    <a:pt x="3012" y="5008"/>
                  </a:lnTo>
                  <a:lnTo>
                    <a:pt x="3014" y="5010"/>
                  </a:lnTo>
                  <a:lnTo>
                    <a:pt x="3018" y="5010"/>
                  </a:lnTo>
                  <a:lnTo>
                    <a:pt x="3020" y="5010"/>
                  </a:lnTo>
                  <a:lnTo>
                    <a:pt x="3024" y="5010"/>
                  </a:lnTo>
                  <a:lnTo>
                    <a:pt x="3028" y="5010"/>
                  </a:lnTo>
                  <a:lnTo>
                    <a:pt x="3032" y="5014"/>
                  </a:lnTo>
                  <a:lnTo>
                    <a:pt x="3036" y="5022"/>
                  </a:lnTo>
                  <a:lnTo>
                    <a:pt x="3040" y="5034"/>
                  </a:lnTo>
                  <a:lnTo>
                    <a:pt x="3040" y="5046"/>
                  </a:lnTo>
                  <a:lnTo>
                    <a:pt x="3038" y="5058"/>
                  </a:lnTo>
                  <a:lnTo>
                    <a:pt x="3036" y="5070"/>
                  </a:lnTo>
                  <a:lnTo>
                    <a:pt x="3032" y="5082"/>
                  </a:lnTo>
                  <a:lnTo>
                    <a:pt x="3030" y="5092"/>
                  </a:lnTo>
                  <a:lnTo>
                    <a:pt x="3030" y="5102"/>
                  </a:lnTo>
                  <a:lnTo>
                    <a:pt x="3034" y="5112"/>
                  </a:lnTo>
                  <a:lnTo>
                    <a:pt x="3038" y="5116"/>
                  </a:lnTo>
                  <a:lnTo>
                    <a:pt x="3042" y="5118"/>
                  </a:lnTo>
                  <a:lnTo>
                    <a:pt x="3046" y="5118"/>
                  </a:lnTo>
                  <a:lnTo>
                    <a:pt x="3050" y="5116"/>
                  </a:lnTo>
                  <a:lnTo>
                    <a:pt x="3058" y="5114"/>
                  </a:lnTo>
                  <a:lnTo>
                    <a:pt x="3068" y="5112"/>
                  </a:lnTo>
                  <a:lnTo>
                    <a:pt x="3072" y="5112"/>
                  </a:lnTo>
                  <a:lnTo>
                    <a:pt x="3072" y="5110"/>
                  </a:lnTo>
                  <a:lnTo>
                    <a:pt x="3070" y="5100"/>
                  </a:lnTo>
                  <a:lnTo>
                    <a:pt x="3068" y="5088"/>
                  </a:lnTo>
                  <a:lnTo>
                    <a:pt x="3068" y="5082"/>
                  </a:lnTo>
                  <a:lnTo>
                    <a:pt x="3070" y="5076"/>
                  </a:lnTo>
                  <a:lnTo>
                    <a:pt x="3072" y="5070"/>
                  </a:lnTo>
                  <a:lnTo>
                    <a:pt x="3074" y="5064"/>
                  </a:lnTo>
                  <a:lnTo>
                    <a:pt x="3072" y="5050"/>
                  </a:lnTo>
                  <a:lnTo>
                    <a:pt x="3072" y="5034"/>
                  </a:lnTo>
                  <a:lnTo>
                    <a:pt x="3072" y="5014"/>
                  </a:lnTo>
                  <a:lnTo>
                    <a:pt x="3074" y="5004"/>
                  </a:lnTo>
                  <a:lnTo>
                    <a:pt x="3072" y="4998"/>
                  </a:lnTo>
                  <a:lnTo>
                    <a:pt x="3068" y="4990"/>
                  </a:lnTo>
                  <a:lnTo>
                    <a:pt x="3068" y="4988"/>
                  </a:lnTo>
                  <a:lnTo>
                    <a:pt x="3068" y="4984"/>
                  </a:lnTo>
                  <a:lnTo>
                    <a:pt x="3076" y="4974"/>
                  </a:lnTo>
                  <a:lnTo>
                    <a:pt x="3084" y="4970"/>
                  </a:lnTo>
                  <a:lnTo>
                    <a:pt x="3090" y="4968"/>
                  </a:lnTo>
                  <a:lnTo>
                    <a:pt x="3094" y="4968"/>
                  </a:lnTo>
                  <a:lnTo>
                    <a:pt x="3098" y="4972"/>
                  </a:lnTo>
                  <a:lnTo>
                    <a:pt x="3100" y="4976"/>
                  </a:lnTo>
                  <a:lnTo>
                    <a:pt x="3100" y="4982"/>
                  </a:lnTo>
                  <a:lnTo>
                    <a:pt x="3098" y="4990"/>
                  </a:lnTo>
                  <a:lnTo>
                    <a:pt x="3094" y="4996"/>
                  </a:lnTo>
                  <a:lnTo>
                    <a:pt x="3092" y="5002"/>
                  </a:lnTo>
                  <a:lnTo>
                    <a:pt x="3090" y="5008"/>
                  </a:lnTo>
                  <a:lnTo>
                    <a:pt x="3092" y="5012"/>
                  </a:lnTo>
                  <a:lnTo>
                    <a:pt x="3094" y="5016"/>
                  </a:lnTo>
                  <a:lnTo>
                    <a:pt x="3102" y="5024"/>
                  </a:lnTo>
                  <a:lnTo>
                    <a:pt x="3112" y="5034"/>
                  </a:lnTo>
                  <a:lnTo>
                    <a:pt x="3116" y="5040"/>
                  </a:lnTo>
                  <a:lnTo>
                    <a:pt x="3116" y="5046"/>
                  </a:lnTo>
                  <a:lnTo>
                    <a:pt x="3114" y="5062"/>
                  </a:lnTo>
                  <a:lnTo>
                    <a:pt x="3114" y="5068"/>
                  </a:lnTo>
                  <a:lnTo>
                    <a:pt x="3116" y="5074"/>
                  </a:lnTo>
                  <a:lnTo>
                    <a:pt x="3120" y="5076"/>
                  </a:lnTo>
                  <a:lnTo>
                    <a:pt x="3130" y="5078"/>
                  </a:lnTo>
                  <a:lnTo>
                    <a:pt x="3136" y="5076"/>
                  </a:lnTo>
                  <a:lnTo>
                    <a:pt x="3138" y="5076"/>
                  </a:lnTo>
                  <a:lnTo>
                    <a:pt x="3140" y="5072"/>
                  </a:lnTo>
                  <a:lnTo>
                    <a:pt x="3140" y="5070"/>
                  </a:lnTo>
                  <a:lnTo>
                    <a:pt x="3140" y="5062"/>
                  </a:lnTo>
                  <a:lnTo>
                    <a:pt x="3142" y="5060"/>
                  </a:lnTo>
                  <a:lnTo>
                    <a:pt x="3148" y="5056"/>
                  </a:lnTo>
                  <a:lnTo>
                    <a:pt x="3152" y="5056"/>
                  </a:lnTo>
                  <a:lnTo>
                    <a:pt x="3156" y="5054"/>
                  </a:lnTo>
                  <a:lnTo>
                    <a:pt x="3164" y="5056"/>
                  </a:lnTo>
                  <a:lnTo>
                    <a:pt x="3166" y="5056"/>
                  </a:lnTo>
                  <a:lnTo>
                    <a:pt x="3168" y="5056"/>
                  </a:lnTo>
                  <a:lnTo>
                    <a:pt x="3172" y="5048"/>
                  </a:lnTo>
                  <a:lnTo>
                    <a:pt x="3172" y="5042"/>
                  </a:lnTo>
                  <a:lnTo>
                    <a:pt x="3170" y="5036"/>
                  </a:lnTo>
                  <a:lnTo>
                    <a:pt x="3164" y="5032"/>
                  </a:lnTo>
                  <a:lnTo>
                    <a:pt x="3158" y="5028"/>
                  </a:lnTo>
                  <a:lnTo>
                    <a:pt x="3152" y="5026"/>
                  </a:lnTo>
                  <a:lnTo>
                    <a:pt x="3148" y="5022"/>
                  </a:lnTo>
                  <a:lnTo>
                    <a:pt x="3146" y="5016"/>
                  </a:lnTo>
                  <a:lnTo>
                    <a:pt x="3148" y="5012"/>
                  </a:lnTo>
                  <a:lnTo>
                    <a:pt x="3152" y="5006"/>
                  </a:lnTo>
                  <a:lnTo>
                    <a:pt x="3152" y="4998"/>
                  </a:lnTo>
                  <a:lnTo>
                    <a:pt x="3150" y="4990"/>
                  </a:lnTo>
                  <a:lnTo>
                    <a:pt x="3148" y="4980"/>
                  </a:lnTo>
                  <a:lnTo>
                    <a:pt x="3136" y="4962"/>
                  </a:lnTo>
                  <a:lnTo>
                    <a:pt x="3122" y="4946"/>
                  </a:lnTo>
                  <a:lnTo>
                    <a:pt x="3118" y="4940"/>
                  </a:lnTo>
                  <a:lnTo>
                    <a:pt x="3118" y="4934"/>
                  </a:lnTo>
                  <a:lnTo>
                    <a:pt x="3122" y="4930"/>
                  </a:lnTo>
                  <a:lnTo>
                    <a:pt x="3128" y="4926"/>
                  </a:lnTo>
                  <a:lnTo>
                    <a:pt x="3146" y="4916"/>
                  </a:lnTo>
                  <a:lnTo>
                    <a:pt x="3154" y="4908"/>
                  </a:lnTo>
                  <a:lnTo>
                    <a:pt x="3162" y="4898"/>
                  </a:lnTo>
                  <a:lnTo>
                    <a:pt x="3168" y="4888"/>
                  </a:lnTo>
                  <a:lnTo>
                    <a:pt x="3172" y="4884"/>
                  </a:lnTo>
                  <a:lnTo>
                    <a:pt x="3176" y="4884"/>
                  </a:lnTo>
                  <a:lnTo>
                    <a:pt x="3180" y="4886"/>
                  </a:lnTo>
                  <a:lnTo>
                    <a:pt x="3186" y="4890"/>
                  </a:lnTo>
                  <a:lnTo>
                    <a:pt x="3190" y="4890"/>
                  </a:lnTo>
                  <a:lnTo>
                    <a:pt x="3192" y="4888"/>
                  </a:lnTo>
                  <a:lnTo>
                    <a:pt x="3196" y="4880"/>
                  </a:lnTo>
                  <a:lnTo>
                    <a:pt x="3196" y="4876"/>
                  </a:lnTo>
                  <a:lnTo>
                    <a:pt x="3194" y="4874"/>
                  </a:lnTo>
                  <a:lnTo>
                    <a:pt x="3192" y="4872"/>
                  </a:lnTo>
                  <a:lnTo>
                    <a:pt x="3188" y="4870"/>
                  </a:lnTo>
                  <a:lnTo>
                    <a:pt x="3170" y="4870"/>
                  </a:lnTo>
                  <a:lnTo>
                    <a:pt x="3160" y="4872"/>
                  </a:lnTo>
                  <a:lnTo>
                    <a:pt x="3152" y="4874"/>
                  </a:lnTo>
                  <a:lnTo>
                    <a:pt x="3144" y="4880"/>
                  </a:lnTo>
                  <a:lnTo>
                    <a:pt x="3136" y="4884"/>
                  </a:lnTo>
                  <a:lnTo>
                    <a:pt x="3130" y="4884"/>
                  </a:lnTo>
                  <a:lnTo>
                    <a:pt x="3124" y="4884"/>
                  </a:lnTo>
                  <a:lnTo>
                    <a:pt x="3116" y="4882"/>
                  </a:lnTo>
                  <a:lnTo>
                    <a:pt x="3112" y="4886"/>
                  </a:lnTo>
                  <a:lnTo>
                    <a:pt x="3108" y="4890"/>
                  </a:lnTo>
                  <a:lnTo>
                    <a:pt x="3106" y="4894"/>
                  </a:lnTo>
                  <a:lnTo>
                    <a:pt x="3104" y="4900"/>
                  </a:lnTo>
                  <a:lnTo>
                    <a:pt x="3100" y="4904"/>
                  </a:lnTo>
                  <a:lnTo>
                    <a:pt x="3096" y="4908"/>
                  </a:lnTo>
                  <a:lnTo>
                    <a:pt x="3088" y="4908"/>
                  </a:lnTo>
                  <a:lnTo>
                    <a:pt x="3082" y="4906"/>
                  </a:lnTo>
                  <a:lnTo>
                    <a:pt x="3078" y="4904"/>
                  </a:lnTo>
                  <a:lnTo>
                    <a:pt x="3078" y="4902"/>
                  </a:lnTo>
                  <a:lnTo>
                    <a:pt x="3078" y="4898"/>
                  </a:lnTo>
                  <a:lnTo>
                    <a:pt x="3076" y="4892"/>
                  </a:lnTo>
                  <a:lnTo>
                    <a:pt x="3074" y="4888"/>
                  </a:lnTo>
                  <a:lnTo>
                    <a:pt x="3068" y="4882"/>
                  </a:lnTo>
                  <a:lnTo>
                    <a:pt x="3064" y="4880"/>
                  </a:lnTo>
                  <a:lnTo>
                    <a:pt x="3062" y="4876"/>
                  </a:lnTo>
                  <a:lnTo>
                    <a:pt x="3058" y="4866"/>
                  </a:lnTo>
                  <a:lnTo>
                    <a:pt x="3058" y="4852"/>
                  </a:lnTo>
                  <a:lnTo>
                    <a:pt x="3060" y="4840"/>
                  </a:lnTo>
                  <a:lnTo>
                    <a:pt x="3066" y="4828"/>
                  </a:lnTo>
                  <a:lnTo>
                    <a:pt x="3072" y="4818"/>
                  </a:lnTo>
                  <a:lnTo>
                    <a:pt x="3074" y="4816"/>
                  </a:lnTo>
                  <a:lnTo>
                    <a:pt x="3078" y="4814"/>
                  </a:lnTo>
                  <a:lnTo>
                    <a:pt x="3082" y="4814"/>
                  </a:lnTo>
                  <a:lnTo>
                    <a:pt x="3086" y="4816"/>
                  </a:lnTo>
                  <a:lnTo>
                    <a:pt x="3092" y="4818"/>
                  </a:lnTo>
                  <a:lnTo>
                    <a:pt x="3096" y="4820"/>
                  </a:lnTo>
                  <a:lnTo>
                    <a:pt x="3106" y="4818"/>
                  </a:lnTo>
                  <a:lnTo>
                    <a:pt x="3116" y="4818"/>
                  </a:lnTo>
                  <a:lnTo>
                    <a:pt x="3122" y="4818"/>
                  </a:lnTo>
                  <a:lnTo>
                    <a:pt x="3126" y="4818"/>
                  </a:lnTo>
                  <a:lnTo>
                    <a:pt x="3132" y="4820"/>
                  </a:lnTo>
                  <a:lnTo>
                    <a:pt x="3140" y="4820"/>
                  </a:lnTo>
                  <a:lnTo>
                    <a:pt x="3156" y="4818"/>
                  </a:lnTo>
                  <a:lnTo>
                    <a:pt x="3172" y="4816"/>
                  </a:lnTo>
                  <a:lnTo>
                    <a:pt x="3178" y="4818"/>
                  </a:lnTo>
                  <a:lnTo>
                    <a:pt x="3182" y="4820"/>
                  </a:lnTo>
                  <a:lnTo>
                    <a:pt x="3186" y="4822"/>
                  </a:lnTo>
                  <a:lnTo>
                    <a:pt x="3192" y="4824"/>
                  </a:lnTo>
                  <a:lnTo>
                    <a:pt x="3200" y="4826"/>
                  </a:lnTo>
                  <a:lnTo>
                    <a:pt x="3208" y="4826"/>
                  </a:lnTo>
                  <a:lnTo>
                    <a:pt x="3218" y="4824"/>
                  </a:lnTo>
                  <a:lnTo>
                    <a:pt x="3226" y="4822"/>
                  </a:lnTo>
                  <a:lnTo>
                    <a:pt x="3234" y="4816"/>
                  </a:lnTo>
                  <a:lnTo>
                    <a:pt x="3240" y="4810"/>
                  </a:lnTo>
                  <a:close/>
                  <a:moveTo>
                    <a:pt x="2954" y="5244"/>
                  </a:moveTo>
                  <a:lnTo>
                    <a:pt x="2954" y="5244"/>
                  </a:lnTo>
                  <a:lnTo>
                    <a:pt x="2954" y="5248"/>
                  </a:lnTo>
                  <a:lnTo>
                    <a:pt x="2956" y="5246"/>
                  </a:lnTo>
                  <a:lnTo>
                    <a:pt x="2960" y="5240"/>
                  </a:lnTo>
                  <a:lnTo>
                    <a:pt x="2962" y="5238"/>
                  </a:lnTo>
                  <a:lnTo>
                    <a:pt x="2960" y="5236"/>
                  </a:lnTo>
                  <a:lnTo>
                    <a:pt x="2958" y="5236"/>
                  </a:lnTo>
                  <a:lnTo>
                    <a:pt x="2954" y="5240"/>
                  </a:lnTo>
                  <a:lnTo>
                    <a:pt x="2954" y="5244"/>
                  </a:lnTo>
                  <a:close/>
                  <a:moveTo>
                    <a:pt x="3346" y="4878"/>
                  </a:moveTo>
                  <a:lnTo>
                    <a:pt x="3346" y="4878"/>
                  </a:lnTo>
                  <a:lnTo>
                    <a:pt x="3350" y="4878"/>
                  </a:lnTo>
                  <a:lnTo>
                    <a:pt x="3352" y="4876"/>
                  </a:lnTo>
                  <a:lnTo>
                    <a:pt x="3350" y="4874"/>
                  </a:lnTo>
                  <a:lnTo>
                    <a:pt x="3348" y="4872"/>
                  </a:lnTo>
                  <a:lnTo>
                    <a:pt x="3346" y="4872"/>
                  </a:lnTo>
                  <a:lnTo>
                    <a:pt x="3344" y="4874"/>
                  </a:lnTo>
                  <a:lnTo>
                    <a:pt x="3344" y="4876"/>
                  </a:lnTo>
                  <a:lnTo>
                    <a:pt x="3346" y="4878"/>
                  </a:lnTo>
                  <a:close/>
                  <a:moveTo>
                    <a:pt x="3352" y="4858"/>
                  </a:moveTo>
                  <a:lnTo>
                    <a:pt x="3352" y="4858"/>
                  </a:lnTo>
                  <a:lnTo>
                    <a:pt x="3350" y="4862"/>
                  </a:lnTo>
                  <a:lnTo>
                    <a:pt x="3354" y="4868"/>
                  </a:lnTo>
                  <a:lnTo>
                    <a:pt x="3358" y="4874"/>
                  </a:lnTo>
                  <a:lnTo>
                    <a:pt x="3360" y="4876"/>
                  </a:lnTo>
                  <a:lnTo>
                    <a:pt x="3364" y="4874"/>
                  </a:lnTo>
                  <a:lnTo>
                    <a:pt x="3364" y="4866"/>
                  </a:lnTo>
                  <a:lnTo>
                    <a:pt x="3362" y="4858"/>
                  </a:lnTo>
                  <a:lnTo>
                    <a:pt x="3360" y="4854"/>
                  </a:lnTo>
                  <a:lnTo>
                    <a:pt x="3356" y="4854"/>
                  </a:lnTo>
                  <a:lnTo>
                    <a:pt x="3352" y="4858"/>
                  </a:lnTo>
                  <a:close/>
                  <a:moveTo>
                    <a:pt x="3452" y="4980"/>
                  </a:moveTo>
                  <a:lnTo>
                    <a:pt x="3452" y="4980"/>
                  </a:lnTo>
                  <a:lnTo>
                    <a:pt x="3440" y="4974"/>
                  </a:lnTo>
                  <a:lnTo>
                    <a:pt x="3438" y="4974"/>
                  </a:lnTo>
                  <a:lnTo>
                    <a:pt x="3436" y="4976"/>
                  </a:lnTo>
                  <a:lnTo>
                    <a:pt x="3428" y="4978"/>
                  </a:lnTo>
                  <a:lnTo>
                    <a:pt x="3422" y="4980"/>
                  </a:lnTo>
                  <a:lnTo>
                    <a:pt x="3414" y="4978"/>
                  </a:lnTo>
                  <a:lnTo>
                    <a:pt x="3404" y="4978"/>
                  </a:lnTo>
                  <a:lnTo>
                    <a:pt x="3396" y="4978"/>
                  </a:lnTo>
                  <a:lnTo>
                    <a:pt x="3390" y="4980"/>
                  </a:lnTo>
                  <a:lnTo>
                    <a:pt x="3384" y="4982"/>
                  </a:lnTo>
                  <a:lnTo>
                    <a:pt x="3378" y="4986"/>
                  </a:lnTo>
                  <a:lnTo>
                    <a:pt x="3376" y="4990"/>
                  </a:lnTo>
                  <a:lnTo>
                    <a:pt x="3374" y="4996"/>
                  </a:lnTo>
                  <a:lnTo>
                    <a:pt x="3374" y="5002"/>
                  </a:lnTo>
                  <a:lnTo>
                    <a:pt x="3376" y="5010"/>
                  </a:lnTo>
                  <a:lnTo>
                    <a:pt x="3378" y="5006"/>
                  </a:lnTo>
                  <a:lnTo>
                    <a:pt x="3380" y="4998"/>
                  </a:lnTo>
                  <a:lnTo>
                    <a:pt x="3382" y="4994"/>
                  </a:lnTo>
                  <a:lnTo>
                    <a:pt x="3384" y="4992"/>
                  </a:lnTo>
                  <a:lnTo>
                    <a:pt x="3386" y="4992"/>
                  </a:lnTo>
                  <a:lnTo>
                    <a:pt x="3388" y="4994"/>
                  </a:lnTo>
                  <a:lnTo>
                    <a:pt x="3392" y="5000"/>
                  </a:lnTo>
                  <a:lnTo>
                    <a:pt x="3396" y="5002"/>
                  </a:lnTo>
                  <a:lnTo>
                    <a:pt x="3400" y="5004"/>
                  </a:lnTo>
                  <a:lnTo>
                    <a:pt x="3404" y="5004"/>
                  </a:lnTo>
                  <a:lnTo>
                    <a:pt x="3408" y="5000"/>
                  </a:lnTo>
                  <a:lnTo>
                    <a:pt x="3414" y="4998"/>
                  </a:lnTo>
                  <a:lnTo>
                    <a:pt x="3418" y="4998"/>
                  </a:lnTo>
                  <a:lnTo>
                    <a:pt x="3428" y="5002"/>
                  </a:lnTo>
                  <a:lnTo>
                    <a:pt x="3436" y="5006"/>
                  </a:lnTo>
                  <a:lnTo>
                    <a:pt x="3438" y="5008"/>
                  </a:lnTo>
                  <a:lnTo>
                    <a:pt x="3440" y="5006"/>
                  </a:lnTo>
                  <a:lnTo>
                    <a:pt x="3442" y="5002"/>
                  </a:lnTo>
                  <a:lnTo>
                    <a:pt x="3446" y="5002"/>
                  </a:lnTo>
                  <a:lnTo>
                    <a:pt x="3456" y="5006"/>
                  </a:lnTo>
                  <a:lnTo>
                    <a:pt x="3468" y="5014"/>
                  </a:lnTo>
                  <a:lnTo>
                    <a:pt x="3482" y="5022"/>
                  </a:lnTo>
                  <a:lnTo>
                    <a:pt x="3488" y="5026"/>
                  </a:lnTo>
                  <a:lnTo>
                    <a:pt x="3492" y="5028"/>
                  </a:lnTo>
                  <a:lnTo>
                    <a:pt x="3494" y="5026"/>
                  </a:lnTo>
                  <a:lnTo>
                    <a:pt x="3496" y="5024"/>
                  </a:lnTo>
                  <a:lnTo>
                    <a:pt x="3494" y="5012"/>
                  </a:lnTo>
                  <a:lnTo>
                    <a:pt x="3484" y="4994"/>
                  </a:lnTo>
                  <a:lnTo>
                    <a:pt x="3478" y="4988"/>
                  </a:lnTo>
                  <a:lnTo>
                    <a:pt x="3476" y="4984"/>
                  </a:lnTo>
                  <a:lnTo>
                    <a:pt x="3472" y="4982"/>
                  </a:lnTo>
                  <a:lnTo>
                    <a:pt x="3470" y="4984"/>
                  </a:lnTo>
                  <a:lnTo>
                    <a:pt x="3464" y="4984"/>
                  </a:lnTo>
                  <a:lnTo>
                    <a:pt x="3458" y="4984"/>
                  </a:lnTo>
                  <a:lnTo>
                    <a:pt x="3452" y="4980"/>
                  </a:lnTo>
                  <a:close/>
                  <a:moveTo>
                    <a:pt x="3092" y="4546"/>
                  </a:moveTo>
                  <a:lnTo>
                    <a:pt x="3092" y="4546"/>
                  </a:lnTo>
                  <a:lnTo>
                    <a:pt x="3090" y="4552"/>
                  </a:lnTo>
                  <a:lnTo>
                    <a:pt x="3092" y="4552"/>
                  </a:lnTo>
                  <a:lnTo>
                    <a:pt x="3094" y="4552"/>
                  </a:lnTo>
                  <a:lnTo>
                    <a:pt x="3098" y="4552"/>
                  </a:lnTo>
                  <a:lnTo>
                    <a:pt x="3104" y="4552"/>
                  </a:lnTo>
                  <a:lnTo>
                    <a:pt x="3108" y="4554"/>
                  </a:lnTo>
                  <a:lnTo>
                    <a:pt x="3112" y="4552"/>
                  </a:lnTo>
                  <a:lnTo>
                    <a:pt x="3112" y="4548"/>
                  </a:lnTo>
                  <a:lnTo>
                    <a:pt x="3110" y="4548"/>
                  </a:lnTo>
                  <a:lnTo>
                    <a:pt x="3106" y="4546"/>
                  </a:lnTo>
                  <a:lnTo>
                    <a:pt x="3102" y="4542"/>
                  </a:lnTo>
                  <a:lnTo>
                    <a:pt x="3100" y="4540"/>
                  </a:lnTo>
                  <a:lnTo>
                    <a:pt x="3098" y="4540"/>
                  </a:lnTo>
                  <a:lnTo>
                    <a:pt x="3096" y="4542"/>
                  </a:lnTo>
                  <a:lnTo>
                    <a:pt x="3092" y="4546"/>
                  </a:lnTo>
                  <a:close/>
                  <a:moveTo>
                    <a:pt x="3058" y="4324"/>
                  </a:moveTo>
                  <a:lnTo>
                    <a:pt x="3058" y="4324"/>
                  </a:lnTo>
                  <a:lnTo>
                    <a:pt x="3056" y="4322"/>
                  </a:lnTo>
                  <a:lnTo>
                    <a:pt x="3052" y="4322"/>
                  </a:lnTo>
                  <a:lnTo>
                    <a:pt x="3048" y="4326"/>
                  </a:lnTo>
                  <a:lnTo>
                    <a:pt x="3048" y="4330"/>
                  </a:lnTo>
                  <a:lnTo>
                    <a:pt x="3050" y="4330"/>
                  </a:lnTo>
                  <a:lnTo>
                    <a:pt x="3058" y="4324"/>
                  </a:lnTo>
                  <a:close/>
                  <a:moveTo>
                    <a:pt x="3358" y="4790"/>
                  </a:moveTo>
                  <a:lnTo>
                    <a:pt x="3358" y="4790"/>
                  </a:lnTo>
                  <a:lnTo>
                    <a:pt x="3360" y="4800"/>
                  </a:lnTo>
                  <a:lnTo>
                    <a:pt x="3358" y="4806"/>
                  </a:lnTo>
                  <a:lnTo>
                    <a:pt x="3358" y="4812"/>
                  </a:lnTo>
                  <a:lnTo>
                    <a:pt x="3358" y="4816"/>
                  </a:lnTo>
                  <a:lnTo>
                    <a:pt x="3362" y="4820"/>
                  </a:lnTo>
                  <a:lnTo>
                    <a:pt x="3364" y="4826"/>
                  </a:lnTo>
                  <a:lnTo>
                    <a:pt x="3364" y="4830"/>
                  </a:lnTo>
                  <a:lnTo>
                    <a:pt x="3364" y="4838"/>
                  </a:lnTo>
                  <a:lnTo>
                    <a:pt x="3364" y="4846"/>
                  </a:lnTo>
                  <a:lnTo>
                    <a:pt x="3364" y="4850"/>
                  </a:lnTo>
                  <a:lnTo>
                    <a:pt x="3368" y="4856"/>
                  </a:lnTo>
                  <a:lnTo>
                    <a:pt x="3382" y="4876"/>
                  </a:lnTo>
                  <a:lnTo>
                    <a:pt x="3388" y="4882"/>
                  </a:lnTo>
                  <a:lnTo>
                    <a:pt x="3390" y="4884"/>
                  </a:lnTo>
                  <a:lnTo>
                    <a:pt x="3394" y="4884"/>
                  </a:lnTo>
                  <a:lnTo>
                    <a:pt x="3394" y="4882"/>
                  </a:lnTo>
                  <a:lnTo>
                    <a:pt x="3394" y="4880"/>
                  </a:lnTo>
                  <a:lnTo>
                    <a:pt x="3390" y="4876"/>
                  </a:lnTo>
                  <a:lnTo>
                    <a:pt x="3384" y="4868"/>
                  </a:lnTo>
                  <a:lnTo>
                    <a:pt x="3380" y="4860"/>
                  </a:lnTo>
                  <a:lnTo>
                    <a:pt x="3376" y="4848"/>
                  </a:lnTo>
                  <a:lnTo>
                    <a:pt x="3374" y="4836"/>
                  </a:lnTo>
                  <a:lnTo>
                    <a:pt x="3374" y="4826"/>
                  </a:lnTo>
                  <a:lnTo>
                    <a:pt x="3376" y="4820"/>
                  </a:lnTo>
                  <a:lnTo>
                    <a:pt x="3380" y="4818"/>
                  </a:lnTo>
                  <a:lnTo>
                    <a:pt x="3382" y="4818"/>
                  </a:lnTo>
                  <a:lnTo>
                    <a:pt x="3390" y="4820"/>
                  </a:lnTo>
                  <a:lnTo>
                    <a:pt x="3402" y="4824"/>
                  </a:lnTo>
                  <a:lnTo>
                    <a:pt x="3406" y="4826"/>
                  </a:lnTo>
                  <a:lnTo>
                    <a:pt x="3410" y="4826"/>
                  </a:lnTo>
                  <a:lnTo>
                    <a:pt x="3410" y="4822"/>
                  </a:lnTo>
                  <a:lnTo>
                    <a:pt x="3406" y="4816"/>
                  </a:lnTo>
                  <a:lnTo>
                    <a:pt x="3400" y="4812"/>
                  </a:lnTo>
                  <a:lnTo>
                    <a:pt x="3394" y="4810"/>
                  </a:lnTo>
                  <a:lnTo>
                    <a:pt x="3390" y="4806"/>
                  </a:lnTo>
                  <a:lnTo>
                    <a:pt x="3386" y="4804"/>
                  </a:lnTo>
                  <a:lnTo>
                    <a:pt x="3386" y="4802"/>
                  </a:lnTo>
                  <a:lnTo>
                    <a:pt x="3388" y="4800"/>
                  </a:lnTo>
                  <a:lnTo>
                    <a:pt x="3394" y="4796"/>
                  </a:lnTo>
                  <a:lnTo>
                    <a:pt x="3400" y="4792"/>
                  </a:lnTo>
                  <a:lnTo>
                    <a:pt x="3404" y="4788"/>
                  </a:lnTo>
                  <a:lnTo>
                    <a:pt x="3406" y="4784"/>
                  </a:lnTo>
                  <a:lnTo>
                    <a:pt x="3408" y="4774"/>
                  </a:lnTo>
                  <a:lnTo>
                    <a:pt x="3406" y="4770"/>
                  </a:lnTo>
                  <a:lnTo>
                    <a:pt x="3404" y="4766"/>
                  </a:lnTo>
                  <a:lnTo>
                    <a:pt x="3400" y="4766"/>
                  </a:lnTo>
                  <a:lnTo>
                    <a:pt x="3396" y="4766"/>
                  </a:lnTo>
                  <a:lnTo>
                    <a:pt x="3390" y="4770"/>
                  </a:lnTo>
                  <a:lnTo>
                    <a:pt x="3386" y="4774"/>
                  </a:lnTo>
                  <a:lnTo>
                    <a:pt x="3378" y="4788"/>
                  </a:lnTo>
                  <a:lnTo>
                    <a:pt x="3372" y="4800"/>
                  </a:lnTo>
                  <a:lnTo>
                    <a:pt x="3370" y="4800"/>
                  </a:lnTo>
                  <a:lnTo>
                    <a:pt x="3368" y="4798"/>
                  </a:lnTo>
                  <a:lnTo>
                    <a:pt x="3366" y="4792"/>
                  </a:lnTo>
                  <a:lnTo>
                    <a:pt x="3368" y="4788"/>
                  </a:lnTo>
                  <a:lnTo>
                    <a:pt x="3372" y="4782"/>
                  </a:lnTo>
                  <a:lnTo>
                    <a:pt x="3378" y="4772"/>
                  </a:lnTo>
                  <a:lnTo>
                    <a:pt x="3378" y="4766"/>
                  </a:lnTo>
                  <a:lnTo>
                    <a:pt x="3378" y="4762"/>
                  </a:lnTo>
                  <a:lnTo>
                    <a:pt x="3376" y="4754"/>
                  </a:lnTo>
                  <a:lnTo>
                    <a:pt x="3374" y="4750"/>
                  </a:lnTo>
                  <a:lnTo>
                    <a:pt x="3374" y="4748"/>
                  </a:lnTo>
                  <a:lnTo>
                    <a:pt x="3374" y="4744"/>
                  </a:lnTo>
                  <a:lnTo>
                    <a:pt x="3378" y="4734"/>
                  </a:lnTo>
                  <a:lnTo>
                    <a:pt x="3378" y="4732"/>
                  </a:lnTo>
                  <a:lnTo>
                    <a:pt x="3376" y="4732"/>
                  </a:lnTo>
                  <a:lnTo>
                    <a:pt x="3370" y="4736"/>
                  </a:lnTo>
                  <a:lnTo>
                    <a:pt x="3366" y="4740"/>
                  </a:lnTo>
                  <a:lnTo>
                    <a:pt x="3362" y="4746"/>
                  </a:lnTo>
                  <a:lnTo>
                    <a:pt x="3356" y="4760"/>
                  </a:lnTo>
                  <a:lnTo>
                    <a:pt x="3356" y="4776"/>
                  </a:lnTo>
                  <a:lnTo>
                    <a:pt x="3356" y="4784"/>
                  </a:lnTo>
                  <a:lnTo>
                    <a:pt x="3358" y="4790"/>
                  </a:lnTo>
                  <a:close/>
                  <a:moveTo>
                    <a:pt x="3086" y="4178"/>
                  </a:moveTo>
                  <a:lnTo>
                    <a:pt x="3086" y="4178"/>
                  </a:lnTo>
                  <a:lnTo>
                    <a:pt x="3076" y="4178"/>
                  </a:lnTo>
                  <a:lnTo>
                    <a:pt x="3070" y="4180"/>
                  </a:lnTo>
                  <a:lnTo>
                    <a:pt x="3068" y="4184"/>
                  </a:lnTo>
                  <a:lnTo>
                    <a:pt x="3072" y="4186"/>
                  </a:lnTo>
                  <a:lnTo>
                    <a:pt x="3076" y="4188"/>
                  </a:lnTo>
                  <a:lnTo>
                    <a:pt x="3076" y="4190"/>
                  </a:lnTo>
                  <a:lnTo>
                    <a:pt x="3078" y="4194"/>
                  </a:lnTo>
                  <a:lnTo>
                    <a:pt x="3080" y="4196"/>
                  </a:lnTo>
                  <a:lnTo>
                    <a:pt x="3084" y="4202"/>
                  </a:lnTo>
                  <a:lnTo>
                    <a:pt x="3088" y="4212"/>
                  </a:lnTo>
                  <a:lnTo>
                    <a:pt x="3092" y="4224"/>
                  </a:lnTo>
                  <a:lnTo>
                    <a:pt x="3098" y="4238"/>
                  </a:lnTo>
                  <a:lnTo>
                    <a:pt x="3102" y="4244"/>
                  </a:lnTo>
                  <a:lnTo>
                    <a:pt x="3104" y="4244"/>
                  </a:lnTo>
                  <a:lnTo>
                    <a:pt x="3106" y="4244"/>
                  </a:lnTo>
                  <a:lnTo>
                    <a:pt x="3112" y="4240"/>
                  </a:lnTo>
                  <a:lnTo>
                    <a:pt x="3116" y="4232"/>
                  </a:lnTo>
                  <a:lnTo>
                    <a:pt x="3118" y="4224"/>
                  </a:lnTo>
                  <a:lnTo>
                    <a:pt x="3118" y="4220"/>
                  </a:lnTo>
                  <a:lnTo>
                    <a:pt x="3116" y="4216"/>
                  </a:lnTo>
                  <a:lnTo>
                    <a:pt x="3116" y="4208"/>
                  </a:lnTo>
                  <a:lnTo>
                    <a:pt x="3118" y="4204"/>
                  </a:lnTo>
                  <a:lnTo>
                    <a:pt x="3116" y="4198"/>
                  </a:lnTo>
                  <a:lnTo>
                    <a:pt x="3114" y="4194"/>
                  </a:lnTo>
                  <a:lnTo>
                    <a:pt x="3110" y="4190"/>
                  </a:lnTo>
                  <a:lnTo>
                    <a:pt x="3100" y="4184"/>
                  </a:lnTo>
                  <a:lnTo>
                    <a:pt x="3086" y="4178"/>
                  </a:lnTo>
                  <a:close/>
                  <a:moveTo>
                    <a:pt x="3138" y="4192"/>
                  </a:moveTo>
                  <a:lnTo>
                    <a:pt x="3138" y="4192"/>
                  </a:lnTo>
                  <a:lnTo>
                    <a:pt x="3140" y="4190"/>
                  </a:lnTo>
                  <a:lnTo>
                    <a:pt x="3142" y="4186"/>
                  </a:lnTo>
                  <a:lnTo>
                    <a:pt x="3140" y="4180"/>
                  </a:lnTo>
                  <a:lnTo>
                    <a:pt x="3138" y="4178"/>
                  </a:lnTo>
                  <a:lnTo>
                    <a:pt x="3134" y="4178"/>
                  </a:lnTo>
                  <a:lnTo>
                    <a:pt x="3132" y="4178"/>
                  </a:lnTo>
                  <a:lnTo>
                    <a:pt x="3130" y="4178"/>
                  </a:lnTo>
                  <a:lnTo>
                    <a:pt x="3130" y="4184"/>
                  </a:lnTo>
                  <a:lnTo>
                    <a:pt x="3130" y="4188"/>
                  </a:lnTo>
                  <a:lnTo>
                    <a:pt x="3132" y="4192"/>
                  </a:lnTo>
                  <a:lnTo>
                    <a:pt x="3134" y="4194"/>
                  </a:lnTo>
                  <a:lnTo>
                    <a:pt x="3138" y="4192"/>
                  </a:lnTo>
                  <a:close/>
                  <a:moveTo>
                    <a:pt x="3386" y="4736"/>
                  </a:moveTo>
                  <a:lnTo>
                    <a:pt x="3386" y="4736"/>
                  </a:lnTo>
                  <a:lnTo>
                    <a:pt x="3388" y="4742"/>
                  </a:lnTo>
                  <a:lnTo>
                    <a:pt x="3392" y="4742"/>
                  </a:lnTo>
                  <a:lnTo>
                    <a:pt x="3396" y="4740"/>
                  </a:lnTo>
                  <a:lnTo>
                    <a:pt x="3398" y="4736"/>
                  </a:lnTo>
                  <a:lnTo>
                    <a:pt x="3402" y="4732"/>
                  </a:lnTo>
                  <a:lnTo>
                    <a:pt x="3404" y="4726"/>
                  </a:lnTo>
                  <a:lnTo>
                    <a:pt x="3404" y="4720"/>
                  </a:lnTo>
                  <a:lnTo>
                    <a:pt x="3404" y="4714"/>
                  </a:lnTo>
                  <a:lnTo>
                    <a:pt x="3400" y="4712"/>
                  </a:lnTo>
                  <a:lnTo>
                    <a:pt x="3398" y="4712"/>
                  </a:lnTo>
                  <a:lnTo>
                    <a:pt x="3394" y="4714"/>
                  </a:lnTo>
                  <a:lnTo>
                    <a:pt x="3392" y="4718"/>
                  </a:lnTo>
                  <a:lnTo>
                    <a:pt x="3388" y="4726"/>
                  </a:lnTo>
                  <a:lnTo>
                    <a:pt x="3386" y="4736"/>
                  </a:lnTo>
                  <a:close/>
                  <a:moveTo>
                    <a:pt x="3378" y="4912"/>
                  </a:moveTo>
                  <a:lnTo>
                    <a:pt x="3378" y="4912"/>
                  </a:lnTo>
                  <a:lnTo>
                    <a:pt x="3374" y="4908"/>
                  </a:lnTo>
                  <a:lnTo>
                    <a:pt x="3370" y="4906"/>
                  </a:lnTo>
                  <a:lnTo>
                    <a:pt x="3364" y="4904"/>
                  </a:lnTo>
                  <a:lnTo>
                    <a:pt x="3362" y="4904"/>
                  </a:lnTo>
                  <a:lnTo>
                    <a:pt x="3358" y="4906"/>
                  </a:lnTo>
                  <a:lnTo>
                    <a:pt x="3356" y="4908"/>
                  </a:lnTo>
                  <a:lnTo>
                    <a:pt x="3354" y="4912"/>
                  </a:lnTo>
                  <a:lnTo>
                    <a:pt x="3354" y="4916"/>
                  </a:lnTo>
                  <a:lnTo>
                    <a:pt x="3354" y="4922"/>
                  </a:lnTo>
                  <a:lnTo>
                    <a:pt x="3358" y="4924"/>
                  </a:lnTo>
                  <a:lnTo>
                    <a:pt x="3366" y="4922"/>
                  </a:lnTo>
                  <a:lnTo>
                    <a:pt x="3382" y="4922"/>
                  </a:lnTo>
                  <a:lnTo>
                    <a:pt x="3384" y="4922"/>
                  </a:lnTo>
                  <a:lnTo>
                    <a:pt x="3384" y="4920"/>
                  </a:lnTo>
                  <a:lnTo>
                    <a:pt x="3378" y="4912"/>
                  </a:lnTo>
                  <a:close/>
                  <a:moveTo>
                    <a:pt x="3378" y="5236"/>
                  </a:moveTo>
                  <a:lnTo>
                    <a:pt x="3378" y="5236"/>
                  </a:lnTo>
                  <a:lnTo>
                    <a:pt x="3374" y="5234"/>
                  </a:lnTo>
                  <a:lnTo>
                    <a:pt x="3370" y="5234"/>
                  </a:lnTo>
                  <a:lnTo>
                    <a:pt x="3368" y="5236"/>
                  </a:lnTo>
                  <a:lnTo>
                    <a:pt x="3372" y="5240"/>
                  </a:lnTo>
                  <a:lnTo>
                    <a:pt x="3376" y="5242"/>
                  </a:lnTo>
                  <a:lnTo>
                    <a:pt x="3380" y="5240"/>
                  </a:lnTo>
                  <a:lnTo>
                    <a:pt x="3380" y="5238"/>
                  </a:lnTo>
                  <a:lnTo>
                    <a:pt x="3378" y="5236"/>
                  </a:lnTo>
                  <a:close/>
                  <a:moveTo>
                    <a:pt x="3444" y="5230"/>
                  </a:moveTo>
                  <a:lnTo>
                    <a:pt x="3444" y="5230"/>
                  </a:lnTo>
                  <a:lnTo>
                    <a:pt x="3448" y="5232"/>
                  </a:lnTo>
                  <a:lnTo>
                    <a:pt x="3450" y="5230"/>
                  </a:lnTo>
                  <a:lnTo>
                    <a:pt x="3452" y="5228"/>
                  </a:lnTo>
                  <a:lnTo>
                    <a:pt x="3452" y="5224"/>
                  </a:lnTo>
                  <a:lnTo>
                    <a:pt x="3448" y="5220"/>
                  </a:lnTo>
                  <a:lnTo>
                    <a:pt x="3442" y="5218"/>
                  </a:lnTo>
                  <a:lnTo>
                    <a:pt x="3440" y="5220"/>
                  </a:lnTo>
                  <a:lnTo>
                    <a:pt x="3442" y="5224"/>
                  </a:lnTo>
                  <a:lnTo>
                    <a:pt x="3444" y="5230"/>
                  </a:lnTo>
                  <a:close/>
                  <a:moveTo>
                    <a:pt x="3364" y="4876"/>
                  </a:moveTo>
                  <a:lnTo>
                    <a:pt x="3364" y="4876"/>
                  </a:lnTo>
                  <a:lnTo>
                    <a:pt x="3364" y="4878"/>
                  </a:lnTo>
                  <a:lnTo>
                    <a:pt x="3366" y="4880"/>
                  </a:lnTo>
                  <a:lnTo>
                    <a:pt x="3370" y="4882"/>
                  </a:lnTo>
                  <a:lnTo>
                    <a:pt x="3372" y="4880"/>
                  </a:lnTo>
                  <a:lnTo>
                    <a:pt x="3374" y="4876"/>
                  </a:lnTo>
                  <a:lnTo>
                    <a:pt x="3372" y="4874"/>
                  </a:lnTo>
                  <a:lnTo>
                    <a:pt x="3368" y="4874"/>
                  </a:lnTo>
                  <a:lnTo>
                    <a:pt x="3364" y="4876"/>
                  </a:lnTo>
                  <a:close/>
                  <a:moveTo>
                    <a:pt x="3374" y="5022"/>
                  </a:moveTo>
                  <a:lnTo>
                    <a:pt x="3374" y="5022"/>
                  </a:lnTo>
                  <a:lnTo>
                    <a:pt x="3378" y="5024"/>
                  </a:lnTo>
                  <a:lnTo>
                    <a:pt x="3384" y="5022"/>
                  </a:lnTo>
                  <a:lnTo>
                    <a:pt x="3388" y="5018"/>
                  </a:lnTo>
                  <a:lnTo>
                    <a:pt x="3390" y="5012"/>
                  </a:lnTo>
                  <a:lnTo>
                    <a:pt x="3390" y="5010"/>
                  </a:lnTo>
                  <a:lnTo>
                    <a:pt x="3388" y="5010"/>
                  </a:lnTo>
                  <a:lnTo>
                    <a:pt x="3382" y="5012"/>
                  </a:lnTo>
                  <a:lnTo>
                    <a:pt x="3376" y="5018"/>
                  </a:lnTo>
                  <a:lnTo>
                    <a:pt x="3374" y="5020"/>
                  </a:lnTo>
                  <a:lnTo>
                    <a:pt x="3374" y="5022"/>
                  </a:lnTo>
                  <a:close/>
                  <a:moveTo>
                    <a:pt x="3412" y="3200"/>
                  </a:moveTo>
                  <a:lnTo>
                    <a:pt x="3412" y="3200"/>
                  </a:lnTo>
                  <a:lnTo>
                    <a:pt x="3408" y="3200"/>
                  </a:lnTo>
                  <a:lnTo>
                    <a:pt x="3406" y="3202"/>
                  </a:lnTo>
                  <a:lnTo>
                    <a:pt x="3404" y="3206"/>
                  </a:lnTo>
                  <a:lnTo>
                    <a:pt x="3406" y="3208"/>
                  </a:lnTo>
                  <a:lnTo>
                    <a:pt x="3408" y="3208"/>
                  </a:lnTo>
                  <a:lnTo>
                    <a:pt x="3414" y="3206"/>
                  </a:lnTo>
                  <a:lnTo>
                    <a:pt x="3416" y="3204"/>
                  </a:lnTo>
                  <a:lnTo>
                    <a:pt x="3416" y="3202"/>
                  </a:lnTo>
                  <a:lnTo>
                    <a:pt x="3412" y="3200"/>
                  </a:lnTo>
                  <a:close/>
                  <a:moveTo>
                    <a:pt x="3402" y="3084"/>
                  </a:moveTo>
                  <a:lnTo>
                    <a:pt x="3402" y="3084"/>
                  </a:lnTo>
                  <a:lnTo>
                    <a:pt x="3400" y="3088"/>
                  </a:lnTo>
                  <a:lnTo>
                    <a:pt x="3398" y="3092"/>
                  </a:lnTo>
                  <a:lnTo>
                    <a:pt x="3400" y="3096"/>
                  </a:lnTo>
                  <a:lnTo>
                    <a:pt x="3402" y="3098"/>
                  </a:lnTo>
                  <a:lnTo>
                    <a:pt x="3404" y="3096"/>
                  </a:lnTo>
                  <a:lnTo>
                    <a:pt x="3406" y="3092"/>
                  </a:lnTo>
                  <a:lnTo>
                    <a:pt x="3406" y="3088"/>
                  </a:lnTo>
                  <a:lnTo>
                    <a:pt x="3406" y="3084"/>
                  </a:lnTo>
                  <a:lnTo>
                    <a:pt x="3404" y="3084"/>
                  </a:lnTo>
                  <a:lnTo>
                    <a:pt x="3402" y="3084"/>
                  </a:lnTo>
                  <a:close/>
                  <a:moveTo>
                    <a:pt x="3416" y="3464"/>
                  </a:moveTo>
                  <a:lnTo>
                    <a:pt x="3416" y="3464"/>
                  </a:lnTo>
                  <a:lnTo>
                    <a:pt x="3420" y="3466"/>
                  </a:lnTo>
                  <a:lnTo>
                    <a:pt x="3422" y="3464"/>
                  </a:lnTo>
                  <a:lnTo>
                    <a:pt x="3422" y="3460"/>
                  </a:lnTo>
                  <a:lnTo>
                    <a:pt x="3420" y="3454"/>
                  </a:lnTo>
                  <a:lnTo>
                    <a:pt x="3418" y="3452"/>
                  </a:lnTo>
                  <a:lnTo>
                    <a:pt x="3416" y="3454"/>
                  </a:lnTo>
                  <a:lnTo>
                    <a:pt x="3414" y="3458"/>
                  </a:lnTo>
                  <a:lnTo>
                    <a:pt x="3416" y="3464"/>
                  </a:lnTo>
                  <a:close/>
                  <a:moveTo>
                    <a:pt x="2806" y="3776"/>
                  </a:moveTo>
                  <a:lnTo>
                    <a:pt x="2806" y="3776"/>
                  </a:lnTo>
                  <a:lnTo>
                    <a:pt x="2810" y="3778"/>
                  </a:lnTo>
                  <a:lnTo>
                    <a:pt x="2814" y="3778"/>
                  </a:lnTo>
                  <a:lnTo>
                    <a:pt x="2816" y="3776"/>
                  </a:lnTo>
                  <a:lnTo>
                    <a:pt x="2818" y="3774"/>
                  </a:lnTo>
                  <a:lnTo>
                    <a:pt x="2820" y="3768"/>
                  </a:lnTo>
                  <a:lnTo>
                    <a:pt x="2818" y="3762"/>
                  </a:lnTo>
                  <a:lnTo>
                    <a:pt x="2820" y="3758"/>
                  </a:lnTo>
                  <a:lnTo>
                    <a:pt x="2820" y="3754"/>
                  </a:lnTo>
                  <a:lnTo>
                    <a:pt x="2820" y="3752"/>
                  </a:lnTo>
                  <a:lnTo>
                    <a:pt x="2818" y="3752"/>
                  </a:lnTo>
                  <a:lnTo>
                    <a:pt x="2814" y="3752"/>
                  </a:lnTo>
                  <a:lnTo>
                    <a:pt x="2812" y="3752"/>
                  </a:lnTo>
                  <a:lnTo>
                    <a:pt x="2814" y="3752"/>
                  </a:lnTo>
                  <a:lnTo>
                    <a:pt x="2814" y="3750"/>
                  </a:lnTo>
                  <a:lnTo>
                    <a:pt x="2812" y="3748"/>
                  </a:lnTo>
                  <a:lnTo>
                    <a:pt x="2810" y="3750"/>
                  </a:lnTo>
                  <a:lnTo>
                    <a:pt x="2808" y="3752"/>
                  </a:lnTo>
                  <a:lnTo>
                    <a:pt x="2808" y="3756"/>
                  </a:lnTo>
                  <a:lnTo>
                    <a:pt x="2806" y="3758"/>
                  </a:lnTo>
                  <a:lnTo>
                    <a:pt x="2802" y="3760"/>
                  </a:lnTo>
                  <a:lnTo>
                    <a:pt x="2802" y="3766"/>
                  </a:lnTo>
                  <a:lnTo>
                    <a:pt x="2802" y="3774"/>
                  </a:lnTo>
                  <a:lnTo>
                    <a:pt x="2800" y="3774"/>
                  </a:lnTo>
                  <a:lnTo>
                    <a:pt x="2802" y="3774"/>
                  </a:lnTo>
                  <a:lnTo>
                    <a:pt x="2804" y="3774"/>
                  </a:lnTo>
                  <a:lnTo>
                    <a:pt x="2806" y="3776"/>
                  </a:lnTo>
                  <a:close/>
                  <a:moveTo>
                    <a:pt x="3380" y="3090"/>
                  </a:moveTo>
                  <a:lnTo>
                    <a:pt x="3380" y="3090"/>
                  </a:lnTo>
                  <a:lnTo>
                    <a:pt x="3378" y="3088"/>
                  </a:lnTo>
                  <a:lnTo>
                    <a:pt x="3376" y="3086"/>
                  </a:lnTo>
                  <a:lnTo>
                    <a:pt x="3372" y="3088"/>
                  </a:lnTo>
                  <a:lnTo>
                    <a:pt x="3370" y="3090"/>
                  </a:lnTo>
                  <a:lnTo>
                    <a:pt x="3370" y="3092"/>
                  </a:lnTo>
                  <a:lnTo>
                    <a:pt x="3376" y="3096"/>
                  </a:lnTo>
                  <a:lnTo>
                    <a:pt x="3378" y="3096"/>
                  </a:lnTo>
                  <a:lnTo>
                    <a:pt x="3380" y="3096"/>
                  </a:lnTo>
                  <a:lnTo>
                    <a:pt x="3380" y="3090"/>
                  </a:lnTo>
                  <a:close/>
                  <a:moveTo>
                    <a:pt x="3918" y="2740"/>
                  </a:moveTo>
                  <a:lnTo>
                    <a:pt x="3918" y="2740"/>
                  </a:lnTo>
                  <a:lnTo>
                    <a:pt x="3918" y="2736"/>
                  </a:lnTo>
                  <a:lnTo>
                    <a:pt x="3918" y="2734"/>
                  </a:lnTo>
                  <a:lnTo>
                    <a:pt x="3914" y="2732"/>
                  </a:lnTo>
                  <a:lnTo>
                    <a:pt x="3908" y="2730"/>
                  </a:lnTo>
                  <a:lnTo>
                    <a:pt x="3902" y="2728"/>
                  </a:lnTo>
                  <a:lnTo>
                    <a:pt x="3900" y="2726"/>
                  </a:lnTo>
                  <a:lnTo>
                    <a:pt x="3898" y="2728"/>
                  </a:lnTo>
                  <a:lnTo>
                    <a:pt x="3894" y="2736"/>
                  </a:lnTo>
                  <a:lnTo>
                    <a:pt x="3894" y="2740"/>
                  </a:lnTo>
                  <a:lnTo>
                    <a:pt x="3894" y="2744"/>
                  </a:lnTo>
                  <a:lnTo>
                    <a:pt x="3898" y="2746"/>
                  </a:lnTo>
                  <a:lnTo>
                    <a:pt x="3902" y="2744"/>
                  </a:lnTo>
                  <a:lnTo>
                    <a:pt x="3906" y="2744"/>
                  </a:lnTo>
                  <a:lnTo>
                    <a:pt x="3910" y="2746"/>
                  </a:lnTo>
                  <a:lnTo>
                    <a:pt x="3910" y="2748"/>
                  </a:lnTo>
                  <a:lnTo>
                    <a:pt x="3912" y="2752"/>
                  </a:lnTo>
                  <a:lnTo>
                    <a:pt x="3908" y="2760"/>
                  </a:lnTo>
                  <a:lnTo>
                    <a:pt x="3906" y="2762"/>
                  </a:lnTo>
                  <a:lnTo>
                    <a:pt x="3904" y="2760"/>
                  </a:lnTo>
                  <a:lnTo>
                    <a:pt x="3900" y="2758"/>
                  </a:lnTo>
                  <a:lnTo>
                    <a:pt x="3898" y="2760"/>
                  </a:lnTo>
                  <a:lnTo>
                    <a:pt x="3894" y="2762"/>
                  </a:lnTo>
                  <a:lnTo>
                    <a:pt x="3890" y="2764"/>
                  </a:lnTo>
                  <a:lnTo>
                    <a:pt x="3888" y="2762"/>
                  </a:lnTo>
                  <a:lnTo>
                    <a:pt x="3888" y="2756"/>
                  </a:lnTo>
                  <a:lnTo>
                    <a:pt x="3886" y="2746"/>
                  </a:lnTo>
                  <a:lnTo>
                    <a:pt x="3884" y="2742"/>
                  </a:lnTo>
                  <a:lnTo>
                    <a:pt x="3880" y="2740"/>
                  </a:lnTo>
                  <a:lnTo>
                    <a:pt x="3878" y="2742"/>
                  </a:lnTo>
                  <a:lnTo>
                    <a:pt x="3876" y="2744"/>
                  </a:lnTo>
                  <a:lnTo>
                    <a:pt x="3874" y="2750"/>
                  </a:lnTo>
                  <a:lnTo>
                    <a:pt x="3874" y="2758"/>
                  </a:lnTo>
                  <a:lnTo>
                    <a:pt x="3872" y="2764"/>
                  </a:lnTo>
                  <a:lnTo>
                    <a:pt x="3870" y="2768"/>
                  </a:lnTo>
                  <a:lnTo>
                    <a:pt x="3866" y="2768"/>
                  </a:lnTo>
                  <a:lnTo>
                    <a:pt x="3862" y="2770"/>
                  </a:lnTo>
                  <a:lnTo>
                    <a:pt x="3858" y="2770"/>
                  </a:lnTo>
                  <a:lnTo>
                    <a:pt x="3856" y="2772"/>
                  </a:lnTo>
                  <a:lnTo>
                    <a:pt x="3856" y="2776"/>
                  </a:lnTo>
                  <a:lnTo>
                    <a:pt x="3856" y="2786"/>
                  </a:lnTo>
                  <a:lnTo>
                    <a:pt x="3858" y="2796"/>
                  </a:lnTo>
                  <a:lnTo>
                    <a:pt x="3860" y="2802"/>
                  </a:lnTo>
                  <a:lnTo>
                    <a:pt x="3858" y="2806"/>
                  </a:lnTo>
                  <a:lnTo>
                    <a:pt x="3856" y="2808"/>
                  </a:lnTo>
                  <a:lnTo>
                    <a:pt x="3852" y="2810"/>
                  </a:lnTo>
                  <a:lnTo>
                    <a:pt x="3850" y="2812"/>
                  </a:lnTo>
                  <a:lnTo>
                    <a:pt x="3850" y="2814"/>
                  </a:lnTo>
                  <a:lnTo>
                    <a:pt x="3850" y="2816"/>
                  </a:lnTo>
                  <a:lnTo>
                    <a:pt x="3852" y="2818"/>
                  </a:lnTo>
                  <a:lnTo>
                    <a:pt x="3854" y="2818"/>
                  </a:lnTo>
                  <a:lnTo>
                    <a:pt x="3858" y="2820"/>
                  </a:lnTo>
                  <a:lnTo>
                    <a:pt x="3860" y="2824"/>
                  </a:lnTo>
                  <a:lnTo>
                    <a:pt x="3860" y="2832"/>
                  </a:lnTo>
                  <a:lnTo>
                    <a:pt x="3858" y="2846"/>
                  </a:lnTo>
                  <a:lnTo>
                    <a:pt x="3854" y="2866"/>
                  </a:lnTo>
                  <a:lnTo>
                    <a:pt x="3850" y="2884"/>
                  </a:lnTo>
                  <a:lnTo>
                    <a:pt x="3844" y="2896"/>
                  </a:lnTo>
                  <a:lnTo>
                    <a:pt x="3840" y="2904"/>
                  </a:lnTo>
                  <a:lnTo>
                    <a:pt x="3834" y="2912"/>
                  </a:lnTo>
                  <a:lnTo>
                    <a:pt x="3822" y="2926"/>
                  </a:lnTo>
                  <a:lnTo>
                    <a:pt x="3808" y="2942"/>
                  </a:lnTo>
                  <a:lnTo>
                    <a:pt x="3802" y="2952"/>
                  </a:lnTo>
                  <a:lnTo>
                    <a:pt x="3794" y="2960"/>
                  </a:lnTo>
                  <a:lnTo>
                    <a:pt x="3788" y="2964"/>
                  </a:lnTo>
                  <a:lnTo>
                    <a:pt x="3782" y="2968"/>
                  </a:lnTo>
                  <a:lnTo>
                    <a:pt x="3768" y="2974"/>
                  </a:lnTo>
                  <a:lnTo>
                    <a:pt x="3760" y="2978"/>
                  </a:lnTo>
                  <a:lnTo>
                    <a:pt x="3752" y="2984"/>
                  </a:lnTo>
                  <a:lnTo>
                    <a:pt x="3742" y="2990"/>
                  </a:lnTo>
                  <a:lnTo>
                    <a:pt x="3742" y="2988"/>
                  </a:lnTo>
                  <a:lnTo>
                    <a:pt x="3742" y="2986"/>
                  </a:lnTo>
                  <a:lnTo>
                    <a:pt x="3744" y="2978"/>
                  </a:lnTo>
                  <a:lnTo>
                    <a:pt x="3744" y="2974"/>
                  </a:lnTo>
                  <a:lnTo>
                    <a:pt x="3740" y="2970"/>
                  </a:lnTo>
                  <a:lnTo>
                    <a:pt x="3740" y="2968"/>
                  </a:lnTo>
                  <a:lnTo>
                    <a:pt x="3740" y="2966"/>
                  </a:lnTo>
                  <a:lnTo>
                    <a:pt x="3748" y="2960"/>
                  </a:lnTo>
                  <a:lnTo>
                    <a:pt x="3754" y="2952"/>
                  </a:lnTo>
                  <a:lnTo>
                    <a:pt x="3756" y="2948"/>
                  </a:lnTo>
                  <a:lnTo>
                    <a:pt x="3754" y="2944"/>
                  </a:lnTo>
                  <a:lnTo>
                    <a:pt x="3752" y="2944"/>
                  </a:lnTo>
                  <a:lnTo>
                    <a:pt x="3748" y="2944"/>
                  </a:lnTo>
                  <a:lnTo>
                    <a:pt x="3738" y="2948"/>
                  </a:lnTo>
                  <a:lnTo>
                    <a:pt x="3734" y="2952"/>
                  </a:lnTo>
                  <a:lnTo>
                    <a:pt x="3730" y="2956"/>
                  </a:lnTo>
                  <a:lnTo>
                    <a:pt x="3728" y="2962"/>
                  </a:lnTo>
                  <a:lnTo>
                    <a:pt x="3730" y="2966"/>
                  </a:lnTo>
                  <a:lnTo>
                    <a:pt x="3730" y="2976"/>
                  </a:lnTo>
                  <a:lnTo>
                    <a:pt x="3728" y="2986"/>
                  </a:lnTo>
                  <a:lnTo>
                    <a:pt x="3722" y="2996"/>
                  </a:lnTo>
                  <a:lnTo>
                    <a:pt x="3716" y="3006"/>
                  </a:lnTo>
                  <a:lnTo>
                    <a:pt x="3704" y="3022"/>
                  </a:lnTo>
                  <a:lnTo>
                    <a:pt x="3700" y="3026"/>
                  </a:lnTo>
                  <a:lnTo>
                    <a:pt x="3698" y="3030"/>
                  </a:lnTo>
                  <a:lnTo>
                    <a:pt x="3700" y="3036"/>
                  </a:lnTo>
                  <a:lnTo>
                    <a:pt x="3700" y="3044"/>
                  </a:lnTo>
                  <a:lnTo>
                    <a:pt x="3698" y="3046"/>
                  </a:lnTo>
                  <a:lnTo>
                    <a:pt x="3694" y="3050"/>
                  </a:lnTo>
                  <a:lnTo>
                    <a:pt x="3690" y="3052"/>
                  </a:lnTo>
                  <a:lnTo>
                    <a:pt x="3682" y="3054"/>
                  </a:lnTo>
                  <a:lnTo>
                    <a:pt x="3676" y="3054"/>
                  </a:lnTo>
                  <a:lnTo>
                    <a:pt x="3672" y="3052"/>
                  </a:lnTo>
                  <a:lnTo>
                    <a:pt x="3672" y="3048"/>
                  </a:lnTo>
                  <a:lnTo>
                    <a:pt x="3674" y="3044"/>
                  </a:lnTo>
                  <a:lnTo>
                    <a:pt x="3672" y="3042"/>
                  </a:lnTo>
                  <a:lnTo>
                    <a:pt x="3668" y="3040"/>
                  </a:lnTo>
                  <a:lnTo>
                    <a:pt x="3662" y="3042"/>
                  </a:lnTo>
                  <a:lnTo>
                    <a:pt x="3652" y="3044"/>
                  </a:lnTo>
                  <a:lnTo>
                    <a:pt x="3626" y="3052"/>
                  </a:lnTo>
                  <a:lnTo>
                    <a:pt x="3614" y="3056"/>
                  </a:lnTo>
                  <a:lnTo>
                    <a:pt x="3602" y="3058"/>
                  </a:lnTo>
                  <a:lnTo>
                    <a:pt x="3594" y="3058"/>
                  </a:lnTo>
                  <a:lnTo>
                    <a:pt x="3592" y="3056"/>
                  </a:lnTo>
                  <a:lnTo>
                    <a:pt x="3590" y="3054"/>
                  </a:lnTo>
                  <a:lnTo>
                    <a:pt x="3588" y="3050"/>
                  </a:lnTo>
                  <a:lnTo>
                    <a:pt x="3584" y="3050"/>
                  </a:lnTo>
                  <a:lnTo>
                    <a:pt x="3580" y="3050"/>
                  </a:lnTo>
                  <a:lnTo>
                    <a:pt x="3574" y="3052"/>
                  </a:lnTo>
                  <a:lnTo>
                    <a:pt x="3562" y="3062"/>
                  </a:lnTo>
                  <a:lnTo>
                    <a:pt x="3548" y="3080"/>
                  </a:lnTo>
                  <a:lnTo>
                    <a:pt x="3542" y="3088"/>
                  </a:lnTo>
                  <a:lnTo>
                    <a:pt x="3536" y="3092"/>
                  </a:lnTo>
                  <a:lnTo>
                    <a:pt x="3530" y="3096"/>
                  </a:lnTo>
                  <a:lnTo>
                    <a:pt x="3524" y="3098"/>
                  </a:lnTo>
                  <a:lnTo>
                    <a:pt x="3518" y="3106"/>
                  </a:lnTo>
                  <a:lnTo>
                    <a:pt x="3514" y="3112"/>
                  </a:lnTo>
                  <a:lnTo>
                    <a:pt x="3510" y="3114"/>
                  </a:lnTo>
                  <a:lnTo>
                    <a:pt x="3502" y="3114"/>
                  </a:lnTo>
                  <a:lnTo>
                    <a:pt x="3500" y="3116"/>
                  </a:lnTo>
                  <a:lnTo>
                    <a:pt x="3498" y="3116"/>
                  </a:lnTo>
                  <a:lnTo>
                    <a:pt x="3496" y="3120"/>
                  </a:lnTo>
                  <a:lnTo>
                    <a:pt x="3496" y="3126"/>
                  </a:lnTo>
                  <a:lnTo>
                    <a:pt x="3496" y="3132"/>
                  </a:lnTo>
                  <a:lnTo>
                    <a:pt x="3500" y="3136"/>
                  </a:lnTo>
                  <a:lnTo>
                    <a:pt x="3504" y="3136"/>
                  </a:lnTo>
                  <a:lnTo>
                    <a:pt x="3508" y="3136"/>
                  </a:lnTo>
                  <a:lnTo>
                    <a:pt x="3522" y="3134"/>
                  </a:lnTo>
                  <a:lnTo>
                    <a:pt x="3528" y="3134"/>
                  </a:lnTo>
                  <a:lnTo>
                    <a:pt x="3536" y="3138"/>
                  </a:lnTo>
                  <a:lnTo>
                    <a:pt x="3542" y="3140"/>
                  </a:lnTo>
                  <a:lnTo>
                    <a:pt x="3544" y="3140"/>
                  </a:lnTo>
                  <a:lnTo>
                    <a:pt x="3546" y="3138"/>
                  </a:lnTo>
                  <a:lnTo>
                    <a:pt x="3546" y="3134"/>
                  </a:lnTo>
                  <a:lnTo>
                    <a:pt x="3546" y="3124"/>
                  </a:lnTo>
                  <a:lnTo>
                    <a:pt x="3548" y="3120"/>
                  </a:lnTo>
                  <a:lnTo>
                    <a:pt x="3550" y="3118"/>
                  </a:lnTo>
                  <a:lnTo>
                    <a:pt x="3556" y="3116"/>
                  </a:lnTo>
                  <a:lnTo>
                    <a:pt x="3558" y="3118"/>
                  </a:lnTo>
                  <a:lnTo>
                    <a:pt x="3562" y="3120"/>
                  </a:lnTo>
                  <a:lnTo>
                    <a:pt x="3570" y="3120"/>
                  </a:lnTo>
                  <a:lnTo>
                    <a:pt x="3596" y="3116"/>
                  </a:lnTo>
                  <a:lnTo>
                    <a:pt x="3620" y="3108"/>
                  </a:lnTo>
                  <a:lnTo>
                    <a:pt x="3626" y="3104"/>
                  </a:lnTo>
                  <a:lnTo>
                    <a:pt x="3630" y="3102"/>
                  </a:lnTo>
                  <a:lnTo>
                    <a:pt x="3632" y="3098"/>
                  </a:lnTo>
                  <a:lnTo>
                    <a:pt x="3632" y="3096"/>
                  </a:lnTo>
                  <a:lnTo>
                    <a:pt x="3636" y="3096"/>
                  </a:lnTo>
                  <a:lnTo>
                    <a:pt x="3648" y="3098"/>
                  </a:lnTo>
                  <a:lnTo>
                    <a:pt x="3656" y="3100"/>
                  </a:lnTo>
                  <a:lnTo>
                    <a:pt x="3662" y="3100"/>
                  </a:lnTo>
                  <a:lnTo>
                    <a:pt x="3670" y="3098"/>
                  </a:lnTo>
                  <a:lnTo>
                    <a:pt x="3674" y="3098"/>
                  </a:lnTo>
                  <a:lnTo>
                    <a:pt x="3676" y="3102"/>
                  </a:lnTo>
                  <a:lnTo>
                    <a:pt x="3678" y="3106"/>
                  </a:lnTo>
                  <a:lnTo>
                    <a:pt x="3676" y="3110"/>
                  </a:lnTo>
                  <a:lnTo>
                    <a:pt x="3672" y="3114"/>
                  </a:lnTo>
                  <a:lnTo>
                    <a:pt x="3666" y="3118"/>
                  </a:lnTo>
                  <a:lnTo>
                    <a:pt x="3666" y="3120"/>
                  </a:lnTo>
                  <a:lnTo>
                    <a:pt x="3666" y="3124"/>
                  </a:lnTo>
                  <a:lnTo>
                    <a:pt x="3666" y="3130"/>
                  </a:lnTo>
                  <a:lnTo>
                    <a:pt x="3664" y="3136"/>
                  </a:lnTo>
                  <a:lnTo>
                    <a:pt x="3664" y="3142"/>
                  </a:lnTo>
                  <a:lnTo>
                    <a:pt x="3664" y="3144"/>
                  </a:lnTo>
                  <a:lnTo>
                    <a:pt x="3668" y="3146"/>
                  </a:lnTo>
                  <a:lnTo>
                    <a:pt x="3674" y="3150"/>
                  </a:lnTo>
                  <a:lnTo>
                    <a:pt x="3674" y="3152"/>
                  </a:lnTo>
                  <a:lnTo>
                    <a:pt x="3676" y="3156"/>
                  </a:lnTo>
                  <a:lnTo>
                    <a:pt x="3684" y="3162"/>
                  </a:lnTo>
                  <a:lnTo>
                    <a:pt x="3684" y="3164"/>
                  </a:lnTo>
                  <a:lnTo>
                    <a:pt x="3688" y="3166"/>
                  </a:lnTo>
                  <a:lnTo>
                    <a:pt x="3692" y="3164"/>
                  </a:lnTo>
                  <a:lnTo>
                    <a:pt x="3696" y="3160"/>
                  </a:lnTo>
                  <a:lnTo>
                    <a:pt x="3700" y="3156"/>
                  </a:lnTo>
                  <a:lnTo>
                    <a:pt x="3716" y="3130"/>
                  </a:lnTo>
                  <a:lnTo>
                    <a:pt x="3720" y="3124"/>
                  </a:lnTo>
                  <a:lnTo>
                    <a:pt x="3724" y="3122"/>
                  </a:lnTo>
                  <a:lnTo>
                    <a:pt x="3734" y="3118"/>
                  </a:lnTo>
                  <a:lnTo>
                    <a:pt x="3738" y="3116"/>
                  </a:lnTo>
                  <a:lnTo>
                    <a:pt x="3738" y="3114"/>
                  </a:lnTo>
                  <a:lnTo>
                    <a:pt x="3736" y="3112"/>
                  </a:lnTo>
                  <a:lnTo>
                    <a:pt x="3730" y="3108"/>
                  </a:lnTo>
                  <a:lnTo>
                    <a:pt x="3724" y="3104"/>
                  </a:lnTo>
                  <a:lnTo>
                    <a:pt x="3722" y="3098"/>
                  </a:lnTo>
                  <a:lnTo>
                    <a:pt x="3722" y="3090"/>
                  </a:lnTo>
                  <a:lnTo>
                    <a:pt x="3724" y="3086"/>
                  </a:lnTo>
                  <a:lnTo>
                    <a:pt x="3728" y="3082"/>
                  </a:lnTo>
                  <a:lnTo>
                    <a:pt x="3732" y="3080"/>
                  </a:lnTo>
                  <a:lnTo>
                    <a:pt x="3734" y="3082"/>
                  </a:lnTo>
                  <a:lnTo>
                    <a:pt x="3734" y="3086"/>
                  </a:lnTo>
                  <a:lnTo>
                    <a:pt x="3736" y="3092"/>
                  </a:lnTo>
                  <a:lnTo>
                    <a:pt x="3738" y="3094"/>
                  </a:lnTo>
                  <a:lnTo>
                    <a:pt x="3742" y="3096"/>
                  </a:lnTo>
                  <a:lnTo>
                    <a:pt x="3746" y="3096"/>
                  </a:lnTo>
                  <a:lnTo>
                    <a:pt x="3750" y="3096"/>
                  </a:lnTo>
                  <a:lnTo>
                    <a:pt x="3746" y="3100"/>
                  </a:lnTo>
                  <a:lnTo>
                    <a:pt x="3742" y="3104"/>
                  </a:lnTo>
                  <a:lnTo>
                    <a:pt x="3750" y="3104"/>
                  </a:lnTo>
                  <a:lnTo>
                    <a:pt x="3762" y="3102"/>
                  </a:lnTo>
                  <a:lnTo>
                    <a:pt x="3774" y="3102"/>
                  </a:lnTo>
                  <a:lnTo>
                    <a:pt x="3782" y="3104"/>
                  </a:lnTo>
                  <a:lnTo>
                    <a:pt x="3786" y="3104"/>
                  </a:lnTo>
                  <a:lnTo>
                    <a:pt x="3788" y="3100"/>
                  </a:lnTo>
                  <a:lnTo>
                    <a:pt x="3792" y="3092"/>
                  </a:lnTo>
                  <a:lnTo>
                    <a:pt x="3800" y="3082"/>
                  </a:lnTo>
                  <a:lnTo>
                    <a:pt x="3806" y="3076"/>
                  </a:lnTo>
                  <a:lnTo>
                    <a:pt x="3810" y="3076"/>
                  </a:lnTo>
                  <a:lnTo>
                    <a:pt x="3810" y="3078"/>
                  </a:lnTo>
                  <a:lnTo>
                    <a:pt x="3812" y="3082"/>
                  </a:lnTo>
                  <a:lnTo>
                    <a:pt x="3810" y="3090"/>
                  </a:lnTo>
                  <a:lnTo>
                    <a:pt x="3810" y="3096"/>
                  </a:lnTo>
                  <a:lnTo>
                    <a:pt x="3810" y="3102"/>
                  </a:lnTo>
                  <a:lnTo>
                    <a:pt x="3812" y="3104"/>
                  </a:lnTo>
                  <a:lnTo>
                    <a:pt x="3814" y="3104"/>
                  </a:lnTo>
                  <a:lnTo>
                    <a:pt x="3820" y="3098"/>
                  </a:lnTo>
                  <a:lnTo>
                    <a:pt x="3824" y="3086"/>
                  </a:lnTo>
                  <a:lnTo>
                    <a:pt x="3826" y="3076"/>
                  </a:lnTo>
                  <a:lnTo>
                    <a:pt x="3828" y="3068"/>
                  </a:lnTo>
                  <a:lnTo>
                    <a:pt x="3830" y="3066"/>
                  </a:lnTo>
                  <a:lnTo>
                    <a:pt x="3834" y="3066"/>
                  </a:lnTo>
                  <a:lnTo>
                    <a:pt x="3842" y="3070"/>
                  </a:lnTo>
                  <a:lnTo>
                    <a:pt x="3848" y="3074"/>
                  </a:lnTo>
                  <a:lnTo>
                    <a:pt x="3848" y="3072"/>
                  </a:lnTo>
                  <a:lnTo>
                    <a:pt x="3848" y="3064"/>
                  </a:lnTo>
                  <a:lnTo>
                    <a:pt x="3848" y="3060"/>
                  </a:lnTo>
                  <a:lnTo>
                    <a:pt x="3850" y="3054"/>
                  </a:lnTo>
                  <a:lnTo>
                    <a:pt x="3852" y="3050"/>
                  </a:lnTo>
                  <a:lnTo>
                    <a:pt x="3856" y="3048"/>
                  </a:lnTo>
                  <a:lnTo>
                    <a:pt x="3862" y="3046"/>
                  </a:lnTo>
                  <a:lnTo>
                    <a:pt x="3864" y="3048"/>
                  </a:lnTo>
                  <a:lnTo>
                    <a:pt x="3864" y="3050"/>
                  </a:lnTo>
                  <a:lnTo>
                    <a:pt x="3864" y="3052"/>
                  </a:lnTo>
                  <a:lnTo>
                    <a:pt x="3862" y="3056"/>
                  </a:lnTo>
                  <a:lnTo>
                    <a:pt x="3858" y="3066"/>
                  </a:lnTo>
                  <a:lnTo>
                    <a:pt x="3854" y="3080"/>
                  </a:lnTo>
                  <a:lnTo>
                    <a:pt x="3854" y="3090"/>
                  </a:lnTo>
                  <a:lnTo>
                    <a:pt x="3856" y="3090"/>
                  </a:lnTo>
                  <a:lnTo>
                    <a:pt x="3860" y="3086"/>
                  </a:lnTo>
                  <a:lnTo>
                    <a:pt x="3864" y="3080"/>
                  </a:lnTo>
                  <a:lnTo>
                    <a:pt x="3866" y="3078"/>
                  </a:lnTo>
                  <a:lnTo>
                    <a:pt x="3872" y="3076"/>
                  </a:lnTo>
                  <a:lnTo>
                    <a:pt x="3874" y="3076"/>
                  </a:lnTo>
                  <a:lnTo>
                    <a:pt x="3876" y="3072"/>
                  </a:lnTo>
                  <a:lnTo>
                    <a:pt x="3878" y="3060"/>
                  </a:lnTo>
                  <a:lnTo>
                    <a:pt x="3880" y="3052"/>
                  </a:lnTo>
                  <a:lnTo>
                    <a:pt x="3886" y="3048"/>
                  </a:lnTo>
                  <a:lnTo>
                    <a:pt x="3890" y="3048"/>
                  </a:lnTo>
                  <a:lnTo>
                    <a:pt x="3894" y="3048"/>
                  </a:lnTo>
                  <a:lnTo>
                    <a:pt x="3898" y="3048"/>
                  </a:lnTo>
                  <a:lnTo>
                    <a:pt x="3900" y="3046"/>
                  </a:lnTo>
                  <a:lnTo>
                    <a:pt x="3898" y="3042"/>
                  </a:lnTo>
                  <a:lnTo>
                    <a:pt x="3892" y="3034"/>
                  </a:lnTo>
                  <a:lnTo>
                    <a:pt x="3888" y="3028"/>
                  </a:lnTo>
                  <a:lnTo>
                    <a:pt x="3886" y="3022"/>
                  </a:lnTo>
                  <a:lnTo>
                    <a:pt x="3884" y="3010"/>
                  </a:lnTo>
                  <a:lnTo>
                    <a:pt x="3886" y="3000"/>
                  </a:lnTo>
                  <a:lnTo>
                    <a:pt x="3892" y="2988"/>
                  </a:lnTo>
                  <a:lnTo>
                    <a:pt x="3896" y="2978"/>
                  </a:lnTo>
                  <a:lnTo>
                    <a:pt x="3902" y="2966"/>
                  </a:lnTo>
                  <a:lnTo>
                    <a:pt x="3902" y="2952"/>
                  </a:lnTo>
                  <a:lnTo>
                    <a:pt x="3900" y="2938"/>
                  </a:lnTo>
                  <a:lnTo>
                    <a:pt x="3898" y="2928"/>
                  </a:lnTo>
                  <a:lnTo>
                    <a:pt x="3898" y="2920"/>
                  </a:lnTo>
                  <a:lnTo>
                    <a:pt x="3898" y="2912"/>
                  </a:lnTo>
                  <a:lnTo>
                    <a:pt x="3900" y="2906"/>
                  </a:lnTo>
                  <a:lnTo>
                    <a:pt x="3904" y="2902"/>
                  </a:lnTo>
                  <a:lnTo>
                    <a:pt x="3908" y="2900"/>
                  </a:lnTo>
                  <a:lnTo>
                    <a:pt x="3912" y="2900"/>
                  </a:lnTo>
                  <a:lnTo>
                    <a:pt x="3918" y="2902"/>
                  </a:lnTo>
                  <a:lnTo>
                    <a:pt x="3922" y="2906"/>
                  </a:lnTo>
                  <a:lnTo>
                    <a:pt x="3924" y="2906"/>
                  </a:lnTo>
                  <a:lnTo>
                    <a:pt x="3924" y="2898"/>
                  </a:lnTo>
                  <a:lnTo>
                    <a:pt x="3924" y="2884"/>
                  </a:lnTo>
                  <a:lnTo>
                    <a:pt x="3926" y="2876"/>
                  </a:lnTo>
                  <a:lnTo>
                    <a:pt x="3930" y="2868"/>
                  </a:lnTo>
                  <a:lnTo>
                    <a:pt x="3936" y="2860"/>
                  </a:lnTo>
                  <a:lnTo>
                    <a:pt x="3940" y="2850"/>
                  </a:lnTo>
                  <a:lnTo>
                    <a:pt x="3942" y="2840"/>
                  </a:lnTo>
                  <a:lnTo>
                    <a:pt x="3944" y="2830"/>
                  </a:lnTo>
                  <a:lnTo>
                    <a:pt x="3942" y="2820"/>
                  </a:lnTo>
                  <a:lnTo>
                    <a:pt x="3940" y="2810"/>
                  </a:lnTo>
                  <a:lnTo>
                    <a:pt x="3936" y="2802"/>
                  </a:lnTo>
                  <a:lnTo>
                    <a:pt x="3932" y="2794"/>
                  </a:lnTo>
                  <a:lnTo>
                    <a:pt x="3926" y="2788"/>
                  </a:lnTo>
                  <a:lnTo>
                    <a:pt x="3922" y="2780"/>
                  </a:lnTo>
                  <a:lnTo>
                    <a:pt x="3918" y="2766"/>
                  </a:lnTo>
                  <a:lnTo>
                    <a:pt x="3918" y="2752"/>
                  </a:lnTo>
                  <a:lnTo>
                    <a:pt x="3918" y="2740"/>
                  </a:lnTo>
                  <a:close/>
                  <a:moveTo>
                    <a:pt x="3276" y="3612"/>
                  </a:moveTo>
                  <a:lnTo>
                    <a:pt x="3276" y="3612"/>
                  </a:lnTo>
                  <a:lnTo>
                    <a:pt x="3274" y="3610"/>
                  </a:lnTo>
                  <a:lnTo>
                    <a:pt x="3270" y="3612"/>
                  </a:lnTo>
                  <a:lnTo>
                    <a:pt x="3268" y="3614"/>
                  </a:lnTo>
                  <a:lnTo>
                    <a:pt x="3268" y="3618"/>
                  </a:lnTo>
                  <a:lnTo>
                    <a:pt x="3272" y="3618"/>
                  </a:lnTo>
                  <a:lnTo>
                    <a:pt x="3274" y="3618"/>
                  </a:lnTo>
                  <a:lnTo>
                    <a:pt x="3276" y="3614"/>
                  </a:lnTo>
                  <a:lnTo>
                    <a:pt x="3276" y="3612"/>
                  </a:lnTo>
                  <a:close/>
                  <a:moveTo>
                    <a:pt x="3322" y="3130"/>
                  </a:moveTo>
                  <a:lnTo>
                    <a:pt x="3322" y="3130"/>
                  </a:lnTo>
                  <a:lnTo>
                    <a:pt x="3324" y="3128"/>
                  </a:lnTo>
                  <a:lnTo>
                    <a:pt x="3322" y="3126"/>
                  </a:lnTo>
                  <a:lnTo>
                    <a:pt x="3318" y="3126"/>
                  </a:lnTo>
                  <a:lnTo>
                    <a:pt x="3316" y="3128"/>
                  </a:lnTo>
                  <a:lnTo>
                    <a:pt x="3318" y="3130"/>
                  </a:lnTo>
                  <a:lnTo>
                    <a:pt x="3320" y="3130"/>
                  </a:lnTo>
                  <a:lnTo>
                    <a:pt x="3322" y="3130"/>
                  </a:lnTo>
                  <a:close/>
                  <a:moveTo>
                    <a:pt x="3302" y="3176"/>
                  </a:moveTo>
                  <a:lnTo>
                    <a:pt x="3302" y="3176"/>
                  </a:lnTo>
                  <a:lnTo>
                    <a:pt x="3304" y="3178"/>
                  </a:lnTo>
                  <a:lnTo>
                    <a:pt x="3310" y="3178"/>
                  </a:lnTo>
                  <a:lnTo>
                    <a:pt x="3320" y="3176"/>
                  </a:lnTo>
                  <a:lnTo>
                    <a:pt x="3330" y="3170"/>
                  </a:lnTo>
                  <a:lnTo>
                    <a:pt x="3334" y="3166"/>
                  </a:lnTo>
                  <a:lnTo>
                    <a:pt x="3334" y="3162"/>
                  </a:lnTo>
                  <a:lnTo>
                    <a:pt x="3332" y="3158"/>
                  </a:lnTo>
                  <a:lnTo>
                    <a:pt x="3326" y="3158"/>
                  </a:lnTo>
                  <a:lnTo>
                    <a:pt x="3322" y="3158"/>
                  </a:lnTo>
                  <a:lnTo>
                    <a:pt x="3314" y="3160"/>
                  </a:lnTo>
                  <a:lnTo>
                    <a:pt x="3310" y="3164"/>
                  </a:lnTo>
                  <a:lnTo>
                    <a:pt x="3304" y="3166"/>
                  </a:lnTo>
                  <a:lnTo>
                    <a:pt x="3302" y="3172"/>
                  </a:lnTo>
                  <a:lnTo>
                    <a:pt x="3302" y="3176"/>
                  </a:lnTo>
                  <a:close/>
                  <a:moveTo>
                    <a:pt x="3372" y="3542"/>
                  </a:moveTo>
                  <a:lnTo>
                    <a:pt x="3372" y="3542"/>
                  </a:lnTo>
                  <a:lnTo>
                    <a:pt x="3374" y="3538"/>
                  </a:lnTo>
                  <a:lnTo>
                    <a:pt x="3376" y="3534"/>
                  </a:lnTo>
                  <a:lnTo>
                    <a:pt x="3386" y="3520"/>
                  </a:lnTo>
                  <a:lnTo>
                    <a:pt x="3392" y="3512"/>
                  </a:lnTo>
                  <a:lnTo>
                    <a:pt x="3394" y="3508"/>
                  </a:lnTo>
                  <a:lnTo>
                    <a:pt x="3390" y="3508"/>
                  </a:lnTo>
                  <a:lnTo>
                    <a:pt x="3384" y="3512"/>
                  </a:lnTo>
                  <a:lnTo>
                    <a:pt x="3374" y="3522"/>
                  </a:lnTo>
                  <a:lnTo>
                    <a:pt x="3370" y="3528"/>
                  </a:lnTo>
                  <a:lnTo>
                    <a:pt x="3366" y="3538"/>
                  </a:lnTo>
                  <a:lnTo>
                    <a:pt x="3366" y="3544"/>
                  </a:lnTo>
                  <a:lnTo>
                    <a:pt x="3368" y="3546"/>
                  </a:lnTo>
                  <a:lnTo>
                    <a:pt x="3372" y="3544"/>
                  </a:lnTo>
                  <a:lnTo>
                    <a:pt x="3372" y="3542"/>
                  </a:lnTo>
                  <a:close/>
                  <a:moveTo>
                    <a:pt x="3932" y="2136"/>
                  </a:moveTo>
                  <a:lnTo>
                    <a:pt x="3932" y="2136"/>
                  </a:lnTo>
                  <a:lnTo>
                    <a:pt x="3930" y="2138"/>
                  </a:lnTo>
                  <a:lnTo>
                    <a:pt x="3932" y="2138"/>
                  </a:lnTo>
                  <a:lnTo>
                    <a:pt x="3936" y="2142"/>
                  </a:lnTo>
                  <a:lnTo>
                    <a:pt x="3942" y="2150"/>
                  </a:lnTo>
                  <a:lnTo>
                    <a:pt x="3950" y="2162"/>
                  </a:lnTo>
                  <a:lnTo>
                    <a:pt x="3952" y="2168"/>
                  </a:lnTo>
                  <a:lnTo>
                    <a:pt x="3952" y="2174"/>
                  </a:lnTo>
                  <a:lnTo>
                    <a:pt x="3948" y="2186"/>
                  </a:lnTo>
                  <a:lnTo>
                    <a:pt x="3944" y="2198"/>
                  </a:lnTo>
                  <a:lnTo>
                    <a:pt x="3944" y="2206"/>
                  </a:lnTo>
                  <a:lnTo>
                    <a:pt x="3946" y="2214"/>
                  </a:lnTo>
                  <a:lnTo>
                    <a:pt x="3948" y="2224"/>
                  </a:lnTo>
                  <a:lnTo>
                    <a:pt x="3948" y="2236"/>
                  </a:lnTo>
                  <a:lnTo>
                    <a:pt x="3948" y="2266"/>
                  </a:lnTo>
                  <a:lnTo>
                    <a:pt x="3944" y="2294"/>
                  </a:lnTo>
                  <a:lnTo>
                    <a:pt x="3940" y="2304"/>
                  </a:lnTo>
                  <a:lnTo>
                    <a:pt x="3938" y="2312"/>
                  </a:lnTo>
                  <a:lnTo>
                    <a:pt x="3936" y="2316"/>
                  </a:lnTo>
                  <a:lnTo>
                    <a:pt x="3938" y="2320"/>
                  </a:lnTo>
                  <a:lnTo>
                    <a:pt x="3944" y="2330"/>
                  </a:lnTo>
                  <a:lnTo>
                    <a:pt x="3946" y="2336"/>
                  </a:lnTo>
                  <a:lnTo>
                    <a:pt x="3948" y="2344"/>
                  </a:lnTo>
                  <a:lnTo>
                    <a:pt x="3946" y="2356"/>
                  </a:lnTo>
                  <a:lnTo>
                    <a:pt x="3942" y="2370"/>
                  </a:lnTo>
                  <a:lnTo>
                    <a:pt x="3940" y="2378"/>
                  </a:lnTo>
                  <a:lnTo>
                    <a:pt x="3940" y="2386"/>
                  </a:lnTo>
                  <a:lnTo>
                    <a:pt x="3942" y="2400"/>
                  </a:lnTo>
                  <a:lnTo>
                    <a:pt x="3944" y="2412"/>
                  </a:lnTo>
                  <a:lnTo>
                    <a:pt x="3944" y="2418"/>
                  </a:lnTo>
                  <a:lnTo>
                    <a:pt x="3940" y="2424"/>
                  </a:lnTo>
                  <a:lnTo>
                    <a:pt x="3936" y="2436"/>
                  </a:lnTo>
                  <a:lnTo>
                    <a:pt x="3934" y="2444"/>
                  </a:lnTo>
                  <a:lnTo>
                    <a:pt x="3936" y="2454"/>
                  </a:lnTo>
                  <a:lnTo>
                    <a:pt x="3938" y="2468"/>
                  </a:lnTo>
                  <a:lnTo>
                    <a:pt x="3942" y="2478"/>
                  </a:lnTo>
                  <a:lnTo>
                    <a:pt x="3944" y="2478"/>
                  </a:lnTo>
                  <a:lnTo>
                    <a:pt x="3946" y="2478"/>
                  </a:lnTo>
                  <a:lnTo>
                    <a:pt x="3950" y="2470"/>
                  </a:lnTo>
                  <a:lnTo>
                    <a:pt x="3954" y="2456"/>
                  </a:lnTo>
                  <a:lnTo>
                    <a:pt x="3958" y="2442"/>
                  </a:lnTo>
                  <a:lnTo>
                    <a:pt x="3962" y="2434"/>
                  </a:lnTo>
                  <a:lnTo>
                    <a:pt x="3966" y="2432"/>
                  </a:lnTo>
                  <a:lnTo>
                    <a:pt x="3968" y="2432"/>
                  </a:lnTo>
                  <a:lnTo>
                    <a:pt x="3972" y="2434"/>
                  </a:lnTo>
                  <a:lnTo>
                    <a:pt x="3976" y="2438"/>
                  </a:lnTo>
                  <a:lnTo>
                    <a:pt x="3980" y="2440"/>
                  </a:lnTo>
                  <a:lnTo>
                    <a:pt x="3984" y="2438"/>
                  </a:lnTo>
                  <a:lnTo>
                    <a:pt x="3990" y="2440"/>
                  </a:lnTo>
                  <a:lnTo>
                    <a:pt x="3994" y="2442"/>
                  </a:lnTo>
                  <a:lnTo>
                    <a:pt x="3996" y="2446"/>
                  </a:lnTo>
                  <a:lnTo>
                    <a:pt x="3998" y="2456"/>
                  </a:lnTo>
                  <a:lnTo>
                    <a:pt x="4000" y="2464"/>
                  </a:lnTo>
                  <a:lnTo>
                    <a:pt x="4000" y="2466"/>
                  </a:lnTo>
                  <a:lnTo>
                    <a:pt x="4002" y="2466"/>
                  </a:lnTo>
                  <a:lnTo>
                    <a:pt x="4006" y="2454"/>
                  </a:lnTo>
                  <a:lnTo>
                    <a:pt x="4006" y="2448"/>
                  </a:lnTo>
                  <a:lnTo>
                    <a:pt x="4004" y="2444"/>
                  </a:lnTo>
                  <a:lnTo>
                    <a:pt x="4002" y="2434"/>
                  </a:lnTo>
                  <a:lnTo>
                    <a:pt x="4002" y="2426"/>
                  </a:lnTo>
                  <a:lnTo>
                    <a:pt x="3998" y="2426"/>
                  </a:lnTo>
                  <a:lnTo>
                    <a:pt x="3992" y="2426"/>
                  </a:lnTo>
                  <a:lnTo>
                    <a:pt x="3990" y="2422"/>
                  </a:lnTo>
                  <a:lnTo>
                    <a:pt x="3986" y="2420"/>
                  </a:lnTo>
                  <a:lnTo>
                    <a:pt x="3984" y="2410"/>
                  </a:lnTo>
                  <a:lnTo>
                    <a:pt x="3980" y="2400"/>
                  </a:lnTo>
                  <a:lnTo>
                    <a:pt x="3976" y="2394"/>
                  </a:lnTo>
                  <a:lnTo>
                    <a:pt x="3972" y="2390"/>
                  </a:lnTo>
                  <a:lnTo>
                    <a:pt x="3966" y="2382"/>
                  </a:lnTo>
                  <a:lnTo>
                    <a:pt x="3964" y="2372"/>
                  </a:lnTo>
                  <a:lnTo>
                    <a:pt x="3964" y="2362"/>
                  </a:lnTo>
                  <a:lnTo>
                    <a:pt x="3964" y="2350"/>
                  </a:lnTo>
                  <a:lnTo>
                    <a:pt x="3970" y="2328"/>
                  </a:lnTo>
                  <a:lnTo>
                    <a:pt x="3978" y="2314"/>
                  </a:lnTo>
                  <a:lnTo>
                    <a:pt x="3980" y="2308"/>
                  </a:lnTo>
                  <a:lnTo>
                    <a:pt x="3982" y="2304"/>
                  </a:lnTo>
                  <a:lnTo>
                    <a:pt x="3982" y="2294"/>
                  </a:lnTo>
                  <a:lnTo>
                    <a:pt x="3984" y="2290"/>
                  </a:lnTo>
                  <a:lnTo>
                    <a:pt x="3984" y="2288"/>
                  </a:lnTo>
                  <a:lnTo>
                    <a:pt x="3988" y="2284"/>
                  </a:lnTo>
                  <a:lnTo>
                    <a:pt x="3994" y="2282"/>
                  </a:lnTo>
                  <a:lnTo>
                    <a:pt x="4004" y="2280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6" y="2294"/>
                  </a:lnTo>
                  <a:lnTo>
                    <a:pt x="4048" y="2314"/>
                  </a:lnTo>
                  <a:lnTo>
                    <a:pt x="4052" y="2316"/>
                  </a:lnTo>
                  <a:lnTo>
                    <a:pt x="4052" y="2312"/>
                  </a:lnTo>
                  <a:lnTo>
                    <a:pt x="4048" y="2302"/>
                  </a:lnTo>
                  <a:lnTo>
                    <a:pt x="4040" y="2294"/>
                  </a:lnTo>
                  <a:lnTo>
                    <a:pt x="4034" y="2282"/>
                  </a:lnTo>
                  <a:lnTo>
                    <a:pt x="4032" y="2276"/>
                  </a:lnTo>
                  <a:lnTo>
                    <a:pt x="4030" y="2268"/>
                  </a:lnTo>
                  <a:lnTo>
                    <a:pt x="4026" y="2252"/>
                  </a:lnTo>
                  <a:lnTo>
                    <a:pt x="4020" y="2234"/>
                  </a:lnTo>
                  <a:lnTo>
                    <a:pt x="4012" y="2214"/>
                  </a:lnTo>
                  <a:lnTo>
                    <a:pt x="4010" y="2206"/>
                  </a:lnTo>
                  <a:lnTo>
                    <a:pt x="4010" y="2196"/>
                  </a:lnTo>
                  <a:lnTo>
                    <a:pt x="4008" y="2180"/>
                  </a:lnTo>
                  <a:lnTo>
                    <a:pt x="4004" y="2168"/>
                  </a:lnTo>
                  <a:lnTo>
                    <a:pt x="4002" y="2158"/>
                  </a:lnTo>
                  <a:lnTo>
                    <a:pt x="3998" y="2148"/>
                  </a:lnTo>
                  <a:lnTo>
                    <a:pt x="3998" y="2144"/>
                  </a:lnTo>
                  <a:lnTo>
                    <a:pt x="3994" y="2146"/>
                  </a:lnTo>
                  <a:lnTo>
                    <a:pt x="3992" y="2146"/>
                  </a:lnTo>
                  <a:lnTo>
                    <a:pt x="3992" y="2138"/>
                  </a:lnTo>
                  <a:lnTo>
                    <a:pt x="3994" y="2128"/>
                  </a:lnTo>
                  <a:lnTo>
                    <a:pt x="3992" y="2128"/>
                  </a:lnTo>
                  <a:lnTo>
                    <a:pt x="3990" y="2128"/>
                  </a:lnTo>
                  <a:lnTo>
                    <a:pt x="3988" y="2124"/>
                  </a:lnTo>
                  <a:lnTo>
                    <a:pt x="3988" y="2116"/>
                  </a:lnTo>
                  <a:lnTo>
                    <a:pt x="3988" y="2108"/>
                  </a:lnTo>
                  <a:lnTo>
                    <a:pt x="3992" y="2096"/>
                  </a:lnTo>
                  <a:lnTo>
                    <a:pt x="3994" y="2090"/>
                  </a:lnTo>
                  <a:lnTo>
                    <a:pt x="3996" y="2082"/>
                  </a:lnTo>
                  <a:lnTo>
                    <a:pt x="3996" y="2072"/>
                  </a:lnTo>
                  <a:lnTo>
                    <a:pt x="3994" y="2058"/>
                  </a:lnTo>
                  <a:lnTo>
                    <a:pt x="3990" y="2042"/>
                  </a:lnTo>
                  <a:lnTo>
                    <a:pt x="3988" y="2036"/>
                  </a:lnTo>
                  <a:lnTo>
                    <a:pt x="3986" y="2034"/>
                  </a:lnTo>
                  <a:lnTo>
                    <a:pt x="3988" y="2032"/>
                  </a:lnTo>
                  <a:lnTo>
                    <a:pt x="3988" y="2028"/>
                  </a:lnTo>
                  <a:lnTo>
                    <a:pt x="3986" y="2026"/>
                  </a:lnTo>
                  <a:lnTo>
                    <a:pt x="3984" y="2026"/>
                  </a:lnTo>
                  <a:lnTo>
                    <a:pt x="3982" y="2022"/>
                  </a:lnTo>
                  <a:lnTo>
                    <a:pt x="3982" y="2014"/>
                  </a:lnTo>
                  <a:lnTo>
                    <a:pt x="3978" y="2010"/>
                  </a:lnTo>
                  <a:lnTo>
                    <a:pt x="3978" y="2006"/>
                  </a:lnTo>
                  <a:lnTo>
                    <a:pt x="3980" y="2000"/>
                  </a:lnTo>
                  <a:lnTo>
                    <a:pt x="3984" y="1994"/>
                  </a:lnTo>
                  <a:lnTo>
                    <a:pt x="3982" y="1988"/>
                  </a:lnTo>
                  <a:lnTo>
                    <a:pt x="3978" y="1984"/>
                  </a:lnTo>
                  <a:lnTo>
                    <a:pt x="3974" y="1976"/>
                  </a:lnTo>
                  <a:lnTo>
                    <a:pt x="3970" y="1972"/>
                  </a:lnTo>
                  <a:lnTo>
                    <a:pt x="3970" y="1974"/>
                  </a:lnTo>
                  <a:lnTo>
                    <a:pt x="3966" y="1978"/>
                  </a:lnTo>
                  <a:lnTo>
                    <a:pt x="3962" y="1980"/>
                  </a:lnTo>
                  <a:lnTo>
                    <a:pt x="3958" y="1982"/>
                  </a:lnTo>
                  <a:lnTo>
                    <a:pt x="3954" y="1982"/>
                  </a:lnTo>
                  <a:lnTo>
                    <a:pt x="3954" y="1984"/>
                  </a:lnTo>
                  <a:lnTo>
                    <a:pt x="3960" y="1990"/>
                  </a:lnTo>
                  <a:lnTo>
                    <a:pt x="3966" y="1998"/>
                  </a:lnTo>
                  <a:lnTo>
                    <a:pt x="3968" y="2004"/>
                  </a:lnTo>
                  <a:lnTo>
                    <a:pt x="3970" y="2008"/>
                  </a:lnTo>
                  <a:lnTo>
                    <a:pt x="3966" y="2016"/>
                  </a:lnTo>
                  <a:lnTo>
                    <a:pt x="3964" y="2018"/>
                  </a:lnTo>
                  <a:lnTo>
                    <a:pt x="3962" y="2018"/>
                  </a:lnTo>
                  <a:lnTo>
                    <a:pt x="3960" y="2020"/>
                  </a:lnTo>
                  <a:lnTo>
                    <a:pt x="3960" y="2024"/>
                  </a:lnTo>
                  <a:lnTo>
                    <a:pt x="3962" y="2024"/>
                  </a:lnTo>
                  <a:lnTo>
                    <a:pt x="3964" y="2026"/>
                  </a:lnTo>
                  <a:lnTo>
                    <a:pt x="3966" y="2028"/>
                  </a:lnTo>
                  <a:lnTo>
                    <a:pt x="3966" y="2030"/>
                  </a:lnTo>
                  <a:lnTo>
                    <a:pt x="3962" y="2034"/>
                  </a:lnTo>
                  <a:lnTo>
                    <a:pt x="3958" y="2038"/>
                  </a:lnTo>
                  <a:lnTo>
                    <a:pt x="3954" y="2038"/>
                  </a:lnTo>
                  <a:lnTo>
                    <a:pt x="3954" y="2036"/>
                  </a:lnTo>
                  <a:lnTo>
                    <a:pt x="3952" y="2034"/>
                  </a:lnTo>
                  <a:lnTo>
                    <a:pt x="3952" y="2030"/>
                  </a:lnTo>
                  <a:lnTo>
                    <a:pt x="3950" y="2028"/>
                  </a:lnTo>
                  <a:lnTo>
                    <a:pt x="3946" y="2030"/>
                  </a:lnTo>
                  <a:lnTo>
                    <a:pt x="3940" y="2032"/>
                  </a:lnTo>
                  <a:lnTo>
                    <a:pt x="3936" y="2034"/>
                  </a:lnTo>
                  <a:lnTo>
                    <a:pt x="3932" y="2036"/>
                  </a:lnTo>
                  <a:lnTo>
                    <a:pt x="3934" y="2044"/>
                  </a:lnTo>
                  <a:lnTo>
                    <a:pt x="3936" y="2054"/>
                  </a:lnTo>
                  <a:lnTo>
                    <a:pt x="3938" y="2066"/>
                  </a:lnTo>
                  <a:lnTo>
                    <a:pt x="3936" y="2078"/>
                  </a:lnTo>
                  <a:lnTo>
                    <a:pt x="3930" y="2090"/>
                  </a:lnTo>
                  <a:lnTo>
                    <a:pt x="3928" y="2098"/>
                  </a:lnTo>
                  <a:lnTo>
                    <a:pt x="3928" y="2104"/>
                  </a:lnTo>
                  <a:lnTo>
                    <a:pt x="3930" y="2108"/>
                  </a:lnTo>
                  <a:lnTo>
                    <a:pt x="3928" y="2118"/>
                  </a:lnTo>
                  <a:lnTo>
                    <a:pt x="3926" y="2124"/>
                  </a:lnTo>
                  <a:lnTo>
                    <a:pt x="3928" y="2128"/>
                  </a:lnTo>
                  <a:lnTo>
                    <a:pt x="3930" y="2132"/>
                  </a:lnTo>
                  <a:lnTo>
                    <a:pt x="3934" y="2134"/>
                  </a:lnTo>
                  <a:lnTo>
                    <a:pt x="3934" y="2136"/>
                  </a:lnTo>
                  <a:lnTo>
                    <a:pt x="3932" y="2136"/>
                  </a:lnTo>
                  <a:close/>
                  <a:moveTo>
                    <a:pt x="4070" y="2610"/>
                  </a:moveTo>
                  <a:lnTo>
                    <a:pt x="4070" y="2610"/>
                  </a:lnTo>
                  <a:lnTo>
                    <a:pt x="4068" y="2602"/>
                  </a:lnTo>
                  <a:lnTo>
                    <a:pt x="4068" y="2594"/>
                  </a:lnTo>
                  <a:lnTo>
                    <a:pt x="4070" y="2586"/>
                  </a:lnTo>
                  <a:lnTo>
                    <a:pt x="4072" y="2580"/>
                  </a:lnTo>
                  <a:lnTo>
                    <a:pt x="4078" y="2572"/>
                  </a:lnTo>
                  <a:lnTo>
                    <a:pt x="4078" y="2570"/>
                  </a:lnTo>
                  <a:lnTo>
                    <a:pt x="4076" y="2568"/>
                  </a:lnTo>
                  <a:lnTo>
                    <a:pt x="4072" y="2570"/>
                  </a:lnTo>
                  <a:lnTo>
                    <a:pt x="4068" y="2572"/>
                  </a:lnTo>
                  <a:lnTo>
                    <a:pt x="4062" y="2582"/>
                  </a:lnTo>
                  <a:lnTo>
                    <a:pt x="4054" y="2590"/>
                  </a:lnTo>
                  <a:lnTo>
                    <a:pt x="4050" y="2592"/>
                  </a:lnTo>
                  <a:lnTo>
                    <a:pt x="4044" y="2592"/>
                  </a:lnTo>
                  <a:lnTo>
                    <a:pt x="4040" y="2592"/>
                  </a:lnTo>
                  <a:lnTo>
                    <a:pt x="4038" y="2590"/>
                  </a:lnTo>
                  <a:lnTo>
                    <a:pt x="4036" y="2586"/>
                  </a:lnTo>
                  <a:lnTo>
                    <a:pt x="4034" y="2582"/>
                  </a:lnTo>
                  <a:lnTo>
                    <a:pt x="4032" y="2580"/>
                  </a:lnTo>
                  <a:lnTo>
                    <a:pt x="4028" y="2578"/>
                  </a:lnTo>
                  <a:lnTo>
                    <a:pt x="4022" y="2578"/>
                  </a:lnTo>
                  <a:lnTo>
                    <a:pt x="4012" y="2576"/>
                  </a:lnTo>
                  <a:lnTo>
                    <a:pt x="4004" y="2570"/>
                  </a:lnTo>
                  <a:lnTo>
                    <a:pt x="3994" y="2562"/>
                  </a:lnTo>
                  <a:lnTo>
                    <a:pt x="3984" y="2554"/>
                  </a:lnTo>
                  <a:lnTo>
                    <a:pt x="3966" y="2534"/>
                  </a:lnTo>
                  <a:lnTo>
                    <a:pt x="3952" y="2516"/>
                  </a:lnTo>
                  <a:lnTo>
                    <a:pt x="3946" y="2510"/>
                  </a:lnTo>
                  <a:lnTo>
                    <a:pt x="3940" y="2506"/>
                  </a:lnTo>
                  <a:lnTo>
                    <a:pt x="3934" y="2504"/>
                  </a:lnTo>
                  <a:lnTo>
                    <a:pt x="3930" y="2504"/>
                  </a:lnTo>
                  <a:lnTo>
                    <a:pt x="3926" y="2508"/>
                  </a:lnTo>
                  <a:lnTo>
                    <a:pt x="3924" y="2512"/>
                  </a:lnTo>
                  <a:lnTo>
                    <a:pt x="3924" y="2520"/>
                  </a:lnTo>
                  <a:lnTo>
                    <a:pt x="3928" y="2530"/>
                  </a:lnTo>
                  <a:lnTo>
                    <a:pt x="3932" y="2540"/>
                  </a:lnTo>
                  <a:lnTo>
                    <a:pt x="3932" y="2546"/>
                  </a:lnTo>
                  <a:lnTo>
                    <a:pt x="3932" y="2552"/>
                  </a:lnTo>
                  <a:lnTo>
                    <a:pt x="3930" y="2556"/>
                  </a:lnTo>
                  <a:lnTo>
                    <a:pt x="3928" y="2564"/>
                  </a:lnTo>
                  <a:lnTo>
                    <a:pt x="3926" y="2568"/>
                  </a:lnTo>
                  <a:lnTo>
                    <a:pt x="3928" y="2574"/>
                  </a:lnTo>
                  <a:lnTo>
                    <a:pt x="3928" y="2580"/>
                  </a:lnTo>
                  <a:lnTo>
                    <a:pt x="3928" y="2584"/>
                  </a:lnTo>
                  <a:lnTo>
                    <a:pt x="3922" y="2594"/>
                  </a:lnTo>
                  <a:lnTo>
                    <a:pt x="3918" y="2602"/>
                  </a:lnTo>
                  <a:lnTo>
                    <a:pt x="3916" y="2606"/>
                  </a:lnTo>
                  <a:lnTo>
                    <a:pt x="3916" y="2610"/>
                  </a:lnTo>
                  <a:lnTo>
                    <a:pt x="3918" y="2620"/>
                  </a:lnTo>
                  <a:lnTo>
                    <a:pt x="3918" y="2630"/>
                  </a:lnTo>
                  <a:lnTo>
                    <a:pt x="3914" y="2634"/>
                  </a:lnTo>
                  <a:lnTo>
                    <a:pt x="3912" y="2636"/>
                  </a:lnTo>
                  <a:lnTo>
                    <a:pt x="3906" y="2636"/>
                  </a:lnTo>
                  <a:lnTo>
                    <a:pt x="3900" y="2632"/>
                  </a:lnTo>
                  <a:lnTo>
                    <a:pt x="3886" y="2626"/>
                  </a:lnTo>
                  <a:lnTo>
                    <a:pt x="3876" y="2624"/>
                  </a:lnTo>
                  <a:lnTo>
                    <a:pt x="3874" y="2624"/>
                  </a:lnTo>
                  <a:lnTo>
                    <a:pt x="3872" y="2628"/>
                  </a:lnTo>
                  <a:lnTo>
                    <a:pt x="3874" y="2630"/>
                  </a:lnTo>
                  <a:lnTo>
                    <a:pt x="3878" y="2636"/>
                  </a:lnTo>
                  <a:lnTo>
                    <a:pt x="3880" y="2640"/>
                  </a:lnTo>
                  <a:lnTo>
                    <a:pt x="3880" y="2642"/>
                  </a:lnTo>
                  <a:lnTo>
                    <a:pt x="3878" y="2648"/>
                  </a:lnTo>
                  <a:lnTo>
                    <a:pt x="3872" y="2656"/>
                  </a:lnTo>
                  <a:lnTo>
                    <a:pt x="3866" y="2662"/>
                  </a:lnTo>
                  <a:lnTo>
                    <a:pt x="3858" y="2670"/>
                  </a:lnTo>
                  <a:lnTo>
                    <a:pt x="3854" y="2676"/>
                  </a:lnTo>
                  <a:lnTo>
                    <a:pt x="3852" y="2680"/>
                  </a:lnTo>
                  <a:lnTo>
                    <a:pt x="3852" y="2682"/>
                  </a:lnTo>
                  <a:lnTo>
                    <a:pt x="3854" y="2686"/>
                  </a:lnTo>
                  <a:lnTo>
                    <a:pt x="3856" y="2690"/>
                  </a:lnTo>
                  <a:lnTo>
                    <a:pt x="3862" y="2694"/>
                  </a:lnTo>
                  <a:lnTo>
                    <a:pt x="3866" y="2700"/>
                  </a:lnTo>
                  <a:lnTo>
                    <a:pt x="3866" y="2706"/>
                  </a:lnTo>
                  <a:lnTo>
                    <a:pt x="3864" y="2710"/>
                  </a:lnTo>
                  <a:lnTo>
                    <a:pt x="3860" y="2722"/>
                  </a:lnTo>
                  <a:lnTo>
                    <a:pt x="3862" y="2726"/>
                  </a:lnTo>
                  <a:lnTo>
                    <a:pt x="3864" y="2732"/>
                  </a:lnTo>
                  <a:lnTo>
                    <a:pt x="3866" y="2734"/>
                  </a:lnTo>
                  <a:lnTo>
                    <a:pt x="3870" y="2736"/>
                  </a:lnTo>
                  <a:lnTo>
                    <a:pt x="3874" y="2732"/>
                  </a:lnTo>
                  <a:lnTo>
                    <a:pt x="3880" y="2720"/>
                  </a:lnTo>
                  <a:lnTo>
                    <a:pt x="3884" y="2712"/>
                  </a:lnTo>
                  <a:lnTo>
                    <a:pt x="3888" y="2710"/>
                  </a:lnTo>
                  <a:lnTo>
                    <a:pt x="3890" y="2712"/>
                  </a:lnTo>
                  <a:lnTo>
                    <a:pt x="3896" y="2714"/>
                  </a:lnTo>
                  <a:lnTo>
                    <a:pt x="3900" y="2714"/>
                  </a:lnTo>
                  <a:lnTo>
                    <a:pt x="3908" y="2712"/>
                  </a:lnTo>
                  <a:lnTo>
                    <a:pt x="3912" y="2710"/>
                  </a:lnTo>
                  <a:lnTo>
                    <a:pt x="3910" y="2706"/>
                  </a:lnTo>
                  <a:lnTo>
                    <a:pt x="3894" y="2698"/>
                  </a:lnTo>
                  <a:lnTo>
                    <a:pt x="3886" y="2692"/>
                  </a:lnTo>
                  <a:lnTo>
                    <a:pt x="3878" y="2686"/>
                  </a:lnTo>
                  <a:lnTo>
                    <a:pt x="3874" y="2680"/>
                  </a:lnTo>
                  <a:lnTo>
                    <a:pt x="3874" y="2676"/>
                  </a:lnTo>
                  <a:lnTo>
                    <a:pt x="3876" y="2672"/>
                  </a:lnTo>
                  <a:lnTo>
                    <a:pt x="3882" y="2666"/>
                  </a:lnTo>
                  <a:lnTo>
                    <a:pt x="3886" y="2666"/>
                  </a:lnTo>
                  <a:lnTo>
                    <a:pt x="3888" y="2668"/>
                  </a:lnTo>
                  <a:lnTo>
                    <a:pt x="3892" y="2670"/>
                  </a:lnTo>
                  <a:lnTo>
                    <a:pt x="3896" y="2674"/>
                  </a:lnTo>
                  <a:lnTo>
                    <a:pt x="3900" y="2676"/>
                  </a:lnTo>
                  <a:lnTo>
                    <a:pt x="3906" y="2676"/>
                  </a:lnTo>
                  <a:lnTo>
                    <a:pt x="3912" y="2674"/>
                  </a:lnTo>
                  <a:lnTo>
                    <a:pt x="3918" y="2670"/>
                  </a:lnTo>
                  <a:lnTo>
                    <a:pt x="3924" y="2668"/>
                  </a:lnTo>
                  <a:lnTo>
                    <a:pt x="3930" y="2666"/>
                  </a:lnTo>
                  <a:lnTo>
                    <a:pt x="3936" y="2668"/>
                  </a:lnTo>
                  <a:lnTo>
                    <a:pt x="3954" y="2678"/>
                  </a:lnTo>
                  <a:lnTo>
                    <a:pt x="3984" y="2698"/>
                  </a:lnTo>
                  <a:lnTo>
                    <a:pt x="3992" y="2700"/>
                  </a:lnTo>
                  <a:lnTo>
                    <a:pt x="3996" y="2698"/>
                  </a:lnTo>
                  <a:lnTo>
                    <a:pt x="4000" y="2692"/>
                  </a:lnTo>
                  <a:lnTo>
                    <a:pt x="4002" y="2684"/>
                  </a:lnTo>
                  <a:lnTo>
                    <a:pt x="4008" y="2664"/>
                  </a:lnTo>
                  <a:lnTo>
                    <a:pt x="4012" y="2656"/>
                  </a:lnTo>
                  <a:lnTo>
                    <a:pt x="4018" y="2652"/>
                  </a:lnTo>
                  <a:lnTo>
                    <a:pt x="4030" y="2648"/>
                  </a:lnTo>
                  <a:lnTo>
                    <a:pt x="4042" y="2646"/>
                  </a:lnTo>
                  <a:lnTo>
                    <a:pt x="4054" y="2644"/>
                  </a:lnTo>
                  <a:lnTo>
                    <a:pt x="4068" y="2640"/>
                  </a:lnTo>
                  <a:lnTo>
                    <a:pt x="4090" y="2630"/>
                  </a:lnTo>
                  <a:lnTo>
                    <a:pt x="4096" y="2626"/>
                  </a:lnTo>
                  <a:lnTo>
                    <a:pt x="4096" y="2624"/>
                  </a:lnTo>
                  <a:lnTo>
                    <a:pt x="4094" y="2622"/>
                  </a:lnTo>
                  <a:lnTo>
                    <a:pt x="4092" y="2620"/>
                  </a:lnTo>
                  <a:lnTo>
                    <a:pt x="4090" y="2620"/>
                  </a:lnTo>
                  <a:lnTo>
                    <a:pt x="4084" y="2622"/>
                  </a:lnTo>
                  <a:lnTo>
                    <a:pt x="4082" y="2622"/>
                  </a:lnTo>
                  <a:lnTo>
                    <a:pt x="4078" y="2622"/>
                  </a:lnTo>
                  <a:lnTo>
                    <a:pt x="4074" y="2618"/>
                  </a:lnTo>
                  <a:lnTo>
                    <a:pt x="4070" y="2610"/>
                  </a:lnTo>
                  <a:close/>
                  <a:moveTo>
                    <a:pt x="3802" y="2924"/>
                  </a:moveTo>
                  <a:lnTo>
                    <a:pt x="3802" y="2924"/>
                  </a:lnTo>
                  <a:lnTo>
                    <a:pt x="3806" y="2916"/>
                  </a:lnTo>
                  <a:lnTo>
                    <a:pt x="3806" y="2908"/>
                  </a:lnTo>
                  <a:lnTo>
                    <a:pt x="3804" y="2906"/>
                  </a:lnTo>
                  <a:lnTo>
                    <a:pt x="3802" y="2904"/>
                  </a:lnTo>
                  <a:lnTo>
                    <a:pt x="3800" y="2906"/>
                  </a:lnTo>
                  <a:lnTo>
                    <a:pt x="3796" y="2910"/>
                  </a:lnTo>
                  <a:lnTo>
                    <a:pt x="3792" y="2914"/>
                  </a:lnTo>
                  <a:lnTo>
                    <a:pt x="3792" y="2918"/>
                  </a:lnTo>
                  <a:lnTo>
                    <a:pt x="3792" y="2922"/>
                  </a:lnTo>
                  <a:lnTo>
                    <a:pt x="3792" y="2924"/>
                  </a:lnTo>
                  <a:lnTo>
                    <a:pt x="3794" y="2926"/>
                  </a:lnTo>
                  <a:lnTo>
                    <a:pt x="3798" y="2928"/>
                  </a:lnTo>
                  <a:lnTo>
                    <a:pt x="3800" y="2926"/>
                  </a:lnTo>
                  <a:lnTo>
                    <a:pt x="3802" y="2924"/>
                  </a:lnTo>
                  <a:close/>
                  <a:moveTo>
                    <a:pt x="3594" y="3018"/>
                  </a:moveTo>
                  <a:lnTo>
                    <a:pt x="3594" y="3018"/>
                  </a:lnTo>
                  <a:lnTo>
                    <a:pt x="3596" y="3016"/>
                  </a:lnTo>
                  <a:lnTo>
                    <a:pt x="3596" y="3014"/>
                  </a:lnTo>
                  <a:lnTo>
                    <a:pt x="3594" y="3010"/>
                  </a:lnTo>
                  <a:lnTo>
                    <a:pt x="3592" y="3010"/>
                  </a:lnTo>
                  <a:lnTo>
                    <a:pt x="3590" y="3012"/>
                  </a:lnTo>
                  <a:lnTo>
                    <a:pt x="3588" y="3014"/>
                  </a:lnTo>
                  <a:lnTo>
                    <a:pt x="3590" y="3018"/>
                  </a:lnTo>
                  <a:lnTo>
                    <a:pt x="3594" y="3018"/>
                  </a:lnTo>
                  <a:close/>
                  <a:moveTo>
                    <a:pt x="3048" y="4040"/>
                  </a:moveTo>
                  <a:lnTo>
                    <a:pt x="3048" y="4040"/>
                  </a:lnTo>
                  <a:lnTo>
                    <a:pt x="3046" y="4042"/>
                  </a:lnTo>
                  <a:lnTo>
                    <a:pt x="3044" y="4044"/>
                  </a:lnTo>
                  <a:lnTo>
                    <a:pt x="3042" y="4050"/>
                  </a:lnTo>
                  <a:lnTo>
                    <a:pt x="3044" y="4056"/>
                  </a:lnTo>
                  <a:lnTo>
                    <a:pt x="3046" y="4062"/>
                  </a:lnTo>
                  <a:lnTo>
                    <a:pt x="3048" y="4064"/>
                  </a:lnTo>
                  <a:lnTo>
                    <a:pt x="3050" y="4068"/>
                  </a:lnTo>
                  <a:lnTo>
                    <a:pt x="3052" y="4098"/>
                  </a:lnTo>
                  <a:lnTo>
                    <a:pt x="3054" y="4116"/>
                  </a:lnTo>
                  <a:lnTo>
                    <a:pt x="3056" y="4120"/>
                  </a:lnTo>
                  <a:lnTo>
                    <a:pt x="3058" y="4120"/>
                  </a:lnTo>
                  <a:lnTo>
                    <a:pt x="3062" y="4120"/>
                  </a:lnTo>
                  <a:lnTo>
                    <a:pt x="3064" y="4122"/>
                  </a:lnTo>
                  <a:lnTo>
                    <a:pt x="3066" y="4126"/>
                  </a:lnTo>
                  <a:lnTo>
                    <a:pt x="3070" y="4134"/>
                  </a:lnTo>
                  <a:lnTo>
                    <a:pt x="3074" y="4138"/>
                  </a:lnTo>
                  <a:lnTo>
                    <a:pt x="3076" y="4134"/>
                  </a:lnTo>
                  <a:lnTo>
                    <a:pt x="3076" y="4128"/>
                  </a:lnTo>
                  <a:lnTo>
                    <a:pt x="3078" y="4120"/>
                  </a:lnTo>
                  <a:lnTo>
                    <a:pt x="3078" y="4118"/>
                  </a:lnTo>
                  <a:lnTo>
                    <a:pt x="3082" y="4118"/>
                  </a:lnTo>
                  <a:lnTo>
                    <a:pt x="3086" y="4122"/>
                  </a:lnTo>
                  <a:lnTo>
                    <a:pt x="3090" y="4126"/>
                  </a:lnTo>
                  <a:lnTo>
                    <a:pt x="3092" y="4130"/>
                  </a:lnTo>
                  <a:lnTo>
                    <a:pt x="3090" y="4134"/>
                  </a:lnTo>
                  <a:lnTo>
                    <a:pt x="3086" y="4140"/>
                  </a:lnTo>
                  <a:lnTo>
                    <a:pt x="3080" y="4146"/>
                  </a:lnTo>
                  <a:lnTo>
                    <a:pt x="3076" y="4156"/>
                  </a:lnTo>
                  <a:lnTo>
                    <a:pt x="3078" y="4164"/>
                  </a:lnTo>
                  <a:lnTo>
                    <a:pt x="3078" y="4166"/>
                  </a:lnTo>
                  <a:lnTo>
                    <a:pt x="3082" y="4166"/>
                  </a:lnTo>
                  <a:lnTo>
                    <a:pt x="3084" y="4164"/>
                  </a:lnTo>
                  <a:lnTo>
                    <a:pt x="3088" y="4166"/>
                  </a:lnTo>
                  <a:lnTo>
                    <a:pt x="3092" y="4170"/>
                  </a:lnTo>
                  <a:lnTo>
                    <a:pt x="3096" y="4174"/>
                  </a:lnTo>
                  <a:lnTo>
                    <a:pt x="3100" y="4176"/>
                  </a:lnTo>
                  <a:lnTo>
                    <a:pt x="3104" y="4178"/>
                  </a:lnTo>
                  <a:lnTo>
                    <a:pt x="3112" y="4176"/>
                  </a:lnTo>
                  <a:lnTo>
                    <a:pt x="3112" y="4174"/>
                  </a:lnTo>
                  <a:lnTo>
                    <a:pt x="3112" y="4168"/>
                  </a:lnTo>
                  <a:lnTo>
                    <a:pt x="3112" y="4166"/>
                  </a:lnTo>
                  <a:lnTo>
                    <a:pt x="3116" y="4164"/>
                  </a:lnTo>
                  <a:lnTo>
                    <a:pt x="3120" y="4160"/>
                  </a:lnTo>
                  <a:lnTo>
                    <a:pt x="3124" y="4160"/>
                  </a:lnTo>
                  <a:lnTo>
                    <a:pt x="3138" y="4172"/>
                  </a:lnTo>
                  <a:lnTo>
                    <a:pt x="3144" y="4176"/>
                  </a:lnTo>
                  <a:lnTo>
                    <a:pt x="3148" y="4180"/>
                  </a:lnTo>
                  <a:lnTo>
                    <a:pt x="3152" y="4188"/>
                  </a:lnTo>
                  <a:lnTo>
                    <a:pt x="3154" y="4196"/>
                  </a:lnTo>
                  <a:lnTo>
                    <a:pt x="3156" y="4198"/>
                  </a:lnTo>
                  <a:lnTo>
                    <a:pt x="3158" y="4198"/>
                  </a:lnTo>
                  <a:lnTo>
                    <a:pt x="3162" y="4198"/>
                  </a:lnTo>
                  <a:lnTo>
                    <a:pt x="3162" y="4196"/>
                  </a:lnTo>
                  <a:lnTo>
                    <a:pt x="3162" y="4188"/>
                  </a:lnTo>
                  <a:lnTo>
                    <a:pt x="3154" y="4170"/>
                  </a:lnTo>
                  <a:lnTo>
                    <a:pt x="3154" y="4166"/>
                  </a:lnTo>
                  <a:lnTo>
                    <a:pt x="3154" y="4164"/>
                  </a:lnTo>
                  <a:lnTo>
                    <a:pt x="3160" y="4164"/>
                  </a:lnTo>
                  <a:lnTo>
                    <a:pt x="3164" y="4168"/>
                  </a:lnTo>
                  <a:lnTo>
                    <a:pt x="3168" y="4174"/>
                  </a:lnTo>
                  <a:lnTo>
                    <a:pt x="3172" y="4180"/>
                  </a:lnTo>
                  <a:lnTo>
                    <a:pt x="3176" y="4182"/>
                  </a:lnTo>
                  <a:lnTo>
                    <a:pt x="3180" y="4186"/>
                  </a:lnTo>
                  <a:lnTo>
                    <a:pt x="3184" y="4192"/>
                  </a:lnTo>
                  <a:lnTo>
                    <a:pt x="3186" y="4198"/>
                  </a:lnTo>
                  <a:lnTo>
                    <a:pt x="3186" y="4202"/>
                  </a:lnTo>
                  <a:lnTo>
                    <a:pt x="3188" y="4206"/>
                  </a:lnTo>
                  <a:lnTo>
                    <a:pt x="3196" y="4210"/>
                  </a:lnTo>
                  <a:lnTo>
                    <a:pt x="3206" y="4216"/>
                  </a:lnTo>
                  <a:lnTo>
                    <a:pt x="3210" y="4218"/>
                  </a:lnTo>
                  <a:lnTo>
                    <a:pt x="3212" y="4222"/>
                  </a:lnTo>
                  <a:lnTo>
                    <a:pt x="3212" y="4228"/>
                  </a:lnTo>
                  <a:lnTo>
                    <a:pt x="3216" y="4232"/>
                  </a:lnTo>
                  <a:lnTo>
                    <a:pt x="3218" y="4230"/>
                  </a:lnTo>
                  <a:lnTo>
                    <a:pt x="3220" y="4224"/>
                  </a:lnTo>
                  <a:lnTo>
                    <a:pt x="3222" y="4216"/>
                  </a:lnTo>
                  <a:lnTo>
                    <a:pt x="3222" y="4208"/>
                  </a:lnTo>
                  <a:lnTo>
                    <a:pt x="3220" y="4204"/>
                  </a:lnTo>
                  <a:lnTo>
                    <a:pt x="3218" y="4202"/>
                  </a:lnTo>
                  <a:lnTo>
                    <a:pt x="3210" y="4200"/>
                  </a:lnTo>
                  <a:lnTo>
                    <a:pt x="3206" y="4200"/>
                  </a:lnTo>
                  <a:lnTo>
                    <a:pt x="3206" y="4196"/>
                  </a:lnTo>
                  <a:lnTo>
                    <a:pt x="3206" y="4194"/>
                  </a:lnTo>
                  <a:lnTo>
                    <a:pt x="3206" y="4192"/>
                  </a:lnTo>
                  <a:lnTo>
                    <a:pt x="3204" y="4186"/>
                  </a:lnTo>
                  <a:lnTo>
                    <a:pt x="3198" y="4182"/>
                  </a:lnTo>
                  <a:lnTo>
                    <a:pt x="3196" y="4178"/>
                  </a:lnTo>
                  <a:lnTo>
                    <a:pt x="3194" y="4174"/>
                  </a:lnTo>
                  <a:lnTo>
                    <a:pt x="3196" y="4174"/>
                  </a:lnTo>
                  <a:lnTo>
                    <a:pt x="3198" y="4174"/>
                  </a:lnTo>
                  <a:lnTo>
                    <a:pt x="3206" y="4174"/>
                  </a:lnTo>
                  <a:lnTo>
                    <a:pt x="3210" y="4172"/>
                  </a:lnTo>
                  <a:lnTo>
                    <a:pt x="3212" y="4172"/>
                  </a:lnTo>
                  <a:lnTo>
                    <a:pt x="3214" y="4168"/>
                  </a:lnTo>
                  <a:lnTo>
                    <a:pt x="3210" y="4164"/>
                  </a:lnTo>
                  <a:lnTo>
                    <a:pt x="3194" y="4156"/>
                  </a:lnTo>
                  <a:lnTo>
                    <a:pt x="3190" y="4154"/>
                  </a:lnTo>
                  <a:lnTo>
                    <a:pt x="3186" y="4156"/>
                  </a:lnTo>
                  <a:lnTo>
                    <a:pt x="3186" y="4158"/>
                  </a:lnTo>
                  <a:lnTo>
                    <a:pt x="3184" y="4162"/>
                  </a:lnTo>
                  <a:lnTo>
                    <a:pt x="3184" y="4170"/>
                  </a:lnTo>
                  <a:lnTo>
                    <a:pt x="3182" y="4172"/>
                  </a:lnTo>
                  <a:lnTo>
                    <a:pt x="3180" y="4170"/>
                  </a:lnTo>
                  <a:lnTo>
                    <a:pt x="3178" y="4168"/>
                  </a:lnTo>
                  <a:lnTo>
                    <a:pt x="3176" y="4164"/>
                  </a:lnTo>
                  <a:lnTo>
                    <a:pt x="3176" y="4158"/>
                  </a:lnTo>
                  <a:lnTo>
                    <a:pt x="3176" y="4154"/>
                  </a:lnTo>
                  <a:lnTo>
                    <a:pt x="3174" y="4150"/>
                  </a:lnTo>
                  <a:lnTo>
                    <a:pt x="3170" y="4146"/>
                  </a:lnTo>
                  <a:lnTo>
                    <a:pt x="3164" y="4142"/>
                  </a:lnTo>
                  <a:lnTo>
                    <a:pt x="3158" y="4140"/>
                  </a:lnTo>
                  <a:lnTo>
                    <a:pt x="3154" y="4140"/>
                  </a:lnTo>
                  <a:lnTo>
                    <a:pt x="3152" y="4140"/>
                  </a:lnTo>
                  <a:lnTo>
                    <a:pt x="3150" y="4142"/>
                  </a:lnTo>
                  <a:lnTo>
                    <a:pt x="3148" y="4146"/>
                  </a:lnTo>
                  <a:lnTo>
                    <a:pt x="3144" y="4146"/>
                  </a:lnTo>
                  <a:lnTo>
                    <a:pt x="3142" y="4146"/>
                  </a:lnTo>
                  <a:lnTo>
                    <a:pt x="3140" y="4148"/>
                  </a:lnTo>
                  <a:lnTo>
                    <a:pt x="3140" y="4152"/>
                  </a:lnTo>
                  <a:lnTo>
                    <a:pt x="3140" y="4158"/>
                  </a:lnTo>
                  <a:lnTo>
                    <a:pt x="3138" y="4158"/>
                  </a:lnTo>
                  <a:lnTo>
                    <a:pt x="3136" y="4158"/>
                  </a:lnTo>
                  <a:lnTo>
                    <a:pt x="3130" y="4156"/>
                  </a:lnTo>
                  <a:lnTo>
                    <a:pt x="3126" y="4152"/>
                  </a:lnTo>
                  <a:lnTo>
                    <a:pt x="3122" y="4142"/>
                  </a:lnTo>
                  <a:lnTo>
                    <a:pt x="3120" y="4132"/>
                  </a:lnTo>
                  <a:lnTo>
                    <a:pt x="3120" y="4124"/>
                  </a:lnTo>
                  <a:lnTo>
                    <a:pt x="3120" y="4120"/>
                  </a:lnTo>
                  <a:lnTo>
                    <a:pt x="3120" y="4116"/>
                  </a:lnTo>
                  <a:lnTo>
                    <a:pt x="3116" y="4104"/>
                  </a:lnTo>
                  <a:lnTo>
                    <a:pt x="3112" y="4092"/>
                  </a:lnTo>
                  <a:lnTo>
                    <a:pt x="3112" y="4086"/>
                  </a:lnTo>
                  <a:lnTo>
                    <a:pt x="3116" y="4082"/>
                  </a:lnTo>
                  <a:lnTo>
                    <a:pt x="3120" y="4072"/>
                  </a:lnTo>
                  <a:lnTo>
                    <a:pt x="3120" y="4066"/>
                  </a:lnTo>
                  <a:lnTo>
                    <a:pt x="3120" y="4062"/>
                  </a:lnTo>
                  <a:lnTo>
                    <a:pt x="3124" y="4054"/>
                  </a:lnTo>
                  <a:lnTo>
                    <a:pt x="3128" y="4052"/>
                  </a:lnTo>
                  <a:lnTo>
                    <a:pt x="3130" y="4050"/>
                  </a:lnTo>
                  <a:lnTo>
                    <a:pt x="3132" y="4052"/>
                  </a:lnTo>
                  <a:lnTo>
                    <a:pt x="3134" y="4052"/>
                  </a:lnTo>
                  <a:lnTo>
                    <a:pt x="3136" y="4056"/>
                  </a:lnTo>
                  <a:lnTo>
                    <a:pt x="3138" y="4056"/>
                  </a:lnTo>
                  <a:lnTo>
                    <a:pt x="3144" y="4046"/>
                  </a:lnTo>
                  <a:lnTo>
                    <a:pt x="3148" y="4034"/>
                  </a:lnTo>
                  <a:lnTo>
                    <a:pt x="3154" y="4008"/>
                  </a:lnTo>
                  <a:lnTo>
                    <a:pt x="3154" y="4006"/>
                  </a:lnTo>
                  <a:lnTo>
                    <a:pt x="3152" y="4002"/>
                  </a:lnTo>
                  <a:lnTo>
                    <a:pt x="3146" y="3992"/>
                  </a:lnTo>
                  <a:lnTo>
                    <a:pt x="3144" y="3986"/>
                  </a:lnTo>
                  <a:lnTo>
                    <a:pt x="3142" y="3978"/>
                  </a:lnTo>
                  <a:lnTo>
                    <a:pt x="3142" y="3970"/>
                  </a:lnTo>
                  <a:lnTo>
                    <a:pt x="3144" y="3960"/>
                  </a:lnTo>
                  <a:lnTo>
                    <a:pt x="3148" y="3944"/>
                  </a:lnTo>
                  <a:lnTo>
                    <a:pt x="3146" y="3936"/>
                  </a:lnTo>
                  <a:lnTo>
                    <a:pt x="3146" y="3934"/>
                  </a:lnTo>
                  <a:lnTo>
                    <a:pt x="3142" y="3934"/>
                  </a:lnTo>
                  <a:lnTo>
                    <a:pt x="3140" y="3936"/>
                  </a:lnTo>
                  <a:lnTo>
                    <a:pt x="3136" y="3942"/>
                  </a:lnTo>
                  <a:lnTo>
                    <a:pt x="3132" y="3946"/>
                  </a:lnTo>
                  <a:lnTo>
                    <a:pt x="3126" y="3944"/>
                  </a:lnTo>
                  <a:lnTo>
                    <a:pt x="3122" y="3942"/>
                  </a:lnTo>
                  <a:lnTo>
                    <a:pt x="3114" y="3938"/>
                  </a:lnTo>
                  <a:lnTo>
                    <a:pt x="3100" y="3930"/>
                  </a:lnTo>
                  <a:lnTo>
                    <a:pt x="3094" y="3926"/>
                  </a:lnTo>
                  <a:lnTo>
                    <a:pt x="3086" y="3928"/>
                  </a:lnTo>
                  <a:lnTo>
                    <a:pt x="3076" y="3932"/>
                  </a:lnTo>
                  <a:lnTo>
                    <a:pt x="3076" y="3936"/>
                  </a:lnTo>
                  <a:lnTo>
                    <a:pt x="3074" y="3938"/>
                  </a:lnTo>
                  <a:lnTo>
                    <a:pt x="3074" y="3946"/>
                  </a:lnTo>
                  <a:lnTo>
                    <a:pt x="3074" y="3952"/>
                  </a:lnTo>
                  <a:lnTo>
                    <a:pt x="3072" y="3958"/>
                  </a:lnTo>
                  <a:lnTo>
                    <a:pt x="3068" y="3966"/>
                  </a:lnTo>
                  <a:lnTo>
                    <a:pt x="3068" y="3972"/>
                  </a:lnTo>
                  <a:lnTo>
                    <a:pt x="3068" y="3986"/>
                  </a:lnTo>
                  <a:lnTo>
                    <a:pt x="3070" y="4000"/>
                  </a:lnTo>
                  <a:lnTo>
                    <a:pt x="3068" y="4010"/>
                  </a:lnTo>
                  <a:lnTo>
                    <a:pt x="3066" y="4018"/>
                  </a:lnTo>
                  <a:lnTo>
                    <a:pt x="3064" y="4026"/>
                  </a:lnTo>
                  <a:lnTo>
                    <a:pt x="3062" y="4032"/>
                  </a:lnTo>
                  <a:lnTo>
                    <a:pt x="3064" y="4038"/>
                  </a:lnTo>
                  <a:lnTo>
                    <a:pt x="3066" y="4040"/>
                  </a:lnTo>
                  <a:lnTo>
                    <a:pt x="3068" y="4046"/>
                  </a:lnTo>
                  <a:lnTo>
                    <a:pt x="3070" y="4050"/>
                  </a:lnTo>
                  <a:lnTo>
                    <a:pt x="3068" y="4054"/>
                  </a:lnTo>
                  <a:lnTo>
                    <a:pt x="3066" y="4058"/>
                  </a:lnTo>
                  <a:lnTo>
                    <a:pt x="3062" y="4060"/>
                  </a:lnTo>
                  <a:lnTo>
                    <a:pt x="3060" y="4056"/>
                  </a:lnTo>
                  <a:lnTo>
                    <a:pt x="3058" y="4054"/>
                  </a:lnTo>
                  <a:lnTo>
                    <a:pt x="3052" y="4044"/>
                  </a:lnTo>
                  <a:lnTo>
                    <a:pt x="3050" y="4042"/>
                  </a:lnTo>
                  <a:lnTo>
                    <a:pt x="3048" y="4040"/>
                  </a:lnTo>
                  <a:close/>
                  <a:moveTo>
                    <a:pt x="3012" y="4336"/>
                  </a:moveTo>
                  <a:lnTo>
                    <a:pt x="3012" y="4336"/>
                  </a:lnTo>
                  <a:lnTo>
                    <a:pt x="2996" y="4362"/>
                  </a:lnTo>
                  <a:lnTo>
                    <a:pt x="2978" y="4384"/>
                  </a:lnTo>
                  <a:lnTo>
                    <a:pt x="2960" y="4400"/>
                  </a:lnTo>
                  <a:lnTo>
                    <a:pt x="2950" y="4412"/>
                  </a:lnTo>
                  <a:lnTo>
                    <a:pt x="2948" y="4420"/>
                  </a:lnTo>
                  <a:lnTo>
                    <a:pt x="2944" y="4428"/>
                  </a:lnTo>
                  <a:lnTo>
                    <a:pt x="2944" y="4432"/>
                  </a:lnTo>
                  <a:lnTo>
                    <a:pt x="2946" y="4434"/>
                  </a:lnTo>
                  <a:lnTo>
                    <a:pt x="2950" y="4432"/>
                  </a:lnTo>
                  <a:lnTo>
                    <a:pt x="2954" y="4426"/>
                  </a:lnTo>
                  <a:lnTo>
                    <a:pt x="2960" y="4422"/>
                  </a:lnTo>
                  <a:lnTo>
                    <a:pt x="2968" y="4410"/>
                  </a:lnTo>
                  <a:lnTo>
                    <a:pt x="2994" y="4388"/>
                  </a:lnTo>
                  <a:lnTo>
                    <a:pt x="3002" y="4380"/>
                  </a:lnTo>
                  <a:lnTo>
                    <a:pt x="3006" y="4372"/>
                  </a:lnTo>
                  <a:lnTo>
                    <a:pt x="3008" y="4368"/>
                  </a:lnTo>
                  <a:lnTo>
                    <a:pt x="3008" y="4364"/>
                  </a:lnTo>
                  <a:lnTo>
                    <a:pt x="3010" y="4358"/>
                  </a:lnTo>
                  <a:lnTo>
                    <a:pt x="3012" y="4356"/>
                  </a:lnTo>
                  <a:lnTo>
                    <a:pt x="3016" y="4354"/>
                  </a:lnTo>
                  <a:lnTo>
                    <a:pt x="3022" y="4352"/>
                  </a:lnTo>
                  <a:lnTo>
                    <a:pt x="3024" y="4350"/>
                  </a:lnTo>
                  <a:lnTo>
                    <a:pt x="3028" y="4344"/>
                  </a:lnTo>
                  <a:lnTo>
                    <a:pt x="3030" y="4338"/>
                  </a:lnTo>
                  <a:lnTo>
                    <a:pt x="3030" y="4336"/>
                  </a:lnTo>
                  <a:lnTo>
                    <a:pt x="3034" y="4336"/>
                  </a:lnTo>
                  <a:lnTo>
                    <a:pt x="3038" y="4334"/>
                  </a:lnTo>
                  <a:lnTo>
                    <a:pt x="3042" y="4330"/>
                  </a:lnTo>
                  <a:lnTo>
                    <a:pt x="3044" y="4324"/>
                  </a:lnTo>
                  <a:lnTo>
                    <a:pt x="3042" y="4316"/>
                  </a:lnTo>
                  <a:lnTo>
                    <a:pt x="3040" y="4312"/>
                  </a:lnTo>
                  <a:lnTo>
                    <a:pt x="3040" y="4306"/>
                  </a:lnTo>
                  <a:lnTo>
                    <a:pt x="3040" y="4296"/>
                  </a:lnTo>
                  <a:lnTo>
                    <a:pt x="3040" y="4288"/>
                  </a:lnTo>
                  <a:lnTo>
                    <a:pt x="3038" y="4286"/>
                  </a:lnTo>
                  <a:lnTo>
                    <a:pt x="3036" y="4284"/>
                  </a:lnTo>
                  <a:lnTo>
                    <a:pt x="3034" y="4284"/>
                  </a:lnTo>
                  <a:lnTo>
                    <a:pt x="3032" y="4286"/>
                  </a:lnTo>
                  <a:lnTo>
                    <a:pt x="3032" y="4294"/>
                  </a:lnTo>
                  <a:lnTo>
                    <a:pt x="3030" y="4302"/>
                  </a:lnTo>
                  <a:lnTo>
                    <a:pt x="3028" y="4304"/>
                  </a:lnTo>
                  <a:lnTo>
                    <a:pt x="3026" y="4306"/>
                  </a:lnTo>
                  <a:lnTo>
                    <a:pt x="3024" y="4306"/>
                  </a:lnTo>
                  <a:lnTo>
                    <a:pt x="3024" y="4308"/>
                  </a:lnTo>
                  <a:lnTo>
                    <a:pt x="3026" y="4312"/>
                  </a:lnTo>
                  <a:lnTo>
                    <a:pt x="3028" y="4318"/>
                  </a:lnTo>
                  <a:lnTo>
                    <a:pt x="3028" y="4322"/>
                  </a:lnTo>
                  <a:lnTo>
                    <a:pt x="3026" y="4326"/>
                  </a:lnTo>
                  <a:lnTo>
                    <a:pt x="3022" y="4330"/>
                  </a:lnTo>
                  <a:lnTo>
                    <a:pt x="3020" y="4328"/>
                  </a:lnTo>
                  <a:lnTo>
                    <a:pt x="3018" y="4328"/>
                  </a:lnTo>
                  <a:lnTo>
                    <a:pt x="3012" y="4336"/>
                  </a:lnTo>
                  <a:close/>
                  <a:moveTo>
                    <a:pt x="3126" y="3596"/>
                  </a:moveTo>
                  <a:lnTo>
                    <a:pt x="3126" y="3596"/>
                  </a:lnTo>
                  <a:lnTo>
                    <a:pt x="3122" y="3592"/>
                  </a:lnTo>
                  <a:lnTo>
                    <a:pt x="3118" y="3590"/>
                  </a:lnTo>
                  <a:lnTo>
                    <a:pt x="3116" y="3590"/>
                  </a:lnTo>
                  <a:lnTo>
                    <a:pt x="3114" y="3590"/>
                  </a:lnTo>
                  <a:lnTo>
                    <a:pt x="3110" y="3594"/>
                  </a:lnTo>
                  <a:lnTo>
                    <a:pt x="3104" y="3598"/>
                  </a:lnTo>
                  <a:lnTo>
                    <a:pt x="3098" y="3600"/>
                  </a:lnTo>
                  <a:lnTo>
                    <a:pt x="3092" y="3608"/>
                  </a:lnTo>
                  <a:lnTo>
                    <a:pt x="3072" y="3644"/>
                  </a:lnTo>
                  <a:lnTo>
                    <a:pt x="3062" y="3662"/>
                  </a:lnTo>
                  <a:lnTo>
                    <a:pt x="3060" y="3678"/>
                  </a:lnTo>
                  <a:lnTo>
                    <a:pt x="3060" y="3694"/>
                  </a:lnTo>
                  <a:lnTo>
                    <a:pt x="3062" y="3712"/>
                  </a:lnTo>
                  <a:lnTo>
                    <a:pt x="3066" y="3726"/>
                  </a:lnTo>
                  <a:lnTo>
                    <a:pt x="3070" y="3730"/>
                  </a:lnTo>
                  <a:lnTo>
                    <a:pt x="3074" y="3734"/>
                  </a:lnTo>
                  <a:lnTo>
                    <a:pt x="3078" y="3742"/>
                  </a:lnTo>
                  <a:lnTo>
                    <a:pt x="3082" y="3752"/>
                  </a:lnTo>
                  <a:lnTo>
                    <a:pt x="3086" y="3762"/>
                  </a:lnTo>
                  <a:lnTo>
                    <a:pt x="3088" y="3764"/>
                  </a:lnTo>
                  <a:lnTo>
                    <a:pt x="3090" y="3762"/>
                  </a:lnTo>
                  <a:lnTo>
                    <a:pt x="3090" y="3756"/>
                  </a:lnTo>
                  <a:lnTo>
                    <a:pt x="3090" y="3748"/>
                  </a:lnTo>
                  <a:lnTo>
                    <a:pt x="3092" y="3738"/>
                  </a:lnTo>
                  <a:lnTo>
                    <a:pt x="3094" y="3730"/>
                  </a:lnTo>
                  <a:lnTo>
                    <a:pt x="3096" y="3726"/>
                  </a:lnTo>
                  <a:lnTo>
                    <a:pt x="3098" y="3722"/>
                  </a:lnTo>
                  <a:lnTo>
                    <a:pt x="3102" y="3718"/>
                  </a:lnTo>
                  <a:lnTo>
                    <a:pt x="3106" y="3712"/>
                  </a:lnTo>
                  <a:lnTo>
                    <a:pt x="3110" y="3702"/>
                  </a:lnTo>
                  <a:lnTo>
                    <a:pt x="3114" y="3690"/>
                  </a:lnTo>
                  <a:lnTo>
                    <a:pt x="3120" y="3662"/>
                  </a:lnTo>
                  <a:lnTo>
                    <a:pt x="3126" y="3644"/>
                  </a:lnTo>
                  <a:lnTo>
                    <a:pt x="3130" y="3632"/>
                  </a:lnTo>
                  <a:lnTo>
                    <a:pt x="3130" y="3628"/>
                  </a:lnTo>
                  <a:lnTo>
                    <a:pt x="3128" y="3622"/>
                  </a:lnTo>
                  <a:lnTo>
                    <a:pt x="3128" y="3618"/>
                  </a:lnTo>
                  <a:lnTo>
                    <a:pt x="3128" y="3614"/>
                  </a:lnTo>
                  <a:lnTo>
                    <a:pt x="3130" y="3610"/>
                  </a:lnTo>
                  <a:lnTo>
                    <a:pt x="3132" y="3608"/>
                  </a:lnTo>
                  <a:lnTo>
                    <a:pt x="3132" y="3604"/>
                  </a:lnTo>
                  <a:lnTo>
                    <a:pt x="3130" y="3600"/>
                  </a:lnTo>
                  <a:lnTo>
                    <a:pt x="3126" y="3596"/>
                  </a:lnTo>
                  <a:close/>
                  <a:moveTo>
                    <a:pt x="4186" y="2510"/>
                  </a:moveTo>
                  <a:lnTo>
                    <a:pt x="4186" y="2510"/>
                  </a:lnTo>
                  <a:lnTo>
                    <a:pt x="4182" y="2506"/>
                  </a:lnTo>
                  <a:lnTo>
                    <a:pt x="4182" y="2510"/>
                  </a:lnTo>
                  <a:lnTo>
                    <a:pt x="4180" y="2516"/>
                  </a:lnTo>
                  <a:lnTo>
                    <a:pt x="4180" y="2518"/>
                  </a:lnTo>
                  <a:lnTo>
                    <a:pt x="4176" y="2522"/>
                  </a:lnTo>
                  <a:lnTo>
                    <a:pt x="4166" y="2526"/>
                  </a:lnTo>
                  <a:lnTo>
                    <a:pt x="4156" y="2534"/>
                  </a:lnTo>
                  <a:lnTo>
                    <a:pt x="4148" y="2544"/>
                  </a:lnTo>
                  <a:lnTo>
                    <a:pt x="4140" y="2558"/>
                  </a:lnTo>
                  <a:lnTo>
                    <a:pt x="4140" y="2560"/>
                  </a:lnTo>
                  <a:lnTo>
                    <a:pt x="4140" y="2562"/>
                  </a:lnTo>
                  <a:lnTo>
                    <a:pt x="4142" y="2564"/>
                  </a:lnTo>
                  <a:lnTo>
                    <a:pt x="4144" y="2562"/>
                  </a:lnTo>
                  <a:lnTo>
                    <a:pt x="4152" y="2556"/>
                  </a:lnTo>
                  <a:lnTo>
                    <a:pt x="4162" y="2546"/>
                  </a:lnTo>
                  <a:lnTo>
                    <a:pt x="4170" y="2536"/>
                  </a:lnTo>
                  <a:lnTo>
                    <a:pt x="4176" y="2532"/>
                  </a:lnTo>
                  <a:lnTo>
                    <a:pt x="4182" y="2528"/>
                  </a:lnTo>
                  <a:lnTo>
                    <a:pt x="4192" y="2522"/>
                  </a:lnTo>
                  <a:lnTo>
                    <a:pt x="4196" y="2518"/>
                  </a:lnTo>
                  <a:lnTo>
                    <a:pt x="4202" y="2516"/>
                  </a:lnTo>
                  <a:lnTo>
                    <a:pt x="4212" y="2512"/>
                  </a:lnTo>
                  <a:lnTo>
                    <a:pt x="4216" y="2510"/>
                  </a:lnTo>
                  <a:lnTo>
                    <a:pt x="4218" y="2508"/>
                  </a:lnTo>
                  <a:lnTo>
                    <a:pt x="4218" y="2506"/>
                  </a:lnTo>
                  <a:lnTo>
                    <a:pt x="4216" y="2502"/>
                  </a:lnTo>
                  <a:lnTo>
                    <a:pt x="4214" y="2500"/>
                  </a:lnTo>
                  <a:lnTo>
                    <a:pt x="4210" y="2500"/>
                  </a:lnTo>
                  <a:lnTo>
                    <a:pt x="4204" y="2504"/>
                  </a:lnTo>
                  <a:lnTo>
                    <a:pt x="4194" y="2510"/>
                  </a:lnTo>
                  <a:lnTo>
                    <a:pt x="4190" y="2510"/>
                  </a:lnTo>
                  <a:lnTo>
                    <a:pt x="4186" y="2510"/>
                  </a:lnTo>
                  <a:close/>
                  <a:moveTo>
                    <a:pt x="3264" y="4226"/>
                  </a:moveTo>
                  <a:lnTo>
                    <a:pt x="3264" y="4226"/>
                  </a:lnTo>
                  <a:lnTo>
                    <a:pt x="3258" y="4226"/>
                  </a:lnTo>
                  <a:lnTo>
                    <a:pt x="3250" y="4226"/>
                  </a:lnTo>
                  <a:lnTo>
                    <a:pt x="3242" y="4228"/>
                  </a:lnTo>
                  <a:lnTo>
                    <a:pt x="3234" y="4226"/>
                  </a:lnTo>
                  <a:lnTo>
                    <a:pt x="3230" y="4226"/>
                  </a:lnTo>
                  <a:lnTo>
                    <a:pt x="3228" y="4228"/>
                  </a:lnTo>
                  <a:lnTo>
                    <a:pt x="3228" y="4234"/>
                  </a:lnTo>
                  <a:lnTo>
                    <a:pt x="3234" y="4244"/>
                  </a:lnTo>
                  <a:lnTo>
                    <a:pt x="3242" y="4252"/>
                  </a:lnTo>
                  <a:lnTo>
                    <a:pt x="3246" y="4258"/>
                  </a:lnTo>
                  <a:lnTo>
                    <a:pt x="3248" y="4260"/>
                  </a:lnTo>
                  <a:lnTo>
                    <a:pt x="3250" y="4262"/>
                  </a:lnTo>
                  <a:lnTo>
                    <a:pt x="3254" y="4264"/>
                  </a:lnTo>
                  <a:lnTo>
                    <a:pt x="3258" y="4266"/>
                  </a:lnTo>
                  <a:lnTo>
                    <a:pt x="3258" y="4268"/>
                  </a:lnTo>
                  <a:lnTo>
                    <a:pt x="3256" y="4272"/>
                  </a:lnTo>
                  <a:lnTo>
                    <a:pt x="3254" y="4276"/>
                  </a:lnTo>
                  <a:lnTo>
                    <a:pt x="3252" y="4276"/>
                  </a:lnTo>
                  <a:lnTo>
                    <a:pt x="3252" y="4278"/>
                  </a:lnTo>
                  <a:lnTo>
                    <a:pt x="3256" y="4282"/>
                  </a:lnTo>
                  <a:lnTo>
                    <a:pt x="3260" y="4288"/>
                  </a:lnTo>
                  <a:lnTo>
                    <a:pt x="3264" y="4296"/>
                  </a:lnTo>
                  <a:lnTo>
                    <a:pt x="3266" y="4298"/>
                  </a:lnTo>
                  <a:lnTo>
                    <a:pt x="3268" y="4300"/>
                  </a:lnTo>
                  <a:lnTo>
                    <a:pt x="3272" y="4298"/>
                  </a:lnTo>
                  <a:lnTo>
                    <a:pt x="3276" y="4298"/>
                  </a:lnTo>
                  <a:lnTo>
                    <a:pt x="3280" y="4298"/>
                  </a:lnTo>
                  <a:lnTo>
                    <a:pt x="3282" y="4300"/>
                  </a:lnTo>
                  <a:lnTo>
                    <a:pt x="3286" y="4302"/>
                  </a:lnTo>
                  <a:lnTo>
                    <a:pt x="3288" y="4300"/>
                  </a:lnTo>
                  <a:lnTo>
                    <a:pt x="3286" y="4296"/>
                  </a:lnTo>
                  <a:lnTo>
                    <a:pt x="3282" y="4292"/>
                  </a:lnTo>
                  <a:lnTo>
                    <a:pt x="3282" y="4290"/>
                  </a:lnTo>
                  <a:lnTo>
                    <a:pt x="3282" y="4288"/>
                  </a:lnTo>
                  <a:lnTo>
                    <a:pt x="3282" y="4284"/>
                  </a:lnTo>
                  <a:lnTo>
                    <a:pt x="3278" y="4280"/>
                  </a:lnTo>
                  <a:lnTo>
                    <a:pt x="3276" y="4276"/>
                  </a:lnTo>
                  <a:lnTo>
                    <a:pt x="3276" y="4272"/>
                  </a:lnTo>
                  <a:lnTo>
                    <a:pt x="3276" y="4260"/>
                  </a:lnTo>
                  <a:lnTo>
                    <a:pt x="3276" y="4248"/>
                  </a:lnTo>
                  <a:lnTo>
                    <a:pt x="3276" y="4242"/>
                  </a:lnTo>
                  <a:lnTo>
                    <a:pt x="3274" y="4240"/>
                  </a:lnTo>
                  <a:lnTo>
                    <a:pt x="3270" y="4236"/>
                  </a:lnTo>
                  <a:lnTo>
                    <a:pt x="3270" y="4234"/>
                  </a:lnTo>
                  <a:lnTo>
                    <a:pt x="3268" y="4230"/>
                  </a:lnTo>
                  <a:lnTo>
                    <a:pt x="3264" y="4226"/>
                  </a:lnTo>
                  <a:close/>
                  <a:moveTo>
                    <a:pt x="2906" y="4970"/>
                  </a:moveTo>
                  <a:lnTo>
                    <a:pt x="2906" y="4970"/>
                  </a:lnTo>
                  <a:lnTo>
                    <a:pt x="2908" y="4964"/>
                  </a:lnTo>
                  <a:lnTo>
                    <a:pt x="2910" y="4962"/>
                  </a:lnTo>
                  <a:lnTo>
                    <a:pt x="2914" y="4960"/>
                  </a:lnTo>
                  <a:lnTo>
                    <a:pt x="2918" y="4958"/>
                  </a:lnTo>
                  <a:lnTo>
                    <a:pt x="2918" y="4956"/>
                  </a:lnTo>
                  <a:lnTo>
                    <a:pt x="2918" y="4950"/>
                  </a:lnTo>
                  <a:lnTo>
                    <a:pt x="2916" y="4942"/>
                  </a:lnTo>
                  <a:lnTo>
                    <a:pt x="2914" y="4932"/>
                  </a:lnTo>
                  <a:lnTo>
                    <a:pt x="2914" y="4924"/>
                  </a:lnTo>
                  <a:lnTo>
                    <a:pt x="2916" y="4918"/>
                  </a:lnTo>
                  <a:lnTo>
                    <a:pt x="2920" y="4912"/>
                  </a:lnTo>
                  <a:lnTo>
                    <a:pt x="2930" y="4902"/>
                  </a:lnTo>
                  <a:lnTo>
                    <a:pt x="2934" y="4898"/>
                  </a:lnTo>
                  <a:lnTo>
                    <a:pt x="2938" y="4892"/>
                  </a:lnTo>
                  <a:lnTo>
                    <a:pt x="2940" y="4888"/>
                  </a:lnTo>
                  <a:lnTo>
                    <a:pt x="2944" y="4886"/>
                  </a:lnTo>
                  <a:lnTo>
                    <a:pt x="2952" y="4882"/>
                  </a:lnTo>
                  <a:lnTo>
                    <a:pt x="2954" y="4882"/>
                  </a:lnTo>
                  <a:lnTo>
                    <a:pt x="2958" y="4878"/>
                  </a:lnTo>
                  <a:lnTo>
                    <a:pt x="2958" y="4872"/>
                  </a:lnTo>
                  <a:lnTo>
                    <a:pt x="2958" y="4862"/>
                  </a:lnTo>
                  <a:lnTo>
                    <a:pt x="2956" y="4840"/>
                  </a:lnTo>
                  <a:lnTo>
                    <a:pt x="2958" y="4822"/>
                  </a:lnTo>
                  <a:lnTo>
                    <a:pt x="2962" y="4808"/>
                  </a:lnTo>
                  <a:lnTo>
                    <a:pt x="2964" y="4804"/>
                  </a:lnTo>
                  <a:lnTo>
                    <a:pt x="2968" y="4800"/>
                  </a:lnTo>
                  <a:lnTo>
                    <a:pt x="2972" y="4796"/>
                  </a:lnTo>
                  <a:lnTo>
                    <a:pt x="2974" y="4792"/>
                  </a:lnTo>
                  <a:lnTo>
                    <a:pt x="2978" y="4792"/>
                  </a:lnTo>
                  <a:lnTo>
                    <a:pt x="2982" y="4796"/>
                  </a:lnTo>
                  <a:lnTo>
                    <a:pt x="2988" y="4800"/>
                  </a:lnTo>
                  <a:lnTo>
                    <a:pt x="2992" y="4802"/>
                  </a:lnTo>
                  <a:lnTo>
                    <a:pt x="3002" y="4802"/>
                  </a:lnTo>
                  <a:lnTo>
                    <a:pt x="3010" y="4800"/>
                  </a:lnTo>
                  <a:lnTo>
                    <a:pt x="3012" y="4798"/>
                  </a:lnTo>
                  <a:lnTo>
                    <a:pt x="3014" y="4796"/>
                  </a:lnTo>
                  <a:lnTo>
                    <a:pt x="3012" y="4792"/>
                  </a:lnTo>
                  <a:lnTo>
                    <a:pt x="3006" y="4786"/>
                  </a:lnTo>
                  <a:lnTo>
                    <a:pt x="2988" y="4770"/>
                  </a:lnTo>
                  <a:lnTo>
                    <a:pt x="2980" y="4760"/>
                  </a:lnTo>
                  <a:lnTo>
                    <a:pt x="2972" y="4752"/>
                  </a:lnTo>
                  <a:lnTo>
                    <a:pt x="2970" y="4744"/>
                  </a:lnTo>
                  <a:lnTo>
                    <a:pt x="2970" y="4742"/>
                  </a:lnTo>
                  <a:lnTo>
                    <a:pt x="2970" y="4738"/>
                  </a:lnTo>
                  <a:lnTo>
                    <a:pt x="2974" y="4734"/>
                  </a:lnTo>
                  <a:lnTo>
                    <a:pt x="2976" y="4730"/>
                  </a:lnTo>
                  <a:lnTo>
                    <a:pt x="2974" y="4726"/>
                  </a:lnTo>
                  <a:lnTo>
                    <a:pt x="2972" y="4722"/>
                  </a:lnTo>
                  <a:lnTo>
                    <a:pt x="2966" y="4714"/>
                  </a:lnTo>
                  <a:lnTo>
                    <a:pt x="2964" y="4708"/>
                  </a:lnTo>
                  <a:lnTo>
                    <a:pt x="2962" y="4702"/>
                  </a:lnTo>
                  <a:lnTo>
                    <a:pt x="2960" y="4696"/>
                  </a:lnTo>
                  <a:lnTo>
                    <a:pt x="2958" y="4692"/>
                  </a:lnTo>
                  <a:lnTo>
                    <a:pt x="2954" y="4690"/>
                  </a:lnTo>
                  <a:lnTo>
                    <a:pt x="2950" y="4686"/>
                  </a:lnTo>
                  <a:lnTo>
                    <a:pt x="2948" y="4684"/>
                  </a:lnTo>
                  <a:lnTo>
                    <a:pt x="2950" y="4678"/>
                  </a:lnTo>
                  <a:lnTo>
                    <a:pt x="2950" y="4672"/>
                  </a:lnTo>
                  <a:lnTo>
                    <a:pt x="2952" y="4668"/>
                  </a:lnTo>
                  <a:lnTo>
                    <a:pt x="2956" y="4666"/>
                  </a:lnTo>
                  <a:lnTo>
                    <a:pt x="2958" y="4666"/>
                  </a:lnTo>
                  <a:lnTo>
                    <a:pt x="2964" y="4666"/>
                  </a:lnTo>
                  <a:lnTo>
                    <a:pt x="2966" y="4666"/>
                  </a:lnTo>
                  <a:lnTo>
                    <a:pt x="2966" y="4662"/>
                  </a:lnTo>
                  <a:lnTo>
                    <a:pt x="2964" y="4658"/>
                  </a:lnTo>
                  <a:lnTo>
                    <a:pt x="2956" y="4648"/>
                  </a:lnTo>
                  <a:lnTo>
                    <a:pt x="2954" y="4644"/>
                  </a:lnTo>
                  <a:lnTo>
                    <a:pt x="2954" y="4642"/>
                  </a:lnTo>
                  <a:lnTo>
                    <a:pt x="2954" y="4640"/>
                  </a:lnTo>
                  <a:lnTo>
                    <a:pt x="2956" y="4638"/>
                  </a:lnTo>
                  <a:lnTo>
                    <a:pt x="2958" y="4638"/>
                  </a:lnTo>
                  <a:lnTo>
                    <a:pt x="2960" y="4636"/>
                  </a:lnTo>
                  <a:lnTo>
                    <a:pt x="2958" y="4630"/>
                  </a:lnTo>
                  <a:lnTo>
                    <a:pt x="2958" y="4628"/>
                  </a:lnTo>
                  <a:lnTo>
                    <a:pt x="2966" y="4632"/>
                  </a:lnTo>
                  <a:lnTo>
                    <a:pt x="2972" y="4636"/>
                  </a:lnTo>
                  <a:lnTo>
                    <a:pt x="2976" y="4636"/>
                  </a:lnTo>
                  <a:lnTo>
                    <a:pt x="2980" y="4632"/>
                  </a:lnTo>
                  <a:lnTo>
                    <a:pt x="2986" y="4632"/>
                  </a:lnTo>
                  <a:lnTo>
                    <a:pt x="2992" y="4630"/>
                  </a:lnTo>
                  <a:lnTo>
                    <a:pt x="2998" y="4628"/>
                  </a:lnTo>
                  <a:lnTo>
                    <a:pt x="2998" y="4626"/>
                  </a:lnTo>
                  <a:lnTo>
                    <a:pt x="2998" y="4624"/>
                  </a:lnTo>
                  <a:lnTo>
                    <a:pt x="2990" y="4618"/>
                  </a:lnTo>
                  <a:lnTo>
                    <a:pt x="2982" y="4610"/>
                  </a:lnTo>
                  <a:lnTo>
                    <a:pt x="2980" y="4606"/>
                  </a:lnTo>
                  <a:lnTo>
                    <a:pt x="2982" y="4602"/>
                  </a:lnTo>
                  <a:lnTo>
                    <a:pt x="2986" y="4598"/>
                  </a:lnTo>
                  <a:lnTo>
                    <a:pt x="2988" y="4598"/>
                  </a:lnTo>
                  <a:lnTo>
                    <a:pt x="2990" y="4598"/>
                  </a:lnTo>
                  <a:lnTo>
                    <a:pt x="2994" y="4600"/>
                  </a:lnTo>
                  <a:lnTo>
                    <a:pt x="3002" y="4600"/>
                  </a:lnTo>
                  <a:lnTo>
                    <a:pt x="3014" y="4596"/>
                  </a:lnTo>
                  <a:lnTo>
                    <a:pt x="3020" y="4592"/>
                  </a:lnTo>
                  <a:lnTo>
                    <a:pt x="3024" y="4586"/>
                  </a:lnTo>
                  <a:lnTo>
                    <a:pt x="3024" y="4580"/>
                  </a:lnTo>
                  <a:lnTo>
                    <a:pt x="3022" y="4578"/>
                  </a:lnTo>
                  <a:lnTo>
                    <a:pt x="3022" y="4576"/>
                  </a:lnTo>
                  <a:lnTo>
                    <a:pt x="3018" y="4576"/>
                  </a:lnTo>
                  <a:lnTo>
                    <a:pt x="3014" y="4578"/>
                  </a:lnTo>
                  <a:lnTo>
                    <a:pt x="3012" y="4578"/>
                  </a:lnTo>
                  <a:lnTo>
                    <a:pt x="3010" y="4576"/>
                  </a:lnTo>
                  <a:lnTo>
                    <a:pt x="3006" y="4572"/>
                  </a:lnTo>
                  <a:lnTo>
                    <a:pt x="3004" y="4572"/>
                  </a:lnTo>
                  <a:lnTo>
                    <a:pt x="3000" y="4570"/>
                  </a:lnTo>
                  <a:lnTo>
                    <a:pt x="2998" y="4566"/>
                  </a:lnTo>
                  <a:lnTo>
                    <a:pt x="2994" y="4562"/>
                  </a:lnTo>
                  <a:lnTo>
                    <a:pt x="2988" y="4560"/>
                  </a:lnTo>
                  <a:lnTo>
                    <a:pt x="2984" y="4560"/>
                  </a:lnTo>
                  <a:lnTo>
                    <a:pt x="2982" y="4560"/>
                  </a:lnTo>
                  <a:lnTo>
                    <a:pt x="2976" y="4564"/>
                  </a:lnTo>
                  <a:lnTo>
                    <a:pt x="2974" y="4564"/>
                  </a:lnTo>
                  <a:lnTo>
                    <a:pt x="2972" y="4562"/>
                  </a:lnTo>
                  <a:lnTo>
                    <a:pt x="2972" y="4560"/>
                  </a:lnTo>
                  <a:lnTo>
                    <a:pt x="2974" y="4558"/>
                  </a:lnTo>
                  <a:lnTo>
                    <a:pt x="2976" y="4556"/>
                  </a:lnTo>
                  <a:lnTo>
                    <a:pt x="2976" y="4550"/>
                  </a:lnTo>
                  <a:lnTo>
                    <a:pt x="2974" y="4548"/>
                  </a:lnTo>
                  <a:lnTo>
                    <a:pt x="2972" y="4548"/>
                  </a:lnTo>
                  <a:lnTo>
                    <a:pt x="2968" y="4548"/>
                  </a:lnTo>
                  <a:lnTo>
                    <a:pt x="2964" y="4550"/>
                  </a:lnTo>
                  <a:lnTo>
                    <a:pt x="2962" y="4550"/>
                  </a:lnTo>
                  <a:lnTo>
                    <a:pt x="2960" y="4548"/>
                  </a:lnTo>
                  <a:lnTo>
                    <a:pt x="2960" y="4542"/>
                  </a:lnTo>
                  <a:lnTo>
                    <a:pt x="2960" y="4536"/>
                  </a:lnTo>
                  <a:lnTo>
                    <a:pt x="2962" y="4530"/>
                  </a:lnTo>
                  <a:lnTo>
                    <a:pt x="2958" y="4522"/>
                  </a:lnTo>
                  <a:lnTo>
                    <a:pt x="2954" y="4518"/>
                  </a:lnTo>
                  <a:lnTo>
                    <a:pt x="2952" y="4520"/>
                  </a:lnTo>
                  <a:lnTo>
                    <a:pt x="2948" y="4520"/>
                  </a:lnTo>
                  <a:lnTo>
                    <a:pt x="2946" y="4518"/>
                  </a:lnTo>
                  <a:lnTo>
                    <a:pt x="2944" y="4510"/>
                  </a:lnTo>
                  <a:lnTo>
                    <a:pt x="2942" y="4504"/>
                  </a:lnTo>
                  <a:lnTo>
                    <a:pt x="2940" y="4502"/>
                  </a:lnTo>
                  <a:lnTo>
                    <a:pt x="2938" y="4502"/>
                  </a:lnTo>
                  <a:lnTo>
                    <a:pt x="2936" y="4504"/>
                  </a:lnTo>
                  <a:lnTo>
                    <a:pt x="2934" y="4508"/>
                  </a:lnTo>
                  <a:lnTo>
                    <a:pt x="2932" y="4514"/>
                  </a:lnTo>
                  <a:lnTo>
                    <a:pt x="2928" y="4520"/>
                  </a:lnTo>
                  <a:lnTo>
                    <a:pt x="2926" y="4522"/>
                  </a:lnTo>
                  <a:lnTo>
                    <a:pt x="2924" y="4520"/>
                  </a:lnTo>
                  <a:lnTo>
                    <a:pt x="2926" y="4512"/>
                  </a:lnTo>
                  <a:lnTo>
                    <a:pt x="2928" y="4504"/>
                  </a:lnTo>
                  <a:lnTo>
                    <a:pt x="2926" y="4500"/>
                  </a:lnTo>
                  <a:lnTo>
                    <a:pt x="2924" y="4500"/>
                  </a:lnTo>
                  <a:lnTo>
                    <a:pt x="2920" y="4502"/>
                  </a:lnTo>
                  <a:lnTo>
                    <a:pt x="2918" y="4506"/>
                  </a:lnTo>
                  <a:lnTo>
                    <a:pt x="2916" y="4514"/>
                  </a:lnTo>
                  <a:lnTo>
                    <a:pt x="2910" y="4528"/>
                  </a:lnTo>
                  <a:lnTo>
                    <a:pt x="2904" y="4538"/>
                  </a:lnTo>
                  <a:lnTo>
                    <a:pt x="2900" y="4542"/>
                  </a:lnTo>
                  <a:lnTo>
                    <a:pt x="2896" y="4544"/>
                  </a:lnTo>
                  <a:lnTo>
                    <a:pt x="2896" y="4548"/>
                  </a:lnTo>
                  <a:lnTo>
                    <a:pt x="2894" y="4556"/>
                  </a:lnTo>
                  <a:lnTo>
                    <a:pt x="2892" y="4558"/>
                  </a:lnTo>
                  <a:lnTo>
                    <a:pt x="2890" y="4560"/>
                  </a:lnTo>
                  <a:lnTo>
                    <a:pt x="2890" y="4562"/>
                  </a:lnTo>
                  <a:lnTo>
                    <a:pt x="2888" y="4570"/>
                  </a:lnTo>
                  <a:lnTo>
                    <a:pt x="2884" y="4572"/>
                  </a:lnTo>
                  <a:lnTo>
                    <a:pt x="2882" y="4574"/>
                  </a:lnTo>
                  <a:lnTo>
                    <a:pt x="2880" y="4572"/>
                  </a:lnTo>
                  <a:lnTo>
                    <a:pt x="2876" y="4570"/>
                  </a:lnTo>
                  <a:lnTo>
                    <a:pt x="2874" y="4572"/>
                  </a:lnTo>
                  <a:lnTo>
                    <a:pt x="2868" y="4580"/>
                  </a:lnTo>
                  <a:lnTo>
                    <a:pt x="2868" y="4582"/>
                  </a:lnTo>
                  <a:lnTo>
                    <a:pt x="2868" y="4584"/>
                  </a:lnTo>
                  <a:lnTo>
                    <a:pt x="2872" y="4586"/>
                  </a:lnTo>
                  <a:lnTo>
                    <a:pt x="2876" y="4592"/>
                  </a:lnTo>
                  <a:lnTo>
                    <a:pt x="2874" y="4594"/>
                  </a:lnTo>
                  <a:lnTo>
                    <a:pt x="2872" y="4598"/>
                  </a:lnTo>
                  <a:lnTo>
                    <a:pt x="2868" y="4602"/>
                  </a:lnTo>
                  <a:lnTo>
                    <a:pt x="2864" y="4600"/>
                  </a:lnTo>
                  <a:lnTo>
                    <a:pt x="2862" y="4600"/>
                  </a:lnTo>
                  <a:lnTo>
                    <a:pt x="2858" y="4604"/>
                  </a:lnTo>
                  <a:lnTo>
                    <a:pt x="2854" y="4608"/>
                  </a:lnTo>
                  <a:lnTo>
                    <a:pt x="2854" y="4604"/>
                  </a:lnTo>
                  <a:lnTo>
                    <a:pt x="2856" y="4598"/>
                  </a:lnTo>
                  <a:lnTo>
                    <a:pt x="2856" y="4596"/>
                  </a:lnTo>
                  <a:lnTo>
                    <a:pt x="2854" y="4596"/>
                  </a:lnTo>
                  <a:lnTo>
                    <a:pt x="2850" y="4598"/>
                  </a:lnTo>
                  <a:lnTo>
                    <a:pt x="2844" y="4602"/>
                  </a:lnTo>
                  <a:lnTo>
                    <a:pt x="2836" y="4610"/>
                  </a:lnTo>
                  <a:lnTo>
                    <a:pt x="2828" y="4616"/>
                  </a:lnTo>
                  <a:lnTo>
                    <a:pt x="2822" y="4618"/>
                  </a:lnTo>
                  <a:lnTo>
                    <a:pt x="2816" y="4618"/>
                  </a:lnTo>
                  <a:lnTo>
                    <a:pt x="2814" y="4618"/>
                  </a:lnTo>
                  <a:lnTo>
                    <a:pt x="2812" y="4618"/>
                  </a:lnTo>
                  <a:lnTo>
                    <a:pt x="2812" y="4630"/>
                  </a:lnTo>
                  <a:lnTo>
                    <a:pt x="2810" y="4634"/>
                  </a:lnTo>
                  <a:lnTo>
                    <a:pt x="2806" y="4640"/>
                  </a:lnTo>
                  <a:lnTo>
                    <a:pt x="2798" y="4652"/>
                  </a:lnTo>
                  <a:lnTo>
                    <a:pt x="2786" y="4666"/>
                  </a:lnTo>
                  <a:lnTo>
                    <a:pt x="2780" y="4674"/>
                  </a:lnTo>
                  <a:lnTo>
                    <a:pt x="2778" y="4684"/>
                  </a:lnTo>
                  <a:lnTo>
                    <a:pt x="2774" y="4688"/>
                  </a:lnTo>
                  <a:lnTo>
                    <a:pt x="2766" y="4692"/>
                  </a:lnTo>
                  <a:lnTo>
                    <a:pt x="2746" y="4696"/>
                  </a:lnTo>
                  <a:lnTo>
                    <a:pt x="2724" y="4700"/>
                  </a:lnTo>
                  <a:lnTo>
                    <a:pt x="2716" y="4704"/>
                  </a:lnTo>
                  <a:lnTo>
                    <a:pt x="2712" y="4706"/>
                  </a:lnTo>
                  <a:lnTo>
                    <a:pt x="2710" y="4710"/>
                  </a:lnTo>
                  <a:lnTo>
                    <a:pt x="2708" y="4716"/>
                  </a:lnTo>
                  <a:lnTo>
                    <a:pt x="2710" y="4724"/>
                  </a:lnTo>
                  <a:lnTo>
                    <a:pt x="2708" y="4728"/>
                  </a:lnTo>
                  <a:lnTo>
                    <a:pt x="2704" y="4726"/>
                  </a:lnTo>
                  <a:lnTo>
                    <a:pt x="2702" y="4724"/>
                  </a:lnTo>
                  <a:lnTo>
                    <a:pt x="2700" y="4724"/>
                  </a:lnTo>
                  <a:lnTo>
                    <a:pt x="2698" y="4728"/>
                  </a:lnTo>
                  <a:lnTo>
                    <a:pt x="2698" y="4734"/>
                  </a:lnTo>
                  <a:lnTo>
                    <a:pt x="2700" y="4738"/>
                  </a:lnTo>
                  <a:lnTo>
                    <a:pt x="2702" y="4738"/>
                  </a:lnTo>
                  <a:lnTo>
                    <a:pt x="2702" y="4740"/>
                  </a:lnTo>
                  <a:lnTo>
                    <a:pt x="2700" y="4742"/>
                  </a:lnTo>
                  <a:lnTo>
                    <a:pt x="2698" y="4750"/>
                  </a:lnTo>
                  <a:lnTo>
                    <a:pt x="2696" y="4756"/>
                  </a:lnTo>
                  <a:lnTo>
                    <a:pt x="2692" y="4760"/>
                  </a:lnTo>
                  <a:lnTo>
                    <a:pt x="2692" y="4764"/>
                  </a:lnTo>
                  <a:lnTo>
                    <a:pt x="2696" y="4768"/>
                  </a:lnTo>
                  <a:lnTo>
                    <a:pt x="2698" y="4772"/>
                  </a:lnTo>
                  <a:lnTo>
                    <a:pt x="2698" y="4774"/>
                  </a:lnTo>
                  <a:lnTo>
                    <a:pt x="2690" y="4768"/>
                  </a:lnTo>
                  <a:lnTo>
                    <a:pt x="2684" y="4766"/>
                  </a:lnTo>
                  <a:lnTo>
                    <a:pt x="2678" y="4766"/>
                  </a:lnTo>
                  <a:lnTo>
                    <a:pt x="2672" y="4764"/>
                  </a:lnTo>
                  <a:lnTo>
                    <a:pt x="2672" y="4762"/>
                  </a:lnTo>
                  <a:lnTo>
                    <a:pt x="2672" y="4760"/>
                  </a:lnTo>
                  <a:lnTo>
                    <a:pt x="2674" y="4756"/>
                  </a:lnTo>
                  <a:lnTo>
                    <a:pt x="2672" y="4756"/>
                  </a:lnTo>
                  <a:lnTo>
                    <a:pt x="2670" y="4756"/>
                  </a:lnTo>
                  <a:lnTo>
                    <a:pt x="2666" y="4754"/>
                  </a:lnTo>
                  <a:lnTo>
                    <a:pt x="2664" y="4752"/>
                  </a:lnTo>
                  <a:lnTo>
                    <a:pt x="2664" y="4754"/>
                  </a:lnTo>
                  <a:lnTo>
                    <a:pt x="2662" y="4756"/>
                  </a:lnTo>
                  <a:lnTo>
                    <a:pt x="2656" y="4758"/>
                  </a:lnTo>
                  <a:lnTo>
                    <a:pt x="2650" y="4758"/>
                  </a:lnTo>
                  <a:lnTo>
                    <a:pt x="2644" y="4756"/>
                  </a:lnTo>
                  <a:lnTo>
                    <a:pt x="2640" y="4750"/>
                  </a:lnTo>
                  <a:lnTo>
                    <a:pt x="2638" y="4742"/>
                  </a:lnTo>
                  <a:lnTo>
                    <a:pt x="2632" y="4744"/>
                  </a:lnTo>
                  <a:lnTo>
                    <a:pt x="2628" y="4746"/>
                  </a:lnTo>
                  <a:lnTo>
                    <a:pt x="2622" y="4750"/>
                  </a:lnTo>
                  <a:lnTo>
                    <a:pt x="2620" y="4758"/>
                  </a:lnTo>
                  <a:lnTo>
                    <a:pt x="2618" y="4764"/>
                  </a:lnTo>
                  <a:lnTo>
                    <a:pt x="2614" y="4772"/>
                  </a:lnTo>
                  <a:lnTo>
                    <a:pt x="2610" y="4780"/>
                  </a:lnTo>
                  <a:lnTo>
                    <a:pt x="2606" y="4802"/>
                  </a:lnTo>
                  <a:lnTo>
                    <a:pt x="2606" y="4812"/>
                  </a:lnTo>
                  <a:lnTo>
                    <a:pt x="2608" y="4820"/>
                  </a:lnTo>
                  <a:lnTo>
                    <a:pt x="2610" y="4826"/>
                  </a:lnTo>
                  <a:lnTo>
                    <a:pt x="2616" y="4830"/>
                  </a:lnTo>
                  <a:lnTo>
                    <a:pt x="2620" y="4834"/>
                  </a:lnTo>
                  <a:lnTo>
                    <a:pt x="2620" y="4836"/>
                  </a:lnTo>
                  <a:lnTo>
                    <a:pt x="2616" y="4844"/>
                  </a:lnTo>
                  <a:lnTo>
                    <a:pt x="2614" y="4848"/>
                  </a:lnTo>
                  <a:lnTo>
                    <a:pt x="2614" y="4854"/>
                  </a:lnTo>
                  <a:lnTo>
                    <a:pt x="2614" y="4858"/>
                  </a:lnTo>
                  <a:lnTo>
                    <a:pt x="2618" y="4864"/>
                  </a:lnTo>
                  <a:lnTo>
                    <a:pt x="2622" y="4870"/>
                  </a:lnTo>
                  <a:lnTo>
                    <a:pt x="2624" y="4874"/>
                  </a:lnTo>
                  <a:lnTo>
                    <a:pt x="2624" y="4876"/>
                  </a:lnTo>
                  <a:lnTo>
                    <a:pt x="2622" y="4878"/>
                  </a:lnTo>
                  <a:lnTo>
                    <a:pt x="2620" y="4880"/>
                  </a:lnTo>
                  <a:lnTo>
                    <a:pt x="2626" y="4882"/>
                  </a:lnTo>
                  <a:lnTo>
                    <a:pt x="2630" y="4886"/>
                  </a:lnTo>
                  <a:lnTo>
                    <a:pt x="2632" y="4888"/>
                  </a:lnTo>
                  <a:lnTo>
                    <a:pt x="2632" y="4890"/>
                  </a:lnTo>
                  <a:lnTo>
                    <a:pt x="2630" y="4892"/>
                  </a:lnTo>
                  <a:lnTo>
                    <a:pt x="2628" y="4898"/>
                  </a:lnTo>
                  <a:lnTo>
                    <a:pt x="2626" y="4900"/>
                  </a:lnTo>
                  <a:lnTo>
                    <a:pt x="2628" y="4902"/>
                  </a:lnTo>
                  <a:lnTo>
                    <a:pt x="2632" y="4904"/>
                  </a:lnTo>
                  <a:lnTo>
                    <a:pt x="2634" y="4904"/>
                  </a:lnTo>
                  <a:lnTo>
                    <a:pt x="2640" y="4900"/>
                  </a:lnTo>
                  <a:lnTo>
                    <a:pt x="2646" y="4898"/>
                  </a:lnTo>
                  <a:lnTo>
                    <a:pt x="2650" y="4898"/>
                  </a:lnTo>
                  <a:lnTo>
                    <a:pt x="2652" y="4902"/>
                  </a:lnTo>
                  <a:lnTo>
                    <a:pt x="2652" y="4908"/>
                  </a:lnTo>
                  <a:lnTo>
                    <a:pt x="2652" y="4910"/>
                  </a:lnTo>
                  <a:lnTo>
                    <a:pt x="2650" y="4918"/>
                  </a:lnTo>
                  <a:lnTo>
                    <a:pt x="2648" y="4926"/>
                  </a:lnTo>
                  <a:lnTo>
                    <a:pt x="2648" y="4934"/>
                  </a:lnTo>
                  <a:lnTo>
                    <a:pt x="2652" y="4942"/>
                  </a:lnTo>
                  <a:lnTo>
                    <a:pt x="2658" y="4960"/>
                  </a:lnTo>
                  <a:lnTo>
                    <a:pt x="2660" y="4972"/>
                  </a:lnTo>
                  <a:lnTo>
                    <a:pt x="2660" y="4980"/>
                  </a:lnTo>
                  <a:lnTo>
                    <a:pt x="2660" y="4984"/>
                  </a:lnTo>
                  <a:lnTo>
                    <a:pt x="2660" y="4986"/>
                  </a:lnTo>
                  <a:lnTo>
                    <a:pt x="2666" y="4986"/>
                  </a:lnTo>
                  <a:lnTo>
                    <a:pt x="2678" y="4988"/>
                  </a:lnTo>
                  <a:lnTo>
                    <a:pt x="2684" y="4992"/>
                  </a:lnTo>
                  <a:lnTo>
                    <a:pt x="2692" y="4992"/>
                  </a:lnTo>
                  <a:lnTo>
                    <a:pt x="2698" y="4986"/>
                  </a:lnTo>
                  <a:lnTo>
                    <a:pt x="2702" y="4982"/>
                  </a:lnTo>
                  <a:lnTo>
                    <a:pt x="2706" y="4982"/>
                  </a:lnTo>
                  <a:lnTo>
                    <a:pt x="2712" y="4982"/>
                  </a:lnTo>
                  <a:lnTo>
                    <a:pt x="2716" y="4984"/>
                  </a:lnTo>
                  <a:lnTo>
                    <a:pt x="2720" y="4986"/>
                  </a:lnTo>
                  <a:lnTo>
                    <a:pt x="2722" y="4992"/>
                  </a:lnTo>
                  <a:lnTo>
                    <a:pt x="2724" y="4996"/>
                  </a:lnTo>
                  <a:lnTo>
                    <a:pt x="2724" y="5002"/>
                  </a:lnTo>
                  <a:lnTo>
                    <a:pt x="2724" y="5010"/>
                  </a:lnTo>
                  <a:lnTo>
                    <a:pt x="2726" y="5012"/>
                  </a:lnTo>
                  <a:lnTo>
                    <a:pt x="2728" y="5012"/>
                  </a:lnTo>
                  <a:lnTo>
                    <a:pt x="2734" y="5010"/>
                  </a:lnTo>
                  <a:lnTo>
                    <a:pt x="2740" y="5004"/>
                  </a:lnTo>
                  <a:lnTo>
                    <a:pt x="2742" y="5002"/>
                  </a:lnTo>
                  <a:lnTo>
                    <a:pt x="2746" y="5002"/>
                  </a:lnTo>
                  <a:lnTo>
                    <a:pt x="2754" y="5004"/>
                  </a:lnTo>
                  <a:lnTo>
                    <a:pt x="2756" y="5004"/>
                  </a:lnTo>
                  <a:lnTo>
                    <a:pt x="2760" y="5004"/>
                  </a:lnTo>
                  <a:lnTo>
                    <a:pt x="2764" y="5002"/>
                  </a:lnTo>
                  <a:lnTo>
                    <a:pt x="2768" y="4998"/>
                  </a:lnTo>
                  <a:lnTo>
                    <a:pt x="2770" y="4992"/>
                  </a:lnTo>
                  <a:lnTo>
                    <a:pt x="2774" y="4990"/>
                  </a:lnTo>
                  <a:lnTo>
                    <a:pt x="2776" y="4990"/>
                  </a:lnTo>
                  <a:lnTo>
                    <a:pt x="2778" y="4992"/>
                  </a:lnTo>
                  <a:lnTo>
                    <a:pt x="2784" y="4996"/>
                  </a:lnTo>
                  <a:lnTo>
                    <a:pt x="2788" y="4998"/>
                  </a:lnTo>
                  <a:lnTo>
                    <a:pt x="2792" y="4998"/>
                  </a:lnTo>
                  <a:lnTo>
                    <a:pt x="2794" y="4998"/>
                  </a:lnTo>
                  <a:lnTo>
                    <a:pt x="2796" y="5000"/>
                  </a:lnTo>
                  <a:lnTo>
                    <a:pt x="2796" y="5004"/>
                  </a:lnTo>
                  <a:lnTo>
                    <a:pt x="2796" y="5006"/>
                  </a:lnTo>
                  <a:lnTo>
                    <a:pt x="2798" y="5008"/>
                  </a:lnTo>
                  <a:lnTo>
                    <a:pt x="2800" y="5008"/>
                  </a:lnTo>
                  <a:lnTo>
                    <a:pt x="2806" y="5006"/>
                  </a:lnTo>
                  <a:lnTo>
                    <a:pt x="2814" y="5004"/>
                  </a:lnTo>
                  <a:lnTo>
                    <a:pt x="2820" y="5004"/>
                  </a:lnTo>
                  <a:lnTo>
                    <a:pt x="2826" y="5008"/>
                  </a:lnTo>
                  <a:lnTo>
                    <a:pt x="2830" y="5012"/>
                  </a:lnTo>
                  <a:lnTo>
                    <a:pt x="2834" y="5016"/>
                  </a:lnTo>
                  <a:lnTo>
                    <a:pt x="2836" y="5022"/>
                  </a:lnTo>
                  <a:lnTo>
                    <a:pt x="2836" y="5030"/>
                  </a:lnTo>
                  <a:lnTo>
                    <a:pt x="2836" y="5036"/>
                  </a:lnTo>
                  <a:lnTo>
                    <a:pt x="2836" y="5040"/>
                  </a:lnTo>
                  <a:lnTo>
                    <a:pt x="2840" y="5042"/>
                  </a:lnTo>
                  <a:lnTo>
                    <a:pt x="2846" y="5040"/>
                  </a:lnTo>
                  <a:lnTo>
                    <a:pt x="2852" y="5036"/>
                  </a:lnTo>
                  <a:lnTo>
                    <a:pt x="2868" y="5026"/>
                  </a:lnTo>
                  <a:lnTo>
                    <a:pt x="2876" y="5024"/>
                  </a:lnTo>
                  <a:lnTo>
                    <a:pt x="2882" y="5022"/>
                  </a:lnTo>
                  <a:lnTo>
                    <a:pt x="2886" y="5020"/>
                  </a:lnTo>
                  <a:lnTo>
                    <a:pt x="2890" y="5018"/>
                  </a:lnTo>
                  <a:lnTo>
                    <a:pt x="2894" y="5008"/>
                  </a:lnTo>
                  <a:lnTo>
                    <a:pt x="2896" y="4996"/>
                  </a:lnTo>
                  <a:lnTo>
                    <a:pt x="2898" y="4986"/>
                  </a:lnTo>
                  <a:lnTo>
                    <a:pt x="2898" y="4982"/>
                  </a:lnTo>
                  <a:lnTo>
                    <a:pt x="2902" y="4980"/>
                  </a:lnTo>
                  <a:lnTo>
                    <a:pt x="2904" y="4978"/>
                  </a:lnTo>
                  <a:lnTo>
                    <a:pt x="2906" y="4970"/>
                  </a:lnTo>
                  <a:close/>
                  <a:moveTo>
                    <a:pt x="2606" y="3938"/>
                  </a:moveTo>
                  <a:lnTo>
                    <a:pt x="2606" y="3938"/>
                  </a:lnTo>
                  <a:lnTo>
                    <a:pt x="2616" y="3942"/>
                  </a:lnTo>
                  <a:lnTo>
                    <a:pt x="2622" y="3944"/>
                  </a:lnTo>
                  <a:lnTo>
                    <a:pt x="2624" y="3944"/>
                  </a:lnTo>
                  <a:lnTo>
                    <a:pt x="2626" y="3944"/>
                  </a:lnTo>
                  <a:lnTo>
                    <a:pt x="2630" y="3948"/>
                  </a:lnTo>
                  <a:lnTo>
                    <a:pt x="2634" y="3950"/>
                  </a:lnTo>
                  <a:lnTo>
                    <a:pt x="2638" y="3948"/>
                  </a:lnTo>
                  <a:lnTo>
                    <a:pt x="2640" y="3942"/>
                  </a:lnTo>
                  <a:lnTo>
                    <a:pt x="2640" y="3940"/>
                  </a:lnTo>
                  <a:lnTo>
                    <a:pt x="2642" y="3940"/>
                  </a:lnTo>
                  <a:lnTo>
                    <a:pt x="2646" y="3940"/>
                  </a:lnTo>
                  <a:lnTo>
                    <a:pt x="2652" y="3938"/>
                  </a:lnTo>
                  <a:lnTo>
                    <a:pt x="2654" y="3938"/>
                  </a:lnTo>
                  <a:lnTo>
                    <a:pt x="2654" y="3934"/>
                  </a:lnTo>
                  <a:lnTo>
                    <a:pt x="2656" y="3930"/>
                  </a:lnTo>
                  <a:lnTo>
                    <a:pt x="2658" y="3928"/>
                  </a:lnTo>
                  <a:lnTo>
                    <a:pt x="2664" y="3926"/>
                  </a:lnTo>
                  <a:lnTo>
                    <a:pt x="2666" y="3924"/>
                  </a:lnTo>
                  <a:lnTo>
                    <a:pt x="2670" y="3922"/>
                  </a:lnTo>
                  <a:lnTo>
                    <a:pt x="2670" y="3918"/>
                  </a:lnTo>
                  <a:lnTo>
                    <a:pt x="2672" y="3912"/>
                  </a:lnTo>
                  <a:lnTo>
                    <a:pt x="2674" y="3902"/>
                  </a:lnTo>
                  <a:lnTo>
                    <a:pt x="2678" y="3892"/>
                  </a:lnTo>
                  <a:lnTo>
                    <a:pt x="2684" y="3884"/>
                  </a:lnTo>
                  <a:lnTo>
                    <a:pt x="2690" y="3878"/>
                  </a:lnTo>
                  <a:lnTo>
                    <a:pt x="2692" y="3874"/>
                  </a:lnTo>
                  <a:lnTo>
                    <a:pt x="2692" y="3868"/>
                  </a:lnTo>
                  <a:lnTo>
                    <a:pt x="2690" y="3862"/>
                  </a:lnTo>
                  <a:lnTo>
                    <a:pt x="2686" y="3858"/>
                  </a:lnTo>
                  <a:lnTo>
                    <a:pt x="2682" y="3856"/>
                  </a:lnTo>
                  <a:lnTo>
                    <a:pt x="2680" y="3854"/>
                  </a:lnTo>
                  <a:lnTo>
                    <a:pt x="2676" y="3852"/>
                  </a:lnTo>
                  <a:lnTo>
                    <a:pt x="2674" y="3854"/>
                  </a:lnTo>
                  <a:lnTo>
                    <a:pt x="2670" y="3856"/>
                  </a:lnTo>
                  <a:lnTo>
                    <a:pt x="2666" y="3856"/>
                  </a:lnTo>
                  <a:lnTo>
                    <a:pt x="2660" y="3856"/>
                  </a:lnTo>
                  <a:lnTo>
                    <a:pt x="2654" y="3858"/>
                  </a:lnTo>
                  <a:lnTo>
                    <a:pt x="2652" y="3860"/>
                  </a:lnTo>
                  <a:lnTo>
                    <a:pt x="2648" y="3860"/>
                  </a:lnTo>
                  <a:lnTo>
                    <a:pt x="2642" y="3858"/>
                  </a:lnTo>
                  <a:lnTo>
                    <a:pt x="2636" y="3858"/>
                  </a:lnTo>
                  <a:lnTo>
                    <a:pt x="2634" y="3858"/>
                  </a:lnTo>
                  <a:lnTo>
                    <a:pt x="2632" y="3862"/>
                  </a:lnTo>
                  <a:lnTo>
                    <a:pt x="2630" y="3864"/>
                  </a:lnTo>
                  <a:lnTo>
                    <a:pt x="2626" y="3864"/>
                  </a:lnTo>
                  <a:lnTo>
                    <a:pt x="2622" y="3862"/>
                  </a:lnTo>
                  <a:lnTo>
                    <a:pt x="2620" y="3864"/>
                  </a:lnTo>
                  <a:lnTo>
                    <a:pt x="2618" y="3866"/>
                  </a:lnTo>
                  <a:lnTo>
                    <a:pt x="2616" y="3870"/>
                  </a:lnTo>
                  <a:lnTo>
                    <a:pt x="2616" y="3872"/>
                  </a:lnTo>
                  <a:lnTo>
                    <a:pt x="2614" y="3874"/>
                  </a:lnTo>
                  <a:lnTo>
                    <a:pt x="2608" y="3882"/>
                  </a:lnTo>
                  <a:lnTo>
                    <a:pt x="2604" y="3886"/>
                  </a:lnTo>
                  <a:lnTo>
                    <a:pt x="2598" y="3890"/>
                  </a:lnTo>
                  <a:lnTo>
                    <a:pt x="2596" y="3896"/>
                  </a:lnTo>
                  <a:lnTo>
                    <a:pt x="2596" y="3908"/>
                  </a:lnTo>
                  <a:lnTo>
                    <a:pt x="2596" y="3920"/>
                  </a:lnTo>
                  <a:lnTo>
                    <a:pt x="2596" y="3926"/>
                  </a:lnTo>
                  <a:lnTo>
                    <a:pt x="2600" y="3932"/>
                  </a:lnTo>
                  <a:lnTo>
                    <a:pt x="2606" y="3938"/>
                  </a:lnTo>
                  <a:close/>
                  <a:moveTo>
                    <a:pt x="3234" y="3626"/>
                  </a:moveTo>
                  <a:lnTo>
                    <a:pt x="3234" y="3626"/>
                  </a:lnTo>
                  <a:lnTo>
                    <a:pt x="3234" y="3624"/>
                  </a:lnTo>
                  <a:lnTo>
                    <a:pt x="3232" y="3624"/>
                  </a:lnTo>
                  <a:lnTo>
                    <a:pt x="3226" y="3626"/>
                  </a:lnTo>
                  <a:lnTo>
                    <a:pt x="3222" y="3632"/>
                  </a:lnTo>
                  <a:lnTo>
                    <a:pt x="3222" y="3634"/>
                  </a:lnTo>
                  <a:lnTo>
                    <a:pt x="3224" y="3636"/>
                  </a:lnTo>
                  <a:lnTo>
                    <a:pt x="3226" y="3636"/>
                  </a:lnTo>
                  <a:lnTo>
                    <a:pt x="3230" y="3634"/>
                  </a:lnTo>
                  <a:lnTo>
                    <a:pt x="3234" y="3626"/>
                  </a:lnTo>
                  <a:close/>
                  <a:moveTo>
                    <a:pt x="3140" y="4236"/>
                  </a:moveTo>
                  <a:lnTo>
                    <a:pt x="3140" y="4236"/>
                  </a:lnTo>
                  <a:lnTo>
                    <a:pt x="3142" y="4224"/>
                  </a:lnTo>
                  <a:lnTo>
                    <a:pt x="3142" y="4222"/>
                  </a:lnTo>
                  <a:lnTo>
                    <a:pt x="3138" y="4224"/>
                  </a:lnTo>
                  <a:lnTo>
                    <a:pt x="3136" y="4226"/>
                  </a:lnTo>
                  <a:lnTo>
                    <a:pt x="3136" y="4230"/>
                  </a:lnTo>
                  <a:lnTo>
                    <a:pt x="3134" y="4236"/>
                  </a:lnTo>
                  <a:lnTo>
                    <a:pt x="3134" y="4240"/>
                  </a:lnTo>
                  <a:lnTo>
                    <a:pt x="3136" y="4242"/>
                  </a:lnTo>
                  <a:lnTo>
                    <a:pt x="3138" y="4242"/>
                  </a:lnTo>
                  <a:lnTo>
                    <a:pt x="3140" y="4236"/>
                  </a:lnTo>
                  <a:close/>
                  <a:moveTo>
                    <a:pt x="3216" y="3638"/>
                  </a:moveTo>
                  <a:lnTo>
                    <a:pt x="3216" y="3638"/>
                  </a:lnTo>
                  <a:lnTo>
                    <a:pt x="3216" y="3634"/>
                  </a:lnTo>
                  <a:lnTo>
                    <a:pt x="3212" y="3632"/>
                  </a:lnTo>
                  <a:lnTo>
                    <a:pt x="3208" y="3632"/>
                  </a:lnTo>
                  <a:lnTo>
                    <a:pt x="3206" y="3636"/>
                  </a:lnTo>
                  <a:lnTo>
                    <a:pt x="3208" y="3638"/>
                  </a:lnTo>
                  <a:lnTo>
                    <a:pt x="3210" y="3640"/>
                  </a:lnTo>
                  <a:lnTo>
                    <a:pt x="3214" y="3640"/>
                  </a:lnTo>
                  <a:lnTo>
                    <a:pt x="3216" y="3638"/>
                  </a:lnTo>
                  <a:close/>
                  <a:moveTo>
                    <a:pt x="3130" y="4102"/>
                  </a:moveTo>
                  <a:lnTo>
                    <a:pt x="3130" y="4102"/>
                  </a:lnTo>
                  <a:lnTo>
                    <a:pt x="3128" y="4106"/>
                  </a:lnTo>
                  <a:lnTo>
                    <a:pt x="3128" y="4108"/>
                  </a:lnTo>
                  <a:lnTo>
                    <a:pt x="3132" y="4120"/>
                  </a:lnTo>
                  <a:lnTo>
                    <a:pt x="3134" y="4124"/>
                  </a:lnTo>
                  <a:lnTo>
                    <a:pt x="3136" y="4124"/>
                  </a:lnTo>
                  <a:lnTo>
                    <a:pt x="3136" y="4120"/>
                  </a:lnTo>
                  <a:lnTo>
                    <a:pt x="3136" y="4116"/>
                  </a:lnTo>
                  <a:lnTo>
                    <a:pt x="3134" y="4104"/>
                  </a:lnTo>
                  <a:lnTo>
                    <a:pt x="3132" y="4102"/>
                  </a:lnTo>
                  <a:lnTo>
                    <a:pt x="3130" y="4102"/>
                  </a:lnTo>
                  <a:close/>
                  <a:moveTo>
                    <a:pt x="3462" y="5402"/>
                  </a:moveTo>
                  <a:lnTo>
                    <a:pt x="3462" y="5402"/>
                  </a:lnTo>
                  <a:lnTo>
                    <a:pt x="3462" y="5410"/>
                  </a:lnTo>
                  <a:lnTo>
                    <a:pt x="3462" y="5414"/>
                  </a:lnTo>
                  <a:lnTo>
                    <a:pt x="3466" y="5416"/>
                  </a:lnTo>
                  <a:lnTo>
                    <a:pt x="3472" y="5418"/>
                  </a:lnTo>
                  <a:lnTo>
                    <a:pt x="3476" y="5418"/>
                  </a:lnTo>
                  <a:lnTo>
                    <a:pt x="3478" y="5416"/>
                  </a:lnTo>
                  <a:lnTo>
                    <a:pt x="3478" y="5412"/>
                  </a:lnTo>
                  <a:lnTo>
                    <a:pt x="3474" y="5404"/>
                  </a:lnTo>
                  <a:lnTo>
                    <a:pt x="3468" y="5398"/>
                  </a:lnTo>
                  <a:lnTo>
                    <a:pt x="3464" y="5394"/>
                  </a:lnTo>
                  <a:lnTo>
                    <a:pt x="3462" y="5396"/>
                  </a:lnTo>
                  <a:lnTo>
                    <a:pt x="3462" y="5402"/>
                  </a:lnTo>
                  <a:close/>
                  <a:moveTo>
                    <a:pt x="4244" y="2492"/>
                  </a:moveTo>
                  <a:lnTo>
                    <a:pt x="4244" y="2492"/>
                  </a:lnTo>
                  <a:lnTo>
                    <a:pt x="4244" y="2496"/>
                  </a:lnTo>
                  <a:lnTo>
                    <a:pt x="4248" y="2496"/>
                  </a:lnTo>
                  <a:lnTo>
                    <a:pt x="4256" y="2492"/>
                  </a:lnTo>
                  <a:lnTo>
                    <a:pt x="4264" y="2486"/>
                  </a:lnTo>
                  <a:lnTo>
                    <a:pt x="4280" y="2470"/>
                  </a:lnTo>
                  <a:lnTo>
                    <a:pt x="4284" y="2464"/>
                  </a:lnTo>
                  <a:lnTo>
                    <a:pt x="4284" y="2460"/>
                  </a:lnTo>
                  <a:lnTo>
                    <a:pt x="4282" y="2460"/>
                  </a:lnTo>
                  <a:lnTo>
                    <a:pt x="4276" y="2460"/>
                  </a:lnTo>
                  <a:lnTo>
                    <a:pt x="4266" y="2466"/>
                  </a:lnTo>
                  <a:lnTo>
                    <a:pt x="4254" y="2476"/>
                  </a:lnTo>
                  <a:lnTo>
                    <a:pt x="4248" y="2484"/>
                  </a:lnTo>
                  <a:lnTo>
                    <a:pt x="4244" y="2492"/>
                  </a:lnTo>
                  <a:close/>
                  <a:moveTo>
                    <a:pt x="4364" y="2396"/>
                  </a:moveTo>
                  <a:lnTo>
                    <a:pt x="4364" y="2396"/>
                  </a:lnTo>
                  <a:lnTo>
                    <a:pt x="4368" y="2398"/>
                  </a:lnTo>
                  <a:lnTo>
                    <a:pt x="4370" y="2396"/>
                  </a:lnTo>
                  <a:lnTo>
                    <a:pt x="4370" y="2394"/>
                  </a:lnTo>
                  <a:lnTo>
                    <a:pt x="4368" y="2392"/>
                  </a:lnTo>
                  <a:lnTo>
                    <a:pt x="4366" y="2390"/>
                  </a:lnTo>
                  <a:lnTo>
                    <a:pt x="4364" y="2392"/>
                  </a:lnTo>
                  <a:lnTo>
                    <a:pt x="4364" y="2394"/>
                  </a:lnTo>
                  <a:lnTo>
                    <a:pt x="4364" y="2396"/>
                  </a:lnTo>
                  <a:close/>
                  <a:moveTo>
                    <a:pt x="4388" y="2374"/>
                  </a:moveTo>
                  <a:lnTo>
                    <a:pt x="4388" y="2374"/>
                  </a:lnTo>
                  <a:lnTo>
                    <a:pt x="4392" y="2376"/>
                  </a:lnTo>
                  <a:lnTo>
                    <a:pt x="4392" y="2374"/>
                  </a:lnTo>
                  <a:lnTo>
                    <a:pt x="4394" y="2370"/>
                  </a:lnTo>
                  <a:lnTo>
                    <a:pt x="4392" y="2368"/>
                  </a:lnTo>
                  <a:lnTo>
                    <a:pt x="4390" y="2366"/>
                  </a:lnTo>
                  <a:lnTo>
                    <a:pt x="4388" y="2368"/>
                  </a:lnTo>
                  <a:lnTo>
                    <a:pt x="4388" y="2372"/>
                  </a:lnTo>
                  <a:lnTo>
                    <a:pt x="4388" y="2374"/>
                  </a:lnTo>
                  <a:close/>
                  <a:moveTo>
                    <a:pt x="264" y="3518"/>
                  </a:moveTo>
                  <a:lnTo>
                    <a:pt x="264" y="3518"/>
                  </a:lnTo>
                  <a:lnTo>
                    <a:pt x="266" y="3518"/>
                  </a:lnTo>
                  <a:lnTo>
                    <a:pt x="264" y="3518"/>
                  </a:lnTo>
                  <a:close/>
                  <a:moveTo>
                    <a:pt x="5798" y="1166"/>
                  </a:moveTo>
                  <a:lnTo>
                    <a:pt x="5798" y="1166"/>
                  </a:lnTo>
                  <a:lnTo>
                    <a:pt x="5790" y="1156"/>
                  </a:lnTo>
                  <a:lnTo>
                    <a:pt x="5782" y="1148"/>
                  </a:lnTo>
                  <a:lnTo>
                    <a:pt x="5772" y="1144"/>
                  </a:lnTo>
                  <a:lnTo>
                    <a:pt x="5760" y="1140"/>
                  </a:lnTo>
                  <a:lnTo>
                    <a:pt x="5732" y="1138"/>
                  </a:lnTo>
                  <a:lnTo>
                    <a:pt x="5698" y="1136"/>
                  </a:lnTo>
                  <a:lnTo>
                    <a:pt x="5692" y="1138"/>
                  </a:lnTo>
                  <a:lnTo>
                    <a:pt x="5688" y="1140"/>
                  </a:lnTo>
                  <a:lnTo>
                    <a:pt x="5686" y="1144"/>
                  </a:lnTo>
                  <a:lnTo>
                    <a:pt x="5686" y="1148"/>
                  </a:lnTo>
                  <a:lnTo>
                    <a:pt x="5690" y="1160"/>
                  </a:lnTo>
                  <a:lnTo>
                    <a:pt x="5696" y="1172"/>
                  </a:lnTo>
                  <a:lnTo>
                    <a:pt x="5702" y="1184"/>
                  </a:lnTo>
                  <a:lnTo>
                    <a:pt x="5704" y="1190"/>
                  </a:lnTo>
                  <a:lnTo>
                    <a:pt x="5704" y="1192"/>
                  </a:lnTo>
                  <a:lnTo>
                    <a:pt x="5700" y="1192"/>
                  </a:lnTo>
                  <a:lnTo>
                    <a:pt x="5684" y="1186"/>
                  </a:lnTo>
                  <a:lnTo>
                    <a:pt x="5676" y="1180"/>
                  </a:lnTo>
                  <a:lnTo>
                    <a:pt x="5670" y="1174"/>
                  </a:lnTo>
                  <a:lnTo>
                    <a:pt x="5666" y="1168"/>
                  </a:lnTo>
                  <a:lnTo>
                    <a:pt x="5664" y="1162"/>
                  </a:lnTo>
                  <a:lnTo>
                    <a:pt x="5664" y="1150"/>
                  </a:lnTo>
                  <a:lnTo>
                    <a:pt x="5666" y="1138"/>
                  </a:lnTo>
                  <a:lnTo>
                    <a:pt x="5666" y="1126"/>
                  </a:lnTo>
                  <a:lnTo>
                    <a:pt x="5664" y="1120"/>
                  </a:lnTo>
                  <a:lnTo>
                    <a:pt x="5660" y="1114"/>
                  </a:lnTo>
                  <a:lnTo>
                    <a:pt x="5654" y="1106"/>
                  </a:lnTo>
                  <a:lnTo>
                    <a:pt x="5646" y="1100"/>
                  </a:lnTo>
                  <a:lnTo>
                    <a:pt x="5634" y="1092"/>
                  </a:lnTo>
                  <a:lnTo>
                    <a:pt x="5618" y="1084"/>
                  </a:lnTo>
                  <a:lnTo>
                    <a:pt x="5580" y="1068"/>
                  </a:lnTo>
                  <a:lnTo>
                    <a:pt x="5546" y="1050"/>
                  </a:lnTo>
                  <a:lnTo>
                    <a:pt x="5478" y="1014"/>
                  </a:lnTo>
                  <a:lnTo>
                    <a:pt x="5478" y="1008"/>
                  </a:lnTo>
                  <a:lnTo>
                    <a:pt x="5448" y="994"/>
                  </a:lnTo>
                  <a:lnTo>
                    <a:pt x="5418" y="982"/>
                  </a:lnTo>
                  <a:lnTo>
                    <a:pt x="5386" y="970"/>
                  </a:lnTo>
                  <a:lnTo>
                    <a:pt x="5356" y="962"/>
                  </a:lnTo>
                  <a:lnTo>
                    <a:pt x="5310" y="952"/>
                  </a:lnTo>
                  <a:lnTo>
                    <a:pt x="5294" y="946"/>
                  </a:lnTo>
                  <a:lnTo>
                    <a:pt x="5270" y="944"/>
                  </a:lnTo>
                  <a:lnTo>
                    <a:pt x="5210" y="940"/>
                  </a:lnTo>
                  <a:lnTo>
                    <a:pt x="5170" y="936"/>
                  </a:lnTo>
                  <a:lnTo>
                    <a:pt x="5144" y="930"/>
                  </a:lnTo>
                  <a:lnTo>
                    <a:pt x="5126" y="924"/>
                  </a:lnTo>
                  <a:lnTo>
                    <a:pt x="5116" y="918"/>
                  </a:lnTo>
                  <a:lnTo>
                    <a:pt x="5108" y="916"/>
                  </a:lnTo>
                  <a:lnTo>
                    <a:pt x="5102" y="918"/>
                  </a:lnTo>
                  <a:lnTo>
                    <a:pt x="5096" y="926"/>
                  </a:lnTo>
                  <a:lnTo>
                    <a:pt x="5086" y="942"/>
                  </a:lnTo>
                  <a:lnTo>
                    <a:pt x="5080" y="950"/>
                  </a:lnTo>
                  <a:lnTo>
                    <a:pt x="5078" y="958"/>
                  </a:lnTo>
                  <a:lnTo>
                    <a:pt x="5078" y="964"/>
                  </a:lnTo>
                  <a:lnTo>
                    <a:pt x="5080" y="968"/>
                  </a:lnTo>
                  <a:lnTo>
                    <a:pt x="5084" y="972"/>
                  </a:lnTo>
                  <a:lnTo>
                    <a:pt x="5088" y="974"/>
                  </a:lnTo>
                  <a:lnTo>
                    <a:pt x="5100" y="978"/>
                  </a:lnTo>
                  <a:lnTo>
                    <a:pt x="5110" y="982"/>
                  </a:lnTo>
                  <a:lnTo>
                    <a:pt x="5114" y="986"/>
                  </a:lnTo>
                  <a:lnTo>
                    <a:pt x="5116" y="988"/>
                  </a:lnTo>
                  <a:lnTo>
                    <a:pt x="5116" y="992"/>
                  </a:lnTo>
                  <a:lnTo>
                    <a:pt x="5114" y="998"/>
                  </a:lnTo>
                  <a:lnTo>
                    <a:pt x="5108" y="1004"/>
                  </a:lnTo>
                  <a:lnTo>
                    <a:pt x="5100" y="1012"/>
                  </a:lnTo>
                  <a:lnTo>
                    <a:pt x="5084" y="1024"/>
                  </a:lnTo>
                  <a:lnTo>
                    <a:pt x="5076" y="1028"/>
                  </a:lnTo>
                  <a:lnTo>
                    <a:pt x="5072" y="1030"/>
                  </a:lnTo>
                  <a:lnTo>
                    <a:pt x="5068" y="1028"/>
                  </a:lnTo>
                  <a:lnTo>
                    <a:pt x="5064" y="1026"/>
                  </a:lnTo>
                  <a:lnTo>
                    <a:pt x="5058" y="1020"/>
                  </a:lnTo>
                  <a:lnTo>
                    <a:pt x="5052" y="1012"/>
                  </a:lnTo>
                  <a:lnTo>
                    <a:pt x="5044" y="1004"/>
                  </a:lnTo>
                  <a:lnTo>
                    <a:pt x="5040" y="1000"/>
                  </a:lnTo>
                  <a:lnTo>
                    <a:pt x="5034" y="996"/>
                  </a:lnTo>
                  <a:lnTo>
                    <a:pt x="5028" y="996"/>
                  </a:lnTo>
                  <a:lnTo>
                    <a:pt x="5020" y="994"/>
                  </a:lnTo>
                  <a:lnTo>
                    <a:pt x="5012" y="994"/>
                  </a:lnTo>
                  <a:lnTo>
                    <a:pt x="5006" y="992"/>
                  </a:lnTo>
                  <a:lnTo>
                    <a:pt x="5004" y="990"/>
                  </a:lnTo>
                  <a:lnTo>
                    <a:pt x="5002" y="988"/>
                  </a:lnTo>
                  <a:lnTo>
                    <a:pt x="5000" y="978"/>
                  </a:lnTo>
                  <a:lnTo>
                    <a:pt x="5000" y="970"/>
                  </a:lnTo>
                  <a:lnTo>
                    <a:pt x="5000" y="962"/>
                  </a:lnTo>
                  <a:lnTo>
                    <a:pt x="4998" y="960"/>
                  </a:lnTo>
                  <a:lnTo>
                    <a:pt x="4994" y="958"/>
                  </a:lnTo>
                  <a:lnTo>
                    <a:pt x="4988" y="956"/>
                  </a:lnTo>
                  <a:lnTo>
                    <a:pt x="4980" y="958"/>
                  </a:lnTo>
                  <a:lnTo>
                    <a:pt x="4958" y="964"/>
                  </a:lnTo>
                  <a:lnTo>
                    <a:pt x="4944" y="968"/>
                  </a:lnTo>
                  <a:lnTo>
                    <a:pt x="4930" y="970"/>
                  </a:lnTo>
                  <a:lnTo>
                    <a:pt x="4920" y="972"/>
                  </a:lnTo>
                  <a:lnTo>
                    <a:pt x="4908" y="972"/>
                  </a:lnTo>
                  <a:lnTo>
                    <a:pt x="4890" y="968"/>
                  </a:lnTo>
                  <a:lnTo>
                    <a:pt x="4870" y="964"/>
                  </a:lnTo>
                  <a:lnTo>
                    <a:pt x="4850" y="958"/>
                  </a:lnTo>
                  <a:lnTo>
                    <a:pt x="4828" y="954"/>
                  </a:lnTo>
                  <a:lnTo>
                    <a:pt x="4814" y="954"/>
                  </a:lnTo>
                  <a:lnTo>
                    <a:pt x="4800" y="954"/>
                  </a:lnTo>
                  <a:lnTo>
                    <a:pt x="4784" y="956"/>
                  </a:lnTo>
                  <a:lnTo>
                    <a:pt x="4766" y="958"/>
                  </a:lnTo>
                  <a:lnTo>
                    <a:pt x="4732" y="966"/>
                  </a:lnTo>
                  <a:lnTo>
                    <a:pt x="4706" y="966"/>
                  </a:lnTo>
                  <a:lnTo>
                    <a:pt x="4686" y="964"/>
                  </a:lnTo>
                  <a:lnTo>
                    <a:pt x="4674" y="960"/>
                  </a:lnTo>
                  <a:lnTo>
                    <a:pt x="4668" y="956"/>
                  </a:lnTo>
                  <a:lnTo>
                    <a:pt x="4666" y="952"/>
                  </a:lnTo>
                  <a:lnTo>
                    <a:pt x="4662" y="944"/>
                  </a:lnTo>
                  <a:lnTo>
                    <a:pt x="4664" y="934"/>
                  </a:lnTo>
                  <a:lnTo>
                    <a:pt x="4668" y="924"/>
                  </a:lnTo>
                  <a:lnTo>
                    <a:pt x="4670" y="918"/>
                  </a:lnTo>
                  <a:lnTo>
                    <a:pt x="4670" y="912"/>
                  </a:lnTo>
                  <a:lnTo>
                    <a:pt x="4668" y="906"/>
                  </a:lnTo>
                  <a:lnTo>
                    <a:pt x="4662" y="898"/>
                  </a:lnTo>
                  <a:lnTo>
                    <a:pt x="4656" y="892"/>
                  </a:lnTo>
                  <a:lnTo>
                    <a:pt x="4648" y="884"/>
                  </a:lnTo>
                  <a:lnTo>
                    <a:pt x="4636" y="878"/>
                  </a:lnTo>
                  <a:lnTo>
                    <a:pt x="4624" y="872"/>
                  </a:lnTo>
                  <a:lnTo>
                    <a:pt x="4608" y="868"/>
                  </a:lnTo>
                  <a:lnTo>
                    <a:pt x="4592" y="862"/>
                  </a:lnTo>
                  <a:lnTo>
                    <a:pt x="4572" y="860"/>
                  </a:lnTo>
                  <a:lnTo>
                    <a:pt x="4552" y="856"/>
                  </a:lnTo>
                  <a:lnTo>
                    <a:pt x="4528" y="856"/>
                  </a:lnTo>
                  <a:lnTo>
                    <a:pt x="4504" y="856"/>
                  </a:lnTo>
                  <a:lnTo>
                    <a:pt x="4476" y="860"/>
                  </a:lnTo>
                  <a:lnTo>
                    <a:pt x="4448" y="864"/>
                  </a:lnTo>
                  <a:lnTo>
                    <a:pt x="4420" y="868"/>
                  </a:lnTo>
                  <a:lnTo>
                    <a:pt x="4396" y="870"/>
                  </a:lnTo>
                  <a:lnTo>
                    <a:pt x="4374" y="868"/>
                  </a:lnTo>
                  <a:lnTo>
                    <a:pt x="4358" y="866"/>
                  </a:lnTo>
                  <a:lnTo>
                    <a:pt x="4342" y="860"/>
                  </a:lnTo>
                  <a:lnTo>
                    <a:pt x="4328" y="854"/>
                  </a:lnTo>
                  <a:lnTo>
                    <a:pt x="4318" y="848"/>
                  </a:lnTo>
                  <a:lnTo>
                    <a:pt x="4308" y="840"/>
                  </a:lnTo>
                  <a:lnTo>
                    <a:pt x="4292" y="822"/>
                  </a:lnTo>
                  <a:lnTo>
                    <a:pt x="4278" y="804"/>
                  </a:lnTo>
                  <a:lnTo>
                    <a:pt x="4264" y="788"/>
                  </a:lnTo>
                  <a:lnTo>
                    <a:pt x="4256" y="782"/>
                  </a:lnTo>
                  <a:lnTo>
                    <a:pt x="4246" y="778"/>
                  </a:lnTo>
                  <a:lnTo>
                    <a:pt x="4228" y="772"/>
                  </a:lnTo>
                  <a:lnTo>
                    <a:pt x="4214" y="768"/>
                  </a:lnTo>
                  <a:lnTo>
                    <a:pt x="4186" y="768"/>
                  </a:lnTo>
                  <a:lnTo>
                    <a:pt x="4154" y="764"/>
                  </a:lnTo>
                  <a:lnTo>
                    <a:pt x="4130" y="762"/>
                  </a:lnTo>
                  <a:lnTo>
                    <a:pt x="4100" y="754"/>
                  </a:lnTo>
                  <a:lnTo>
                    <a:pt x="4068" y="748"/>
                  </a:lnTo>
                  <a:lnTo>
                    <a:pt x="4044" y="744"/>
                  </a:lnTo>
                  <a:lnTo>
                    <a:pt x="4002" y="740"/>
                  </a:lnTo>
                  <a:lnTo>
                    <a:pt x="3964" y="738"/>
                  </a:lnTo>
                  <a:lnTo>
                    <a:pt x="3944" y="734"/>
                  </a:lnTo>
                  <a:lnTo>
                    <a:pt x="3922" y="730"/>
                  </a:lnTo>
                  <a:lnTo>
                    <a:pt x="3902" y="724"/>
                  </a:lnTo>
                  <a:lnTo>
                    <a:pt x="3892" y="724"/>
                  </a:lnTo>
                  <a:lnTo>
                    <a:pt x="3892" y="726"/>
                  </a:lnTo>
                  <a:lnTo>
                    <a:pt x="3890" y="728"/>
                  </a:lnTo>
                  <a:lnTo>
                    <a:pt x="3890" y="734"/>
                  </a:lnTo>
                  <a:lnTo>
                    <a:pt x="3892" y="740"/>
                  </a:lnTo>
                  <a:lnTo>
                    <a:pt x="3890" y="744"/>
                  </a:lnTo>
                  <a:lnTo>
                    <a:pt x="3888" y="746"/>
                  </a:lnTo>
                  <a:lnTo>
                    <a:pt x="3882" y="750"/>
                  </a:lnTo>
                  <a:lnTo>
                    <a:pt x="3876" y="752"/>
                  </a:lnTo>
                  <a:lnTo>
                    <a:pt x="3854" y="754"/>
                  </a:lnTo>
                  <a:lnTo>
                    <a:pt x="3842" y="756"/>
                  </a:lnTo>
                  <a:lnTo>
                    <a:pt x="3834" y="758"/>
                  </a:lnTo>
                  <a:lnTo>
                    <a:pt x="3830" y="764"/>
                  </a:lnTo>
                  <a:lnTo>
                    <a:pt x="3830" y="768"/>
                  </a:lnTo>
                  <a:lnTo>
                    <a:pt x="3832" y="776"/>
                  </a:lnTo>
                  <a:lnTo>
                    <a:pt x="3836" y="782"/>
                  </a:lnTo>
                  <a:lnTo>
                    <a:pt x="3846" y="798"/>
                  </a:lnTo>
                  <a:lnTo>
                    <a:pt x="3856" y="812"/>
                  </a:lnTo>
                  <a:lnTo>
                    <a:pt x="3860" y="818"/>
                  </a:lnTo>
                  <a:lnTo>
                    <a:pt x="3862" y="822"/>
                  </a:lnTo>
                  <a:lnTo>
                    <a:pt x="3860" y="826"/>
                  </a:lnTo>
                  <a:lnTo>
                    <a:pt x="3856" y="828"/>
                  </a:lnTo>
                  <a:lnTo>
                    <a:pt x="3848" y="826"/>
                  </a:lnTo>
                  <a:lnTo>
                    <a:pt x="3836" y="824"/>
                  </a:lnTo>
                  <a:lnTo>
                    <a:pt x="3810" y="818"/>
                  </a:lnTo>
                  <a:lnTo>
                    <a:pt x="3792" y="818"/>
                  </a:lnTo>
                  <a:lnTo>
                    <a:pt x="3778" y="818"/>
                  </a:lnTo>
                  <a:lnTo>
                    <a:pt x="3770" y="820"/>
                  </a:lnTo>
                  <a:lnTo>
                    <a:pt x="3760" y="824"/>
                  </a:lnTo>
                  <a:lnTo>
                    <a:pt x="3750" y="824"/>
                  </a:lnTo>
                  <a:lnTo>
                    <a:pt x="3736" y="824"/>
                  </a:lnTo>
                  <a:lnTo>
                    <a:pt x="3716" y="820"/>
                  </a:lnTo>
                  <a:lnTo>
                    <a:pt x="3704" y="818"/>
                  </a:lnTo>
                  <a:lnTo>
                    <a:pt x="3694" y="818"/>
                  </a:lnTo>
                  <a:lnTo>
                    <a:pt x="3686" y="818"/>
                  </a:lnTo>
                  <a:lnTo>
                    <a:pt x="3676" y="820"/>
                  </a:lnTo>
                  <a:lnTo>
                    <a:pt x="3662" y="826"/>
                  </a:lnTo>
                  <a:lnTo>
                    <a:pt x="3650" y="832"/>
                  </a:lnTo>
                  <a:lnTo>
                    <a:pt x="3638" y="836"/>
                  </a:lnTo>
                  <a:lnTo>
                    <a:pt x="3632" y="838"/>
                  </a:lnTo>
                  <a:lnTo>
                    <a:pt x="3624" y="836"/>
                  </a:lnTo>
                  <a:lnTo>
                    <a:pt x="3616" y="836"/>
                  </a:lnTo>
                  <a:lnTo>
                    <a:pt x="3608" y="832"/>
                  </a:lnTo>
                  <a:lnTo>
                    <a:pt x="3598" y="826"/>
                  </a:lnTo>
                  <a:lnTo>
                    <a:pt x="3586" y="818"/>
                  </a:lnTo>
                  <a:lnTo>
                    <a:pt x="3576" y="812"/>
                  </a:lnTo>
                  <a:lnTo>
                    <a:pt x="3566" y="810"/>
                  </a:lnTo>
                  <a:lnTo>
                    <a:pt x="3558" y="810"/>
                  </a:lnTo>
                  <a:lnTo>
                    <a:pt x="3552" y="814"/>
                  </a:lnTo>
                  <a:lnTo>
                    <a:pt x="3546" y="820"/>
                  </a:lnTo>
                  <a:lnTo>
                    <a:pt x="3540" y="828"/>
                  </a:lnTo>
                  <a:lnTo>
                    <a:pt x="3530" y="848"/>
                  </a:lnTo>
                  <a:lnTo>
                    <a:pt x="3520" y="864"/>
                  </a:lnTo>
                  <a:lnTo>
                    <a:pt x="3514" y="872"/>
                  </a:lnTo>
                  <a:lnTo>
                    <a:pt x="3508" y="876"/>
                  </a:lnTo>
                  <a:lnTo>
                    <a:pt x="3500" y="878"/>
                  </a:lnTo>
                  <a:lnTo>
                    <a:pt x="3492" y="878"/>
                  </a:lnTo>
                  <a:lnTo>
                    <a:pt x="3482" y="872"/>
                  </a:lnTo>
                  <a:lnTo>
                    <a:pt x="3470" y="864"/>
                  </a:lnTo>
                  <a:lnTo>
                    <a:pt x="3428" y="824"/>
                  </a:lnTo>
                  <a:lnTo>
                    <a:pt x="3402" y="796"/>
                  </a:lnTo>
                  <a:lnTo>
                    <a:pt x="3390" y="784"/>
                  </a:lnTo>
                  <a:lnTo>
                    <a:pt x="3380" y="776"/>
                  </a:lnTo>
                  <a:lnTo>
                    <a:pt x="3368" y="768"/>
                  </a:lnTo>
                  <a:lnTo>
                    <a:pt x="3352" y="762"/>
                  </a:lnTo>
                  <a:lnTo>
                    <a:pt x="3346" y="760"/>
                  </a:lnTo>
                  <a:lnTo>
                    <a:pt x="3342" y="760"/>
                  </a:lnTo>
                  <a:lnTo>
                    <a:pt x="3338" y="762"/>
                  </a:lnTo>
                  <a:lnTo>
                    <a:pt x="3338" y="764"/>
                  </a:lnTo>
                  <a:lnTo>
                    <a:pt x="3340" y="772"/>
                  </a:lnTo>
                  <a:lnTo>
                    <a:pt x="3344" y="782"/>
                  </a:lnTo>
                  <a:lnTo>
                    <a:pt x="3348" y="792"/>
                  </a:lnTo>
                  <a:lnTo>
                    <a:pt x="3350" y="798"/>
                  </a:lnTo>
                  <a:lnTo>
                    <a:pt x="3348" y="798"/>
                  </a:lnTo>
                  <a:lnTo>
                    <a:pt x="3346" y="798"/>
                  </a:lnTo>
                  <a:lnTo>
                    <a:pt x="3336" y="790"/>
                  </a:lnTo>
                  <a:lnTo>
                    <a:pt x="3318" y="778"/>
                  </a:lnTo>
                  <a:lnTo>
                    <a:pt x="3296" y="766"/>
                  </a:lnTo>
                  <a:lnTo>
                    <a:pt x="3270" y="754"/>
                  </a:lnTo>
                  <a:lnTo>
                    <a:pt x="3242" y="744"/>
                  </a:lnTo>
                  <a:lnTo>
                    <a:pt x="3208" y="734"/>
                  </a:lnTo>
                  <a:lnTo>
                    <a:pt x="3170" y="728"/>
                  </a:lnTo>
                  <a:lnTo>
                    <a:pt x="3128" y="722"/>
                  </a:lnTo>
                  <a:lnTo>
                    <a:pt x="3082" y="716"/>
                  </a:lnTo>
                  <a:lnTo>
                    <a:pt x="3030" y="712"/>
                  </a:lnTo>
                  <a:lnTo>
                    <a:pt x="3012" y="708"/>
                  </a:lnTo>
                  <a:lnTo>
                    <a:pt x="3000" y="704"/>
                  </a:lnTo>
                  <a:lnTo>
                    <a:pt x="2994" y="702"/>
                  </a:lnTo>
                  <a:lnTo>
                    <a:pt x="2992" y="698"/>
                  </a:lnTo>
                  <a:lnTo>
                    <a:pt x="2992" y="694"/>
                  </a:lnTo>
                  <a:lnTo>
                    <a:pt x="2994" y="690"/>
                  </a:lnTo>
                  <a:lnTo>
                    <a:pt x="3002" y="684"/>
                  </a:lnTo>
                  <a:lnTo>
                    <a:pt x="3008" y="678"/>
                  </a:lnTo>
                  <a:lnTo>
                    <a:pt x="3008" y="676"/>
                  </a:lnTo>
                  <a:lnTo>
                    <a:pt x="3006" y="674"/>
                  </a:lnTo>
                  <a:lnTo>
                    <a:pt x="3002" y="672"/>
                  </a:lnTo>
                  <a:lnTo>
                    <a:pt x="2992" y="670"/>
                  </a:lnTo>
                  <a:lnTo>
                    <a:pt x="2946" y="666"/>
                  </a:lnTo>
                  <a:lnTo>
                    <a:pt x="2904" y="664"/>
                  </a:lnTo>
                  <a:lnTo>
                    <a:pt x="2864" y="664"/>
                  </a:lnTo>
                  <a:lnTo>
                    <a:pt x="2844" y="666"/>
                  </a:lnTo>
                  <a:lnTo>
                    <a:pt x="2822" y="670"/>
                  </a:lnTo>
                  <a:lnTo>
                    <a:pt x="2814" y="670"/>
                  </a:lnTo>
                  <a:lnTo>
                    <a:pt x="2806" y="670"/>
                  </a:lnTo>
                  <a:lnTo>
                    <a:pt x="2800" y="670"/>
                  </a:lnTo>
                  <a:lnTo>
                    <a:pt x="2794" y="668"/>
                  </a:lnTo>
                  <a:lnTo>
                    <a:pt x="2790" y="662"/>
                  </a:lnTo>
                  <a:lnTo>
                    <a:pt x="2786" y="654"/>
                  </a:lnTo>
                  <a:lnTo>
                    <a:pt x="2784" y="648"/>
                  </a:lnTo>
                  <a:lnTo>
                    <a:pt x="2780" y="644"/>
                  </a:lnTo>
                  <a:lnTo>
                    <a:pt x="2778" y="642"/>
                  </a:lnTo>
                  <a:lnTo>
                    <a:pt x="2774" y="642"/>
                  </a:lnTo>
                  <a:lnTo>
                    <a:pt x="2762" y="648"/>
                  </a:lnTo>
                  <a:lnTo>
                    <a:pt x="2748" y="654"/>
                  </a:lnTo>
                  <a:lnTo>
                    <a:pt x="2738" y="654"/>
                  </a:lnTo>
                  <a:lnTo>
                    <a:pt x="2730" y="652"/>
                  </a:lnTo>
                  <a:lnTo>
                    <a:pt x="2722" y="648"/>
                  </a:lnTo>
                  <a:lnTo>
                    <a:pt x="2714" y="644"/>
                  </a:lnTo>
                  <a:lnTo>
                    <a:pt x="2704" y="640"/>
                  </a:lnTo>
                  <a:lnTo>
                    <a:pt x="2692" y="638"/>
                  </a:lnTo>
                  <a:lnTo>
                    <a:pt x="2676" y="640"/>
                  </a:lnTo>
                  <a:lnTo>
                    <a:pt x="2660" y="644"/>
                  </a:lnTo>
                  <a:lnTo>
                    <a:pt x="2652" y="650"/>
                  </a:lnTo>
                  <a:lnTo>
                    <a:pt x="2650" y="658"/>
                  </a:lnTo>
                  <a:lnTo>
                    <a:pt x="2648" y="664"/>
                  </a:lnTo>
                  <a:lnTo>
                    <a:pt x="2642" y="672"/>
                  </a:lnTo>
                  <a:lnTo>
                    <a:pt x="2634" y="680"/>
                  </a:lnTo>
                  <a:lnTo>
                    <a:pt x="2614" y="686"/>
                  </a:lnTo>
                  <a:lnTo>
                    <a:pt x="2586" y="692"/>
                  </a:lnTo>
                  <a:lnTo>
                    <a:pt x="2554" y="696"/>
                  </a:lnTo>
                  <a:lnTo>
                    <a:pt x="2530" y="698"/>
                  </a:lnTo>
                  <a:lnTo>
                    <a:pt x="2516" y="696"/>
                  </a:lnTo>
                  <a:lnTo>
                    <a:pt x="2512" y="694"/>
                  </a:lnTo>
                  <a:lnTo>
                    <a:pt x="2512" y="692"/>
                  </a:lnTo>
                  <a:lnTo>
                    <a:pt x="2512" y="690"/>
                  </a:lnTo>
                  <a:lnTo>
                    <a:pt x="2516" y="686"/>
                  </a:lnTo>
                  <a:lnTo>
                    <a:pt x="2528" y="676"/>
                  </a:lnTo>
                  <a:lnTo>
                    <a:pt x="2550" y="666"/>
                  </a:lnTo>
                  <a:lnTo>
                    <a:pt x="2580" y="652"/>
                  </a:lnTo>
                  <a:lnTo>
                    <a:pt x="2610" y="640"/>
                  </a:lnTo>
                  <a:lnTo>
                    <a:pt x="2632" y="628"/>
                  </a:lnTo>
                  <a:lnTo>
                    <a:pt x="2660" y="610"/>
                  </a:lnTo>
                  <a:lnTo>
                    <a:pt x="2672" y="602"/>
                  </a:lnTo>
                  <a:lnTo>
                    <a:pt x="2688" y="594"/>
                  </a:lnTo>
                  <a:lnTo>
                    <a:pt x="2706" y="586"/>
                  </a:lnTo>
                  <a:lnTo>
                    <a:pt x="2734" y="576"/>
                  </a:lnTo>
                  <a:lnTo>
                    <a:pt x="2762" y="566"/>
                  </a:lnTo>
                  <a:lnTo>
                    <a:pt x="2782" y="554"/>
                  </a:lnTo>
                  <a:lnTo>
                    <a:pt x="2788" y="548"/>
                  </a:lnTo>
                  <a:lnTo>
                    <a:pt x="2794" y="542"/>
                  </a:lnTo>
                  <a:lnTo>
                    <a:pt x="2802" y="528"/>
                  </a:lnTo>
                  <a:lnTo>
                    <a:pt x="2806" y="514"/>
                  </a:lnTo>
                  <a:lnTo>
                    <a:pt x="2806" y="502"/>
                  </a:lnTo>
                  <a:lnTo>
                    <a:pt x="2802" y="490"/>
                  </a:lnTo>
                  <a:lnTo>
                    <a:pt x="2798" y="478"/>
                  </a:lnTo>
                  <a:lnTo>
                    <a:pt x="2792" y="470"/>
                  </a:lnTo>
                  <a:lnTo>
                    <a:pt x="2784" y="464"/>
                  </a:lnTo>
                  <a:lnTo>
                    <a:pt x="2776" y="462"/>
                  </a:lnTo>
                  <a:lnTo>
                    <a:pt x="2768" y="460"/>
                  </a:lnTo>
                  <a:lnTo>
                    <a:pt x="2748" y="454"/>
                  </a:lnTo>
                  <a:lnTo>
                    <a:pt x="2738" y="448"/>
                  </a:lnTo>
                  <a:lnTo>
                    <a:pt x="2724" y="438"/>
                  </a:lnTo>
                  <a:lnTo>
                    <a:pt x="2712" y="430"/>
                  </a:lnTo>
                  <a:lnTo>
                    <a:pt x="2700" y="426"/>
                  </a:lnTo>
                  <a:lnTo>
                    <a:pt x="2686" y="424"/>
                  </a:lnTo>
                  <a:lnTo>
                    <a:pt x="2672" y="424"/>
                  </a:lnTo>
                  <a:lnTo>
                    <a:pt x="2644" y="428"/>
                  </a:lnTo>
                  <a:lnTo>
                    <a:pt x="2628" y="428"/>
                  </a:lnTo>
                  <a:lnTo>
                    <a:pt x="2612" y="426"/>
                  </a:lnTo>
                  <a:lnTo>
                    <a:pt x="2598" y="424"/>
                  </a:lnTo>
                  <a:lnTo>
                    <a:pt x="2590" y="424"/>
                  </a:lnTo>
                  <a:lnTo>
                    <a:pt x="2582" y="426"/>
                  </a:lnTo>
                  <a:lnTo>
                    <a:pt x="2578" y="428"/>
                  </a:lnTo>
                  <a:lnTo>
                    <a:pt x="2574" y="432"/>
                  </a:lnTo>
                  <a:lnTo>
                    <a:pt x="2566" y="436"/>
                  </a:lnTo>
                  <a:lnTo>
                    <a:pt x="2554" y="440"/>
                  </a:lnTo>
                  <a:lnTo>
                    <a:pt x="2538" y="444"/>
                  </a:lnTo>
                  <a:lnTo>
                    <a:pt x="2516" y="444"/>
                  </a:lnTo>
                  <a:lnTo>
                    <a:pt x="2512" y="444"/>
                  </a:lnTo>
                  <a:lnTo>
                    <a:pt x="2512" y="442"/>
                  </a:lnTo>
                  <a:lnTo>
                    <a:pt x="2516" y="436"/>
                  </a:lnTo>
                  <a:lnTo>
                    <a:pt x="2528" y="428"/>
                  </a:lnTo>
                  <a:lnTo>
                    <a:pt x="2538" y="420"/>
                  </a:lnTo>
                  <a:lnTo>
                    <a:pt x="2540" y="416"/>
                  </a:lnTo>
                  <a:lnTo>
                    <a:pt x="2542" y="412"/>
                  </a:lnTo>
                  <a:lnTo>
                    <a:pt x="2540" y="410"/>
                  </a:lnTo>
                  <a:lnTo>
                    <a:pt x="2534" y="406"/>
                  </a:lnTo>
                  <a:lnTo>
                    <a:pt x="2524" y="404"/>
                  </a:lnTo>
                  <a:lnTo>
                    <a:pt x="2508" y="402"/>
                  </a:lnTo>
                  <a:lnTo>
                    <a:pt x="2478" y="400"/>
                  </a:lnTo>
                  <a:lnTo>
                    <a:pt x="2458" y="398"/>
                  </a:lnTo>
                  <a:lnTo>
                    <a:pt x="2448" y="394"/>
                  </a:lnTo>
                  <a:lnTo>
                    <a:pt x="2446" y="394"/>
                  </a:lnTo>
                  <a:lnTo>
                    <a:pt x="2446" y="392"/>
                  </a:lnTo>
                  <a:lnTo>
                    <a:pt x="2450" y="388"/>
                  </a:lnTo>
                  <a:lnTo>
                    <a:pt x="2458" y="386"/>
                  </a:lnTo>
                  <a:lnTo>
                    <a:pt x="2486" y="378"/>
                  </a:lnTo>
                  <a:lnTo>
                    <a:pt x="2492" y="376"/>
                  </a:lnTo>
                  <a:lnTo>
                    <a:pt x="2496" y="374"/>
                  </a:lnTo>
                  <a:lnTo>
                    <a:pt x="2496" y="370"/>
                  </a:lnTo>
                  <a:lnTo>
                    <a:pt x="2496" y="366"/>
                  </a:lnTo>
                  <a:lnTo>
                    <a:pt x="2492" y="364"/>
                  </a:lnTo>
                  <a:lnTo>
                    <a:pt x="2486" y="360"/>
                  </a:lnTo>
                  <a:lnTo>
                    <a:pt x="2470" y="352"/>
                  </a:lnTo>
                  <a:lnTo>
                    <a:pt x="2448" y="348"/>
                  </a:lnTo>
                  <a:lnTo>
                    <a:pt x="2422" y="348"/>
                  </a:lnTo>
                  <a:lnTo>
                    <a:pt x="2408" y="348"/>
                  </a:lnTo>
                  <a:lnTo>
                    <a:pt x="2392" y="352"/>
                  </a:lnTo>
                  <a:lnTo>
                    <a:pt x="2378" y="356"/>
                  </a:lnTo>
                  <a:lnTo>
                    <a:pt x="2362" y="362"/>
                  </a:lnTo>
                  <a:lnTo>
                    <a:pt x="2342" y="370"/>
                  </a:lnTo>
                  <a:lnTo>
                    <a:pt x="2326" y="380"/>
                  </a:lnTo>
                  <a:lnTo>
                    <a:pt x="2314" y="388"/>
                  </a:lnTo>
                  <a:lnTo>
                    <a:pt x="2304" y="396"/>
                  </a:lnTo>
                  <a:lnTo>
                    <a:pt x="2296" y="402"/>
                  </a:lnTo>
                  <a:lnTo>
                    <a:pt x="2292" y="408"/>
                  </a:lnTo>
                  <a:lnTo>
                    <a:pt x="2286" y="420"/>
                  </a:lnTo>
                  <a:lnTo>
                    <a:pt x="2284" y="428"/>
                  </a:lnTo>
                  <a:lnTo>
                    <a:pt x="2280" y="434"/>
                  </a:lnTo>
                  <a:lnTo>
                    <a:pt x="2276" y="436"/>
                  </a:lnTo>
                  <a:lnTo>
                    <a:pt x="2272" y="438"/>
                  </a:lnTo>
                  <a:lnTo>
                    <a:pt x="2256" y="440"/>
                  </a:lnTo>
                  <a:lnTo>
                    <a:pt x="2224" y="442"/>
                  </a:lnTo>
                  <a:lnTo>
                    <a:pt x="2208" y="444"/>
                  </a:lnTo>
                  <a:lnTo>
                    <a:pt x="2206" y="444"/>
                  </a:lnTo>
                  <a:lnTo>
                    <a:pt x="2206" y="446"/>
                  </a:lnTo>
                  <a:lnTo>
                    <a:pt x="2206" y="448"/>
                  </a:lnTo>
                  <a:lnTo>
                    <a:pt x="2210" y="452"/>
                  </a:lnTo>
                  <a:lnTo>
                    <a:pt x="2208" y="456"/>
                  </a:lnTo>
                  <a:lnTo>
                    <a:pt x="2206" y="458"/>
                  </a:lnTo>
                  <a:lnTo>
                    <a:pt x="2192" y="464"/>
                  </a:lnTo>
                  <a:lnTo>
                    <a:pt x="2162" y="472"/>
                  </a:lnTo>
                  <a:lnTo>
                    <a:pt x="2132" y="478"/>
                  </a:lnTo>
                  <a:lnTo>
                    <a:pt x="2118" y="478"/>
                  </a:lnTo>
                  <a:lnTo>
                    <a:pt x="2114" y="476"/>
                  </a:lnTo>
                  <a:lnTo>
                    <a:pt x="2112" y="474"/>
                  </a:lnTo>
                  <a:lnTo>
                    <a:pt x="2112" y="470"/>
                  </a:lnTo>
                  <a:lnTo>
                    <a:pt x="2110" y="468"/>
                  </a:lnTo>
                  <a:lnTo>
                    <a:pt x="2108" y="464"/>
                  </a:lnTo>
                  <a:lnTo>
                    <a:pt x="2106" y="462"/>
                  </a:lnTo>
                  <a:lnTo>
                    <a:pt x="2098" y="462"/>
                  </a:lnTo>
                  <a:lnTo>
                    <a:pt x="2076" y="460"/>
                  </a:lnTo>
                  <a:lnTo>
                    <a:pt x="2034" y="464"/>
                  </a:lnTo>
                  <a:lnTo>
                    <a:pt x="1994" y="472"/>
                  </a:lnTo>
                  <a:lnTo>
                    <a:pt x="1982" y="474"/>
                  </a:lnTo>
                  <a:lnTo>
                    <a:pt x="1974" y="478"/>
                  </a:lnTo>
                  <a:lnTo>
                    <a:pt x="1970" y="482"/>
                  </a:lnTo>
                  <a:lnTo>
                    <a:pt x="1968" y="484"/>
                  </a:lnTo>
                  <a:lnTo>
                    <a:pt x="1970" y="490"/>
                  </a:lnTo>
                  <a:lnTo>
                    <a:pt x="1970" y="494"/>
                  </a:lnTo>
                  <a:lnTo>
                    <a:pt x="1970" y="496"/>
                  </a:lnTo>
                  <a:lnTo>
                    <a:pt x="1968" y="500"/>
                  </a:lnTo>
                  <a:lnTo>
                    <a:pt x="1964" y="502"/>
                  </a:lnTo>
                  <a:lnTo>
                    <a:pt x="1954" y="504"/>
                  </a:lnTo>
                  <a:lnTo>
                    <a:pt x="1942" y="506"/>
                  </a:lnTo>
                  <a:lnTo>
                    <a:pt x="1898" y="512"/>
                  </a:lnTo>
                  <a:lnTo>
                    <a:pt x="1850" y="516"/>
                  </a:lnTo>
                  <a:lnTo>
                    <a:pt x="1818" y="522"/>
                  </a:lnTo>
                  <a:lnTo>
                    <a:pt x="1800" y="526"/>
                  </a:lnTo>
                  <a:lnTo>
                    <a:pt x="1790" y="532"/>
                  </a:lnTo>
                  <a:lnTo>
                    <a:pt x="1784" y="538"/>
                  </a:lnTo>
                  <a:lnTo>
                    <a:pt x="1776" y="542"/>
                  </a:lnTo>
                  <a:lnTo>
                    <a:pt x="1764" y="546"/>
                  </a:lnTo>
                  <a:lnTo>
                    <a:pt x="1742" y="550"/>
                  </a:lnTo>
                  <a:lnTo>
                    <a:pt x="1728" y="550"/>
                  </a:lnTo>
                  <a:lnTo>
                    <a:pt x="1718" y="554"/>
                  </a:lnTo>
                  <a:lnTo>
                    <a:pt x="1708" y="558"/>
                  </a:lnTo>
                  <a:lnTo>
                    <a:pt x="1698" y="562"/>
                  </a:lnTo>
                  <a:lnTo>
                    <a:pt x="1692" y="566"/>
                  </a:lnTo>
                  <a:lnTo>
                    <a:pt x="1686" y="572"/>
                  </a:lnTo>
                  <a:lnTo>
                    <a:pt x="1682" y="578"/>
                  </a:lnTo>
                  <a:lnTo>
                    <a:pt x="1680" y="584"/>
                  </a:lnTo>
                  <a:lnTo>
                    <a:pt x="1678" y="590"/>
                  </a:lnTo>
                  <a:lnTo>
                    <a:pt x="1678" y="596"/>
                  </a:lnTo>
                  <a:lnTo>
                    <a:pt x="1680" y="602"/>
                  </a:lnTo>
                  <a:lnTo>
                    <a:pt x="1682" y="608"/>
                  </a:lnTo>
                  <a:lnTo>
                    <a:pt x="1686" y="612"/>
                  </a:lnTo>
                  <a:lnTo>
                    <a:pt x="1690" y="616"/>
                  </a:lnTo>
                  <a:lnTo>
                    <a:pt x="1696" y="618"/>
                  </a:lnTo>
                  <a:lnTo>
                    <a:pt x="1704" y="620"/>
                  </a:lnTo>
                  <a:lnTo>
                    <a:pt x="1716" y="622"/>
                  </a:lnTo>
                  <a:lnTo>
                    <a:pt x="1724" y="624"/>
                  </a:lnTo>
                  <a:lnTo>
                    <a:pt x="1726" y="628"/>
                  </a:lnTo>
                  <a:lnTo>
                    <a:pt x="1724" y="634"/>
                  </a:lnTo>
                  <a:lnTo>
                    <a:pt x="1716" y="638"/>
                  </a:lnTo>
                  <a:lnTo>
                    <a:pt x="1704" y="644"/>
                  </a:lnTo>
                  <a:lnTo>
                    <a:pt x="1690" y="648"/>
                  </a:lnTo>
                  <a:lnTo>
                    <a:pt x="1672" y="652"/>
                  </a:lnTo>
                  <a:lnTo>
                    <a:pt x="1638" y="658"/>
                  </a:lnTo>
                  <a:lnTo>
                    <a:pt x="1604" y="662"/>
                  </a:lnTo>
                  <a:lnTo>
                    <a:pt x="1542" y="662"/>
                  </a:lnTo>
                  <a:lnTo>
                    <a:pt x="1514" y="662"/>
                  </a:lnTo>
                  <a:lnTo>
                    <a:pt x="1490" y="666"/>
                  </a:lnTo>
                  <a:lnTo>
                    <a:pt x="1480" y="668"/>
                  </a:lnTo>
                  <a:lnTo>
                    <a:pt x="1470" y="672"/>
                  </a:lnTo>
                  <a:lnTo>
                    <a:pt x="1462" y="676"/>
                  </a:lnTo>
                  <a:lnTo>
                    <a:pt x="1458" y="682"/>
                  </a:lnTo>
                  <a:lnTo>
                    <a:pt x="1450" y="692"/>
                  </a:lnTo>
                  <a:lnTo>
                    <a:pt x="1450" y="696"/>
                  </a:lnTo>
                  <a:lnTo>
                    <a:pt x="1452" y="698"/>
                  </a:lnTo>
                  <a:lnTo>
                    <a:pt x="1456" y="702"/>
                  </a:lnTo>
                  <a:lnTo>
                    <a:pt x="1462" y="704"/>
                  </a:lnTo>
                  <a:lnTo>
                    <a:pt x="1470" y="706"/>
                  </a:lnTo>
                  <a:lnTo>
                    <a:pt x="1476" y="710"/>
                  </a:lnTo>
                  <a:lnTo>
                    <a:pt x="1476" y="714"/>
                  </a:lnTo>
                  <a:lnTo>
                    <a:pt x="1476" y="718"/>
                  </a:lnTo>
                  <a:lnTo>
                    <a:pt x="1476" y="724"/>
                  </a:lnTo>
                  <a:lnTo>
                    <a:pt x="1472" y="732"/>
                  </a:lnTo>
                  <a:lnTo>
                    <a:pt x="1468" y="738"/>
                  </a:lnTo>
                  <a:lnTo>
                    <a:pt x="1468" y="744"/>
                  </a:lnTo>
                  <a:lnTo>
                    <a:pt x="1468" y="748"/>
                  </a:lnTo>
                  <a:lnTo>
                    <a:pt x="1472" y="752"/>
                  </a:lnTo>
                  <a:lnTo>
                    <a:pt x="1480" y="756"/>
                  </a:lnTo>
                  <a:lnTo>
                    <a:pt x="1492" y="758"/>
                  </a:lnTo>
                  <a:lnTo>
                    <a:pt x="1506" y="760"/>
                  </a:lnTo>
                  <a:lnTo>
                    <a:pt x="1520" y="764"/>
                  </a:lnTo>
                  <a:lnTo>
                    <a:pt x="1524" y="766"/>
                  </a:lnTo>
                  <a:lnTo>
                    <a:pt x="1528" y="770"/>
                  </a:lnTo>
                  <a:lnTo>
                    <a:pt x="1532" y="774"/>
                  </a:lnTo>
                  <a:lnTo>
                    <a:pt x="1532" y="780"/>
                  </a:lnTo>
                  <a:lnTo>
                    <a:pt x="1534" y="786"/>
                  </a:lnTo>
                  <a:lnTo>
                    <a:pt x="1536" y="790"/>
                  </a:lnTo>
                  <a:lnTo>
                    <a:pt x="1540" y="792"/>
                  </a:lnTo>
                  <a:lnTo>
                    <a:pt x="1546" y="794"/>
                  </a:lnTo>
                  <a:lnTo>
                    <a:pt x="1556" y="796"/>
                  </a:lnTo>
                  <a:lnTo>
                    <a:pt x="1568" y="796"/>
                  </a:lnTo>
                  <a:lnTo>
                    <a:pt x="1580" y="798"/>
                  </a:lnTo>
                  <a:lnTo>
                    <a:pt x="1584" y="800"/>
                  </a:lnTo>
                  <a:lnTo>
                    <a:pt x="1586" y="804"/>
                  </a:lnTo>
                  <a:lnTo>
                    <a:pt x="1588" y="806"/>
                  </a:lnTo>
                  <a:lnTo>
                    <a:pt x="1588" y="812"/>
                  </a:lnTo>
                  <a:lnTo>
                    <a:pt x="1586" y="818"/>
                  </a:lnTo>
                  <a:lnTo>
                    <a:pt x="1582" y="828"/>
                  </a:lnTo>
                  <a:lnTo>
                    <a:pt x="1578" y="836"/>
                  </a:lnTo>
                  <a:lnTo>
                    <a:pt x="1576" y="844"/>
                  </a:lnTo>
                  <a:lnTo>
                    <a:pt x="1576" y="852"/>
                  </a:lnTo>
                  <a:lnTo>
                    <a:pt x="1578" y="858"/>
                  </a:lnTo>
                  <a:lnTo>
                    <a:pt x="1582" y="868"/>
                  </a:lnTo>
                  <a:lnTo>
                    <a:pt x="1590" y="876"/>
                  </a:lnTo>
                  <a:lnTo>
                    <a:pt x="1596" y="882"/>
                  </a:lnTo>
                  <a:lnTo>
                    <a:pt x="1598" y="886"/>
                  </a:lnTo>
                  <a:lnTo>
                    <a:pt x="1598" y="890"/>
                  </a:lnTo>
                  <a:lnTo>
                    <a:pt x="1598" y="896"/>
                  </a:lnTo>
                  <a:lnTo>
                    <a:pt x="1596" y="900"/>
                  </a:lnTo>
                  <a:lnTo>
                    <a:pt x="1590" y="906"/>
                  </a:lnTo>
                  <a:lnTo>
                    <a:pt x="1584" y="912"/>
                  </a:lnTo>
                  <a:lnTo>
                    <a:pt x="1570" y="922"/>
                  </a:lnTo>
                  <a:lnTo>
                    <a:pt x="1566" y="924"/>
                  </a:lnTo>
                  <a:lnTo>
                    <a:pt x="1564" y="922"/>
                  </a:lnTo>
                  <a:lnTo>
                    <a:pt x="1566" y="912"/>
                  </a:lnTo>
                  <a:lnTo>
                    <a:pt x="1568" y="898"/>
                  </a:lnTo>
                  <a:lnTo>
                    <a:pt x="1572" y="884"/>
                  </a:lnTo>
                  <a:lnTo>
                    <a:pt x="1572" y="878"/>
                  </a:lnTo>
                  <a:lnTo>
                    <a:pt x="1572" y="872"/>
                  </a:lnTo>
                  <a:lnTo>
                    <a:pt x="1570" y="866"/>
                  </a:lnTo>
                  <a:lnTo>
                    <a:pt x="1566" y="864"/>
                  </a:lnTo>
                  <a:lnTo>
                    <a:pt x="1560" y="864"/>
                  </a:lnTo>
                  <a:lnTo>
                    <a:pt x="1552" y="866"/>
                  </a:lnTo>
                  <a:lnTo>
                    <a:pt x="1542" y="868"/>
                  </a:lnTo>
                  <a:lnTo>
                    <a:pt x="1538" y="868"/>
                  </a:lnTo>
                  <a:lnTo>
                    <a:pt x="1536" y="866"/>
                  </a:lnTo>
                  <a:lnTo>
                    <a:pt x="1536" y="864"/>
                  </a:lnTo>
                  <a:lnTo>
                    <a:pt x="1542" y="856"/>
                  </a:lnTo>
                  <a:lnTo>
                    <a:pt x="1550" y="844"/>
                  </a:lnTo>
                  <a:lnTo>
                    <a:pt x="1560" y="832"/>
                  </a:lnTo>
                  <a:lnTo>
                    <a:pt x="1562" y="826"/>
                  </a:lnTo>
                  <a:lnTo>
                    <a:pt x="1564" y="820"/>
                  </a:lnTo>
                  <a:lnTo>
                    <a:pt x="1562" y="816"/>
                  </a:lnTo>
                  <a:lnTo>
                    <a:pt x="1558" y="812"/>
                  </a:lnTo>
                  <a:lnTo>
                    <a:pt x="1552" y="810"/>
                  </a:lnTo>
                  <a:lnTo>
                    <a:pt x="1540" y="810"/>
                  </a:lnTo>
                  <a:lnTo>
                    <a:pt x="1518" y="810"/>
                  </a:lnTo>
                  <a:lnTo>
                    <a:pt x="1504" y="806"/>
                  </a:lnTo>
                  <a:lnTo>
                    <a:pt x="1492" y="798"/>
                  </a:lnTo>
                  <a:lnTo>
                    <a:pt x="1482" y="792"/>
                  </a:lnTo>
                  <a:lnTo>
                    <a:pt x="1472" y="782"/>
                  </a:lnTo>
                  <a:lnTo>
                    <a:pt x="1460" y="774"/>
                  </a:lnTo>
                  <a:lnTo>
                    <a:pt x="1442" y="768"/>
                  </a:lnTo>
                  <a:lnTo>
                    <a:pt x="1416" y="762"/>
                  </a:lnTo>
                  <a:lnTo>
                    <a:pt x="1400" y="760"/>
                  </a:lnTo>
                  <a:lnTo>
                    <a:pt x="1386" y="760"/>
                  </a:lnTo>
                  <a:lnTo>
                    <a:pt x="1374" y="760"/>
                  </a:lnTo>
                  <a:lnTo>
                    <a:pt x="1364" y="762"/>
                  </a:lnTo>
                  <a:lnTo>
                    <a:pt x="1358" y="764"/>
                  </a:lnTo>
                  <a:lnTo>
                    <a:pt x="1352" y="768"/>
                  </a:lnTo>
                  <a:lnTo>
                    <a:pt x="1346" y="776"/>
                  </a:lnTo>
                  <a:lnTo>
                    <a:pt x="1342" y="784"/>
                  </a:lnTo>
                  <a:lnTo>
                    <a:pt x="1340" y="790"/>
                  </a:lnTo>
                  <a:lnTo>
                    <a:pt x="1336" y="794"/>
                  </a:lnTo>
                  <a:lnTo>
                    <a:pt x="1334" y="794"/>
                  </a:lnTo>
                  <a:lnTo>
                    <a:pt x="1330" y="792"/>
                  </a:lnTo>
                  <a:lnTo>
                    <a:pt x="1316" y="788"/>
                  </a:lnTo>
                  <a:lnTo>
                    <a:pt x="1302" y="788"/>
                  </a:lnTo>
                  <a:lnTo>
                    <a:pt x="1292" y="792"/>
                  </a:lnTo>
                  <a:lnTo>
                    <a:pt x="1284" y="796"/>
                  </a:lnTo>
                  <a:lnTo>
                    <a:pt x="1282" y="800"/>
                  </a:lnTo>
                  <a:lnTo>
                    <a:pt x="1282" y="804"/>
                  </a:lnTo>
                  <a:lnTo>
                    <a:pt x="1282" y="808"/>
                  </a:lnTo>
                  <a:lnTo>
                    <a:pt x="1284" y="812"/>
                  </a:lnTo>
                  <a:lnTo>
                    <a:pt x="1288" y="816"/>
                  </a:lnTo>
                  <a:lnTo>
                    <a:pt x="1294" y="820"/>
                  </a:lnTo>
                  <a:lnTo>
                    <a:pt x="1314" y="828"/>
                  </a:lnTo>
                  <a:lnTo>
                    <a:pt x="1332" y="834"/>
                  </a:lnTo>
                  <a:lnTo>
                    <a:pt x="1342" y="840"/>
                  </a:lnTo>
                  <a:lnTo>
                    <a:pt x="1344" y="842"/>
                  </a:lnTo>
                  <a:lnTo>
                    <a:pt x="1344" y="844"/>
                  </a:lnTo>
                  <a:lnTo>
                    <a:pt x="1340" y="846"/>
                  </a:lnTo>
                  <a:lnTo>
                    <a:pt x="1332" y="848"/>
                  </a:lnTo>
                  <a:lnTo>
                    <a:pt x="1318" y="848"/>
                  </a:lnTo>
                  <a:lnTo>
                    <a:pt x="1280" y="844"/>
                  </a:lnTo>
                  <a:lnTo>
                    <a:pt x="1270" y="842"/>
                  </a:lnTo>
                  <a:lnTo>
                    <a:pt x="1264" y="840"/>
                  </a:lnTo>
                  <a:lnTo>
                    <a:pt x="1260" y="836"/>
                  </a:lnTo>
                  <a:lnTo>
                    <a:pt x="1256" y="830"/>
                  </a:lnTo>
                  <a:lnTo>
                    <a:pt x="1256" y="824"/>
                  </a:lnTo>
                  <a:lnTo>
                    <a:pt x="1256" y="818"/>
                  </a:lnTo>
                  <a:lnTo>
                    <a:pt x="1260" y="804"/>
                  </a:lnTo>
                  <a:lnTo>
                    <a:pt x="1264" y="788"/>
                  </a:lnTo>
                  <a:lnTo>
                    <a:pt x="1268" y="772"/>
                  </a:lnTo>
                  <a:lnTo>
                    <a:pt x="1270" y="758"/>
                  </a:lnTo>
                  <a:lnTo>
                    <a:pt x="1268" y="750"/>
                  </a:lnTo>
                  <a:lnTo>
                    <a:pt x="1266" y="744"/>
                  </a:lnTo>
                  <a:lnTo>
                    <a:pt x="1258" y="734"/>
                  </a:lnTo>
                  <a:lnTo>
                    <a:pt x="1250" y="726"/>
                  </a:lnTo>
                  <a:lnTo>
                    <a:pt x="1244" y="722"/>
                  </a:lnTo>
                  <a:lnTo>
                    <a:pt x="1240" y="722"/>
                  </a:lnTo>
                  <a:lnTo>
                    <a:pt x="1236" y="724"/>
                  </a:lnTo>
                  <a:lnTo>
                    <a:pt x="1234" y="730"/>
                  </a:lnTo>
                  <a:lnTo>
                    <a:pt x="1234" y="738"/>
                  </a:lnTo>
                  <a:lnTo>
                    <a:pt x="1238" y="752"/>
                  </a:lnTo>
                  <a:lnTo>
                    <a:pt x="1240" y="762"/>
                  </a:lnTo>
                  <a:lnTo>
                    <a:pt x="1238" y="772"/>
                  </a:lnTo>
                  <a:lnTo>
                    <a:pt x="1236" y="778"/>
                  </a:lnTo>
                  <a:lnTo>
                    <a:pt x="1230" y="784"/>
                  </a:lnTo>
                  <a:lnTo>
                    <a:pt x="1224" y="788"/>
                  </a:lnTo>
                  <a:lnTo>
                    <a:pt x="1216" y="792"/>
                  </a:lnTo>
                  <a:lnTo>
                    <a:pt x="1198" y="798"/>
                  </a:lnTo>
                  <a:lnTo>
                    <a:pt x="1182" y="804"/>
                  </a:lnTo>
                  <a:lnTo>
                    <a:pt x="1176" y="808"/>
                  </a:lnTo>
                  <a:lnTo>
                    <a:pt x="1170" y="812"/>
                  </a:lnTo>
                  <a:lnTo>
                    <a:pt x="1168" y="818"/>
                  </a:lnTo>
                  <a:lnTo>
                    <a:pt x="1168" y="824"/>
                  </a:lnTo>
                  <a:lnTo>
                    <a:pt x="1172" y="832"/>
                  </a:lnTo>
                  <a:lnTo>
                    <a:pt x="1178" y="842"/>
                  </a:lnTo>
                  <a:lnTo>
                    <a:pt x="1200" y="870"/>
                  </a:lnTo>
                  <a:lnTo>
                    <a:pt x="1208" y="878"/>
                  </a:lnTo>
                  <a:lnTo>
                    <a:pt x="1212" y="886"/>
                  </a:lnTo>
                  <a:lnTo>
                    <a:pt x="1212" y="894"/>
                  </a:lnTo>
                  <a:lnTo>
                    <a:pt x="1210" y="902"/>
                  </a:lnTo>
                  <a:lnTo>
                    <a:pt x="1204" y="912"/>
                  </a:lnTo>
                  <a:lnTo>
                    <a:pt x="1194" y="926"/>
                  </a:lnTo>
                  <a:lnTo>
                    <a:pt x="1184" y="940"/>
                  </a:lnTo>
                  <a:lnTo>
                    <a:pt x="1180" y="950"/>
                  </a:lnTo>
                  <a:lnTo>
                    <a:pt x="1180" y="956"/>
                  </a:lnTo>
                  <a:lnTo>
                    <a:pt x="1182" y="962"/>
                  </a:lnTo>
                  <a:lnTo>
                    <a:pt x="1190" y="974"/>
                  </a:lnTo>
                  <a:lnTo>
                    <a:pt x="1192" y="982"/>
                  </a:lnTo>
                  <a:lnTo>
                    <a:pt x="1194" y="992"/>
                  </a:lnTo>
                  <a:lnTo>
                    <a:pt x="1194" y="996"/>
                  </a:lnTo>
                  <a:lnTo>
                    <a:pt x="1196" y="1000"/>
                  </a:lnTo>
                  <a:lnTo>
                    <a:pt x="1200" y="1002"/>
                  </a:lnTo>
                  <a:lnTo>
                    <a:pt x="1204" y="1002"/>
                  </a:lnTo>
                  <a:lnTo>
                    <a:pt x="1218" y="1000"/>
                  </a:lnTo>
                  <a:lnTo>
                    <a:pt x="1234" y="996"/>
                  </a:lnTo>
                  <a:lnTo>
                    <a:pt x="1254" y="992"/>
                  </a:lnTo>
                  <a:lnTo>
                    <a:pt x="1276" y="992"/>
                  </a:lnTo>
                  <a:lnTo>
                    <a:pt x="1288" y="992"/>
                  </a:lnTo>
                  <a:lnTo>
                    <a:pt x="1298" y="994"/>
                  </a:lnTo>
                  <a:lnTo>
                    <a:pt x="1310" y="998"/>
                  </a:lnTo>
                  <a:lnTo>
                    <a:pt x="1322" y="1004"/>
                  </a:lnTo>
                  <a:lnTo>
                    <a:pt x="1340" y="1016"/>
                  </a:lnTo>
                  <a:lnTo>
                    <a:pt x="1352" y="1028"/>
                  </a:lnTo>
                  <a:lnTo>
                    <a:pt x="1358" y="1036"/>
                  </a:lnTo>
                  <a:lnTo>
                    <a:pt x="1360" y="1044"/>
                  </a:lnTo>
                  <a:lnTo>
                    <a:pt x="1360" y="1050"/>
                  </a:lnTo>
                  <a:lnTo>
                    <a:pt x="1356" y="1054"/>
                  </a:lnTo>
                  <a:lnTo>
                    <a:pt x="1350" y="1066"/>
                  </a:lnTo>
                  <a:lnTo>
                    <a:pt x="1342" y="1078"/>
                  </a:lnTo>
                  <a:lnTo>
                    <a:pt x="1334" y="1092"/>
                  </a:lnTo>
                  <a:lnTo>
                    <a:pt x="1332" y="1096"/>
                  </a:lnTo>
                  <a:lnTo>
                    <a:pt x="1330" y="1098"/>
                  </a:lnTo>
                  <a:lnTo>
                    <a:pt x="1330" y="1092"/>
                  </a:lnTo>
                  <a:lnTo>
                    <a:pt x="1332" y="1082"/>
                  </a:lnTo>
                  <a:lnTo>
                    <a:pt x="1334" y="1066"/>
                  </a:lnTo>
                  <a:lnTo>
                    <a:pt x="1334" y="1052"/>
                  </a:lnTo>
                  <a:lnTo>
                    <a:pt x="1330" y="1038"/>
                  </a:lnTo>
                  <a:lnTo>
                    <a:pt x="1322" y="1026"/>
                  </a:lnTo>
                  <a:lnTo>
                    <a:pt x="1318" y="1020"/>
                  </a:lnTo>
                  <a:lnTo>
                    <a:pt x="1312" y="1016"/>
                  </a:lnTo>
                  <a:lnTo>
                    <a:pt x="1304" y="1014"/>
                  </a:lnTo>
                  <a:lnTo>
                    <a:pt x="1298" y="1012"/>
                  </a:lnTo>
                  <a:lnTo>
                    <a:pt x="1288" y="1010"/>
                  </a:lnTo>
                  <a:lnTo>
                    <a:pt x="1278" y="1010"/>
                  </a:lnTo>
                  <a:lnTo>
                    <a:pt x="1266" y="1012"/>
                  </a:lnTo>
                  <a:lnTo>
                    <a:pt x="1254" y="1016"/>
                  </a:lnTo>
                  <a:lnTo>
                    <a:pt x="1242" y="1020"/>
                  </a:lnTo>
                  <a:lnTo>
                    <a:pt x="1234" y="1026"/>
                  </a:lnTo>
                  <a:lnTo>
                    <a:pt x="1228" y="1032"/>
                  </a:lnTo>
                  <a:lnTo>
                    <a:pt x="1224" y="1036"/>
                  </a:lnTo>
                  <a:lnTo>
                    <a:pt x="1222" y="1044"/>
                  </a:lnTo>
                  <a:lnTo>
                    <a:pt x="1222" y="1050"/>
                  </a:lnTo>
                  <a:lnTo>
                    <a:pt x="1226" y="1062"/>
                  </a:lnTo>
                  <a:lnTo>
                    <a:pt x="1230" y="1076"/>
                  </a:lnTo>
                  <a:lnTo>
                    <a:pt x="1234" y="1088"/>
                  </a:lnTo>
                  <a:lnTo>
                    <a:pt x="1234" y="1092"/>
                  </a:lnTo>
                  <a:lnTo>
                    <a:pt x="1232" y="1098"/>
                  </a:lnTo>
                  <a:lnTo>
                    <a:pt x="1228" y="1102"/>
                  </a:lnTo>
                  <a:lnTo>
                    <a:pt x="1222" y="1106"/>
                  </a:lnTo>
                  <a:lnTo>
                    <a:pt x="1210" y="1112"/>
                  </a:lnTo>
                  <a:lnTo>
                    <a:pt x="1202" y="1120"/>
                  </a:lnTo>
                  <a:lnTo>
                    <a:pt x="1198" y="1128"/>
                  </a:lnTo>
                  <a:lnTo>
                    <a:pt x="1196" y="1136"/>
                  </a:lnTo>
                  <a:lnTo>
                    <a:pt x="1194" y="1144"/>
                  </a:lnTo>
                  <a:lnTo>
                    <a:pt x="1188" y="1152"/>
                  </a:lnTo>
                  <a:lnTo>
                    <a:pt x="1180" y="1160"/>
                  </a:lnTo>
                  <a:lnTo>
                    <a:pt x="1166" y="1168"/>
                  </a:lnTo>
                  <a:lnTo>
                    <a:pt x="1152" y="1176"/>
                  </a:lnTo>
                  <a:lnTo>
                    <a:pt x="1144" y="1184"/>
                  </a:lnTo>
                  <a:lnTo>
                    <a:pt x="1136" y="1196"/>
                  </a:lnTo>
                  <a:lnTo>
                    <a:pt x="1130" y="1200"/>
                  </a:lnTo>
                  <a:lnTo>
                    <a:pt x="1118" y="1202"/>
                  </a:lnTo>
                  <a:lnTo>
                    <a:pt x="1100" y="1200"/>
                  </a:lnTo>
                  <a:lnTo>
                    <a:pt x="1070" y="1196"/>
                  </a:lnTo>
                  <a:lnTo>
                    <a:pt x="1044" y="1190"/>
                  </a:lnTo>
                  <a:lnTo>
                    <a:pt x="1036" y="1186"/>
                  </a:lnTo>
                  <a:lnTo>
                    <a:pt x="1040" y="1184"/>
                  </a:lnTo>
                  <a:lnTo>
                    <a:pt x="1052" y="1180"/>
                  </a:lnTo>
                  <a:lnTo>
                    <a:pt x="1072" y="1176"/>
                  </a:lnTo>
                  <a:lnTo>
                    <a:pt x="1094" y="1168"/>
                  </a:lnTo>
                  <a:lnTo>
                    <a:pt x="1104" y="1162"/>
                  </a:lnTo>
                  <a:lnTo>
                    <a:pt x="1114" y="1156"/>
                  </a:lnTo>
                  <a:lnTo>
                    <a:pt x="1122" y="1148"/>
                  </a:lnTo>
                  <a:lnTo>
                    <a:pt x="1128" y="1138"/>
                  </a:lnTo>
                  <a:lnTo>
                    <a:pt x="1138" y="1122"/>
                  </a:lnTo>
                  <a:lnTo>
                    <a:pt x="1146" y="1112"/>
                  </a:lnTo>
                  <a:lnTo>
                    <a:pt x="1154" y="1106"/>
                  </a:lnTo>
                  <a:lnTo>
                    <a:pt x="1160" y="1104"/>
                  </a:lnTo>
                  <a:lnTo>
                    <a:pt x="1166" y="1100"/>
                  </a:lnTo>
                  <a:lnTo>
                    <a:pt x="1170" y="1096"/>
                  </a:lnTo>
                  <a:lnTo>
                    <a:pt x="1174" y="1088"/>
                  </a:lnTo>
                  <a:lnTo>
                    <a:pt x="1176" y="1072"/>
                  </a:lnTo>
                  <a:lnTo>
                    <a:pt x="1176" y="1058"/>
                  </a:lnTo>
                  <a:lnTo>
                    <a:pt x="1174" y="1044"/>
                  </a:lnTo>
                  <a:lnTo>
                    <a:pt x="1166" y="1034"/>
                  </a:lnTo>
                  <a:lnTo>
                    <a:pt x="1160" y="1026"/>
                  </a:lnTo>
                  <a:lnTo>
                    <a:pt x="1152" y="1016"/>
                  </a:lnTo>
                  <a:lnTo>
                    <a:pt x="1146" y="1004"/>
                  </a:lnTo>
                  <a:lnTo>
                    <a:pt x="1142" y="988"/>
                  </a:lnTo>
                  <a:lnTo>
                    <a:pt x="1142" y="968"/>
                  </a:lnTo>
                  <a:lnTo>
                    <a:pt x="1150" y="928"/>
                  </a:lnTo>
                  <a:lnTo>
                    <a:pt x="1152" y="910"/>
                  </a:lnTo>
                  <a:lnTo>
                    <a:pt x="1154" y="896"/>
                  </a:lnTo>
                  <a:lnTo>
                    <a:pt x="1152" y="882"/>
                  </a:lnTo>
                  <a:lnTo>
                    <a:pt x="1148" y="868"/>
                  </a:lnTo>
                  <a:lnTo>
                    <a:pt x="1140" y="856"/>
                  </a:lnTo>
                  <a:lnTo>
                    <a:pt x="1126" y="844"/>
                  </a:lnTo>
                  <a:lnTo>
                    <a:pt x="1116" y="832"/>
                  </a:lnTo>
                  <a:lnTo>
                    <a:pt x="1114" y="828"/>
                  </a:lnTo>
                  <a:lnTo>
                    <a:pt x="1112" y="824"/>
                  </a:lnTo>
                  <a:lnTo>
                    <a:pt x="1114" y="822"/>
                  </a:lnTo>
                  <a:lnTo>
                    <a:pt x="1118" y="818"/>
                  </a:lnTo>
                  <a:lnTo>
                    <a:pt x="1126" y="812"/>
                  </a:lnTo>
                  <a:lnTo>
                    <a:pt x="1136" y="804"/>
                  </a:lnTo>
                  <a:lnTo>
                    <a:pt x="1146" y="796"/>
                  </a:lnTo>
                  <a:lnTo>
                    <a:pt x="1150" y="790"/>
                  </a:lnTo>
                  <a:lnTo>
                    <a:pt x="1154" y="782"/>
                  </a:lnTo>
                  <a:lnTo>
                    <a:pt x="1156" y="774"/>
                  </a:lnTo>
                  <a:lnTo>
                    <a:pt x="1156" y="764"/>
                  </a:lnTo>
                  <a:lnTo>
                    <a:pt x="1156" y="754"/>
                  </a:lnTo>
                  <a:lnTo>
                    <a:pt x="1152" y="744"/>
                  </a:lnTo>
                  <a:lnTo>
                    <a:pt x="1148" y="738"/>
                  </a:lnTo>
                  <a:lnTo>
                    <a:pt x="1142" y="732"/>
                  </a:lnTo>
                  <a:lnTo>
                    <a:pt x="1134" y="728"/>
                  </a:lnTo>
                  <a:lnTo>
                    <a:pt x="1126" y="724"/>
                  </a:lnTo>
                  <a:lnTo>
                    <a:pt x="1106" y="722"/>
                  </a:lnTo>
                  <a:lnTo>
                    <a:pt x="1086" y="722"/>
                  </a:lnTo>
                  <a:lnTo>
                    <a:pt x="1064" y="724"/>
                  </a:lnTo>
                  <a:lnTo>
                    <a:pt x="1044" y="724"/>
                  </a:lnTo>
                  <a:lnTo>
                    <a:pt x="1028" y="722"/>
                  </a:lnTo>
                  <a:lnTo>
                    <a:pt x="1020" y="722"/>
                  </a:lnTo>
                  <a:lnTo>
                    <a:pt x="1012" y="722"/>
                  </a:lnTo>
                  <a:lnTo>
                    <a:pt x="1006" y="726"/>
                  </a:lnTo>
                  <a:lnTo>
                    <a:pt x="1002" y="732"/>
                  </a:lnTo>
                  <a:lnTo>
                    <a:pt x="994" y="748"/>
                  </a:lnTo>
                  <a:lnTo>
                    <a:pt x="988" y="766"/>
                  </a:lnTo>
                  <a:lnTo>
                    <a:pt x="980" y="788"/>
                  </a:lnTo>
                  <a:lnTo>
                    <a:pt x="970" y="808"/>
                  </a:lnTo>
                  <a:lnTo>
                    <a:pt x="964" y="816"/>
                  </a:lnTo>
                  <a:lnTo>
                    <a:pt x="958" y="824"/>
                  </a:lnTo>
                  <a:lnTo>
                    <a:pt x="948" y="832"/>
                  </a:lnTo>
                  <a:lnTo>
                    <a:pt x="938" y="838"/>
                  </a:lnTo>
                  <a:lnTo>
                    <a:pt x="916" y="848"/>
                  </a:lnTo>
                  <a:lnTo>
                    <a:pt x="908" y="854"/>
                  </a:lnTo>
                  <a:lnTo>
                    <a:pt x="906" y="858"/>
                  </a:lnTo>
                  <a:lnTo>
                    <a:pt x="904" y="862"/>
                  </a:lnTo>
                  <a:lnTo>
                    <a:pt x="906" y="866"/>
                  </a:lnTo>
                  <a:lnTo>
                    <a:pt x="912" y="874"/>
                  </a:lnTo>
                  <a:lnTo>
                    <a:pt x="920" y="884"/>
                  </a:lnTo>
                  <a:lnTo>
                    <a:pt x="922" y="888"/>
                  </a:lnTo>
                  <a:lnTo>
                    <a:pt x="926" y="894"/>
                  </a:lnTo>
                  <a:lnTo>
                    <a:pt x="926" y="902"/>
                  </a:lnTo>
                  <a:lnTo>
                    <a:pt x="926" y="910"/>
                  </a:lnTo>
                  <a:lnTo>
                    <a:pt x="922" y="918"/>
                  </a:lnTo>
                  <a:lnTo>
                    <a:pt x="916" y="928"/>
                  </a:lnTo>
                  <a:lnTo>
                    <a:pt x="912" y="938"/>
                  </a:lnTo>
                  <a:lnTo>
                    <a:pt x="910" y="948"/>
                  </a:lnTo>
                  <a:lnTo>
                    <a:pt x="912" y="954"/>
                  </a:lnTo>
                  <a:lnTo>
                    <a:pt x="916" y="962"/>
                  </a:lnTo>
                  <a:lnTo>
                    <a:pt x="924" y="968"/>
                  </a:lnTo>
                  <a:lnTo>
                    <a:pt x="932" y="974"/>
                  </a:lnTo>
                  <a:lnTo>
                    <a:pt x="952" y="986"/>
                  </a:lnTo>
                  <a:lnTo>
                    <a:pt x="974" y="996"/>
                  </a:lnTo>
                  <a:lnTo>
                    <a:pt x="982" y="1002"/>
                  </a:lnTo>
                  <a:lnTo>
                    <a:pt x="990" y="1008"/>
                  </a:lnTo>
                  <a:lnTo>
                    <a:pt x="996" y="1014"/>
                  </a:lnTo>
                  <a:lnTo>
                    <a:pt x="998" y="1022"/>
                  </a:lnTo>
                  <a:lnTo>
                    <a:pt x="998" y="1030"/>
                  </a:lnTo>
                  <a:lnTo>
                    <a:pt x="992" y="1040"/>
                  </a:lnTo>
                  <a:lnTo>
                    <a:pt x="982" y="1054"/>
                  </a:lnTo>
                  <a:lnTo>
                    <a:pt x="978" y="1058"/>
                  </a:lnTo>
                  <a:lnTo>
                    <a:pt x="974" y="1060"/>
                  </a:lnTo>
                  <a:lnTo>
                    <a:pt x="970" y="1060"/>
                  </a:lnTo>
                  <a:lnTo>
                    <a:pt x="966" y="1060"/>
                  </a:lnTo>
                  <a:lnTo>
                    <a:pt x="956" y="1052"/>
                  </a:lnTo>
                  <a:lnTo>
                    <a:pt x="942" y="1040"/>
                  </a:lnTo>
                  <a:lnTo>
                    <a:pt x="918" y="1024"/>
                  </a:lnTo>
                  <a:lnTo>
                    <a:pt x="884" y="1004"/>
                  </a:lnTo>
                  <a:lnTo>
                    <a:pt x="862" y="994"/>
                  </a:lnTo>
                  <a:lnTo>
                    <a:pt x="838" y="984"/>
                  </a:lnTo>
                  <a:lnTo>
                    <a:pt x="810" y="974"/>
                  </a:lnTo>
                  <a:lnTo>
                    <a:pt x="786" y="966"/>
                  </a:lnTo>
                  <a:lnTo>
                    <a:pt x="762" y="960"/>
                  </a:lnTo>
                  <a:lnTo>
                    <a:pt x="742" y="956"/>
                  </a:lnTo>
                  <a:lnTo>
                    <a:pt x="724" y="954"/>
                  </a:lnTo>
                  <a:lnTo>
                    <a:pt x="706" y="952"/>
                  </a:lnTo>
                  <a:lnTo>
                    <a:pt x="692" y="952"/>
                  </a:lnTo>
                  <a:lnTo>
                    <a:pt x="678" y="954"/>
                  </a:lnTo>
                  <a:lnTo>
                    <a:pt x="668" y="956"/>
                  </a:lnTo>
                  <a:lnTo>
                    <a:pt x="660" y="960"/>
                  </a:lnTo>
                  <a:lnTo>
                    <a:pt x="654" y="964"/>
                  </a:lnTo>
                  <a:lnTo>
                    <a:pt x="650" y="968"/>
                  </a:lnTo>
                  <a:lnTo>
                    <a:pt x="650" y="974"/>
                  </a:lnTo>
                  <a:lnTo>
                    <a:pt x="650" y="980"/>
                  </a:lnTo>
                  <a:lnTo>
                    <a:pt x="654" y="986"/>
                  </a:lnTo>
                  <a:lnTo>
                    <a:pt x="660" y="994"/>
                  </a:lnTo>
                  <a:lnTo>
                    <a:pt x="664" y="998"/>
                  </a:lnTo>
                  <a:lnTo>
                    <a:pt x="664" y="1004"/>
                  </a:lnTo>
                  <a:lnTo>
                    <a:pt x="664" y="1010"/>
                  </a:lnTo>
                  <a:lnTo>
                    <a:pt x="662" y="1016"/>
                  </a:lnTo>
                  <a:lnTo>
                    <a:pt x="654" y="1028"/>
                  </a:lnTo>
                  <a:lnTo>
                    <a:pt x="642" y="1038"/>
                  </a:lnTo>
                  <a:lnTo>
                    <a:pt x="628" y="1044"/>
                  </a:lnTo>
                  <a:lnTo>
                    <a:pt x="622" y="1046"/>
                  </a:lnTo>
                  <a:lnTo>
                    <a:pt x="618" y="1046"/>
                  </a:lnTo>
                  <a:lnTo>
                    <a:pt x="612" y="1046"/>
                  </a:lnTo>
                  <a:lnTo>
                    <a:pt x="608" y="1042"/>
                  </a:lnTo>
                  <a:lnTo>
                    <a:pt x="606" y="1038"/>
                  </a:lnTo>
                  <a:lnTo>
                    <a:pt x="606" y="1030"/>
                  </a:lnTo>
                  <a:lnTo>
                    <a:pt x="604" y="1018"/>
                  </a:lnTo>
                  <a:lnTo>
                    <a:pt x="602" y="1010"/>
                  </a:lnTo>
                  <a:lnTo>
                    <a:pt x="596" y="1006"/>
                  </a:lnTo>
                  <a:lnTo>
                    <a:pt x="590" y="1006"/>
                  </a:lnTo>
                  <a:lnTo>
                    <a:pt x="582" y="1010"/>
                  </a:lnTo>
                  <a:lnTo>
                    <a:pt x="570" y="1016"/>
                  </a:lnTo>
                  <a:lnTo>
                    <a:pt x="542" y="1034"/>
                  </a:lnTo>
                  <a:lnTo>
                    <a:pt x="526" y="1042"/>
                  </a:lnTo>
                  <a:lnTo>
                    <a:pt x="520" y="1042"/>
                  </a:lnTo>
                  <a:lnTo>
                    <a:pt x="516" y="1042"/>
                  </a:lnTo>
                  <a:lnTo>
                    <a:pt x="506" y="1040"/>
                  </a:lnTo>
                  <a:lnTo>
                    <a:pt x="498" y="1036"/>
                  </a:lnTo>
                  <a:lnTo>
                    <a:pt x="488" y="1032"/>
                  </a:lnTo>
                  <a:lnTo>
                    <a:pt x="478" y="1032"/>
                  </a:lnTo>
                  <a:lnTo>
                    <a:pt x="470" y="1032"/>
                  </a:lnTo>
                  <a:lnTo>
                    <a:pt x="462" y="1034"/>
                  </a:lnTo>
                  <a:lnTo>
                    <a:pt x="440" y="1046"/>
                  </a:lnTo>
                  <a:lnTo>
                    <a:pt x="420" y="1056"/>
                  </a:lnTo>
                  <a:lnTo>
                    <a:pt x="412" y="1060"/>
                  </a:lnTo>
                  <a:lnTo>
                    <a:pt x="406" y="1060"/>
                  </a:lnTo>
                  <a:lnTo>
                    <a:pt x="400" y="1060"/>
                  </a:lnTo>
                  <a:lnTo>
                    <a:pt x="396" y="1058"/>
                  </a:lnTo>
                  <a:lnTo>
                    <a:pt x="392" y="1054"/>
                  </a:lnTo>
                  <a:lnTo>
                    <a:pt x="390" y="1052"/>
                  </a:lnTo>
                  <a:lnTo>
                    <a:pt x="388" y="1042"/>
                  </a:lnTo>
                  <a:lnTo>
                    <a:pt x="392" y="1030"/>
                  </a:lnTo>
                  <a:lnTo>
                    <a:pt x="396" y="1020"/>
                  </a:lnTo>
                  <a:lnTo>
                    <a:pt x="406" y="1012"/>
                  </a:lnTo>
                  <a:lnTo>
                    <a:pt x="410" y="1006"/>
                  </a:lnTo>
                  <a:lnTo>
                    <a:pt x="412" y="1004"/>
                  </a:lnTo>
                  <a:lnTo>
                    <a:pt x="410" y="1004"/>
                  </a:lnTo>
                  <a:lnTo>
                    <a:pt x="402" y="1004"/>
                  </a:lnTo>
                  <a:lnTo>
                    <a:pt x="388" y="1008"/>
                  </a:lnTo>
                  <a:lnTo>
                    <a:pt x="368" y="1014"/>
                  </a:lnTo>
                  <a:lnTo>
                    <a:pt x="342" y="1024"/>
                  </a:lnTo>
                  <a:lnTo>
                    <a:pt x="312" y="1038"/>
                  </a:lnTo>
                  <a:lnTo>
                    <a:pt x="276" y="1054"/>
                  </a:lnTo>
                  <a:lnTo>
                    <a:pt x="242" y="1070"/>
                  </a:lnTo>
                  <a:lnTo>
                    <a:pt x="216" y="1078"/>
                  </a:lnTo>
                  <a:lnTo>
                    <a:pt x="196" y="1084"/>
                  </a:lnTo>
                  <a:lnTo>
                    <a:pt x="180" y="1086"/>
                  </a:lnTo>
                  <a:lnTo>
                    <a:pt x="168" y="1088"/>
                  </a:lnTo>
                  <a:lnTo>
                    <a:pt x="158" y="1094"/>
                  </a:lnTo>
                  <a:lnTo>
                    <a:pt x="152" y="1106"/>
                  </a:lnTo>
                  <a:lnTo>
                    <a:pt x="144" y="1124"/>
                  </a:lnTo>
                  <a:lnTo>
                    <a:pt x="138" y="1142"/>
                  </a:lnTo>
                  <a:lnTo>
                    <a:pt x="132" y="1152"/>
                  </a:lnTo>
                  <a:lnTo>
                    <a:pt x="126" y="1158"/>
                  </a:lnTo>
                  <a:lnTo>
                    <a:pt x="120" y="1158"/>
                  </a:lnTo>
                  <a:lnTo>
                    <a:pt x="106" y="1156"/>
                  </a:lnTo>
                  <a:lnTo>
                    <a:pt x="98" y="1156"/>
                  </a:lnTo>
                  <a:lnTo>
                    <a:pt x="86" y="1160"/>
                  </a:lnTo>
                  <a:lnTo>
                    <a:pt x="78" y="1164"/>
                  </a:lnTo>
                  <a:lnTo>
                    <a:pt x="54" y="1230"/>
                  </a:lnTo>
                  <a:lnTo>
                    <a:pt x="44" y="1256"/>
                  </a:lnTo>
                  <a:lnTo>
                    <a:pt x="36" y="1274"/>
                  </a:lnTo>
                  <a:lnTo>
                    <a:pt x="28" y="1292"/>
                  </a:lnTo>
                  <a:lnTo>
                    <a:pt x="20" y="1312"/>
                  </a:lnTo>
                  <a:lnTo>
                    <a:pt x="8" y="1346"/>
                  </a:lnTo>
                  <a:lnTo>
                    <a:pt x="0" y="1382"/>
                  </a:lnTo>
                  <a:lnTo>
                    <a:pt x="0" y="1562"/>
                  </a:lnTo>
                  <a:lnTo>
                    <a:pt x="60" y="1706"/>
                  </a:lnTo>
                  <a:lnTo>
                    <a:pt x="180" y="1898"/>
                  </a:lnTo>
                  <a:lnTo>
                    <a:pt x="236" y="2142"/>
                  </a:lnTo>
                  <a:lnTo>
                    <a:pt x="172" y="2176"/>
                  </a:lnTo>
                  <a:lnTo>
                    <a:pt x="166" y="2200"/>
                  </a:lnTo>
                  <a:lnTo>
                    <a:pt x="124" y="2214"/>
                  </a:lnTo>
                  <a:lnTo>
                    <a:pt x="104" y="2206"/>
                  </a:lnTo>
                  <a:lnTo>
                    <a:pt x="92" y="2204"/>
                  </a:lnTo>
                  <a:lnTo>
                    <a:pt x="86" y="2204"/>
                  </a:lnTo>
                  <a:lnTo>
                    <a:pt x="84" y="2208"/>
                  </a:lnTo>
                  <a:lnTo>
                    <a:pt x="70" y="2258"/>
                  </a:lnTo>
                  <a:lnTo>
                    <a:pt x="60" y="2304"/>
                  </a:lnTo>
                  <a:lnTo>
                    <a:pt x="76" y="2364"/>
                  </a:lnTo>
                  <a:lnTo>
                    <a:pt x="114" y="2388"/>
                  </a:lnTo>
                  <a:lnTo>
                    <a:pt x="142" y="2422"/>
                  </a:lnTo>
                  <a:lnTo>
                    <a:pt x="148" y="2454"/>
                  </a:lnTo>
                  <a:lnTo>
                    <a:pt x="130" y="2486"/>
                  </a:lnTo>
                  <a:lnTo>
                    <a:pt x="98" y="2508"/>
                  </a:lnTo>
                  <a:lnTo>
                    <a:pt x="70" y="2552"/>
                  </a:lnTo>
                  <a:lnTo>
                    <a:pt x="80" y="2588"/>
                  </a:lnTo>
                  <a:lnTo>
                    <a:pt x="132" y="2652"/>
                  </a:lnTo>
                  <a:lnTo>
                    <a:pt x="156" y="2704"/>
                  </a:lnTo>
                  <a:lnTo>
                    <a:pt x="182" y="2744"/>
                  </a:lnTo>
                  <a:lnTo>
                    <a:pt x="180" y="2776"/>
                  </a:lnTo>
                  <a:lnTo>
                    <a:pt x="182" y="2792"/>
                  </a:lnTo>
                  <a:lnTo>
                    <a:pt x="186" y="2844"/>
                  </a:lnTo>
                  <a:lnTo>
                    <a:pt x="190" y="2864"/>
                  </a:lnTo>
                  <a:lnTo>
                    <a:pt x="186" y="2882"/>
                  </a:lnTo>
                  <a:lnTo>
                    <a:pt x="188" y="2896"/>
                  </a:lnTo>
                  <a:lnTo>
                    <a:pt x="182" y="2898"/>
                  </a:lnTo>
                  <a:lnTo>
                    <a:pt x="178" y="2898"/>
                  </a:lnTo>
                  <a:lnTo>
                    <a:pt x="176" y="2896"/>
                  </a:lnTo>
                  <a:lnTo>
                    <a:pt x="176" y="2894"/>
                  </a:lnTo>
                  <a:lnTo>
                    <a:pt x="174" y="2888"/>
                  </a:lnTo>
                  <a:lnTo>
                    <a:pt x="172" y="2886"/>
                  </a:lnTo>
                  <a:lnTo>
                    <a:pt x="170" y="2886"/>
                  </a:lnTo>
                  <a:lnTo>
                    <a:pt x="172" y="2886"/>
                  </a:lnTo>
                  <a:lnTo>
                    <a:pt x="174" y="2888"/>
                  </a:lnTo>
                  <a:lnTo>
                    <a:pt x="176" y="2894"/>
                  </a:lnTo>
                  <a:lnTo>
                    <a:pt x="176" y="2896"/>
                  </a:lnTo>
                  <a:lnTo>
                    <a:pt x="178" y="2898"/>
                  </a:lnTo>
                  <a:lnTo>
                    <a:pt x="182" y="2898"/>
                  </a:lnTo>
                  <a:lnTo>
                    <a:pt x="188" y="2896"/>
                  </a:lnTo>
                  <a:lnTo>
                    <a:pt x="174" y="2986"/>
                  </a:lnTo>
                  <a:lnTo>
                    <a:pt x="174" y="3028"/>
                  </a:lnTo>
                  <a:lnTo>
                    <a:pt x="168" y="3124"/>
                  </a:lnTo>
                  <a:lnTo>
                    <a:pt x="174" y="3168"/>
                  </a:lnTo>
                  <a:lnTo>
                    <a:pt x="210" y="3264"/>
                  </a:lnTo>
                  <a:lnTo>
                    <a:pt x="248" y="3338"/>
                  </a:lnTo>
                  <a:lnTo>
                    <a:pt x="248" y="3362"/>
                  </a:lnTo>
                  <a:lnTo>
                    <a:pt x="254" y="3368"/>
                  </a:lnTo>
                  <a:lnTo>
                    <a:pt x="258" y="3372"/>
                  </a:lnTo>
                  <a:lnTo>
                    <a:pt x="262" y="3384"/>
                  </a:lnTo>
                  <a:lnTo>
                    <a:pt x="264" y="3394"/>
                  </a:lnTo>
                  <a:lnTo>
                    <a:pt x="268" y="3400"/>
                  </a:lnTo>
                  <a:lnTo>
                    <a:pt x="272" y="3406"/>
                  </a:lnTo>
                  <a:lnTo>
                    <a:pt x="276" y="3412"/>
                  </a:lnTo>
                  <a:lnTo>
                    <a:pt x="278" y="3416"/>
                  </a:lnTo>
                  <a:lnTo>
                    <a:pt x="278" y="3424"/>
                  </a:lnTo>
                  <a:lnTo>
                    <a:pt x="280" y="3432"/>
                  </a:lnTo>
                  <a:lnTo>
                    <a:pt x="282" y="3438"/>
                  </a:lnTo>
                  <a:lnTo>
                    <a:pt x="286" y="3444"/>
                  </a:lnTo>
                  <a:lnTo>
                    <a:pt x="294" y="3452"/>
                  </a:lnTo>
                  <a:lnTo>
                    <a:pt x="302" y="3456"/>
                  </a:lnTo>
                  <a:lnTo>
                    <a:pt x="320" y="3464"/>
                  </a:lnTo>
                  <a:lnTo>
                    <a:pt x="334" y="3470"/>
                  </a:lnTo>
                  <a:lnTo>
                    <a:pt x="338" y="3474"/>
                  </a:lnTo>
                  <a:lnTo>
                    <a:pt x="338" y="3478"/>
                  </a:lnTo>
                  <a:lnTo>
                    <a:pt x="338" y="3480"/>
                  </a:lnTo>
                  <a:lnTo>
                    <a:pt x="340" y="3484"/>
                  </a:lnTo>
                  <a:lnTo>
                    <a:pt x="350" y="3490"/>
                  </a:lnTo>
                  <a:lnTo>
                    <a:pt x="360" y="3496"/>
                  </a:lnTo>
                  <a:lnTo>
                    <a:pt x="366" y="3500"/>
                  </a:lnTo>
                  <a:lnTo>
                    <a:pt x="374" y="3508"/>
                  </a:lnTo>
                  <a:lnTo>
                    <a:pt x="382" y="3512"/>
                  </a:lnTo>
                  <a:lnTo>
                    <a:pt x="388" y="3514"/>
                  </a:lnTo>
                  <a:lnTo>
                    <a:pt x="394" y="3514"/>
                  </a:lnTo>
                  <a:lnTo>
                    <a:pt x="404" y="3516"/>
                  </a:lnTo>
                  <a:lnTo>
                    <a:pt x="410" y="3516"/>
                  </a:lnTo>
                  <a:lnTo>
                    <a:pt x="414" y="3522"/>
                  </a:lnTo>
                  <a:lnTo>
                    <a:pt x="420" y="3524"/>
                  </a:lnTo>
                  <a:lnTo>
                    <a:pt x="424" y="3526"/>
                  </a:lnTo>
                  <a:lnTo>
                    <a:pt x="428" y="3524"/>
                  </a:lnTo>
                  <a:lnTo>
                    <a:pt x="432" y="3522"/>
                  </a:lnTo>
                  <a:lnTo>
                    <a:pt x="442" y="3514"/>
                  </a:lnTo>
                  <a:lnTo>
                    <a:pt x="446" y="3512"/>
                  </a:lnTo>
                  <a:lnTo>
                    <a:pt x="450" y="3512"/>
                  </a:lnTo>
                  <a:lnTo>
                    <a:pt x="456" y="3510"/>
                  </a:lnTo>
                  <a:lnTo>
                    <a:pt x="458" y="3508"/>
                  </a:lnTo>
                  <a:lnTo>
                    <a:pt x="462" y="3504"/>
                  </a:lnTo>
                  <a:lnTo>
                    <a:pt x="464" y="3502"/>
                  </a:lnTo>
                  <a:lnTo>
                    <a:pt x="468" y="3502"/>
                  </a:lnTo>
                  <a:lnTo>
                    <a:pt x="472" y="3500"/>
                  </a:lnTo>
                  <a:lnTo>
                    <a:pt x="476" y="3498"/>
                  </a:lnTo>
                  <a:lnTo>
                    <a:pt x="480" y="3494"/>
                  </a:lnTo>
                  <a:lnTo>
                    <a:pt x="482" y="3492"/>
                  </a:lnTo>
                  <a:lnTo>
                    <a:pt x="488" y="3490"/>
                  </a:lnTo>
                  <a:lnTo>
                    <a:pt x="492" y="3490"/>
                  </a:lnTo>
                  <a:lnTo>
                    <a:pt x="500" y="3492"/>
                  </a:lnTo>
                  <a:lnTo>
                    <a:pt x="508" y="3496"/>
                  </a:lnTo>
                  <a:lnTo>
                    <a:pt x="514" y="3502"/>
                  </a:lnTo>
                  <a:lnTo>
                    <a:pt x="518" y="3512"/>
                  </a:lnTo>
                  <a:lnTo>
                    <a:pt x="520" y="3522"/>
                  </a:lnTo>
                  <a:lnTo>
                    <a:pt x="524" y="3542"/>
                  </a:lnTo>
                  <a:lnTo>
                    <a:pt x="526" y="3558"/>
                  </a:lnTo>
                  <a:lnTo>
                    <a:pt x="528" y="3562"/>
                  </a:lnTo>
                  <a:lnTo>
                    <a:pt x="532" y="3564"/>
                  </a:lnTo>
                  <a:lnTo>
                    <a:pt x="542" y="3566"/>
                  </a:lnTo>
                  <a:lnTo>
                    <a:pt x="550" y="3568"/>
                  </a:lnTo>
                  <a:lnTo>
                    <a:pt x="554" y="3570"/>
                  </a:lnTo>
                  <a:lnTo>
                    <a:pt x="558" y="3572"/>
                  </a:lnTo>
                  <a:lnTo>
                    <a:pt x="562" y="3576"/>
                  </a:lnTo>
                  <a:lnTo>
                    <a:pt x="566" y="3574"/>
                  </a:lnTo>
                  <a:lnTo>
                    <a:pt x="570" y="3574"/>
                  </a:lnTo>
                  <a:lnTo>
                    <a:pt x="580" y="3574"/>
                  </a:lnTo>
                  <a:lnTo>
                    <a:pt x="586" y="3574"/>
                  </a:lnTo>
                  <a:lnTo>
                    <a:pt x="590" y="3576"/>
                  </a:lnTo>
                  <a:lnTo>
                    <a:pt x="596" y="3580"/>
                  </a:lnTo>
                  <a:lnTo>
                    <a:pt x="600" y="3584"/>
                  </a:lnTo>
                  <a:lnTo>
                    <a:pt x="604" y="3584"/>
                  </a:lnTo>
                  <a:lnTo>
                    <a:pt x="608" y="3582"/>
                  </a:lnTo>
                  <a:lnTo>
                    <a:pt x="614" y="3580"/>
                  </a:lnTo>
                  <a:lnTo>
                    <a:pt x="620" y="3582"/>
                  </a:lnTo>
                  <a:lnTo>
                    <a:pt x="636" y="3584"/>
                  </a:lnTo>
                  <a:lnTo>
                    <a:pt x="650" y="3588"/>
                  </a:lnTo>
                  <a:lnTo>
                    <a:pt x="652" y="3588"/>
                  </a:lnTo>
                  <a:lnTo>
                    <a:pt x="654" y="3586"/>
                  </a:lnTo>
                  <a:lnTo>
                    <a:pt x="654" y="3582"/>
                  </a:lnTo>
                  <a:lnTo>
                    <a:pt x="656" y="3580"/>
                  </a:lnTo>
                  <a:lnTo>
                    <a:pt x="658" y="3582"/>
                  </a:lnTo>
                  <a:lnTo>
                    <a:pt x="662" y="3586"/>
                  </a:lnTo>
                  <a:lnTo>
                    <a:pt x="664" y="3590"/>
                  </a:lnTo>
                  <a:lnTo>
                    <a:pt x="670" y="3592"/>
                  </a:lnTo>
                  <a:lnTo>
                    <a:pt x="678" y="3594"/>
                  </a:lnTo>
                  <a:lnTo>
                    <a:pt x="688" y="3598"/>
                  </a:lnTo>
                  <a:lnTo>
                    <a:pt x="692" y="3600"/>
                  </a:lnTo>
                  <a:lnTo>
                    <a:pt x="696" y="3600"/>
                  </a:lnTo>
                  <a:lnTo>
                    <a:pt x="696" y="3596"/>
                  </a:lnTo>
                  <a:lnTo>
                    <a:pt x="698" y="3592"/>
                  </a:lnTo>
                  <a:lnTo>
                    <a:pt x="700" y="3592"/>
                  </a:lnTo>
                  <a:lnTo>
                    <a:pt x="702" y="3592"/>
                  </a:lnTo>
                  <a:lnTo>
                    <a:pt x="706" y="3598"/>
                  </a:lnTo>
                  <a:lnTo>
                    <a:pt x="710" y="3600"/>
                  </a:lnTo>
                  <a:lnTo>
                    <a:pt x="712" y="3600"/>
                  </a:lnTo>
                  <a:lnTo>
                    <a:pt x="716" y="3598"/>
                  </a:lnTo>
                  <a:lnTo>
                    <a:pt x="724" y="3594"/>
                  </a:lnTo>
                  <a:lnTo>
                    <a:pt x="726" y="3592"/>
                  </a:lnTo>
                  <a:lnTo>
                    <a:pt x="730" y="3594"/>
                  </a:lnTo>
                  <a:lnTo>
                    <a:pt x="732" y="3594"/>
                  </a:lnTo>
                  <a:lnTo>
                    <a:pt x="734" y="3594"/>
                  </a:lnTo>
                  <a:lnTo>
                    <a:pt x="738" y="3590"/>
                  </a:lnTo>
                  <a:lnTo>
                    <a:pt x="740" y="3588"/>
                  </a:lnTo>
                  <a:lnTo>
                    <a:pt x="746" y="3588"/>
                  </a:lnTo>
                  <a:lnTo>
                    <a:pt x="752" y="3588"/>
                  </a:lnTo>
                  <a:lnTo>
                    <a:pt x="762" y="3590"/>
                  </a:lnTo>
                  <a:lnTo>
                    <a:pt x="770" y="3594"/>
                  </a:lnTo>
                  <a:lnTo>
                    <a:pt x="774" y="3594"/>
                  </a:lnTo>
                  <a:lnTo>
                    <a:pt x="776" y="3592"/>
                  </a:lnTo>
                  <a:lnTo>
                    <a:pt x="778" y="3590"/>
                  </a:lnTo>
                  <a:lnTo>
                    <a:pt x="780" y="3588"/>
                  </a:lnTo>
                  <a:lnTo>
                    <a:pt x="782" y="3586"/>
                  </a:lnTo>
                  <a:lnTo>
                    <a:pt x="786" y="3586"/>
                  </a:lnTo>
                  <a:lnTo>
                    <a:pt x="794" y="3586"/>
                  </a:lnTo>
                  <a:lnTo>
                    <a:pt x="810" y="3590"/>
                  </a:lnTo>
                  <a:lnTo>
                    <a:pt x="820" y="3594"/>
                  </a:lnTo>
                  <a:lnTo>
                    <a:pt x="824" y="3594"/>
                  </a:lnTo>
                  <a:lnTo>
                    <a:pt x="828" y="3590"/>
                  </a:lnTo>
                  <a:lnTo>
                    <a:pt x="832" y="3588"/>
                  </a:lnTo>
                  <a:lnTo>
                    <a:pt x="840" y="3586"/>
                  </a:lnTo>
                  <a:lnTo>
                    <a:pt x="866" y="3582"/>
                  </a:lnTo>
                  <a:lnTo>
                    <a:pt x="892" y="3582"/>
                  </a:lnTo>
                  <a:lnTo>
                    <a:pt x="900" y="3584"/>
                  </a:lnTo>
                  <a:lnTo>
                    <a:pt x="904" y="3586"/>
                  </a:lnTo>
                  <a:lnTo>
                    <a:pt x="904" y="3588"/>
                  </a:lnTo>
                  <a:lnTo>
                    <a:pt x="904" y="3598"/>
                  </a:lnTo>
                  <a:lnTo>
                    <a:pt x="904" y="3606"/>
                  </a:lnTo>
                  <a:lnTo>
                    <a:pt x="904" y="3608"/>
                  </a:lnTo>
                  <a:lnTo>
                    <a:pt x="906" y="3610"/>
                  </a:lnTo>
                  <a:lnTo>
                    <a:pt x="916" y="3612"/>
                  </a:lnTo>
                  <a:lnTo>
                    <a:pt x="920" y="3612"/>
                  </a:lnTo>
                  <a:lnTo>
                    <a:pt x="924" y="3614"/>
                  </a:lnTo>
                  <a:lnTo>
                    <a:pt x="926" y="3616"/>
                  </a:lnTo>
                  <a:lnTo>
                    <a:pt x="926" y="3620"/>
                  </a:lnTo>
                  <a:lnTo>
                    <a:pt x="926" y="3626"/>
                  </a:lnTo>
                  <a:lnTo>
                    <a:pt x="926" y="3630"/>
                  </a:lnTo>
                  <a:lnTo>
                    <a:pt x="928" y="3634"/>
                  </a:lnTo>
                  <a:lnTo>
                    <a:pt x="932" y="3638"/>
                  </a:lnTo>
                  <a:lnTo>
                    <a:pt x="932" y="3642"/>
                  </a:lnTo>
                  <a:lnTo>
                    <a:pt x="932" y="3646"/>
                  </a:lnTo>
                  <a:lnTo>
                    <a:pt x="934" y="3652"/>
                  </a:lnTo>
                  <a:lnTo>
                    <a:pt x="938" y="3654"/>
                  </a:lnTo>
                  <a:lnTo>
                    <a:pt x="936" y="3656"/>
                  </a:lnTo>
                  <a:lnTo>
                    <a:pt x="936" y="3658"/>
                  </a:lnTo>
                  <a:lnTo>
                    <a:pt x="940" y="3662"/>
                  </a:lnTo>
                  <a:lnTo>
                    <a:pt x="944" y="3664"/>
                  </a:lnTo>
                  <a:lnTo>
                    <a:pt x="946" y="3664"/>
                  </a:lnTo>
                  <a:lnTo>
                    <a:pt x="950" y="3664"/>
                  </a:lnTo>
                  <a:lnTo>
                    <a:pt x="952" y="3662"/>
                  </a:lnTo>
                  <a:lnTo>
                    <a:pt x="956" y="3664"/>
                  </a:lnTo>
                  <a:lnTo>
                    <a:pt x="958" y="3666"/>
                  </a:lnTo>
                  <a:lnTo>
                    <a:pt x="962" y="3670"/>
                  </a:lnTo>
                  <a:lnTo>
                    <a:pt x="966" y="3674"/>
                  </a:lnTo>
                  <a:lnTo>
                    <a:pt x="972" y="3676"/>
                  </a:lnTo>
                  <a:lnTo>
                    <a:pt x="976" y="3680"/>
                  </a:lnTo>
                  <a:lnTo>
                    <a:pt x="982" y="3690"/>
                  </a:lnTo>
                  <a:lnTo>
                    <a:pt x="986" y="3696"/>
                  </a:lnTo>
                  <a:lnTo>
                    <a:pt x="992" y="3702"/>
                  </a:lnTo>
                  <a:lnTo>
                    <a:pt x="1000" y="3708"/>
                  </a:lnTo>
                  <a:lnTo>
                    <a:pt x="1008" y="3712"/>
                  </a:lnTo>
                  <a:lnTo>
                    <a:pt x="1016" y="3716"/>
                  </a:lnTo>
                  <a:lnTo>
                    <a:pt x="1024" y="3716"/>
                  </a:lnTo>
                  <a:lnTo>
                    <a:pt x="1032" y="3716"/>
                  </a:lnTo>
                  <a:lnTo>
                    <a:pt x="1038" y="3712"/>
                  </a:lnTo>
                  <a:lnTo>
                    <a:pt x="1044" y="3708"/>
                  </a:lnTo>
                  <a:lnTo>
                    <a:pt x="1048" y="3708"/>
                  </a:lnTo>
                  <a:lnTo>
                    <a:pt x="1052" y="3710"/>
                  </a:lnTo>
                  <a:lnTo>
                    <a:pt x="1052" y="3714"/>
                  </a:lnTo>
                  <a:lnTo>
                    <a:pt x="1050" y="3720"/>
                  </a:lnTo>
                  <a:lnTo>
                    <a:pt x="1046" y="3726"/>
                  </a:lnTo>
                  <a:lnTo>
                    <a:pt x="1040" y="3730"/>
                  </a:lnTo>
                  <a:lnTo>
                    <a:pt x="1028" y="3734"/>
                  </a:lnTo>
                  <a:lnTo>
                    <a:pt x="1016" y="3736"/>
                  </a:lnTo>
                  <a:lnTo>
                    <a:pt x="1006" y="3734"/>
                  </a:lnTo>
                  <a:lnTo>
                    <a:pt x="992" y="3732"/>
                  </a:lnTo>
                  <a:lnTo>
                    <a:pt x="992" y="3734"/>
                  </a:lnTo>
                  <a:lnTo>
                    <a:pt x="994" y="3740"/>
                  </a:lnTo>
                  <a:lnTo>
                    <a:pt x="1018" y="3770"/>
                  </a:lnTo>
                  <a:lnTo>
                    <a:pt x="1048" y="3804"/>
                  </a:lnTo>
                  <a:lnTo>
                    <a:pt x="1060" y="3814"/>
                  </a:lnTo>
                  <a:lnTo>
                    <a:pt x="1070" y="3820"/>
                  </a:lnTo>
                  <a:lnTo>
                    <a:pt x="1078" y="3822"/>
                  </a:lnTo>
                  <a:lnTo>
                    <a:pt x="1090" y="3818"/>
                  </a:lnTo>
                  <a:lnTo>
                    <a:pt x="1102" y="3810"/>
                  </a:lnTo>
                  <a:lnTo>
                    <a:pt x="1116" y="3798"/>
                  </a:lnTo>
                  <a:lnTo>
                    <a:pt x="1124" y="3790"/>
                  </a:lnTo>
                  <a:lnTo>
                    <a:pt x="1128" y="3782"/>
                  </a:lnTo>
                  <a:lnTo>
                    <a:pt x="1128" y="3772"/>
                  </a:lnTo>
                  <a:lnTo>
                    <a:pt x="1128" y="3764"/>
                  </a:lnTo>
                  <a:lnTo>
                    <a:pt x="1128" y="3756"/>
                  </a:lnTo>
                  <a:lnTo>
                    <a:pt x="1128" y="3750"/>
                  </a:lnTo>
                  <a:lnTo>
                    <a:pt x="1132" y="3744"/>
                  </a:lnTo>
                  <a:lnTo>
                    <a:pt x="1138" y="3742"/>
                  </a:lnTo>
                  <a:lnTo>
                    <a:pt x="1144" y="3740"/>
                  </a:lnTo>
                  <a:lnTo>
                    <a:pt x="1148" y="3740"/>
                  </a:lnTo>
                  <a:lnTo>
                    <a:pt x="1148" y="3742"/>
                  </a:lnTo>
                  <a:lnTo>
                    <a:pt x="1146" y="3746"/>
                  </a:lnTo>
                  <a:lnTo>
                    <a:pt x="1142" y="3754"/>
                  </a:lnTo>
                  <a:lnTo>
                    <a:pt x="1142" y="3760"/>
                  </a:lnTo>
                  <a:lnTo>
                    <a:pt x="1144" y="3764"/>
                  </a:lnTo>
                  <a:lnTo>
                    <a:pt x="1146" y="3770"/>
                  </a:lnTo>
                  <a:lnTo>
                    <a:pt x="1146" y="3774"/>
                  </a:lnTo>
                  <a:lnTo>
                    <a:pt x="1144" y="3778"/>
                  </a:lnTo>
                  <a:lnTo>
                    <a:pt x="1144" y="3782"/>
                  </a:lnTo>
                  <a:lnTo>
                    <a:pt x="1144" y="3788"/>
                  </a:lnTo>
                  <a:lnTo>
                    <a:pt x="1146" y="3794"/>
                  </a:lnTo>
                  <a:lnTo>
                    <a:pt x="1150" y="3804"/>
                  </a:lnTo>
                  <a:lnTo>
                    <a:pt x="1154" y="3814"/>
                  </a:lnTo>
                  <a:lnTo>
                    <a:pt x="1154" y="3822"/>
                  </a:lnTo>
                  <a:lnTo>
                    <a:pt x="1150" y="3838"/>
                  </a:lnTo>
                  <a:lnTo>
                    <a:pt x="1148" y="3848"/>
                  </a:lnTo>
                  <a:lnTo>
                    <a:pt x="1148" y="3864"/>
                  </a:lnTo>
                  <a:lnTo>
                    <a:pt x="1148" y="3884"/>
                  </a:lnTo>
                  <a:lnTo>
                    <a:pt x="1152" y="3912"/>
                  </a:lnTo>
                  <a:lnTo>
                    <a:pt x="1170" y="4010"/>
                  </a:lnTo>
                  <a:lnTo>
                    <a:pt x="1176" y="4042"/>
                  </a:lnTo>
                  <a:lnTo>
                    <a:pt x="1184" y="4060"/>
                  </a:lnTo>
                  <a:lnTo>
                    <a:pt x="1194" y="4084"/>
                  </a:lnTo>
                  <a:lnTo>
                    <a:pt x="1210" y="4122"/>
                  </a:lnTo>
                  <a:lnTo>
                    <a:pt x="1224" y="4164"/>
                  </a:lnTo>
                  <a:lnTo>
                    <a:pt x="1230" y="4184"/>
                  </a:lnTo>
                  <a:lnTo>
                    <a:pt x="1232" y="4204"/>
                  </a:lnTo>
                  <a:lnTo>
                    <a:pt x="1236" y="4220"/>
                  </a:lnTo>
                  <a:lnTo>
                    <a:pt x="1240" y="4232"/>
                  </a:lnTo>
                  <a:lnTo>
                    <a:pt x="1254" y="4256"/>
                  </a:lnTo>
                  <a:lnTo>
                    <a:pt x="1262" y="4268"/>
                  </a:lnTo>
                  <a:lnTo>
                    <a:pt x="1268" y="4284"/>
                  </a:lnTo>
                  <a:lnTo>
                    <a:pt x="1276" y="4304"/>
                  </a:lnTo>
                  <a:lnTo>
                    <a:pt x="1282" y="4330"/>
                  </a:lnTo>
                  <a:lnTo>
                    <a:pt x="1290" y="4358"/>
                  </a:lnTo>
                  <a:lnTo>
                    <a:pt x="1296" y="4384"/>
                  </a:lnTo>
                  <a:lnTo>
                    <a:pt x="1306" y="4406"/>
                  </a:lnTo>
                  <a:lnTo>
                    <a:pt x="1314" y="4424"/>
                  </a:lnTo>
                  <a:lnTo>
                    <a:pt x="1324" y="4436"/>
                  </a:lnTo>
                  <a:lnTo>
                    <a:pt x="1328" y="4442"/>
                  </a:lnTo>
                  <a:lnTo>
                    <a:pt x="1334" y="4444"/>
                  </a:lnTo>
                  <a:lnTo>
                    <a:pt x="1338" y="4446"/>
                  </a:lnTo>
                  <a:lnTo>
                    <a:pt x="1344" y="4446"/>
                  </a:lnTo>
                  <a:lnTo>
                    <a:pt x="1348" y="4444"/>
                  </a:lnTo>
                  <a:lnTo>
                    <a:pt x="1354" y="4440"/>
                  </a:lnTo>
                  <a:lnTo>
                    <a:pt x="1362" y="4432"/>
                  </a:lnTo>
                  <a:lnTo>
                    <a:pt x="1366" y="4424"/>
                  </a:lnTo>
                  <a:lnTo>
                    <a:pt x="1368" y="4416"/>
                  </a:lnTo>
                  <a:lnTo>
                    <a:pt x="1368" y="4410"/>
                  </a:lnTo>
                  <a:lnTo>
                    <a:pt x="1368" y="4406"/>
                  </a:lnTo>
                  <a:lnTo>
                    <a:pt x="1372" y="4400"/>
                  </a:lnTo>
                  <a:lnTo>
                    <a:pt x="1376" y="4396"/>
                  </a:lnTo>
                  <a:lnTo>
                    <a:pt x="1384" y="4394"/>
                  </a:lnTo>
                  <a:lnTo>
                    <a:pt x="1402" y="4390"/>
                  </a:lnTo>
                  <a:lnTo>
                    <a:pt x="1412" y="4390"/>
                  </a:lnTo>
                  <a:lnTo>
                    <a:pt x="1418" y="4390"/>
                  </a:lnTo>
                  <a:lnTo>
                    <a:pt x="1420" y="4390"/>
                  </a:lnTo>
                  <a:lnTo>
                    <a:pt x="1420" y="4388"/>
                  </a:lnTo>
                  <a:lnTo>
                    <a:pt x="1420" y="4386"/>
                  </a:lnTo>
                  <a:lnTo>
                    <a:pt x="1416" y="4384"/>
                  </a:lnTo>
                  <a:lnTo>
                    <a:pt x="1408" y="4382"/>
                  </a:lnTo>
                  <a:lnTo>
                    <a:pt x="1404" y="4380"/>
                  </a:lnTo>
                  <a:lnTo>
                    <a:pt x="1400" y="4376"/>
                  </a:lnTo>
                  <a:lnTo>
                    <a:pt x="1402" y="4370"/>
                  </a:lnTo>
                  <a:lnTo>
                    <a:pt x="1406" y="4362"/>
                  </a:lnTo>
                  <a:lnTo>
                    <a:pt x="1410" y="4354"/>
                  </a:lnTo>
                  <a:lnTo>
                    <a:pt x="1412" y="4348"/>
                  </a:lnTo>
                  <a:lnTo>
                    <a:pt x="1412" y="4342"/>
                  </a:lnTo>
                  <a:lnTo>
                    <a:pt x="1414" y="4340"/>
                  </a:lnTo>
                  <a:lnTo>
                    <a:pt x="1428" y="4338"/>
                  </a:lnTo>
                  <a:lnTo>
                    <a:pt x="1434" y="4336"/>
                  </a:lnTo>
                  <a:lnTo>
                    <a:pt x="1436" y="4334"/>
                  </a:lnTo>
                  <a:lnTo>
                    <a:pt x="1438" y="4332"/>
                  </a:lnTo>
                  <a:lnTo>
                    <a:pt x="1438" y="4322"/>
                  </a:lnTo>
                  <a:lnTo>
                    <a:pt x="1436" y="4312"/>
                  </a:lnTo>
                  <a:lnTo>
                    <a:pt x="1434" y="4298"/>
                  </a:lnTo>
                  <a:lnTo>
                    <a:pt x="1432" y="4284"/>
                  </a:lnTo>
                  <a:lnTo>
                    <a:pt x="1434" y="4266"/>
                  </a:lnTo>
                  <a:lnTo>
                    <a:pt x="1440" y="4246"/>
                  </a:lnTo>
                  <a:lnTo>
                    <a:pt x="1448" y="4226"/>
                  </a:lnTo>
                  <a:lnTo>
                    <a:pt x="1454" y="4206"/>
                  </a:lnTo>
                  <a:lnTo>
                    <a:pt x="1456" y="4196"/>
                  </a:lnTo>
                  <a:lnTo>
                    <a:pt x="1454" y="4186"/>
                  </a:lnTo>
                  <a:lnTo>
                    <a:pt x="1452" y="4172"/>
                  </a:lnTo>
                  <a:lnTo>
                    <a:pt x="1448" y="4154"/>
                  </a:lnTo>
                  <a:lnTo>
                    <a:pt x="1448" y="4144"/>
                  </a:lnTo>
                  <a:lnTo>
                    <a:pt x="1450" y="4138"/>
                  </a:lnTo>
                  <a:lnTo>
                    <a:pt x="1450" y="4128"/>
                  </a:lnTo>
                  <a:lnTo>
                    <a:pt x="1446" y="4108"/>
                  </a:lnTo>
                  <a:lnTo>
                    <a:pt x="1444" y="4098"/>
                  </a:lnTo>
                  <a:lnTo>
                    <a:pt x="1442" y="4088"/>
                  </a:lnTo>
                  <a:lnTo>
                    <a:pt x="1444" y="4082"/>
                  </a:lnTo>
                  <a:lnTo>
                    <a:pt x="1444" y="4076"/>
                  </a:lnTo>
                  <a:lnTo>
                    <a:pt x="1448" y="4074"/>
                  </a:lnTo>
                  <a:lnTo>
                    <a:pt x="1452" y="4070"/>
                  </a:lnTo>
                  <a:lnTo>
                    <a:pt x="1460" y="4068"/>
                  </a:lnTo>
                  <a:lnTo>
                    <a:pt x="1470" y="4066"/>
                  </a:lnTo>
                  <a:lnTo>
                    <a:pt x="1480" y="4064"/>
                  </a:lnTo>
                  <a:lnTo>
                    <a:pt x="1488" y="4058"/>
                  </a:lnTo>
                  <a:lnTo>
                    <a:pt x="1490" y="4054"/>
                  </a:lnTo>
                  <a:lnTo>
                    <a:pt x="1492" y="4050"/>
                  </a:lnTo>
                  <a:lnTo>
                    <a:pt x="1494" y="4040"/>
                  </a:lnTo>
                  <a:lnTo>
                    <a:pt x="1496" y="4038"/>
                  </a:lnTo>
                  <a:lnTo>
                    <a:pt x="1498" y="4038"/>
                  </a:lnTo>
                  <a:lnTo>
                    <a:pt x="1502" y="4040"/>
                  </a:lnTo>
                  <a:lnTo>
                    <a:pt x="1506" y="4042"/>
                  </a:lnTo>
                  <a:lnTo>
                    <a:pt x="1512" y="4042"/>
                  </a:lnTo>
                  <a:lnTo>
                    <a:pt x="1520" y="4040"/>
                  </a:lnTo>
                  <a:lnTo>
                    <a:pt x="1530" y="4032"/>
                  </a:lnTo>
                  <a:lnTo>
                    <a:pt x="1536" y="4024"/>
                  </a:lnTo>
                  <a:lnTo>
                    <a:pt x="1538" y="4020"/>
                  </a:lnTo>
                  <a:lnTo>
                    <a:pt x="1538" y="4016"/>
                  </a:lnTo>
                  <a:lnTo>
                    <a:pt x="1538" y="4014"/>
                  </a:lnTo>
                  <a:lnTo>
                    <a:pt x="1538" y="4010"/>
                  </a:lnTo>
                  <a:lnTo>
                    <a:pt x="1542" y="4004"/>
                  </a:lnTo>
                  <a:lnTo>
                    <a:pt x="1550" y="3996"/>
                  </a:lnTo>
                  <a:lnTo>
                    <a:pt x="1566" y="3982"/>
                  </a:lnTo>
                  <a:lnTo>
                    <a:pt x="1584" y="3966"/>
                  </a:lnTo>
                  <a:lnTo>
                    <a:pt x="1600" y="3950"/>
                  </a:lnTo>
                  <a:lnTo>
                    <a:pt x="1624" y="3918"/>
                  </a:lnTo>
                  <a:lnTo>
                    <a:pt x="1644" y="3892"/>
                  </a:lnTo>
                  <a:lnTo>
                    <a:pt x="1654" y="3880"/>
                  </a:lnTo>
                  <a:lnTo>
                    <a:pt x="1666" y="3870"/>
                  </a:lnTo>
                  <a:lnTo>
                    <a:pt x="1674" y="3866"/>
                  </a:lnTo>
                  <a:lnTo>
                    <a:pt x="1680" y="3864"/>
                  </a:lnTo>
                  <a:lnTo>
                    <a:pt x="1688" y="3864"/>
                  </a:lnTo>
                  <a:lnTo>
                    <a:pt x="1692" y="3864"/>
                  </a:lnTo>
                  <a:lnTo>
                    <a:pt x="1696" y="3860"/>
                  </a:lnTo>
                  <a:lnTo>
                    <a:pt x="1704" y="3852"/>
                  </a:lnTo>
                  <a:lnTo>
                    <a:pt x="1714" y="3840"/>
                  </a:lnTo>
                  <a:lnTo>
                    <a:pt x="1722" y="3828"/>
                  </a:lnTo>
                  <a:lnTo>
                    <a:pt x="1724" y="3816"/>
                  </a:lnTo>
                  <a:lnTo>
                    <a:pt x="1724" y="3808"/>
                  </a:lnTo>
                  <a:lnTo>
                    <a:pt x="1722" y="3802"/>
                  </a:lnTo>
                  <a:lnTo>
                    <a:pt x="1720" y="3796"/>
                  </a:lnTo>
                  <a:lnTo>
                    <a:pt x="1720" y="3790"/>
                  </a:lnTo>
                  <a:lnTo>
                    <a:pt x="1724" y="3784"/>
                  </a:lnTo>
                  <a:lnTo>
                    <a:pt x="1736" y="3778"/>
                  </a:lnTo>
                  <a:lnTo>
                    <a:pt x="1748" y="3772"/>
                  </a:lnTo>
                  <a:lnTo>
                    <a:pt x="1756" y="3766"/>
                  </a:lnTo>
                  <a:lnTo>
                    <a:pt x="1768" y="3758"/>
                  </a:lnTo>
                  <a:lnTo>
                    <a:pt x="1770" y="3756"/>
                  </a:lnTo>
                  <a:lnTo>
                    <a:pt x="1772" y="3756"/>
                  </a:lnTo>
                  <a:lnTo>
                    <a:pt x="1774" y="3766"/>
                  </a:lnTo>
                  <a:lnTo>
                    <a:pt x="1774" y="3772"/>
                  </a:lnTo>
                  <a:lnTo>
                    <a:pt x="1778" y="3776"/>
                  </a:lnTo>
                  <a:lnTo>
                    <a:pt x="1780" y="3778"/>
                  </a:lnTo>
                  <a:lnTo>
                    <a:pt x="1784" y="3778"/>
                  </a:lnTo>
                  <a:lnTo>
                    <a:pt x="1790" y="3774"/>
                  </a:lnTo>
                  <a:lnTo>
                    <a:pt x="1794" y="3774"/>
                  </a:lnTo>
                  <a:lnTo>
                    <a:pt x="1798" y="3774"/>
                  </a:lnTo>
                  <a:lnTo>
                    <a:pt x="1804" y="3776"/>
                  </a:lnTo>
                  <a:lnTo>
                    <a:pt x="1808" y="3776"/>
                  </a:lnTo>
                  <a:lnTo>
                    <a:pt x="1810" y="3774"/>
                  </a:lnTo>
                  <a:lnTo>
                    <a:pt x="1808" y="3768"/>
                  </a:lnTo>
                  <a:lnTo>
                    <a:pt x="1806" y="3760"/>
                  </a:lnTo>
                  <a:lnTo>
                    <a:pt x="1806" y="3758"/>
                  </a:lnTo>
                  <a:lnTo>
                    <a:pt x="1810" y="3756"/>
                  </a:lnTo>
                  <a:lnTo>
                    <a:pt x="1812" y="3762"/>
                  </a:lnTo>
                  <a:lnTo>
                    <a:pt x="1816" y="3766"/>
                  </a:lnTo>
                  <a:lnTo>
                    <a:pt x="1818" y="3766"/>
                  </a:lnTo>
                  <a:lnTo>
                    <a:pt x="1820" y="3766"/>
                  </a:lnTo>
                  <a:lnTo>
                    <a:pt x="1824" y="3766"/>
                  </a:lnTo>
                  <a:lnTo>
                    <a:pt x="1826" y="3766"/>
                  </a:lnTo>
                  <a:lnTo>
                    <a:pt x="1828" y="3768"/>
                  </a:lnTo>
                  <a:lnTo>
                    <a:pt x="1830" y="3770"/>
                  </a:lnTo>
                  <a:lnTo>
                    <a:pt x="1832" y="3770"/>
                  </a:lnTo>
                  <a:lnTo>
                    <a:pt x="1836" y="3764"/>
                  </a:lnTo>
                  <a:lnTo>
                    <a:pt x="1842" y="3760"/>
                  </a:lnTo>
                  <a:lnTo>
                    <a:pt x="1844" y="3760"/>
                  </a:lnTo>
                  <a:lnTo>
                    <a:pt x="1848" y="3762"/>
                  </a:lnTo>
                  <a:lnTo>
                    <a:pt x="1852" y="3766"/>
                  </a:lnTo>
                  <a:lnTo>
                    <a:pt x="1856" y="3764"/>
                  </a:lnTo>
                  <a:lnTo>
                    <a:pt x="1860" y="3762"/>
                  </a:lnTo>
                  <a:lnTo>
                    <a:pt x="1864" y="3756"/>
                  </a:lnTo>
                  <a:lnTo>
                    <a:pt x="1866" y="3748"/>
                  </a:lnTo>
                  <a:lnTo>
                    <a:pt x="1868" y="3740"/>
                  </a:lnTo>
                  <a:lnTo>
                    <a:pt x="1868" y="3734"/>
                  </a:lnTo>
                  <a:lnTo>
                    <a:pt x="1866" y="3726"/>
                  </a:lnTo>
                  <a:lnTo>
                    <a:pt x="1864" y="3716"/>
                  </a:lnTo>
                  <a:lnTo>
                    <a:pt x="1866" y="3706"/>
                  </a:lnTo>
                  <a:lnTo>
                    <a:pt x="1866" y="3698"/>
                  </a:lnTo>
                  <a:lnTo>
                    <a:pt x="1866" y="3690"/>
                  </a:lnTo>
                  <a:lnTo>
                    <a:pt x="1864" y="3686"/>
                  </a:lnTo>
                  <a:lnTo>
                    <a:pt x="1866" y="3684"/>
                  </a:lnTo>
                  <a:lnTo>
                    <a:pt x="1868" y="3680"/>
                  </a:lnTo>
                  <a:lnTo>
                    <a:pt x="1870" y="3676"/>
                  </a:lnTo>
                  <a:lnTo>
                    <a:pt x="1872" y="3678"/>
                  </a:lnTo>
                  <a:lnTo>
                    <a:pt x="1872" y="3684"/>
                  </a:lnTo>
                  <a:lnTo>
                    <a:pt x="1876" y="3710"/>
                  </a:lnTo>
                  <a:lnTo>
                    <a:pt x="1880" y="3720"/>
                  </a:lnTo>
                  <a:lnTo>
                    <a:pt x="1882" y="3724"/>
                  </a:lnTo>
                  <a:lnTo>
                    <a:pt x="1884" y="3726"/>
                  </a:lnTo>
                  <a:lnTo>
                    <a:pt x="1888" y="3726"/>
                  </a:lnTo>
                  <a:lnTo>
                    <a:pt x="1890" y="3726"/>
                  </a:lnTo>
                  <a:lnTo>
                    <a:pt x="1898" y="3722"/>
                  </a:lnTo>
                  <a:lnTo>
                    <a:pt x="1900" y="3720"/>
                  </a:lnTo>
                  <a:lnTo>
                    <a:pt x="1904" y="3720"/>
                  </a:lnTo>
                  <a:lnTo>
                    <a:pt x="1906" y="3722"/>
                  </a:lnTo>
                  <a:lnTo>
                    <a:pt x="1910" y="3726"/>
                  </a:lnTo>
                  <a:lnTo>
                    <a:pt x="1916" y="3738"/>
                  </a:lnTo>
                  <a:lnTo>
                    <a:pt x="1922" y="3760"/>
                  </a:lnTo>
                  <a:lnTo>
                    <a:pt x="1926" y="3768"/>
                  </a:lnTo>
                  <a:lnTo>
                    <a:pt x="1928" y="3772"/>
                  </a:lnTo>
                  <a:lnTo>
                    <a:pt x="1928" y="3774"/>
                  </a:lnTo>
                  <a:lnTo>
                    <a:pt x="1928" y="3780"/>
                  </a:lnTo>
                  <a:lnTo>
                    <a:pt x="1926" y="3786"/>
                  </a:lnTo>
                  <a:lnTo>
                    <a:pt x="1926" y="3792"/>
                  </a:lnTo>
                  <a:lnTo>
                    <a:pt x="1930" y="3804"/>
                  </a:lnTo>
                  <a:lnTo>
                    <a:pt x="1934" y="3814"/>
                  </a:lnTo>
                  <a:lnTo>
                    <a:pt x="1936" y="3810"/>
                  </a:lnTo>
                  <a:lnTo>
                    <a:pt x="1936" y="3800"/>
                  </a:lnTo>
                  <a:lnTo>
                    <a:pt x="1938" y="3806"/>
                  </a:lnTo>
                  <a:lnTo>
                    <a:pt x="1942" y="3816"/>
                  </a:lnTo>
                  <a:lnTo>
                    <a:pt x="1946" y="3828"/>
                  </a:lnTo>
                  <a:lnTo>
                    <a:pt x="1952" y="3838"/>
                  </a:lnTo>
                  <a:lnTo>
                    <a:pt x="1968" y="3862"/>
                  </a:lnTo>
                  <a:lnTo>
                    <a:pt x="1972" y="3864"/>
                  </a:lnTo>
                  <a:lnTo>
                    <a:pt x="1974" y="3860"/>
                  </a:lnTo>
                  <a:lnTo>
                    <a:pt x="1976" y="3856"/>
                  </a:lnTo>
                  <a:lnTo>
                    <a:pt x="1978" y="3854"/>
                  </a:lnTo>
                  <a:lnTo>
                    <a:pt x="1980" y="3854"/>
                  </a:lnTo>
                  <a:lnTo>
                    <a:pt x="1982" y="3854"/>
                  </a:lnTo>
                  <a:lnTo>
                    <a:pt x="1990" y="3862"/>
                  </a:lnTo>
                  <a:lnTo>
                    <a:pt x="1994" y="3870"/>
                  </a:lnTo>
                  <a:lnTo>
                    <a:pt x="1998" y="3876"/>
                  </a:lnTo>
                  <a:lnTo>
                    <a:pt x="2004" y="3882"/>
                  </a:lnTo>
                  <a:lnTo>
                    <a:pt x="2008" y="3886"/>
                  </a:lnTo>
                  <a:lnTo>
                    <a:pt x="2008" y="3888"/>
                  </a:lnTo>
                  <a:lnTo>
                    <a:pt x="2006" y="3890"/>
                  </a:lnTo>
                  <a:lnTo>
                    <a:pt x="2002" y="3892"/>
                  </a:lnTo>
                  <a:lnTo>
                    <a:pt x="2000" y="3892"/>
                  </a:lnTo>
                  <a:lnTo>
                    <a:pt x="1996" y="3890"/>
                  </a:lnTo>
                  <a:lnTo>
                    <a:pt x="1992" y="3886"/>
                  </a:lnTo>
                  <a:lnTo>
                    <a:pt x="1990" y="3886"/>
                  </a:lnTo>
                  <a:lnTo>
                    <a:pt x="1988" y="3888"/>
                  </a:lnTo>
                  <a:lnTo>
                    <a:pt x="1986" y="3890"/>
                  </a:lnTo>
                  <a:lnTo>
                    <a:pt x="1986" y="3894"/>
                  </a:lnTo>
                  <a:lnTo>
                    <a:pt x="1992" y="3904"/>
                  </a:lnTo>
                  <a:lnTo>
                    <a:pt x="1998" y="3910"/>
                  </a:lnTo>
                  <a:lnTo>
                    <a:pt x="2000" y="3912"/>
                  </a:lnTo>
                  <a:lnTo>
                    <a:pt x="2000" y="3910"/>
                  </a:lnTo>
                  <a:lnTo>
                    <a:pt x="2002" y="3904"/>
                  </a:lnTo>
                  <a:lnTo>
                    <a:pt x="2004" y="3900"/>
                  </a:lnTo>
                  <a:lnTo>
                    <a:pt x="2006" y="3900"/>
                  </a:lnTo>
                  <a:lnTo>
                    <a:pt x="2010" y="3912"/>
                  </a:lnTo>
                  <a:lnTo>
                    <a:pt x="2016" y="3930"/>
                  </a:lnTo>
                  <a:lnTo>
                    <a:pt x="2024" y="3950"/>
                  </a:lnTo>
                  <a:lnTo>
                    <a:pt x="2028" y="3960"/>
                  </a:lnTo>
                  <a:lnTo>
                    <a:pt x="2032" y="3972"/>
                  </a:lnTo>
                  <a:lnTo>
                    <a:pt x="2032" y="3982"/>
                  </a:lnTo>
                  <a:lnTo>
                    <a:pt x="2030" y="3992"/>
                  </a:lnTo>
                  <a:lnTo>
                    <a:pt x="2016" y="4034"/>
                  </a:lnTo>
                  <a:lnTo>
                    <a:pt x="2014" y="4050"/>
                  </a:lnTo>
                  <a:lnTo>
                    <a:pt x="2014" y="4056"/>
                  </a:lnTo>
                  <a:lnTo>
                    <a:pt x="2016" y="4058"/>
                  </a:lnTo>
                  <a:lnTo>
                    <a:pt x="2020" y="4058"/>
                  </a:lnTo>
                  <a:lnTo>
                    <a:pt x="2022" y="4056"/>
                  </a:lnTo>
                  <a:lnTo>
                    <a:pt x="2026" y="4050"/>
                  </a:lnTo>
                  <a:lnTo>
                    <a:pt x="2028" y="4044"/>
                  </a:lnTo>
                  <a:lnTo>
                    <a:pt x="2030" y="4042"/>
                  </a:lnTo>
                  <a:lnTo>
                    <a:pt x="2034" y="4042"/>
                  </a:lnTo>
                  <a:lnTo>
                    <a:pt x="2036" y="4042"/>
                  </a:lnTo>
                  <a:lnTo>
                    <a:pt x="2036" y="4044"/>
                  </a:lnTo>
                  <a:lnTo>
                    <a:pt x="2032" y="4048"/>
                  </a:lnTo>
                  <a:lnTo>
                    <a:pt x="2032" y="4054"/>
                  </a:lnTo>
                  <a:lnTo>
                    <a:pt x="2032" y="4056"/>
                  </a:lnTo>
                  <a:lnTo>
                    <a:pt x="2036" y="4060"/>
                  </a:lnTo>
                  <a:lnTo>
                    <a:pt x="2040" y="4064"/>
                  </a:lnTo>
                  <a:lnTo>
                    <a:pt x="2042" y="4064"/>
                  </a:lnTo>
                  <a:lnTo>
                    <a:pt x="2046" y="4062"/>
                  </a:lnTo>
                  <a:lnTo>
                    <a:pt x="2048" y="4060"/>
                  </a:lnTo>
                  <a:lnTo>
                    <a:pt x="2050" y="4060"/>
                  </a:lnTo>
                  <a:lnTo>
                    <a:pt x="2052" y="4062"/>
                  </a:lnTo>
                  <a:lnTo>
                    <a:pt x="2056" y="4066"/>
                  </a:lnTo>
                  <a:lnTo>
                    <a:pt x="2062" y="4070"/>
                  </a:lnTo>
                  <a:lnTo>
                    <a:pt x="2066" y="4068"/>
                  </a:lnTo>
                  <a:lnTo>
                    <a:pt x="2068" y="4066"/>
                  </a:lnTo>
                  <a:lnTo>
                    <a:pt x="2072" y="4060"/>
                  </a:lnTo>
                  <a:lnTo>
                    <a:pt x="2080" y="4048"/>
                  </a:lnTo>
                  <a:lnTo>
                    <a:pt x="2086" y="4042"/>
                  </a:lnTo>
                  <a:lnTo>
                    <a:pt x="2092" y="4038"/>
                  </a:lnTo>
                  <a:lnTo>
                    <a:pt x="2106" y="4032"/>
                  </a:lnTo>
                  <a:lnTo>
                    <a:pt x="2112" y="4028"/>
                  </a:lnTo>
                  <a:lnTo>
                    <a:pt x="2118" y="4024"/>
                  </a:lnTo>
                  <a:lnTo>
                    <a:pt x="2122" y="4016"/>
                  </a:lnTo>
                  <a:lnTo>
                    <a:pt x="2124" y="4008"/>
                  </a:lnTo>
                  <a:lnTo>
                    <a:pt x="2126" y="3998"/>
                  </a:lnTo>
                  <a:lnTo>
                    <a:pt x="2122" y="3986"/>
                  </a:lnTo>
                  <a:lnTo>
                    <a:pt x="2128" y="3990"/>
                  </a:lnTo>
                  <a:lnTo>
                    <a:pt x="2130" y="3992"/>
                  </a:lnTo>
                  <a:lnTo>
                    <a:pt x="2132" y="3998"/>
                  </a:lnTo>
                  <a:lnTo>
                    <a:pt x="2132" y="4002"/>
                  </a:lnTo>
                  <a:lnTo>
                    <a:pt x="2136" y="4004"/>
                  </a:lnTo>
                  <a:lnTo>
                    <a:pt x="2138" y="4008"/>
                  </a:lnTo>
                  <a:lnTo>
                    <a:pt x="2140" y="4020"/>
                  </a:lnTo>
                  <a:lnTo>
                    <a:pt x="2144" y="4028"/>
                  </a:lnTo>
                  <a:lnTo>
                    <a:pt x="2146" y="4030"/>
                  </a:lnTo>
                  <a:lnTo>
                    <a:pt x="2148" y="4032"/>
                  </a:lnTo>
                  <a:lnTo>
                    <a:pt x="2152" y="4030"/>
                  </a:lnTo>
                  <a:lnTo>
                    <a:pt x="2156" y="4028"/>
                  </a:lnTo>
                  <a:lnTo>
                    <a:pt x="2158" y="4028"/>
                  </a:lnTo>
                  <a:lnTo>
                    <a:pt x="2156" y="4032"/>
                  </a:lnTo>
                  <a:lnTo>
                    <a:pt x="2152" y="4040"/>
                  </a:lnTo>
                  <a:lnTo>
                    <a:pt x="2150" y="4046"/>
                  </a:lnTo>
                  <a:lnTo>
                    <a:pt x="2150" y="4052"/>
                  </a:lnTo>
                  <a:lnTo>
                    <a:pt x="2154" y="4060"/>
                  </a:lnTo>
                  <a:lnTo>
                    <a:pt x="2156" y="4070"/>
                  </a:lnTo>
                  <a:lnTo>
                    <a:pt x="2158" y="4092"/>
                  </a:lnTo>
                  <a:lnTo>
                    <a:pt x="2160" y="4114"/>
                  </a:lnTo>
                  <a:lnTo>
                    <a:pt x="2164" y="4128"/>
                  </a:lnTo>
                  <a:lnTo>
                    <a:pt x="2168" y="4140"/>
                  </a:lnTo>
                  <a:lnTo>
                    <a:pt x="2172" y="4154"/>
                  </a:lnTo>
                  <a:lnTo>
                    <a:pt x="2172" y="4172"/>
                  </a:lnTo>
                  <a:lnTo>
                    <a:pt x="2174" y="4172"/>
                  </a:lnTo>
                  <a:lnTo>
                    <a:pt x="2176" y="4166"/>
                  </a:lnTo>
                  <a:lnTo>
                    <a:pt x="2178" y="4168"/>
                  </a:lnTo>
                  <a:lnTo>
                    <a:pt x="2180" y="4172"/>
                  </a:lnTo>
                  <a:lnTo>
                    <a:pt x="2184" y="4186"/>
                  </a:lnTo>
                  <a:lnTo>
                    <a:pt x="2188" y="4198"/>
                  </a:lnTo>
                  <a:lnTo>
                    <a:pt x="2190" y="4208"/>
                  </a:lnTo>
                  <a:lnTo>
                    <a:pt x="2192" y="4216"/>
                  </a:lnTo>
                  <a:lnTo>
                    <a:pt x="2194" y="4224"/>
                  </a:lnTo>
                  <a:lnTo>
                    <a:pt x="2192" y="4232"/>
                  </a:lnTo>
                  <a:lnTo>
                    <a:pt x="2192" y="4240"/>
                  </a:lnTo>
                  <a:lnTo>
                    <a:pt x="2192" y="4242"/>
                  </a:lnTo>
                  <a:lnTo>
                    <a:pt x="2194" y="4246"/>
                  </a:lnTo>
                  <a:lnTo>
                    <a:pt x="2194" y="4248"/>
                  </a:lnTo>
                  <a:lnTo>
                    <a:pt x="2194" y="4250"/>
                  </a:lnTo>
                  <a:lnTo>
                    <a:pt x="2192" y="4258"/>
                  </a:lnTo>
                  <a:lnTo>
                    <a:pt x="2190" y="4266"/>
                  </a:lnTo>
                  <a:lnTo>
                    <a:pt x="2192" y="4268"/>
                  </a:lnTo>
                  <a:lnTo>
                    <a:pt x="2196" y="4268"/>
                  </a:lnTo>
                  <a:lnTo>
                    <a:pt x="2198" y="4268"/>
                  </a:lnTo>
                  <a:lnTo>
                    <a:pt x="2200" y="4270"/>
                  </a:lnTo>
                  <a:lnTo>
                    <a:pt x="2200" y="4276"/>
                  </a:lnTo>
                  <a:lnTo>
                    <a:pt x="2196" y="4286"/>
                  </a:lnTo>
                  <a:lnTo>
                    <a:pt x="2196" y="4298"/>
                  </a:lnTo>
                  <a:lnTo>
                    <a:pt x="2194" y="4306"/>
                  </a:lnTo>
                  <a:lnTo>
                    <a:pt x="2192" y="4310"/>
                  </a:lnTo>
                  <a:lnTo>
                    <a:pt x="2190" y="4320"/>
                  </a:lnTo>
                  <a:lnTo>
                    <a:pt x="2188" y="4344"/>
                  </a:lnTo>
                  <a:lnTo>
                    <a:pt x="2188" y="4352"/>
                  </a:lnTo>
                  <a:lnTo>
                    <a:pt x="2190" y="4352"/>
                  </a:lnTo>
                  <a:lnTo>
                    <a:pt x="2198" y="4336"/>
                  </a:lnTo>
                  <a:lnTo>
                    <a:pt x="2198" y="4340"/>
                  </a:lnTo>
                  <a:lnTo>
                    <a:pt x="2198" y="4346"/>
                  </a:lnTo>
                  <a:lnTo>
                    <a:pt x="2190" y="4360"/>
                  </a:lnTo>
                  <a:lnTo>
                    <a:pt x="2186" y="4368"/>
                  </a:lnTo>
                  <a:lnTo>
                    <a:pt x="2188" y="4372"/>
                  </a:lnTo>
                  <a:lnTo>
                    <a:pt x="2188" y="4374"/>
                  </a:lnTo>
                  <a:lnTo>
                    <a:pt x="2186" y="4380"/>
                  </a:lnTo>
                  <a:lnTo>
                    <a:pt x="2182" y="4390"/>
                  </a:lnTo>
                  <a:lnTo>
                    <a:pt x="2182" y="4396"/>
                  </a:lnTo>
                  <a:lnTo>
                    <a:pt x="2182" y="4400"/>
                  </a:lnTo>
                  <a:lnTo>
                    <a:pt x="2180" y="4406"/>
                  </a:lnTo>
                  <a:lnTo>
                    <a:pt x="2178" y="4416"/>
                  </a:lnTo>
                  <a:lnTo>
                    <a:pt x="2176" y="4426"/>
                  </a:lnTo>
                  <a:lnTo>
                    <a:pt x="2178" y="4434"/>
                  </a:lnTo>
                  <a:lnTo>
                    <a:pt x="2180" y="4440"/>
                  </a:lnTo>
                  <a:lnTo>
                    <a:pt x="2182" y="4442"/>
                  </a:lnTo>
                  <a:lnTo>
                    <a:pt x="2184" y="4442"/>
                  </a:lnTo>
                  <a:lnTo>
                    <a:pt x="2186" y="4438"/>
                  </a:lnTo>
                  <a:lnTo>
                    <a:pt x="2190" y="4432"/>
                  </a:lnTo>
                  <a:lnTo>
                    <a:pt x="2190" y="4430"/>
                  </a:lnTo>
                  <a:lnTo>
                    <a:pt x="2192" y="4430"/>
                  </a:lnTo>
                  <a:lnTo>
                    <a:pt x="2198" y="4438"/>
                  </a:lnTo>
                  <a:lnTo>
                    <a:pt x="2204" y="4450"/>
                  </a:lnTo>
                  <a:lnTo>
                    <a:pt x="2210" y="4464"/>
                  </a:lnTo>
                  <a:lnTo>
                    <a:pt x="2220" y="4480"/>
                  </a:lnTo>
                  <a:lnTo>
                    <a:pt x="2224" y="4484"/>
                  </a:lnTo>
                  <a:lnTo>
                    <a:pt x="2228" y="4484"/>
                  </a:lnTo>
                  <a:lnTo>
                    <a:pt x="2232" y="4486"/>
                  </a:lnTo>
                  <a:lnTo>
                    <a:pt x="2234" y="4488"/>
                  </a:lnTo>
                  <a:lnTo>
                    <a:pt x="2234" y="4494"/>
                  </a:lnTo>
                  <a:lnTo>
                    <a:pt x="2234" y="4498"/>
                  </a:lnTo>
                  <a:lnTo>
                    <a:pt x="2236" y="4502"/>
                  </a:lnTo>
                  <a:lnTo>
                    <a:pt x="2238" y="4508"/>
                  </a:lnTo>
                  <a:lnTo>
                    <a:pt x="2248" y="4516"/>
                  </a:lnTo>
                  <a:lnTo>
                    <a:pt x="2254" y="4526"/>
                  </a:lnTo>
                  <a:lnTo>
                    <a:pt x="2258" y="4536"/>
                  </a:lnTo>
                  <a:lnTo>
                    <a:pt x="2262" y="4544"/>
                  </a:lnTo>
                  <a:lnTo>
                    <a:pt x="2266" y="4562"/>
                  </a:lnTo>
                  <a:lnTo>
                    <a:pt x="2266" y="4578"/>
                  </a:lnTo>
                  <a:lnTo>
                    <a:pt x="2266" y="4588"/>
                  </a:lnTo>
                  <a:lnTo>
                    <a:pt x="2264" y="4592"/>
                  </a:lnTo>
                  <a:lnTo>
                    <a:pt x="2264" y="4596"/>
                  </a:lnTo>
                  <a:lnTo>
                    <a:pt x="2268" y="4600"/>
                  </a:lnTo>
                  <a:lnTo>
                    <a:pt x="2270" y="4602"/>
                  </a:lnTo>
                  <a:lnTo>
                    <a:pt x="2272" y="4606"/>
                  </a:lnTo>
                  <a:lnTo>
                    <a:pt x="2274" y="4612"/>
                  </a:lnTo>
                  <a:lnTo>
                    <a:pt x="2272" y="4622"/>
                  </a:lnTo>
                  <a:lnTo>
                    <a:pt x="2272" y="4634"/>
                  </a:lnTo>
                  <a:lnTo>
                    <a:pt x="2276" y="4638"/>
                  </a:lnTo>
                  <a:lnTo>
                    <a:pt x="2278" y="4640"/>
                  </a:lnTo>
                  <a:lnTo>
                    <a:pt x="2278" y="4644"/>
                  </a:lnTo>
                  <a:lnTo>
                    <a:pt x="2278" y="4648"/>
                  </a:lnTo>
                  <a:lnTo>
                    <a:pt x="2282" y="4654"/>
                  </a:lnTo>
                  <a:lnTo>
                    <a:pt x="2292" y="4666"/>
                  </a:lnTo>
                  <a:lnTo>
                    <a:pt x="2296" y="4672"/>
                  </a:lnTo>
                  <a:lnTo>
                    <a:pt x="2300" y="4680"/>
                  </a:lnTo>
                  <a:lnTo>
                    <a:pt x="2302" y="4688"/>
                  </a:lnTo>
                  <a:lnTo>
                    <a:pt x="2302" y="4696"/>
                  </a:lnTo>
                  <a:lnTo>
                    <a:pt x="2302" y="4700"/>
                  </a:lnTo>
                  <a:lnTo>
                    <a:pt x="2302" y="4702"/>
                  </a:lnTo>
                  <a:lnTo>
                    <a:pt x="2308" y="4708"/>
                  </a:lnTo>
                  <a:lnTo>
                    <a:pt x="2320" y="4716"/>
                  </a:lnTo>
                  <a:lnTo>
                    <a:pt x="2330" y="4724"/>
                  </a:lnTo>
                  <a:lnTo>
                    <a:pt x="2344" y="4736"/>
                  </a:lnTo>
                  <a:lnTo>
                    <a:pt x="2354" y="4746"/>
                  </a:lnTo>
                  <a:lnTo>
                    <a:pt x="2364" y="4754"/>
                  </a:lnTo>
                  <a:lnTo>
                    <a:pt x="2376" y="4760"/>
                  </a:lnTo>
                  <a:lnTo>
                    <a:pt x="2382" y="4764"/>
                  </a:lnTo>
                  <a:lnTo>
                    <a:pt x="2384" y="4766"/>
                  </a:lnTo>
                  <a:lnTo>
                    <a:pt x="2386" y="4770"/>
                  </a:lnTo>
                  <a:lnTo>
                    <a:pt x="2390" y="4776"/>
                  </a:lnTo>
                  <a:lnTo>
                    <a:pt x="2392" y="4774"/>
                  </a:lnTo>
                  <a:lnTo>
                    <a:pt x="2396" y="4770"/>
                  </a:lnTo>
                  <a:lnTo>
                    <a:pt x="2400" y="4770"/>
                  </a:lnTo>
                  <a:lnTo>
                    <a:pt x="2404" y="4770"/>
                  </a:lnTo>
                  <a:lnTo>
                    <a:pt x="2408" y="4770"/>
                  </a:lnTo>
                  <a:lnTo>
                    <a:pt x="2410" y="4768"/>
                  </a:lnTo>
                  <a:lnTo>
                    <a:pt x="2410" y="4764"/>
                  </a:lnTo>
                  <a:lnTo>
                    <a:pt x="2414" y="4764"/>
                  </a:lnTo>
                  <a:lnTo>
                    <a:pt x="2416" y="4766"/>
                  </a:lnTo>
                  <a:lnTo>
                    <a:pt x="2414" y="4770"/>
                  </a:lnTo>
                  <a:lnTo>
                    <a:pt x="2414" y="4772"/>
                  </a:lnTo>
                  <a:lnTo>
                    <a:pt x="2418" y="4774"/>
                  </a:lnTo>
                  <a:lnTo>
                    <a:pt x="2420" y="4774"/>
                  </a:lnTo>
                  <a:lnTo>
                    <a:pt x="2422" y="4772"/>
                  </a:lnTo>
                  <a:lnTo>
                    <a:pt x="2422" y="4766"/>
                  </a:lnTo>
                  <a:lnTo>
                    <a:pt x="2420" y="4756"/>
                  </a:lnTo>
                  <a:lnTo>
                    <a:pt x="2416" y="4750"/>
                  </a:lnTo>
                  <a:lnTo>
                    <a:pt x="2414" y="4744"/>
                  </a:lnTo>
                  <a:lnTo>
                    <a:pt x="2412" y="4740"/>
                  </a:lnTo>
                  <a:lnTo>
                    <a:pt x="2410" y="4730"/>
                  </a:lnTo>
                  <a:lnTo>
                    <a:pt x="2406" y="4718"/>
                  </a:lnTo>
                  <a:lnTo>
                    <a:pt x="2402" y="4714"/>
                  </a:lnTo>
                  <a:lnTo>
                    <a:pt x="2398" y="4708"/>
                  </a:lnTo>
                  <a:lnTo>
                    <a:pt x="2392" y="4704"/>
                  </a:lnTo>
                  <a:lnTo>
                    <a:pt x="2388" y="4698"/>
                  </a:lnTo>
                  <a:lnTo>
                    <a:pt x="2388" y="4690"/>
                  </a:lnTo>
                  <a:lnTo>
                    <a:pt x="2388" y="4684"/>
                  </a:lnTo>
                  <a:lnTo>
                    <a:pt x="2390" y="4672"/>
                  </a:lnTo>
                  <a:lnTo>
                    <a:pt x="2390" y="4668"/>
                  </a:lnTo>
                  <a:lnTo>
                    <a:pt x="2386" y="4664"/>
                  </a:lnTo>
                  <a:lnTo>
                    <a:pt x="2384" y="4658"/>
                  </a:lnTo>
                  <a:lnTo>
                    <a:pt x="2386" y="4654"/>
                  </a:lnTo>
                  <a:lnTo>
                    <a:pt x="2386" y="4648"/>
                  </a:lnTo>
                  <a:lnTo>
                    <a:pt x="2388" y="4642"/>
                  </a:lnTo>
                  <a:lnTo>
                    <a:pt x="2388" y="4636"/>
                  </a:lnTo>
                  <a:lnTo>
                    <a:pt x="2388" y="4628"/>
                  </a:lnTo>
                  <a:lnTo>
                    <a:pt x="2390" y="4616"/>
                  </a:lnTo>
                  <a:lnTo>
                    <a:pt x="2386" y="4600"/>
                  </a:lnTo>
                  <a:lnTo>
                    <a:pt x="2384" y="4592"/>
                  </a:lnTo>
                  <a:lnTo>
                    <a:pt x="2378" y="4584"/>
                  </a:lnTo>
                  <a:lnTo>
                    <a:pt x="2366" y="4570"/>
                  </a:lnTo>
                  <a:lnTo>
                    <a:pt x="2354" y="4558"/>
                  </a:lnTo>
                  <a:lnTo>
                    <a:pt x="2350" y="4552"/>
                  </a:lnTo>
                  <a:lnTo>
                    <a:pt x="2348" y="4546"/>
                  </a:lnTo>
                  <a:lnTo>
                    <a:pt x="2344" y="4540"/>
                  </a:lnTo>
                  <a:lnTo>
                    <a:pt x="2342" y="4538"/>
                  </a:lnTo>
                  <a:lnTo>
                    <a:pt x="2334" y="4536"/>
                  </a:lnTo>
                  <a:lnTo>
                    <a:pt x="2324" y="4526"/>
                  </a:lnTo>
                  <a:lnTo>
                    <a:pt x="2310" y="4508"/>
                  </a:lnTo>
                  <a:lnTo>
                    <a:pt x="2306" y="4502"/>
                  </a:lnTo>
                  <a:lnTo>
                    <a:pt x="2304" y="4502"/>
                  </a:lnTo>
                  <a:lnTo>
                    <a:pt x="2300" y="4504"/>
                  </a:lnTo>
                  <a:lnTo>
                    <a:pt x="2296" y="4504"/>
                  </a:lnTo>
                  <a:lnTo>
                    <a:pt x="2292" y="4504"/>
                  </a:lnTo>
                  <a:lnTo>
                    <a:pt x="2286" y="4500"/>
                  </a:lnTo>
                  <a:lnTo>
                    <a:pt x="2276" y="4494"/>
                  </a:lnTo>
                  <a:lnTo>
                    <a:pt x="2272" y="4486"/>
                  </a:lnTo>
                  <a:lnTo>
                    <a:pt x="2270" y="4476"/>
                  </a:lnTo>
                  <a:lnTo>
                    <a:pt x="2264" y="4454"/>
                  </a:lnTo>
                  <a:lnTo>
                    <a:pt x="2262" y="4434"/>
                  </a:lnTo>
                  <a:lnTo>
                    <a:pt x="2260" y="4428"/>
                  </a:lnTo>
                  <a:lnTo>
                    <a:pt x="2258" y="4426"/>
                  </a:lnTo>
                  <a:lnTo>
                    <a:pt x="2254" y="4426"/>
                  </a:lnTo>
                  <a:lnTo>
                    <a:pt x="2252" y="4424"/>
                  </a:lnTo>
                  <a:lnTo>
                    <a:pt x="2248" y="4416"/>
                  </a:lnTo>
                  <a:lnTo>
                    <a:pt x="2244" y="4402"/>
                  </a:lnTo>
                  <a:lnTo>
                    <a:pt x="2244" y="4388"/>
                  </a:lnTo>
                  <a:lnTo>
                    <a:pt x="2242" y="4386"/>
                  </a:lnTo>
                  <a:lnTo>
                    <a:pt x="2240" y="4384"/>
                  </a:lnTo>
                  <a:lnTo>
                    <a:pt x="2230" y="4388"/>
                  </a:lnTo>
                  <a:lnTo>
                    <a:pt x="2226" y="4390"/>
                  </a:lnTo>
                  <a:lnTo>
                    <a:pt x="2222" y="4390"/>
                  </a:lnTo>
                  <a:lnTo>
                    <a:pt x="2220" y="4388"/>
                  </a:lnTo>
                  <a:lnTo>
                    <a:pt x="2220" y="4382"/>
                  </a:lnTo>
                  <a:lnTo>
                    <a:pt x="2218" y="4352"/>
                  </a:lnTo>
                  <a:lnTo>
                    <a:pt x="2218" y="4330"/>
                  </a:lnTo>
                  <a:lnTo>
                    <a:pt x="2220" y="4320"/>
                  </a:lnTo>
                  <a:lnTo>
                    <a:pt x="2224" y="4316"/>
                  </a:lnTo>
                  <a:lnTo>
                    <a:pt x="2226" y="4310"/>
                  </a:lnTo>
                  <a:lnTo>
                    <a:pt x="2228" y="4306"/>
                  </a:lnTo>
                  <a:lnTo>
                    <a:pt x="2232" y="4296"/>
                  </a:lnTo>
                  <a:lnTo>
                    <a:pt x="2234" y="4284"/>
                  </a:lnTo>
                  <a:lnTo>
                    <a:pt x="2236" y="4274"/>
                  </a:lnTo>
                  <a:lnTo>
                    <a:pt x="2242" y="4258"/>
                  </a:lnTo>
                  <a:lnTo>
                    <a:pt x="2248" y="4232"/>
                  </a:lnTo>
                  <a:lnTo>
                    <a:pt x="2252" y="4208"/>
                  </a:lnTo>
                  <a:lnTo>
                    <a:pt x="2252" y="4200"/>
                  </a:lnTo>
                  <a:lnTo>
                    <a:pt x="2252" y="4196"/>
                  </a:lnTo>
                  <a:lnTo>
                    <a:pt x="2248" y="4192"/>
                  </a:lnTo>
                  <a:lnTo>
                    <a:pt x="2248" y="4190"/>
                  </a:lnTo>
                  <a:lnTo>
                    <a:pt x="2248" y="4186"/>
                  </a:lnTo>
                  <a:lnTo>
                    <a:pt x="2250" y="4184"/>
                  </a:lnTo>
                  <a:lnTo>
                    <a:pt x="2252" y="4180"/>
                  </a:lnTo>
                  <a:lnTo>
                    <a:pt x="2256" y="4178"/>
                  </a:lnTo>
                  <a:lnTo>
                    <a:pt x="2272" y="4176"/>
                  </a:lnTo>
                  <a:lnTo>
                    <a:pt x="2278" y="4178"/>
                  </a:lnTo>
                  <a:lnTo>
                    <a:pt x="2282" y="4180"/>
                  </a:lnTo>
                  <a:lnTo>
                    <a:pt x="2286" y="4182"/>
                  </a:lnTo>
                  <a:lnTo>
                    <a:pt x="2286" y="4184"/>
                  </a:lnTo>
                  <a:lnTo>
                    <a:pt x="2284" y="4194"/>
                  </a:lnTo>
                  <a:lnTo>
                    <a:pt x="2282" y="4210"/>
                  </a:lnTo>
                  <a:lnTo>
                    <a:pt x="2282" y="4220"/>
                  </a:lnTo>
                  <a:lnTo>
                    <a:pt x="2284" y="4222"/>
                  </a:lnTo>
                  <a:lnTo>
                    <a:pt x="2286" y="4222"/>
                  </a:lnTo>
                  <a:lnTo>
                    <a:pt x="2292" y="4222"/>
                  </a:lnTo>
                  <a:lnTo>
                    <a:pt x="2296" y="4222"/>
                  </a:lnTo>
                  <a:lnTo>
                    <a:pt x="2300" y="4222"/>
                  </a:lnTo>
                  <a:lnTo>
                    <a:pt x="2304" y="4224"/>
                  </a:lnTo>
                  <a:lnTo>
                    <a:pt x="2306" y="4224"/>
                  </a:lnTo>
                  <a:lnTo>
                    <a:pt x="2310" y="4220"/>
                  </a:lnTo>
                  <a:lnTo>
                    <a:pt x="2316" y="4218"/>
                  </a:lnTo>
                  <a:lnTo>
                    <a:pt x="2318" y="4218"/>
                  </a:lnTo>
                  <a:lnTo>
                    <a:pt x="2322" y="4220"/>
                  </a:lnTo>
                  <a:lnTo>
                    <a:pt x="2330" y="4228"/>
                  </a:lnTo>
                  <a:lnTo>
                    <a:pt x="2336" y="4236"/>
                  </a:lnTo>
                  <a:lnTo>
                    <a:pt x="2342" y="4244"/>
                  </a:lnTo>
                  <a:lnTo>
                    <a:pt x="2346" y="4246"/>
                  </a:lnTo>
                  <a:lnTo>
                    <a:pt x="2350" y="4248"/>
                  </a:lnTo>
                  <a:lnTo>
                    <a:pt x="2354" y="4250"/>
                  </a:lnTo>
                  <a:lnTo>
                    <a:pt x="2356" y="4252"/>
                  </a:lnTo>
                  <a:lnTo>
                    <a:pt x="2360" y="4258"/>
                  </a:lnTo>
                  <a:lnTo>
                    <a:pt x="2362" y="4266"/>
                  </a:lnTo>
                  <a:lnTo>
                    <a:pt x="2364" y="4268"/>
                  </a:lnTo>
                  <a:lnTo>
                    <a:pt x="2368" y="4268"/>
                  </a:lnTo>
                  <a:lnTo>
                    <a:pt x="2362" y="4256"/>
                  </a:lnTo>
                  <a:lnTo>
                    <a:pt x="2362" y="4246"/>
                  </a:lnTo>
                  <a:lnTo>
                    <a:pt x="2362" y="4256"/>
                  </a:lnTo>
                  <a:lnTo>
                    <a:pt x="2368" y="4268"/>
                  </a:lnTo>
                  <a:lnTo>
                    <a:pt x="2374" y="4280"/>
                  </a:lnTo>
                  <a:lnTo>
                    <a:pt x="2376" y="4286"/>
                  </a:lnTo>
                  <a:lnTo>
                    <a:pt x="2374" y="4292"/>
                  </a:lnTo>
                  <a:lnTo>
                    <a:pt x="2374" y="4300"/>
                  </a:lnTo>
                  <a:lnTo>
                    <a:pt x="2376" y="4310"/>
                  </a:lnTo>
                  <a:lnTo>
                    <a:pt x="2378" y="4310"/>
                  </a:lnTo>
                  <a:lnTo>
                    <a:pt x="2380" y="4308"/>
                  </a:lnTo>
                  <a:lnTo>
                    <a:pt x="2386" y="4308"/>
                  </a:lnTo>
                  <a:lnTo>
                    <a:pt x="2388" y="4308"/>
                  </a:lnTo>
                  <a:lnTo>
                    <a:pt x="2388" y="4304"/>
                  </a:lnTo>
                  <a:lnTo>
                    <a:pt x="2388" y="4298"/>
                  </a:lnTo>
                  <a:lnTo>
                    <a:pt x="2388" y="4296"/>
                  </a:lnTo>
                  <a:lnTo>
                    <a:pt x="2390" y="4294"/>
                  </a:lnTo>
                  <a:lnTo>
                    <a:pt x="2392" y="4296"/>
                  </a:lnTo>
                  <a:lnTo>
                    <a:pt x="2396" y="4300"/>
                  </a:lnTo>
                  <a:lnTo>
                    <a:pt x="2398" y="4304"/>
                  </a:lnTo>
                  <a:lnTo>
                    <a:pt x="2398" y="4308"/>
                  </a:lnTo>
                  <a:lnTo>
                    <a:pt x="2394" y="4314"/>
                  </a:lnTo>
                  <a:lnTo>
                    <a:pt x="2390" y="4320"/>
                  </a:lnTo>
                  <a:lnTo>
                    <a:pt x="2390" y="4322"/>
                  </a:lnTo>
                  <a:lnTo>
                    <a:pt x="2392" y="4324"/>
                  </a:lnTo>
                  <a:lnTo>
                    <a:pt x="2396" y="4326"/>
                  </a:lnTo>
                  <a:lnTo>
                    <a:pt x="2398" y="4326"/>
                  </a:lnTo>
                  <a:lnTo>
                    <a:pt x="2402" y="4324"/>
                  </a:lnTo>
                  <a:lnTo>
                    <a:pt x="2404" y="4322"/>
                  </a:lnTo>
                  <a:lnTo>
                    <a:pt x="2406" y="4320"/>
                  </a:lnTo>
                  <a:lnTo>
                    <a:pt x="2406" y="4322"/>
                  </a:lnTo>
                  <a:lnTo>
                    <a:pt x="2412" y="4324"/>
                  </a:lnTo>
                  <a:lnTo>
                    <a:pt x="2416" y="4324"/>
                  </a:lnTo>
                  <a:lnTo>
                    <a:pt x="2422" y="4326"/>
                  </a:lnTo>
                  <a:lnTo>
                    <a:pt x="2424" y="4328"/>
                  </a:lnTo>
                  <a:lnTo>
                    <a:pt x="2428" y="4334"/>
                  </a:lnTo>
                  <a:lnTo>
                    <a:pt x="2430" y="4340"/>
                  </a:lnTo>
                  <a:lnTo>
                    <a:pt x="2434" y="4344"/>
                  </a:lnTo>
                  <a:lnTo>
                    <a:pt x="2436" y="4344"/>
                  </a:lnTo>
                  <a:lnTo>
                    <a:pt x="2438" y="4344"/>
                  </a:lnTo>
                  <a:lnTo>
                    <a:pt x="2444" y="4342"/>
                  </a:lnTo>
                  <a:lnTo>
                    <a:pt x="2446" y="4342"/>
                  </a:lnTo>
                  <a:lnTo>
                    <a:pt x="2450" y="4346"/>
                  </a:lnTo>
                  <a:lnTo>
                    <a:pt x="2452" y="4350"/>
                  </a:lnTo>
                  <a:lnTo>
                    <a:pt x="2452" y="4352"/>
                  </a:lnTo>
                  <a:lnTo>
                    <a:pt x="2448" y="4360"/>
                  </a:lnTo>
                  <a:lnTo>
                    <a:pt x="2444" y="4370"/>
                  </a:lnTo>
                  <a:lnTo>
                    <a:pt x="2442" y="4378"/>
                  </a:lnTo>
                  <a:lnTo>
                    <a:pt x="2440" y="4388"/>
                  </a:lnTo>
                  <a:lnTo>
                    <a:pt x="2440" y="4410"/>
                  </a:lnTo>
                  <a:lnTo>
                    <a:pt x="2442" y="4422"/>
                  </a:lnTo>
                  <a:lnTo>
                    <a:pt x="2444" y="4424"/>
                  </a:lnTo>
                  <a:lnTo>
                    <a:pt x="2446" y="4424"/>
                  </a:lnTo>
                  <a:lnTo>
                    <a:pt x="2450" y="4422"/>
                  </a:lnTo>
                  <a:lnTo>
                    <a:pt x="2456" y="4416"/>
                  </a:lnTo>
                  <a:lnTo>
                    <a:pt x="2478" y="4396"/>
                  </a:lnTo>
                  <a:lnTo>
                    <a:pt x="2488" y="4388"/>
                  </a:lnTo>
                  <a:lnTo>
                    <a:pt x="2496" y="4384"/>
                  </a:lnTo>
                  <a:lnTo>
                    <a:pt x="2500" y="4382"/>
                  </a:lnTo>
                  <a:lnTo>
                    <a:pt x="2502" y="4380"/>
                  </a:lnTo>
                  <a:lnTo>
                    <a:pt x="2502" y="4376"/>
                  </a:lnTo>
                  <a:lnTo>
                    <a:pt x="2502" y="4374"/>
                  </a:lnTo>
                  <a:lnTo>
                    <a:pt x="2508" y="4372"/>
                  </a:lnTo>
                  <a:lnTo>
                    <a:pt x="2512" y="4370"/>
                  </a:lnTo>
                  <a:lnTo>
                    <a:pt x="2516" y="4364"/>
                  </a:lnTo>
                  <a:lnTo>
                    <a:pt x="2520" y="4346"/>
                  </a:lnTo>
                  <a:lnTo>
                    <a:pt x="2524" y="4328"/>
                  </a:lnTo>
                  <a:lnTo>
                    <a:pt x="2526" y="4324"/>
                  </a:lnTo>
                  <a:lnTo>
                    <a:pt x="2526" y="4322"/>
                  </a:lnTo>
                  <a:lnTo>
                    <a:pt x="2528" y="4324"/>
                  </a:lnTo>
                  <a:lnTo>
                    <a:pt x="2534" y="4328"/>
                  </a:lnTo>
                  <a:lnTo>
                    <a:pt x="2536" y="4330"/>
                  </a:lnTo>
                  <a:lnTo>
                    <a:pt x="2538" y="4332"/>
                  </a:lnTo>
                  <a:lnTo>
                    <a:pt x="2544" y="4332"/>
                  </a:lnTo>
                  <a:lnTo>
                    <a:pt x="2548" y="4330"/>
                  </a:lnTo>
                  <a:lnTo>
                    <a:pt x="2556" y="4326"/>
                  </a:lnTo>
                  <a:lnTo>
                    <a:pt x="2566" y="4318"/>
                  </a:lnTo>
                  <a:lnTo>
                    <a:pt x="2576" y="4310"/>
                  </a:lnTo>
                  <a:lnTo>
                    <a:pt x="2584" y="4304"/>
                  </a:lnTo>
                  <a:lnTo>
                    <a:pt x="2598" y="4296"/>
                  </a:lnTo>
                  <a:lnTo>
                    <a:pt x="2604" y="4292"/>
                  </a:lnTo>
                  <a:lnTo>
                    <a:pt x="2610" y="4286"/>
                  </a:lnTo>
                  <a:lnTo>
                    <a:pt x="2614" y="4280"/>
                  </a:lnTo>
                  <a:lnTo>
                    <a:pt x="2618" y="4272"/>
                  </a:lnTo>
                  <a:lnTo>
                    <a:pt x="2622" y="4252"/>
                  </a:lnTo>
                  <a:lnTo>
                    <a:pt x="2622" y="4238"/>
                  </a:lnTo>
                  <a:lnTo>
                    <a:pt x="2624" y="4228"/>
                  </a:lnTo>
                  <a:lnTo>
                    <a:pt x="2624" y="4224"/>
                  </a:lnTo>
                  <a:lnTo>
                    <a:pt x="2626" y="4222"/>
                  </a:lnTo>
                  <a:lnTo>
                    <a:pt x="2628" y="4222"/>
                  </a:lnTo>
                  <a:lnTo>
                    <a:pt x="2630" y="4220"/>
                  </a:lnTo>
                  <a:lnTo>
                    <a:pt x="2630" y="4214"/>
                  </a:lnTo>
                  <a:lnTo>
                    <a:pt x="2628" y="4206"/>
                  </a:lnTo>
                  <a:lnTo>
                    <a:pt x="2624" y="4198"/>
                  </a:lnTo>
                  <a:lnTo>
                    <a:pt x="2622" y="4194"/>
                  </a:lnTo>
                  <a:lnTo>
                    <a:pt x="2622" y="4190"/>
                  </a:lnTo>
                  <a:lnTo>
                    <a:pt x="2624" y="4174"/>
                  </a:lnTo>
                  <a:lnTo>
                    <a:pt x="2624" y="4152"/>
                  </a:lnTo>
                  <a:lnTo>
                    <a:pt x="2622" y="4138"/>
                  </a:lnTo>
                  <a:lnTo>
                    <a:pt x="2616" y="4122"/>
                  </a:lnTo>
                  <a:lnTo>
                    <a:pt x="2606" y="4096"/>
                  </a:lnTo>
                  <a:lnTo>
                    <a:pt x="2598" y="4080"/>
                  </a:lnTo>
                  <a:lnTo>
                    <a:pt x="2590" y="4068"/>
                  </a:lnTo>
                  <a:lnTo>
                    <a:pt x="2584" y="4056"/>
                  </a:lnTo>
                  <a:lnTo>
                    <a:pt x="2580" y="4046"/>
                  </a:lnTo>
                  <a:lnTo>
                    <a:pt x="2572" y="4042"/>
                  </a:lnTo>
                  <a:lnTo>
                    <a:pt x="2562" y="4034"/>
                  </a:lnTo>
                  <a:lnTo>
                    <a:pt x="2548" y="4020"/>
                  </a:lnTo>
                  <a:lnTo>
                    <a:pt x="2534" y="4002"/>
                  </a:lnTo>
                  <a:lnTo>
                    <a:pt x="2522" y="3986"/>
                  </a:lnTo>
                  <a:lnTo>
                    <a:pt x="2514" y="3972"/>
                  </a:lnTo>
                  <a:lnTo>
                    <a:pt x="2510" y="3966"/>
                  </a:lnTo>
                  <a:lnTo>
                    <a:pt x="2510" y="3960"/>
                  </a:lnTo>
                  <a:lnTo>
                    <a:pt x="2508" y="3954"/>
                  </a:lnTo>
                  <a:lnTo>
                    <a:pt x="2506" y="3950"/>
                  </a:lnTo>
                  <a:lnTo>
                    <a:pt x="2500" y="3946"/>
                  </a:lnTo>
                  <a:lnTo>
                    <a:pt x="2492" y="3940"/>
                  </a:lnTo>
                  <a:lnTo>
                    <a:pt x="2486" y="3934"/>
                  </a:lnTo>
                  <a:lnTo>
                    <a:pt x="2482" y="3926"/>
                  </a:lnTo>
                  <a:lnTo>
                    <a:pt x="2478" y="3916"/>
                  </a:lnTo>
                  <a:lnTo>
                    <a:pt x="2478" y="3904"/>
                  </a:lnTo>
                  <a:lnTo>
                    <a:pt x="2480" y="3894"/>
                  </a:lnTo>
                  <a:lnTo>
                    <a:pt x="2482" y="3884"/>
                  </a:lnTo>
                  <a:lnTo>
                    <a:pt x="2486" y="3874"/>
                  </a:lnTo>
                  <a:lnTo>
                    <a:pt x="2492" y="3864"/>
                  </a:lnTo>
                  <a:lnTo>
                    <a:pt x="2498" y="3856"/>
                  </a:lnTo>
                  <a:lnTo>
                    <a:pt x="2506" y="3848"/>
                  </a:lnTo>
                  <a:lnTo>
                    <a:pt x="2512" y="3842"/>
                  </a:lnTo>
                  <a:lnTo>
                    <a:pt x="2516" y="3836"/>
                  </a:lnTo>
                  <a:lnTo>
                    <a:pt x="2518" y="3826"/>
                  </a:lnTo>
                  <a:lnTo>
                    <a:pt x="2520" y="3816"/>
                  </a:lnTo>
                  <a:lnTo>
                    <a:pt x="2522" y="3812"/>
                  </a:lnTo>
                  <a:lnTo>
                    <a:pt x="2526" y="3808"/>
                  </a:lnTo>
                  <a:lnTo>
                    <a:pt x="2532" y="3806"/>
                  </a:lnTo>
                  <a:lnTo>
                    <a:pt x="2534" y="3806"/>
                  </a:lnTo>
                  <a:lnTo>
                    <a:pt x="2536" y="3808"/>
                  </a:lnTo>
                  <a:lnTo>
                    <a:pt x="2540" y="3808"/>
                  </a:lnTo>
                  <a:lnTo>
                    <a:pt x="2544" y="3804"/>
                  </a:lnTo>
                  <a:lnTo>
                    <a:pt x="2546" y="3800"/>
                  </a:lnTo>
                  <a:lnTo>
                    <a:pt x="2548" y="3794"/>
                  </a:lnTo>
                  <a:lnTo>
                    <a:pt x="2554" y="3790"/>
                  </a:lnTo>
                  <a:lnTo>
                    <a:pt x="2562" y="3784"/>
                  </a:lnTo>
                  <a:lnTo>
                    <a:pt x="2568" y="3782"/>
                  </a:lnTo>
                  <a:lnTo>
                    <a:pt x="2572" y="3782"/>
                  </a:lnTo>
                  <a:lnTo>
                    <a:pt x="2574" y="3778"/>
                  </a:lnTo>
                  <a:lnTo>
                    <a:pt x="2576" y="3780"/>
                  </a:lnTo>
                  <a:lnTo>
                    <a:pt x="2578" y="3780"/>
                  </a:lnTo>
                  <a:lnTo>
                    <a:pt x="2582" y="3780"/>
                  </a:lnTo>
                  <a:lnTo>
                    <a:pt x="2584" y="3776"/>
                  </a:lnTo>
                  <a:lnTo>
                    <a:pt x="2584" y="3774"/>
                  </a:lnTo>
                  <a:lnTo>
                    <a:pt x="2586" y="3776"/>
                  </a:lnTo>
                  <a:lnTo>
                    <a:pt x="2590" y="3778"/>
                  </a:lnTo>
                  <a:lnTo>
                    <a:pt x="2592" y="3778"/>
                  </a:lnTo>
                  <a:lnTo>
                    <a:pt x="2594" y="3774"/>
                  </a:lnTo>
                  <a:lnTo>
                    <a:pt x="2592" y="3772"/>
                  </a:lnTo>
                  <a:lnTo>
                    <a:pt x="2592" y="3768"/>
                  </a:lnTo>
                  <a:lnTo>
                    <a:pt x="2592" y="3762"/>
                  </a:lnTo>
                  <a:lnTo>
                    <a:pt x="2592" y="3760"/>
                  </a:lnTo>
                  <a:lnTo>
                    <a:pt x="2594" y="3762"/>
                  </a:lnTo>
                  <a:lnTo>
                    <a:pt x="2596" y="3766"/>
                  </a:lnTo>
                  <a:lnTo>
                    <a:pt x="2602" y="3772"/>
                  </a:lnTo>
                  <a:lnTo>
                    <a:pt x="2604" y="3774"/>
                  </a:lnTo>
                  <a:lnTo>
                    <a:pt x="2610" y="3776"/>
                  </a:lnTo>
                  <a:lnTo>
                    <a:pt x="2614" y="3776"/>
                  </a:lnTo>
                  <a:lnTo>
                    <a:pt x="2616" y="3778"/>
                  </a:lnTo>
                  <a:lnTo>
                    <a:pt x="2614" y="3782"/>
                  </a:lnTo>
                  <a:lnTo>
                    <a:pt x="2614" y="3784"/>
                  </a:lnTo>
                  <a:lnTo>
                    <a:pt x="2616" y="3786"/>
                  </a:lnTo>
                  <a:lnTo>
                    <a:pt x="2620" y="3786"/>
                  </a:lnTo>
                  <a:lnTo>
                    <a:pt x="2630" y="3784"/>
                  </a:lnTo>
                  <a:lnTo>
                    <a:pt x="2632" y="3782"/>
                  </a:lnTo>
                  <a:lnTo>
                    <a:pt x="2634" y="3778"/>
                  </a:lnTo>
                  <a:lnTo>
                    <a:pt x="2632" y="3772"/>
                  </a:lnTo>
                  <a:lnTo>
                    <a:pt x="2634" y="3772"/>
                  </a:lnTo>
                  <a:lnTo>
                    <a:pt x="2636" y="3778"/>
                  </a:lnTo>
                  <a:lnTo>
                    <a:pt x="2640" y="3782"/>
                  </a:lnTo>
                  <a:lnTo>
                    <a:pt x="2642" y="3782"/>
                  </a:lnTo>
                  <a:lnTo>
                    <a:pt x="2644" y="3782"/>
                  </a:lnTo>
                  <a:lnTo>
                    <a:pt x="2648" y="3784"/>
                  </a:lnTo>
                  <a:lnTo>
                    <a:pt x="2648" y="3786"/>
                  </a:lnTo>
                  <a:lnTo>
                    <a:pt x="2646" y="3788"/>
                  </a:lnTo>
                  <a:lnTo>
                    <a:pt x="2642" y="3794"/>
                  </a:lnTo>
                  <a:lnTo>
                    <a:pt x="2640" y="3802"/>
                  </a:lnTo>
                  <a:lnTo>
                    <a:pt x="2638" y="3810"/>
                  </a:lnTo>
                  <a:lnTo>
                    <a:pt x="2640" y="3816"/>
                  </a:lnTo>
                  <a:lnTo>
                    <a:pt x="2642" y="3818"/>
                  </a:lnTo>
                  <a:lnTo>
                    <a:pt x="2642" y="3820"/>
                  </a:lnTo>
                  <a:lnTo>
                    <a:pt x="2642" y="3824"/>
                  </a:lnTo>
                  <a:lnTo>
                    <a:pt x="2644" y="3828"/>
                  </a:lnTo>
                  <a:lnTo>
                    <a:pt x="2646" y="3832"/>
                  </a:lnTo>
                  <a:lnTo>
                    <a:pt x="2648" y="3836"/>
                  </a:lnTo>
                  <a:lnTo>
                    <a:pt x="2648" y="3840"/>
                  </a:lnTo>
                  <a:lnTo>
                    <a:pt x="2648" y="3842"/>
                  </a:lnTo>
                  <a:lnTo>
                    <a:pt x="2652" y="3844"/>
                  </a:lnTo>
                  <a:lnTo>
                    <a:pt x="2664" y="3842"/>
                  </a:lnTo>
                  <a:lnTo>
                    <a:pt x="2672" y="3838"/>
                  </a:lnTo>
                  <a:lnTo>
                    <a:pt x="2674" y="3836"/>
                  </a:lnTo>
                  <a:lnTo>
                    <a:pt x="2674" y="3834"/>
                  </a:lnTo>
                  <a:lnTo>
                    <a:pt x="2670" y="3828"/>
                  </a:lnTo>
                  <a:lnTo>
                    <a:pt x="2668" y="3820"/>
                  </a:lnTo>
                  <a:lnTo>
                    <a:pt x="2666" y="3814"/>
                  </a:lnTo>
                  <a:lnTo>
                    <a:pt x="2662" y="3812"/>
                  </a:lnTo>
                  <a:lnTo>
                    <a:pt x="2660" y="3812"/>
                  </a:lnTo>
                  <a:lnTo>
                    <a:pt x="2658" y="3810"/>
                  </a:lnTo>
                  <a:lnTo>
                    <a:pt x="2660" y="3804"/>
                  </a:lnTo>
                  <a:lnTo>
                    <a:pt x="2666" y="3800"/>
                  </a:lnTo>
                  <a:lnTo>
                    <a:pt x="2684" y="3788"/>
                  </a:lnTo>
                  <a:lnTo>
                    <a:pt x="2692" y="3784"/>
                  </a:lnTo>
                  <a:lnTo>
                    <a:pt x="2698" y="3782"/>
                  </a:lnTo>
                  <a:lnTo>
                    <a:pt x="2704" y="3784"/>
                  </a:lnTo>
                  <a:lnTo>
                    <a:pt x="2716" y="3780"/>
                  </a:lnTo>
                  <a:lnTo>
                    <a:pt x="2722" y="3778"/>
                  </a:lnTo>
                  <a:lnTo>
                    <a:pt x="2726" y="3774"/>
                  </a:lnTo>
                  <a:lnTo>
                    <a:pt x="2730" y="3768"/>
                  </a:lnTo>
                  <a:lnTo>
                    <a:pt x="2730" y="3764"/>
                  </a:lnTo>
                  <a:lnTo>
                    <a:pt x="2736" y="3766"/>
                  </a:lnTo>
                  <a:lnTo>
                    <a:pt x="2740" y="3768"/>
                  </a:lnTo>
                  <a:lnTo>
                    <a:pt x="2742" y="3772"/>
                  </a:lnTo>
                  <a:lnTo>
                    <a:pt x="2746" y="3768"/>
                  </a:lnTo>
                  <a:lnTo>
                    <a:pt x="2750" y="3764"/>
                  </a:lnTo>
                  <a:lnTo>
                    <a:pt x="2752" y="3766"/>
                  </a:lnTo>
                  <a:lnTo>
                    <a:pt x="2754" y="3768"/>
                  </a:lnTo>
                  <a:lnTo>
                    <a:pt x="2758" y="3764"/>
                  </a:lnTo>
                  <a:lnTo>
                    <a:pt x="2762" y="3760"/>
                  </a:lnTo>
                  <a:lnTo>
                    <a:pt x="2764" y="3760"/>
                  </a:lnTo>
                  <a:lnTo>
                    <a:pt x="2768" y="3760"/>
                  </a:lnTo>
                  <a:lnTo>
                    <a:pt x="2772" y="3762"/>
                  </a:lnTo>
                  <a:lnTo>
                    <a:pt x="2774" y="3760"/>
                  </a:lnTo>
                  <a:lnTo>
                    <a:pt x="2774" y="3756"/>
                  </a:lnTo>
                  <a:lnTo>
                    <a:pt x="2776" y="3750"/>
                  </a:lnTo>
                  <a:lnTo>
                    <a:pt x="2778" y="3752"/>
                  </a:lnTo>
                  <a:lnTo>
                    <a:pt x="2780" y="3754"/>
                  </a:lnTo>
                  <a:lnTo>
                    <a:pt x="2782" y="3754"/>
                  </a:lnTo>
                  <a:lnTo>
                    <a:pt x="2784" y="3752"/>
                  </a:lnTo>
                  <a:lnTo>
                    <a:pt x="2788" y="3748"/>
                  </a:lnTo>
                  <a:lnTo>
                    <a:pt x="2790" y="3748"/>
                  </a:lnTo>
                  <a:lnTo>
                    <a:pt x="2792" y="3748"/>
                  </a:lnTo>
                  <a:lnTo>
                    <a:pt x="2796" y="3744"/>
                  </a:lnTo>
                  <a:lnTo>
                    <a:pt x="2798" y="3740"/>
                  </a:lnTo>
                  <a:lnTo>
                    <a:pt x="2798" y="3736"/>
                  </a:lnTo>
                  <a:lnTo>
                    <a:pt x="2794" y="3724"/>
                  </a:lnTo>
                  <a:lnTo>
                    <a:pt x="2792" y="3714"/>
                  </a:lnTo>
                  <a:lnTo>
                    <a:pt x="2790" y="3712"/>
                  </a:lnTo>
                  <a:lnTo>
                    <a:pt x="2792" y="3708"/>
                  </a:lnTo>
                  <a:lnTo>
                    <a:pt x="2794" y="3708"/>
                  </a:lnTo>
                  <a:lnTo>
                    <a:pt x="2796" y="3710"/>
                  </a:lnTo>
                  <a:lnTo>
                    <a:pt x="2804" y="3720"/>
                  </a:lnTo>
                  <a:lnTo>
                    <a:pt x="2808" y="3726"/>
                  </a:lnTo>
                  <a:lnTo>
                    <a:pt x="2812" y="3730"/>
                  </a:lnTo>
                  <a:lnTo>
                    <a:pt x="2810" y="3734"/>
                  </a:lnTo>
                  <a:lnTo>
                    <a:pt x="2810" y="3738"/>
                  </a:lnTo>
                  <a:lnTo>
                    <a:pt x="2812" y="3738"/>
                  </a:lnTo>
                  <a:lnTo>
                    <a:pt x="2818" y="3740"/>
                  </a:lnTo>
                  <a:lnTo>
                    <a:pt x="2820" y="3742"/>
                  </a:lnTo>
                  <a:lnTo>
                    <a:pt x="2824" y="3742"/>
                  </a:lnTo>
                  <a:lnTo>
                    <a:pt x="2826" y="3740"/>
                  </a:lnTo>
                  <a:lnTo>
                    <a:pt x="2828" y="3736"/>
                  </a:lnTo>
                  <a:lnTo>
                    <a:pt x="2828" y="3734"/>
                  </a:lnTo>
                  <a:lnTo>
                    <a:pt x="2826" y="3730"/>
                  </a:lnTo>
                  <a:lnTo>
                    <a:pt x="2826" y="3726"/>
                  </a:lnTo>
                  <a:lnTo>
                    <a:pt x="2826" y="3724"/>
                  </a:lnTo>
                  <a:lnTo>
                    <a:pt x="2828" y="3724"/>
                  </a:lnTo>
                  <a:lnTo>
                    <a:pt x="2830" y="3728"/>
                  </a:lnTo>
                  <a:lnTo>
                    <a:pt x="2834" y="3730"/>
                  </a:lnTo>
                  <a:lnTo>
                    <a:pt x="2836" y="3732"/>
                  </a:lnTo>
                  <a:lnTo>
                    <a:pt x="2838" y="3730"/>
                  </a:lnTo>
                  <a:lnTo>
                    <a:pt x="2840" y="3728"/>
                  </a:lnTo>
                  <a:lnTo>
                    <a:pt x="2838" y="3724"/>
                  </a:lnTo>
                  <a:lnTo>
                    <a:pt x="2836" y="3720"/>
                  </a:lnTo>
                  <a:lnTo>
                    <a:pt x="2838" y="3718"/>
                  </a:lnTo>
                  <a:lnTo>
                    <a:pt x="2840" y="3716"/>
                  </a:lnTo>
                  <a:lnTo>
                    <a:pt x="2842" y="3716"/>
                  </a:lnTo>
                  <a:lnTo>
                    <a:pt x="2844" y="3718"/>
                  </a:lnTo>
                  <a:lnTo>
                    <a:pt x="2846" y="3724"/>
                  </a:lnTo>
                  <a:lnTo>
                    <a:pt x="2846" y="3726"/>
                  </a:lnTo>
                  <a:lnTo>
                    <a:pt x="2848" y="3728"/>
                  </a:lnTo>
                  <a:lnTo>
                    <a:pt x="2850" y="3728"/>
                  </a:lnTo>
                  <a:lnTo>
                    <a:pt x="2854" y="3724"/>
                  </a:lnTo>
                  <a:lnTo>
                    <a:pt x="2860" y="3718"/>
                  </a:lnTo>
                  <a:lnTo>
                    <a:pt x="2864" y="3716"/>
                  </a:lnTo>
                  <a:lnTo>
                    <a:pt x="2874" y="3722"/>
                  </a:lnTo>
                  <a:lnTo>
                    <a:pt x="2876" y="3722"/>
                  </a:lnTo>
                  <a:lnTo>
                    <a:pt x="2878" y="3722"/>
                  </a:lnTo>
                  <a:lnTo>
                    <a:pt x="2878" y="3718"/>
                  </a:lnTo>
                  <a:lnTo>
                    <a:pt x="2878" y="3714"/>
                  </a:lnTo>
                  <a:lnTo>
                    <a:pt x="2878" y="3712"/>
                  </a:lnTo>
                  <a:lnTo>
                    <a:pt x="2880" y="3712"/>
                  </a:lnTo>
                  <a:lnTo>
                    <a:pt x="2882" y="3712"/>
                  </a:lnTo>
                  <a:lnTo>
                    <a:pt x="2884" y="3716"/>
                  </a:lnTo>
                  <a:lnTo>
                    <a:pt x="2886" y="3718"/>
                  </a:lnTo>
                  <a:lnTo>
                    <a:pt x="2894" y="3716"/>
                  </a:lnTo>
                  <a:lnTo>
                    <a:pt x="2902" y="3712"/>
                  </a:lnTo>
                  <a:lnTo>
                    <a:pt x="2910" y="3710"/>
                  </a:lnTo>
                  <a:lnTo>
                    <a:pt x="2914" y="3706"/>
                  </a:lnTo>
                  <a:lnTo>
                    <a:pt x="2916" y="3702"/>
                  </a:lnTo>
                  <a:lnTo>
                    <a:pt x="2918" y="3698"/>
                  </a:lnTo>
                  <a:lnTo>
                    <a:pt x="2918" y="3696"/>
                  </a:lnTo>
                  <a:lnTo>
                    <a:pt x="2922" y="3694"/>
                  </a:lnTo>
                  <a:lnTo>
                    <a:pt x="2926" y="3692"/>
                  </a:lnTo>
                  <a:lnTo>
                    <a:pt x="2924" y="3690"/>
                  </a:lnTo>
                  <a:lnTo>
                    <a:pt x="2922" y="3688"/>
                  </a:lnTo>
                  <a:lnTo>
                    <a:pt x="2924" y="3686"/>
                  </a:lnTo>
                  <a:lnTo>
                    <a:pt x="2926" y="3684"/>
                  </a:lnTo>
                  <a:lnTo>
                    <a:pt x="2930" y="3678"/>
                  </a:lnTo>
                  <a:lnTo>
                    <a:pt x="2932" y="3674"/>
                  </a:lnTo>
                  <a:lnTo>
                    <a:pt x="2936" y="3674"/>
                  </a:lnTo>
                  <a:lnTo>
                    <a:pt x="2940" y="3674"/>
                  </a:lnTo>
                  <a:lnTo>
                    <a:pt x="2944" y="3672"/>
                  </a:lnTo>
                  <a:lnTo>
                    <a:pt x="2948" y="3668"/>
                  </a:lnTo>
                  <a:lnTo>
                    <a:pt x="2954" y="3662"/>
                  </a:lnTo>
                  <a:lnTo>
                    <a:pt x="2956" y="3662"/>
                  </a:lnTo>
                  <a:lnTo>
                    <a:pt x="2956" y="3664"/>
                  </a:lnTo>
                  <a:lnTo>
                    <a:pt x="2958" y="3666"/>
                  </a:lnTo>
                  <a:lnTo>
                    <a:pt x="2960" y="3662"/>
                  </a:lnTo>
                  <a:lnTo>
                    <a:pt x="2974" y="3648"/>
                  </a:lnTo>
                  <a:lnTo>
                    <a:pt x="2980" y="3642"/>
                  </a:lnTo>
                  <a:lnTo>
                    <a:pt x="2980" y="3638"/>
                  </a:lnTo>
                  <a:lnTo>
                    <a:pt x="2978" y="3636"/>
                  </a:lnTo>
                  <a:lnTo>
                    <a:pt x="2976" y="3632"/>
                  </a:lnTo>
                  <a:lnTo>
                    <a:pt x="2978" y="3626"/>
                  </a:lnTo>
                  <a:lnTo>
                    <a:pt x="2980" y="3624"/>
                  </a:lnTo>
                  <a:lnTo>
                    <a:pt x="2982" y="3624"/>
                  </a:lnTo>
                  <a:lnTo>
                    <a:pt x="2984" y="3626"/>
                  </a:lnTo>
                  <a:lnTo>
                    <a:pt x="2986" y="3628"/>
                  </a:lnTo>
                  <a:lnTo>
                    <a:pt x="2988" y="3626"/>
                  </a:lnTo>
                  <a:lnTo>
                    <a:pt x="2990" y="3626"/>
                  </a:lnTo>
                  <a:lnTo>
                    <a:pt x="2994" y="3628"/>
                  </a:lnTo>
                  <a:lnTo>
                    <a:pt x="2998" y="3630"/>
                  </a:lnTo>
                  <a:lnTo>
                    <a:pt x="3000" y="3624"/>
                  </a:lnTo>
                  <a:lnTo>
                    <a:pt x="3004" y="3616"/>
                  </a:lnTo>
                  <a:lnTo>
                    <a:pt x="3008" y="3614"/>
                  </a:lnTo>
                  <a:lnTo>
                    <a:pt x="3012" y="3610"/>
                  </a:lnTo>
                  <a:lnTo>
                    <a:pt x="3016" y="3608"/>
                  </a:lnTo>
                  <a:lnTo>
                    <a:pt x="3016" y="3606"/>
                  </a:lnTo>
                  <a:lnTo>
                    <a:pt x="3012" y="3602"/>
                  </a:lnTo>
                  <a:lnTo>
                    <a:pt x="3010" y="3598"/>
                  </a:lnTo>
                  <a:lnTo>
                    <a:pt x="3010" y="3594"/>
                  </a:lnTo>
                  <a:lnTo>
                    <a:pt x="3012" y="3590"/>
                  </a:lnTo>
                  <a:lnTo>
                    <a:pt x="3014" y="3594"/>
                  </a:lnTo>
                  <a:lnTo>
                    <a:pt x="3018" y="3596"/>
                  </a:lnTo>
                  <a:lnTo>
                    <a:pt x="3022" y="3596"/>
                  </a:lnTo>
                  <a:lnTo>
                    <a:pt x="3026" y="3594"/>
                  </a:lnTo>
                  <a:lnTo>
                    <a:pt x="3030" y="3590"/>
                  </a:lnTo>
                  <a:lnTo>
                    <a:pt x="3030" y="3588"/>
                  </a:lnTo>
                  <a:lnTo>
                    <a:pt x="3028" y="3588"/>
                  </a:lnTo>
                  <a:lnTo>
                    <a:pt x="3024" y="3588"/>
                  </a:lnTo>
                  <a:lnTo>
                    <a:pt x="3020" y="3586"/>
                  </a:lnTo>
                  <a:lnTo>
                    <a:pt x="3020" y="3582"/>
                  </a:lnTo>
                  <a:lnTo>
                    <a:pt x="3022" y="3578"/>
                  </a:lnTo>
                  <a:lnTo>
                    <a:pt x="3024" y="3576"/>
                  </a:lnTo>
                  <a:lnTo>
                    <a:pt x="3026" y="3576"/>
                  </a:lnTo>
                  <a:lnTo>
                    <a:pt x="3030" y="3578"/>
                  </a:lnTo>
                  <a:lnTo>
                    <a:pt x="3032" y="3580"/>
                  </a:lnTo>
                  <a:lnTo>
                    <a:pt x="3038" y="3586"/>
                  </a:lnTo>
                  <a:lnTo>
                    <a:pt x="3040" y="3586"/>
                  </a:lnTo>
                  <a:lnTo>
                    <a:pt x="3042" y="3582"/>
                  </a:lnTo>
                  <a:lnTo>
                    <a:pt x="3038" y="3576"/>
                  </a:lnTo>
                  <a:lnTo>
                    <a:pt x="3036" y="3572"/>
                  </a:lnTo>
                  <a:lnTo>
                    <a:pt x="3038" y="3568"/>
                  </a:lnTo>
                  <a:lnTo>
                    <a:pt x="3042" y="3558"/>
                  </a:lnTo>
                  <a:lnTo>
                    <a:pt x="3044" y="3552"/>
                  </a:lnTo>
                  <a:lnTo>
                    <a:pt x="3040" y="3552"/>
                  </a:lnTo>
                  <a:lnTo>
                    <a:pt x="3038" y="3552"/>
                  </a:lnTo>
                  <a:lnTo>
                    <a:pt x="3036" y="3550"/>
                  </a:lnTo>
                  <a:lnTo>
                    <a:pt x="3038" y="3546"/>
                  </a:lnTo>
                  <a:lnTo>
                    <a:pt x="3042" y="3540"/>
                  </a:lnTo>
                  <a:lnTo>
                    <a:pt x="3048" y="3536"/>
                  </a:lnTo>
                  <a:lnTo>
                    <a:pt x="3052" y="3534"/>
                  </a:lnTo>
                  <a:lnTo>
                    <a:pt x="3052" y="3532"/>
                  </a:lnTo>
                  <a:lnTo>
                    <a:pt x="3050" y="3532"/>
                  </a:lnTo>
                  <a:lnTo>
                    <a:pt x="3046" y="3526"/>
                  </a:lnTo>
                  <a:lnTo>
                    <a:pt x="3042" y="3522"/>
                  </a:lnTo>
                  <a:lnTo>
                    <a:pt x="3040" y="3518"/>
                  </a:lnTo>
                  <a:lnTo>
                    <a:pt x="3038" y="3518"/>
                  </a:lnTo>
                  <a:lnTo>
                    <a:pt x="3042" y="3516"/>
                  </a:lnTo>
                  <a:lnTo>
                    <a:pt x="3046" y="3514"/>
                  </a:lnTo>
                  <a:lnTo>
                    <a:pt x="3046" y="3516"/>
                  </a:lnTo>
                  <a:lnTo>
                    <a:pt x="3048" y="3520"/>
                  </a:lnTo>
                  <a:lnTo>
                    <a:pt x="3050" y="3524"/>
                  </a:lnTo>
                  <a:lnTo>
                    <a:pt x="3054" y="3524"/>
                  </a:lnTo>
                  <a:lnTo>
                    <a:pt x="3058" y="3522"/>
                  </a:lnTo>
                  <a:lnTo>
                    <a:pt x="3060" y="3520"/>
                  </a:lnTo>
                  <a:lnTo>
                    <a:pt x="3062" y="3518"/>
                  </a:lnTo>
                  <a:lnTo>
                    <a:pt x="3062" y="3512"/>
                  </a:lnTo>
                  <a:lnTo>
                    <a:pt x="3060" y="3510"/>
                  </a:lnTo>
                  <a:lnTo>
                    <a:pt x="3060" y="3508"/>
                  </a:lnTo>
                  <a:lnTo>
                    <a:pt x="3062" y="3506"/>
                  </a:lnTo>
                  <a:lnTo>
                    <a:pt x="3068" y="3502"/>
                  </a:lnTo>
                  <a:lnTo>
                    <a:pt x="3074" y="3492"/>
                  </a:lnTo>
                  <a:lnTo>
                    <a:pt x="3080" y="3482"/>
                  </a:lnTo>
                  <a:lnTo>
                    <a:pt x="3080" y="3478"/>
                  </a:lnTo>
                  <a:lnTo>
                    <a:pt x="3080" y="3474"/>
                  </a:lnTo>
                  <a:lnTo>
                    <a:pt x="3080" y="3470"/>
                  </a:lnTo>
                  <a:lnTo>
                    <a:pt x="3080" y="3468"/>
                  </a:lnTo>
                  <a:lnTo>
                    <a:pt x="3084" y="3462"/>
                  </a:lnTo>
                  <a:lnTo>
                    <a:pt x="3090" y="3454"/>
                  </a:lnTo>
                  <a:lnTo>
                    <a:pt x="3098" y="3440"/>
                  </a:lnTo>
                  <a:lnTo>
                    <a:pt x="3100" y="3436"/>
                  </a:lnTo>
                  <a:lnTo>
                    <a:pt x="3102" y="3432"/>
                  </a:lnTo>
                  <a:lnTo>
                    <a:pt x="3104" y="3434"/>
                  </a:lnTo>
                  <a:lnTo>
                    <a:pt x="3106" y="3436"/>
                  </a:lnTo>
                  <a:lnTo>
                    <a:pt x="3108" y="3440"/>
                  </a:lnTo>
                  <a:lnTo>
                    <a:pt x="3110" y="3440"/>
                  </a:lnTo>
                  <a:lnTo>
                    <a:pt x="3112" y="3440"/>
                  </a:lnTo>
                  <a:lnTo>
                    <a:pt x="3116" y="3436"/>
                  </a:lnTo>
                  <a:lnTo>
                    <a:pt x="3120" y="3434"/>
                  </a:lnTo>
                  <a:lnTo>
                    <a:pt x="3122" y="3432"/>
                  </a:lnTo>
                  <a:lnTo>
                    <a:pt x="3118" y="3424"/>
                  </a:lnTo>
                  <a:lnTo>
                    <a:pt x="3116" y="3420"/>
                  </a:lnTo>
                  <a:lnTo>
                    <a:pt x="3116" y="3416"/>
                  </a:lnTo>
                  <a:lnTo>
                    <a:pt x="3118" y="3414"/>
                  </a:lnTo>
                  <a:lnTo>
                    <a:pt x="3122" y="3412"/>
                  </a:lnTo>
                  <a:lnTo>
                    <a:pt x="3122" y="3410"/>
                  </a:lnTo>
                  <a:lnTo>
                    <a:pt x="3122" y="3408"/>
                  </a:lnTo>
                  <a:lnTo>
                    <a:pt x="3122" y="3402"/>
                  </a:lnTo>
                  <a:lnTo>
                    <a:pt x="3122" y="3400"/>
                  </a:lnTo>
                  <a:lnTo>
                    <a:pt x="3124" y="3398"/>
                  </a:lnTo>
                  <a:lnTo>
                    <a:pt x="3120" y="3392"/>
                  </a:lnTo>
                  <a:lnTo>
                    <a:pt x="3118" y="3390"/>
                  </a:lnTo>
                  <a:lnTo>
                    <a:pt x="3124" y="3390"/>
                  </a:lnTo>
                  <a:lnTo>
                    <a:pt x="3128" y="3390"/>
                  </a:lnTo>
                  <a:lnTo>
                    <a:pt x="3132" y="3388"/>
                  </a:lnTo>
                  <a:lnTo>
                    <a:pt x="3134" y="3384"/>
                  </a:lnTo>
                  <a:lnTo>
                    <a:pt x="3134" y="3376"/>
                  </a:lnTo>
                  <a:lnTo>
                    <a:pt x="3134" y="3370"/>
                  </a:lnTo>
                  <a:lnTo>
                    <a:pt x="3132" y="3366"/>
                  </a:lnTo>
                  <a:lnTo>
                    <a:pt x="3128" y="3362"/>
                  </a:lnTo>
                  <a:lnTo>
                    <a:pt x="3136" y="3356"/>
                  </a:lnTo>
                  <a:lnTo>
                    <a:pt x="3140" y="3352"/>
                  </a:lnTo>
                  <a:lnTo>
                    <a:pt x="3136" y="3350"/>
                  </a:lnTo>
                  <a:lnTo>
                    <a:pt x="3128" y="3348"/>
                  </a:lnTo>
                  <a:lnTo>
                    <a:pt x="3122" y="3344"/>
                  </a:lnTo>
                  <a:lnTo>
                    <a:pt x="3118" y="3338"/>
                  </a:lnTo>
                  <a:lnTo>
                    <a:pt x="3112" y="3332"/>
                  </a:lnTo>
                  <a:lnTo>
                    <a:pt x="3108" y="3330"/>
                  </a:lnTo>
                  <a:lnTo>
                    <a:pt x="3102" y="3330"/>
                  </a:lnTo>
                  <a:lnTo>
                    <a:pt x="3096" y="3334"/>
                  </a:lnTo>
                  <a:lnTo>
                    <a:pt x="3086" y="3338"/>
                  </a:lnTo>
                  <a:lnTo>
                    <a:pt x="3082" y="3338"/>
                  </a:lnTo>
                  <a:lnTo>
                    <a:pt x="3078" y="3334"/>
                  </a:lnTo>
                  <a:lnTo>
                    <a:pt x="3076" y="3332"/>
                  </a:lnTo>
                  <a:lnTo>
                    <a:pt x="3074" y="3330"/>
                  </a:lnTo>
                  <a:lnTo>
                    <a:pt x="3070" y="3332"/>
                  </a:lnTo>
                  <a:lnTo>
                    <a:pt x="3070" y="3328"/>
                  </a:lnTo>
                  <a:lnTo>
                    <a:pt x="3072" y="3326"/>
                  </a:lnTo>
                  <a:lnTo>
                    <a:pt x="3074" y="3324"/>
                  </a:lnTo>
                  <a:lnTo>
                    <a:pt x="3082" y="3326"/>
                  </a:lnTo>
                  <a:lnTo>
                    <a:pt x="3088" y="3326"/>
                  </a:lnTo>
                  <a:lnTo>
                    <a:pt x="3090" y="3326"/>
                  </a:lnTo>
                  <a:lnTo>
                    <a:pt x="3092" y="3324"/>
                  </a:lnTo>
                  <a:lnTo>
                    <a:pt x="3098" y="3316"/>
                  </a:lnTo>
                  <a:lnTo>
                    <a:pt x="3106" y="3310"/>
                  </a:lnTo>
                  <a:lnTo>
                    <a:pt x="3116" y="3304"/>
                  </a:lnTo>
                  <a:lnTo>
                    <a:pt x="3124" y="3302"/>
                  </a:lnTo>
                  <a:lnTo>
                    <a:pt x="3128" y="3300"/>
                  </a:lnTo>
                  <a:lnTo>
                    <a:pt x="3132" y="3298"/>
                  </a:lnTo>
                  <a:lnTo>
                    <a:pt x="3132" y="3294"/>
                  </a:lnTo>
                  <a:lnTo>
                    <a:pt x="3130" y="3290"/>
                  </a:lnTo>
                  <a:lnTo>
                    <a:pt x="3122" y="3278"/>
                  </a:lnTo>
                  <a:lnTo>
                    <a:pt x="3110" y="3268"/>
                  </a:lnTo>
                  <a:lnTo>
                    <a:pt x="3100" y="3258"/>
                  </a:lnTo>
                  <a:lnTo>
                    <a:pt x="3090" y="3254"/>
                  </a:lnTo>
                  <a:lnTo>
                    <a:pt x="3086" y="3252"/>
                  </a:lnTo>
                  <a:lnTo>
                    <a:pt x="3086" y="3250"/>
                  </a:lnTo>
                  <a:lnTo>
                    <a:pt x="3086" y="3248"/>
                  </a:lnTo>
                  <a:lnTo>
                    <a:pt x="3086" y="3246"/>
                  </a:lnTo>
                  <a:lnTo>
                    <a:pt x="3086" y="3244"/>
                  </a:lnTo>
                  <a:lnTo>
                    <a:pt x="3082" y="3242"/>
                  </a:lnTo>
                  <a:lnTo>
                    <a:pt x="3078" y="3240"/>
                  </a:lnTo>
                  <a:lnTo>
                    <a:pt x="3074" y="3242"/>
                  </a:lnTo>
                  <a:lnTo>
                    <a:pt x="3068" y="3246"/>
                  </a:lnTo>
                  <a:lnTo>
                    <a:pt x="3062" y="3246"/>
                  </a:lnTo>
                  <a:lnTo>
                    <a:pt x="3056" y="3244"/>
                  </a:lnTo>
                  <a:lnTo>
                    <a:pt x="3050" y="3242"/>
                  </a:lnTo>
                  <a:lnTo>
                    <a:pt x="3046" y="3236"/>
                  </a:lnTo>
                  <a:lnTo>
                    <a:pt x="3044" y="3232"/>
                  </a:lnTo>
                  <a:lnTo>
                    <a:pt x="3042" y="3228"/>
                  </a:lnTo>
                  <a:lnTo>
                    <a:pt x="3044" y="3224"/>
                  </a:lnTo>
                  <a:lnTo>
                    <a:pt x="3046" y="3224"/>
                  </a:lnTo>
                  <a:lnTo>
                    <a:pt x="3048" y="3224"/>
                  </a:lnTo>
                  <a:lnTo>
                    <a:pt x="3052" y="3230"/>
                  </a:lnTo>
                  <a:lnTo>
                    <a:pt x="3056" y="3238"/>
                  </a:lnTo>
                  <a:lnTo>
                    <a:pt x="3060" y="3242"/>
                  </a:lnTo>
                  <a:lnTo>
                    <a:pt x="3062" y="3244"/>
                  </a:lnTo>
                  <a:lnTo>
                    <a:pt x="3066" y="3242"/>
                  </a:lnTo>
                  <a:lnTo>
                    <a:pt x="3072" y="3240"/>
                  </a:lnTo>
                  <a:lnTo>
                    <a:pt x="3078" y="3236"/>
                  </a:lnTo>
                  <a:lnTo>
                    <a:pt x="3080" y="3236"/>
                  </a:lnTo>
                  <a:lnTo>
                    <a:pt x="3084" y="3236"/>
                  </a:lnTo>
                  <a:lnTo>
                    <a:pt x="3088" y="3240"/>
                  </a:lnTo>
                  <a:lnTo>
                    <a:pt x="3090" y="3242"/>
                  </a:lnTo>
                  <a:lnTo>
                    <a:pt x="3092" y="3246"/>
                  </a:lnTo>
                  <a:lnTo>
                    <a:pt x="3094" y="3248"/>
                  </a:lnTo>
                  <a:lnTo>
                    <a:pt x="3098" y="3248"/>
                  </a:lnTo>
                  <a:lnTo>
                    <a:pt x="3104" y="3248"/>
                  </a:lnTo>
                  <a:lnTo>
                    <a:pt x="3110" y="3250"/>
                  </a:lnTo>
                  <a:lnTo>
                    <a:pt x="3122" y="3256"/>
                  </a:lnTo>
                  <a:lnTo>
                    <a:pt x="3128" y="3258"/>
                  </a:lnTo>
                  <a:lnTo>
                    <a:pt x="3130" y="3258"/>
                  </a:lnTo>
                  <a:lnTo>
                    <a:pt x="3132" y="3256"/>
                  </a:lnTo>
                  <a:lnTo>
                    <a:pt x="3132" y="3254"/>
                  </a:lnTo>
                  <a:lnTo>
                    <a:pt x="3128" y="3244"/>
                  </a:lnTo>
                  <a:lnTo>
                    <a:pt x="3120" y="3236"/>
                  </a:lnTo>
                  <a:lnTo>
                    <a:pt x="3114" y="3230"/>
                  </a:lnTo>
                  <a:lnTo>
                    <a:pt x="3112" y="3226"/>
                  </a:lnTo>
                  <a:lnTo>
                    <a:pt x="3108" y="3220"/>
                  </a:lnTo>
                  <a:lnTo>
                    <a:pt x="3100" y="3212"/>
                  </a:lnTo>
                  <a:lnTo>
                    <a:pt x="3092" y="3206"/>
                  </a:lnTo>
                  <a:lnTo>
                    <a:pt x="3090" y="3200"/>
                  </a:lnTo>
                  <a:lnTo>
                    <a:pt x="3090" y="3192"/>
                  </a:lnTo>
                  <a:lnTo>
                    <a:pt x="3088" y="3186"/>
                  </a:lnTo>
                  <a:lnTo>
                    <a:pt x="3086" y="3178"/>
                  </a:lnTo>
                  <a:lnTo>
                    <a:pt x="3082" y="3168"/>
                  </a:lnTo>
                  <a:lnTo>
                    <a:pt x="3078" y="3158"/>
                  </a:lnTo>
                  <a:lnTo>
                    <a:pt x="3072" y="3138"/>
                  </a:lnTo>
                  <a:lnTo>
                    <a:pt x="3070" y="3130"/>
                  </a:lnTo>
                  <a:lnTo>
                    <a:pt x="3066" y="3122"/>
                  </a:lnTo>
                  <a:lnTo>
                    <a:pt x="3060" y="3116"/>
                  </a:lnTo>
                  <a:lnTo>
                    <a:pt x="3052" y="3112"/>
                  </a:lnTo>
                  <a:lnTo>
                    <a:pt x="3044" y="3108"/>
                  </a:lnTo>
                  <a:lnTo>
                    <a:pt x="3040" y="3104"/>
                  </a:lnTo>
                  <a:lnTo>
                    <a:pt x="3036" y="3098"/>
                  </a:lnTo>
                  <a:lnTo>
                    <a:pt x="3034" y="3094"/>
                  </a:lnTo>
                  <a:lnTo>
                    <a:pt x="3032" y="3094"/>
                  </a:lnTo>
                  <a:lnTo>
                    <a:pt x="3026" y="3096"/>
                  </a:lnTo>
                  <a:lnTo>
                    <a:pt x="3022" y="3096"/>
                  </a:lnTo>
                  <a:lnTo>
                    <a:pt x="3022" y="3092"/>
                  </a:lnTo>
                  <a:lnTo>
                    <a:pt x="3024" y="3084"/>
                  </a:lnTo>
                  <a:lnTo>
                    <a:pt x="3026" y="3076"/>
                  </a:lnTo>
                  <a:lnTo>
                    <a:pt x="3038" y="3058"/>
                  </a:lnTo>
                  <a:lnTo>
                    <a:pt x="3044" y="3052"/>
                  </a:lnTo>
                  <a:lnTo>
                    <a:pt x="3048" y="3048"/>
                  </a:lnTo>
                  <a:lnTo>
                    <a:pt x="3054" y="3044"/>
                  </a:lnTo>
                  <a:lnTo>
                    <a:pt x="3056" y="3042"/>
                  </a:lnTo>
                  <a:lnTo>
                    <a:pt x="3058" y="3038"/>
                  </a:lnTo>
                  <a:lnTo>
                    <a:pt x="3062" y="3034"/>
                  </a:lnTo>
                  <a:lnTo>
                    <a:pt x="3064" y="3032"/>
                  </a:lnTo>
                  <a:lnTo>
                    <a:pt x="3064" y="3028"/>
                  </a:lnTo>
                  <a:lnTo>
                    <a:pt x="3062" y="3024"/>
                  </a:lnTo>
                  <a:lnTo>
                    <a:pt x="3060" y="3020"/>
                  </a:lnTo>
                  <a:lnTo>
                    <a:pt x="3060" y="3018"/>
                  </a:lnTo>
                  <a:lnTo>
                    <a:pt x="3062" y="3018"/>
                  </a:lnTo>
                  <a:lnTo>
                    <a:pt x="3064" y="3016"/>
                  </a:lnTo>
                  <a:lnTo>
                    <a:pt x="3066" y="3016"/>
                  </a:lnTo>
                  <a:lnTo>
                    <a:pt x="3066" y="3020"/>
                  </a:lnTo>
                  <a:lnTo>
                    <a:pt x="3068" y="3022"/>
                  </a:lnTo>
                  <a:lnTo>
                    <a:pt x="3070" y="3024"/>
                  </a:lnTo>
                  <a:lnTo>
                    <a:pt x="3072" y="3024"/>
                  </a:lnTo>
                  <a:lnTo>
                    <a:pt x="3076" y="3022"/>
                  </a:lnTo>
                  <a:lnTo>
                    <a:pt x="3080" y="3020"/>
                  </a:lnTo>
                  <a:lnTo>
                    <a:pt x="3082" y="3018"/>
                  </a:lnTo>
                  <a:lnTo>
                    <a:pt x="3084" y="3012"/>
                  </a:lnTo>
                  <a:lnTo>
                    <a:pt x="3086" y="3008"/>
                  </a:lnTo>
                  <a:lnTo>
                    <a:pt x="3088" y="3006"/>
                  </a:lnTo>
                  <a:lnTo>
                    <a:pt x="3090" y="3008"/>
                  </a:lnTo>
                  <a:lnTo>
                    <a:pt x="3092" y="3008"/>
                  </a:lnTo>
                  <a:lnTo>
                    <a:pt x="3094" y="3006"/>
                  </a:lnTo>
                  <a:lnTo>
                    <a:pt x="3096" y="3002"/>
                  </a:lnTo>
                  <a:lnTo>
                    <a:pt x="3100" y="2996"/>
                  </a:lnTo>
                  <a:lnTo>
                    <a:pt x="3106" y="2990"/>
                  </a:lnTo>
                  <a:lnTo>
                    <a:pt x="3114" y="2988"/>
                  </a:lnTo>
                  <a:lnTo>
                    <a:pt x="3118" y="2988"/>
                  </a:lnTo>
                  <a:lnTo>
                    <a:pt x="3122" y="2986"/>
                  </a:lnTo>
                  <a:lnTo>
                    <a:pt x="3128" y="2982"/>
                  </a:lnTo>
                  <a:lnTo>
                    <a:pt x="3134" y="2976"/>
                  </a:lnTo>
                  <a:lnTo>
                    <a:pt x="3136" y="2976"/>
                  </a:lnTo>
                  <a:lnTo>
                    <a:pt x="3138" y="2978"/>
                  </a:lnTo>
                  <a:lnTo>
                    <a:pt x="3140" y="2978"/>
                  </a:lnTo>
                  <a:lnTo>
                    <a:pt x="3142" y="2976"/>
                  </a:lnTo>
                  <a:lnTo>
                    <a:pt x="3142" y="2978"/>
                  </a:lnTo>
                  <a:lnTo>
                    <a:pt x="3144" y="2980"/>
                  </a:lnTo>
                  <a:lnTo>
                    <a:pt x="3144" y="2982"/>
                  </a:lnTo>
                  <a:lnTo>
                    <a:pt x="3148" y="2984"/>
                  </a:lnTo>
                  <a:lnTo>
                    <a:pt x="3152" y="2982"/>
                  </a:lnTo>
                  <a:lnTo>
                    <a:pt x="3156" y="2980"/>
                  </a:lnTo>
                  <a:lnTo>
                    <a:pt x="3158" y="2978"/>
                  </a:lnTo>
                  <a:lnTo>
                    <a:pt x="3156" y="2974"/>
                  </a:lnTo>
                  <a:lnTo>
                    <a:pt x="3156" y="2972"/>
                  </a:lnTo>
                  <a:lnTo>
                    <a:pt x="3156" y="2970"/>
                  </a:lnTo>
                  <a:lnTo>
                    <a:pt x="3158" y="2966"/>
                  </a:lnTo>
                  <a:lnTo>
                    <a:pt x="3162" y="2960"/>
                  </a:lnTo>
                  <a:lnTo>
                    <a:pt x="3164" y="2958"/>
                  </a:lnTo>
                  <a:lnTo>
                    <a:pt x="3164" y="2956"/>
                  </a:lnTo>
                  <a:lnTo>
                    <a:pt x="3158" y="2952"/>
                  </a:lnTo>
                  <a:lnTo>
                    <a:pt x="3150" y="2950"/>
                  </a:lnTo>
                  <a:lnTo>
                    <a:pt x="3144" y="2946"/>
                  </a:lnTo>
                  <a:lnTo>
                    <a:pt x="3140" y="2942"/>
                  </a:lnTo>
                  <a:lnTo>
                    <a:pt x="3138" y="2944"/>
                  </a:lnTo>
                  <a:lnTo>
                    <a:pt x="3134" y="2948"/>
                  </a:lnTo>
                  <a:lnTo>
                    <a:pt x="3132" y="2948"/>
                  </a:lnTo>
                  <a:lnTo>
                    <a:pt x="3126" y="2950"/>
                  </a:lnTo>
                  <a:lnTo>
                    <a:pt x="3116" y="2948"/>
                  </a:lnTo>
                  <a:lnTo>
                    <a:pt x="3114" y="2944"/>
                  </a:lnTo>
                  <a:lnTo>
                    <a:pt x="3112" y="2942"/>
                  </a:lnTo>
                  <a:lnTo>
                    <a:pt x="3108" y="2942"/>
                  </a:lnTo>
                  <a:lnTo>
                    <a:pt x="3102" y="2942"/>
                  </a:lnTo>
                  <a:lnTo>
                    <a:pt x="3100" y="2938"/>
                  </a:lnTo>
                  <a:lnTo>
                    <a:pt x="3096" y="2934"/>
                  </a:lnTo>
                  <a:lnTo>
                    <a:pt x="3094" y="2930"/>
                  </a:lnTo>
                  <a:lnTo>
                    <a:pt x="3090" y="2930"/>
                  </a:lnTo>
                  <a:lnTo>
                    <a:pt x="3080" y="2930"/>
                  </a:lnTo>
                  <a:lnTo>
                    <a:pt x="3072" y="2934"/>
                  </a:lnTo>
                  <a:lnTo>
                    <a:pt x="3066" y="2940"/>
                  </a:lnTo>
                  <a:lnTo>
                    <a:pt x="3062" y="2946"/>
                  </a:lnTo>
                  <a:lnTo>
                    <a:pt x="3056" y="2950"/>
                  </a:lnTo>
                  <a:lnTo>
                    <a:pt x="3052" y="2952"/>
                  </a:lnTo>
                  <a:lnTo>
                    <a:pt x="3050" y="2954"/>
                  </a:lnTo>
                  <a:lnTo>
                    <a:pt x="3050" y="2958"/>
                  </a:lnTo>
                  <a:lnTo>
                    <a:pt x="3052" y="2962"/>
                  </a:lnTo>
                  <a:lnTo>
                    <a:pt x="3050" y="2964"/>
                  </a:lnTo>
                  <a:lnTo>
                    <a:pt x="3044" y="2966"/>
                  </a:lnTo>
                  <a:lnTo>
                    <a:pt x="3032" y="2968"/>
                  </a:lnTo>
                  <a:lnTo>
                    <a:pt x="3026" y="2968"/>
                  </a:lnTo>
                  <a:lnTo>
                    <a:pt x="3020" y="2964"/>
                  </a:lnTo>
                  <a:lnTo>
                    <a:pt x="3018" y="2960"/>
                  </a:lnTo>
                  <a:lnTo>
                    <a:pt x="3014" y="2956"/>
                  </a:lnTo>
                  <a:lnTo>
                    <a:pt x="3014" y="2946"/>
                  </a:lnTo>
                  <a:lnTo>
                    <a:pt x="3014" y="2940"/>
                  </a:lnTo>
                  <a:lnTo>
                    <a:pt x="3016" y="2938"/>
                  </a:lnTo>
                  <a:lnTo>
                    <a:pt x="3018" y="2934"/>
                  </a:lnTo>
                  <a:lnTo>
                    <a:pt x="3018" y="2930"/>
                  </a:lnTo>
                  <a:lnTo>
                    <a:pt x="3014" y="2922"/>
                  </a:lnTo>
                  <a:lnTo>
                    <a:pt x="3008" y="2914"/>
                  </a:lnTo>
                  <a:lnTo>
                    <a:pt x="3004" y="2912"/>
                  </a:lnTo>
                  <a:lnTo>
                    <a:pt x="3002" y="2912"/>
                  </a:lnTo>
                  <a:lnTo>
                    <a:pt x="2996" y="2914"/>
                  </a:lnTo>
                  <a:lnTo>
                    <a:pt x="2988" y="2914"/>
                  </a:lnTo>
                  <a:lnTo>
                    <a:pt x="2980" y="2914"/>
                  </a:lnTo>
                  <a:lnTo>
                    <a:pt x="2976" y="2912"/>
                  </a:lnTo>
                  <a:lnTo>
                    <a:pt x="2974" y="2910"/>
                  </a:lnTo>
                  <a:lnTo>
                    <a:pt x="2970" y="2906"/>
                  </a:lnTo>
                  <a:lnTo>
                    <a:pt x="2966" y="2904"/>
                  </a:lnTo>
                  <a:lnTo>
                    <a:pt x="2962" y="2900"/>
                  </a:lnTo>
                  <a:lnTo>
                    <a:pt x="2958" y="2890"/>
                  </a:lnTo>
                  <a:lnTo>
                    <a:pt x="2958" y="2880"/>
                  </a:lnTo>
                  <a:lnTo>
                    <a:pt x="2960" y="2872"/>
                  </a:lnTo>
                  <a:lnTo>
                    <a:pt x="2962" y="2868"/>
                  </a:lnTo>
                  <a:lnTo>
                    <a:pt x="2964" y="2862"/>
                  </a:lnTo>
                  <a:lnTo>
                    <a:pt x="2966" y="2856"/>
                  </a:lnTo>
                  <a:lnTo>
                    <a:pt x="2970" y="2854"/>
                  </a:lnTo>
                  <a:lnTo>
                    <a:pt x="2976" y="2854"/>
                  </a:lnTo>
                  <a:lnTo>
                    <a:pt x="2982" y="2860"/>
                  </a:lnTo>
                  <a:lnTo>
                    <a:pt x="2986" y="2864"/>
                  </a:lnTo>
                  <a:lnTo>
                    <a:pt x="2988" y="2864"/>
                  </a:lnTo>
                  <a:lnTo>
                    <a:pt x="2992" y="2862"/>
                  </a:lnTo>
                  <a:lnTo>
                    <a:pt x="2996" y="2856"/>
                  </a:lnTo>
                  <a:lnTo>
                    <a:pt x="3000" y="2856"/>
                  </a:lnTo>
                  <a:lnTo>
                    <a:pt x="3002" y="2856"/>
                  </a:lnTo>
                  <a:lnTo>
                    <a:pt x="3010" y="2856"/>
                  </a:lnTo>
                  <a:lnTo>
                    <a:pt x="3018" y="2854"/>
                  </a:lnTo>
                  <a:lnTo>
                    <a:pt x="3024" y="2846"/>
                  </a:lnTo>
                  <a:lnTo>
                    <a:pt x="3026" y="2836"/>
                  </a:lnTo>
                  <a:lnTo>
                    <a:pt x="3026" y="2830"/>
                  </a:lnTo>
                  <a:lnTo>
                    <a:pt x="3032" y="2824"/>
                  </a:lnTo>
                  <a:lnTo>
                    <a:pt x="3044" y="2814"/>
                  </a:lnTo>
                  <a:lnTo>
                    <a:pt x="3058" y="2806"/>
                  </a:lnTo>
                  <a:lnTo>
                    <a:pt x="3070" y="2802"/>
                  </a:lnTo>
                  <a:lnTo>
                    <a:pt x="3076" y="2798"/>
                  </a:lnTo>
                  <a:lnTo>
                    <a:pt x="3078" y="2794"/>
                  </a:lnTo>
                  <a:lnTo>
                    <a:pt x="3080" y="2786"/>
                  </a:lnTo>
                  <a:lnTo>
                    <a:pt x="3088" y="2778"/>
                  </a:lnTo>
                  <a:lnTo>
                    <a:pt x="3094" y="2770"/>
                  </a:lnTo>
                  <a:lnTo>
                    <a:pt x="3094" y="2768"/>
                  </a:lnTo>
                  <a:lnTo>
                    <a:pt x="3096" y="2766"/>
                  </a:lnTo>
                  <a:lnTo>
                    <a:pt x="3100" y="2762"/>
                  </a:lnTo>
                  <a:lnTo>
                    <a:pt x="3104" y="2760"/>
                  </a:lnTo>
                  <a:lnTo>
                    <a:pt x="3108" y="2760"/>
                  </a:lnTo>
                  <a:lnTo>
                    <a:pt x="3114" y="2760"/>
                  </a:lnTo>
                  <a:lnTo>
                    <a:pt x="3120" y="2762"/>
                  </a:lnTo>
                  <a:lnTo>
                    <a:pt x="3122" y="2762"/>
                  </a:lnTo>
                  <a:lnTo>
                    <a:pt x="3124" y="2762"/>
                  </a:lnTo>
                  <a:lnTo>
                    <a:pt x="3128" y="2760"/>
                  </a:lnTo>
                  <a:lnTo>
                    <a:pt x="3130" y="2760"/>
                  </a:lnTo>
                  <a:lnTo>
                    <a:pt x="3132" y="2764"/>
                  </a:lnTo>
                  <a:lnTo>
                    <a:pt x="3138" y="2770"/>
                  </a:lnTo>
                  <a:lnTo>
                    <a:pt x="3144" y="2778"/>
                  </a:lnTo>
                  <a:lnTo>
                    <a:pt x="3146" y="2782"/>
                  </a:lnTo>
                  <a:lnTo>
                    <a:pt x="3144" y="2790"/>
                  </a:lnTo>
                  <a:lnTo>
                    <a:pt x="3138" y="2800"/>
                  </a:lnTo>
                  <a:lnTo>
                    <a:pt x="3132" y="2806"/>
                  </a:lnTo>
                  <a:lnTo>
                    <a:pt x="3128" y="2810"/>
                  </a:lnTo>
                  <a:lnTo>
                    <a:pt x="3120" y="2816"/>
                  </a:lnTo>
                  <a:lnTo>
                    <a:pt x="3114" y="2820"/>
                  </a:lnTo>
                  <a:lnTo>
                    <a:pt x="3114" y="2822"/>
                  </a:lnTo>
                  <a:lnTo>
                    <a:pt x="3114" y="2824"/>
                  </a:lnTo>
                  <a:lnTo>
                    <a:pt x="3116" y="2826"/>
                  </a:lnTo>
                  <a:lnTo>
                    <a:pt x="3114" y="2828"/>
                  </a:lnTo>
                  <a:lnTo>
                    <a:pt x="3110" y="2832"/>
                  </a:lnTo>
                  <a:lnTo>
                    <a:pt x="3104" y="2834"/>
                  </a:lnTo>
                  <a:lnTo>
                    <a:pt x="3104" y="2836"/>
                  </a:lnTo>
                  <a:lnTo>
                    <a:pt x="3106" y="2836"/>
                  </a:lnTo>
                  <a:lnTo>
                    <a:pt x="3110" y="2840"/>
                  </a:lnTo>
                  <a:lnTo>
                    <a:pt x="3116" y="2844"/>
                  </a:lnTo>
                  <a:lnTo>
                    <a:pt x="3120" y="2850"/>
                  </a:lnTo>
                  <a:lnTo>
                    <a:pt x="3122" y="2854"/>
                  </a:lnTo>
                  <a:lnTo>
                    <a:pt x="3122" y="2858"/>
                  </a:lnTo>
                  <a:lnTo>
                    <a:pt x="3120" y="2862"/>
                  </a:lnTo>
                  <a:lnTo>
                    <a:pt x="3118" y="2864"/>
                  </a:lnTo>
                  <a:lnTo>
                    <a:pt x="3116" y="2862"/>
                  </a:lnTo>
                  <a:lnTo>
                    <a:pt x="3112" y="2860"/>
                  </a:lnTo>
                  <a:lnTo>
                    <a:pt x="3110" y="2862"/>
                  </a:lnTo>
                  <a:lnTo>
                    <a:pt x="3108" y="2864"/>
                  </a:lnTo>
                  <a:lnTo>
                    <a:pt x="3106" y="2868"/>
                  </a:lnTo>
                  <a:lnTo>
                    <a:pt x="3102" y="2868"/>
                  </a:lnTo>
                  <a:lnTo>
                    <a:pt x="3100" y="2876"/>
                  </a:lnTo>
                  <a:lnTo>
                    <a:pt x="3100" y="2880"/>
                  </a:lnTo>
                  <a:lnTo>
                    <a:pt x="3102" y="2882"/>
                  </a:lnTo>
                  <a:lnTo>
                    <a:pt x="3104" y="2882"/>
                  </a:lnTo>
                  <a:lnTo>
                    <a:pt x="3106" y="2880"/>
                  </a:lnTo>
                  <a:lnTo>
                    <a:pt x="3112" y="2878"/>
                  </a:lnTo>
                  <a:lnTo>
                    <a:pt x="3120" y="2874"/>
                  </a:lnTo>
                  <a:lnTo>
                    <a:pt x="3124" y="2874"/>
                  </a:lnTo>
                  <a:lnTo>
                    <a:pt x="3124" y="2872"/>
                  </a:lnTo>
                  <a:lnTo>
                    <a:pt x="3124" y="2868"/>
                  </a:lnTo>
                  <a:lnTo>
                    <a:pt x="3124" y="2866"/>
                  </a:lnTo>
                  <a:lnTo>
                    <a:pt x="3128" y="2866"/>
                  </a:lnTo>
                  <a:lnTo>
                    <a:pt x="3132" y="2866"/>
                  </a:lnTo>
                  <a:lnTo>
                    <a:pt x="3136" y="2864"/>
                  </a:lnTo>
                  <a:lnTo>
                    <a:pt x="3142" y="2856"/>
                  </a:lnTo>
                  <a:lnTo>
                    <a:pt x="3148" y="2848"/>
                  </a:lnTo>
                  <a:lnTo>
                    <a:pt x="3152" y="2844"/>
                  </a:lnTo>
                  <a:lnTo>
                    <a:pt x="3156" y="2840"/>
                  </a:lnTo>
                  <a:lnTo>
                    <a:pt x="3162" y="2836"/>
                  </a:lnTo>
                  <a:lnTo>
                    <a:pt x="3164" y="2834"/>
                  </a:lnTo>
                  <a:lnTo>
                    <a:pt x="3168" y="2832"/>
                  </a:lnTo>
                  <a:lnTo>
                    <a:pt x="3176" y="2830"/>
                  </a:lnTo>
                  <a:lnTo>
                    <a:pt x="3182" y="2830"/>
                  </a:lnTo>
                  <a:lnTo>
                    <a:pt x="3186" y="2828"/>
                  </a:lnTo>
                  <a:lnTo>
                    <a:pt x="3188" y="2826"/>
                  </a:lnTo>
                  <a:lnTo>
                    <a:pt x="3190" y="2822"/>
                  </a:lnTo>
                  <a:lnTo>
                    <a:pt x="3194" y="2822"/>
                  </a:lnTo>
                  <a:lnTo>
                    <a:pt x="3196" y="2824"/>
                  </a:lnTo>
                  <a:lnTo>
                    <a:pt x="3200" y="2822"/>
                  </a:lnTo>
                  <a:lnTo>
                    <a:pt x="3202" y="2820"/>
                  </a:lnTo>
                  <a:lnTo>
                    <a:pt x="3206" y="2820"/>
                  </a:lnTo>
                  <a:lnTo>
                    <a:pt x="3212" y="2820"/>
                  </a:lnTo>
                  <a:lnTo>
                    <a:pt x="3220" y="2818"/>
                  </a:lnTo>
                  <a:lnTo>
                    <a:pt x="3226" y="2816"/>
                  </a:lnTo>
                  <a:lnTo>
                    <a:pt x="3230" y="2812"/>
                  </a:lnTo>
                  <a:lnTo>
                    <a:pt x="3232" y="2808"/>
                  </a:lnTo>
                  <a:lnTo>
                    <a:pt x="3230" y="2812"/>
                  </a:lnTo>
                  <a:lnTo>
                    <a:pt x="3232" y="2818"/>
                  </a:lnTo>
                  <a:lnTo>
                    <a:pt x="3236" y="2824"/>
                  </a:lnTo>
                  <a:lnTo>
                    <a:pt x="3242" y="2828"/>
                  </a:lnTo>
                  <a:lnTo>
                    <a:pt x="3244" y="2830"/>
                  </a:lnTo>
                  <a:lnTo>
                    <a:pt x="3246" y="2828"/>
                  </a:lnTo>
                  <a:lnTo>
                    <a:pt x="3250" y="2828"/>
                  </a:lnTo>
                  <a:lnTo>
                    <a:pt x="3254" y="2828"/>
                  </a:lnTo>
                  <a:lnTo>
                    <a:pt x="3264" y="2832"/>
                  </a:lnTo>
                  <a:lnTo>
                    <a:pt x="3268" y="2836"/>
                  </a:lnTo>
                  <a:lnTo>
                    <a:pt x="3272" y="2840"/>
                  </a:lnTo>
                  <a:lnTo>
                    <a:pt x="3274" y="2846"/>
                  </a:lnTo>
                  <a:lnTo>
                    <a:pt x="3272" y="2850"/>
                  </a:lnTo>
                  <a:lnTo>
                    <a:pt x="3264" y="2868"/>
                  </a:lnTo>
                  <a:lnTo>
                    <a:pt x="3262" y="2876"/>
                  </a:lnTo>
                  <a:lnTo>
                    <a:pt x="3262" y="2878"/>
                  </a:lnTo>
                  <a:lnTo>
                    <a:pt x="3264" y="2880"/>
                  </a:lnTo>
                  <a:lnTo>
                    <a:pt x="3266" y="2884"/>
                  </a:lnTo>
                  <a:lnTo>
                    <a:pt x="3262" y="2886"/>
                  </a:lnTo>
                  <a:lnTo>
                    <a:pt x="3258" y="2892"/>
                  </a:lnTo>
                  <a:lnTo>
                    <a:pt x="3254" y="2900"/>
                  </a:lnTo>
                  <a:lnTo>
                    <a:pt x="3250" y="2906"/>
                  </a:lnTo>
                  <a:lnTo>
                    <a:pt x="3248" y="2910"/>
                  </a:lnTo>
                  <a:lnTo>
                    <a:pt x="3244" y="2914"/>
                  </a:lnTo>
                  <a:lnTo>
                    <a:pt x="3242" y="2914"/>
                  </a:lnTo>
                  <a:lnTo>
                    <a:pt x="3252" y="2916"/>
                  </a:lnTo>
                  <a:lnTo>
                    <a:pt x="3258" y="2918"/>
                  </a:lnTo>
                  <a:lnTo>
                    <a:pt x="3260" y="2918"/>
                  </a:lnTo>
                  <a:lnTo>
                    <a:pt x="3258" y="2920"/>
                  </a:lnTo>
                  <a:lnTo>
                    <a:pt x="3258" y="2922"/>
                  </a:lnTo>
                  <a:lnTo>
                    <a:pt x="3254" y="2924"/>
                  </a:lnTo>
                  <a:lnTo>
                    <a:pt x="3256" y="2926"/>
                  </a:lnTo>
                  <a:lnTo>
                    <a:pt x="3262" y="2928"/>
                  </a:lnTo>
                  <a:lnTo>
                    <a:pt x="3268" y="2928"/>
                  </a:lnTo>
                  <a:lnTo>
                    <a:pt x="3270" y="2930"/>
                  </a:lnTo>
                  <a:lnTo>
                    <a:pt x="3270" y="2932"/>
                  </a:lnTo>
                  <a:lnTo>
                    <a:pt x="3270" y="2934"/>
                  </a:lnTo>
                  <a:lnTo>
                    <a:pt x="3270" y="2938"/>
                  </a:lnTo>
                  <a:lnTo>
                    <a:pt x="3274" y="2936"/>
                  </a:lnTo>
                  <a:lnTo>
                    <a:pt x="3278" y="2934"/>
                  </a:lnTo>
                  <a:lnTo>
                    <a:pt x="3280" y="2930"/>
                  </a:lnTo>
                  <a:lnTo>
                    <a:pt x="3282" y="2924"/>
                  </a:lnTo>
                  <a:lnTo>
                    <a:pt x="3284" y="2922"/>
                  </a:lnTo>
                  <a:lnTo>
                    <a:pt x="3292" y="2926"/>
                  </a:lnTo>
                  <a:lnTo>
                    <a:pt x="3300" y="2934"/>
                  </a:lnTo>
                  <a:lnTo>
                    <a:pt x="3302" y="2934"/>
                  </a:lnTo>
                  <a:lnTo>
                    <a:pt x="3304" y="2930"/>
                  </a:lnTo>
                  <a:lnTo>
                    <a:pt x="3304" y="2928"/>
                  </a:lnTo>
                  <a:lnTo>
                    <a:pt x="3306" y="2926"/>
                  </a:lnTo>
                  <a:lnTo>
                    <a:pt x="3312" y="2928"/>
                  </a:lnTo>
                  <a:lnTo>
                    <a:pt x="3318" y="2930"/>
                  </a:lnTo>
                  <a:lnTo>
                    <a:pt x="3324" y="2930"/>
                  </a:lnTo>
                  <a:lnTo>
                    <a:pt x="3324" y="2934"/>
                  </a:lnTo>
                  <a:lnTo>
                    <a:pt x="3322" y="2934"/>
                  </a:lnTo>
                  <a:lnTo>
                    <a:pt x="3320" y="2938"/>
                  </a:lnTo>
                  <a:lnTo>
                    <a:pt x="3320" y="2942"/>
                  </a:lnTo>
                  <a:lnTo>
                    <a:pt x="3324" y="2948"/>
                  </a:lnTo>
                  <a:lnTo>
                    <a:pt x="3326" y="2954"/>
                  </a:lnTo>
                  <a:lnTo>
                    <a:pt x="3326" y="2958"/>
                  </a:lnTo>
                  <a:lnTo>
                    <a:pt x="3324" y="2960"/>
                  </a:lnTo>
                  <a:lnTo>
                    <a:pt x="3324" y="2962"/>
                  </a:lnTo>
                  <a:lnTo>
                    <a:pt x="3324" y="2966"/>
                  </a:lnTo>
                  <a:lnTo>
                    <a:pt x="3328" y="2970"/>
                  </a:lnTo>
                  <a:lnTo>
                    <a:pt x="3332" y="2974"/>
                  </a:lnTo>
                  <a:lnTo>
                    <a:pt x="3334" y="2976"/>
                  </a:lnTo>
                  <a:lnTo>
                    <a:pt x="3334" y="2980"/>
                  </a:lnTo>
                  <a:lnTo>
                    <a:pt x="3332" y="2982"/>
                  </a:lnTo>
                  <a:lnTo>
                    <a:pt x="3330" y="2980"/>
                  </a:lnTo>
                  <a:lnTo>
                    <a:pt x="3328" y="2976"/>
                  </a:lnTo>
                  <a:lnTo>
                    <a:pt x="3326" y="2974"/>
                  </a:lnTo>
                  <a:lnTo>
                    <a:pt x="3322" y="2974"/>
                  </a:lnTo>
                  <a:lnTo>
                    <a:pt x="3312" y="2974"/>
                  </a:lnTo>
                  <a:lnTo>
                    <a:pt x="3310" y="2974"/>
                  </a:lnTo>
                  <a:lnTo>
                    <a:pt x="3312" y="2978"/>
                  </a:lnTo>
                  <a:lnTo>
                    <a:pt x="3312" y="2980"/>
                  </a:lnTo>
                  <a:lnTo>
                    <a:pt x="3312" y="2982"/>
                  </a:lnTo>
                  <a:lnTo>
                    <a:pt x="3310" y="2982"/>
                  </a:lnTo>
                  <a:lnTo>
                    <a:pt x="3308" y="2980"/>
                  </a:lnTo>
                  <a:lnTo>
                    <a:pt x="3306" y="2980"/>
                  </a:lnTo>
                  <a:lnTo>
                    <a:pt x="3302" y="2984"/>
                  </a:lnTo>
                  <a:lnTo>
                    <a:pt x="3302" y="2988"/>
                  </a:lnTo>
                  <a:lnTo>
                    <a:pt x="3304" y="2992"/>
                  </a:lnTo>
                  <a:lnTo>
                    <a:pt x="3308" y="2994"/>
                  </a:lnTo>
                  <a:lnTo>
                    <a:pt x="3312" y="2992"/>
                  </a:lnTo>
                  <a:lnTo>
                    <a:pt x="3314" y="2992"/>
                  </a:lnTo>
                  <a:lnTo>
                    <a:pt x="3316" y="2998"/>
                  </a:lnTo>
                  <a:lnTo>
                    <a:pt x="3318" y="3014"/>
                  </a:lnTo>
                  <a:lnTo>
                    <a:pt x="3318" y="3020"/>
                  </a:lnTo>
                  <a:lnTo>
                    <a:pt x="3320" y="3022"/>
                  </a:lnTo>
                  <a:lnTo>
                    <a:pt x="3324" y="3026"/>
                  </a:lnTo>
                  <a:lnTo>
                    <a:pt x="3324" y="3028"/>
                  </a:lnTo>
                  <a:lnTo>
                    <a:pt x="3322" y="3030"/>
                  </a:lnTo>
                  <a:lnTo>
                    <a:pt x="3324" y="3034"/>
                  </a:lnTo>
                  <a:lnTo>
                    <a:pt x="3326" y="3038"/>
                  </a:lnTo>
                  <a:lnTo>
                    <a:pt x="3324" y="3042"/>
                  </a:lnTo>
                  <a:lnTo>
                    <a:pt x="3320" y="3046"/>
                  </a:lnTo>
                  <a:lnTo>
                    <a:pt x="3316" y="3054"/>
                  </a:lnTo>
                  <a:lnTo>
                    <a:pt x="3308" y="3070"/>
                  </a:lnTo>
                  <a:lnTo>
                    <a:pt x="3308" y="3076"/>
                  </a:lnTo>
                  <a:lnTo>
                    <a:pt x="3308" y="3078"/>
                  </a:lnTo>
                  <a:lnTo>
                    <a:pt x="3310" y="3082"/>
                  </a:lnTo>
                  <a:lnTo>
                    <a:pt x="3310" y="3084"/>
                  </a:lnTo>
                  <a:lnTo>
                    <a:pt x="3312" y="3088"/>
                  </a:lnTo>
                  <a:lnTo>
                    <a:pt x="3312" y="3092"/>
                  </a:lnTo>
                  <a:lnTo>
                    <a:pt x="3314" y="3096"/>
                  </a:lnTo>
                  <a:lnTo>
                    <a:pt x="3312" y="3096"/>
                  </a:lnTo>
                  <a:lnTo>
                    <a:pt x="3308" y="3096"/>
                  </a:lnTo>
                  <a:lnTo>
                    <a:pt x="3308" y="3100"/>
                  </a:lnTo>
                  <a:lnTo>
                    <a:pt x="3310" y="3104"/>
                  </a:lnTo>
                  <a:lnTo>
                    <a:pt x="3312" y="3104"/>
                  </a:lnTo>
                  <a:lnTo>
                    <a:pt x="3316" y="3104"/>
                  </a:lnTo>
                  <a:lnTo>
                    <a:pt x="3316" y="3110"/>
                  </a:lnTo>
                  <a:lnTo>
                    <a:pt x="3316" y="3116"/>
                  </a:lnTo>
                  <a:lnTo>
                    <a:pt x="3318" y="3118"/>
                  </a:lnTo>
                  <a:lnTo>
                    <a:pt x="3322" y="3116"/>
                  </a:lnTo>
                  <a:lnTo>
                    <a:pt x="3326" y="3110"/>
                  </a:lnTo>
                  <a:lnTo>
                    <a:pt x="3330" y="3104"/>
                  </a:lnTo>
                  <a:lnTo>
                    <a:pt x="3330" y="3106"/>
                  </a:lnTo>
                  <a:lnTo>
                    <a:pt x="3330" y="3110"/>
                  </a:lnTo>
                  <a:lnTo>
                    <a:pt x="3330" y="3112"/>
                  </a:lnTo>
                  <a:lnTo>
                    <a:pt x="3334" y="3110"/>
                  </a:lnTo>
                  <a:lnTo>
                    <a:pt x="3334" y="3108"/>
                  </a:lnTo>
                  <a:lnTo>
                    <a:pt x="3338" y="3102"/>
                  </a:lnTo>
                  <a:lnTo>
                    <a:pt x="3342" y="3098"/>
                  </a:lnTo>
                  <a:lnTo>
                    <a:pt x="3346" y="3094"/>
                  </a:lnTo>
                  <a:lnTo>
                    <a:pt x="3348" y="3094"/>
                  </a:lnTo>
                  <a:lnTo>
                    <a:pt x="3348" y="3096"/>
                  </a:lnTo>
                  <a:lnTo>
                    <a:pt x="3346" y="3100"/>
                  </a:lnTo>
                  <a:lnTo>
                    <a:pt x="3344" y="3106"/>
                  </a:lnTo>
                  <a:lnTo>
                    <a:pt x="3346" y="3108"/>
                  </a:lnTo>
                  <a:lnTo>
                    <a:pt x="3350" y="3110"/>
                  </a:lnTo>
                  <a:lnTo>
                    <a:pt x="3354" y="3108"/>
                  </a:lnTo>
                  <a:lnTo>
                    <a:pt x="3356" y="3106"/>
                  </a:lnTo>
                  <a:lnTo>
                    <a:pt x="3356" y="3104"/>
                  </a:lnTo>
                  <a:lnTo>
                    <a:pt x="3354" y="3096"/>
                  </a:lnTo>
                  <a:lnTo>
                    <a:pt x="3354" y="3094"/>
                  </a:lnTo>
                  <a:lnTo>
                    <a:pt x="3356" y="3092"/>
                  </a:lnTo>
                  <a:lnTo>
                    <a:pt x="3358" y="3092"/>
                  </a:lnTo>
                  <a:lnTo>
                    <a:pt x="3358" y="3094"/>
                  </a:lnTo>
                  <a:lnTo>
                    <a:pt x="3360" y="3102"/>
                  </a:lnTo>
                  <a:lnTo>
                    <a:pt x="3362" y="3100"/>
                  </a:lnTo>
                  <a:lnTo>
                    <a:pt x="3366" y="3096"/>
                  </a:lnTo>
                  <a:lnTo>
                    <a:pt x="3368" y="3094"/>
                  </a:lnTo>
                  <a:lnTo>
                    <a:pt x="3368" y="3092"/>
                  </a:lnTo>
                  <a:lnTo>
                    <a:pt x="3364" y="3088"/>
                  </a:lnTo>
                  <a:lnTo>
                    <a:pt x="3362" y="3086"/>
                  </a:lnTo>
                  <a:lnTo>
                    <a:pt x="3366" y="3084"/>
                  </a:lnTo>
                  <a:lnTo>
                    <a:pt x="3376" y="3084"/>
                  </a:lnTo>
                  <a:lnTo>
                    <a:pt x="3384" y="3086"/>
                  </a:lnTo>
                  <a:lnTo>
                    <a:pt x="3390" y="3090"/>
                  </a:lnTo>
                  <a:lnTo>
                    <a:pt x="3394" y="3090"/>
                  </a:lnTo>
                  <a:lnTo>
                    <a:pt x="3396" y="3088"/>
                  </a:lnTo>
                  <a:lnTo>
                    <a:pt x="3396" y="3084"/>
                  </a:lnTo>
                  <a:lnTo>
                    <a:pt x="3396" y="3082"/>
                  </a:lnTo>
                  <a:lnTo>
                    <a:pt x="3400" y="3078"/>
                  </a:lnTo>
                  <a:lnTo>
                    <a:pt x="3406" y="3076"/>
                  </a:lnTo>
                  <a:lnTo>
                    <a:pt x="3412" y="3078"/>
                  </a:lnTo>
                  <a:lnTo>
                    <a:pt x="3418" y="3078"/>
                  </a:lnTo>
                  <a:lnTo>
                    <a:pt x="3422" y="3076"/>
                  </a:lnTo>
                  <a:lnTo>
                    <a:pt x="3428" y="3070"/>
                  </a:lnTo>
                  <a:lnTo>
                    <a:pt x="3434" y="3058"/>
                  </a:lnTo>
                  <a:lnTo>
                    <a:pt x="3438" y="3044"/>
                  </a:lnTo>
                  <a:lnTo>
                    <a:pt x="3440" y="3032"/>
                  </a:lnTo>
                  <a:lnTo>
                    <a:pt x="3440" y="3026"/>
                  </a:lnTo>
                  <a:lnTo>
                    <a:pt x="3436" y="3026"/>
                  </a:lnTo>
                  <a:lnTo>
                    <a:pt x="3434" y="3026"/>
                  </a:lnTo>
                  <a:lnTo>
                    <a:pt x="3432" y="3018"/>
                  </a:lnTo>
                  <a:lnTo>
                    <a:pt x="3434" y="3008"/>
                  </a:lnTo>
                  <a:lnTo>
                    <a:pt x="3436" y="3002"/>
                  </a:lnTo>
                  <a:lnTo>
                    <a:pt x="3436" y="2994"/>
                  </a:lnTo>
                  <a:lnTo>
                    <a:pt x="3436" y="2980"/>
                  </a:lnTo>
                  <a:lnTo>
                    <a:pt x="3432" y="2964"/>
                  </a:lnTo>
                  <a:lnTo>
                    <a:pt x="3426" y="2948"/>
                  </a:lnTo>
                  <a:lnTo>
                    <a:pt x="3418" y="2934"/>
                  </a:lnTo>
                  <a:lnTo>
                    <a:pt x="3410" y="2922"/>
                  </a:lnTo>
                  <a:lnTo>
                    <a:pt x="3402" y="2910"/>
                  </a:lnTo>
                  <a:lnTo>
                    <a:pt x="3398" y="2902"/>
                  </a:lnTo>
                  <a:lnTo>
                    <a:pt x="3392" y="2886"/>
                  </a:lnTo>
                  <a:lnTo>
                    <a:pt x="3388" y="2882"/>
                  </a:lnTo>
                  <a:lnTo>
                    <a:pt x="3386" y="2880"/>
                  </a:lnTo>
                  <a:lnTo>
                    <a:pt x="3380" y="2876"/>
                  </a:lnTo>
                  <a:lnTo>
                    <a:pt x="3374" y="2866"/>
                  </a:lnTo>
                  <a:lnTo>
                    <a:pt x="3370" y="2862"/>
                  </a:lnTo>
                  <a:lnTo>
                    <a:pt x="3366" y="2858"/>
                  </a:lnTo>
                  <a:lnTo>
                    <a:pt x="3360" y="2856"/>
                  </a:lnTo>
                  <a:lnTo>
                    <a:pt x="3354" y="2856"/>
                  </a:lnTo>
                  <a:lnTo>
                    <a:pt x="3352" y="2852"/>
                  </a:lnTo>
                  <a:lnTo>
                    <a:pt x="3352" y="2850"/>
                  </a:lnTo>
                  <a:lnTo>
                    <a:pt x="3354" y="2848"/>
                  </a:lnTo>
                  <a:lnTo>
                    <a:pt x="3356" y="2848"/>
                  </a:lnTo>
                  <a:lnTo>
                    <a:pt x="3358" y="2848"/>
                  </a:lnTo>
                  <a:lnTo>
                    <a:pt x="3360" y="2848"/>
                  </a:lnTo>
                  <a:lnTo>
                    <a:pt x="3360" y="2838"/>
                  </a:lnTo>
                  <a:lnTo>
                    <a:pt x="3358" y="2830"/>
                  </a:lnTo>
                  <a:lnTo>
                    <a:pt x="3358" y="2826"/>
                  </a:lnTo>
                  <a:lnTo>
                    <a:pt x="3360" y="2822"/>
                  </a:lnTo>
                  <a:lnTo>
                    <a:pt x="3362" y="2822"/>
                  </a:lnTo>
                  <a:lnTo>
                    <a:pt x="3368" y="2820"/>
                  </a:lnTo>
                  <a:lnTo>
                    <a:pt x="3372" y="2818"/>
                  </a:lnTo>
                  <a:lnTo>
                    <a:pt x="3374" y="2814"/>
                  </a:lnTo>
                  <a:lnTo>
                    <a:pt x="3376" y="2810"/>
                  </a:lnTo>
                  <a:lnTo>
                    <a:pt x="3378" y="2808"/>
                  </a:lnTo>
                  <a:lnTo>
                    <a:pt x="3384" y="2810"/>
                  </a:lnTo>
                  <a:lnTo>
                    <a:pt x="3386" y="2810"/>
                  </a:lnTo>
                  <a:lnTo>
                    <a:pt x="3390" y="2810"/>
                  </a:lnTo>
                  <a:lnTo>
                    <a:pt x="3396" y="2806"/>
                  </a:lnTo>
                  <a:lnTo>
                    <a:pt x="3402" y="2800"/>
                  </a:lnTo>
                  <a:lnTo>
                    <a:pt x="3426" y="2776"/>
                  </a:lnTo>
                  <a:lnTo>
                    <a:pt x="3434" y="2768"/>
                  </a:lnTo>
                  <a:lnTo>
                    <a:pt x="3442" y="2766"/>
                  </a:lnTo>
                  <a:lnTo>
                    <a:pt x="3444" y="2764"/>
                  </a:lnTo>
                  <a:lnTo>
                    <a:pt x="3446" y="2762"/>
                  </a:lnTo>
                  <a:lnTo>
                    <a:pt x="3448" y="2754"/>
                  </a:lnTo>
                  <a:lnTo>
                    <a:pt x="3448" y="2746"/>
                  </a:lnTo>
                  <a:lnTo>
                    <a:pt x="3448" y="2738"/>
                  </a:lnTo>
                  <a:lnTo>
                    <a:pt x="3448" y="2734"/>
                  </a:lnTo>
                  <a:lnTo>
                    <a:pt x="3448" y="2732"/>
                  </a:lnTo>
                  <a:lnTo>
                    <a:pt x="3446" y="2730"/>
                  </a:lnTo>
                  <a:lnTo>
                    <a:pt x="3444" y="2728"/>
                  </a:lnTo>
                  <a:lnTo>
                    <a:pt x="3444" y="2724"/>
                  </a:lnTo>
                  <a:lnTo>
                    <a:pt x="3450" y="2714"/>
                  </a:lnTo>
                  <a:lnTo>
                    <a:pt x="3464" y="2694"/>
                  </a:lnTo>
                  <a:lnTo>
                    <a:pt x="3474" y="2684"/>
                  </a:lnTo>
                  <a:lnTo>
                    <a:pt x="3478" y="2682"/>
                  </a:lnTo>
                  <a:lnTo>
                    <a:pt x="3480" y="2684"/>
                  </a:lnTo>
                  <a:lnTo>
                    <a:pt x="3482" y="2684"/>
                  </a:lnTo>
                  <a:lnTo>
                    <a:pt x="3488" y="2682"/>
                  </a:lnTo>
                  <a:lnTo>
                    <a:pt x="3492" y="2678"/>
                  </a:lnTo>
                  <a:lnTo>
                    <a:pt x="3492" y="2674"/>
                  </a:lnTo>
                  <a:lnTo>
                    <a:pt x="3492" y="2666"/>
                  </a:lnTo>
                  <a:lnTo>
                    <a:pt x="3492" y="2664"/>
                  </a:lnTo>
                  <a:lnTo>
                    <a:pt x="3498" y="2664"/>
                  </a:lnTo>
                  <a:lnTo>
                    <a:pt x="3506" y="2666"/>
                  </a:lnTo>
                  <a:lnTo>
                    <a:pt x="3510" y="2664"/>
                  </a:lnTo>
                  <a:lnTo>
                    <a:pt x="3514" y="2658"/>
                  </a:lnTo>
                  <a:lnTo>
                    <a:pt x="3518" y="2650"/>
                  </a:lnTo>
                  <a:lnTo>
                    <a:pt x="3524" y="2640"/>
                  </a:lnTo>
                  <a:lnTo>
                    <a:pt x="3524" y="2632"/>
                  </a:lnTo>
                  <a:lnTo>
                    <a:pt x="3526" y="2628"/>
                  </a:lnTo>
                  <a:lnTo>
                    <a:pt x="3528" y="2626"/>
                  </a:lnTo>
                  <a:lnTo>
                    <a:pt x="3532" y="2626"/>
                  </a:lnTo>
                  <a:lnTo>
                    <a:pt x="3536" y="2626"/>
                  </a:lnTo>
                  <a:lnTo>
                    <a:pt x="3536" y="2628"/>
                  </a:lnTo>
                  <a:lnTo>
                    <a:pt x="3536" y="2634"/>
                  </a:lnTo>
                  <a:lnTo>
                    <a:pt x="3534" y="2638"/>
                  </a:lnTo>
                  <a:lnTo>
                    <a:pt x="3536" y="2638"/>
                  </a:lnTo>
                  <a:lnTo>
                    <a:pt x="3538" y="2638"/>
                  </a:lnTo>
                  <a:lnTo>
                    <a:pt x="3542" y="2636"/>
                  </a:lnTo>
                  <a:lnTo>
                    <a:pt x="3548" y="2632"/>
                  </a:lnTo>
                  <a:lnTo>
                    <a:pt x="3550" y="2632"/>
                  </a:lnTo>
                  <a:lnTo>
                    <a:pt x="3552" y="2634"/>
                  </a:lnTo>
                  <a:lnTo>
                    <a:pt x="3552" y="2638"/>
                  </a:lnTo>
                  <a:lnTo>
                    <a:pt x="3552" y="2646"/>
                  </a:lnTo>
                  <a:lnTo>
                    <a:pt x="3554" y="2648"/>
                  </a:lnTo>
                  <a:lnTo>
                    <a:pt x="3556" y="2650"/>
                  </a:lnTo>
                  <a:lnTo>
                    <a:pt x="3570" y="2654"/>
                  </a:lnTo>
                  <a:lnTo>
                    <a:pt x="3580" y="2660"/>
                  </a:lnTo>
                  <a:lnTo>
                    <a:pt x="3584" y="2660"/>
                  </a:lnTo>
                  <a:lnTo>
                    <a:pt x="3590" y="2658"/>
                  </a:lnTo>
                  <a:lnTo>
                    <a:pt x="3598" y="2656"/>
                  </a:lnTo>
                  <a:lnTo>
                    <a:pt x="3608" y="2652"/>
                  </a:lnTo>
                  <a:lnTo>
                    <a:pt x="3616" y="2650"/>
                  </a:lnTo>
                  <a:lnTo>
                    <a:pt x="3622" y="2644"/>
                  </a:lnTo>
                  <a:lnTo>
                    <a:pt x="3632" y="2638"/>
                  </a:lnTo>
                  <a:lnTo>
                    <a:pt x="3648" y="2628"/>
                  </a:lnTo>
                  <a:lnTo>
                    <a:pt x="3658" y="2620"/>
                  </a:lnTo>
                  <a:lnTo>
                    <a:pt x="3666" y="2610"/>
                  </a:lnTo>
                  <a:lnTo>
                    <a:pt x="3686" y="2584"/>
                  </a:lnTo>
                  <a:lnTo>
                    <a:pt x="3712" y="2550"/>
                  </a:lnTo>
                  <a:lnTo>
                    <a:pt x="3728" y="2530"/>
                  </a:lnTo>
                  <a:lnTo>
                    <a:pt x="3748" y="2508"/>
                  </a:lnTo>
                  <a:lnTo>
                    <a:pt x="3768" y="2488"/>
                  </a:lnTo>
                  <a:lnTo>
                    <a:pt x="3780" y="2468"/>
                  </a:lnTo>
                  <a:lnTo>
                    <a:pt x="3790" y="2454"/>
                  </a:lnTo>
                  <a:lnTo>
                    <a:pt x="3796" y="2440"/>
                  </a:lnTo>
                  <a:lnTo>
                    <a:pt x="3804" y="2418"/>
                  </a:lnTo>
                  <a:lnTo>
                    <a:pt x="3808" y="2408"/>
                  </a:lnTo>
                  <a:lnTo>
                    <a:pt x="3816" y="2400"/>
                  </a:lnTo>
                  <a:lnTo>
                    <a:pt x="3824" y="2394"/>
                  </a:lnTo>
                  <a:lnTo>
                    <a:pt x="3828" y="2388"/>
                  </a:lnTo>
                  <a:lnTo>
                    <a:pt x="3832" y="2378"/>
                  </a:lnTo>
                  <a:lnTo>
                    <a:pt x="3834" y="2372"/>
                  </a:lnTo>
                  <a:lnTo>
                    <a:pt x="3838" y="2366"/>
                  </a:lnTo>
                  <a:lnTo>
                    <a:pt x="3844" y="2358"/>
                  </a:lnTo>
                  <a:lnTo>
                    <a:pt x="3854" y="2346"/>
                  </a:lnTo>
                  <a:lnTo>
                    <a:pt x="3860" y="2340"/>
                  </a:lnTo>
                  <a:lnTo>
                    <a:pt x="3866" y="2334"/>
                  </a:lnTo>
                  <a:lnTo>
                    <a:pt x="3874" y="2316"/>
                  </a:lnTo>
                  <a:lnTo>
                    <a:pt x="3880" y="2296"/>
                  </a:lnTo>
                  <a:lnTo>
                    <a:pt x="3882" y="2276"/>
                  </a:lnTo>
                  <a:lnTo>
                    <a:pt x="3884" y="2256"/>
                  </a:lnTo>
                  <a:lnTo>
                    <a:pt x="3884" y="2238"/>
                  </a:lnTo>
                  <a:lnTo>
                    <a:pt x="3882" y="2224"/>
                  </a:lnTo>
                  <a:lnTo>
                    <a:pt x="3880" y="2212"/>
                  </a:lnTo>
                  <a:lnTo>
                    <a:pt x="3878" y="2204"/>
                  </a:lnTo>
                  <a:lnTo>
                    <a:pt x="3878" y="2198"/>
                  </a:lnTo>
                  <a:lnTo>
                    <a:pt x="3880" y="2192"/>
                  </a:lnTo>
                  <a:lnTo>
                    <a:pt x="3882" y="2188"/>
                  </a:lnTo>
                  <a:lnTo>
                    <a:pt x="3888" y="2178"/>
                  </a:lnTo>
                  <a:lnTo>
                    <a:pt x="3892" y="2170"/>
                  </a:lnTo>
                  <a:lnTo>
                    <a:pt x="3896" y="2160"/>
                  </a:lnTo>
                  <a:lnTo>
                    <a:pt x="3898" y="2150"/>
                  </a:lnTo>
                  <a:lnTo>
                    <a:pt x="3904" y="2142"/>
                  </a:lnTo>
                  <a:lnTo>
                    <a:pt x="3914" y="2128"/>
                  </a:lnTo>
                  <a:lnTo>
                    <a:pt x="3920" y="2122"/>
                  </a:lnTo>
                  <a:lnTo>
                    <a:pt x="3922" y="2116"/>
                  </a:lnTo>
                  <a:lnTo>
                    <a:pt x="3920" y="2110"/>
                  </a:lnTo>
                  <a:lnTo>
                    <a:pt x="3916" y="2104"/>
                  </a:lnTo>
                  <a:lnTo>
                    <a:pt x="3910" y="2098"/>
                  </a:lnTo>
                  <a:lnTo>
                    <a:pt x="3908" y="2094"/>
                  </a:lnTo>
                  <a:lnTo>
                    <a:pt x="3908" y="2090"/>
                  </a:lnTo>
                  <a:lnTo>
                    <a:pt x="3910" y="2086"/>
                  </a:lnTo>
                  <a:lnTo>
                    <a:pt x="3910" y="2078"/>
                  </a:lnTo>
                  <a:lnTo>
                    <a:pt x="3910" y="2072"/>
                  </a:lnTo>
                  <a:lnTo>
                    <a:pt x="3906" y="2066"/>
                  </a:lnTo>
                  <a:lnTo>
                    <a:pt x="3904" y="2062"/>
                  </a:lnTo>
                  <a:lnTo>
                    <a:pt x="3906" y="2058"/>
                  </a:lnTo>
                  <a:lnTo>
                    <a:pt x="3914" y="2052"/>
                  </a:lnTo>
                  <a:lnTo>
                    <a:pt x="3918" y="2050"/>
                  </a:lnTo>
                  <a:lnTo>
                    <a:pt x="3920" y="2046"/>
                  </a:lnTo>
                  <a:lnTo>
                    <a:pt x="3918" y="2042"/>
                  </a:lnTo>
                  <a:lnTo>
                    <a:pt x="3910" y="2034"/>
                  </a:lnTo>
                  <a:lnTo>
                    <a:pt x="3892" y="2020"/>
                  </a:lnTo>
                  <a:lnTo>
                    <a:pt x="3880" y="2010"/>
                  </a:lnTo>
                  <a:lnTo>
                    <a:pt x="3864" y="1990"/>
                  </a:lnTo>
                  <a:lnTo>
                    <a:pt x="3858" y="1986"/>
                  </a:lnTo>
                  <a:lnTo>
                    <a:pt x="3854" y="1984"/>
                  </a:lnTo>
                  <a:lnTo>
                    <a:pt x="3842" y="1984"/>
                  </a:lnTo>
                  <a:lnTo>
                    <a:pt x="3832" y="1986"/>
                  </a:lnTo>
                  <a:lnTo>
                    <a:pt x="3826" y="1986"/>
                  </a:lnTo>
                  <a:lnTo>
                    <a:pt x="3820" y="1984"/>
                  </a:lnTo>
                  <a:lnTo>
                    <a:pt x="3814" y="1982"/>
                  </a:lnTo>
                  <a:lnTo>
                    <a:pt x="3812" y="1984"/>
                  </a:lnTo>
                  <a:lnTo>
                    <a:pt x="3808" y="1996"/>
                  </a:lnTo>
                  <a:lnTo>
                    <a:pt x="3804" y="2004"/>
                  </a:lnTo>
                  <a:lnTo>
                    <a:pt x="3800" y="2012"/>
                  </a:lnTo>
                  <a:lnTo>
                    <a:pt x="3792" y="2018"/>
                  </a:lnTo>
                  <a:lnTo>
                    <a:pt x="3780" y="2024"/>
                  </a:lnTo>
                  <a:lnTo>
                    <a:pt x="3772" y="2026"/>
                  </a:lnTo>
                  <a:lnTo>
                    <a:pt x="3766" y="2026"/>
                  </a:lnTo>
                  <a:lnTo>
                    <a:pt x="3764" y="2024"/>
                  </a:lnTo>
                  <a:lnTo>
                    <a:pt x="3762" y="2022"/>
                  </a:lnTo>
                  <a:lnTo>
                    <a:pt x="3760" y="2018"/>
                  </a:lnTo>
                  <a:lnTo>
                    <a:pt x="3762" y="2014"/>
                  </a:lnTo>
                  <a:lnTo>
                    <a:pt x="3764" y="2002"/>
                  </a:lnTo>
                  <a:lnTo>
                    <a:pt x="3768" y="1992"/>
                  </a:lnTo>
                  <a:lnTo>
                    <a:pt x="3772" y="1984"/>
                  </a:lnTo>
                  <a:lnTo>
                    <a:pt x="3770" y="1982"/>
                  </a:lnTo>
                  <a:lnTo>
                    <a:pt x="3768" y="1980"/>
                  </a:lnTo>
                  <a:lnTo>
                    <a:pt x="3766" y="1980"/>
                  </a:lnTo>
                  <a:lnTo>
                    <a:pt x="3760" y="1982"/>
                  </a:lnTo>
                  <a:lnTo>
                    <a:pt x="3750" y="1986"/>
                  </a:lnTo>
                  <a:lnTo>
                    <a:pt x="3746" y="1992"/>
                  </a:lnTo>
                  <a:lnTo>
                    <a:pt x="3746" y="1996"/>
                  </a:lnTo>
                  <a:lnTo>
                    <a:pt x="3748" y="2000"/>
                  </a:lnTo>
                  <a:lnTo>
                    <a:pt x="3750" y="2002"/>
                  </a:lnTo>
                  <a:lnTo>
                    <a:pt x="3750" y="2004"/>
                  </a:lnTo>
                  <a:lnTo>
                    <a:pt x="3746" y="2008"/>
                  </a:lnTo>
                  <a:lnTo>
                    <a:pt x="3738" y="2008"/>
                  </a:lnTo>
                  <a:lnTo>
                    <a:pt x="3732" y="2008"/>
                  </a:lnTo>
                  <a:lnTo>
                    <a:pt x="3730" y="2008"/>
                  </a:lnTo>
                  <a:lnTo>
                    <a:pt x="3728" y="2006"/>
                  </a:lnTo>
                  <a:lnTo>
                    <a:pt x="3728" y="2002"/>
                  </a:lnTo>
                  <a:lnTo>
                    <a:pt x="3730" y="1994"/>
                  </a:lnTo>
                  <a:lnTo>
                    <a:pt x="3734" y="1986"/>
                  </a:lnTo>
                  <a:lnTo>
                    <a:pt x="3736" y="1976"/>
                  </a:lnTo>
                  <a:lnTo>
                    <a:pt x="3736" y="1972"/>
                  </a:lnTo>
                  <a:lnTo>
                    <a:pt x="3734" y="1968"/>
                  </a:lnTo>
                  <a:lnTo>
                    <a:pt x="3732" y="1966"/>
                  </a:lnTo>
                  <a:lnTo>
                    <a:pt x="3728" y="1962"/>
                  </a:lnTo>
                  <a:lnTo>
                    <a:pt x="3722" y="1962"/>
                  </a:lnTo>
                  <a:lnTo>
                    <a:pt x="3714" y="1960"/>
                  </a:lnTo>
                  <a:lnTo>
                    <a:pt x="3696" y="1962"/>
                  </a:lnTo>
                  <a:lnTo>
                    <a:pt x="3682" y="1960"/>
                  </a:lnTo>
                  <a:lnTo>
                    <a:pt x="3672" y="1958"/>
                  </a:lnTo>
                  <a:lnTo>
                    <a:pt x="3666" y="1954"/>
                  </a:lnTo>
                  <a:lnTo>
                    <a:pt x="3666" y="1950"/>
                  </a:lnTo>
                  <a:lnTo>
                    <a:pt x="3666" y="1948"/>
                  </a:lnTo>
                  <a:lnTo>
                    <a:pt x="3674" y="1938"/>
                  </a:lnTo>
                  <a:lnTo>
                    <a:pt x="3686" y="1928"/>
                  </a:lnTo>
                  <a:lnTo>
                    <a:pt x="3706" y="1912"/>
                  </a:lnTo>
                  <a:lnTo>
                    <a:pt x="3746" y="1886"/>
                  </a:lnTo>
                  <a:lnTo>
                    <a:pt x="3768" y="1868"/>
                  </a:lnTo>
                  <a:lnTo>
                    <a:pt x="3776" y="1862"/>
                  </a:lnTo>
                  <a:lnTo>
                    <a:pt x="3782" y="1852"/>
                  </a:lnTo>
                  <a:lnTo>
                    <a:pt x="3788" y="1844"/>
                  </a:lnTo>
                  <a:lnTo>
                    <a:pt x="3794" y="1832"/>
                  </a:lnTo>
                  <a:lnTo>
                    <a:pt x="3802" y="1818"/>
                  </a:lnTo>
                  <a:lnTo>
                    <a:pt x="3812" y="1808"/>
                  </a:lnTo>
                  <a:lnTo>
                    <a:pt x="3824" y="1800"/>
                  </a:lnTo>
                  <a:lnTo>
                    <a:pt x="3838" y="1790"/>
                  </a:lnTo>
                  <a:lnTo>
                    <a:pt x="3852" y="1782"/>
                  </a:lnTo>
                  <a:lnTo>
                    <a:pt x="3866" y="1772"/>
                  </a:lnTo>
                  <a:lnTo>
                    <a:pt x="3878" y="1760"/>
                  </a:lnTo>
                  <a:lnTo>
                    <a:pt x="3882" y="1752"/>
                  </a:lnTo>
                  <a:lnTo>
                    <a:pt x="3886" y="1746"/>
                  </a:lnTo>
                  <a:lnTo>
                    <a:pt x="3894" y="1728"/>
                  </a:lnTo>
                  <a:lnTo>
                    <a:pt x="3908" y="1712"/>
                  </a:lnTo>
                  <a:lnTo>
                    <a:pt x="3926" y="1696"/>
                  </a:lnTo>
                  <a:lnTo>
                    <a:pt x="3944" y="1682"/>
                  </a:lnTo>
                  <a:lnTo>
                    <a:pt x="3966" y="1672"/>
                  </a:lnTo>
                  <a:lnTo>
                    <a:pt x="3986" y="1664"/>
                  </a:lnTo>
                  <a:lnTo>
                    <a:pt x="4006" y="1660"/>
                  </a:lnTo>
                  <a:lnTo>
                    <a:pt x="4014" y="1660"/>
                  </a:lnTo>
                  <a:lnTo>
                    <a:pt x="4022" y="1662"/>
                  </a:lnTo>
                  <a:lnTo>
                    <a:pt x="4036" y="1664"/>
                  </a:lnTo>
                  <a:lnTo>
                    <a:pt x="4048" y="1666"/>
                  </a:lnTo>
                  <a:lnTo>
                    <a:pt x="4068" y="1664"/>
                  </a:lnTo>
                  <a:lnTo>
                    <a:pt x="4082" y="1664"/>
                  </a:lnTo>
                  <a:lnTo>
                    <a:pt x="4090" y="1666"/>
                  </a:lnTo>
                  <a:lnTo>
                    <a:pt x="4098" y="1670"/>
                  </a:lnTo>
                  <a:lnTo>
                    <a:pt x="4104" y="1672"/>
                  </a:lnTo>
                  <a:lnTo>
                    <a:pt x="4108" y="1672"/>
                  </a:lnTo>
                  <a:lnTo>
                    <a:pt x="4110" y="1670"/>
                  </a:lnTo>
                  <a:lnTo>
                    <a:pt x="4112" y="1666"/>
                  </a:lnTo>
                  <a:lnTo>
                    <a:pt x="4116" y="1662"/>
                  </a:lnTo>
                  <a:lnTo>
                    <a:pt x="4124" y="1660"/>
                  </a:lnTo>
                  <a:lnTo>
                    <a:pt x="4136" y="1658"/>
                  </a:lnTo>
                  <a:lnTo>
                    <a:pt x="4154" y="1660"/>
                  </a:lnTo>
                  <a:lnTo>
                    <a:pt x="4188" y="1668"/>
                  </a:lnTo>
                  <a:lnTo>
                    <a:pt x="4200" y="1670"/>
                  </a:lnTo>
                  <a:lnTo>
                    <a:pt x="4208" y="1670"/>
                  </a:lnTo>
                  <a:lnTo>
                    <a:pt x="4214" y="1670"/>
                  </a:lnTo>
                  <a:lnTo>
                    <a:pt x="4220" y="1666"/>
                  </a:lnTo>
                  <a:lnTo>
                    <a:pt x="4224" y="1658"/>
                  </a:lnTo>
                  <a:lnTo>
                    <a:pt x="4228" y="1648"/>
                  </a:lnTo>
                  <a:lnTo>
                    <a:pt x="4230" y="1646"/>
                  </a:lnTo>
                  <a:lnTo>
                    <a:pt x="4236" y="1644"/>
                  </a:lnTo>
                  <a:lnTo>
                    <a:pt x="4250" y="1642"/>
                  </a:lnTo>
                  <a:lnTo>
                    <a:pt x="4272" y="1642"/>
                  </a:lnTo>
                  <a:lnTo>
                    <a:pt x="4294" y="1644"/>
                  </a:lnTo>
                  <a:lnTo>
                    <a:pt x="4314" y="1648"/>
                  </a:lnTo>
                  <a:lnTo>
                    <a:pt x="4322" y="1652"/>
                  </a:lnTo>
                  <a:lnTo>
                    <a:pt x="4328" y="1656"/>
                  </a:lnTo>
                  <a:lnTo>
                    <a:pt x="4330" y="1660"/>
                  </a:lnTo>
                  <a:lnTo>
                    <a:pt x="4330" y="1664"/>
                  </a:lnTo>
                  <a:lnTo>
                    <a:pt x="4328" y="1670"/>
                  </a:lnTo>
                  <a:lnTo>
                    <a:pt x="4320" y="1676"/>
                  </a:lnTo>
                  <a:lnTo>
                    <a:pt x="4314" y="1682"/>
                  </a:lnTo>
                  <a:lnTo>
                    <a:pt x="4312" y="1686"/>
                  </a:lnTo>
                  <a:lnTo>
                    <a:pt x="4312" y="1688"/>
                  </a:lnTo>
                  <a:lnTo>
                    <a:pt x="4314" y="1690"/>
                  </a:lnTo>
                  <a:lnTo>
                    <a:pt x="4324" y="1692"/>
                  </a:lnTo>
                  <a:lnTo>
                    <a:pt x="4340" y="1690"/>
                  </a:lnTo>
                  <a:lnTo>
                    <a:pt x="4358" y="1688"/>
                  </a:lnTo>
                  <a:lnTo>
                    <a:pt x="4374" y="1684"/>
                  </a:lnTo>
                  <a:lnTo>
                    <a:pt x="4386" y="1680"/>
                  </a:lnTo>
                  <a:lnTo>
                    <a:pt x="4394" y="1676"/>
                  </a:lnTo>
                  <a:lnTo>
                    <a:pt x="4398" y="1670"/>
                  </a:lnTo>
                  <a:lnTo>
                    <a:pt x="4404" y="1670"/>
                  </a:lnTo>
                  <a:lnTo>
                    <a:pt x="4410" y="1674"/>
                  </a:lnTo>
                  <a:lnTo>
                    <a:pt x="4418" y="1678"/>
                  </a:lnTo>
                  <a:lnTo>
                    <a:pt x="4426" y="1682"/>
                  </a:lnTo>
                  <a:lnTo>
                    <a:pt x="4436" y="1684"/>
                  </a:lnTo>
                  <a:lnTo>
                    <a:pt x="4448" y="1682"/>
                  </a:lnTo>
                  <a:lnTo>
                    <a:pt x="4454" y="1680"/>
                  </a:lnTo>
                  <a:lnTo>
                    <a:pt x="4462" y="1676"/>
                  </a:lnTo>
                  <a:lnTo>
                    <a:pt x="4466" y="1672"/>
                  </a:lnTo>
                  <a:lnTo>
                    <a:pt x="4468" y="1668"/>
                  </a:lnTo>
                  <a:lnTo>
                    <a:pt x="4468" y="1664"/>
                  </a:lnTo>
                  <a:lnTo>
                    <a:pt x="4466" y="1660"/>
                  </a:lnTo>
                  <a:lnTo>
                    <a:pt x="4458" y="1652"/>
                  </a:lnTo>
                  <a:lnTo>
                    <a:pt x="4448" y="1646"/>
                  </a:lnTo>
                  <a:lnTo>
                    <a:pt x="4442" y="1642"/>
                  </a:lnTo>
                  <a:lnTo>
                    <a:pt x="4440" y="1636"/>
                  </a:lnTo>
                  <a:lnTo>
                    <a:pt x="4438" y="1632"/>
                  </a:lnTo>
                  <a:lnTo>
                    <a:pt x="4438" y="1626"/>
                  </a:lnTo>
                  <a:lnTo>
                    <a:pt x="4440" y="1618"/>
                  </a:lnTo>
                  <a:lnTo>
                    <a:pt x="4446" y="1612"/>
                  </a:lnTo>
                  <a:lnTo>
                    <a:pt x="4456" y="1602"/>
                  </a:lnTo>
                  <a:lnTo>
                    <a:pt x="4468" y="1592"/>
                  </a:lnTo>
                  <a:lnTo>
                    <a:pt x="4496" y="1572"/>
                  </a:lnTo>
                  <a:lnTo>
                    <a:pt x="4514" y="1556"/>
                  </a:lnTo>
                  <a:lnTo>
                    <a:pt x="4536" y="1530"/>
                  </a:lnTo>
                  <a:lnTo>
                    <a:pt x="4546" y="1522"/>
                  </a:lnTo>
                  <a:lnTo>
                    <a:pt x="4562" y="1514"/>
                  </a:lnTo>
                  <a:lnTo>
                    <a:pt x="4584" y="1508"/>
                  </a:lnTo>
                  <a:lnTo>
                    <a:pt x="4616" y="1502"/>
                  </a:lnTo>
                  <a:lnTo>
                    <a:pt x="4630" y="1502"/>
                  </a:lnTo>
                  <a:lnTo>
                    <a:pt x="4642" y="1504"/>
                  </a:lnTo>
                  <a:lnTo>
                    <a:pt x="4650" y="1508"/>
                  </a:lnTo>
                  <a:lnTo>
                    <a:pt x="4656" y="1514"/>
                  </a:lnTo>
                  <a:lnTo>
                    <a:pt x="4660" y="1520"/>
                  </a:lnTo>
                  <a:lnTo>
                    <a:pt x="4664" y="1528"/>
                  </a:lnTo>
                  <a:lnTo>
                    <a:pt x="4664" y="1546"/>
                  </a:lnTo>
                  <a:lnTo>
                    <a:pt x="4666" y="1562"/>
                  </a:lnTo>
                  <a:lnTo>
                    <a:pt x="4666" y="1568"/>
                  </a:lnTo>
                  <a:lnTo>
                    <a:pt x="4668" y="1574"/>
                  </a:lnTo>
                  <a:lnTo>
                    <a:pt x="4672" y="1578"/>
                  </a:lnTo>
                  <a:lnTo>
                    <a:pt x="4676" y="1580"/>
                  </a:lnTo>
                  <a:lnTo>
                    <a:pt x="4684" y="1578"/>
                  </a:lnTo>
                  <a:lnTo>
                    <a:pt x="4694" y="1574"/>
                  </a:lnTo>
                  <a:lnTo>
                    <a:pt x="4714" y="1562"/>
                  </a:lnTo>
                  <a:lnTo>
                    <a:pt x="4728" y="1550"/>
                  </a:lnTo>
                  <a:lnTo>
                    <a:pt x="4738" y="1540"/>
                  </a:lnTo>
                  <a:lnTo>
                    <a:pt x="4746" y="1530"/>
                  </a:lnTo>
                  <a:lnTo>
                    <a:pt x="4752" y="1524"/>
                  </a:lnTo>
                  <a:lnTo>
                    <a:pt x="4758" y="1520"/>
                  </a:lnTo>
                  <a:lnTo>
                    <a:pt x="4766" y="1518"/>
                  </a:lnTo>
                  <a:lnTo>
                    <a:pt x="4778" y="1520"/>
                  </a:lnTo>
                  <a:lnTo>
                    <a:pt x="4784" y="1522"/>
                  </a:lnTo>
                  <a:lnTo>
                    <a:pt x="4788" y="1520"/>
                  </a:lnTo>
                  <a:lnTo>
                    <a:pt x="4790" y="1518"/>
                  </a:lnTo>
                  <a:lnTo>
                    <a:pt x="4792" y="1514"/>
                  </a:lnTo>
                  <a:lnTo>
                    <a:pt x="4790" y="1502"/>
                  </a:lnTo>
                  <a:lnTo>
                    <a:pt x="4788" y="1486"/>
                  </a:lnTo>
                  <a:lnTo>
                    <a:pt x="4788" y="1472"/>
                  </a:lnTo>
                  <a:lnTo>
                    <a:pt x="4790" y="1464"/>
                  </a:lnTo>
                  <a:lnTo>
                    <a:pt x="4792" y="1458"/>
                  </a:lnTo>
                  <a:lnTo>
                    <a:pt x="4796" y="1452"/>
                  </a:lnTo>
                  <a:lnTo>
                    <a:pt x="4802" y="1448"/>
                  </a:lnTo>
                  <a:lnTo>
                    <a:pt x="4812" y="1446"/>
                  </a:lnTo>
                  <a:lnTo>
                    <a:pt x="4824" y="1446"/>
                  </a:lnTo>
                  <a:lnTo>
                    <a:pt x="4854" y="1446"/>
                  </a:lnTo>
                  <a:lnTo>
                    <a:pt x="4856" y="1448"/>
                  </a:lnTo>
                  <a:lnTo>
                    <a:pt x="4858" y="1448"/>
                  </a:lnTo>
                  <a:lnTo>
                    <a:pt x="4854" y="1452"/>
                  </a:lnTo>
                  <a:lnTo>
                    <a:pt x="4848" y="1460"/>
                  </a:lnTo>
                  <a:lnTo>
                    <a:pt x="4838" y="1472"/>
                  </a:lnTo>
                  <a:lnTo>
                    <a:pt x="4830" y="1490"/>
                  </a:lnTo>
                  <a:lnTo>
                    <a:pt x="4828" y="1500"/>
                  </a:lnTo>
                  <a:lnTo>
                    <a:pt x="4824" y="1512"/>
                  </a:lnTo>
                  <a:lnTo>
                    <a:pt x="4822" y="1526"/>
                  </a:lnTo>
                  <a:lnTo>
                    <a:pt x="4818" y="1536"/>
                  </a:lnTo>
                  <a:lnTo>
                    <a:pt x="4814" y="1544"/>
                  </a:lnTo>
                  <a:lnTo>
                    <a:pt x="4810" y="1552"/>
                  </a:lnTo>
                  <a:lnTo>
                    <a:pt x="4798" y="1564"/>
                  </a:lnTo>
                  <a:lnTo>
                    <a:pt x="4784" y="1572"/>
                  </a:lnTo>
                  <a:lnTo>
                    <a:pt x="4766" y="1582"/>
                  </a:lnTo>
                  <a:lnTo>
                    <a:pt x="4748" y="1594"/>
                  </a:lnTo>
                  <a:lnTo>
                    <a:pt x="4726" y="1612"/>
                  </a:lnTo>
                  <a:lnTo>
                    <a:pt x="4716" y="1622"/>
                  </a:lnTo>
                  <a:lnTo>
                    <a:pt x="4704" y="1636"/>
                  </a:lnTo>
                  <a:lnTo>
                    <a:pt x="4664" y="1686"/>
                  </a:lnTo>
                  <a:lnTo>
                    <a:pt x="4646" y="1706"/>
                  </a:lnTo>
                  <a:lnTo>
                    <a:pt x="4630" y="1722"/>
                  </a:lnTo>
                  <a:lnTo>
                    <a:pt x="4614" y="1734"/>
                  </a:lnTo>
                  <a:lnTo>
                    <a:pt x="4600" y="1744"/>
                  </a:lnTo>
                  <a:lnTo>
                    <a:pt x="4584" y="1752"/>
                  </a:lnTo>
                  <a:lnTo>
                    <a:pt x="4568" y="1756"/>
                  </a:lnTo>
                  <a:lnTo>
                    <a:pt x="4554" y="1760"/>
                  </a:lnTo>
                  <a:lnTo>
                    <a:pt x="4546" y="1764"/>
                  </a:lnTo>
                  <a:lnTo>
                    <a:pt x="4544" y="1770"/>
                  </a:lnTo>
                  <a:lnTo>
                    <a:pt x="4542" y="1776"/>
                  </a:lnTo>
                  <a:lnTo>
                    <a:pt x="4542" y="1784"/>
                  </a:lnTo>
                  <a:lnTo>
                    <a:pt x="4540" y="1792"/>
                  </a:lnTo>
                  <a:lnTo>
                    <a:pt x="4532" y="1802"/>
                  </a:lnTo>
                  <a:lnTo>
                    <a:pt x="4520" y="1812"/>
                  </a:lnTo>
                  <a:lnTo>
                    <a:pt x="4514" y="1820"/>
                  </a:lnTo>
                  <a:lnTo>
                    <a:pt x="4508" y="1828"/>
                  </a:lnTo>
                  <a:lnTo>
                    <a:pt x="4502" y="1840"/>
                  </a:lnTo>
                  <a:lnTo>
                    <a:pt x="4498" y="1854"/>
                  </a:lnTo>
                  <a:lnTo>
                    <a:pt x="4496" y="1868"/>
                  </a:lnTo>
                  <a:lnTo>
                    <a:pt x="4494" y="1886"/>
                  </a:lnTo>
                  <a:lnTo>
                    <a:pt x="4494" y="1922"/>
                  </a:lnTo>
                  <a:lnTo>
                    <a:pt x="4496" y="1962"/>
                  </a:lnTo>
                  <a:lnTo>
                    <a:pt x="4502" y="2006"/>
                  </a:lnTo>
                  <a:lnTo>
                    <a:pt x="4508" y="2050"/>
                  </a:lnTo>
                  <a:lnTo>
                    <a:pt x="4518" y="2092"/>
                  </a:lnTo>
                  <a:lnTo>
                    <a:pt x="4520" y="2110"/>
                  </a:lnTo>
                  <a:lnTo>
                    <a:pt x="4522" y="2132"/>
                  </a:lnTo>
                  <a:lnTo>
                    <a:pt x="4526" y="2152"/>
                  </a:lnTo>
                  <a:lnTo>
                    <a:pt x="4530" y="2168"/>
                  </a:lnTo>
                  <a:lnTo>
                    <a:pt x="4532" y="2172"/>
                  </a:lnTo>
                  <a:lnTo>
                    <a:pt x="4536" y="2176"/>
                  </a:lnTo>
                  <a:lnTo>
                    <a:pt x="4542" y="2178"/>
                  </a:lnTo>
                  <a:lnTo>
                    <a:pt x="4548" y="2176"/>
                  </a:lnTo>
                  <a:lnTo>
                    <a:pt x="4556" y="2172"/>
                  </a:lnTo>
                  <a:lnTo>
                    <a:pt x="4564" y="2164"/>
                  </a:lnTo>
                  <a:lnTo>
                    <a:pt x="4574" y="2152"/>
                  </a:lnTo>
                  <a:lnTo>
                    <a:pt x="4588" y="2136"/>
                  </a:lnTo>
                  <a:lnTo>
                    <a:pt x="4594" y="2124"/>
                  </a:lnTo>
                  <a:lnTo>
                    <a:pt x="4600" y="2114"/>
                  </a:lnTo>
                  <a:lnTo>
                    <a:pt x="4608" y="2094"/>
                  </a:lnTo>
                  <a:lnTo>
                    <a:pt x="4610" y="2080"/>
                  </a:lnTo>
                  <a:lnTo>
                    <a:pt x="4612" y="2068"/>
                  </a:lnTo>
                  <a:lnTo>
                    <a:pt x="4612" y="2060"/>
                  </a:lnTo>
                  <a:lnTo>
                    <a:pt x="4614" y="2056"/>
                  </a:lnTo>
                  <a:lnTo>
                    <a:pt x="4618" y="2054"/>
                  </a:lnTo>
                  <a:lnTo>
                    <a:pt x="4626" y="2050"/>
                  </a:lnTo>
                  <a:lnTo>
                    <a:pt x="4644" y="2050"/>
                  </a:lnTo>
                  <a:lnTo>
                    <a:pt x="4654" y="2048"/>
                  </a:lnTo>
                  <a:lnTo>
                    <a:pt x="4660" y="2046"/>
                  </a:lnTo>
                  <a:lnTo>
                    <a:pt x="4664" y="2042"/>
                  </a:lnTo>
                  <a:lnTo>
                    <a:pt x="4668" y="2038"/>
                  </a:lnTo>
                  <a:lnTo>
                    <a:pt x="4670" y="2024"/>
                  </a:lnTo>
                  <a:lnTo>
                    <a:pt x="4670" y="2010"/>
                  </a:lnTo>
                  <a:lnTo>
                    <a:pt x="4670" y="1996"/>
                  </a:lnTo>
                  <a:lnTo>
                    <a:pt x="4672" y="1988"/>
                  </a:lnTo>
                  <a:lnTo>
                    <a:pt x="4676" y="1982"/>
                  </a:lnTo>
                  <a:lnTo>
                    <a:pt x="4680" y="1976"/>
                  </a:lnTo>
                  <a:lnTo>
                    <a:pt x="4686" y="1972"/>
                  </a:lnTo>
                  <a:lnTo>
                    <a:pt x="4694" y="1968"/>
                  </a:lnTo>
                  <a:lnTo>
                    <a:pt x="4704" y="1968"/>
                  </a:lnTo>
                  <a:lnTo>
                    <a:pt x="4730" y="1964"/>
                  </a:lnTo>
                  <a:lnTo>
                    <a:pt x="4740" y="1960"/>
                  </a:lnTo>
                  <a:lnTo>
                    <a:pt x="4744" y="1956"/>
                  </a:lnTo>
                  <a:lnTo>
                    <a:pt x="4748" y="1952"/>
                  </a:lnTo>
                  <a:lnTo>
                    <a:pt x="4750" y="1948"/>
                  </a:lnTo>
                  <a:lnTo>
                    <a:pt x="4750" y="1944"/>
                  </a:lnTo>
                  <a:lnTo>
                    <a:pt x="4748" y="1938"/>
                  </a:lnTo>
                  <a:lnTo>
                    <a:pt x="4744" y="1926"/>
                  </a:lnTo>
                  <a:lnTo>
                    <a:pt x="4740" y="1912"/>
                  </a:lnTo>
                  <a:lnTo>
                    <a:pt x="4738" y="1904"/>
                  </a:lnTo>
                  <a:lnTo>
                    <a:pt x="4738" y="1896"/>
                  </a:lnTo>
                  <a:lnTo>
                    <a:pt x="4740" y="1888"/>
                  </a:lnTo>
                  <a:lnTo>
                    <a:pt x="4744" y="1880"/>
                  </a:lnTo>
                  <a:lnTo>
                    <a:pt x="4748" y="1874"/>
                  </a:lnTo>
                  <a:lnTo>
                    <a:pt x="4752" y="1870"/>
                  </a:lnTo>
                  <a:lnTo>
                    <a:pt x="4756" y="1866"/>
                  </a:lnTo>
                  <a:lnTo>
                    <a:pt x="4760" y="1866"/>
                  </a:lnTo>
                  <a:lnTo>
                    <a:pt x="4770" y="1866"/>
                  </a:lnTo>
                  <a:lnTo>
                    <a:pt x="4778" y="1870"/>
                  </a:lnTo>
                  <a:lnTo>
                    <a:pt x="4784" y="1874"/>
                  </a:lnTo>
                  <a:lnTo>
                    <a:pt x="4792" y="1874"/>
                  </a:lnTo>
                  <a:lnTo>
                    <a:pt x="4794" y="1874"/>
                  </a:lnTo>
                  <a:lnTo>
                    <a:pt x="4796" y="1872"/>
                  </a:lnTo>
                  <a:lnTo>
                    <a:pt x="4800" y="1862"/>
                  </a:lnTo>
                  <a:lnTo>
                    <a:pt x="4800" y="1854"/>
                  </a:lnTo>
                  <a:lnTo>
                    <a:pt x="4800" y="1846"/>
                  </a:lnTo>
                  <a:lnTo>
                    <a:pt x="4798" y="1840"/>
                  </a:lnTo>
                  <a:lnTo>
                    <a:pt x="4796" y="1836"/>
                  </a:lnTo>
                  <a:lnTo>
                    <a:pt x="4788" y="1828"/>
                  </a:lnTo>
                  <a:lnTo>
                    <a:pt x="4782" y="1822"/>
                  </a:lnTo>
                  <a:lnTo>
                    <a:pt x="4774" y="1816"/>
                  </a:lnTo>
                  <a:lnTo>
                    <a:pt x="4772" y="1814"/>
                  </a:lnTo>
                  <a:lnTo>
                    <a:pt x="4772" y="1810"/>
                  </a:lnTo>
                  <a:lnTo>
                    <a:pt x="4772" y="1806"/>
                  </a:lnTo>
                  <a:lnTo>
                    <a:pt x="4774" y="1802"/>
                  </a:lnTo>
                  <a:lnTo>
                    <a:pt x="4782" y="1790"/>
                  </a:lnTo>
                  <a:lnTo>
                    <a:pt x="4790" y="1780"/>
                  </a:lnTo>
                  <a:lnTo>
                    <a:pt x="4794" y="1772"/>
                  </a:lnTo>
                  <a:lnTo>
                    <a:pt x="4794" y="1766"/>
                  </a:lnTo>
                  <a:lnTo>
                    <a:pt x="4792" y="1760"/>
                  </a:lnTo>
                  <a:lnTo>
                    <a:pt x="4788" y="1756"/>
                  </a:lnTo>
                  <a:lnTo>
                    <a:pt x="4782" y="1752"/>
                  </a:lnTo>
                  <a:lnTo>
                    <a:pt x="4768" y="1748"/>
                  </a:lnTo>
                  <a:lnTo>
                    <a:pt x="4756" y="1744"/>
                  </a:lnTo>
                  <a:lnTo>
                    <a:pt x="4750" y="1740"/>
                  </a:lnTo>
                  <a:lnTo>
                    <a:pt x="4746" y="1738"/>
                  </a:lnTo>
                  <a:lnTo>
                    <a:pt x="4746" y="1732"/>
                  </a:lnTo>
                  <a:lnTo>
                    <a:pt x="4748" y="1728"/>
                  </a:lnTo>
                  <a:lnTo>
                    <a:pt x="4752" y="1720"/>
                  </a:lnTo>
                  <a:lnTo>
                    <a:pt x="4762" y="1712"/>
                  </a:lnTo>
                  <a:lnTo>
                    <a:pt x="4782" y="1694"/>
                  </a:lnTo>
                  <a:lnTo>
                    <a:pt x="4794" y="1678"/>
                  </a:lnTo>
                  <a:lnTo>
                    <a:pt x="4800" y="1664"/>
                  </a:lnTo>
                  <a:lnTo>
                    <a:pt x="4804" y="1652"/>
                  </a:lnTo>
                  <a:lnTo>
                    <a:pt x="4806" y="1642"/>
                  </a:lnTo>
                  <a:lnTo>
                    <a:pt x="4810" y="1634"/>
                  </a:lnTo>
                  <a:lnTo>
                    <a:pt x="4816" y="1628"/>
                  </a:lnTo>
                  <a:lnTo>
                    <a:pt x="4828" y="1622"/>
                  </a:lnTo>
                  <a:lnTo>
                    <a:pt x="4840" y="1618"/>
                  </a:lnTo>
                  <a:lnTo>
                    <a:pt x="4848" y="1618"/>
                  </a:lnTo>
                  <a:lnTo>
                    <a:pt x="4852" y="1620"/>
                  </a:lnTo>
                  <a:lnTo>
                    <a:pt x="4854" y="1622"/>
                  </a:lnTo>
                  <a:lnTo>
                    <a:pt x="4856" y="1624"/>
                  </a:lnTo>
                  <a:lnTo>
                    <a:pt x="4862" y="1622"/>
                  </a:lnTo>
                  <a:lnTo>
                    <a:pt x="4872" y="1616"/>
                  </a:lnTo>
                  <a:lnTo>
                    <a:pt x="4888" y="1606"/>
                  </a:lnTo>
                  <a:lnTo>
                    <a:pt x="4900" y="1598"/>
                  </a:lnTo>
                  <a:lnTo>
                    <a:pt x="4908" y="1592"/>
                  </a:lnTo>
                  <a:lnTo>
                    <a:pt x="4914" y="1592"/>
                  </a:lnTo>
                  <a:lnTo>
                    <a:pt x="4916" y="1592"/>
                  </a:lnTo>
                  <a:lnTo>
                    <a:pt x="4918" y="1596"/>
                  </a:lnTo>
                  <a:lnTo>
                    <a:pt x="4918" y="1600"/>
                  </a:lnTo>
                  <a:lnTo>
                    <a:pt x="4914" y="1612"/>
                  </a:lnTo>
                  <a:lnTo>
                    <a:pt x="4910" y="1624"/>
                  </a:lnTo>
                  <a:lnTo>
                    <a:pt x="4910" y="1628"/>
                  </a:lnTo>
                  <a:lnTo>
                    <a:pt x="4910" y="1632"/>
                  </a:lnTo>
                  <a:lnTo>
                    <a:pt x="4912" y="1632"/>
                  </a:lnTo>
                  <a:lnTo>
                    <a:pt x="4916" y="1632"/>
                  </a:lnTo>
                  <a:lnTo>
                    <a:pt x="4934" y="1618"/>
                  </a:lnTo>
                  <a:lnTo>
                    <a:pt x="4958" y="1600"/>
                  </a:lnTo>
                  <a:lnTo>
                    <a:pt x="4980" y="1588"/>
                  </a:lnTo>
                  <a:lnTo>
                    <a:pt x="4990" y="1586"/>
                  </a:lnTo>
                  <a:lnTo>
                    <a:pt x="5000" y="1584"/>
                  </a:lnTo>
                  <a:lnTo>
                    <a:pt x="5016" y="1584"/>
                  </a:lnTo>
                  <a:lnTo>
                    <a:pt x="5032" y="1588"/>
                  </a:lnTo>
                  <a:lnTo>
                    <a:pt x="5048" y="1596"/>
                  </a:lnTo>
                  <a:lnTo>
                    <a:pt x="5060" y="1606"/>
                  </a:lnTo>
                  <a:lnTo>
                    <a:pt x="5072" y="1618"/>
                  </a:lnTo>
                  <a:lnTo>
                    <a:pt x="5080" y="1628"/>
                  </a:lnTo>
                  <a:lnTo>
                    <a:pt x="5082" y="1630"/>
                  </a:lnTo>
                  <a:lnTo>
                    <a:pt x="5084" y="1628"/>
                  </a:lnTo>
                  <a:lnTo>
                    <a:pt x="5086" y="1620"/>
                  </a:lnTo>
                  <a:lnTo>
                    <a:pt x="5094" y="1608"/>
                  </a:lnTo>
                  <a:lnTo>
                    <a:pt x="5108" y="1592"/>
                  </a:lnTo>
                  <a:lnTo>
                    <a:pt x="5118" y="1584"/>
                  </a:lnTo>
                  <a:lnTo>
                    <a:pt x="5132" y="1574"/>
                  </a:lnTo>
                  <a:lnTo>
                    <a:pt x="5148" y="1564"/>
                  </a:lnTo>
                  <a:lnTo>
                    <a:pt x="5168" y="1552"/>
                  </a:lnTo>
                  <a:lnTo>
                    <a:pt x="5186" y="1542"/>
                  </a:lnTo>
                  <a:lnTo>
                    <a:pt x="5202" y="1532"/>
                  </a:lnTo>
                  <a:lnTo>
                    <a:pt x="5236" y="1508"/>
                  </a:lnTo>
                  <a:lnTo>
                    <a:pt x="5252" y="1496"/>
                  </a:lnTo>
                  <a:lnTo>
                    <a:pt x="5272" y="1484"/>
                  </a:lnTo>
                  <a:lnTo>
                    <a:pt x="5290" y="1474"/>
                  </a:lnTo>
                  <a:lnTo>
                    <a:pt x="5312" y="1466"/>
                  </a:lnTo>
                  <a:lnTo>
                    <a:pt x="5330" y="1460"/>
                  </a:lnTo>
                  <a:lnTo>
                    <a:pt x="5348" y="1456"/>
                  </a:lnTo>
                  <a:lnTo>
                    <a:pt x="5362" y="1454"/>
                  </a:lnTo>
                  <a:lnTo>
                    <a:pt x="5374" y="1454"/>
                  </a:lnTo>
                  <a:lnTo>
                    <a:pt x="5396" y="1456"/>
                  </a:lnTo>
                  <a:lnTo>
                    <a:pt x="5410" y="1460"/>
                  </a:lnTo>
                  <a:lnTo>
                    <a:pt x="5422" y="1464"/>
                  </a:lnTo>
                  <a:lnTo>
                    <a:pt x="5430" y="1466"/>
                  </a:lnTo>
                  <a:lnTo>
                    <a:pt x="5434" y="1466"/>
                  </a:lnTo>
                  <a:lnTo>
                    <a:pt x="5438" y="1464"/>
                  </a:lnTo>
                  <a:lnTo>
                    <a:pt x="5448" y="1458"/>
                  </a:lnTo>
                  <a:lnTo>
                    <a:pt x="5454" y="1448"/>
                  </a:lnTo>
                  <a:lnTo>
                    <a:pt x="5458" y="1440"/>
                  </a:lnTo>
                  <a:lnTo>
                    <a:pt x="5456" y="1432"/>
                  </a:lnTo>
                  <a:lnTo>
                    <a:pt x="5450" y="1422"/>
                  </a:lnTo>
                  <a:lnTo>
                    <a:pt x="5436" y="1400"/>
                  </a:lnTo>
                  <a:lnTo>
                    <a:pt x="5428" y="1386"/>
                  </a:lnTo>
                  <a:lnTo>
                    <a:pt x="5420" y="1368"/>
                  </a:lnTo>
                  <a:lnTo>
                    <a:pt x="5412" y="1348"/>
                  </a:lnTo>
                  <a:lnTo>
                    <a:pt x="5404" y="1338"/>
                  </a:lnTo>
                  <a:lnTo>
                    <a:pt x="5400" y="1336"/>
                  </a:lnTo>
                  <a:lnTo>
                    <a:pt x="5396" y="1336"/>
                  </a:lnTo>
                  <a:lnTo>
                    <a:pt x="5390" y="1336"/>
                  </a:lnTo>
                  <a:lnTo>
                    <a:pt x="5384" y="1338"/>
                  </a:lnTo>
                  <a:lnTo>
                    <a:pt x="5378" y="1338"/>
                  </a:lnTo>
                  <a:lnTo>
                    <a:pt x="5376" y="1336"/>
                  </a:lnTo>
                  <a:lnTo>
                    <a:pt x="5374" y="1334"/>
                  </a:lnTo>
                  <a:lnTo>
                    <a:pt x="5368" y="1322"/>
                  </a:lnTo>
                  <a:lnTo>
                    <a:pt x="5368" y="1316"/>
                  </a:lnTo>
                  <a:lnTo>
                    <a:pt x="5368" y="1312"/>
                  </a:lnTo>
                  <a:lnTo>
                    <a:pt x="5372" y="1310"/>
                  </a:lnTo>
                  <a:lnTo>
                    <a:pt x="5374" y="1308"/>
                  </a:lnTo>
                  <a:lnTo>
                    <a:pt x="5384" y="1308"/>
                  </a:lnTo>
                  <a:lnTo>
                    <a:pt x="5398" y="1310"/>
                  </a:lnTo>
                  <a:lnTo>
                    <a:pt x="5414" y="1312"/>
                  </a:lnTo>
                  <a:lnTo>
                    <a:pt x="5432" y="1310"/>
                  </a:lnTo>
                  <a:lnTo>
                    <a:pt x="5440" y="1308"/>
                  </a:lnTo>
                  <a:lnTo>
                    <a:pt x="5448" y="1304"/>
                  </a:lnTo>
                  <a:lnTo>
                    <a:pt x="5454" y="1298"/>
                  </a:lnTo>
                  <a:lnTo>
                    <a:pt x="5462" y="1292"/>
                  </a:lnTo>
                  <a:lnTo>
                    <a:pt x="5478" y="1272"/>
                  </a:lnTo>
                  <a:lnTo>
                    <a:pt x="5478" y="1258"/>
                  </a:lnTo>
                  <a:lnTo>
                    <a:pt x="5486" y="1248"/>
                  </a:lnTo>
                  <a:lnTo>
                    <a:pt x="5490" y="1244"/>
                  </a:lnTo>
                  <a:lnTo>
                    <a:pt x="5490" y="1240"/>
                  </a:lnTo>
                  <a:lnTo>
                    <a:pt x="5490" y="1236"/>
                  </a:lnTo>
                  <a:lnTo>
                    <a:pt x="5488" y="1232"/>
                  </a:lnTo>
                  <a:lnTo>
                    <a:pt x="5480" y="1220"/>
                  </a:lnTo>
                  <a:lnTo>
                    <a:pt x="5478" y="1216"/>
                  </a:lnTo>
                  <a:lnTo>
                    <a:pt x="5478" y="1204"/>
                  </a:lnTo>
                  <a:lnTo>
                    <a:pt x="5480" y="1200"/>
                  </a:lnTo>
                  <a:lnTo>
                    <a:pt x="5484" y="1200"/>
                  </a:lnTo>
                  <a:lnTo>
                    <a:pt x="5490" y="1200"/>
                  </a:lnTo>
                  <a:lnTo>
                    <a:pt x="5496" y="1202"/>
                  </a:lnTo>
                  <a:lnTo>
                    <a:pt x="5502" y="1206"/>
                  </a:lnTo>
                  <a:lnTo>
                    <a:pt x="5510" y="1212"/>
                  </a:lnTo>
                  <a:lnTo>
                    <a:pt x="5516" y="1220"/>
                  </a:lnTo>
                  <a:lnTo>
                    <a:pt x="5520" y="1230"/>
                  </a:lnTo>
                  <a:lnTo>
                    <a:pt x="5524" y="1238"/>
                  </a:lnTo>
                  <a:lnTo>
                    <a:pt x="5530" y="1242"/>
                  </a:lnTo>
                  <a:lnTo>
                    <a:pt x="5536" y="1244"/>
                  </a:lnTo>
                  <a:lnTo>
                    <a:pt x="5542" y="1246"/>
                  </a:lnTo>
                  <a:lnTo>
                    <a:pt x="5556" y="1244"/>
                  </a:lnTo>
                  <a:lnTo>
                    <a:pt x="5572" y="1242"/>
                  </a:lnTo>
                  <a:lnTo>
                    <a:pt x="5588" y="1238"/>
                  </a:lnTo>
                  <a:lnTo>
                    <a:pt x="5596" y="1238"/>
                  </a:lnTo>
                  <a:lnTo>
                    <a:pt x="5604" y="1238"/>
                  </a:lnTo>
                  <a:lnTo>
                    <a:pt x="5610" y="1242"/>
                  </a:lnTo>
                  <a:lnTo>
                    <a:pt x="5618" y="1246"/>
                  </a:lnTo>
                  <a:lnTo>
                    <a:pt x="5624" y="1252"/>
                  </a:lnTo>
                  <a:lnTo>
                    <a:pt x="5628" y="1262"/>
                  </a:lnTo>
                  <a:lnTo>
                    <a:pt x="5638" y="1278"/>
                  </a:lnTo>
                  <a:lnTo>
                    <a:pt x="5648" y="1290"/>
                  </a:lnTo>
                  <a:lnTo>
                    <a:pt x="5656" y="1294"/>
                  </a:lnTo>
                  <a:lnTo>
                    <a:pt x="5664" y="1296"/>
                  </a:lnTo>
                  <a:lnTo>
                    <a:pt x="5674" y="1298"/>
                  </a:lnTo>
                  <a:lnTo>
                    <a:pt x="5682" y="1298"/>
                  </a:lnTo>
                  <a:lnTo>
                    <a:pt x="5690" y="1302"/>
                  </a:lnTo>
                  <a:lnTo>
                    <a:pt x="5696" y="1310"/>
                  </a:lnTo>
                  <a:lnTo>
                    <a:pt x="5700" y="1316"/>
                  </a:lnTo>
                  <a:lnTo>
                    <a:pt x="5706" y="1320"/>
                  </a:lnTo>
                  <a:lnTo>
                    <a:pt x="5710" y="1322"/>
                  </a:lnTo>
                  <a:lnTo>
                    <a:pt x="5716" y="1322"/>
                  </a:lnTo>
                  <a:lnTo>
                    <a:pt x="5726" y="1322"/>
                  </a:lnTo>
                  <a:lnTo>
                    <a:pt x="5738" y="1318"/>
                  </a:lnTo>
                  <a:lnTo>
                    <a:pt x="5748" y="1310"/>
                  </a:lnTo>
                  <a:lnTo>
                    <a:pt x="5756" y="1298"/>
                  </a:lnTo>
                  <a:lnTo>
                    <a:pt x="5764" y="1284"/>
                  </a:lnTo>
                  <a:lnTo>
                    <a:pt x="5766" y="1268"/>
                  </a:lnTo>
                  <a:lnTo>
                    <a:pt x="5768" y="1254"/>
                  </a:lnTo>
                  <a:lnTo>
                    <a:pt x="5770" y="1248"/>
                  </a:lnTo>
                  <a:lnTo>
                    <a:pt x="5774" y="1246"/>
                  </a:lnTo>
                  <a:lnTo>
                    <a:pt x="5782" y="1240"/>
                  </a:lnTo>
                  <a:lnTo>
                    <a:pt x="5792" y="1238"/>
                  </a:lnTo>
                  <a:lnTo>
                    <a:pt x="5802" y="1238"/>
                  </a:lnTo>
                  <a:lnTo>
                    <a:pt x="5816" y="1234"/>
                  </a:lnTo>
                  <a:lnTo>
                    <a:pt x="5830" y="1228"/>
                  </a:lnTo>
                  <a:lnTo>
                    <a:pt x="5836" y="1222"/>
                  </a:lnTo>
                  <a:lnTo>
                    <a:pt x="5844" y="1216"/>
                  </a:lnTo>
                  <a:lnTo>
                    <a:pt x="5854" y="1204"/>
                  </a:lnTo>
                  <a:lnTo>
                    <a:pt x="5856" y="1198"/>
                  </a:lnTo>
                  <a:lnTo>
                    <a:pt x="5856" y="1196"/>
                  </a:lnTo>
                  <a:lnTo>
                    <a:pt x="5854" y="1194"/>
                  </a:lnTo>
                  <a:lnTo>
                    <a:pt x="5846" y="1194"/>
                  </a:lnTo>
                  <a:lnTo>
                    <a:pt x="5836" y="1192"/>
                  </a:lnTo>
                  <a:lnTo>
                    <a:pt x="5824" y="1188"/>
                  </a:lnTo>
                  <a:lnTo>
                    <a:pt x="5816" y="1184"/>
                  </a:lnTo>
                  <a:lnTo>
                    <a:pt x="5810" y="1180"/>
                  </a:lnTo>
                  <a:lnTo>
                    <a:pt x="5804" y="1174"/>
                  </a:lnTo>
                  <a:lnTo>
                    <a:pt x="5798" y="116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54" name="Freeform 6004">
              <a:extLst>
                <a:ext uri="{FF2B5EF4-FFF2-40B4-BE49-F238E27FC236}">
                  <a16:creationId xmlns:a16="http://schemas.microsoft.com/office/drawing/2014/main" id="{DEE6164B-AFB0-4886-937C-4A716582A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599" y="3604608"/>
              <a:ext cx="5080" cy="6349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4" y="10"/>
                </a:cxn>
                <a:cxn ang="0">
                  <a:pos x="6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8" h="10">
                  <a:moveTo>
                    <a:pt x="0" y="6"/>
                  </a:moveTo>
                  <a:lnTo>
                    <a:pt x="0" y="6"/>
                  </a:lnTo>
                  <a:lnTo>
                    <a:pt x="2" y="8"/>
                  </a:lnTo>
                  <a:lnTo>
                    <a:pt x="4" y="10"/>
                  </a:lnTo>
                  <a:lnTo>
                    <a:pt x="6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grpSp>
          <p:nvGrpSpPr>
            <p:cNvPr id="155" name="Gruppe 224">
              <a:extLst>
                <a:ext uri="{FF2B5EF4-FFF2-40B4-BE49-F238E27FC236}">
                  <a16:creationId xmlns:a16="http://schemas.microsoft.com/office/drawing/2014/main" id="{DB593EF4-459F-4C68-B6E2-14F2FFD01DAC}"/>
                </a:ext>
              </a:extLst>
            </p:cNvPr>
            <p:cNvGrpSpPr/>
            <p:nvPr/>
          </p:nvGrpSpPr>
          <p:grpSpPr bwMode="auto">
            <a:xfrm>
              <a:off x="61885" y="752495"/>
              <a:ext cx="3986212" cy="2951162"/>
              <a:chOff x="93979" y="699453"/>
              <a:chExt cx="3986530" cy="2951480"/>
            </a:xfrm>
            <a:grpFill/>
          </p:grpSpPr>
          <p:sp>
            <p:nvSpPr>
              <p:cNvPr id="269" name="Freeform 6016">
                <a:extLst>
                  <a:ext uri="{FF2B5EF4-FFF2-40B4-BE49-F238E27FC236}">
                    <a16:creationId xmlns:a16="http://schemas.microsoft.com/office/drawing/2014/main" id="{63F75CD1-8B72-4F50-BF00-5FF8B3383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2550" y="1099503"/>
                <a:ext cx="40640" cy="26670"/>
              </a:xfrm>
              <a:custGeom>
                <a:avLst/>
                <a:gdLst/>
                <a:ahLst/>
                <a:cxnLst>
                  <a:cxn ang="0">
                    <a:pos x="54" y="2"/>
                  </a:cxn>
                  <a:cxn ang="0">
                    <a:pos x="54" y="2"/>
                  </a:cxn>
                  <a:cxn ang="0">
                    <a:pos x="32" y="12"/>
                  </a:cxn>
                  <a:cxn ang="0">
                    <a:pos x="10" y="24"/>
                  </a:cxn>
                  <a:cxn ang="0">
                    <a:pos x="4" y="30"/>
                  </a:cxn>
                  <a:cxn ang="0">
                    <a:pos x="0" y="36"/>
                  </a:cxn>
                  <a:cxn ang="0">
                    <a:pos x="2" y="38"/>
                  </a:cxn>
                  <a:cxn ang="0">
                    <a:pos x="4" y="40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8" y="42"/>
                  </a:cxn>
                  <a:cxn ang="0">
                    <a:pos x="40" y="36"/>
                  </a:cxn>
                  <a:cxn ang="0">
                    <a:pos x="50" y="28"/>
                  </a:cxn>
                  <a:cxn ang="0">
                    <a:pos x="58" y="20"/>
                  </a:cxn>
                  <a:cxn ang="0">
                    <a:pos x="62" y="10"/>
                  </a:cxn>
                  <a:cxn ang="0">
                    <a:pos x="64" y="4"/>
                  </a:cxn>
                  <a:cxn ang="0">
                    <a:pos x="64" y="2"/>
                  </a:cxn>
                  <a:cxn ang="0">
                    <a:pos x="62" y="0"/>
                  </a:cxn>
                  <a:cxn ang="0">
                    <a:pos x="58" y="0"/>
                  </a:cxn>
                  <a:cxn ang="0">
                    <a:pos x="54" y="2"/>
                  </a:cxn>
                  <a:cxn ang="0">
                    <a:pos x="54" y="2"/>
                  </a:cxn>
                </a:cxnLst>
                <a:rect l="0" t="0" r="r" b="b"/>
                <a:pathLst>
                  <a:path w="64" h="42">
                    <a:moveTo>
                      <a:pt x="54" y="2"/>
                    </a:moveTo>
                    <a:lnTo>
                      <a:pt x="54" y="2"/>
                    </a:lnTo>
                    <a:lnTo>
                      <a:pt x="32" y="12"/>
                    </a:lnTo>
                    <a:lnTo>
                      <a:pt x="10" y="24"/>
                    </a:lnTo>
                    <a:lnTo>
                      <a:pt x="4" y="30"/>
                    </a:lnTo>
                    <a:lnTo>
                      <a:pt x="0" y="36"/>
                    </a:lnTo>
                    <a:lnTo>
                      <a:pt x="2" y="38"/>
                    </a:lnTo>
                    <a:lnTo>
                      <a:pt x="4" y="40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8" y="42"/>
                    </a:lnTo>
                    <a:lnTo>
                      <a:pt x="40" y="36"/>
                    </a:lnTo>
                    <a:lnTo>
                      <a:pt x="50" y="28"/>
                    </a:lnTo>
                    <a:lnTo>
                      <a:pt x="58" y="20"/>
                    </a:lnTo>
                    <a:lnTo>
                      <a:pt x="62" y="10"/>
                    </a:lnTo>
                    <a:lnTo>
                      <a:pt x="64" y="4"/>
                    </a:lnTo>
                    <a:lnTo>
                      <a:pt x="64" y="2"/>
                    </a:lnTo>
                    <a:lnTo>
                      <a:pt x="62" y="0"/>
                    </a:lnTo>
                    <a:lnTo>
                      <a:pt x="58" y="0"/>
                    </a:lnTo>
                    <a:lnTo>
                      <a:pt x="54" y="2"/>
                    </a:lnTo>
                    <a:lnTo>
                      <a:pt x="54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0" name="Freeform 6017">
                <a:extLst>
                  <a:ext uri="{FF2B5EF4-FFF2-40B4-BE49-F238E27FC236}">
                    <a16:creationId xmlns:a16="http://schemas.microsoft.com/office/drawing/2014/main" id="{7C952B3F-FC5A-43C3-B11F-B70EB4E3EC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4910" y="1173163"/>
                <a:ext cx="270510" cy="165100"/>
              </a:xfrm>
              <a:custGeom>
                <a:avLst/>
                <a:gdLst/>
                <a:ahLst/>
                <a:cxnLst>
                  <a:cxn ang="0">
                    <a:pos x="20" y="198"/>
                  </a:cxn>
                  <a:cxn ang="0">
                    <a:pos x="68" y="214"/>
                  </a:cxn>
                  <a:cxn ang="0">
                    <a:pos x="92" y="232"/>
                  </a:cxn>
                  <a:cxn ang="0">
                    <a:pos x="106" y="256"/>
                  </a:cxn>
                  <a:cxn ang="0">
                    <a:pos x="116" y="260"/>
                  </a:cxn>
                  <a:cxn ang="0">
                    <a:pos x="146" y="248"/>
                  </a:cxn>
                  <a:cxn ang="0">
                    <a:pos x="168" y="236"/>
                  </a:cxn>
                  <a:cxn ang="0">
                    <a:pos x="184" y="238"/>
                  </a:cxn>
                  <a:cxn ang="0">
                    <a:pos x="208" y="232"/>
                  </a:cxn>
                  <a:cxn ang="0">
                    <a:pos x="216" y="226"/>
                  </a:cxn>
                  <a:cxn ang="0">
                    <a:pos x="224" y="200"/>
                  </a:cxn>
                  <a:cxn ang="0">
                    <a:pos x="232" y="178"/>
                  </a:cxn>
                  <a:cxn ang="0">
                    <a:pos x="254" y="172"/>
                  </a:cxn>
                  <a:cxn ang="0">
                    <a:pos x="266" y="158"/>
                  </a:cxn>
                  <a:cxn ang="0">
                    <a:pos x="280" y="140"/>
                  </a:cxn>
                  <a:cxn ang="0">
                    <a:pos x="322" y="124"/>
                  </a:cxn>
                  <a:cxn ang="0">
                    <a:pos x="392" y="94"/>
                  </a:cxn>
                  <a:cxn ang="0">
                    <a:pos x="418" y="86"/>
                  </a:cxn>
                  <a:cxn ang="0">
                    <a:pos x="424" y="72"/>
                  </a:cxn>
                  <a:cxn ang="0">
                    <a:pos x="408" y="64"/>
                  </a:cxn>
                  <a:cxn ang="0">
                    <a:pos x="370" y="40"/>
                  </a:cxn>
                  <a:cxn ang="0">
                    <a:pos x="334" y="22"/>
                  </a:cxn>
                  <a:cxn ang="0">
                    <a:pos x="302" y="22"/>
                  </a:cxn>
                  <a:cxn ang="0">
                    <a:pos x="284" y="30"/>
                  </a:cxn>
                  <a:cxn ang="0">
                    <a:pos x="276" y="40"/>
                  </a:cxn>
                  <a:cxn ang="0">
                    <a:pos x="272" y="36"/>
                  </a:cxn>
                  <a:cxn ang="0">
                    <a:pos x="268" y="26"/>
                  </a:cxn>
                  <a:cxn ang="0">
                    <a:pos x="260" y="26"/>
                  </a:cxn>
                  <a:cxn ang="0">
                    <a:pos x="234" y="22"/>
                  </a:cxn>
                  <a:cxn ang="0">
                    <a:pos x="192" y="2"/>
                  </a:cxn>
                  <a:cxn ang="0">
                    <a:pos x="168" y="0"/>
                  </a:cxn>
                  <a:cxn ang="0">
                    <a:pos x="138" y="6"/>
                  </a:cxn>
                  <a:cxn ang="0">
                    <a:pos x="54" y="16"/>
                  </a:cxn>
                  <a:cxn ang="0">
                    <a:pos x="50" y="20"/>
                  </a:cxn>
                  <a:cxn ang="0">
                    <a:pos x="56" y="28"/>
                  </a:cxn>
                  <a:cxn ang="0">
                    <a:pos x="64" y="46"/>
                  </a:cxn>
                  <a:cxn ang="0">
                    <a:pos x="76" y="52"/>
                  </a:cxn>
                  <a:cxn ang="0">
                    <a:pos x="86" y="60"/>
                  </a:cxn>
                  <a:cxn ang="0">
                    <a:pos x="74" y="72"/>
                  </a:cxn>
                  <a:cxn ang="0">
                    <a:pos x="72" y="80"/>
                  </a:cxn>
                  <a:cxn ang="0">
                    <a:pos x="58" y="84"/>
                  </a:cxn>
                  <a:cxn ang="0">
                    <a:pos x="56" y="90"/>
                  </a:cxn>
                  <a:cxn ang="0">
                    <a:pos x="48" y="106"/>
                  </a:cxn>
                  <a:cxn ang="0">
                    <a:pos x="46" y="114"/>
                  </a:cxn>
                  <a:cxn ang="0">
                    <a:pos x="56" y="122"/>
                  </a:cxn>
                  <a:cxn ang="0">
                    <a:pos x="44" y="126"/>
                  </a:cxn>
                  <a:cxn ang="0">
                    <a:pos x="30" y="130"/>
                  </a:cxn>
                  <a:cxn ang="0">
                    <a:pos x="34" y="140"/>
                  </a:cxn>
                  <a:cxn ang="0">
                    <a:pos x="22" y="160"/>
                  </a:cxn>
                  <a:cxn ang="0">
                    <a:pos x="4" y="182"/>
                  </a:cxn>
                  <a:cxn ang="0">
                    <a:pos x="0" y="192"/>
                  </a:cxn>
                  <a:cxn ang="0">
                    <a:pos x="2" y="196"/>
                  </a:cxn>
                </a:cxnLst>
                <a:rect l="0" t="0" r="r" b="b"/>
                <a:pathLst>
                  <a:path w="426" h="260">
                    <a:moveTo>
                      <a:pt x="2" y="196"/>
                    </a:moveTo>
                    <a:lnTo>
                      <a:pt x="2" y="196"/>
                    </a:lnTo>
                    <a:lnTo>
                      <a:pt x="20" y="198"/>
                    </a:lnTo>
                    <a:lnTo>
                      <a:pt x="38" y="204"/>
                    </a:lnTo>
                    <a:lnTo>
                      <a:pt x="68" y="214"/>
                    </a:lnTo>
                    <a:lnTo>
                      <a:pt x="68" y="214"/>
                    </a:lnTo>
                    <a:lnTo>
                      <a:pt x="78" y="220"/>
                    </a:lnTo>
                    <a:lnTo>
                      <a:pt x="86" y="226"/>
                    </a:lnTo>
                    <a:lnTo>
                      <a:pt x="92" y="232"/>
                    </a:lnTo>
                    <a:lnTo>
                      <a:pt x="96" y="240"/>
                    </a:lnTo>
                    <a:lnTo>
                      <a:pt x="102" y="252"/>
                    </a:lnTo>
                    <a:lnTo>
                      <a:pt x="106" y="256"/>
                    </a:lnTo>
                    <a:lnTo>
                      <a:pt x="110" y="260"/>
                    </a:lnTo>
                    <a:lnTo>
                      <a:pt x="110" y="260"/>
                    </a:lnTo>
                    <a:lnTo>
                      <a:pt x="116" y="260"/>
                    </a:lnTo>
                    <a:lnTo>
                      <a:pt x="122" y="260"/>
                    </a:lnTo>
                    <a:lnTo>
                      <a:pt x="134" y="256"/>
                    </a:lnTo>
                    <a:lnTo>
                      <a:pt x="146" y="248"/>
                    </a:lnTo>
                    <a:lnTo>
                      <a:pt x="160" y="240"/>
                    </a:lnTo>
                    <a:lnTo>
                      <a:pt x="160" y="240"/>
                    </a:lnTo>
                    <a:lnTo>
                      <a:pt x="168" y="236"/>
                    </a:lnTo>
                    <a:lnTo>
                      <a:pt x="172" y="234"/>
                    </a:lnTo>
                    <a:lnTo>
                      <a:pt x="180" y="236"/>
                    </a:lnTo>
                    <a:lnTo>
                      <a:pt x="184" y="238"/>
                    </a:lnTo>
                    <a:lnTo>
                      <a:pt x="190" y="238"/>
                    </a:lnTo>
                    <a:lnTo>
                      <a:pt x="198" y="236"/>
                    </a:lnTo>
                    <a:lnTo>
                      <a:pt x="208" y="232"/>
                    </a:lnTo>
                    <a:lnTo>
                      <a:pt x="208" y="232"/>
                    </a:lnTo>
                    <a:lnTo>
                      <a:pt x="212" y="230"/>
                    </a:lnTo>
                    <a:lnTo>
                      <a:pt x="216" y="226"/>
                    </a:lnTo>
                    <a:lnTo>
                      <a:pt x="222" y="218"/>
                    </a:lnTo>
                    <a:lnTo>
                      <a:pt x="224" y="210"/>
                    </a:lnTo>
                    <a:lnTo>
                      <a:pt x="224" y="200"/>
                    </a:lnTo>
                    <a:lnTo>
                      <a:pt x="224" y="192"/>
                    </a:lnTo>
                    <a:lnTo>
                      <a:pt x="226" y="184"/>
                    </a:lnTo>
                    <a:lnTo>
                      <a:pt x="232" y="178"/>
                    </a:lnTo>
                    <a:lnTo>
                      <a:pt x="244" y="174"/>
                    </a:lnTo>
                    <a:lnTo>
                      <a:pt x="244" y="174"/>
                    </a:lnTo>
                    <a:lnTo>
                      <a:pt x="254" y="172"/>
                    </a:lnTo>
                    <a:lnTo>
                      <a:pt x="260" y="170"/>
                    </a:lnTo>
                    <a:lnTo>
                      <a:pt x="264" y="164"/>
                    </a:lnTo>
                    <a:lnTo>
                      <a:pt x="266" y="158"/>
                    </a:lnTo>
                    <a:lnTo>
                      <a:pt x="268" y="152"/>
                    </a:lnTo>
                    <a:lnTo>
                      <a:pt x="272" y="146"/>
                    </a:lnTo>
                    <a:lnTo>
                      <a:pt x="280" y="140"/>
                    </a:lnTo>
                    <a:lnTo>
                      <a:pt x="292" y="136"/>
                    </a:lnTo>
                    <a:lnTo>
                      <a:pt x="292" y="136"/>
                    </a:lnTo>
                    <a:lnTo>
                      <a:pt x="322" y="124"/>
                    </a:lnTo>
                    <a:lnTo>
                      <a:pt x="348" y="112"/>
                    </a:lnTo>
                    <a:lnTo>
                      <a:pt x="370" y="102"/>
                    </a:lnTo>
                    <a:lnTo>
                      <a:pt x="392" y="94"/>
                    </a:lnTo>
                    <a:lnTo>
                      <a:pt x="392" y="94"/>
                    </a:lnTo>
                    <a:lnTo>
                      <a:pt x="408" y="90"/>
                    </a:lnTo>
                    <a:lnTo>
                      <a:pt x="418" y="86"/>
                    </a:lnTo>
                    <a:lnTo>
                      <a:pt x="424" y="82"/>
                    </a:lnTo>
                    <a:lnTo>
                      <a:pt x="426" y="76"/>
                    </a:lnTo>
                    <a:lnTo>
                      <a:pt x="424" y="72"/>
                    </a:lnTo>
                    <a:lnTo>
                      <a:pt x="420" y="70"/>
                    </a:lnTo>
                    <a:lnTo>
                      <a:pt x="408" y="64"/>
                    </a:lnTo>
                    <a:lnTo>
                      <a:pt x="408" y="64"/>
                    </a:lnTo>
                    <a:lnTo>
                      <a:pt x="398" y="60"/>
                    </a:lnTo>
                    <a:lnTo>
                      <a:pt x="390" y="54"/>
                    </a:lnTo>
                    <a:lnTo>
                      <a:pt x="370" y="40"/>
                    </a:lnTo>
                    <a:lnTo>
                      <a:pt x="360" y="32"/>
                    </a:lnTo>
                    <a:lnTo>
                      <a:pt x="348" y="26"/>
                    </a:lnTo>
                    <a:lnTo>
                      <a:pt x="334" y="22"/>
                    </a:lnTo>
                    <a:lnTo>
                      <a:pt x="318" y="22"/>
                    </a:lnTo>
                    <a:lnTo>
                      <a:pt x="318" y="22"/>
                    </a:lnTo>
                    <a:lnTo>
                      <a:pt x="302" y="22"/>
                    </a:lnTo>
                    <a:lnTo>
                      <a:pt x="294" y="24"/>
                    </a:lnTo>
                    <a:lnTo>
                      <a:pt x="288" y="26"/>
                    </a:lnTo>
                    <a:lnTo>
                      <a:pt x="284" y="30"/>
                    </a:lnTo>
                    <a:lnTo>
                      <a:pt x="282" y="36"/>
                    </a:lnTo>
                    <a:lnTo>
                      <a:pt x="280" y="38"/>
                    </a:lnTo>
                    <a:lnTo>
                      <a:pt x="276" y="40"/>
                    </a:lnTo>
                    <a:lnTo>
                      <a:pt x="276" y="40"/>
                    </a:lnTo>
                    <a:lnTo>
                      <a:pt x="272" y="40"/>
                    </a:lnTo>
                    <a:lnTo>
                      <a:pt x="272" y="36"/>
                    </a:lnTo>
                    <a:lnTo>
                      <a:pt x="272" y="32"/>
                    </a:lnTo>
                    <a:lnTo>
                      <a:pt x="272" y="30"/>
                    </a:lnTo>
                    <a:lnTo>
                      <a:pt x="268" y="26"/>
                    </a:lnTo>
                    <a:lnTo>
                      <a:pt x="268" y="26"/>
                    </a:lnTo>
                    <a:lnTo>
                      <a:pt x="266" y="26"/>
                    </a:lnTo>
                    <a:lnTo>
                      <a:pt x="260" y="26"/>
                    </a:lnTo>
                    <a:lnTo>
                      <a:pt x="250" y="24"/>
                    </a:lnTo>
                    <a:lnTo>
                      <a:pt x="234" y="22"/>
                    </a:lnTo>
                    <a:lnTo>
                      <a:pt x="234" y="22"/>
                    </a:lnTo>
                    <a:lnTo>
                      <a:pt x="218" y="16"/>
                    </a:lnTo>
                    <a:lnTo>
                      <a:pt x="208" y="12"/>
                    </a:lnTo>
                    <a:lnTo>
                      <a:pt x="192" y="2"/>
                    </a:lnTo>
                    <a:lnTo>
                      <a:pt x="186" y="0"/>
                    </a:lnTo>
                    <a:lnTo>
                      <a:pt x="178" y="0"/>
                    </a:lnTo>
                    <a:lnTo>
                      <a:pt x="168" y="0"/>
                    </a:lnTo>
                    <a:lnTo>
                      <a:pt x="154" y="2"/>
                    </a:lnTo>
                    <a:lnTo>
                      <a:pt x="154" y="2"/>
                    </a:lnTo>
                    <a:lnTo>
                      <a:pt x="138" y="6"/>
                    </a:lnTo>
                    <a:lnTo>
                      <a:pt x="120" y="8"/>
                    </a:lnTo>
                    <a:lnTo>
                      <a:pt x="82" y="12"/>
                    </a:lnTo>
                    <a:lnTo>
                      <a:pt x="54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4" y="24"/>
                    </a:lnTo>
                    <a:lnTo>
                      <a:pt x="56" y="28"/>
                    </a:lnTo>
                    <a:lnTo>
                      <a:pt x="58" y="36"/>
                    </a:lnTo>
                    <a:lnTo>
                      <a:pt x="60" y="42"/>
                    </a:lnTo>
                    <a:lnTo>
                      <a:pt x="64" y="46"/>
                    </a:lnTo>
                    <a:lnTo>
                      <a:pt x="68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4" y="56"/>
                    </a:lnTo>
                    <a:lnTo>
                      <a:pt x="86" y="58"/>
                    </a:lnTo>
                    <a:lnTo>
                      <a:pt x="86" y="60"/>
                    </a:lnTo>
                    <a:lnTo>
                      <a:pt x="84" y="64"/>
                    </a:lnTo>
                    <a:lnTo>
                      <a:pt x="76" y="68"/>
                    </a:lnTo>
                    <a:lnTo>
                      <a:pt x="74" y="72"/>
                    </a:lnTo>
                    <a:lnTo>
                      <a:pt x="72" y="76"/>
                    </a:lnTo>
                    <a:lnTo>
                      <a:pt x="72" y="76"/>
                    </a:lnTo>
                    <a:lnTo>
                      <a:pt x="72" y="80"/>
                    </a:lnTo>
                    <a:lnTo>
                      <a:pt x="70" y="82"/>
                    </a:lnTo>
                    <a:lnTo>
                      <a:pt x="64" y="82"/>
                    </a:lnTo>
                    <a:lnTo>
                      <a:pt x="58" y="84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54" y="98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12"/>
                    </a:lnTo>
                    <a:lnTo>
                      <a:pt x="46" y="114"/>
                    </a:lnTo>
                    <a:lnTo>
                      <a:pt x="46" y="114"/>
                    </a:lnTo>
                    <a:lnTo>
                      <a:pt x="54" y="118"/>
                    </a:lnTo>
                    <a:lnTo>
                      <a:pt x="56" y="122"/>
                    </a:lnTo>
                    <a:lnTo>
                      <a:pt x="56" y="124"/>
                    </a:lnTo>
                    <a:lnTo>
                      <a:pt x="54" y="124"/>
                    </a:lnTo>
                    <a:lnTo>
                      <a:pt x="44" y="126"/>
                    </a:lnTo>
                    <a:lnTo>
                      <a:pt x="44" y="126"/>
                    </a:lnTo>
                    <a:lnTo>
                      <a:pt x="34" y="128"/>
                    </a:lnTo>
                    <a:lnTo>
                      <a:pt x="30" y="130"/>
                    </a:lnTo>
                    <a:lnTo>
                      <a:pt x="30" y="134"/>
                    </a:lnTo>
                    <a:lnTo>
                      <a:pt x="34" y="140"/>
                    </a:lnTo>
                    <a:lnTo>
                      <a:pt x="34" y="140"/>
                    </a:lnTo>
                    <a:lnTo>
                      <a:pt x="34" y="144"/>
                    </a:lnTo>
                    <a:lnTo>
                      <a:pt x="32" y="150"/>
                    </a:lnTo>
                    <a:lnTo>
                      <a:pt x="22" y="160"/>
                    </a:lnTo>
                    <a:lnTo>
                      <a:pt x="10" y="172"/>
                    </a:lnTo>
                    <a:lnTo>
                      <a:pt x="6" y="178"/>
                    </a:lnTo>
                    <a:lnTo>
                      <a:pt x="4" y="182"/>
                    </a:lnTo>
                    <a:lnTo>
                      <a:pt x="4" y="182"/>
                    </a:lnTo>
                    <a:lnTo>
                      <a:pt x="2" y="188"/>
                    </a:lnTo>
                    <a:lnTo>
                      <a:pt x="0" y="192"/>
                    </a:lnTo>
                    <a:lnTo>
                      <a:pt x="0" y="194"/>
                    </a:lnTo>
                    <a:lnTo>
                      <a:pt x="2" y="196"/>
                    </a:lnTo>
                    <a:lnTo>
                      <a:pt x="2" y="19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1" name="Freeform 6018">
                <a:extLst>
                  <a:ext uri="{FF2B5EF4-FFF2-40B4-BE49-F238E27FC236}">
                    <a16:creationId xmlns:a16="http://schemas.microsoft.com/office/drawing/2014/main" id="{E4CE685D-C7DA-4778-A9E0-73F5F4530E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8570" y="1024573"/>
                <a:ext cx="190500" cy="87630"/>
              </a:xfrm>
              <a:custGeom>
                <a:avLst/>
                <a:gdLst/>
                <a:ahLst/>
                <a:cxnLst>
                  <a:cxn ang="0">
                    <a:pos x="12" y="124"/>
                  </a:cxn>
                  <a:cxn ang="0">
                    <a:pos x="16" y="130"/>
                  </a:cxn>
                  <a:cxn ang="0">
                    <a:pos x="36" y="120"/>
                  </a:cxn>
                  <a:cxn ang="0">
                    <a:pos x="50" y="118"/>
                  </a:cxn>
                  <a:cxn ang="0">
                    <a:pos x="66" y="124"/>
                  </a:cxn>
                  <a:cxn ang="0">
                    <a:pos x="76" y="124"/>
                  </a:cxn>
                  <a:cxn ang="0">
                    <a:pos x="88" y="114"/>
                  </a:cxn>
                  <a:cxn ang="0">
                    <a:pos x="94" y="122"/>
                  </a:cxn>
                  <a:cxn ang="0">
                    <a:pos x="112" y="138"/>
                  </a:cxn>
                  <a:cxn ang="0">
                    <a:pos x="132" y="132"/>
                  </a:cxn>
                  <a:cxn ang="0">
                    <a:pos x="138" y="114"/>
                  </a:cxn>
                  <a:cxn ang="0">
                    <a:pos x="146" y="110"/>
                  </a:cxn>
                  <a:cxn ang="0">
                    <a:pos x="156" y="114"/>
                  </a:cxn>
                  <a:cxn ang="0">
                    <a:pos x="174" y="94"/>
                  </a:cxn>
                  <a:cxn ang="0">
                    <a:pos x="182" y="76"/>
                  </a:cxn>
                  <a:cxn ang="0">
                    <a:pos x="186" y="66"/>
                  </a:cxn>
                  <a:cxn ang="0">
                    <a:pos x="206" y="56"/>
                  </a:cxn>
                  <a:cxn ang="0">
                    <a:pos x="208" y="64"/>
                  </a:cxn>
                  <a:cxn ang="0">
                    <a:pos x="206" y="88"/>
                  </a:cxn>
                  <a:cxn ang="0">
                    <a:pos x="214" y="96"/>
                  </a:cxn>
                  <a:cxn ang="0">
                    <a:pos x="236" y="100"/>
                  </a:cxn>
                  <a:cxn ang="0">
                    <a:pos x="244" y="92"/>
                  </a:cxn>
                  <a:cxn ang="0">
                    <a:pos x="246" y="80"/>
                  </a:cxn>
                  <a:cxn ang="0">
                    <a:pos x="274" y="74"/>
                  </a:cxn>
                  <a:cxn ang="0">
                    <a:pos x="294" y="60"/>
                  </a:cxn>
                  <a:cxn ang="0">
                    <a:pos x="280" y="42"/>
                  </a:cxn>
                  <a:cxn ang="0">
                    <a:pos x="272" y="36"/>
                  </a:cxn>
                  <a:cxn ang="0">
                    <a:pos x="278" y="28"/>
                  </a:cxn>
                  <a:cxn ang="0">
                    <a:pos x="300" y="18"/>
                  </a:cxn>
                  <a:cxn ang="0">
                    <a:pos x="288" y="8"/>
                  </a:cxn>
                  <a:cxn ang="0">
                    <a:pos x="258" y="0"/>
                  </a:cxn>
                  <a:cxn ang="0">
                    <a:pos x="244" y="4"/>
                  </a:cxn>
                  <a:cxn ang="0">
                    <a:pos x="234" y="16"/>
                  </a:cxn>
                  <a:cxn ang="0">
                    <a:pos x="202" y="12"/>
                  </a:cxn>
                  <a:cxn ang="0">
                    <a:pos x="160" y="18"/>
                  </a:cxn>
                  <a:cxn ang="0">
                    <a:pos x="128" y="38"/>
                  </a:cxn>
                  <a:cxn ang="0">
                    <a:pos x="102" y="58"/>
                  </a:cxn>
                  <a:cxn ang="0">
                    <a:pos x="82" y="66"/>
                  </a:cxn>
                  <a:cxn ang="0">
                    <a:pos x="66" y="78"/>
                  </a:cxn>
                  <a:cxn ang="0">
                    <a:pos x="44" y="90"/>
                  </a:cxn>
                  <a:cxn ang="0">
                    <a:pos x="28" y="86"/>
                  </a:cxn>
                  <a:cxn ang="0">
                    <a:pos x="12" y="96"/>
                  </a:cxn>
                  <a:cxn ang="0">
                    <a:pos x="2" y="112"/>
                  </a:cxn>
                  <a:cxn ang="0">
                    <a:pos x="14" y="116"/>
                  </a:cxn>
                </a:cxnLst>
                <a:rect l="0" t="0" r="r" b="b"/>
                <a:pathLst>
                  <a:path w="300" h="138">
                    <a:moveTo>
                      <a:pt x="14" y="120"/>
                    </a:moveTo>
                    <a:lnTo>
                      <a:pt x="14" y="120"/>
                    </a:lnTo>
                    <a:lnTo>
                      <a:pt x="12" y="124"/>
                    </a:lnTo>
                    <a:lnTo>
                      <a:pt x="12" y="126"/>
                    </a:lnTo>
                    <a:lnTo>
                      <a:pt x="14" y="128"/>
                    </a:lnTo>
                    <a:lnTo>
                      <a:pt x="16" y="130"/>
                    </a:lnTo>
                    <a:lnTo>
                      <a:pt x="24" y="128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42" y="118"/>
                    </a:lnTo>
                    <a:lnTo>
                      <a:pt x="46" y="116"/>
                    </a:lnTo>
                    <a:lnTo>
                      <a:pt x="50" y="118"/>
                    </a:lnTo>
                    <a:lnTo>
                      <a:pt x="52" y="118"/>
                    </a:lnTo>
                    <a:lnTo>
                      <a:pt x="60" y="124"/>
                    </a:lnTo>
                    <a:lnTo>
                      <a:pt x="66" y="124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6" y="124"/>
                    </a:lnTo>
                    <a:lnTo>
                      <a:pt x="82" y="122"/>
                    </a:lnTo>
                    <a:lnTo>
                      <a:pt x="86" y="116"/>
                    </a:lnTo>
                    <a:lnTo>
                      <a:pt x="88" y="114"/>
                    </a:lnTo>
                    <a:lnTo>
                      <a:pt x="90" y="114"/>
                    </a:lnTo>
                    <a:lnTo>
                      <a:pt x="94" y="122"/>
                    </a:lnTo>
                    <a:lnTo>
                      <a:pt x="94" y="122"/>
                    </a:lnTo>
                    <a:lnTo>
                      <a:pt x="98" y="130"/>
                    </a:lnTo>
                    <a:lnTo>
                      <a:pt x="104" y="134"/>
                    </a:lnTo>
                    <a:lnTo>
                      <a:pt x="112" y="138"/>
                    </a:lnTo>
                    <a:lnTo>
                      <a:pt x="118" y="138"/>
                    </a:lnTo>
                    <a:lnTo>
                      <a:pt x="126" y="136"/>
                    </a:lnTo>
                    <a:lnTo>
                      <a:pt x="132" y="132"/>
                    </a:lnTo>
                    <a:lnTo>
                      <a:pt x="136" y="124"/>
                    </a:lnTo>
                    <a:lnTo>
                      <a:pt x="138" y="114"/>
                    </a:lnTo>
                    <a:lnTo>
                      <a:pt x="138" y="114"/>
                    </a:lnTo>
                    <a:lnTo>
                      <a:pt x="138" y="106"/>
                    </a:lnTo>
                    <a:lnTo>
                      <a:pt x="140" y="104"/>
                    </a:lnTo>
                    <a:lnTo>
                      <a:pt x="146" y="110"/>
                    </a:lnTo>
                    <a:lnTo>
                      <a:pt x="150" y="114"/>
                    </a:lnTo>
                    <a:lnTo>
                      <a:pt x="154" y="114"/>
                    </a:lnTo>
                    <a:lnTo>
                      <a:pt x="156" y="114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74" y="94"/>
                    </a:lnTo>
                    <a:lnTo>
                      <a:pt x="174" y="94"/>
                    </a:lnTo>
                    <a:lnTo>
                      <a:pt x="180" y="82"/>
                    </a:lnTo>
                    <a:lnTo>
                      <a:pt x="182" y="76"/>
                    </a:lnTo>
                    <a:lnTo>
                      <a:pt x="182" y="68"/>
                    </a:lnTo>
                    <a:lnTo>
                      <a:pt x="184" y="66"/>
                    </a:lnTo>
                    <a:lnTo>
                      <a:pt x="186" y="66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206" y="56"/>
                    </a:lnTo>
                    <a:lnTo>
                      <a:pt x="208" y="58"/>
                    </a:lnTo>
                    <a:lnTo>
                      <a:pt x="210" y="58"/>
                    </a:lnTo>
                    <a:lnTo>
                      <a:pt x="208" y="64"/>
                    </a:lnTo>
                    <a:lnTo>
                      <a:pt x="206" y="72"/>
                    </a:lnTo>
                    <a:lnTo>
                      <a:pt x="204" y="80"/>
                    </a:lnTo>
                    <a:lnTo>
                      <a:pt x="206" y="88"/>
                    </a:lnTo>
                    <a:lnTo>
                      <a:pt x="208" y="92"/>
                    </a:lnTo>
                    <a:lnTo>
                      <a:pt x="210" y="94"/>
                    </a:lnTo>
                    <a:lnTo>
                      <a:pt x="214" y="96"/>
                    </a:lnTo>
                    <a:lnTo>
                      <a:pt x="222" y="98"/>
                    </a:lnTo>
                    <a:lnTo>
                      <a:pt x="222" y="98"/>
                    </a:lnTo>
                    <a:lnTo>
                      <a:pt x="236" y="100"/>
                    </a:lnTo>
                    <a:lnTo>
                      <a:pt x="242" y="98"/>
                    </a:lnTo>
                    <a:lnTo>
                      <a:pt x="246" y="96"/>
                    </a:lnTo>
                    <a:lnTo>
                      <a:pt x="244" y="92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6" y="80"/>
                    </a:lnTo>
                    <a:lnTo>
                      <a:pt x="254" y="78"/>
                    </a:lnTo>
                    <a:lnTo>
                      <a:pt x="254" y="78"/>
                    </a:lnTo>
                    <a:lnTo>
                      <a:pt x="274" y="74"/>
                    </a:lnTo>
                    <a:lnTo>
                      <a:pt x="284" y="70"/>
                    </a:lnTo>
                    <a:lnTo>
                      <a:pt x="290" y="66"/>
                    </a:lnTo>
                    <a:lnTo>
                      <a:pt x="294" y="60"/>
                    </a:lnTo>
                    <a:lnTo>
                      <a:pt x="294" y="54"/>
                    </a:lnTo>
                    <a:lnTo>
                      <a:pt x="290" y="48"/>
                    </a:lnTo>
                    <a:lnTo>
                      <a:pt x="280" y="42"/>
                    </a:lnTo>
                    <a:lnTo>
                      <a:pt x="280" y="42"/>
                    </a:lnTo>
                    <a:lnTo>
                      <a:pt x="274" y="38"/>
                    </a:lnTo>
                    <a:lnTo>
                      <a:pt x="272" y="36"/>
                    </a:lnTo>
                    <a:lnTo>
                      <a:pt x="272" y="34"/>
                    </a:lnTo>
                    <a:lnTo>
                      <a:pt x="272" y="32"/>
                    </a:lnTo>
                    <a:lnTo>
                      <a:pt x="278" y="28"/>
                    </a:lnTo>
                    <a:lnTo>
                      <a:pt x="288" y="24"/>
                    </a:lnTo>
                    <a:lnTo>
                      <a:pt x="296" y="22"/>
                    </a:lnTo>
                    <a:lnTo>
                      <a:pt x="300" y="18"/>
                    </a:lnTo>
                    <a:lnTo>
                      <a:pt x="300" y="16"/>
                    </a:lnTo>
                    <a:lnTo>
                      <a:pt x="298" y="14"/>
                    </a:lnTo>
                    <a:lnTo>
                      <a:pt x="288" y="8"/>
                    </a:lnTo>
                    <a:lnTo>
                      <a:pt x="288" y="8"/>
                    </a:lnTo>
                    <a:lnTo>
                      <a:pt x="266" y="0"/>
                    </a:lnTo>
                    <a:lnTo>
                      <a:pt x="258" y="0"/>
                    </a:lnTo>
                    <a:lnTo>
                      <a:pt x="254" y="0"/>
                    </a:lnTo>
                    <a:lnTo>
                      <a:pt x="248" y="2"/>
                    </a:lnTo>
                    <a:lnTo>
                      <a:pt x="244" y="4"/>
                    </a:lnTo>
                    <a:lnTo>
                      <a:pt x="238" y="14"/>
                    </a:lnTo>
                    <a:lnTo>
                      <a:pt x="238" y="14"/>
                    </a:lnTo>
                    <a:lnTo>
                      <a:pt x="234" y="16"/>
                    </a:lnTo>
                    <a:lnTo>
                      <a:pt x="232" y="16"/>
                    </a:lnTo>
                    <a:lnTo>
                      <a:pt x="224" y="16"/>
                    </a:lnTo>
                    <a:lnTo>
                      <a:pt x="202" y="12"/>
                    </a:lnTo>
                    <a:lnTo>
                      <a:pt x="186" y="12"/>
                    </a:lnTo>
                    <a:lnTo>
                      <a:pt x="170" y="14"/>
                    </a:lnTo>
                    <a:lnTo>
                      <a:pt x="160" y="18"/>
                    </a:lnTo>
                    <a:lnTo>
                      <a:pt x="150" y="22"/>
                    </a:lnTo>
                    <a:lnTo>
                      <a:pt x="140" y="28"/>
                    </a:lnTo>
                    <a:lnTo>
                      <a:pt x="128" y="38"/>
                    </a:lnTo>
                    <a:lnTo>
                      <a:pt x="128" y="38"/>
                    </a:lnTo>
                    <a:lnTo>
                      <a:pt x="112" y="50"/>
                    </a:lnTo>
                    <a:lnTo>
                      <a:pt x="102" y="58"/>
                    </a:lnTo>
                    <a:lnTo>
                      <a:pt x="94" y="62"/>
                    </a:lnTo>
                    <a:lnTo>
                      <a:pt x="90" y="62"/>
                    </a:lnTo>
                    <a:lnTo>
                      <a:pt x="82" y="66"/>
                    </a:lnTo>
                    <a:lnTo>
                      <a:pt x="76" y="70"/>
                    </a:lnTo>
                    <a:lnTo>
                      <a:pt x="66" y="78"/>
                    </a:lnTo>
                    <a:lnTo>
                      <a:pt x="66" y="78"/>
                    </a:lnTo>
                    <a:lnTo>
                      <a:pt x="58" y="86"/>
                    </a:lnTo>
                    <a:lnTo>
                      <a:pt x="50" y="88"/>
                    </a:lnTo>
                    <a:lnTo>
                      <a:pt x="44" y="90"/>
                    </a:lnTo>
                    <a:lnTo>
                      <a:pt x="38" y="88"/>
                    </a:lnTo>
                    <a:lnTo>
                      <a:pt x="34" y="86"/>
                    </a:lnTo>
                    <a:lnTo>
                      <a:pt x="28" y="86"/>
                    </a:lnTo>
                    <a:lnTo>
                      <a:pt x="20" y="90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4" y="104"/>
                    </a:lnTo>
                    <a:lnTo>
                      <a:pt x="0" y="108"/>
                    </a:lnTo>
                    <a:lnTo>
                      <a:pt x="2" y="112"/>
                    </a:lnTo>
                    <a:lnTo>
                      <a:pt x="4" y="112"/>
                    </a:lnTo>
                    <a:lnTo>
                      <a:pt x="12" y="114"/>
                    </a:lnTo>
                    <a:lnTo>
                      <a:pt x="14" y="116"/>
                    </a:lnTo>
                    <a:lnTo>
                      <a:pt x="14" y="120"/>
                    </a:lnTo>
                    <a:lnTo>
                      <a:pt x="14" y="1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2" name="Freeform 6019">
                <a:extLst>
                  <a:ext uri="{FF2B5EF4-FFF2-40B4-BE49-F238E27FC236}">
                    <a16:creationId xmlns:a16="http://schemas.microsoft.com/office/drawing/2014/main" id="{9ACAA7C5-8EB8-4D0B-B1C1-B0B6F9698B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8120" y="1056323"/>
                <a:ext cx="35560" cy="10160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18" y="16"/>
                  </a:cxn>
                  <a:cxn ang="0">
                    <a:pos x="38" y="16"/>
                  </a:cxn>
                  <a:cxn ang="0">
                    <a:pos x="46" y="14"/>
                  </a:cxn>
                  <a:cxn ang="0">
                    <a:pos x="54" y="12"/>
                  </a:cxn>
                  <a:cxn ang="0">
                    <a:pos x="54" y="12"/>
                  </a:cxn>
                  <a:cxn ang="0">
                    <a:pos x="56" y="10"/>
                  </a:cxn>
                  <a:cxn ang="0">
                    <a:pos x="56" y="8"/>
                  </a:cxn>
                  <a:cxn ang="0">
                    <a:pos x="54" y="6"/>
                  </a:cxn>
                  <a:cxn ang="0">
                    <a:pos x="46" y="2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</a:cxnLst>
                <a:rect l="0" t="0" r="r" b="b"/>
                <a:pathLst>
                  <a:path w="56" h="16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18" y="16"/>
                    </a:lnTo>
                    <a:lnTo>
                      <a:pt x="38" y="16"/>
                    </a:lnTo>
                    <a:lnTo>
                      <a:pt x="46" y="14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6" y="10"/>
                    </a:lnTo>
                    <a:lnTo>
                      <a:pt x="56" y="8"/>
                    </a:lnTo>
                    <a:lnTo>
                      <a:pt x="54" y="6"/>
                    </a:lnTo>
                    <a:lnTo>
                      <a:pt x="46" y="2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2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3" name="Freeform 6020">
                <a:extLst>
                  <a:ext uri="{FF2B5EF4-FFF2-40B4-BE49-F238E27FC236}">
                    <a16:creationId xmlns:a16="http://schemas.microsoft.com/office/drawing/2014/main" id="{BDDCF8CB-306F-4BEF-8812-1550F4CB01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310" y="996633"/>
                <a:ext cx="34290" cy="19050"/>
              </a:xfrm>
              <a:custGeom>
                <a:avLst/>
                <a:gdLst/>
                <a:ahLst/>
                <a:cxnLst>
                  <a:cxn ang="0">
                    <a:pos x="42" y="30"/>
                  </a:cxn>
                  <a:cxn ang="0">
                    <a:pos x="42" y="30"/>
                  </a:cxn>
                  <a:cxn ang="0">
                    <a:pos x="52" y="28"/>
                  </a:cxn>
                  <a:cxn ang="0">
                    <a:pos x="54" y="26"/>
                  </a:cxn>
                  <a:cxn ang="0">
                    <a:pos x="54" y="24"/>
                  </a:cxn>
                  <a:cxn ang="0">
                    <a:pos x="50" y="18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4"/>
                  </a:cxn>
                  <a:cxn ang="0">
                    <a:pos x="26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8" y="22"/>
                  </a:cxn>
                  <a:cxn ang="0">
                    <a:pos x="24" y="28"/>
                  </a:cxn>
                  <a:cxn ang="0">
                    <a:pos x="32" y="28"/>
                  </a:cxn>
                  <a:cxn ang="0">
                    <a:pos x="42" y="30"/>
                  </a:cxn>
                  <a:cxn ang="0">
                    <a:pos x="42" y="30"/>
                  </a:cxn>
                </a:cxnLst>
                <a:rect l="0" t="0" r="r" b="b"/>
                <a:pathLst>
                  <a:path w="54" h="30">
                    <a:moveTo>
                      <a:pt x="42" y="30"/>
                    </a:moveTo>
                    <a:lnTo>
                      <a:pt x="42" y="30"/>
                    </a:lnTo>
                    <a:lnTo>
                      <a:pt x="52" y="28"/>
                    </a:lnTo>
                    <a:lnTo>
                      <a:pt x="54" y="26"/>
                    </a:lnTo>
                    <a:lnTo>
                      <a:pt x="54" y="24"/>
                    </a:lnTo>
                    <a:lnTo>
                      <a:pt x="50" y="1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4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8" y="22"/>
                    </a:lnTo>
                    <a:lnTo>
                      <a:pt x="24" y="28"/>
                    </a:lnTo>
                    <a:lnTo>
                      <a:pt x="32" y="28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4" name="Freeform 6021">
                <a:extLst>
                  <a:ext uri="{FF2B5EF4-FFF2-40B4-BE49-F238E27FC236}">
                    <a16:creationId xmlns:a16="http://schemas.microsoft.com/office/drawing/2014/main" id="{06A3DCA2-50E3-48AD-9C57-2CF9794E15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4950" y="994093"/>
                <a:ext cx="97790" cy="39370"/>
              </a:xfrm>
              <a:custGeom>
                <a:avLst/>
                <a:gdLst/>
                <a:ahLst/>
                <a:cxnLst>
                  <a:cxn ang="0">
                    <a:pos x="106" y="56"/>
                  </a:cxn>
                  <a:cxn ang="0">
                    <a:pos x="106" y="56"/>
                  </a:cxn>
                  <a:cxn ang="0">
                    <a:pos x="120" y="52"/>
                  </a:cxn>
                  <a:cxn ang="0">
                    <a:pos x="130" y="48"/>
                  </a:cxn>
                  <a:cxn ang="0">
                    <a:pos x="136" y="44"/>
                  </a:cxn>
                  <a:cxn ang="0">
                    <a:pos x="138" y="40"/>
                  </a:cxn>
                  <a:cxn ang="0">
                    <a:pos x="138" y="34"/>
                  </a:cxn>
                  <a:cxn ang="0">
                    <a:pos x="132" y="30"/>
                  </a:cxn>
                  <a:cxn ang="0">
                    <a:pos x="124" y="28"/>
                  </a:cxn>
                  <a:cxn ang="0">
                    <a:pos x="114" y="26"/>
                  </a:cxn>
                  <a:cxn ang="0">
                    <a:pos x="114" y="26"/>
                  </a:cxn>
                  <a:cxn ang="0">
                    <a:pos x="104" y="24"/>
                  </a:cxn>
                  <a:cxn ang="0">
                    <a:pos x="104" y="24"/>
                  </a:cxn>
                  <a:cxn ang="0">
                    <a:pos x="118" y="22"/>
                  </a:cxn>
                  <a:cxn ang="0">
                    <a:pos x="138" y="16"/>
                  </a:cxn>
                  <a:cxn ang="0">
                    <a:pos x="148" y="12"/>
                  </a:cxn>
                  <a:cxn ang="0">
                    <a:pos x="152" y="8"/>
                  </a:cxn>
                  <a:cxn ang="0">
                    <a:pos x="152" y="8"/>
                  </a:cxn>
                  <a:cxn ang="0">
                    <a:pos x="154" y="4"/>
                  </a:cxn>
                  <a:cxn ang="0">
                    <a:pos x="152" y="2"/>
                  </a:cxn>
                  <a:cxn ang="0">
                    <a:pos x="148" y="0"/>
                  </a:cxn>
                  <a:cxn ang="0">
                    <a:pos x="138" y="0"/>
                  </a:cxn>
                  <a:cxn ang="0">
                    <a:pos x="124" y="0"/>
                  </a:cxn>
                  <a:cxn ang="0">
                    <a:pos x="90" y="4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18" y="14"/>
                  </a:cxn>
                  <a:cxn ang="0">
                    <a:pos x="8" y="18"/>
                  </a:cxn>
                  <a:cxn ang="0">
                    <a:pos x="4" y="22"/>
                  </a:cxn>
                  <a:cxn ang="0">
                    <a:pos x="0" y="26"/>
                  </a:cxn>
                  <a:cxn ang="0">
                    <a:pos x="0" y="30"/>
                  </a:cxn>
                  <a:cxn ang="0">
                    <a:pos x="8" y="46"/>
                  </a:cxn>
                  <a:cxn ang="0">
                    <a:pos x="8" y="46"/>
                  </a:cxn>
                  <a:cxn ang="0">
                    <a:pos x="14" y="52"/>
                  </a:cxn>
                  <a:cxn ang="0">
                    <a:pos x="22" y="58"/>
                  </a:cxn>
                  <a:cxn ang="0">
                    <a:pos x="32" y="60"/>
                  </a:cxn>
                  <a:cxn ang="0">
                    <a:pos x="46" y="62"/>
                  </a:cxn>
                  <a:cxn ang="0">
                    <a:pos x="74" y="60"/>
                  </a:cxn>
                  <a:cxn ang="0">
                    <a:pos x="106" y="56"/>
                  </a:cxn>
                  <a:cxn ang="0">
                    <a:pos x="106" y="56"/>
                  </a:cxn>
                </a:cxnLst>
                <a:rect l="0" t="0" r="r" b="b"/>
                <a:pathLst>
                  <a:path w="154" h="62">
                    <a:moveTo>
                      <a:pt x="106" y="56"/>
                    </a:moveTo>
                    <a:lnTo>
                      <a:pt x="106" y="56"/>
                    </a:lnTo>
                    <a:lnTo>
                      <a:pt x="120" y="52"/>
                    </a:lnTo>
                    <a:lnTo>
                      <a:pt x="130" y="48"/>
                    </a:lnTo>
                    <a:lnTo>
                      <a:pt x="136" y="44"/>
                    </a:lnTo>
                    <a:lnTo>
                      <a:pt x="138" y="40"/>
                    </a:lnTo>
                    <a:lnTo>
                      <a:pt x="138" y="34"/>
                    </a:lnTo>
                    <a:lnTo>
                      <a:pt x="132" y="30"/>
                    </a:lnTo>
                    <a:lnTo>
                      <a:pt x="124" y="28"/>
                    </a:lnTo>
                    <a:lnTo>
                      <a:pt x="114" y="26"/>
                    </a:lnTo>
                    <a:lnTo>
                      <a:pt x="114" y="26"/>
                    </a:lnTo>
                    <a:lnTo>
                      <a:pt x="104" y="24"/>
                    </a:lnTo>
                    <a:lnTo>
                      <a:pt x="104" y="24"/>
                    </a:lnTo>
                    <a:lnTo>
                      <a:pt x="118" y="22"/>
                    </a:lnTo>
                    <a:lnTo>
                      <a:pt x="138" y="16"/>
                    </a:lnTo>
                    <a:lnTo>
                      <a:pt x="148" y="12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54" y="4"/>
                    </a:lnTo>
                    <a:lnTo>
                      <a:pt x="152" y="2"/>
                    </a:lnTo>
                    <a:lnTo>
                      <a:pt x="148" y="0"/>
                    </a:lnTo>
                    <a:lnTo>
                      <a:pt x="138" y="0"/>
                    </a:lnTo>
                    <a:lnTo>
                      <a:pt x="124" y="0"/>
                    </a:lnTo>
                    <a:lnTo>
                      <a:pt x="9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18" y="14"/>
                    </a:lnTo>
                    <a:lnTo>
                      <a:pt x="8" y="18"/>
                    </a:lnTo>
                    <a:lnTo>
                      <a:pt x="4" y="22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4" y="52"/>
                    </a:lnTo>
                    <a:lnTo>
                      <a:pt x="22" y="58"/>
                    </a:lnTo>
                    <a:lnTo>
                      <a:pt x="32" y="60"/>
                    </a:lnTo>
                    <a:lnTo>
                      <a:pt x="46" y="62"/>
                    </a:lnTo>
                    <a:lnTo>
                      <a:pt x="74" y="60"/>
                    </a:lnTo>
                    <a:lnTo>
                      <a:pt x="106" y="56"/>
                    </a:lnTo>
                    <a:lnTo>
                      <a:pt x="106" y="5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5" name="Freeform 6022">
                <a:extLst>
                  <a:ext uri="{FF2B5EF4-FFF2-40B4-BE49-F238E27FC236}">
                    <a16:creationId xmlns:a16="http://schemas.microsoft.com/office/drawing/2014/main" id="{1E74D3B6-869B-4346-824F-992BAB69A8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920" y="1067753"/>
                <a:ext cx="143510" cy="87630"/>
              </a:xfrm>
              <a:custGeom>
                <a:avLst/>
                <a:gdLst/>
                <a:ahLst/>
                <a:cxnLst>
                  <a:cxn ang="0">
                    <a:pos x="144" y="12"/>
                  </a:cxn>
                  <a:cxn ang="0">
                    <a:pos x="130" y="4"/>
                  </a:cxn>
                  <a:cxn ang="0">
                    <a:pos x="104" y="4"/>
                  </a:cxn>
                  <a:cxn ang="0">
                    <a:pos x="88" y="8"/>
                  </a:cxn>
                  <a:cxn ang="0">
                    <a:pos x="78" y="14"/>
                  </a:cxn>
                  <a:cxn ang="0">
                    <a:pos x="84" y="22"/>
                  </a:cxn>
                  <a:cxn ang="0">
                    <a:pos x="124" y="62"/>
                  </a:cxn>
                  <a:cxn ang="0">
                    <a:pos x="102" y="50"/>
                  </a:cxn>
                  <a:cxn ang="0">
                    <a:pos x="82" y="34"/>
                  </a:cxn>
                  <a:cxn ang="0">
                    <a:pos x="74" y="24"/>
                  </a:cxn>
                  <a:cxn ang="0">
                    <a:pos x="64" y="20"/>
                  </a:cxn>
                  <a:cxn ang="0">
                    <a:pos x="54" y="18"/>
                  </a:cxn>
                  <a:cxn ang="0">
                    <a:pos x="32" y="20"/>
                  </a:cxn>
                  <a:cxn ang="0">
                    <a:pos x="26" y="26"/>
                  </a:cxn>
                  <a:cxn ang="0">
                    <a:pos x="32" y="36"/>
                  </a:cxn>
                  <a:cxn ang="0">
                    <a:pos x="46" y="52"/>
                  </a:cxn>
                  <a:cxn ang="0">
                    <a:pos x="56" y="64"/>
                  </a:cxn>
                  <a:cxn ang="0">
                    <a:pos x="42" y="60"/>
                  </a:cxn>
                  <a:cxn ang="0">
                    <a:pos x="32" y="62"/>
                  </a:cxn>
                  <a:cxn ang="0">
                    <a:pos x="26" y="66"/>
                  </a:cxn>
                  <a:cxn ang="0">
                    <a:pos x="8" y="74"/>
                  </a:cxn>
                  <a:cxn ang="0">
                    <a:pos x="0" y="78"/>
                  </a:cxn>
                  <a:cxn ang="0">
                    <a:pos x="4" y="86"/>
                  </a:cxn>
                  <a:cxn ang="0">
                    <a:pos x="8" y="88"/>
                  </a:cxn>
                  <a:cxn ang="0">
                    <a:pos x="26" y="90"/>
                  </a:cxn>
                  <a:cxn ang="0">
                    <a:pos x="66" y="86"/>
                  </a:cxn>
                  <a:cxn ang="0">
                    <a:pos x="122" y="76"/>
                  </a:cxn>
                  <a:cxn ang="0">
                    <a:pos x="136" y="76"/>
                  </a:cxn>
                  <a:cxn ang="0">
                    <a:pos x="138" y="80"/>
                  </a:cxn>
                  <a:cxn ang="0">
                    <a:pos x="106" y="90"/>
                  </a:cxn>
                  <a:cxn ang="0">
                    <a:pos x="92" y="98"/>
                  </a:cxn>
                  <a:cxn ang="0">
                    <a:pos x="90" y="104"/>
                  </a:cxn>
                  <a:cxn ang="0">
                    <a:pos x="92" y="106"/>
                  </a:cxn>
                  <a:cxn ang="0">
                    <a:pos x="100" y="120"/>
                  </a:cxn>
                  <a:cxn ang="0">
                    <a:pos x="104" y="136"/>
                  </a:cxn>
                  <a:cxn ang="0">
                    <a:pos x="116" y="136"/>
                  </a:cxn>
                  <a:cxn ang="0">
                    <a:pos x="126" y="134"/>
                  </a:cxn>
                  <a:cxn ang="0">
                    <a:pos x="142" y="128"/>
                  </a:cxn>
                  <a:cxn ang="0">
                    <a:pos x="166" y="132"/>
                  </a:cxn>
                  <a:cxn ang="0">
                    <a:pos x="200" y="128"/>
                  </a:cxn>
                  <a:cxn ang="0">
                    <a:pos x="208" y="122"/>
                  </a:cxn>
                  <a:cxn ang="0">
                    <a:pos x="208" y="112"/>
                  </a:cxn>
                  <a:cxn ang="0">
                    <a:pos x="202" y="100"/>
                  </a:cxn>
                  <a:cxn ang="0">
                    <a:pos x="202" y="88"/>
                  </a:cxn>
                  <a:cxn ang="0">
                    <a:pos x="210" y="88"/>
                  </a:cxn>
                  <a:cxn ang="0">
                    <a:pos x="214" y="92"/>
                  </a:cxn>
                  <a:cxn ang="0">
                    <a:pos x="226" y="98"/>
                  </a:cxn>
                  <a:cxn ang="0">
                    <a:pos x="224" y="90"/>
                  </a:cxn>
                  <a:cxn ang="0">
                    <a:pos x="216" y="76"/>
                  </a:cxn>
                  <a:cxn ang="0">
                    <a:pos x="212" y="60"/>
                  </a:cxn>
                  <a:cxn ang="0">
                    <a:pos x="208" y="30"/>
                  </a:cxn>
                  <a:cxn ang="0">
                    <a:pos x="196" y="10"/>
                  </a:cxn>
                  <a:cxn ang="0">
                    <a:pos x="184" y="4"/>
                  </a:cxn>
                  <a:cxn ang="0">
                    <a:pos x="164" y="0"/>
                  </a:cxn>
                  <a:cxn ang="0">
                    <a:pos x="156" y="6"/>
                  </a:cxn>
                  <a:cxn ang="0">
                    <a:pos x="148" y="14"/>
                  </a:cxn>
                  <a:cxn ang="0">
                    <a:pos x="144" y="12"/>
                  </a:cxn>
                </a:cxnLst>
                <a:rect l="0" t="0" r="r" b="b"/>
                <a:pathLst>
                  <a:path w="226" h="138">
                    <a:moveTo>
                      <a:pt x="144" y="12"/>
                    </a:moveTo>
                    <a:lnTo>
                      <a:pt x="144" y="12"/>
                    </a:lnTo>
                    <a:lnTo>
                      <a:pt x="138" y="6"/>
                    </a:lnTo>
                    <a:lnTo>
                      <a:pt x="130" y="4"/>
                    </a:lnTo>
                    <a:lnTo>
                      <a:pt x="118" y="2"/>
                    </a:lnTo>
                    <a:lnTo>
                      <a:pt x="10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102" y="38"/>
                    </a:lnTo>
                    <a:lnTo>
                      <a:pt x="124" y="62"/>
                    </a:lnTo>
                    <a:lnTo>
                      <a:pt x="124" y="62"/>
                    </a:lnTo>
                    <a:lnTo>
                      <a:pt x="102" y="50"/>
                    </a:lnTo>
                    <a:lnTo>
                      <a:pt x="90" y="42"/>
                    </a:lnTo>
                    <a:lnTo>
                      <a:pt x="82" y="34"/>
                    </a:lnTo>
                    <a:lnTo>
                      <a:pt x="78" y="28"/>
                    </a:lnTo>
                    <a:lnTo>
                      <a:pt x="74" y="24"/>
                    </a:lnTo>
                    <a:lnTo>
                      <a:pt x="70" y="22"/>
                    </a:lnTo>
                    <a:lnTo>
                      <a:pt x="64" y="20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40" y="18"/>
                    </a:lnTo>
                    <a:lnTo>
                      <a:pt x="32" y="20"/>
                    </a:lnTo>
                    <a:lnTo>
                      <a:pt x="28" y="22"/>
                    </a:lnTo>
                    <a:lnTo>
                      <a:pt x="26" y="26"/>
                    </a:lnTo>
                    <a:lnTo>
                      <a:pt x="28" y="30"/>
                    </a:lnTo>
                    <a:lnTo>
                      <a:pt x="32" y="36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2"/>
                    </a:lnTo>
                    <a:lnTo>
                      <a:pt x="42" y="60"/>
                    </a:lnTo>
                    <a:lnTo>
                      <a:pt x="36" y="60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26" y="66"/>
                    </a:lnTo>
                    <a:lnTo>
                      <a:pt x="20" y="70"/>
                    </a:lnTo>
                    <a:lnTo>
                      <a:pt x="8" y="74"/>
                    </a:lnTo>
                    <a:lnTo>
                      <a:pt x="4" y="76"/>
                    </a:lnTo>
                    <a:lnTo>
                      <a:pt x="0" y="78"/>
                    </a:lnTo>
                    <a:lnTo>
                      <a:pt x="0" y="82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8" y="88"/>
                    </a:lnTo>
                    <a:lnTo>
                      <a:pt x="12" y="90"/>
                    </a:lnTo>
                    <a:lnTo>
                      <a:pt x="26" y="90"/>
                    </a:lnTo>
                    <a:lnTo>
                      <a:pt x="44" y="88"/>
                    </a:lnTo>
                    <a:lnTo>
                      <a:pt x="66" y="86"/>
                    </a:lnTo>
                    <a:lnTo>
                      <a:pt x="106" y="78"/>
                    </a:lnTo>
                    <a:lnTo>
                      <a:pt x="122" y="76"/>
                    </a:lnTo>
                    <a:lnTo>
                      <a:pt x="136" y="76"/>
                    </a:lnTo>
                    <a:lnTo>
                      <a:pt x="136" y="76"/>
                    </a:lnTo>
                    <a:lnTo>
                      <a:pt x="140" y="78"/>
                    </a:lnTo>
                    <a:lnTo>
                      <a:pt x="138" y="80"/>
                    </a:lnTo>
                    <a:lnTo>
                      <a:pt x="118" y="86"/>
                    </a:lnTo>
                    <a:lnTo>
                      <a:pt x="106" y="90"/>
                    </a:lnTo>
                    <a:lnTo>
                      <a:pt x="96" y="94"/>
                    </a:lnTo>
                    <a:lnTo>
                      <a:pt x="92" y="98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98" y="114"/>
                    </a:lnTo>
                    <a:lnTo>
                      <a:pt x="100" y="120"/>
                    </a:lnTo>
                    <a:lnTo>
                      <a:pt x="102" y="132"/>
                    </a:lnTo>
                    <a:lnTo>
                      <a:pt x="104" y="136"/>
                    </a:lnTo>
                    <a:lnTo>
                      <a:pt x="108" y="138"/>
                    </a:lnTo>
                    <a:lnTo>
                      <a:pt x="116" y="136"/>
                    </a:lnTo>
                    <a:lnTo>
                      <a:pt x="126" y="134"/>
                    </a:lnTo>
                    <a:lnTo>
                      <a:pt x="126" y="134"/>
                    </a:lnTo>
                    <a:lnTo>
                      <a:pt x="136" y="130"/>
                    </a:lnTo>
                    <a:lnTo>
                      <a:pt x="142" y="128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84" y="132"/>
                    </a:lnTo>
                    <a:lnTo>
                      <a:pt x="200" y="128"/>
                    </a:lnTo>
                    <a:lnTo>
                      <a:pt x="206" y="126"/>
                    </a:lnTo>
                    <a:lnTo>
                      <a:pt x="208" y="122"/>
                    </a:lnTo>
                    <a:lnTo>
                      <a:pt x="210" y="118"/>
                    </a:lnTo>
                    <a:lnTo>
                      <a:pt x="208" y="112"/>
                    </a:lnTo>
                    <a:lnTo>
                      <a:pt x="208" y="112"/>
                    </a:lnTo>
                    <a:lnTo>
                      <a:pt x="202" y="100"/>
                    </a:lnTo>
                    <a:lnTo>
                      <a:pt x="202" y="92"/>
                    </a:lnTo>
                    <a:lnTo>
                      <a:pt x="202" y="88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92"/>
                    </a:lnTo>
                    <a:lnTo>
                      <a:pt x="214" y="92"/>
                    </a:lnTo>
                    <a:lnTo>
                      <a:pt x="224" y="98"/>
                    </a:lnTo>
                    <a:lnTo>
                      <a:pt x="226" y="98"/>
                    </a:lnTo>
                    <a:lnTo>
                      <a:pt x="226" y="98"/>
                    </a:lnTo>
                    <a:lnTo>
                      <a:pt x="224" y="90"/>
                    </a:lnTo>
                    <a:lnTo>
                      <a:pt x="216" y="76"/>
                    </a:lnTo>
                    <a:lnTo>
                      <a:pt x="216" y="76"/>
                    </a:lnTo>
                    <a:lnTo>
                      <a:pt x="214" y="68"/>
                    </a:lnTo>
                    <a:lnTo>
                      <a:pt x="212" y="60"/>
                    </a:lnTo>
                    <a:lnTo>
                      <a:pt x="210" y="40"/>
                    </a:lnTo>
                    <a:lnTo>
                      <a:pt x="208" y="30"/>
                    </a:lnTo>
                    <a:lnTo>
                      <a:pt x="204" y="20"/>
                    </a:lnTo>
                    <a:lnTo>
                      <a:pt x="196" y="10"/>
                    </a:lnTo>
                    <a:lnTo>
                      <a:pt x="184" y="4"/>
                    </a:lnTo>
                    <a:lnTo>
                      <a:pt x="184" y="4"/>
                    </a:lnTo>
                    <a:lnTo>
                      <a:pt x="172" y="0"/>
                    </a:lnTo>
                    <a:lnTo>
                      <a:pt x="164" y="0"/>
                    </a:lnTo>
                    <a:lnTo>
                      <a:pt x="160" y="2"/>
                    </a:lnTo>
                    <a:lnTo>
                      <a:pt x="156" y="6"/>
                    </a:lnTo>
                    <a:lnTo>
                      <a:pt x="152" y="14"/>
                    </a:lnTo>
                    <a:lnTo>
                      <a:pt x="148" y="14"/>
                    </a:lnTo>
                    <a:lnTo>
                      <a:pt x="144" y="12"/>
                    </a:lnTo>
                    <a:lnTo>
                      <a:pt x="144" y="1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6" name="Freeform 6023">
                <a:extLst>
                  <a:ext uri="{FF2B5EF4-FFF2-40B4-BE49-F238E27FC236}">
                    <a16:creationId xmlns:a16="http://schemas.microsoft.com/office/drawing/2014/main" id="{20C892E0-C2BB-44FD-9EAD-52A7E7C917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2770" y="887413"/>
                <a:ext cx="36830" cy="25400"/>
              </a:xfrm>
              <a:custGeom>
                <a:avLst/>
                <a:gdLst/>
                <a:ahLst/>
                <a:cxnLst>
                  <a:cxn ang="0">
                    <a:pos x="30" y="32"/>
                  </a:cxn>
                  <a:cxn ang="0">
                    <a:pos x="30" y="32"/>
                  </a:cxn>
                  <a:cxn ang="0">
                    <a:pos x="40" y="38"/>
                  </a:cxn>
                  <a:cxn ang="0">
                    <a:pos x="46" y="40"/>
                  </a:cxn>
                  <a:cxn ang="0">
                    <a:pos x="50" y="40"/>
                  </a:cxn>
                  <a:cxn ang="0">
                    <a:pos x="54" y="38"/>
                  </a:cxn>
                  <a:cxn ang="0">
                    <a:pos x="56" y="34"/>
                  </a:cxn>
                  <a:cxn ang="0">
                    <a:pos x="58" y="28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10" y="24"/>
                  </a:cxn>
                  <a:cxn ang="0">
                    <a:pos x="18" y="26"/>
                  </a:cxn>
                  <a:cxn ang="0">
                    <a:pos x="24" y="28"/>
                  </a:cxn>
                  <a:cxn ang="0">
                    <a:pos x="30" y="32"/>
                  </a:cxn>
                  <a:cxn ang="0">
                    <a:pos x="30" y="32"/>
                  </a:cxn>
                </a:cxnLst>
                <a:rect l="0" t="0" r="r" b="b"/>
                <a:pathLst>
                  <a:path w="58" h="40">
                    <a:moveTo>
                      <a:pt x="30" y="32"/>
                    </a:moveTo>
                    <a:lnTo>
                      <a:pt x="30" y="32"/>
                    </a:lnTo>
                    <a:lnTo>
                      <a:pt x="40" y="38"/>
                    </a:lnTo>
                    <a:lnTo>
                      <a:pt x="46" y="40"/>
                    </a:lnTo>
                    <a:lnTo>
                      <a:pt x="50" y="40"/>
                    </a:lnTo>
                    <a:lnTo>
                      <a:pt x="54" y="38"/>
                    </a:lnTo>
                    <a:lnTo>
                      <a:pt x="56" y="34"/>
                    </a:lnTo>
                    <a:lnTo>
                      <a:pt x="58" y="28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10" y="24"/>
                    </a:lnTo>
                    <a:lnTo>
                      <a:pt x="18" y="26"/>
                    </a:lnTo>
                    <a:lnTo>
                      <a:pt x="24" y="28"/>
                    </a:lnTo>
                    <a:lnTo>
                      <a:pt x="30" y="32"/>
                    </a:lnTo>
                    <a:lnTo>
                      <a:pt x="30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7" name="Freeform 6024">
                <a:extLst>
                  <a:ext uri="{FF2B5EF4-FFF2-40B4-BE49-F238E27FC236}">
                    <a16:creationId xmlns:a16="http://schemas.microsoft.com/office/drawing/2014/main" id="{D9E7D209-FD37-4FEE-801D-F335902F2B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7490" y="963613"/>
                <a:ext cx="102870" cy="24130"/>
              </a:xfrm>
              <a:custGeom>
                <a:avLst/>
                <a:gdLst/>
                <a:ahLst/>
                <a:cxnLst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4" y="32"/>
                  </a:cxn>
                  <a:cxn ang="0">
                    <a:pos x="60" y="36"/>
                  </a:cxn>
                  <a:cxn ang="0">
                    <a:pos x="60" y="36"/>
                  </a:cxn>
                  <a:cxn ang="0">
                    <a:pos x="72" y="38"/>
                  </a:cxn>
                  <a:cxn ang="0">
                    <a:pos x="76" y="36"/>
                  </a:cxn>
                  <a:cxn ang="0">
                    <a:pos x="84" y="34"/>
                  </a:cxn>
                  <a:cxn ang="0">
                    <a:pos x="108" y="34"/>
                  </a:cxn>
                  <a:cxn ang="0">
                    <a:pos x="108" y="34"/>
                  </a:cxn>
                  <a:cxn ang="0">
                    <a:pos x="124" y="36"/>
                  </a:cxn>
                  <a:cxn ang="0">
                    <a:pos x="138" y="34"/>
                  </a:cxn>
                  <a:cxn ang="0">
                    <a:pos x="150" y="32"/>
                  </a:cxn>
                  <a:cxn ang="0">
                    <a:pos x="158" y="28"/>
                  </a:cxn>
                  <a:cxn ang="0">
                    <a:pos x="162" y="24"/>
                  </a:cxn>
                  <a:cxn ang="0">
                    <a:pos x="162" y="22"/>
                  </a:cxn>
                  <a:cxn ang="0">
                    <a:pos x="160" y="18"/>
                  </a:cxn>
                  <a:cxn ang="0">
                    <a:pos x="152" y="12"/>
                  </a:cxn>
                  <a:cxn ang="0">
                    <a:pos x="138" y="6"/>
                  </a:cxn>
                  <a:cxn ang="0">
                    <a:pos x="138" y="6"/>
                  </a:cxn>
                  <a:cxn ang="0">
                    <a:pos x="122" y="0"/>
                  </a:cxn>
                  <a:cxn ang="0">
                    <a:pos x="108" y="0"/>
                  </a:cxn>
                  <a:cxn ang="0">
                    <a:pos x="96" y="0"/>
                  </a:cxn>
                  <a:cxn ang="0">
                    <a:pos x="86" y="2"/>
                  </a:cxn>
                  <a:cxn ang="0">
                    <a:pos x="64" y="10"/>
                  </a:cxn>
                  <a:cxn ang="0">
                    <a:pos x="52" y="14"/>
                  </a:cxn>
                  <a:cxn ang="0">
                    <a:pos x="36" y="16"/>
                  </a:cxn>
                  <a:cxn ang="0">
                    <a:pos x="36" y="16"/>
                  </a:cxn>
                  <a:cxn ang="0">
                    <a:pos x="22" y="20"/>
                  </a:cxn>
                  <a:cxn ang="0">
                    <a:pos x="10" y="24"/>
                  </a:cxn>
                  <a:cxn ang="0">
                    <a:pos x="4" y="28"/>
                  </a:cxn>
                  <a:cxn ang="0">
                    <a:pos x="0" y="30"/>
                  </a:cxn>
                  <a:cxn ang="0">
                    <a:pos x="0" y="34"/>
                  </a:cxn>
                  <a:cxn ang="0">
                    <a:pos x="4" y="36"/>
                  </a:cxn>
                  <a:cxn ang="0">
                    <a:pos x="10" y="36"/>
                  </a:cxn>
                  <a:cxn ang="0">
                    <a:pos x="20" y="34"/>
                  </a:cxn>
                  <a:cxn ang="0">
                    <a:pos x="20" y="34"/>
                  </a:cxn>
                </a:cxnLst>
                <a:rect l="0" t="0" r="r" b="b"/>
                <a:pathLst>
                  <a:path w="162" h="38">
                    <a:moveTo>
                      <a:pt x="20" y="34"/>
                    </a:moveTo>
                    <a:lnTo>
                      <a:pt x="20" y="34"/>
                    </a:lnTo>
                    <a:lnTo>
                      <a:pt x="26" y="32"/>
                    </a:lnTo>
                    <a:lnTo>
                      <a:pt x="34" y="32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72" y="38"/>
                    </a:lnTo>
                    <a:lnTo>
                      <a:pt x="76" y="36"/>
                    </a:lnTo>
                    <a:lnTo>
                      <a:pt x="84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24" y="36"/>
                    </a:lnTo>
                    <a:lnTo>
                      <a:pt x="138" y="34"/>
                    </a:lnTo>
                    <a:lnTo>
                      <a:pt x="150" y="32"/>
                    </a:lnTo>
                    <a:lnTo>
                      <a:pt x="158" y="28"/>
                    </a:lnTo>
                    <a:lnTo>
                      <a:pt x="162" y="24"/>
                    </a:lnTo>
                    <a:lnTo>
                      <a:pt x="162" y="22"/>
                    </a:lnTo>
                    <a:lnTo>
                      <a:pt x="160" y="18"/>
                    </a:lnTo>
                    <a:lnTo>
                      <a:pt x="152" y="12"/>
                    </a:lnTo>
                    <a:lnTo>
                      <a:pt x="138" y="6"/>
                    </a:lnTo>
                    <a:lnTo>
                      <a:pt x="138" y="6"/>
                    </a:lnTo>
                    <a:lnTo>
                      <a:pt x="122" y="0"/>
                    </a:lnTo>
                    <a:lnTo>
                      <a:pt x="108" y="0"/>
                    </a:lnTo>
                    <a:lnTo>
                      <a:pt x="96" y="0"/>
                    </a:lnTo>
                    <a:lnTo>
                      <a:pt x="86" y="2"/>
                    </a:lnTo>
                    <a:lnTo>
                      <a:pt x="64" y="10"/>
                    </a:lnTo>
                    <a:lnTo>
                      <a:pt x="52" y="14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22" y="20"/>
                    </a:lnTo>
                    <a:lnTo>
                      <a:pt x="10" y="24"/>
                    </a:lnTo>
                    <a:lnTo>
                      <a:pt x="4" y="28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10" y="36"/>
                    </a:lnTo>
                    <a:lnTo>
                      <a:pt x="20" y="34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8" name="Freeform 6025">
                <a:extLst>
                  <a:ext uri="{FF2B5EF4-FFF2-40B4-BE49-F238E27FC236}">
                    <a16:creationId xmlns:a16="http://schemas.microsoft.com/office/drawing/2014/main" id="{506CC8EF-2309-4CB8-9BC7-1FD0685902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3070" y="928053"/>
                <a:ext cx="168910" cy="82550"/>
              </a:xfrm>
              <a:custGeom>
                <a:avLst/>
                <a:gdLst/>
                <a:ahLst/>
                <a:cxnLst>
                  <a:cxn ang="0">
                    <a:pos x="30" y="40"/>
                  </a:cxn>
                  <a:cxn ang="0">
                    <a:pos x="32" y="50"/>
                  </a:cxn>
                  <a:cxn ang="0">
                    <a:pos x="40" y="46"/>
                  </a:cxn>
                  <a:cxn ang="0">
                    <a:pos x="52" y="44"/>
                  </a:cxn>
                  <a:cxn ang="0">
                    <a:pos x="66" y="54"/>
                  </a:cxn>
                  <a:cxn ang="0">
                    <a:pos x="72" y="62"/>
                  </a:cxn>
                  <a:cxn ang="0">
                    <a:pos x="68" y="70"/>
                  </a:cxn>
                  <a:cxn ang="0">
                    <a:pos x="44" y="68"/>
                  </a:cxn>
                  <a:cxn ang="0">
                    <a:pos x="26" y="70"/>
                  </a:cxn>
                  <a:cxn ang="0">
                    <a:pos x="24" y="74"/>
                  </a:cxn>
                  <a:cxn ang="0">
                    <a:pos x="24" y="82"/>
                  </a:cxn>
                  <a:cxn ang="0">
                    <a:pos x="36" y="90"/>
                  </a:cxn>
                  <a:cxn ang="0">
                    <a:pos x="60" y="92"/>
                  </a:cxn>
                  <a:cxn ang="0">
                    <a:pos x="78" y="88"/>
                  </a:cxn>
                  <a:cxn ang="0">
                    <a:pos x="108" y="82"/>
                  </a:cxn>
                  <a:cxn ang="0">
                    <a:pos x="114" y="86"/>
                  </a:cxn>
                  <a:cxn ang="0">
                    <a:pos x="120" y="92"/>
                  </a:cxn>
                  <a:cxn ang="0">
                    <a:pos x="146" y="90"/>
                  </a:cxn>
                  <a:cxn ang="0">
                    <a:pos x="156" y="90"/>
                  </a:cxn>
                  <a:cxn ang="0">
                    <a:pos x="170" y="92"/>
                  </a:cxn>
                  <a:cxn ang="0">
                    <a:pos x="182" y="102"/>
                  </a:cxn>
                  <a:cxn ang="0">
                    <a:pos x="194" y="120"/>
                  </a:cxn>
                  <a:cxn ang="0">
                    <a:pos x="204" y="126"/>
                  </a:cxn>
                  <a:cxn ang="0">
                    <a:pos x="220" y="130"/>
                  </a:cxn>
                  <a:cxn ang="0">
                    <a:pos x="244" y="128"/>
                  </a:cxn>
                  <a:cxn ang="0">
                    <a:pos x="254" y="126"/>
                  </a:cxn>
                  <a:cxn ang="0">
                    <a:pos x="266" y="122"/>
                  </a:cxn>
                  <a:cxn ang="0">
                    <a:pos x="266" y="114"/>
                  </a:cxn>
                  <a:cxn ang="0">
                    <a:pos x="258" y="102"/>
                  </a:cxn>
                  <a:cxn ang="0">
                    <a:pos x="234" y="82"/>
                  </a:cxn>
                  <a:cxn ang="0">
                    <a:pos x="238" y="78"/>
                  </a:cxn>
                  <a:cxn ang="0">
                    <a:pos x="242" y="76"/>
                  </a:cxn>
                  <a:cxn ang="0">
                    <a:pos x="248" y="68"/>
                  </a:cxn>
                  <a:cxn ang="0">
                    <a:pos x="242" y="58"/>
                  </a:cxn>
                  <a:cxn ang="0">
                    <a:pos x="224" y="50"/>
                  </a:cxn>
                  <a:cxn ang="0">
                    <a:pos x="210" y="48"/>
                  </a:cxn>
                  <a:cxn ang="0">
                    <a:pos x="186" y="44"/>
                  </a:cxn>
                  <a:cxn ang="0">
                    <a:pos x="184" y="40"/>
                  </a:cxn>
                  <a:cxn ang="0">
                    <a:pos x="176" y="32"/>
                  </a:cxn>
                  <a:cxn ang="0">
                    <a:pos x="164" y="28"/>
                  </a:cxn>
                  <a:cxn ang="0">
                    <a:pos x="140" y="26"/>
                  </a:cxn>
                  <a:cxn ang="0">
                    <a:pos x="130" y="32"/>
                  </a:cxn>
                  <a:cxn ang="0">
                    <a:pos x="124" y="36"/>
                  </a:cxn>
                  <a:cxn ang="0">
                    <a:pos x="118" y="28"/>
                  </a:cxn>
                  <a:cxn ang="0">
                    <a:pos x="114" y="24"/>
                  </a:cxn>
                  <a:cxn ang="0">
                    <a:pos x="96" y="10"/>
                  </a:cxn>
                  <a:cxn ang="0">
                    <a:pos x="58" y="0"/>
                  </a:cxn>
                  <a:cxn ang="0">
                    <a:pos x="22" y="2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8" y="34"/>
                  </a:cxn>
                  <a:cxn ang="0">
                    <a:pos x="20" y="30"/>
                  </a:cxn>
                  <a:cxn ang="0">
                    <a:pos x="28" y="34"/>
                  </a:cxn>
                  <a:cxn ang="0">
                    <a:pos x="30" y="40"/>
                  </a:cxn>
                </a:cxnLst>
                <a:rect l="0" t="0" r="r" b="b"/>
                <a:pathLst>
                  <a:path w="266" h="130">
                    <a:moveTo>
                      <a:pt x="30" y="40"/>
                    </a:moveTo>
                    <a:lnTo>
                      <a:pt x="30" y="40"/>
                    </a:lnTo>
                    <a:lnTo>
                      <a:pt x="30" y="48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0" y="46"/>
                    </a:lnTo>
                    <a:lnTo>
                      <a:pt x="46" y="44"/>
                    </a:lnTo>
                    <a:lnTo>
                      <a:pt x="52" y="44"/>
                    </a:lnTo>
                    <a:lnTo>
                      <a:pt x="58" y="46"/>
                    </a:lnTo>
                    <a:lnTo>
                      <a:pt x="66" y="54"/>
                    </a:lnTo>
                    <a:lnTo>
                      <a:pt x="66" y="54"/>
                    </a:lnTo>
                    <a:lnTo>
                      <a:pt x="72" y="62"/>
                    </a:lnTo>
                    <a:lnTo>
                      <a:pt x="72" y="66"/>
                    </a:lnTo>
                    <a:lnTo>
                      <a:pt x="68" y="70"/>
                    </a:lnTo>
                    <a:lnTo>
                      <a:pt x="60" y="70"/>
                    </a:lnTo>
                    <a:lnTo>
                      <a:pt x="44" y="68"/>
                    </a:lnTo>
                    <a:lnTo>
                      <a:pt x="34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4" y="74"/>
                    </a:lnTo>
                    <a:lnTo>
                      <a:pt x="22" y="78"/>
                    </a:lnTo>
                    <a:lnTo>
                      <a:pt x="24" y="82"/>
                    </a:lnTo>
                    <a:lnTo>
                      <a:pt x="28" y="86"/>
                    </a:lnTo>
                    <a:lnTo>
                      <a:pt x="36" y="90"/>
                    </a:lnTo>
                    <a:lnTo>
                      <a:pt x="46" y="92"/>
                    </a:lnTo>
                    <a:lnTo>
                      <a:pt x="60" y="92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98" y="82"/>
                    </a:lnTo>
                    <a:lnTo>
                      <a:pt x="108" y="82"/>
                    </a:lnTo>
                    <a:lnTo>
                      <a:pt x="112" y="82"/>
                    </a:lnTo>
                    <a:lnTo>
                      <a:pt x="114" y="86"/>
                    </a:lnTo>
                    <a:lnTo>
                      <a:pt x="116" y="88"/>
                    </a:lnTo>
                    <a:lnTo>
                      <a:pt x="120" y="92"/>
                    </a:lnTo>
                    <a:lnTo>
                      <a:pt x="130" y="92"/>
                    </a:lnTo>
                    <a:lnTo>
                      <a:pt x="146" y="90"/>
                    </a:lnTo>
                    <a:lnTo>
                      <a:pt x="146" y="90"/>
                    </a:lnTo>
                    <a:lnTo>
                      <a:pt x="156" y="90"/>
                    </a:lnTo>
                    <a:lnTo>
                      <a:pt x="164" y="90"/>
                    </a:lnTo>
                    <a:lnTo>
                      <a:pt x="170" y="92"/>
                    </a:lnTo>
                    <a:lnTo>
                      <a:pt x="174" y="94"/>
                    </a:lnTo>
                    <a:lnTo>
                      <a:pt x="182" y="102"/>
                    </a:lnTo>
                    <a:lnTo>
                      <a:pt x="186" y="110"/>
                    </a:lnTo>
                    <a:lnTo>
                      <a:pt x="194" y="120"/>
                    </a:lnTo>
                    <a:lnTo>
                      <a:pt x="198" y="124"/>
                    </a:lnTo>
                    <a:lnTo>
                      <a:pt x="204" y="126"/>
                    </a:lnTo>
                    <a:lnTo>
                      <a:pt x="210" y="128"/>
                    </a:lnTo>
                    <a:lnTo>
                      <a:pt x="220" y="130"/>
                    </a:lnTo>
                    <a:lnTo>
                      <a:pt x="230" y="130"/>
                    </a:lnTo>
                    <a:lnTo>
                      <a:pt x="244" y="128"/>
                    </a:lnTo>
                    <a:lnTo>
                      <a:pt x="244" y="128"/>
                    </a:lnTo>
                    <a:lnTo>
                      <a:pt x="254" y="126"/>
                    </a:lnTo>
                    <a:lnTo>
                      <a:pt x="262" y="124"/>
                    </a:lnTo>
                    <a:lnTo>
                      <a:pt x="266" y="122"/>
                    </a:lnTo>
                    <a:lnTo>
                      <a:pt x="266" y="118"/>
                    </a:lnTo>
                    <a:lnTo>
                      <a:pt x="266" y="114"/>
                    </a:lnTo>
                    <a:lnTo>
                      <a:pt x="264" y="110"/>
                    </a:lnTo>
                    <a:lnTo>
                      <a:pt x="258" y="102"/>
                    </a:lnTo>
                    <a:lnTo>
                      <a:pt x="240" y="88"/>
                    </a:lnTo>
                    <a:lnTo>
                      <a:pt x="234" y="82"/>
                    </a:lnTo>
                    <a:lnTo>
                      <a:pt x="234" y="80"/>
                    </a:lnTo>
                    <a:lnTo>
                      <a:pt x="238" y="78"/>
                    </a:lnTo>
                    <a:lnTo>
                      <a:pt x="238" y="78"/>
                    </a:lnTo>
                    <a:lnTo>
                      <a:pt x="242" y="76"/>
                    </a:lnTo>
                    <a:lnTo>
                      <a:pt x="246" y="72"/>
                    </a:lnTo>
                    <a:lnTo>
                      <a:pt x="248" y="68"/>
                    </a:lnTo>
                    <a:lnTo>
                      <a:pt x="246" y="64"/>
                    </a:lnTo>
                    <a:lnTo>
                      <a:pt x="242" y="58"/>
                    </a:lnTo>
                    <a:lnTo>
                      <a:pt x="236" y="54"/>
                    </a:lnTo>
                    <a:lnTo>
                      <a:pt x="224" y="50"/>
                    </a:lnTo>
                    <a:lnTo>
                      <a:pt x="210" y="48"/>
                    </a:lnTo>
                    <a:lnTo>
                      <a:pt x="210" y="48"/>
                    </a:lnTo>
                    <a:lnTo>
                      <a:pt x="190" y="46"/>
                    </a:lnTo>
                    <a:lnTo>
                      <a:pt x="186" y="44"/>
                    </a:lnTo>
                    <a:lnTo>
                      <a:pt x="186" y="42"/>
                    </a:lnTo>
                    <a:lnTo>
                      <a:pt x="184" y="40"/>
                    </a:lnTo>
                    <a:lnTo>
                      <a:pt x="182" y="36"/>
                    </a:lnTo>
                    <a:lnTo>
                      <a:pt x="176" y="32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50" y="26"/>
                    </a:lnTo>
                    <a:lnTo>
                      <a:pt x="140" y="26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4"/>
                    </a:lnTo>
                    <a:lnTo>
                      <a:pt x="124" y="36"/>
                    </a:lnTo>
                    <a:lnTo>
                      <a:pt x="122" y="34"/>
                    </a:lnTo>
                    <a:lnTo>
                      <a:pt x="118" y="28"/>
                    </a:lnTo>
                    <a:lnTo>
                      <a:pt x="118" y="28"/>
                    </a:lnTo>
                    <a:lnTo>
                      <a:pt x="114" y="24"/>
                    </a:lnTo>
                    <a:lnTo>
                      <a:pt x="110" y="18"/>
                    </a:lnTo>
                    <a:lnTo>
                      <a:pt x="96" y="10"/>
                    </a:lnTo>
                    <a:lnTo>
                      <a:pt x="78" y="4"/>
                    </a:lnTo>
                    <a:lnTo>
                      <a:pt x="58" y="0"/>
                    </a:lnTo>
                    <a:lnTo>
                      <a:pt x="40" y="0"/>
                    </a:lnTo>
                    <a:lnTo>
                      <a:pt x="22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2"/>
                    </a:lnTo>
                    <a:lnTo>
                      <a:pt x="8" y="34"/>
                    </a:lnTo>
                    <a:lnTo>
                      <a:pt x="14" y="32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8" y="34"/>
                    </a:lnTo>
                    <a:lnTo>
                      <a:pt x="30" y="40"/>
                    </a:lnTo>
                    <a:lnTo>
                      <a:pt x="30" y="4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9" name="Freeform 6026">
                <a:extLst>
                  <a:ext uri="{FF2B5EF4-FFF2-40B4-BE49-F238E27FC236}">
                    <a16:creationId xmlns:a16="http://schemas.microsoft.com/office/drawing/2014/main" id="{69957918-C0C6-4279-A504-7121C8B5DD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4180" y="1013143"/>
                <a:ext cx="44450" cy="33020"/>
              </a:xfrm>
              <a:custGeom>
                <a:avLst/>
                <a:gdLst/>
                <a:ahLst/>
                <a:cxnLst>
                  <a:cxn ang="0">
                    <a:pos x="56" y="52"/>
                  </a:cxn>
                  <a:cxn ang="0">
                    <a:pos x="56" y="52"/>
                  </a:cxn>
                  <a:cxn ang="0">
                    <a:pos x="66" y="50"/>
                  </a:cxn>
                  <a:cxn ang="0">
                    <a:pos x="68" y="48"/>
                  </a:cxn>
                  <a:cxn ang="0">
                    <a:pos x="70" y="46"/>
                  </a:cxn>
                  <a:cxn ang="0">
                    <a:pos x="70" y="44"/>
                  </a:cxn>
                  <a:cxn ang="0">
                    <a:pos x="68" y="40"/>
                  </a:cxn>
                  <a:cxn ang="0">
                    <a:pos x="56" y="26"/>
                  </a:cxn>
                  <a:cxn ang="0">
                    <a:pos x="56" y="26"/>
                  </a:cxn>
                  <a:cxn ang="0">
                    <a:pos x="46" y="18"/>
                  </a:cxn>
                  <a:cxn ang="0">
                    <a:pos x="36" y="12"/>
                  </a:cxn>
                  <a:cxn ang="0">
                    <a:pos x="26" y="6"/>
                  </a:cxn>
                  <a:cxn ang="0">
                    <a:pos x="16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8" y="22"/>
                  </a:cxn>
                  <a:cxn ang="0">
                    <a:pos x="18" y="36"/>
                  </a:cxn>
                  <a:cxn ang="0">
                    <a:pos x="24" y="44"/>
                  </a:cxn>
                  <a:cxn ang="0">
                    <a:pos x="32" y="48"/>
                  </a:cxn>
                  <a:cxn ang="0">
                    <a:pos x="42" y="52"/>
                  </a:cxn>
                  <a:cxn ang="0">
                    <a:pos x="56" y="52"/>
                  </a:cxn>
                  <a:cxn ang="0">
                    <a:pos x="56" y="52"/>
                  </a:cxn>
                </a:cxnLst>
                <a:rect l="0" t="0" r="r" b="b"/>
                <a:pathLst>
                  <a:path w="70" h="52">
                    <a:moveTo>
                      <a:pt x="56" y="52"/>
                    </a:moveTo>
                    <a:lnTo>
                      <a:pt x="56" y="52"/>
                    </a:lnTo>
                    <a:lnTo>
                      <a:pt x="66" y="50"/>
                    </a:lnTo>
                    <a:lnTo>
                      <a:pt x="68" y="48"/>
                    </a:lnTo>
                    <a:lnTo>
                      <a:pt x="70" y="46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46" y="18"/>
                    </a:lnTo>
                    <a:lnTo>
                      <a:pt x="36" y="12"/>
                    </a:lnTo>
                    <a:lnTo>
                      <a:pt x="26" y="6"/>
                    </a:lnTo>
                    <a:lnTo>
                      <a:pt x="16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8" y="22"/>
                    </a:lnTo>
                    <a:lnTo>
                      <a:pt x="18" y="36"/>
                    </a:lnTo>
                    <a:lnTo>
                      <a:pt x="24" y="44"/>
                    </a:lnTo>
                    <a:lnTo>
                      <a:pt x="32" y="48"/>
                    </a:lnTo>
                    <a:lnTo>
                      <a:pt x="42" y="52"/>
                    </a:lnTo>
                    <a:lnTo>
                      <a:pt x="56" y="52"/>
                    </a:lnTo>
                    <a:lnTo>
                      <a:pt x="56" y="5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0" name="Freeform 6027">
                <a:extLst>
                  <a:ext uri="{FF2B5EF4-FFF2-40B4-BE49-F238E27FC236}">
                    <a16:creationId xmlns:a16="http://schemas.microsoft.com/office/drawing/2014/main" id="{C73F0685-641B-4916-8CCF-334C381770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410" y="957263"/>
                <a:ext cx="95250" cy="54610"/>
              </a:xfrm>
              <a:custGeom>
                <a:avLst/>
                <a:gdLst/>
                <a:ahLst/>
                <a:cxnLst>
                  <a:cxn ang="0">
                    <a:pos x="14" y="38"/>
                  </a:cxn>
                  <a:cxn ang="0">
                    <a:pos x="22" y="44"/>
                  </a:cxn>
                  <a:cxn ang="0">
                    <a:pos x="44" y="54"/>
                  </a:cxn>
                  <a:cxn ang="0">
                    <a:pos x="50" y="56"/>
                  </a:cxn>
                  <a:cxn ang="0">
                    <a:pos x="52" y="58"/>
                  </a:cxn>
                  <a:cxn ang="0">
                    <a:pos x="42" y="64"/>
                  </a:cxn>
                  <a:cxn ang="0">
                    <a:pos x="32" y="68"/>
                  </a:cxn>
                  <a:cxn ang="0">
                    <a:pos x="40" y="68"/>
                  </a:cxn>
                  <a:cxn ang="0">
                    <a:pos x="50" y="70"/>
                  </a:cxn>
                  <a:cxn ang="0">
                    <a:pos x="56" y="76"/>
                  </a:cxn>
                  <a:cxn ang="0">
                    <a:pos x="60" y="84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98" y="76"/>
                  </a:cxn>
                  <a:cxn ang="0">
                    <a:pos x="132" y="70"/>
                  </a:cxn>
                  <a:cxn ang="0">
                    <a:pos x="142" y="64"/>
                  </a:cxn>
                  <a:cxn ang="0">
                    <a:pos x="140" y="60"/>
                  </a:cxn>
                  <a:cxn ang="0">
                    <a:pos x="140" y="52"/>
                  </a:cxn>
                  <a:cxn ang="0">
                    <a:pos x="150" y="42"/>
                  </a:cxn>
                  <a:cxn ang="0">
                    <a:pos x="148" y="36"/>
                  </a:cxn>
                  <a:cxn ang="0">
                    <a:pos x="140" y="32"/>
                  </a:cxn>
                  <a:cxn ang="0">
                    <a:pos x="122" y="24"/>
                  </a:cxn>
                  <a:cxn ang="0">
                    <a:pos x="100" y="22"/>
                  </a:cxn>
                  <a:cxn ang="0">
                    <a:pos x="82" y="14"/>
                  </a:cxn>
                  <a:cxn ang="0">
                    <a:pos x="68" y="8"/>
                  </a:cxn>
                  <a:cxn ang="0">
                    <a:pos x="42" y="0"/>
                  </a:cxn>
                  <a:cxn ang="0">
                    <a:pos x="18" y="0"/>
                  </a:cxn>
                  <a:cxn ang="0">
                    <a:pos x="8" y="8"/>
                  </a:cxn>
                  <a:cxn ang="0">
                    <a:pos x="8" y="14"/>
                  </a:cxn>
                  <a:cxn ang="0">
                    <a:pos x="10" y="20"/>
                  </a:cxn>
                  <a:cxn ang="0">
                    <a:pos x="6" y="28"/>
                  </a:cxn>
                  <a:cxn ang="0">
                    <a:pos x="0" y="30"/>
                  </a:cxn>
                  <a:cxn ang="0">
                    <a:pos x="14" y="38"/>
                  </a:cxn>
                </a:cxnLst>
                <a:rect l="0" t="0" r="r" b="b"/>
                <a:pathLst>
                  <a:path w="150" h="86">
                    <a:moveTo>
                      <a:pt x="14" y="38"/>
                    </a:moveTo>
                    <a:lnTo>
                      <a:pt x="14" y="38"/>
                    </a:lnTo>
                    <a:lnTo>
                      <a:pt x="20" y="42"/>
                    </a:lnTo>
                    <a:lnTo>
                      <a:pt x="22" y="44"/>
                    </a:lnTo>
                    <a:lnTo>
                      <a:pt x="28" y="4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50" y="56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48" y="62"/>
                    </a:lnTo>
                    <a:lnTo>
                      <a:pt x="42" y="64"/>
                    </a:lnTo>
                    <a:lnTo>
                      <a:pt x="32" y="66"/>
                    </a:lnTo>
                    <a:lnTo>
                      <a:pt x="32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50" y="70"/>
                    </a:lnTo>
                    <a:lnTo>
                      <a:pt x="54" y="74"/>
                    </a:lnTo>
                    <a:lnTo>
                      <a:pt x="56" y="76"/>
                    </a:lnTo>
                    <a:lnTo>
                      <a:pt x="58" y="80"/>
                    </a:lnTo>
                    <a:lnTo>
                      <a:pt x="60" y="84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86" y="78"/>
                    </a:lnTo>
                    <a:lnTo>
                      <a:pt x="98" y="76"/>
                    </a:lnTo>
                    <a:lnTo>
                      <a:pt x="122" y="72"/>
                    </a:lnTo>
                    <a:lnTo>
                      <a:pt x="132" y="70"/>
                    </a:lnTo>
                    <a:lnTo>
                      <a:pt x="138" y="68"/>
                    </a:lnTo>
                    <a:lnTo>
                      <a:pt x="142" y="64"/>
                    </a:lnTo>
                    <a:lnTo>
                      <a:pt x="140" y="60"/>
                    </a:lnTo>
                    <a:lnTo>
                      <a:pt x="140" y="60"/>
                    </a:lnTo>
                    <a:lnTo>
                      <a:pt x="138" y="54"/>
                    </a:lnTo>
                    <a:lnTo>
                      <a:pt x="140" y="52"/>
                    </a:lnTo>
                    <a:lnTo>
                      <a:pt x="146" y="46"/>
                    </a:lnTo>
                    <a:lnTo>
                      <a:pt x="150" y="42"/>
                    </a:lnTo>
                    <a:lnTo>
                      <a:pt x="150" y="40"/>
                    </a:lnTo>
                    <a:lnTo>
                      <a:pt x="148" y="36"/>
                    </a:lnTo>
                    <a:lnTo>
                      <a:pt x="140" y="32"/>
                    </a:lnTo>
                    <a:lnTo>
                      <a:pt x="140" y="32"/>
                    </a:lnTo>
                    <a:lnTo>
                      <a:pt x="128" y="26"/>
                    </a:lnTo>
                    <a:lnTo>
                      <a:pt x="122" y="24"/>
                    </a:lnTo>
                    <a:lnTo>
                      <a:pt x="110" y="24"/>
                    </a:lnTo>
                    <a:lnTo>
                      <a:pt x="100" y="22"/>
                    </a:lnTo>
                    <a:lnTo>
                      <a:pt x="92" y="20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68" y="8"/>
                    </a:lnTo>
                    <a:lnTo>
                      <a:pt x="56" y="2"/>
                    </a:lnTo>
                    <a:lnTo>
                      <a:pt x="42" y="0"/>
                    </a:lnTo>
                    <a:lnTo>
                      <a:pt x="30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8" y="8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20"/>
                    </a:lnTo>
                    <a:lnTo>
                      <a:pt x="10" y="24"/>
                    </a:lnTo>
                    <a:lnTo>
                      <a:pt x="6" y="28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1" name="Freeform 6033">
                <a:extLst>
                  <a:ext uri="{FF2B5EF4-FFF2-40B4-BE49-F238E27FC236}">
                    <a16:creationId xmlns:a16="http://schemas.microsoft.com/office/drawing/2014/main" id="{A8C3D581-E988-40A6-B204-7A2778B154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430" y="1806893"/>
                <a:ext cx="15240" cy="889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4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</a:cxnLst>
                <a:rect l="0" t="0" r="r" b="b"/>
                <a:pathLst>
                  <a:path w="24" h="14">
                    <a:moveTo>
                      <a:pt x="14" y="0"/>
                    </a:moveTo>
                    <a:lnTo>
                      <a:pt x="14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2" name="Freeform 6037">
                <a:extLst>
                  <a:ext uri="{FF2B5EF4-FFF2-40B4-BE49-F238E27FC236}">
                    <a16:creationId xmlns:a16="http://schemas.microsoft.com/office/drawing/2014/main" id="{3C37BCBA-E144-4655-9904-722C90DD4B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950" y="1811973"/>
                <a:ext cx="24130" cy="22860"/>
              </a:xfrm>
              <a:custGeom>
                <a:avLst/>
                <a:gdLst/>
                <a:ahLst/>
                <a:cxnLst>
                  <a:cxn ang="0">
                    <a:pos x="28" y="2"/>
                  </a:cxn>
                  <a:cxn ang="0">
                    <a:pos x="28" y="2"/>
                  </a:cxn>
                  <a:cxn ang="0">
                    <a:pos x="18" y="16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0" y="36"/>
                  </a:cxn>
                  <a:cxn ang="0">
                    <a:pos x="4" y="36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2" y="26"/>
                  </a:cxn>
                  <a:cxn ang="0">
                    <a:pos x="26" y="20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6" y="4"/>
                  </a:cxn>
                  <a:cxn ang="0">
                    <a:pos x="38" y="2"/>
                  </a:cxn>
                  <a:cxn ang="0">
                    <a:pos x="36" y="0"/>
                  </a:cxn>
                  <a:cxn ang="0">
                    <a:pos x="32" y="0"/>
                  </a:cxn>
                  <a:cxn ang="0">
                    <a:pos x="28" y="2"/>
                  </a:cxn>
                  <a:cxn ang="0">
                    <a:pos x="28" y="2"/>
                  </a:cxn>
                </a:cxnLst>
                <a:rect l="0" t="0" r="r" b="b"/>
                <a:pathLst>
                  <a:path w="38" h="36">
                    <a:moveTo>
                      <a:pt x="28" y="2"/>
                    </a:moveTo>
                    <a:lnTo>
                      <a:pt x="28" y="2"/>
                    </a:lnTo>
                    <a:lnTo>
                      <a:pt x="18" y="1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4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2" y="26"/>
                    </a:lnTo>
                    <a:lnTo>
                      <a:pt x="26" y="20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4"/>
                    </a:lnTo>
                    <a:lnTo>
                      <a:pt x="38" y="2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8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3" name="Freeform 6054">
                <a:extLst>
                  <a:ext uri="{FF2B5EF4-FFF2-40B4-BE49-F238E27FC236}">
                    <a16:creationId xmlns:a16="http://schemas.microsoft.com/office/drawing/2014/main" id="{23272EDD-DF5F-443F-A903-6E2592F5F6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730" y="1058863"/>
                <a:ext cx="317500" cy="121920"/>
              </a:xfrm>
              <a:custGeom>
                <a:avLst/>
                <a:gdLst/>
                <a:ahLst/>
                <a:cxnLst>
                  <a:cxn ang="0">
                    <a:pos x="314" y="78"/>
                  </a:cxn>
                  <a:cxn ang="0">
                    <a:pos x="338" y="86"/>
                  </a:cxn>
                  <a:cxn ang="0">
                    <a:pos x="354" y="100"/>
                  </a:cxn>
                  <a:cxn ang="0">
                    <a:pos x="340" y="106"/>
                  </a:cxn>
                  <a:cxn ang="0">
                    <a:pos x="280" y="102"/>
                  </a:cxn>
                  <a:cxn ang="0">
                    <a:pos x="258" y="102"/>
                  </a:cxn>
                  <a:cxn ang="0">
                    <a:pos x="236" y="72"/>
                  </a:cxn>
                  <a:cxn ang="0">
                    <a:pos x="186" y="46"/>
                  </a:cxn>
                  <a:cxn ang="0">
                    <a:pos x="154" y="54"/>
                  </a:cxn>
                  <a:cxn ang="0">
                    <a:pos x="138" y="36"/>
                  </a:cxn>
                  <a:cxn ang="0">
                    <a:pos x="102" y="32"/>
                  </a:cxn>
                  <a:cxn ang="0">
                    <a:pos x="42" y="58"/>
                  </a:cxn>
                  <a:cxn ang="0">
                    <a:pos x="46" y="66"/>
                  </a:cxn>
                  <a:cxn ang="0">
                    <a:pos x="22" y="88"/>
                  </a:cxn>
                  <a:cxn ang="0">
                    <a:pos x="24" y="98"/>
                  </a:cxn>
                  <a:cxn ang="0">
                    <a:pos x="14" y="110"/>
                  </a:cxn>
                  <a:cxn ang="0">
                    <a:pos x="6" y="132"/>
                  </a:cxn>
                  <a:cxn ang="0">
                    <a:pos x="66" y="146"/>
                  </a:cxn>
                  <a:cxn ang="0">
                    <a:pos x="94" y="138"/>
                  </a:cxn>
                  <a:cxn ang="0">
                    <a:pos x="106" y="146"/>
                  </a:cxn>
                  <a:cxn ang="0">
                    <a:pos x="124" y="148"/>
                  </a:cxn>
                  <a:cxn ang="0">
                    <a:pos x="144" y="126"/>
                  </a:cxn>
                  <a:cxn ang="0">
                    <a:pos x="152" y="130"/>
                  </a:cxn>
                  <a:cxn ang="0">
                    <a:pos x="158" y="140"/>
                  </a:cxn>
                  <a:cxn ang="0">
                    <a:pos x="232" y="132"/>
                  </a:cxn>
                  <a:cxn ang="0">
                    <a:pos x="264" y="134"/>
                  </a:cxn>
                  <a:cxn ang="0">
                    <a:pos x="212" y="148"/>
                  </a:cxn>
                  <a:cxn ang="0">
                    <a:pos x="144" y="160"/>
                  </a:cxn>
                  <a:cxn ang="0">
                    <a:pos x="134" y="176"/>
                  </a:cxn>
                  <a:cxn ang="0">
                    <a:pos x="166" y="190"/>
                  </a:cxn>
                  <a:cxn ang="0">
                    <a:pos x="234" y="184"/>
                  </a:cxn>
                  <a:cxn ang="0">
                    <a:pos x="296" y="164"/>
                  </a:cxn>
                  <a:cxn ang="0">
                    <a:pos x="350" y="146"/>
                  </a:cxn>
                  <a:cxn ang="0">
                    <a:pos x="378" y="152"/>
                  </a:cxn>
                  <a:cxn ang="0">
                    <a:pos x="394" y="144"/>
                  </a:cxn>
                  <a:cxn ang="0">
                    <a:pos x="420" y="150"/>
                  </a:cxn>
                  <a:cxn ang="0">
                    <a:pos x="460" y="138"/>
                  </a:cxn>
                  <a:cxn ang="0">
                    <a:pos x="492" y="106"/>
                  </a:cxn>
                  <a:cxn ang="0">
                    <a:pos x="498" y="84"/>
                  </a:cxn>
                  <a:cxn ang="0">
                    <a:pos x="470" y="68"/>
                  </a:cxn>
                  <a:cxn ang="0">
                    <a:pos x="436" y="70"/>
                  </a:cxn>
                  <a:cxn ang="0">
                    <a:pos x="398" y="80"/>
                  </a:cxn>
                  <a:cxn ang="0">
                    <a:pos x="400" y="68"/>
                  </a:cxn>
                  <a:cxn ang="0">
                    <a:pos x="384" y="60"/>
                  </a:cxn>
                  <a:cxn ang="0">
                    <a:pos x="384" y="52"/>
                  </a:cxn>
                  <a:cxn ang="0">
                    <a:pos x="382" y="40"/>
                  </a:cxn>
                  <a:cxn ang="0">
                    <a:pos x="370" y="18"/>
                  </a:cxn>
                  <a:cxn ang="0">
                    <a:pos x="358" y="0"/>
                  </a:cxn>
                  <a:cxn ang="0">
                    <a:pos x="300" y="28"/>
                  </a:cxn>
                  <a:cxn ang="0">
                    <a:pos x="290" y="40"/>
                  </a:cxn>
                  <a:cxn ang="0">
                    <a:pos x="318" y="54"/>
                  </a:cxn>
                  <a:cxn ang="0">
                    <a:pos x="328" y="66"/>
                  </a:cxn>
                </a:cxnLst>
                <a:rect l="0" t="0" r="r" b="b"/>
                <a:pathLst>
                  <a:path w="500" h="192">
                    <a:moveTo>
                      <a:pt x="322" y="70"/>
                    </a:moveTo>
                    <a:lnTo>
                      <a:pt x="322" y="70"/>
                    </a:lnTo>
                    <a:lnTo>
                      <a:pt x="316" y="76"/>
                    </a:lnTo>
                    <a:lnTo>
                      <a:pt x="314" y="78"/>
                    </a:lnTo>
                    <a:lnTo>
                      <a:pt x="316" y="80"/>
                    </a:lnTo>
                    <a:lnTo>
                      <a:pt x="320" y="82"/>
                    </a:lnTo>
                    <a:lnTo>
                      <a:pt x="330" y="84"/>
                    </a:lnTo>
                    <a:lnTo>
                      <a:pt x="338" y="86"/>
                    </a:lnTo>
                    <a:lnTo>
                      <a:pt x="348" y="90"/>
                    </a:lnTo>
                    <a:lnTo>
                      <a:pt x="354" y="94"/>
                    </a:lnTo>
                    <a:lnTo>
                      <a:pt x="356" y="96"/>
                    </a:lnTo>
                    <a:lnTo>
                      <a:pt x="354" y="100"/>
                    </a:lnTo>
                    <a:lnTo>
                      <a:pt x="354" y="100"/>
                    </a:lnTo>
                    <a:lnTo>
                      <a:pt x="352" y="104"/>
                    </a:lnTo>
                    <a:lnTo>
                      <a:pt x="346" y="108"/>
                    </a:lnTo>
                    <a:lnTo>
                      <a:pt x="340" y="106"/>
                    </a:lnTo>
                    <a:lnTo>
                      <a:pt x="332" y="106"/>
                    </a:lnTo>
                    <a:lnTo>
                      <a:pt x="310" y="102"/>
                    </a:lnTo>
                    <a:lnTo>
                      <a:pt x="296" y="100"/>
                    </a:lnTo>
                    <a:lnTo>
                      <a:pt x="280" y="102"/>
                    </a:lnTo>
                    <a:lnTo>
                      <a:pt x="280" y="102"/>
                    </a:lnTo>
                    <a:lnTo>
                      <a:pt x="268" y="104"/>
                    </a:lnTo>
                    <a:lnTo>
                      <a:pt x="260" y="104"/>
                    </a:lnTo>
                    <a:lnTo>
                      <a:pt x="258" y="102"/>
                    </a:lnTo>
                    <a:lnTo>
                      <a:pt x="256" y="98"/>
                    </a:lnTo>
                    <a:lnTo>
                      <a:pt x="252" y="90"/>
                    </a:lnTo>
                    <a:lnTo>
                      <a:pt x="246" y="82"/>
                    </a:lnTo>
                    <a:lnTo>
                      <a:pt x="236" y="72"/>
                    </a:lnTo>
                    <a:lnTo>
                      <a:pt x="220" y="60"/>
                    </a:lnTo>
                    <a:lnTo>
                      <a:pt x="220" y="60"/>
                    </a:lnTo>
                    <a:lnTo>
                      <a:pt x="200" y="50"/>
                    </a:lnTo>
                    <a:lnTo>
                      <a:pt x="186" y="46"/>
                    </a:lnTo>
                    <a:lnTo>
                      <a:pt x="174" y="46"/>
                    </a:lnTo>
                    <a:lnTo>
                      <a:pt x="166" y="50"/>
                    </a:lnTo>
                    <a:lnTo>
                      <a:pt x="160" y="52"/>
                    </a:lnTo>
                    <a:lnTo>
                      <a:pt x="154" y="54"/>
                    </a:lnTo>
                    <a:lnTo>
                      <a:pt x="150" y="52"/>
                    </a:lnTo>
                    <a:lnTo>
                      <a:pt x="144" y="44"/>
                    </a:lnTo>
                    <a:lnTo>
                      <a:pt x="144" y="44"/>
                    </a:lnTo>
                    <a:lnTo>
                      <a:pt x="138" y="36"/>
                    </a:lnTo>
                    <a:lnTo>
                      <a:pt x="130" y="30"/>
                    </a:lnTo>
                    <a:lnTo>
                      <a:pt x="122" y="30"/>
                    </a:lnTo>
                    <a:lnTo>
                      <a:pt x="112" y="30"/>
                    </a:lnTo>
                    <a:lnTo>
                      <a:pt x="102" y="32"/>
                    </a:lnTo>
                    <a:lnTo>
                      <a:pt x="88" y="38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42" y="58"/>
                    </a:lnTo>
                    <a:lnTo>
                      <a:pt x="40" y="60"/>
                    </a:lnTo>
                    <a:lnTo>
                      <a:pt x="42" y="60"/>
                    </a:lnTo>
                    <a:lnTo>
                      <a:pt x="44" y="64"/>
                    </a:lnTo>
                    <a:lnTo>
                      <a:pt x="46" y="66"/>
                    </a:lnTo>
                    <a:lnTo>
                      <a:pt x="42" y="72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22" y="88"/>
                    </a:lnTo>
                    <a:lnTo>
                      <a:pt x="20" y="94"/>
                    </a:lnTo>
                    <a:lnTo>
                      <a:pt x="20" y="96"/>
                    </a:lnTo>
                    <a:lnTo>
                      <a:pt x="22" y="98"/>
                    </a:lnTo>
                    <a:lnTo>
                      <a:pt x="24" y="98"/>
                    </a:lnTo>
                    <a:lnTo>
                      <a:pt x="26" y="100"/>
                    </a:lnTo>
                    <a:lnTo>
                      <a:pt x="22" y="104"/>
                    </a:lnTo>
                    <a:lnTo>
                      <a:pt x="14" y="110"/>
                    </a:lnTo>
                    <a:lnTo>
                      <a:pt x="14" y="110"/>
                    </a:lnTo>
                    <a:lnTo>
                      <a:pt x="4" y="118"/>
                    </a:lnTo>
                    <a:lnTo>
                      <a:pt x="0" y="124"/>
                    </a:lnTo>
                    <a:lnTo>
                      <a:pt x="2" y="128"/>
                    </a:lnTo>
                    <a:lnTo>
                      <a:pt x="6" y="132"/>
                    </a:lnTo>
                    <a:lnTo>
                      <a:pt x="26" y="138"/>
                    </a:lnTo>
                    <a:lnTo>
                      <a:pt x="54" y="144"/>
                    </a:lnTo>
                    <a:lnTo>
                      <a:pt x="54" y="144"/>
                    </a:lnTo>
                    <a:lnTo>
                      <a:pt x="66" y="146"/>
                    </a:lnTo>
                    <a:lnTo>
                      <a:pt x="76" y="146"/>
                    </a:lnTo>
                    <a:lnTo>
                      <a:pt x="84" y="144"/>
                    </a:lnTo>
                    <a:lnTo>
                      <a:pt x="88" y="142"/>
                    </a:lnTo>
                    <a:lnTo>
                      <a:pt x="94" y="138"/>
                    </a:lnTo>
                    <a:lnTo>
                      <a:pt x="96" y="136"/>
                    </a:lnTo>
                    <a:lnTo>
                      <a:pt x="98" y="140"/>
                    </a:lnTo>
                    <a:lnTo>
                      <a:pt x="98" y="140"/>
                    </a:lnTo>
                    <a:lnTo>
                      <a:pt x="106" y="146"/>
                    </a:lnTo>
                    <a:lnTo>
                      <a:pt x="110" y="148"/>
                    </a:lnTo>
                    <a:lnTo>
                      <a:pt x="114" y="150"/>
                    </a:lnTo>
                    <a:lnTo>
                      <a:pt x="118" y="150"/>
                    </a:lnTo>
                    <a:lnTo>
                      <a:pt x="124" y="148"/>
                    </a:lnTo>
                    <a:lnTo>
                      <a:pt x="128" y="14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44" y="126"/>
                    </a:lnTo>
                    <a:lnTo>
                      <a:pt x="150" y="122"/>
                    </a:lnTo>
                    <a:lnTo>
                      <a:pt x="152" y="122"/>
                    </a:lnTo>
                    <a:lnTo>
                      <a:pt x="154" y="124"/>
                    </a:lnTo>
                    <a:lnTo>
                      <a:pt x="152" y="130"/>
                    </a:lnTo>
                    <a:lnTo>
                      <a:pt x="152" y="130"/>
                    </a:lnTo>
                    <a:lnTo>
                      <a:pt x="150" y="134"/>
                    </a:lnTo>
                    <a:lnTo>
                      <a:pt x="154" y="138"/>
                    </a:lnTo>
                    <a:lnTo>
                      <a:pt x="158" y="140"/>
                    </a:lnTo>
                    <a:lnTo>
                      <a:pt x="166" y="142"/>
                    </a:lnTo>
                    <a:lnTo>
                      <a:pt x="192" y="140"/>
                    </a:lnTo>
                    <a:lnTo>
                      <a:pt x="232" y="132"/>
                    </a:lnTo>
                    <a:lnTo>
                      <a:pt x="232" y="132"/>
                    </a:lnTo>
                    <a:lnTo>
                      <a:pt x="252" y="130"/>
                    </a:lnTo>
                    <a:lnTo>
                      <a:pt x="262" y="130"/>
                    </a:lnTo>
                    <a:lnTo>
                      <a:pt x="266" y="130"/>
                    </a:lnTo>
                    <a:lnTo>
                      <a:pt x="264" y="134"/>
                    </a:lnTo>
                    <a:lnTo>
                      <a:pt x="256" y="138"/>
                    </a:lnTo>
                    <a:lnTo>
                      <a:pt x="244" y="142"/>
                    </a:lnTo>
                    <a:lnTo>
                      <a:pt x="228" y="144"/>
                    </a:lnTo>
                    <a:lnTo>
                      <a:pt x="212" y="148"/>
                    </a:lnTo>
                    <a:lnTo>
                      <a:pt x="212" y="148"/>
                    </a:lnTo>
                    <a:lnTo>
                      <a:pt x="176" y="152"/>
                    </a:lnTo>
                    <a:lnTo>
                      <a:pt x="158" y="156"/>
                    </a:lnTo>
                    <a:lnTo>
                      <a:pt x="144" y="160"/>
                    </a:lnTo>
                    <a:lnTo>
                      <a:pt x="136" y="166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4" y="176"/>
                    </a:lnTo>
                    <a:lnTo>
                      <a:pt x="138" y="178"/>
                    </a:lnTo>
                    <a:lnTo>
                      <a:pt x="152" y="186"/>
                    </a:lnTo>
                    <a:lnTo>
                      <a:pt x="152" y="186"/>
                    </a:lnTo>
                    <a:lnTo>
                      <a:pt x="166" y="190"/>
                    </a:lnTo>
                    <a:lnTo>
                      <a:pt x="178" y="192"/>
                    </a:lnTo>
                    <a:lnTo>
                      <a:pt x="192" y="192"/>
                    </a:lnTo>
                    <a:lnTo>
                      <a:pt x="206" y="190"/>
                    </a:lnTo>
                    <a:lnTo>
                      <a:pt x="234" y="184"/>
                    </a:lnTo>
                    <a:lnTo>
                      <a:pt x="266" y="174"/>
                    </a:lnTo>
                    <a:lnTo>
                      <a:pt x="266" y="174"/>
                    </a:lnTo>
                    <a:lnTo>
                      <a:pt x="282" y="170"/>
                    </a:lnTo>
                    <a:lnTo>
                      <a:pt x="296" y="164"/>
                    </a:lnTo>
                    <a:lnTo>
                      <a:pt x="318" y="154"/>
                    </a:lnTo>
                    <a:lnTo>
                      <a:pt x="328" y="150"/>
                    </a:lnTo>
                    <a:lnTo>
                      <a:pt x="338" y="146"/>
                    </a:lnTo>
                    <a:lnTo>
                      <a:pt x="350" y="146"/>
                    </a:lnTo>
                    <a:lnTo>
                      <a:pt x="360" y="148"/>
                    </a:lnTo>
                    <a:lnTo>
                      <a:pt x="360" y="148"/>
                    </a:lnTo>
                    <a:lnTo>
                      <a:pt x="370" y="150"/>
                    </a:lnTo>
                    <a:lnTo>
                      <a:pt x="378" y="152"/>
                    </a:lnTo>
                    <a:lnTo>
                      <a:pt x="382" y="150"/>
                    </a:lnTo>
                    <a:lnTo>
                      <a:pt x="386" y="148"/>
                    </a:lnTo>
                    <a:lnTo>
                      <a:pt x="388" y="146"/>
                    </a:lnTo>
                    <a:lnTo>
                      <a:pt x="394" y="144"/>
                    </a:lnTo>
                    <a:lnTo>
                      <a:pt x="400" y="144"/>
                    </a:lnTo>
                    <a:lnTo>
                      <a:pt x="410" y="146"/>
                    </a:lnTo>
                    <a:lnTo>
                      <a:pt x="410" y="146"/>
                    </a:lnTo>
                    <a:lnTo>
                      <a:pt x="420" y="150"/>
                    </a:lnTo>
                    <a:lnTo>
                      <a:pt x="430" y="150"/>
                    </a:lnTo>
                    <a:lnTo>
                      <a:pt x="440" y="148"/>
                    </a:lnTo>
                    <a:lnTo>
                      <a:pt x="450" y="144"/>
                    </a:lnTo>
                    <a:lnTo>
                      <a:pt x="460" y="138"/>
                    </a:lnTo>
                    <a:lnTo>
                      <a:pt x="470" y="130"/>
                    </a:lnTo>
                    <a:lnTo>
                      <a:pt x="482" y="120"/>
                    </a:lnTo>
                    <a:lnTo>
                      <a:pt x="492" y="106"/>
                    </a:lnTo>
                    <a:lnTo>
                      <a:pt x="492" y="106"/>
                    </a:lnTo>
                    <a:lnTo>
                      <a:pt x="496" y="100"/>
                    </a:lnTo>
                    <a:lnTo>
                      <a:pt x="500" y="94"/>
                    </a:lnTo>
                    <a:lnTo>
                      <a:pt x="500" y="88"/>
                    </a:lnTo>
                    <a:lnTo>
                      <a:pt x="498" y="84"/>
                    </a:lnTo>
                    <a:lnTo>
                      <a:pt x="496" y="80"/>
                    </a:lnTo>
                    <a:lnTo>
                      <a:pt x="492" y="76"/>
                    </a:lnTo>
                    <a:lnTo>
                      <a:pt x="482" y="70"/>
                    </a:lnTo>
                    <a:lnTo>
                      <a:pt x="470" y="68"/>
                    </a:lnTo>
                    <a:lnTo>
                      <a:pt x="456" y="66"/>
                    </a:lnTo>
                    <a:lnTo>
                      <a:pt x="444" y="68"/>
                    </a:lnTo>
                    <a:lnTo>
                      <a:pt x="436" y="70"/>
                    </a:lnTo>
                    <a:lnTo>
                      <a:pt x="436" y="70"/>
                    </a:lnTo>
                    <a:lnTo>
                      <a:pt x="420" y="76"/>
                    </a:lnTo>
                    <a:lnTo>
                      <a:pt x="406" y="80"/>
                    </a:lnTo>
                    <a:lnTo>
                      <a:pt x="402" y="82"/>
                    </a:lnTo>
                    <a:lnTo>
                      <a:pt x="398" y="80"/>
                    </a:lnTo>
                    <a:lnTo>
                      <a:pt x="398" y="78"/>
                    </a:lnTo>
                    <a:lnTo>
                      <a:pt x="400" y="72"/>
                    </a:lnTo>
                    <a:lnTo>
                      <a:pt x="400" y="72"/>
                    </a:lnTo>
                    <a:lnTo>
                      <a:pt x="400" y="68"/>
                    </a:lnTo>
                    <a:lnTo>
                      <a:pt x="398" y="64"/>
                    </a:lnTo>
                    <a:lnTo>
                      <a:pt x="394" y="62"/>
                    </a:lnTo>
                    <a:lnTo>
                      <a:pt x="390" y="62"/>
                    </a:lnTo>
                    <a:lnTo>
                      <a:pt x="384" y="60"/>
                    </a:lnTo>
                    <a:lnTo>
                      <a:pt x="380" y="60"/>
                    </a:lnTo>
                    <a:lnTo>
                      <a:pt x="380" y="56"/>
                    </a:lnTo>
                    <a:lnTo>
                      <a:pt x="384" y="52"/>
                    </a:lnTo>
                    <a:lnTo>
                      <a:pt x="384" y="52"/>
                    </a:lnTo>
                    <a:lnTo>
                      <a:pt x="388" y="46"/>
                    </a:lnTo>
                    <a:lnTo>
                      <a:pt x="388" y="44"/>
                    </a:lnTo>
                    <a:lnTo>
                      <a:pt x="386" y="42"/>
                    </a:lnTo>
                    <a:lnTo>
                      <a:pt x="382" y="40"/>
                    </a:lnTo>
                    <a:lnTo>
                      <a:pt x="378" y="38"/>
                    </a:lnTo>
                    <a:lnTo>
                      <a:pt x="374" y="34"/>
                    </a:lnTo>
                    <a:lnTo>
                      <a:pt x="372" y="28"/>
                    </a:lnTo>
                    <a:lnTo>
                      <a:pt x="370" y="18"/>
                    </a:lnTo>
                    <a:lnTo>
                      <a:pt x="370" y="18"/>
                    </a:lnTo>
                    <a:lnTo>
                      <a:pt x="368" y="8"/>
                    </a:lnTo>
                    <a:lnTo>
                      <a:pt x="364" y="2"/>
                    </a:lnTo>
                    <a:lnTo>
                      <a:pt x="358" y="0"/>
                    </a:lnTo>
                    <a:lnTo>
                      <a:pt x="350" y="2"/>
                    </a:lnTo>
                    <a:lnTo>
                      <a:pt x="340" y="6"/>
                    </a:lnTo>
                    <a:lnTo>
                      <a:pt x="328" y="12"/>
                    </a:lnTo>
                    <a:lnTo>
                      <a:pt x="300" y="28"/>
                    </a:lnTo>
                    <a:lnTo>
                      <a:pt x="300" y="28"/>
                    </a:lnTo>
                    <a:lnTo>
                      <a:pt x="294" y="32"/>
                    </a:lnTo>
                    <a:lnTo>
                      <a:pt x="292" y="36"/>
                    </a:lnTo>
                    <a:lnTo>
                      <a:pt x="290" y="40"/>
                    </a:lnTo>
                    <a:lnTo>
                      <a:pt x="292" y="42"/>
                    </a:lnTo>
                    <a:lnTo>
                      <a:pt x="298" y="46"/>
                    </a:lnTo>
                    <a:lnTo>
                      <a:pt x="308" y="50"/>
                    </a:lnTo>
                    <a:lnTo>
                      <a:pt x="318" y="54"/>
                    </a:lnTo>
                    <a:lnTo>
                      <a:pt x="326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6"/>
                    </a:lnTo>
                    <a:lnTo>
                      <a:pt x="322" y="70"/>
                    </a:lnTo>
                    <a:lnTo>
                      <a:pt x="322" y="7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4" name="Freeform 6074">
                <a:extLst>
                  <a:ext uri="{FF2B5EF4-FFF2-40B4-BE49-F238E27FC236}">
                    <a16:creationId xmlns:a16="http://schemas.microsoft.com/office/drawing/2014/main" id="{3FAB032B-5C2E-416D-9DE7-7F2FDDAF87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3930" y="3139123"/>
                <a:ext cx="278130" cy="109220"/>
              </a:xfrm>
              <a:custGeom>
                <a:avLst/>
                <a:gdLst/>
                <a:ahLst/>
                <a:cxnLst>
                  <a:cxn ang="0">
                    <a:pos x="416" y="160"/>
                  </a:cxn>
                  <a:cxn ang="0">
                    <a:pos x="436" y="156"/>
                  </a:cxn>
                  <a:cxn ang="0">
                    <a:pos x="428" y="148"/>
                  </a:cxn>
                  <a:cxn ang="0">
                    <a:pos x="414" y="136"/>
                  </a:cxn>
                  <a:cxn ang="0">
                    <a:pos x="384" y="126"/>
                  </a:cxn>
                  <a:cxn ang="0">
                    <a:pos x="374" y="120"/>
                  </a:cxn>
                  <a:cxn ang="0">
                    <a:pos x="376" y="108"/>
                  </a:cxn>
                  <a:cxn ang="0">
                    <a:pos x="358" y="106"/>
                  </a:cxn>
                  <a:cxn ang="0">
                    <a:pos x="350" y="100"/>
                  </a:cxn>
                  <a:cxn ang="0">
                    <a:pos x="338" y="100"/>
                  </a:cxn>
                  <a:cxn ang="0">
                    <a:pos x="326" y="92"/>
                  </a:cxn>
                  <a:cxn ang="0">
                    <a:pos x="300" y="68"/>
                  </a:cxn>
                  <a:cxn ang="0">
                    <a:pos x="300" y="76"/>
                  </a:cxn>
                  <a:cxn ang="0">
                    <a:pos x="292" y="64"/>
                  </a:cxn>
                  <a:cxn ang="0">
                    <a:pos x="286" y="60"/>
                  </a:cxn>
                  <a:cxn ang="0">
                    <a:pos x="260" y="48"/>
                  </a:cxn>
                  <a:cxn ang="0">
                    <a:pos x="230" y="40"/>
                  </a:cxn>
                  <a:cxn ang="0">
                    <a:pos x="216" y="28"/>
                  </a:cxn>
                  <a:cxn ang="0">
                    <a:pos x="194" y="14"/>
                  </a:cxn>
                  <a:cxn ang="0">
                    <a:pos x="180" y="8"/>
                  </a:cxn>
                  <a:cxn ang="0">
                    <a:pos x="164" y="8"/>
                  </a:cxn>
                  <a:cxn ang="0">
                    <a:pos x="150" y="0"/>
                  </a:cxn>
                  <a:cxn ang="0">
                    <a:pos x="136" y="4"/>
                  </a:cxn>
                  <a:cxn ang="0">
                    <a:pos x="112" y="0"/>
                  </a:cxn>
                  <a:cxn ang="0">
                    <a:pos x="92" y="10"/>
                  </a:cxn>
                  <a:cxn ang="0">
                    <a:pos x="56" y="18"/>
                  </a:cxn>
                  <a:cxn ang="0">
                    <a:pos x="24" y="42"/>
                  </a:cxn>
                  <a:cxn ang="0">
                    <a:pos x="24" y="58"/>
                  </a:cxn>
                  <a:cxn ang="0">
                    <a:pos x="2" y="66"/>
                  </a:cxn>
                  <a:cxn ang="0">
                    <a:pos x="4" y="72"/>
                  </a:cxn>
                  <a:cxn ang="0">
                    <a:pos x="18" y="72"/>
                  </a:cxn>
                  <a:cxn ang="0">
                    <a:pos x="24" y="72"/>
                  </a:cxn>
                  <a:cxn ang="0">
                    <a:pos x="40" y="62"/>
                  </a:cxn>
                  <a:cxn ang="0">
                    <a:pos x="70" y="44"/>
                  </a:cxn>
                  <a:cxn ang="0">
                    <a:pos x="92" y="30"/>
                  </a:cxn>
                  <a:cxn ang="0">
                    <a:pos x="132" y="32"/>
                  </a:cxn>
                  <a:cxn ang="0">
                    <a:pos x="124" y="38"/>
                  </a:cxn>
                  <a:cxn ang="0">
                    <a:pos x="118" y="46"/>
                  </a:cxn>
                  <a:cxn ang="0">
                    <a:pos x="164" y="58"/>
                  </a:cxn>
                  <a:cxn ang="0">
                    <a:pos x="186" y="62"/>
                  </a:cxn>
                  <a:cxn ang="0">
                    <a:pos x="214" y="80"/>
                  </a:cxn>
                  <a:cxn ang="0">
                    <a:pos x="242" y="84"/>
                  </a:cxn>
                  <a:cxn ang="0">
                    <a:pos x="256" y="94"/>
                  </a:cxn>
                  <a:cxn ang="0">
                    <a:pos x="268" y="120"/>
                  </a:cxn>
                  <a:cxn ang="0">
                    <a:pos x="288" y="128"/>
                  </a:cxn>
                  <a:cxn ang="0">
                    <a:pos x="318" y="136"/>
                  </a:cxn>
                  <a:cxn ang="0">
                    <a:pos x="310" y="150"/>
                  </a:cxn>
                  <a:cxn ang="0">
                    <a:pos x="290" y="168"/>
                  </a:cxn>
                  <a:cxn ang="0">
                    <a:pos x="348" y="164"/>
                  </a:cxn>
                  <a:cxn ang="0">
                    <a:pos x="382" y="170"/>
                  </a:cxn>
                  <a:cxn ang="0">
                    <a:pos x="400" y="166"/>
                  </a:cxn>
                </a:cxnLst>
                <a:rect l="0" t="0" r="r" b="b"/>
                <a:pathLst>
                  <a:path w="438" h="172">
                    <a:moveTo>
                      <a:pt x="400" y="166"/>
                    </a:moveTo>
                    <a:lnTo>
                      <a:pt x="400" y="166"/>
                    </a:lnTo>
                    <a:lnTo>
                      <a:pt x="410" y="162"/>
                    </a:lnTo>
                    <a:lnTo>
                      <a:pt x="416" y="160"/>
                    </a:lnTo>
                    <a:lnTo>
                      <a:pt x="426" y="160"/>
                    </a:lnTo>
                    <a:lnTo>
                      <a:pt x="432" y="162"/>
                    </a:lnTo>
                    <a:lnTo>
                      <a:pt x="436" y="156"/>
                    </a:lnTo>
                    <a:lnTo>
                      <a:pt x="436" y="156"/>
                    </a:lnTo>
                    <a:lnTo>
                      <a:pt x="438" y="152"/>
                    </a:lnTo>
                    <a:lnTo>
                      <a:pt x="438" y="150"/>
                    </a:lnTo>
                    <a:lnTo>
                      <a:pt x="434" y="150"/>
                    </a:lnTo>
                    <a:lnTo>
                      <a:pt x="428" y="148"/>
                    </a:lnTo>
                    <a:lnTo>
                      <a:pt x="424" y="146"/>
                    </a:lnTo>
                    <a:lnTo>
                      <a:pt x="420" y="144"/>
                    </a:lnTo>
                    <a:lnTo>
                      <a:pt x="420" y="144"/>
                    </a:lnTo>
                    <a:lnTo>
                      <a:pt x="414" y="136"/>
                    </a:lnTo>
                    <a:lnTo>
                      <a:pt x="410" y="132"/>
                    </a:lnTo>
                    <a:lnTo>
                      <a:pt x="400" y="128"/>
                    </a:lnTo>
                    <a:lnTo>
                      <a:pt x="384" y="126"/>
                    </a:lnTo>
                    <a:lnTo>
                      <a:pt x="384" y="126"/>
                    </a:lnTo>
                    <a:lnTo>
                      <a:pt x="372" y="124"/>
                    </a:lnTo>
                    <a:lnTo>
                      <a:pt x="370" y="124"/>
                    </a:lnTo>
                    <a:lnTo>
                      <a:pt x="372" y="122"/>
                    </a:lnTo>
                    <a:lnTo>
                      <a:pt x="374" y="120"/>
                    </a:lnTo>
                    <a:lnTo>
                      <a:pt x="376" y="116"/>
                    </a:lnTo>
                    <a:lnTo>
                      <a:pt x="376" y="112"/>
                    </a:lnTo>
                    <a:lnTo>
                      <a:pt x="376" y="112"/>
                    </a:lnTo>
                    <a:lnTo>
                      <a:pt x="376" y="108"/>
                    </a:lnTo>
                    <a:lnTo>
                      <a:pt x="374" y="108"/>
                    </a:lnTo>
                    <a:lnTo>
                      <a:pt x="368" y="106"/>
                    </a:lnTo>
                    <a:lnTo>
                      <a:pt x="362" y="106"/>
                    </a:lnTo>
                    <a:lnTo>
                      <a:pt x="358" y="106"/>
                    </a:lnTo>
                    <a:lnTo>
                      <a:pt x="356" y="104"/>
                    </a:lnTo>
                    <a:lnTo>
                      <a:pt x="356" y="104"/>
                    </a:lnTo>
                    <a:lnTo>
                      <a:pt x="352" y="102"/>
                    </a:lnTo>
                    <a:lnTo>
                      <a:pt x="350" y="100"/>
                    </a:lnTo>
                    <a:lnTo>
                      <a:pt x="344" y="102"/>
                    </a:lnTo>
                    <a:lnTo>
                      <a:pt x="340" y="102"/>
                    </a:lnTo>
                    <a:lnTo>
                      <a:pt x="338" y="102"/>
                    </a:lnTo>
                    <a:lnTo>
                      <a:pt x="338" y="100"/>
                    </a:lnTo>
                    <a:lnTo>
                      <a:pt x="338" y="100"/>
                    </a:lnTo>
                    <a:lnTo>
                      <a:pt x="334" y="96"/>
                    </a:lnTo>
                    <a:lnTo>
                      <a:pt x="332" y="94"/>
                    </a:lnTo>
                    <a:lnTo>
                      <a:pt x="326" y="92"/>
                    </a:lnTo>
                    <a:lnTo>
                      <a:pt x="320" y="86"/>
                    </a:lnTo>
                    <a:lnTo>
                      <a:pt x="320" y="86"/>
                    </a:lnTo>
                    <a:lnTo>
                      <a:pt x="304" y="70"/>
                    </a:lnTo>
                    <a:lnTo>
                      <a:pt x="300" y="68"/>
                    </a:lnTo>
                    <a:lnTo>
                      <a:pt x="300" y="70"/>
                    </a:lnTo>
                    <a:lnTo>
                      <a:pt x="300" y="72"/>
                    </a:lnTo>
                    <a:lnTo>
                      <a:pt x="300" y="72"/>
                    </a:lnTo>
                    <a:lnTo>
                      <a:pt x="300" y="76"/>
                    </a:lnTo>
                    <a:lnTo>
                      <a:pt x="300" y="76"/>
                    </a:lnTo>
                    <a:lnTo>
                      <a:pt x="296" y="76"/>
                    </a:lnTo>
                    <a:lnTo>
                      <a:pt x="294" y="70"/>
                    </a:lnTo>
                    <a:lnTo>
                      <a:pt x="292" y="64"/>
                    </a:lnTo>
                    <a:lnTo>
                      <a:pt x="292" y="64"/>
                    </a:lnTo>
                    <a:lnTo>
                      <a:pt x="292" y="62"/>
                    </a:lnTo>
                    <a:lnTo>
                      <a:pt x="292" y="60"/>
                    </a:lnTo>
                    <a:lnTo>
                      <a:pt x="286" y="60"/>
                    </a:lnTo>
                    <a:lnTo>
                      <a:pt x="276" y="56"/>
                    </a:lnTo>
                    <a:lnTo>
                      <a:pt x="268" y="54"/>
                    </a:lnTo>
                    <a:lnTo>
                      <a:pt x="260" y="48"/>
                    </a:lnTo>
                    <a:lnTo>
                      <a:pt x="260" y="48"/>
                    </a:lnTo>
                    <a:lnTo>
                      <a:pt x="252" y="42"/>
                    </a:lnTo>
                    <a:lnTo>
                      <a:pt x="244" y="40"/>
                    </a:lnTo>
                    <a:lnTo>
                      <a:pt x="234" y="40"/>
                    </a:lnTo>
                    <a:lnTo>
                      <a:pt x="230" y="40"/>
                    </a:lnTo>
                    <a:lnTo>
                      <a:pt x="226" y="38"/>
                    </a:lnTo>
                    <a:lnTo>
                      <a:pt x="220" y="34"/>
                    </a:lnTo>
                    <a:lnTo>
                      <a:pt x="216" y="28"/>
                    </a:lnTo>
                    <a:lnTo>
                      <a:pt x="216" y="28"/>
                    </a:lnTo>
                    <a:lnTo>
                      <a:pt x="210" y="20"/>
                    </a:lnTo>
                    <a:lnTo>
                      <a:pt x="204" y="16"/>
                    </a:lnTo>
                    <a:lnTo>
                      <a:pt x="200" y="14"/>
                    </a:lnTo>
                    <a:lnTo>
                      <a:pt x="194" y="14"/>
                    </a:lnTo>
                    <a:lnTo>
                      <a:pt x="186" y="14"/>
                    </a:lnTo>
                    <a:lnTo>
                      <a:pt x="182" y="12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76" y="6"/>
                    </a:lnTo>
                    <a:lnTo>
                      <a:pt x="174" y="4"/>
                    </a:lnTo>
                    <a:lnTo>
                      <a:pt x="168" y="6"/>
                    </a:lnTo>
                    <a:lnTo>
                      <a:pt x="164" y="8"/>
                    </a:lnTo>
                    <a:lnTo>
                      <a:pt x="160" y="6"/>
                    </a:lnTo>
                    <a:lnTo>
                      <a:pt x="156" y="4"/>
                    </a:lnTo>
                    <a:lnTo>
                      <a:pt x="156" y="4"/>
                    </a:lnTo>
                    <a:lnTo>
                      <a:pt x="150" y="0"/>
                    </a:lnTo>
                    <a:lnTo>
                      <a:pt x="148" y="2"/>
                    </a:lnTo>
                    <a:lnTo>
                      <a:pt x="146" y="2"/>
                    </a:lnTo>
                    <a:lnTo>
                      <a:pt x="142" y="4"/>
                    </a:lnTo>
                    <a:lnTo>
                      <a:pt x="136" y="4"/>
                    </a:lnTo>
                    <a:lnTo>
                      <a:pt x="126" y="2"/>
                    </a:lnTo>
                    <a:lnTo>
                      <a:pt x="126" y="2"/>
                    </a:lnTo>
                    <a:lnTo>
                      <a:pt x="118" y="0"/>
                    </a:lnTo>
                    <a:lnTo>
                      <a:pt x="112" y="0"/>
                    </a:lnTo>
                    <a:lnTo>
                      <a:pt x="108" y="2"/>
                    </a:lnTo>
                    <a:lnTo>
                      <a:pt x="104" y="4"/>
                    </a:lnTo>
                    <a:lnTo>
                      <a:pt x="98" y="8"/>
                    </a:lnTo>
                    <a:lnTo>
                      <a:pt x="9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68" y="14"/>
                    </a:lnTo>
                    <a:lnTo>
                      <a:pt x="56" y="18"/>
                    </a:lnTo>
                    <a:lnTo>
                      <a:pt x="44" y="22"/>
                    </a:lnTo>
                    <a:lnTo>
                      <a:pt x="36" y="28"/>
                    </a:lnTo>
                    <a:lnTo>
                      <a:pt x="28" y="34"/>
                    </a:lnTo>
                    <a:lnTo>
                      <a:pt x="24" y="42"/>
                    </a:lnTo>
                    <a:lnTo>
                      <a:pt x="22" y="48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2" y="60"/>
                    </a:lnTo>
                    <a:lnTo>
                      <a:pt x="14" y="62"/>
                    </a:lnTo>
                    <a:lnTo>
                      <a:pt x="4" y="64"/>
                    </a:lnTo>
                    <a:lnTo>
                      <a:pt x="2" y="66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2" y="70"/>
                    </a:lnTo>
                    <a:lnTo>
                      <a:pt x="4" y="72"/>
                    </a:lnTo>
                    <a:lnTo>
                      <a:pt x="8" y="72"/>
                    </a:lnTo>
                    <a:lnTo>
                      <a:pt x="14" y="72"/>
                    </a:lnTo>
                    <a:lnTo>
                      <a:pt x="16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4" y="72"/>
                    </a:lnTo>
                    <a:lnTo>
                      <a:pt x="30" y="68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40" y="62"/>
                    </a:lnTo>
                    <a:lnTo>
                      <a:pt x="42" y="58"/>
                    </a:lnTo>
                    <a:lnTo>
                      <a:pt x="52" y="54"/>
                    </a:lnTo>
                    <a:lnTo>
                      <a:pt x="62" y="48"/>
                    </a:lnTo>
                    <a:lnTo>
                      <a:pt x="70" y="44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4" y="34"/>
                    </a:lnTo>
                    <a:lnTo>
                      <a:pt x="92" y="30"/>
                    </a:lnTo>
                    <a:lnTo>
                      <a:pt x="100" y="28"/>
                    </a:lnTo>
                    <a:lnTo>
                      <a:pt x="108" y="28"/>
                    </a:lnTo>
                    <a:lnTo>
                      <a:pt x="124" y="28"/>
                    </a:lnTo>
                    <a:lnTo>
                      <a:pt x="132" y="32"/>
                    </a:lnTo>
                    <a:lnTo>
                      <a:pt x="132" y="32"/>
                    </a:lnTo>
                    <a:lnTo>
                      <a:pt x="134" y="34"/>
                    </a:lnTo>
                    <a:lnTo>
                      <a:pt x="132" y="36"/>
                    </a:lnTo>
                    <a:lnTo>
                      <a:pt x="124" y="38"/>
                    </a:lnTo>
                    <a:lnTo>
                      <a:pt x="116" y="42"/>
                    </a:lnTo>
                    <a:lnTo>
                      <a:pt x="116" y="44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26" y="52"/>
                    </a:lnTo>
                    <a:lnTo>
                      <a:pt x="134" y="56"/>
                    </a:lnTo>
                    <a:lnTo>
                      <a:pt x="146" y="58"/>
                    </a:lnTo>
                    <a:lnTo>
                      <a:pt x="164" y="58"/>
                    </a:lnTo>
                    <a:lnTo>
                      <a:pt x="164" y="58"/>
                    </a:lnTo>
                    <a:lnTo>
                      <a:pt x="174" y="58"/>
                    </a:lnTo>
                    <a:lnTo>
                      <a:pt x="180" y="60"/>
                    </a:lnTo>
                    <a:lnTo>
                      <a:pt x="186" y="62"/>
                    </a:lnTo>
                    <a:lnTo>
                      <a:pt x="190" y="66"/>
                    </a:lnTo>
                    <a:lnTo>
                      <a:pt x="200" y="74"/>
                    </a:lnTo>
                    <a:lnTo>
                      <a:pt x="206" y="78"/>
                    </a:lnTo>
                    <a:lnTo>
                      <a:pt x="214" y="80"/>
                    </a:lnTo>
                    <a:lnTo>
                      <a:pt x="214" y="80"/>
                    </a:lnTo>
                    <a:lnTo>
                      <a:pt x="222" y="84"/>
                    </a:lnTo>
                    <a:lnTo>
                      <a:pt x="230" y="84"/>
                    </a:lnTo>
                    <a:lnTo>
                      <a:pt x="242" y="84"/>
                    </a:lnTo>
                    <a:lnTo>
                      <a:pt x="246" y="84"/>
                    </a:lnTo>
                    <a:lnTo>
                      <a:pt x="250" y="86"/>
                    </a:lnTo>
                    <a:lnTo>
                      <a:pt x="252" y="88"/>
                    </a:lnTo>
                    <a:lnTo>
                      <a:pt x="256" y="94"/>
                    </a:lnTo>
                    <a:lnTo>
                      <a:pt x="256" y="94"/>
                    </a:lnTo>
                    <a:lnTo>
                      <a:pt x="260" y="106"/>
                    </a:lnTo>
                    <a:lnTo>
                      <a:pt x="266" y="116"/>
                    </a:lnTo>
                    <a:lnTo>
                      <a:pt x="268" y="120"/>
                    </a:lnTo>
                    <a:lnTo>
                      <a:pt x="274" y="124"/>
                    </a:lnTo>
                    <a:lnTo>
                      <a:pt x="280" y="126"/>
                    </a:lnTo>
                    <a:lnTo>
                      <a:pt x="288" y="128"/>
                    </a:lnTo>
                    <a:lnTo>
                      <a:pt x="288" y="128"/>
                    </a:lnTo>
                    <a:lnTo>
                      <a:pt x="304" y="128"/>
                    </a:lnTo>
                    <a:lnTo>
                      <a:pt x="310" y="130"/>
                    </a:lnTo>
                    <a:lnTo>
                      <a:pt x="316" y="134"/>
                    </a:lnTo>
                    <a:lnTo>
                      <a:pt x="318" y="136"/>
                    </a:lnTo>
                    <a:lnTo>
                      <a:pt x="318" y="140"/>
                    </a:lnTo>
                    <a:lnTo>
                      <a:pt x="316" y="144"/>
                    </a:lnTo>
                    <a:lnTo>
                      <a:pt x="310" y="150"/>
                    </a:lnTo>
                    <a:lnTo>
                      <a:pt x="310" y="150"/>
                    </a:lnTo>
                    <a:lnTo>
                      <a:pt x="298" y="158"/>
                    </a:lnTo>
                    <a:lnTo>
                      <a:pt x="292" y="162"/>
                    </a:lnTo>
                    <a:lnTo>
                      <a:pt x="290" y="166"/>
                    </a:lnTo>
                    <a:lnTo>
                      <a:pt x="290" y="168"/>
                    </a:lnTo>
                    <a:lnTo>
                      <a:pt x="296" y="170"/>
                    </a:lnTo>
                    <a:lnTo>
                      <a:pt x="328" y="166"/>
                    </a:lnTo>
                    <a:lnTo>
                      <a:pt x="328" y="166"/>
                    </a:lnTo>
                    <a:lnTo>
                      <a:pt x="348" y="164"/>
                    </a:lnTo>
                    <a:lnTo>
                      <a:pt x="360" y="166"/>
                    </a:lnTo>
                    <a:lnTo>
                      <a:pt x="370" y="166"/>
                    </a:lnTo>
                    <a:lnTo>
                      <a:pt x="376" y="168"/>
                    </a:lnTo>
                    <a:lnTo>
                      <a:pt x="382" y="170"/>
                    </a:lnTo>
                    <a:lnTo>
                      <a:pt x="386" y="172"/>
                    </a:lnTo>
                    <a:lnTo>
                      <a:pt x="392" y="170"/>
                    </a:lnTo>
                    <a:lnTo>
                      <a:pt x="400" y="166"/>
                    </a:lnTo>
                    <a:lnTo>
                      <a:pt x="400" y="16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5" name="Freeform 6084">
                <a:extLst>
                  <a:ext uri="{FF2B5EF4-FFF2-40B4-BE49-F238E27FC236}">
                    <a16:creationId xmlns:a16="http://schemas.microsoft.com/office/drawing/2014/main" id="{A53CD70A-32BB-4927-A541-14980056E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1460" y="3296603"/>
                <a:ext cx="5080" cy="5080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</a:cxnLst>
                <a:rect l="0" t="0" r="r" b="b"/>
                <a:pathLst>
                  <a:path w="8" h="8">
                    <a:moveTo>
                      <a:pt x="0" y="6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6" name="Freeform 6086">
                <a:extLst>
                  <a:ext uri="{FF2B5EF4-FFF2-40B4-BE49-F238E27FC236}">
                    <a16:creationId xmlns:a16="http://schemas.microsoft.com/office/drawing/2014/main" id="{0E3F473E-0FAF-4ED0-82CE-45AD86D723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979" y="1296353"/>
                <a:ext cx="2874010" cy="2354580"/>
              </a:xfrm>
              <a:custGeom>
                <a:avLst/>
                <a:gdLst/>
                <a:ahLst/>
                <a:cxnLst>
                  <a:cxn ang="0">
                    <a:pos x="3400" y="3516"/>
                  </a:cxn>
                  <a:cxn ang="0">
                    <a:pos x="3292" y="3276"/>
                  </a:cxn>
                  <a:cxn ang="0">
                    <a:pos x="3246" y="3102"/>
                  </a:cxn>
                  <a:cxn ang="0">
                    <a:pos x="3116" y="3080"/>
                  </a:cxn>
                  <a:cxn ang="0">
                    <a:pos x="2830" y="2916"/>
                  </a:cxn>
                  <a:cxn ang="0">
                    <a:pos x="3078" y="2572"/>
                  </a:cxn>
                  <a:cxn ang="0">
                    <a:pos x="3134" y="2554"/>
                  </a:cxn>
                  <a:cxn ang="0">
                    <a:pos x="3436" y="2646"/>
                  </a:cxn>
                  <a:cxn ang="0">
                    <a:pos x="3526" y="2642"/>
                  </a:cxn>
                  <a:cxn ang="0">
                    <a:pos x="3686" y="2282"/>
                  </a:cxn>
                  <a:cxn ang="0">
                    <a:pos x="3698" y="2162"/>
                  </a:cxn>
                  <a:cxn ang="0">
                    <a:pos x="3748" y="2092"/>
                  </a:cxn>
                  <a:cxn ang="0">
                    <a:pos x="3924" y="1928"/>
                  </a:cxn>
                  <a:cxn ang="0">
                    <a:pos x="4006" y="1782"/>
                  </a:cxn>
                  <a:cxn ang="0">
                    <a:pos x="4138" y="1824"/>
                  </a:cxn>
                  <a:cxn ang="0">
                    <a:pos x="4150" y="1496"/>
                  </a:cxn>
                  <a:cxn ang="0">
                    <a:pos x="4522" y="1296"/>
                  </a:cxn>
                  <a:cxn ang="0">
                    <a:pos x="4314" y="1090"/>
                  </a:cxn>
                  <a:cxn ang="0">
                    <a:pos x="4060" y="934"/>
                  </a:cxn>
                  <a:cxn ang="0">
                    <a:pos x="3720" y="680"/>
                  </a:cxn>
                  <a:cxn ang="0">
                    <a:pos x="3570" y="1166"/>
                  </a:cxn>
                  <a:cxn ang="0">
                    <a:pos x="3346" y="1132"/>
                  </a:cxn>
                  <a:cxn ang="0">
                    <a:pos x="3060" y="648"/>
                  </a:cxn>
                  <a:cxn ang="0">
                    <a:pos x="3304" y="420"/>
                  </a:cxn>
                  <a:cxn ang="0">
                    <a:pos x="3452" y="258"/>
                  </a:cxn>
                  <a:cxn ang="0">
                    <a:pos x="3282" y="322"/>
                  </a:cxn>
                  <a:cxn ang="0">
                    <a:pos x="3048" y="164"/>
                  </a:cxn>
                  <a:cxn ang="0">
                    <a:pos x="2954" y="232"/>
                  </a:cxn>
                  <a:cxn ang="0">
                    <a:pos x="2726" y="298"/>
                  </a:cxn>
                  <a:cxn ang="0">
                    <a:pos x="2330" y="286"/>
                  </a:cxn>
                  <a:cxn ang="0">
                    <a:pos x="1732" y="136"/>
                  </a:cxn>
                  <a:cxn ang="0">
                    <a:pos x="1406" y="178"/>
                  </a:cxn>
                  <a:cxn ang="0">
                    <a:pos x="636" y="94"/>
                  </a:cxn>
                  <a:cxn ang="0">
                    <a:pos x="54" y="266"/>
                  </a:cxn>
                  <a:cxn ang="0">
                    <a:pos x="28" y="440"/>
                  </a:cxn>
                  <a:cxn ang="0">
                    <a:pos x="270" y="598"/>
                  </a:cxn>
                  <a:cxn ang="0">
                    <a:pos x="246" y="900"/>
                  </a:cxn>
                  <a:cxn ang="0">
                    <a:pos x="218" y="1124"/>
                  </a:cxn>
                  <a:cxn ang="0">
                    <a:pos x="548" y="956"/>
                  </a:cxn>
                  <a:cxn ang="0">
                    <a:pos x="648" y="882"/>
                  </a:cxn>
                  <a:cxn ang="0">
                    <a:pos x="1136" y="842"/>
                  </a:cxn>
                  <a:cxn ang="0">
                    <a:pos x="1412" y="1020"/>
                  </a:cxn>
                  <a:cxn ang="0">
                    <a:pos x="1524" y="1162"/>
                  </a:cxn>
                  <a:cxn ang="0">
                    <a:pos x="1646" y="1306"/>
                  </a:cxn>
                  <a:cxn ang="0">
                    <a:pos x="1750" y="1434"/>
                  </a:cxn>
                  <a:cxn ang="0">
                    <a:pos x="1840" y="1570"/>
                  </a:cxn>
                  <a:cxn ang="0">
                    <a:pos x="1838" y="2170"/>
                  </a:cxn>
                  <a:cxn ang="0">
                    <a:pos x="2146" y="2682"/>
                  </a:cxn>
                  <a:cxn ang="0">
                    <a:pos x="2168" y="2564"/>
                  </a:cxn>
                  <a:cxn ang="0">
                    <a:pos x="2530" y="2998"/>
                  </a:cxn>
                  <a:cxn ang="0">
                    <a:pos x="3202" y="3400"/>
                  </a:cxn>
                  <a:cxn ang="0">
                    <a:pos x="3330" y="3570"/>
                  </a:cxn>
                  <a:cxn ang="0">
                    <a:pos x="3432" y="3656"/>
                  </a:cxn>
                  <a:cxn ang="0">
                    <a:pos x="3562" y="3616"/>
                  </a:cxn>
                  <a:cxn ang="0">
                    <a:pos x="3408" y="1922"/>
                  </a:cxn>
                  <a:cxn ang="0">
                    <a:pos x="3590" y="1870"/>
                  </a:cxn>
                  <a:cxn ang="0">
                    <a:pos x="3578" y="1812"/>
                  </a:cxn>
                  <a:cxn ang="0">
                    <a:pos x="3344" y="1588"/>
                  </a:cxn>
                  <a:cxn ang="0">
                    <a:pos x="3548" y="1750"/>
                  </a:cxn>
                  <a:cxn ang="0">
                    <a:pos x="3418" y="1798"/>
                  </a:cxn>
                  <a:cxn ang="0">
                    <a:pos x="3294" y="1766"/>
                  </a:cxn>
                  <a:cxn ang="0">
                    <a:pos x="3244" y="1726"/>
                  </a:cxn>
                  <a:cxn ang="0">
                    <a:pos x="3258" y="1654"/>
                  </a:cxn>
                </a:cxnLst>
                <a:rect l="0" t="0" r="r" b="b"/>
                <a:pathLst>
                  <a:path w="4526" h="3708">
                    <a:moveTo>
                      <a:pt x="3654" y="3626"/>
                    </a:move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42" y="3614"/>
                    </a:lnTo>
                    <a:lnTo>
                      <a:pt x="3628" y="3600"/>
                    </a:lnTo>
                    <a:lnTo>
                      <a:pt x="3622" y="3596"/>
                    </a:lnTo>
                    <a:lnTo>
                      <a:pt x="3614" y="3592"/>
                    </a:lnTo>
                    <a:lnTo>
                      <a:pt x="3606" y="3590"/>
                    </a:lnTo>
                    <a:lnTo>
                      <a:pt x="3598" y="3588"/>
                    </a:lnTo>
                    <a:lnTo>
                      <a:pt x="3598" y="3588"/>
                    </a:lnTo>
                    <a:lnTo>
                      <a:pt x="3588" y="3590"/>
                    </a:lnTo>
                    <a:lnTo>
                      <a:pt x="3588" y="3588"/>
                    </a:lnTo>
                    <a:lnTo>
                      <a:pt x="3588" y="3588"/>
                    </a:lnTo>
                    <a:lnTo>
                      <a:pt x="3588" y="3586"/>
                    </a:lnTo>
                    <a:lnTo>
                      <a:pt x="3586" y="3584"/>
                    </a:lnTo>
                    <a:lnTo>
                      <a:pt x="3574" y="3582"/>
                    </a:lnTo>
                    <a:lnTo>
                      <a:pt x="3574" y="3582"/>
                    </a:lnTo>
                    <a:lnTo>
                      <a:pt x="3562" y="3582"/>
                    </a:lnTo>
                    <a:lnTo>
                      <a:pt x="3560" y="3582"/>
                    </a:lnTo>
                    <a:lnTo>
                      <a:pt x="3560" y="3584"/>
                    </a:lnTo>
                    <a:lnTo>
                      <a:pt x="3556" y="3590"/>
                    </a:lnTo>
                    <a:lnTo>
                      <a:pt x="3552" y="3594"/>
                    </a:lnTo>
                    <a:lnTo>
                      <a:pt x="3546" y="3598"/>
                    </a:lnTo>
                    <a:lnTo>
                      <a:pt x="3546" y="3598"/>
                    </a:lnTo>
                    <a:lnTo>
                      <a:pt x="3524" y="3608"/>
                    </a:lnTo>
                    <a:lnTo>
                      <a:pt x="3518" y="3612"/>
                    </a:lnTo>
                    <a:lnTo>
                      <a:pt x="3514" y="3616"/>
                    </a:lnTo>
                    <a:lnTo>
                      <a:pt x="3496" y="3622"/>
                    </a:lnTo>
                    <a:lnTo>
                      <a:pt x="3496" y="3622"/>
                    </a:lnTo>
                    <a:lnTo>
                      <a:pt x="3492" y="3622"/>
                    </a:lnTo>
                    <a:lnTo>
                      <a:pt x="3488" y="3620"/>
                    </a:lnTo>
                    <a:lnTo>
                      <a:pt x="3480" y="3612"/>
                    </a:lnTo>
                    <a:lnTo>
                      <a:pt x="3480" y="3612"/>
                    </a:lnTo>
                    <a:lnTo>
                      <a:pt x="3476" y="3608"/>
                    </a:lnTo>
                    <a:lnTo>
                      <a:pt x="3474" y="3604"/>
                    </a:lnTo>
                    <a:lnTo>
                      <a:pt x="3474" y="3604"/>
                    </a:lnTo>
                    <a:lnTo>
                      <a:pt x="3472" y="3602"/>
                    </a:lnTo>
                    <a:lnTo>
                      <a:pt x="3470" y="3602"/>
                    </a:lnTo>
                    <a:lnTo>
                      <a:pt x="3468" y="3604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68" y="3612"/>
                    </a:lnTo>
                    <a:lnTo>
                      <a:pt x="3464" y="3612"/>
                    </a:lnTo>
                    <a:lnTo>
                      <a:pt x="3460" y="3610"/>
                    </a:lnTo>
                    <a:lnTo>
                      <a:pt x="3456" y="3608"/>
                    </a:lnTo>
                    <a:lnTo>
                      <a:pt x="3456" y="3608"/>
                    </a:lnTo>
                    <a:lnTo>
                      <a:pt x="3458" y="3604"/>
                    </a:lnTo>
                    <a:lnTo>
                      <a:pt x="3460" y="3604"/>
                    </a:lnTo>
                    <a:lnTo>
                      <a:pt x="3460" y="3602"/>
                    </a:lnTo>
                    <a:lnTo>
                      <a:pt x="3460" y="3600"/>
                    </a:lnTo>
                    <a:lnTo>
                      <a:pt x="3460" y="3600"/>
                    </a:lnTo>
                    <a:lnTo>
                      <a:pt x="3458" y="3600"/>
                    </a:lnTo>
                    <a:lnTo>
                      <a:pt x="3454" y="3600"/>
                    </a:lnTo>
                    <a:lnTo>
                      <a:pt x="3452" y="3600"/>
                    </a:lnTo>
                    <a:lnTo>
                      <a:pt x="3452" y="3596"/>
                    </a:lnTo>
                    <a:lnTo>
                      <a:pt x="3452" y="3596"/>
                    </a:lnTo>
                    <a:lnTo>
                      <a:pt x="3452" y="3590"/>
                    </a:lnTo>
                    <a:lnTo>
                      <a:pt x="3450" y="3588"/>
                    </a:lnTo>
                    <a:lnTo>
                      <a:pt x="3444" y="3584"/>
                    </a:lnTo>
                    <a:lnTo>
                      <a:pt x="3444" y="3584"/>
                    </a:lnTo>
                    <a:lnTo>
                      <a:pt x="3440" y="3578"/>
                    </a:lnTo>
                    <a:lnTo>
                      <a:pt x="3432" y="3568"/>
                    </a:lnTo>
                    <a:lnTo>
                      <a:pt x="3422" y="3558"/>
                    </a:lnTo>
                    <a:lnTo>
                      <a:pt x="3412" y="3544"/>
                    </a:lnTo>
                    <a:lnTo>
                      <a:pt x="3412" y="3544"/>
                    </a:lnTo>
                    <a:lnTo>
                      <a:pt x="3406" y="3534"/>
                    </a:lnTo>
                    <a:lnTo>
                      <a:pt x="3404" y="3528"/>
                    </a:lnTo>
                    <a:lnTo>
                      <a:pt x="3404" y="3522"/>
                    </a:lnTo>
                    <a:lnTo>
                      <a:pt x="3400" y="3516"/>
                    </a:lnTo>
                    <a:lnTo>
                      <a:pt x="3400" y="3516"/>
                    </a:lnTo>
                    <a:lnTo>
                      <a:pt x="3396" y="3512"/>
                    </a:lnTo>
                    <a:lnTo>
                      <a:pt x="3392" y="3504"/>
                    </a:lnTo>
                    <a:lnTo>
                      <a:pt x="3392" y="3504"/>
                    </a:lnTo>
                    <a:lnTo>
                      <a:pt x="3392" y="3498"/>
                    </a:lnTo>
                    <a:lnTo>
                      <a:pt x="3392" y="3492"/>
                    </a:lnTo>
                    <a:lnTo>
                      <a:pt x="3396" y="3486"/>
                    </a:lnTo>
                    <a:lnTo>
                      <a:pt x="3398" y="3484"/>
                    </a:lnTo>
                    <a:lnTo>
                      <a:pt x="3398" y="3484"/>
                    </a:lnTo>
                    <a:lnTo>
                      <a:pt x="3400" y="3482"/>
                    </a:lnTo>
                    <a:lnTo>
                      <a:pt x="3400" y="3478"/>
                    </a:lnTo>
                    <a:lnTo>
                      <a:pt x="3398" y="3474"/>
                    </a:lnTo>
                    <a:lnTo>
                      <a:pt x="3396" y="3472"/>
                    </a:lnTo>
                    <a:lnTo>
                      <a:pt x="3396" y="3472"/>
                    </a:lnTo>
                    <a:lnTo>
                      <a:pt x="3396" y="3470"/>
                    </a:lnTo>
                    <a:lnTo>
                      <a:pt x="3394" y="3470"/>
                    </a:lnTo>
                    <a:lnTo>
                      <a:pt x="3396" y="3464"/>
                    </a:lnTo>
                    <a:lnTo>
                      <a:pt x="3400" y="3452"/>
                    </a:lnTo>
                    <a:lnTo>
                      <a:pt x="3400" y="3452"/>
                    </a:lnTo>
                    <a:lnTo>
                      <a:pt x="3400" y="3446"/>
                    </a:lnTo>
                    <a:lnTo>
                      <a:pt x="3402" y="3444"/>
                    </a:lnTo>
                    <a:lnTo>
                      <a:pt x="3404" y="3444"/>
                    </a:lnTo>
                    <a:lnTo>
                      <a:pt x="3404" y="3444"/>
                    </a:lnTo>
                    <a:lnTo>
                      <a:pt x="3408" y="3444"/>
                    </a:lnTo>
                    <a:lnTo>
                      <a:pt x="3406" y="3438"/>
                    </a:lnTo>
                    <a:lnTo>
                      <a:pt x="3406" y="3438"/>
                    </a:lnTo>
                    <a:lnTo>
                      <a:pt x="3406" y="3424"/>
                    </a:lnTo>
                    <a:lnTo>
                      <a:pt x="3404" y="3404"/>
                    </a:lnTo>
                    <a:lnTo>
                      <a:pt x="3404" y="3404"/>
                    </a:lnTo>
                    <a:lnTo>
                      <a:pt x="3402" y="3396"/>
                    </a:lnTo>
                    <a:lnTo>
                      <a:pt x="3404" y="3392"/>
                    </a:lnTo>
                    <a:lnTo>
                      <a:pt x="3406" y="3386"/>
                    </a:lnTo>
                    <a:lnTo>
                      <a:pt x="3408" y="3378"/>
                    </a:lnTo>
                    <a:lnTo>
                      <a:pt x="3408" y="3378"/>
                    </a:lnTo>
                    <a:lnTo>
                      <a:pt x="3410" y="3368"/>
                    </a:lnTo>
                    <a:lnTo>
                      <a:pt x="3414" y="3358"/>
                    </a:lnTo>
                    <a:lnTo>
                      <a:pt x="3418" y="3350"/>
                    </a:lnTo>
                    <a:lnTo>
                      <a:pt x="3418" y="3346"/>
                    </a:lnTo>
                    <a:lnTo>
                      <a:pt x="3418" y="3342"/>
                    </a:lnTo>
                    <a:lnTo>
                      <a:pt x="3418" y="3342"/>
                    </a:lnTo>
                    <a:lnTo>
                      <a:pt x="3416" y="3334"/>
                    </a:lnTo>
                    <a:lnTo>
                      <a:pt x="3416" y="3328"/>
                    </a:lnTo>
                    <a:lnTo>
                      <a:pt x="3418" y="3324"/>
                    </a:lnTo>
                    <a:lnTo>
                      <a:pt x="3420" y="3318"/>
                    </a:lnTo>
                    <a:lnTo>
                      <a:pt x="3420" y="3318"/>
                    </a:lnTo>
                    <a:lnTo>
                      <a:pt x="3420" y="3314"/>
                    </a:lnTo>
                    <a:lnTo>
                      <a:pt x="3418" y="3310"/>
                    </a:lnTo>
                    <a:lnTo>
                      <a:pt x="3412" y="3304"/>
                    </a:lnTo>
                    <a:lnTo>
                      <a:pt x="3406" y="3300"/>
                    </a:lnTo>
                    <a:lnTo>
                      <a:pt x="3406" y="3300"/>
                    </a:lnTo>
                    <a:lnTo>
                      <a:pt x="3388" y="3290"/>
                    </a:lnTo>
                    <a:lnTo>
                      <a:pt x="3380" y="3280"/>
                    </a:lnTo>
                    <a:lnTo>
                      <a:pt x="3380" y="3280"/>
                    </a:lnTo>
                    <a:lnTo>
                      <a:pt x="3372" y="3274"/>
                    </a:lnTo>
                    <a:lnTo>
                      <a:pt x="3360" y="3270"/>
                    </a:lnTo>
                    <a:lnTo>
                      <a:pt x="3350" y="3268"/>
                    </a:lnTo>
                    <a:lnTo>
                      <a:pt x="3344" y="3268"/>
                    </a:lnTo>
                    <a:lnTo>
                      <a:pt x="3344" y="3268"/>
                    </a:lnTo>
                    <a:lnTo>
                      <a:pt x="3340" y="3270"/>
                    </a:lnTo>
                    <a:lnTo>
                      <a:pt x="3334" y="3270"/>
                    </a:lnTo>
                    <a:lnTo>
                      <a:pt x="3326" y="3270"/>
                    </a:lnTo>
                    <a:lnTo>
                      <a:pt x="3320" y="3268"/>
                    </a:lnTo>
                    <a:lnTo>
                      <a:pt x="3320" y="3268"/>
                    </a:lnTo>
                    <a:lnTo>
                      <a:pt x="3308" y="3264"/>
                    </a:lnTo>
                    <a:lnTo>
                      <a:pt x="3306" y="3264"/>
                    </a:lnTo>
                    <a:lnTo>
                      <a:pt x="3308" y="3266"/>
                    </a:lnTo>
                    <a:lnTo>
                      <a:pt x="3308" y="3266"/>
                    </a:lnTo>
                    <a:lnTo>
                      <a:pt x="3308" y="3268"/>
                    </a:lnTo>
                    <a:lnTo>
                      <a:pt x="3308" y="3270"/>
                    </a:lnTo>
                    <a:lnTo>
                      <a:pt x="3304" y="3272"/>
                    </a:lnTo>
                    <a:lnTo>
                      <a:pt x="3292" y="3276"/>
                    </a:lnTo>
                    <a:lnTo>
                      <a:pt x="3292" y="3276"/>
                    </a:lnTo>
                    <a:lnTo>
                      <a:pt x="3278" y="3278"/>
                    </a:lnTo>
                    <a:lnTo>
                      <a:pt x="3266" y="3276"/>
                    </a:lnTo>
                    <a:lnTo>
                      <a:pt x="3258" y="3274"/>
                    </a:lnTo>
                    <a:lnTo>
                      <a:pt x="3248" y="3274"/>
                    </a:lnTo>
                    <a:lnTo>
                      <a:pt x="3248" y="3274"/>
                    </a:lnTo>
                    <a:lnTo>
                      <a:pt x="3244" y="3276"/>
                    </a:lnTo>
                    <a:lnTo>
                      <a:pt x="3242" y="3274"/>
                    </a:lnTo>
                    <a:lnTo>
                      <a:pt x="3240" y="3272"/>
                    </a:lnTo>
                    <a:lnTo>
                      <a:pt x="3238" y="3270"/>
                    </a:lnTo>
                    <a:lnTo>
                      <a:pt x="3238" y="3270"/>
                    </a:lnTo>
                    <a:lnTo>
                      <a:pt x="3236" y="3270"/>
                    </a:lnTo>
                    <a:lnTo>
                      <a:pt x="3232" y="3272"/>
                    </a:lnTo>
                    <a:lnTo>
                      <a:pt x="3226" y="3276"/>
                    </a:lnTo>
                    <a:lnTo>
                      <a:pt x="3222" y="3282"/>
                    </a:lnTo>
                    <a:lnTo>
                      <a:pt x="3218" y="3282"/>
                    </a:lnTo>
                    <a:lnTo>
                      <a:pt x="3216" y="3280"/>
                    </a:lnTo>
                    <a:lnTo>
                      <a:pt x="3216" y="3280"/>
                    </a:lnTo>
                    <a:lnTo>
                      <a:pt x="3206" y="3272"/>
                    </a:lnTo>
                    <a:lnTo>
                      <a:pt x="3202" y="3268"/>
                    </a:lnTo>
                    <a:lnTo>
                      <a:pt x="3200" y="3268"/>
                    </a:lnTo>
                    <a:lnTo>
                      <a:pt x="3202" y="3270"/>
                    </a:lnTo>
                    <a:lnTo>
                      <a:pt x="3202" y="3270"/>
                    </a:lnTo>
                    <a:lnTo>
                      <a:pt x="3204" y="3274"/>
                    </a:lnTo>
                    <a:lnTo>
                      <a:pt x="3202" y="3280"/>
                    </a:lnTo>
                    <a:lnTo>
                      <a:pt x="3202" y="3280"/>
                    </a:lnTo>
                    <a:lnTo>
                      <a:pt x="3200" y="3282"/>
                    </a:lnTo>
                    <a:lnTo>
                      <a:pt x="3198" y="3280"/>
                    </a:lnTo>
                    <a:lnTo>
                      <a:pt x="3194" y="3274"/>
                    </a:lnTo>
                    <a:lnTo>
                      <a:pt x="3188" y="3270"/>
                    </a:lnTo>
                    <a:lnTo>
                      <a:pt x="3188" y="3270"/>
                    </a:lnTo>
                    <a:lnTo>
                      <a:pt x="3188" y="3268"/>
                    </a:lnTo>
                    <a:lnTo>
                      <a:pt x="3190" y="3264"/>
                    </a:lnTo>
                    <a:lnTo>
                      <a:pt x="3196" y="3256"/>
                    </a:lnTo>
                    <a:lnTo>
                      <a:pt x="3202" y="3250"/>
                    </a:lnTo>
                    <a:lnTo>
                      <a:pt x="3208" y="3242"/>
                    </a:lnTo>
                    <a:lnTo>
                      <a:pt x="3208" y="3242"/>
                    </a:lnTo>
                    <a:lnTo>
                      <a:pt x="3212" y="3236"/>
                    </a:lnTo>
                    <a:lnTo>
                      <a:pt x="3214" y="3228"/>
                    </a:lnTo>
                    <a:lnTo>
                      <a:pt x="3216" y="3206"/>
                    </a:lnTo>
                    <a:lnTo>
                      <a:pt x="3218" y="3182"/>
                    </a:lnTo>
                    <a:lnTo>
                      <a:pt x="3222" y="3160"/>
                    </a:lnTo>
                    <a:lnTo>
                      <a:pt x="3222" y="3160"/>
                    </a:lnTo>
                    <a:lnTo>
                      <a:pt x="3222" y="3154"/>
                    </a:lnTo>
                    <a:lnTo>
                      <a:pt x="3220" y="3150"/>
                    </a:lnTo>
                    <a:lnTo>
                      <a:pt x="3218" y="3148"/>
                    </a:lnTo>
                    <a:lnTo>
                      <a:pt x="3216" y="3148"/>
                    </a:lnTo>
                    <a:lnTo>
                      <a:pt x="3216" y="3148"/>
                    </a:lnTo>
                    <a:lnTo>
                      <a:pt x="3214" y="3150"/>
                    </a:lnTo>
                    <a:lnTo>
                      <a:pt x="3212" y="3150"/>
                    </a:lnTo>
                    <a:lnTo>
                      <a:pt x="3212" y="3144"/>
                    </a:lnTo>
                    <a:lnTo>
                      <a:pt x="3212" y="3144"/>
                    </a:lnTo>
                    <a:lnTo>
                      <a:pt x="3220" y="3128"/>
                    </a:lnTo>
                    <a:lnTo>
                      <a:pt x="3220" y="3128"/>
                    </a:lnTo>
                    <a:lnTo>
                      <a:pt x="3222" y="3124"/>
                    </a:lnTo>
                    <a:lnTo>
                      <a:pt x="3224" y="3124"/>
                    </a:lnTo>
                    <a:lnTo>
                      <a:pt x="3224" y="3128"/>
                    </a:lnTo>
                    <a:lnTo>
                      <a:pt x="3222" y="3134"/>
                    </a:lnTo>
                    <a:lnTo>
                      <a:pt x="3222" y="3134"/>
                    </a:lnTo>
                    <a:lnTo>
                      <a:pt x="3222" y="3140"/>
                    </a:lnTo>
                    <a:lnTo>
                      <a:pt x="3224" y="3144"/>
                    </a:lnTo>
                    <a:lnTo>
                      <a:pt x="3226" y="3148"/>
                    </a:lnTo>
                    <a:lnTo>
                      <a:pt x="3230" y="3154"/>
                    </a:lnTo>
                    <a:lnTo>
                      <a:pt x="3230" y="3154"/>
                    </a:lnTo>
                    <a:lnTo>
                      <a:pt x="3232" y="3156"/>
                    </a:lnTo>
                    <a:lnTo>
                      <a:pt x="3232" y="3152"/>
                    </a:lnTo>
                    <a:lnTo>
                      <a:pt x="3236" y="3138"/>
                    </a:lnTo>
                    <a:lnTo>
                      <a:pt x="3242" y="3118"/>
                    </a:lnTo>
                    <a:lnTo>
                      <a:pt x="3244" y="3104"/>
                    </a:lnTo>
                    <a:lnTo>
                      <a:pt x="3244" y="3104"/>
                    </a:lnTo>
                    <a:lnTo>
                      <a:pt x="3246" y="3102"/>
                    </a:lnTo>
                    <a:lnTo>
                      <a:pt x="3244" y="3102"/>
                    </a:lnTo>
                    <a:lnTo>
                      <a:pt x="3240" y="3102"/>
                    </a:lnTo>
                    <a:lnTo>
                      <a:pt x="3238" y="3102"/>
                    </a:lnTo>
                    <a:lnTo>
                      <a:pt x="3242" y="3098"/>
                    </a:lnTo>
                    <a:lnTo>
                      <a:pt x="3242" y="3098"/>
                    </a:lnTo>
                    <a:lnTo>
                      <a:pt x="3250" y="3088"/>
                    </a:lnTo>
                    <a:lnTo>
                      <a:pt x="3248" y="3086"/>
                    </a:lnTo>
                    <a:lnTo>
                      <a:pt x="3244" y="3088"/>
                    </a:lnTo>
                    <a:lnTo>
                      <a:pt x="3244" y="3088"/>
                    </a:lnTo>
                    <a:lnTo>
                      <a:pt x="3238" y="3090"/>
                    </a:lnTo>
                    <a:lnTo>
                      <a:pt x="3236" y="3088"/>
                    </a:lnTo>
                    <a:lnTo>
                      <a:pt x="3236" y="3084"/>
                    </a:lnTo>
                    <a:lnTo>
                      <a:pt x="3242" y="3078"/>
                    </a:lnTo>
                    <a:lnTo>
                      <a:pt x="3242" y="3078"/>
                    </a:lnTo>
                    <a:lnTo>
                      <a:pt x="3246" y="3076"/>
                    </a:lnTo>
                    <a:lnTo>
                      <a:pt x="3248" y="3072"/>
                    </a:lnTo>
                    <a:lnTo>
                      <a:pt x="3248" y="3064"/>
                    </a:lnTo>
                    <a:lnTo>
                      <a:pt x="3252" y="3050"/>
                    </a:lnTo>
                    <a:lnTo>
                      <a:pt x="3256" y="3040"/>
                    </a:lnTo>
                    <a:lnTo>
                      <a:pt x="3264" y="3030"/>
                    </a:lnTo>
                    <a:lnTo>
                      <a:pt x="3264" y="3030"/>
                    </a:lnTo>
                    <a:lnTo>
                      <a:pt x="3274" y="3016"/>
                    </a:lnTo>
                    <a:lnTo>
                      <a:pt x="3276" y="3010"/>
                    </a:lnTo>
                    <a:lnTo>
                      <a:pt x="3274" y="3006"/>
                    </a:lnTo>
                    <a:lnTo>
                      <a:pt x="3272" y="3002"/>
                    </a:lnTo>
                    <a:lnTo>
                      <a:pt x="3272" y="3002"/>
                    </a:lnTo>
                    <a:lnTo>
                      <a:pt x="3272" y="2996"/>
                    </a:lnTo>
                    <a:lnTo>
                      <a:pt x="3272" y="2994"/>
                    </a:lnTo>
                    <a:lnTo>
                      <a:pt x="3268" y="2992"/>
                    </a:lnTo>
                    <a:lnTo>
                      <a:pt x="3266" y="2988"/>
                    </a:lnTo>
                    <a:lnTo>
                      <a:pt x="3266" y="2988"/>
                    </a:lnTo>
                    <a:lnTo>
                      <a:pt x="3264" y="2986"/>
                    </a:lnTo>
                    <a:lnTo>
                      <a:pt x="3260" y="2986"/>
                    </a:lnTo>
                    <a:lnTo>
                      <a:pt x="3256" y="2986"/>
                    </a:lnTo>
                    <a:lnTo>
                      <a:pt x="3252" y="2988"/>
                    </a:lnTo>
                    <a:lnTo>
                      <a:pt x="3252" y="2988"/>
                    </a:lnTo>
                    <a:lnTo>
                      <a:pt x="3254" y="2990"/>
                    </a:lnTo>
                    <a:lnTo>
                      <a:pt x="3254" y="2990"/>
                    </a:lnTo>
                    <a:lnTo>
                      <a:pt x="3260" y="2990"/>
                    </a:lnTo>
                    <a:lnTo>
                      <a:pt x="3260" y="2992"/>
                    </a:lnTo>
                    <a:lnTo>
                      <a:pt x="3256" y="2994"/>
                    </a:lnTo>
                    <a:lnTo>
                      <a:pt x="3256" y="2994"/>
                    </a:lnTo>
                    <a:lnTo>
                      <a:pt x="3254" y="2994"/>
                    </a:lnTo>
                    <a:lnTo>
                      <a:pt x="3250" y="2994"/>
                    </a:lnTo>
                    <a:lnTo>
                      <a:pt x="3242" y="2990"/>
                    </a:lnTo>
                    <a:lnTo>
                      <a:pt x="3230" y="2988"/>
                    </a:lnTo>
                    <a:lnTo>
                      <a:pt x="3222" y="2986"/>
                    </a:lnTo>
                    <a:lnTo>
                      <a:pt x="3214" y="2986"/>
                    </a:lnTo>
                    <a:lnTo>
                      <a:pt x="3214" y="2986"/>
                    </a:lnTo>
                    <a:lnTo>
                      <a:pt x="3202" y="2990"/>
                    </a:lnTo>
                    <a:lnTo>
                      <a:pt x="3196" y="2992"/>
                    </a:lnTo>
                    <a:lnTo>
                      <a:pt x="3190" y="2996"/>
                    </a:lnTo>
                    <a:lnTo>
                      <a:pt x="3180" y="2998"/>
                    </a:lnTo>
                    <a:lnTo>
                      <a:pt x="3180" y="2998"/>
                    </a:lnTo>
                    <a:lnTo>
                      <a:pt x="3162" y="3000"/>
                    </a:lnTo>
                    <a:lnTo>
                      <a:pt x="3146" y="3004"/>
                    </a:lnTo>
                    <a:lnTo>
                      <a:pt x="3140" y="3008"/>
                    </a:lnTo>
                    <a:lnTo>
                      <a:pt x="3134" y="3012"/>
                    </a:lnTo>
                    <a:lnTo>
                      <a:pt x="3130" y="3016"/>
                    </a:lnTo>
                    <a:lnTo>
                      <a:pt x="3130" y="3020"/>
                    </a:lnTo>
                    <a:lnTo>
                      <a:pt x="3130" y="3020"/>
                    </a:lnTo>
                    <a:lnTo>
                      <a:pt x="3128" y="3028"/>
                    </a:lnTo>
                    <a:lnTo>
                      <a:pt x="3126" y="3034"/>
                    </a:lnTo>
                    <a:lnTo>
                      <a:pt x="3124" y="3040"/>
                    </a:lnTo>
                    <a:lnTo>
                      <a:pt x="3124" y="3056"/>
                    </a:lnTo>
                    <a:lnTo>
                      <a:pt x="3124" y="3056"/>
                    </a:lnTo>
                    <a:lnTo>
                      <a:pt x="3126" y="3068"/>
                    </a:lnTo>
                    <a:lnTo>
                      <a:pt x="3124" y="3070"/>
                    </a:lnTo>
                    <a:lnTo>
                      <a:pt x="3122" y="3072"/>
                    </a:lnTo>
                    <a:lnTo>
                      <a:pt x="3118" y="3076"/>
                    </a:lnTo>
                    <a:lnTo>
                      <a:pt x="3116" y="3080"/>
                    </a:lnTo>
                    <a:lnTo>
                      <a:pt x="3116" y="3088"/>
                    </a:lnTo>
                    <a:lnTo>
                      <a:pt x="3116" y="3088"/>
                    </a:lnTo>
                    <a:lnTo>
                      <a:pt x="3114" y="3096"/>
                    </a:lnTo>
                    <a:lnTo>
                      <a:pt x="3112" y="3102"/>
                    </a:lnTo>
                    <a:lnTo>
                      <a:pt x="3108" y="3108"/>
                    </a:lnTo>
                    <a:lnTo>
                      <a:pt x="3104" y="3112"/>
                    </a:lnTo>
                    <a:lnTo>
                      <a:pt x="3094" y="3118"/>
                    </a:lnTo>
                    <a:lnTo>
                      <a:pt x="3086" y="3122"/>
                    </a:lnTo>
                    <a:lnTo>
                      <a:pt x="3086" y="3122"/>
                    </a:lnTo>
                    <a:lnTo>
                      <a:pt x="3084" y="3126"/>
                    </a:lnTo>
                    <a:lnTo>
                      <a:pt x="3084" y="3126"/>
                    </a:lnTo>
                    <a:lnTo>
                      <a:pt x="3088" y="3128"/>
                    </a:lnTo>
                    <a:lnTo>
                      <a:pt x="3092" y="3132"/>
                    </a:lnTo>
                    <a:lnTo>
                      <a:pt x="3092" y="3134"/>
                    </a:lnTo>
                    <a:lnTo>
                      <a:pt x="3090" y="3138"/>
                    </a:lnTo>
                    <a:lnTo>
                      <a:pt x="3090" y="3138"/>
                    </a:lnTo>
                    <a:lnTo>
                      <a:pt x="3086" y="3142"/>
                    </a:lnTo>
                    <a:lnTo>
                      <a:pt x="3078" y="3144"/>
                    </a:lnTo>
                    <a:lnTo>
                      <a:pt x="3072" y="3144"/>
                    </a:lnTo>
                    <a:lnTo>
                      <a:pt x="3070" y="3142"/>
                    </a:lnTo>
                    <a:lnTo>
                      <a:pt x="3070" y="3140"/>
                    </a:lnTo>
                    <a:lnTo>
                      <a:pt x="3070" y="3140"/>
                    </a:lnTo>
                    <a:lnTo>
                      <a:pt x="3068" y="3134"/>
                    </a:lnTo>
                    <a:lnTo>
                      <a:pt x="3066" y="3132"/>
                    </a:lnTo>
                    <a:lnTo>
                      <a:pt x="3058" y="3132"/>
                    </a:lnTo>
                    <a:lnTo>
                      <a:pt x="3046" y="3132"/>
                    </a:lnTo>
                    <a:lnTo>
                      <a:pt x="3046" y="3132"/>
                    </a:lnTo>
                    <a:lnTo>
                      <a:pt x="3038" y="3134"/>
                    </a:lnTo>
                    <a:lnTo>
                      <a:pt x="3034" y="3138"/>
                    </a:lnTo>
                    <a:lnTo>
                      <a:pt x="3028" y="3142"/>
                    </a:lnTo>
                    <a:lnTo>
                      <a:pt x="3010" y="3144"/>
                    </a:lnTo>
                    <a:lnTo>
                      <a:pt x="3010" y="3144"/>
                    </a:lnTo>
                    <a:lnTo>
                      <a:pt x="2996" y="3146"/>
                    </a:lnTo>
                    <a:lnTo>
                      <a:pt x="2986" y="3152"/>
                    </a:lnTo>
                    <a:lnTo>
                      <a:pt x="2978" y="3156"/>
                    </a:lnTo>
                    <a:lnTo>
                      <a:pt x="2968" y="3160"/>
                    </a:lnTo>
                    <a:lnTo>
                      <a:pt x="2968" y="3160"/>
                    </a:lnTo>
                    <a:lnTo>
                      <a:pt x="2964" y="3160"/>
                    </a:lnTo>
                    <a:lnTo>
                      <a:pt x="2960" y="3158"/>
                    </a:lnTo>
                    <a:lnTo>
                      <a:pt x="2956" y="3148"/>
                    </a:lnTo>
                    <a:lnTo>
                      <a:pt x="2952" y="3144"/>
                    </a:lnTo>
                    <a:lnTo>
                      <a:pt x="2946" y="3138"/>
                    </a:lnTo>
                    <a:lnTo>
                      <a:pt x="2938" y="3134"/>
                    </a:lnTo>
                    <a:lnTo>
                      <a:pt x="2924" y="3130"/>
                    </a:lnTo>
                    <a:lnTo>
                      <a:pt x="2924" y="3130"/>
                    </a:lnTo>
                    <a:lnTo>
                      <a:pt x="2912" y="3126"/>
                    </a:lnTo>
                    <a:lnTo>
                      <a:pt x="2904" y="3120"/>
                    </a:lnTo>
                    <a:lnTo>
                      <a:pt x="2898" y="3112"/>
                    </a:lnTo>
                    <a:lnTo>
                      <a:pt x="2894" y="3102"/>
                    </a:lnTo>
                    <a:lnTo>
                      <a:pt x="2884" y="3076"/>
                    </a:lnTo>
                    <a:lnTo>
                      <a:pt x="2876" y="3062"/>
                    </a:lnTo>
                    <a:lnTo>
                      <a:pt x="2864" y="3046"/>
                    </a:lnTo>
                    <a:lnTo>
                      <a:pt x="2864" y="3046"/>
                    </a:lnTo>
                    <a:lnTo>
                      <a:pt x="2858" y="3036"/>
                    </a:lnTo>
                    <a:lnTo>
                      <a:pt x="2852" y="3028"/>
                    </a:lnTo>
                    <a:lnTo>
                      <a:pt x="2848" y="3010"/>
                    </a:lnTo>
                    <a:lnTo>
                      <a:pt x="2844" y="2998"/>
                    </a:lnTo>
                    <a:lnTo>
                      <a:pt x="2844" y="2994"/>
                    </a:lnTo>
                    <a:lnTo>
                      <a:pt x="2842" y="2992"/>
                    </a:lnTo>
                    <a:lnTo>
                      <a:pt x="2842" y="2992"/>
                    </a:lnTo>
                    <a:lnTo>
                      <a:pt x="2838" y="2990"/>
                    </a:lnTo>
                    <a:lnTo>
                      <a:pt x="2836" y="2988"/>
                    </a:lnTo>
                    <a:lnTo>
                      <a:pt x="2834" y="2976"/>
                    </a:lnTo>
                    <a:lnTo>
                      <a:pt x="2830" y="2948"/>
                    </a:lnTo>
                    <a:lnTo>
                      <a:pt x="2830" y="2948"/>
                    </a:lnTo>
                    <a:lnTo>
                      <a:pt x="2830" y="2938"/>
                    </a:lnTo>
                    <a:lnTo>
                      <a:pt x="2828" y="2934"/>
                    </a:lnTo>
                    <a:lnTo>
                      <a:pt x="2828" y="2932"/>
                    </a:lnTo>
                    <a:lnTo>
                      <a:pt x="2830" y="2926"/>
                    </a:lnTo>
                    <a:lnTo>
                      <a:pt x="2830" y="2926"/>
                    </a:lnTo>
                    <a:lnTo>
                      <a:pt x="2830" y="2916"/>
                    </a:lnTo>
                    <a:lnTo>
                      <a:pt x="2830" y="2906"/>
                    </a:lnTo>
                    <a:lnTo>
                      <a:pt x="2830" y="2886"/>
                    </a:lnTo>
                    <a:lnTo>
                      <a:pt x="2834" y="2854"/>
                    </a:lnTo>
                    <a:lnTo>
                      <a:pt x="2834" y="2854"/>
                    </a:lnTo>
                    <a:lnTo>
                      <a:pt x="2840" y="2820"/>
                    </a:lnTo>
                    <a:lnTo>
                      <a:pt x="2846" y="2800"/>
                    </a:lnTo>
                    <a:lnTo>
                      <a:pt x="2852" y="2784"/>
                    </a:lnTo>
                    <a:lnTo>
                      <a:pt x="2856" y="2766"/>
                    </a:lnTo>
                    <a:lnTo>
                      <a:pt x="2856" y="2766"/>
                    </a:lnTo>
                    <a:lnTo>
                      <a:pt x="2854" y="2748"/>
                    </a:lnTo>
                    <a:lnTo>
                      <a:pt x="2850" y="2728"/>
                    </a:lnTo>
                    <a:lnTo>
                      <a:pt x="2846" y="2710"/>
                    </a:lnTo>
                    <a:lnTo>
                      <a:pt x="2846" y="2696"/>
                    </a:lnTo>
                    <a:lnTo>
                      <a:pt x="2846" y="2696"/>
                    </a:lnTo>
                    <a:lnTo>
                      <a:pt x="2850" y="2686"/>
                    </a:lnTo>
                    <a:lnTo>
                      <a:pt x="2854" y="2678"/>
                    </a:lnTo>
                    <a:lnTo>
                      <a:pt x="2858" y="2672"/>
                    </a:lnTo>
                    <a:lnTo>
                      <a:pt x="2864" y="2662"/>
                    </a:lnTo>
                    <a:lnTo>
                      <a:pt x="2864" y="2662"/>
                    </a:lnTo>
                    <a:lnTo>
                      <a:pt x="2866" y="2658"/>
                    </a:lnTo>
                    <a:lnTo>
                      <a:pt x="2870" y="2654"/>
                    </a:lnTo>
                    <a:lnTo>
                      <a:pt x="2880" y="2646"/>
                    </a:lnTo>
                    <a:lnTo>
                      <a:pt x="2886" y="2642"/>
                    </a:lnTo>
                    <a:lnTo>
                      <a:pt x="2888" y="2640"/>
                    </a:lnTo>
                    <a:lnTo>
                      <a:pt x="2886" y="2638"/>
                    </a:lnTo>
                    <a:lnTo>
                      <a:pt x="2886" y="2638"/>
                    </a:lnTo>
                    <a:lnTo>
                      <a:pt x="2880" y="2628"/>
                    </a:lnTo>
                    <a:lnTo>
                      <a:pt x="2878" y="2626"/>
                    </a:lnTo>
                    <a:lnTo>
                      <a:pt x="2882" y="2628"/>
                    </a:lnTo>
                    <a:lnTo>
                      <a:pt x="2882" y="2628"/>
                    </a:lnTo>
                    <a:lnTo>
                      <a:pt x="2886" y="2628"/>
                    </a:lnTo>
                    <a:lnTo>
                      <a:pt x="2890" y="2628"/>
                    </a:lnTo>
                    <a:lnTo>
                      <a:pt x="2892" y="2626"/>
                    </a:lnTo>
                    <a:lnTo>
                      <a:pt x="2894" y="2628"/>
                    </a:lnTo>
                    <a:lnTo>
                      <a:pt x="2894" y="2628"/>
                    </a:lnTo>
                    <a:lnTo>
                      <a:pt x="2896" y="2628"/>
                    </a:lnTo>
                    <a:lnTo>
                      <a:pt x="2902" y="2628"/>
                    </a:lnTo>
                    <a:lnTo>
                      <a:pt x="2912" y="2624"/>
                    </a:lnTo>
                    <a:lnTo>
                      <a:pt x="2926" y="2616"/>
                    </a:lnTo>
                    <a:lnTo>
                      <a:pt x="2936" y="2606"/>
                    </a:lnTo>
                    <a:lnTo>
                      <a:pt x="2936" y="2606"/>
                    </a:lnTo>
                    <a:lnTo>
                      <a:pt x="2942" y="2600"/>
                    </a:lnTo>
                    <a:lnTo>
                      <a:pt x="2948" y="2594"/>
                    </a:lnTo>
                    <a:lnTo>
                      <a:pt x="2964" y="2584"/>
                    </a:lnTo>
                    <a:lnTo>
                      <a:pt x="2964" y="2584"/>
                    </a:lnTo>
                    <a:lnTo>
                      <a:pt x="2980" y="2572"/>
                    </a:lnTo>
                    <a:lnTo>
                      <a:pt x="2990" y="2570"/>
                    </a:lnTo>
                    <a:lnTo>
                      <a:pt x="3006" y="2568"/>
                    </a:lnTo>
                    <a:lnTo>
                      <a:pt x="3006" y="2568"/>
                    </a:lnTo>
                    <a:lnTo>
                      <a:pt x="3014" y="2568"/>
                    </a:lnTo>
                    <a:lnTo>
                      <a:pt x="3020" y="2570"/>
                    </a:lnTo>
                    <a:lnTo>
                      <a:pt x="3032" y="2574"/>
                    </a:lnTo>
                    <a:lnTo>
                      <a:pt x="3040" y="2580"/>
                    </a:lnTo>
                    <a:lnTo>
                      <a:pt x="3046" y="2580"/>
                    </a:lnTo>
                    <a:lnTo>
                      <a:pt x="3050" y="2580"/>
                    </a:lnTo>
                    <a:lnTo>
                      <a:pt x="3050" y="2580"/>
                    </a:lnTo>
                    <a:lnTo>
                      <a:pt x="3060" y="2578"/>
                    </a:lnTo>
                    <a:lnTo>
                      <a:pt x="3064" y="2580"/>
                    </a:lnTo>
                    <a:lnTo>
                      <a:pt x="3068" y="2582"/>
                    </a:lnTo>
                    <a:lnTo>
                      <a:pt x="3072" y="2580"/>
                    </a:lnTo>
                    <a:lnTo>
                      <a:pt x="3072" y="2580"/>
                    </a:lnTo>
                    <a:lnTo>
                      <a:pt x="3074" y="2578"/>
                    </a:lnTo>
                    <a:lnTo>
                      <a:pt x="3072" y="2578"/>
                    </a:lnTo>
                    <a:lnTo>
                      <a:pt x="3066" y="2576"/>
                    </a:lnTo>
                    <a:lnTo>
                      <a:pt x="3058" y="2572"/>
                    </a:lnTo>
                    <a:lnTo>
                      <a:pt x="3058" y="2572"/>
                    </a:lnTo>
                    <a:lnTo>
                      <a:pt x="3060" y="2568"/>
                    </a:lnTo>
                    <a:lnTo>
                      <a:pt x="3060" y="2568"/>
                    </a:lnTo>
                    <a:lnTo>
                      <a:pt x="3068" y="2566"/>
                    </a:lnTo>
                    <a:lnTo>
                      <a:pt x="3074" y="2568"/>
                    </a:lnTo>
                    <a:lnTo>
                      <a:pt x="3078" y="2572"/>
                    </a:lnTo>
                    <a:lnTo>
                      <a:pt x="3082" y="2578"/>
                    </a:lnTo>
                    <a:lnTo>
                      <a:pt x="3082" y="2578"/>
                    </a:lnTo>
                    <a:lnTo>
                      <a:pt x="3084" y="2580"/>
                    </a:lnTo>
                    <a:lnTo>
                      <a:pt x="3086" y="2582"/>
                    </a:lnTo>
                    <a:lnTo>
                      <a:pt x="3092" y="2584"/>
                    </a:lnTo>
                    <a:lnTo>
                      <a:pt x="3096" y="2586"/>
                    </a:lnTo>
                    <a:lnTo>
                      <a:pt x="3094" y="2588"/>
                    </a:lnTo>
                    <a:lnTo>
                      <a:pt x="3092" y="2590"/>
                    </a:lnTo>
                    <a:lnTo>
                      <a:pt x="3092" y="2590"/>
                    </a:lnTo>
                    <a:lnTo>
                      <a:pt x="3092" y="2594"/>
                    </a:lnTo>
                    <a:lnTo>
                      <a:pt x="3094" y="2596"/>
                    </a:lnTo>
                    <a:lnTo>
                      <a:pt x="3102" y="2600"/>
                    </a:lnTo>
                    <a:lnTo>
                      <a:pt x="3112" y="2600"/>
                    </a:lnTo>
                    <a:lnTo>
                      <a:pt x="3118" y="2600"/>
                    </a:lnTo>
                    <a:lnTo>
                      <a:pt x="3118" y="2600"/>
                    </a:lnTo>
                    <a:lnTo>
                      <a:pt x="3120" y="2596"/>
                    </a:lnTo>
                    <a:lnTo>
                      <a:pt x="3126" y="2594"/>
                    </a:lnTo>
                    <a:lnTo>
                      <a:pt x="3130" y="2594"/>
                    </a:lnTo>
                    <a:lnTo>
                      <a:pt x="3134" y="2600"/>
                    </a:lnTo>
                    <a:lnTo>
                      <a:pt x="3134" y="2600"/>
                    </a:lnTo>
                    <a:lnTo>
                      <a:pt x="3136" y="2602"/>
                    </a:lnTo>
                    <a:lnTo>
                      <a:pt x="3138" y="2604"/>
                    </a:lnTo>
                    <a:lnTo>
                      <a:pt x="3142" y="2602"/>
                    </a:lnTo>
                    <a:lnTo>
                      <a:pt x="3144" y="2596"/>
                    </a:lnTo>
                    <a:lnTo>
                      <a:pt x="3144" y="2592"/>
                    </a:lnTo>
                    <a:lnTo>
                      <a:pt x="3142" y="2588"/>
                    </a:lnTo>
                    <a:lnTo>
                      <a:pt x="3142" y="2588"/>
                    </a:lnTo>
                    <a:lnTo>
                      <a:pt x="3142" y="2584"/>
                    </a:lnTo>
                    <a:lnTo>
                      <a:pt x="3146" y="2584"/>
                    </a:lnTo>
                    <a:lnTo>
                      <a:pt x="3152" y="2586"/>
                    </a:lnTo>
                    <a:lnTo>
                      <a:pt x="3160" y="2594"/>
                    </a:lnTo>
                    <a:lnTo>
                      <a:pt x="3160" y="2594"/>
                    </a:lnTo>
                    <a:lnTo>
                      <a:pt x="3166" y="2602"/>
                    </a:lnTo>
                    <a:lnTo>
                      <a:pt x="3168" y="2608"/>
                    </a:lnTo>
                    <a:lnTo>
                      <a:pt x="3168" y="2610"/>
                    </a:lnTo>
                    <a:lnTo>
                      <a:pt x="3170" y="2610"/>
                    </a:lnTo>
                    <a:lnTo>
                      <a:pt x="3176" y="2606"/>
                    </a:lnTo>
                    <a:lnTo>
                      <a:pt x="3176" y="2606"/>
                    </a:lnTo>
                    <a:lnTo>
                      <a:pt x="3180" y="2602"/>
                    </a:lnTo>
                    <a:lnTo>
                      <a:pt x="3182" y="2600"/>
                    </a:lnTo>
                    <a:lnTo>
                      <a:pt x="3182" y="2596"/>
                    </a:lnTo>
                    <a:lnTo>
                      <a:pt x="3180" y="2594"/>
                    </a:lnTo>
                    <a:lnTo>
                      <a:pt x="3174" y="2590"/>
                    </a:lnTo>
                    <a:lnTo>
                      <a:pt x="3162" y="2584"/>
                    </a:lnTo>
                    <a:lnTo>
                      <a:pt x="3162" y="2584"/>
                    </a:lnTo>
                    <a:lnTo>
                      <a:pt x="3158" y="2580"/>
                    </a:lnTo>
                    <a:lnTo>
                      <a:pt x="3158" y="2578"/>
                    </a:lnTo>
                    <a:lnTo>
                      <a:pt x="3160" y="2576"/>
                    </a:lnTo>
                    <a:lnTo>
                      <a:pt x="3164" y="2574"/>
                    </a:lnTo>
                    <a:lnTo>
                      <a:pt x="3170" y="2568"/>
                    </a:lnTo>
                    <a:lnTo>
                      <a:pt x="3172" y="2564"/>
                    </a:lnTo>
                    <a:lnTo>
                      <a:pt x="3172" y="2560"/>
                    </a:lnTo>
                    <a:lnTo>
                      <a:pt x="3172" y="2560"/>
                    </a:lnTo>
                    <a:lnTo>
                      <a:pt x="3170" y="2556"/>
                    </a:lnTo>
                    <a:lnTo>
                      <a:pt x="3168" y="2556"/>
                    </a:lnTo>
                    <a:lnTo>
                      <a:pt x="3164" y="2558"/>
                    </a:lnTo>
                    <a:lnTo>
                      <a:pt x="3160" y="2562"/>
                    </a:lnTo>
                    <a:lnTo>
                      <a:pt x="3158" y="2562"/>
                    </a:lnTo>
                    <a:lnTo>
                      <a:pt x="3156" y="2562"/>
                    </a:lnTo>
                    <a:lnTo>
                      <a:pt x="3156" y="2562"/>
                    </a:lnTo>
                    <a:lnTo>
                      <a:pt x="3154" y="2560"/>
                    </a:lnTo>
                    <a:lnTo>
                      <a:pt x="3154" y="2558"/>
                    </a:lnTo>
                    <a:lnTo>
                      <a:pt x="3156" y="2556"/>
                    </a:lnTo>
                    <a:lnTo>
                      <a:pt x="3158" y="2552"/>
                    </a:lnTo>
                    <a:lnTo>
                      <a:pt x="3154" y="2550"/>
                    </a:lnTo>
                    <a:lnTo>
                      <a:pt x="3154" y="2550"/>
                    </a:lnTo>
                    <a:lnTo>
                      <a:pt x="3148" y="2550"/>
                    </a:lnTo>
                    <a:lnTo>
                      <a:pt x="3144" y="2554"/>
                    </a:lnTo>
                    <a:lnTo>
                      <a:pt x="3142" y="2556"/>
                    </a:lnTo>
                    <a:lnTo>
                      <a:pt x="3134" y="2554"/>
                    </a:lnTo>
                    <a:lnTo>
                      <a:pt x="3134" y="2554"/>
                    </a:lnTo>
                    <a:lnTo>
                      <a:pt x="3130" y="2550"/>
                    </a:lnTo>
                    <a:lnTo>
                      <a:pt x="3128" y="2548"/>
                    </a:lnTo>
                    <a:lnTo>
                      <a:pt x="3128" y="2544"/>
                    </a:lnTo>
                    <a:lnTo>
                      <a:pt x="3130" y="2540"/>
                    </a:lnTo>
                    <a:lnTo>
                      <a:pt x="3132" y="2538"/>
                    </a:lnTo>
                    <a:lnTo>
                      <a:pt x="3136" y="2536"/>
                    </a:lnTo>
                    <a:lnTo>
                      <a:pt x="3142" y="2536"/>
                    </a:lnTo>
                    <a:lnTo>
                      <a:pt x="3148" y="2538"/>
                    </a:lnTo>
                    <a:lnTo>
                      <a:pt x="3148" y="2538"/>
                    </a:lnTo>
                    <a:lnTo>
                      <a:pt x="3156" y="2544"/>
                    </a:lnTo>
                    <a:lnTo>
                      <a:pt x="3164" y="2546"/>
                    </a:lnTo>
                    <a:lnTo>
                      <a:pt x="3170" y="2544"/>
                    </a:lnTo>
                    <a:lnTo>
                      <a:pt x="3178" y="2538"/>
                    </a:lnTo>
                    <a:lnTo>
                      <a:pt x="3178" y="2538"/>
                    </a:lnTo>
                    <a:lnTo>
                      <a:pt x="3182" y="2536"/>
                    </a:lnTo>
                    <a:lnTo>
                      <a:pt x="3190" y="2536"/>
                    </a:lnTo>
                    <a:lnTo>
                      <a:pt x="3202" y="2536"/>
                    </a:lnTo>
                    <a:lnTo>
                      <a:pt x="3214" y="2538"/>
                    </a:lnTo>
                    <a:lnTo>
                      <a:pt x="3218" y="2538"/>
                    </a:lnTo>
                    <a:lnTo>
                      <a:pt x="3220" y="2536"/>
                    </a:lnTo>
                    <a:lnTo>
                      <a:pt x="3220" y="2536"/>
                    </a:lnTo>
                    <a:lnTo>
                      <a:pt x="3222" y="2522"/>
                    </a:lnTo>
                    <a:lnTo>
                      <a:pt x="3224" y="2520"/>
                    </a:lnTo>
                    <a:lnTo>
                      <a:pt x="3226" y="2522"/>
                    </a:lnTo>
                    <a:lnTo>
                      <a:pt x="3232" y="2534"/>
                    </a:lnTo>
                    <a:lnTo>
                      <a:pt x="3232" y="2534"/>
                    </a:lnTo>
                    <a:lnTo>
                      <a:pt x="3232" y="2538"/>
                    </a:lnTo>
                    <a:lnTo>
                      <a:pt x="3230" y="2540"/>
                    </a:lnTo>
                    <a:lnTo>
                      <a:pt x="3226" y="2544"/>
                    </a:lnTo>
                    <a:lnTo>
                      <a:pt x="3224" y="2546"/>
                    </a:lnTo>
                    <a:lnTo>
                      <a:pt x="3234" y="2544"/>
                    </a:lnTo>
                    <a:lnTo>
                      <a:pt x="3234" y="2544"/>
                    </a:lnTo>
                    <a:lnTo>
                      <a:pt x="3268" y="2536"/>
                    </a:lnTo>
                    <a:lnTo>
                      <a:pt x="3282" y="2536"/>
                    </a:lnTo>
                    <a:lnTo>
                      <a:pt x="3296" y="2538"/>
                    </a:lnTo>
                    <a:lnTo>
                      <a:pt x="3296" y="2538"/>
                    </a:lnTo>
                    <a:lnTo>
                      <a:pt x="3312" y="2544"/>
                    </a:lnTo>
                    <a:lnTo>
                      <a:pt x="3318" y="2546"/>
                    </a:lnTo>
                    <a:lnTo>
                      <a:pt x="3320" y="2552"/>
                    </a:lnTo>
                    <a:lnTo>
                      <a:pt x="3320" y="2552"/>
                    </a:lnTo>
                    <a:lnTo>
                      <a:pt x="3324" y="2556"/>
                    </a:lnTo>
                    <a:lnTo>
                      <a:pt x="3326" y="2556"/>
                    </a:lnTo>
                    <a:lnTo>
                      <a:pt x="3330" y="2560"/>
                    </a:lnTo>
                    <a:lnTo>
                      <a:pt x="3330" y="2566"/>
                    </a:lnTo>
                    <a:lnTo>
                      <a:pt x="3330" y="2566"/>
                    </a:lnTo>
                    <a:lnTo>
                      <a:pt x="3332" y="2570"/>
                    </a:lnTo>
                    <a:lnTo>
                      <a:pt x="3336" y="2572"/>
                    </a:lnTo>
                    <a:lnTo>
                      <a:pt x="3340" y="2570"/>
                    </a:lnTo>
                    <a:lnTo>
                      <a:pt x="3346" y="2570"/>
                    </a:lnTo>
                    <a:lnTo>
                      <a:pt x="3360" y="2564"/>
                    </a:lnTo>
                    <a:lnTo>
                      <a:pt x="3368" y="2562"/>
                    </a:lnTo>
                    <a:lnTo>
                      <a:pt x="3368" y="2562"/>
                    </a:lnTo>
                    <a:lnTo>
                      <a:pt x="3370" y="2560"/>
                    </a:lnTo>
                    <a:lnTo>
                      <a:pt x="3372" y="2560"/>
                    </a:lnTo>
                    <a:lnTo>
                      <a:pt x="3372" y="2556"/>
                    </a:lnTo>
                    <a:lnTo>
                      <a:pt x="3376" y="2552"/>
                    </a:lnTo>
                    <a:lnTo>
                      <a:pt x="3382" y="2552"/>
                    </a:lnTo>
                    <a:lnTo>
                      <a:pt x="3382" y="2552"/>
                    </a:lnTo>
                    <a:lnTo>
                      <a:pt x="3388" y="2554"/>
                    </a:lnTo>
                    <a:lnTo>
                      <a:pt x="3394" y="2558"/>
                    </a:lnTo>
                    <a:lnTo>
                      <a:pt x="3406" y="2574"/>
                    </a:lnTo>
                    <a:lnTo>
                      <a:pt x="3418" y="2592"/>
                    </a:lnTo>
                    <a:lnTo>
                      <a:pt x="3424" y="2596"/>
                    </a:lnTo>
                    <a:lnTo>
                      <a:pt x="3428" y="2598"/>
                    </a:lnTo>
                    <a:lnTo>
                      <a:pt x="3428" y="2598"/>
                    </a:lnTo>
                    <a:lnTo>
                      <a:pt x="3432" y="2600"/>
                    </a:lnTo>
                    <a:lnTo>
                      <a:pt x="3434" y="2604"/>
                    </a:lnTo>
                    <a:lnTo>
                      <a:pt x="3438" y="2616"/>
                    </a:lnTo>
                    <a:lnTo>
                      <a:pt x="3440" y="2630"/>
                    </a:lnTo>
                    <a:lnTo>
                      <a:pt x="3436" y="2646"/>
                    </a:lnTo>
                    <a:lnTo>
                      <a:pt x="3436" y="2646"/>
                    </a:lnTo>
                    <a:lnTo>
                      <a:pt x="3434" y="2658"/>
                    </a:lnTo>
                    <a:lnTo>
                      <a:pt x="3434" y="2670"/>
                    </a:lnTo>
                    <a:lnTo>
                      <a:pt x="3436" y="2676"/>
                    </a:lnTo>
                    <a:lnTo>
                      <a:pt x="3438" y="2678"/>
                    </a:lnTo>
                    <a:lnTo>
                      <a:pt x="3440" y="2676"/>
                    </a:lnTo>
                    <a:lnTo>
                      <a:pt x="3440" y="2676"/>
                    </a:lnTo>
                    <a:lnTo>
                      <a:pt x="3446" y="2672"/>
                    </a:lnTo>
                    <a:lnTo>
                      <a:pt x="3450" y="2670"/>
                    </a:lnTo>
                    <a:lnTo>
                      <a:pt x="3450" y="2670"/>
                    </a:lnTo>
                    <a:lnTo>
                      <a:pt x="3452" y="2672"/>
                    </a:lnTo>
                    <a:lnTo>
                      <a:pt x="3448" y="2678"/>
                    </a:lnTo>
                    <a:lnTo>
                      <a:pt x="3448" y="2678"/>
                    </a:lnTo>
                    <a:lnTo>
                      <a:pt x="3444" y="2682"/>
                    </a:lnTo>
                    <a:lnTo>
                      <a:pt x="3444" y="2688"/>
                    </a:lnTo>
                    <a:lnTo>
                      <a:pt x="3446" y="2698"/>
                    </a:lnTo>
                    <a:lnTo>
                      <a:pt x="3450" y="2710"/>
                    </a:lnTo>
                    <a:lnTo>
                      <a:pt x="3456" y="2718"/>
                    </a:lnTo>
                    <a:lnTo>
                      <a:pt x="3456" y="2718"/>
                    </a:lnTo>
                    <a:lnTo>
                      <a:pt x="3458" y="2720"/>
                    </a:lnTo>
                    <a:lnTo>
                      <a:pt x="3460" y="2720"/>
                    </a:lnTo>
                    <a:lnTo>
                      <a:pt x="3462" y="2720"/>
                    </a:lnTo>
                    <a:lnTo>
                      <a:pt x="3462" y="2718"/>
                    </a:lnTo>
                    <a:lnTo>
                      <a:pt x="3462" y="2720"/>
                    </a:lnTo>
                    <a:lnTo>
                      <a:pt x="3464" y="2726"/>
                    </a:lnTo>
                    <a:lnTo>
                      <a:pt x="3464" y="2726"/>
                    </a:lnTo>
                    <a:lnTo>
                      <a:pt x="3466" y="2734"/>
                    </a:lnTo>
                    <a:lnTo>
                      <a:pt x="3470" y="2738"/>
                    </a:lnTo>
                    <a:lnTo>
                      <a:pt x="3474" y="2742"/>
                    </a:lnTo>
                    <a:lnTo>
                      <a:pt x="3476" y="2754"/>
                    </a:lnTo>
                    <a:lnTo>
                      <a:pt x="3476" y="2754"/>
                    </a:lnTo>
                    <a:lnTo>
                      <a:pt x="3478" y="2760"/>
                    </a:lnTo>
                    <a:lnTo>
                      <a:pt x="3480" y="2764"/>
                    </a:lnTo>
                    <a:lnTo>
                      <a:pt x="3484" y="2768"/>
                    </a:lnTo>
                    <a:lnTo>
                      <a:pt x="3486" y="2768"/>
                    </a:lnTo>
                    <a:lnTo>
                      <a:pt x="3492" y="2772"/>
                    </a:lnTo>
                    <a:lnTo>
                      <a:pt x="3496" y="2776"/>
                    </a:lnTo>
                    <a:lnTo>
                      <a:pt x="3498" y="2782"/>
                    </a:lnTo>
                    <a:lnTo>
                      <a:pt x="3498" y="2782"/>
                    </a:lnTo>
                    <a:lnTo>
                      <a:pt x="3500" y="2792"/>
                    </a:lnTo>
                    <a:lnTo>
                      <a:pt x="3504" y="2796"/>
                    </a:lnTo>
                    <a:lnTo>
                      <a:pt x="3506" y="2796"/>
                    </a:lnTo>
                    <a:lnTo>
                      <a:pt x="3504" y="2798"/>
                    </a:lnTo>
                    <a:lnTo>
                      <a:pt x="3504" y="2798"/>
                    </a:lnTo>
                    <a:lnTo>
                      <a:pt x="3502" y="2804"/>
                    </a:lnTo>
                    <a:lnTo>
                      <a:pt x="3504" y="2808"/>
                    </a:lnTo>
                    <a:lnTo>
                      <a:pt x="3508" y="2808"/>
                    </a:lnTo>
                    <a:lnTo>
                      <a:pt x="3518" y="2806"/>
                    </a:lnTo>
                    <a:lnTo>
                      <a:pt x="3518" y="2806"/>
                    </a:lnTo>
                    <a:lnTo>
                      <a:pt x="3522" y="2806"/>
                    </a:lnTo>
                    <a:lnTo>
                      <a:pt x="3524" y="2806"/>
                    </a:lnTo>
                    <a:lnTo>
                      <a:pt x="3526" y="2810"/>
                    </a:lnTo>
                    <a:lnTo>
                      <a:pt x="3526" y="2810"/>
                    </a:lnTo>
                    <a:lnTo>
                      <a:pt x="3530" y="2804"/>
                    </a:lnTo>
                    <a:lnTo>
                      <a:pt x="3530" y="2804"/>
                    </a:lnTo>
                    <a:lnTo>
                      <a:pt x="3534" y="2796"/>
                    </a:lnTo>
                    <a:lnTo>
                      <a:pt x="3536" y="2790"/>
                    </a:lnTo>
                    <a:lnTo>
                      <a:pt x="3536" y="2786"/>
                    </a:lnTo>
                    <a:lnTo>
                      <a:pt x="3540" y="2778"/>
                    </a:lnTo>
                    <a:lnTo>
                      <a:pt x="3540" y="2778"/>
                    </a:lnTo>
                    <a:lnTo>
                      <a:pt x="3544" y="2768"/>
                    </a:lnTo>
                    <a:lnTo>
                      <a:pt x="3544" y="2758"/>
                    </a:lnTo>
                    <a:lnTo>
                      <a:pt x="3544" y="2746"/>
                    </a:lnTo>
                    <a:lnTo>
                      <a:pt x="3546" y="2732"/>
                    </a:lnTo>
                    <a:lnTo>
                      <a:pt x="3546" y="2732"/>
                    </a:lnTo>
                    <a:lnTo>
                      <a:pt x="3546" y="2722"/>
                    </a:lnTo>
                    <a:lnTo>
                      <a:pt x="3544" y="2712"/>
                    </a:lnTo>
                    <a:lnTo>
                      <a:pt x="3536" y="2686"/>
                    </a:lnTo>
                    <a:lnTo>
                      <a:pt x="3526" y="2662"/>
                    </a:lnTo>
                    <a:lnTo>
                      <a:pt x="3526" y="2650"/>
                    </a:lnTo>
                    <a:lnTo>
                      <a:pt x="3526" y="2642"/>
                    </a:lnTo>
                    <a:lnTo>
                      <a:pt x="3526" y="2642"/>
                    </a:lnTo>
                    <a:lnTo>
                      <a:pt x="3526" y="2636"/>
                    </a:lnTo>
                    <a:lnTo>
                      <a:pt x="3524" y="2630"/>
                    </a:lnTo>
                    <a:lnTo>
                      <a:pt x="3514" y="2610"/>
                    </a:lnTo>
                    <a:lnTo>
                      <a:pt x="3506" y="2598"/>
                    </a:lnTo>
                    <a:lnTo>
                      <a:pt x="3500" y="2582"/>
                    </a:lnTo>
                    <a:lnTo>
                      <a:pt x="3496" y="2564"/>
                    </a:lnTo>
                    <a:lnTo>
                      <a:pt x="3492" y="2542"/>
                    </a:lnTo>
                    <a:lnTo>
                      <a:pt x="3492" y="2542"/>
                    </a:lnTo>
                    <a:lnTo>
                      <a:pt x="3490" y="2520"/>
                    </a:lnTo>
                    <a:lnTo>
                      <a:pt x="3492" y="2500"/>
                    </a:lnTo>
                    <a:lnTo>
                      <a:pt x="3496" y="2484"/>
                    </a:lnTo>
                    <a:lnTo>
                      <a:pt x="3502" y="2470"/>
                    </a:lnTo>
                    <a:lnTo>
                      <a:pt x="3508" y="2458"/>
                    </a:lnTo>
                    <a:lnTo>
                      <a:pt x="3514" y="2448"/>
                    </a:lnTo>
                    <a:lnTo>
                      <a:pt x="3524" y="2438"/>
                    </a:lnTo>
                    <a:lnTo>
                      <a:pt x="3524" y="2438"/>
                    </a:lnTo>
                    <a:lnTo>
                      <a:pt x="3528" y="2434"/>
                    </a:lnTo>
                    <a:lnTo>
                      <a:pt x="3528" y="2432"/>
                    </a:lnTo>
                    <a:lnTo>
                      <a:pt x="3528" y="2428"/>
                    </a:lnTo>
                    <a:lnTo>
                      <a:pt x="3528" y="2426"/>
                    </a:lnTo>
                    <a:lnTo>
                      <a:pt x="3528" y="2426"/>
                    </a:lnTo>
                    <a:lnTo>
                      <a:pt x="3536" y="2424"/>
                    </a:lnTo>
                    <a:lnTo>
                      <a:pt x="3536" y="2424"/>
                    </a:lnTo>
                    <a:lnTo>
                      <a:pt x="3542" y="2424"/>
                    </a:lnTo>
                    <a:lnTo>
                      <a:pt x="3548" y="2420"/>
                    </a:lnTo>
                    <a:lnTo>
                      <a:pt x="3556" y="2412"/>
                    </a:lnTo>
                    <a:lnTo>
                      <a:pt x="3564" y="2402"/>
                    </a:lnTo>
                    <a:lnTo>
                      <a:pt x="3568" y="2400"/>
                    </a:lnTo>
                    <a:lnTo>
                      <a:pt x="3570" y="2398"/>
                    </a:lnTo>
                    <a:lnTo>
                      <a:pt x="3570" y="2398"/>
                    </a:lnTo>
                    <a:lnTo>
                      <a:pt x="3574" y="2398"/>
                    </a:lnTo>
                    <a:lnTo>
                      <a:pt x="3576" y="2394"/>
                    </a:lnTo>
                    <a:lnTo>
                      <a:pt x="3580" y="2384"/>
                    </a:lnTo>
                    <a:lnTo>
                      <a:pt x="3588" y="2370"/>
                    </a:lnTo>
                    <a:lnTo>
                      <a:pt x="3592" y="2362"/>
                    </a:lnTo>
                    <a:lnTo>
                      <a:pt x="3600" y="2356"/>
                    </a:lnTo>
                    <a:lnTo>
                      <a:pt x="3600" y="2356"/>
                    </a:lnTo>
                    <a:lnTo>
                      <a:pt x="3606" y="2352"/>
                    </a:lnTo>
                    <a:lnTo>
                      <a:pt x="3612" y="2350"/>
                    </a:lnTo>
                    <a:lnTo>
                      <a:pt x="3624" y="2350"/>
                    </a:lnTo>
                    <a:lnTo>
                      <a:pt x="3628" y="2350"/>
                    </a:lnTo>
                    <a:lnTo>
                      <a:pt x="3630" y="2350"/>
                    </a:lnTo>
                    <a:lnTo>
                      <a:pt x="3634" y="2346"/>
                    </a:lnTo>
                    <a:lnTo>
                      <a:pt x="3636" y="2342"/>
                    </a:lnTo>
                    <a:lnTo>
                      <a:pt x="3636" y="2342"/>
                    </a:lnTo>
                    <a:lnTo>
                      <a:pt x="3638" y="2334"/>
                    </a:lnTo>
                    <a:lnTo>
                      <a:pt x="3642" y="2328"/>
                    </a:lnTo>
                    <a:lnTo>
                      <a:pt x="3654" y="2318"/>
                    </a:lnTo>
                    <a:lnTo>
                      <a:pt x="3666" y="2310"/>
                    </a:lnTo>
                    <a:lnTo>
                      <a:pt x="3680" y="2306"/>
                    </a:lnTo>
                    <a:lnTo>
                      <a:pt x="3680" y="2306"/>
                    </a:lnTo>
                    <a:lnTo>
                      <a:pt x="3690" y="2304"/>
                    </a:lnTo>
                    <a:lnTo>
                      <a:pt x="3696" y="2300"/>
                    </a:lnTo>
                    <a:lnTo>
                      <a:pt x="3698" y="2294"/>
                    </a:lnTo>
                    <a:lnTo>
                      <a:pt x="3698" y="2292"/>
                    </a:lnTo>
                    <a:lnTo>
                      <a:pt x="3696" y="2290"/>
                    </a:lnTo>
                    <a:lnTo>
                      <a:pt x="3696" y="2290"/>
                    </a:lnTo>
                    <a:lnTo>
                      <a:pt x="3694" y="2290"/>
                    </a:lnTo>
                    <a:lnTo>
                      <a:pt x="3690" y="2290"/>
                    </a:lnTo>
                    <a:lnTo>
                      <a:pt x="3686" y="2294"/>
                    </a:lnTo>
                    <a:lnTo>
                      <a:pt x="3680" y="2296"/>
                    </a:lnTo>
                    <a:lnTo>
                      <a:pt x="3676" y="2298"/>
                    </a:lnTo>
                    <a:lnTo>
                      <a:pt x="3674" y="2296"/>
                    </a:lnTo>
                    <a:lnTo>
                      <a:pt x="3674" y="2296"/>
                    </a:lnTo>
                    <a:lnTo>
                      <a:pt x="3672" y="2294"/>
                    </a:lnTo>
                    <a:lnTo>
                      <a:pt x="3674" y="2292"/>
                    </a:lnTo>
                    <a:lnTo>
                      <a:pt x="3680" y="2290"/>
                    </a:lnTo>
                    <a:lnTo>
                      <a:pt x="3682" y="2288"/>
                    </a:lnTo>
                    <a:lnTo>
                      <a:pt x="3684" y="2286"/>
                    </a:lnTo>
                    <a:lnTo>
                      <a:pt x="3684" y="2286"/>
                    </a:lnTo>
                    <a:lnTo>
                      <a:pt x="3686" y="2282"/>
                    </a:lnTo>
                    <a:lnTo>
                      <a:pt x="3684" y="2278"/>
                    </a:lnTo>
                    <a:lnTo>
                      <a:pt x="3678" y="2272"/>
                    </a:lnTo>
                    <a:lnTo>
                      <a:pt x="3676" y="2268"/>
                    </a:lnTo>
                    <a:lnTo>
                      <a:pt x="3682" y="2268"/>
                    </a:lnTo>
                    <a:lnTo>
                      <a:pt x="3682" y="2268"/>
                    </a:lnTo>
                    <a:lnTo>
                      <a:pt x="3692" y="2272"/>
                    </a:lnTo>
                    <a:lnTo>
                      <a:pt x="3696" y="2274"/>
                    </a:lnTo>
                    <a:lnTo>
                      <a:pt x="3698" y="2276"/>
                    </a:lnTo>
                    <a:lnTo>
                      <a:pt x="3700" y="2274"/>
                    </a:lnTo>
                    <a:lnTo>
                      <a:pt x="3706" y="2270"/>
                    </a:lnTo>
                    <a:lnTo>
                      <a:pt x="3706" y="2270"/>
                    </a:lnTo>
                    <a:lnTo>
                      <a:pt x="3710" y="2264"/>
                    </a:lnTo>
                    <a:lnTo>
                      <a:pt x="3714" y="2262"/>
                    </a:lnTo>
                    <a:lnTo>
                      <a:pt x="3716" y="2260"/>
                    </a:lnTo>
                    <a:lnTo>
                      <a:pt x="3718" y="2254"/>
                    </a:lnTo>
                    <a:lnTo>
                      <a:pt x="3718" y="2254"/>
                    </a:lnTo>
                    <a:lnTo>
                      <a:pt x="3720" y="2246"/>
                    </a:lnTo>
                    <a:lnTo>
                      <a:pt x="3718" y="2242"/>
                    </a:lnTo>
                    <a:lnTo>
                      <a:pt x="3714" y="2240"/>
                    </a:lnTo>
                    <a:lnTo>
                      <a:pt x="3710" y="2244"/>
                    </a:lnTo>
                    <a:lnTo>
                      <a:pt x="3710" y="2244"/>
                    </a:lnTo>
                    <a:lnTo>
                      <a:pt x="3708" y="2244"/>
                    </a:lnTo>
                    <a:lnTo>
                      <a:pt x="3708" y="2242"/>
                    </a:lnTo>
                    <a:lnTo>
                      <a:pt x="3704" y="2240"/>
                    </a:lnTo>
                    <a:lnTo>
                      <a:pt x="3694" y="2240"/>
                    </a:lnTo>
                    <a:lnTo>
                      <a:pt x="3694" y="2240"/>
                    </a:lnTo>
                    <a:lnTo>
                      <a:pt x="3684" y="2242"/>
                    </a:lnTo>
                    <a:lnTo>
                      <a:pt x="3678" y="2240"/>
                    </a:lnTo>
                    <a:lnTo>
                      <a:pt x="3678" y="2236"/>
                    </a:lnTo>
                    <a:lnTo>
                      <a:pt x="3678" y="2230"/>
                    </a:lnTo>
                    <a:lnTo>
                      <a:pt x="3678" y="2230"/>
                    </a:lnTo>
                    <a:lnTo>
                      <a:pt x="3678" y="2228"/>
                    </a:lnTo>
                    <a:lnTo>
                      <a:pt x="3678" y="2228"/>
                    </a:lnTo>
                    <a:lnTo>
                      <a:pt x="3680" y="2232"/>
                    </a:lnTo>
                    <a:lnTo>
                      <a:pt x="3684" y="2236"/>
                    </a:lnTo>
                    <a:lnTo>
                      <a:pt x="3686" y="2236"/>
                    </a:lnTo>
                    <a:lnTo>
                      <a:pt x="3690" y="2236"/>
                    </a:lnTo>
                    <a:lnTo>
                      <a:pt x="3696" y="2234"/>
                    </a:lnTo>
                    <a:lnTo>
                      <a:pt x="3696" y="2234"/>
                    </a:lnTo>
                    <a:lnTo>
                      <a:pt x="3704" y="2230"/>
                    </a:lnTo>
                    <a:lnTo>
                      <a:pt x="3708" y="2230"/>
                    </a:lnTo>
                    <a:lnTo>
                      <a:pt x="3714" y="2232"/>
                    </a:lnTo>
                    <a:lnTo>
                      <a:pt x="3718" y="2236"/>
                    </a:lnTo>
                    <a:lnTo>
                      <a:pt x="3724" y="2244"/>
                    </a:lnTo>
                    <a:lnTo>
                      <a:pt x="3726" y="2248"/>
                    </a:lnTo>
                    <a:lnTo>
                      <a:pt x="3728" y="2248"/>
                    </a:lnTo>
                    <a:lnTo>
                      <a:pt x="3728" y="2248"/>
                    </a:lnTo>
                    <a:lnTo>
                      <a:pt x="3728" y="2246"/>
                    </a:lnTo>
                    <a:lnTo>
                      <a:pt x="3728" y="2244"/>
                    </a:lnTo>
                    <a:lnTo>
                      <a:pt x="3724" y="2236"/>
                    </a:lnTo>
                    <a:lnTo>
                      <a:pt x="3718" y="2222"/>
                    </a:lnTo>
                    <a:lnTo>
                      <a:pt x="3712" y="2198"/>
                    </a:lnTo>
                    <a:lnTo>
                      <a:pt x="3712" y="2198"/>
                    </a:lnTo>
                    <a:lnTo>
                      <a:pt x="3708" y="2188"/>
                    </a:lnTo>
                    <a:lnTo>
                      <a:pt x="3706" y="2186"/>
                    </a:lnTo>
                    <a:lnTo>
                      <a:pt x="3704" y="2186"/>
                    </a:lnTo>
                    <a:lnTo>
                      <a:pt x="3700" y="2188"/>
                    </a:lnTo>
                    <a:lnTo>
                      <a:pt x="3694" y="2190"/>
                    </a:lnTo>
                    <a:lnTo>
                      <a:pt x="3694" y="2190"/>
                    </a:lnTo>
                    <a:lnTo>
                      <a:pt x="3692" y="2190"/>
                    </a:lnTo>
                    <a:lnTo>
                      <a:pt x="3692" y="2190"/>
                    </a:lnTo>
                    <a:lnTo>
                      <a:pt x="3696" y="2186"/>
                    </a:lnTo>
                    <a:lnTo>
                      <a:pt x="3698" y="2180"/>
                    </a:lnTo>
                    <a:lnTo>
                      <a:pt x="3698" y="2176"/>
                    </a:lnTo>
                    <a:lnTo>
                      <a:pt x="3694" y="2174"/>
                    </a:lnTo>
                    <a:lnTo>
                      <a:pt x="3694" y="2174"/>
                    </a:lnTo>
                    <a:lnTo>
                      <a:pt x="3690" y="2170"/>
                    </a:lnTo>
                    <a:lnTo>
                      <a:pt x="3692" y="2170"/>
                    </a:lnTo>
                    <a:lnTo>
                      <a:pt x="3696" y="2168"/>
                    </a:lnTo>
                    <a:lnTo>
                      <a:pt x="3698" y="2166"/>
                    </a:lnTo>
                    <a:lnTo>
                      <a:pt x="3698" y="2162"/>
                    </a:lnTo>
                    <a:lnTo>
                      <a:pt x="3698" y="2156"/>
                    </a:lnTo>
                    <a:lnTo>
                      <a:pt x="3698" y="2156"/>
                    </a:lnTo>
                    <a:lnTo>
                      <a:pt x="3696" y="2144"/>
                    </a:lnTo>
                    <a:lnTo>
                      <a:pt x="3696" y="2140"/>
                    </a:lnTo>
                    <a:lnTo>
                      <a:pt x="3696" y="2136"/>
                    </a:lnTo>
                    <a:lnTo>
                      <a:pt x="3690" y="2130"/>
                    </a:lnTo>
                    <a:lnTo>
                      <a:pt x="3690" y="2130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86" y="2122"/>
                    </a:lnTo>
                    <a:lnTo>
                      <a:pt x="3686" y="2122"/>
                    </a:lnTo>
                    <a:lnTo>
                      <a:pt x="3694" y="2126"/>
                    </a:lnTo>
                    <a:lnTo>
                      <a:pt x="3696" y="2124"/>
                    </a:lnTo>
                    <a:lnTo>
                      <a:pt x="3696" y="2124"/>
                    </a:lnTo>
                    <a:lnTo>
                      <a:pt x="3692" y="2108"/>
                    </a:lnTo>
                    <a:lnTo>
                      <a:pt x="3692" y="2108"/>
                    </a:lnTo>
                    <a:lnTo>
                      <a:pt x="3688" y="2092"/>
                    </a:lnTo>
                    <a:lnTo>
                      <a:pt x="3690" y="2076"/>
                    </a:lnTo>
                    <a:lnTo>
                      <a:pt x="3690" y="2076"/>
                    </a:lnTo>
                    <a:lnTo>
                      <a:pt x="3692" y="2064"/>
                    </a:lnTo>
                    <a:lnTo>
                      <a:pt x="3696" y="2058"/>
                    </a:lnTo>
                    <a:lnTo>
                      <a:pt x="3702" y="2054"/>
                    </a:lnTo>
                    <a:lnTo>
                      <a:pt x="3702" y="2054"/>
                    </a:lnTo>
                    <a:lnTo>
                      <a:pt x="3704" y="2050"/>
                    </a:lnTo>
                    <a:lnTo>
                      <a:pt x="3704" y="2052"/>
                    </a:lnTo>
                    <a:lnTo>
                      <a:pt x="3700" y="2058"/>
                    </a:lnTo>
                    <a:lnTo>
                      <a:pt x="3698" y="2064"/>
                    </a:lnTo>
                    <a:lnTo>
                      <a:pt x="3698" y="2064"/>
                    </a:lnTo>
                    <a:lnTo>
                      <a:pt x="3694" y="2076"/>
                    </a:lnTo>
                    <a:lnTo>
                      <a:pt x="3694" y="2082"/>
                    </a:lnTo>
                    <a:lnTo>
                      <a:pt x="3696" y="2086"/>
                    </a:lnTo>
                    <a:lnTo>
                      <a:pt x="3696" y="2086"/>
                    </a:lnTo>
                    <a:lnTo>
                      <a:pt x="3696" y="2088"/>
                    </a:lnTo>
                    <a:lnTo>
                      <a:pt x="3696" y="2090"/>
                    </a:lnTo>
                    <a:lnTo>
                      <a:pt x="3694" y="2094"/>
                    </a:lnTo>
                    <a:lnTo>
                      <a:pt x="3696" y="2098"/>
                    </a:lnTo>
                    <a:lnTo>
                      <a:pt x="3696" y="2098"/>
                    </a:lnTo>
                    <a:lnTo>
                      <a:pt x="3698" y="2104"/>
                    </a:lnTo>
                    <a:lnTo>
                      <a:pt x="3696" y="2106"/>
                    </a:lnTo>
                    <a:lnTo>
                      <a:pt x="3696" y="2110"/>
                    </a:lnTo>
                    <a:lnTo>
                      <a:pt x="3700" y="2114"/>
                    </a:lnTo>
                    <a:lnTo>
                      <a:pt x="3700" y="2114"/>
                    </a:lnTo>
                    <a:lnTo>
                      <a:pt x="3706" y="2116"/>
                    </a:lnTo>
                    <a:lnTo>
                      <a:pt x="3708" y="2116"/>
                    </a:lnTo>
                    <a:lnTo>
                      <a:pt x="3710" y="2116"/>
                    </a:lnTo>
                    <a:lnTo>
                      <a:pt x="3712" y="2120"/>
                    </a:lnTo>
                    <a:lnTo>
                      <a:pt x="3712" y="2120"/>
                    </a:lnTo>
                    <a:lnTo>
                      <a:pt x="3712" y="2126"/>
                    </a:lnTo>
                    <a:lnTo>
                      <a:pt x="3712" y="2130"/>
                    </a:lnTo>
                    <a:lnTo>
                      <a:pt x="3712" y="2134"/>
                    </a:lnTo>
                    <a:lnTo>
                      <a:pt x="3716" y="2136"/>
                    </a:lnTo>
                    <a:lnTo>
                      <a:pt x="3716" y="2136"/>
                    </a:lnTo>
                    <a:lnTo>
                      <a:pt x="3718" y="2138"/>
                    </a:lnTo>
                    <a:lnTo>
                      <a:pt x="3716" y="2142"/>
                    </a:lnTo>
                    <a:lnTo>
                      <a:pt x="3710" y="2154"/>
                    </a:lnTo>
                    <a:lnTo>
                      <a:pt x="3706" y="2166"/>
                    </a:lnTo>
                    <a:lnTo>
                      <a:pt x="3706" y="2172"/>
                    </a:lnTo>
                    <a:lnTo>
                      <a:pt x="3710" y="2176"/>
                    </a:lnTo>
                    <a:lnTo>
                      <a:pt x="3710" y="2176"/>
                    </a:lnTo>
                    <a:lnTo>
                      <a:pt x="3712" y="2176"/>
                    </a:lnTo>
                    <a:lnTo>
                      <a:pt x="3714" y="2172"/>
                    </a:lnTo>
                    <a:lnTo>
                      <a:pt x="3720" y="2158"/>
                    </a:lnTo>
                    <a:lnTo>
                      <a:pt x="3728" y="2138"/>
                    </a:lnTo>
                    <a:lnTo>
                      <a:pt x="3738" y="2122"/>
                    </a:lnTo>
                    <a:lnTo>
                      <a:pt x="3738" y="2122"/>
                    </a:lnTo>
                    <a:lnTo>
                      <a:pt x="3744" y="2114"/>
                    </a:lnTo>
                    <a:lnTo>
                      <a:pt x="3746" y="2108"/>
                    </a:lnTo>
                    <a:lnTo>
                      <a:pt x="3748" y="2102"/>
                    </a:lnTo>
                    <a:lnTo>
                      <a:pt x="3748" y="2096"/>
                    </a:lnTo>
                    <a:lnTo>
                      <a:pt x="3748" y="2092"/>
                    </a:lnTo>
                    <a:lnTo>
                      <a:pt x="3746" y="2088"/>
                    </a:lnTo>
                    <a:lnTo>
                      <a:pt x="3744" y="2086"/>
                    </a:lnTo>
                    <a:lnTo>
                      <a:pt x="3740" y="2086"/>
                    </a:lnTo>
                    <a:lnTo>
                      <a:pt x="3740" y="2086"/>
                    </a:lnTo>
                    <a:lnTo>
                      <a:pt x="3738" y="2084"/>
                    </a:lnTo>
                    <a:lnTo>
                      <a:pt x="3736" y="2082"/>
                    </a:lnTo>
                    <a:lnTo>
                      <a:pt x="3732" y="2074"/>
                    </a:lnTo>
                    <a:lnTo>
                      <a:pt x="3726" y="2054"/>
                    </a:lnTo>
                    <a:lnTo>
                      <a:pt x="3726" y="2054"/>
                    </a:lnTo>
                    <a:lnTo>
                      <a:pt x="3724" y="2044"/>
                    </a:lnTo>
                    <a:lnTo>
                      <a:pt x="3726" y="2036"/>
                    </a:lnTo>
                    <a:lnTo>
                      <a:pt x="3730" y="2030"/>
                    </a:lnTo>
                    <a:lnTo>
                      <a:pt x="3738" y="2024"/>
                    </a:lnTo>
                    <a:lnTo>
                      <a:pt x="3738" y="2024"/>
                    </a:lnTo>
                    <a:lnTo>
                      <a:pt x="3742" y="2024"/>
                    </a:lnTo>
                    <a:lnTo>
                      <a:pt x="3736" y="2030"/>
                    </a:lnTo>
                    <a:lnTo>
                      <a:pt x="3732" y="2034"/>
                    </a:lnTo>
                    <a:lnTo>
                      <a:pt x="3730" y="2040"/>
                    </a:lnTo>
                    <a:lnTo>
                      <a:pt x="3730" y="2046"/>
                    </a:lnTo>
                    <a:lnTo>
                      <a:pt x="3732" y="2054"/>
                    </a:lnTo>
                    <a:lnTo>
                      <a:pt x="3732" y="2054"/>
                    </a:lnTo>
                    <a:lnTo>
                      <a:pt x="3738" y="2060"/>
                    </a:lnTo>
                    <a:lnTo>
                      <a:pt x="3742" y="2062"/>
                    </a:lnTo>
                    <a:lnTo>
                      <a:pt x="3748" y="2064"/>
                    </a:lnTo>
                    <a:lnTo>
                      <a:pt x="3750" y="2066"/>
                    </a:lnTo>
                    <a:lnTo>
                      <a:pt x="3750" y="2072"/>
                    </a:lnTo>
                    <a:lnTo>
                      <a:pt x="3750" y="2072"/>
                    </a:lnTo>
                    <a:lnTo>
                      <a:pt x="3750" y="2078"/>
                    </a:lnTo>
                    <a:lnTo>
                      <a:pt x="3752" y="2078"/>
                    </a:lnTo>
                    <a:lnTo>
                      <a:pt x="3754" y="2078"/>
                    </a:lnTo>
                    <a:lnTo>
                      <a:pt x="3758" y="2074"/>
                    </a:lnTo>
                    <a:lnTo>
                      <a:pt x="3766" y="2062"/>
                    </a:lnTo>
                    <a:lnTo>
                      <a:pt x="3774" y="2048"/>
                    </a:lnTo>
                    <a:lnTo>
                      <a:pt x="3774" y="2048"/>
                    </a:lnTo>
                    <a:lnTo>
                      <a:pt x="3784" y="2030"/>
                    </a:lnTo>
                    <a:lnTo>
                      <a:pt x="3790" y="2014"/>
                    </a:lnTo>
                    <a:lnTo>
                      <a:pt x="3790" y="2008"/>
                    </a:lnTo>
                    <a:lnTo>
                      <a:pt x="3790" y="2002"/>
                    </a:lnTo>
                    <a:lnTo>
                      <a:pt x="3790" y="2000"/>
                    </a:lnTo>
                    <a:lnTo>
                      <a:pt x="3786" y="1998"/>
                    </a:lnTo>
                    <a:lnTo>
                      <a:pt x="3786" y="1998"/>
                    </a:lnTo>
                    <a:lnTo>
                      <a:pt x="3778" y="1996"/>
                    </a:lnTo>
                    <a:lnTo>
                      <a:pt x="3776" y="1996"/>
                    </a:lnTo>
                    <a:lnTo>
                      <a:pt x="3776" y="1994"/>
                    </a:lnTo>
                    <a:lnTo>
                      <a:pt x="3778" y="1988"/>
                    </a:lnTo>
                    <a:lnTo>
                      <a:pt x="3784" y="1980"/>
                    </a:lnTo>
                    <a:lnTo>
                      <a:pt x="3784" y="1980"/>
                    </a:lnTo>
                    <a:lnTo>
                      <a:pt x="3796" y="1972"/>
                    </a:lnTo>
                    <a:lnTo>
                      <a:pt x="3808" y="1962"/>
                    </a:lnTo>
                    <a:lnTo>
                      <a:pt x="3824" y="1956"/>
                    </a:lnTo>
                    <a:lnTo>
                      <a:pt x="3838" y="1950"/>
                    </a:lnTo>
                    <a:lnTo>
                      <a:pt x="3838" y="1950"/>
                    </a:lnTo>
                    <a:lnTo>
                      <a:pt x="3854" y="1948"/>
                    </a:lnTo>
                    <a:lnTo>
                      <a:pt x="3870" y="1946"/>
                    </a:lnTo>
                    <a:lnTo>
                      <a:pt x="3886" y="1944"/>
                    </a:lnTo>
                    <a:lnTo>
                      <a:pt x="3890" y="1944"/>
                    </a:lnTo>
                    <a:lnTo>
                      <a:pt x="3892" y="1940"/>
                    </a:lnTo>
                    <a:lnTo>
                      <a:pt x="3892" y="1940"/>
                    </a:lnTo>
                    <a:lnTo>
                      <a:pt x="3894" y="1926"/>
                    </a:lnTo>
                    <a:lnTo>
                      <a:pt x="3896" y="1924"/>
                    </a:lnTo>
                    <a:lnTo>
                      <a:pt x="3898" y="1928"/>
                    </a:lnTo>
                    <a:lnTo>
                      <a:pt x="3898" y="1928"/>
                    </a:lnTo>
                    <a:lnTo>
                      <a:pt x="3900" y="1936"/>
                    </a:lnTo>
                    <a:lnTo>
                      <a:pt x="3904" y="1940"/>
                    </a:lnTo>
                    <a:lnTo>
                      <a:pt x="3906" y="1940"/>
                    </a:lnTo>
                    <a:lnTo>
                      <a:pt x="3908" y="1940"/>
                    </a:lnTo>
                    <a:lnTo>
                      <a:pt x="3914" y="1932"/>
                    </a:lnTo>
                    <a:lnTo>
                      <a:pt x="3914" y="1932"/>
                    </a:lnTo>
                    <a:lnTo>
                      <a:pt x="3920" y="1928"/>
                    </a:lnTo>
                    <a:lnTo>
                      <a:pt x="3922" y="1926"/>
                    </a:lnTo>
                    <a:lnTo>
                      <a:pt x="3924" y="1928"/>
                    </a:lnTo>
                    <a:lnTo>
                      <a:pt x="3924" y="1930"/>
                    </a:lnTo>
                    <a:lnTo>
                      <a:pt x="3924" y="1936"/>
                    </a:lnTo>
                    <a:lnTo>
                      <a:pt x="3926" y="1936"/>
                    </a:lnTo>
                    <a:lnTo>
                      <a:pt x="3928" y="1934"/>
                    </a:lnTo>
                    <a:lnTo>
                      <a:pt x="3928" y="1934"/>
                    </a:lnTo>
                    <a:lnTo>
                      <a:pt x="3932" y="1932"/>
                    </a:lnTo>
                    <a:lnTo>
                      <a:pt x="3936" y="1930"/>
                    </a:lnTo>
                    <a:lnTo>
                      <a:pt x="3946" y="1930"/>
                    </a:lnTo>
                    <a:lnTo>
                      <a:pt x="3952" y="1928"/>
                    </a:lnTo>
                    <a:lnTo>
                      <a:pt x="3952" y="1924"/>
                    </a:lnTo>
                    <a:lnTo>
                      <a:pt x="3952" y="1920"/>
                    </a:lnTo>
                    <a:lnTo>
                      <a:pt x="3952" y="1920"/>
                    </a:lnTo>
                    <a:lnTo>
                      <a:pt x="3948" y="1906"/>
                    </a:lnTo>
                    <a:lnTo>
                      <a:pt x="3946" y="1904"/>
                    </a:lnTo>
                    <a:lnTo>
                      <a:pt x="3942" y="1904"/>
                    </a:lnTo>
                    <a:lnTo>
                      <a:pt x="3942" y="1904"/>
                    </a:lnTo>
                    <a:lnTo>
                      <a:pt x="3940" y="1904"/>
                    </a:lnTo>
                    <a:lnTo>
                      <a:pt x="3942" y="1906"/>
                    </a:lnTo>
                    <a:lnTo>
                      <a:pt x="3946" y="1908"/>
                    </a:lnTo>
                    <a:lnTo>
                      <a:pt x="3948" y="1914"/>
                    </a:lnTo>
                    <a:lnTo>
                      <a:pt x="3948" y="1914"/>
                    </a:lnTo>
                    <a:lnTo>
                      <a:pt x="3944" y="1920"/>
                    </a:lnTo>
                    <a:lnTo>
                      <a:pt x="3940" y="1924"/>
                    </a:lnTo>
                    <a:lnTo>
                      <a:pt x="3936" y="1926"/>
                    </a:lnTo>
                    <a:lnTo>
                      <a:pt x="3932" y="1926"/>
                    </a:lnTo>
                    <a:lnTo>
                      <a:pt x="3930" y="1922"/>
                    </a:lnTo>
                    <a:lnTo>
                      <a:pt x="3928" y="1918"/>
                    </a:lnTo>
                    <a:lnTo>
                      <a:pt x="3928" y="1918"/>
                    </a:lnTo>
                    <a:lnTo>
                      <a:pt x="3924" y="1908"/>
                    </a:lnTo>
                    <a:lnTo>
                      <a:pt x="3924" y="1902"/>
                    </a:lnTo>
                    <a:lnTo>
                      <a:pt x="3920" y="1896"/>
                    </a:lnTo>
                    <a:lnTo>
                      <a:pt x="3912" y="1894"/>
                    </a:lnTo>
                    <a:lnTo>
                      <a:pt x="3912" y="1894"/>
                    </a:lnTo>
                    <a:lnTo>
                      <a:pt x="3910" y="1894"/>
                    </a:lnTo>
                    <a:lnTo>
                      <a:pt x="3910" y="1892"/>
                    </a:lnTo>
                    <a:lnTo>
                      <a:pt x="3918" y="1884"/>
                    </a:lnTo>
                    <a:lnTo>
                      <a:pt x="3926" y="1876"/>
                    </a:lnTo>
                    <a:lnTo>
                      <a:pt x="3926" y="1874"/>
                    </a:lnTo>
                    <a:lnTo>
                      <a:pt x="3924" y="1872"/>
                    </a:lnTo>
                    <a:lnTo>
                      <a:pt x="3924" y="1872"/>
                    </a:lnTo>
                    <a:lnTo>
                      <a:pt x="3922" y="1868"/>
                    </a:lnTo>
                    <a:lnTo>
                      <a:pt x="3920" y="1864"/>
                    </a:lnTo>
                    <a:lnTo>
                      <a:pt x="3922" y="1850"/>
                    </a:lnTo>
                    <a:lnTo>
                      <a:pt x="3928" y="1836"/>
                    </a:lnTo>
                    <a:lnTo>
                      <a:pt x="3936" y="1826"/>
                    </a:lnTo>
                    <a:lnTo>
                      <a:pt x="3936" y="1826"/>
                    </a:lnTo>
                    <a:lnTo>
                      <a:pt x="3940" y="1820"/>
                    </a:lnTo>
                    <a:lnTo>
                      <a:pt x="3940" y="1816"/>
                    </a:lnTo>
                    <a:lnTo>
                      <a:pt x="3940" y="1814"/>
                    </a:lnTo>
                    <a:lnTo>
                      <a:pt x="3942" y="1810"/>
                    </a:lnTo>
                    <a:lnTo>
                      <a:pt x="3942" y="1810"/>
                    </a:lnTo>
                    <a:lnTo>
                      <a:pt x="3944" y="1808"/>
                    </a:lnTo>
                    <a:lnTo>
                      <a:pt x="3946" y="1808"/>
                    </a:lnTo>
                    <a:lnTo>
                      <a:pt x="3948" y="1812"/>
                    </a:lnTo>
                    <a:lnTo>
                      <a:pt x="3952" y="1814"/>
                    </a:lnTo>
                    <a:lnTo>
                      <a:pt x="3954" y="1814"/>
                    </a:lnTo>
                    <a:lnTo>
                      <a:pt x="3958" y="1812"/>
                    </a:lnTo>
                    <a:lnTo>
                      <a:pt x="3958" y="1812"/>
                    </a:lnTo>
                    <a:lnTo>
                      <a:pt x="3966" y="1806"/>
                    </a:lnTo>
                    <a:lnTo>
                      <a:pt x="3970" y="1802"/>
                    </a:lnTo>
                    <a:lnTo>
                      <a:pt x="3974" y="1800"/>
                    </a:lnTo>
                    <a:lnTo>
                      <a:pt x="3976" y="1800"/>
                    </a:lnTo>
                    <a:lnTo>
                      <a:pt x="3976" y="1800"/>
                    </a:lnTo>
                    <a:lnTo>
                      <a:pt x="3982" y="1798"/>
                    </a:lnTo>
                    <a:lnTo>
                      <a:pt x="3984" y="1796"/>
                    </a:lnTo>
                    <a:lnTo>
                      <a:pt x="3988" y="1786"/>
                    </a:lnTo>
                    <a:lnTo>
                      <a:pt x="3992" y="1778"/>
                    </a:lnTo>
                    <a:lnTo>
                      <a:pt x="3996" y="1776"/>
                    </a:lnTo>
                    <a:lnTo>
                      <a:pt x="4000" y="1778"/>
                    </a:lnTo>
                    <a:lnTo>
                      <a:pt x="4000" y="1778"/>
                    </a:lnTo>
                    <a:lnTo>
                      <a:pt x="4006" y="1782"/>
                    </a:lnTo>
                    <a:lnTo>
                      <a:pt x="4008" y="1780"/>
                    </a:lnTo>
                    <a:lnTo>
                      <a:pt x="4010" y="1780"/>
                    </a:lnTo>
                    <a:lnTo>
                      <a:pt x="4012" y="1776"/>
                    </a:lnTo>
                    <a:lnTo>
                      <a:pt x="4016" y="1772"/>
                    </a:lnTo>
                    <a:lnTo>
                      <a:pt x="4016" y="1772"/>
                    </a:lnTo>
                    <a:lnTo>
                      <a:pt x="4022" y="1772"/>
                    </a:lnTo>
                    <a:lnTo>
                      <a:pt x="4024" y="1774"/>
                    </a:lnTo>
                    <a:lnTo>
                      <a:pt x="4028" y="1776"/>
                    </a:lnTo>
                    <a:lnTo>
                      <a:pt x="4036" y="1772"/>
                    </a:lnTo>
                    <a:lnTo>
                      <a:pt x="4036" y="1772"/>
                    </a:lnTo>
                    <a:lnTo>
                      <a:pt x="4044" y="1766"/>
                    </a:lnTo>
                    <a:lnTo>
                      <a:pt x="4052" y="1764"/>
                    </a:lnTo>
                    <a:lnTo>
                      <a:pt x="4060" y="1762"/>
                    </a:lnTo>
                    <a:lnTo>
                      <a:pt x="4066" y="1756"/>
                    </a:lnTo>
                    <a:lnTo>
                      <a:pt x="4066" y="1756"/>
                    </a:lnTo>
                    <a:lnTo>
                      <a:pt x="4070" y="1752"/>
                    </a:lnTo>
                    <a:lnTo>
                      <a:pt x="4070" y="1748"/>
                    </a:lnTo>
                    <a:lnTo>
                      <a:pt x="4068" y="1746"/>
                    </a:lnTo>
                    <a:lnTo>
                      <a:pt x="4066" y="1742"/>
                    </a:lnTo>
                    <a:lnTo>
                      <a:pt x="4066" y="1742"/>
                    </a:lnTo>
                    <a:lnTo>
                      <a:pt x="4064" y="1736"/>
                    </a:lnTo>
                    <a:lnTo>
                      <a:pt x="4062" y="1734"/>
                    </a:lnTo>
                    <a:lnTo>
                      <a:pt x="4054" y="1730"/>
                    </a:lnTo>
                    <a:lnTo>
                      <a:pt x="4054" y="1730"/>
                    </a:lnTo>
                    <a:lnTo>
                      <a:pt x="4052" y="1726"/>
                    </a:lnTo>
                    <a:lnTo>
                      <a:pt x="4050" y="1718"/>
                    </a:lnTo>
                    <a:lnTo>
                      <a:pt x="4050" y="1704"/>
                    </a:lnTo>
                    <a:lnTo>
                      <a:pt x="4050" y="1704"/>
                    </a:lnTo>
                    <a:lnTo>
                      <a:pt x="4052" y="1706"/>
                    </a:lnTo>
                    <a:lnTo>
                      <a:pt x="4054" y="1708"/>
                    </a:lnTo>
                    <a:lnTo>
                      <a:pt x="4054" y="1716"/>
                    </a:lnTo>
                    <a:lnTo>
                      <a:pt x="4054" y="1716"/>
                    </a:lnTo>
                    <a:lnTo>
                      <a:pt x="4054" y="1720"/>
                    </a:lnTo>
                    <a:lnTo>
                      <a:pt x="4056" y="1724"/>
                    </a:lnTo>
                    <a:lnTo>
                      <a:pt x="4060" y="1728"/>
                    </a:lnTo>
                    <a:lnTo>
                      <a:pt x="4066" y="1730"/>
                    </a:lnTo>
                    <a:lnTo>
                      <a:pt x="4066" y="1730"/>
                    </a:lnTo>
                    <a:lnTo>
                      <a:pt x="4078" y="1734"/>
                    </a:lnTo>
                    <a:lnTo>
                      <a:pt x="4088" y="1734"/>
                    </a:lnTo>
                    <a:lnTo>
                      <a:pt x="4096" y="1734"/>
                    </a:lnTo>
                    <a:lnTo>
                      <a:pt x="4106" y="1732"/>
                    </a:lnTo>
                    <a:lnTo>
                      <a:pt x="4122" y="1724"/>
                    </a:lnTo>
                    <a:lnTo>
                      <a:pt x="4144" y="1714"/>
                    </a:lnTo>
                    <a:lnTo>
                      <a:pt x="4144" y="1714"/>
                    </a:lnTo>
                    <a:lnTo>
                      <a:pt x="4152" y="1708"/>
                    </a:lnTo>
                    <a:lnTo>
                      <a:pt x="4156" y="1708"/>
                    </a:lnTo>
                    <a:lnTo>
                      <a:pt x="4156" y="1708"/>
                    </a:lnTo>
                    <a:lnTo>
                      <a:pt x="4158" y="1712"/>
                    </a:lnTo>
                    <a:lnTo>
                      <a:pt x="4160" y="1714"/>
                    </a:lnTo>
                    <a:lnTo>
                      <a:pt x="4164" y="1718"/>
                    </a:lnTo>
                    <a:lnTo>
                      <a:pt x="4172" y="1718"/>
                    </a:lnTo>
                    <a:lnTo>
                      <a:pt x="4188" y="1716"/>
                    </a:lnTo>
                    <a:lnTo>
                      <a:pt x="4188" y="1716"/>
                    </a:lnTo>
                    <a:lnTo>
                      <a:pt x="4202" y="1716"/>
                    </a:lnTo>
                    <a:lnTo>
                      <a:pt x="4194" y="1720"/>
                    </a:lnTo>
                    <a:lnTo>
                      <a:pt x="4172" y="1728"/>
                    </a:lnTo>
                    <a:lnTo>
                      <a:pt x="4148" y="1740"/>
                    </a:lnTo>
                    <a:lnTo>
                      <a:pt x="4148" y="1740"/>
                    </a:lnTo>
                    <a:lnTo>
                      <a:pt x="4136" y="1746"/>
                    </a:lnTo>
                    <a:lnTo>
                      <a:pt x="4126" y="1754"/>
                    </a:lnTo>
                    <a:lnTo>
                      <a:pt x="4118" y="1762"/>
                    </a:lnTo>
                    <a:lnTo>
                      <a:pt x="4110" y="1770"/>
                    </a:lnTo>
                    <a:lnTo>
                      <a:pt x="4106" y="1780"/>
                    </a:lnTo>
                    <a:lnTo>
                      <a:pt x="4104" y="1790"/>
                    </a:lnTo>
                    <a:lnTo>
                      <a:pt x="4106" y="1802"/>
                    </a:lnTo>
                    <a:lnTo>
                      <a:pt x="4110" y="1812"/>
                    </a:lnTo>
                    <a:lnTo>
                      <a:pt x="4110" y="1812"/>
                    </a:lnTo>
                    <a:lnTo>
                      <a:pt x="4116" y="1822"/>
                    </a:lnTo>
                    <a:lnTo>
                      <a:pt x="4124" y="1826"/>
                    </a:lnTo>
                    <a:lnTo>
                      <a:pt x="4130" y="1828"/>
                    </a:lnTo>
                    <a:lnTo>
                      <a:pt x="4138" y="1824"/>
                    </a:lnTo>
                    <a:lnTo>
                      <a:pt x="4146" y="1818"/>
                    </a:lnTo>
                    <a:lnTo>
                      <a:pt x="4154" y="1810"/>
                    </a:lnTo>
                    <a:lnTo>
                      <a:pt x="4174" y="1786"/>
                    </a:lnTo>
                    <a:lnTo>
                      <a:pt x="4174" y="1786"/>
                    </a:lnTo>
                    <a:lnTo>
                      <a:pt x="4182" y="1776"/>
                    </a:lnTo>
                    <a:lnTo>
                      <a:pt x="4190" y="1770"/>
                    </a:lnTo>
                    <a:lnTo>
                      <a:pt x="4196" y="1768"/>
                    </a:lnTo>
                    <a:lnTo>
                      <a:pt x="4202" y="1768"/>
                    </a:lnTo>
                    <a:lnTo>
                      <a:pt x="4208" y="1768"/>
                    </a:lnTo>
                    <a:lnTo>
                      <a:pt x="4216" y="1766"/>
                    </a:lnTo>
                    <a:lnTo>
                      <a:pt x="4224" y="1764"/>
                    </a:lnTo>
                    <a:lnTo>
                      <a:pt x="4238" y="1756"/>
                    </a:lnTo>
                    <a:lnTo>
                      <a:pt x="4238" y="1756"/>
                    </a:lnTo>
                    <a:lnTo>
                      <a:pt x="4252" y="1748"/>
                    </a:lnTo>
                    <a:lnTo>
                      <a:pt x="4266" y="1742"/>
                    </a:lnTo>
                    <a:lnTo>
                      <a:pt x="4290" y="1734"/>
                    </a:lnTo>
                    <a:lnTo>
                      <a:pt x="4300" y="1730"/>
                    </a:lnTo>
                    <a:lnTo>
                      <a:pt x="4306" y="1728"/>
                    </a:lnTo>
                    <a:lnTo>
                      <a:pt x="4308" y="1724"/>
                    </a:lnTo>
                    <a:lnTo>
                      <a:pt x="4304" y="1720"/>
                    </a:lnTo>
                    <a:lnTo>
                      <a:pt x="4304" y="1720"/>
                    </a:lnTo>
                    <a:lnTo>
                      <a:pt x="4284" y="1700"/>
                    </a:lnTo>
                    <a:lnTo>
                      <a:pt x="4280" y="1698"/>
                    </a:lnTo>
                    <a:lnTo>
                      <a:pt x="4276" y="1696"/>
                    </a:lnTo>
                    <a:lnTo>
                      <a:pt x="4270" y="1696"/>
                    </a:lnTo>
                    <a:lnTo>
                      <a:pt x="4264" y="1698"/>
                    </a:lnTo>
                    <a:lnTo>
                      <a:pt x="4264" y="1698"/>
                    </a:lnTo>
                    <a:lnTo>
                      <a:pt x="4258" y="1700"/>
                    </a:lnTo>
                    <a:lnTo>
                      <a:pt x="4246" y="1700"/>
                    </a:lnTo>
                    <a:lnTo>
                      <a:pt x="4236" y="1700"/>
                    </a:lnTo>
                    <a:lnTo>
                      <a:pt x="4224" y="1696"/>
                    </a:lnTo>
                    <a:lnTo>
                      <a:pt x="4212" y="1694"/>
                    </a:lnTo>
                    <a:lnTo>
                      <a:pt x="4204" y="1690"/>
                    </a:lnTo>
                    <a:lnTo>
                      <a:pt x="4198" y="1684"/>
                    </a:lnTo>
                    <a:lnTo>
                      <a:pt x="4196" y="1682"/>
                    </a:lnTo>
                    <a:lnTo>
                      <a:pt x="4196" y="1680"/>
                    </a:lnTo>
                    <a:lnTo>
                      <a:pt x="4196" y="1680"/>
                    </a:lnTo>
                    <a:lnTo>
                      <a:pt x="4196" y="1676"/>
                    </a:lnTo>
                    <a:lnTo>
                      <a:pt x="4194" y="1674"/>
                    </a:lnTo>
                    <a:lnTo>
                      <a:pt x="4186" y="1672"/>
                    </a:lnTo>
                    <a:lnTo>
                      <a:pt x="4178" y="1668"/>
                    </a:lnTo>
                    <a:lnTo>
                      <a:pt x="4172" y="1664"/>
                    </a:lnTo>
                    <a:lnTo>
                      <a:pt x="4166" y="1654"/>
                    </a:lnTo>
                    <a:lnTo>
                      <a:pt x="4160" y="1640"/>
                    </a:lnTo>
                    <a:lnTo>
                      <a:pt x="4160" y="1640"/>
                    </a:lnTo>
                    <a:lnTo>
                      <a:pt x="4156" y="1624"/>
                    </a:lnTo>
                    <a:lnTo>
                      <a:pt x="4156" y="1610"/>
                    </a:lnTo>
                    <a:lnTo>
                      <a:pt x="4158" y="1598"/>
                    </a:lnTo>
                    <a:lnTo>
                      <a:pt x="4160" y="1588"/>
                    </a:lnTo>
                    <a:lnTo>
                      <a:pt x="4162" y="1580"/>
                    </a:lnTo>
                    <a:lnTo>
                      <a:pt x="4162" y="1576"/>
                    </a:lnTo>
                    <a:lnTo>
                      <a:pt x="4158" y="1574"/>
                    </a:lnTo>
                    <a:lnTo>
                      <a:pt x="4148" y="1576"/>
                    </a:lnTo>
                    <a:lnTo>
                      <a:pt x="4148" y="1576"/>
                    </a:lnTo>
                    <a:lnTo>
                      <a:pt x="4134" y="1578"/>
                    </a:lnTo>
                    <a:lnTo>
                      <a:pt x="4126" y="1580"/>
                    </a:lnTo>
                    <a:lnTo>
                      <a:pt x="4124" y="1578"/>
                    </a:lnTo>
                    <a:lnTo>
                      <a:pt x="4126" y="1574"/>
                    </a:lnTo>
                    <a:lnTo>
                      <a:pt x="4140" y="1564"/>
                    </a:lnTo>
                    <a:lnTo>
                      <a:pt x="4164" y="1550"/>
                    </a:lnTo>
                    <a:lnTo>
                      <a:pt x="4164" y="1550"/>
                    </a:lnTo>
                    <a:lnTo>
                      <a:pt x="4178" y="1538"/>
                    </a:lnTo>
                    <a:lnTo>
                      <a:pt x="4182" y="1532"/>
                    </a:lnTo>
                    <a:lnTo>
                      <a:pt x="4184" y="1528"/>
                    </a:lnTo>
                    <a:lnTo>
                      <a:pt x="4184" y="1522"/>
                    </a:lnTo>
                    <a:lnTo>
                      <a:pt x="4180" y="1516"/>
                    </a:lnTo>
                    <a:lnTo>
                      <a:pt x="4174" y="1508"/>
                    </a:lnTo>
                    <a:lnTo>
                      <a:pt x="4166" y="1502"/>
                    </a:lnTo>
                    <a:lnTo>
                      <a:pt x="4166" y="1502"/>
                    </a:lnTo>
                    <a:lnTo>
                      <a:pt x="4160" y="1498"/>
                    </a:lnTo>
                    <a:lnTo>
                      <a:pt x="4150" y="1496"/>
                    </a:lnTo>
                    <a:lnTo>
                      <a:pt x="4140" y="1496"/>
                    </a:lnTo>
                    <a:lnTo>
                      <a:pt x="4130" y="1496"/>
                    </a:lnTo>
                    <a:lnTo>
                      <a:pt x="4102" y="1500"/>
                    </a:lnTo>
                    <a:lnTo>
                      <a:pt x="4074" y="1508"/>
                    </a:lnTo>
                    <a:lnTo>
                      <a:pt x="4044" y="1518"/>
                    </a:lnTo>
                    <a:lnTo>
                      <a:pt x="4018" y="1532"/>
                    </a:lnTo>
                    <a:lnTo>
                      <a:pt x="3996" y="1546"/>
                    </a:lnTo>
                    <a:lnTo>
                      <a:pt x="3988" y="1554"/>
                    </a:lnTo>
                    <a:lnTo>
                      <a:pt x="3982" y="1560"/>
                    </a:lnTo>
                    <a:lnTo>
                      <a:pt x="3982" y="1560"/>
                    </a:lnTo>
                    <a:lnTo>
                      <a:pt x="3964" y="1584"/>
                    </a:lnTo>
                    <a:lnTo>
                      <a:pt x="3948" y="1602"/>
                    </a:lnTo>
                    <a:lnTo>
                      <a:pt x="3934" y="1616"/>
                    </a:lnTo>
                    <a:lnTo>
                      <a:pt x="3922" y="1626"/>
                    </a:lnTo>
                    <a:lnTo>
                      <a:pt x="3914" y="1634"/>
                    </a:lnTo>
                    <a:lnTo>
                      <a:pt x="3908" y="1636"/>
                    </a:lnTo>
                    <a:lnTo>
                      <a:pt x="3908" y="1636"/>
                    </a:lnTo>
                    <a:lnTo>
                      <a:pt x="3908" y="1634"/>
                    </a:lnTo>
                    <a:lnTo>
                      <a:pt x="3914" y="1628"/>
                    </a:lnTo>
                    <a:lnTo>
                      <a:pt x="3914" y="1628"/>
                    </a:lnTo>
                    <a:lnTo>
                      <a:pt x="3924" y="1616"/>
                    </a:lnTo>
                    <a:lnTo>
                      <a:pt x="3936" y="1600"/>
                    </a:lnTo>
                    <a:lnTo>
                      <a:pt x="3964" y="1560"/>
                    </a:lnTo>
                    <a:lnTo>
                      <a:pt x="3978" y="1542"/>
                    </a:lnTo>
                    <a:lnTo>
                      <a:pt x="3994" y="1524"/>
                    </a:lnTo>
                    <a:lnTo>
                      <a:pt x="4010" y="1510"/>
                    </a:lnTo>
                    <a:lnTo>
                      <a:pt x="4020" y="1504"/>
                    </a:lnTo>
                    <a:lnTo>
                      <a:pt x="4030" y="1500"/>
                    </a:lnTo>
                    <a:lnTo>
                      <a:pt x="4030" y="1500"/>
                    </a:lnTo>
                    <a:lnTo>
                      <a:pt x="4040" y="1496"/>
                    </a:lnTo>
                    <a:lnTo>
                      <a:pt x="4050" y="1490"/>
                    </a:lnTo>
                    <a:lnTo>
                      <a:pt x="4056" y="1486"/>
                    </a:lnTo>
                    <a:lnTo>
                      <a:pt x="4060" y="1482"/>
                    </a:lnTo>
                    <a:lnTo>
                      <a:pt x="4066" y="1472"/>
                    </a:lnTo>
                    <a:lnTo>
                      <a:pt x="4068" y="1464"/>
                    </a:lnTo>
                    <a:lnTo>
                      <a:pt x="4072" y="1456"/>
                    </a:lnTo>
                    <a:lnTo>
                      <a:pt x="4076" y="1452"/>
                    </a:lnTo>
                    <a:lnTo>
                      <a:pt x="4082" y="1448"/>
                    </a:lnTo>
                    <a:lnTo>
                      <a:pt x="4090" y="1444"/>
                    </a:lnTo>
                    <a:lnTo>
                      <a:pt x="4102" y="1440"/>
                    </a:lnTo>
                    <a:lnTo>
                      <a:pt x="4136" y="1432"/>
                    </a:lnTo>
                    <a:lnTo>
                      <a:pt x="4136" y="1432"/>
                    </a:lnTo>
                    <a:lnTo>
                      <a:pt x="4160" y="1430"/>
                    </a:lnTo>
                    <a:lnTo>
                      <a:pt x="4182" y="1428"/>
                    </a:lnTo>
                    <a:lnTo>
                      <a:pt x="4202" y="1430"/>
                    </a:lnTo>
                    <a:lnTo>
                      <a:pt x="4220" y="1432"/>
                    </a:lnTo>
                    <a:lnTo>
                      <a:pt x="4252" y="1436"/>
                    </a:lnTo>
                    <a:lnTo>
                      <a:pt x="4278" y="1442"/>
                    </a:lnTo>
                    <a:lnTo>
                      <a:pt x="4304" y="1446"/>
                    </a:lnTo>
                    <a:lnTo>
                      <a:pt x="4316" y="1444"/>
                    </a:lnTo>
                    <a:lnTo>
                      <a:pt x="4330" y="1442"/>
                    </a:lnTo>
                    <a:lnTo>
                      <a:pt x="4342" y="1438"/>
                    </a:lnTo>
                    <a:lnTo>
                      <a:pt x="4356" y="1430"/>
                    </a:lnTo>
                    <a:lnTo>
                      <a:pt x="4370" y="1420"/>
                    </a:lnTo>
                    <a:lnTo>
                      <a:pt x="4386" y="1406"/>
                    </a:lnTo>
                    <a:lnTo>
                      <a:pt x="4386" y="1406"/>
                    </a:lnTo>
                    <a:lnTo>
                      <a:pt x="4414" y="1382"/>
                    </a:lnTo>
                    <a:lnTo>
                      <a:pt x="4434" y="1368"/>
                    </a:lnTo>
                    <a:lnTo>
                      <a:pt x="4448" y="1362"/>
                    </a:lnTo>
                    <a:lnTo>
                      <a:pt x="4458" y="1362"/>
                    </a:lnTo>
                    <a:lnTo>
                      <a:pt x="4470" y="1366"/>
                    </a:lnTo>
                    <a:lnTo>
                      <a:pt x="4474" y="1366"/>
                    </a:lnTo>
                    <a:lnTo>
                      <a:pt x="4482" y="1358"/>
                    </a:lnTo>
                    <a:lnTo>
                      <a:pt x="4482" y="1358"/>
                    </a:lnTo>
                    <a:lnTo>
                      <a:pt x="4492" y="1348"/>
                    </a:lnTo>
                    <a:lnTo>
                      <a:pt x="4502" y="1342"/>
                    </a:lnTo>
                    <a:lnTo>
                      <a:pt x="4518" y="1330"/>
                    </a:lnTo>
                    <a:lnTo>
                      <a:pt x="4524" y="1324"/>
                    </a:lnTo>
                    <a:lnTo>
                      <a:pt x="4526" y="1316"/>
                    </a:lnTo>
                    <a:lnTo>
                      <a:pt x="4526" y="1308"/>
                    </a:lnTo>
                    <a:lnTo>
                      <a:pt x="4522" y="1296"/>
                    </a:lnTo>
                    <a:lnTo>
                      <a:pt x="4522" y="1296"/>
                    </a:lnTo>
                    <a:lnTo>
                      <a:pt x="4518" y="1284"/>
                    </a:lnTo>
                    <a:lnTo>
                      <a:pt x="4518" y="1278"/>
                    </a:lnTo>
                    <a:lnTo>
                      <a:pt x="4518" y="1274"/>
                    </a:lnTo>
                    <a:lnTo>
                      <a:pt x="4522" y="1270"/>
                    </a:lnTo>
                    <a:lnTo>
                      <a:pt x="4524" y="1268"/>
                    </a:lnTo>
                    <a:lnTo>
                      <a:pt x="4526" y="1264"/>
                    </a:lnTo>
                    <a:lnTo>
                      <a:pt x="4524" y="1258"/>
                    </a:lnTo>
                    <a:lnTo>
                      <a:pt x="4522" y="1248"/>
                    </a:lnTo>
                    <a:lnTo>
                      <a:pt x="4522" y="1248"/>
                    </a:lnTo>
                    <a:lnTo>
                      <a:pt x="4516" y="1238"/>
                    </a:lnTo>
                    <a:lnTo>
                      <a:pt x="4510" y="1234"/>
                    </a:lnTo>
                    <a:lnTo>
                      <a:pt x="4502" y="1232"/>
                    </a:lnTo>
                    <a:lnTo>
                      <a:pt x="4496" y="1230"/>
                    </a:lnTo>
                    <a:lnTo>
                      <a:pt x="4488" y="1230"/>
                    </a:lnTo>
                    <a:lnTo>
                      <a:pt x="4480" y="1228"/>
                    </a:lnTo>
                    <a:lnTo>
                      <a:pt x="4472" y="1222"/>
                    </a:lnTo>
                    <a:lnTo>
                      <a:pt x="4464" y="1214"/>
                    </a:lnTo>
                    <a:lnTo>
                      <a:pt x="4464" y="1214"/>
                    </a:lnTo>
                    <a:lnTo>
                      <a:pt x="4454" y="1204"/>
                    </a:lnTo>
                    <a:lnTo>
                      <a:pt x="4446" y="1198"/>
                    </a:lnTo>
                    <a:lnTo>
                      <a:pt x="4436" y="1198"/>
                    </a:lnTo>
                    <a:lnTo>
                      <a:pt x="4428" y="1200"/>
                    </a:lnTo>
                    <a:lnTo>
                      <a:pt x="4416" y="1204"/>
                    </a:lnTo>
                    <a:lnTo>
                      <a:pt x="4406" y="1212"/>
                    </a:lnTo>
                    <a:lnTo>
                      <a:pt x="4376" y="1234"/>
                    </a:lnTo>
                    <a:lnTo>
                      <a:pt x="4376" y="1234"/>
                    </a:lnTo>
                    <a:lnTo>
                      <a:pt x="4362" y="1242"/>
                    </a:lnTo>
                    <a:lnTo>
                      <a:pt x="4352" y="1246"/>
                    </a:lnTo>
                    <a:lnTo>
                      <a:pt x="4344" y="1246"/>
                    </a:lnTo>
                    <a:lnTo>
                      <a:pt x="4342" y="1242"/>
                    </a:lnTo>
                    <a:lnTo>
                      <a:pt x="4342" y="1238"/>
                    </a:lnTo>
                    <a:lnTo>
                      <a:pt x="4346" y="1230"/>
                    </a:lnTo>
                    <a:lnTo>
                      <a:pt x="4354" y="1226"/>
                    </a:lnTo>
                    <a:lnTo>
                      <a:pt x="4364" y="1220"/>
                    </a:lnTo>
                    <a:lnTo>
                      <a:pt x="4364" y="1220"/>
                    </a:lnTo>
                    <a:lnTo>
                      <a:pt x="4376" y="1218"/>
                    </a:lnTo>
                    <a:lnTo>
                      <a:pt x="4386" y="1214"/>
                    </a:lnTo>
                    <a:lnTo>
                      <a:pt x="4400" y="1204"/>
                    </a:lnTo>
                    <a:lnTo>
                      <a:pt x="4414" y="1196"/>
                    </a:lnTo>
                    <a:lnTo>
                      <a:pt x="4424" y="1192"/>
                    </a:lnTo>
                    <a:lnTo>
                      <a:pt x="4438" y="1190"/>
                    </a:lnTo>
                    <a:lnTo>
                      <a:pt x="4438" y="1190"/>
                    </a:lnTo>
                    <a:lnTo>
                      <a:pt x="4450" y="1186"/>
                    </a:lnTo>
                    <a:lnTo>
                      <a:pt x="4456" y="1184"/>
                    </a:lnTo>
                    <a:lnTo>
                      <a:pt x="4458" y="1178"/>
                    </a:lnTo>
                    <a:lnTo>
                      <a:pt x="4456" y="1174"/>
                    </a:lnTo>
                    <a:lnTo>
                      <a:pt x="4450" y="1170"/>
                    </a:lnTo>
                    <a:lnTo>
                      <a:pt x="4442" y="1166"/>
                    </a:lnTo>
                    <a:lnTo>
                      <a:pt x="4432" y="1162"/>
                    </a:lnTo>
                    <a:lnTo>
                      <a:pt x="4418" y="1160"/>
                    </a:lnTo>
                    <a:lnTo>
                      <a:pt x="4418" y="1160"/>
                    </a:lnTo>
                    <a:lnTo>
                      <a:pt x="4406" y="1158"/>
                    </a:lnTo>
                    <a:lnTo>
                      <a:pt x="4400" y="1154"/>
                    </a:lnTo>
                    <a:lnTo>
                      <a:pt x="4396" y="1150"/>
                    </a:lnTo>
                    <a:lnTo>
                      <a:pt x="4394" y="1146"/>
                    </a:lnTo>
                    <a:lnTo>
                      <a:pt x="4392" y="1142"/>
                    </a:lnTo>
                    <a:lnTo>
                      <a:pt x="4388" y="1138"/>
                    </a:lnTo>
                    <a:lnTo>
                      <a:pt x="4378" y="1136"/>
                    </a:lnTo>
                    <a:lnTo>
                      <a:pt x="4364" y="1132"/>
                    </a:lnTo>
                    <a:lnTo>
                      <a:pt x="4364" y="1132"/>
                    </a:lnTo>
                    <a:lnTo>
                      <a:pt x="4350" y="1130"/>
                    </a:lnTo>
                    <a:lnTo>
                      <a:pt x="4342" y="1126"/>
                    </a:lnTo>
                    <a:lnTo>
                      <a:pt x="4340" y="1122"/>
                    </a:lnTo>
                    <a:lnTo>
                      <a:pt x="4338" y="1116"/>
                    </a:lnTo>
                    <a:lnTo>
                      <a:pt x="4340" y="1112"/>
                    </a:lnTo>
                    <a:lnTo>
                      <a:pt x="4338" y="1106"/>
                    </a:lnTo>
                    <a:lnTo>
                      <a:pt x="4334" y="1102"/>
                    </a:lnTo>
                    <a:lnTo>
                      <a:pt x="4324" y="1096"/>
                    </a:lnTo>
                    <a:lnTo>
                      <a:pt x="4324" y="1096"/>
                    </a:lnTo>
                    <a:lnTo>
                      <a:pt x="4314" y="1090"/>
                    </a:lnTo>
                    <a:lnTo>
                      <a:pt x="4304" y="1084"/>
                    </a:lnTo>
                    <a:lnTo>
                      <a:pt x="4296" y="1078"/>
                    </a:lnTo>
                    <a:lnTo>
                      <a:pt x="4290" y="1070"/>
                    </a:lnTo>
                    <a:lnTo>
                      <a:pt x="4286" y="1062"/>
                    </a:lnTo>
                    <a:lnTo>
                      <a:pt x="4286" y="1052"/>
                    </a:lnTo>
                    <a:lnTo>
                      <a:pt x="4288" y="1042"/>
                    </a:lnTo>
                    <a:lnTo>
                      <a:pt x="4294" y="1030"/>
                    </a:lnTo>
                    <a:lnTo>
                      <a:pt x="4294" y="1030"/>
                    </a:lnTo>
                    <a:lnTo>
                      <a:pt x="4298" y="1024"/>
                    </a:lnTo>
                    <a:lnTo>
                      <a:pt x="4298" y="1020"/>
                    </a:lnTo>
                    <a:lnTo>
                      <a:pt x="4298" y="1016"/>
                    </a:lnTo>
                    <a:lnTo>
                      <a:pt x="4296" y="1012"/>
                    </a:lnTo>
                    <a:lnTo>
                      <a:pt x="4290" y="1008"/>
                    </a:lnTo>
                    <a:lnTo>
                      <a:pt x="4282" y="1004"/>
                    </a:lnTo>
                    <a:lnTo>
                      <a:pt x="4274" y="1002"/>
                    </a:lnTo>
                    <a:lnTo>
                      <a:pt x="4268" y="998"/>
                    </a:lnTo>
                    <a:lnTo>
                      <a:pt x="4266" y="996"/>
                    </a:lnTo>
                    <a:lnTo>
                      <a:pt x="4266" y="994"/>
                    </a:lnTo>
                    <a:lnTo>
                      <a:pt x="4266" y="990"/>
                    </a:lnTo>
                    <a:lnTo>
                      <a:pt x="4270" y="986"/>
                    </a:lnTo>
                    <a:lnTo>
                      <a:pt x="4270" y="986"/>
                    </a:lnTo>
                    <a:lnTo>
                      <a:pt x="4274" y="978"/>
                    </a:lnTo>
                    <a:lnTo>
                      <a:pt x="4274" y="970"/>
                    </a:lnTo>
                    <a:lnTo>
                      <a:pt x="4270" y="966"/>
                    </a:lnTo>
                    <a:lnTo>
                      <a:pt x="4264" y="960"/>
                    </a:lnTo>
                    <a:lnTo>
                      <a:pt x="4258" y="954"/>
                    </a:lnTo>
                    <a:lnTo>
                      <a:pt x="4252" y="948"/>
                    </a:lnTo>
                    <a:lnTo>
                      <a:pt x="4246" y="940"/>
                    </a:lnTo>
                    <a:lnTo>
                      <a:pt x="4244" y="928"/>
                    </a:lnTo>
                    <a:lnTo>
                      <a:pt x="4244" y="928"/>
                    </a:lnTo>
                    <a:lnTo>
                      <a:pt x="4240" y="912"/>
                    </a:lnTo>
                    <a:lnTo>
                      <a:pt x="4238" y="908"/>
                    </a:lnTo>
                    <a:lnTo>
                      <a:pt x="4236" y="906"/>
                    </a:lnTo>
                    <a:lnTo>
                      <a:pt x="4230" y="902"/>
                    </a:lnTo>
                    <a:lnTo>
                      <a:pt x="4228" y="898"/>
                    </a:lnTo>
                    <a:lnTo>
                      <a:pt x="4226" y="890"/>
                    </a:lnTo>
                    <a:lnTo>
                      <a:pt x="4226" y="890"/>
                    </a:lnTo>
                    <a:lnTo>
                      <a:pt x="4222" y="882"/>
                    </a:lnTo>
                    <a:lnTo>
                      <a:pt x="4218" y="878"/>
                    </a:lnTo>
                    <a:lnTo>
                      <a:pt x="4210" y="872"/>
                    </a:lnTo>
                    <a:lnTo>
                      <a:pt x="4206" y="868"/>
                    </a:lnTo>
                    <a:lnTo>
                      <a:pt x="4200" y="862"/>
                    </a:lnTo>
                    <a:lnTo>
                      <a:pt x="4194" y="852"/>
                    </a:lnTo>
                    <a:lnTo>
                      <a:pt x="4186" y="838"/>
                    </a:lnTo>
                    <a:lnTo>
                      <a:pt x="4186" y="838"/>
                    </a:lnTo>
                    <a:lnTo>
                      <a:pt x="4180" y="824"/>
                    </a:lnTo>
                    <a:lnTo>
                      <a:pt x="4174" y="816"/>
                    </a:lnTo>
                    <a:lnTo>
                      <a:pt x="4168" y="812"/>
                    </a:lnTo>
                    <a:lnTo>
                      <a:pt x="4164" y="812"/>
                    </a:lnTo>
                    <a:lnTo>
                      <a:pt x="4158" y="814"/>
                    </a:lnTo>
                    <a:lnTo>
                      <a:pt x="4154" y="820"/>
                    </a:lnTo>
                    <a:lnTo>
                      <a:pt x="4140" y="836"/>
                    </a:lnTo>
                    <a:lnTo>
                      <a:pt x="4140" y="836"/>
                    </a:lnTo>
                    <a:lnTo>
                      <a:pt x="4132" y="848"/>
                    </a:lnTo>
                    <a:lnTo>
                      <a:pt x="4128" y="860"/>
                    </a:lnTo>
                    <a:lnTo>
                      <a:pt x="4124" y="884"/>
                    </a:lnTo>
                    <a:lnTo>
                      <a:pt x="4120" y="896"/>
                    </a:lnTo>
                    <a:lnTo>
                      <a:pt x="4116" y="904"/>
                    </a:lnTo>
                    <a:lnTo>
                      <a:pt x="4114" y="906"/>
                    </a:lnTo>
                    <a:lnTo>
                      <a:pt x="4110" y="908"/>
                    </a:lnTo>
                    <a:lnTo>
                      <a:pt x="4106" y="908"/>
                    </a:lnTo>
                    <a:lnTo>
                      <a:pt x="4100" y="906"/>
                    </a:lnTo>
                    <a:lnTo>
                      <a:pt x="4100" y="906"/>
                    </a:lnTo>
                    <a:lnTo>
                      <a:pt x="4090" y="904"/>
                    </a:lnTo>
                    <a:lnTo>
                      <a:pt x="4086" y="906"/>
                    </a:lnTo>
                    <a:lnTo>
                      <a:pt x="4084" y="908"/>
                    </a:lnTo>
                    <a:lnTo>
                      <a:pt x="4084" y="912"/>
                    </a:lnTo>
                    <a:lnTo>
                      <a:pt x="4082" y="916"/>
                    </a:lnTo>
                    <a:lnTo>
                      <a:pt x="4080" y="922"/>
                    </a:lnTo>
                    <a:lnTo>
                      <a:pt x="4074" y="928"/>
                    </a:lnTo>
                    <a:lnTo>
                      <a:pt x="4060" y="934"/>
                    </a:lnTo>
                    <a:lnTo>
                      <a:pt x="4060" y="934"/>
                    </a:lnTo>
                    <a:lnTo>
                      <a:pt x="4048" y="936"/>
                    </a:lnTo>
                    <a:lnTo>
                      <a:pt x="4038" y="934"/>
                    </a:lnTo>
                    <a:lnTo>
                      <a:pt x="4030" y="930"/>
                    </a:lnTo>
                    <a:lnTo>
                      <a:pt x="4024" y="922"/>
                    </a:lnTo>
                    <a:lnTo>
                      <a:pt x="4018" y="914"/>
                    </a:lnTo>
                    <a:lnTo>
                      <a:pt x="4010" y="908"/>
                    </a:lnTo>
                    <a:lnTo>
                      <a:pt x="4002" y="902"/>
                    </a:lnTo>
                    <a:lnTo>
                      <a:pt x="3988" y="900"/>
                    </a:lnTo>
                    <a:lnTo>
                      <a:pt x="3988" y="900"/>
                    </a:lnTo>
                    <a:lnTo>
                      <a:pt x="3976" y="900"/>
                    </a:lnTo>
                    <a:lnTo>
                      <a:pt x="3972" y="900"/>
                    </a:lnTo>
                    <a:lnTo>
                      <a:pt x="3970" y="896"/>
                    </a:lnTo>
                    <a:lnTo>
                      <a:pt x="3972" y="892"/>
                    </a:lnTo>
                    <a:lnTo>
                      <a:pt x="3974" y="888"/>
                    </a:lnTo>
                    <a:lnTo>
                      <a:pt x="3976" y="884"/>
                    </a:lnTo>
                    <a:lnTo>
                      <a:pt x="3974" y="880"/>
                    </a:lnTo>
                    <a:lnTo>
                      <a:pt x="3968" y="874"/>
                    </a:lnTo>
                    <a:lnTo>
                      <a:pt x="3968" y="874"/>
                    </a:lnTo>
                    <a:lnTo>
                      <a:pt x="3962" y="870"/>
                    </a:lnTo>
                    <a:lnTo>
                      <a:pt x="3960" y="866"/>
                    </a:lnTo>
                    <a:lnTo>
                      <a:pt x="3962" y="864"/>
                    </a:lnTo>
                    <a:lnTo>
                      <a:pt x="3964" y="860"/>
                    </a:lnTo>
                    <a:lnTo>
                      <a:pt x="3966" y="856"/>
                    </a:lnTo>
                    <a:lnTo>
                      <a:pt x="3968" y="850"/>
                    </a:lnTo>
                    <a:lnTo>
                      <a:pt x="3968" y="844"/>
                    </a:lnTo>
                    <a:lnTo>
                      <a:pt x="3964" y="836"/>
                    </a:lnTo>
                    <a:lnTo>
                      <a:pt x="3964" y="836"/>
                    </a:lnTo>
                    <a:lnTo>
                      <a:pt x="3960" y="824"/>
                    </a:lnTo>
                    <a:lnTo>
                      <a:pt x="3958" y="814"/>
                    </a:lnTo>
                    <a:lnTo>
                      <a:pt x="3962" y="802"/>
                    </a:lnTo>
                    <a:lnTo>
                      <a:pt x="3966" y="794"/>
                    </a:lnTo>
                    <a:lnTo>
                      <a:pt x="3974" y="776"/>
                    </a:lnTo>
                    <a:lnTo>
                      <a:pt x="3974" y="770"/>
                    </a:lnTo>
                    <a:lnTo>
                      <a:pt x="3972" y="764"/>
                    </a:lnTo>
                    <a:lnTo>
                      <a:pt x="3972" y="764"/>
                    </a:lnTo>
                    <a:lnTo>
                      <a:pt x="3968" y="758"/>
                    </a:lnTo>
                    <a:lnTo>
                      <a:pt x="3964" y="758"/>
                    </a:lnTo>
                    <a:lnTo>
                      <a:pt x="3960" y="760"/>
                    </a:lnTo>
                    <a:lnTo>
                      <a:pt x="3958" y="764"/>
                    </a:lnTo>
                    <a:lnTo>
                      <a:pt x="3954" y="770"/>
                    </a:lnTo>
                    <a:lnTo>
                      <a:pt x="3952" y="772"/>
                    </a:lnTo>
                    <a:lnTo>
                      <a:pt x="3950" y="770"/>
                    </a:lnTo>
                    <a:lnTo>
                      <a:pt x="3950" y="770"/>
                    </a:lnTo>
                    <a:lnTo>
                      <a:pt x="3944" y="766"/>
                    </a:lnTo>
                    <a:lnTo>
                      <a:pt x="3936" y="762"/>
                    </a:lnTo>
                    <a:lnTo>
                      <a:pt x="3914" y="756"/>
                    </a:lnTo>
                    <a:lnTo>
                      <a:pt x="3902" y="752"/>
                    </a:lnTo>
                    <a:lnTo>
                      <a:pt x="3894" y="748"/>
                    </a:lnTo>
                    <a:lnTo>
                      <a:pt x="3888" y="742"/>
                    </a:lnTo>
                    <a:lnTo>
                      <a:pt x="3886" y="740"/>
                    </a:lnTo>
                    <a:lnTo>
                      <a:pt x="3886" y="736"/>
                    </a:lnTo>
                    <a:lnTo>
                      <a:pt x="3886" y="736"/>
                    </a:lnTo>
                    <a:lnTo>
                      <a:pt x="3886" y="728"/>
                    </a:lnTo>
                    <a:lnTo>
                      <a:pt x="3882" y="722"/>
                    </a:lnTo>
                    <a:lnTo>
                      <a:pt x="3878" y="716"/>
                    </a:lnTo>
                    <a:lnTo>
                      <a:pt x="3870" y="710"/>
                    </a:lnTo>
                    <a:lnTo>
                      <a:pt x="3826" y="680"/>
                    </a:lnTo>
                    <a:lnTo>
                      <a:pt x="3826" y="680"/>
                    </a:lnTo>
                    <a:lnTo>
                      <a:pt x="3806" y="668"/>
                    </a:lnTo>
                    <a:lnTo>
                      <a:pt x="3800" y="668"/>
                    </a:lnTo>
                    <a:lnTo>
                      <a:pt x="3796" y="666"/>
                    </a:lnTo>
                    <a:lnTo>
                      <a:pt x="3790" y="668"/>
                    </a:lnTo>
                    <a:lnTo>
                      <a:pt x="3788" y="670"/>
                    </a:lnTo>
                    <a:lnTo>
                      <a:pt x="3780" y="678"/>
                    </a:lnTo>
                    <a:lnTo>
                      <a:pt x="3774" y="680"/>
                    </a:lnTo>
                    <a:lnTo>
                      <a:pt x="3768" y="684"/>
                    </a:lnTo>
                    <a:lnTo>
                      <a:pt x="3760" y="684"/>
                    </a:lnTo>
                    <a:lnTo>
                      <a:pt x="3750" y="686"/>
                    </a:lnTo>
                    <a:lnTo>
                      <a:pt x="3736" y="684"/>
                    </a:lnTo>
                    <a:lnTo>
                      <a:pt x="3720" y="680"/>
                    </a:lnTo>
                    <a:lnTo>
                      <a:pt x="3700" y="674"/>
                    </a:lnTo>
                    <a:lnTo>
                      <a:pt x="3676" y="664"/>
                    </a:lnTo>
                    <a:lnTo>
                      <a:pt x="3676" y="664"/>
                    </a:lnTo>
                    <a:lnTo>
                      <a:pt x="3666" y="662"/>
                    </a:lnTo>
                    <a:lnTo>
                      <a:pt x="3656" y="660"/>
                    </a:lnTo>
                    <a:lnTo>
                      <a:pt x="3648" y="660"/>
                    </a:lnTo>
                    <a:lnTo>
                      <a:pt x="3642" y="662"/>
                    </a:lnTo>
                    <a:lnTo>
                      <a:pt x="3636" y="664"/>
                    </a:lnTo>
                    <a:lnTo>
                      <a:pt x="3632" y="668"/>
                    </a:lnTo>
                    <a:lnTo>
                      <a:pt x="3626" y="678"/>
                    </a:lnTo>
                    <a:lnTo>
                      <a:pt x="3622" y="690"/>
                    </a:lnTo>
                    <a:lnTo>
                      <a:pt x="3622" y="702"/>
                    </a:lnTo>
                    <a:lnTo>
                      <a:pt x="3626" y="712"/>
                    </a:lnTo>
                    <a:lnTo>
                      <a:pt x="3630" y="720"/>
                    </a:lnTo>
                    <a:lnTo>
                      <a:pt x="3630" y="720"/>
                    </a:lnTo>
                    <a:lnTo>
                      <a:pt x="3634" y="726"/>
                    </a:lnTo>
                    <a:lnTo>
                      <a:pt x="3636" y="732"/>
                    </a:lnTo>
                    <a:lnTo>
                      <a:pt x="3638" y="738"/>
                    </a:lnTo>
                    <a:lnTo>
                      <a:pt x="3638" y="746"/>
                    </a:lnTo>
                    <a:lnTo>
                      <a:pt x="3634" y="760"/>
                    </a:lnTo>
                    <a:lnTo>
                      <a:pt x="3626" y="772"/>
                    </a:lnTo>
                    <a:lnTo>
                      <a:pt x="3626" y="772"/>
                    </a:lnTo>
                    <a:lnTo>
                      <a:pt x="3622" y="776"/>
                    </a:lnTo>
                    <a:lnTo>
                      <a:pt x="3622" y="780"/>
                    </a:lnTo>
                    <a:lnTo>
                      <a:pt x="3624" y="782"/>
                    </a:lnTo>
                    <a:lnTo>
                      <a:pt x="3626" y="786"/>
                    </a:lnTo>
                    <a:lnTo>
                      <a:pt x="3634" y="794"/>
                    </a:lnTo>
                    <a:lnTo>
                      <a:pt x="3640" y="802"/>
                    </a:lnTo>
                    <a:lnTo>
                      <a:pt x="3644" y="814"/>
                    </a:lnTo>
                    <a:lnTo>
                      <a:pt x="3644" y="814"/>
                    </a:lnTo>
                    <a:lnTo>
                      <a:pt x="3648" y="824"/>
                    </a:lnTo>
                    <a:lnTo>
                      <a:pt x="3650" y="832"/>
                    </a:lnTo>
                    <a:lnTo>
                      <a:pt x="3650" y="840"/>
                    </a:lnTo>
                    <a:lnTo>
                      <a:pt x="3648" y="844"/>
                    </a:lnTo>
                    <a:lnTo>
                      <a:pt x="3642" y="854"/>
                    </a:lnTo>
                    <a:lnTo>
                      <a:pt x="3636" y="870"/>
                    </a:lnTo>
                    <a:lnTo>
                      <a:pt x="3636" y="870"/>
                    </a:lnTo>
                    <a:lnTo>
                      <a:pt x="3634" y="878"/>
                    </a:lnTo>
                    <a:lnTo>
                      <a:pt x="3630" y="882"/>
                    </a:lnTo>
                    <a:lnTo>
                      <a:pt x="3620" y="888"/>
                    </a:lnTo>
                    <a:lnTo>
                      <a:pt x="3616" y="890"/>
                    </a:lnTo>
                    <a:lnTo>
                      <a:pt x="3612" y="894"/>
                    </a:lnTo>
                    <a:lnTo>
                      <a:pt x="3610" y="900"/>
                    </a:lnTo>
                    <a:lnTo>
                      <a:pt x="3606" y="910"/>
                    </a:lnTo>
                    <a:lnTo>
                      <a:pt x="3606" y="910"/>
                    </a:lnTo>
                    <a:lnTo>
                      <a:pt x="3606" y="916"/>
                    </a:lnTo>
                    <a:lnTo>
                      <a:pt x="3608" y="920"/>
                    </a:lnTo>
                    <a:lnTo>
                      <a:pt x="3614" y="926"/>
                    </a:lnTo>
                    <a:lnTo>
                      <a:pt x="3622" y="932"/>
                    </a:lnTo>
                    <a:lnTo>
                      <a:pt x="3634" y="940"/>
                    </a:lnTo>
                    <a:lnTo>
                      <a:pt x="3648" y="950"/>
                    </a:lnTo>
                    <a:lnTo>
                      <a:pt x="3660" y="964"/>
                    </a:lnTo>
                    <a:lnTo>
                      <a:pt x="3666" y="972"/>
                    </a:lnTo>
                    <a:lnTo>
                      <a:pt x="3672" y="984"/>
                    </a:lnTo>
                    <a:lnTo>
                      <a:pt x="3678" y="996"/>
                    </a:lnTo>
                    <a:lnTo>
                      <a:pt x="3684" y="1010"/>
                    </a:lnTo>
                    <a:lnTo>
                      <a:pt x="3684" y="1010"/>
                    </a:lnTo>
                    <a:lnTo>
                      <a:pt x="3686" y="1026"/>
                    </a:lnTo>
                    <a:lnTo>
                      <a:pt x="3688" y="1040"/>
                    </a:lnTo>
                    <a:lnTo>
                      <a:pt x="3688" y="1052"/>
                    </a:lnTo>
                    <a:lnTo>
                      <a:pt x="3684" y="1066"/>
                    </a:lnTo>
                    <a:lnTo>
                      <a:pt x="3680" y="1078"/>
                    </a:lnTo>
                    <a:lnTo>
                      <a:pt x="3674" y="1088"/>
                    </a:lnTo>
                    <a:lnTo>
                      <a:pt x="3668" y="1100"/>
                    </a:lnTo>
                    <a:lnTo>
                      <a:pt x="3660" y="1108"/>
                    </a:lnTo>
                    <a:lnTo>
                      <a:pt x="3642" y="1126"/>
                    </a:lnTo>
                    <a:lnTo>
                      <a:pt x="3624" y="1140"/>
                    </a:lnTo>
                    <a:lnTo>
                      <a:pt x="3604" y="1150"/>
                    </a:lnTo>
                    <a:lnTo>
                      <a:pt x="3584" y="1158"/>
                    </a:lnTo>
                    <a:lnTo>
                      <a:pt x="3584" y="1158"/>
                    </a:lnTo>
                    <a:lnTo>
                      <a:pt x="3570" y="1166"/>
                    </a:lnTo>
                    <a:lnTo>
                      <a:pt x="3562" y="1172"/>
                    </a:lnTo>
                    <a:lnTo>
                      <a:pt x="3562" y="1174"/>
                    </a:lnTo>
                    <a:lnTo>
                      <a:pt x="3562" y="1176"/>
                    </a:lnTo>
                    <a:lnTo>
                      <a:pt x="3566" y="1184"/>
                    </a:lnTo>
                    <a:lnTo>
                      <a:pt x="3572" y="1190"/>
                    </a:lnTo>
                    <a:lnTo>
                      <a:pt x="3578" y="1200"/>
                    </a:lnTo>
                    <a:lnTo>
                      <a:pt x="3582" y="1212"/>
                    </a:lnTo>
                    <a:lnTo>
                      <a:pt x="3584" y="1220"/>
                    </a:lnTo>
                    <a:lnTo>
                      <a:pt x="3584" y="1228"/>
                    </a:lnTo>
                    <a:lnTo>
                      <a:pt x="3584" y="1228"/>
                    </a:lnTo>
                    <a:lnTo>
                      <a:pt x="3586" y="1244"/>
                    </a:lnTo>
                    <a:lnTo>
                      <a:pt x="3588" y="1260"/>
                    </a:lnTo>
                    <a:lnTo>
                      <a:pt x="3598" y="1290"/>
                    </a:lnTo>
                    <a:lnTo>
                      <a:pt x="3602" y="1302"/>
                    </a:lnTo>
                    <a:lnTo>
                      <a:pt x="3604" y="1314"/>
                    </a:lnTo>
                    <a:lnTo>
                      <a:pt x="3604" y="1324"/>
                    </a:lnTo>
                    <a:lnTo>
                      <a:pt x="3600" y="1328"/>
                    </a:lnTo>
                    <a:lnTo>
                      <a:pt x="3598" y="1330"/>
                    </a:lnTo>
                    <a:lnTo>
                      <a:pt x="3598" y="1330"/>
                    </a:lnTo>
                    <a:lnTo>
                      <a:pt x="3594" y="1334"/>
                    </a:lnTo>
                    <a:lnTo>
                      <a:pt x="3592" y="1336"/>
                    </a:lnTo>
                    <a:lnTo>
                      <a:pt x="3590" y="1344"/>
                    </a:lnTo>
                    <a:lnTo>
                      <a:pt x="3592" y="1352"/>
                    </a:lnTo>
                    <a:lnTo>
                      <a:pt x="3594" y="1358"/>
                    </a:lnTo>
                    <a:lnTo>
                      <a:pt x="3596" y="1362"/>
                    </a:lnTo>
                    <a:lnTo>
                      <a:pt x="3594" y="1366"/>
                    </a:lnTo>
                    <a:lnTo>
                      <a:pt x="3590" y="1364"/>
                    </a:lnTo>
                    <a:lnTo>
                      <a:pt x="3580" y="1358"/>
                    </a:lnTo>
                    <a:lnTo>
                      <a:pt x="3580" y="1358"/>
                    </a:lnTo>
                    <a:lnTo>
                      <a:pt x="3570" y="1354"/>
                    </a:lnTo>
                    <a:lnTo>
                      <a:pt x="3568" y="1354"/>
                    </a:lnTo>
                    <a:lnTo>
                      <a:pt x="3566" y="1356"/>
                    </a:lnTo>
                    <a:lnTo>
                      <a:pt x="3562" y="1362"/>
                    </a:lnTo>
                    <a:lnTo>
                      <a:pt x="3562" y="1370"/>
                    </a:lnTo>
                    <a:lnTo>
                      <a:pt x="3562" y="1376"/>
                    </a:lnTo>
                    <a:lnTo>
                      <a:pt x="3560" y="1382"/>
                    </a:lnTo>
                    <a:lnTo>
                      <a:pt x="3558" y="1384"/>
                    </a:lnTo>
                    <a:lnTo>
                      <a:pt x="3554" y="1384"/>
                    </a:lnTo>
                    <a:lnTo>
                      <a:pt x="3546" y="1380"/>
                    </a:lnTo>
                    <a:lnTo>
                      <a:pt x="3546" y="1380"/>
                    </a:lnTo>
                    <a:lnTo>
                      <a:pt x="3536" y="1372"/>
                    </a:lnTo>
                    <a:lnTo>
                      <a:pt x="3530" y="1366"/>
                    </a:lnTo>
                    <a:lnTo>
                      <a:pt x="3522" y="1352"/>
                    </a:lnTo>
                    <a:lnTo>
                      <a:pt x="3516" y="1342"/>
                    </a:lnTo>
                    <a:lnTo>
                      <a:pt x="3508" y="1332"/>
                    </a:lnTo>
                    <a:lnTo>
                      <a:pt x="3494" y="1316"/>
                    </a:lnTo>
                    <a:lnTo>
                      <a:pt x="3474" y="1298"/>
                    </a:lnTo>
                    <a:lnTo>
                      <a:pt x="3474" y="1298"/>
                    </a:lnTo>
                    <a:lnTo>
                      <a:pt x="3464" y="1286"/>
                    </a:lnTo>
                    <a:lnTo>
                      <a:pt x="3458" y="1276"/>
                    </a:lnTo>
                    <a:lnTo>
                      <a:pt x="3456" y="1266"/>
                    </a:lnTo>
                    <a:lnTo>
                      <a:pt x="3456" y="1254"/>
                    </a:lnTo>
                    <a:lnTo>
                      <a:pt x="3456" y="1234"/>
                    </a:lnTo>
                    <a:lnTo>
                      <a:pt x="3456" y="1222"/>
                    </a:lnTo>
                    <a:lnTo>
                      <a:pt x="3454" y="1210"/>
                    </a:lnTo>
                    <a:lnTo>
                      <a:pt x="3454" y="1210"/>
                    </a:lnTo>
                    <a:lnTo>
                      <a:pt x="3450" y="1194"/>
                    </a:lnTo>
                    <a:lnTo>
                      <a:pt x="3450" y="1182"/>
                    </a:lnTo>
                    <a:lnTo>
                      <a:pt x="3454" y="1172"/>
                    </a:lnTo>
                    <a:lnTo>
                      <a:pt x="3456" y="1162"/>
                    </a:lnTo>
                    <a:lnTo>
                      <a:pt x="3458" y="1154"/>
                    </a:lnTo>
                    <a:lnTo>
                      <a:pt x="3456" y="1148"/>
                    </a:lnTo>
                    <a:lnTo>
                      <a:pt x="3452" y="1142"/>
                    </a:lnTo>
                    <a:lnTo>
                      <a:pt x="3440" y="1138"/>
                    </a:lnTo>
                    <a:lnTo>
                      <a:pt x="3440" y="1138"/>
                    </a:lnTo>
                    <a:lnTo>
                      <a:pt x="3414" y="1134"/>
                    </a:lnTo>
                    <a:lnTo>
                      <a:pt x="3394" y="1130"/>
                    </a:lnTo>
                    <a:lnTo>
                      <a:pt x="3378" y="1130"/>
                    </a:lnTo>
                    <a:lnTo>
                      <a:pt x="3368" y="1130"/>
                    </a:lnTo>
                    <a:lnTo>
                      <a:pt x="3354" y="1132"/>
                    </a:lnTo>
                    <a:lnTo>
                      <a:pt x="3346" y="1132"/>
                    </a:lnTo>
                    <a:lnTo>
                      <a:pt x="3340" y="1130"/>
                    </a:lnTo>
                    <a:lnTo>
                      <a:pt x="3340" y="1130"/>
                    </a:lnTo>
                    <a:lnTo>
                      <a:pt x="3334" y="1128"/>
                    </a:lnTo>
                    <a:lnTo>
                      <a:pt x="3330" y="1124"/>
                    </a:lnTo>
                    <a:lnTo>
                      <a:pt x="3322" y="1116"/>
                    </a:lnTo>
                    <a:lnTo>
                      <a:pt x="3316" y="1110"/>
                    </a:lnTo>
                    <a:lnTo>
                      <a:pt x="3306" y="1104"/>
                    </a:lnTo>
                    <a:lnTo>
                      <a:pt x="3290" y="1098"/>
                    </a:lnTo>
                    <a:lnTo>
                      <a:pt x="3268" y="1092"/>
                    </a:lnTo>
                    <a:lnTo>
                      <a:pt x="3268" y="1092"/>
                    </a:lnTo>
                    <a:lnTo>
                      <a:pt x="3246" y="1084"/>
                    </a:lnTo>
                    <a:lnTo>
                      <a:pt x="3236" y="1078"/>
                    </a:lnTo>
                    <a:lnTo>
                      <a:pt x="3232" y="1072"/>
                    </a:lnTo>
                    <a:lnTo>
                      <a:pt x="3230" y="1066"/>
                    </a:lnTo>
                    <a:lnTo>
                      <a:pt x="3226" y="1058"/>
                    </a:lnTo>
                    <a:lnTo>
                      <a:pt x="3216" y="1048"/>
                    </a:lnTo>
                    <a:lnTo>
                      <a:pt x="3198" y="1036"/>
                    </a:lnTo>
                    <a:lnTo>
                      <a:pt x="3166" y="1022"/>
                    </a:lnTo>
                    <a:lnTo>
                      <a:pt x="3166" y="1022"/>
                    </a:lnTo>
                    <a:lnTo>
                      <a:pt x="3146" y="1016"/>
                    </a:lnTo>
                    <a:lnTo>
                      <a:pt x="3130" y="1012"/>
                    </a:lnTo>
                    <a:lnTo>
                      <a:pt x="3114" y="1010"/>
                    </a:lnTo>
                    <a:lnTo>
                      <a:pt x="3102" y="1010"/>
                    </a:lnTo>
                    <a:lnTo>
                      <a:pt x="3090" y="1012"/>
                    </a:lnTo>
                    <a:lnTo>
                      <a:pt x="3080" y="1014"/>
                    </a:lnTo>
                    <a:lnTo>
                      <a:pt x="3064" y="1020"/>
                    </a:lnTo>
                    <a:lnTo>
                      <a:pt x="3052" y="1026"/>
                    </a:lnTo>
                    <a:lnTo>
                      <a:pt x="3046" y="1028"/>
                    </a:lnTo>
                    <a:lnTo>
                      <a:pt x="3044" y="1026"/>
                    </a:lnTo>
                    <a:lnTo>
                      <a:pt x="3042" y="1022"/>
                    </a:lnTo>
                    <a:lnTo>
                      <a:pt x="3040" y="1008"/>
                    </a:lnTo>
                    <a:lnTo>
                      <a:pt x="3040" y="1008"/>
                    </a:lnTo>
                    <a:lnTo>
                      <a:pt x="3040" y="992"/>
                    </a:lnTo>
                    <a:lnTo>
                      <a:pt x="3038" y="978"/>
                    </a:lnTo>
                    <a:lnTo>
                      <a:pt x="3032" y="962"/>
                    </a:lnTo>
                    <a:lnTo>
                      <a:pt x="3026" y="948"/>
                    </a:lnTo>
                    <a:lnTo>
                      <a:pt x="3024" y="938"/>
                    </a:lnTo>
                    <a:lnTo>
                      <a:pt x="3020" y="928"/>
                    </a:lnTo>
                    <a:lnTo>
                      <a:pt x="3020" y="928"/>
                    </a:lnTo>
                    <a:lnTo>
                      <a:pt x="3018" y="922"/>
                    </a:lnTo>
                    <a:lnTo>
                      <a:pt x="3016" y="918"/>
                    </a:lnTo>
                    <a:lnTo>
                      <a:pt x="3012" y="914"/>
                    </a:lnTo>
                    <a:lnTo>
                      <a:pt x="3008" y="914"/>
                    </a:lnTo>
                    <a:lnTo>
                      <a:pt x="2998" y="912"/>
                    </a:lnTo>
                    <a:lnTo>
                      <a:pt x="2986" y="912"/>
                    </a:lnTo>
                    <a:lnTo>
                      <a:pt x="2974" y="910"/>
                    </a:lnTo>
                    <a:lnTo>
                      <a:pt x="2968" y="908"/>
                    </a:lnTo>
                    <a:lnTo>
                      <a:pt x="2962" y="904"/>
                    </a:lnTo>
                    <a:lnTo>
                      <a:pt x="2958" y="898"/>
                    </a:lnTo>
                    <a:lnTo>
                      <a:pt x="2954" y="890"/>
                    </a:lnTo>
                    <a:lnTo>
                      <a:pt x="2950" y="882"/>
                    </a:lnTo>
                    <a:lnTo>
                      <a:pt x="2948" y="868"/>
                    </a:lnTo>
                    <a:lnTo>
                      <a:pt x="2948" y="868"/>
                    </a:lnTo>
                    <a:lnTo>
                      <a:pt x="2948" y="854"/>
                    </a:lnTo>
                    <a:lnTo>
                      <a:pt x="2948" y="840"/>
                    </a:lnTo>
                    <a:lnTo>
                      <a:pt x="2952" y="824"/>
                    </a:lnTo>
                    <a:lnTo>
                      <a:pt x="2956" y="808"/>
                    </a:lnTo>
                    <a:lnTo>
                      <a:pt x="2968" y="778"/>
                    </a:lnTo>
                    <a:lnTo>
                      <a:pt x="2982" y="750"/>
                    </a:lnTo>
                    <a:lnTo>
                      <a:pt x="2998" y="724"/>
                    </a:lnTo>
                    <a:lnTo>
                      <a:pt x="3014" y="706"/>
                    </a:lnTo>
                    <a:lnTo>
                      <a:pt x="3026" y="692"/>
                    </a:lnTo>
                    <a:lnTo>
                      <a:pt x="3030" y="690"/>
                    </a:lnTo>
                    <a:lnTo>
                      <a:pt x="3034" y="690"/>
                    </a:lnTo>
                    <a:lnTo>
                      <a:pt x="3034" y="690"/>
                    </a:lnTo>
                    <a:lnTo>
                      <a:pt x="3038" y="688"/>
                    </a:lnTo>
                    <a:lnTo>
                      <a:pt x="3042" y="684"/>
                    </a:lnTo>
                    <a:lnTo>
                      <a:pt x="3044" y="670"/>
                    </a:lnTo>
                    <a:lnTo>
                      <a:pt x="3048" y="662"/>
                    </a:lnTo>
                    <a:lnTo>
                      <a:pt x="3052" y="654"/>
                    </a:lnTo>
                    <a:lnTo>
                      <a:pt x="3060" y="648"/>
                    </a:lnTo>
                    <a:lnTo>
                      <a:pt x="3070" y="646"/>
                    </a:lnTo>
                    <a:lnTo>
                      <a:pt x="3070" y="646"/>
                    </a:lnTo>
                    <a:lnTo>
                      <a:pt x="3096" y="644"/>
                    </a:lnTo>
                    <a:lnTo>
                      <a:pt x="3106" y="640"/>
                    </a:lnTo>
                    <a:lnTo>
                      <a:pt x="3116" y="636"/>
                    </a:lnTo>
                    <a:lnTo>
                      <a:pt x="3120" y="630"/>
                    </a:lnTo>
                    <a:lnTo>
                      <a:pt x="3120" y="624"/>
                    </a:lnTo>
                    <a:lnTo>
                      <a:pt x="3116" y="614"/>
                    </a:lnTo>
                    <a:lnTo>
                      <a:pt x="3106" y="604"/>
                    </a:lnTo>
                    <a:lnTo>
                      <a:pt x="3106" y="604"/>
                    </a:lnTo>
                    <a:lnTo>
                      <a:pt x="3098" y="596"/>
                    </a:lnTo>
                    <a:lnTo>
                      <a:pt x="3098" y="594"/>
                    </a:lnTo>
                    <a:lnTo>
                      <a:pt x="3098" y="592"/>
                    </a:lnTo>
                    <a:lnTo>
                      <a:pt x="3104" y="590"/>
                    </a:lnTo>
                    <a:lnTo>
                      <a:pt x="3112" y="590"/>
                    </a:lnTo>
                    <a:lnTo>
                      <a:pt x="3124" y="590"/>
                    </a:lnTo>
                    <a:lnTo>
                      <a:pt x="3136" y="586"/>
                    </a:lnTo>
                    <a:lnTo>
                      <a:pt x="3140" y="584"/>
                    </a:lnTo>
                    <a:lnTo>
                      <a:pt x="3144" y="580"/>
                    </a:lnTo>
                    <a:lnTo>
                      <a:pt x="3148" y="576"/>
                    </a:lnTo>
                    <a:lnTo>
                      <a:pt x="3150" y="568"/>
                    </a:lnTo>
                    <a:lnTo>
                      <a:pt x="3150" y="568"/>
                    </a:lnTo>
                    <a:lnTo>
                      <a:pt x="3152" y="562"/>
                    </a:lnTo>
                    <a:lnTo>
                      <a:pt x="3154" y="558"/>
                    </a:lnTo>
                    <a:lnTo>
                      <a:pt x="3156" y="556"/>
                    </a:lnTo>
                    <a:lnTo>
                      <a:pt x="3158" y="556"/>
                    </a:lnTo>
                    <a:lnTo>
                      <a:pt x="3166" y="560"/>
                    </a:lnTo>
                    <a:lnTo>
                      <a:pt x="3176" y="566"/>
                    </a:lnTo>
                    <a:lnTo>
                      <a:pt x="3188" y="570"/>
                    </a:lnTo>
                    <a:lnTo>
                      <a:pt x="3194" y="572"/>
                    </a:lnTo>
                    <a:lnTo>
                      <a:pt x="3200" y="570"/>
                    </a:lnTo>
                    <a:lnTo>
                      <a:pt x="3206" y="568"/>
                    </a:lnTo>
                    <a:lnTo>
                      <a:pt x="3214" y="562"/>
                    </a:lnTo>
                    <a:lnTo>
                      <a:pt x="3220" y="554"/>
                    </a:lnTo>
                    <a:lnTo>
                      <a:pt x="3228" y="542"/>
                    </a:lnTo>
                    <a:lnTo>
                      <a:pt x="3228" y="542"/>
                    </a:lnTo>
                    <a:lnTo>
                      <a:pt x="3242" y="520"/>
                    </a:lnTo>
                    <a:lnTo>
                      <a:pt x="3252" y="506"/>
                    </a:lnTo>
                    <a:lnTo>
                      <a:pt x="3258" y="496"/>
                    </a:lnTo>
                    <a:lnTo>
                      <a:pt x="3260" y="492"/>
                    </a:lnTo>
                    <a:lnTo>
                      <a:pt x="3258" y="490"/>
                    </a:lnTo>
                    <a:lnTo>
                      <a:pt x="3256" y="488"/>
                    </a:lnTo>
                    <a:lnTo>
                      <a:pt x="3244" y="486"/>
                    </a:lnTo>
                    <a:lnTo>
                      <a:pt x="3228" y="484"/>
                    </a:lnTo>
                    <a:lnTo>
                      <a:pt x="3204" y="478"/>
                    </a:lnTo>
                    <a:lnTo>
                      <a:pt x="3204" y="478"/>
                    </a:lnTo>
                    <a:lnTo>
                      <a:pt x="3186" y="474"/>
                    </a:lnTo>
                    <a:lnTo>
                      <a:pt x="3176" y="470"/>
                    </a:lnTo>
                    <a:lnTo>
                      <a:pt x="3170" y="464"/>
                    </a:lnTo>
                    <a:lnTo>
                      <a:pt x="3164" y="460"/>
                    </a:lnTo>
                    <a:lnTo>
                      <a:pt x="3154" y="450"/>
                    </a:lnTo>
                    <a:lnTo>
                      <a:pt x="3144" y="444"/>
                    </a:lnTo>
                    <a:lnTo>
                      <a:pt x="3132" y="438"/>
                    </a:lnTo>
                    <a:lnTo>
                      <a:pt x="3132" y="438"/>
                    </a:lnTo>
                    <a:lnTo>
                      <a:pt x="3140" y="438"/>
                    </a:lnTo>
                    <a:lnTo>
                      <a:pt x="3148" y="438"/>
                    </a:lnTo>
                    <a:lnTo>
                      <a:pt x="3158" y="440"/>
                    </a:lnTo>
                    <a:lnTo>
                      <a:pt x="3166" y="442"/>
                    </a:lnTo>
                    <a:lnTo>
                      <a:pt x="3184" y="452"/>
                    </a:lnTo>
                    <a:lnTo>
                      <a:pt x="3202" y="462"/>
                    </a:lnTo>
                    <a:lnTo>
                      <a:pt x="3220" y="470"/>
                    </a:lnTo>
                    <a:lnTo>
                      <a:pt x="3230" y="472"/>
                    </a:lnTo>
                    <a:lnTo>
                      <a:pt x="3238" y="474"/>
                    </a:lnTo>
                    <a:lnTo>
                      <a:pt x="3246" y="474"/>
                    </a:lnTo>
                    <a:lnTo>
                      <a:pt x="3254" y="472"/>
                    </a:lnTo>
                    <a:lnTo>
                      <a:pt x="3262" y="466"/>
                    </a:lnTo>
                    <a:lnTo>
                      <a:pt x="3270" y="460"/>
                    </a:lnTo>
                    <a:lnTo>
                      <a:pt x="3270" y="460"/>
                    </a:lnTo>
                    <a:lnTo>
                      <a:pt x="3296" y="434"/>
                    </a:lnTo>
                    <a:lnTo>
                      <a:pt x="3302" y="426"/>
                    </a:lnTo>
                    <a:lnTo>
                      <a:pt x="3304" y="420"/>
                    </a:lnTo>
                    <a:lnTo>
                      <a:pt x="3304" y="416"/>
                    </a:lnTo>
                    <a:lnTo>
                      <a:pt x="3298" y="412"/>
                    </a:lnTo>
                    <a:lnTo>
                      <a:pt x="3278" y="402"/>
                    </a:lnTo>
                    <a:lnTo>
                      <a:pt x="3278" y="402"/>
                    </a:lnTo>
                    <a:lnTo>
                      <a:pt x="3270" y="394"/>
                    </a:lnTo>
                    <a:lnTo>
                      <a:pt x="3270" y="392"/>
                    </a:lnTo>
                    <a:lnTo>
                      <a:pt x="3270" y="390"/>
                    </a:lnTo>
                    <a:lnTo>
                      <a:pt x="3278" y="388"/>
                    </a:lnTo>
                    <a:lnTo>
                      <a:pt x="3288" y="388"/>
                    </a:lnTo>
                    <a:lnTo>
                      <a:pt x="3302" y="388"/>
                    </a:lnTo>
                    <a:lnTo>
                      <a:pt x="3316" y="390"/>
                    </a:lnTo>
                    <a:lnTo>
                      <a:pt x="3328" y="394"/>
                    </a:lnTo>
                    <a:lnTo>
                      <a:pt x="3336" y="400"/>
                    </a:lnTo>
                    <a:lnTo>
                      <a:pt x="3336" y="400"/>
                    </a:lnTo>
                    <a:lnTo>
                      <a:pt x="3346" y="410"/>
                    </a:lnTo>
                    <a:lnTo>
                      <a:pt x="3356" y="418"/>
                    </a:lnTo>
                    <a:lnTo>
                      <a:pt x="3366" y="426"/>
                    </a:lnTo>
                    <a:lnTo>
                      <a:pt x="3374" y="438"/>
                    </a:lnTo>
                    <a:lnTo>
                      <a:pt x="3374" y="438"/>
                    </a:lnTo>
                    <a:lnTo>
                      <a:pt x="3380" y="448"/>
                    </a:lnTo>
                    <a:lnTo>
                      <a:pt x="3388" y="452"/>
                    </a:lnTo>
                    <a:lnTo>
                      <a:pt x="3398" y="454"/>
                    </a:lnTo>
                    <a:lnTo>
                      <a:pt x="3410" y="452"/>
                    </a:lnTo>
                    <a:lnTo>
                      <a:pt x="3410" y="452"/>
                    </a:lnTo>
                    <a:lnTo>
                      <a:pt x="3412" y="450"/>
                    </a:lnTo>
                    <a:lnTo>
                      <a:pt x="3414" y="448"/>
                    </a:lnTo>
                    <a:lnTo>
                      <a:pt x="3412" y="444"/>
                    </a:lnTo>
                    <a:lnTo>
                      <a:pt x="3398" y="436"/>
                    </a:lnTo>
                    <a:lnTo>
                      <a:pt x="3392" y="432"/>
                    </a:lnTo>
                    <a:lnTo>
                      <a:pt x="3386" y="426"/>
                    </a:lnTo>
                    <a:lnTo>
                      <a:pt x="3384" y="424"/>
                    </a:lnTo>
                    <a:lnTo>
                      <a:pt x="3384" y="422"/>
                    </a:lnTo>
                    <a:lnTo>
                      <a:pt x="3386" y="418"/>
                    </a:lnTo>
                    <a:lnTo>
                      <a:pt x="3390" y="416"/>
                    </a:lnTo>
                    <a:lnTo>
                      <a:pt x="3390" y="416"/>
                    </a:lnTo>
                    <a:lnTo>
                      <a:pt x="3398" y="412"/>
                    </a:lnTo>
                    <a:lnTo>
                      <a:pt x="3404" y="406"/>
                    </a:lnTo>
                    <a:lnTo>
                      <a:pt x="3414" y="396"/>
                    </a:lnTo>
                    <a:lnTo>
                      <a:pt x="3426" y="388"/>
                    </a:lnTo>
                    <a:lnTo>
                      <a:pt x="3432" y="386"/>
                    </a:lnTo>
                    <a:lnTo>
                      <a:pt x="3438" y="386"/>
                    </a:lnTo>
                    <a:lnTo>
                      <a:pt x="3438" y="386"/>
                    </a:lnTo>
                    <a:lnTo>
                      <a:pt x="3444" y="386"/>
                    </a:lnTo>
                    <a:lnTo>
                      <a:pt x="3450" y="384"/>
                    </a:lnTo>
                    <a:lnTo>
                      <a:pt x="3456" y="380"/>
                    </a:lnTo>
                    <a:lnTo>
                      <a:pt x="3460" y="374"/>
                    </a:lnTo>
                    <a:lnTo>
                      <a:pt x="3468" y="364"/>
                    </a:lnTo>
                    <a:lnTo>
                      <a:pt x="3474" y="360"/>
                    </a:lnTo>
                    <a:lnTo>
                      <a:pt x="3478" y="360"/>
                    </a:lnTo>
                    <a:lnTo>
                      <a:pt x="3478" y="360"/>
                    </a:lnTo>
                    <a:lnTo>
                      <a:pt x="3484" y="358"/>
                    </a:lnTo>
                    <a:lnTo>
                      <a:pt x="3490" y="354"/>
                    </a:lnTo>
                    <a:lnTo>
                      <a:pt x="3492" y="348"/>
                    </a:lnTo>
                    <a:lnTo>
                      <a:pt x="3494" y="342"/>
                    </a:lnTo>
                    <a:lnTo>
                      <a:pt x="3492" y="334"/>
                    </a:lnTo>
                    <a:lnTo>
                      <a:pt x="3488" y="324"/>
                    </a:lnTo>
                    <a:lnTo>
                      <a:pt x="3482" y="316"/>
                    </a:lnTo>
                    <a:lnTo>
                      <a:pt x="3472" y="306"/>
                    </a:lnTo>
                    <a:lnTo>
                      <a:pt x="3472" y="306"/>
                    </a:lnTo>
                    <a:lnTo>
                      <a:pt x="3464" y="298"/>
                    </a:lnTo>
                    <a:lnTo>
                      <a:pt x="3460" y="292"/>
                    </a:lnTo>
                    <a:lnTo>
                      <a:pt x="3460" y="288"/>
                    </a:lnTo>
                    <a:lnTo>
                      <a:pt x="3462" y="284"/>
                    </a:lnTo>
                    <a:lnTo>
                      <a:pt x="3464" y="282"/>
                    </a:lnTo>
                    <a:lnTo>
                      <a:pt x="3466" y="278"/>
                    </a:lnTo>
                    <a:lnTo>
                      <a:pt x="3464" y="272"/>
                    </a:lnTo>
                    <a:lnTo>
                      <a:pt x="3458" y="266"/>
                    </a:lnTo>
                    <a:lnTo>
                      <a:pt x="3458" y="266"/>
                    </a:lnTo>
                    <a:lnTo>
                      <a:pt x="3452" y="260"/>
                    </a:lnTo>
                    <a:lnTo>
                      <a:pt x="3452" y="258"/>
                    </a:lnTo>
                    <a:lnTo>
                      <a:pt x="3452" y="258"/>
                    </a:lnTo>
                    <a:lnTo>
                      <a:pt x="3458" y="256"/>
                    </a:lnTo>
                    <a:lnTo>
                      <a:pt x="3466" y="256"/>
                    </a:lnTo>
                    <a:lnTo>
                      <a:pt x="3476" y="256"/>
                    </a:lnTo>
                    <a:lnTo>
                      <a:pt x="3484" y="254"/>
                    </a:lnTo>
                    <a:lnTo>
                      <a:pt x="3492" y="250"/>
                    </a:lnTo>
                    <a:lnTo>
                      <a:pt x="3494" y="248"/>
                    </a:lnTo>
                    <a:lnTo>
                      <a:pt x="3496" y="242"/>
                    </a:lnTo>
                    <a:lnTo>
                      <a:pt x="3496" y="242"/>
                    </a:lnTo>
                    <a:lnTo>
                      <a:pt x="3498" y="234"/>
                    </a:lnTo>
                    <a:lnTo>
                      <a:pt x="3496" y="230"/>
                    </a:lnTo>
                    <a:lnTo>
                      <a:pt x="3492" y="228"/>
                    </a:lnTo>
                    <a:lnTo>
                      <a:pt x="3488" y="226"/>
                    </a:lnTo>
                    <a:lnTo>
                      <a:pt x="3486" y="224"/>
                    </a:lnTo>
                    <a:lnTo>
                      <a:pt x="3484" y="222"/>
                    </a:lnTo>
                    <a:lnTo>
                      <a:pt x="3484" y="220"/>
                    </a:lnTo>
                    <a:lnTo>
                      <a:pt x="3490" y="214"/>
                    </a:lnTo>
                    <a:lnTo>
                      <a:pt x="3490" y="214"/>
                    </a:lnTo>
                    <a:lnTo>
                      <a:pt x="3492" y="206"/>
                    </a:lnTo>
                    <a:lnTo>
                      <a:pt x="3492" y="204"/>
                    </a:lnTo>
                    <a:lnTo>
                      <a:pt x="3486" y="202"/>
                    </a:lnTo>
                    <a:lnTo>
                      <a:pt x="3480" y="200"/>
                    </a:lnTo>
                    <a:lnTo>
                      <a:pt x="3472" y="198"/>
                    </a:lnTo>
                    <a:lnTo>
                      <a:pt x="3464" y="196"/>
                    </a:lnTo>
                    <a:lnTo>
                      <a:pt x="3458" y="192"/>
                    </a:lnTo>
                    <a:lnTo>
                      <a:pt x="3454" y="182"/>
                    </a:lnTo>
                    <a:lnTo>
                      <a:pt x="3454" y="182"/>
                    </a:lnTo>
                    <a:lnTo>
                      <a:pt x="3452" y="174"/>
                    </a:lnTo>
                    <a:lnTo>
                      <a:pt x="3446" y="170"/>
                    </a:lnTo>
                    <a:lnTo>
                      <a:pt x="3438" y="168"/>
                    </a:lnTo>
                    <a:lnTo>
                      <a:pt x="3428" y="168"/>
                    </a:lnTo>
                    <a:lnTo>
                      <a:pt x="3404" y="166"/>
                    </a:lnTo>
                    <a:lnTo>
                      <a:pt x="3392" y="164"/>
                    </a:lnTo>
                    <a:lnTo>
                      <a:pt x="3378" y="160"/>
                    </a:lnTo>
                    <a:lnTo>
                      <a:pt x="3378" y="160"/>
                    </a:lnTo>
                    <a:lnTo>
                      <a:pt x="3360" y="152"/>
                    </a:lnTo>
                    <a:lnTo>
                      <a:pt x="3356" y="152"/>
                    </a:lnTo>
                    <a:lnTo>
                      <a:pt x="3354" y="152"/>
                    </a:lnTo>
                    <a:lnTo>
                      <a:pt x="3348" y="156"/>
                    </a:lnTo>
                    <a:lnTo>
                      <a:pt x="3344" y="158"/>
                    </a:lnTo>
                    <a:lnTo>
                      <a:pt x="3334" y="158"/>
                    </a:lnTo>
                    <a:lnTo>
                      <a:pt x="3334" y="158"/>
                    </a:lnTo>
                    <a:lnTo>
                      <a:pt x="3326" y="160"/>
                    </a:lnTo>
                    <a:lnTo>
                      <a:pt x="3320" y="164"/>
                    </a:lnTo>
                    <a:lnTo>
                      <a:pt x="3318" y="172"/>
                    </a:lnTo>
                    <a:lnTo>
                      <a:pt x="3318" y="180"/>
                    </a:lnTo>
                    <a:lnTo>
                      <a:pt x="3322" y="190"/>
                    </a:lnTo>
                    <a:lnTo>
                      <a:pt x="3326" y="198"/>
                    </a:lnTo>
                    <a:lnTo>
                      <a:pt x="3330" y="206"/>
                    </a:lnTo>
                    <a:lnTo>
                      <a:pt x="3338" y="210"/>
                    </a:lnTo>
                    <a:lnTo>
                      <a:pt x="3338" y="210"/>
                    </a:lnTo>
                    <a:lnTo>
                      <a:pt x="3342" y="212"/>
                    </a:lnTo>
                    <a:lnTo>
                      <a:pt x="3346" y="216"/>
                    </a:lnTo>
                    <a:lnTo>
                      <a:pt x="3346" y="222"/>
                    </a:lnTo>
                    <a:lnTo>
                      <a:pt x="3344" y="226"/>
                    </a:lnTo>
                    <a:lnTo>
                      <a:pt x="3342" y="230"/>
                    </a:lnTo>
                    <a:lnTo>
                      <a:pt x="3338" y="232"/>
                    </a:lnTo>
                    <a:lnTo>
                      <a:pt x="3332" y="234"/>
                    </a:lnTo>
                    <a:lnTo>
                      <a:pt x="3326" y="234"/>
                    </a:lnTo>
                    <a:lnTo>
                      <a:pt x="3326" y="234"/>
                    </a:lnTo>
                    <a:lnTo>
                      <a:pt x="3322" y="236"/>
                    </a:lnTo>
                    <a:lnTo>
                      <a:pt x="3320" y="240"/>
                    </a:lnTo>
                    <a:lnTo>
                      <a:pt x="3318" y="256"/>
                    </a:lnTo>
                    <a:lnTo>
                      <a:pt x="3318" y="266"/>
                    </a:lnTo>
                    <a:lnTo>
                      <a:pt x="3316" y="278"/>
                    </a:lnTo>
                    <a:lnTo>
                      <a:pt x="3310" y="288"/>
                    </a:lnTo>
                    <a:lnTo>
                      <a:pt x="3300" y="296"/>
                    </a:lnTo>
                    <a:lnTo>
                      <a:pt x="3300" y="296"/>
                    </a:lnTo>
                    <a:lnTo>
                      <a:pt x="3292" y="302"/>
                    </a:lnTo>
                    <a:lnTo>
                      <a:pt x="3286" y="310"/>
                    </a:lnTo>
                    <a:lnTo>
                      <a:pt x="3284" y="316"/>
                    </a:lnTo>
                    <a:lnTo>
                      <a:pt x="3282" y="322"/>
                    </a:lnTo>
                    <a:lnTo>
                      <a:pt x="3280" y="328"/>
                    </a:lnTo>
                    <a:lnTo>
                      <a:pt x="3278" y="332"/>
                    </a:lnTo>
                    <a:lnTo>
                      <a:pt x="3274" y="338"/>
                    </a:lnTo>
                    <a:lnTo>
                      <a:pt x="3264" y="342"/>
                    </a:lnTo>
                    <a:lnTo>
                      <a:pt x="3264" y="342"/>
                    </a:lnTo>
                    <a:lnTo>
                      <a:pt x="3250" y="344"/>
                    </a:lnTo>
                    <a:lnTo>
                      <a:pt x="3246" y="344"/>
                    </a:lnTo>
                    <a:lnTo>
                      <a:pt x="3244" y="340"/>
                    </a:lnTo>
                    <a:lnTo>
                      <a:pt x="3238" y="330"/>
                    </a:lnTo>
                    <a:lnTo>
                      <a:pt x="3232" y="322"/>
                    </a:lnTo>
                    <a:lnTo>
                      <a:pt x="3222" y="312"/>
                    </a:lnTo>
                    <a:lnTo>
                      <a:pt x="3222" y="312"/>
                    </a:lnTo>
                    <a:lnTo>
                      <a:pt x="3214" y="304"/>
                    </a:lnTo>
                    <a:lnTo>
                      <a:pt x="3210" y="298"/>
                    </a:lnTo>
                    <a:lnTo>
                      <a:pt x="3212" y="292"/>
                    </a:lnTo>
                    <a:lnTo>
                      <a:pt x="3216" y="288"/>
                    </a:lnTo>
                    <a:lnTo>
                      <a:pt x="3226" y="280"/>
                    </a:lnTo>
                    <a:lnTo>
                      <a:pt x="3232" y="276"/>
                    </a:lnTo>
                    <a:lnTo>
                      <a:pt x="3234" y="270"/>
                    </a:lnTo>
                    <a:lnTo>
                      <a:pt x="3234" y="270"/>
                    </a:lnTo>
                    <a:lnTo>
                      <a:pt x="3232" y="260"/>
                    </a:lnTo>
                    <a:lnTo>
                      <a:pt x="3228" y="248"/>
                    </a:lnTo>
                    <a:lnTo>
                      <a:pt x="3220" y="234"/>
                    </a:lnTo>
                    <a:lnTo>
                      <a:pt x="3212" y="220"/>
                    </a:lnTo>
                    <a:lnTo>
                      <a:pt x="3200" y="210"/>
                    </a:lnTo>
                    <a:lnTo>
                      <a:pt x="3190" y="202"/>
                    </a:lnTo>
                    <a:lnTo>
                      <a:pt x="3184" y="200"/>
                    </a:lnTo>
                    <a:lnTo>
                      <a:pt x="3178" y="200"/>
                    </a:lnTo>
                    <a:lnTo>
                      <a:pt x="3172" y="202"/>
                    </a:lnTo>
                    <a:lnTo>
                      <a:pt x="3168" y="206"/>
                    </a:lnTo>
                    <a:lnTo>
                      <a:pt x="3168" y="206"/>
                    </a:lnTo>
                    <a:lnTo>
                      <a:pt x="3158" y="216"/>
                    </a:lnTo>
                    <a:lnTo>
                      <a:pt x="3154" y="230"/>
                    </a:lnTo>
                    <a:lnTo>
                      <a:pt x="3148" y="254"/>
                    </a:lnTo>
                    <a:lnTo>
                      <a:pt x="3146" y="262"/>
                    </a:lnTo>
                    <a:lnTo>
                      <a:pt x="3142" y="268"/>
                    </a:lnTo>
                    <a:lnTo>
                      <a:pt x="3140" y="268"/>
                    </a:lnTo>
                    <a:lnTo>
                      <a:pt x="3138" y="268"/>
                    </a:lnTo>
                    <a:lnTo>
                      <a:pt x="3130" y="260"/>
                    </a:lnTo>
                    <a:lnTo>
                      <a:pt x="3130" y="260"/>
                    </a:lnTo>
                    <a:lnTo>
                      <a:pt x="3124" y="252"/>
                    </a:lnTo>
                    <a:lnTo>
                      <a:pt x="3122" y="246"/>
                    </a:lnTo>
                    <a:lnTo>
                      <a:pt x="3122" y="242"/>
                    </a:lnTo>
                    <a:lnTo>
                      <a:pt x="3124" y="238"/>
                    </a:lnTo>
                    <a:lnTo>
                      <a:pt x="3126" y="236"/>
                    </a:lnTo>
                    <a:lnTo>
                      <a:pt x="3128" y="232"/>
                    </a:lnTo>
                    <a:lnTo>
                      <a:pt x="3124" y="226"/>
                    </a:lnTo>
                    <a:lnTo>
                      <a:pt x="3118" y="216"/>
                    </a:lnTo>
                    <a:lnTo>
                      <a:pt x="3118" y="216"/>
                    </a:lnTo>
                    <a:lnTo>
                      <a:pt x="3112" y="208"/>
                    </a:lnTo>
                    <a:lnTo>
                      <a:pt x="3110" y="204"/>
                    </a:lnTo>
                    <a:lnTo>
                      <a:pt x="3110" y="202"/>
                    </a:lnTo>
                    <a:lnTo>
                      <a:pt x="3114" y="198"/>
                    </a:lnTo>
                    <a:lnTo>
                      <a:pt x="3120" y="194"/>
                    </a:lnTo>
                    <a:lnTo>
                      <a:pt x="3126" y="192"/>
                    </a:lnTo>
                    <a:lnTo>
                      <a:pt x="3128" y="190"/>
                    </a:lnTo>
                    <a:lnTo>
                      <a:pt x="3126" y="186"/>
                    </a:lnTo>
                    <a:lnTo>
                      <a:pt x="3116" y="180"/>
                    </a:lnTo>
                    <a:lnTo>
                      <a:pt x="3116" y="180"/>
                    </a:lnTo>
                    <a:lnTo>
                      <a:pt x="3104" y="174"/>
                    </a:lnTo>
                    <a:lnTo>
                      <a:pt x="3094" y="172"/>
                    </a:lnTo>
                    <a:lnTo>
                      <a:pt x="3088" y="172"/>
                    </a:lnTo>
                    <a:lnTo>
                      <a:pt x="3082" y="174"/>
                    </a:lnTo>
                    <a:lnTo>
                      <a:pt x="3076" y="176"/>
                    </a:lnTo>
                    <a:lnTo>
                      <a:pt x="3070" y="178"/>
                    </a:lnTo>
                    <a:lnTo>
                      <a:pt x="3064" y="176"/>
                    </a:lnTo>
                    <a:lnTo>
                      <a:pt x="3054" y="172"/>
                    </a:lnTo>
                    <a:lnTo>
                      <a:pt x="3054" y="172"/>
                    </a:lnTo>
                    <a:lnTo>
                      <a:pt x="3050" y="170"/>
                    </a:lnTo>
                    <a:lnTo>
                      <a:pt x="3048" y="168"/>
                    </a:lnTo>
                    <a:lnTo>
                      <a:pt x="3048" y="164"/>
                    </a:lnTo>
                    <a:lnTo>
                      <a:pt x="3048" y="162"/>
                    </a:lnTo>
                    <a:lnTo>
                      <a:pt x="3054" y="154"/>
                    </a:lnTo>
                    <a:lnTo>
                      <a:pt x="3062" y="148"/>
                    </a:lnTo>
                    <a:lnTo>
                      <a:pt x="3076" y="134"/>
                    </a:lnTo>
                    <a:lnTo>
                      <a:pt x="3080" y="130"/>
                    </a:lnTo>
                    <a:lnTo>
                      <a:pt x="3080" y="126"/>
                    </a:lnTo>
                    <a:lnTo>
                      <a:pt x="3078" y="124"/>
                    </a:lnTo>
                    <a:lnTo>
                      <a:pt x="3078" y="124"/>
                    </a:lnTo>
                    <a:lnTo>
                      <a:pt x="3064" y="114"/>
                    </a:lnTo>
                    <a:lnTo>
                      <a:pt x="3046" y="102"/>
                    </a:lnTo>
                    <a:lnTo>
                      <a:pt x="3038" y="94"/>
                    </a:lnTo>
                    <a:lnTo>
                      <a:pt x="3032" y="86"/>
                    </a:lnTo>
                    <a:lnTo>
                      <a:pt x="3028" y="78"/>
                    </a:lnTo>
                    <a:lnTo>
                      <a:pt x="3026" y="66"/>
                    </a:lnTo>
                    <a:lnTo>
                      <a:pt x="3026" y="66"/>
                    </a:lnTo>
                    <a:lnTo>
                      <a:pt x="3026" y="62"/>
                    </a:lnTo>
                    <a:lnTo>
                      <a:pt x="3026" y="56"/>
                    </a:lnTo>
                    <a:lnTo>
                      <a:pt x="3020" y="44"/>
                    </a:lnTo>
                    <a:lnTo>
                      <a:pt x="3010" y="34"/>
                    </a:lnTo>
                    <a:lnTo>
                      <a:pt x="2998" y="24"/>
                    </a:lnTo>
                    <a:lnTo>
                      <a:pt x="2986" y="14"/>
                    </a:lnTo>
                    <a:lnTo>
                      <a:pt x="2972" y="8"/>
                    </a:lnTo>
                    <a:lnTo>
                      <a:pt x="2960" y="2"/>
                    </a:lnTo>
                    <a:lnTo>
                      <a:pt x="2948" y="0"/>
                    </a:lnTo>
                    <a:lnTo>
                      <a:pt x="2948" y="0"/>
                    </a:lnTo>
                    <a:lnTo>
                      <a:pt x="2940" y="0"/>
                    </a:lnTo>
                    <a:lnTo>
                      <a:pt x="2936" y="2"/>
                    </a:lnTo>
                    <a:lnTo>
                      <a:pt x="2934" y="4"/>
                    </a:lnTo>
                    <a:lnTo>
                      <a:pt x="2932" y="8"/>
                    </a:lnTo>
                    <a:lnTo>
                      <a:pt x="2932" y="12"/>
                    </a:lnTo>
                    <a:lnTo>
                      <a:pt x="2928" y="16"/>
                    </a:lnTo>
                    <a:lnTo>
                      <a:pt x="2924" y="20"/>
                    </a:lnTo>
                    <a:lnTo>
                      <a:pt x="2916" y="22"/>
                    </a:lnTo>
                    <a:lnTo>
                      <a:pt x="2916" y="22"/>
                    </a:lnTo>
                    <a:lnTo>
                      <a:pt x="2908" y="26"/>
                    </a:lnTo>
                    <a:lnTo>
                      <a:pt x="2904" y="28"/>
                    </a:lnTo>
                    <a:lnTo>
                      <a:pt x="2902" y="30"/>
                    </a:lnTo>
                    <a:lnTo>
                      <a:pt x="2902" y="34"/>
                    </a:lnTo>
                    <a:lnTo>
                      <a:pt x="2902" y="38"/>
                    </a:lnTo>
                    <a:lnTo>
                      <a:pt x="2900" y="42"/>
                    </a:lnTo>
                    <a:lnTo>
                      <a:pt x="2894" y="46"/>
                    </a:lnTo>
                    <a:lnTo>
                      <a:pt x="2886" y="50"/>
                    </a:lnTo>
                    <a:lnTo>
                      <a:pt x="2886" y="50"/>
                    </a:lnTo>
                    <a:lnTo>
                      <a:pt x="2878" y="56"/>
                    </a:lnTo>
                    <a:lnTo>
                      <a:pt x="2876" y="62"/>
                    </a:lnTo>
                    <a:lnTo>
                      <a:pt x="2876" y="70"/>
                    </a:lnTo>
                    <a:lnTo>
                      <a:pt x="2878" y="80"/>
                    </a:lnTo>
                    <a:lnTo>
                      <a:pt x="2886" y="98"/>
                    </a:lnTo>
                    <a:lnTo>
                      <a:pt x="2888" y="106"/>
                    </a:lnTo>
                    <a:lnTo>
                      <a:pt x="2886" y="114"/>
                    </a:lnTo>
                    <a:lnTo>
                      <a:pt x="2886" y="114"/>
                    </a:lnTo>
                    <a:lnTo>
                      <a:pt x="2884" y="128"/>
                    </a:lnTo>
                    <a:lnTo>
                      <a:pt x="2884" y="136"/>
                    </a:lnTo>
                    <a:lnTo>
                      <a:pt x="2886" y="142"/>
                    </a:lnTo>
                    <a:lnTo>
                      <a:pt x="2890" y="150"/>
                    </a:lnTo>
                    <a:lnTo>
                      <a:pt x="2898" y="156"/>
                    </a:lnTo>
                    <a:lnTo>
                      <a:pt x="2910" y="162"/>
                    </a:lnTo>
                    <a:lnTo>
                      <a:pt x="2924" y="168"/>
                    </a:lnTo>
                    <a:lnTo>
                      <a:pt x="2924" y="168"/>
                    </a:lnTo>
                    <a:lnTo>
                      <a:pt x="2940" y="172"/>
                    </a:lnTo>
                    <a:lnTo>
                      <a:pt x="2954" y="180"/>
                    </a:lnTo>
                    <a:lnTo>
                      <a:pt x="2964" y="186"/>
                    </a:lnTo>
                    <a:lnTo>
                      <a:pt x="2970" y="194"/>
                    </a:lnTo>
                    <a:lnTo>
                      <a:pt x="2974" y="202"/>
                    </a:lnTo>
                    <a:lnTo>
                      <a:pt x="2974" y="208"/>
                    </a:lnTo>
                    <a:lnTo>
                      <a:pt x="2972" y="214"/>
                    </a:lnTo>
                    <a:lnTo>
                      <a:pt x="2966" y="218"/>
                    </a:lnTo>
                    <a:lnTo>
                      <a:pt x="2966" y="218"/>
                    </a:lnTo>
                    <a:lnTo>
                      <a:pt x="2958" y="222"/>
                    </a:lnTo>
                    <a:lnTo>
                      <a:pt x="2954" y="226"/>
                    </a:lnTo>
                    <a:lnTo>
                      <a:pt x="2954" y="232"/>
                    </a:lnTo>
                    <a:lnTo>
                      <a:pt x="2956" y="234"/>
                    </a:lnTo>
                    <a:lnTo>
                      <a:pt x="2960" y="238"/>
                    </a:lnTo>
                    <a:lnTo>
                      <a:pt x="2966" y="238"/>
                    </a:lnTo>
                    <a:lnTo>
                      <a:pt x="2972" y="236"/>
                    </a:lnTo>
                    <a:lnTo>
                      <a:pt x="2980" y="234"/>
                    </a:lnTo>
                    <a:lnTo>
                      <a:pt x="2980" y="234"/>
                    </a:lnTo>
                    <a:lnTo>
                      <a:pt x="2986" y="230"/>
                    </a:lnTo>
                    <a:lnTo>
                      <a:pt x="2992" y="230"/>
                    </a:lnTo>
                    <a:lnTo>
                      <a:pt x="2996" y="232"/>
                    </a:lnTo>
                    <a:lnTo>
                      <a:pt x="2996" y="238"/>
                    </a:lnTo>
                    <a:lnTo>
                      <a:pt x="2994" y="246"/>
                    </a:lnTo>
                    <a:lnTo>
                      <a:pt x="2988" y="254"/>
                    </a:lnTo>
                    <a:lnTo>
                      <a:pt x="2980" y="262"/>
                    </a:lnTo>
                    <a:lnTo>
                      <a:pt x="2968" y="272"/>
                    </a:lnTo>
                    <a:lnTo>
                      <a:pt x="2968" y="272"/>
                    </a:lnTo>
                    <a:lnTo>
                      <a:pt x="2956" y="280"/>
                    </a:lnTo>
                    <a:lnTo>
                      <a:pt x="2946" y="282"/>
                    </a:lnTo>
                    <a:lnTo>
                      <a:pt x="2940" y="284"/>
                    </a:lnTo>
                    <a:lnTo>
                      <a:pt x="2934" y="282"/>
                    </a:lnTo>
                    <a:lnTo>
                      <a:pt x="2930" y="280"/>
                    </a:lnTo>
                    <a:lnTo>
                      <a:pt x="2928" y="282"/>
                    </a:lnTo>
                    <a:lnTo>
                      <a:pt x="2926" y="284"/>
                    </a:lnTo>
                    <a:lnTo>
                      <a:pt x="2922" y="290"/>
                    </a:lnTo>
                    <a:lnTo>
                      <a:pt x="2922" y="290"/>
                    </a:lnTo>
                    <a:lnTo>
                      <a:pt x="2920" y="300"/>
                    </a:lnTo>
                    <a:lnTo>
                      <a:pt x="2924" y="312"/>
                    </a:lnTo>
                    <a:lnTo>
                      <a:pt x="2930" y="334"/>
                    </a:lnTo>
                    <a:lnTo>
                      <a:pt x="2934" y="342"/>
                    </a:lnTo>
                    <a:lnTo>
                      <a:pt x="2934" y="348"/>
                    </a:lnTo>
                    <a:lnTo>
                      <a:pt x="2934" y="350"/>
                    </a:lnTo>
                    <a:lnTo>
                      <a:pt x="2930" y="348"/>
                    </a:lnTo>
                    <a:lnTo>
                      <a:pt x="2922" y="344"/>
                    </a:lnTo>
                    <a:lnTo>
                      <a:pt x="2922" y="344"/>
                    </a:lnTo>
                    <a:lnTo>
                      <a:pt x="2902" y="330"/>
                    </a:lnTo>
                    <a:lnTo>
                      <a:pt x="2896" y="326"/>
                    </a:lnTo>
                    <a:lnTo>
                      <a:pt x="2892" y="320"/>
                    </a:lnTo>
                    <a:lnTo>
                      <a:pt x="2892" y="316"/>
                    </a:lnTo>
                    <a:lnTo>
                      <a:pt x="2892" y="312"/>
                    </a:lnTo>
                    <a:lnTo>
                      <a:pt x="2896" y="298"/>
                    </a:lnTo>
                    <a:lnTo>
                      <a:pt x="2896" y="298"/>
                    </a:lnTo>
                    <a:lnTo>
                      <a:pt x="2900" y="286"/>
                    </a:lnTo>
                    <a:lnTo>
                      <a:pt x="2902" y="280"/>
                    </a:lnTo>
                    <a:lnTo>
                      <a:pt x="2900" y="276"/>
                    </a:lnTo>
                    <a:lnTo>
                      <a:pt x="2898" y="272"/>
                    </a:lnTo>
                    <a:lnTo>
                      <a:pt x="2892" y="270"/>
                    </a:lnTo>
                    <a:lnTo>
                      <a:pt x="2886" y="270"/>
                    </a:lnTo>
                    <a:lnTo>
                      <a:pt x="2876" y="270"/>
                    </a:lnTo>
                    <a:lnTo>
                      <a:pt x="2876" y="270"/>
                    </a:lnTo>
                    <a:lnTo>
                      <a:pt x="2866" y="270"/>
                    </a:lnTo>
                    <a:lnTo>
                      <a:pt x="2858" y="268"/>
                    </a:lnTo>
                    <a:lnTo>
                      <a:pt x="2844" y="260"/>
                    </a:lnTo>
                    <a:lnTo>
                      <a:pt x="2838" y="256"/>
                    </a:lnTo>
                    <a:lnTo>
                      <a:pt x="2830" y="254"/>
                    </a:lnTo>
                    <a:lnTo>
                      <a:pt x="2820" y="254"/>
                    </a:lnTo>
                    <a:lnTo>
                      <a:pt x="2810" y="258"/>
                    </a:lnTo>
                    <a:lnTo>
                      <a:pt x="2810" y="258"/>
                    </a:lnTo>
                    <a:lnTo>
                      <a:pt x="2800" y="264"/>
                    </a:lnTo>
                    <a:lnTo>
                      <a:pt x="2796" y="272"/>
                    </a:lnTo>
                    <a:lnTo>
                      <a:pt x="2796" y="278"/>
                    </a:lnTo>
                    <a:lnTo>
                      <a:pt x="2796" y="286"/>
                    </a:lnTo>
                    <a:lnTo>
                      <a:pt x="2798" y="292"/>
                    </a:lnTo>
                    <a:lnTo>
                      <a:pt x="2798" y="298"/>
                    </a:lnTo>
                    <a:lnTo>
                      <a:pt x="2794" y="304"/>
                    </a:lnTo>
                    <a:lnTo>
                      <a:pt x="2786" y="308"/>
                    </a:lnTo>
                    <a:lnTo>
                      <a:pt x="2786" y="308"/>
                    </a:lnTo>
                    <a:lnTo>
                      <a:pt x="2778" y="310"/>
                    </a:lnTo>
                    <a:lnTo>
                      <a:pt x="2772" y="308"/>
                    </a:lnTo>
                    <a:lnTo>
                      <a:pt x="2760" y="302"/>
                    </a:lnTo>
                    <a:lnTo>
                      <a:pt x="2752" y="300"/>
                    </a:lnTo>
                    <a:lnTo>
                      <a:pt x="2742" y="298"/>
                    </a:lnTo>
                    <a:lnTo>
                      <a:pt x="2726" y="298"/>
                    </a:lnTo>
                    <a:lnTo>
                      <a:pt x="2708" y="302"/>
                    </a:lnTo>
                    <a:lnTo>
                      <a:pt x="2708" y="302"/>
                    </a:lnTo>
                    <a:lnTo>
                      <a:pt x="2680" y="306"/>
                    </a:lnTo>
                    <a:lnTo>
                      <a:pt x="2658" y="306"/>
                    </a:lnTo>
                    <a:lnTo>
                      <a:pt x="2640" y="302"/>
                    </a:lnTo>
                    <a:lnTo>
                      <a:pt x="2626" y="298"/>
                    </a:lnTo>
                    <a:lnTo>
                      <a:pt x="2606" y="286"/>
                    </a:lnTo>
                    <a:lnTo>
                      <a:pt x="2598" y="284"/>
                    </a:lnTo>
                    <a:lnTo>
                      <a:pt x="2590" y="286"/>
                    </a:lnTo>
                    <a:lnTo>
                      <a:pt x="2590" y="286"/>
                    </a:lnTo>
                    <a:lnTo>
                      <a:pt x="2580" y="288"/>
                    </a:lnTo>
                    <a:lnTo>
                      <a:pt x="2572" y="288"/>
                    </a:lnTo>
                    <a:lnTo>
                      <a:pt x="2564" y="286"/>
                    </a:lnTo>
                    <a:lnTo>
                      <a:pt x="2556" y="282"/>
                    </a:lnTo>
                    <a:lnTo>
                      <a:pt x="2544" y="272"/>
                    </a:lnTo>
                    <a:lnTo>
                      <a:pt x="2532" y="260"/>
                    </a:lnTo>
                    <a:lnTo>
                      <a:pt x="2520" y="246"/>
                    </a:lnTo>
                    <a:lnTo>
                      <a:pt x="2510" y="234"/>
                    </a:lnTo>
                    <a:lnTo>
                      <a:pt x="2504" y="230"/>
                    </a:lnTo>
                    <a:lnTo>
                      <a:pt x="2498" y="226"/>
                    </a:lnTo>
                    <a:lnTo>
                      <a:pt x="2492" y="224"/>
                    </a:lnTo>
                    <a:lnTo>
                      <a:pt x="2486" y="224"/>
                    </a:lnTo>
                    <a:lnTo>
                      <a:pt x="2486" y="224"/>
                    </a:lnTo>
                    <a:lnTo>
                      <a:pt x="2456" y="230"/>
                    </a:lnTo>
                    <a:lnTo>
                      <a:pt x="2438" y="234"/>
                    </a:lnTo>
                    <a:lnTo>
                      <a:pt x="2422" y="240"/>
                    </a:lnTo>
                    <a:lnTo>
                      <a:pt x="2408" y="246"/>
                    </a:lnTo>
                    <a:lnTo>
                      <a:pt x="2398" y="252"/>
                    </a:lnTo>
                    <a:lnTo>
                      <a:pt x="2394" y="256"/>
                    </a:lnTo>
                    <a:lnTo>
                      <a:pt x="2392" y="262"/>
                    </a:lnTo>
                    <a:lnTo>
                      <a:pt x="2392" y="266"/>
                    </a:lnTo>
                    <a:lnTo>
                      <a:pt x="2394" y="270"/>
                    </a:lnTo>
                    <a:lnTo>
                      <a:pt x="2394" y="270"/>
                    </a:lnTo>
                    <a:lnTo>
                      <a:pt x="2398" y="274"/>
                    </a:lnTo>
                    <a:lnTo>
                      <a:pt x="2400" y="278"/>
                    </a:lnTo>
                    <a:lnTo>
                      <a:pt x="2406" y="280"/>
                    </a:lnTo>
                    <a:lnTo>
                      <a:pt x="2410" y="280"/>
                    </a:lnTo>
                    <a:lnTo>
                      <a:pt x="2420" y="278"/>
                    </a:lnTo>
                    <a:lnTo>
                      <a:pt x="2432" y="274"/>
                    </a:lnTo>
                    <a:lnTo>
                      <a:pt x="2456" y="264"/>
                    </a:lnTo>
                    <a:lnTo>
                      <a:pt x="2464" y="262"/>
                    </a:lnTo>
                    <a:lnTo>
                      <a:pt x="2468" y="262"/>
                    </a:lnTo>
                    <a:lnTo>
                      <a:pt x="2472" y="264"/>
                    </a:lnTo>
                    <a:lnTo>
                      <a:pt x="2472" y="264"/>
                    </a:lnTo>
                    <a:lnTo>
                      <a:pt x="2474" y="266"/>
                    </a:lnTo>
                    <a:lnTo>
                      <a:pt x="2476" y="268"/>
                    </a:lnTo>
                    <a:lnTo>
                      <a:pt x="2472" y="272"/>
                    </a:lnTo>
                    <a:lnTo>
                      <a:pt x="2456" y="278"/>
                    </a:lnTo>
                    <a:lnTo>
                      <a:pt x="2436" y="286"/>
                    </a:lnTo>
                    <a:lnTo>
                      <a:pt x="2428" y="292"/>
                    </a:lnTo>
                    <a:lnTo>
                      <a:pt x="2422" y="298"/>
                    </a:lnTo>
                    <a:lnTo>
                      <a:pt x="2422" y="298"/>
                    </a:lnTo>
                    <a:lnTo>
                      <a:pt x="2422" y="304"/>
                    </a:lnTo>
                    <a:lnTo>
                      <a:pt x="2424" y="308"/>
                    </a:lnTo>
                    <a:lnTo>
                      <a:pt x="2428" y="320"/>
                    </a:lnTo>
                    <a:lnTo>
                      <a:pt x="2440" y="342"/>
                    </a:lnTo>
                    <a:lnTo>
                      <a:pt x="2444" y="350"/>
                    </a:lnTo>
                    <a:lnTo>
                      <a:pt x="2444" y="352"/>
                    </a:lnTo>
                    <a:lnTo>
                      <a:pt x="2444" y="354"/>
                    </a:lnTo>
                    <a:lnTo>
                      <a:pt x="2436" y="350"/>
                    </a:lnTo>
                    <a:lnTo>
                      <a:pt x="2418" y="340"/>
                    </a:lnTo>
                    <a:lnTo>
                      <a:pt x="2418" y="340"/>
                    </a:lnTo>
                    <a:lnTo>
                      <a:pt x="2398" y="326"/>
                    </a:lnTo>
                    <a:lnTo>
                      <a:pt x="2382" y="318"/>
                    </a:lnTo>
                    <a:lnTo>
                      <a:pt x="2364" y="310"/>
                    </a:lnTo>
                    <a:lnTo>
                      <a:pt x="2354" y="306"/>
                    </a:lnTo>
                    <a:lnTo>
                      <a:pt x="2348" y="302"/>
                    </a:lnTo>
                    <a:lnTo>
                      <a:pt x="2340" y="294"/>
                    </a:lnTo>
                    <a:lnTo>
                      <a:pt x="2340" y="294"/>
                    </a:lnTo>
                    <a:lnTo>
                      <a:pt x="2334" y="288"/>
                    </a:lnTo>
                    <a:lnTo>
                      <a:pt x="2330" y="286"/>
                    </a:lnTo>
                    <a:lnTo>
                      <a:pt x="2326" y="288"/>
                    </a:lnTo>
                    <a:lnTo>
                      <a:pt x="2320" y="290"/>
                    </a:lnTo>
                    <a:lnTo>
                      <a:pt x="2314" y="296"/>
                    </a:lnTo>
                    <a:lnTo>
                      <a:pt x="2304" y="300"/>
                    </a:lnTo>
                    <a:lnTo>
                      <a:pt x="2286" y="304"/>
                    </a:lnTo>
                    <a:lnTo>
                      <a:pt x="2262" y="308"/>
                    </a:lnTo>
                    <a:lnTo>
                      <a:pt x="2262" y="308"/>
                    </a:lnTo>
                    <a:lnTo>
                      <a:pt x="2206" y="308"/>
                    </a:lnTo>
                    <a:lnTo>
                      <a:pt x="2180" y="308"/>
                    </a:lnTo>
                    <a:lnTo>
                      <a:pt x="2156" y="306"/>
                    </a:lnTo>
                    <a:lnTo>
                      <a:pt x="2140" y="302"/>
                    </a:lnTo>
                    <a:lnTo>
                      <a:pt x="2128" y="298"/>
                    </a:lnTo>
                    <a:lnTo>
                      <a:pt x="2124" y="296"/>
                    </a:lnTo>
                    <a:lnTo>
                      <a:pt x="2124" y="292"/>
                    </a:lnTo>
                    <a:lnTo>
                      <a:pt x="2126" y="288"/>
                    </a:lnTo>
                    <a:lnTo>
                      <a:pt x="2130" y="284"/>
                    </a:lnTo>
                    <a:lnTo>
                      <a:pt x="2130" y="284"/>
                    </a:lnTo>
                    <a:lnTo>
                      <a:pt x="2142" y="278"/>
                    </a:lnTo>
                    <a:lnTo>
                      <a:pt x="2154" y="274"/>
                    </a:lnTo>
                    <a:lnTo>
                      <a:pt x="2172" y="272"/>
                    </a:lnTo>
                    <a:lnTo>
                      <a:pt x="2178" y="270"/>
                    </a:lnTo>
                    <a:lnTo>
                      <a:pt x="2180" y="268"/>
                    </a:lnTo>
                    <a:lnTo>
                      <a:pt x="2178" y="264"/>
                    </a:lnTo>
                    <a:lnTo>
                      <a:pt x="2170" y="256"/>
                    </a:lnTo>
                    <a:lnTo>
                      <a:pt x="2170" y="256"/>
                    </a:lnTo>
                    <a:lnTo>
                      <a:pt x="2154" y="240"/>
                    </a:lnTo>
                    <a:lnTo>
                      <a:pt x="2144" y="232"/>
                    </a:lnTo>
                    <a:lnTo>
                      <a:pt x="2134" y="228"/>
                    </a:lnTo>
                    <a:lnTo>
                      <a:pt x="2124" y="222"/>
                    </a:lnTo>
                    <a:lnTo>
                      <a:pt x="2110" y="220"/>
                    </a:lnTo>
                    <a:lnTo>
                      <a:pt x="2096" y="220"/>
                    </a:lnTo>
                    <a:lnTo>
                      <a:pt x="2080" y="220"/>
                    </a:lnTo>
                    <a:lnTo>
                      <a:pt x="2080" y="220"/>
                    </a:lnTo>
                    <a:lnTo>
                      <a:pt x="2064" y="222"/>
                    </a:lnTo>
                    <a:lnTo>
                      <a:pt x="2046" y="220"/>
                    </a:lnTo>
                    <a:lnTo>
                      <a:pt x="2030" y="218"/>
                    </a:lnTo>
                    <a:lnTo>
                      <a:pt x="2014" y="212"/>
                    </a:lnTo>
                    <a:lnTo>
                      <a:pt x="1982" y="202"/>
                    </a:lnTo>
                    <a:lnTo>
                      <a:pt x="1948" y="194"/>
                    </a:lnTo>
                    <a:lnTo>
                      <a:pt x="1948" y="194"/>
                    </a:lnTo>
                    <a:lnTo>
                      <a:pt x="1932" y="190"/>
                    </a:lnTo>
                    <a:lnTo>
                      <a:pt x="1918" y="184"/>
                    </a:lnTo>
                    <a:lnTo>
                      <a:pt x="1890" y="172"/>
                    </a:lnTo>
                    <a:lnTo>
                      <a:pt x="1876" y="166"/>
                    </a:lnTo>
                    <a:lnTo>
                      <a:pt x="1862" y="160"/>
                    </a:lnTo>
                    <a:lnTo>
                      <a:pt x="1848" y="158"/>
                    </a:lnTo>
                    <a:lnTo>
                      <a:pt x="1832" y="158"/>
                    </a:lnTo>
                    <a:lnTo>
                      <a:pt x="1832" y="158"/>
                    </a:lnTo>
                    <a:lnTo>
                      <a:pt x="1820" y="160"/>
                    </a:lnTo>
                    <a:lnTo>
                      <a:pt x="1812" y="164"/>
                    </a:lnTo>
                    <a:lnTo>
                      <a:pt x="1808" y="170"/>
                    </a:lnTo>
                    <a:lnTo>
                      <a:pt x="1806" y="176"/>
                    </a:lnTo>
                    <a:lnTo>
                      <a:pt x="1804" y="182"/>
                    </a:lnTo>
                    <a:lnTo>
                      <a:pt x="1800" y="186"/>
                    </a:lnTo>
                    <a:lnTo>
                      <a:pt x="1792" y="188"/>
                    </a:lnTo>
                    <a:lnTo>
                      <a:pt x="1780" y="188"/>
                    </a:lnTo>
                    <a:lnTo>
                      <a:pt x="1780" y="188"/>
                    </a:lnTo>
                    <a:lnTo>
                      <a:pt x="1774" y="186"/>
                    </a:lnTo>
                    <a:lnTo>
                      <a:pt x="1768" y="184"/>
                    </a:lnTo>
                    <a:lnTo>
                      <a:pt x="1764" y="180"/>
                    </a:lnTo>
                    <a:lnTo>
                      <a:pt x="1762" y="176"/>
                    </a:lnTo>
                    <a:lnTo>
                      <a:pt x="1760" y="166"/>
                    </a:lnTo>
                    <a:lnTo>
                      <a:pt x="1760" y="156"/>
                    </a:lnTo>
                    <a:lnTo>
                      <a:pt x="1760" y="146"/>
                    </a:lnTo>
                    <a:lnTo>
                      <a:pt x="1758" y="138"/>
                    </a:lnTo>
                    <a:lnTo>
                      <a:pt x="1756" y="136"/>
                    </a:lnTo>
                    <a:lnTo>
                      <a:pt x="1750" y="134"/>
                    </a:lnTo>
                    <a:lnTo>
                      <a:pt x="1744" y="134"/>
                    </a:lnTo>
                    <a:lnTo>
                      <a:pt x="1736" y="134"/>
                    </a:lnTo>
                    <a:lnTo>
                      <a:pt x="1736" y="134"/>
                    </a:lnTo>
                    <a:lnTo>
                      <a:pt x="1732" y="136"/>
                    </a:lnTo>
                    <a:lnTo>
                      <a:pt x="1730" y="140"/>
                    </a:lnTo>
                    <a:lnTo>
                      <a:pt x="1726" y="148"/>
                    </a:lnTo>
                    <a:lnTo>
                      <a:pt x="1724" y="172"/>
                    </a:lnTo>
                    <a:lnTo>
                      <a:pt x="1720" y="182"/>
                    </a:lnTo>
                    <a:lnTo>
                      <a:pt x="1718" y="186"/>
                    </a:lnTo>
                    <a:lnTo>
                      <a:pt x="1716" y="190"/>
                    </a:lnTo>
                    <a:lnTo>
                      <a:pt x="1712" y="190"/>
                    </a:lnTo>
                    <a:lnTo>
                      <a:pt x="1706" y="190"/>
                    </a:lnTo>
                    <a:lnTo>
                      <a:pt x="1698" y="188"/>
                    </a:lnTo>
                    <a:lnTo>
                      <a:pt x="1688" y="184"/>
                    </a:lnTo>
                    <a:lnTo>
                      <a:pt x="1688" y="184"/>
                    </a:lnTo>
                    <a:lnTo>
                      <a:pt x="1684" y="182"/>
                    </a:lnTo>
                    <a:lnTo>
                      <a:pt x="1678" y="176"/>
                    </a:lnTo>
                    <a:lnTo>
                      <a:pt x="1668" y="162"/>
                    </a:lnTo>
                    <a:lnTo>
                      <a:pt x="1650" y="132"/>
                    </a:lnTo>
                    <a:lnTo>
                      <a:pt x="1640" y="116"/>
                    </a:lnTo>
                    <a:lnTo>
                      <a:pt x="1630" y="106"/>
                    </a:lnTo>
                    <a:lnTo>
                      <a:pt x="1624" y="104"/>
                    </a:lnTo>
                    <a:lnTo>
                      <a:pt x="1620" y="102"/>
                    </a:lnTo>
                    <a:lnTo>
                      <a:pt x="1614" y="102"/>
                    </a:lnTo>
                    <a:lnTo>
                      <a:pt x="1608" y="106"/>
                    </a:lnTo>
                    <a:lnTo>
                      <a:pt x="1608" y="106"/>
                    </a:lnTo>
                    <a:lnTo>
                      <a:pt x="1600" y="114"/>
                    </a:lnTo>
                    <a:lnTo>
                      <a:pt x="1598" y="116"/>
                    </a:lnTo>
                    <a:lnTo>
                      <a:pt x="1600" y="118"/>
                    </a:lnTo>
                    <a:lnTo>
                      <a:pt x="1604" y="120"/>
                    </a:lnTo>
                    <a:lnTo>
                      <a:pt x="1610" y="122"/>
                    </a:lnTo>
                    <a:lnTo>
                      <a:pt x="1616" y="124"/>
                    </a:lnTo>
                    <a:lnTo>
                      <a:pt x="1616" y="126"/>
                    </a:lnTo>
                    <a:lnTo>
                      <a:pt x="1616" y="130"/>
                    </a:lnTo>
                    <a:lnTo>
                      <a:pt x="1610" y="138"/>
                    </a:lnTo>
                    <a:lnTo>
                      <a:pt x="1592" y="150"/>
                    </a:lnTo>
                    <a:lnTo>
                      <a:pt x="1592" y="150"/>
                    </a:lnTo>
                    <a:lnTo>
                      <a:pt x="1574" y="160"/>
                    </a:lnTo>
                    <a:lnTo>
                      <a:pt x="1572" y="160"/>
                    </a:lnTo>
                    <a:lnTo>
                      <a:pt x="1570" y="158"/>
                    </a:lnTo>
                    <a:lnTo>
                      <a:pt x="1568" y="156"/>
                    </a:lnTo>
                    <a:lnTo>
                      <a:pt x="1560" y="156"/>
                    </a:lnTo>
                    <a:lnTo>
                      <a:pt x="1546" y="160"/>
                    </a:lnTo>
                    <a:lnTo>
                      <a:pt x="1522" y="168"/>
                    </a:lnTo>
                    <a:lnTo>
                      <a:pt x="1522" y="168"/>
                    </a:lnTo>
                    <a:lnTo>
                      <a:pt x="1482" y="180"/>
                    </a:lnTo>
                    <a:lnTo>
                      <a:pt x="1476" y="182"/>
                    </a:lnTo>
                    <a:lnTo>
                      <a:pt x="1476" y="180"/>
                    </a:lnTo>
                    <a:lnTo>
                      <a:pt x="1476" y="180"/>
                    </a:lnTo>
                    <a:lnTo>
                      <a:pt x="1494" y="168"/>
                    </a:lnTo>
                    <a:lnTo>
                      <a:pt x="1526" y="152"/>
                    </a:lnTo>
                    <a:lnTo>
                      <a:pt x="1526" y="152"/>
                    </a:lnTo>
                    <a:lnTo>
                      <a:pt x="1552" y="140"/>
                    </a:lnTo>
                    <a:lnTo>
                      <a:pt x="1558" y="136"/>
                    </a:lnTo>
                    <a:lnTo>
                      <a:pt x="1560" y="132"/>
                    </a:lnTo>
                    <a:lnTo>
                      <a:pt x="1560" y="132"/>
                    </a:lnTo>
                    <a:lnTo>
                      <a:pt x="1556" y="132"/>
                    </a:lnTo>
                    <a:lnTo>
                      <a:pt x="1538" y="134"/>
                    </a:lnTo>
                    <a:lnTo>
                      <a:pt x="1538" y="134"/>
                    </a:lnTo>
                    <a:lnTo>
                      <a:pt x="1530" y="136"/>
                    </a:lnTo>
                    <a:lnTo>
                      <a:pt x="1522" y="134"/>
                    </a:lnTo>
                    <a:lnTo>
                      <a:pt x="1510" y="134"/>
                    </a:lnTo>
                    <a:lnTo>
                      <a:pt x="1506" y="134"/>
                    </a:lnTo>
                    <a:lnTo>
                      <a:pt x="1498" y="136"/>
                    </a:lnTo>
                    <a:lnTo>
                      <a:pt x="1488" y="140"/>
                    </a:lnTo>
                    <a:lnTo>
                      <a:pt x="1474" y="148"/>
                    </a:lnTo>
                    <a:lnTo>
                      <a:pt x="1474" y="148"/>
                    </a:lnTo>
                    <a:lnTo>
                      <a:pt x="1462" y="156"/>
                    </a:lnTo>
                    <a:lnTo>
                      <a:pt x="1454" y="160"/>
                    </a:lnTo>
                    <a:lnTo>
                      <a:pt x="1448" y="160"/>
                    </a:lnTo>
                    <a:lnTo>
                      <a:pt x="1442" y="162"/>
                    </a:lnTo>
                    <a:lnTo>
                      <a:pt x="1438" y="162"/>
                    </a:lnTo>
                    <a:lnTo>
                      <a:pt x="1432" y="164"/>
                    </a:lnTo>
                    <a:lnTo>
                      <a:pt x="1422" y="168"/>
                    </a:lnTo>
                    <a:lnTo>
                      <a:pt x="1406" y="178"/>
                    </a:lnTo>
                    <a:lnTo>
                      <a:pt x="1406" y="178"/>
                    </a:lnTo>
                    <a:lnTo>
                      <a:pt x="1378" y="198"/>
                    </a:lnTo>
                    <a:lnTo>
                      <a:pt x="1358" y="210"/>
                    </a:lnTo>
                    <a:lnTo>
                      <a:pt x="1352" y="214"/>
                    </a:lnTo>
                    <a:lnTo>
                      <a:pt x="1350" y="218"/>
                    </a:lnTo>
                    <a:lnTo>
                      <a:pt x="1350" y="224"/>
                    </a:lnTo>
                    <a:lnTo>
                      <a:pt x="1352" y="230"/>
                    </a:lnTo>
                    <a:lnTo>
                      <a:pt x="1352" y="230"/>
                    </a:lnTo>
                    <a:lnTo>
                      <a:pt x="1352" y="234"/>
                    </a:lnTo>
                    <a:lnTo>
                      <a:pt x="1352" y="236"/>
                    </a:lnTo>
                    <a:lnTo>
                      <a:pt x="1340" y="232"/>
                    </a:lnTo>
                    <a:lnTo>
                      <a:pt x="1332" y="230"/>
                    </a:lnTo>
                    <a:lnTo>
                      <a:pt x="1324" y="228"/>
                    </a:lnTo>
                    <a:lnTo>
                      <a:pt x="1316" y="230"/>
                    </a:lnTo>
                    <a:lnTo>
                      <a:pt x="1308" y="232"/>
                    </a:lnTo>
                    <a:lnTo>
                      <a:pt x="1308" y="232"/>
                    </a:lnTo>
                    <a:lnTo>
                      <a:pt x="1300" y="236"/>
                    </a:lnTo>
                    <a:lnTo>
                      <a:pt x="1296" y="236"/>
                    </a:lnTo>
                    <a:lnTo>
                      <a:pt x="1294" y="236"/>
                    </a:lnTo>
                    <a:lnTo>
                      <a:pt x="1290" y="232"/>
                    </a:lnTo>
                    <a:lnTo>
                      <a:pt x="1286" y="228"/>
                    </a:lnTo>
                    <a:lnTo>
                      <a:pt x="1280" y="226"/>
                    </a:lnTo>
                    <a:lnTo>
                      <a:pt x="1270" y="224"/>
                    </a:lnTo>
                    <a:lnTo>
                      <a:pt x="1258" y="222"/>
                    </a:lnTo>
                    <a:lnTo>
                      <a:pt x="1258" y="222"/>
                    </a:lnTo>
                    <a:lnTo>
                      <a:pt x="1236" y="220"/>
                    </a:lnTo>
                    <a:lnTo>
                      <a:pt x="1216" y="214"/>
                    </a:lnTo>
                    <a:lnTo>
                      <a:pt x="1198" y="206"/>
                    </a:lnTo>
                    <a:lnTo>
                      <a:pt x="1178" y="196"/>
                    </a:lnTo>
                    <a:lnTo>
                      <a:pt x="1160" y="186"/>
                    </a:lnTo>
                    <a:lnTo>
                      <a:pt x="1138" y="178"/>
                    </a:lnTo>
                    <a:lnTo>
                      <a:pt x="1114" y="172"/>
                    </a:lnTo>
                    <a:lnTo>
                      <a:pt x="1102" y="172"/>
                    </a:lnTo>
                    <a:lnTo>
                      <a:pt x="1088" y="172"/>
                    </a:lnTo>
                    <a:lnTo>
                      <a:pt x="1088" y="172"/>
                    </a:lnTo>
                    <a:lnTo>
                      <a:pt x="1074" y="170"/>
                    </a:lnTo>
                    <a:lnTo>
                      <a:pt x="1062" y="168"/>
                    </a:lnTo>
                    <a:lnTo>
                      <a:pt x="1052" y="162"/>
                    </a:lnTo>
                    <a:lnTo>
                      <a:pt x="1044" y="158"/>
                    </a:lnTo>
                    <a:lnTo>
                      <a:pt x="1036" y="152"/>
                    </a:lnTo>
                    <a:lnTo>
                      <a:pt x="1026" y="146"/>
                    </a:lnTo>
                    <a:lnTo>
                      <a:pt x="1014" y="142"/>
                    </a:lnTo>
                    <a:lnTo>
                      <a:pt x="998" y="140"/>
                    </a:lnTo>
                    <a:lnTo>
                      <a:pt x="998" y="140"/>
                    </a:lnTo>
                    <a:lnTo>
                      <a:pt x="982" y="138"/>
                    </a:lnTo>
                    <a:lnTo>
                      <a:pt x="970" y="140"/>
                    </a:lnTo>
                    <a:lnTo>
                      <a:pt x="950" y="144"/>
                    </a:lnTo>
                    <a:lnTo>
                      <a:pt x="940" y="146"/>
                    </a:lnTo>
                    <a:lnTo>
                      <a:pt x="932" y="146"/>
                    </a:lnTo>
                    <a:lnTo>
                      <a:pt x="922" y="146"/>
                    </a:lnTo>
                    <a:lnTo>
                      <a:pt x="912" y="142"/>
                    </a:lnTo>
                    <a:lnTo>
                      <a:pt x="912" y="142"/>
                    </a:lnTo>
                    <a:lnTo>
                      <a:pt x="898" y="138"/>
                    </a:lnTo>
                    <a:lnTo>
                      <a:pt x="884" y="134"/>
                    </a:lnTo>
                    <a:lnTo>
                      <a:pt x="852" y="132"/>
                    </a:lnTo>
                    <a:lnTo>
                      <a:pt x="816" y="128"/>
                    </a:lnTo>
                    <a:lnTo>
                      <a:pt x="798" y="122"/>
                    </a:lnTo>
                    <a:lnTo>
                      <a:pt x="778" y="116"/>
                    </a:lnTo>
                    <a:lnTo>
                      <a:pt x="778" y="116"/>
                    </a:lnTo>
                    <a:lnTo>
                      <a:pt x="758" y="110"/>
                    </a:lnTo>
                    <a:lnTo>
                      <a:pt x="744" y="108"/>
                    </a:lnTo>
                    <a:lnTo>
                      <a:pt x="732" y="108"/>
                    </a:lnTo>
                    <a:lnTo>
                      <a:pt x="722" y="110"/>
                    </a:lnTo>
                    <a:lnTo>
                      <a:pt x="710" y="114"/>
                    </a:lnTo>
                    <a:lnTo>
                      <a:pt x="698" y="116"/>
                    </a:lnTo>
                    <a:lnTo>
                      <a:pt x="682" y="114"/>
                    </a:lnTo>
                    <a:lnTo>
                      <a:pt x="664" y="110"/>
                    </a:lnTo>
                    <a:lnTo>
                      <a:pt x="664" y="110"/>
                    </a:lnTo>
                    <a:lnTo>
                      <a:pt x="648" y="104"/>
                    </a:lnTo>
                    <a:lnTo>
                      <a:pt x="640" y="98"/>
                    </a:lnTo>
                    <a:lnTo>
                      <a:pt x="636" y="94"/>
                    </a:lnTo>
                    <a:lnTo>
                      <a:pt x="636" y="90"/>
                    </a:lnTo>
                    <a:lnTo>
                      <a:pt x="634" y="86"/>
                    </a:lnTo>
                    <a:lnTo>
                      <a:pt x="630" y="82"/>
                    </a:lnTo>
                    <a:lnTo>
                      <a:pt x="622" y="82"/>
                    </a:lnTo>
                    <a:lnTo>
                      <a:pt x="604" y="80"/>
                    </a:lnTo>
                    <a:lnTo>
                      <a:pt x="604" y="80"/>
                    </a:lnTo>
                    <a:lnTo>
                      <a:pt x="572" y="82"/>
                    </a:lnTo>
                    <a:lnTo>
                      <a:pt x="556" y="82"/>
                    </a:lnTo>
                    <a:lnTo>
                      <a:pt x="552" y="82"/>
                    </a:lnTo>
                    <a:lnTo>
                      <a:pt x="548" y="80"/>
                    </a:lnTo>
                    <a:lnTo>
                      <a:pt x="540" y="72"/>
                    </a:lnTo>
                    <a:lnTo>
                      <a:pt x="540" y="72"/>
                    </a:lnTo>
                    <a:lnTo>
                      <a:pt x="534" y="66"/>
                    </a:lnTo>
                    <a:lnTo>
                      <a:pt x="528" y="66"/>
                    </a:lnTo>
                    <a:lnTo>
                      <a:pt x="524" y="66"/>
                    </a:lnTo>
                    <a:lnTo>
                      <a:pt x="518" y="68"/>
                    </a:lnTo>
                    <a:lnTo>
                      <a:pt x="510" y="70"/>
                    </a:lnTo>
                    <a:lnTo>
                      <a:pt x="506" y="70"/>
                    </a:lnTo>
                    <a:lnTo>
                      <a:pt x="500" y="66"/>
                    </a:lnTo>
                    <a:lnTo>
                      <a:pt x="500" y="66"/>
                    </a:lnTo>
                    <a:lnTo>
                      <a:pt x="488" y="56"/>
                    </a:lnTo>
                    <a:lnTo>
                      <a:pt x="482" y="52"/>
                    </a:lnTo>
                    <a:lnTo>
                      <a:pt x="474" y="50"/>
                    </a:lnTo>
                    <a:lnTo>
                      <a:pt x="466" y="50"/>
                    </a:lnTo>
                    <a:lnTo>
                      <a:pt x="456" y="52"/>
                    </a:lnTo>
                    <a:lnTo>
                      <a:pt x="444" y="58"/>
                    </a:lnTo>
                    <a:lnTo>
                      <a:pt x="432" y="68"/>
                    </a:lnTo>
                    <a:lnTo>
                      <a:pt x="432" y="68"/>
                    </a:lnTo>
                    <a:lnTo>
                      <a:pt x="418" y="78"/>
                    </a:lnTo>
                    <a:lnTo>
                      <a:pt x="404" y="82"/>
                    </a:lnTo>
                    <a:lnTo>
                      <a:pt x="392" y="84"/>
                    </a:lnTo>
                    <a:lnTo>
                      <a:pt x="378" y="84"/>
                    </a:lnTo>
                    <a:lnTo>
                      <a:pt x="364" y="84"/>
                    </a:lnTo>
                    <a:lnTo>
                      <a:pt x="348" y="86"/>
                    </a:lnTo>
                    <a:lnTo>
                      <a:pt x="330" y="94"/>
                    </a:lnTo>
                    <a:lnTo>
                      <a:pt x="310" y="106"/>
                    </a:lnTo>
                    <a:lnTo>
                      <a:pt x="310" y="106"/>
                    </a:lnTo>
                    <a:lnTo>
                      <a:pt x="300" y="114"/>
                    </a:lnTo>
                    <a:lnTo>
                      <a:pt x="290" y="120"/>
                    </a:lnTo>
                    <a:lnTo>
                      <a:pt x="282" y="122"/>
                    </a:lnTo>
                    <a:lnTo>
                      <a:pt x="274" y="124"/>
                    </a:lnTo>
                    <a:lnTo>
                      <a:pt x="260" y="126"/>
                    </a:lnTo>
                    <a:lnTo>
                      <a:pt x="250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0" y="126"/>
                    </a:lnTo>
                    <a:lnTo>
                      <a:pt x="226" y="130"/>
                    </a:lnTo>
                    <a:lnTo>
                      <a:pt x="222" y="134"/>
                    </a:lnTo>
                    <a:lnTo>
                      <a:pt x="212" y="152"/>
                    </a:lnTo>
                    <a:lnTo>
                      <a:pt x="212" y="152"/>
                    </a:lnTo>
                    <a:lnTo>
                      <a:pt x="202" y="172"/>
                    </a:lnTo>
                    <a:lnTo>
                      <a:pt x="192" y="188"/>
                    </a:lnTo>
                    <a:lnTo>
                      <a:pt x="182" y="202"/>
                    </a:lnTo>
                    <a:lnTo>
                      <a:pt x="172" y="212"/>
                    </a:lnTo>
                    <a:lnTo>
                      <a:pt x="158" y="220"/>
                    </a:lnTo>
                    <a:lnTo>
                      <a:pt x="142" y="224"/>
                    </a:lnTo>
                    <a:lnTo>
                      <a:pt x="122" y="228"/>
                    </a:lnTo>
                    <a:lnTo>
                      <a:pt x="96" y="228"/>
                    </a:lnTo>
                    <a:lnTo>
                      <a:pt x="96" y="228"/>
                    </a:lnTo>
                    <a:lnTo>
                      <a:pt x="84" y="230"/>
                    </a:lnTo>
                    <a:lnTo>
                      <a:pt x="78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4" y="244"/>
                    </a:lnTo>
                    <a:lnTo>
                      <a:pt x="72" y="250"/>
                    </a:lnTo>
                    <a:lnTo>
                      <a:pt x="66" y="254"/>
                    </a:lnTo>
                    <a:lnTo>
                      <a:pt x="58" y="258"/>
                    </a:lnTo>
                    <a:lnTo>
                      <a:pt x="58" y="258"/>
                    </a:lnTo>
                    <a:lnTo>
                      <a:pt x="54" y="260"/>
                    </a:lnTo>
                    <a:lnTo>
                      <a:pt x="52" y="262"/>
                    </a:lnTo>
                    <a:lnTo>
                      <a:pt x="54" y="266"/>
                    </a:lnTo>
                    <a:lnTo>
                      <a:pt x="58" y="268"/>
                    </a:lnTo>
                    <a:lnTo>
                      <a:pt x="72" y="274"/>
                    </a:lnTo>
                    <a:lnTo>
                      <a:pt x="92" y="282"/>
                    </a:lnTo>
                    <a:lnTo>
                      <a:pt x="114" y="292"/>
                    </a:lnTo>
                    <a:lnTo>
                      <a:pt x="136" y="304"/>
                    </a:lnTo>
                    <a:lnTo>
                      <a:pt x="156" y="318"/>
                    </a:lnTo>
                    <a:lnTo>
                      <a:pt x="162" y="326"/>
                    </a:lnTo>
                    <a:lnTo>
                      <a:pt x="168" y="334"/>
                    </a:lnTo>
                    <a:lnTo>
                      <a:pt x="168" y="334"/>
                    </a:lnTo>
                    <a:lnTo>
                      <a:pt x="172" y="342"/>
                    </a:lnTo>
                    <a:lnTo>
                      <a:pt x="176" y="346"/>
                    </a:lnTo>
                    <a:lnTo>
                      <a:pt x="186" y="354"/>
                    </a:lnTo>
                    <a:lnTo>
                      <a:pt x="196" y="356"/>
                    </a:lnTo>
                    <a:lnTo>
                      <a:pt x="206" y="356"/>
                    </a:lnTo>
                    <a:lnTo>
                      <a:pt x="212" y="356"/>
                    </a:lnTo>
                    <a:lnTo>
                      <a:pt x="218" y="356"/>
                    </a:lnTo>
                    <a:lnTo>
                      <a:pt x="220" y="356"/>
                    </a:lnTo>
                    <a:lnTo>
                      <a:pt x="222" y="358"/>
                    </a:lnTo>
                    <a:lnTo>
                      <a:pt x="220" y="364"/>
                    </a:lnTo>
                    <a:lnTo>
                      <a:pt x="220" y="364"/>
                    </a:lnTo>
                    <a:lnTo>
                      <a:pt x="220" y="372"/>
                    </a:lnTo>
                    <a:lnTo>
                      <a:pt x="220" y="376"/>
                    </a:lnTo>
                    <a:lnTo>
                      <a:pt x="224" y="378"/>
                    </a:lnTo>
                    <a:lnTo>
                      <a:pt x="228" y="380"/>
                    </a:lnTo>
                    <a:lnTo>
                      <a:pt x="232" y="380"/>
                    </a:lnTo>
                    <a:lnTo>
                      <a:pt x="236" y="382"/>
                    </a:lnTo>
                    <a:lnTo>
                      <a:pt x="240" y="386"/>
                    </a:lnTo>
                    <a:lnTo>
                      <a:pt x="242" y="392"/>
                    </a:lnTo>
                    <a:lnTo>
                      <a:pt x="242" y="392"/>
                    </a:lnTo>
                    <a:lnTo>
                      <a:pt x="244" y="400"/>
                    </a:lnTo>
                    <a:lnTo>
                      <a:pt x="248" y="402"/>
                    </a:lnTo>
                    <a:lnTo>
                      <a:pt x="254" y="404"/>
                    </a:lnTo>
                    <a:lnTo>
                      <a:pt x="260" y="402"/>
                    </a:lnTo>
                    <a:lnTo>
                      <a:pt x="266" y="402"/>
                    </a:lnTo>
                    <a:lnTo>
                      <a:pt x="270" y="402"/>
                    </a:lnTo>
                    <a:lnTo>
                      <a:pt x="274" y="404"/>
                    </a:lnTo>
                    <a:lnTo>
                      <a:pt x="276" y="410"/>
                    </a:lnTo>
                    <a:lnTo>
                      <a:pt x="276" y="410"/>
                    </a:lnTo>
                    <a:lnTo>
                      <a:pt x="274" y="418"/>
                    </a:lnTo>
                    <a:lnTo>
                      <a:pt x="272" y="418"/>
                    </a:lnTo>
                    <a:lnTo>
                      <a:pt x="270" y="418"/>
                    </a:lnTo>
                    <a:lnTo>
                      <a:pt x="266" y="416"/>
                    </a:lnTo>
                    <a:lnTo>
                      <a:pt x="262" y="416"/>
                    </a:lnTo>
                    <a:lnTo>
                      <a:pt x="258" y="418"/>
                    </a:lnTo>
                    <a:lnTo>
                      <a:pt x="252" y="424"/>
                    </a:lnTo>
                    <a:lnTo>
                      <a:pt x="252" y="424"/>
                    </a:lnTo>
                    <a:lnTo>
                      <a:pt x="250" y="426"/>
                    </a:lnTo>
                    <a:lnTo>
                      <a:pt x="248" y="426"/>
                    </a:lnTo>
                    <a:lnTo>
                      <a:pt x="240" y="422"/>
                    </a:lnTo>
                    <a:lnTo>
                      <a:pt x="234" y="420"/>
                    </a:lnTo>
                    <a:lnTo>
                      <a:pt x="224" y="420"/>
                    </a:lnTo>
                    <a:lnTo>
                      <a:pt x="212" y="420"/>
                    </a:lnTo>
                    <a:lnTo>
                      <a:pt x="194" y="422"/>
                    </a:lnTo>
                    <a:lnTo>
                      <a:pt x="194" y="422"/>
                    </a:lnTo>
                    <a:lnTo>
                      <a:pt x="186" y="422"/>
                    </a:lnTo>
                    <a:lnTo>
                      <a:pt x="180" y="420"/>
                    </a:lnTo>
                    <a:lnTo>
                      <a:pt x="176" y="418"/>
                    </a:lnTo>
                    <a:lnTo>
                      <a:pt x="174" y="416"/>
                    </a:lnTo>
                    <a:lnTo>
                      <a:pt x="174" y="408"/>
                    </a:lnTo>
                    <a:lnTo>
                      <a:pt x="176" y="398"/>
                    </a:lnTo>
                    <a:lnTo>
                      <a:pt x="176" y="390"/>
                    </a:lnTo>
                    <a:lnTo>
                      <a:pt x="174" y="388"/>
                    </a:lnTo>
                    <a:lnTo>
                      <a:pt x="172" y="384"/>
                    </a:lnTo>
                    <a:lnTo>
                      <a:pt x="168" y="384"/>
                    </a:lnTo>
                    <a:lnTo>
                      <a:pt x="162" y="384"/>
                    </a:lnTo>
                    <a:lnTo>
                      <a:pt x="140" y="388"/>
                    </a:lnTo>
                    <a:lnTo>
                      <a:pt x="140" y="388"/>
                    </a:lnTo>
                    <a:lnTo>
                      <a:pt x="116" y="396"/>
                    </a:lnTo>
                    <a:lnTo>
                      <a:pt x="92" y="406"/>
                    </a:lnTo>
                    <a:lnTo>
                      <a:pt x="56" y="424"/>
                    </a:lnTo>
                    <a:lnTo>
                      <a:pt x="28" y="440"/>
                    </a:lnTo>
                    <a:lnTo>
                      <a:pt x="18" y="444"/>
                    </a:lnTo>
                    <a:lnTo>
                      <a:pt x="10" y="446"/>
                    </a:lnTo>
                    <a:lnTo>
                      <a:pt x="10" y="446"/>
                    </a:lnTo>
                    <a:lnTo>
                      <a:pt x="4" y="448"/>
                    </a:lnTo>
                    <a:lnTo>
                      <a:pt x="0" y="452"/>
                    </a:lnTo>
                    <a:lnTo>
                      <a:pt x="0" y="456"/>
                    </a:lnTo>
                    <a:lnTo>
                      <a:pt x="2" y="460"/>
                    </a:lnTo>
                    <a:lnTo>
                      <a:pt x="8" y="466"/>
                    </a:lnTo>
                    <a:lnTo>
                      <a:pt x="16" y="470"/>
                    </a:lnTo>
                    <a:lnTo>
                      <a:pt x="28" y="472"/>
                    </a:lnTo>
                    <a:lnTo>
                      <a:pt x="42" y="474"/>
                    </a:lnTo>
                    <a:lnTo>
                      <a:pt x="42" y="474"/>
                    </a:lnTo>
                    <a:lnTo>
                      <a:pt x="54" y="474"/>
                    </a:lnTo>
                    <a:lnTo>
                      <a:pt x="60" y="478"/>
                    </a:lnTo>
                    <a:lnTo>
                      <a:pt x="58" y="480"/>
                    </a:lnTo>
                    <a:lnTo>
                      <a:pt x="56" y="484"/>
                    </a:lnTo>
                    <a:lnTo>
                      <a:pt x="52" y="488"/>
                    </a:lnTo>
                    <a:lnTo>
                      <a:pt x="50" y="492"/>
                    </a:lnTo>
                    <a:lnTo>
                      <a:pt x="50" y="498"/>
                    </a:lnTo>
                    <a:lnTo>
                      <a:pt x="56" y="502"/>
                    </a:lnTo>
                    <a:lnTo>
                      <a:pt x="56" y="502"/>
                    </a:lnTo>
                    <a:lnTo>
                      <a:pt x="64" y="506"/>
                    </a:lnTo>
                    <a:lnTo>
                      <a:pt x="66" y="512"/>
                    </a:lnTo>
                    <a:lnTo>
                      <a:pt x="68" y="520"/>
                    </a:lnTo>
                    <a:lnTo>
                      <a:pt x="70" y="524"/>
                    </a:lnTo>
                    <a:lnTo>
                      <a:pt x="74" y="528"/>
                    </a:lnTo>
                    <a:lnTo>
                      <a:pt x="82" y="532"/>
                    </a:lnTo>
                    <a:lnTo>
                      <a:pt x="94" y="534"/>
                    </a:lnTo>
                    <a:lnTo>
                      <a:pt x="94" y="534"/>
                    </a:lnTo>
                    <a:lnTo>
                      <a:pt x="110" y="534"/>
                    </a:lnTo>
                    <a:lnTo>
                      <a:pt x="122" y="534"/>
                    </a:lnTo>
                    <a:lnTo>
                      <a:pt x="144" y="528"/>
                    </a:lnTo>
                    <a:lnTo>
                      <a:pt x="154" y="526"/>
                    </a:lnTo>
                    <a:lnTo>
                      <a:pt x="166" y="526"/>
                    </a:lnTo>
                    <a:lnTo>
                      <a:pt x="176" y="528"/>
                    </a:lnTo>
                    <a:lnTo>
                      <a:pt x="190" y="534"/>
                    </a:lnTo>
                    <a:lnTo>
                      <a:pt x="190" y="534"/>
                    </a:lnTo>
                    <a:lnTo>
                      <a:pt x="198" y="536"/>
                    </a:lnTo>
                    <a:lnTo>
                      <a:pt x="204" y="538"/>
                    </a:lnTo>
                    <a:lnTo>
                      <a:pt x="210" y="538"/>
                    </a:lnTo>
                    <a:lnTo>
                      <a:pt x="218" y="536"/>
                    </a:lnTo>
                    <a:lnTo>
                      <a:pt x="230" y="530"/>
                    </a:lnTo>
                    <a:lnTo>
                      <a:pt x="242" y="522"/>
                    </a:lnTo>
                    <a:lnTo>
                      <a:pt x="254" y="512"/>
                    </a:lnTo>
                    <a:lnTo>
                      <a:pt x="266" y="506"/>
                    </a:lnTo>
                    <a:lnTo>
                      <a:pt x="270" y="506"/>
                    </a:lnTo>
                    <a:lnTo>
                      <a:pt x="276" y="506"/>
                    </a:lnTo>
                    <a:lnTo>
                      <a:pt x="280" y="508"/>
                    </a:lnTo>
                    <a:lnTo>
                      <a:pt x="286" y="510"/>
                    </a:lnTo>
                    <a:lnTo>
                      <a:pt x="286" y="510"/>
                    </a:lnTo>
                    <a:lnTo>
                      <a:pt x="290" y="516"/>
                    </a:lnTo>
                    <a:lnTo>
                      <a:pt x="290" y="518"/>
                    </a:lnTo>
                    <a:lnTo>
                      <a:pt x="290" y="522"/>
                    </a:lnTo>
                    <a:lnTo>
                      <a:pt x="288" y="524"/>
                    </a:lnTo>
                    <a:lnTo>
                      <a:pt x="282" y="526"/>
                    </a:lnTo>
                    <a:lnTo>
                      <a:pt x="272" y="528"/>
                    </a:lnTo>
                    <a:lnTo>
                      <a:pt x="264" y="530"/>
                    </a:lnTo>
                    <a:lnTo>
                      <a:pt x="260" y="534"/>
                    </a:lnTo>
                    <a:lnTo>
                      <a:pt x="260" y="536"/>
                    </a:lnTo>
                    <a:lnTo>
                      <a:pt x="262" y="538"/>
                    </a:lnTo>
                    <a:lnTo>
                      <a:pt x="274" y="544"/>
                    </a:lnTo>
                    <a:lnTo>
                      <a:pt x="274" y="544"/>
                    </a:lnTo>
                    <a:lnTo>
                      <a:pt x="280" y="550"/>
                    </a:lnTo>
                    <a:lnTo>
                      <a:pt x="286" y="554"/>
                    </a:lnTo>
                    <a:lnTo>
                      <a:pt x="290" y="558"/>
                    </a:lnTo>
                    <a:lnTo>
                      <a:pt x="292" y="564"/>
                    </a:lnTo>
                    <a:lnTo>
                      <a:pt x="292" y="570"/>
                    </a:lnTo>
                    <a:lnTo>
                      <a:pt x="292" y="574"/>
                    </a:lnTo>
                    <a:lnTo>
                      <a:pt x="288" y="584"/>
                    </a:lnTo>
                    <a:lnTo>
                      <a:pt x="280" y="592"/>
                    </a:lnTo>
                    <a:lnTo>
                      <a:pt x="270" y="598"/>
                    </a:lnTo>
                    <a:lnTo>
                      <a:pt x="258" y="600"/>
                    </a:lnTo>
                    <a:lnTo>
                      <a:pt x="244" y="598"/>
                    </a:lnTo>
                    <a:lnTo>
                      <a:pt x="244" y="598"/>
                    </a:lnTo>
                    <a:lnTo>
                      <a:pt x="240" y="598"/>
                    </a:lnTo>
                    <a:lnTo>
                      <a:pt x="234" y="598"/>
                    </a:lnTo>
                    <a:lnTo>
                      <a:pt x="226" y="602"/>
                    </a:lnTo>
                    <a:lnTo>
                      <a:pt x="220" y="610"/>
                    </a:lnTo>
                    <a:lnTo>
                      <a:pt x="214" y="618"/>
                    </a:lnTo>
                    <a:lnTo>
                      <a:pt x="210" y="624"/>
                    </a:lnTo>
                    <a:lnTo>
                      <a:pt x="202" y="630"/>
                    </a:lnTo>
                    <a:lnTo>
                      <a:pt x="198" y="630"/>
                    </a:lnTo>
                    <a:lnTo>
                      <a:pt x="192" y="630"/>
                    </a:lnTo>
                    <a:lnTo>
                      <a:pt x="186" y="628"/>
                    </a:lnTo>
                    <a:lnTo>
                      <a:pt x="180" y="624"/>
                    </a:lnTo>
                    <a:lnTo>
                      <a:pt x="180" y="624"/>
                    </a:lnTo>
                    <a:lnTo>
                      <a:pt x="172" y="620"/>
                    </a:lnTo>
                    <a:lnTo>
                      <a:pt x="166" y="618"/>
                    </a:lnTo>
                    <a:lnTo>
                      <a:pt x="160" y="618"/>
                    </a:lnTo>
                    <a:lnTo>
                      <a:pt x="154" y="620"/>
                    </a:lnTo>
                    <a:lnTo>
                      <a:pt x="144" y="626"/>
                    </a:lnTo>
                    <a:lnTo>
                      <a:pt x="136" y="636"/>
                    </a:lnTo>
                    <a:lnTo>
                      <a:pt x="124" y="658"/>
                    </a:lnTo>
                    <a:lnTo>
                      <a:pt x="118" y="666"/>
                    </a:lnTo>
                    <a:lnTo>
                      <a:pt x="112" y="672"/>
                    </a:lnTo>
                    <a:lnTo>
                      <a:pt x="112" y="672"/>
                    </a:lnTo>
                    <a:lnTo>
                      <a:pt x="106" y="674"/>
                    </a:lnTo>
                    <a:lnTo>
                      <a:pt x="102" y="678"/>
                    </a:lnTo>
                    <a:lnTo>
                      <a:pt x="96" y="690"/>
                    </a:lnTo>
                    <a:lnTo>
                      <a:pt x="92" y="702"/>
                    </a:lnTo>
                    <a:lnTo>
                      <a:pt x="88" y="708"/>
                    </a:lnTo>
                    <a:lnTo>
                      <a:pt x="82" y="712"/>
                    </a:lnTo>
                    <a:lnTo>
                      <a:pt x="82" y="712"/>
                    </a:lnTo>
                    <a:lnTo>
                      <a:pt x="76" y="716"/>
                    </a:lnTo>
                    <a:lnTo>
                      <a:pt x="74" y="720"/>
                    </a:lnTo>
                    <a:lnTo>
                      <a:pt x="74" y="726"/>
                    </a:lnTo>
                    <a:lnTo>
                      <a:pt x="76" y="730"/>
                    </a:lnTo>
                    <a:lnTo>
                      <a:pt x="88" y="740"/>
                    </a:lnTo>
                    <a:lnTo>
                      <a:pt x="108" y="756"/>
                    </a:lnTo>
                    <a:lnTo>
                      <a:pt x="108" y="756"/>
                    </a:lnTo>
                    <a:lnTo>
                      <a:pt x="116" y="764"/>
                    </a:lnTo>
                    <a:lnTo>
                      <a:pt x="118" y="772"/>
                    </a:lnTo>
                    <a:lnTo>
                      <a:pt x="118" y="778"/>
                    </a:lnTo>
                    <a:lnTo>
                      <a:pt x="116" y="784"/>
                    </a:lnTo>
                    <a:lnTo>
                      <a:pt x="114" y="790"/>
                    </a:lnTo>
                    <a:lnTo>
                      <a:pt x="112" y="794"/>
                    </a:lnTo>
                    <a:lnTo>
                      <a:pt x="112" y="800"/>
                    </a:lnTo>
                    <a:lnTo>
                      <a:pt x="116" y="804"/>
                    </a:lnTo>
                    <a:lnTo>
                      <a:pt x="116" y="804"/>
                    </a:lnTo>
                    <a:lnTo>
                      <a:pt x="132" y="818"/>
                    </a:lnTo>
                    <a:lnTo>
                      <a:pt x="148" y="834"/>
                    </a:lnTo>
                    <a:lnTo>
                      <a:pt x="158" y="840"/>
                    </a:lnTo>
                    <a:lnTo>
                      <a:pt x="168" y="844"/>
                    </a:lnTo>
                    <a:lnTo>
                      <a:pt x="180" y="844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208" y="836"/>
                    </a:lnTo>
                    <a:lnTo>
                      <a:pt x="218" y="834"/>
                    </a:lnTo>
                    <a:lnTo>
                      <a:pt x="228" y="836"/>
                    </a:lnTo>
                    <a:lnTo>
                      <a:pt x="234" y="838"/>
                    </a:lnTo>
                    <a:lnTo>
                      <a:pt x="240" y="842"/>
                    </a:lnTo>
                    <a:lnTo>
                      <a:pt x="242" y="848"/>
                    </a:lnTo>
                    <a:lnTo>
                      <a:pt x="242" y="858"/>
                    </a:lnTo>
                    <a:lnTo>
                      <a:pt x="238" y="868"/>
                    </a:lnTo>
                    <a:lnTo>
                      <a:pt x="238" y="868"/>
                    </a:lnTo>
                    <a:lnTo>
                      <a:pt x="236" y="878"/>
                    </a:lnTo>
                    <a:lnTo>
                      <a:pt x="236" y="884"/>
                    </a:lnTo>
                    <a:lnTo>
                      <a:pt x="238" y="888"/>
                    </a:lnTo>
                    <a:lnTo>
                      <a:pt x="242" y="890"/>
                    </a:lnTo>
                    <a:lnTo>
                      <a:pt x="244" y="892"/>
                    </a:lnTo>
                    <a:lnTo>
                      <a:pt x="246" y="896"/>
                    </a:lnTo>
                    <a:lnTo>
                      <a:pt x="246" y="900"/>
                    </a:lnTo>
                    <a:lnTo>
                      <a:pt x="244" y="908"/>
                    </a:lnTo>
                    <a:lnTo>
                      <a:pt x="244" y="908"/>
                    </a:lnTo>
                    <a:lnTo>
                      <a:pt x="242" y="918"/>
                    </a:lnTo>
                    <a:lnTo>
                      <a:pt x="244" y="922"/>
                    </a:lnTo>
                    <a:lnTo>
                      <a:pt x="248" y="924"/>
                    </a:lnTo>
                    <a:lnTo>
                      <a:pt x="254" y="924"/>
                    </a:lnTo>
                    <a:lnTo>
                      <a:pt x="262" y="920"/>
                    </a:lnTo>
                    <a:lnTo>
                      <a:pt x="270" y="916"/>
                    </a:lnTo>
                    <a:lnTo>
                      <a:pt x="284" y="904"/>
                    </a:lnTo>
                    <a:lnTo>
                      <a:pt x="284" y="904"/>
                    </a:lnTo>
                    <a:lnTo>
                      <a:pt x="292" y="900"/>
                    </a:lnTo>
                    <a:lnTo>
                      <a:pt x="300" y="898"/>
                    </a:lnTo>
                    <a:lnTo>
                      <a:pt x="308" y="898"/>
                    </a:lnTo>
                    <a:lnTo>
                      <a:pt x="316" y="902"/>
                    </a:lnTo>
                    <a:lnTo>
                      <a:pt x="326" y="906"/>
                    </a:lnTo>
                    <a:lnTo>
                      <a:pt x="336" y="912"/>
                    </a:lnTo>
                    <a:lnTo>
                      <a:pt x="352" y="926"/>
                    </a:lnTo>
                    <a:lnTo>
                      <a:pt x="352" y="926"/>
                    </a:lnTo>
                    <a:lnTo>
                      <a:pt x="358" y="930"/>
                    </a:lnTo>
                    <a:lnTo>
                      <a:pt x="362" y="932"/>
                    </a:lnTo>
                    <a:lnTo>
                      <a:pt x="366" y="930"/>
                    </a:lnTo>
                    <a:lnTo>
                      <a:pt x="370" y="926"/>
                    </a:lnTo>
                    <a:lnTo>
                      <a:pt x="376" y="918"/>
                    </a:lnTo>
                    <a:lnTo>
                      <a:pt x="380" y="916"/>
                    </a:lnTo>
                    <a:lnTo>
                      <a:pt x="386" y="918"/>
                    </a:lnTo>
                    <a:lnTo>
                      <a:pt x="386" y="918"/>
                    </a:lnTo>
                    <a:lnTo>
                      <a:pt x="392" y="920"/>
                    </a:lnTo>
                    <a:lnTo>
                      <a:pt x="402" y="918"/>
                    </a:lnTo>
                    <a:lnTo>
                      <a:pt x="420" y="912"/>
                    </a:lnTo>
                    <a:lnTo>
                      <a:pt x="432" y="908"/>
                    </a:lnTo>
                    <a:lnTo>
                      <a:pt x="432" y="908"/>
                    </a:lnTo>
                    <a:lnTo>
                      <a:pt x="432" y="910"/>
                    </a:lnTo>
                    <a:lnTo>
                      <a:pt x="430" y="916"/>
                    </a:lnTo>
                    <a:lnTo>
                      <a:pt x="430" y="916"/>
                    </a:lnTo>
                    <a:lnTo>
                      <a:pt x="418" y="932"/>
                    </a:lnTo>
                    <a:lnTo>
                      <a:pt x="412" y="946"/>
                    </a:lnTo>
                    <a:lnTo>
                      <a:pt x="410" y="962"/>
                    </a:lnTo>
                    <a:lnTo>
                      <a:pt x="410" y="978"/>
                    </a:lnTo>
                    <a:lnTo>
                      <a:pt x="410" y="978"/>
                    </a:lnTo>
                    <a:lnTo>
                      <a:pt x="408" y="986"/>
                    </a:lnTo>
                    <a:lnTo>
                      <a:pt x="406" y="990"/>
                    </a:lnTo>
                    <a:lnTo>
                      <a:pt x="402" y="992"/>
                    </a:lnTo>
                    <a:lnTo>
                      <a:pt x="396" y="994"/>
                    </a:lnTo>
                    <a:lnTo>
                      <a:pt x="392" y="998"/>
                    </a:lnTo>
                    <a:lnTo>
                      <a:pt x="386" y="1000"/>
                    </a:lnTo>
                    <a:lnTo>
                      <a:pt x="380" y="1008"/>
                    </a:lnTo>
                    <a:lnTo>
                      <a:pt x="374" y="1018"/>
                    </a:lnTo>
                    <a:lnTo>
                      <a:pt x="374" y="1018"/>
                    </a:lnTo>
                    <a:lnTo>
                      <a:pt x="368" y="1028"/>
                    </a:lnTo>
                    <a:lnTo>
                      <a:pt x="360" y="1036"/>
                    </a:lnTo>
                    <a:lnTo>
                      <a:pt x="352" y="1040"/>
                    </a:lnTo>
                    <a:lnTo>
                      <a:pt x="342" y="1044"/>
                    </a:lnTo>
                    <a:lnTo>
                      <a:pt x="332" y="1048"/>
                    </a:lnTo>
                    <a:lnTo>
                      <a:pt x="324" y="1054"/>
                    </a:lnTo>
                    <a:lnTo>
                      <a:pt x="314" y="1060"/>
                    </a:lnTo>
                    <a:lnTo>
                      <a:pt x="306" y="1072"/>
                    </a:lnTo>
                    <a:lnTo>
                      <a:pt x="306" y="1072"/>
                    </a:lnTo>
                    <a:lnTo>
                      <a:pt x="300" y="1082"/>
                    </a:lnTo>
                    <a:lnTo>
                      <a:pt x="296" y="1088"/>
                    </a:lnTo>
                    <a:lnTo>
                      <a:pt x="292" y="1090"/>
                    </a:lnTo>
                    <a:lnTo>
                      <a:pt x="288" y="1088"/>
                    </a:lnTo>
                    <a:lnTo>
                      <a:pt x="276" y="1086"/>
                    </a:lnTo>
                    <a:lnTo>
                      <a:pt x="268" y="1088"/>
                    </a:lnTo>
                    <a:lnTo>
                      <a:pt x="254" y="1090"/>
                    </a:lnTo>
                    <a:lnTo>
                      <a:pt x="254" y="1090"/>
                    </a:lnTo>
                    <a:lnTo>
                      <a:pt x="244" y="1096"/>
                    </a:lnTo>
                    <a:lnTo>
                      <a:pt x="236" y="1100"/>
                    </a:lnTo>
                    <a:lnTo>
                      <a:pt x="232" y="1104"/>
                    </a:lnTo>
                    <a:lnTo>
                      <a:pt x="228" y="1110"/>
                    </a:lnTo>
                    <a:lnTo>
                      <a:pt x="222" y="1118"/>
                    </a:lnTo>
                    <a:lnTo>
                      <a:pt x="218" y="1124"/>
                    </a:lnTo>
                    <a:lnTo>
                      <a:pt x="210" y="1128"/>
                    </a:lnTo>
                    <a:lnTo>
                      <a:pt x="210" y="1128"/>
                    </a:lnTo>
                    <a:lnTo>
                      <a:pt x="200" y="1132"/>
                    </a:lnTo>
                    <a:lnTo>
                      <a:pt x="194" y="1138"/>
                    </a:lnTo>
                    <a:lnTo>
                      <a:pt x="188" y="1144"/>
                    </a:lnTo>
                    <a:lnTo>
                      <a:pt x="186" y="1148"/>
                    </a:lnTo>
                    <a:lnTo>
                      <a:pt x="188" y="1152"/>
                    </a:lnTo>
                    <a:lnTo>
                      <a:pt x="192" y="1154"/>
                    </a:lnTo>
                    <a:lnTo>
                      <a:pt x="200" y="1154"/>
                    </a:lnTo>
                    <a:lnTo>
                      <a:pt x="212" y="1150"/>
                    </a:lnTo>
                    <a:lnTo>
                      <a:pt x="212" y="1150"/>
                    </a:lnTo>
                    <a:lnTo>
                      <a:pt x="224" y="1144"/>
                    </a:lnTo>
                    <a:lnTo>
                      <a:pt x="234" y="1138"/>
                    </a:lnTo>
                    <a:lnTo>
                      <a:pt x="248" y="1124"/>
                    </a:lnTo>
                    <a:lnTo>
                      <a:pt x="256" y="1116"/>
                    </a:lnTo>
                    <a:lnTo>
                      <a:pt x="258" y="1116"/>
                    </a:lnTo>
                    <a:lnTo>
                      <a:pt x="262" y="1120"/>
                    </a:lnTo>
                    <a:lnTo>
                      <a:pt x="262" y="1120"/>
                    </a:lnTo>
                    <a:lnTo>
                      <a:pt x="266" y="1124"/>
                    </a:lnTo>
                    <a:lnTo>
                      <a:pt x="270" y="1124"/>
                    </a:lnTo>
                    <a:lnTo>
                      <a:pt x="278" y="1122"/>
                    </a:lnTo>
                    <a:lnTo>
                      <a:pt x="282" y="1120"/>
                    </a:lnTo>
                    <a:lnTo>
                      <a:pt x="284" y="1120"/>
                    </a:lnTo>
                    <a:lnTo>
                      <a:pt x="288" y="1124"/>
                    </a:lnTo>
                    <a:lnTo>
                      <a:pt x="290" y="1128"/>
                    </a:lnTo>
                    <a:lnTo>
                      <a:pt x="290" y="1128"/>
                    </a:lnTo>
                    <a:lnTo>
                      <a:pt x="292" y="1136"/>
                    </a:lnTo>
                    <a:lnTo>
                      <a:pt x="296" y="1138"/>
                    </a:lnTo>
                    <a:lnTo>
                      <a:pt x="298" y="1140"/>
                    </a:lnTo>
                    <a:lnTo>
                      <a:pt x="302" y="1138"/>
                    </a:lnTo>
                    <a:lnTo>
                      <a:pt x="306" y="1136"/>
                    </a:lnTo>
                    <a:lnTo>
                      <a:pt x="308" y="1130"/>
                    </a:lnTo>
                    <a:lnTo>
                      <a:pt x="308" y="1126"/>
                    </a:lnTo>
                    <a:lnTo>
                      <a:pt x="306" y="1120"/>
                    </a:lnTo>
                    <a:lnTo>
                      <a:pt x="306" y="1120"/>
                    </a:lnTo>
                    <a:lnTo>
                      <a:pt x="306" y="1114"/>
                    </a:lnTo>
                    <a:lnTo>
                      <a:pt x="308" y="1110"/>
                    </a:lnTo>
                    <a:lnTo>
                      <a:pt x="312" y="1106"/>
                    </a:lnTo>
                    <a:lnTo>
                      <a:pt x="316" y="1102"/>
                    </a:lnTo>
                    <a:lnTo>
                      <a:pt x="322" y="1100"/>
                    </a:lnTo>
                    <a:lnTo>
                      <a:pt x="328" y="1100"/>
                    </a:lnTo>
                    <a:lnTo>
                      <a:pt x="332" y="1102"/>
                    </a:lnTo>
                    <a:lnTo>
                      <a:pt x="334" y="1108"/>
                    </a:lnTo>
                    <a:lnTo>
                      <a:pt x="334" y="1108"/>
                    </a:lnTo>
                    <a:lnTo>
                      <a:pt x="334" y="1110"/>
                    </a:lnTo>
                    <a:lnTo>
                      <a:pt x="336" y="1110"/>
                    </a:lnTo>
                    <a:lnTo>
                      <a:pt x="340" y="1110"/>
                    </a:lnTo>
                    <a:lnTo>
                      <a:pt x="354" y="1100"/>
                    </a:lnTo>
                    <a:lnTo>
                      <a:pt x="372" y="1088"/>
                    </a:lnTo>
                    <a:lnTo>
                      <a:pt x="380" y="1084"/>
                    </a:lnTo>
                    <a:lnTo>
                      <a:pt x="388" y="1082"/>
                    </a:lnTo>
                    <a:lnTo>
                      <a:pt x="388" y="1082"/>
                    </a:lnTo>
                    <a:lnTo>
                      <a:pt x="394" y="1082"/>
                    </a:lnTo>
                    <a:lnTo>
                      <a:pt x="396" y="1080"/>
                    </a:lnTo>
                    <a:lnTo>
                      <a:pt x="394" y="1074"/>
                    </a:lnTo>
                    <a:lnTo>
                      <a:pt x="394" y="1068"/>
                    </a:lnTo>
                    <a:lnTo>
                      <a:pt x="398" y="1062"/>
                    </a:lnTo>
                    <a:lnTo>
                      <a:pt x="408" y="1052"/>
                    </a:lnTo>
                    <a:lnTo>
                      <a:pt x="424" y="1042"/>
                    </a:lnTo>
                    <a:lnTo>
                      <a:pt x="424" y="1042"/>
                    </a:lnTo>
                    <a:lnTo>
                      <a:pt x="440" y="1032"/>
                    </a:lnTo>
                    <a:lnTo>
                      <a:pt x="452" y="1024"/>
                    </a:lnTo>
                    <a:lnTo>
                      <a:pt x="462" y="1016"/>
                    </a:lnTo>
                    <a:lnTo>
                      <a:pt x="468" y="1010"/>
                    </a:lnTo>
                    <a:lnTo>
                      <a:pt x="478" y="998"/>
                    </a:lnTo>
                    <a:lnTo>
                      <a:pt x="484" y="994"/>
                    </a:lnTo>
                    <a:lnTo>
                      <a:pt x="492" y="988"/>
                    </a:lnTo>
                    <a:lnTo>
                      <a:pt x="492" y="988"/>
                    </a:lnTo>
                    <a:lnTo>
                      <a:pt x="516" y="976"/>
                    </a:lnTo>
                    <a:lnTo>
                      <a:pt x="538" y="964"/>
                    </a:lnTo>
                    <a:lnTo>
                      <a:pt x="548" y="956"/>
                    </a:lnTo>
                    <a:lnTo>
                      <a:pt x="556" y="950"/>
                    </a:lnTo>
                    <a:lnTo>
                      <a:pt x="562" y="942"/>
                    </a:lnTo>
                    <a:lnTo>
                      <a:pt x="566" y="934"/>
                    </a:lnTo>
                    <a:lnTo>
                      <a:pt x="566" y="934"/>
                    </a:lnTo>
                    <a:lnTo>
                      <a:pt x="568" y="928"/>
                    </a:lnTo>
                    <a:lnTo>
                      <a:pt x="572" y="922"/>
                    </a:lnTo>
                    <a:lnTo>
                      <a:pt x="580" y="916"/>
                    </a:lnTo>
                    <a:lnTo>
                      <a:pt x="588" y="912"/>
                    </a:lnTo>
                    <a:lnTo>
                      <a:pt x="592" y="906"/>
                    </a:lnTo>
                    <a:lnTo>
                      <a:pt x="592" y="900"/>
                    </a:lnTo>
                    <a:lnTo>
                      <a:pt x="592" y="900"/>
                    </a:lnTo>
                    <a:lnTo>
                      <a:pt x="592" y="898"/>
                    </a:lnTo>
                    <a:lnTo>
                      <a:pt x="590" y="896"/>
                    </a:lnTo>
                    <a:lnTo>
                      <a:pt x="582" y="892"/>
                    </a:lnTo>
                    <a:lnTo>
                      <a:pt x="564" y="892"/>
                    </a:lnTo>
                    <a:lnTo>
                      <a:pt x="556" y="890"/>
                    </a:lnTo>
                    <a:lnTo>
                      <a:pt x="554" y="890"/>
                    </a:lnTo>
                    <a:lnTo>
                      <a:pt x="554" y="888"/>
                    </a:lnTo>
                    <a:lnTo>
                      <a:pt x="554" y="886"/>
                    </a:lnTo>
                    <a:lnTo>
                      <a:pt x="556" y="882"/>
                    </a:lnTo>
                    <a:lnTo>
                      <a:pt x="570" y="870"/>
                    </a:lnTo>
                    <a:lnTo>
                      <a:pt x="570" y="870"/>
                    </a:lnTo>
                    <a:lnTo>
                      <a:pt x="598" y="846"/>
                    </a:lnTo>
                    <a:lnTo>
                      <a:pt x="616" y="828"/>
                    </a:lnTo>
                    <a:lnTo>
                      <a:pt x="630" y="810"/>
                    </a:lnTo>
                    <a:lnTo>
                      <a:pt x="644" y="786"/>
                    </a:lnTo>
                    <a:lnTo>
                      <a:pt x="644" y="786"/>
                    </a:lnTo>
                    <a:lnTo>
                      <a:pt x="654" y="774"/>
                    </a:lnTo>
                    <a:lnTo>
                      <a:pt x="666" y="764"/>
                    </a:lnTo>
                    <a:lnTo>
                      <a:pt x="680" y="756"/>
                    </a:lnTo>
                    <a:lnTo>
                      <a:pt x="694" y="750"/>
                    </a:lnTo>
                    <a:lnTo>
                      <a:pt x="710" y="750"/>
                    </a:lnTo>
                    <a:lnTo>
                      <a:pt x="726" y="752"/>
                    </a:lnTo>
                    <a:lnTo>
                      <a:pt x="742" y="758"/>
                    </a:lnTo>
                    <a:lnTo>
                      <a:pt x="750" y="764"/>
                    </a:lnTo>
                    <a:lnTo>
                      <a:pt x="758" y="770"/>
                    </a:lnTo>
                    <a:lnTo>
                      <a:pt x="758" y="770"/>
                    </a:lnTo>
                    <a:lnTo>
                      <a:pt x="768" y="782"/>
                    </a:lnTo>
                    <a:lnTo>
                      <a:pt x="770" y="784"/>
                    </a:lnTo>
                    <a:lnTo>
                      <a:pt x="770" y="784"/>
                    </a:lnTo>
                    <a:lnTo>
                      <a:pt x="752" y="776"/>
                    </a:lnTo>
                    <a:lnTo>
                      <a:pt x="738" y="768"/>
                    </a:lnTo>
                    <a:lnTo>
                      <a:pt x="720" y="764"/>
                    </a:lnTo>
                    <a:lnTo>
                      <a:pt x="712" y="762"/>
                    </a:lnTo>
                    <a:lnTo>
                      <a:pt x="704" y="762"/>
                    </a:lnTo>
                    <a:lnTo>
                      <a:pt x="696" y="764"/>
                    </a:lnTo>
                    <a:lnTo>
                      <a:pt x="690" y="768"/>
                    </a:lnTo>
                    <a:lnTo>
                      <a:pt x="690" y="768"/>
                    </a:lnTo>
                    <a:lnTo>
                      <a:pt x="680" y="776"/>
                    </a:lnTo>
                    <a:lnTo>
                      <a:pt x="674" y="784"/>
                    </a:lnTo>
                    <a:lnTo>
                      <a:pt x="672" y="790"/>
                    </a:lnTo>
                    <a:lnTo>
                      <a:pt x="672" y="796"/>
                    </a:lnTo>
                    <a:lnTo>
                      <a:pt x="672" y="802"/>
                    </a:lnTo>
                    <a:lnTo>
                      <a:pt x="670" y="810"/>
                    </a:lnTo>
                    <a:lnTo>
                      <a:pt x="666" y="818"/>
                    </a:lnTo>
                    <a:lnTo>
                      <a:pt x="658" y="828"/>
                    </a:lnTo>
                    <a:lnTo>
                      <a:pt x="658" y="828"/>
                    </a:lnTo>
                    <a:lnTo>
                      <a:pt x="652" y="836"/>
                    </a:lnTo>
                    <a:lnTo>
                      <a:pt x="650" y="844"/>
                    </a:lnTo>
                    <a:lnTo>
                      <a:pt x="652" y="848"/>
                    </a:lnTo>
                    <a:lnTo>
                      <a:pt x="656" y="852"/>
                    </a:lnTo>
                    <a:lnTo>
                      <a:pt x="660" y="856"/>
                    </a:lnTo>
                    <a:lnTo>
                      <a:pt x="662" y="858"/>
                    </a:lnTo>
                    <a:lnTo>
                      <a:pt x="662" y="862"/>
                    </a:lnTo>
                    <a:lnTo>
                      <a:pt x="656" y="866"/>
                    </a:lnTo>
                    <a:lnTo>
                      <a:pt x="656" y="866"/>
                    </a:lnTo>
                    <a:lnTo>
                      <a:pt x="646" y="874"/>
                    </a:lnTo>
                    <a:lnTo>
                      <a:pt x="644" y="876"/>
                    </a:lnTo>
                    <a:lnTo>
                      <a:pt x="644" y="878"/>
                    </a:lnTo>
                    <a:lnTo>
                      <a:pt x="646" y="880"/>
                    </a:lnTo>
                    <a:lnTo>
                      <a:pt x="648" y="882"/>
                    </a:lnTo>
                    <a:lnTo>
                      <a:pt x="658" y="884"/>
                    </a:lnTo>
                    <a:lnTo>
                      <a:pt x="670" y="884"/>
                    </a:lnTo>
                    <a:lnTo>
                      <a:pt x="684" y="882"/>
                    </a:lnTo>
                    <a:lnTo>
                      <a:pt x="698" y="876"/>
                    </a:lnTo>
                    <a:lnTo>
                      <a:pt x="712" y="866"/>
                    </a:lnTo>
                    <a:lnTo>
                      <a:pt x="712" y="866"/>
                    </a:lnTo>
                    <a:lnTo>
                      <a:pt x="732" y="850"/>
                    </a:lnTo>
                    <a:lnTo>
                      <a:pt x="748" y="840"/>
                    </a:lnTo>
                    <a:lnTo>
                      <a:pt x="762" y="834"/>
                    </a:lnTo>
                    <a:lnTo>
                      <a:pt x="778" y="834"/>
                    </a:lnTo>
                    <a:lnTo>
                      <a:pt x="778" y="834"/>
                    </a:lnTo>
                    <a:lnTo>
                      <a:pt x="786" y="832"/>
                    </a:lnTo>
                    <a:lnTo>
                      <a:pt x="790" y="830"/>
                    </a:lnTo>
                    <a:lnTo>
                      <a:pt x="790" y="828"/>
                    </a:lnTo>
                    <a:lnTo>
                      <a:pt x="790" y="824"/>
                    </a:lnTo>
                    <a:lnTo>
                      <a:pt x="790" y="820"/>
                    </a:lnTo>
                    <a:lnTo>
                      <a:pt x="790" y="818"/>
                    </a:lnTo>
                    <a:lnTo>
                      <a:pt x="794" y="814"/>
                    </a:lnTo>
                    <a:lnTo>
                      <a:pt x="800" y="810"/>
                    </a:lnTo>
                    <a:lnTo>
                      <a:pt x="800" y="810"/>
                    </a:lnTo>
                    <a:lnTo>
                      <a:pt x="804" y="806"/>
                    </a:lnTo>
                    <a:lnTo>
                      <a:pt x="806" y="802"/>
                    </a:lnTo>
                    <a:lnTo>
                      <a:pt x="804" y="796"/>
                    </a:lnTo>
                    <a:lnTo>
                      <a:pt x="802" y="790"/>
                    </a:lnTo>
                    <a:lnTo>
                      <a:pt x="800" y="784"/>
                    </a:lnTo>
                    <a:lnTo>
                      <a:pt x="800" y="780"/>
                    </a:lnTo>
                    <a:lnTo>
                      <a:pt x="804" y="776"/>
                    </a:lnTo>
                    <a:lnTo>
                      <a:pt x="812" y="774"/>
                    </a:lnTo>
                    <a:lnTo>
                      <a:pt x="812" y="774"/>
                    </a:lnTo>
                    <a:lnTo>
                      <a:pt x="824" y="772"/>
                    </a:lnTo>
                    <a:lnTo>
                      <a:pt x="834" y="770"/>
                    </a:lnTo>
                    <a:lnTo>
                      <a:pt x="850" y="764"/>
                    </a:lnTo>
                    <a:lnTo>
                      <a:pt x="856" y="764"/>
                    </a:lnTo>
                    <a:lnTo>
                      <a:pt x="860" y="764"/>
                    </a:lnTo>
                    <a:lnTo>
                      <a:pt x="862" y="768"/>
                    </a:lnTo>
                    <a:lnTo>
                      <a:pt x="862" y="774"/>
                    </a:lnTo>
                    <a:lnTo>
                      <a:pt x="862" y="774"/>
                    </a:lnTo>
                    <a:lnTo>
                      <a:pt x="862" y="780"/>
                    </a:lnTo>
                    <a:lnTo>
                      <a:pt x="866" y="784"/>
                    </a:lnTo>
                    <a:lnTo>
                      <a:pt x="870" y="788"/>
                    </a:lnTo>
                    <a:lnTo>
                      <a:pt x="874" y="790"/>
                    </a:lnTo>
                    <a:lnTo>
                      <a:pt x="888" y="794"/>
                    </a:lnTo>
                    <a:lnTo>
                      <a:pt x="896" y="798"/>
                    </a:lnTo>
                    <a:lnTo>
                      <a:pt x="906" y="802"/>
                    </a:lnTo>
                    <a:lnTo>
                      <a:pt x="906" y="802"/>
                    </a:lnTo>
                    <a:lnTo>
                      <a:pt x="912" y="806"/>
                    </a:lnTo>
                    <a:lnTo>
                      <a:pt x="918" y="806"/>
                    </a:lnTo>
                    <a:lnTo>
                      <a:pt x="922" y="804"/>
                    </a:lnTo>
                    <a:lnTo>
                      <a:pt x="924" y="802"/>
                    </a:lnTo>
                    <a:lnTo>
                      <a:pt x="926" y="800"/>
                    </a:lnTo>
                    <a:lnTo>
                      <a:pt x="930" y="800"/>
                    </a:lnTo>
                    <a:lnTo>
                      <a:pt x="934" y="804"/>
                    </a:lnTo>
                    <a:lnTo>
                      <a:pt x="940" y="810"/>
                    </a:lnTo>
                    <a:lnTo>
                      <a:pt x="940" y="810"/>
                    </a:lnTo>
                    <a:lnTo>
                      <a:pt x="948" y="820"/>
                    </a:lnTo>
                    <a:lnTo>
                      <a:pt x="958" y="824"/>
                    </a:lnTo>
                    <a:lnTo>
                      <a:pt x="968" y="828"/>
                    </a:lnTo>
                    <a:lnTo>
                      <a:pt x="978" y="828"/>
                    </a:lnTo>
                    <a:lnTo>
                      <a:pt x="1002" y="826"/>
                    </a:lnTo>
                    <a:lnTo>
                      <a:pt x="1024" y="824"/>
                    </a:lnTo>
                    <a:lnTo>
                      <a:pt x="1024" y="824"/>
                    </a:lnTo>
                    <a:lnTo>
                      <a:pt x="1036" y="826"/>
                    </a:lnTo>
                    <a:lnTo>
                      <a:pt x="1050" y="830"/>
                    </a:lnTo>
                    <a:lnTo>
                      <a:pt x="1076" y="842"/>
                    </a:lnTo>
                    <a:lnTo>
                      <a:pt x="1090" y="846"/>
                    </a:lnTo>
                    <a:lnTo>
                      <a:pt x="1104" y="850"/>
                    </a:lnTo>
                    <a:lnTo>
                      <a:pt x="1116" y="850"/>
                    </a:lnTo>
                    <a:lnTo>
                      <a:pt x="1122" y="848"/>
                    </a:lnTo>
                    <a:lnTo>
                      <a:pt x="1126" y="846"/>
                    </a:lnTo>
                    <a:lnTo>
                      <a:pt x="1126" y="846"/>
                    </a:lnTo>
                    <a:lnTo>
                      <a:pt x="1136" y="842"/>
                    </a:lnTo>
                    <a:lnTo>
                      <a:pt x="1142" y="840"/>
                    </a:lnTo>
                    <a:lnTo>
                      <a:pt x="1146" y="840"/>
                    </a:lnTo>
                    <a:lnTo>
                      <a:pt x="1150" y="842"/>
                    </a:lnTo>
                    <a:lnTo>
                      <a:pt x="1150" y="846"/>
                    </a:lnTo>
                    <a:lnTo>
                      <a:pt x="1150" y="850"/>
                    </a:lnTo>
                    <a:lnTo>
                      <a:pt x="1146" y="854"/>
                    </a:lnTo>
                    <a:lnTo>
                      <a:pt x="1142" y="858"/>
                    </a:lnTo>
                    <a:lnTo>
                      <a:pt x="1142" y="858"/>
                    </a:lnTo>
                    <a:lnTo>
                      <a:pt x="1138" y="860"/>
                    </a:lnTo>
                    <a:lnTo>
                      <a:pt x="1140" y="864"/>
                    </a:lnTo>
                    <a:lnTo>
                      <a:pt x="1146" y="868"/>
                    </a:lnTo>
                    <a:lnTo>
                      <a:pt x="1154" y="874"/>
                    </a:lnTo>
                    <a:lnTo>
                      <a:pt x="1174" y="882"/>
                    </a:lnTo>
                    <a:lnTo>
                      <a:pt x="1192" y="892"/>
                    </a:lnTo>
                    <a:lnTo>
                      <a:pt x="1192" y="892"/>
                    </a:lnTo>
                    <a:lnTo>
                      <a:pt x="1206" y="900"/>
                    </a:lnTo>
                    <a:lnTo>
                      <a:pt x="1216" y="912"/>
                    </a:lnTo>
                    <a:lnTo>
                      <a:pt x="1228" y="924"/>
                    </a:lnTo>
                    <a:lnTo>
                      <a:pt x="1244" y="934"/>
                    </a:lnTo>
                    <a:lnTo>
                      <a:pt x="1244" y="934"/>
                    </a:lnTo>
                    <a:lnTo>
                      <a:pt x="1254" y="938"/>
                    </a:lnTo>
                    <a:lnTo>
                      <a:pt x="1264" y="940"/>
                    </a:lnTo>
                    <a:lnTo>
                      <a:pt x="1272" y="940"/>
                    </a:lnTo>
                    <a:lnTo>
                      <a:pt x="1278" y="940"/>
                    </a:lnTo>
                    <a:lnTo>
                      <a:pt x="1282" y="938"/>
                    </a:lnTo>
                    <a:lnTo>
                      <a:pt x="1284" y="934"/>
                    </a:lnTo>
                    <a:lnTo>
                      <a:pt x="1284" y="930"/>
                    </a:lnTo>
                    <a:lnTo>
                      <a:pt x="1280" y="924"/>
                    </a:lnTo>
                    <a:lnTo>
                      <a:pt x="1280" y="924"/>
                    </a:lnTo>
                    <a:lnTo>
                      <a:pt x="1272" y="912"/>
                    </a:lnTo>
                    <a:lnTo>
                      <a:pt x="1268" y="904"/>
                    </a:lnTo>
                    <a:lnTo>
                      <a:pt x="1268" y="902"/>
                    </a:lnTo>
                    <a:lnTo>
                      <a:pt x="1270" y="902"/>
                    </a:lnTo>
                    <a:lnTo>
                      <a:pt x="1282" y="912"/>
                    </a:lnTo>
                    <a:lnTo>
                      <a:pt x="1282" y="912"/>
                    </a:lnTo>
                    <a:lnTo>
                      <a:pt x="1298" y="928"/>
                    </a:lnTo>
                    <a:lnTo>
                      <a:pt x="1314" y="938"/>
                    </a:lnTo>
                    <a:lnTo>
                      <a:pt x="1320" y="940"/>
                    </a:lnTo>
                    <a:lnTo>
                      <a:pt x="1324" y="940"/>
                    </a:lnTo>
                    <a:lnTo>
                      <a:pt x="1326" y="938"/>
                    </a:lnTo>
                    <a:lnTo>
                      <a:pt x="1326" y="930"/>
                    </a:lnTo>
                    <a:lnTo>
                      <a:pt x="1326" y="930"/>
                    </a:lnTo>
                    <a:lnTo>
                      <a:pt x="1322" y="916"/>
                    </a:lnTo>
                    <a:lnTo>
                      <a:pt x="1322" y="908"/>
                    </a:lnTo>
                    <a:lnTo>
                      <a:pt x="1322" y="906"/>
                    </a:lnTo>
                    <a:lnTo>
                      <a:pt x="1324" y="908"/>
                    </a:lnTo>
                    <a:lnTo>
                      <a:pt x="1332" y="922"/>
                    </a:lnTo>
                    <a:lnTo>
                      <a:pt x="1332" y="922"/>
                    </a:lnTo>
                    <a:lnTo>
                      <a:pt x="1338" y="930"/>
                    </a:lnTo>
                    <a:lnTo>
                      <a:pt x="1344" y="934"/>
                    </a:lnTo>
                    <a:lnTo>
                      <a:pt x="1348" y="936"/>
                    </a:lnTo>
                    <a:lnTo>
                      <a:pt x="1354" y="938"/>
                    </a:lnTo>
                    <a:lnTo>
                      <a:pt x="1358" y="938"/>
                    </a:lnTo>
                    <a:lnTo>
                      <a:pt x="1362" y="940"/>
                    </a:lnTo>
                    <a:lnTo>
                      <a:pt x="1368" y="942"/>
                    </a:lnTo>
                    <a:lnTo>
                      <a:pt x="1372" y="950"/>
                    </a:lnTo>
                    <a:lnTo>
                      <a:pt x="1372" y="950"/>
                    </a:lnTo>
                    <a:lnTo>
                      <a:pt x="1378" y="966"/>
                    </a:lnTo>
                    <a:lnTo>
                      <a:pt x="1382" y="976"/>
                    </a:lnTo>
                    <a:lnTo>
                      <a:pt x="1384" y="982"/>
                    </a:lnTo>
                    <a:lnTo>
                      <a:pt x="1390" y="988"/>
                    </a:lnTo>
                    <a:lnTo>
                      <a:pt x="1390" y="988"/>
                    </a:lnTo>
                    <a:lnTo>
                      <a:pt x="1394" y="992"/>
                    </a:lnTo>
                    <a:lnTo>
                      <a:pt x="1394" y="996"/>
                    </a:lnTo>
                    <a:lnTo>
                      <a:pt x="1390" y="1002"/>
                    </a:lnTo>
                    <a:lnTo>
                      <a:pt x="1388" y="1006"/>
                    </a:lnTo>
                    <a:lnTo>
                      <a:pt x="1388" y="1008"/>
                    </a:lnTo>
                    <a:lnTo>
                      <a:pt x="1392" y="1012"/>
                    </a:lnTo>
                    <a:lnTo>
                      <a:pt x="1398" y="1014"/>
                    </a:lnTo>
                    <a:lnTo>
                      <a:pt x="1398" y="1014"/>
                    </a:lnTo>
                    <a:lnTo>
                      <a:pt x="1412" y="1020"/>
                    </a:lnTo>
                    <a:lnTo>
                      <a:pt x="1414" y="1024"/>
                    </a:lnTo>
                    <a:lnTo>
                      <a:pt x="1416" y="1026"/>
                    </a:lnTo>
                    <a:lnTo>
                      <a:pt x="1422" y="1036"/>
                    </a:lnTo>
                    <a:lnTo>
                      <a:pt x="1426" y="1042"/>
                    </a:lnTo>
                    <a:lnTo>
                      <a:pt x="1434" y="1052"/>
                    </a:lnTo>
                    <a:lnTo>
                      <a:pt x="1434" y="1052"/>
                    </a:lnTo>
                    <a:lnTo>
                      <a:pt x="1452" y="1064"/>
                    </a:lnTo>
                    <a:lnTo>
                      <a:pt x="1464" y="1070"/>
                    </a:lnTo>
                    <a:lnTo>
                      <a:pt x="1466" y="1074"/>
                    </a:lnTo>
                    <a:lnTo>
                      <a:pt x="1460" y="1076"/>
                    </a:lnTo>
                    <a:lnTo>
                      <a:pt x="1460" y="1076"/>
                    </a:lnTo>
                    <a:lnTo>
                      <a:pt x="1452" y="1080"/>
                    </a:lnTo>
                    <a:lnTo>
                      <a:pt x="1450" y="1086"/>
                    </a:lnTo>
                    <a:lnTo>
                      <a:pt x="1448" y="1092"/>
                    </a:lnTo>
                    <a:lnTo>
                      <a:pt x="1442" y="1100"/>
                    </a:lnTo>
                    <a:lnTo>
                      <a:pt x="1442" y="1100"/>
                    </a:lnTo>
                    <a:lnTo>
                      <a:pt x="1440" y="1104"/>
                    </a:lnTo>
                    <a:lnTo>
                      <a:pt x="1440" y="1108"/>
                    </a:lnTo>
                    <a:lnTo>
                      <a:pt x="1440" y="1112"/>
                    </a:lnTo>
                    <a:lnTo>
                      <a:pt x="1442" y="1114"/>
                    </a:lnTo>
                    <a:lnTo>
                      <a:pt x="1446" y="1116"/>
                    </a:lnTo>
                    <a:lnTo>
                      <a:pt x="1450" y="1114"/>
                    </a:lnTo>
                    <a:lnTo>
                      <a:pt x="1452" y="1112"/>
                    </a:lnTo>
                    <a:lnTo>
                      <a:pt x="1456" y="1106"/>
                    </a:lnTo>
                    <a:lnTo>
                      <a:pt x="1456" y="1106"/>
                    </a:lnTo>
                    <a:lnTo>
                      <a:pt x="1462" y="1092"/>
                    </a:lnTo>
                    <a:lnTo>
                      <a:pt x="1466" y="1088"/>
                    </a:lnTo>
                    <a:lnTo>
                      <a:pt x="1470" y="1084"/>
                    </a:lnTo>
                    <a:lnTo>
                      <a:pt x="1474" y="1082"/>
                    </a:lnTo>
                    <a:lnTo>
                      <a:pt x="1478" y="1084"/>
                    </a:lnTo>
                    <a:lnTo>
                      <a:pt x="1484" y="1088"/>
                    </a:lnTo>
                    <a:lnTo>
                      <a:pt x="1488" y="1094"/>
                    </a:lnTo>
                    <a:lnTo>
                      <a:pt x="1488" y="1094"/>
                    </a:lnTo>
                    <a:lnTo>
                      <a:pt x="1492" y="1104"/>
                    </a:lnTo>
                    <a:lnTo>
                      <a:pt x="1494" y="1112"/>
                    </a:lnTo>
                    <a:lnTo>
                      <a:pt x="1494" y="1118"/>
                    </a:lnTo>
                    <a:lnTo>
                      <a:pt x="1492" y="1124"/>
                    </a:lnTo>
                    <a:lnTo>
                      <a:pt x="1488" y="1134"/>
                    </a:lnTo>
                    <a:lnTo>
                      <a:pt x="1488" y="1138"/>
                    </a:lnTo>
                    <a:lnTo>
                      <a:pt x="1488" y="1144"/>
                    </a:lnTo>
                    <a:lnTo>
                      <a:pt x="1488" y="1144"/>
                    </a:lnTo>
                    <a:lnTo>
                      <a:pt x="1492" y="1152"/>
                    </a:lnTo>
                    <a:lnTo>
                      <a:pt x="1494" y="1160"/>
                    </a:lnTo>
                    <a:lnTo>
                      <a:pt x="1496" y="1164"/>
                    </a:lnTo>
                    <a:lnTo>
                      <a:pt x="1498" y="1164"/>
                    </a:lnTo>
                    <a:lnTo>
                      <a:pt x="1502" y="1162"/>
                    </a:lnTo>
                    <a:lnTo>
                      <a:pt x="1508" y="1158"/>
                    </a:lnTo>
                    <a:lnTo>
                      <a:pt x="1508" y="1158"/>
                    </a:lnTo>
                    <a:lnTo>
                      <a:pt x="1516" y="1150"/>
                    </a:lnTo>
                    <a:lnTo>
                      <a:pt x="1524" y="1142"/>
                    </a:lnTo>
                    <a:lnTo>
                      <a:pt x="1526" y="1138"/>
                    </a:lnTo>
                    <a:lnTo>
                      <a:pt x="1526" y="1132"/>
                    </a:lnTo>
                    <a:lnTo>
                      <a:pt x="1524" y="1118"/>
                    </a:lnTo>
                    <a:lnTo>
                      <a:pt x="1524" y="1118"/>
                    </a:lnTo>
                    <a:lnTo>
                      <a:pt x="1522" y="1106"/>
                    </a:lnTo>
                    <a:lnTo>
                      <a:pt x="1524" y="1098"/>
                    </a:lnTo>
                    <a:lnTo>
                      <a:pt x="1528" y="1094"/>
                    </a:lnTo>
                    <a:lnTo>
                      <a:pt x="1530" y="1090"/>
                    </a:lnTo>
                    <a:lnTo>
                      <a:pt x="1530" y="1090"/>
                    </a:lnTo>
                    <a:lnTo>
                      <a:pt x="1528" y="1098"/>
                    </a:lnTo>
                    <a:lnTo>
                      <a:pt x="1530" y="1106"/>
                    </a:lnTo>
                    <a:lnTo>
                      <a:pt x="1532" y="1118"/>
                    </a:lnTo>
                    <a:lnTo>
                      <a:pt x="1534" y="1130"/>
                    </a:lnTo>
                    <a:lnTo>
                      <a:pt x="1532" y="1136"/>
                    </a:lnTo>
                    <a:lnTo>
                      <a:pt x="1530" y="1140"/>
                    </a:lnTo>
                    <a:lnTo>
                      <a:pt x="1530" y="1140"/>
                    </a:lnTo>
                    <a:lnTo>
                      <a:pt x="1526" y="1142"/>
                    </a:lnTo>
                    <a:lnTo>
                      <a:pt x="1526" y="1146"/>
                    </a:lnTo>
                    <a:lnTo>
                      <a:pt x="1526" y="1152"/>
                    </a:lnTo>
                    <a:lnTo>
                      <a:pt x="1526" y="1160"/>
                    </a:lnTo>
                    <a:lnTo>
                      <a:pt x="1524" y="1162"/>
                    </a:lnTo>
                    <a:lnTo>
                      <a:pt x="1522" y="1166"/>
                    </a:lnTo>
                    <a:lnTo>
                      <a:pt x="1522" y="1166"/>
                    </a:lnTo>
                    <a:lnTo>
                      <a:pt x="1516" y="1172"/>
                    </a:lnTo>
                    <a:lnTo>
                      <a:pt x="1512" y="1178"/>
                    </a:lnTo>
                    <a:lnTo>
                      <a:pt x="1512" y="1182"/>
                    </a:lnTo>
                    <a:lnTo>
                      <a:pt x="1512" y="1186"/>
                    </a:lnTo>
                    <a:lnTo>
                      <a:pt x="1518" y="1192"/>
                    </a:lnTo>
                    <a:lnTo>
                      <a:pt x="1520" y="1194"/>
                    </a:lnTo>
                    <a:lnTo>
                      <a:pt x="1524" y="1198"/>
                    </a:lnTo>
                    <a:lnTo>
                      <a:pt x="1524" y="1198"/>
                    </a:lnTo>
                    <a:lnTo>
                      <a:pt x="1528" y="1210"/>
                    </a:lnTo>
                    <a:lnTo>
                      <a:pt x="1534" y="1222"/>
                    </a:lnTo>
                    <a:lnTo>
                      <a:pt x="1542" y="1232"/>
                    </a:lnTo>
                    <a:lnTo>
                      <a:pt x="1554" y="1244"/>
                    </a:lnTo>
                    <a:lnTo>
                      <a:pt x="1554" y="1244"/>
                    </a:lnTo>
                    <a:lnTo>
                      <a:pt x="1558" y="1246"/>
                    </a:lnTo>
                    <a:lnTo>
                      <a:pt x="1560" y="1244"/>
                    </a:lnTo>
                    <a:lnTo>
                      <a:pt x="1562" y="1236"/>
                    </a:lnTo>
                    <a:lnTo>
                      <a:pt x="1564" y="1230"/>
                    </a:lnTo>
                    <a:lnTo>
                      <a:pt x="1566" y="1224"/>
                    </a:lnTo>
                    <a:lnTo>
                      <a:pt x="1574" y="1218"/>
                    </a:lnTo>
                    <a:lnTo>
                      <a:pt x="1584" y="1216"/>
                    </a:lnTo>
                    <a:lnTo>
                      <a:pt x="1584" y="1216"/>
                    </a:lnTo>
                    <a:lnTo>
                      <a:pt x="1592" y="1216"/>
                    </a:lnTo>
                    <a:lnTo>
                      <a:pt x="1594" y="1216"/>
                    </a:lnTo>
                    <a:lnTo>
                      <a:pt x="1586" y="1222"/>
                    </a:lnTo>
                    <a:lnTo>
                      <a:pt x="1582" y="1228"/>
                    </a:lnTo>
                    <a:lnTo>
                      <a:pt x="1578" y="1234"/>
                    </a:lnTo>
                    <a:lnTo>
                      <a:pt x="1574" y="1240"/>
                    </a:lnTo>
                    <a:lnTo>
                      <a:pt x="1576" y="1248"/>
                    </a:lnTo>
                    <a:lnTo>
                      <a:pt x="1576" y="1248"/>
                    </a:lnTo>
                    <a:lnTo>
                      <a:pt x="1582" y="1258"/>
                    </a:lnTo>
                    <a:lnTo>
                      <a:pt x="1586" y="1260"/>
                    </a:lnTo>
                    <a:lnTo>
                      <a:pt x="1588" y="1262"/>
                    </a:lnTo>
                    <a:lnTo>
                      <a:pt x="1590" y="1274"/>
                    </a:lnTo>
                    <a:lnTo>
                      <a:pt x="1590" y="1274"/>
                    </a:lnTo>
                    <a:lnTo>
                      <a:pt x="1592" y="1280"/>
                    </a:lnTo>
                    <a:lnTo>
                      <a:pt x="1596" y="1280"/>
                    </a:lnTo>
                    <a:lnTo>
                      <a:pt x="1600" y="1280"/>
                    </a:lnTo>
                    <a:lnTo>
                      <a:pt x="1604" y="1278"/>
                    </a:lnTo>
                    <a:lnTo>
                      <a:pt x="1608" y="1278"/>
                    </a:lnTo>
                    <a:lnTo>
                      <a:pt x="1610" y="1278"/>
                    </a:lnTo>
                    <a:lnTo>
                      <a:pt x="1610" y="1280"/>
                    </a:lnTo>
                    <a:lnTo>
                      <a:pt x="1606" y="1290"/>
                    </a:lnTo>
                    <a:lnTo>
                      <a:pt x="1606" y="1290"/>
                    </a:lnTo>
                    <a:lnTo>
                      <a:pt x="1598" y="1306"/>
                    </a:lnTo>
                    <a:lnTo>
                      <a:pt x="1596" y="1318"/>
                    </a:lnTo>
                    <a:lnTo>
                      <a:pt x="1598" y="1322"/>
                    </a:lnTo>
                    <a:lnTo>
                      <a:pt x="1600" y="1322"/>
                    </a:lnTo>
                    <a:lnTo>
                      <a:pt x="1600" y="1322"/>
                    </a:lnTo>
                    <a:lnTo>
                      <a:pt x="1602" y="1322"/>
                    </a:lnTo>
                    <a:lnTo>
                      <a:pt x="1602" y="1324"/>
                    </a:lnTo>
                    <a:lnTo>
                      <a:pt x="1602" y="1330"/>
                    </a:lnTo>
                    <a:lnTo>
                      <a:pt x="1602" y="1336"/>
                    </a:lnTo>
                    <a:lnTo>
                      <a:pt x="1604" y="1340"/>
                    </a:lnTo>
                    <a:lnTo>
                      <a:pt x="1608" y="1342"/>
                    </a:lnTo>
                    <a:lnTo>
                      <a:pt x="1608" y="1342"/>
                    </a:lnTo>
                    <a:lnTo>
                      <a:pt x="1610" y="1342"/>
                    </a:lnTo>
                    <a:lnTo>
                      <a:pt x="1612" y="1340"/>
                    </a:lnTo>
                    <a:lnTo>
                      <a:pt x="1614" y="1330"/>
                    </a:lnTo>
                    <a:lnTo>
                      <a:pt x="1616" y="1320"/>
                    </a:lnTo>
                    <a:lnTo>
                      <a:pt x="1618" y="1316"/>
                    </a:lnTo>
                    <a:lnTo>
                      <a:pt x="1622" y="1314"/>
                    </a:lnTo>
                    <a:lnTo>
                      <a:pt x="1622" y="1314"/>
                    </a:lnTo>
                    <a:lnTo>
                      <a:pt x="1630" y="1310"/>
                    </a:lnTo>
                    <a:lnTo>
                      <a:pt x="1636" y="1304"/>
                    </a:lnTo>
                    <a:lnTo>
                      <a:pt x="1642" y="1300"/>
                    </a:lnTo>
                    <a:lnTo>
                      <a:pt x="1642" y="1300"/>
                    </a:lnTo>
                    <a:lnTo>
                      <a:pt x="1644" y="1304"/>
                    </a:lnTo>
                    <a:lnTo>
                      <a:pt x="1644" y="1304"/>
                    </a:lnTo>
                    <a:lnTo>
                      <a:pt x="1646" y="1306"/>
                    </a:lnTo>
                    <a:lnTo>
                      <a:pt x="1648" y="1308"/>
                    </a:lnTo>
                    <a:lnTo>
                      <a:pt x="1654" y="1308"/>
                    </a:lnTo>
                    <a:lnTo>
                      <a:pt x="1660" y="1308"/>
                    </a:lnTo>
                    <a:lnTo>
                      <a:pt x="1660" y="1310"/>
                    </a:lnTo>
                    <a:lnTo>
                      <a:pt x="1660" y="1314"/>
                    </a:lnTo>
                    <a:lnTo>
                      <a:pt x="1660" y="1314"/>
                    </a:lnTo>
                    <a:lnTo>
                      <a:pt x="1660" y="1318"/>
                    </a:lnTo>
                    <a:lnTo>
                      <a:pt x="1658" y="1318"/>
                    </a:lnTo>
                    <a:lnTo>
                      <a:pt x="1656" y="1316"/>
                    </a:lnTo>
                    <a:lnTo>
                      <a:pt x="1652" y="1314"/>
                    </a:lnTo>
                    <a:lnTo>
                      <a:pt x="1648" y="1312"/>
                    </a:lnTo>
                    <a:lnTo>
                      <a:pt x="1642" y="1314"/>
                    </a:lnTo>
                    <a:lnTo>
                      <a:pt x="1634" y="1318"/>
                    </a:lnTo>
                    <a:lnTo>
                      <a:pt x="1634" y="1318"/>
                    </a:lnTo>
                    <a:lnTo>
                      <a:pt x="1622" y="1330"/>
                    </a:lnTo>
                    <a:lnTo>
                      <a:pt x="1618" y="1336"/>
                    </a:lnTo>
                    <a:lnTo>
                      <a:pt x="1618" y="1342"/>
                    </a:lnTo>
                    <a:lnTo>
                      <a:pt x="1618" y="1350"/>
                    </a:lnTo>
                    <a:lnTo>
                      <a:pt x="1618" y="1350"/>
                    </a:lnTo>
                    <a:lnTo>
                      <a:pt x="1620" y="1356"/>
                    </a:lnTo>
                    <a:lnTo>
                      <a:pt x="1622" y="1358"/>
                    </a:lnTo>
                    <a:lnTo>
                      <a:pt x="1626" y="1360"/>
                    </a:lnTo>
                    <a:lnTo>
                      <a:pt x="1628" y="1362"/>
                    </a:lnTo>
                    <a:lnTo>
                      <a:pt x="1624" y="1366"/>
                    </a:lnTo>
                    <a:lnTo>
                      <a:pt x="1624" y="1366"/>
                    </a:lnTo>
                    <a:lnTo>
                      <a:pt x="1622" y="1368"/>
                    </a:lnTo>
                    <a:lnTo>
                      <a:pt x="1622" y="1370"/>
                    </a:lnTo>
                    <a:lnTo>
                      <a:pt x="1624" y="1372"/>
                    </a:lnTo>
                    <a:lnTo>
                      <a:pt x="1626" y="1374"/>
                    </a:lnTo>
                    <a:lnTo>
                      <a:pt x="1624" y="1376"/>
                    </a:lnTo>
                    <a:lnTo>
                      <a:pt x="1624" y="1376"/>
                    </a:lnTo>
                    <a:lnTo>
                      <a:pt x="1620" y="1378"/>
                    </a:lnTo>
                    <a:lnTo>
                      <a:pt x="1620" y="1382"/>
                    </a:lnTo>
                    <a:lnTo>
                      <a:pt x="1620" y="1384"/>
                    </a:lnTo>
                    <a:lnTo>
                      <a:pt x="1622" y="1386"/>
                    </a:lnTo>
                    <a:lnTo>
                      <a:pt x="1630" y="1392"/>
                    </a:lnTo>
                    <a:lnTo>
                      <a:pt x="1642" y="1396"/>
                    </a:lnTo>
                    <a:lnTo>
                      <a:pt x="1642" y="1396"/>
                    </a:lnTo>
                    <a:lnTo>
                      <a:pt x="1650" y="1398"/>
                    </a:lnTo>
                    <a:lnTo>
                      <a:pt x="1656" y="1396"/>
                    </a:lnTo>
                    <a:lnTo>
                      <a:pt x="1662" y="1394"/>
                    </a:lnTo>
                    <a:lnTo>
                      <a:pt x="1670" y="1394"/>
                    </a:lnTo>
                    <a:lnTo>
                      <a:pt x="1670" y="1394"/>
                    </a:lnTo>
                    <a:lnTo>
                      <a:pt x="1676" y="1396"/>
                    </a:lnTo>
                    <a:lnTo>
                      <a:pt x="1676" y="1398"/>
                    </a:lnTo>
                    <a:lnTo>
                      <a:pt x="1676" y="1400"/>
                    </a:lnTo>
                    <a:lnTo>
                      <a:pt x="1682" y="1400"/>
                    </a:lnTo>
                    <a:lnTo>
                      <a:pt x="1682" y="1400"/>
                    </a:lnTo>
                    <a:lnTo>
                      <a:pt x="1688" y="1402"/>
                    </a:lnTo>
                    <a:lnTo>
                      <a:pt x="1688" y="1404"/>
                    </a:lnTo>
                    <a:lnTo>
                      <a:pt x="1686" y="1412"/>
                    </a:lnTo>
                    <a:lnTo>
                      <a:pt x="1686" y="1416"/>
                    </a:lnTo>
                    <a:lnTo>
                      <a:pt x="1686" y="1420"/>
                    </a:lnTo>
                    <a:lnTo>
                      <a:pt x="1688" y="1422"/>
                    </a:lnTo>
                    <a:lnTo>
                      <a:pt x="1694" y="1420"/>
                    </a:lnTo>
                    <a:lnTo>
                      <a:pt x="1694" y="1420"/>
                    </a:lnTo>
                    <a:lnTo>
                      <a:pt x="1700" y="1420"/>
                    </a:lnTo>
                    <a:lnTo>
                      <a:pt x="1702" y="1422"/>
                    </a:lnTo>
                    <a:lnTo>
                      <a:pt x="1706" y="1424"/>
                    </a:lnTo>
                    <a:lnTo>
                      <a:pt x="1714" y="1422"/>
                    </a:lnTo>
                    <a:lnTo>
                      <a:pt x="1714" y="1422"/>
                    </a:lnTo>
                    <a:lnTo>
                      <a:pt x="1718" y="1422"/>
                    </a:lnTo>
                    <a:lnTo>
                      <a:pt x="1722" y="1422"/>
                    </a:lnTo>
                    <a:lnTo>
                      <a:pt x="1730" y="1426"/>
                    </a:lnTo>
                    <a:lnTo>
                      <a:pt x="1736" y="1430"/>
                    </a:lnTo>
                    <a:lnTo>
                      <a:pt x="1738" y="1430"/>
                    </a:lnTo>
                    <a:lnTo>
                      <a:pt x="1742" y="1428"/>
                    </a:lnTo>
                    <a:lnTo>
                      <a:pt x="1742" y="1428"/>
                    </a:lnTo>
                    <a:lnTo>
                      <a:pt x="1744" y="1428"/>
                    </a:lnTo>
                    <a:lnTo>
                      <a:pt x="1748" y="1430"/>
                    </a:lnTo>
                    <a:lnTo>
                      <a:pt x="1750" y="1434"/>
                    </a:lnTo>
                    <a:lnTo>
                      <a:pt x="1750" y="1442"/>
                    </a:lnTo>
                    <a:lnTo>
                      <a:pt x="1748" y="1444"/>
                    </a:lnTo>
                    <a:lnTo>
                      <a:pt x="1744" y="1446"/>
                    </a:lnTo>
                    <a:lnTo>
                      <a:pt x="1744" y="1446"/>
                    </a:lnTo>
                    <a:lnTo>
                      <a:pt x="1742" y="1448"/>
                    </a:lnTo>
                    <a:lnTo>
                      <a:pt x="1742" y="1450"/>
                    </a:lnTo>
                    <a:lnTo>
                      <a:pt x="1748" y="1458"/>
                    </a:lnTo>
                    <a:lnTo>
                      <a:pt x="1758" y="1464"/>
                    </a:lnTo>
                    <a:lnTo>
                      <a:pt x="1764" y="1464"/>
                    </a:lnTo>
                    <a:lnTo>
                      <a:pt x="1768" y="1464"/>
                    </a:lnTo>
                    <a:lnTo>
                      <a:pt x="1768" y="1464"/>
                    </a:lnTo>
                    <a:lnTo>
                      <a:pt x="1774" y="1458"/>
                    </a:lnTo>
                    <a:lnTo>
                      <a:pt x="1778" y="1454"/>
                    </a:lnTo>
                    <a:lnTo>
                      <a:pt x="1778" y="1452"/>
                    </a:lnTo>
                    <a:lnTo>
                      <a:pt x="1778" y="1454"/>
                    </a:lnTo>
                    <a:lnTo>
                      <a:pt x="1780" y="1460"/>
                    </a:lnTo>
                    <a:lnTo>
                      <a:pt x="1780" y="1460"/>
                    </a:lnTo>
                    <a:lnTo>
                      <a:pt x="1780" y="1468"/>
                    </a:lnTo>
                    <a:lnTo>
                      <a:pt x="1784" y="1470"/>
                    </a:lnTo>
                    <a:lnTo>
                      <a:pt x="1786" y="1470"/>
                    </a:lnTo>
                    <a:lnTo>
                      <a:pt x="1786" y="1474"/>
                    </a:lnTo>
                    <a:lnTo>
                      <a:pt x="1786" y="1474"/>
                    </a:lnTo>
                    <a:lnTo>
                      <a:pt x="1784" y="1476"/>
                    </a:lnTo>
                    <a:lnTo>
                      <a:pt x="1782" y="1476"/>
                    </a:lnTo>
                    <a:lnTo>
                      <a:pt x="1780" y="1472"/>
                    </a:lnTo>
                    <a:lnTo>
                      <a:pt x="1776" y="1468"/>
                    </a:lnTo>
                    <a:lnTo>
                      <a:pt x="1774" y="1468"/>
                    </a:lnTo>
                    <a:lnTo>
                      <a:pt x="1772" y="1470"/>
                    </a:lnTo>
                    <a:lnTo>
                      <a:pt x="1772" y="1470"/>
                    </a:lnTo>
                    <a:lnTo>
                      <a:pt x="1770" y="1472"/>
                    </a:lnTo>
                    <a:lnTo>
                      <a:pt x="1772" y="1476"/>
                    </a:lnTo>
                    <a:lnTo>
                      <a:pt x="1780" y="1484"/>
                    </a:lnTo>
                    <a:lnTo>
                      <a:pt x="1790" y="1486"/>
                    </a:lnTo>
                    <a:lnTo>
                      <a:pt x="1794" y="1486"/>
                    </a:lnTo>
                    <a:lnTo>
                      <a:pt x="1794" y="1484"/>
                    </a:lnTo>
                    <a:lnTo>
                      <a:pt x="1794" y="1484"/>
                    </a:lnTo>
                    <a:lnTo>
                      <a:pt x="1796" y="1478"/>
                    </a:lnTo>
                    <a:lnTo>
                      <a:pt x="1800" y="1474"/>
                    </a:lnTo>
                    <a:lnTo>
                      <a:pt x="1804" y="1474"/>
                    </a:lnTo>
                    <a:lnTo>
                      <a:pt x="1804" y="1478"/>
                    </a:lnTo>
                    <a:lnTo>
                      <a:pt x="1804" y="1478"/>
                    </a:lnTo>
                    <a:lnTo>
                      <a:pt x="1804" y="1486"/>
                    </a:lnTo>
                    <a:lnTo>
                      <a:pt x="1806" y="1492"/>
                    </a:lnTo>
                    <a:lnTo>
                      <a:pt x="1808" y="1498"/>
                    </a:lnTo>
                    <a:lnTo>
                      <a:pt x="1808" y="1504"/>
                    </a:lnTo>
                    <a:lnTo>
                      <a:pt x="1808" y="1504"/>
                    </a:lnTo>
                    <a:lnTo>
                      <a:pt x="1808" y="1510"/>
                    </a:lnTo>
                    <a:lnTo>
                      <a:pt x="1810" y="1512"/>
                    </a:lnTo>
                    <a:lnTo>
                      <a:pt x="1812" y="1510"/>
                    </a:lnTo>
                    <a:lnTo>
                      <a:pt x="1816" y="1506"/>
                    </a:lnTo>
                    <a:lnTo>
                      <a:pt x="1816" y="1506"/>
                    </a:lnTo>
                    <a:lnTo>
                      <a:pt x="1818" y="1504"/>
                    </a:lnTo>
                    <a:lnTo>
                      <a:pt x="1820" y="1506"/>
                    </a:lnTo>
                    <a:lnTo>
                      <a:pt x="1822" y="1508"/>
                    </a:lnTo>
                    <a:lnTo>
                      <a:pt x="1822" y="1508"/>
                    </a:lnTo>
                    <a:lnTo>
                      <a:pt x="1822" y="1516"/>
                    </a:lnTo>
                    <a:lnTo>
                      <a:pt x="1824" y="1520"/>
                    </a:lnTo>
                    <a:lnTo>
                      <a:pt x="1828" y="1526"/>
                    </a:lnTo>
                    <a:lnTo>
                      <a:pt x="1832" y="1528"/>
                    </a:lnTo>
                    <a:lnTo>
                      <a:pt x="1832" y="1530"/>
                    </a:lnTo>
                    <a:lnTo>
                      <a:pt x="1832" y="1534"/>
                    </a:lnTo>
                    <a:lnTo>
                      <a:pt x="1832" y="1534"/>
                    </a:lnTo>
                    <a:lnTo>
                      <a:pt x="1832" y="1538"/>
                    </a:lnTo>
                    <a:lnTo>
                      <a:pt x="1830" y="1538"/>
                    </a:lnTo>
                    <a:lnTo>
                      <a:pt x="1826" y="1540"/>
                    </a:lnTo>
                    <a:lnTo>
                      <a:pt x="1824" y="1540"/>
                    </a:lnTo>
                    <a:lnTo>
                      <a:pt x="1824" y="1542"/>
                    </a:lnTo>
                    <a:lnTo>
                      <a:pt x="1830" y="1550"/>
                    </a:lnTo>
                    <a:lnTo>
                      <a:pt x="1830" y="1550"/>
                    </a:lnTo>
                    <a:lnTo>
                      <a:pt x="1836" y="1562"/>
                    </a:lnTo>
                    <a:lnTo>
                      <a:pt x="1840" y="1570"/>
                    </a:lnTo>
                    <a:lnTo>
                      <a:pt x="1840" y="1582"/>
                    </a:lnTo>
                    <a:lnTo>
                      <a:pt x="1840" y="1600"/>
                    </a:lnTo>
                    <a:lnTo>
                      <a:pt x="1840" y="1600"/>
                    </a:lnTo>
                    <a:lnTo>
                      <a:pt x="1838" y="1608"/>
                    </a:lnTo>
                    <a:lnTo>
                      <a:pt x="1836" y="1610"/>
                    </a:lnTo>
                    <a:lnTo>
                      <a:pt x="1834" y="1608"/>
                    </a:lnTo>
                    <a:lnTo>
                      <a:pt x="1834" y="1604"/>
                    </a:lnTo>
                    <a:lnTo>
                      <a:pt x="1828" y="1570"/>
                    </a:lnTo>
                    <a:lnTo>
                      <a:pt x="1828" y="1570"/>
                    </a:lnTo>
                    <a:lnTo>
                      <a:pt x="1824" y="1564"/>
                    </a:lnTo>
                    <a:lnTo>
                      <a:pt x="1816" y="1560"/>
                    </a:lnTo>
                    <a:lnTo>
                      <a:pt x="1808" y="1558"/>
                    </a:lnTo>
                    <a:lnTo>
                      <a:pt x="1798" y="1556"/>
                    </a:lnTo>
                    <a:lnTo>
                      <a:pt x="1776" y="1554"/>
                    </a:lnTo>
                    <a:lnTo>
                      <a:pt x="1766" y="1552"/>
                    </a:lnTo>
                    <a:lnTo>
                      <a:pt x="1758" y="1548"/>
                    </a:lnTo>
                    <a:lnTo>
                      <a:pt x="1758" y="1548"/>
                    </a:lnTo>
                    <a:lnTo>
                      <a:pt x="1752" y="1546"/>
                    </a:lnTo>
                    <a:lnTo>
                      <a:pt x="1746" y="1546"/>
                    </a:lnTo>
                    <a:lnTo>
                      <a:pt x="1744" y="1548"/>
                    </a:lnTo>
                    <a:lnTo>
                      <a:pt x="1742" y="1552"/>
                    </a:lnTo>
                    <a:lnTo>
                      <a:pt x="1744" y="1556"/>
                    </a:lnTo>
                    <a:lnTo>
                      <a:pt x="1746" y="1564"/>
                    </a:lnTo>
                    <a:lnTo>
                      <a:pt x="1754" y="1578"/>
                    </a:lnTo>
                    <a:lnTo>
                      <a:pt x="1754" y="1578"/>
                    </a:lnTo>
                    <a:lnTo>
                      <a:pt x="1758" y="1586"/>
                    </a:lnTo>
                    <a:lnTo>
                      <a:pt x="1764" y="1598"/>
                    </a:lnTo>
                    <a:lnTo>
                      <a:pt x="1770" y="1626"/>
                    </a:lnTo>
                    <a:lnTo>
                      <a:pt x="1774" y="1658"/>
                    </a:lnTo>
                    <a:lnTo>
                      <a:pt x="1774" y="1690"/>
                    </a:lnTo>
                    <a:lnTo>
                      <a:pt x="1774" y="1690"/>
                    </a:lnTo>
                    <a:lnTo>
                      <a:pt x="1774" y="1726"/>
                    </a:lnTo>
                    <a:lnTo>
                      <a:pt x="1770" y="1768"/>
                    </a:lnTo>
                    <a:lnTo>
                      <a:pt x="1766" y="1810"/>
                    </a:lnTo>
                    <a:lnTo>
                      <a:pt x="1762" y="1828"/>
                    </a:lnTo>
                    <a:lnTo>
                      <a:pt x="1756" y="1842"/>
                    </a:lnTo>
                    <a:lnTo>
                      <a:pt x="1756" y="1842"/>
                    </a:lnTo>
                    <a:lnTo>
                      <a:pt x="1754" y="1854"/>
                    </a:lnTo>
                    <a:lnTo>
                      <a:pt x="1754" y="1870"/>
                    </a:lnTo>
                    <a:lnTo>
                      <a:pt x="1756" y="1886"/>
                    </a:lnTo>
                    <a:lnTo>
                      <a:pt x="1760" y="1904"/>
                    </a:lnTo>
                    <a:lnTo>
                      <a:pt x="1764" y="1920"/>
                    </a:lnTo>
                    <a:lnTo>
                      <a:pt x="1766" y="1938"/>
                    </a:lnTo>
                    <a:lnTo>
                      <a:pt x="1766" y="1956"/>
                    </a:lnTo>
                    <a:lnTo>
                      <a:pt x="1762" y="1972"/>
                    </a:lnTo>
                    <a:lnTo>
                      <a:pt x="1762" y="1972"/>
                    </a:lnTo>
                    <a:lnTo>
                      <a:pt x="1760" y="1986"/>
                    </a:lnTo>
                    <a:lnTo>
                      <a:pt x="1758" y="1996"/>
                    </a:lnTo>
                    <a:lnTo>
                      <a:pt x="1762" y="2006"/>
                    </a:lnTo>
                    <a:lnTo>
                      <a:pt x="1766" y="2012"/>
                    </a:lnTo>
                    <a:lnTo>
                      <a:pt x="1774" y="2030"/>
                    </a:lnTo>
                    <a:lnTo>
                      <a:pt x="1778" y="2042"/>
                    </a:lnTo>
                    <a:lnTo>
                      <a:pt x="1780" y="2056"/>
                    </a:lnTo>
                    <a:lnTo>
                      <a:pt x="1780" y="2056"/>
                    </a:lnTo>
                    <a:lnTo>
                      <a:pt x="1784" y="2072"/>
                    </a:lnTo>
                    <a:lnTo>
                      <a:pt x="1786" y="2082"/>
                    </a:lnTo>
                    <a:lnTo>
                      <a:pt x="1792" y="2090"/>
                    </a:lnTo>
                    <a:lnTo>
                      <a:pt x="1798" y="2096"/>
                    </a:lnTo>
                    <a:lnTo>
                      <a:pt x="1808" y="2104"/>
                    </a:lnTo>
                    <a:lnTo>
                      <a:pt x="1812" y="2110"/>
                    </a:lnTo>
                    <a:lnTo>
                      <a:pt x="1814" y="2118"/>
                    </a:lnTo>
                    <a:lnTo>
                      <a:pt x="1814" y="2118"/>
                    </a:lnTo>
                    <a:lnTo>
                      <a:pt x="1816" y="2124"/>
                    </a:lnTo>
                    <a:lnTo>
                      <a:pt x="1818" y="2128"/>
                    </a:lnTo>
                    <a:lnTo>
                      <a:pt x="1824" y="2132"/>
                    </a:lnTo>
                    <a:lnTo>
                      <a:pt x="1828" y="2136"/>
                    </a:lnTo>
                    <a:lnTo>
                      <a:pt x="1832" y="2140"/>
                    </a:lnTo>
                    <a:lnTo>
                      <a:pt x="1834" y="2146"/>
                    </a:lnTo>
                    <a:lnTo>
                      <a:pt x="1836" y="2158"/>
                    </a:lnTo>
                    <a:lnTo>
                      <a:pt x="1836" y="2158"/>
                    </a:lnTo>
                    <a:lnTo>
                      <a:pt x="1838" y="2170"/>
                    </a:lnTo>
                    <a:lnTo>
                      <a:pt x="1842" y="2178"/>
                    </a:lnTo>
                    <a:lnTo>
                      <a:pt x="1846" y="2182"/>
                    </a:lnTo>
                    <a:lnTo>
                      <a:pt x="1852" y="2186"/>
                    </a:lnTo>
                    <a:lnTo>
                      <a:pt x="1856" y="2188"/>
                    </a:lnTo>
                    <a:lnTo>
                      <a:pt x="1860" y="2190"/>
                    </a:lnTo>
                    <a:lnTo>
                      <a:pt x="1862" y="2194"/>
                    </a:lnTo>
                    <a:lnTo>
                      <a:pt x="1860" y="2200"/>
                    </a:lnTo>
                    <a:lnTo>
                      <a:pt x="1860" y="2200"/>
                    </a:lnTo>
                    <a:lnTo>
                      <a:pt x="1858" y="2208"/>
                    </a:lnTo>
                    <a:lnTo>
                      <a:pt x="1858" y="2214"/>
                    </a:lnTo>
                    <a:lnTo>
                      <a:pt x="1860" y="2218"/>
                    </a:lnTo>
                    <a:lnTo>
                      <a:pt x="1862" y="2224"/>
                    </a:lnTo>
                    <a:lnTo>
                      <a:pt x="1872" y="2238"/>
                    </a:lnTo>
                    <a:lnTo>
                      <a:pt x="1890" y="2260"/>
                    </a:lnTo>
                    <a:lnTo>
                      <a:pt x="1890" y="2260"/>
                    </a:lnTo>
                    <a:lnTo>
                      <a:pt x="1900" y="2272"/>
                    </a:lnTo>
                    <a:lnTo>
                      <a:pt x="1904" y="2282"/>
                    </a:lnTo>
                    <a:lnTo>
                      <a:pt x="1908" y="2292"/>
                    </a:lnTo>
                    <a:lnTo>
                      <a:pt x="1908" y="2298"/>
                    </a:lnTo>
                    <a:lnTo>
                      <a:pt x="1910" y="2310"/>
                    </a:lnTo>
                    <a:lnTo>
                      <a:pt x="1912" y="2314"/>
                    </a:lnTo>
                    <a:lnTo>
                      <a:pt x="1916" y="2318"/>
                    </a:lnTo>
                    <a:lnTo>
                      <a:pt x="1916" y="2318"/>
                    </a:lnTo>
                    <a:lnTo>
                      <a:pt x="1920" y="2322"/>
                    </a:lnTo>
                    <a:lnTo>
                      <a:pt x="1926" y="2324"/>
                    </a:lnTo>
                    <a:lnTo>
                      <a:pt x="1940" y="2326"/>
                    </a:lnTo>
                    <a:lnTo>
                      <a:pt x="1948" y="2328"/>
                    </a:lnTo>
                    <a:lnTo>
                      <a:pt x="1958" y="2332"/>
                    </a:lnTo>
                    <a:lnTo>
                      <a:pt x="1968" y="2336"/>
                    </a:lnTo>
                    <a:lnTo>
                      <a:pt x="1978" y="2344"/>
                    </a:lnTo>
                    <a:lnTo>
                      <a:pt x="1978" y="2344"/>
                    </a:lnTo>
                    <a:lnTo>
                      <a:pt x="1986" y="2352"/>
                    </a:lnTo>
                    <a:lnTo>
                      <a:pt x="1994" y="2358"/>
                    </a:lnTo>
                    <a:lnTo>
                      <a:pt x="2006" y="2360"/>
                    </a:lnTo>
                    <a:lnTo>
                      <a:pt x="2016" y="2364"/>
                    </a:lnTo>
                    <a:lnTo>
                      <a:pt x="2022" y="2368"/>
                    </a:lnTo>
                    <a:lnTo>
                      <a:pt x="2030" y="2374"/>
                    </a:lnTo>
                    <a:lnTo>
                      <a:pt x="2030" y="2374"/>
                    </a:lnTo>
                    <a:lnTo>
                      <a:pt x="2036" y="2382"/>
                    </a:lnTo>
                    <a:lnTo>
                      <a:pt x="2040" y="2388"/>
                    </a:lnTo>
                    <a:lnTo>
                      <a:pt x="2046" y="2400"/>
                    </a:lnTo>
                    <a:lnTo>
                      <a:pt x="2048" y="2410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66" y="2454"/>
                    </a:lnTo>
                    <a:lnTo>
                      <a:pt x="2078" y="2480"/>
                    </a:lnTo>
                    <a:lnTo>
                      <a:pt x="2092" y="2520"/>
                    </a:lnTo>
                    <a:lnTo>
                      <a:pt x="2100" y="2548"/>
                    </a:lnTo>
                    <a:lnTo>
                      <a:pt x="2106" y="2560"/>
                    </a:lnTo>
                    <a:lnTo>
                      <a:pt x="2112" y="2568"/>
                    </a:lnTo>
                    <a:lnTo>
                      <a:pt x="2112" y="2568"/>
                    </a:lnTo>
                    <a:lnTo>
                      <a:pt x="2120" y="2578"/>
                    </a:lnTo>
                    <a:lnTo>
                      <a:pt x="2130" y="2586"/>
                    </a:lnTo>
                    <a:lnTo>
                      <a:pt x="2150" y="2604"/>
                    </a:lnTo>
                    <a:lnTo>
                      <a:pt x="2160" y="2614"/>
                    </a:lnTo>
                    <a:lnTo>
                      <a:pt x="2166" y="2624"/>
                    </a:lnTo>
                    <a:lnTo>
                      <a:pt x="2170" y="2636"/>
                    </a:lnTo>
                    <a:lnTo>
                      <a:pt x="2170" y="2650"/>
                    </a:lnTo>
                    <a:lnTo>
                      <a:pt x="2170" y="2650"/>
                    </a:lnTo>
                    <a:lnTo>
                      <a:pt x="2170" y="2656"/>
                    </a:lnTo>
                    <a:lnTo>
                      <a:pt x="2168" y="2662"/>
                    </a:lnTo>
                    <a:lnTo>
                      <a:pt x="2164" y="2664"/>
                    </a:lnTo>
                    <a:lnTo>
                      <a:pt x="2162" y="2668"/>
                    </a:lnTo>
                    <a:lnTo>
                      <a:pt x="2154" y="2668"/>
                    </a:lnTo>
                    <a:lnTo>
                      <a:pt x="2148" y="2668"/>
                    </a:lnTo>
                    <a:lnTo>
                      <a:pt x="2142" y="2668"/>
                    </a:lnTo>
                    <a:lnTo>
                      <a:pt x="2138" y="2668"/>
                    </a:lnTo>
                    <a:lnTo>
                      <a:pt x="2140" y="2672"/>
                    </a:lnTo>
                    <a:lnTo>
                      <a:pt x="2146" y="2682"/>
                    </a:lnTo>
                    <a:lnTo>
                      <a:pt x="2146" y="2682"/>
                    </a:lnTo>
                    <a:lnTo>
                      <a:pt x="2156" y="2692"/>
                    </a:lnTo>
                    <a:lnTo>
                      <a:pt x="2166" y="2700"/>
                    </a:lnTo>
                    <a:lnTo>
                      <a:pt x="2188" y="2716"/>
                    </a:lnTo>
                    <a:lnTo>
                      <a:pt x="2212" y="2730"/>
                    </a:lnTo>
                    <a:lnTo>
                      <a:pt x="2226" y="2738"/>
                    </a:lnTo>
                    <a:lnTo>
                      <a:pt x="2238" y="2748"/>
                    </a:lnTo>
                    <a:lnTo>
                      <a:pt x="2238" y="2748"/>
                    </a:lnTo>
                    <a:lnTo>
                      <a:pt x="2244" y="2754"/>
                    </a:lnTo>
                    <a:lnTo>
                      <a:pt x="2248" y="2758"/>
                    </a:lnTo>
                    <a:lnTo>
                      <a:pt x="2250" y="2764"/>
                    </a:lnTo>
                    <a:lnTo>
                      <a:pt x="2252" y="2770"/>
                    </a:lnTo>
                    <a:lnTo>
                      <a:pt x="2250" y="2782"/>
                    </a:lnTo>
                    <a:lnTo>
                      <a:pt x="2250" y="2794"/>
                    </a:lnTo>
                    <a:lnTo>
                      <a:pt x="2248" y="2808"/>
                    </a:lnTo>
                    <a:lnTo>
                      <a:pt x="2250" y="2814"/>
                    </a:lnTo>
                    <a:lnTo>
                      <a:pt x="2252" y="2820"/>
                    </a:lnTo>
                    <a:lnTo>
                      <a:pt x="2256" y="2828"/>
                    </a:lnTo>
                    <a:lnTo>
                      <a:pt x="2262" y="2834"/>
                    </a:lnTo>
                    <a:lnTo>
                      <a:pt x="2270" y="2842"/>
                    </a:lnTo>
                    <a:lnTo>
                      <a:pt x="2280" y="2850"/>
                    </a:lnTo>
                    <a:lnTo>
                      <a:pt x="2280" y="2850"/>
                    </a:lnTo>
                    <a:lnTo>
                      <a:pt x="2300" y="2866"/>
                    </a:lnTo>
                    <a:lnTo>
                      <a:pt x="2316" y="2882"/>
                    </a:lnTo>
                    <a:lnTo>
                      <a:pt x="2326" y="2894"/>
                    </a:lnTo>
                    <a:lnTo>
                      <a:pt x="2332" y="2906"/>
                    </a:lnTo>
                    <a:lnTo>
                      <a:pt x="2336" y="2914"/>
                    </a:lnTo>
                    <a:lnTo>
                      <a:pt x="2340" y="2918"/>
                    </a:lnTo>
                    <a:lnTo>
                      <a:pt x="2344" y="2920"/>
                    </a:lnTo>
                    <a:lnTo>
                      <a:pt x="2350" y="2916"/>
                    </a:lnTo>
                    <a:lnTo>
                      <a:pt x="2350" y="2916"/>
                    </a:lnTo>
                    <a:lnTo>
                      <a:pt x="2358" y="2910"/>
                    </a:lnTo>
                    <a:lnTo>
                      <a:pt x="2362" y="2906"/>
                    </a:lnTo>
                    <a:lnTo>
                      <a:pt x="2364" y="2900"/>
                    </a:lnTo>
                    <a:lnTo>
                      <a:pt x="2364" y="2896"/>
                    </a:lnTo>
                    <a:lnTo>
                      <a:pt x="2358" y="2884"/>
                    </a:lnTo>
                    <a:lnTo>
                      <a:pt x="2346" y="2864"/>
                    </a:lnTo>
                    <a:lnTo>
                      <a:pt x="2346" y="2864"/>
                    </a:lnTo>
                    <a:lnTo>
                      <a:pt x="2340" y="2856"/>
                    </a:lnTo>
                    <a:lnTo>
                      <a:pt x="2336" y="2850"/>
                    </a:lnTo>
                    <a:lnTo>
                      <a:pt x="2332" y="2850"/>
                    </a:lnTo>
                    <a:lnTo>
                      <a:pt x="2330" y="2850"/>
                    </a:lnTo>
                    <a:lnTo>
                      <a:pt x="2324" y="2854"/>
                    </a:lnTo>
                    <a:lnTo>
                      <a:pt x="2320" y="2854"/>
                    </a:lnTo>
                    <a:lnTo>
                      <a:pt x="2316" y="2850"/>
                    </a:lnTo>
                    <a:lnTo>
                      <a:pt x="2316" y="2850"/>
                    </a:lnTo>
                    <a:lnTo>
                      <a:pt x="2312" y="2846"/>
                    </a:lnTo>
                    <a:lnTo>
                      <a:pt x="2310" y="2842"/>
                    </a:lnTo>
                    <a:lnTo>
                      <a:pt x="2310" y="2832"/>
                    </a:lnTo>
                    <a:lnTo>
                      <a:pt x="2310" y="2826"/>
                    </a:lnTo>
                    <a:lnTo>
                      <a:pt x="2310" y="2820"/>
                    </a:lnTo>
                    <a:lnTo>
                      <a:pt x="2306" y="2810"/>
                    </a:lnTo>
                    <a:lnTo>
                      <a:pt x="2300" y="2798"/>
                    </a:lnTo>
                    <a:lnTo>
                      <a:pt x="2300" y="2798"/>
                    </a:lnTo>
                    <a:lnTo>
                      <a:pt x="2290" y="2776"/>
                    </a:lnTo>
                    <a:lnTo>
                      <a:pt x="2286" y="2762"/>
                    </a:lnTo>
                    <a:lnTo>
                      <a:pt x="2282" y="2748"/>
                    </a:lnTo>
                    <a:lnTo>
                      <a:pt x="2276" y="2730"/>
                    </a:lnTo>
                    <a:lnTo>
                      <a:pt x="2276" y="2730"/>
                    </a:lnTo>
                    <a:lnTo>
                      <a:pt x="2270" y="2718"/>
                    </a:lnTo>
                    <a:lnTo>
                      <a:pt x="2264" y="2708"/>
                    </a:lnTo>
                    <a:lnTo>
                      <a:pt x="2250" y="2690"/>
                    </a:lnTo>
                    <a:lnTo>
                      <a:pt x="2236" y="2672"/>
                    </a:lnTo>
                    <a:lnTo>
                      <a:pt x="2230" y="2662"/>
                    </a:lnTo>
                    <a:lnTo>
                      <a:pt x="2224" y="2648"/>
                    </a:lnTo>
                    <a:lnTo>
                      <a:pt x="2224" y="2648"/>
                    </a:lnTo>
                    <a:lnTo>
                      <a:pt x="2220" y="2636"/>
                    </a:lnTo>
                    <a:lnTo>
                      <a:pt x="2214" y="2624"/>
                    </a:lnTo>
                    <a:lnTo>
                      <a:pt x="2198" y="2604"/>
                    </a:lnTo>
                    <a:lnTo>
                      <a:pt x="2182" y="2584"/>
                    </a:lnTo>
                    <a:lnTo>
                      <a:pt x="2168" y="2564"/>
                    </a:lnTo>
                    <a:lnTo>
                      <a:pt x="2168" y="2564"/>
                    </a:lnTo>
                    <a:lnTo>
                      <a:pt x="2160" y="2550"/>
                    </a:lnTo>
                    <a:lnTo>
                      <a:pt x="2154" y="2534"/>
                    </a:lnTo>
                    <a:lnTo>
                      <a:pt x="2148" y="2516"/>
                    </a:lnTo>
                    <a:lnTo>
                      <a:pt x="2144" y="2498"/>
                    </a:lnTo>
                    <a:lnTo>
                      <a:pt x="2142" y="2482"/>
                    </a:lnTo>
                    <a:lnTo>
                      <a:pt x="2142" y="2470"/>
                    </a:lnTo>
                    <a:lnTo>
                      <a:pt x="2144" y="2466"/>
                    </a:lnTo>
                    <a:lnTo>
                      <a:pt x="2146" y="2464"/>
                    </a:lnTo>
                    <a:lnTo>
                      <a:pt x="2148" y="2464"/>
                    </a:lnTo>
                    <a:lnTo>
                      <a:pt x="2154" y="2466"/>
                    </a:lnTo>
                    <a:lnTo>
                      <a:pt x="2154" y="2466"/>
                    </a:lnTo>
                    <a:lnTo>
                      <a:pt x="2168" y="2474"/>
                    </a:lnTo>
                    <a:lnTo>
                      <a:pt x="2172" y="2476"/>
                    </a:lnTo>
                    <a:lnTo>
                      <a:pt x="2178" y="2474"/>
                    </a:lnTo>
                    <a:lnTo>
                      <a:pt x="2186" y="2478"/>
                    </a:lnTo>
                    <a:lnTo>
                      <a:pt x="2186" y="2478"/>
                    </a:lnTo>
                    <a:lnTo>
                      <a:pt x="2198" y="2484"/>
                    </a:lnTo>
                    <a:lnTo>
                      <a:pt x="2202" y="2488"/>
                    </a:lnTo>
                    <a:lnTo>
                      <a:pt x="2206" y="2492"/>
                    </a:lnTo>
                    <a:lnTo>
                      <a:pt x="2214" y="2508"/>
                    </a:lnTo>
                    <a:lnTo>
                      <a:pt x="2222" y="2536"/>
                    </a:lnTo>
                    <a:lnTo>
                      <a:pt x="2222" y="2536"/>
                    </a:lnTo>
                    <a:lnTo>
                      <a:pt x="2228" y="2556"/>
                    </a:lnTo>
                    <a:lnTo>
                      <a:pt x="2236" y="2574"/>
                    </a:lnTo>
                    <a:lnTo>
                      <a:pt x="2244" y="2594"/>
                    </a:lnTo>
                    <a:lnTo>
                      <a:pt x="2254" y="2612"/>
                    </a:lnTo>
                    <a:lnTo>
                      <a:pt x="2264" y="2628"/>
                    </a:lnTo>
                    <a:lnTo>
                      <a:pt x="2276" y="2642"/>
                    </a:lnTo>
                    <a:lnTo>
                      <a:pt x="2288" y="2654"/>
                    </a:lnTo>
                    <a:lnTo>
                      <a:pt x="2300" y="2664"/>
                    </a:lnTo>
                    <a:lnTo>
                      <a:pt x="2300" y="2664"/>
                    </a:lnTo>
                    <a:lnTo>
                      <a:pt x="2308" y="2672"/>
                    </a:lnTo>
                    <a:lnTo>
                      <a:pt x="2314" y="2678"/>
                    </a:lnTo>
                    <a:lnTo>
                      <a:pt x="2320" y="2694"/>
                    </a:lnTo>
                    <a:lnTo>
                      <a:pt x="2324" y="2700"/>
                    </a:lnTo>
                    <a:lnTo>
                      <a:pt x="2328" y="2706"/>
                    </a:lnTo>
                    <a:lnTo>
                      <a:pt x="2338" y="2714"/>
                    </a:lnTo>
                    <a:lnTo>
                      <a:pt x="2352" y="2722"/>
                    </a:lnTo>
                    <a:lnTo>
                      <a:pt x="2352" y="2722"/>
                    </a:lnTo>
                    <a:lnTo>
                      <a:pt x="2360" y="2724"/>
                    </a:lnTo>
                    <a:lnTo>
                      <a:pt x="2364" y="2728"/>
                    </a:lnTo>
                    <a:lnTo>
                      <a:pt x="2368" y="2732"/>
                    </a:lnTo>
                    <a:lnTo>
                      <a:pt x="2370" y="2736"/>
                    </a:lnTo>
                    <a:lnTo>
                      <a:pt x="2368" y="2746"/>
                    </a:lnTo>
                    <a:lnTo>
                      <a:pt x="2366" y="2754"/>
                    </a:lnTo>
                    <a:lnTo>
                      <a:pt x="2364" y="2764"/>
                    </a:lnTo>
                    <a:lnTo>
                      <a:pt x="2362" y="2772"/>
                    </a:lnTo>
                    <a:lnTo>
                      <a:pt x="2364" y="2776"/>
                    </a:lnTo>
                    <a:lnTo>
                      <a:pt x="2368" y="2782"/>
                    </a:lnTo>
                    <a:lnTo>
                      <a:pt x="2372" y="2786"/>
                    </a:lnTo>
                    <a:lnTo>
                      <a:pt x="2380" y="2790"/>
                    </a:lnTo>
                    <a:lnTo>
                      <a:pt x="2380" y="2790"/>
                    </a:lnTo>
                    <a:lnTo>
                      <a:pt x="2394" y="2798"/>
                    </a:lnTo>
                    <a:lnTo>
                      <a:pt x="2402" y="2804"/>
                    </a:lnTo>
                    <a:lnTo>
                      <a:pt x="2408" y="2810"/>
                    </a:lnTo>
                    <a:lnTo>
                      <a:pt x="2410" y="2816"/>
                    </a:lnTo>
                    <a:lnTo>
                      <a:pt x="2422" y="2834"/>
                    </a:lnTo>
                    <a:lnTo>
                      <a:pt x="2432" y="2848"/>
                    </a:lnTo>
                    <a:lnTo>
                      <a:pt x="2450" y="2864"/>
                    </a:lnTo>
                    <a:lnTo>
                      <a:pt x="2450" y="2864"/>
                    </a:lnTo>
                    <a:lnTo>
                      <a:pt x="2476" y="2890"/>
                    </a:lnTo>
                    <a:lnTo>
                      <a:pt x="2494" y="2912"/>
                    </a:lnTo>
                    <a:lnTo>
                      <a:pt x="2504" y="2928"/>
                    </a:lnTo>
                    <a:lnTo>
                      <a:pt x="2512" y="2942"/>
                    </a:lnTo>
                    <a:lnTo>
                      <a:pt x="2516" y="2954"/>
                    </a:lnTo>
                    <a:lnTo>
                      <a:pt x="2518" y="2964"/>
                    </a:lnTo>
                    <a:lnTo>
                      <a:pt x="2522" y="2976"/>
                    </a:lnTo>
                    <a:lnTo>
                      <a:pt x="2526" y="2988"/>
                    </a:lnTo>
                    <a:lnTo>
                      <a:pt x="2526" y="2988"/>
                    </a:lnTo>
                    <a:lnTo>
                      <a:pt x="2530" y="2998"/>
                    </a:lnTo>
                    <a:lnTo>
                      <a:pt x="2530" y="3010"/>
                    </a:lnTo>
                    <a:lnTo>
                      <a:pt x="2528" y="3020"/>
                    </a:lnTo>
                    <a:lnTo>
                      <a:pt x="2524" y="3028"/>
                    </a:lnTo>
                    <a:lnTo>
                      <a:pt x="2518" y="3038"/>
                    </a:lnTo>
                    <a:lnTo>
                      <a:pt x="2516" y="3050"/>
                    </a:lnTo>
                    <a:lnTo>
                      <a:pt x="2516" y="3060"/>
                    </a:lnTo>
                    <a:lnTo>
                      <a:pt x="2520" y="3072"/>
                    </a:lnTo>
                    <a:lnTo>
                      <a:pt x="2520" y="3072"/>
                    </a:lnTo>
                    <a:lnTo>
                      <a:pt x="2528" y="3084"/>
                    </a:lnTo>
                    <a:lnTo>
                      <a:pt x="2534" y="3094"/>
                    </a:lnTo>
                    <a:lnTo>
                      <a:pt x="2550" y="3106"/>
                    </a:lnTo>
                    <a:lnTo>
                      <a:pt x="2570" y="3120"/>
                    </a:lnTo>
                    <a:lnTo>
                      <a:pt x="2580" y="3130"/>
                    </a:lnTo>
                    <a:lnTo>
                      <a:pt x="2594" y="3140"/>
                    </a:lnTo>
                    <a:lnTo>
                      <a:pt x="2594" y="3140"/>
                    </a:lnTo>
                    <a:lnTo>
                      <a:pt x="2606" y="3152"/>
                    </a:lnTo>
                    <a:lnTo>
                      <a:pt x="2618" y="3158"/>
                    </a:lnTo>
                    <a:lnTo>
                      <a:pt x="2628" y="3162"/>
                    </a:lnTo>
                    <a:lnTo>
                      <a:pt x="2638" y="3164"/>
                    </a:lnTo>
                    <a:lnTo>
                      <a:pt x="2648" y="3168"/>
                    </a:lnTo>
                    <a:lnTo>
                      <a:pt x="2658" y="3170"/>
                    </a:lnTo>
                    <a:lnTo>
                      <a:pt x="2668" y="3176"/>
                    </a:lnTo>
                    <a:lnTo>
                      <a:pt x="2680" y="3186"/>
                    </a:lnTo>
                    <a:lnTo>
                      <a:pt x="2680" y="3186"/>
                    </a:lnTo>
                    <a:lnTo>
                      <a:pt x="2694" y="3198"/>
                    </a:lnTo>
                    <a:lnTo>
                      <a:pt x="2714" y="3210"/>
                    </a:lnTo>
                    <a:lnTo>
                      <a:pt x="2736" y="3224"/>
                    </a:lnTo>
                    <a:lnTo>
                      <a:pt x="2762" y="3236"/>
                    </a:lnTo>
                    <a:lnTo>
                      <a:pt x="2814" y="3260"/>
                    </a:lnTo>
                    <a:lnTo>
                      <a:pt x="2862" y="3278"/>
                    </a:lnTo>
                    <a:lnTo>
                      <a:pt x="2862" y="3278"/>
                    </a:lnTo>
                    <a:lnTo>
                      <a:pt x="2880" y="3282"/>
                    </a:lnTo>
                    <a:lnTo>
                      <a:pt x="2894" y="3282"/>
                    </a:lnTo>
                    <a:lnTo>
                      <a:pt x="2906" y="3278"/>
                    </a:lnTo>
                    <a:lnTo>
                      <a:pt x="2916" y="3272"/>
                    </a:lnTo>
                    <a:lnTo>
                      <a:pt x="2926" y="3266"/>
                    </a:lnTo>
                    <a:lnTo>
                      <a:pt x="2938" y="3260"/>
                    </a:lnTo>
                    <a:lnTo>
                      <a:pt x="2950" y="3258"/>
                    </a:lnTo>
                    <a:lnTo>
                      <a:pt x="2968" y="3260"/>
                    </a:lnTo>
                    <a:lnTo>
                      <a:pt x="2968" y="3260"/>
                    </a:lnTo>
                    <a:lnTo>
                      <a:pt x="2984" y="3264"/>
                    </a:lnTo>
                    <a:lnTo>
                      <a:pt x="2996" y="3272"/>
                    </a:lnTo>
                    <a:lnTo>
                      <a:pt x="3006" y="3280"/>
                    </a:lnTo>
                    <a:lnTo>
                      <a:pt x="3014" y="3290"/>
                    </a:lnTo>
                    <a:lnTo>
                      <a:pt x="3032" y="3314"/>
                    </a:lnTo>
                    <a:lnTo>
                      <a:pt x="3042" y="3326"/>
                    </a:lnTo>
                    <a:lnTo>
                      <a:pt x="3054" y="3338"/>
                    </a:lnTo>
                    <a:lnTo>
                      <a:pt x="3054" y="3338"/>
                    </a:lnTo>
                    <a:lnTo>
                      <a:pt x="3072" y="3356"/>
                    </a:lnTo>
                    <a:lnTo>
                      <a:pt x="3086" y="3364"/>
                    </a:lnTo>
                    <a:lnTo>
                      <a:pt x="3094" y="3368"/>
                    </a:lnTo>
                    <a:lnTo>
                      <a:pt x="3104" y="3368"/>
                    </a:lnTo>
                    <a:lnTo>
                      <a:pt x="3104" y="3368"/>
                    </a:lnTo>
                    <a:lnTo>
                      <a:pt x="3116" y="3368"/>
                    </a:lnTo>
                    <a:lnTo>
                      <a:pt x="3124" y="3370"/>
                    </a:lnTo>
                    <a:lnTo>
                      <a:pt x="3140" y="3376"/>
                    </a:lnTo>
                    <a:lnTo>
                      <a:pt x="3140" y="3376"/>
                    </a:lnTo>
                    <a:lnTo>
                      <a:pt x="3146" y="3382"/>
                    </a:lnTo>
                    <a:lnTo>
                      <a:pt x="3150" y="3386"/>
                    </a:lnTo>
                    <a:lnTo>
                      <a:pt x="3152" y="3388"/>
                    </a:lnTo>
                    <a:lnTo>
                      <a:pt x="3160" y="3390"/>
                    </a:lnTo>
                    <a:lnTo>
                      <a:pt x="3160" y="3390"/>
                    </a:lnTo>
                    <a:lnTo>
                      <a:pt x="3174" y="3392"/>
                    </a:lnTo>
                    <a:lnTo>
                      <a:pt x="3186" y="3398"/>
                    </a:lnTo>
                    <a:lnTo>
                      <a:pt x="3196" y="3404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4"/>
                    </a:lnTo>
                    <a:lnTo>
                      <a:pt x="3202" y="3402"/>
                    </a:lnTo>
                    <a:lnTo>
                      <a:pt x="3202" y="3400"/>
                    </a:lnTo>
                    <a:lnTo>
                      <a:pt x="3210" y="3404"/>
                    </a:lnTo>
                    <a:lnTo>
                      <a:pt x="3210" y="3404"/>
                    </a:lnTo>
                    <a:lnTo>
                      <a:pt x="3212" y="3406"/>
                    </a:lnTo>
                    <a:lnTo>
                      <a:pt x="3218" y="3406"/>
                    </a:lnTo>
                    <a:lnTo>
                      <a:pt x="3226" y="3406"/>
                    </a:lnTo>
                    <a:lnTo>
                      <a:pt x="3234" y="3404"/>
                    </a:lnTo>
                    <a:lnTo>
                      <a:pt x="3236" y="3402"/>
                    </a:lnTo>
                    <a:lnTo>
                      <a:pt x="3234" y="3400"/>
                    </a:lnTo>
                    <a:lnTo>
                      <a:pt x="3234" y="3400"/>
                    </a:lnTo>
                    <a:lnTo>
                      <a:pt x="3230" y="3398"/>
                    </a:lnTo>
                    <a:lnTo>
                      <a:pt x="3230" y="3396"/>
                    </a:lnTo>
                    <a:lnTo>
                      <a:pt x="3230" y="3394"/>
                    </a:lnTo>
                    <a:lnTo>
                      <a:pt x="3232" y="3394"/>
                    </a:lnTo>
                    <a:lnTo>
                      <a:pt x="3232" y="3394"/>
                    </a:lnTo>
                    <a:lnTo>
                      <a:pt x="3236" y="3396"/>
                    </a:lnTo>
                    <a:lnTo>
                      <a:pt x="3238" y="3396"/>
                    </a:lnTo>
                    <a:lnTo>
                      <a:pt x="3240" y="3392"/>
                    </a:lnTo>
                    <a:lnTo>
                      <a:pt x="3240" y="3392"/>
                    </a:lnTo>
                    <a:lnTo>
                      <a:pt x="3242" y="3398"/>
                    </a:lnTo>
                    <a:lnTo>
                      <a:pt x="3242" y="3398"/>
                    </a:lnTo>
                    <a:lnTo>
                      <a:pt x="3248" y="3406"/>
                    </a:lnTo>
                    <a:lnTo>
                      <a:pt x="3252" y="3410"/>
                    </a:lnTo>
                    <a:lnTo>
                      <a:pt x="3254" y="3412"/>
                    </a:lnTo>
                    <a:lnTo>
                      <a:pt x="3252" y="3416"/>
                    </a:lnTo>
                    <a:lnTo>
                      <a:pt x="3252" y="3416"/>
                    </a:lnTo>
                    <a:lnTo>
                      <a:pt x="3250" y="3418"/>
                    </a:lnTo>
                    <a:lnTo>
                      <a:pt x="3250" y="3418"/>
                    </a:lnTo>
                    <a:lnTo>
                      <a:pt x="3246" y="3416"/>
                    </a:lnTo>
                    <a:lnTo>
                      <a:pt x="3244" y="3412"/>
                    </a:lnTo>
                    <a:lnTo>
                      <a:pt x="3242" y="3412"/>
                    </a:lnTo>
                    <a:lnTo>
                      <a:pt x="3240" y="3414"/>
                    </a:lnTo>
                    <a:lnTo>
                      <a:pt x="3240" y="3414"/>
                    </a:lnTo>
                    <a:lnTo>
                      <a:pt x="3238" y="3418"/>
                    </a:lnTo>
                    <a:lnTo>
                      <a:pt x="3242" y="3422"/>
                    </a:lnTo>
                    <a:lnTo>
                      <a:pt x="3246" y="3426"/>
                    </a:lnTo>
                    <a:lnTo>
                      <a:pt x="3252" y="3434"/>
                    </a:lnTo>
                    <a:lnTo>
                      <a:pt x="3252" y="3434"/>
                    </a:lnTo>
                    <a:lnTo>
                      <a:pt x="3258" y="3442"/>
                    </a:lnTo>
                    <a:lnTo>
                      <a:pt x="3266" y="3448"/>
                    </a:lnTo>
                    <a:lnTo>
                      <a:pt x="3274" y="3454"/>
                    </a:lnTo>
                    <a:lnTo>
                      <a:pt x="3278" y="3460"/>
                    </a:lnTo>
                    <a:lnTo>
                      <a:pt x="3282" y="3466"/>
                    </a:lnTo>
                    <a:lnTo>
                      <a:pt x="3282" y="3466"/>
                    </a:lnTo>
                    <a:lnTo>
                      <a:pt x="3288" y="3478"/>
                    </a:lnTo>
                    <a:lnTo>
                      <a:pt x="3294" y="3486"/>
                    </a:lnTo>
                    <a:lnTo>
                      <a:pt x="3304" y="3494"/>
                    </a:lnTo>
                    <a:lnTo>
                      <a:pt x="3316" y="3506"/>
                    </a:lnTo>
                    <a:lnTo>
                      <a:pt x="3316" y="3506"/>
                    </a:lnTo>
                    <a:lnTo>
                      <a:pt x="3318" y="3510"/>
                    </a:lnTo>
                    <a:lnTo>
                      <a:pt x="3318" y="3512"/>
                    </a:lnTo>
                    <a:lnTo>
                      <a:pt x="3314" y="3514"/>
                    </a:lnTo>
                    <a:lnTo>
                      <a:pt x="3310" y="3518"/>
                    </a:lnTo>
                    <a:lnTo>
                      <a:pt x="3310" y="3518"/>
                    </a:lnTo>
                    <a:lnTo>
                      <a:pt x="3310" y="3520"/>
                    </a:lnTo>
                    <a:lnTo>
                      <a:pt x="3310" y="3520"/>
                    </a:lnTo>
                    <a:lnTo>
                      <a:pt x="3316" y="3522"/>
                    </a:lnTo>
                    <a:lnTo>
                      <a:pt x="3318" y="3522"/>
                    </a:lnTo>
                    <a:lnTo>
                      <a:pt x="3318" y="3522"/>
                    </a:lnTo>
                    <a:lnTo>
                      <a:pt x="3318" y="3528"/>
                    </a:lnTo>
                    <a:lnTo>
                      <a:pt x="3318" y="3528"/>
                    </a:lnTo>
                    <a:lnTo>
                      <a:pt x="3318" y="3534"/>
                    </a:lnTo>
                    <a:lnTo>
                      <a:pt x="3316" y="3534"/>
                    </a:lnTo>
                    <a:lnTo>
                      <a:pt x="3314" y="3536"/>
                    </a:lnTo>
                    <a:lnTo>
                      <a:pt x="3312" y="3540"/>
                    </a:lnTo>
                    <a:lnTo>
                      <a:pt x="3312" y="3540"/>
                    </a:lnTo>
                    <a:lnTo>
                      <a:pt x="3312" y="3550"/>
                    </a:lnTo>
                    <a:lnTo>
                      <a:pt x="3314" y="3558"/>
                    </a:lnTo>
                    <a:lnTo>
                      <a:pt x="3318" y="3564"/>
                    </a:lnTo>
                    <a:lnTo>
                      <a:pt x="3322" y="3566"/>
                    </a:lnTo>
                    <a:lnTo>
                      <a:pt x="3322" y="3566"/>
                    </a:lnTo>
                    <a:lnTo>
                      <a:pt x="3330" y="3570"/>
                    </a:lnTo>
                    <a:lnTo>
                      <a:pt x="3334" y="3574"/>
                    </a:lnTo>
                    <a:lnTo>
                      <a:pt x="3338" y="3578"/>
                    </a:lnTo>
                    <a:lnTo>
                      <a:pt x="3338" y="3578"/>
                    </a:lnTo>
                    <a:lnTo>
                      <a:pt x="3340" y="3582"/>
                    </a:lnTo>
                    <a:lnTo>
                      <a:pt x="3342" y="3580"/>
                    </a:lnTo>
                    <a:lnTo>
                      <a:pt x="3348" y="3574"/>
                    </a:lnTo>
                    <a:lnTo>
                      <a:pt x="3348" y="3574"/>
                    </a:lnTo>
                    <a:lnTo>
                      <a:pt x="3350" y="3572"/>
                    </a:lnTo>
                    <a:lnTo>
                      <a:pt x="3350" y="3570"/>
                    </a:lnTo>
                    <a:lnTo>
                      <a:pt x="3348" y="3566"/>
                    </a:lnTo>
                    <a:lnTo>
                      <a:pt x="3338" y="3558"/>
                    </a:lnTo>
                    <a:lnTo>
                      <a:pt x="3338" y="3558"/>
                    </a:lnTo>
                    <a:lnTo>
                      <a:pt x="3336" y="3554"/>
                    </a:lnTo>
                    <a:lnTo>
                      <a:pt x="3336" y="3552"/>
                    </a:lnTo>
                    <a:lnTo>
                      <a:pt x="3336" y="3550"/>
                    </a:lnTo>
                    <a:lnTo>
                      <a:pt x="3338" y="3552"/>
                    </a:lnTo>
                    <a:lnTo>
                      <a:pt x="3338" y="3552"/>
                    </a:lnTo>
                    <a:lnTo>
                      <a:pt x="3342" y="3554"/>
                    </a:lnTo>
                    <a:lnTo>
                      <a:pt x="3348" y="3558"/>
                    </a:lnTo>
                    <a:lnTo>
                      <a:pt x="3354" y="3562"/>
                    </a:lnTo>
                    <a:lnTo>
                      <a:pt x="3358" y="3566"/>
                    </a:lnTo>
                    <a:lnTo>
                      <a:pt x="3358" y="3566"/>
                    </a:lnTo>
                    <a:lnTo>
                      <a:pt x="3358" y="3576"/>
                    </a:lnTo>
                    <a:lnTo>
                      <a:pt x="3360" y="3578"/>
                    </a:lnTo>
                    <a:lnTo>
                      <a:pt x="3362" y="3582"/>
                    </a:lnTo>
                    <a:lnTo>
                      <a:pt x="3362" y="3582"/>
                    </a:lnTo>
                    <a:lnTo>
                      <a:pt x="3366" y="3584"/>
                    </a:lnTo>
                    <a:lnTo>
                      <a:pt x="3368" y="3586"/>
                    </a:lnTo>
                    <a:lnTo>
                      <a:pt x="3374" y="3586"/>
                    </a:lnTo>
                    <a:lnTo>
                      <a:pt x="3384" y="3592"/>
                    </a:lnTo>
                    <a:lnTo>
                      <a:pt x="3384" y="3592"/>
                    </a:lnTo>
                    <a:lnTo>
                      <a:pt x="3398" y="3604"/>
                    </a:lnTo>
                    <a:lnTo>
                      <a:pt x="3402" y="3608"/>
                    </a:lnTo>
                    <a:lnTo>
                      <a:pt x="3402" y="3612"/>
                    </a:lnTo>
                    <a:lnTo>
                      <a:pt x="3402" y="3612"/>
                    </a:lnTo>
                    <a:lnTo>
                      <a:pt x="3402" y="3620"/>
                    </a:lnTo>
                    <a:lnTo>
                      <a:pt x="3400" y="3624"/>
                    </a:lnTo>
                    <a:lnTo>
                      <a:pt x="3398" y="3626"/>
                    </a:lnTo>
                    <a:lnTo>
                      <a:pt x="3398" y="3626"/>
                    </a:lnTo>
                    <a:lnTo>
                      <a:pt x="3398" y="3628"/>
                    </a:lnTo>
                    <a:lnTo>
                      <a:pt x="3396" y="3630"/>
                    </a:lnTo>
                    <a:lnTo>
                      <a:pt x="3400" y="3634"/>
                    </a:lnTo>
                    <a:lnTo>
                      <a:pt x="3404" y="3636"/>
                    </a:lnTo>
                    <a:lnTo>
                      <a:pt x="3408" y="3638"/>
                    </a:lnTo>
                    <a:lnTo>
                      <a:pt x="3408" y="3638"/>
                    </a:lnTo>
                    <a:lnTo>
                      <a:pt x="3410" y="3640"/>
                    </a:lnTo>
                    <a:lnTo>
                      <a:pt x="3414" y="3640"/>
                    </a:lnTo>
                    <a:lnTo>
                      <a:pt x="3414" y="3642"/>
                    </a:lnTo>
                    <a:lnTo>
                      <a:pt x="3416" y="3640"/>
                    </a:lnTo>
                    <a:lnTo>
                      <a:pt x="3416" y="3640"/>
                    </a:lnTo>
                    <a:lnTo>
                      <a:pt x="3416" y="3636"/>
                    </a:lnTo>
                    <a:lnTo>
                      <a:pt x="3414" y="3634"/>
                    </a:lnTo>
                    <a:lnTo>
                      <a:pt x="3410" y="3630"/>
                    </a:lnTo>
                    <a:lnTo>
                      <a:pt x="3406" y="3626"/>
                    </a:lnTo>
                    <a:lnTo>
                      <a:pt x="3408" y="3626"/>
                    </a:lnTo>
                    <a:lnTo>
                      <a:pt x="3410" y="3624"/>
                    </a:lnTo>
                    <a:lnTo>
                      <a:pt x="3410" y="3624"/>
                    </a:lnTo>
                    <a:lnTo>
                      <a:pt x="3414" y="3622"/>
                    </a:lnTo>
                    <a:lnTo>
                      <a:pt x="3414" y="3624"/>
                    </a:lnTo>
                    <a:lnTo>
                      <a:pt x="3416" y="3628"/>
                    </a:lnTo>
                    <a:lnTo>
                      <a:pt x="3418" y="3630"/>
                    </a:lnTo>
                    <a:lnTo>
                      <a:pt x="3418" y="3630"/>
                    </a:lnTo>
                    <a:lnTo>
                      <a:pt x="3420" y="3630"/>
                    </a:lnTo>
                    <a:lnTo>
                      <a:pt x="3422" y="3632"/>
                    </a:lnTo>
                    <a:lnTo>
                      <a:pt x="3422" y="3636"/>
                    </a:lnTo>
                    <a:lnTo>
                      <a:pt x="3422" y="3642"/>
                    </a:lnTo>
                    <a:lnTo>
                      <a:pt x="3422" y="3646"/>
                    </a:lnTo>
                    <a:lnTo>
                      <a:pt x="3422" y="3646"/>
                    </a:lnTo>
                    <a:lnTo>
                      <a:pt x="3428" y="3654"/>
                    </a:lnTo>
                    <a:lnTo>
                      <a:pt x="3430" y="3656"/>
                    </a:lnTo>
                    <a:lnTo>
                      <a:pt x="3432" y="3656"/>
                    </a:lnTo>
                    <a:lnTo>
                      <a:pt x="3432" y="3656"/>
                    </a:lnTo>
                    <a:lnTo>
                      <a:pt x="3434" y="3648"/>
                    </a:lnTo>
                    <a:lnTo>
                      <a:pt x="3436" y="3646"/>
                    </a:lnTo>
                    <a:lnTo>
                      <a:pt x="3440" y="3644"/>
                    </a:lnTo>
                    <a:lnTo>
                      <a:pt x="3440" y="3644"/>
                    </a:lnTo>
                    <a:lnTo>
                      <a:pt x="3452" y="3646"/>
                    </a:lnTo>
                    <a:lnTo>
                      <a:pt x="3464" y="3650"/>
                    </a:lnTo>
                    <a:lnTo>
                      <a:pt x="3472" y="3652"/>
                    </a:lnTo>
                    <a:lnTo>
                      <a:pt x="3476" y="3654"/>
                    </a:lnTo>
                    <a:lnTo>
                      <a:pt x="3476" y="3654"/>
                    </a:lnTo>
                    <a:lnTo>
                      <a:pt x="3478" y="3652"/>
                    </a:lnTo>
                    <a:lnTo>
                      <a:pt x="3480" y="3654"/>
                    </a:lnTo>
                    <a:lnTo>
                      <a:pt x="3482" y="3662"/>
                    </a:lnTo>
                    <a:lnTo>
                      <a:pt x="3482" y="3662"/>
                    </a:lnTo>
                    <a:lnTo>
                      <a:pt x="3484" y="3666"/>
                    </a:lnTo>
                    <a:lnTo>
                      <a:pt x="3484" y="3670"/>
                    </a:lnTo>
                    <a:lnTo>
                      <a:pt x="3486" y="3672"/>
                    </a:lnTo>
                    <a:lnTo>
                      <a:pt x="3490" y="3676"/>
                    </a:lnTo>
                    <a:lnTo>
                      <a:pt x="3490" y="3676"/>
                    </a:lnTo>
                    <a:lnTo>
                      <a:pt x="3496" y="3678"/>
                    </a:lnTo>
                    <a:lnTo>
                      <a:pt x="3498" y="3678"/>
                    </a:lnTo>
                    <a:lnTo>
                      <a:pt x="3498" y="3674"/>
                    </a:lnTo>
                    <a:lnTo>
                      <a:pt x="3498" y="3674"/>
                    </a:lnTo>
                    <a:lnTo>
                      <a:pt x="3500" y="3668"/>
                    </a:lnTo>
                    <a:lnTo>
                      <a:pt x="3502" y="3666"/>
                    </a:lnTo>
                    <a:lnTo>
                      <a:pt x="3504" y="3666"/>
                    </a:lnTo>
                    <a:lnTo>
                      <a:pt x="3504" y="3668"/>
                    </a:lnTo>
                    <a:lnTo>
                      <a:pt x="3504" y="3668"/>
                    </a:lnTo>
                    <a:lnTo>
                      <a:pt x="3504" y="3672"/>
                    </a:lnTo>
                    <a:lnTo>
                      <a:pt x="3508" y="3680"/>
                    </a:lnTo>
                    <a:lnTo>
                      <a:pt x="3510" y="3686"/>
                    </a:lnTo>
                    <a:lnTo>
                      <a:pt x="3510" y="3694"/>
                    </a:lnTo>
                    <a:lnTo>
                      <a:pt x="3510" y="3694"/>
                    </a:lnTo>
                    <a:lnTo>
                      <a:pt x="3510" y="3696"/>
                    </a:lnTo>
                    <a:lnTo>
                      <a:pt x="3510" y="3698"/>
                    </a:lnTo>
                    <a:lnTo>
                      <a:pt x="3516" y="3698"/>
                    </a:lnTo>
                    <a:lnTo>
                      <a:pt x="3528" y="3696"/>
                    </a:lnTo>
                    <a:lnTo>
                      <a:pt x="3528" y="3696"/>
                    </a:lnTo>
                    <a:lnTo>
                      <a:pt x="3530" y="3696"/>
                    </a:lnTo>
                    <a:lnTo>
                      <a:pt x="3532" y="3696"/>
                    </a:lnTo>
                    <a:lnTo>
                      <a:pt x="3532" y="3692"/>
                    </a:lnTo>
                    <a:lnTo>
                      <a:pt x="3532" y="3690"/>
                    </a:lnTo>
                    <a:lnTo>
                      <a:pt x="3538" y="3688"/>
                    </a:lnTo>
                    <a:lnTo>
                      <a:pt x="3538" y="3688"/>
                    </a:lnTo>
                    <a:lnTo>
                      <a:pt x="3544" y="3688"/>
                    </a:lnTo>
                    <a:lnTo>
                      <a:pt x="3546" y="3686"/>
                    </a:lnTo>
                    <a:lnTo>
                      <a:pt x="3548" y="3684"/>
                    </a:lnTo>
                    <a:lnTo>
                      <a:pt x="3546" y="3680"/>
                    </a:lnTo>
                    <a:lnTo>
                      <a:pt x="3542" y="3672"/>
                    </a:lnTo>
                    <a:lnTo>
                      <a:pt x="3542" y="3672"/>
                    </a:lnTo>
                    <a:lnTo>
                      <a:pt x="3536" y="3664"/>
                    </a:lnTo>
                    <a:lnTo>
                      <a:pt x="3534" y="3660"/>
                    </a:lnTo>
                    <a:lnTo>
                      <a:pt x="3534" y="3658"/>
                    </a:lnTo>
                    <a:lnTo>
                      <a:pt x="3532" y="3658"/>
                    </a:lnTo>
                    <a:lnTo>
                      <a:pt x="3532" y="3658"/>
                    </a:lnTo>
                    <a:lnTo>
                      <a:pt x="3530" y="3658"/>
                    </a:lnTo>
                    <a:lnTo>
                      <a:pt x="3528" y="3656"/>
                    </a:lnTo>
                    <a:lnTo>
                      <a:pt x="3526" y="3652"/>
                    </a:lnTo>
                    <a:lnTo>
                      <a:pt x="3528" y="3648"/>
                    </a:lnTo>
                    <a:lnTo>
                      <a:pt x="3530" y="3646"/>
                    </a:lnTo>
                    <a:lnTo>
                      <a:pt x="3532" y="3646"/>
                    </a:lnTo>
                    <a:lnTo>
                      <a:pt x="3532" y="3646"/>
                    </a:lnTo>
                    <a:lnTo>
                      <a:pt x="3538" y="3644"/>
                    </a:lnTo>
                    <a:lnTo>
                      <a:pt x="3544" y="3642"/>
                    </a:lnTo>
                    <a:lnTo>
                      <a:pt x="3550" y="3636"/>
                    </a:lnTo>
                    <a:lnTo>
                      <a:pt x="3556" y="3628"/>
                    </a:lnTo>
                    <a:lnTo>
                      <a:pt x="3556" y="3628"/>
                    </a:lnTo>
                    <a:lnTo>
                      <a:pt x="3558" y="3624"/>
                    </a:lnTo>
                    <a:lnTo>
                      <a:pt x="3558" y="3622"/>
                    </a:lnTo>
                    <a:lnTo>
                      <a:pt x="3558" y="3618"/>
                    </a:lnTo>
                    <a:lnTo>
                      <a:pt x="3562" y="3616"/>
                    </a:lnTo>
                    <a:lnTo>
                      <a:pt x="3562" y="3616"/>
                    </a:lnTo>
                    <a:lnTo>
                      <a:pt x="3566" y="3614"/>
                    </a:lnTo>
                    <a:lnTo>
                      <a:pt x="3568" y="3612"/>
                    </a:lnTo>
                    <a:lnTo>
                      <a:pt x="3570" y="3610"/>
                    </a:lnTo>
                    <a:lnTo>
                      <a:pt x="3576" y="3610"/>
                    </a:lnTo>
                    <a:lnTo>
                      <a:pt x="3576" y="3610"/>
                    </a:lnTo>
                    <a:lnTo>
                      <a:pt x="3586" y="3612"/>
                    </a:lnTo>
                    <a:lnTo>
                      <a:pt x="3598" y="3620"/>
                    </a:lnTo>
                    <a:lnTo>
                      <a:pt x="3606" y="3626"/>
                    </a:lnTo>
                    <a:lnTo>
                      <a:pt x="3608" y="3630"/>
                    </a:lnTo>
                    <a:lnTo>
                      <a:pt x="3608" y="3632"/>
                    </a:lnTo>
                    <a:lnTo>
                      <a:pt x="3608" y="3632"/>
                    </a:lnTo>
                    <a:lnTo>
                      <a:pt x="3606" y="3636"/>
                    </a:lnTo>
                    <a:lnTo>
                      <a:pt x="3608" y="3638"/>
                    </a:lnTo>
                    <a:lnTo>
                      <a:pt x="3610" y="3640"/>
                    </a:lnTo>
                    <a:lnTo>
                      <a:pt x="3612" y="3640"/>
                    </a:lnTo>
                    <a:lnTo>
                      <a:pt x="3612" y="3640"/>
                    </a:lnTo>
                    <a:lnTo>
                      <a:pt x="3616" y="3638"/>
                    </a:lnTo>
                    <a:lnTo>
                      <a:pt x="3616" y="3638"/>
                    </a:lnTo>
                    <a:lnTo>
                      <a:pt x="3618" y="3638"/>
                    </a:lnTo>
                    <a:lnTo>
                      <a:pt x="3620" y="3638"/>
                    </a:lnTo>
                    <a:lnTo>
                      <a:pt x="3620" y="3638"/>
                    </a:lnTo>
                    <a:lnTo>
                      <a:pt x="3622" y="3638"/>
                    </a:lnTo>
                    <a:lnTo>
                      <a:pt x="3620" y="3640"/>
                    </a:lnTo>
                    <a:lnTo>
                      <a:pt x="3618" y="3648"/>
                    </a:lnTo>
                    <a:lnTo>
                      <a:pt x="3614" y="3658"/>
                    </a:lnTo>
                    <a:lnTo>
                      <a:pt x="3612" y="3662"/>
                    </a:lnTo>
                    <a:lnTo>
                      <a:pt x="3614" y="3666"/>
                    </a:lnTo>
                    <a:lnTo>
                      <a:pt x="3614" y="3666"/>
                    </a:lnTo>
                    <a:lnTo>
                      <a:pt x="3622" y="3682"/>
                    </a:lnTo>
                    <a:lnTo>
                      <a:pt x="3626" y="3690"/>
                    </a:lnTo>
                    <a:lnTo>
                      <a:pt x="3632" y="3696"/>
                    </a:lnTo>
                    <a:lnTo>
                      <a:pt x="3632" y="3696"/>
                    </a:lnTo>
                    <a:lnTo>
                      <a:pt x="3636" y="3700"/>
                    </a:lnTo>
                    <a:lnTo>
                      <a:pt x="3638" y="3702"/>
                    </a:lnTo>
                    <a:lnTo>
                      <a:pt x="3640" y="3704"/>
                    </a:lnTo>
                    <a:lnTo>
                      <a:pt x="3640" y="3708"/>
                    </a:lnTo>
                    <a:lnTo>
                      <a:pt x="3672" y="3654"/>
                    </a:lnTo>
                    <a:lnTo>
                      <a:pt x="3672" y="3654"/>
                    </a:lnTo>
                    <a:lnTo>
                      <a:pt x="3654" y="3626"/>
                    </a:lnTo>
                    <a:lnTo>
                      <a:pt x="3654" y="3626"/>
                    </a:lnTo>
                    <a:close/>
                    <a:moveTo>
                      <a:pt x="3590" y="1870"/>
                    </a:moveTo>
                    <a:lnTo>
                      <a:pt x="3590" y="1870"/>
                    </a:lnTo>
                    <a:lnTo>
                      <a:pt x="3570" y="1886"/>
                    </a:lnTo>
                    <a:lnTo>
                      <a:pt x="3558" y="1894"/>
                    </a:lnTo>
                    <a:lnTo>
                      <a:pt x="3546" y="1900"/>
                    </a:lnTo>
                    <a:lnTo>
                      <a:pt x="3546" y="1900"/>
                    </a:lnTo>
                    <a:lnTo>
                      <a:pt x="3536" y="1904"/>
                    </a:lnTo>
                    <a:lnTo>
                      <a:pt x="3524" y="1910"/>
                    </a:lnTo>
                    <a:lnTo>
                      <a:pt x="3508" y="1920"/>
                    </a:lnTo>
                    <a:lnTo>
                      <a:pt x="3488" y="1932"/>
                    </a:lnTo>
                    <a:lnTo>
                      <a:pt x="3488" y="1932"/>
                    </a:lnTo>
                    <a:lnTo>
                      <a:pt x="3466" y="1938"/>
                    </a:lnTo>
                    <a:lnTo>
                      <a:pt x="3448" y="1942"/>
                    </a:lnTo>
                    <a:lnTo>
                      <a:pt x="3434" y="1942"/>
                    </a:lnTo>
                    <a:lnTo>
                      <a:pt x="3426" y="1940"/>
                    </a:lnTo>
                    <a:lnTo>
                      <a:pt x="3426" y="1940"/>
                    </a:lnTo>
                    <a:lnTo>
                      <a:pt x="3424" y="1938"/>
                    </a:lnTo>
                    <a:lnTo>
                      <a:pt x="3424" y="1938"/>
                    </a:lnTo>
                    <a:lnTo>
                      <a:pt x="3430" y="1936"/>
                    </a:lnTo>
                    <a:lnTo>
                      <a:pt x="3434" y="1936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26" y="1932"/>
                    </a:lnTo>
                    <a:lnTo>
                      <a:pt x="3418" y="1930"/>
                    </a:lnTo>
                    <a:lnTo>
                      <a:pt x="3410" y="1930"/>
                    </a:lnTo>
                    <a:lnTo>
                      <a:pt x="3408" y="1928"/>
                    </a:lnTo>
                    <a:lnTo>
                      <a:pt x="3406" y="1926"/>
                    </a:lnTo>
                    <a:lnTo>
                      <a:pt x="3406" y="1926"/>
                    </a:lnTo>
                    <a:lnTo>
                      <a:pt x="3408" y="1922"/>
                    </a:lnTo>
                    <a:lnTo>
                      <a:pt x="3410" y="1916"/>
                    </a:lnTo>
                    <a:lnTo>
                      <a:pt x="3414" y="1910"/>
                    </a:lnTo>
                    <a:lnTo>
                      <a:pt x="3416" y="1900"/>
                    </a:lnTo>
                    <a:lnTo>
                      <a:pt x="3416" y="1900"/>
                    </a:lnTo>
                    <a:lnTo>
                      <a:pt x="3420" y="1892"/>
                    </a:lnTo>
                    <a:lnTo>
                      <a:pt x="3422" y="1890"/>
                    </a:lnTo>
                    <a:lnTo>
                      <a:pt x="3426" y="1886"/>
                    </a:lnTo>
                    <a:lnTo>
                      <a:pt x="3430" y="1880"/>
                    </a:lnTo>
                    <a:lnTo>
                      <a:pt x="3430" y="1880"/>
                    </a:lnTo>
                    <a:lnTo>
                      <a:pt x="3434" y="1872"/>
                    </a:lnTo>
                    <a:lnTo>
                      <a:pt x="3436" y="1870"/>
                    </a:lnTo>
                    <a:lnTo>
                      <a:pt x="3438" y="1872"/>
                    </a:lnTo>
                    <a:lnTo>
                      <a:pt x="3440" y="1880"/>
                    </a:lnTo>
                    <a:lnTo>
                      <a:pt x="3440" y="1880"/>
                    </a:lnTo>
                    <a:lnTo>
                      <a:pt x="3446" y="1882"/>
                    </a:lnTo>
                    <a:lnTo>
                      <a:pt x="3448" y="1884"/>
                    </a:lnTo>
                    <a:lnTo>
                      <a:pt x="3450" y="1886"/>
                    </a:lnTo>
                    <a:lnTo>
                      <a:pt x="3448" y="1888"/>
                    </a:lnTo>
                    <a:lnTo>
                      <a:pt x="3442" y="1892"/>
                    </a:lnTo>
                    <a:lnTo>
                      <a:pt x="3432" y="1894"/>
                    </a:lnTo>
                    <a:lnTo>
                      <a:pt x="3432" y="1894"/>
                    </a:lnTo>
                    <a:lnTo>
                      <a:pt x="3426" y="1894"/>
                    </a:lnTo>
                    <a:lnTo>
                      <a:pt x="3424" y="1896"/>
                    </a:lnTo>
                    <a:lnTo>
                      <a:pt x="3422" y="1898"/>
                    </a:lnTo>
                    <a:lnTo>
                      <a:pt x="3422" y="1902"/>
                    </a:lnTo>
                    <a:lnTo>
                      <a:pt x="3422" y="1904"/>
                    </a:lnTo>
                    <a:lnTo>
                      <a:pt x="3424" y="1906"/>
                    </a:lnTo>
                    <a:lnTo>
                      <a:pt x="3428" y="1908"/>
                    </a:lnTo>
                    <a:lnTo>
                      <a:pt x="3432" y="1908"/>
                    </a:lnTo>
                    <a:lnTo>
                      <a:pt x="3432" y="1908"/>
                    </a:lnTo>
                    <a:lnTo>
                      <a:pt x="3438" y="1908"/>
                    </a:lnTo>
                    <a:lnTo>
                      <a:pt x="3442" y="1910"/>
                    </a:lnTo>
                    <a:lnTo>
                      <a:pt x="3444" y="1912"/>
                    </a:lnTo>
                    <a:lnTo>
                      <a:pt x="3446" y="1910"/>
                    </a:lnTo>
                    <a:lnTo>
                      <a:pt x="3446" y="1910"/>
                    </a:lnTo>
                    <a:lnTo>
                      <a:pt x="3450" y="1904"/>
                    </a:lnTo>
                    <a:lnTo>
                      <a:pt x="3456" y="1900"/>
                    </a:lnTo>
                    <a:lnTo>
                      <a:pt x="3466" y="1896"/>
                    </a:lnTo>
                    <a:lnTo>
                      <a:pt x="3466" y="1896"/>
                    </a:lnTo>
                    <a:lnTo>
                      <a:pt x="3470" y="1892"/>
                    </a:lnTo>
                    <a:lnTo>
                      <a:pt x="3474" y="1888"/>
                    </a:lnTo>
                    <a:lnTo>
                      <a:pt x="3482" y="1880"/>
                    </a:lnTo>
                    <a:lnTo>
                      <a:pt x="3488" y="1876"/>
                    </a:lnTo>
                    <a:lnTo>
                      <a:pt x="3496" y="1874"/>
                    </a:lnTo>
                    <a:lnTo>
                      <a:pt x="3504" y="1874"/>
                    </a:lnTo>
                    <a:lnTo>
                      <a:pt x="3518" y="1876"/>
                    </a:lnTo>
                    <a:lnTo>
                      <a:pt x="3518" y="1876"/>
                    </a:lnTo>
                    <a:lnTo>
                      <a:pt x="3534" y="1880"/>
                    </a:lnTo>
                    <a:lnTo>
                      <a:pt x="3538" y="1880"/>
                    </a:lnTo>
                    <a:lnTo>
                      <a:pt x="3536" y="1878"/>
                    </a:lnTo>
                    <a:lnTo>
                      <a:pt x="3532" y="1876"/>
                    </a:lnTo>
                    <a:lnTo>
                      <a:pt x="3532" y="1872"/>
                    </a:lnTo>
                    <a:lnTo>
                      <a:pt x="3532" y="1870"/>
                    </a:lnTo>
                    <a:lnTo>
                      <a:pt x="3532" y="1870"/>
                    </a:lnTo>
                    <a:lnTo>
                      <a:pt x="3536" y="1866"/>
                    </a:lnTo>
                    <a:lnTo>
                      <a:pt x="3540" y="1864"/>
                    </a:lnTo>
                    <a:lnTo>
                      <a:pt x="3560" y="1862"/>
                    </a:lnTo>
                    <a:lnTo>
                      <a:pt x="3560" y="1862"/>
                    </a:lnTo>
                    <a:lnTo>
                      <a:pt x="3580" y="1860"/>
                    </a:lnTo>
                    <a:lnTo>
                      <a:pt x="3584" y="1860"/>
                    </a:lnTo>
                    <a:lnTo>
                      <a:pt x="3586" y="1858"/>
                    </a:lnTo>
                    <a:lnTo>
                      <a:pt x="3586" y="1858"/>
                    </a:lnTo>
                    <a:lnTo>
                      <a:pt x="3586" y="1854"/>
                    </a:lnTo>
                    <a:lnTo>
                      <a:pt x="3586" y="1852"/>
                    </a:lnTo>
                    <a:lnTo>
                      <a:pt x="3588" y="1850"/>
                    </a:lnTo>
                    <a:lnTo>
                      <a:pt x="3588" y="1850"/>
                    </a:lnTo>
                    <a:lnTo>
                      <a:pt x="3590" y="1850"/>
                    </a:lnTo>
                    <a:lnTo>
                      <a:pt x="3592" y="1852"/>
                    </a:lnTo>
                    <a:lnTo>
                      <a:pt x="3594" y="1858"/>
                    </a:lnTo>
                    <a:lnTo>
                      <a:pt x="3592" y="1864"/>
                    </a:lnTo>
                    <a:lnTo>
                      <a:pt x="3590" y="1870"/>
                    </a:lnTo>
                    <a:lnTo>
                      <a:pt x="3590" y="1870"/>
                    </a:lnTo>
                    <a:close/>
                    <a:moveTo>
                      <a:pt x="3578" y="1812"/>
                    </a:moveTo>
                    <a:lnTo>
                      <a:pt x="3578" y="1812"/>
                    </a:lnTo>
                    <a:lnTo>
                      <a:pt x="3586" y="1806"/>
                    </a:lnTo>
                    <a:lnTo>
                      <a:pt x="3596" y="1804"/>
                    </a:lnTo>
                    <a:lnTo>
                      <a:pt x="3624" y="1798"/>
                    </a:lnTo>
                    <a:lnTo>
                      <a:pt x="3624" y="1798"/>
                    </a:lnTo>
                    <a:lnTo>
                      <a:pt x="3636" y="1796"/>
                    </a:lnTo>
                    <a:lnTo>
                      <a:pt x="3642" y="1794"/>
                    </a:lnTo>
                    <a:lnTo>
                      <a:pt x="3656" y="1802"/>
                    </a:lnTo>
                    <a:lnTo>
                      <a:pt x="3656" y="1802"/>
                    </a:lnTo>
                    <a:lnTo>
                      <a:pt x="3662" y="1804"/>
                    </a:lnTo>
                    <a:lnTo>
                      <a:pt x="3664" y="1804"/>
                    </a:lnTo>
                    <a:lnTo>
                      <a:pt x="3668" y="1804"/>
                    </a:lnTo>
                    <a:lnTo>
                      <a:pt x="3668" y="1802"/>
                    </a:lnTo>
                    <a:lnTo>
                      <a:pt x="3672" y="1794"/>
                    </a:lnTo>
                    <a:lnTo>
                      <a:pt x="3674" y="1790"/>
                    </a:lnTo>
                    <a:lnTo>
                      <a:pt x="3678" y="1788"/>
                    </a:lnTo>
                    <a:lnTo>
                      <a:pt x="3678" y="1788"/>
                    </a:lnTo>
                    <a:lnTo>
                      <a:pt x="3686" y="1782"/>
                    </a:lnTo>
                    <a:lnTo>
                      <a:pt x="3696" y="1778"/>
                    </a:lnTo>
                    <a:lnTo>
                      <a:pt x="3706" y="1776"/>
                    </a:lnTo>
                    <a:lnTo>
                      <a:pt x="3716" y="1770"/>
                    </a:lnTo>
                    <a:lnTo>
                      <a:pt x="3716" y="1770"/>
                    </a:lnTo>
                    <a:lnTo>
                      <a:pt x="3714" y="1774"/>
                    </a:lnTo>
                    <a:lnTo>
                      <a:pt x="3712" y="1778"/>
                    </a:lnTo>
                    <a:lnTo>
                      <a:pt x="3708" y="1782"/>
                    </a:lnTo>
                    <a:lnTo>
                      <a:pt x="3702" y="1784"/>
                    </a:lnTo>
                    <a:lnTo>
                      <a:pt x="3702" y="1784"/>
                    </a:lnTo>
                    <a:lnTo>
                      <a:pt x="3698" y="1786"/>
                    </a:lnTo>
                    <a:lnTo>
                      <a:pt x="3694" y="1790"/>
                    </a:lnTo>
                    <a:lnTo>
                      <a:pt x="3696" y="1794"/>
                    </a:lnTo>
                    <a:lnTo>
                      <a:pt x="3698" y="1798"/>
                    </a:lnTo>
                    <a:lnTo>
                      <a:pt x="3698" y="1798"/>
                    </a:lnTo>
                    <a:lnTo>
                      <a:pt x="3702" y="1800"/>
                    </a:lnTo>
                    <a:lnTo>
                      <a:pt x="3702" y="1802"/>
                    </a:lnTo>
                    <a:lnTo>
                      <a:pt x="3700" y="1806"/>
                    </a:lnTo>
                    <a:lnTo>
                      <a:pt x="3700" y="1814"/>
                    </a:lnTo>
                    <a:lnTo>
                      <a:pt x="3700" y="1814"/>
                    </a:lnTo>
                    <a:lnTo>
                      <a:pt x="3700" y="1820"/>
                    </a:lnTo>
                    <a:lnTo>
                      <a:pt x="3696" y="1822"/>
                    </a:lnTo>
                    <a:lnTo>
                      <a:pt x="3690" y="1826"/>
                    </a:lnTo>
                    <a:lnTo>
                      <a:pt x="3684" y="1830"/>
                    </a:lnTo>
                    <a:lnTo>
                      <a:pt x="3684" y="1830"/>
                    </a:lnTo>
                    <a:lnTo>
                      <a:pt x="3680" y="1834"/>
                    </a:lnTo>
                    <a:lnTo>
                      <a:pt x="3676" y="1836"/>
                    </a:lnTo>
                    <a:lnTo>
                      <a:pt x="3662" y="1838"/>
                    </a:lnTo>
                    <a:lnTo>
                      <a:pt x="3648" y="1838"/>
                    </a:lnTo>
                    <a:lnTo>
                      <a:pt x="3638" y="1834"/>
                    </a:lnTo>
                    <a:lnTo>
                      <a:pt x="3638" y="1834"/>
                    </a:lnTo>
                    <a:lnTo>
                      <a:pt x="3628" y="1832"/>
                    </a:lnTo>
                    <a:lnTo>
                      <a:pt x="3616" y="1830"/>
                    </a:lnTo>
                    <a:lnTo>
                      <a:pt x="3604" y="1832"/>
                    </a:lnTo>
                    <a:lnTo>
                      <a:pt x="3594" y="1834"/>
                    </a:lnTo>
                    <a:lnTo>
                      <a:pt x="3594" y="1834"/>
                    </a:lnTo>
                    <a:lnTo>
                      <a:pt x="3588" y="1838"/>
                    </a:lnTo>
                    <a:lnTo>
                      <a:pt x="3582" y="1840"/>
                    </a:lnTo>
                    <a:lnTo>
                      <a:pt x="3574" y="1842"/>
                    </a:lnTo>
                    <a:lnTo>
                      <a:pt x="3574" y="1842"/>
                    </a:lnTo>
                    <a:lnTo>
                      <a:pt x="3568" y="1842"/>
                    </a:lnTo>
                    <a:lnTo>
                      <a:pt x="3562" y="1842"/>
                    </a:lnTo>
                    <a:lnTo>
                      <a:pt x="3560" y="1840"/>
                    </a:lnTo>
                    <a:lnTo>
                      <a:pt x="3558" y="1838"/>
                    </a:lnTo>
                    <a:lnTo>
                      <a:pt x="3558" y="1834"/>
                    </a:lnTo>
                    <a:lnTo>
                      <a:pt x="3560" y="1828"/>
                    </a:lnTo>
                    <a:lnTo>
                      <a:pt x="3560" y="1828"/>
                    </a:lnTo>
                    <a:lnTo>
                      <a:pt x="3564" y="1820"/>
                    </a:lnTo>
                    <a:lnTo>
                      <a:pt x="3570" y="1818"/>
                    </a:lnTo>
                    <a:lnTo>
                      <a:pt x="3574" y="1816"/>
                    </a:lnTo>
                    <a:lnTo>
                      <a:pt x="3578" y="1812"/>
                    </a:lnTo>
                    <a:lnTo>
                      <a:pt x="3578" y="1812"/>
                    </a:lnTo>
                    <a:close/>
                    <a:moveTo>
                      <a:pt x="3092" y="1606"/>
                    </a:moveTo>
                    <a:lnTo>
                      <a:pt x="3092" y="1606"/>
                    </a:lnTo>
                    <a:lnTo>
                      <a:pt x="3104" y="1594"/>
                    </a:lnTo>
                    <a:lnTo>
                      <a:pt x="3118" y="1586"/>
                    </a:lnTo>
                    <a:lnTo>
                      <a:pt x="3158" y="1566"/>
                    </a:lnTo>
                    <a:lnTo>
                      <a:pt x="3158" y="1566"/>
                    </a:lnTo>
                    <a:lnTo>
                      <a:pt x="3164" y="1564"/>
                    </a:lnTo>
                    <a:lnTo>
                      <a:pt x="3164" y="1564"/>
                    </a:lnTo>
                    <a:lnTo>
                      <a:pt x="3168" y="1560"/>
                    </a:lnTo>
                    <a:lnTo>
                      <a:pt x="3172" y="1556"/>
                    </a:lnTo>
                    <a:lnTo>
                      <a:pt x="3176" y="1544"/>
                    </a:lnTo>
                    <a:lnTo>
                      <a:pt x="3176" y="1544"/>
                    </a:lnTo>
                    <a:lnTo>
                      <a:pt x="3180" y="1538"/>
                    </a:lnTo>
                    <a:lnTo>
                      <a:pt x="3184" y="1534"/>
                    </a:lnTo>
                    <a:lnTo>
                      <a:pt x="3188" y="1534"/>
                    </a:lnTo>
                    <a:lnTo>
                      <a:pt x="3190" y="1536"/>
                    </a:lnTo>
                    <a:lnTo>
                      <a:pt x="3190" y="1538"/>
                    </a:lnTo>
                    <a:lnTo>
                      <a:pt x="3190" y="1542"/>
                    </a:lnTo>
                    <a:lnTo>
                      <a:pt x="3190" y="1542"/>
                    </a:lnTo>
                    <a:lnTo>
                      <a:pt x="3188" y="1548"/>
                    </a:lnTo>
                    <a:lnTo>
                      <a:pt x="3192" y="1544"/>
                    </a:lnTo>
                    <a:lnTo>
                      <a:pt x="3196" y="1536"/>
                    </a:lnTo>
                    <a:lnTo>
                      <a:pt x="3200" y="1524"/>
                    </a:lnTo>
                    <a:lnTo>
                      <a:pt x="3200" y="1524"/>
                    </a:lnTo>
                    <a:lnTo>
                      <a:pt x="3204" y="1516"/>
                    </a:lnTo>
                    <a:lnTo>
                      <a:pt x="3206" y="1516"/>
                    </a:lnTo>
                    <a:lnTo>
                      <a:pt x="3208" y="1516"/>
                    </a:lnTo>
                    <a:lnTo>
                      <a:pt x="3208" y="1522"/>
                    </a:lnTo>
                    <a:lnTo>
                      <a:pt x="3206" y="1532"/>
                    </a:lnTo>
                    <a:lnTo>
                      <a:pt x="3206" y="1532"/>
                    </a:lnTo>
                    <a:lnTo>
                      <a:pt x="3204" y="1538"/>
                    </a:lnTo>
                    <a:lnTo>
                      <a:pt x="3204" y="1540"/>
                    </a:lnTo>
                    <a:lnTo>
                      <a:pt x="3204" y="1540"/>
                    </a:lnTo>
                    <a:lnTo>
                      <a:pt x="3216" y="1532"/>
                    </a:lnTo>
                    <a:lnTo>
                      <a:pt x="3216" y="1532"/>
                    </a:lnTo>
                    <a:lnTo>
                      <a:pt x="3218" y="1530"/>
                    </a:lnTo>
                    <a:lnTo>
                      <a:pt x="3220" y="1526"/>
                    </a:lnTo>
                    <a:lnTo>
                      <a:pt x="3218" y="1520"/>
                    </a:lnTo>
                    <a:lnTo>
                      <a:pt x="3216" y="1514"/>
                    </a:lnTo>
                    <a:lnTo>
                      <a:pt x="3216" y="1512"/>
                    </a:lnTo>
                    <a:lnTo>
                      <a:pt x="3216" y="1510"/>
                    </a:lnTo>
                    <a:lnTo>
                      <a:pt x="3216" y="1510"/>
                    </a:lnTo>
                    <a:lnTo>
                      <a:pt x="3220" y="1508"/>
                    </a:lnTo>
                    <a:lnTo>
                      <a:pt x="3224" y="1510"/>
                    </a:lnTo>
                    <a:lnTo>
                      <a:pt x="3236" y="1514"/>
                    </a:lnTo>
                    <a:lnTo>
                      <a:pt x="3248" y="1520"/>
                    </a:lnTo>
                    <a:lnTo>
                      <a:pt x="3254" y="1522"/>
                    </a:lnTo>
                    <a:lnTo>
                      <a:pt x="3260" y="1522"/>
                    </a:lnTo>
                    <a:lnTo>
                      <a:pt x="3260" y="1522"/>
                    </a:lnTo>
                    <a:lnTo>
                      <a:pt x="3268" y="1522"/>
                    </a:lnTo>
                    <a:lnTo>
                      <a:pt x="3272" y="1522"/>
                    </a:lnTo>
                    <a:lnTo>
                      <a:pt x="3276" y="1522"/>
                    </a:lnTo>
                    <a:lnTo>
                      <a:pt x="3284" y="1522"/>
                    </a:lnTo>
                    <a:lnTo>
                      <a:pt x="3284" y="1522"/>
                    </a:lnTo>
                    <a:lnTo>
                      <a:pt x="3288" y="1524"/>
                    </a:lnTo>
                    <a:lnTo>
                      <a:pt x="3292" y="1528"/>
                    </a:lnTo>
                    <a:lnTo>
                      <a:pt x="3296" y="1542"/>
                    </a:lnTo>
                    <a:lnTo>
                      <a:pt x="3298" y="1550"/>
                    </a:lnTo>
                    <a:lnTo>
                      <a:pt x="3302" y="1558"/>
                    </a:lnTo>
                    <a:lnTo>
                      <a:pt x="3308" y="1566"/>
                    </a:lnTo>
                    <a:lnTo>
                      <a:pt x="3314" y="1570"/>
                    </a:lnTo>
                    <a:lnTo>
                      <a:pt x="3314" y="1570"/>
                    </a:lnTo>
                    <a:lnTo>
                      <a:pt x="3320" y="1572"/>
                    </a:lnTo>
                    <a:lnTo>
                      <a:pt x="3328" y="1572"/>
                    </a:lnTo>
                    <a:lnTo>
                      <a:pt x="3340" y="1570"/>
                    </a:lnTo>
                    <a:lnTo>
                      <a:pt x="3344" y="1570"/>
                    </a:lnTo>
                    <a:lnTo>
                      <a:pt x="3348" y="1570"/>
                    </a:lnTo>
                    <a:lnTo>
                      <a:pt x="3348" y="1574"/>
                    </a:lnTo>
                    <a:lnTo>
                      <a:pt x="3346" y="1580"/>
                    </a:lnTo>
                    <a:lnTo>
                      <a:pt x="3346" y="1580"/>
                    </a:lnTo>
                    <a:lnTo>
                      <a:pt x="3344" y="1588"/>
                    </a:lnTo>
                    <a:lnTo>
                      <a:pt x="3346" y="1594"/>
                    </a:lnTo>
                    <a:lnTo>
                      <a:pt x="3358" y="1604"/>
                    </a:lnTo>
                    <a:lnTo>
                      <a:pt x="3358" y="1604"/>
                    </a:lnTo>
                    <a:lnTo>
                      <a:pt x="3360" y="1606"/>
                    </a:lnTo>
                    <a:lnTo>
                      <a:pt x="3360" y="1610"/>
                    </a:lnTo>
                    <a:lnTo>
                      <a:pt x="3358" y="1618"/>
                    </a:lnTo>
                    <a:lnTo>
                      <a:pt x="3354" y="1624"/>
                    </a:lnTo>
                    <a:lnTo>
                      <a:pt x="3354" y="1626"/>
                    </a:lnTo>
                    <a:lnTo>
                      <a:pt x="3356" y="1630"/>
                    </a:lnTo>
                    <a:lnTo>
                      <a:pt x="3356" y="1630"/>
                    </a:lnTo>
                    <a:lnTo>
                      <a:pt x="3362" y="1630"/>
                    </a:lnTo>
                    <a:lnTo>
                      <a:pt x="3364" y="1630"/>
                    </a:lnTo>
                    <a:lnTo>
                      <a:pt x="3366" y="1630"/>
                    </a:lnTo>
                    <a:lnTo>
                      <a:pt x="3368" y="1632"/>
                    </a:lnTo>
                    <a:lnTo>
                      <a:pt x="3368" y="1632"/>
                    </a:lnTo>
                    <a:lnTo>
                      <a:pt x="3370" y="1634"/>
                    </a:lnTo>
                    <a:lnTo>
                      <a:pt x="3368" y="1636"/>
                    </a:lnTo>
                    <a:lnTo>
                      <a:pt x="3364" y="1640"/>
                    </a:lnTo>
                    <a:lnTo>
                      <a:pt x="3362" y="1642"/>
                    </a:lnTo>
                    <a:lnTo>
                      <a:pt x="3362" y="1648"/>
                    </a:lnTo>
                    <a:lnTo>
                      <a:pt x="3362" y="1648"/>
                    </a:lnTo>
                    <a:lnTo>
                      <a:pt x="3362" y="1652"/>
                    </a:lnTo>
                    <a:lnTo>
                      <a:pt x="3364" y="1654"/>
                    </a:lnTo>
                    <a:lnTo>
                      <a:pt x="3372" y="1652"/>
                    </a:lnTo>
                    <a:lnTo>
                      <a:pt x="3380" y="1652"/>
                    </a:lnTo>
                    <a:lnTo>
                      <a:pt x="3382" y="1652"/>
                    </a:lnTo>
                    <a:lnTo>
                      <a:pt x="3382" y="1656"/>
                    </a:lnTo>
                    <a:lnTo>
                      <a:pt x="3382" y="1656"/>
                    </a:lnTo>
                    <a:lnTo>
                      <a:pt x="3382" y="1662"/>
                    </a:lnTo>
                    <a:lnTo>
                      <a:pt x="3386" y="1664"/>
                    </a:lnTo>
                    <a:lnTo>
                      <a:pt x="3392" y="1666"/>
                    </a:lnTo>
                    <a:lnTo>
                      <a:pt x="3402" y="1668"/>
                    </a:lnTo>
                    <a:lnTo>
                      <a:pt x="3402" y="1668"/>
                    </a:lnTo>
                    <a:lnTo>
                      <a:pt x="3416" y="1672"/>
                    </a:lnTo>
                    <a:lnTo>
                      <a:pt x="3430" y="1674"/>
                    </a:lnTo>
                    <a:lnTo>
                      <a:pt x="3446" y="1674"/>
                    </a:lnTo>
                    <a:lnTo>
                      <a:pt x="3460" y="1676"/>
                    </a:lnTo>
                    <a:lnTo>
                      <a:pt x="3460" y="1676"/>
                    </a:lnTo>
                    <a:lnTo>
                      <a:pt x="3470" y="1676"/>
                    </a:lnTo>
                    <a:lnTo>
                      <a:pt x="3478" y="1676"/>
                    </a:lnTo>
                    <a:lnTo>
                      <a:pt x="3484" y="1678"/>
                    </a:lnTo>
                    <a:lnTo>
                      <a:pt x="3484" y="1678"/>
                    </a:lnTo>
                    <a:lnTo>
                      <a:pt x="3484" y="1680"/>
                    </a:lnTo>
                    <a:lnTo>
                      <a:pt x="3484" y="1680"/>
                    </a:lnTo>
                    <a:lnTo>
                      <a:pt x="3484" y="1682"/>
                    </a:lnTo>
                    <a:lnTo>
                      <a:pt x="3484" y="1684"/>
                    </a:lnTo>
                    <a:lnTo>
                      <a:pt x="3490" y="1686"/>
                    </a:lnTo>
                    <a:lnTo>
                      <a:pt x="3508" y="1686"/>
                    </a:lnTo>
                    <a:lnTo>
                      <a:pt x="3508" y="1686"/>
                    </a:lnTo>
                    <a:lnTo>
                      <a:pt x="3514" y="1688"/>
                    </a:lnTo>
                    <a:lnTo>
                      <a:pt x="3518" y="1692"/>
                    </a:lnTo>
                    <a:lnTo>
                      <a:pt x="3526" y="1704"/>
                    </a:lnTo>
                    <a:lnTo>
                      <a:pt x="3532" y="1716"/>
                    </a:lnTo>
                    <a:lnTo>
                      <a:pt x="3534" y="1718"/>
                    </a:lnTo>
                    <a:lnTo>
                      <a:pt x="3536" y="1718"/>
                    </a:lnTo>
                    <a:lnTo>
                      <a:pt x="3536" y="1718"/>
                    </a:lnTo>
                    <a:lnTo>
                      <a:pt x="3540" y="1716"/>
                    </a:lnTo>
                    <a:lnTo>
                      <a:pt x="3542" y="1716"/>
                    </a:lnTo>
                    <a:lnTo>
                      <a:pt x="3544" y="1720"/>
                    </a:lnTo>
                    <a:lnTo>
                      <a:pt x="3544" y="1726"/>
                    </a:lnTo>
                    <a:lnTo>
                      <a:pt x="3544" y="1726"/>
                    </a:lnTo>
                    <a:lnTo>
                      <a:pt x="3544" y="1730"/>
                    </a:lnTo>
                    <a:lnTo>
                      <a:pt x="3546" y="1734"/>
                    </a:lnTo>
                    <a:lnTo>
                      <a:pt x="3552" y="1742"/>
                    </a:lnTo>
                    <a:lnTo>
                      <a:pt x="3556" y="1748"/>
                    </a:lnTo>
                    <a:lnTo>
                      <a:pt x="3560" y="1756"/>
                    </a:lnTo>
                    <a:lnTo>
                      <a:pt x="3560" y="1756"/>
                    </a:lnTo>
                    <a:lnTo>
                      <a:pt x="3558" y="1758"/>
                    </a:lnTo>
                    <a:lnTo>
                      <a:pt x="3558" y="1758"/>
                    </a:lnTo>
                    <a:lnTo>
                      <a:pt x="3554" y="1754"/>
                    </a:lnTo>
                    <a:lnTo>
                      <a:pt x="3548" y="1750"/>
                    </a:lnTo>
                    <a:lnTo>
                      <a:pt x="3546" y="1750"/>
                    </a:lnTo>
                    <a:lnTo>
                      <a:pt x="3544" y="1750"/>
                    </a:lnTo>
                    <a:lnTo>
                      <a:pt x="3544" y="1750"/>
                    </a:lnTo>
                    <a:lnTo>
                      <a:pt x="3542" y="1752"/>
                    </a:lnTo>
                    <a:lnTo>
                      <a:pt x="3542" y="1754"/>
                    </a:lnTo>
                    <a:lnTo>
                      <a:pt x="3546" y="1760"/>
                    </a:lnTo>
                    <a:lnTo>
                      <a:pt x="3548" y="1766"/>
                    </a:lnTo>
                    <a:lnTo>
                      <a:pt x="3546" y="1768"/>
                    </a:lnTo>
                    <a:lnTo>
                      <a:pt x="3544" y="1770"/>
                    </a:lnTo>
                    <a:lnTo>
                      <a:pt x="3544" y="1770"/>
                    </a:lnTo>
                    <a:lnTo>
                      <a:pt x="3542" y="1772"/>
                    </a:lnTo>
                    <a:lnTo>
                      <a:pt x="3538" y="1770"/>
                    </a:lnTo>
                    <a:lnTo>
                      <a:pt x="3530" y="1764"/>
                    </a:lnTo>
                    <a:lnTo>
                      <a:pt x="3520" y="1760"/>
                    </a:lnTo>
                    <a:lnTo>
                      <a:pt x="3516" y="1758"/>
                    </a:lnTo>
                    <a:lnTo>
                      <a:pt x="3512" y="1760"/>
                    </a:lnTo>
                    <a:lnTo>
                      <a:pt x="3512" y="1760"/>
                    </a:lnTo>
                    <a:lnTo>
                      <a:pt x="3508" y="1762"/>
                    </a:lnTo>
                    <a:lnTo>
                      <a:pt x="3508" y="1758"/>
                    </a:lnTo>
                    <a:lnTo>
                      <a:pt x="3508" y="1754"/>
                    </a:lnTo>
                    <a:lnTo>
                      <a:pt x="3508" y="1754"/>
                    </a:lnTo>
                    <a:lnTo>
                      <a:pt x="3504" y="1754"/>
                    </a:lnTo>
                    <a:lnTo>
                      <a:pt x="3504" y="1754"/>
                    </a:lnTo>
                    <a:lnTo>
                      <a:pt x="3502" y="1754"/>
                    </a:lnTo>
                    <a:lnTo>
                      <a:pt x="3502" y="1754"/>
                    </a:lnTo>
                    <a:lnTo>
                      <a:pt x="3504" y="1750"/>
                    </a:lnTo>
                    <a:lnTo>
                      <a:pt x="3506" y="1746"/>
                    </a:lnTo>
                    <a:lnTo>
                      <a:pt x="3504" y="1744"/>
                    </a:lnTo>
                    <a:lnTo>
                      <a:pt x="3502" y="1742"/>
                    </a:lnTo>
                    <a:lnTo>
                      <a:pt x="3502" y="1742"/>
                    </a:lnTo>
                    <a:lnTo>
                      <a:pt x="3498" y="1742"/>
                    </a:lnTo>
                    <a:lnTo>
                      <a:pt x="3496" y="1740"/>
                    </a:lnTo>
                    <a:lnTo>
                      <a:pt x="3494" y="1734"/>
                    </a:lnTo>
                    <a:lnTo>
                      <a:pt x="3494" y="1728"/>
                    </a:lnTo>
                    <a:lnTo>
                      <a:pt x="3492" y="1728"/>
                    </a:lnTo>
                    <a:lnTo>
                      <a:pt x="3490" y="1726"/>
                    </a:lnTo>
                    <a:lnTo>
                      <a:pt x="3490" y="1726"/>
                    </a:lnTo>
                    <a:lnTo>
                      <a:pt x="3486" y="1726"/>
                    </a:lnTo>
                    <a:lnTo>
                      <a:pt x="3482" y="1726"/>
                    </a:lnTo>
                    <a:lnTo>
                      <a:pt x="3480" y="1724"/>
                    </a:lnTo>
                    <a:lnTo>
                      <a:pt x="3478" y="1726"/>
                    </a:lnTo>
                    <a:lnTo>
                      <a:pt x="3478" y="1726"/>
                    </a:lnTo>
                    <a:lnTo>
                      <a:pt x="3480" y="1730"/>
                    </a:lnTo>
                    <a:lnTo>
                      <a:pt x="3484" y="1736"/>
                    </a:lnTo>
                    <a:lnTo>
                      <a:pt x="3490" y="1744"/>
                    </a:lnTo>
                    <a:lnTo>
                      <a:pt x="3496" y="1756"/>
                    </a:lnTo>
                    <a:lnTo>
                      <a:pt x="3496" y="1756"/>
                    </a:lnTo>
                    <a:lnTo>
                      <a:pt x="3496" y="1762"/>
                    </a:lnTo>
                    <a:lnTo>
                      <a:pt x="3494" y="1766"/>
                    </a:lnTo>
                    <a:lnTo>
                      <a:pt x="3486" y="1776"/>
                    </a:lnTo>
                    <a:lnTo>
                      <a:pt x="3482" y="1782"/>
                    </a:lnTo>
                    <a:lnTo>
                      <a:pt x="3480" y="1788"/>
                    </a:lnTo>
                    <a:lnTo>
                      <a:pt x="3476" y="1796"/>
                    </a:lnTo>
                    <a:lnTo>
                      <a:pt x="3476" y="1806"/>
                    </a:lnTo>
                    <a:lnTo>
                      <a:pt x="3476" y="1806"/>
                    </a:lnTo>
                    <a:lnTo>
                      <a:pt x="3476" y="1826"/>
                    </a:lnTo>
                    <a:lnTo>
                      <a:pt x="3476" y="1832"/>
                    </a:lnTo>
                    <a:lnTo>
                      <a:pt x="3472" y="1838"/>
                    </a:lnTo>
                    <a:lnTo>
                      <a:pt x="3468" y="1842"/>
                    </a:lnTo>
                    <a:lnTo>
                      <a:pt x="3464" y="1844"/>
                    </a:lnTo>
                    <a:lnTo>
                      <a:pt x="3448" y="1852"/>
                    </a:lnTo>
                    <a:lnTo>
                      <a:pt x="3448" y="1852"/>
                    </a:lnTo>
                    <a:lnTo>
                      <a:pt x="3446" y="1846"/>
                    </a:lnTo>
                    <a:lnTo>
                      <a:pt x="3444" y="1838"/>
                    </a:lnTo>
                    <a:lnTo>
                      <a:pt x="3440" y="1818"/>
                    </a:lnTo>
                    <a:lnTo>
                      <a:pt x="3438" y="1808"/>
                    </a:lnTo>
                    <a:lnTo>
                      <a:pt x="3434" y="1802"/>
                    </a:lnTo>
                    <a:lnTo>
                      <a:pt x="3428" y="1796"/>
                    </a:lnTo>
                    <a:lnTo>
                      <a:pt x="3424" y="1796"/>
                    </a:lnTo>
                    <a:lnTo>
                      <a:pt x="3424" y="1796"/>
                    </a:lnTo>
                    <a:lnTo>
                      <a:pt x="3418" y="1798"/>
                    </a:lnTo>
                    <a:lnTo>
                      <a:pt x="3414" y="1800"/>
                    </a:lnTo>
                    <a:lnTo>
                      <a:pt x="3408" y="1808"/>
                    </a:lnTo>
                    <a:lnTo>
                      <a:pt x="3404" y="1816"/>
                    </a:lnTo>
                    <a:lnTo>
                      <a:pt x="3400" y="1818"/>
                    </a:lnTo>
                    <a:lnTo>
                      <a:pt x="3398" y="1820"/>
                    </a:lnTo>
                    <a:lnTo>
                      <a:pt x="3398" y="1820"/>
                    </a:lnTo>
                    <a:lnTo>
                      <a:pt x="3394" y="1818"/>
                    </a:lnTo>
                    <a:lnTo>
                      <a:pt x="3392" y="1816"/>
                    </a:lnTo>
                    <a:lnTo>
                      <a:pt x="3388" y="1810"/>
                    </a:lnTo>
                    <a:lnTo>
                      <a:pt x="3390" y="1802"/>
                    </a:lnTo>
                    <a:lnTo>
                      <a:pt x="3392" y="1798"/>
                    </a:lnTo>
                    <a:lnTo>
                      <a:pt x="3394" y="1796"/>
                    </a:lnTo>
                    <a:lnTo>
                      <a:pt x="3394" y="1796"/>
                    </a:lnTo>
                    <a:lnTo>
                      <a:pt x="3400" y="1790"/>
                    </a:lnTo>
                    <a:lnTo>
                      <a:pt x="3406" y="1784"/>
                    </a:lnTo>
                    <a:lnTo>
                      <a:pt x="3410" y="1776"/>
                    </a:lnTo>
                    <a:lnTo>
                      <a:pt x="3412" y="1764"/>
                    </a:lnTo>
                    <a:lnTo>
                      <a:pt x="3412" y="1764"/>
                    </a:lnTo>
                    <a:lnTo>
                      <a:pt x="3412" y="1758"/>
                    </a:lnTo>
                    <a:lnTo>
                      <a:pt x="3412" y="1754"/>
                    </a:lnTo>
                    <a:lnTo>
                      <a:pt x="3410" y="1746"/>
                    </a:lnTo>
                    <a:lnTo>
                      <a:pt x="3408" y="1740"/>
                    </a:lnTo>
                    <a:lnTo>
                      <a:pt x="3408" y="1738"/>
                    </a:lnTo>
                    <a:lnTo>
                      <a:pt x="3410" y="1738"/>
                    </a:lnTo>
                    <a:lnTo>
                      <a:pt x="3410" y="1738"/>
                    </a:lnTo>
                    <a:lnTo>
                      <a:pt x="3414" y="1736"/>
                    </a:lnTo>
                    <a:lnTo>
                      <a:pt x="3414" y="1734"/>
                    </a:lnTo>
                    <a:lnTo>
                      <a:pt x="3410" y="1728"/>
                    </a:lnTo>
                    <a:lnTo>
                      <a:pt x="3402" y="1722"/>
                    </a:lnTo>
                    <a:lnTo>
                      <a:pt x="3392" y="1716"/>
                    </a:lnTo>
                    <a:lnTo>
                      <a:pt x="3392" y="1716"/>
                    </a:lnTo>
                    <a:lnTo>
                      <a:pt x="3382" y="1712"/>
                    </a:lnTo>
                    <a:lnTo>
                      <a:pt x="3380" y="1708"/>
                    </a:lnTo>
                    <a:lnTo>
                      <a:pt x="3378" y="1706"/>
                    </a:lnTo>
                    <a:lnTo>
                      <a:pt x="3372" y="1704"/>
                    </a:lnTo>
                    <a:lnTo>
                      <a:pt x="3372" y="1704"/>
                    </a:lnTo>
                    <a:lnTo>
                      <a:pt x="3366" y="1702"/>
                    </a:lnTo>
                    <a:lnTo>
                      <a:pt x="3362" y="1698"/>
                    </a:lnTo>
                    <a:lnTo>
                      <a:pt x="3358" y="1696"/>
                    </a:lnTo>
                    <a:lnTo>
                      <a:pt x="3356" y="1696"/>
                    </a:lnTo>
                    <a:lnTo>
                      <a:pt x="3352" y="1698"/>
                    </a:lnTo>
                    <a:lnTo>
                      <a:pt x="3346" y="1702"/>
                    </a:lnTo>
                    <a:lnTo>
                      <a:pt x="3346" y="1702"/>
                    </a:lnTo>
                    <a:lnTo>
                      <a:pt x="3342" y="1706"/>
                    </a:lnTo>
                    <a:lnTo>
                      <a:pt x="3340" y="1710"/>
                    </a:lnTo>
                    <a:lnTo>
                      <a:pt x="3342" y="1712"/>
                    </a:lnTo>
                    <a:lnTo>
                      <a:pt x="3344" y="1714"/>
                    </a:lnTo>
                    <a:lnTo>
                      <a:pt x="3346" y="1718"/>
                    </a:lnTo>
                    <a:lnTo>
                      <a:pt x="3340" y="1720"/>
                    </a:lnTo>
                    <a:lnTo>
                      <a:pt x="3340" y="1720"/>
                    </a:lnTo>
                    <a:lnTo>
                      <a:pt x="3334" y="1722"/>
                    </a:lnTo>
                    <a:lnTo>
                      <a:pt x="3330" y="1726"/>
                    </a:lnTo>
                    <a:lnTo>
                      <a:pt x="3328" y="1732"/>
                    </a:lnTo>
                    <a:lnTo>
                      <a:pt x="3328" y="1738"/>
                    </a:lnTo>
                    <a:lnTo>
                      <a:pt x="3326" y="1748"/>
                    </a:lnTo>
                    <a:lnTo>
                      <a:pt x="3324" y="1752"/>
                    </a:lnTo>
                    <a:lnTo>
                      <a:pt x="3322" y="1752"/>
                    </a:lnTo>
                    <a:lnTo>
                      <a:pt x="3322" y="1752"/>
                    </a:lnTo>
                    <a:lnTo>
                      <a:pt x="3320" y="1752"/>
                    </a:lnTo>
                    <a:lnTo>
                      <a:pt x="3318" y="1748"/>
                    </a:lnTo>
                    <a:lnTo>
                      <a:pt x="3318" y="1738"/>
                    </a:lnTo>
                    <a:lnTo>
                      <a:pt x="3318" y="1734"/>
                    </a:lnTo>
                    <a:lnTo>
                      <a:pt x="3316" y="1734"/>
                    </a:lnTo>
                    <a:lnTo>
                      <a:pt x="3314" y="1736"/>
                    </a:lnTo>
                    <a:lnTo>
                      <a:pt x="3308" y="1744"/>
                    </a:lnTo>
                    <a:lnTo>
                      <a:pt x="3308" y="1744"/>
                    </a:lnTo>
                    <a:lnTo>
                      <a:pt x="3300" y="1752"/>
                    </a:lnTo>
                    <a:lnTo>
                      <a:pt x="3296" y="1754"/>
                    </a:lnTo>
                    <a:lnTo>
                      <a:pt x="3294" y="1756"/>
                    </a:lnTo>
                    <a:lnTo>
                      <a:pt x="3294" y="1766"/>
                    </a:lnTo>
                    <a:lnTo>
                      <a:pt x="3294" y="1766"/>
                    </a:lnTo>
                    <a:lnTo>
                      <a:pt x="3296" y="1772"/>
                    </a:lnTo>
                    <a:lnTo>
                      <a:pt x="3294" y="1778"/>
                    </a:lnTo>
                    <a:lnTo>
                      <a:pt x="3290" y="1786"/>
                    </a:lnTo>
                    <a:lnTo>
                      <a:pt x="3286" y="1792"/>
                    </a:lnTo>
                    <a:lnTo>
                      <a:pt x="3286" y="1796"/>
                    </a:lnTo>
                    <a:lnTo>
                      <a:pt x="3286" y="1800"/>
                    </a:lnTo>
                    <a:lnTo>
                      <a:pt x="3286" y="1800"/>
                    </a:lnTo>
                    <a:lnTo>
                      <a:pt x="3288" y="1808"/>
                    </a:lnTo>
                    <a:lnTo>
                      <a:pt x="3286" y="1812"/>
                    </a:lnTo>
                    <a:lnTo>
                      <a:pt x="3284" y="1818"/>
                    </a:lnTo>
                    <a:lnTo>
                      <a:pt x="3286" y="1828"/>
                    </a:lnTo>
                    <a:lnTo>
                      <a:pt x="3286" y="1828"/>
                    </a:lnTo>
                    <a:lnTo>
                      <a:pt x="3292" y="1840"/>
                    </a:lnTo>
                    <a:lnTo>
                      <a:pt x="3294" y="1852"/>
                    </a:lnTo>
                    <a:lnTo>
                      <a:pt x="3296" y="1862"/>
                    </a:lnTo>
                    <a:lnTo>
                      <a:pt x="3294" y="1872"/>
                    </a:lnTo>
                    <a:lnTo>
                      <a:pt x="3294" y="1880"/>
                    </a:lnTo>
                    <a:lnTo>
                      <a:pt x="3290" y="1890"/>
                    </a:lnTo>
                    <a:lnTo>
                      <a:pt x="3282" y="1908"/>
                    </a:lnTo>
                    <a:lnTo>
                      <a:pt x="3282" y="1908"/>
                    </a:lnTo>
                    <a:lnTo>
                      <a:pt x="3276" y="1916"/>
                    </a:lnTo>
                    <a:lnTo>
                      <a:pt x="3270" y="1922"/>
                    </a:lnTo>
                    <a:lnTo>
                      <a:pt x="3264" y="1928"/>
                    </a:lnTo>
                    <a:lnTo>
                      <a:pt x="3258" y="1930"/>
                    </a:lnTo>
                    <a:lnTo>
                      <a:pt x="3252" y="1930"/>
                    </a:lnTo>
                    <a:lnTo>
                      <a:pt x="3246" y="1926"/>
                    </a:lnTo>
                    <a:lnTo>
                      <a:pt x="3242" y="1922"/>
                    </a:lnTo>
                    <a:lnTo>
                      <a:pt x="3236" y="1914"/>
                    </a:lnTo>
                    <a:lnTo>
                      <a:pt x="3236" y="1914"/>
                    </a:lnTo>
                    <a:lnTo>
                      <a:pt x="3232" y="1904"/>
                    </a:lnTo>
                    <a:lnTo>
                      <a:pt x="3230" y="1898"/>
                    </a:lnTo>
                    <a:lnTo>
                      <a:pt x="3230" y="1884"/>
                    </a:lnTo>
                    <a:lnTo>
                      <a:pt x="3230" y="1872"/>
                    </a:lnTo>
                    <a:lnTo>
                      <a:pt x="3230" y="1864"/>
                    </a:lnTo>
                    <a:lnTo>
                      <a:pt x="3230" y="1856"/>
                    </a:lnTo>
                    <a:lnTo>
                      <a:pt x="3230" y="1856"/>
                    </a:lnTo>
                    <a:lnTo>
                      <a:pt x="3228" y="1842"/>
                    </a:lnTo>
                    <a:lnTo>
                      <a:pt x="3228" y="1834"/>
                    </a:lnTo>
                    <a:lnTo>
                      <a:pt x="3232" y="1824"/>
                    </a:lnTo>
                    <a:lnTo>
                      <a:pt x="3234" y="1810"/>
                    </a:lnTo>
                    <a:lnTo>
                      <a:pt x="3234" y="1810"/>
                    </a:lnTo>
                    <a:lnTo>
                      <a:pt x="3234" y="1802"/>
                    </a:lnTo>
                    <a:lnTo>
                      <a:pt x="3236" y="1796"/>
                    </a:lnTo>
                    <a:lnTo>
                      <a:pt x="3238" y="1792"/>
                    </a:lnTo>
                    <a:lnTo>
                      <a:pt x="3240" y="1792"/>
                    </a:lnTo>
                    <a:lnTo>
                      <a:pt x="3242" y="1790"/>
                    </a:lnTo>
                    <a:lnTo>
                      <a:pt x="3242" y="1784"/>
                    </a:lnTo>
                    <a:lnTo>
                      <a:pt x="3242" y="1784"/>
                    </a:lnTo>
                    <a:lnTo>
                      <a:pt x="3240" y="1780"/>
                    </a:lnTo>
                    <a:lnTo>
                      <a:pt x="3242" y="1776"/>
                    </a:lnTo>
                    <a:lnTo>
                      <a:pt x="3246" y="1764"/>
                    </a:lnTo>
                    <a:lnTo>
                      <a:pt x="3248" y="1754"/>
                    </a:lnTo>
                    <a:lnTo>
                      <a:pt x="3248" y="1752"/>
                    </a:lnTo>
                    <a:lnTo>
                      <a:pt x="3246" y="1748"/>
                    </a:lnTo>
                    <a:lnTo>
                      <a:pt x="3246" y="1748"/>
                    </a:lnTo>
                    <a:lnTo>
                      <a:pt x="3240" y="1748"/>
                    </a:lnTo>
                    <a:lnTo>
                      <a:pt x="3238" y="1752"/>
                    </a:lnTo>
                    <a:lnTo>
                      <a:pt x="3234" y="1758"/>
                    </a:lnTo>
                    <a:lnTo>
                      <a:pt x="3228" y="1764"/>
                    </a:lnTo>
                    <a:lnTo>
                      <a:pt x="3228" y="1764"/>
                    </a:lnTo>
                    <a:lnTo>
                      <a:pt x="3226" y="1766"/>
                    </a:lnTo>
                    <a:lnTo>
                      <a:pt x="3224" y="1766"/>
                    </a:lnTo>
                    <a:lnTo>
                      <a:pt x="3224" y="1758"/>
                    </a:lnTo>
                    <a:lnTo>
                      <a:pt x="3226" y="1750"/>
                    </a:lnTo>
                    <a:lnTo>
                      <a:pt x="3230" y="1746"/>
                    </a:lnTo>
                    <a:lnTo>
                      <a:pt x="3232" y="1742"/>
                    </a:lnTo>
                    <a:lnTo>
                      <a:pt x="3232" y="1742"/>
                    </a:lnTo>
                    <a:lnTo>
                      <a:pt x="3236" y="1740"/>
                    </a:lnTo>
                    <a:lnTo>
                      <a:pt x="3238" y="1736"/>
                    </a:lnTo>
                    <a:lnTo>
                      <a:pt x="3240" y="1732"/>
                    </a:lnTo>
                    <a:lnTo>
                      <a:pt x="3244" y="1726"/>
                    </a:lnTo>
                    <a:lnTo>
                      <a:pt x="3244" y="1726"/>
                    </a:lnTo>
                    <a:lnTo>
                      <a:pt x="3252" y="1714"/>
                    </a:lnTo>
                    <a:lnTo>
                      <a:pt x="3258" y="1700"/>
                    </a:lnTo>
                    <a:lnTo>
                      <a:pt x="3264" y="1692"/>
                    </a:lnTo>
                    <a:lnTo>
                      <a:pt x="3266" y="1690"/>
                    </a:lnTo>
                    <a:lnTo>
                      <a:pt x="3266" y="1692"/>
                    </a:lnTo>
                    <a:lnTo>
                      <a:pt x="3266" y="1692"/>
                    </a:lnTo>
                    <a:lnTo>
                      <a:pt x="3268" y="1696"/>
                    </a:lnTo>
                    <a:lnTo>
                      <a:pt x="3270" y="1696"/>
                    </a:lnTo>
                    <a:lnTo>
                      <a:pt x="3274" y="1694"/>
                    </a:lnTo>
                    <a:lnTo>
                      <a:pt x="3278" y="1692"/>
                    </a:lnTo>
                    <a:lnTo>
                      <a:pt x="3280" y="1692"/>
                    </a:lnTo>
                    <a:lnTo>
                      <a:pt x="3278" y="1698"/>
                    </a:lnTo>
                    <a:lnTo>
                      <a:pt x="3278" y="1698"/>
                    </a:lnTo>
                    <a:lnTo>
                      <a:pt x="3278" y="1702"/>
                    </a:lnTo>
                    <a:lnTo>
                      <a:pt x="3278" y="1702"/>
                    </a:lnTo>
                    <a:lnTo>
                      <a:pt x="3284" y="1696"/>
                    </a:lnTo>
                    <a:lnTo>
                      <a:pt x="3292" y="1688"/>
                    </a:lnTo>
                    <a:lnTo>
                      <a:pt x="3296" y="1686"/>
                    </a:lnTo>
                    <a:lnTo>
                      <a:pt x="3300" y="1684"/>
                    </a:lnTo>
                    <a:lnTo>
                      <a:pt x="3300" y="1684"/>
                    </a:lnTo>
                    <a:lnTo>
                      <a:pt x="3310" y="1684"/>
                    </a:lnTo>
                    <a:lnTo>
                      <a:pt x="3314" y="1684"/>
                    </a:lnTo>
                    <a:lnTo>
                      <a:pt x="3320" y="1678"/>
                    </a:lnTo>
                    <a:lnTo>
                      <a:pt x="3324" y="1676"/>
                    </a:lnTo>
                    <a:lnTo>
                      <a:pt x="3328" y="1678"/>
                    </a:lnTo>
                    <a:lnTo>
                      <a:pt x="3336" y="1680"/>
                    </a:lnTo>
                    <a:lnTo>
                      <a:pt x="3346" y="1686"/>
                    </a:lnTo>
                    <a:lnTo>
                      <a:pt x="3346" y="1686"/>
                    </a:lnTo>
                    <a:lnTo>
                      <a:pt x="3352" y="1690"/>
                    </a:lnTo>
                    <a:lnTo>
                      <a:pt x="3354" y="1690"/>
                    </a:lnTo>
                    <a:lnTo>
                      <a:pt x="3356" y="1688"/>
                    </a:lnTo>
                    <a:lnTo>
                      <a:pt x="3358" y="1686"/>
                    </a:lnTo>
                    <a:lnTo>
                      <a:pt x="3358" y="1682"/>
                    </a:lnTo>
                    <a:lnTo>
                      <a:pt x="3360" y="1680"/>
                    </a:lnTo>
                    <a:lnTo>
                      <a:pt x="3362" y="1680"/>
                    </a:lnTo>
                    <a:lnTo>
                      <a:pt x="3362" y="1680"/>
                    </a:lnTo>
                    <a:lnTo>
                      <a:pt x="3370" y="1684"/>
                    </a:lnTo>
                    <a:lnTo>
                      <a:pt x="3380" y="1686"/>
                    </a:lnTo>
                    <a:lnTo>
                      <a:pt x="3386" y="1684"/>
                    </a:lnTo>
                    <a:lnTo>
                      <a:pt x="3388" y="1682"/>
                    </a:lnTo>
                    <a:lnTo>
                      <a:pt x="3388" y="1678"/>
                    </a:lnTo>
                    <a:lnTo>
                      <a:pt x="3388" y="1678"/>
                    </a:lnTo>
                    <a:lnTo>
                      <a:pt x="3384" y="1674"/>
                    </a:lnTo>
                    <a:lnTo>
                      <a:pt x="3380" y="1672"/>
                    </a:lnTo>
                    <a:lnTo>
                      <a:pt x="3376" y="1670"/>
                    </a:lnTo>
                    <a:lnTo>
                      <a:pt x="3374" y="1662"/>
                    </a:lnTo>
                    <a:lnTo>
                      <a:pt x="3374" y="1662"/>
                    </a:lnTo>
                    <a:lnTo>
                      <a:pt x="3374" y="1658"/>
                    </a:lnTo>
                    <a:lnTo>
                      <a:pt x="3372" y="1658"/>
                    </a:lnTo>
                    <a:lnTo>
                      <a:pt x="3368" y="1658"/>
                    </a:lnTo>
                    <a:lnTo>
                      <a:pt x="3360" y="1658"/>
                    </a:lnTo>
                    <a:lnTo>
                      <a:pt x="3348" y="1654"/>
                    </a:lnTo>
                    <a:lnTo>
                      <a:pt x="3348" y="1654"/>
                    </a:lnTo>
                    <a:lnTo>
                      <a:pt x="3346" y="1652"/>
                    </a:lnTo>
                    <a:lnTo>
                      <a:pt x="3344" y="1650"/>
                    </a:lnTo>
                    <a:lnTo>
                      <a:pt x="3344" y="1644"/>
                    </a:lnTo>
                    <a:lnTo>
                      <a:pt x="3346" y="1638"/>
                    </a:lnTo>
                    <a:lnTo>
                      <a:pt x="3344" y="1638"/>
                    </a:lnTo>
                    <a:lnTo>
                      <a:pt x="3340" y="1640"/>
                    </a:lnTo>
                    <a:lnTo>
                      <a:pt x="3340" y="1640"/>
                    </a:lnTo>
                    <a:lnTo>
                      <a:pt x="3330" y="1642"/>
                    </a:lnTo>
                    <a:lnTo>
                      <a:pt x="3314" y="1644"/>
                    </a:lnTo>
                    <a:lnTo>
                      <a:pt x="3300" y="1646"/>
                    </a:lnTo>
                    <a:lnTo>
                      <a:pt x="3294" y="1648"/>
                    </a:lnTo>
                    <a:lnTo>
                      <a:pt x="3288" y="1652"/>
                    </a:lnTo>
                    <a:lnTo>
                      <a:pt x="3288" y="1652"/>
                    </a:lnTo>
                    <a:lnTo>
                      <a:pt x="3280" y="1656"/>
                    </a:lnTo>
                    <a:lnTo>
                      <a:pt x="3274" y="1656"/>
                    </a:lnTo>
                    <a:lnTo>
                      <a:pt x="3268" y="1656"/>
                    </a:lnTo>
                    <a:lnTo>
                      <a:pt x="3258" y="1654"/>
                    </a:lnTo>
                    <a:lnTo>
                      <a:pt x="3258" y="1654"/>
                    </a:lnTo>
                    <a:lnTo>
                      <a:pt x="3252" y="1654"/>
                    </a:lnTo>
                    <a:lnTo>
                      <a:pt x="3250" y="1652"/>
                    </a:lnTo>
                    <a:lnTo>
                      <a:pt x="3244" y="1646"/>
                    </a:lnTo>
                    <a:lnTo>
                      <a:pt x="3238" y="1636"/>
                    </a:lnTo>
                    <a:lnTo>
                      <a:pt x="3234" y="1632"/>
                    </a:lnTo>
                    <a:lnTo>
                      <a:pt x="3228" y="1630"/>
                    </a:lnTo>
                    <a:lnTo>
                      <a:pt x="3228" y="1630"/>
                    </a:lnTo>
                    <a:lnTo>
                      <a:pt x="3222" y="1628"/>
                    </a:lnTo>
                    <a:lnTo>
                      <a:pt x="3218" y="1628"/>
                    </a:lnTo>
                    <a:lnTo>
                      <a:pt x="3210" y="1632"/>
                    </a:lnTo>
                    <a:lnTo>
                      <a:pt x="3208" y="1634"/>
                    </a:lnTo>
                    <a:lnTo>
                      <a:pt x="3206" y="1634"/>
                    </a:lnTo>
                    <a:lnTo>
                      <a:pt x="3206" y="1632"/>
                    </a:lnTo>
                    <a:lnTo>
                      <a:pt x="3204" y="1628"/>
                    </a:lnTo>
                    <a:lnTo>
                      <a:pt x="3204" y="1628"/>
                    </a:lnTo>
                    <a:lnTo>
                      <a:pt x="3202" y="1618"/>
                    </a:lnTo>
                    <a:lnTo>
                      <a:pt x="3200" y="1616"/>
                    </a:lnTo>
                    <a:lnTo>
                      <a:pt x="3198" y="1614"/>
                    </a:lnTo>
                    <a:lnTo>
                      <a:pt x="3190" y="1618"/>
                    </a:lnTo>
                    <a:lnTo>
                      <a:pt x="3180" y="1628"/>
                    </a:lnTo>
                    <a:lnTo>
                      <a:pt x="3180" y="1628"/>
                    </a:lnTo>
                    <a:lnTo>
                      <a:pt x="3176" y="1632"/>
                    </a:lnTo>
                    <a:lnTo>
                      <a:pt x="3170" y="1634"/>
                    </a:lnTo>
                    <a:lnTo>
                      <a:pt x="3164" y="1636"/>
                    </a:lnTo>
                    <a:lnTo>
                      <a:pt x="3156" y="1636"/>
                    </a:lnTo>
                    <a:lnTo>
                      <a:pt x="3150" y="1638"/>
                    </a:lnTo>
                    <a:lnTo>
                      <a:pt x="3144" y="1642"/>
                    </a:lnTo>
                    <a:lnTo>
                      <a:pt x="3144" y="1642"/>
                    </a:lnTo>
                    <a:lnTo>
                      <a:pt x="3134" y="1648"/>
                    </a:lnTo>
                    <a:lnTo>
                      <a:pt x="3126" y="1650"/>
                    </a:lnTo>
                    <a:lnTo>
                      <a:pt x="3118" y="1648"/>
                    </a:lnTo>
                    <a:lnTo>
                      <a:pt x="3110" y="1648"/>
                    </a:lnTo>
                    <a:lnTo>
                      <a:pt x="3110" y="1648"/>
                    </a:lnTo>
                    <a:lnTo>
                      <a:pt x="3106" y="1650"/>
                    </a:lnTo>
                    <a:lnTo>
                      <a:pt x="3104" y="1648"/>
                    </a:lnTo>
                    <a:lnTo>
                      <a:pt x="3108" y="1640"/>
                    </a:lnTo>
                    <a:lnTo>
                      <a:pt x="3112" y="1632"/>
                    </a:lnTo>
                    <a:lnTo>
                      <a:pt x="3110" y="1630"/>
                    </a:lnTo>
                    <a:lnTo>
                      <a:pt x="3108" y="1628"/>
                    </a:lnTo>
                    <a:lnTo>
                      <a:pt x="3108" y="1628"/>
                    </a:lnTo>
                    <a:lnTo>
                      <a:pt x="3104" y="1628"/>
                    </a:lnTo>
                    <a:lnTo>
                      <a:pt x="3098" y="1630"/>
                    </a:lnTo>
                    <a:lnTo>
                      <a:pt x="3086" y="1636"/>
                    </a:lnTo>
                    <a:lnTo>
                      <a:pt x="3074" y="1642"/>
                    </a:lnTo>
                    <a:lnTo>
                      <a:pt x="3068" y="1642"/>
                    </a:lnTo>
                    <a:lnTo>
                      <a:pt x="3062" y="1642"/>
                    </a:lnTo>
                    <a:lnTo>
                      <a:pt x="3062" y="1642"/>
                    </a:lnTo>
                    <a:lnTo>
                      <a:pt x="3058" y="1640"/>
                    </a:lnTo>
                    <a:lnTo>
                      <a:pt x="3058" y="1638"/>
                    </a:lnTo>
                    <a:lnTo>
                      <a:pt x="3060" y="1636"/>
                    </a:lnTo>
                    <a:lnTo>
                      <a:pt x="3064" y="1632"/>
                    </a:lnTo>
                    <a:lnTo>
                      <a:pt x="3076" y="1620"/>
                    </a:lnTo>
                    <a:lnTo>
                      <a:pt x="3092" y="1606"/>
                    </a:lnTo>
                    <a:lnTo>
                      <a:pt x="3092" y="160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7" name="Freeform 6087">
                <a:extLst>
                  <a:ext uri="{FF2B5EF4-FFF2-40B4-BE49-F238E27FC236}">
                    <a16:creationId xmlns:a16="http://schemas.microsoft.com/office/drawing/2014/main" id="{B56D889E-2BED-482E-9897-543DA8D849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7860" y="823913"/>
                <a:ext cx="304800" cy="171450"/>
              </a:xfrm>
              <a:custGeom>
                <a:avLst/>
                <a:gdLst/>
                <a:ahLst/>
                <a:cxnLst>
                  <a:cxn ang="0">
                    <a:pos x="78" y="174"/>
                  </a:cxn>
                  <a:cxn ang="0">
                    <a:pos x="110" y="166"/>
                  </a:cxn>
                  <a:cxn ang="0">
                    <a:pos x="110" y="174"/>
                  </a:cxn>
                  <a:cxn ang="0">
                    <a:pos x="176" y="164"/>
                  </a:cxn>
                  <a:cxn ang="0">
                    <a:pos x="174" y="172"/>
                  </a:cxn>
                  <a:cxn ang="0">
                    <a:pos x="118" y="192"/>
                  </a:cxn>
                  <a:cxn ang="0">
                    <a:pos x="108" y="204"/>
                  </a:cxn>
                  <a:cxn ang="0">
                    <a:pos x="148" y="238"/>
                  </a:cxn>
                  <a:cxn ang="0">
                    <a:pos x="224" y="268"/>
                  </a:cxn>
                  <a:cxn ang="0">
                    <a:pos x="260" y="262"/>
                  </a:cxn>
                  <a:cxn ang="0">
                    <a:pos x="268" y="252"/>
                  </a:cxn>
                  <a:cxn ang="0">
                    <a:pos x="288" y="260"/>
                  </a:cxn>
                  <a:cxn ang="0">
                    <a:pos x="282" y="242"/>
                  </a:cxn>
                  <a:cxn ang="0">
                    <a:pos x="296" y="246"/>
                  </a:cxn>
                  <a:cxn ang="0">
                    <a:pos x="322" y="266"/>
                  </a:cxn>
                  <a:cxn ang="0">
                    <a:pos x="328" y="246"/>
                  </a:cxn>
                  <a:cxn ang="0">
                    <a:pos x="340" y="234"/>
                  </a:cxn>
                  <a:cxn ang="0">
                    <a:pos x="364" y="230"/>
                  </a:cxn>
                  <a:cxn ang="0">
                    <a:pos x="426" y="192"/>
                  </a:cxn>
                  <a:cxn ang="0">
                    <a:pos x="480" y="174"/>
                  </a:cxn>
                  <a:cxn ang="0">
                    <a:pos x="472" y="166"/>
                  </a:cxn>
                  <a:cxn ang="0">
                    <a:pos x="438" y="146"/>
                  </a:cxn>
                  <a:cxn ang="0">
                    <a:pos x="400" y="146"/>
                  </a:cxn>
                  <a:cxn ang="0">
                    <a:pos x="390" y="142"/>
                  </a:cxn>
                  <a:cxn ang="0">
                    <a:pos x="400" y="122"/>
                  </a:cxn>
                  <a:cxn ang="0">
                    <a:pos x="382" y="108"/>
                  </a:cxn>
                  <a:cxn ang="0">
                    <a:pos x="376" y="86"/>
                  </a:cxn>
                  <a:cxn ang="0">
                    <a:pos x="352" y="78"/>
                  </a:cxn>
                  <a:cxn ang="0">
                    <a:pos x="328" y="90"/>
                  </a:cxn>
                  <a:cxn ang="0">
                    <a:pos x="326" y="102"/>
                  </a:cxn>
                  <a:cxn ang="0">
                    <a:pos x="306" y="92"/>
                  </a:cxn>
                  <a:cxn ang="0">
                    <a:pos x="306" y="74"/>
                  </a:cxn>
                  <a:cxn ang="0">
                    <a:pos x="274" y="68"/>
                  </a:cxn>
                  <a:cxn ang="0">
                    <a:pos x="192" y="20"/>
                  </a:cxn>
                  <a:cxn ang="0">
                    <a:pos x="134" y="0"/>
                  </a:cxn>
                  <a:cxn ang="0">
                    <a:pos x="100" y="4"/>
                  </a:cxn>
                  <a:cxn ang="0">
                    <a:pos x="112" y="20"/>
                  </a:cxn>
                  <a:cxn ang="0">
                    <a:pos x="98" y="28"/>
                  </a:cxn>
                  <a:cxn ang="0">
                    <a:pos x="66" y="32"/>
                  </a:cxn>
                  <a:cxn ang="0">
                    <a:pos x="54" y="54"/>
                  </a:cxn>
                  <a:cxn ang="0">
                    <a:pos x="26" y="76"/>
                  </a:cxn>
                  <a:cxn ang="0">
                    <a:pos x="18" y="92"/>
                  </a:cxn>
                  <a:cxn ang="0">
                    <a:pos x="50" y="100"/>
                  </a:cxn>
                  <a:cxn ang="0">
                    <a:pos x="90" y="104"/>
                  </a:cxn>
                  <a:cxn ang="0">
                    <a:pos x="72" y="112"/>
                  </a:cxn>
                  <a:cxn ang="0">
                    <a:pos x="4" y="106"/>
                  </a:cxn>
                  <a:cxn ang="0">
                    <a:pos x="2" y="116"/>
                  </a:cxn>
                  <a:cxn ang="0">
                    <a:pos x="32" y="148"/>
                  </a:cxn>
                </a:cxnLst>
                <a:rect l="0" t="0" r="r" b="b"/>
                <a:pathLst>
                  <a:path w="480" h="270">
                    <a:moveTo>
                      <a:pt x="54" y="164"/>
                    </a:moveTo>
                    <a:lnTo>
                      <a:pt x="54" y="164"/>
                    </a:lnTo>
                    <a:lnTo>
                      <a:pt x="66" y="172"/>
                    </a:lnTo>
                    <a:lnTo>
                      <a:pt x="78" y="174"/>
                    </a:lnTo>
                    <a:lnTo>
                      <a:pt x="88" y="172"/>
                    </a:lnTo>
                    <a:lnTo>
                      <a:pt x="98" y="170"/>
                    </a:lnTo>
                    <a:lnTo>
                      <a:pt x="108" y="164"/>
                    </a:lnTo>
                    <a:lnTo>
                      <a:pt x="110" y="166"/>
                    </a:lnTo>
                    <a:lnTo>
                      <a:pt x="108" y="170"/>
                    </a:lnTo>
                    <a:lnTo>
                      <a:pt x="108" y="170"/>
                    </a:lnTo>
                    <a:lnTo>
                      <a:pt x="108" y="172"/>
                    </a:lnTo>
                    <a:lnTo>
                      <a:pt x="110" y="174"/>
                    </a:lnTo>
                    <a:lnTo>
                      <a:pt x="116" y="176"/>
                    </a:lnTo>
                    <a:lnTo>
                      <a:pt x="142" y="168"/>
                    </a:lnTo>
                    <a:lnTo>
                      <a:pt x="168" y="162"/>
                    </a:lnTo>
                    <a:lnTo>
                      <a:pt x="176" y="164"/>
                    </a:lnTo>
                    <a:lnTo>
                      <a:pt x="176" y="164"/>
                    </a:lnTo>
                    <a:lnTo>
                      <a:pt x="176" y="168"/>
                    </a:lnTo>
                    <a:lnTo>
                      <a:pt x="176" y="168"/>
                    </a:lnTo>
                    <a:lnTo>
                      <a:pt x="174" y="172"/>
                    </a:lnTo>
                    <a:lnTo>
                      <a:pt x="170" y="174"/>
                    </a:lnTo>
                    <a:lnTo>
                      <a:pt x="158" y="180"/>
                    </a:lnTo>
                    <a:lnTo>
                      <a:pt x="130" y="188"/>
                    </a:lnTo>
                    <a:lnTo>
                      <a:pt x="118" y="192"/>
                    </a:lnTo>
                    <a:lnTo>
                      <a:pt x="108" y="196"/>
                    </a:lnTo>
                    <a:lnTo>
                      <a:pt x="104" y="200"/>
                    </a:lnTo>
                    <a:lnTo>
                      <a:pt x="106" y="202"/>
                    </a:lnTo>
                    <a:lnTo>
                      <a:pt x="108" y="204"/>
                    </a:lnTo>
                    <a:lnTo>
                      <a:pt x="108" y="204"/>
                    </a:lnTo>
                    <a:lnTo>
                      <a:pt x="122" y="214"/>
                    </a:lnTo>
                    <a:lnTo>
                      <a:pt x="134" y="226"/>
                    </a:lnTo>
                    <a:lnTo>
                      <a:pt x="148" y="238"/>
                    </a:lnTo>
                    <a:lnTo>
                      <a:pt x="166" y="250"/>
                    </a:lnTo>
                    <a:lnTo>
                      <a:pt x="166" y="250"/>
                    </a:lnTo>
                    <a:lnTo>
                      <a:pt x="194" y="260"/>
                    </a:lnTo>
                    <a:lnTo>
                      <a:pt x="224" y="268"/>
                    </a:lnTo>
                    <a:lnTo>
                      <a:pt x="238" y="270"/>
                    </a:lnTo>
                    <a:lnTo>
                      <a:pt x="250" y="270"/>
                    </a:lnTo>
                    <a:lnTo>
                      <a:pt x="258" y="266"/>
                    </a:lnTo>
                    <a:lnTo>
                      <a:pt x="260" y="262"/>
                    </a:lnTo>
                    <a:lnTo>
                      <a:pt x="262" y="260"/>
                    </a:lnTo>
                    <a:lnTo>
                      <a:pt x="262" y="260"/>
                    </a:lnTo>
                    <a:lnTo>
                      <a:pt x="262" y="254"/>
                    </a:lnTo>
                    <a:lnTo>
                      <a:pt x="268" y="252"/>
                    </a:lnTo>
                    <a:lnTo>
                      <a:pt x="274" y="254"/>
                    </a:lnTo>
                    <a:lnTo>
                      <a:pt x="280" y="256"/>
                    </a:lnTo>
                    <a:lnTo>
                      <a:pt x="284" y="258"/>
                    </a:lnTo>
                    <a:lnTo>
                      <a:pt x="288" y="260"/>
                    </a:lnTo>
                    <a:lnTo>
                      <a:pt x="290" y="258"/>
                    </a:lnTo>
                    <a:lnTo>
                      <a:pt x="286" y="250"/>
                    </a:lnTo>
                    <a:lnTo>
                      <a:pt x="286" y="250"/>
                    </a:lnTo>
                    <a:lnTo>
                      <a:pt x="282" y="242"/>
                    </a:lnTo>
                    <a:lnTo>
                      <a:pt x="280" y="236"/>
                    </a:lnTo>
                    <a:lnTo>
                      <a:pt x="282" y="236"/>
                    </a:lnTo>
                    <a:lnTo>
                      <a:pt x="284" y="236"/>
                    </a:lnTo>
                    <a:lnTo>
                      <a:pt x="296" y="246"/>
                    </a:lnTo>
                    <a:lnTo>
                      <a:pt x="314" y="260"/>
                    </a:lnTo>
                    <a:lnTo>
                      <a:pt x="314" y="260"/>
                    </a:lnTo>
                    <a:lnTo>
                      <a:pt x="320" y="266"/>
                    </a:lnTo>
                    <a:lnTo>
                      <a:pt x="322" y="266"/>
                    </a:lnTo>
                    <a:lnTo>
                      <a:pt x="324" y="266"/>
                    </a:lnTo>
                    <a:lnTo>
                      <a:pt x="326" y="262"/>
                    </a:lnTo>
                    <a:lnTo>
                      <a:pt x="328" y="254"/>
                    </a:lnTo>
                    <a:lnTo>
                      <a:pt x="328" y="246"/>
                    </a:lnTo>
                    <a:lnTo>
                      <a:pt x="330" y="240"/>
                    </a:lnTo>
                    <a:lnTo>
                      <a:pt x="334" y="236"/>
                    </a:lnTo>
                    <a:lnTo>
                      <a:pt x="336" y="234"/>
                    </a:lnTo>
                    <a:lnTo>
                      <a:pt x="340" y="234"/>
                    </a:lnTo>
                    <a:lnTo>
                      <a:pt x="340" y="234"/>
                    </a:lnTo>
                    <a:lnTo>
                      <a:pt x="348" y="236"/>
                    </a:lnTo>
                    <a:lnTo>
                      <a:pt x="356" y="234"/>
                    </a:lnTo>
                    <a:lnTo>
                      <a:pt x="364" y="230"/>
                    </a:lnTo>
                    <a:lnTo>
                      <a:pt x="374" y="226"/>
                    </a:lnTo>
                    <a:lnTo>
                      <a:pt x="414" y="198"/>
                    </a:lnTo>
                    <a:lnTo>
                      <a:pt x="414" y="198"/>
                    </a:lnTo>
                    <a:lnTo>
                      <a:pt x="426" y="192"/>
                    </a:lnTo>
                    <a:lnTo>
                      <a:pt x="440" y="186"/>
                    </a:lnTo>
                    <a:lnTo>
                      <a:pt x="466" y="180"/>
                    </a:lnTo>
                    <a:lnTo>
                      <a:pt x="474" y="176"/>
                    </a:lnTo>
                    <a:lnTo>
                      <a:pt x="480" y="174"/>
                    </a:lnTo>
                    <a:lnTo>
                      <a:pt x="480" y="172"/>
                    </a:lnTo>
                    <a:lnTo>
                      <a:pt x="480" y="170"/>
                    </a:lnTo>
                    <a:lnTo>
                      <a:pt x="472" y="166"/>
                    </a:lnTo>
                    <a:lnTo>
                      <a:pt x="472" y="166"/>
                    </a:lnTo>
                    <a:lnTo>
                      <a:pt x="464" y="162"/>
                    </a:lnTo>
                    <a:lnTo>
                      <a:pt x="456" y="156"/>
                    </a:lnTo>
                    <a:lnTo>
                      <a:pt x="444" y="148"/>
                    </a:lnTo>
                    <a:lnTo>
                      <a:pt x="438" y="146"/>
                    </a:lnTo>
                    <a:lnTo>
                      <a:pt x="430" y="144"/>
                    </a:lnTo>
                    <a:lnTo>
                      <a:pt x="418" y="144"/>
                    </a:lnTo>
                    <a:lnTo>
                      <a:pt x="400" y="146"/>
                    </a:lnTo>
                    <a:lnTo>
                      <a:pt x="400" y="146"/>
                    </a:lnTo>
                    <a:lnTo>
                      <a:pt x="388" y="148"/>
                    </a:lnTo>
                    <a:lnTo>
                      <a:pt x="384" y="148"/>
                    </a:lnTo>
                    <a:lnTo>
                      <a:pt x="386" y="146"/>
                    </a:lnTo>
                    <a:lnTo>
                      <a:pt x="390" y="142"/>
                    </a:lnTo>
                    <a:lnTo>
                      <a:pt x="396" y="136"/>
                    </a:lnTo>
                    <a:lnTo>
                      <a:pt x="400" y="130"/>
                    </a:lnTo>
                    <a:lnTo>
                      <a:pt x="400" y="126"/>
                    </a:lnTo>
                    <a:lnTo>
                      <a:pt x="400" y="122"/>
                    </a:lnTo>
                    <a:lnTo>
                      <a:pt x="396" y="118"/>
                    </a:lnTo>
                    <a:lnTo>
                      <a:pt x="392" y="114"/>
                    </a:lnTo>
                    <a:lnTo>
                      <a:pt x="392" y="114"/>
                    </a:lnTo>
                    <a:lnTo>
                      <a:pt x="382" y="108"/>
                    </a:lnTo>
                    <a:lnTo>
                      <a:pt x="376" y="100"/>
                    </a:lnTo>
                    <a:lnTo>
                      <a:pt x="376" y="96"/>
                    </a:lnTo>
                    <a:lnTo>
                      <a:pt x="376" y="90"/>
                    </a:lnTo>
                    <a:lnTo>
                      <a:pt x="376" y="86"/>
                    </a:lnTo>
                    <a:lnTo>
                      <a:pt x="372" y="82"/>
                    </a:lnTo>
                    <a:lnTo>
                      <a:pt x="366" y="80"/>
                    </a:lnTo>
                    <a:lnTo>
                      <a:pt x="352" y="78"/>
                    </a:lnTo>
                    <a:lnTo>
                      <a:pt x="352" y="78"/>
                    </a:lnTo>
                    <a:lnTo>
                      <a:pt x="338" y="76"/>
                    </a:lnTo>
                    <a:lnTo>
                      <a:pt x="330" y="80"/>
                    </a:lnTo>
                    <a:lnTo>
                      <a:pt x="328" y="84"/>
                    </a:lnTo>
                    <a:lnTo>
                      <a:pt x="328" y="90"/>
                    </a:lnTo>
                    <a:lnTo>
                      <a:pt x="330" y="96"/>
                    </a:lnTo>
                    <a:lnTo>
                      <a:pt x="328" y="100"/>
                    </a:lnTo>
                    <a:lnTo>
                      <a:pt x="328" y="102"/>
                    </a:lnTo>
                    <a:lnTo>
                      <a:pt x="326" y="102"/>
                    </a:lnTo>
                    <a:lnTo>
                      <a:pt x="318" y="100"/>
                    </a:lnTo>
                    <a:lnTo>
                      <a:pt x="318" y="100"/>
                    </a:lnTo>
                    <a:lnTo>
                      <a:pt x="310" y="96"/>
                    </a:lnTo>
                    <a:lnTo>
                      <a:pt x="306" y="92"/>
                    </a:lnTo>
                    <a:lnTo>
                      <a:pt x="306" y="86"/>
                    </a:lnTo>
                    <a:lnTo>
                      <a:pt x="308" y="82"/>
                    </a:lnTo>
                    <a:lnTo>
                      <a:pt x="308" y="78"/>
                    </a:lnTo>
                    <a:lnTo>
                      <a:pt x="306" y="74"/>
                    </a:lnTo>
                    <a:lnTo>
                      <a:pt x="298" y="70"/>
                    </a:lnTo>
                    <a:lnTo>
                      <a:pt x="284" y="70"/>
                    </a:lnTo>
                    <a:lnTo>
                      <a:pt x="284" y="70"/>
                    </a:lnTo>
                    <a:lnTo>
                      <a:pt x="274" y="68"/>
                    </a:lnTo>
                    <a:lnTo>
                      <a:pt x="266" y="66"/>
                    </a:lnTo>
                    <a:lnTo>
                      <a:pt x="248" y="56"/>
                    </a:lnTo>
                    <a:lnTo>
                      <a:pt x="212" y="32"/>
                    </a:lnTo>
                    <a:lnTo>
                      <a:pt x="192" y="20"/>
                    </a:lnTo>
                    <a:lnTo>
                      <a:pt x="170" y="10"/>
                    </a:lnTo>
                    <a:lnTo>
                      <a:pt x="158" y="6"/>
                    </a:lnTo>
                    <a:lnTo>
                      <a:pt x="146" y="2"/>
                    </a:lnTo>
                    <a:lnTo>
                      <a:pt x="134" y="0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04" y="2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2" y="10"/>
                    </a:lnTo>
                    <a:lnTo>
                      <a:pt x="108" y="14"/>
                    </a:lnTo>
                    <a:lnTo>
                      <a:pt x="112" y="20"/>
                    </a:lnTo>
                    <a:lnTo>
                      <a:pt x="114" y="24"/>
                    </a:lnTo>
                    <a:lnTo>
                      <a:pt x="114" y="24"/>
                    </a:lnTo>
                    <a:lnTo>
                      <a:pt x="110" y="26"/>
                    </a:lnTo>
                    <a:lnTo>
                      <a:pt x="98" y="28"/>
                    </a:lnTo>
                    <a:lnTo>
                      <a:pt x="98" y="28"/>
                    </a:lnTo>
                    <a:lnTo>
                      <a:pt x="82" y="28"/>
                    </a:lnTo>
                    <a:lnTo>
                      <a:pt x="70" y="30"/>
                    </a:lnTo>
                    <a:lnTo>
                      <a:pt x="66" y="32"/>
                    </a:lnTo>
                    <a:lnTo>
                      <a:pt x="64" y="36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4" y="54"/>
                    </a:lnTo>
                    <a:lnTo>
                      <a:pt x="52" y="58"/>
                    </a:lnTo>
                    <a:lnTo>
                      <a:pt x="42" y="64"/>
                    </a:lnTo>
                    <a:lnTo>
                      <a:pt x="32" y="72"/>
                    </a:lnTo>
                    <a:lnTo>
                      <a:pt x="26" y="76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18" y="88"/>
                    </a:lnTo>
                    <a:lnTo>
                      <a:pt x="18" y="92"/>
                    </a:lnTo>
                    <a:lnTo>
                      <a:pt x="20" y="94"/>
                    </a:lnTo>
                    <a:lnTo>
                      <a:pt x="24" y="96"/>
                    </a:lnTo>
                    <a:lnTo>
                      <a:pt x="34" y="98"/>
                    </a:lnTo>
                    <a:lnTo>
                      <a:pt x="50" y="100"/>
                    </a:lnTo>
                    <a:lnTo>
                      <a:pt x="78" y="102"/>
                    </a:lnTo>
                    <a:lnTo>
                      <a:pt x="86" y="102"/>
                    </a:lnTo>
                    <a:lnTo>
                      <a:pt x="88" y="102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6" y="108"/>
                    </a:lnTo>
                    <a:lnTo>
                      <a:pt x="82" y="110"/>
                    </a:lnTo>
                    <a:lnTo>
                      <a:pt x="72" y="112"/>
                    </a:lnTo>
                    <a:lnTo>
                      <a:pt x="58" y="112"/>
                    </a:lnTo>
                    <a:lnTo>
                      <a:pt x="42" y="110"/>
                    </a:lnTo>
                    <a:lnTo>
                      <a:pt x="14" y="106"/>
                    </a:lnTo>
                    <a:lnTo>
                      <a:pt x="4" y="106"/>
                    </a:lnTo>
                    <a:lnTo>
                      <a:pt x="2" y="108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2" y="116"/>
                    </a:lnTo>
                    <a:lnTo>
                      <a:pt x="4" y="122"/>
                    </a:lnTo>
                    <a:lnTo>
                      <a:pt x="8" y="128"/>
                    </a:lnTo>
                    <a:lnTo>
                      <a:pt x="14" y="134"/>
                    </a:lnTo>
                    <a:lnTo>
                      <a:pt x="32" y="148"/>
                    </a:lnTo>
                    <a:lnTo>
                      <a:pt x="54" y="164"/>
                    </a:lnTo>
                    <a:lnTo>
                      <a:pt x="54" y="1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8" name="Freeform 6088">
                <a:extLst>
                  <a:ext uri="{FF2B5EF4-FFF2-40B4-BE49-F238E27FC236}">
                    <a16:creationId xmlns:a16="http://schemas.microsoft.com/office/drawing/2014/main" id="{DD6A0125-3DF2-4E8A-A7B5-504BCAF921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0580" y="1206183"/>
                <a:ext cx="734060" cy="539750"/>
              </a:xfrm>
              <a:custGeom>
                <a:avLst/>
                <a:gdLst/>
                <a:ahLst/>
                <a:cxnLst>
                  <a:cxn ang="0">
                    <a:pos x="1088" y="504"/>
                  </a:cxn>
                  <a:cxn ang="0">
                    <a:pos x="1060" y="480"/>
                  </a:cxn>
                  <a:cxn ang="0">
                    <a:pos x="960" y="426"/>
                  </a:cxn>
                  <a:cxn ang="0">
                    <a:pos x="890" y="396"/>
                  </a:cxn>
                  <a:cxn ang="0">
                    <a:pos x="890" y="348"/>
                  </a:cxn>
                  <a:cxn ang="0">
                    <a:pos x="926" y="328"/>
                  </a:cxn>
                  <a:cxn ang="0">
                    <a:pos x="926" y="298"/>
                  </a:cxn>
                  <a:cxn ang="0">
                    <a:pos x="846" y="276"/>
                  </a:cxn>
                  <a:cxn ang="0">
                    <a:pos x="844" y="232"/>
                  </a:cxn>
                  <a:cxn ang="0">
                    <a:pos x="782" y="204"/>
                  </a:cxn>
                  <a:cxn ang="0">
                    <a:pos x="706" y="174"/>
                  </a:cxn>
                  <a:cxn ang="0">
                    <a:pos x="642" y="134"/>
                  </a:cxn>
                  <a:cxn ang="0">
                    <a:pos x="560" y="98"/>
                  </a:cxn>
                  <a:cxn ang="0">
                    <a:pos x="462" y="112"/>
                  </a:cxn>
                  <a:cxn ang="0">
                    <a:pos x="404" y="110"/>
                  </a:cxn>
                  <a:cxn ang="0">
                    <a:pos x="388" y="90"/>
                  </a:cxn>
                  <a:cxn ang="0">
                    <a:pos x="352" y="18"/>
                  </a:cxn>
                  <a:cxn ang="0">
                    <a:pos x="200" y="50"/>
                  </a:cxn>
                  <a:cxn ang="0">
                    <a:pos x="174" y="84"/>
                  </a:cxn>
                  <a:cxn ang="0">
                    <a:pos x="168" y="138"/>
                  </a:cxn>
                  <a:cxn ang="0">
                    <a:pos x="222" y="180"/>
                  </a:cxn>
                  <a:cxn ang="0">
                    <a:pos x="150" y="122"/>
                  </a:cxn>
                  <a:cxn ang="0">
                    <a:pos x="188" y="26"/>
                  </a:cxn>
                  <a:cxn ang="0">
                    <a:pos x="116" y="8"/>
                  </a:cxn>
                  <a:cxn ang="0">
                    <a:pos x="18" y="90"/>
                  </a:cxn>
                  <a:cxn ang="0">
                    <a:pos x="58" y="196"/>
                  </a:cxn>
                  <a:cxn ang="0">
                    <a:pos x="40" y="216"/>
                  </a:cxn>
                  <a:cxn ang="0">
                    <a:pos x="118" y="270"/>
                  </a:cxn>
                  <a:cxn ang="0">
                    <a:pos x="234" y="288"/>
                  </a:cxn>
                  <a:cxn ang="0">
                    <a:pos x="336" y="290"/>
                  </a:cxn>
                  <a:cxn ang="0">
                    <a:pos x="358" y="284"/>
                  </a:cxn>
                  <a:cxn ang="0">
                    <a:pos x="462" y="284"/>
                  </a:cxn>
                  <a:cxn ang="0">
                    <a:pos x="498" y="274"/>
                  </a:cxn>
                  <a:cxn ang="0">
                    <a:pos x="580" y="338"/>
                  </a:cxn>
                  <a:cxn ang="0">
                    <a:pos x="538" y="376"/>
                  </a:cxn>
                  <a:cxn ang="0">
                    <a:pos x="654" y="402"/>
                  </a:cxn>
                  <a:cxn ang="0">
                    <a:pos x="712" y="474"/>
                  </a:cxn>
                  <a:cxn ang="0">
                    <a:pos x="640" y="558"/>
                  </a:cxn>
                  <a:cxn ang="0">
                    <a:pos x="628" y="608"/>
                  </a:cxn>
                  <a:cxn ang="0">
                    <a:pos x="510" y="624"/>
                  </a:cxn>
                  <a:cxn ang="0">
                    <a:pos x="514" y="688"/>
                  </a:cxn>
                  <a:cxn ang="0">
                    <a:pos x="616" y="688"/>
                  </a:cxn>
                  <a:cxn ang="0">
                    <a:pos x="656" y="674"/>
                  </a:cxn>
                  <a:cxn ang="0">
                    <a:pos x="736" y="724"/>
                  </a:cxn>
                  <a:cxn ang="0">
                    <a:pos x="732" y="752"/>
                  </a:cxn>
                  <a:cxn ang="0">
                    <a:pos x="854" y="818"/>
                  </a:cxn>
                  <a:cxn ang="0">
                    <a:pos x="966" y="822"/>
                  </a:cxn>
                  <a:cxn ang="0">
                    <a:pos x="854" y="724"/>
                  </a:cxn>
                  <a:cxn ang="0">
                    <a:pos x="908" y="744"/>
                  </a:cxn>
                  <a:cxn ang="0">
                    <a:pos x="1012" y="814"/>
                  </a:cxn>
                  <a:cxn ang="0">
                    <a:pos x="1018" y="766"/>
                  </a:cxn>
                  <a:cxn ang="0">
                    <a:pos x="1022" y="724"/>
                  </a:cxn>
                  <a:cxn ang="0">
                    <a:pos x="1000" y="694"/>
                  </a:cxn>
                  <a:cxn ang="0">
                    <a:pos x="942" y="632"/>
                  </a:cxn>
                  <a:cxn ang="0">
                    <a:pos x="890" y="586"/>
                  </a:cxn>
                  <a:cxn ang="0">
                    <a:pos x="902" y="544"/>
                  </a:cxn>
                  <a:cxn ang="0">
                    <a:pos x="942" y="544"/>
                  </a:cxn>
                  <a:cxn ang="0">
                    <a:pos x="990" y="580"/>
                  </a:cxn>
                  <a:cxn ang="0">
                    <a:pos x="1070" y="648"/>
                  </a:cxn>
                  <a:cxn ang="0">
                    <a:pos x="1102" y="596"/>
                  </a:cxn>
                  <a:cxn ang="0">
                    <a:pos x="1128" y="568"/>
                  </a:cxn>
                  <a:cxn ang="0">
                    <a:pos x="1148" y="514"/>
                  </a:cxn>
                </a:cxnLst>
                <a:rect l="0" t="0" r="r" b="b"/>
                <a:pathLst>
                  <a:path w="1156" h="850">
                    <a:moveTo>
                      <a:pt x="1148" y="514"/>
                    </a:moveTo>
                    <a:lnTo>
                      <a:pt x="1148" y="514"/>
                    </a:lnTo>
                    <a:lnTo>
                      <a:pt x="1144" y="506"/>
                    </a:lnTo>
                    <a:lnTo>
                      <a:pt x="1138" y="502"/>
                    </a:lnTo>
                    <a:lnTo>
                      <a:pt x="1134" y="500"/>
                    </a:lnTo>
                    <a:lnTo>
                      <a:pt x="1128" y="498"/>
                    </a:lnTo>
                    <a:lnTo>
                      <a:pt x="1116" y="498"/>
                    </a:lnTo>
                    <a:lnTo>
                      <a:pt x="1106" y="502"/>
                    </a:lnTo>
                    <a:lnTo>
                      <a:pt x="1096" y="506"/>
                    </a:lnTo>
                    <a:lnTo>
                      <a:pt x="1090" y="508"/>
                    </a:lnTo>
                    <a:lnTo>
                      <a:pt x="1088" y="506"/>
                    </a:lnTo>
                    <a:lnTo>
                      <a:pt x="1088" y="504"/>
                    </a:lnTo>
                    <a:lnTo>
                      <a:pt x="1090" y="496"/>
                    </a:lnTo>
                    <a:lnTo>
                      <a:pt x="1090" y="496"/>
                    </a:lnTo>
                    <a:lnTo>
                      <a:pt x="1092" y="486"/>
                    </a:lnTo>
                    <a:lnTo>
                      <a:pt x="1090" y="482"/>
                    </a:lnTo>
                    <a:lnTo>
                      <a:pt x="1088" y="480"/>
                    </a:lnTo>
                    <a:lnTo>
                      <a:pt x="1084" y="480"/>
                    </a:lnTo>
                    <a:lnTo>
                      <a:pt x="1076" y="482"/>
                    </a:lnTo>
                    <a:lnTo>
                      <a:pt x="1062" y="486"/>
                    </a:lnTo>
                    <a:lnTo>
                      <a:pt x="1060" y="486"/>
                    </a:lnTo>
                    <a:lnTo>
                      <a:pt x="1058" y="486"/>
                    </a:lnTo>
                    <a:lnTo>
                      <a:pt x="1060" y="480"/>
                    </a:lnTo>
                    <a:lnTo>
                      <a:pt x="1060" y="480"/>
                    </a:lnTo>
                    <a:lnTo>
                      <a:pt x="1062" y="472"/>
                    </a:lnTo>
                    <a:lnTo>
                      <a:pt x="1062" y="466"/>
                    </a:lnTo>
                    <a:lnTo>
                      <a:pt x="1060" y="462"/>
                    </a:lnTo>
                    <a:lnTo>
                      <a:pt x="1056" y="458"/>
                    </a:lnTo>
                    <a:lnTo>
                      <a:pt x="1042" y="450"/>
                    </a:lnTo>
                    <a:lnTo>
                      <a:pt x="1022" y="436"/>
                    </a:lnTo>
                    <a:lnTo>
                      <a:pt x="1022" y="436"/>
                    </a:lnTo>
                    <a:lnTo>
                      <a:pt x="1010" y="430"/>
                    </a:lnTo>
                    <a:lnTo>
                      <a:pt x="996" y="428"/>
                    </a:lnTo>
                    <a:lnTo>
                      <a:pt x="984" y="426"/>
                    </a:lnTo>
                    <a:lnTo>
                      <a:pt x="970" y="426"/>
                    </a:lnTo>
                    <a:lnTo>
                      <a:pt x="960" y="426"/>
                    </a:lnTo>
                    <a:lnTo>
                      <a:pt x="950" y="424"/>
                    </a:lnTo>
                    <a:lnTo>
                      <a:pt x="944" y="420"/>
                    </a:lnTo>
                    <a:lnTo>
                      <a:pt x="942" y="416"/>
                    </a:lnTo>
                    <a:lnTo>
                      <a:pt x="940" y="410"/>
                    </a:lnTo>
                    <a:lnTo>
                      <a:pt x="940" y="410"/>
                    </a:lnTo>
                    <a:lnTo>
                      <a:pt x="938" y="406"/>
                    </a:lnTo>
                    <a:lnTo>
                      <a:pt x="936" y="402"/>
                    </a:lnTo>
                    <a:lnTo>
                      <a:pt x="930" y="400"/>
                    </a:lnTo>
                    <a:lnTo>
                      <a:pt x="926" y="398"/>
                    </a:lnTo>
                    <a:lnTo>
                      <a:pt x="914" y="396"/>
                    </a:lnTo>
                    <a:lnTo>
                      <a:pt x="900" y="396"/>
                    </a:lnTo>
                    <a:lnTo>
                      <a:pt x="890" y="396"/>
                    </a:lnTo>
                    <a:lnTo>
                      <a:pt x="882" y="394"/>
                    </a:lnTo>
                    <a:lnTo>
                      <a:pt x="882" y="394"/>
                    </a:lnTo>
                    <a:lnTo>
                      <a:pt x="882" y="392"/>
                    </a:lnTo>
                    <a:lnTo>
                      <a:pt x="890" y="384"/>
                    </a:lnTo>
                    <a:lnTo>
                      <a:pt x="890" y="384"/>
                    </a:lnTo>
                    <a:lnTo>
                      <a:pt x="896" y="380"/>
                    </a:lnTo>
                    <a:lnTo>
                      <a:pt x="900" y="376"/>
                    </a:lnTo>
                    <a:lnTo>
                      <a:pt x="902" y="372"/>
                    </a:lnTo>
                    <a:lnTo>
                      <a:pt x="902" y="366"/>
                    </a:lnTo>
                    <a:lnTo>
                      <a:pt x="900" y="360"/>
                    </a:lnTo>
                    <a:lnTo>
                      <a:pt x="894" y="352"/>
                    </a:lnTo>
                    <a:lnTo>
                      <a:pt x="890" y="348"/>
                    </a:lnTo>
                    <a:lnTo>
                      <a:pt x="888" y="344"/>
                    </a:lnTo>
                    <a:lnTo>
                      <a:pt x="890" y="344"/>
                    </a:lnTo>
                    <a:lnTo>
                      <a:pt x="902" y="346"/>
                    </a:lnTo>
                    <a:lnTo>
                      <a:pt x="902" y="346"/>
                    </a:lnTo>
                    <a:lnTo>
                      <a:pt x="916" y="348"/>
                    </a:lnTo>
                    <a:lnTo>
                      <a:pt x="928" y="348"/>
                    </a:lnTo>
                    <a:lnTo>
                      <a:pt x="938" y="346"/>
                    </a:lnTo>
                    <a:lnTo>
                      <a:pt x="942" y="342"/>
                    </a:lnTo>
                    <a:lnTo>
                      <a:pt x="944" y="340"/>
                    </a:lnTo>
                    <a:lnTo>
                      <a:pt x="944" y="338"/>
                    </a:lnTo>
                    <a:lnTo>
                      <a:pt x="938" y="334"/>
                    </a:lnTo>
                    <a:lnTo>
                      <a:pt x="926" y="328"/>
                    </a:lnTo>
                    <a:lnTo>
                      <a:pt x="906" y="324"/>
                    </a:lnTo>
                    <a:lnTo>
                      <a:pt x="906" y="324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80" y="316"/>
                    </a:lnTo>
                    <a:lnTo>
                      <a:pt x="900" y="312"/>
                    </a:lnTo>
                    <a:lnTo>
                      <a:pt x="910" y="308"/>
                    </a:lnTo>
                    <a:lnTo>
                      <a:pt x="920" y="304"/>
                    </a:lnTo>
                    <a:lnTo>
                      <a:pt x="920" y="304"/>
                    </a:lnTo>
                    <a:lnTo>
                      <a:pt x="924" y="300"/>
                    </a:lnTo>
                    <a:lnTo>
                      <a:pt x="926" y="298"/>
                    </a:lnTo>
                    <a:lnTo>
                      <a:pt x="926" y="294"/>
                    </a:lnTo>
                    <a:lnTo>
                      <a:pt x="926" y="290"/>
                    </a:lnTo>
                    <a:lnTo>
                      <a:pt x="922" y="284"/>
                    </a:lnTo>
                    <a:lnTo>
                      <a:pt x="914" y="278"/>
                    </a:lnTo>
                    <a:lnTo>
                      <a:pt x="904" y="272"/>
                    </a:lnTo>
                    <a:lnTo>
                      <a:pt x="894" y="268"/>
                    </a:lnTo>
                    <a:lnTo>
                      <a:pt x="886" y="268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72" y="274"/>
                    </a:lnTo>
                    <a:lnTo>
                      <a:pt x="864" y="276"/>
                    </a:lnTo>
                    <a:lnTo>
                      <a:pt x="846" y="276"/>
                    </a:lnTo>
                    <a:lnTo>
                      <a:pt x="842" y="276"/>
                    </a:lnTo>
                    <a:lnTo>
                      <a:pt x="840" y="274"/>
                    </a:lnTo>
                    <a:lnTo>
                      <a:pt x="842" y="270"/>
                    </a:lnTo>
                    <a:lnTo>
                      <a:pt x="852" y="266"/>
                    </a:lnTo>
                    <a:lnTo>
                      <a:pt x="852" y="266"/>
                    </a:lnTo>
                    <a:lnTo>
                      <a:pt x="874" y="258"/>
                    </a:lnTo>
                    <a:lnTo>
                      <a:pt x="880" y="254"/>
                    </a:lnTo>
                    <a:lnTo>
                      <a:pt x="882" y="252"/>
                    </a:lnTo>
                    <a:lnTo>
                      <a:pt x="878" y="248"/>
                    </a:lnTo>
                    <a:lnTo>
                      <a:pt x="872" y="244"/>
                    </a:lnTo>
                    <a:lnTo>
                      <a:pt x="844" y="232"/>
                    </a:lnTo>
                    <a:lnTo>
                      <a:pt x="844" y="232"/>
                    </a:lnTo>
                    <a:lnTo>
                      <a:pt x="826" y="226"/>
                    </a:lnTo>
                    <a:lnTo>
                      <a:pt x="812" y="226"/>
                    </a:lnTo>
                    <a:lnTo>
                      <a:pt x="802" y="228"/>
                    </a:lnTo>
                    <a:lnTo>
                      <a:pt x="794" y="230"/>
                    </a:lnTo>
                    <a:lnTo>
                      <a:pt x="790" y="232"/>
                    </a:lnTo>
                    <a:lnTo>
                      <a:pt x="786" y="232"/>
                    </a:lnTo>
                    <a:lnTo>
                      <a:pt x="786" y="230"/>
                    </a:lnTo>
                    <a:lnTo>
                      <a:pt x="786" y="220"/>
                    </a:lnTo>
                    <a:lnTo>
                      <a:pt x="786" y="220"/>
                    </a:lnTo>
                    <a:lnTo>
                      <a:pt x="788" y="210"/>
                    </a:lnTo>
                    <a:lnTo>
                      <a:pt x="784" y="206"/>
                    </a:lnTo>
                    <a:lnTo>
                      <a:pt x="782" y="204"/>
                    </a:lnTo>
                    <a:lnTo>
                      <a:pt x="776" y="204"/>
                    </a:lnTo>
                    <a:lnTo>
                      <a:pt x="768" y="206"/>
                    </a:lnTo>
                    <a:lnTo>
                      <a:pt x="764" y="204"/>
                    </a:lnTo>
                    <a:lnTo>
                      <a:pt x="762" y="198"/>
                    </a:lnTo>
                    <a:lnTo>
                      <a:pt x="762" y="198"/>
                    </a:lnTo>
                    <a:lnTo>
                      <a:pt x="762" y="190"/>
                    </a:lnTo>
                    <a:lnTo>
                      <a:pt x="756" y="184"/>
                    </a:lnTo>
                    <a:lnTo>
                      <a:pt x="748" y="178"/>
                    </a:lnTo>
                    <a:lnTo>
                      <a:pt x="738" y="174"/>
                    </a:lnTo>
                    <a:lnTo>
                      <a:pt x="728" y="170"/>
                    </a:lnTo>
                    <a:lnTo>
                      <a:pt x="716" y="170"/>
                    </a:lnTo>
                    <a:lnTo>
                      <a:pt x="706" y="174"/>
                    </a:lnTo>
                    <a:lnTo>
                      <a:pt x="696" y="182"/>
                    </a:lnTo>
                    <a:lnTo>
                      <a:pt x="696" y="182"/>
                    </a:lnTo>
                    <a:lnTo>
                      <a:pt x="686" y="190"/>
                    </a:lnTo>
                    <a:lnTo>
                      <a:pt x="680" y="192"/>
                    </a:lnTo>
                    <a:lnTo>
                      <a:pt x="674" y="190"/>
                    </a:lnTo>
                    <a:lnTo>
                      <a:pt x="670" y="186"/>
                    </a:lnTo>
                    <a:lnTo>
                      <a:pt x="666" y="178"/>
                    </a:lnTo>
                    <a:lnTo>
                      <a:pt x="662" y="168"/>
                    </a:lnTo>
                    <a:lnTo>
                      <a:pt x="652" y="148"/>
                    </a:lnTo>
                    <a:lnTo>
                      <a:pt x="652" y="148"/>
                    </a:lnTo>
                    <a:lnTo>
                      <a:pt x="648" y="138"/>
                    </a:lnTo>
                    <a:lnTo>
                      <a:pt x="642" y="134"/>
                    </a:lnTo>
                    <a:lnTo>
                      <a:pt x="638" y="134"/>
                    </a:lnTo>
                    <a:lnTo>
                      <a:pt x="632" y="134"/>
                    </a:lnTo>
                    <a:lnTo>
                      <a:pt x="628" y="134"/>
                    </a:lnTo>
                    <a:lnTo>
                      <a:pt x="622" y="134"/>
                    </a:lnTo>
                    <a:lnTo>
                      <a:pt x="616" y="128"/>
                    </a:lnTo>
                    <a:lnTo>
                      <a:pt x="610" y="120"/>
                    </a:lnTo>
                    <a:lnTo>
                      <a:pt x="610" y="120"/>
                    </a:lnTo>
                    <a:lnTo>
                      <a:pt x="602" y="110"/>
                    </a:lnTo>
                    <a:lnTo>
                      <a:pt x="594" y="104"/>
                    </a:lnTo>
                    <a:lnTo>
                      <a:pt x="586" y="100"/>
                    </a:lnTo>
                    <a:lnTo>
                      <a:pt x="578" y="100"/>
                    </a:lnTo>
                    <a:lnTo>
                      <a:pt x="560" y="98"/>
                    </a:lnTo>
                    <a:lnTo>
                      <a:pt x="552" y="98"/>
                    </a:lnTo>
                    <a:lnTo>
                      <a:pt x="546" y="94"/>
                    </a:lnTo>
                    <a:lnTo>
                      <a:pt x="546" y="94"/>
                    </a:lnTo>
                    <a:lnTo>
                      <a:pt x="528" y="88"/>
                    </a:lnTo>
                    <a:lnTo>
                      <a:pt x="518" y="84"/>
                    </a:lnTo>
                    <a:lnTo>
                      <a:pt x="506" y="82"/>
                    </a:lnTo>
                    <a:lnTo>
                      <a:pt x="494" y="84"/>
                    </a:lnTo>
                    <a:lnTo>
                      <a:pt x="484" y="88"/>
                    </a:lnTo>
                    <a:lnTo>
                      <a:pt x="474" y="94"/>
                    </a:lnTo>
                    <a:lnTo>
                      <a:pt x="466" y="106"/>
                    </a:lnTo>
                    <a:lnTo>
                      <a:pt x="466" y="106"/>
                    </a:lnTo>
                    <a:lnTo>
                      <a:pt x="462" y="112"/>
                    </a:lnTo>
                    <a:lnTo>
                      <a:pt x="460" y="116"/>
                    </a:lnTo>
                    <a:lnTo>
                      <a:pt x="456" y="118"/>
                    </a:lnTo>
                    <a:lnTo>
                      <a:pt x="452" y="118"/>
                    </a:lnTo>
                    <a:lnTo>
                      <a:pt x="444" y="116"/>
                    </a:lnTo>
                    <a:lnTo>
                      <a:pt x="436" y="112"/>
                    </a:lnTo>
                    <a:lnTo>
                      <a:pt x="428" y="106"/>
                    </a:lnTo>
                    <a:lnTo>
                      <a:pt x="420" y="104"/>
                    </a:lnTo>
                    <a:lnTo>
                      <a:pt x="416" y="102"/>
                    </a:lnTo>
                    <a:lnTo>
                      <a:pt x="412" y="104"/>
                    </a:lnTo>
                    <a:lnTo>
                      <a:pt x="408" y="106"/>
                    </a:lnTo>
                    <a:lnTo>
                      <a:pt x="404" y="110"/>
                    </a:lnTo>
                    <a:lnTo>
                      <a:pt x="404" y="110"/>
                    </a:lnTo>
                    <a:lnTo>
                      <a:pt x="396" y="118"/>
                    </a:lnTo>
                    <a:lnTo>
                      <a:pt x="388" y="124"/>
                    </a:lnTo>
                    <a:lnTo>
                      <a:pt x="380" y="130"/>
                    </a:lnTo>
                    <a:lnTo>
                      <a:pt x="376" y="132"/>
                    </a:lnTo>
                    <a:lnTo>
                      <a:pt x="372" y="132"/>
                    </a:lnTo>
                    <a:lnTo>
                      <a:pt x="370" y="130"/>
                    </a:lnTo>
                    <a:lnTo>
                      <a:pt x="372" y="126"/>
                    </a:lnTo>
                    <a:lnTo>
                      <a:pt x="376" y="118"/>
                    </a:lnTo>
                    <a:lnTo>
                      <a:pt x="376" y="118"/>
                    </a:lnTo>
                    <a:lnTo>
                      <a:pt x="382" y="110"/>
                    </a:lnTo>
                    <a:lnTo>
                      <a:pt x="386" y="100"/>
                    </a:lnTo>
                    <a:lnTo>
                      <a:pt x="388" y="90"/>
                    </a:lnTo>
                    <a:lnTo>
                      <a:pt x="388" y="82"/>
                    </a:lnTo>
                    <a:lnTo>
                      <a:pt x="386" y="72"/>
                    </a:lnTo>
                    <a:lnTo>
                      <a:pt x="382" y="64"/>
                    </a:lnTo>
                    <a:lnTo>
                      <a:pt x="376" y="58"/>
                    </a:lnTo>
                    <a:lnTo>
                      <a:pt x="368" y="54"/>
                    </a:lnTo>
                    <a:lnTo>
                      <a:pt x="368" y="54"/>
                    </a:lnTo>
                    <a:lnTo>
                      <a:pt x="360" y="50"/>
                    </a:lnTo>
                    <a:lnTo>
                      <a:pt x="356" y="44"/>
                    </a:lnTo>
                    <a:lnTo>
                      <a:pt x="356" y="38"/>
                    </a:lnTo>
                    <a:lnTo>
                      <a:pt x="354" y="32"/>
                    </a:lnTo>
                    <a:lnTo>
                      <a:pt x="354" y="24"/>
                    </a:lnTo>
                    <a:lnTo>
                      <a:pt x="352" y="18"/>
                    </a:lnTo>
                    <a:lnTo>
                      <a:pt x="346" y="14"/>
                    </a:lnTo>
                    <a:lnTo>
                      <a:pt x="338" y="12"/>
                    </a:lnTo>
                    <a:lnTo>
                      <a:pt x="338" y="12"/>
                    </a:lnTo>
                    <a:lnTo>
                      <a:pt x="326" y="10"/>
                    </a:lnTo>
                    <a:lnTo>
                      <a:pt x="306" y="12"/>
                    </a:lnTo>
                    <a:lnTo>
                      <a:pt x="282" y="14"/>
                    </a:lnTo>
                    <a:lnTo>
                      <a:pt x="260" y="18"/>
                    </a:lnTo>
                    <a:lnTo>
                      <a:pt x="236" y="24"/>
                    </a:lnTo>
                    <a:lnTo>
                      <a:pt x="218" y="32"/>
                    </a:lnTo>
                    <a:lnTo>
                      <a:pt x="210" y="38"/>
                    </a:lnTo>
                    <a:lnTo>
                      <a:pt x="204" y="44"/>
                    </a:lnTo>
                    <a:lnTo>
                      <a:pt x="200" y="50"/>
                    </a:lnTo>
                    <a:lnTo>
                      <a:pt x="198" y="56"/>
                    </a:lnTo>
                    <a:lnTo>
                      <a:pt x="198" y="56"/>
                    </a:lnTo>
                    <a:lnTo>
                      <a:pt x="198" y="62"/>
                    </a:lnTo>
                    <a:lnTo>
                      <a:pt x="196" y="66"/>
                    </a:lnTo>
                    <a:lnTo>
                      <a:pt x="194" y="68"/>
                    </a:lnTo>
                    <a:lnTo>
                      <a:pt x="192" y="70"/>
                    </a:lnTo>
                    <a:lnTo>
                      <a:pt x="186" y="72"/>
                    </a:lnTo>
                    <a:lnTo>
                      <a:pt x="178" y="70"/>
                    </a:lnTo>
                    <a:lnTo>
                      <a:pt x="174" y="72"/>
                    </a:lnTo>
                    <a:lnTo>
                      <a:pt x="172" y="72"/>
                    </a:lnTo>
                    <a:lnTo>
                      <a:pt x="172" y="74"/>
                    </a:lnTo>
                    <a:lnTo>
                      <a:pt x="174" y="84"/>
                    </a:lnTo>
                    <a:lnTo>
                      <a:pt x="182" y="100"/>
                    </a:lnTo>
                    <a:lnTo>
                      <a:pt x="182" y="100"/>
                    </a:lnTo>
                    <a:lnTo>
                      <a:pt x="188" y="116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8" y="130"/>
                    </a:lnTo>
                    <a:lnTo>
                      <a:pt x="184" y="130"/>
                    </a:lnTo>
                    <a:lnTo>
                      <a:pt x="180" y="132"/>
                    </a:lnTo>
                    <a:lnTo>
                      <a:pt x="174" y="132"/>
                    </a:lnTo>
                    <a:lnTo>
                      <a:pt x="168" y="134"/>
                    </a:lnTo>
                    <a:lnTo>
                      <a:pt x="168" y="136"/>
                    </a:lnTo>
                    <a:lnTo>
                      <a:pt x="168" y="138"/>
                    </a:lnTo>
                    <a:lnTo>
                      <a:pt x="174" y="148"/>
                    </a:lnTo>
                    <a:lnTo>
                      <a:pt x="174" y="148"/>
                    </a:lnTo>
                    <a:lnTo>
                      <a:pt x="184" y="158"/>
                    </a:lnTo>
                    <a:lnTo>
                      <a:pt x="192" y="164"/>
                    </a:lnTo>
                    <a:lnTo>
                      <a:pt x="200" y="166"/>
                    </a:lnTo>
                    <a:lnTo>
                      <a:pt x="208" y="166"/>
                    </a:lnTo>
                    <a:lnTo>
                      <a:pt x="212" y="164"/>
                    </a:lnTo>
                    <a:lnTo>
                      <a:pt x="218" y="166"/>
                    </a:lnTo>
                    <a:lnTo>
                      <a:pt x="220" y="168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2" y="180"/>
                    </a:lnTo>
                    <a:lnTo>
                      <a:pt x="220" y="182"/>
                    </a:lnTo>
                    <a:lnTo>
                      <a:pt x="216" y="184"/>
                    </a:lnTo>
                    <a:lnTo>
                      <a:pt x="210" y="184"/>
                    </a:lnTo>
                    <a:lnTo>
                      <a:pt x="196" y="180"/>
                    </a:lnTo>
                    <a:lnTo>
                      <a:pt x="180" y="174"/>
                    </a:lnTo>
                    <a:lnTo>
                      <a:pt x="164" y="164"/>
                    </a:lnTo>
                    <a:lnTo>
                      <a:pt x="152" y="150"/>
                    </a:lnTo>
                    <a:lnTo>
                      <a:pt x="148" y="144"/>
                    </a:lnTo>
                    <a:lnTo>
                      <a:pt x="146" y="136"/>
                    </a:lnTo>
                    <a:lnTo>
                      <a:pt x="146" y="130"/>
                    </a:lnTo>
                    <a:lnTo>
                      <a:pt x="150" y="122"/>
                    </a:lnTo>
                    <a:lnTo>
                      <a:pt x="150" y="122"/>
                    </a:lnTo>
                    <a:lnTo>
                      <a:pt x="154" y="110"/>
                    </a:lnTo>
                    <a:lnTo>
                      <a:pt x="152" y="102"/>
                    </a:lnTo>
                    <a:lnTo>
                      <a:pt x="150" y="98"/>
                    </a:lnTo>
                    <a:lnTo>
                      <a:pt x="144" y="94"/>
                    </a:lnTo>
                    <a:lnTo>
                      <a:pt x="142" y="90"/>
                    </a:lnTo>
                    <a:lnTo>
                      <a:pt x="140" y="84"/>
                    </a:lnTo>
                    <a:lnTo>
                      <a:pt x="144" y="74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68" y="44"/>
                    </a:lnTo>
                    <a:lnTo>
                      <a:pt x="180" y="34"/>
                    </a:lnTo>
                    <a:lnTo>
                      <a:pt x="188" y="26"/>
                    </a:lnTo>
                    <a:lnTo>
                      <a:pt x="198" y="22"/>
                    </a:lnTo>
                    <a:lnTo>
                      <a:pt x="208" y="16"/>
                    </a:lnTo>
                    <a:lnTo>
                      <a:pt x="212" y="14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2" y="8"/>
                    </a:lnTo>
                    <a:lnTo>
                      <a:pt x="210" y="6"/>
                    </a:lnTo>
                    <a:lnTo>
                      <a:pt x="200" y="2"/>
                    </a:lnTo>
                    <a:lnTo>
                      <a:pt x="184" y="0"/>
                    </a:lnTo>
                    <a:lnTo>
                      <a:pt x="164" y="0"/>
                    </a:lnTo>
                    <a:lnTo>
                      <a:pt x="140" y="2"/>
                    </a:lnTo>
                    <a:lnTo>
                      <a:pt x="116" y="8"/>
                    </a:lnTo>
                    <a:lnTo>
                      <a:pt x="92" y="1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52" y="38"/>
                    </a:lnTo>
                    <a:lnTo>
                      <a:pt x="40" y="48"/>
                    </a:lnTo>
                    <a:lnTo>
                      <a:pt x="34" y="56"/>
                    </a:lnTo>
                    <a:lnTo>
                      <a:pt x="32" y="62"/>
                    </a:lnTo>
                    <a:lnTo>
                      <a:pt x="30" y="72"/>
                    </a:lnTo>
                    <a:lnTo>
                      <a:pt x="28" y="76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18" y="90"/>
                    </a:lnTo>
                    <a:lnTo>
                      <a:pt x="14" y="96"/>
                    </a:lnTo>
                    <a:lnTo>
                      <a:pt x="8" y="112"/>
                    </a:lnTo>
                    <a:lnTo>
                      <a:pt x="4" y="132"/>
                    </a:lnTo>
                    <a:lnTo>
                      <a:pt x="2" y="156"/>
                    </a:lnTo>
                    <a:lnTo>
                      <a:pt x="2" y="156"/>
                    </a:lnTo>
                    <a:lnTo>
                      <a:pt x="0" y="168"/>
                    </a:lnTo>
                    <a:lnTo>
                      <a:pt x="0" y="178"/>
                    </a:lnTo>
                    <a:lnTo>
                      <a:pt x="2" y="184"/>
                    </a:lnTo>
                    <a:lnTo>
                      <a:pt x="8" y="188"/>
                    </a:lnTo>
                    <a:lnTo>
                      <a:pt x="14" y="192"/>
                    </a:lnTo>
                    <a:lnTo>
                      <a:pt x="26" y="194"/>
                    </a:lnTo>
                    <a:lnTo>
                      <a:pt x="58" y="196"/>
                    </a:lnTo>
                    <a:lnTo>
                      <a:pt x="58" y="196"/>
                    </a:lnTo>
                    <a:lnTo>
                      <a:pt x="76" y="200"/>
                    </a:lnTo>
                    <a:lnTo>
                      <a:pt x="90" y="202"/>
                    </a:lnTo>
                    <a:lnTo>
                      <a:pt x="100" y="208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2" y="218"/>
                    </a:lnTo>
                    <a:lnTo>
                      <a:pt x="94" y="220"/>
                    </a:lnTo>
                    <a:lnTo>
                      <a:pt x="78" y="218"/>
                    </a:lnTo>
                    <a:lnTo>
                      <a:pt x="78" y="218"/>
                    </a:lnTo>
                    <a:lnTo>
                      <a:pt x="50" y="216"/>
                    </a:lnTo>
                    <a:lnTo>
                      <a:pt x="40" y="216"/>
                    </a:lnTo>
                    <a:lnTo>
                      <a:pt x="32" y="218"/>
                    </a:lnTo>
                    <a:lnTo>
                      <a:pt x="32" y="220"/>
                    </a:lnTo>
                    <a:lnTo>
                      <a:pt x="30" y="222"/>
                    </a:lnTo>
                    <a:lnTo>
                      <a:pt x="32" y="228"/>
                    </a:lnTo>
                    <a:lnTo>
                      <a:pt x="40" y="238"/>
                    </a:lnTo>
                    <a:lnTo>
                      <a:pt x="52" y="250"/>
                    </a:lnTo>
                    <a:lnTo>
                      <a:pt x="52" y="250"/>
                    </a:lnTo>
                    <a:lnTo>
                      <a:pt x="68" y="262"/>
                    </a:lnTo>
                    <a:lnTo>
                      <a:pt x="82" y="268"/>
                    </a:lnTo>
                    <a:lnTo>
                      <a:pt x="94" y="270"/>
                    </a:lnTo>
                    <a:lnTo>
                      <a:pt x="106" y="270"/>
                    </a:lnTo>
                    <a:lnTo>
                      <a:pt x="118" y="270"/>
                    </a:lnTo>
                    <a:lnTo>
                      <a:pt x="130" y="270"/>
                    </a:lnTo>
                    <a:lnTo>
                      <a:pt x="142" y="272"/>
                    </a:lnTo>
                    <a:lnTo>
                      <a:pt x="152" y="278"/>
                    </a:lnTo>
                    <a:lnTo>
                      <a:pt x="152" y="278"/>
                    </a:lnTo>
                    <a:lnTo>
                      <a:pt x="162" y="284"/>
                    </a:lnTo>
                    <a:lnTo>
                      <a:pt x="174" y="288"/>
                    </a:lnTo>
                    <a:lnTo>
                      <a:pt x="184" y="290"/>
                    </a:lnTo>
                    <a:lnTo>
                      <a:pt x="194" y="288"/>
                    </a:lnTo>
                    <a:lnTo>
                      <a:pt x="208" y="286"/>
                    </a:lnTo>
                    <a:lnTo>
                      <a:pt x="218" y="286"/>
                    </a:lnTo>
                    <a:lnTo>
                      <a:pt x="218" y="286"/>
                    </a:lnTo>
                    <a:lnTo>
                      <a:pt x="234" y="288"/>
                    </a:lnTo>
                    <a:lnTo>
                      <a:pt x="244" y="290"/>
                    </a:lnTo>
                    <a:lnTo>
                      <a:pt x="260" y="290"/>
                    </a:lnTo>
                    <a:lnTo>
                      <a:pt x="268" y="290"/>
                    </a:lnTo>
                    <a:lnTo>
                      <a:pt x="276" y="290"/>
                    </a:lnTo>
                    <a:lnTo>
                      <a:pt x="288" y="292"/>
                    </a:lnTo>
                    <a:lnTo>
                      <a:pt x="304" y="296"/>
                    </a:lnTo>
                    <a:lnTo>
                      <a:pt x="304" y="296"/>
                    </a:lnTo>
                    <a:lnTo>
                      <a:pt x="316" y="300"/>
                    </a:lnTo>
                    <a:lnTo>
                      <a:pt x="324" y="298"/>
                    </a:lnTo>
                    <a:lnTo>
                      <a:pt x="328" y="296"/>
                    </a:lnTo>
                    <a:lnTo>
                      <a:pt x="332" y="292"/>
                    </a:lnTo>
                    <a:lnTo>
                      <a:pt x="336" y="290"/>
                    </a:lnTo>
                    <a:lnTo>
                      <a:pt x="340" y="290"/>
                    </a:lnTo>
                    <a:lnTo>
                      <a:pt x="346" y="292"/>
                    </a:lnTo>
                    <a:lnTo>
                      <a:pt x="356" y="298"/>
                    </a:lnTo>
                    <a:lnTo>
                      <a:pt x="356" y="298"/>
                    </a:lnTo>
                    <a:lnTo>
                      <a:pt x="374" y="312"/>
                    </a:lnTo>
                    <a:lnTo>
                      <a:pt x="378" y="314"/>
                    </a:lnTo>
                    <a:lnTo>
                      <a:pt x="380" y="312"/>
                    </a:lnTo>
                    <a:lnTo>
                      <a:pt x="378" y="310"/>
                    </a:lnTo>
                    <a:lnTo>
                      <a:pt x="376" y="306"/>
                    </a:lnTo>
                    <a:lnTo>
                      <a:pt x="362" y="292"/>
                    </a:lnTo>
                    <a:lnTo>
                      <a:pt x="362" y="292"/>
                    </a:lnTo>
                    <a:lnTo>
                      <a:pt x="358" y="284"/>
                    </a:lnTo>
                    <a:lnTo>
                      <a:pt x="358" y="282"/>
                    </a:lnTo>
                    <a:lnTo>
                      <a:pt x="360" y="282"/>
                    </a:lnTo>
                    <a:lnTo>
                      <a:pt x="368" y="282"/>
                    </a:lnTo>
                    <a:lnTo>
                      <a:pt x="380" y="284"/>
                    </a:lnTo>
                    <a:lnTo>
                      <a:pt x="410" y="290"/>
                    </a:lnTo>
                    <a:lnTo>
                      <a:pt x="444" y="296"/>
                    </a:lnTo>
                    <a:lnTo>
                      <a:pt x="444" y="296"/>
                    </a:lnTo>
                    <a:lnTo>
                      <a:pt x="450" y="296"/>
                    </a:lnTo>
                    <a:lnTo>
                      <a:pt x="454" y="296"/>
                    </a:lnTo>
                    <a:lnTo>
                      <a:pt x="458" y="294"/>
                    </a:lnTo>
                    <a:lnTo>
                      <a:pt x="460" y="290"/>
                    </a:lnTo>
                    <a:lnTo>
                      <a:pt x="462" y="284"/>
                    </a:lnTo>
                    <a:lnTo>
                      <a:pt x="460" y="274"/>
                    </a:lnTo>
                    <a:lnTo>
                      <a:pt x="456" y="260"/>
                    </a:lnTo>
                    <a:lnTo>
                      <a:pt x="456" y="260"/>
                    </a:lnTo>
                    <a:lnTo>
                      <a:pt x="458" y="260"/>
                    </a:lnTo>
                    <a:lnTo>
                      <a:pt x="464" y="264"/>
                    </a:lnTo>
                    <a:lnTo>
                      <a:pt x="464" y="264"/>
                    </a:lnTo>
                    <a:lnTo>
                      <a:pt x="472" y="270"/>
                    </a:lnTo>
                    <a:lnTo>
                      <a:pt x="478" y="272"/>
                    </a:lnTo>
                    <a:lnTo>
                      <a:pt x="484" y="272"/>
                    </a:lnTo>
                    <a:lnTo>
                      <a:pt x="490" y="272"/>
                    </a:lnTo>
                    <a:lnTo>
                      <a:pt x="494" y="272"/>
                    </a:lnTo>
                    <a:lnTo>
                      <a:pt x="498" y="274"/>
                    </a:lnTo>
                    <a:lnTo>
                      <a:pt x="500" y="278"/>
                    </a:lnTo>
                    <a:lnTo>
                      <a:pt x="502" y="286"/>
                    </a:lnTo>
                    <a:lnTo>
                      <a:pt x="502" y="286"/>
                    </a:lnTo>
                    <a:lnTo>
                      <a:pt x="502" y="294"/>
                    </a:lnTo>
                    <a:lnTo>
                      <a:pt x="504" y="302"/>
                    </a:lnTo>
                    <a:lnTo>
                      <a:pt x="508" y="306"/>
                    </a:lnTo>
                    <a:lnTo>
                      <a:pt x="512" y="310"/>
                    </a:lnTo>
                    <a:lnTo>
                      <a:pt x="528" y="318"/>
                    </a:lnTo>
                    <a:lnTo>
                      <a:pt x="556" y="326"/>
                    </a:lnTo>
                    <a:lnTo>
                      <a:pt x="556" y="326"/>
                    </a:lnTo>
                    <a:lnTo>
                      <a:pt x="570" y="332"/>
                    </a:lnTo>
                    <a:lnTo>
                      <a:pt x="580" y="338"/>
                    </a:lnTo>
                    <a:lnTo>
                      <a:pt x="584" y="344"/>
                    </a:lnTo>
                    <a:lnTo>
                      <a:pt x="584" y="348"/>
                    </a:lnTo>
                    <a:lnTo>
                      <a:pt x="580" y="352"/>
                    </a:lnTo>
                    <a:lnTo>
                      <a:pt x="574" y="356"/>
                    </a:lnTo>
                    <a:lnTo>
                      <a:pt x="568" y="356"/>
                    </a:lnTo>
                    <a:lnTo>
                      <a:pt x="558" y="356"/>
                    </a:lnTo>
                    <a:lnTo>
                      <a:pt x="558" y="356"/>
                    </a:lnTo>
                    <a:lnTo>
                      <a:pt x="550" y="358"/>
                    </a:lnTo>
                    <a:lnTo>
                      <a:pt x="542" y="360"/>
                    </a:lnTo>
                    <a:lnTo>
                      <a:pt x="538" y="366"/>
                    </a:lnTo>
                    <a:lnTo>
                      <a:pt x="538" y="370"/>
                    </a:lnTo>
                    <a:lnTo>
                      <a:pt x="538" y="376"/>
                    </a:lnTo>
                    <a:lnTo>
                      <a:pt x="544" y="378"/>
                    </a:lnTo>
                    <a:lnTo>
                      <a:pt x="550" y="380"/>
                    </a:lnTo>
                    <a:lnTo>
                      <a:pt x="562" y="378"/>
                    </a:lnTo>
                    <a:lnTo>
                      <a:pt x="562" y="378"/>
                    </a:lnTo>
                    <a:lnTo>
                      <a:pt x="576" y="374"/>
                    </a:lnTo>
                    <a:lnTo>
                      <a:pt x="590" y="374"/>
                    </a:lnTo>
                    <a:lnTo>
                      <a:pt x="606" y="376"/>
                    </a:lnTo>
                    <a:lnTo>
                      <a:pt x="618" y="380"/>
                    </a:lnTo>
                    <a:lnTo>
                      <a:pt x="630" y="384"/>
                    </a:lnTo>
                    <a:lnTo>
                      <a:pt x="640" y="390"/>
                    </a:lnTo>
                    <a:lnTo>
                      <a:pt x="648" y="396"/>
                    </a:lnTo>
                    <a:lnTo>
                      <a:pt x="654" y="402"/>
                    </a:lnTo>
                    <a:lnTo>
                      <a:pt x="654" y="402"/>
                    </a:lnTo>
                    <a:lnTo>
                      <a:pt x="656" y="406"/>
                    </a:lnTo>
                    <a:lnTo>
                      <a:pt x="662" y="408"/>
                    </a:lnTo>
                    <a:lnTo>
                      <a:pt x="674" y="414"/>
                    </a:lnTo>
                    <a:lnTo>
                      <a:pt x="682" y="416"/>
                    </a:lnTo>
                    <a:lnTo>
                      <a:pt x="688" y="420"/>
                    </a:lnTo>
                    <a:lnTo>
                      <a:pt x="692" y="428"/>
                    </a:lnTo>
                    <a:lnTo>
                      <a:pt x="696" y="438"/>
                    </a:lnTo>
                    <a:lnTo>
                      <a:pt x="696" y="438"/>
                    </a:lnTo>
                    <a:lnTo>
                      <a:pt x="698" y="450"/>
                    </a:lnTo>
                    <a:lnTo>
                      <a:pt x="704" y="460"/>
                    </a:lnTo>
                    <a:lnTo>
                      <a:pt x="712" y="474"/>
                    </a:lnTo>
                    <a:lnTo>
                      <a:pt x="716" y="480"/>
                    </a:lnTo>
                    <a:lnTo>
                      <a:pt x="718" y="486"/>
                    </a:lnTo>
                    <a:lnTo>
                      <a:pt x="716" y="490"/>
                    </a:lnTo>
                    <a:lnTo>
                      <a:pt x="710" y="494"/>
                    </a:lnTo>
                    <a:lnTo>
                      <a:pt x="710" y="494"/>
                    </a:lnTo>
                    <a:lnTo>
                      <a:pt x="696" y="504"/>
                    </a:lnTo>
                    <a:lnTo>
                      <a:pt x="682" y="518"/>
                    </a:lnTo>
                    <a:lnTo>
                      <a:pt x="668" y="532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44" y="554"/>
                    </a:lnTo>
                    <a:lnTo>
                      <a:pt x="640" y="558"/>
                    </a:lnTo>
                    <a:lnTo>
                      <a:pt x="640" y="564"/>
                    </a:lnTo>
                    <a:lnTo>
                      <a:pt x="642" y="570"/>
                    </a:lnTo>
                    <a:lnTo>
                      <a:pt x="646" y="580"/>
                    </a:lnTo>
                    <a:lnTo>
                      <a:pt x="654" y="590"/>
                    </a:lnTo>
                    <a:lnTo>
                      <a:pt x="666" y="604"/>
                    </a:lnTo>
                    <a:lnTo>
                      <a:pt x="666" y="606"/>
                    </a:lnTo>
                    <a:lnTo>
                      <a:pt x="666" y="608"/>
                    </a:lnTo>
                    <a:lnTo>
                      <a:pt x="656" y="606"/>
                    </a:lnTo>
                    <a:lnTo>
                      <a:pt x="656" y="606"/>
                    </a:lnTo>
                    <a:lnTo>
                      <a:pt x="646" y="602"/>
                    </a:lnTo>
                    <a:lnTo>
                      <a:pt x="636" y="604"/>
                    </a:lnTo>
                    <a:lnTo>
                      <a:pt x="628" y="608"/>
                    </a:lnTo>
                    <a:lnTo>
                      <a:pt x="620" y="612"/>
                    </a:lnTo>
                    <a:lnTo>
                      <a:pt x="608" y="616"/>
                    </a:lnTo>
                    <a:lnTo>
                      <a:pt x="594" y="620"/>
                    </a:lnTo>
                    <a:lnTo>
                      <a:pt x="576" y="620"/>
                    </a:lnTo>
                    <a:lnTo>
                      <a:pt x="552" y="614"/>
                    </a:lnTo>
                    <a:lnTo>
                      <a:pt x="552" y="614"/>
                    </a:lnTo>
                    <a:lnTo>
                      <a:pt x="528" y="610"/>
                    </a:lnTo>
                    <a:lnTo>
                      <a:pt x="516" y="608"/>
                    </a:lnTo>
                    <a:lnTo>
                      <a:pt x="510" y="608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0" y="624"/>
                    </a:lnTo>
                    <a:lnTo>
                      <a:pt x="504" y="630"/>
                    </a:lnTo>
                    <a:lnTo>
                      <a:pt x="494" y="638"/>
                    </a:lnTo>
                    <a:lnTo>
                      <a:pt x="494" y="638"/>
                    </a:lnTo>
                    <a:lnTo>
                      <a:pt x="488" y="642"/>
                    </a:lnTo>
                    <a:lnTo>
                      <a:pt x="484" y="648"/>
                    </a:lnTo>
                    <a:lnTo>
                      <a:pt x="482" y="652"/>
                    </a:lnTo>
                    <a:lnTo>
                      <a:pt x="480" y="658"/>
                    </a:lnTo>
                    <a:lnTo>
                      <a:pt x="482" y="664"/>
                    </a:lnTo>
                    <a:lnTo>
                      <a:pt x="484" y="668"/>
                    </a:lnTo>
                    <a:lnTo>
                      <a:pt x="494" y="678"/>
                    </a:lnTo>
                    <a:lnTo>
                      <a:pt x="506" y="686"/>
                    </a:lnTo>
                    <a:lnTo>
                      <a:pt x="514" y="688"/>
                    </a:lnTo>
                    <a:lnTo>
                      <a:pt x="522" y="690"/>
                    </a:lnTo>
                    <a:lnTo>
                      <a:pt x="532" y="690"/>
                    </a:lnTo>
                    <a:lnTo>
                      <a:pt x="542" y="690"/>
                    </a:lnTo>
                    <a:lnTo>
                      <a:pt x="552" y="686"/>
                    </a:lnTo>
                    <a:lnTo>
                      <a:pt x="562" y="682"/>
                    </a:lnTo>
                    <a:lnTo>
                      <a:pt x="562" y="682"/>
                    </a:lnTo>
                    <a:lnTo>
                      <a:pt x="580" y="676"/>
                    </a:lnTo>
                    <a:lnTo>
                      <a:pt x="592" y="674"/>
                    </a:lnTo>
                    <a:lnTo>
                      <a:pt x="602" y="676"/>
                    </a:lnTo>
                    <a:lnTo>
                      <a:pt x="608" y="680"/>
                    </a:lnTo>
                    <a:lnTo>
                      <a:pt x="612" y="684"/>
                    </a:lnTo>
                    <a:lnTo>
                      <a:pt x="616" y="688"/>
                    </a:lnTo>
                    <a:lnTo>
                      <a:pt x="622" y="686"/>
                    </a:lnTo>
                    <a:lnTo>
                      <a:pt x="628" y="680"/>
                    </a:lnTo>
                    <a:lnTo>
                      <a:pt x="628" y="680"/>
                    </a:lnTo>
                    <a:lnTo>
                      <a:pt x="634" y="674"/>
                    </a:lnTo>
                    <a:lnTo>
                      <a:pt x="640" y="674"/>
                    </a:lnTo>
                    <a:lnTo>
                      <a:pt x="642" y="676"/>
                    </a:lnTo>
                    <a:lnTo>
                      <a:pt x="644" y="680"/>
                    </a:lnTo>
                    <a:lnTo>
                      <a:pt x="646" y="688"/>
                    </a:lnTo>
                    <a:lnTo>
                      <a:pt x="648" y="690"/>
                    </a:lnTo>
                    <a:lnTo>
                      <a:pt x="650" y="686"/>
                    </a:lnTo>
                    <a:lnTo>
                      <a:pt x="650" y="686"/>
                    </a:lnTo>
                    <a:lnTo>
                      <a:pt x="656" y="674"/>
                    </a:lnTo>
                    <a:lnTo>
                      <a:pt x="658" y="672"/>
                    </a:lnTo>
                    <a:lnTo>
                      <a:pt x="662" y="672"/>
                    </a:lnTo>
                    <a:lnTo>
                      <a:pt x="666" y="674"/>
                    </a:lnTo>
                    <a:lnTo>
                      <a:pt x="672" y="680"/>
                    </a:lnTo>
                    <a:lnTo>
                      <a:pt x="696" y="706"/>
                    </a:lnTo>
                    <a:lnTo>
                      <a:pt x="696" y="706"/>
                    </a:lnTo>
                    <a:lnTo>
                      <a:pt x="708" y="720"/>
                    </a:lnTo>
                    <a:lnTo>
                      <a:pt x="718" y="726"/>
                    </a:lnTo>
                    <a:lnTo>
                      <a:pt x="724" y="728"/>
                    </a:lnTo>
                    <a:lnTo>
                      <a:pt x="728" y="728"/>
                    </a:lnTo>
                    <a:lnTo>
                      <a:pt x="732" y="726"/>
                    </a:lnTo>
                    <a:lnTo>
                      <a:pt x="736" y="724"/>
                    </a:lnTo>
                    <a:lnTo>
                      <a:pt x="742" y="726"/>
                    </a:lnTo>
                    <a:lnTo>
                      <a:pt x="750" y="732"/>
                    </a:lnTo>
                    <a:lnTo>
                      <a:pt x="750" y="732"/>
                    </a:lnTo>
                    <a:lnTo>
                      <a:pt x="756" y="738"/>
                    </a:lnTo>
                    <a:lnTo>
                      <a:pt x="756" y="740"/>
                    </a:lnTo>
                    <a:lnTo>
                      <a:pt x="754" y="742"/>
                    </a:lnTo>
                    <a:lnTo>
                      <a:pt x="750" y="744"/>
                    </a:lnTo>
                    <a:lnTo>
                      <a:pt x="742" y="744"/>
                    </a:lnTo>
                    <a:lnTo>
                      <a:pt x="734" y="746"/>
                    </a:lnTo>
                    <a:lnTo>
                      <a:pt x="732" y="748"/>
                    </a:lnTo>
                    <a:lnTo>
                      <a:pt x="732" y="750"/>
                    </a:lnTo>
                    <a:lnTo>
                      <a:pt x="732" y="752"/>
                    </a:lnTo>
                    <a:lnTo>
                      <a:pt x="734" y="756"/>
                    </a:lnTo>
                    <a:lnTo>
                      <a:pt x="744" y="768"/>
                    </a:lnTo>
                    <a:lnTo>
                      <a:pt x="744" y="768"/>
                    </a:lnTo>
                    <a:lnTo>
                      <a:pt x="754" y="776"/>
                    </a:lnTo>
                    <a:lnTo>
                      <a:pt x="766" y="780"/>
                    </a:lnTo>
                    <a:lnTo>
                      <a:pt x="792" y="788"/>
                    </a:lnTo>
                    <a:lnTo>
                      <a:pt x="816" y="794"/>
                    </a:lnTo>
                    <a:lnTo>
                      <a:pt x="826" y="798"/>
                    </a:lnTo>
                    <a:lnTo>
                      <a:pt x="834" y="804"/>
                    </a:lnTo>
                    <a:lnTo>
                      <a:pt x="834" y="804"/>
                    </a:lnTo>
                    <a:lnTo>
                      <a:pt x="842" y="812"/>
                    </a:lnTo>
                    <a:lnTo>
                      <a:pt x="854" y="818"/>
                    </a:lnTo>
                    <a:lnTo>
                      <a:pt x="868" y="824"/>
                    </a:lnTo>
                    <a:lnTo>
                      <a:pt x="882" y="828"/>
                    </a:lnTo>
                    <a:lnTo>
                      <a:pt x="916" y="836"/>
                    </a:lnTo>
                    <a:lnTo>
                      <a:pt x="948" y="846"/>
                    </a:lnTo>
                    <a:lnTo>
                      <a:pt x="948" y="846"/>
                    </a:lnTo>
                    <a:lnTo>
                      <a:pt x="962" y="850"/>
                    </a:lnTo>
                    <a:lnTo>
                      <a:pt x="970" y="850"/>
                    </a:lnTo>
                    <a:lnTo>
                      <a:pt x="972" y="848"/>
                    </a:lnTo>
                    <a:lnTo>
                      <a:pt x="974" y="846"/>
                    </a:lnTo>
                    <a:lnTo>
                      <a:pt x="974" y="840"/>
                    </a:lnTo>
                    <a:lnTo>
                      <a:pt x="972" y="832"/>
                    </a:lnTo>
                    <a:lnTo>
                      <a:pt x="966" y="822"/>
                    </a:lnTo>
                    <a:lnTo>
                      <a:pt x="958" y="812"/>
                    </a:lnTo>
                    <a:lnTo>
                      <a:pt x="948" y="802"/>
                    </a:lnTo>
                    <a:lnTo>
                      <a:pt x="948" y="802"/>
                    </a:lnTo>
                    <a:lnTo>
                      <a:pt x="936" y="792"/>
                    </a:lnTo>
                    <a:lnTo>
                      <a:pt x="920" y="780"/>
                    </a:lnTo>
                    <a:lnTo>
                      <a:pt x="888" y="758"/>
                    </a:lnTo>
                    <a:lnTo>
                      <a:pt x="872" y="748"/>
                    </a:lnTo>
                    <a:lnTo>
                      <a:pt x="862" y="738"/>
                    </a:lnTo>
                    <a:lnTo>
                      <a:pt x="854" y="732"/>
                    </a:lnTo>
                    <a:lnTo>
                      <a:pt x="854" y="728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8" y="722"/>
                    </a:lnTo>
                    <a:lnTo>
                      <a:pt x="864" y="724"/>
                    </a:lnTo>
                    <a:lnTo>
                      <a:pt x="880" y="736"/>
                    </a:lnTo>
                    <a:lnTo>
                      <a:pt x="894" y="748"/>
                    </a:lnTo>
                    <a:lnTo>
                      <a:pt x="900" y="748"/>
                    </a:lnTo>
                    <a:lnTo>
                      <a:pt x="902" y="748"/>
                    </a:lnTo>
                    <a:lnTo>
                      <a:pt x="902" y="746"/>
                    </a:lnTo>
                    <a:lnTo>
                      <a:pt x="902" y="746"/>
                    </a:lnTo>
                    <a:lnTo>
                      <a:pt x="902" y="742"/>
                    </a:lnTo>
                    <a:lnTo>
                      <a:pt x="904" y="742"/>
                    </a:lnTo>
                    <a:lnTo>
                      <a:pt x="908" y="744"/>
                    </a:lnTo>
                    <a:lnTo>
                      <a:pt x="924" y="754"/>
                    </a:lnTo>
                    <a:lnTo>
                      <a:pt x="932" y="762"/>
                    </a:lnTo>
                    <a:lnTo>
                      <a:pt x="944" y="770"/>
                    </a:lnTo>
                    <a:lnTo>
                      <a:pt x="956" y="776"/>
                    </a:lnTo>
                    <a:lnTo>
                      <a:pt x="968" y="778"/>
                    </a:lnTo>
                    <a:lnTo>
                      <a:pt x="968" y="778"/>
                    </a:lnTo>
                    <a:lnTo>
                      <a:pt x="980" y="782"/>
                    </a:lnTo>
                    <a:lnTo>
                      <a:pt x="990" y="788"/>
                    </a:lnTo>
                    <a:lnTo>
                      <a:pt x="998" y="798"/>
                    </a:lnTo>
                    <a:lnTo>
                      <a:pt x="1004" y="806"/>
                    </a:lnTo>
                    <a:lnTo>
                      <a:pt x="1010" y="812"/>
                    </a:lnTo>
                    <a:lnTo>
                      <a:pt x="1012" y="814"/>
                    </a:lnTo>
                    <a:lnTo>
                      <a:pt x="1014" y="812"/>
                    </a:lnTo>
                    <a:lnTo>
                      <a:pt x="1012" y="802"/>
                    </a:lnTo>
                    <a:lnTo>
                      <a:pt x="1012" y="802"/>
                    </a:lnTo>
                    <a:lnTo>
                      <a:pt x="1012" y="792"/>
                    </a:lnTo>
                    <a:lnTo>
                      <a:pt x="1012" y="788"/>
                    </a:lnTo>
                    <a:lnTo>
                      <a:pt x="1014" y="788"/>
                    </a:lnTo>
                    <a:lnTo>
                      <a:pt x="1016" y="788"/>
                    </a:lnTo>
                    <a:lnTo>
                      <a:pt x="1018" y="788"/>
                    </a:lnTo>
                    <a:lnTo>
                      <a:pt x="1020" y="786"/>
                    </a:lnTo>
                    <a:lnTo>
                      <a:pt x="1020" y="780"/>
                    </a:lnTo>
                    <a:lnTo>
                      <a:pt x="1018" y="766"/>
                    </a:lnTo>
                    <a:lnTo>
                      <a:pt x="1018" y="766"/>
                    </a:lnTo>
                    <a:lnTo>
                      <a:pt x="1016" y="750"/>
                    </a:lnTo>
                    <a:lnTo>
                      <a:pt x="1018" y="752"/>
                    </a:lnTo>
                    <a:lnTo>
                      <a:pt x="1020" y="754"/>
                    </a:lnTo>
                    <a:lnTo>
                      <a:pt x="1022" y="758"/>
                    </a:lnTo>
                    <a:lnTo>
                      <a:pt x="1026" y="760"/>
                    </a:lnTo>
                    <a:lnTo>
                      <a:pt x="1028" y="756"/>
                    </a:lnTo>
                    <a:lnTo>
                      <a:pt x="1032" y="746"/>
                    </a:lnTo>
                    <a:lnTo>
                      <a:pt x="1032" y="746"/>
                    </a:lnTo>
                    <a:lnTo>
                      <a:pt x="1032" y="734"/>
                    </a:lnTo>
                    <a:lnTo>
                      <a:pt x="1030" y="728"/>
                    </a:lnTo>
                    <a:lnTo>
                      <a:pt x="1026" y="724"/>
                    </a:lnTo>
                    <a:lnTo>
                      <a:pt x="1022" y="724"/>
                    </a:lnTo>
                    <a:lnTo>
                      <a:pt x="1018" y="722"/>
                    </a:lnTo>
                    <a:lnTo>
                      <a:pt x="1014" y="722"/>
                    </a:lnTo>
                    <a:lnTo>
                      <a:pt x="1014" y="720"/>
                    </a:lnTo>
                    <a:lnTo>
                      <a:pt x="1018" y="714"/>
                    </a:lnTo>
                    <a:lnTo>
                      <a:pt x="1018" y="714"/>
                    </a:lnTo>
                    <a:lnTo>
                      <a:pt x="1022" y="708"/>
                    </a:lnTo>
                    <a:lnTo>
                      <a:pt x="1020" y="704"/>
                    </a:lnTo>
                    <a:lnTo>
                      <a:pt x="1016" y="702"/>
                    </a:lnTo>
                    <a:lnTo>
                      <a:pt x="1012" y="700"/>
                    </a:lnTo>
                    <a:lnTo>
                      <a:pt x="1006" y="700"/>
                    </a:lnTo>
                    <a:lnTo>
                      <a:pt x="1000" y="698"/>
                    </a:lnTo>
                    <a:lnTo>
                      <a:pt x="1000" y="694"/>
                    </a:lnTo>
                    <a:lnTo>
                      <a:pt x="1002" y="688"/>
                    </a:lnTo>
                    <a:lnTo>
                      <a:pt x="1002" y="688"/>
                    </a:lnTo>
                    <a:lnTo>
                      <a:pt x="1006" y="682"/>
                    </a:lnTo>
                    <a:lnTo>
                      <a:pt x="1010" y="676"/>
                    </a:lnTo>
                    <a:lnTo>
                      <a:pt x="1008" y="672"/>
                    </a:lnTo>
                    <a:lnTo>
                      <a:pt x="1006" y="668"/>
                    </a:lnTo>
                    <a:lnTo>
                      <a:pt x="1000" y="664"/>
                    </a:lnTo>
                    <a:lnTo>
                      <a:pt x="992" y="660"/>
                    </a:lnTo>
                    <a:lnTo>
                      <a:pt x="966" y="648"/>
                    </a:lnTo>
                    <a:lnTo>
                      <a:pt x="966" y="648"/>
                    </a:lnTo>
                    <a:lnTo>
                      <a:pt x="952" y="642"/>
                    </a:lnTo>
                    <a:lnTo>
                      <a:pt x="942" y="632"/>
                    </a:lnTo>
                    <a:lnTo>
                      <a:pt x="936" y="622"/>
                    </a:lnTo>
                    <a:lnTo>
                      <a:pt x="930" y="612"/>
                    </a:lnTo>
                    <a:lnTo>
                      <a:pt x="928" y="602"/>
                    </a:lnTo>
                    <a:lnTo>
                      <a:pt x="924" y="596"/>
                    </a:lnTo>
                    <a:lnTo>
                      <a:pt x="918" y="592"/>
                    </a:lnTo>
                    <a:lnTo>
                      <a:pt x="912" y="592"/>
                    </a:lnTo>
                    <a:lnTo>
                      <a:pt x="912" y="592"/>
                    </a:lnTo>
                    <a:lnTo>
                      <a:pt x="904" y="594"/>
                    </a:lnTo>
                    <a:lnTo>
                      <a:pt x="896" y="594"/>
                    </a:lnTo>
                    <a:lnTo>
                      <a:pt x="892" y="592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4" y="584"/>
                    </a:lnTo>
                    <a:lnTo>
                      <a:pt x="900" y="580"/>
                    </a:lnTo>
                    <a:lnTo>
                      <a:pt x="908" y="578"/>
                    </a:lnTo>
                    <a:lnTo>
                      <a:pt x="908" y="578"/>
                    </a:lnTo>
                    <a:lnTo>
                      <a:pt x="912" y="576"/>
                    </a:lnTo>
                    <a:lnTo>
                      <a:pt x="916" y="576"/>
                    </a:lnTo>
                    <a:lnTo>
                      <a:pt x="916" y="572"/>
                    </a:lnTo>
                    <a:lnTo>
                      <a:pt x="916" y="570"/>
                    </a:lnTo>
                    <a:lnTo>
                      <a:pt x="914" y="564"/>
                    </a:lnTo>
                    <a:lnTo>
                      <a:pt x="910" y="556"/>
                    </a:lnTo>
                    <a:lnTo>
                      <a:pt x="902" y="546"/>
                    </a:lnTo>
                    <a:lnTo>
                      <a:pt x="902" y="544"/>
                    </a:lnTo>
                    <a:lnTo>
                      <a:pt x="904" y="544"/>
                    </a:lnTo>
                    <a:lnTo>
                      <a:pt x="910" y="546"/>
                    </a:lnTo>
                    <a:lnTo>
                      <a:pt x="910" y="546"/>
                    </a:lnTo>
                    <a:lnTo>
                      <a:pt x="918" y="548"/>
                    </a:lnTo>
                    <a:lnTo>
                      <a:pt x="924" y="546"/>
                    </a:lnTo>
                    <a:lnTo>
                      <a:pt x="928" y="542"/>
                    </a:lnTo>
                    <a:lnTo>
                      <a:pt x="930" y="538"/>
                    </a:lnTo>
                    <a:lnTo>
                      <a:pt x="932" y="536"/>
                    </a:lnTo>
                    <a:lnTo>
                      <a:pt x="934" y="534"/>
                    </a:lnTo>
                    <a:lnTo>
                      <a:pt x="938" y="536"/>
                    </a:lnTo>
                    <a:lnTo>
                      <a:pt x="942" y="544"/>
                    </a:lnTo>
                    <a:lnTo>
                      <a:pt x="942" y="544"/>
                    </a:lnTo>
                    <a:lnTo>
                      <a:pt x="950" y="552"/>
                    </a:lnTo>
                    <a:lnTo>
                      <a:pt x="954" y="556"/>
                    </a:lnTo>
                    <a:lnTo>
                      <a:pt x="958" y="558"/>
                    </a:lnTo>
                    <a:lnTo>
                      <a:pt x="962" y="558"/>
                    </a:lnTo>
                    <a:lnTo>
                      <a:pt x="968" y="560"/>
                    </a:lnTo>
                    <a:lnTo>
                      <a:pt x="972" y="562"/>
                    </a:lnTo>
                    <a:lnTo>
                      <a:pt x="974" y="568"/>
                    </a:lnTo>
                    <a:lnTo>
                      <a:pt x="974" y="568"/>
                    </a:lnTo>
                    <a:lnTo>
                      <a:pt x="976" y="574"/>
                    </a:lnTo>
                    <a:lnTo>
                      <a:pt x="980" y="576"/>
                    </a:lnTo>
                    <a:lnTo>
                      <a:pt x="986" y="580"/>
                    </a:lnTo>
                    <a:lnTo>
                      <a:pt x="990" y="580"/>
                    </a:lnTo>
                    <a:lnTo>
                      <a:pt x="992" y="582"/>
                    </a:lnTo>
                    <a:lnTo>
                      <a:pt x="994" y="586"/>
                    </a:lnTo>
                    <a:lnTo>
                      <a:pt x="994" y="592"/>
                    </a:lnTo>
                    <a:lnTo>
                      <a:pt x="994" y="592"/>
                    </a:lnTo>
                    <a:lnTo>
                      <a:pt x="994" y="596"/>
                    </a:lnTo>
                    <a:lnTo>
                      <a:pt x="996" y="600"/>
                    </a:lnTo>
                    <a:lnTo>
                      <a:pt x="1008" y="614"/>
                    </a:lnTo>
                    <a:lnTo>
                      <a:pt x="1022" y="626"/>
                    </a:lnTo>
                    <a:lnTo>
                      <a:pt x="1040" y="638"/>
                    </a:lnTo>
                    <a:lnTo>
                      <a:pt x="1056" y="646"/>
                    </a:lnTo>
                    <a:lnTo>
                      <a:pt x="1064" y="648"/>
                    </a:lnTo>
                    <a:lnTo>
                      <a:pt x="1070" y="648"/>
                    </a:lnTo>
                    <a:lnTo>
                      <a:pt x="1074" y="646"/>
                    </a:lnTo>
                    <a:lnTo>
                      <a:pt x="1078" y="642"/>
                    </a:lnTo>
                    <a:lnTo>
                      <a:pt x="1080" y="636"/>
                    </a:lnTo>
                    <a:lnTo>
                      <a:pt x="1078" y="628"/>
                    </a:lnTo>
                    <a:lnTo>
                      <a:pt x="1078" y="628"/>
                    </a:lnTo>
                    <a:lnTo>
                      <a:pt x="1078" y="618"/>
                    </a:lnTo>
                    <a:lnTo>
                      <a:pt x="1078" y="612"/>
                    </a:lnTo>
                    <a:lnTo>
                      <a:pt x="1080" y="606"/>
                    </a:lnTo>
                    <a:lnTo>
                      <a:pt x="1082" y="602"/>
                    </a:lnTo>
                    <a:lnTo>
                      <a:pt x="1086" y="600"/>
                    </a:lnTo>
                    <a:lnTo>
                      <a:pt x="1092" y="598"/>
                    </a:lnTo>
                    <a:lnTo>
                      <a:pt x="1102" y="596"/>
                    </a:lnTo>
                    <a:lnTo>
                      <a:pt x="1118" y="598"/>
                    </a:lnTo>
                    <a:lnTo>
                      <a:pt x="1122" y="596"/>
                    </a:lnTo>
                    <a:lnTo>
                      <a:pt x="1122" y="596"/>
                    </a:lnTo>
                    <a:lnTo>
                      <a:pt x="1122" y="592"/>
                    </a:lnTo>
                    <a:lnTo>
                      <a:pt x="1122" y="588"/>
                    </a:lnTo>
                    <a:lnTo>
                      <a:pt x="1122" y="588"/>
                    </a:lnTo>
                    <a:lnTo>
                      <a:pt x="1118" y="582"/>
                    </a:lnTo>
                    <a:lnTo>
                      <a:pt x="1118" y="576"/>
                    </a:lnTo>
                    <a:lnTo>
                      <a:pt x="1120" y="574"/>
                    </a:lnTo>
                    <a:lnTo>
                      <a:pt x="1122" y="574"/>
                    </a:lnTo>
                    <a:lnTo>
                      <a:pt x="1128" y="570"/>
                    </a:lnTo>
                    <a:lnTo>
                      <a:pt x="1128" y="568"/>
                    </a:lnTo>
                    <a:lnTo>
                      <a:pt x="1126" y="564"/>
                    </a:lnTo>
                    <a:lnTo>
                      <a:pt x="1126" y="564"/>
                    </a:lnTo>
                    <a:lnTo>
                      <a:pt x="1126" y="560"/>
                    </a:lnTo>
                    <a:lnTo>
                      <a:pt x="1126" y="558"/>
                    </a:lnTo>
                    <a:lnTo>
                      <a:pt x="1130" y="554"/>
                    </a:lnTo>
                    <a:lnTo>
                      <a:pt x="1144" y="548"/>
                    </a:lnTo>
                    <a:lnTo>
                      <a:pt x="1150" y="544"/>
                    </a:lnTo>
                    <a:lnTo>
                      <a:pt x="1154" y="536"/>
                    </a:lnTo>
                    <a:lnTo>
                      <a:pt x="1156" y="532"/>
                    </a:lnTo>
                    <a:lnTo>
                      <a:pt x="1154" y="528"/>
                    </a:lnTo>
                    <a:lnTo>
                      <a:pt x="1148" y="514"/>
                    </a:lnTo>
                    <a:lnTo>
                      <a:pt x="1148" y="5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9" name="Freeform 6089">
                <a:extLst>
                  <a:ext uri="{FF2B5EF4-FFF2-40B4-BE49-F238E27FC236}">
                    <a16:creationId xmlns:a16="http://schemas.microsoft.com/office/drawing/2014/main" id="{C6341FA1-5287-472C-8831-D1670DC468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1770" y="1751013"/>
                <a:ext cx="20320" cy="1524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8" y="18"/>
                  </a:cxn>
                  <a:cxn ang="0">
                    <a:pos x="14" y="22"/>
                  </a:cxn>
                  <a:cxn ang="0">
                    <a:pos x="20" y="24"/>
                  </a:cxn>
                  <a:cxn ang="0">
                    <a:pos x="26" y="24"/>
                  </a:cxn>
                  <a:cxn ang="0">
                    <a:pos x="30" y="22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2" y="12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32" h="24">
                    <a:moveTo>
                      <a:pt x="6" y="0"/>
                    </a:move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8" y="18"/>
                    </a:lnTo>
                    <a:lnTo>
                      <a:pt x="14" y="22"/>
                    </a:lnTo>
                    <a:lnTo>
                      <a:pt x="20" y="24"/>
                    </a:lnTo>
                    <a:lnTo>
                      <a:pt x="26" y="24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2" y="12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90" name="Freeform 6091">
                <a:extLst>
                  <a:ext uri="{FF2B5EF4-FFF2-40B4-BE49-F238E27FC236}">
                    <a16:creationId xmlns:a16="http://schemas.microsoft.com/office/drawing/2014/main" id="{36C840B1-1AF1-42BD-A286-1C5981F528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6840" y="1799273"/>
                <a:ext cx="13970" cy="15240"/>
              </a:xfrm>
              <a:custGeom>
                <a:avLst/>
                <a:gdLst/>
                <a:ahLst/>
                <a:cxnLst>
                  <a:cxn ang="0">
                    <a:pos x="4" y="24"/>
                  </a:cxn>
                  <a:cxn ang="0">
                    <a:pos x="4" y="24"/>
                  </a:cxn>
                  <a:cxn ang="0">
                    <a:pos x="12" y="22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4" y="24"/>
                  </a:cxn>
                </a:cxnLst>
                <a:rect l="0" t="0" r="r" b="b"/>
                <a:pathLst>
                  <a:path w="22" h="24">
                    <a:moveTo>
                      <a:pt x="4" y="24"/>
                    </a:moveTo>
                    <a:lnTo>
                      <a:pt x="4" y="24"/>
                    </a:lnTo>
                    <a:lnTo>
                      <a:pt x="12" y="22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4" y="2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91" name="Freeform 6092">
                <a:extLst>
                  <a:ext uri="{FF2B5EF4-FFF2-40B4-BE49-F238E27FC236}">
                    <a16:creationId xmlns:a16="http://schemas.microsoft.com/office/drawing/2014/main" id="{EA5F7E7B-0205-4D9B-A035-B032474845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040" y="1724343"/>
                <a:ext cx="22860" cy="34290"/>
              </a:xfrm>
              <a:custGeom>
                <a:avLst/>
                <a:gdLst/>
                <a:ahLst/>
                <a:cxnLst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0"/>
                  </a:cxn>
                  <a:cxn ang="0">
                    <a:pos x="30" y="42"/>
                  </a:cxn>
                  <a:cxn ang="0">
                    <a:pos x="34" y="32"/>
                  </a:cxn>
                  <a:cxn ang="0">
                    <a:pos x="36" y="22"/>
                  </a:cxn>
                  <a:cxn ang="0">
                    <a:pos x="36" y="12"/>
                  </a:cxn>
                  <a:cxn ang="0">
                    <a:pos x="34" y="4"/>
                  </a:cxn>
                  <a:cxn ang="0">
                    <a:pos x="32" y="2"/>
                  </a:cxn>
                  <a:cxn ang="0">
                    <a:pos x="28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8" y="48"/>
                  </a:cxn>
                  <a:cxn ang="0">
                    <a:pos x="14" y="52"/>
                  </a:cxn>
                  <a:cxn ang="0">
                    <a:pos x="20" y="54"/>
                  </a:cxn>
                  <a:cxn ang="0">
                    <a:pos x="20" y="54"/>
                  </a:cxn>
                </a:cxnLst>
                <a:rect l="0" t="0" r="r" b="b"/>
                <a:pathLst>
                  <a:path w="36" h="54">
                    <a:moveTo>
                      <a:pt x="20" y="54"/>
                    </a:moveTo>
                    <a:lnTo>
                      <a:pt x="20" y="54"/>
                    </a:lnTo>
                    <a:lnTo>
                      <a:pt x="26" y="50"/>
                    </a:lnTo>
                    <a:lnTo>
                      <a:pt x="30" y="42"/>
                    </a:lnTo>
                    <a:lnTo>
                      <a:pt x="34" y="32"/>
                    </a:lnTo>
                    <a:lnTo>
                      <a:pt x="36" y="22"/>
                    </a:lnTo>
                    <a:lnTo>
                      <a:pt x="36" y="12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8" y="48"/>
                    </a:lnTo>
                    <a:lnTo>
                      <a:pt x="14" y="52"/>
                    </a:lnTo>
                    <a:lnTo>
                      <a:pt x="20" y="54"/>
                    </a:lnTo>
                    <a:lnTo>
                      <a:pt x="20" y="5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92" name="Freeform 6094">
                <a:extLst>
                  <a:ext uri="{FF2B5EF4-FFF2-40B4-BE49-F238E27FC236}">
                    <a16:creationId xmlns:a16="http://schemas.microsoft.com/office/drawing/2014/main" id="{7B95349F-4D13-497D-BB61-AC3D6AC924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8240" y="1463993"/>
                <a:ext cx="59690" cy="48260"/>
              </a:xfrm>
              <a:custGeom>
                <a:avLst/>
                <a:gdLst/>
                <a:ahLst/>
                <a:cxnLst>
                  <a:cxn ang="0">
                    <a:pos x="8" y="26"/>
                  </a:cxn>
                  <a:cxn ang="0">
                    <a:pos x="8" y="26"/>
                  </a:cxn>
                  <a:cxn ang="0">
                    <a:pos x="4" y="36"/>
                  </a:cxn>
                  <a:cxn ang="0">
                    <a:pos x="0" y="46"/>
                  </a:cxn>
                  <a:cxn ang="0">
                    <a:pos x="0" y="56"/>
                  </a:cxn>
                  <a:cxn ang="0">
                    <a:pos x="2" y="64"/>
                  </a:cxn>
                  <a:cxn ang="0">
                    <a:pos x="8" y="70"/>
                  </a:cxn>
                  <a:cxn ang="0">
                    <a:pos x="18" y="74"/>
                  </a:cxn>
                  <a:cxn ang="0">
                    <a:pos x="34" y="76"/>
                  </a:cxn>
                  <a:cxn ang="0">
                    <a:pos x="54" y="76"/>
                  </a:cxn>
                  <a:cxn ang="0">
                    <a:pos x="54" y="76"/>
                  </a:cxn>
                  <a:cxn ang="0">
                    <a:pos x="72" y="74"/>
                  </a:cxn>
                  <a:cxn ang="0">
                    <a:pos x="84" y="70"/>
                  </a:cxn>
                  <a:cxn ang="0">
                    <a:pos x="90" y="64"/>
                  </a:cxn>
                  <a:cxn ang="0">
                    <a:pos x="94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92" y="22"/>
                  </a:cxn>
                  <a:cxn ang="0">
                    <a:pos x="92" y="22"/>
                  </a:cxn>
                  <a:cxn ang="0">
                    <a:pos x="92" y="18"/>
                  </a:cxn>
                  <a:cxn ang="0">
                    <a:pos x="90" y="14"/>
                  </a:cxn>
                  <a:cxn ang="0">
                    <a:pos x="88" y="10"/>
                  </a:cxn>
                  <a:cxn ang="0">
                    <a:pos x="84" y="6"/>
                  </a:cxn>
                  <a:cxn ang="0">
                    <a:pos x="74" y="2"/>
                  </a:cxn>
                  <a:cxn ang="0">
                    <a:pos x="60" y="0"/>
                  </a:cxn>
                  <a:cxn ang="0">
                    <a:pos x="46" y="2"/>
                  </a:cxn>
                  <a:cxn ang="0">
                    <a:pos x="32" y="6"/>
                  </a:cxn>
                  <a:cxn ang="0">
                    <a:pos x="18" y="14"/>
                  </a:cxn>
                  <a:cxn ang="0">
                    <a:pos x="14" y="20"/>
                  </a:cxn>
                  <a:cxn ang="0">
                    <a:pos x="8" y="26"/>
                  </a:cxn>
                  <a:cxn ang="0">
                    <a:pos x="8" y="26"/>
                  </a:cxn>
                </a:cxnLst>
                <a:rect l="0" t="0" r="r" b="b"/>
                <a:pathLst>
                  <a:path w="94" h="76">
                    <a:moveTo>
                      <a:pt x="8" y="26"/>
                    </a:moveTo>
                    <a:lnTo>
                      <a:pt x="8" y="26"/>
                    </a:lnTo>
                    <a:lnTo>
                      <a:pt x="4" y="36"/>
                    </a:lnTo>
                    <a:lnTo>
                      <a:pt x="0" y="46"/>
                    </a:lnTo>
                    <a:lnTo>
                      <a:pt x="0" y="56"/>
                    </a:lnTo>
                    <a:lnTo>
                      <a:pt x="2" y="64"/>
                    </a:lnTo>
                    <a:lnTo>
                      <a:pt x="8" y="70"/>
                    </a:lnTo>
                    <a:lnTo>
                      <a:pt x="18" y="74"/>
                    </a:lnTo>
                    <a:lnTo>
                      <a:pt x="34" y="76"/>
                    </a:lnTo>
                    <a:lnTo>
                      <a:pt x="54" y="76"/>
                    </a:lnTo>
                    <a:lnTo>
                      <a:pt x="54" y="76"/>
                    </a:lnTo>
                    <a:lnTo>
                      <a:pt x="72" y="74"/>
                    </a:lnTo>
                    <a:lnTo>
                      <a:pt x="84" y="70"/>
                    </a:lnTo>
                    <a:lnTo>
                      <a:pt x="90" y="64"/>
                    </a:lnTo>
                    <a:lnTo>
                      <a:pt x="94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18"/>
                    </a:lnTo>
                    <a:lnTo>
                      <a:pt x="90" y="14"/>
                    </a:lnTo>
                    <a:lnTo>
                      <a:pt x="88" y="10"/>
                    </a:lnTo>
                    <a:lnTo>
                      <a:pt x="84" y="6"/>
                    </a:lnTo>
                    <a:lnTo>
                      <a:pt x="74" y="2"/>
                    </a:lnTo>
                    <a:lnTo>
                      <a:pt x="60" y="0"/>
                    </a:lnTo>
                    <a:lnTo>
                      <a:pt x="46" y="2"/>
                    </a:lnTo>
                    <a:lnTo>
                      <a:pt x="32" y="6"/>
                    </a:lnTo>
                    <a:lnTo>
                      <a:pt x="18" y="14"/>
                    </a:lnTo>
                    <a:lnTo>
                      <a:pt x="14" y="20"/>
                    </a:lnTo>
                    <a:lnTo>
                      <a:pt x="8" y="26"/>
                    </a:lnTo>
                    <a:lnTo>
                      <a:pt x="8" y="2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93" name="Freeform 6098">
                <a:extLst>
                  <a:ext uri="{FF2B5EF4-FFF2-40B4-BE49-F238E27FC236}">
                    <a16:creationId xmlns:a16="http://schemas.microsoft.com/office/drawing/2014/main" id="{C67EF565-4E41-45D8-B613-8F0932DA9B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8780" y="1211263"/>
                <a:ext cx="63500" cy="43180"/>
              </a:xfrm>
              <a:custGeom>
                <a:avLst/>
                <a:gdLst/>
                <a:ahLst/>
                <a:cxnLst>
                  <a:cxn ang="0">
                    <a:pos x="46" y="2"/>
                  </a:cxn>
                  <a:cxn ang="0">
                    <a:pos x="46" y="2"/>
                  </a:cxn>
                  <a:cxn ang="0">
                    <a:pos x="32" y="4"/>
                  </a:cxn>
                  <a:cxn ang="0">
                    <a:pos x="20" y="6"/>
                  </a:cxn>
                  <a:cxn ang="0">
                    <a:pos x="10" y="10"/>
                  </a:cxn>
                  <a:cxn ang="0">
                    <a:pos x="4" y="12"/>
                  </a:cxn>
                  <a:cxn ang="0">
                    <a:pos x="0" y="16"/>
                  </a:cxn>
                  <a:cxn ang="0">
                    <a:pos x="0" y="20"/>
                  </a:cxn>
                  <a:cxn ang="0">
                    <a:pos x="2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20" y="28"/>
                  </a:cxn>
                  <a:cxn ang="0">
                    <a:pos x="28" y="32"/>
                  </a:cxn>
                  <a:cxn ang="0">
                    <a:pos x="32" y="36"/>
                  </a:cxn>
                  <a:cxn ang="0">
                    <a:pos x="34" y="40"/>
                  </a:cxn>
                  <a:cxn ang="0">
                    <a:pos x="34" y="40"/>
                  </a:cxn>
                  <a:cxn ang="0">
                    <a:pos x="38" y="46"/>
                  </a:cxn>
                  <a:cxn ang="0">
                    <a:pos x="44" y="50"/>
                  </a:cxn>
                  <a:cxn ang="0">
                    <a:pos x="54" y="56"/>
                  </a:cxn>
                  <a:cxn ang="0">
                    <a:pos x="64" y="66"/>
                  </a:cxn>
                  <a:cxn ang="0">
                    <a:pos x="64" y="66"/>
                  </a:cxn>
                  <a:cxn ang="0">
                    <a:pos x="68" y="68"/>
                  </a:cxn>
                  <a:cxn ang="0">
                    <a:pos x="70" y="68"/>
                  </a:cxn>
                  <a:cxn ang="0">
                    <a:pos x="70" y="66"/>
                  </a:cxn>
                  <a:cxn ang="0">
                    <a:pos x="70" y="66"/>
                  </a:cxn>
                  <a:cxn ang="0">
                    <a:pos x="70" y="62"/>
                  </a:cxn>
                  <a:cxn ang="0">
                    <a:pos x="74" y="60"/>
                  </a:cxn>
                  <a:cxn ang="0">
                    <a:pos x="80" y="56"/>
                  </a:cxn>
                  <a:cxn ang="0">
                    <a:pos x="86" y="48"/>
                  </a:cxn>
                  <a:cxn ang="0">
                    <a:pos x="86" y="48"/>
                  </a:cxn>
                  <a:cxn ang="0">
                    <a:pos x="100" y="26"/>
                  </a:cxn>
                  <a:cxn ang="0">
                    <a:pos x="100" y="20"/>
                  </a:cxn>
                  <a:cxn ang="0">
                    <a:pos x="100" y="16"/>
                  </a:cxn>
                  <a:cxn ang="0">
                    <a:pos x="98" y="14"/>
                  </a:cxn>
                  <a:cxn ang="0">
                    <a:pos x="94" y="10"/>
                  </a:cxn>
                  <a:cxn ang="0">
                    <a:pos x="94" y="10"/>
                  </a:cxn>
                  <a:cxn ang="0">
                    <a:pos x="86" y="6"/>
                  </a:cxn>
                  <a:cxn ang="0">
                    <a:pos x="80" y="2"/>
                  </a:cxn>
                  <a:cxn ang="0">
                    <a:pos x="70" y="0"/>
                  </a:cxn>
                  <a:cxn ang="0">
                    <a:pos x="46" y="2"/>
                  </a:cxn>
                  <a:cxn ang="0">
                    <a:pos x="46" y="2"/>
                  </a:cxn>
                </a:cxnLst>
                <a:rect l="0" t="0" r="r" b="b"/>
                <a:pathLst>
                  <a:path w="100" h="68">
                    <a:moveTo>
                      <a:pt x="46" y="2"/>
                    </a:moveTo>
                    <a:lnTo>
                      <a:pt x="46" y="2"/>
                    </a:lnTo>
                    <a:lnTo>
                      <a:pt x="32" y="4"/>
                    </a:lnTo>
                    <a:lnTo>
                      <a:pt x="20" y="6"/>
                    </a:lnTo>
                    <a:lnTo>
                      <a:pt x="10" y="10"/>
                    </a:lnTo>
                    <a:lnTo>
                      <a:pt x="4" y="12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20" y="28"/>
                    </a:lnTo>
                    <a:lnTo>
                      <a:pt x="28" y="32"/>
                    </a:lnTo>
                    <a:lnTo>
                      <a:pt x="32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6"/>
                    </a:lnTo>
                    <a:lnTo>
                      <a:pt x="44" y="50"/>
                    </a:lnTo>
                    <a:lnTo>
                      <a:pt x="54" y="56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8" y="68"/>
                    </a:lnTo>
                    <a:lnTo>
                      <a:pt x="70" y="68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70" y="62"/>
                    </a:lnTo>
                    <a:lnTo>
                      <a:pt x="74" y="60"/>
                    </a:lnTo>
                    <a:lnTo>
                      <a:pt x="80" y="56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100" y="26"/>
                    </a:lnTo>
                    <a:lnTo>
                      <a:pt x="100" y="20"/>
                    </a:lnTo>
                    <a:lnTo>
                      <a:pt x="100" y="16"/>
                    </a:lnTo>
                    <a:lnTo>
                      <a:pt x="98" y="14"/>
                    </a:lnTo>
                    <a:lnTo>
                      <a:pt x="94" y="10"/>
                    </a:lnTo>
                    <a:lnTo>
                      <a:pt x="94" y="10"/>
                    </a:lnTo>
                    <a:lnTo>
                      <a:pt x="86" y="6"/>
                    </a:lnTo>
                    <a:lnTo>
                      <a:pt x="80" y="2"/>
                    </a:lnTo>
                    <a:lnTo>
                      <a:pt x="70" y="0"/>
                    </a:lnTo>
                    <a:lnTo>
                      <a:pt x="46" y="2"/>
                    </a:lnTo>
                    <a:lnTo>
                      <a:pt x="4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94" name="Freeform 6099">
                <a:extLst>
                  <a:ext uri="{FF2B5EF4-FFF2-40B4-BE49-F238E27FC236}">
                    <a16:creationId xmlns:a16="http://schemas.microsoft.com/office/drawing/2014/main" id="{D8F5482B-0123-4CEF-A9BA-11171F9B53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3550" y="1088073"/>
                <a:ext cx="48260" cy="10160"/>
              </a:xfrm>
              <a:custGeom>
                <a:avLst/>
                <a:gdLst/>
                <a:ahLst/>
                <a:cxnLst>
                  <a:cxn ang="0">
                    <a:pos x="76" y="2"/>
                  </a:cxn>
                  <a:cxn ang="0">
                    <a:pos x="76" y="2"/>
                  </a:cxn>
                  <a:cxn ang="0">
                    <a:pos x="68" y="0"/>
                  </a:cxn>
                  <a:cxn ang="0">
                    <a:pos x="56" y="0"/>
                  </a:cxn>
                  <a:cxn ang="0">
                    <a:pos x="30" y="2"/>
                  </a:cxn>
                  <a:cxn ang="0">
                    <a:pos x="16" y="6"/>
                  </a:cxn>
                  <a:cxn ang="0">
                    <a:pos x="6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8" y="16"/>
                  </a:cxn>
                  <a:cxn ang="0">
                    <a:pos x="20" y="16"/>
                  </a:cxn>
                  <a:cxn ang="0">
                    <a:pos x="48" y="14"/>
                  </a:cxn>
                  <a:cxn ang="0">
                    <a:pos x="70" y="8"/>
                  </a:cxn>
                  <a:cxn ang="0">
                    <a:pos x="76" y="4"/>
                  </a:cxn>
                  <a:cxn ang="0">
                    <a:pos x="76" y="2"/>
                  </a:cxn>
                  <a:cxn ang="0">
                    <a:pos x="76" y="2"/>
                  </a:cxn>
                  <a:cxn ang="0">
                    <a:pos x="76" y="2"/>
                  </a:cxn>
                </a:cxnLst>
                <a:rect l="0" t="0" r="r" b="b"/>
                <a:pathLst>
                  <a:path w="76" h="16">
                    <a:moveTo>
                      <a:pt x="76" y="2"/>
                    </a:moveTo>
                    <a:lnTo>
                      <a:pt x="76" y="2"/>
                    </a:lnTo>
                    <a:lnTo>
                      <a:pt x="68" y="0"/>
                    </a:lnTo>
                    <a:lnTo>
                      <a:pt x="56" y="0"/>
                    </a:lnTo>
                    <a:lnTo>
                      <a:pt x="30" y="2"/>
                    </a:lnTo>
                    <a:lnTo>
                      <a:pt x="16" y="6"/>
                    </a:lnTo>
                    <a:lnTo>
                      <a:pt x="6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16"/>
                    </a:lnTo>
                    <a:lnTo>
                      <a:pt x="20" y="16"/>
                    </a:lnTo>
                    <a:lnTo>
                      <a:pt x="48" y="14"/>
                    </a:lnTo>
                    <a:lnTo>
                      <a:pt x="70" y="8"/>
                    </a:lnTo>
                    <a:lnTo>
                      <a:pt x="76" y="4"/>
                    </a:lnTo>
                    <a:lnTo>
                      <a:pt x="76" y="2"/>
                    </a:lnTo>
                    <a:lnTo>
                      <a:pt x="76" y="2"/>
                    </a:lnTo>
                    <a:lnTo>
                      <a:pt x="7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95" name="Freeform 6100">
                <a:extLst>
                  <a:ext uri="{FF2B5EF4-FFF2-40B4-BE49-F238E27FC236}">
                    <a16:creationId xmlns:a16="http://schemas.microsoft.com/office/drawing/2014/main" id="{F448EF0F-A902-4AE4-A9EA-070B488702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3390" y="1129983"/>
                <a:ext cx="30480" cy="2032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0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8" y="30"/>
                  </a:cxn>
                  <a:cxn ang="0">
                    <a:pos x="16" y="32"/>
                  </a:cxn>
                  <a:cxn ang="0">
                    <a:pos x="26" y="32"/>
                  </a:cxn>
                  <a:cxn ang="0">
                    <a:pos x="34" y="30"/>
                  </a:cxn>
                  <a:cxn ang="0">
                    <a:pos x="42" y="28"/>
                  </a:cxn>
                  <a:cxn ang="0">
                    <a:pos x="46" y="22"/>
                  </a:cxn>
                  <a:cxn ang="0">
                    <a:pos x="48" y="20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20"/>
                  </a:cxn>
                  <a:cxn ang="0">
                    <a:pos x="0" y="20"/>
                  </a:cxn>
                </a:cxnLst>
                <a:rect l="0" t="0" r="r" b="b"/>
                <a:pathLst>
                  <a:path w="48" h="32">
                    <a:moveTo>
                      <a:pt x="0" y="20"/>
                    </a:moveTo>
                    <a:lnTo>
                      <a:pt x="0" y="20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8" y="30"/>
                    </a:lnTo>
                    <a:lnTo>
                      <a:pt x="16" y="32"/>
                    </a:lnTo>
                    <a:lnTo>
                      <a:pt x="26" y="32"/>
                    </a:lnTo>
                    <a:lnTo>
                      <a:pt x="34" y="30"/>
                    </a:lnTo>
                    <a:lnTo>
                      <a:pt x="42" y="28"/>
                    </a:lnTo>
                    <a:lnTo>
                      <a:pt x="46" y="22"/>
                    </a:lnTo>
                    <a:lnTo>
                      <a:pt x="48" y="20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96" name="Freeform 6101">
                <a:extLst>
                  <a:ext uri="{FF2B5EF4-FFF2-40B4-BE49-F238E27FC236}">
                    <a16:creationId xmlns:a16="http://schemas.microsoft.com/office/drawing/2014/main" id="{7D5AC14E-FB41-47C8-8AB6-591071F3BD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8470" y="1065213"/>
                <a:ext cx="44450" cy="21590"/>
              </a:xfrm>
              <a:custGeom>
                <a:avLst/>
                <a:gdLst/>
                <a:ahLst/>
                <a:cxnLst>
                  <a:cxn ang="0">
                    <a:pos x="62" y="18"/>
                  </a:cxn>
                  <a:cxn ang="0">
                    <a:pos x="62" y="18"/>
                  </a:cxn>
                  <a:cxn ang="0">
                    <a:pos x="52" y="16"/>
                  </a:cxn>
                  <a:cxn ang="0">
                    <a:pos x="44" y="14"/>
                  </a:cxn>
                  <a:cxn ang="0">
                    <a:pos x="34" y="6"/>
                  </a:cxn>
                  <a:cxn ang="0">
                    <a:pos x="30" y="2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26" y="34"/>
                  </a:cxn>
                  <a:cxn ang="0">
                    <a:pos x="40" y="32"/>
                  </a:cxn>
                  <a:cxn ang="0">
                    <a:pos x="52" y="30"/>
                  </a:cxn>
                  <a:cxn ang="0">
                    <a:pos x="62" y="28"/>
                  </a:cxn>
                  <a:cxn ang="0">
                    <a:pos x="68" y="24"/>
                  </a:cxn>
                  <a:cxn ang="0">
                    <a:pos x="70" y="22"/>
                  </a:cxn>
                  <a:cxn ang="0">
                    <a:pos x="70" y="20"/>
                  </a:cxn>
                  <a:cxn ang="0">
                    <a:pos x="62" y="18"/>
                  </a:cxn>
                  <a:cxn ang="0">
                    <a:pos x="62" y="18"/>
                  </a:cxn>
                </a:cxnLst>
                <a:rect l="0" t="0" r="r" b="b"/>
                <a:pathLst>
                  <a:path w="70" h="34">
                    <a:moveTo>
                      <a:pt x="62" y="18"/>
                    </a:moveTo>
                    <a:lnTo>
                      <a:pt x="62" y="18"/>
                    </a:lnTo>
                    <a:lnTo>
                      <a:pt x="52" y="16"/>
                    </a:lnTo>
                    <a:lnTo>
                      <a:pt x="44" y="14"/>
                    </a:lnTo>
                    <a:lnTo>
                      <a:pt x="34" y="6"/>
                    </a:lnTo>
                    <a:lnTo>
                      <a:pt x="30" y="2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26" y="34"/>
                    </a:lnTo>
                    <a:lnTo>
                      <a:pt x="40" y="32"/>
                    </a:lnTo>
                    <a:lnTo>
                      <a:pt x="52" y="30"/>
                    </a:lnTo>
                    <a:lnTo>
                      <a:pt x="62" y="28"/>
                    </a:lnTo>
                    <a:lnTo>
                      <a:pt x="68" y="24"/>
                    </a:lnTo>
                    <a:lnTo>
                      <a:pt x="70" y="22"/>
                    </a:lnTo>
                    <a:lnTo>
                      <a:pt x="70" y="20"/>
                    </a:lnTo>
                    <a:lnTo>
                      <a:pt x="62" y="18"/>
                    </a:lnTo>
                    <a:lnTo>
                      <a:pt x="6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97" name="Freeform 6102">
                <a:extLst>
                  <a:ext uri="{FF2B5EF4-FFF2-40B4-BE49-F238E27FC236}">
                    <a16:creationId xmlns:a16="http://schemas.microsoft.com/office/drawing/2014/main" id="{736417BA-246F-4AFC-A809-DB9A617529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2780" y="1048703"/>
                <a:ext cx="449580" cy="129540"/>
              </a:xfrm>
              <a:custGeom>
                <a:avLst/>
                <a:gdLst/>
                <a:ahLst/>
                <a:cxnLst>
                  <a:cxn ang="0">
                    <a:pos x="342" y="198"/>
                  </a:cxn>
                  <a:cxn ang="0">
                    <a:pos x="406" y="202"/>
                  </a:cxn>
                  <a:cxn ang="0">
                    <a:pos x="530" y="198"/>
                  </a:cxn>
                  <a:cxn ang="0">
                    <a:pos x="560" y="176"/>
                  </a:cxn>
                  <a:cxn ang="0">
                    <a:pos x="566" y="188"/>
                  </a:cxn>
                  <a:cxn ang="0">
                    <a:pos x="624" y="200"/>
                  </a:cxn>
                  <a:cxn ang="0">
                    <a:pos x="680" y="190"/>
                  </a:cxn>
                  <a:cxn ang="0">
                    <a:pos x="688" y="174"/>
                  </a:cxn>
                  <a:cxn ang="0">
                    <a:pos x="708" y="168"/>
                  </a:cxn>
                  <a:cxn ang="0">
                    <a:pos x="694" y="158"/>
                  </a:cxn>
                  <a:cxn ang="0">
                    <a:pos x="700" y="144"/>
                  </a:cxn>
                  <a:cxn ang="0">
                    <a:pos x="700" y="126"/>
                  </a:cxn>
                  <a:cxn ang="0">
                    <a:pos x="672" y="110"/>
                  </a:cxn>
                  <a:cxn ang="0">
                    <a:pos x="642" y="104"/>
                  </a:cxn>
                  <a:cxn ang="0">
                    <a:pos x="600" y="96"/>
                  </a:cxn>
                  <a:cxn ang="0">
                    <a:pos x="480" y="110"/>
                  </a:cxn>
                  <a:cxn ang="0">
                    <a:pos x="442" y="126"/>
                  </a:cxn>
                  <a:cxn ang="0">
                    <a:pos x="416" y="122"/>
                  </a:cxn>
                  <a:cxn ang="0">
                    <a:pos x="374" y="120"/>
                  </a:cxn>
                  <a:cxn ang="0">
                    <a:pos x="346" y="114"/>
                  </a:cxn>
                  <a:cxn ang="0">
                    <a:pos x="330" y="110"/>
                  </a:cxn>
                  <a:cxn ang="0">
                    <a:pos x="324" y="124"/>
                  </a:cxn>
                  <a:cxn ang="0">
                    <a:pos x="310" y="116"/>
                  </a:cxn>
                  <a:cxn ang="0">
                    <a:pos x="310" y="102"/>
                  </a:cxn>
                  <a:cxn ang="0">
                    <a:pos x="294" y="84"/>
                  </a:cxn>
                  <a:cxn ang="0">
                    <a:pos x="268" y="84"/>
                  </a:cxn>
                  <a:cxn ang="0">
                    <a:pos x="262" y="76"/>
                  </a:cxn>
                  <a:cxn ang="0">
                    <a:pos x="308" y="74"/>
                  </a:cxn>
                  <a:cxn ang="0">
                    <a:pos x="316" y="66"/>
                  </a:cxn>
                  <a:cxn ang="0">
                    <a:pos x="278" y="52"/>
                  </a:cxn>
                  <a:cxn ang="0">
                    <a:pos x="240" y="34"/>
                  </a:cxn>
                  <a:cxn ang="0">
                    <a:pos x="182" y="36"/>
                  </a:cxn>
                  <a:cxn ang="0">
                    <a:pos x="154" y="30"/>
                  </a:cxn>
                  <a:cxn ang="0">
                    <a:pos x="124" y="10"/>
                  </a:cxn>
                  <a:cxn ang="0">
                    <a:pos x="78" y="6"/>
                  </a:cxn>
                  <a:cxn ang="0">
                    <a:pos x="10" y="0"/>
                  </a:cxn>
                  <a:cxn ang="0">
                    <a:pos x="2" y="12"/>
                  </a:cxn>
                  <a:cxn ang="0">
                    <a:pos x="18" y="32"/>
                  </a:cxn>
                  <a:cxn ang="0">
                    <a:pos x="58" y="52"/>
                  </a:cxn>
                  <a:cxn ang="0">
                    <a:pos x="66" y="66"/>
                  </a:cxn>
                  <a:cxn ang="0">
                    <a:pos x="112" y="66"/>
                  </a:cxn>
                  <a:cxn ang="0">
                    <a:pos x="160" y="60"/>
                  </a:cxn>
                  <a:cxn ang="0">
                    <a:pos x="186" y="84"/>
                  </a:cxn>
                  <a:cxn ang="0">
                    <a:pos x="202" y="98"/>
                  </a:cxn>
                  <a:cxn ang="0">
                    <a:pos x="194" y="120"/>
                  </a:cxn>
                  <a:cxn ang="0">
                    <a:pos x="186" y="142"/>
                  </a:cxn>
                  <a:cxn ang="0">
                    <a:pos x="198" y="154"/>
                  </a:cxn>
                  <a:cxn ang="0">
                    <a:pos x="206" y="182"/>
                  </a:cxn>
                  <a:cxn ang="0">
                    <a:pos x="232" y="190"/>
                  </a:cxn>
                  <a:cxn ang="0">
                    <a:pos x="250" y="186"/>
                  </a:cxn>
                  <a:cxn ang="0">
                    <a:pos x="282" y="198"/>
                  </a:cxn>
                  <a:cxn ang="0">
                    <a:pos x="326" y="188"/>
                  </a:cxn>
                  <a:cxn ang="0">
                    <a:pos x="342" y="188"/>
                  </a:cxn>
                </a:cxnLst>
                <a:rect l="0" t="0" r="r" b="b"/>
                <a:pathLst>
                  <a:path w="708" h="204">
                    <a:moveTo>
                      <a:pt x="342" y="188"/>
                    </a:moveTo>
                    <a:lnTo>
                      <a:pt x="342" y="188"/>
                    </a:lnTo>
                    <a:lnTo>
                      <a:pt x="342" y="196"/>
                    </a:lnTo>
                    <a:lnTo>
                      <a:pt x="342" y="198"/>
                    </a:lnTo>
                    <a:lnTo>
                      <a:pt x="344" y="200"/>
                    </a:lnTo>
                    <a:lnTo>
                      <a:pt x="352" y="202"/>
                    </a:lnTo>
                    <a:lnTo>
                      <a:pt x="364" y="204"/>
                    </a:lnTo>
                    <a:lnTo>
                      <a:pt x="406" y="202"/>
                    </a:lnTo>
                    <a:lnTo>
                      <a:pt x="472" y="202"/>
                    </a:lnTo>
                    <a:lnTo>
                      <a:pt x="472" y="202"/>
                    </a:lnTo>
                    <a:lnTo>
                      <a:pt x="506" y="202"/>
                    </a:lnTo>
                    <a:lnTo>
                      <a:pt x="530" y="198"/>
                    </a:lnTo>
                    <a:lnTo>
                      <a:pt x="546" y="192"/>
                    </a:lnTo>
                    <a:lnTo>
                      <a:pt x="554" y="186"/>
                    </a:lnTo>
                    <a:lnTo>
                      <a:pt x="558" y="180"/>
                    </a:lnTo>
                    <a:lnTo>
                      <a:pt x="560" y="176"/>
                    </a:lnTo>
                    <a:lnTo>
                      <a:pt x="562" y="178"/>
                    </a:lnTo>
                    <a:lnTo>
                      <a:pt x="562" y="184"/>
                    </a:lnTo>
                    <a:lnTo>
                      <a:pt x="562" y="184"/>
                    </a:lnTo>
                    <a:lnTo>
                      <a:pt x="566" y="188"/>
                    </a:lnTo>
                    <a:lnTo>
                      <a:pt x="570" y="190"/>
                    </a:lnTo>
                    <a:lnTo>
                      <a:pt x="584" y="196"/>
                    </a:lnTo>
                    <a:lnTo>
                      <a:pt x="604" y="200"/>
                    </a:lnTo>
                    <a:lnTo>
                      <a:pt x="624" y="200"/>
                    </a:lnTo>
                    <a:lnTo>
                      <a:pt x="646" y="200"/>
                    </a:lnTo>
                    <a:lnTo>
                      <a:pt x="664" y="198"/>
                    </a:lnTo>
                    <a:lnTo>
                      <a:pt x="676" y="192"/>
                    </a:lnTo>
                    <a:lnTo>
                      <a:pt x="680" y="190"/>
                    </a:lnTo>
                    <a:lnTo>
                      <a:pt x="682" y="186"/>
                    </a:lnTo>
                    <a:lnTo>
                      <a:pt x="682" y="186"/>
                    </a:lnTo>
                    <a:lnTo>
                      <a:pt x="684" y="178"/>
                    </a:lnTo>
                    <a:lnTo>
                      <a:pt x="688" y="174"/>
                    </a:lnTo>
                    <a:lnTo>
                      <a:pt x="694" y="172"/>
                    </a:lnTo>
                    <a:lnTo>
                      <a:pt x="700" y="170"/>
                    </a:lnTo>
                    <a:lnTo>
                      <a:pt x="706" y="168"/>
                    </a:lnTo>
                    <a:lnTo>
                      <a:pt x="708" y="168"/>
                    </a:lnTo>
                    <a:lnTo>
                      <a:pt x="708" y="166"/>
                    </a:lnTo>
                    <a:lnTo>
                      <a:pt x="700" y="162"/>
                    </a:lnTo>
                    <a:lnTo>
                      <a:pt x="700" y="162"/>
                    </a:lnTo>
                    <a:lnTo>
                      <a:pt x="694" y="158"/>
                    </a:lnTo>
                    <a:lnTo>
                      <a:pt x="690" y="154"/>
                    </a:lnTo>
                    <a:lnTo>
                      <a:pt x="692" y="152"/>
                    </a:lnTo>
                    <a:lnTo>
                      <a:pt x="696" y="148"/>
                    </a:lnTo>
                    <a:lnTo>
                      <a:pt x="700" y="144"/>
                    </a:lnTo>
                    <a:lnTo>
                      <a:pt x="702" y="140"/>
                    </a:lnTo>
                    <a:lnTo>
                      <a:pt x="704" y="134"/>
                    </a:lnTo>
                    <a:lnTo>
                      <a:pt x="700" y="126"/>
                    </a:lnTo>
                    <a:lnTo>
                      <a:pt x="700" y="126"/>
                    </a:lnTo>
                    <a:lnTo>
                      <a:pt x="694" y="118"/>
                    </a:lnTo>
                    <a:lnTo>
                      <a:pt x="688" y="114"/>
                    </a:lnTo>
                    <a:lnTo>
                      <a:pt x="680" y="112"/>
                    </a:lnTo>
                    <a:lnTo>
                      <a:pt x="672" y="110"/>
                    </a:lnTo>
                    <a:lnTo>
                      <a:pt x="654" y="110"/>
                    </a:lnTo>
                    <a:lnTo>
                      <a:pt x="648" y="108"/>
                    </a:lnTo>
                    <a:lnTo>
                      <a:pt x="642" y="104"/>
                    </a:lnTo>
                    <a:lnTo>
                      <a:pt x="642" y="104"/>
                    </a:lnTo>
                    <a:lnTo>
                      <a:pt x="636" y="98"/>
                    </a:lnTo>
                    <a:lnTo>
                      <a:pt x="626" y="96"/>
                    </a:lnTo>
                    <a:lnTo>
                      <a:pt x="614" y="94"/>
                    </a:lnTo>
                    <a:lnTo>
                      <a:pt x="600" y="96"/>
                    </a:lnTo>
                    <a:lnTo>
                      <a:pt x="560" y="98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480" y="110"/>
                    </a:lnTo>
                    <a:lnTo>
                      <a:pt x="464" y="114"/>
                    </a:lnTo>
                    <a:lnTo>
                      <a:pt x="454" y="120"/>
                    </a:lnTo>
                    <a:lnTo>
                      <a:pt x="446" y="124"/>
                    </a:lnTo>
                    <a:lnTo>
                      <a:pt x="442" y="126"/>
                    </a:lnTo>
                    <a:lnTo>
                      <a:pt x="438" y="128"/>
                    </a:lnTo>
                    <a:lnTo>
                      <a:pt x="430" y="126"/>
                    </a:lnTo>
                    <a:lnTo>
                      <a:pt x="416" y="122"/>
                    </a:lnTo>
                    <a:lnTo>
                      <a:pt x="416" y="122"/>
                    </a:lnTo>
                    <a:lnTo>
                      <a:pt x="402" y="118"/>
                    </a:lnTo>
                    <a:lnTo>
                      <a:pt x="390" y="118"/>
                    </a:lnTo>
                    <a:lnTo>
                      <a:pt x="382" y="118"/>
                    </a:lnTo>
                    <a:lnTo>
                      <a:pt x="374" y="120"/>
                    </a:lnTo>
                    <a:lnTo>
                      <a:pt x="368" y="122"/>
                    </a:lnTo>
                    <a:lnTo>
                      <a:pt x="362" y="122"/>
                    </a:lnTo>
                    <a:lnTo>
                      <a:pt x="354" y="120"/>
                    </a:lnTo>
                    <a:lnTo>
                      <a:pt x="346" y="114"/>
                    </a:lnTo>
                    <a:lnTo>
                      <a:pt x="346" y="114"/>
                    </a:lnTo>
                    <a:lnTo>
                      <a:pt x="338" y="110"/>
                    </a:lnTo>
                    <a:lnTo>
                      <a:pt x="332" y="108"/>
                    </a:lnTo>
                    <a:lnTo>
                      <a:pt x="330" y="110"/>
                    </a:lnTo>
                    <a:lnTo>
                      <a:pt x="328" y="114"/>
                    </a:lnTo>
                    <a:lnTo>
                      <a:pt x="328" y="118"/>
                    </a:lnTo>
                    <a:lnTo>
                      <a:pt x="326" y="122"/>
                    </a:lnTo>
                    <a:lnTo>
                      <a:pt x="324" y="124"/>
                    </a:lnTo>
                    <a:lnTo>
                      <a:pt x="318" y="122"/>
                    </a:lnTo>
                    <a:lnTo>
                      <a:pt x="318" y="122"/>
                    </a:lnTo>
                    <a:lnTo>
                      <a:pt x="312" y="118"/>
                    </a:lnTo>
                    <a:lnTo>
                      <a:pt x="310" y="116"/>
                    </a:lnTo>
                    <a:lnTo>
                      <a:pt x="310" y="112"/>
                    </a:lnTo>
                    <a:lnTo>
                      <a:pt x="310" y="110"/>
                    </a:lnTo>
                    <a:lnTo>
                      <a:pt x="312" y="106"/>
                    </a:lnTo>
                    <a:lnTo>
                      <a:pt x="310" y="102"/>
                    </a:lnTo>
                    <a:lnTo>
                      <a:pt x="308" y="96"/>
                    </a:lnTo>
                    <a:lnTo>
                      <a:pt x="300" y="90"/>
                    </a:lnTo>
                    <a:lnTo>
                      <a:pt x="300" y="90"/>
                    </a:lnTo>
                    <a:lnTo>
                      <a:pt x="294" y="84"/>
                    </a:lnTo>
                    <a:lnTo>
                      <a:pt x="286" y="82"/>
                    </a:lnTo>
                    <a:lnTo>
                      <a:pt x="280" y="82"/>
                    </a:lnTo>
                    <a:lnTo>
                      <a:pt x="276" y="82"/>
                    </a:lnTo>
                    <a:lnTo>
                      <a:pt x="268" y="84"/>
                    </a:lnTo>
                    <a:lnTo>
                      <a:pt x="266" y="82"/>
                    </a:lnTo>
                    <a:lnTo>
                      <a:pt x="264" y="78"/>
                    </a:lnTo>
                    <a:lnTo>
                      <a:pt x="264" y="78"/>
                    </a:lnTo>
                    <a:lnTo>
                      <a:pt x="262" y="76"/>
                    </a:lnTo>
                    <a:lnTo>
                      <a:pt x="264" y="74"/>
                    </a:lnTo>
                    <a:lnTo>
                      <a:pt x="270" y="72"/>
                    </a:lnTo>
                    <a:lnTo>
                      <a:pt x="290" y="72"/>
                    </a:lnTo>
                    <a:lnTo>
                      <a:pt x="308" y="74"/>
                    </a:lnTo>
                    <a:lnTo>
                      <a:pt x="314" y="72"/>
                    </a:lnTo>
                    <a:lnTo>
                      <a:pt x="316" y="70"/>
                    </a:lnTo>
                    <a:lnTo>
                      <a:pt x="316" y="66"/>
                    </a:lnTo>
                    <a:lnTo>
                      <a:pt x="316" y="66"/>
                    </a:lnTo>
                    <a:lnTo>
                      <a:pt x="314" y="62"/>
                    </a:lnTo>
                    <a:lnTo>
                      <a:pt x="308" y="58"/>
                    </a:lnTo>
                    <a:lnTo>
                      <a:pt x="296" y="56"/>
                    </a:lnTo>
                    <a:lnTo>
                      <a:pt x="278" y="52"/>
                    </a:lnTo>
                    <a:lnTo>
                      <a:pt x="268" y="48"/>
                    </a:lnTo>
                    <a:lnTo>
                      <a:pt x="258" y="44"/>
                    </a:lnTo>
                    <a:lnTo>
                      <a:pt x="258" y="44"/>
                    </a:lnTo>
                    <a:lnTo>
                      <a:pt x="240" y="34"/>
                    </a:lnTo>
                    <a:lnTo>
                      <a:pt x="232" y="32"/>
                    </a:lnTo>
                    <a:lnTo>
                      <a:pt x="224" y="30"/>
                    </a:lnTo>
                    <a:lnTo>
                      <a:pt x="204" y="32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70" y="36"/>
                    </a:lnTo>
                    <a:lnTo>
                      <a:pt x="162" y="34"/>
                    </a:lnTo>
                    <a:lnTo>
                      <a:pt x="154" y="30"/>
                    </a:lnTo>
                    <a:lnTo>
                      <a:pt x="148" y="24"/>
                    </a:lnTo>
                    <a:lnTo>
                      <a:pt x="136" y="14"/>
                    </a:lnTo>
                    <a:lnTo>
                      <a:pt x="130" y="10"/>
                    </a:lnTo>
                    <a:lnTo>
                      <a:pt x="124" y="10"/>
                    </a:lnTo>
                    <a:lnTo>
                      <a:pt x="124" y="10"/>
                    </a:lnTo>
                    <a:lnTo>
                      <a:pt x="114" y="10"/>
                    </a:lnTo>
                    <a:lnTo>
                      <a:pt x="104" y="10"/>
                    </a:lnTo>
                    <a:lnTo>
                      <a:pt x="78" y="6"/>
                    </a:lnTo>
                    <a:lnTo>
                      <a:pt x="4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0" y="24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26" y="38"/>
                    </a:lnTo>
                    <a:lnTo>
                      <a:pt x="36" y="42"/>
                    </a:lnTo>
                    <a:lnTo>
                      <a:pt x="50" y="48"/>
                    </a:lnTo>
                    <a:lnTo>
                      <a:pt x="58" y="52"/>
                    </a:lnTo>
                    <a:lnTo>
                      <a:pt x="62" y="56"/>
                    </a:lnTo>
                    <a:lnTo>
                      <a:pt x="62" y="60"/>
                    </a:lnTo>
                    <a:lnTo>
                      <a:pt x="62" y="60"/>
                    </a:lnTo>
                    <a:lnTo>
                      <a:pt x="66" y="66"/>
                    </a:lnTo>
                    <a:lnTo>
                      <a:pt x="70" y="68"/>
                    </a:lnTo>
                    <a:lnTo>
                      <a:pt x="78" y="70"/>
                    </a:lnTo>
                    <a:lnTo>
                      <a:pt x="88" y="70"/>
                    </a:lnTo>
                    <a:lnTo>
                      <a:pt x="112" y="66"/>
                    </a:lnTo>
                    <a:lnTo>
                      <a:pt x="138" y="60"/>
                    </a:lnTo>
                    <a:lnTo>
                      <a:pt x="138" y="60"/>
                    </a:lnTo>
                    <a:lnTo>
                      <a:pt x="150" y="60"/>
                    </a:lnTo>
                    <a:lnTo>
                      <a:pt x="160" y="60"/>
                    </a:lnTo>
                    <a:lnTo>
                      <a:pt x="166" y="62"/>
                    </a:lnTo>
                    <a:lnTo>
                      <a:pt x="170" y="66"/>
                    </a:lnTo>
                    <a:lnTo>
                      <a:pt x="180" y="78"/>
                    </a:lnTo>
                    <a:lnTo>
                      <a:pt x="186" y="84"/>
                    </a:lnTo>
                    <a:lnTo>
                      <a:pt x="194" y="90"/>
                    </a:lnTo>
                    <a:lnTo>
                      <a:pt x="194" y="90"/>
                    </a:lnTo>
                    <a:lnTo>
                      <a:pt x="198" y="94"/>
                    </a:lnTo>
                    <a:lnTo>
                      <a:pt x="202" y="98"/>
                    </a:lnTo>
                    <a:lnTo>
                      <a:pt x="202" y="102"/>
                    </a:lnTo>
                    <a:lnTo>
                      <a:pt x="202" y="106"/>
                    </a:lnTo>
                    <a:lnTo>
                      <a:pt x="200" y="114"/>
                    </a:lnTo>
                    <a:lnTo>
                      <a:pt x="194" y="120"/>
                    </a:lnTo>
                    <a:lnTo>
                      <a:pt x="190" y="128"/>
                    </a:lnTo>
                    <a:lnTo>
                      <a:pt x="186" y="134"/>
                    </a:lnTo>
                    <a:lnTo>
                      <a:pt x="184" y="140"/>
                    </a:lnTo>
                    <a:lnTo>
                      <a:pt x="186" y="142"/>
                    </a:lnTo>
                    <a:lnTo>
                      <a:pt x="190" y="144"/>
                    </a:lnTo>
                    <a:lnTo>
                      <a:pt x="190" y="144"/>
                    </a:lnTo>
                    <a:lnTo>
                      <a:pt x="196" y="150"/>
                    </a:lnTo>
                    <a:lnTo>
                      <a:pt x="198" y="154"/>
                    </a:lnTo>
                    <a:lnTo>
                      <a:pt x="200" y="164"/>
                    </a:lnTo>
                    <a:lnTo>
                      <a:pt x="200" y="170"/>
                    </a:lnTo>
                    <a:lnTo>
                      <a:pt x="202" y="176"/>
                    </a:lnTo>
                    <a:lnTo>
                      <a:pt x="206" y="182"/>
                    </a:lnTo>
                    <a:lnTo>
                      <a:pt x="216" y="186"/>
                    </a:lnTo>
                    <a:lnTo>
                      <a:pt x="216" y="186"/>
                    </a:lnTo>
                    <a:lnTo>
                      <a:pt x="224" y="190"/>
                    </a:lnTo>
                    <a:lnTo>
                      <a:pt x="232" y="190"/>
                    </a:lnTo>
                    <a:lnTo>
                      <a:pt x="236" y="190"/>
                    </a:lnTo>
                    <a:lnTo>
                      <a:pt x="240" y="188"/>
                    </a:lnTo>
                    <a:lnTo>
                      <a:pt x="244" y="186"/>
                    </a:lnTo>
                    <a:lnTo>
                      <a:pt x="250" y="186"/>
                    </a:lnTo>
                    <a:lnTo>
                      <a:pt x="260" y="188"/>
                    </a:lnTo>
                    <a:lnTo>
                      <a:pt x="274" y="194"/>
                    </a:lnTo>
                    <a:lnTo>
                      <a:pt x="274" y="194"/>
                    </a:lnTo>
                    <a:lnTo>
                      <a:pt x="282" y="198"/>
                    </a:lnTo>
                    <a:lnTo>
                      <a:pt x="290" y="198"/>
                    </a:lnTo>
                    <a:lnTo>
                      <a:pt x="304" y="198"/>
                    </a:lnTo>
                    <a:lnTo>
                      <a:pt x="316" y="194"/>
                    </a:lnTo>
                    <a:lnTo>
                      <a:pt x="326" y="188"/>
                    </a:lnTo>
                    <a:lnTo>
                      <a:pt x="340" y="180"/>
                    </a:lnTo>
                    <a:lnTo>
                      <a:pt x="342" y="180"/>
                    </a:lnTo>
                    <a:lnTo>
                      <a:pt x="342" y="180"/>
                    </a:lnTo>
                    <a:lnTo>
                      <a:pt x="342" y="188"/>
                    </a:lnTo>
                    <a:lnTo>
                      <a:pt x="342" y="18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98" name="Freeform 6103">
                <a:extLst>
                  <a:ext uri="{FF2B5EF4-FFF2-40B4-BE49-F238E27FC236}">
                    <a16:creationId xmlns:a16="http://schemas.microsoft.com/office/drawing/2014/main" id="{2BE40DE8-5CEB-4651-9F4B-7EF77B28DE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750" y="1119823"/>
                <a:ext cx="81280" cy="49530"/>
              </a:xfrm>
              <a:custGeom>
                <a:avLst/>
                <a:gdLst/>
                <a:ahLst/>
                <a:cxnLst>
                  <a:cxn ang="0">
                    <a:pos x="94" y="78"/>
                  </a:cxn>
                  <a:cxn ang="0">
                    <a:pos x="94" y="78"/>
                  </a:cxn>
                  <a:cxn ang="0">
                    <a:pos x="110" y="76"/>
                  </a:cxn>
                  <a:cxn ang="0">
                    <a:pos x="120" y="72"/>
                  </a:cxn>
                  <a:cxn ang="0">
                    <a:pos x="126" y="66"/>
                  </a:cxn>
                  <a:cxn ang="0">
                    <a:pos x="128" y="58"/>
                  </a:cxn>
                  <a:cxn ang="0">
                    <a:pos x="126" y="48"/>
                  </a:cxn>
                  <a:cxn ang="0">
                    <a:pos x="120" y="38"/>
                  </a:cxn>
                  <a:cxn ang="0">
                    <a:pos x="114" y="28"/>
                  </a:cxn>
                  <a:cxn ang="0">
                    <a:pos x="104" y="16"/>
                  </a:cxn>
                  <a:cxn ang="0">
                    <a:pos x="104" y="16"/>
                  </a:cxn>
                  <a:cxn ang="0">
                    <a:pos x="92" y="8"/>
                  </a:cxn>
                  <a:cxn ang="0">
                    <a:pos x="80" y="2"/>
                  </a:cxn>
                  <a:cxn ang="0">
                    <a:pos x="68" y="0"/>
                  </a:cxn>
                  <a:cxn ang="0">
                    <a:pos x="58" y="0"/>
                  </a:cxn>
                  <a:cxn ang="0">
                    <a:pos x="46" y="2"/>
                  </a:cxn>
                  <a:cxn ang="0">
                    <a:pos x="34" y="8"/>
                  </a:cxn>
                  <a:cxn ang="0">
                    <a:pos x="24" y="1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6" y="36"/>
                  </a:cxn>
                  <a:cxn ang="0">
                    <a:pos x="2" y="42"/>
                  </a:cxn>
                  <a:cxn ang="0">
                    <a:pos x="0" y="48"/>
                  </a:cxn>
                  <a:cxn ang="0">
                    <a:pos x="0" y="52"/>
                  </a:cxn>
                  <a:cxn ang="0">
                    <a:pos x="4" y="56"/>
                  </a:cxn>
                  <a:cxn ang="0">
                    <a:pos x="10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2" y="62"/>
                  </a:cxn>
                  <a:cxn ang="0">
                    <a:pos x="40" y="64"/>
                  </a:cxn>
                  <a:cxn ang="0">
                    <a:pos x="54" y="70"/>
                  </a:cxn>
                  <a:cxn ang="0">
                    <a:pos x="68" y="76"/>
                  </a:cxn>
                  <a:cxn ang="0">
                    <a:pos x="80" y="76"/>
                  </a:cxn>
                  <a:cxn ang="0">
                    <a:pos x="94" y="78"/>
                  </a:cxn>
                  <a:cxn ang="0">
                    <a:pos x="94" y="78"/>
                  </a:cxn>
                </a:cxnLst>
                <a:rect l="0" t="0" r="r" b="b"/>
                <a:pathLst>
                  <a:path w="128" h="78">
                    <a:moveTo>
                      <a:pt x="94" y="78"/>
                    </a:moveTo>
                    <a:lnTo>
                      <a:pt x="94" y="78"/>
                    </a:lnTo>
                    <a:lnTo>
                      <a:pt x="110" y="76"/>
                    </a:lnTo>
                    <a:lnTo>
                      <a:pt x="120" y="72"/>
                    </a:lnTo>
                    <a:lnTo>
                      <a:pt x="126" y="66"/>
                    </a:lnTo>
                    <a:lnTo>
                      <a:pt x="128" y="58"/>
                    </a:lnTo>
                    <a:lnTo>
                      <a:pt x="126" y="48"/>
                    </a:lnTo>
                    <a:lnTo>
                      <a:pt x="120" y="38"/>
                    </a:lnTo>
                    <a:lnTo>
                      <a:pt x="114" y="28"/>
                    </a:lnTo>
                    <a:lnTo>
                      <a:pt x="104" y="16"/>
                    </a:lnTo>
                    <a:lnTo>
                      <a:pt x="104" y="16"/>
                    </a:lnTo>
                    <a:lnTo>
                      <a:pt x="92" y="8"/>
                    </a:lnTo>
                    <a:lnTo>
                      <a:pt x="80" y="2"/>
                    </a:lnTo>
                    <a:lnTo>
                      <a:pt x="68" y="0"/>
                    </a:lnTo>
                    <a:lnTo>
                      <a:pt x="58" y="0"/>
                    </a:lnTo>
                    <a:lnTo>
                      <a:pt x="46" y="2"/>
                    </a:lnTo>
                    <a:lnTo>
                      <a:pt x="34" y="8"/>
                    </a:lnTo>
                    <a:lnTo>
                      <a:pt x="24" y="1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6" y="36"/>
                    </a:lnTo>
                    <a:lnTo>
                      <a:pt x="2" y="42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6"/>
                    </a:lnTo>
                    <a:lnTo>
                      <a:pt x="10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2" y="62"/>
                    </a:lnTo>
                    <a:lnTo>
                      <a:pt x="40" y="64"/>
                    </a:lnTo>
                    <a:lnTo>
                      <a:pt x="54" y="70"/>
                    </a:lnTo>
                    <a:lnTo>
                      <a:pt x="68" y="76"/>
                    </a:lnTo>
                    <a:lnTo>
                      <a:pt x="80" y="76"/>
                    </a:lnTo>
                    <a:lnTo>
                      <a:pt x="94" y="78"/>
                    </a:lnTo>
                    <a:lnTo>
                      <a:pt x="94" y="7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99" name="Freeform 6104">
                <a:extLst>
                  <a:ext uri="{FF2B5EF4-FFF2-40B4-BE49-F238E27FC236}">
                    <a16:creationId xmlns:a16="http://schemas.microsoft.com/office/drawing/2014/main" id="{883B69BF-04DB-4E41-B311-222245EEE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0560" y="1010603"/>
                <a:ext cx="80010" cy="19050"/>
              </a:xfrm>
              <a:custGeom>
                <a:avLst/>
                <a:gdLst/>
                <a:ahLst/>
                <a:cxnLst>
                  <a:cxn ang="0">
                    <a:pos x="92" y="28"/>
                  </a:cxn>
                  <a:cxn ang="0">
                    <a:pos x="92" y="28"/>
                  </a:cxn>
                  <a:cxn ang="0">
                    <a:pos x="108" y="28"/>
                  </a:cxn>
                  <a:cxn ang="0">
                    <a:pos x="120" y="26"/>
                  </a:cxn>
                  <a:cxn ang="0">
                    <a:pos x="124" y="22"/>
                  </a:cxn>
                  <a:cxn ang="0">
                    <a:pos x="126" y="20"/>
                  </a:cxn>
                  <a:cxn ang="0">
                    <a:pos x="126" y="16"/>
                  </a:cxn>
                  <a:cxn ang="0">
                    <a:pos x="122" y="12"/>
                  </a:cxn>
                  <a:cxn ang="0">
                    <a:pos x="112" y="8"/>
                  </a:cxn>
                  <a:cxn ang="0">
                    <a:pos x="100" y="4"/>
                  </a:cxn>
                  <a:cxn ang="0">
                    <a:pos x="82" y="2"/>
                  </a:cxn>
                  <a:cxn ang="0">
                    <a:pos x="82" y="2"/>
                  </a:cxn>
                  <a:cxn ang="0">
                    <a:pos x="48" y="0"/>
                  </a:cxn>
                  <a:cxn ang="0">
                    <a:pos x="22" y="4"/>
                  </a:cxn>
                  <a:cxn ang="0">
                    <a:pos x="14" y="6"/>
                  </a:cxn>
                  <a:cxn ang="0">
                    <a:pos x="6" y="8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6" y="28"/>
                  </a:cxn>
                  <a:cxn ang="0">
                    <a:pos x="26" y="30"/>
                  </a:cxn>
                  <a:cxn ang="0">
                    <a:pos x="56" y="28"/>
                  </a:cxn>
                  <a:cxn ang="0">
                    <a:pos x="92" y="28"/>
                  </a:cxn>
                  <a:cxn ang="0">
                    <a:pos x="92" y="28"/>
                  </a:cxn>
                </a:cxnLst>
                <a:rect l="0" t="0" r="r" b="b"/>
                <a:pathLst>
                  <a:path w="126" h="30">
                    <a:moveTo>
                      <a:pt x="92" y="28"/>
                    </a:moveTo>
                    <a:lnTo>
                      <a:pt x="92" y="28"/>
                    </a:lnTo>
                    <a:lnTo>
                      <a:pt x="108" y="28"/>
                    </a:lnTo>
                    <a:lnTo>
                      <a:pt x="120" y="26"/>
                    </a:lnTo>
                    <a:lnTo>
                      <a:pt x="124" y="22"/>
                    </a:lnTo>
                    <a:lnTo>
                      <a:pt x="126" y="20"/>
                    </a:lnTo>
                    <a:lnTo>
                      <a:pt x="126" y="16"/>
                    </a:lnTo>
                    <a:lnTo>
                      <a:pt x="122" y="12"/>
                    </a:lnTo>
                    <a:lnTo>
                      <a:pt x="112" y="8"/>
                    </a:lnTo>
                    <a:lnTo>
                      <a:pt x="100" y="4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48" y="0"/>
                    </a:lnTo>
                    <a:lnTo>
                      <a:pt x="22" y="4"/>
                    </a:lnTo>
                    <a:lnTo>
                      <a:pt x="14" y="6"/>
                    </a:lnTo>
                    <a:lnTo>
                      <a:pt x="6" y="8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6" y="28"/>
                    </a:lnTo>
                    <a:lnTo>
                      <a:pt x="26" y="30"/>
                    </a:lnTo>
                    <a:lnTo>
                      <a:pt x="56" y="28"/>
                    </a:lnTo>
                    <a:lnTo>
                      <a:pt x="92" y="28"/>
                    </a:lnTo>
                    <a:lnTo>
                      <a:pt x="92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00" name="Freeform 6105">
                <a:extLst>
                  <a:ext uri="{FF2B5EF4-FFF2-40B4-BE49-F238E27FC236}">
                    <a16:creationId xmlns:a16="http://schemas.microsoft.com/office/drawing/2014/main" id="{28360C39-D6A6-4BEC-8157-BC59373EBF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4560" y="944563"/>
                <a:ext cx="34290" cy="12700"/>
              </a:xfrm>
              <a:custGeom>
                <a:avLst/>
                <a:gdLst/>
                <a:ahLst/>
                <a:cxnLst>
                  <a:cxn ang="0">
                    <a:pos x="54" y="4"/>
                  </a:cxn>
                  <a:cxn ang="0">
                    <a:pos x="54" y="4"/>
                  </a:cxn>
                  <a:cxn ang="0">
                    <a:pos x="54" y="2"/>
                  </a:cxn>
                  <a:cxn ang="0">
                    <a:pos x="50" y="0"/>
                  </a:cxn>
                  <a:cxn ang="0">
                    <a:pos x="36" y="0"/>
                  </a:cxn>
                  <a:cxn ang="0">
                    <a:pos x="18" y="6"/>
                  </a:cxn>
                  <a:cxn ang="0">
                    <a:pos x="8" y="10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20" y="18"/>
                  </a:cxn>
                  <a:cxn ang="0">
                    <a:pos x="42" y="12"/>
                  </a:cxn>
                  <a:cxn ang="0">
                    <a:pos x="50" y="8"/>
                  </a:cxn>
                  <a:cxn ang="0">
                    <a:pos x="54" y="4"/>
                  </a:cxn>
                  <a:cxn ang="0">
                    <a:pos x="54" y="4"/>
                  </a:cxn>
                </a:cxnLst>
                <a:rect l="0" t="0" r="r" b="b"/>
                <a:pathLst>
                  <a:path w="54" h="20">
                    <a:moveTo>
                      <a:pt x="54" y="4"/>
                    </a:moveTo>
                    <a:lnTo>
                      <a:pt x="54" y="4"/>
                    </a:lnTo>
                    <a:lnTo>
                      <a:pt x="54" y="2"/>
                    </a:lnTo>
                    <a:lnTo>
                      <a:pt x="50" y="0"/>
                    </a:lnTo>
                    <a:lnTo>
                      <a:pt x="36" y="0"/>
                    </a:lnTo>
                    <a:lnTo>
                      <a:pt x="18" y="6"/>
                    </a:lnTo>
                    <a:lnTo>
                      <a:pt x="8" y="1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20" y="18"/>
                    </a:lnTo>
                    <a:lnTo>
                      <a:pt x="42" y="12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01" name="Freeform 6106">
                <a:extLst>
                  <a:ext uri="{FF2B5EF4-FFF2-40B4-BE49-F238E27FC236}">
                    <a16:creationId xmlns:a16="http://schemas.microsoft.com/office/drawing/2014/main" id="{69E982FF-EB4A-43BA-B4D8-D080EA081E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7400" y="727393"/>
                <a:ext cx="784860" cy="367030"/>
              </a:xfrm>
              <a:custGeom>
                <a:avLst/>
                <a:gdLst/>
                <a:ahLst/>
                <a:cxnLst>
                  <a:cxn ang="0">
                    <a:pos x="68" y="162"/>
                  </a:cxn>
                  <a:cxn ang="0">
                    <a:pos x="122" y="204"/>
                  </a:cxn>
                  <a:cxn ang="0">
                    <a:pos x="246" y="182"/>
                  </a:cxn>
                  <a:cxn ang="0">
                    <a:pos x="202" y="210"/>
                  </a:cxn>
                  <a:cxn ang="0">
                    <a:pos x="334" y="210"/>
                  </a:cxn>
                  <a:cxn ang="0">
                    <a:pos x="494" y="186"/>
                  </a:cxn>
                  <a:cxn ang="0">
                    <a:pos x="540" y="190"/>
                  </a:cxn>
                  <a:cxn ang="0">
                    <a:pos x="450" y="222"/>
                  </a:cxn>
                  <a:cxn ang="0">
                    <a:pos x="402" y="274"/>
                  </a:cxn>
                  <a:cxn ang="0">
                    <a:pos x="402" y="298"/>
                  </a:cxn>
                  <a:cxn ang="0">
                    <a:pos x="246" y="240"/>
                  </a:cxn>
                  <a:cxn ang="0">
                    <a:pos x="226" y="284"/>
                  </a:cxn>
                  <a:cxn ang="0">
                    <a:pos x="296" y="336"/>
                  </a:cxn>
                  <a:cxn ang="0">
                    <a:pos x="336" y="356"/>
                  </a:cxn>
                  <a:cxn ang="0">
                    <a:pos x="298" y="364"/>
                  </a:cxn>
                  <a:cxn ang="0">
                    <a:pos x="168" y="410"/>
                  </a:cxn>
                  <a:cxn ang="0">
                    <a:pos x="226" y="422"/>
                  </a:cxn>
                  <a:cxn ang="0">
                    <a:pos x="256" y="440"/>
                  </a:cxn>
                  <a:cxn ang="0">
                    <a:pos x="330" y="460"/>
                  </a:cxn>
                  <a:cxn ang="0">
                    <a:pos x="342" y="464"/>
                  </a:cxn>
                  <a:cxn ang="0">
                    <a:pos x="238" y="460"/>
                  </a:cxn>
                  <a:cxn ang="0">
                    <a:pos x="140" y="450"/>
                  </a:cxn>
                  <a:cxn ang="0">
                    <a:pos x="160" y="502"/>
                  </a:cxn>
                  <a:cxn ang="0">
                    <a:pos x="92" y="546"/>
                  </a:cxn>
                  <a:cxn ang="0">
                    <a:pos x="146" y="562"/>
                  </a:cxn>
                  <a:cxn ang="0">
                    <a:pos x="244" y="562"/>
                  </a:cxn>
                  <a:cxn ang="0">
                    <a:pos x="322" y="552"/>
                  </a:cxn>
                  <a:cxn ang="0">
                    <a:pos x="438" y="548"/>
                  </a:cxn>
                  <a:cxn ang="0">
                    <a:pos x="462" y="578"/>
                  </a:cxn>
                  <a:cxn ang="0">
                    <a:pos x="560" y="538"/>
                  </a:cxn>
                  <a:cxn ang="0">
                    <a:pos x="518" y="514"/>
                  </a:cxn>
                  <a:cxn ang="0">
                    <a:pos x="550" y="472"/>
                  </a:cxn>
                  <a:cxn ang="0">
                    <a:pos x="550" y="432"/>
                  </a:cxn>
                  <a:cxn ang="0">
                    <a:pos x="668" y="402"/>
                  </a:cxn>
                  <a:cxn ang="0">
                    <a:pos x="684" y="372"/>
                  </a:cxn>
                  <a:cxn ang="0">
                    <a:pos x="686" y="348"/>
                  </a:cxn>
                  <a:cxn ang="0">
                    <a:pos x="658" y="326"/>
                  </a:cxn>
                  <a:cxn ang="0">
                    <a:pos x="588" y="318"/>
                  </a:cxn>
                  <a:cxn ang="0">
                    <a:pos x="752" y="284"/>
                  </a:cxn>
                  <a:cxn ang="0">
                    <a:pos x="832" y="278"/>
                  </a:cxn>
                  <a:cxn ang="0">
                    <a:pos x="1076" y="154"/>
                  </a:cxn>
                  <a:cxn ang="0">
                    <a:pos x="1000" y="142"/>
                  </a:cxn>
                  <a:cxn ang="0">
                    <a:pos x="1232" y="76"/>
                  </a:cxn>
                  <a:cxn ang="0">
                    <a:pos x="1168" y="54"/>
                  </a:cxn>
                  <a:cxn ang="0">
                    <a:pos x="1094" y="20"/>
                  </a:cxn>
                  <a:cxn ang="0">
                    <a:pos x="962" y="40"/>
                  </a:cxn>
                  <a:cxn ang="0">
                    <a:pos x="1006" y="20"/>
                  </a:cxn>
                  <a:cxn ang="0">
                    <a:pos x="858" y="2"/>
                  </a:cxn>
                  <a:cxn ang="0">
                    <a:pos x="690" y="10"/>
                  </a:cxn>
                  <a:cxn ang="0">
                    <a:pos x="500" y="14"/>
                  </a:cxn>
                  <a:cxn ang="0">
                    <a:pos x="412" y="24"/>
                  </a:cxn>
                  <a:cxn ang="0">
                    <a:pos x="392" y="42"/>
                  </a:cxn>
                  <a:cxn ang="0">
                    <a:pos x="340" y="70"/>
                  </a:cxn>
                  <a:cxn ang="0">
                    <a:pos x="264" y="52"/>
                  </a:cxn>
                  <a:cxn ang="0">
                    <a:pos x="224" y="76"/>
                  </a:cxn>
                  <a:cxn ang="0">
                    <a:pos x="248" y="98"/>
                  </a:cxn>
                  <a:cxn ang="0">
                    <a:pos x="130" y="92"/>
                  </a:cxn>
                  <a:cxn ang="0">
                    <a:pos x="50" y="104"/>
                  </a:cxn>
                  <a:cxn ang="0">
                    <a:pos x="12" y="144"/>
                  </a:cxn>
                </a:cxnLst>
                <a:rect l="0" t="0" r="r" b="b"/>
                <a:pathLst>
                  <a:path w="1236" h="578">
                    <a:moveTo>
                      <a:pt x="44" y="148"/>
                    </a:moveTo>
                    <a:lnTo>
                      <a:pt x="44" y="148"/>
                    </a:lnTo>
                    <a:lnTo>
                      <a:pt x="50" y="150"/>
                    </a:lnTo>
                    <a:lnTo>
                      <a:pt x="58" y="152"/>
                    </a:lnTo>
                    <a:lnTo>
                      <a:pt x="74" y="150"/>
                    </a:lnTo>
                    <a:lnTo>
                      <a:pt x="80" y="150"/>
                    </a:lnTo>
                    <a:lnTo>
                      <a:pt x="80" y="152"/>
                    </a:lnTo>
                    <a:lnTo>
                      <a:pt x="74" y="156"/>
                    </a:lnTo>
                    <a:lnTo>
                      <a:pt x="74" y="156"/>
                    </a:lnTo>
                    <a:lnTo>
                      <a:pt x="68" y="162"/>
                    </a:lnTo>
                    <a:lnTo>
                      <a:pt x="62" y="168"/>
                    </a:lnTo>
                    <a:lnTo>
                      <a:pt x="62" y="172"/>
                    </a:lnTo>
                    <a:lnTo>
                      <a:pt x="62" y="178"/>
                    </a:lnTo>
                    <a:lnTo>
                      <a:pt x="66" y="182"/>
                    </a:lnTo>
                    <a:lnTo>
                      <a:pt x="72" y="186"/>
                    </a:lnTo>
                    <a:lnTo>
                      <a:pt x="82" y="190"/>
                    </a:lnTo>
                    <a:lnTo>
                      <a:pt x="94" y="194"/>
                    </a:lnTo>
                    <a:lnTo>
                      <a:pt x="94" y="194"/>
                    </a:lnTo>
                    <a:lnTo>
                      <a:pt x="108" y="200"/>
                    </a:lnTo>
                    <a:lnTo>
                      <a:pt x="122" y="204"/>
                    </a:lnTo>
                    <a:lnTo>
                      <a:pt x="144" y="212"/>
                    </a:lnTo>
                    <a:lnTo>
                      <a:pt x="156" y="216"/>
                    </a:lnTo>
                    <a:lnTo>
                      <a:pt x="166" y="214"/>
                    </a:lnTo>
                    <a:lnTo>
                      <a:pt x="178" y="212"/>
                    </a:lnTo>
                    <a:lnTo>
                      <a:pt x="192" y="204"/>
                    </a:lnTo>
                    <a:lnTo>
                      <a:pt x="192" y="204"/>
                    </a:lnTo>
                    <a:lnTo>
                      <a:pt x="206" y="194"/>
                    </a:lnTo>
                    <a:lnTo>
                      <a:pt x="222" y="188"/>
                    </a:lnTo>
                    <a:lnTo>
                      <a:pt x="234" y="184"/>
                    </a:lnTo>
                    <a:lnTo>
                      <a:pt x="246" y="182"/>
                    </a:lnTo>
                    <a:lnTo>
                      <a:pt x="254" y="182"/>
                    </a:lnTo>
                    <a:lnTo>
                      <a:pt x="258" y="182"/>
                    </a:lnTo>
                    <a:lnTo>
                      <a:pt x="256" y="184"/>
                    </a:lnTo>
                    <a:lnTo>
                      <a:pt x="250" y="186"/>
                    </a:lnTo>
                    <a:lnTo>
                      <a:pt x="250" y="186"/>
                    </a:lnTo>
                    <a:lnTo>
                      <a:pt x="224" y="194"/>
                    </a:lnTo>
                    <a:lnTo>
                      <a:pt x="212" y="200"/>
                    </a:lnTo>
                    <a:lnTo>
                      <a:pt x="204" y="206"/>
                    </a:lnTo>
                    <a:lnTo>
                      <a:pt x="202" y="208"/>
                    </a:lnTo>
                    <a:lnTo>
                      <a:pt x="202" y="210"/>
                    </a:lnTo>
                    <a:lnTo>
                      <a:pt x="204" y="214"/>
                    </a:lnTo>
                    <a:lnTo>
                      <a:pt x="208" y="216"/>
                    </a:lnTo>
                    <a:lnTo>
                      <a:pt x="224" y="220"/>
                    </a:lnTo>
                    <a:lnTo>
                      <a:pt x="254" y="224"/>
                    </a:lnTo>
                    <a:lnTo>
                      <a:pt x="254" y="224"/>
                    </a:lnTo>
                    <a:lnTo>
                      <a:pt x="284" y="224"/>
                    </a:lnTo>
                    <a:lnTo>
                      <a:pt x="304" y="224"/>
                    </a:lnTo>
                    <a:lnTo>
                      <a:pt x="318" y="220"/>
                    </a:lnTo>
                    <a:lnTo>
                      <a:pt x="326" y="216"/>
                    </a:lnTo>
                    <a:lnTo>
                      <a:pt x="334" y="210"/>
                    </a:lnTo>
                    <a:lnTo>
                      <a:pt x="338" y="210"/>
                    </a:lnTo>
                    <a:lnTo>
                      <a:pt x="346" y="214"/>
                    </a:lnTo>
                    <a:lnTo>
                      <a:pt x="346" y="214"/>
                    </a:lnTo>
                    <a:lnTo>
                      <a:pt x="358" y="218"/>
                    </a:lnTo>
                    <a:lnTo>
                      <a:pt x="374" y="218"/>
                    </a:lnTo>
                    <a:lnTo>
                      <a:pt x="394" y="216"/>
                    </a:lnTo>
                    <a:lnTo>
                      <a:pt x="418" y="212"/>
                    </a:lnTo>
                    <a:lnTo>
                      <a:pt x="442" y="206"/>
                    </a:lnTo>
                    <a:lnTo>
                      <a:pt x="468" y="196"/>
                    </a:lnTo>
                    <a:lnTo>
                      <a:pt x="494" y="186"/>
                    </a:lnTo>
                    <a:lnTo>
                      <a:pt x="520" y="174"/>
                    </a:lnTo>
                    <a:lnTo>
                      <a:pt x="520" y="174"/>
                    </a:lnTo>
                    <a:lnTo>
                      <a:pt x="546" y="160"/>
                    </a:lnTo>
                    <a:lnTo>
                      <a:pt x="544" y="162"/>
                    </a:lnTo>
                    <a:lnTo>
                      <a:pt x="540" y="168"/>
                    </a:lnTo>
                    <a:lnTo>
                      <a:pt x="536" y="176"/>
                    </a:lnTo>
                    <a:lnTo>
                      <a:pt x="534" y="180"/>
                    </a:lnTo>
                    <a:lnTo>
                      <a:pt x="534" y="184"/>
                    </a:lnTo>
                    <a:lnTo>
                      <a:pt x="536" y="186"/>
                    </a:lnTo>
                    <a:lnTo>
                      <a:pt x="540" y="190"/>
                    </a:lnTo>
                    <a:lnTo>
                      <a:pt x="548" y="192"/>
                    </a:lnTo>
                    <a:lnTo>
                      <a:pt x="558" y="192"/>
                    </a:lnTo>
                    <a:lnTo>
                      <a:pt x="558" y="192"/>
                    </a:lnTo>
                    <a:lnTo>
                      <a:pt x="576" y="194"/>
                    </a:lnTo>
                    <a:lnTo>
                      <a:pt x="584" y="196"/>
                    </a:lnTo>
                    <a:lnTo>
                      <a:pt x="584" y="196"/>
                    </a:lnTo>
                    <a:lnTo>
                      <a:pt x="580" y="198"/>
                    </a:lnTo>
                    <a:lnTo>
                      <a:pt x="570" y="200"/>
                    </a:lnTo>
                    <a:lnTo>
                      <a:pt x="524" y="208"/>
                    </a:lnTo>
                    <a:lnTo>
                      <a:pt x="450" y="222"/>
                    </a:lnTo>
                    <a:lnTo>
                      <a:pt x="450" y="222"/>
                    </a:lnTo>
                    <a:lnTo>
                      <a:pt x="388" y="236"/>
                    </a:lnTo>
                    <a:lnTo>
                      <a:pt x="370" y="238"/>
                    </a:lnTo>
                    <a:lnTo>
                      <a:pt x="360" y="242"/>
                    </a:lnTo>
                    <a:lnTo>
                      <a:pt x="358" y="242"/>
                    </a:lnTo>
                    <a:lnTo>
                      <a:pt x="358" y="244"/>
                    </a:lnTo>
                    <a:lnTo>
                      <a:pt x="362" y="248"/>
                    </a:lnTo>
                    <a:lnTo>
                      <a:pt x="386" y="264"/>
                    </a:lnTo>
                    <a:lnTo>
                      <a:pt x="386" y="264"/>
                    </a:lnTo>
                    <a:lnTo>
                      <a:pt x="402" y="274"/>
                    </a:lnTo>
                    <a:lnTo>
                      <a:pt x="418" y="282"/>
                    </a:lnTo>
                    <a:lnTo>
                      <a:pt x="442" y="292"/>
                    </a:lnTo>
                    <a:lnTo>
                      <a:pt x="450" y="296"/>
                    </a:lnTo>
                    <a:lnTo>
                      <a:pt x="452" y="298"/>
                    </a:lnTo>
                    <a:lnTo>
                      <a:pt x="448" y="302"/>
                    </a:lnTo>
                    <a:lnTo>
                      <a:pt x="436" y="304"/>
                    </a:lnTo>
                    <a:lnTo>
                      <a:pt x="436" y="304"/>
                    </a:lnTo>
                    <a:lnTo>
                      <a:pt x="422" y="304"/>
                    </a:lnTo>
                    <a:lnTo>
                      <a:pt x="410" y="302"/>
                    </a:lnTo>
                    <a:lnTo>
                      <a:pt x="402" y="298"/>
                    </a:lnTo>
                    <a:lnTo>
                      <a:pt x="394" y="292"/>
                    </a:lnTo>
                    <a:lnTo>
                      <a:pt x="378" y="276"/>
                    </a:lnTo>
                    <a:lnTo>
                      <a:pt x="368" y="268"/>
                    </a:lnTo>
                    <a:lnTo>
                      <a:pt x="356" y="260"/>
                    </a:lnTo>
                    <a:lnTo>
                      <a:pt x="356" y="260"/>
                    </a:lnTo>
                    <a:lnTo>
                      <a:pt x="338" y="254"/>
                    </a:lnTo>
                    <a:lnTo>
                      <a:pt x="316" y="248"/>
                    </a:lnTo>
                    <a:lnTo>
                      <a:pt x="292" y="244"/>
                    </a:lnTo>
                    <a:lnTo>
                      <a:pt x="268" y="242"/>
                    </a:lnTo>
                    <a:lnTo>
                      <a:pt x="246" y="240"/>
                    </a:lnTo>
                    <a:lnTo>
                      <a:pt x="228" y="242"/>
                    </a:lnTo>
                    <a:lnTo>
                      <a:pt x="220" y="244"/>
                    </a:lnTo>
                    <a:lnTo>
                      <a:pt x="216" y="246"/>
                    </a:lnTo>
                    <a:lnTo>
                      <a:pt x="212" y="250"/>
                    </a:lnTo>
                    <a:lnTo>
                      <a:pt x="210" y="254"/>
                    </a:lnTo>
                    <a:lnTo>
                      <a:pt x="210" y="254"/>
                    </a:lnTo>
                    <a:lnTo>
                      <a:pt x="210" y="270"/>
                    </a:lnTo>
                    <a:lnTo>
                      <a:pt x="212" y="274"/>
                    </a:lnTo>
                    <a:lnTo>
                      <a:pt x="214" y="278"/>
                    </a:lnTo>
                    <a:lnTo>
                      <a:pt x="226" y="284"/>
                    </a:lnTo>
                    <a:lnTo>
                      <a:pt x="250" y="292"/>
                    </a:lnTo>
                    <a:lnTo>
                      <a:pt x="250" y="292"/>
                    </a:lnTo>
                    <a:lnTo>
                      <a:pt x="262" y="298"/>
                    </a:lnTo>
                    <a:lnTo>
                      <a:pt x="276" y="304"/>
                    </a:lnTo>
                    <a:lnTo>
                      <a:pt x="294" y="318"/>
                    </a:lnTo>
                    <a:lnTo>
                      <a:pt x="300" y="326"/>
                    </a:lnTo>
                    <a:lnTo>
                      <a:pt x="302" y="330"/>
                    </a:lnTo>
                    <a:lnTo>
                      <a:pt x="302" y="334"/>
                    </a:lnTo>
                    <a:lnTo>
                      <a:pt x="296" y="336"/>
                    </a:lnTo>
                    <a:lnTo>
                      <a:pt x="296" y="336"/>
                    </a:lnTo>
                    <a:lnTo>
                      <a:pt x="290" y="338"/>
                    </a:lnTo>
                    <a:lnTo>
                      <a:pt x="286" y="340"/>
                    </a:lnTo>
                    <a:lnTo>
                      <a:pt x="284" y="344"/>
                    </a:lnTo>
                    <a:lnTo>
                      <a:pt x="286" y="346"/>
                    </a:lnTo>
                    <a:lnTo>
                      <a:pt x="290" y="348"/>
                    </a:lnTo>
                    <a:lnTo>
                      <a:pt x="296" y="352"/>
                    </a:lnTo>
                    <a:lnTo>
                      <a:pt x="308" y="354"/>
                    </a:lnTo>
                    <a:lnTo>
                      <a:pt x="320" y="356"/>
                    </a:lnTo>
                    <a:lnTo>
                      <a:pt x="320" y="356"/>
                    </a:lnTo>
                    <a:lnTo>
                      <a:pt x="336" y="356"/>
                    </a:lnTo>
                    <a:lnTo>
                      <a:pt x="348" y="360"/>
                    </a:lnTo>
                    <a:lnTo>
                      <a:pt x="356" y="362"/>
                    </a:lnTo>
                    <a:lnTo>
                      <a:pt x="362" y="366"/>
                    </a:lnTo>
                    <a:lnTo>
                      <a:pt x="364" y="368"/>
                    </a:lnTo>
                    <a:lnTo>
                      <a:pt x="360" y="368"/>
                    </a:lnTo>
                    <a:lnTo>
                      <a:pt x="352" y="368"/>
                    </a:lnTo>
                    <a:lnTo>
                      <a:pt x="340" y="368"/>
                    </a:lnTo>
                    <a:lnTo>
                      <a:pt x="340" y="368"/>
                    </a:lnTo>
                    <a:lnTo>
                      <a:pt x="320" y="366"/>
                    </a:lnTo>
                    <a:lnTo>
                      <a:pt x="298" y="364"/>
                    </a:lnTo>
                    <a:lnTo>
                      <a:pt x="250" y="366"/>
                    </a:lnTo>
                    <a:lnTo>
                      <a:pt x="228" y="368"/>
                    </a:lnTo>
                    <a:lnTo>
                      <a:pt x="208" y="372"/>
                    </a:lnTo>
                    <a:lnTo>
                      <a:pt x="192" y="376"/>
                    </a:lnTo>
                    <a:lnTo>
                      <a:pt x="182" y="382"/>
                    </a:lnTo>
                    <a:lnTo>
                      <a:pt x="182" y="382"/>
                    </a:lnTo>
                    <a:lnTo>
                      <a:pt x="176" y="388"/>
                    </a:lnTo>
                    <a:lnTo>
                      <a:pt x="172" y="394"/>
                    </a:lnTo>
                    <a:lnTo>
                      <a:pt x="170" y="402"/>
                    </a:lnTo>
                    <a:lnTo>
                      <a:pt x="168" y="410"/>
                    </a:lnTo>
                    <a:lnTo>
                      <a:pt x="170" y="416"/>
                    </a:lnTo>
                    <a:lnTo>
                      <a:pt x="176" y="420"/>
                    </a:lnTo>
                    <a:lnTo>
                      <a:pt x="184" y="422"/>
                    </a:lnTo>
                    <a:lnTo>
                      <a:pt x="196" y="420"/>
                    </a:lnTo>
                    <a:lnTo>
                      <a:pt x="196" y="420"/>
                    </a:lnTo>
                    <a:lnTo>
                      <a:pt x="208" y="418"/>
                    </a:lnTo>
                    <a:lnTo>
                      <a:pt x="216" y="418"/>
                    </a:lnTo>
                    <a:lnTo>
                      <a:pt x="220" y="418"/>
                    </a:lnTo>
                    <a:lnTo>
                      <a:pt x="224" y="420"/>
                    </a:lnTo>
                    <a:lnTo>
                      <a:pt x="226" y="422"/>
                    </a:lnTo>
                    <a:lnTo>
                      <a:pt x="230" y="424"/>
                    </a:lnTo>
                    <a:lnTo>
                      <a:pt x="236" y="424"/>
                    </a:lnTo>
                    <a:lnTo>
                      <a:pt x="246" y="424"/>
                    </a:lnTo>
                    <a:lnTo>
                      <a:pt x="246" y="424"/>
                    </a:lnTo>
                    <a:lnTo>
                      <a:pt x="256" y="422"/>
                    </a:lnTo>
                    <a:lnTo>
                      <a:pt x="260" y="422"/>
                    </a:lnTo>
                    <a:lnTo>
                      <a:pt x="260" y="424"/>
                    </a:lnTo>
                    <a:lnTo>
                      <a:pt x="260" y="428"/>
                    </a:lnTo>
                    <a:lnTo>
                      <a:pt x="258" y="434"/>
                    </a:lnTo>
                    <a:lnTo>
                      <a:pt x="256" y="440"/>
                    </a:lnTo>
                    <a:lnTo>
                      <a:pt x="258" y="450"/>
                    </a:lnTo>
                    <a:lnTo>
                      <a:pt x="266" y="460"/>
                    </a:lnTo>
                    <a:lnTo>
                      <a:pt x="266" y="460"/>
                    </a:lnTo>
                    <a:lnTo>
                      <a:pt x="270" y="464"/>
                    </a:lnTo>
                    <a:lnTo>
                      <a:pt x="276" y="468"/>
                    </a:lnTo>
                    <a:lnTo>
                      <a:pt x="282" y="470"/>
                    </a:lnTo>
                    <a:lnTo>
                      <a:pt x="288" y="472"/>
                    </a:lnTo>
                    <a:lnTo>
                      <a:pt x="302" y="470"/>
                    </a:lnTo>
                    <a:lnTo>
                      <a:pt x="316" y="466"/>
                    </a:lnTo>
                    <a:lnTo>
                      <a:pt x="330" y="460"/>
                    </a:lnTo>
                    <a:lnTo>
                      <a:pt x="342" y="450"/>
                    </a:lnTo>
                    <a:lnTo>
                      <a:pt x="354" y="442"/>
                    </a:lnTo>
                    <a:lnTo>
                      <a:pt x="366" y="432"/>
                    </a:lnTo>
                    <a:lnTo>
                      <a:pt x="366" y="432"/>
                    </a:lnTo>
                    <a:lnTo>
                      <a:pt x="372" y="426"/>
                    </a:lnTo>
                    <a:lnTo>
                      <a:pt x="372" y="428"/>
                    </a:lnTo>
                    <a:lnTo>
                      <a:pt x="372" y="430"/>
                    </a:lnTo>
                    <a:lnTo>
                      <a:pt x="366" y="440"/>
                    </a:lnTo>
                    <a:lnTo>
                      <a:pt x="356" y="452"/>
                    </a:lnTo>
                    <a:lnTo>
                      <a:pt x="342" y="464"/>
                    </a:lnTo>
                    <a:lnTo>
                      <a:pt x="326" y="476"/>
                    </a:lnTo>
                    <a:lnTo>
                      <a:pt x="316" y="482"/>
                    </a:lnTo>
                    <a:lnTo>
                      <a:pt x="306" y="484"/>
                    </a:lnTo>
                    <a:lnTo>
                      <a:pt x="296" y="486"/>
                    </a:lnTo>
                    <a:lnTo>
                      <a:pt x="286" y="486"/>
                    </a:lnTo>
                    <a:lnTo>
                      <a:pt x="286" y="486"/>
                    </a:lnTo>
                    <a:lnTo>
                      <a:pt x="270" y="482"/>
                    </a:lnTo>
                    <a:lnTo>
                      <a:pt x="256" y="476"/>
                    </a:lnTo>
                    <a:lnTo>
                      <a:pt x="246" y="468"/>
                    </a:lnTo>
                    <a:lnTo>
                      <a:pt x="238" y="460"/>
                    </a:lnTo>
                    <a:lnTo>
                      <a:pt x="228" y="452"/>
                    </a:lnTo>
                    <a:lnTo>
                      <a:pt x="218" y="446"/>
                    </a:lnTo>
                    <a:lnTo>
                      <a:pt x="206" y="440"/>
                    </a:lnTo>
                    <a:lnTo>
                      <a:pt x="190" y="438"/>
                    </a:lnTo>
                    <a:lnTo>
                      <a:pt x="190" y="438"/>
                    </a:lnTo>
                    <a:lnTo>
                      <a:pt x="160" y="440"/>
                    </a:lnTo>
                    <a:lnTo>
                      <a:pt x="150" y="440"/>
                    </a:lnTo>
                    <a:lnTo>
                      <a:pt x="144" y="444"/>
                    </a:lnTo>
                    <a:lnTo>
                      <a:pt x="140" y="446"/>
                    </a:lnTo>
                    <a:lnTo>
                      <a:pt x="140" y="450"/>
                    </a:lnTo>
                    <a:lnTo>
                      <a:pt x="144" y="456"/>
                    </a:lnTo>
                    <a:lnTo>
                      <a:pt x="150" y="462"/>
                    </a:lnTo>
                    <a:lnTo>
                      <a:pt x="150" y="462"/>
                    </a:lnTo>
                    <a:lnTo>
                      <a:pt x="166" y="476"/>
                    </a:lnTo>
                    <a:lnTo>
                      <a:pt x="182" y="490"/>
                    </a:lnTo>
                    <a:lnTo>
                      <a:pt x="184" y="494"/>
                    </a:lnTo>
                    <a:lnTo>
                      <a:pt x="184" y="496"/>
                    </a:lnTo>
                    <a:lnTo>
                      <a:pt x="182" y="498"/>
                    </a:lnTo>
                    <a:lnTo>
                      <a:pt x="174" y="500"/>
                    </a:lnTo>
                    <a:lnTo>
                      <a:pt x="160" y="502"/>
                    </a:lnTo>
                    <a:lnTo>
                      <a:pt x="160" y="502"/>
                    </a:lnTo>
                    <a:lnTo>
                      <a:pt x="142" y="502"/>
                    </a:lnTo>
                    <a:lnTo>
                      <a:pt x="124" y="506"/>
                    </a:lnTo>
                    <a:lnTo>
                      <a:pt x="110" y="512"/>
                    </a:lnTo>
                    <a:lnTo>
                      <a:pt x="98" y="518"/>
                    </a:lnTo>
                    <a:lnTo>
                      <a:pt x="90" y="526"/>
                    </a:lnTo>
                    <a:lnTo>
                      <a:pt x="88" y="534"/>
                    </a:lnTo>
                    <a:lnTo>
                      <a:pt x="88" y="538"/>
                    </a:lnTo>
                    <a:lnTo>
                      <a:pt x="88" y="542"/>
                    </a:lnTo>
                    <a:lnTo>
                      <a:pt x="92" y="546"/>
                    </a:lnTo>
                    <a:lnTo>
                      <a:pt x="96" y="550"/>
                    </a:lnTo>
                    <a:lnTo>
                      <a:pt x="96" y="550"/>
                    </a:lnTo>
                    <a:lnTo>
                      <a:pt x="100" y="552"/>
                    </a:lnTo>
                    <a:lnTo>
                      <a:pt x="104" y="552"/>
                    </a:lnTo>
                    <a:lnTo>
                      <a:pt x="114" y="552"/>
                    </a:lnTo>
                    <a:lnTo>
                      <a:pt x="124" y="552"/>
                    </a:lnTo>
                    <a:lnTo>
                      <a:pt x="130" y="554"/>
                    </a:lnTo>
                    <a:lnTo>
                      <a:pt x="138" y="558"/>
                    </a:lnTo>
                    <a:lnTo>
                      <a:pt x="138" y="558"/>
                    </a:lnTo>
                    <a:lnTo>
                      <a:pt x="146" y="562"/>
                    </a:lnTo>
                    <a:lnTo>
                      <a:pt x="154" y="566"/>
                    </a:lnTo>
                    <a:lnTo>
                      <a:pt x="162" y="566"/>
                    </a:lnTo>
                    <a:lnTo>
                      <a:pt x="170" y="564"/>
                    </a:lnTo>
                    <a:lnTo>
                      <a:pt x="186" y="560"/>
                    </a:lnTo>
                    <a:lnTo>
                      <a:pt x="200" y="552"/>
                    </a:lnTo>
                    <a:lnTo>
                      <a:pt x="200" y="552"/>
                    </a:lnTo>
                    <a:lnTo>
                      <a:pt x="206" y="552"/>
                    </a:lnTo>
                    <a:lnTo>
                      <a:pt x="212" y="552"/>
                    </a:lnTo>
                    <a:lnTo>
                      <a:pt x="226" y="556"/>
                    </a:lnTo>
                    <a:lnTo>
                      <a:pt x="244" y="562"/>
                    </a:lnTo>
                    <a:lnTo>
                      <a:pt x="256" y="566"/>
                    </a:lnTo>
                    <a:lnTo>
                      <a:pt x="272" y="566"/>
                    </a:lnTo>
                    <a:lnTo>
                      <a:pt x="272" y="566"/>
                    </a:lnTo>
                    <a:lnTo>
                      <a:pt x="286" y="566"/>
                    </a:lnTo>
                    <a:lnTo>
                      <a:pt x="294" y="564"/>
                    </a:lnTo>
                    <a:lnTo>
                      <a:pt x="298" y="560"/>
                    </a:lnTo>
                    <a:lnTo>
                      <a:pt x="302" y="556"/>
                    </a:lnTo>
                    <a:lnTo>
                      <a:pt x="306" y="554"/>
                    </a:lnTo>
                    <a:lnTo>
                      <a:pt x="312" y="552"/>
                    </a:lnTo>
                    <a:lnTo>
                      <a:pt x="322" y="552"/>
                    </a:lnTo>
                    <a:lnTo>
                      <a:pt x="336" y="558"/>
                    </a:lnTo>
                    <a:lnTo>
                      <a:pt x="336" y="558"/>
                    </a:lnTo>
                    <a:lnTo>
                      <a:pt x="346" y="560"/>
                    </a:lnTo>
                    <a:lnTo>
                      <a:pt x="356" y="560"/>
                    </a:lnTo>
                    <a:lnTo>
                      <a:pt x="376" y="560"/>
                    </a:lnTo>
                    <a:lnTo>
                      <a:pt x="394" y="556"/>
                    </a:lnTo>
                    <a:lnTo>
                      <a:pt x="412" y="552"/>
                    </a:lnTo>
                    <a:lnTo>
                      <a:pt x="426" y="548"/>
                    </a:lnTo>
                    <a:lnTo>
                      <a:pt x="436" y="548"/>
                    </a:lnTo>
                    <a:lnTo>
                      <a:pt x="438" y="548"/>
                    </a:lnTo>
                    <a:lnTo>
                      <a:pt x="440" y="550"/>
                    </a:lnTo>
                    <a:lnTo>
                      <a:pt x="442" y="554"/>
                    </a:lnTo>
                    <a:lnTo>
                      <a:pt x="440" y="560"/>
                    </a:lnTo>
                    <a:lnTo>
                      <a:pt x="440" y="560"/>
                    </a:lnTo>
                    <a:lnTo>
                      <a:pt x="438" y="564"/>
                    </a:lnTo>
                    <a:lnTo>
                      <a:pt x="438" y="570"/>
                    </a:lnTo>
                    <a:lnTo>
                      <a:pt x="440" y="572"/>
                    </a:lnTo>
                    <a:lnTo>
                      <a:pt x="442" y="576"/>
                    </a:lnTo>
                    <a:lnTo>
                      <a:pt x="450" y="578"/>
                    </a:lnTo>
                    <a:lnTo>
                      <a:pt x="462" y="578"/>
                    </a:lnTo>
                    <a:lnTo>
                      <a:pt x="474" y="574"/>
                    </a:lnTo>
                    <a:lnTo>
                      <a:pt x="486" y="570"/>
                    </a:lnTo>
                    <a:lnTo>
                      <a:pt x="510" y="558"/>
                    </a:lnTo>
                    <a:lnTo>
                      <a:pt x="510" y="558"/>
                    </a:lnTo>
                    <a:lnTo>
                      <a:pt x="518" y="552"/>
                    </a:lnTo>
                    <a:lnTo>
                      <a:pt x="528" y="552"/>
                    </a:lnTo>
                    <a:lnTo>
                      <a:pt x="544" y="550"/>
                    </a:lnTo>
                    <a:lnTo>
                      <a:pt x="550" y="550"/>
                    </a:lnTo>
                    <a:lnTo>
                      <a:pt x="556" y="546"/>
                    </a:lnTo>
                    <a:lnTo>
                      <a:pt x="560" y="538"/>
                    </a:lnTo>
                    <a:lnTo>
                      <a:pt x="562" y="526"/>
                    </a:lnTo>
                    <a:lnTo>
                      <a:pt x="562" y="526"/>
                    </a:lnTo>
                    <a:lnTo>
                      <a:pt x="562" y="520"/>
                    </a:lnTo>
                    <a:lnTo>
                      <a:pt x="560" y="518"/>
                    </a:lnTo>
                    <a:lnTo>
                      <a:pt x="558" y="514"/>
                    </a:lnTo>
                    <a:lnTo>
                      <a:pt x="556" y="514"/>
                    </a:lnTo>
                    <a:lnTo>
                      <a:pt x="546" y="512"/>
                    </a:lnTo>
                    <a:lnTo>
                      <a:pt x="536" y="512"/>
                    </a:lnTo>
                    <a:lnTo>
                      <a:pt x="526" y="514"/>
                    </a:lnTo>
                    <a:lnTo>
                      <a:pt x="518" y="514"/>
                    </a:lnTo>
                    <a:lnTo>
                      <a:pt x="512" y="512"/>
                    </a:lnTo>
                    <a:lnTo>
                      <a:pt x="510" y="510"/>
                    </a:lnTo>
                    <a:lnTo>
                      <a:pt x="508" y="506"/>
                    </a:lnTo>
                    <a:lnTo>
                      <a:pt x="508" y="506"/>
                    </a:lnTo>
                    <a:lnTo>
                      <a:pt x="510" y="500"/>
                    </a:lnTo>
                    <a:lnTo>
                      <a:pt x="512" y="494"/>
                    </a:lnTo>
                    <a:lnTo>
                      <a:pt x="514" y="490"/>
                    </a:lnTo>
                    <a:lnTo>
                      <a:pt x="520" y="488"/>
                    </a:lnTo>
                    <a:lnTo>
                      <a:pt x="532" y="482"/>
                    </a:lnTo>
                    <a:lnTo>
                      <a:pt x="550" y="472"/>
                    </a:lnTo>
                    <a:lnTo>
                      <a:pt x="550" y="472"/>
                    </a:lnTo>
                    <a:lnTo>
                      <a:pt x="554" y="468"/>
                    </a:lnTo>
                    <a:lnTo>
                      <a:pt x="556" y="464"/>
                    </a:lnTo>
                    <a:lnTo>
                      <a:pt x="556" y="460"/>
                    </a:lnTo>
                    <a:lnTo>
                      <a:pt x="556" y="456"/>
                    </a:lnTo>
                    <a:lnTo>
                      <a:pt x="552" y="448"/>
                    </a:lnTo>
                    <a:lnTo>
                      <a:pt x="548" y="442"/>
                    </a:lnTo>
                    <a:lnTo>
                      <a:pt x="546" y="436"/>
                    </a:lnTo>
                    <a:lnTo>
                      <a:pt x="548" y="434"/>
                    </a:lnTo>
                    <a:lnTo>
                      <a:pt x="550" y="432"/>
                    </a:lnTo>
                    <a:lnTo>
                      <a:pt x="560" y="430"/>
                    </a:lnTo>
                    <a:lnTo>
                      <a:pt x="582" y="434"/>
                    </a:lnTo>
                    <a:lnTo>
                      <a:pt x="582" y="434"/>
                    </a:lnTo>
                    <a:lnTo>
                      <a:pt x="602" y="436"/>
                    </a:lnTo>
                    <a:lnTo>
                      <a:pt x="620" y="434"/>
                    </a:lnTo>
                    <a:lnTo>
                      <a:pt x="636" y="430"/>
                    </a:lnTo>
                    <a:lnTo>
                      <a:pt x="650" y="424"/>
                    </a:lnTo>
                    <a:lnTo>
                      <a:pt x="660" y="418"/>
                    </a:lnTo>
                    <a:lnTo>
                      <a:pt x="666" y="410"/>
                    </a:lnTo>
                    <a:lnTo>
                      <a:pt x="668" y="402"/>
                    </a:lnTo>
                    <a:lnTo>
                      <a:pt x="668" y="400"/>
                    </a:lnTo>
                    <a:lnTo>
                      <a:pt x="666" y="396"/>
                    </a:lnTo>
                    <a:lnTo>
                      <a:pt x="666" y="396"/>
                    </a:lnTo>
                    <a:lnTo>
                      <a:pt x="664" y="394"/>
                    </a:lnTo>
                    <a:lnTo>
                      <a:pt x="664" y="392"/>
                    </a:lnTo>
                    <a:lnTo>
                      <a:pt x="666" y="388"/>
                    </a:lnTo>
                    <a:lnTo>
                      <a:pt x="680" y="382"/>
                    </a:lnTo>
                    <a:lnTo>
                      <a:pt x="684" y="378"/>
                    </a:lnTo>
                    <a:lnTo>
                      <a:pt x="684" y="376"/>
                    </a:lnTo>
                    <a:lnTo>
                      <a:pt x="684" y="372"/>
                    </a:lnTo>
                    <a:lnTo>
                      <a:pt x="678" y="366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48" y="350"/>
                    </a:lnTo>
                    <a:lnTo>
                      <a:pt x="644" y="348"/>
                    </a:lnTo>
                    <a:lnTo>
                      <a:pt x="644" y="346"/>
                    </a:lnTo>
                    <a:lnTo>
                      <a:pt x="650" y="346"/>
                    </a:lnTo>
                    <a:lnTo>
                      <a:pt x="662" y="348"/>
                    </a:lnTo>
                    <a:lnTo>
                      <a:pt x="674" y="348"/>
                    </a:lnTo>
                    <a:lnTo>
                      <a:pt x="686" y="348"/>
                    </a:lnTo>
                    <a:lnTo>
                      <a:pt x="690" y="348"/>
                    </a:lnTo>
                    <a:lnTo>
                      <a:pt x="694" y="346"/>
                    </a:lnTo>
                    <a:lnTo>
                      <a:pt x="696" y="344"/>
                    </a:lnTo>
                    <a:lnTo>
                      <a:pt x="694" y="340"/>
                    </a:lnTo>
                    <a:lnTo>
                      <a:pt x="694" y="340"/>
                    </a:lnTo>
                    <a:lnTo>
                      <a:pt x="690" y="332"/>
                    </a:lnTo>
                    <a:lnTo>
                      <a:pt x="684" y="328"/>
                    </a:lnTo>
                    <a:lnTo>
                      <a:pt x="680" y="324"/>
                    </a:lnTo>
                    <a:lnTo>
                      <a:pt x="674" y="324"/>
                    </a:lnTo>
                    <a:lnTo>
                      <a:pt x="658" y="326"/>
                    </a:lnTo>
                    <a:lnTo>
                      <a:pt x="638" y="328"/>
                    </a:lnTo>
                    <a:lnTo>
                      <a:pt x="638" y="328"/>
                    </a:lnTo>
                    <a:lnTo>
                      <a:pt x="614" y="328"/>
                    </a:lnTo>
                    <a:lnTo>
                      <a:pt x="592" y="328"/>
                    </a:lnTo>
                    <a:lnTo>
                      <a:pt x="584" y="328"/>
                    </a:lnTo>
                    <a:lnTo>
                      <a:pt x="578" y="326"/>
                    </a:lnTo>
                    <a:lnTo>
                      <a:pt x="576" y="324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8" y="318"/>
                    </a:lnTo>
                    <a:lnTo>
                      <a:pt x="602" y="314"/>
                    </a:lnTo>
                    <a:lnTo>
                      <a:pt x="644" y="312"/>
                    </a:lnTo>
                    <a:lnTo>
                      <a:pt x="692" y="310"/>
                    </a:lnTo>
                    <a:lnTo>
                      <a:pt x="730" y="306"/>
                    </a:lnTo>
                    <a:lnTo>
                      <a:pt x="730" y="306"/>
                    </a:lnTo>
                    <a:lnTo>
                      <a:pt x="742" y="304"/>
                    </a:lnTo>
                    <a:lnTo>
                      <a:pt x="750" y="300"/>
                    </a:lnTo>
                    <a:lnTo>
                      <a:pt x="752" y="296"/>
                    </a:lnTo>
                    <a:lnTo>
                      <a:pt x="752" y="290"/>
                    </a:lnTo>
                    <a:lnTo>
                      <a:pt x="752" y="284"/>
                    </a:lnTo>
                    <a:lnTo>
                      <a:pt x="754" y="284"/>
                    </a:lnTo>
                    <a:lnTo>
                      <a:pt x="762" y="286"/>
                    </a:lnTo>
                    <a:lnTo>
                      <a:pt x="762" y="286"/>
                    </a:lnTo>
                    <a:lnTo>
                      <a:pt x="770" y="290"/>
                    </a:lnTo>
                    <a:lnTo>
                      <a:pt x="780" y="292"/>
                    </a:lnTo>
                    <a:lnTo>
                      <a:pt x="790" y="294"/>
                    </a:lnTo>
                    <a:lnTo>
                      <a:pt x="800" y="292"/>
                    </a:lnTo>
                    <a:lnTo>
                      <a:pt x="812" y="290"/>
                    </a:lnTo>
                    <a:lnTo>
                      <a:pt x="822" y="286"/>
                    </a:lnTo>
                    <a:lnTo>
                      <a:pt x="832" y="278"/>
                    </a:lnTo>
                    <a:lnTo>
                      <a:pt x="842" y="270"/>
                    </a:lnTo>
                    <a:lnTo>
                      <a:pt x="842" y="270"/>
                    </a:lnTo>
                    <a:lnTo>
                      <a:pt x="852" y="260"/>
                    </a:lnTo>
                    <a:lnTo>
                      <a:pt x="866" y="248"/>
                    </a:lnTo>
                    <a:lnTo>
                      <a:pt x="882" y="238"/>
                    </a:lnTo>
                    <a:lnTo>
                      <a:pt x="902" y="228"/>
                    </a:lnTo>
                    <a:lnTo>
                      <a:pt x="954" y="204"/>
                    </a:lnTo>
                    <a:lnTo>
                      <a:pt x="1020" y="178"/>
                    </a:lnTo>
                    <a:lnTo>
                      <a:pt x="1020" y="178"/>
                    </a:lnTo>
                    <a:lnTo>
                      <a:pt x="1076" y="154"/>
                    </a:lnTo>
                    <a:lnTo>
                      <a:pt x="1092" y="146"/>
                    </a:lnTo>
                    <a:lnTo>
                      <a:pt x="1098" y="142"/>
                    </a:lnTo>
                    <a:lnTo>
                      <a:pt x="1098" y="140"/>
                    </a:lnTo>
                    <a:lnTo>
                      <a:pt x="1094" y="140"/>
                    </a:lnTo>
                    <a:lnTo>
                      <a:pt x="1084" y="140"/>
                    </a:lnTo>
                    <a:lnTo>
                      <a:pt x="1038" y="142"/>
                    </a:lnTo>
                    <a:lnTo>
                      <a:pt x="1038" y="142"/>
                    </a:lnTo>
                    <a:lnTo>
                      <a:pt x="1014" y="144"/>
                    </a:lnTo>
                    <a:lnTo>
                      <a:pt x="1002" y="144"/>
                    </a:lnTo>
                    <a:lnTo>
                      <a:pt x="1000" y="142"/>
                    </a:lnTo>
                    <a:lnTo>
                      <a:pt x="1000" y="142"/>
                    </a:lnTo>
                    <a:lnTo>
                      <a:pt x="1006" y="138"/>
                    </a:lnTo>
                    <a:lnTo>
                      <a:pt x="1034" y="130"/>
                    </a:lnTo>
                    <a:lnTo>
                      <a:pt x="1072" y="122"/>
                    </a:lnTo>
                    <a:lnTo>
                      <a:pt x="1072" y="122"/>
                    </a:lnTo>
                    <a:lnTo>
                      <a:pt x="1118" y="112"/>
                    </a:lnTo>
                    <a:lnTo>
                      <a:pt x="1172" y="100"/>
                    </a:lnTo>
                    <a:lnTo>
                      <a:pt x="1198" y="92"/>
                    </a:lnTo>
                    <a:lnTo>
                      <a:pt x="1218" y="84"/>
                    </a:lnTo>
                    <a:lnTo>
                      <a:pt x="1232" y="76"/>
                    </a:lnTo>
                    <a:lnTo>
                      <a:pt x="1236" y="72"/>
                    </a:lnTo>
                    <a:lnTo>
                      <a:pt x="1236" y="68"/>
                    </a:lnTo>
                    <a:lnTo>
                      <a:pt x="1236" y="68"/>
                    </a:lnTo>
                    <a:lnTo>
                      <a:pt x="1236" y="64"/>
                    </a:lnTo>
                    <a:lnTo>
                      <a:pt x="1234" y="62"/>
                    </a:lnTo>
                    <a:lnTo>
                      <a:pt x="1224" y="58"/>
                    </a:lnTo>
                    <a:lnTo>
                      <a:pt x="1210" y="58"/>
                    </a:lnTo>
                    <a:lnTo>
                      <a:pt x="1196" y="56"/>
                    </a:lnTo>
                    <a:lnTo>
                      <a:pt x="1182" y="56"/>
                    </a:lnTo>
                    <a:lnTo>
                      <a:pt x="1168" y="54"/>
                    </a:lnTo>
                    <a:lnTo>
                      <a:pt x="1160" y="50"/>
                    </a:lnTo>
                    <a:lnTo>
                      <a:pt x="1158" y="48"/>
                    </a:lnTo>
                    <a:lnTo>
                      <a:pt x="1156" y="44"/>
                    </a:lnTo>
                    <a:lnTo>
                      <a:pt x="1156" y="44"/>
                    </a:lnTo>
                    <a:lnTo>
                      <a:pt x="1156" y="40"/>
                    </a:lnTo>
                    <a:lnTo>
                      <a:pt x="1154" y="36"/>
                    </a:lnTo>
                    <a:lnTo>
                      <a:pt x="1146" y="30"/>
                    </a:lnTo>
                    <a:lnTo>
                      <a:pt x="1136" y="26"/>
                    </a:lnTo>
                    <a:lnTo>
                      <a:pt x="1122" y="24"/>
                    </a:lnTo>
                    <a:lnTo>
                      <a:pt x="1094" y="20"/>
                    </a:lnTo>
                    <a:lnTo>
                      <a:pt x="1078" y="20"/>
                    </a:lnTo>
                    <a:lnTo>
                      <a:pt x="1078" y="20"/>
                    </a:lnTo>
                    <a:lnTo>
                      <a:pt x="1062" y="22"/>
                    </a:lnTo>
                    <a:lnTo>
                      <a:pt x="1050" y="22"/>
                    </a:lnTo>
                    <a:lnTo>
                      <a:pt x="1038" y="22"/>
                    </a:lnTo>
                    <a:lnTo>
                      <a:pt x="1018" y="30"/>
                    </a:lnTo>
                    <a:lnTo>
                      <a:pt x="1018" y="30"/>
                    </a:lnTo>
                    <a:lnTo>
                      <a:pt x="1004" y="34"/>
                    </a:lnTo>
                    <a:lnTo>
                      <a:pt x="990" y="38"/>
                    </a:lnTo>
                    <a:lnTo>
                      <a:pt x="962" y="40"/>
                    </a:lnTo>
                    <a:lnTo>
                      <a:pt x="948" y="40"/>
                    </a:lnTo>
                    <a:lnTo>
                      <a:pt x="948" y="40"/>
                    </a:lnTo>
                    <a:lnTo>
                      <a:pt x="948" y="38"/>
                    </a:lnTo>
                    <a:lnTo>
                      <a:pt x="958" y="36"/>
                    </a:lnTo>
                    <a:lnTo>
                      <a:pt x="958" y="36"/>
                    </a:lnTo>
                    <a:lnTo>
                      <a:pt x="986" y="30"/>
                    </a:lnTo>
                    <a:lnTo>
                      <a:pt x="1004" y="24"/>
                    </a:lnTo>
                    <a:lnTo>
                      <a:pt x="1008" y="22"/>
                    </a:lnTo>
                    <a:lnTo>
                      <a:pt x="1008" y="20"/>
                    </a:lnTo>
                    <a:lnTo>
                      <a:pt x="1006" y="20"/>
                    </a:lnTo>
                    <a:lnTo>
                      <a:pt x="998" y="18"/>
                    </a:lnTo>
                    <a:lnTo>
                      <a:pt x="980" y="16"/>
                    </a:lnTo>
                    <a:lnTo>
                      <a:pt x="980" y="16"/>
                    </a:lnTo>
                    <a:lnTo>
                      <a:pt x="958" y="16"/>
                    </a:lnTo>
                    <a:lnTo>
                      <a:pt x="942" y="14"/>
                    </a:lnTo>
                    <a:lnTo>
                      <a:pt x="912" y="6"/>
                    </a:lnTo>
                    <a:lnTo>
                      <a:pt x="900" y="2"/>
                    </a:lnTo>
                    <a:lnTo>
                      <a:pt x="888" y="0"/>
                    </a:lnTo>
                    <a:lnTo>
                      <a:pt x="874" y="0"/>
                    </a:lnTo>
                    <a:lnTo>
                      <a:pt x="858" y="2"/>
                    </a:lnTo>
                    <a:lnTo>
                      <a:pt x="858" y="2"/>
                    </a:lnTo>
                    <a:lnTo>
                      <a:pt x="830" y="4"/>
                    </a:lnTo>
                    <a:lnTo>
                      <a:pt x="808" y="4"/>
                    </a:lnTo>
                    <a:lnTo>
                      <a:pt x="788" y="4"/>
                    </a:lnTo>
                    <a:lnTo>
                      <a:pt x="776" y="6"/>
                    </a:lnTo>
                    <a:lnTo>
                      <a:pt x="762" y="10"/>
                    </a:lnTo>
                    <a:lnTo>
                      <a:pt x="762" y="10"/>
                    </a:lnTo>
                    <a:lnTo>
                      <a:pt x="746" y="14"/>
                    </a:lnTo>
                    <a:lnTo>
                      <a:pt x="728" y="14"/>
                    </a:lnTo>
                    <a:lnTo>
                      <a:pt x="690" y="10"/>
                    </a:lnTo>
                    <a:lnTo>
                      <a:pt x="666" y="10"/>
                    </a:lnTo>
                    <a:lnTo>
                      <a:pt x="640" y="10"/>
                    </a:lnTo>
                    <a:lnTo>
                      <a:pt x="608" y="12"/>
                    </a:lnTo>
                    <a:lnTo>
                      <a:pt x="574" y="20"/>
                    </a:lnTo>
                    <a:lnTo>
                      <a:pt x="574" y="20"/>
                    </a:lnTo>
                    <a:lnTo>
                      <a:pt x="556" y="22"/>
                    </a:lnTo>
                    <a:lnTo>
                      <a:pt x="540" y="22"/>
                    </a:lnTo>
                    <a:lnTo>
                      <a:pt x="526" y="20"/>
                    </a:lnTo>
                    <a:lnTo>
                      <a:pt x="514" y="16"/>
                    </a:lnTo>
                    <a:lnTo>
                      <a:pt x="500" y="14"/>
                    </a:lnTo>
                    <a:lnTo>
                      <a:pt x="490" y="12"/>
                    </a:lnTo>
                    <a:lnTo>
                      <a:pt x="478" y="14"/>
                    </a:lnTo>
                    <a:lnTo>
                      <a:pt x="466" y="18"/>
                    </a:lnTo>
                    <a:lnTo>
                      <a:pt x="466" y="18"/>
                    </a:lnTo>
                    <a:lnTo>
                      <a:pt x="454" y="22"/>
                    </a:lnTo>
                    <a:lnTo>
                      <a:pt x="442" y="24"/>
                    </a:lnTo>
                    <a:lnTo>
                      <a:pt x="432" y="24"/>
                    </a:lnTo>
                    <a:lnTo>
                      <a:pt x="422" y="24"/>
                    </a:lnTo>
                    <a:lnTo>
                      <a:pt x="416" y="22"/>
                    </a:lnTo>
                    <a:lnTo>
                      <a:pt x="412" y="24"/>
                    </a:lnTo>
                    <a:lnTo>
                      <a:pt x="416" y="28"/>
                    </a:lnTo>
                    <a:lnTo>
                      <a:pt x="424" y="36"/>
                    </a:lnTo>
                    <a:lnTo>
                      <a:pt x="424" y="36"/>
                    </a:lnTo>
                    <a:lnTo>
                      <a:pt x="430" y="44"/>
                    </a:lnTo>
                    <a:lnTo>
                      <a:pt x="430" y="46"/>
                    </a:lnTo>
                    <a:lnTo>
                      <a:pt x="430" y="48"/>
                    </a:lnTo>
                    <a:lnTo>
                      <a:pt x="424" y="48"/>
                    </a:lnTo>
                    <a:lnTo>
                      <a:pt x="414" y="46"/>
                    </a:lnTo>
                    <a:lnTo>
                      <a:pt x="404" y="44"/>
                    </a:lnTo>
                    <a:lnTo>
                      <a:pt x="392" y="42"/>
                    </a:lnTo>
                    <a:lnTo>
                      <a:pt x="384" y="44"/>
                    </a:lnTo>
                    <a:lnTo>
                      <a:pt x="380" y="46"/>
                    </a:lnTo>
                    <a:lnTo>
                      <a:pt x="378" y="50"/>
                    </a:lnTo>
                    <a:lnTo>
                      <a:pt x="378" y="50"/>
                    </a:lnTo>
                    <a:lnTo>
                      <a:pt x="376" y="58"/>
                    </a:lnTo>
                    <a:lnTo>
                      <a:pt x="372" y="62"/>
                    </a:lnTo>
                    <a:lnTo>
                      <a:pt x="366" y="66"/>
                    </a:lnTo>
                    <a:lnTo>
                      <a:pt x="360" y="68"/>
                    </a:lnTo>
                    <a:lnTo>
                      <a:pt x="352" y="70"/>
                    </a:lnTo>
                    <a:lnTo>
                      <a:pt x="340" y="70"/>
                    </a:lnTo>
                    <a:lnTo>
                      <a:pt x="312" y="68"/>
                    </a:lnTo>
                    <a:lnTo>
                      <a:pt x="312" y="68"/>
                    </a:lnTo>
                    <a:lnTo>
                      <a:pt x="300" y="66"/>
                    </a:lnTo>
                    <a:lnTo>
                      <a:pt x="292" y="64"/>
                    </a:lnTo>
                    <a:lnTo>
                      <a:pt x="290" y="60"/>
                    </a:lnTo>
                    <a:lnTo>
                      <a:pt x="290" y="58"/>
                    </a:lnTo>
                    <a:lnTo>
                      <a:pt x="290" y="56"/>
                    </a:lnTo>
                    <a:lnTo>
                      <a:pt x="288" y="54"/>
                    </a:lnTo>
                    <a:lnTo>
                      <a:pt x="280" y="52"/>
                    </a:lnTo>
                    <a:lnTo>
                      <a:pt x="264" y="52"/>
                    </a:lnTo>
                    <a:lnTo>
                      <a:pt x="264" y="52"/>
                    </a:lnTo>
                    <a:lnTo>
                      <a:pt x="250" y="52"/>
                    </a:lnTo>
                    <a:lnTo>
                      <a:pt x="244" y="52"/>
                    </a:lnTo>
                    <a:lnTo>
                      <a:pt x="244" y="56"/>
                    </a:lnTo>
                    <a:lnTo>
                      <a:pt x="246" y="60"/>
                    </a:lnTo>
                    <a:lnTo>
                      <a:pt x="248" y="64"/>
                    </a:lnTo>
                    <a:lnTo>
                      <a:pt x="248" y="66"/>
                    </a:lnTo>
                    <a:lnTo>
                      <a:pt x="248" y="68"/>
                    </a:lnTo>
                    <a:lnTo>
                      <a:pt x="240" y="72"/>
                    </a:lnTo>
                    <a:lnTo>
                      <a:pt x="224" y="76"/>
                    </a:lnTo>
                    <a:lnTo>
                      <a:pt x="224" y="76"/>
                    </a:lnTo>
                    <a:lnTo>
                      <a:pt x="208" y="78"/>
                    </a:lnTo>
                    <a:lnTo>
                      <a:pt x="206" y="78"/>
                    </a:lnTo>
                    <a:lnTo>
                      <a:pt x="206" y="80"/>
                    </a:lnTo>
                    <a:lnTo>
                      <a:pt x="212" y="82"/>
                    </a:lnTo>
                    <a:lnTo>
                      <a:pt x="224" y="86"/>
                    </a:lnTo>
                    <a:lnTo>
                      <a:pt x="248" y="92"/>
                    </a:lnTo>
                    <a:lnTo>
                      <a:pt x="254" y="94"/>
                    </a:lnTo>
                    <a:lnTo>
                      <a:pt x="252" y="96"/>
                    </a:lnTo>
                    <a:lnTo>
                      <a:pt x="248" y="98"/>
                    </a:lnTo>
                    <a:lnTo>
                      <a:pt x="248" y="98"/>
                    </a:lnTo>
                    <a:lnTo>
                      <a:pt x="238" y="98"/>
                    </a:lnTo>
                    <a:lnTo>
                      <a:pt x="228" y="98"/>
                    </a:lnTo>
                    <a:lnTo>
                      <a:pt x="206" y="92"/>
                    </a:lnTo>
                    <a:lnTo>
                      <a:pt x="194" y="90"/>
                    </a:lnTo>
                    <a:lnTo>
                      <a:pt x="180" y="88"/>
                    </a:lnTo>
                    <a:lnTo>
                      <a:pt x="166" y="86"/>
                    </a:lnTo>
                    <a:lnTo>
                      <a:pt x="146" y="88"/>
                    </a:lnTo>
                    <a:lnTo>
                      <a:pt x="146" y="88"/>
                    </a:lnTo>
                    <a:lnTo>
                      <a:pt x="130" y="92"/>
                    </a:lnTo>
                    <a:lnTo>
                      <a:pt x="120" y="94"/>
                    </a:lnTo>
                    <a:lnTo>
                      <a:pt x="112" y="98"/>
                    </a:lnTo>
                    <a:lnTo>
                      <a:pt x="108" y="102"/>
                    </a:lnTo>
                    <a:lnTo>
                      <a:pt x="104" y="106"/>
                    </a:lnTo>
                    <a:lnTo>
                      <a:pt x="100" y="106"/>
                    </a:lnTo>
                    <a:lnTo>
                      <a:pt x="92" y="108"/>
                    </a:lnTo>
                    <a:lnTo>
                      <a:pt x="80" y="106"/>
                    </a:lnTo>
                    <a:lnTo>
                      <a:pt x="80" y="106"/>
                    </a:lnTo>
                    <a:lnTo>
                      <a:pt x="66" y="104"/>
                    </a:lnTo>
                    <a:lnTo>
                      <a:pt x="50" y="104"/>
                    </a:lnTo>
                    <a:lnTo>
                      <a:pt x="36" y="108"/>
                    </a:lnTo>
                    <a:lnTo>
                      <a:pt x="22" y="112"/>
                    </a:lnTo>
                    <a:lnTo>
                      <a:pt x="12" y="118"/>
                    </a:lnTo>
                    <a:lnTo>
                      <a:pt x="4" y="124"/>
                    </a:lnTo>
                    <a:lnTo>
                      <a:pt x="0" y="130"/>
                    </a:lnTo>
                    <a:lnTo>
                      <a:pt x="2" y="134"/>
                    </a:lnTo>
                    <a:lnTo>
                      <a:pt x="4" y="138"/>
                    </a:lnTo>
                    <a:lnTo>
                      <a:pt x="4" y="138"/>
                    </a:lnTo>
                    <a:lnTo>
                      <a:pt x="8" y="142"/>
                    </a:lnTo>
                    <a:lnTo>
                      <a:pt x="12" y="144"/>
                    </a:lnTo>
                    <a:lnTo>
                      <a:pt x="16" y="144"/>
                    </a:lnTo>
                    <a:lnTo>
                      <a:pt x="22" y="144"/>
                    </a:lnTo>
                    <a:lnTo>
                      <a:pt x="32" y="144"/>
                    </a:lnTo>
                    <a:lnTo>
                      <a:pt x="36" y="144"/>
                    </a:lnTo>
                    <a:lnTo>
                      <a:pt x="44" y="148"/>
                    </a:lnTo>
                    <a:lnTo>
                      <a:pt x="44" y="14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02" name="Freeform 6107">
                <a:extLst>
                  <a:ext uri="{FF2B5EF4-FFF2-40B4-BE49-F238E27FC236}">
                    <a16:creationId xmlns:a16="http://schemas.microsoft.com/office/drawing/2014/main" id="{7386A4EB-BDF4-4980-A5F8-1F37EF5ED9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5530" y="1211263"/>
                <a:ext cx="121920" cy="48260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42"/>
                  </a:cxn>
                  <a:cxn ang="0">
                    <a:pos x="26" y="46"/>
                  </a:cxn>
                  <a:cxn ang="0">
                    <a:pos x="26" y="52"/>
                  </a:cxn>
                  <a:cxn ang="0">
                    <a:pos x="28" y="56"/>
                  </a:cxn>
                  <a:cxn ang="0">
                    <a:pos x="30" y="62"/>
                  </a:cxn>
                  <a:cxn ang="0">
                    <a:pos x="36" y="66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6" y="76"/>
                  </a:cxn>
                  <a:cxn ang="0">
                    <a:pos x="66" y="76"/>
                  </a:cxn>
                  <a:cxn ang="0">
                    <a:pos x="72" y="76"/>
                  </a:cxn>
                  <a:cxn ang="0">
                    <a:pos x="80" y="74"/>
                  </a:cxn>
                  <a:cxn ang="0">
                    <a:pos x="94" y="68"/>
                  </a:cxn>
                  <a:cxn ang="0">
                    <a:pos x="104" y="66"/>
                  </a:cxn>
                  <a:cxn ang="0">
                    <a:pos x="118" y="68"/>
                  </a:cxn>
                  <a:cxn ang="0">
                    <a:pos x="118" y="68"/>
                  </a:cxn>
                  <a:cxn ang="0">
                    <a:pos x="148" y="70"/>
                  </a:cxn>
                  <a:cxn ang="0">
                    <a:pos x="176" y="72"/>
                  </a:cxn>
                  <a:cxn ang="0">
                    <a:pos x="184" y="70"/>
                  </a:cxn>
                  <a:cxn ang="0">
                    <a:pos x="192" y="68"/>
                  </a:cxn>
                  <a:cxn ang="0">
                    <a:pos x="192" y="66"/>
                  </a:cxn>
                  <a:cxn ang="0">
                    <a:pos x="192" y="62"/>
                  </a:cxn>
                  <a:cxn ang="0">
                    <a:pos x="188" y="58"/>
                  </a:cxn>
                  <a:cxn ang="0">
                    <a:pos x="188" y="58"/>
                  </a:cxn>
                  <a:cxn ang="0">
                    <a:pos x="174" y="42"/>
                  </a:cxn>
                  <a:cxn ang="0">
                    <a:pos x="166" y="34"/>
                  </a:cxn>
                  <a:cxn ang="0">
                    <a:pos x="156" y="26"/>
                  </a:cxn>
                  <a:cxn ang="0">
                    <a:pos x="144" y="18"/>
                  </a:cxn>
                  <a:cxn ang="0">
                    <a:pos x="130" y="12"/>
                  </a:cxn>
                  <a:cxn ang="0">
                    <a:pos x="114" y="10"/>
                  </a:cxn>
                  <a:cxn ang="0">
                    <a:pos x="96" y="10"/>
                  </a:cxn>
                  <a:cxn ang="0">
                    <a:pos x="96" y="10"/>
                  </a:cxn>
                  <a:cxn ang="0">
                    <a:pos x="76" y="8"/>
                  </a:cxn>
                  <a:cxn ang="0">
                    <a:pos x="58" y="6"/>
                  </a:cxn>
                  <a:cxn ang="0">
                    <a:pos x="30" y="2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8" y="4"/>
                  </a:cxn>
                  <a:cxn ang="0">
                    <a:pos x="4" y="6"/>
                  </a:cxn>
                  <a:cxn ang="0">
                    <a:pos x="2" y="16"/>
                  </a:cxn>
                  <a:cxn ang="0">
                    <a:pos x="2" y="16"/>
                  </a:cxn>
                </a:cxnLst>
                <a:rect l="0" t="0" r="r" b="b"/>
                <a:pathLst>
                  <a:path w="192" h="76">
                    <a:moveTo>
                      <a:pt x="2" y="16"/>
                    </a:moveTo>
                    <a:lnTo>
                      <a:pt x="2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42"/>
                    </a:lnTo>
                    <a:lnTo>
                      <a:pt x="26" y="46"/>
                    </a:lnTo>
                    <a:lnTo>
                      <a:pt x="26" y="52"/>
                    </a:lnTo>
                    <a:lnTo>
                      <a:pt x="28" y="56"/>
                    </a:lnTo>
                    <a:lnTo>
                      <a:pt x="30" y="62"/>
                    </a:lnTo>
                    <a:lnTo>
                      <a:pt x="36" y="66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6" y="76"/>
                    </a:lnTo>
                    <a:lnTo>
                      <a:pt x="66" y="76"/>
                    </a:lnTo>
                    <a:lnTo>
                      <a:pt x="72" y="76"/>
                    </a:lnTo>
                    <a:lnTo>
                      <a:pt x="80" y="74"/>
                    </a:lnTo>
                    <a:lnTo>
                      <a:pt x="94" y="68"/>
                    </a:lnTo>
                    <a:lnTo>
                      <a:pt x="104" y="66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48" y="70"/>
                    </a:lnTo>
                    <a:lnTo>
                      <a:pt x="176" y="72"/>
                    </a:lnTo>
                    <a:lnTo>
                      <a:pt x="184" y="70"/>
                    </a:lnTo>
                    <a:lnTo>
                      <a:pt x="192" y="68"/>
                    </a:lnTo>
                    <a:lnTo>
                      <a:pt x="192" y="66"/>
                    </a:lnTo>
                    <a:lnTo>
                      <a:pt x="192" y="62"/>
                    </a:lnTo>
                    <a:lnTo>
                      <a:pt x="188" y="58"/>
                    </a:lnTo>
                    <a:lnTo>
                      <a:pt x="188" y="58"/>
                    </a:lnTo>
                    <a:lnTo>
                      <a:pt x="174" y="42"/>
                    </a:lnTo>
                    <a:lnTo>
                      <a:pt x="166" y="34"/>
                    </a:lnTo>
                    <a:lnTo>
                      <a:pt x="156" y="26"/>
                    </a:lnTo>
                    <a:lnTo>
                      <a:pt x="144" y="18"/>
                    </a:lnTo>
                    <a:lnTo>
                      <a:pt x="130" y="12"/>
                    </a:lnTo>
                    <a:lnTo>
                      <a:pt x="114" y="10"/>
                    </a:lnTo>
                    <a:lnTo>
                      <a:pt x="96" y="10"/>
                    </a:lnTo>
                    <a:lnTo>
                      <a:pt x="96" y="10"/>
                    </a:lnTo>
                    <a:lnTo>
                      <a:pt x="76" y="8"/>
                    </a:lnTo>
                    <a:lnTo>
                      <a:pt x="58" y="6"/>
                    </a:lnTo>
                    <a:lnTo>
                      <a:pt x="30" y="2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2" y="16"/>
                    </a:lnTo>
                    <a:lnTo>
                      <a:pt x="2" y="1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03" name="Freeform 6108">
                <a:extLst>
                  <a:ext uri="{FF2B5EF4-FFF2-40B4-BE49-F238E27FC236}">
                    <a16:creationId xmlns:a16="http://schemas.microsoft.com/office/drawing/2014/main" id="{575D1817-C39A-4014-82AE-4C23C89EE4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2760" y="1103313"/>
                <a:ext cx="29210" cy="11430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2" y="18"/>
                  </a:cxn>
                  <a:cxn ang="0">
                    <a:pos x="8" y="18"/>
                  </a:cxn>
                  <a:cxn ang="0">
                    <a:pos x="14" y="18"/>
                  </a:cxn>
                  <a:cxn ang="0">
                    <a:pos x="30" y="12"/>
                  </a:cxn>
                  <a:cxn ang="0">
                    <a:pos x="42" y="4"/>
                  </a:cxn>
                  <a:cxn ang="0">
                    <a:pos x="46" y="2"/>
                  </a:cxn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16" y="6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2" y="18"/>
                  </a:cxn>
                </a:cxnLst>
                <a:rect l="0" t="0" r="r" b="b"/>
                <a:pathLst>
                  <a:path w="46" h="18">
                    <a:moveTo>
                      <a:pt x="2" y="18"/>
                    </a:moveTo>
                    <a:lnTo>
                      <a:pt x="2" y="18"/>
                    </a:lnTo>
                    <a:lnTo>
                      <a:pt x="8" y="18"/>
                    </a:lnTo>
                    <a:lnTo>
                      <a:pt x="14" y="18"/>
                    </a:lnTo>
                    <a:lnTo>
                      <a:pt x="30" y="12"/>
                    </a:lnTo>
                    <a:lnTo>
                      <a:pt x="42" y="4"/>
                    </a:lnTo>
                    <a:lnTo>
                      <a:pt x="46" y="2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32" y="2"/>
                    </a:lnTo>
                    <a:lnTo>
                      <a:pt x="16" y="6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04" name="Freeform 6109">
                <a:extLst>
                  <a:ext uri="{FF2B5EF4-FFF2-40B4-BE49-F238E27FC236}">
                    <a16:creationId xmlns:a16="http://schemas.microsoft.com/office/drawing/2014/main" id="{03D51389-DE69-4B46-881B-26E855DD10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4530" y="1190943"/>
                <a:ext cx="138430" cy="102870"/>
              </a:xfrm>
              <a:custGeom>
                <a:avLst/>
                <a:gdLst/>
                <a:ahLst/>
                <a:cxnLst>
                  <a:cxn ang="0">
                    <a:pos x="166" y="92"/>
                  </a:cxn>
                  <a:cxn ang="0">
                    <a:pos x="186" y="66"/>
                  </a:cxn>
                  <a:cxn ang="0">
                    <a:pos x="216" y="36"/>
                  </a:cxn>
                  <a:cxn ang="0">
                    <a:pos x="218" y="28"/>
                  </a:cxn>
                  <a:cxn ang="0">
                    <a:pos x="216" y="22"/>
                  </a:cxn>
                  <a:cxn ang="0">
                    <a:pos x="204" y="16"/>
                  </a:cxn>
                  <a:cxn ang="0">
                    <a:pos x="190" y="12"/>
                  </a:cxn>
                  <a:cxn ang="0">
                    <a:pos x="172" y="12"/>
                  </a:cxn>
                  <a:cxn ang="0">
                    <a:pos x="156" y="16"/>
                  </a:cxn>
                  <a:cxn ang="0">
                    <a:pos x="140" y="12"/>
                  </a:cxn>
                  <a:cxn ang="0">
                    <a:pos x="122" y="4"/>
                  </a:cxn>
                  <a:cxn ang="0">
                    <a:pos x="106" y="0"/>
                  </a:cxn>
                  <a:cxn ang="0">
                    <a:pos x="84" y="0"/>
                  </a:cxn>
                  <a:cxn ang="0">
                    <a:pos x="48" y="6"/>
                  </a:cxn>
                  <a:cxn ang="0">
                    <a:pos x="20" y="16"/>
                  </a:cxn>
                  <a:cxn ang="0">
                    <a:pos x="16" y="24"/>
                  </a:cxn>
                  <a:cxn ang="0">
                    <a:pos x="22" y="30"/>
                  </a:cxn>
                  <a:cxn ang="0">
                    <a:pos x="18" y="32"/>
                  </a:cxn>
                  <a:cxn ang="0">
                    <a:pos x="6" y="32"/>
                  </a:cxn>
                  <a:cxn ang="0">
                    <a:pos x="0" y="48"/>
                  </a:cxn>
                  <a:cxn ang="0">
                    <a:pos x="0" y="74"/>
                  </a:cxn>
                  <a:cxn ang="0">
                    <a:pos x="2" y="98"/>
                  </a:cxn>
                  <a:cxn ang="0">
                    <a:pos x="10" y="114"/>
                  </a:cxn>
                  <a:cxn ang="0">
                    <a:pos x="20" y="134"/>
                  </a:cxn>
                  <a:cxn ang="0">
                    <a:pos x="20" y="142"/>
                  </a:cxn>
                  <a:cxn ang="0">
                    <a:pos x="22" y="154"/>
                  </a:cxn>
                  <a:cxn ang="0">
                    <a:pos x="30" y="156"/>
                  </a:cxn>
                  <a:cxn ang="0">
                    <a:pos x="54" y="156"/>
                  </a:cxn>
                  <a:cxn ang="0">
                    <a:pos x="62" y="160"/>
                  </a:cxn>
                  <a:cxn ang="0">
                    <a:pos x="70" y="160"/>
                  </a:cxn>
                  <a:cxn ang="0">
                    <a:pos x="76" y="146"/>
                  </a:cxn>
                  <a:cxn ang="0">
                    <a:pos x="82" y="138"/>
                  </a:cxn>
                  <a:cxn ang="0">
                    <a:pos x="90" y="132"/>
                  </a:cxn>
                  <a:cxn ang="0">
                    <a:pos x="90" y="122"/>
                  </a:cxn>
                  <a:cxn ang="0">
                    <a:pos x="86" y="114"/>
                  </a:cxn>
                  <a:cxn ang="0">
                    <a:pos x="84" y="106"/>
                  </a:cxn>
                  <a:cxn ang="0">
                    <a:pos x="88" y="104"/>
                  </a:cxn>
                  <a:cxn ang="0">
                    <a:pos x="112" y="106"/>
                  </a:cxn>
                  <a:cxn ang="0">
                    <a:pos x="142" y="106"/>
                  </a:cxn>
                  <a:cxn ang="0">
                    <a:pos x="156" y="102"/>
                  </a:cxn>
                  <a:cxn ang="0">
                    <a:pos x="166" y="92"/>
                  </a:cxn>
                </a:cxnLst>
                <a:rect l="0" t="0" r="r" b="b"/>
                <a:pathLst>
                  <a:path w="218" h="162">
                    <a:moveTo>
                      <a:pt x="166" y="92"/>
                    </a:moveTo>
                    <a:lnTo>
                      <a:pt x="166" y="92"/>
                    </a:lnTo>
                    <a:lnTo>
                      <a:pt x="176" y="80"/>
                    </a:lnTo>
                    <a:lnTo>
                      <a:pt x="186" y="66"/>
                    </a:lnTo>
                    <a:lnTo>
                      <a:pt x="208" y="46"/>
                    </a:lnTo>
                    <a:lnTo>
                      <a:pt x="216" y="36"/>
                    </a:lnTo>
                    <a:lnTo>
                      <a:pt x="218" y="32"/>
                    </a:lnTo>
                    <a:lnTo>
                      <a:pt x="218" y="28"/>
                    </a:lnTo>
                    <a:lnTo>
                      <a:pt x="218" y="24"/>
                    </a:lnTo>
                    <a:lnTo>
                      <a:pt x="216" y="22"/>
                    </a:lnTo>
                    <a:lnTo>
                      <a:pt x="210" y="18"/>
                    </a:lnTo>
                    <a:lnTo>
                      <a:pt x="204" y="16"/>
                    </a:lnTo>
                    <a:lnTo>
                      <a:pt x="204" y="16"/>
                    </a:lnTo>
                    <a:lnTo>
                      <a:pt x="190" y="12"/>
                    </a:lnTo>
                    <a:lnTo>
                      <a:pt x="180" y="12"/>
                    </a:lnTo>
                    <a:lnTo>
                      <a:pt x="172" y="12"/>
                    </a:lnTo>
                    <a:lnTo>
                      <a:pt x="166" y="14"/>
                    </a:lnTo>
                    <a:lnTo>
                      <a:pt x="156" y="16"/>
                    </a:lnTo>
                    <a:lnTo>
                      <a:pt x="148" y="16"/>
                    </a:lnTo>
                    <a:lnTo>
                      <a:pt x="140" y="12"/>
                    </a:lnTo>
                    <a:lnTo>
                      <a:pt x="140" y="12"/>
                    </a:lnTo>
                    <a:lnTo>
                      <a:pt x="122" y="4"/>
                    </a:lnTo>
                    <a:lnTo>
                      <a:pt x="114" y="2"/>
                    </a:lnTo>
                    <a:lnTo>
                      <a:pt x="106" y="0"/>
                    </a:lnTo>
                    <a:lnTo>
                      <a:pt x="96" y="0"/>
                    </a:lnTo>
                    <a:lnTo>
                      <a:pt x="84" y="0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30" y="10"/>
                    </a:lnTo>
                    <a:lnTo>
                      <a:pt x="20" y="16"/>
                    </a:lnTo>
                    <a:lnTo>
                      <a:pt x="16" y="20"/>
                    </a:lnTo>
                    <a:lnTo>
                      <a:pt x="16" y="2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4" y="36"/>
                    </a:lnTo>
                    <a:lnTo>
                      <a:pt x="0" y="4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88"/>
                    </a:lnTo>
                    <a:lnTo>
                      <a:pt x="2" y="98"/>
                    </a:lnTo>
                    <a:lnTo>
                      <a:pt x="6" y="108"/>
                    </a:lnTo>
                    <a:lnTo>
                      <a:pt x="10" y="114"/>
                    </a:lnTo>
                    <a:lnTo>
                      <a:pt x="18" y="126"/>
                    </a:lnTo>
                    <a:lnTo>
                      <a:pt x="20" y="134"/>
                    </a:lnTo>
                    <a:lnTo>
                      <a:pt x="20" y="142"/>
                    </a:lnTo>
                    <a:lnTo>
                      <a:pt x="20" y="142"/>
                    </a:lnTo>
                    <a:lnTo>
                      <a:pt x="20" y="150"/>
                    </a:lnTo>
                    <a:lnTo>
                      <a:pt x="22" y="154"/>
                    </a:lnTo>
                    <a:lnTo>
                      <a:pt x="26" y="156"/>
                    </a:lnTo>
                    <a:lnTo>
                      <a:pt x="30" y="156"/>
                    </a:lnTo>
                    <a:lnTo>
                      <a:pt x="46" y="156"/>
                    </a:lnTo>
                    <a:lnTo>
                      <a:pt x="54" y="156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8" y="162"/>
                    </a:lnTo>
                    <a:lnTo>
                      <a:pt x="70" y="160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8" y="140"/>
                    </a:lnTo>
                    <a:lnTo>
                      <a:pt x="82" y="138"/>
                    </a:lnTo>
                    <a:lnTo>
                      <a:pt x="88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90" y="122"/>
                    </a:lnTo>
                    <a:lnTo>
                      <a:pt x="86" y="114"/>
                    </a:lnTo>
                    <a:lnTo>
                      <a:pt x="86" y="114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6" y="104"/>
                    </a:lnTo>
                    <a:lnTo>
                      <a:pt x="88" y="104"/>
                    </a:lnTo>
                    <a:lnTo>
                      <a:pt x="98" y="104"/>
                    </a:lnTo>
                    <a:lnTo>
                      <a:pt x="112" y="106"/>
                    </a:lnTo>
                    <a:lnTo>
                      <a:pt x="128" y="108"/>
                    </a:lnTo>
                    <a:lnTo>
                      <a:pt x="142" y="106"/>
                    </a:lnTo>
                    <a:lnTo>
                      <a:pt x="150" y="106"/>
                    </a:lnTo>
                    <a:lnTo>
                      <a:pt x="156" y="102"/>
                    </a:lnTo>
                    <a:lnTo>
                      <a:pt x="162" y="98"/>
                    </a:lnTo>
                    <a:lnTo>
                      <a:pt x="166" y="92"/>
                    </a:lnTo>
                    <a:lnTo>
                      <a:pt x="166" y="9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05" name="Freeform 6110">
                <a:extLst>
                  <a:ext uri="{FF2B5EF4-FFF2-40B4-BE49-F238E27FC236}">
                    <a16:creationId xmlns:a16="http://schemas.microsoft.com/office/drawing/2014/main" id="{A3091D39-4827-4477-AC9E-2EF92DDFD2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2970" y="1573213"/>
                <a:ext cx="176530" cy="121920"/>
              </a:xfrm>
              <a:custGeom>
                <a:avLst/>
                <a:gdLst/>
                <a:ahLst/>
                <a:cxnLst>
                  <a:cxn ang="0">
                    <a:pos x="272" y="132"/>
                  </a:cxn>
                  <a:cxn ang="0">
                    <a:pos x="258" y="122"/>
                  </a:cxn>
                  <a:cxn ang="0">
                    <a:pos x="250" y="126"/>
                  </a:cxn>
                  <a:cxn ang="0">
                    <a:pos x="236" y="124"/>
                  </a:cxn>
                  <a:cxn ang="0">
                    <a:pos x="228" y="120"/>
                  </a:cxn>
                  <a:cxn ang="0">
                    <a:pos x="220" y="102"/>
                  </a:cxn>
                  <a:cxn ang="0">
                    <a:pos x="212" y="88"/>
                  </a:cxn>
                  <a:cxn ang="0">
                    <a:pos x="192" y="78"/>
                  </a:cxn>
                  <a:cxn ang="0">
                    <a:pos x="178" y="72"/>
                  </a:cxn>
                  <a:cxn ang="0">
                    <a:pos x="140" y="46"/>
                  </a:cxn>
                  <a:cxn ang="0">
                    <a:pos x="122" y="34"/>
                  </a:cxn>
                  <a:cxn ang="0">
                    <a:pos x="110" y="34"/>
                  </a:cxn>
                  <a:cxn ang="0">
                    <a:pos x="106" y="36"/>
                  </a:cxn>
                  <a:cxn ang="0">
                    <a:pos x="100" y="40"/>
                  </a:cxn>
                  <a:cxn ang="0">
                    <a:pos x="96" y="38"/>
                  </a:cxn>
                  <a:cxn ang="0">
                    <a:pos x="86" y="24"/>
                  </a:cxn>
                  <a:cxn ang="0">
                    <a:pos x="76" y="8"/>
                  </a:cxn>
                  <a:cxn ang="0">
                    <a:pos x="66" y="0"/>
                  </a:cxn>
                  <a:cxn ang="0">
                    <a:pos x="62" y="2"/>
                  </a:cxn>
                  <a:cxn ang="0">
                    <a:pos x="54" y="6"/>
                  </a:cxn>
                  <a:cxn ang="0">
                    <a:pos x="42" y="26"/>
                  </a:cxn>
                  <a:cxn ang="0">
                    <a:pos x="36" y="58"/>
                  </a:cxn>
                  <a:cxn ang="0">
                    <a:pos x="34" y="90"/>
                  </a:cxn>
                  <a:cxn ang="0">
                    <a:pos x="38" y="106"/>
                  </a:cxn>
                  <a:cxn ang="0">
                    <a:pos x="38" y="116"/>
                  </a:cxn>
                  <a:cxn ang="0">
                    <a:pos x="34" y="124"/>
                  </a:cxn>
                  <a:cxn ang="0">
                    <a:pos x="18" y="134"/>
                  </a:cxn>
                  <a:cxn ang="0">
                    <a:pos x="4" y="142"/>
                  </a:cxn>
                  <a:cxn ang="0">
                    <a:pos x="0" y="150"/>
                  </a:cxn>
                  <a:cxn ang="0">
                    <a:pos x="4" y="158"/>
                  </a:cxn>
                  <a:cxn ang="0">
                    <a:pos x="4" y="160"/>
                  </a:cxn>
                  <a:cxn ang="0">
                    <a:pos x="16" y="162"/>
                  </a:cxn>
                  <a:cxn ang="0">
                    <a:pos x="50" y="156"/>
                  </a:cxn>
                  <a:cxn ang="0">
                    <a:pos x="64" y="156"/>
                  </a:cxn>
                  <a:cxn ang="0">
                    <a:pos x="66" y="162"/>
                  </a:cxn>
                  <a:cxn ang="0">
                    <a:pos x="66" y="166"/>
                  </a:cxn>
                  <a:cxn ang="0">
                    <a:pos x="70" y="182"/>
                  </a:cxn>
                  <a:cxn ang="0">
                    <a:pos x="82" y="190"/>
                  </a:cxn>
                  <a:cxn ang="0">
                    <a:pos x="96" y="190"/>
                  </a:cxn>
                  <a:cxn ang="0">
                    <a:pos x="110" y="176"/>
                  </a:cxn>
                  <a:cxn ang="0">
                    <a:pos x="114" y="166"/>
                  </a:cxn>
                  <a:cxn ang="0">
                    <a:pos x="124" y="160"/>
                  </a:cxn>
                  <a:cxn ang="0">
                    <a:pos x="134" y="158"/>
                  </a:cxn>
                  <a:cxn ang="0">
                    <a:pos x="142" y="150"/>
                  </a:cxn>
                  <a:cxn ang="0">
                    <a:pos x="144" y="142"/>
                  </a:cxn>
                  <a:cxn ang="0">
                    <a:pos x="154" y="128"/>
                  </a:cxn>
                  <a:cxn ang="0">
                    <a:pos x="170" y="124"/>
                  </a:cxn>
                  <a:cxn ang="0">
                    <a:pos x="184" y="130"/>
                  </a:cxn>
                  <a:cxn ang="0">
                    <a:pos x="192" y="142"/>
                  </a:cxn>
                  <a:cxn ang="0">
                    <a:pos x="194" y="148"/>
                  </a:cxn>
                  <a:cxn ang="0">
                    <a:pos x="198" y="154"/>
                  </a:cxn>
                  <a:cxn ang="0">
                    <a:pos x="214" y="156"/>
                  </a:cxn>
                  <a:cxn ang="0">
                    <a:pos x="232" y="160"/>
                  </a:cxn>
                  <a:cxn ang="0">
                    <a:pos x="254" y="162"/>
                  </a:cxn>
                  <a:cxn ang="0">
                    <a:pos x="272" y="158"/>
                  </a:cxn>
                  <a:cxn ang="0">
                    <a:pos x="278" y="148"/>
                  </a:cxn>
                  <a:cxn ang="0">
                    <a:pos x="272" y="132"/>
                  </a:cxn>
                </a:cxnLst>
                <a:rect l="0" t="0" r="r" b="b"/>
                <a:pathLst>
                  <a:path w="278" h="192">
                    <a:moveTo>
                      <a:pt x="272" y="132"/>
                    </a:moveTo>
                    <a:lnTo>
                      <a:pt x="272" y="132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6" y="122"/>
                    </a:lnTo>
                    <a:lnTo>
                      <a:pt x="250" y="126"/>
                    </a:lnTo>
                    <a:lnTo>
                      <a:pt x="244" y="126"/>
                    </a:lnTo>
                    <a:lnTo>
                      <a:pt x="236" y="124"/>
                    </a:lnTo>
                    <a:lnTo>
                      <a:pt x="236" y="124"/>
                    </a:lnTo>
                    <a:lnTo>
                      <a:pt x="228" y="120"/>
                    </a:lnTo>
                    <a:lnTo>
                      <a:pt x="224" y="114"/>
                    </a:lnTo>
                    <a:lnTo>
                      <a:pt x="220" y="102"/>
                    </a:lnTo>
                    <a:lnTo>
                      <a:pt x="218" y="96"/>
                    </a:lnTo>
                    <a:lnTo>
                      <a:pt x="212" y="88"/>
                    </a:lnTo>
                    <a:lnTo>
                      <a:pt x="204" y="82"/>
                    </a:lnTo>
                    <a:lnTo>
                      <a:pt x="192" y="78"/>
                    </a:lnTo>
                    <a:lnTo>
                      <a:pt x="192" y="78"/>
                    </a:lnTo>
                    <a:lnTo>
                      <a:pt x="178" y="72"/>
                    </a:lnTo>
                    <a:lnTo>
                      <a:pt x="164" y="64"/>
                    </a:lnTo>
                    <a:lnTo>
                      <a:pt x="140" y="46"/>
                    </a:lnTo>
                    <a:lnTo>
                      <a:pt x="130" y="38"/>
                    </a:lnTo>
                    <a:lnTo>
                      <a:pt x="122" y="34"/>
                    </a:lnTo>
                    <a:lnTo>
                      <a:pt x="114" y="32"/>
                    </a:lnTo>
                    <a:lnTo>
                      <a:pt x="110" y="34"/>
                    </a:lnTo>
                    <a:lnTo>
                      <a:pt x="106" y="36"/>
                    </a:lnTo>
                    <a:lnTo>
                      <a:pt x="106" y="36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6" y="38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70" y="2"/>
                    </a:lnTo>
                    <a:lnTo>
                      <a:pt x="66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58" y="2"/>
                    </a:lnTo>
                    <a:lnTo>
                      <a:pt x="54" y="6"/>
                    </a:lnTo>
                    <a:lnTo>
                      <a:pt x="48" y="14"/>
                    </a:lnTo>
                    <a:lnTo>
                      <a:pt x="42" y="26"/>
                    </a:lnTo>
                    <a:lnTo>
                      <a:pt x="38" y="42"/>
                    </a:lnTo>
                    <a:lnTo>
                      <a:pt x="36" y="58"/>
                    </a:lnTo>
                    <a:lnTo>
                      <a:pt x="34" y="74"/>
                    </a:lnTo>
                    <a:lnTo>
                      <a:pt x="34" y="90"/>
                    </a:lnTo>
                    <a:lnTo>
                      <a:pt x="38" y="106"/>
                    </a:lnTo>
                    <a:lnTo>
                      <a:pt x="38" y="106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36" y="122"/>
                    </a:lnTo>
                    <a:lnTo>
                      <a:pt x="34" y="124"/>
                    </a:lnTo>
                    <a:lnTo>
                      <a:pt x="26" y="130"/>
                    </a:lnTo>
                    <a:lnTo>
                      <a:pt x="18" y="134"/>
                    </a:lnTo>
                    <a:lnTo>
                      <a:pt x="10" y="138"/>
                    </a:lnTo>
                    <a:lnTo>
                      <a:pt x="4" y="142"/>
                    </a:lnTo>
                    <a:lnTo>
                      <a:pt x="2" y="146"/>
                    </a:lnTo>
                    <a:lnTo>
                      <a:pt x="0" y="150"/>
                    </a:lnTo>
                    <a:lnTo>
                      <a:pt x="2" y="154"/>
                    </a:lnTo>
                    <a:lnTo>
                      <a:pt x="4" y="158"/>
                    </a:lnTo>
                    <a:lnTo>
                      <a:pt x="4" y="158"/>
                    </a:lnTo>
                    <a:lnTo>
                      <a:pt x="4" y="160"/>
                    </a:lnTo>
                    <a:lnTo>
                      <a:pt x="8" y="162"/>
                    </a:lnTo>
                    <a:lnTo>
                      <a:pt x="16" y="162"/>
                    </a:lnTo>
                    <a:lnTo>
                      <a:pt x="38" y="158"/>
                    </a:lnTo>
                    <a:lnTo>
                      <a:pt x="50" y="156"/>
                    </a:lnTo>
                    <a:lnTo>
                      <a:pt x="60" y="156"/>
                    </a:lnTo>
                    <a:lnTo>
                      <a:pt x="64" y="156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6" y="166"/>
                    </a:lnTo>
                    <a:lnTo>
                      <a:pt x="66" y="166"/>
                    </a:lnTo>
                    <a:lnTo>
                      <a:pt x="66" y="174"/>
                    </a:lnTo>
                    <a:lnTo>
                      <a:pt x="70" y="182"/>
                    </a:lnTo>
                    <a:lnTo>
                      <a:pt x="74" y="188"/>
                    </a:lnTo>
                    <a:lnTo>
                      <a:pt x="82" y="190"/>
                    </a:lnTo>
                    <a:lnTo>
                      <a:pt x="88" y="192"/>
                    </a:lnTo>
                    <a:lnTo>
                      <a:pt x="96" y="190"/>
                    </a:lnTo>
                    <a:lnTo>
                      <a:pt x="104" y="184"/>
                    </a:lnTo>
                    <a:lnTo>
                      <a:pt x="110" y="176"/>
                    </a:lnTo>
                    <a:lnTo>
                      <a:pt x="110" y="176"/>
                    </a:lnTo>
                    <a:lnTo>
                      <a:pt x="114" y="166"/>
                    </a:lnTo>
                    <a:lnTo>
                      <a:pt x="120" y="162"/>
                    </a:lnTo>
                    <a:lnTo>
                      <a:pt x="124" y="160"/>
                    </a:lnTo>
                    <a:lnTo>
                      <a:pt x="130" y="158"/>
                    </a:lnTo>
                    <a:lnTo>
                      <a:pt x="134" y="158"/>
                    </a:lnTo>
                    <a:lnTo>
                      <a:pt x="138" y="156"/>
                    </a:lnTo>
                    <a:lnTo>
                      <a:pt x="142" y="150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8" y="134"/>
                    </a:lnTo>
                    <a:lnTo>
                      <a:pt x="154" y="128"/>
                    </a:lnTo>
                    <a:lnTo>
                      <a:pt x="162" y="124"/>
                    </a:lnTo>
                    <a:lnTo>
                      <a:pt x="170" y="124"/>
                    </a:lnTo>
                    <a:lnTo>
                      <a:pt x="178" y="126"/>
                    </a:lnTo>
                    <a:lnTo>
                      <a:pt x="184" y="130"/>
                    </a:lnTo>
                    <a:lnTo>
                      <a:pt x="190" y="136"/>
                    </a:lnTo>
                    <a:lnTo>
                      <a:pt x="192" y="142"/>
                    </a:lnTo>
                    <a:lnTo>
                      <a:pt x="192" y="142"/>
                    </a:lnTo>
                    <a:lnTo>
                      <a:pt x="194" y="148"/>
                    </a:lnTo>
                    <a:lnTo>
                      <a:pt x="196" y="152"/>
                    </a:lnTo>
                    <a:lnTo>
                      <a:pt x="198" y="154"/>
                    </a:lnTo>
                    <a:lnTo>
                      <a:pt x="202" y="156"/>
                    </a:lnTo>
                    <a:lnTo>
                      <a:pt x="214" y="156"/>
                    </a:lnTo>
                    <a:lnTo>
                      <a:pt x="232" y="160"/>
                    </a:lnTo>
                    <a:lnTo>
                      <a:pt x="232" y="160"/>
                    </a:lnTo>
                    <a:lnTo>
                      <a:pt x="244" y="162"/>
                    </a:lnTo>
                    <a:lnTo>
                      <a:pt x="254" y="162"/>
                    </a:lnTo>
                    <a:lnTo>
                      <a:pt x="264" y="160"/>
                    </a:lnTo>
                    <a:lnTo>
                      <a:pt x="272" y="158"/>
                    </a:lnTo>
                    <a:lnTo>
                      <a:pt x="276" y="154"/>
                    </a:lnTo>
                    <a:lnTo>
                      <a:pt x="278" y="148"/>
                    </a:lnTo>
                    <a:lnTo>
                      <a:pt x="278" y="140"/>
                    </a:lnTo>
                    <a:lnTo>
                      <a:pt x="272" y="132"/>
                    </a:lnTo>
                    <a:lnTo>
                      <a:pt x="272" y="1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06" name="Freeform 6111">
                <a:extLst>
                  <a:ext uri="{FF2B5EF4-FFF2-40B4-BE49-F238E27FC236}">
                    <a16:creationId xmlns:a16="http://schemas.microsoft.com/office/drawing/2014/main" id="{DCAC864C-1A8D-4CFF-A5D9-4B6C061400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8050" y="1465263"/>
                <a:ext cx="15240" cy="24130"/>
              </a:xfrm>
              <a:custGeom>
                <a:avLst/>
                <a:gdLst/>
                <a:ahLst/>
                <a:cxnLst>
                  <a:cxn ang="0">
                    <a:pos x="4" y="28"/>
                  </a:cxn>
                  <a:cxn ang="0">
                    <a:pos x="4" y="28"/>
                  </a:cxn>
                  <a:cxn ang="0">
                    <a:pos x="12" y="36"/>
                  </a:cxn>
                  <a:cxn ang="0">
                    <a:pos x="16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4" y="30"/>
                  </a:cxn>
                  <a:cxn ang="0">
                    <a:pos x="24" y="1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6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8"/>
                  </a:cxn>
                  <a:cxn ang="0">
                    <a:pos x="4" y="28"/>
                  </a:cxn>
                </a:cxnLst>
                <a:rect l="0" t="0" r="r" b="b"/>
                <a:pathLst>
                  <a:path w="24" h="38">
                    <a:moveTo>
                      <a:pt x="4" y="28"/>
                    </a:moveTo>
                    <a:lnTo>
                      <a:pt x="4" y="28"/>
                    </a:lnTo>
                    <a:lnTo>
                      <a:pt x="12" y="36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4" y="30"/>
                    </a:lnTo>
                    <a:lnTo>
                      <a:pt x="24" y="1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6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8"/>
                    </a:lnTo>
                    <a:lnTo>
                      <a:pt x="4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07" name="Freeform 6112">
                <a:extLst>
                  <a:ext uri="{FF2B5EF4-FFF2-40B4-BE49-F238E27FC236}">
                    <a16:creationId xmlns:a16="http://schemas.microsoft.com/office/drawing/2014/main" id="{B2DB988C-8094-4CD7-ADAF-F3B6FD507F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8060" y="1697673"/>
                <a:ext cx="52070" cy="36830"/>
              </a:xfrm>
              <a:custGeom>
                <a:avLst/>
                <a:gdLst/>
                <a:ahLst/>
                <a:cxnLst>
                  <a:cxn ang="0">
                    <a:pos x="78" y="4"/>
                  </a:cxn>
                  <a:cxn ang="0">
                    <a:pos x="78" y="4"/>
                  </a:cxn>
                  <a:cxn ang="0">
                    <a:pos x="72" y="2"/>
                  </a:cxn>
                  <a:cxn ang="0">
                    <a:pos x="68" y="0"/>
                  </a:cxn>
                  <a:cxn ang="0">
                    <a:pos x="54" y="2"/>
                  </a:cxn>
                  <a:cxn ang="0">
                    <a:pos x="38" y="6"/>
                  </a:cxn>
                  <a:cxn ang="0">
                    <a:pos x="24" y="14"/>
                  </a:cxn>
                  <a:cxn ang="0">
                    <a:pos x="12" y="22"/>
                  </a:cxn>
                  <a:cxn ang="0">
                    <a:pos x="4" y="32"/>
                  </a:cxn>
                  <a:cxn ang="0">
                    <a:pos x="0" y="38"/>
                  </a:cxn>
                  <a:cxn ang="0">
                    <a:pos x="0" y="42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6" y="58"/>
                  </a:cxn>
                  <a:cxn ang="0">
                    <a:pos x="22" y="58"/>
                  </a:cxn>
                  <a:cxn ang="0">
                    <a:pos x="28" y="56"/>
                  </a:cxn>
                  <a:cxn ang="0">
                    <a:pos x="42" y="50"/>
                  </a:cxn>
                  <a:cxn ang="0">
                    <a:pos x="58" y="42"/>
                  </a:cxn>
                  <a:cxn ang="0">
                    <a:pos x="70" y="32"/>
                  </a:cxn>
                  <a:cxn ang="0">
                    <a:pos x="78" y="20"/>
                  </a:cxn>
                  <a:cxn ang="0">
                    <a:pos x="80" y="16"/>
                  </a:cxn>
                  <a:cxn ang="0">
                    <a:pos x="82" y="10"/>
                  </a:cxn>
                  <a:cxn ang="0">
                    <a:pos x="80" y="6"/>
                  </a:cxn>
                  <a:cxn ang="0">
                    <a:pos x="78" y="4"/>
                  </a:cxn>
                  <a:cxn ang="0">
                    <a:pos x="78" y="4"/>
                  </a:cxn>
                </a:cxnLst>
                <a:rect l="0" t="0" r="r" b="b"/>
                <a:pathLst>
                  <a:path w="82" h="58">
                    <a:moveTo>
                      <a:pt x="78" y="4"/>
                    </a:moveTo>
                    <a:lnTo>
                      <a:pt x="78" y="4"/>
                    </a:lnTo>
                    <a:lnTo>
                      <a:pt x="72" y="2"/>
                    </a:lnTo>
                    <a:lnTo>
                      <a:pt x="68" y="0"/>
                    </a:lnTo>
                    <a:lnTo>
                      <a:pt x="54" y="2"/>
                    </a:lnTo>
                    <a:lnTo>
                      <a:pt x="38" y="6"/>
                    </a:lnTo>
                    <a:lnTo>
                      <a:pt x="24" y="14"/>
                    </a:lnTo>
                    <a:lnTo>
                      <a:pt x="12" y="22"/>
                    </a:lnTo>
                    <a:lnTo>
                      <a:pt x="4" y="3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6" y="58"/>
                    </a:lnTo>
                    <a:lnTo>
                      <a:pt x="22" y="58"/>
                    </a:lnTo>
                    <a:lnTo>
                      <a:pt x="28" y="56"/>
                    </a:lnTo>
                    <a:lnTo>
                      <a:pt x="42" y="50"/>
                    </a:lnTo>
                    <a:lnTo>
                      <a:pt x="58" y="42"/>
                    </a:lnTo>
                    <a:lnTo>
                      <a:pt x="70" y="32"/>
                    </a:lnTo>
                    <a:lnTo>
                      <a:pt x="78" y="20"/>
                    </a:lnTo>
                    <a:lnTo>
                      <a:pt x="80" y="16"/>
                    </a:lnTo>
                    <a:lnTo>
                      <a:pt x="82" y="10"/>
                    </a:lnTo>
                    <a:lnTo>
                      <a:pt x="80" y="6"/>
                    </a:lnTo>
                    <a:lnTo>
                      <a:pt x="78" y="4"/>
                    </a:lnTo>
                    <a:lnTo>
                      <a:pt x="78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08" name="Freeform 6113">
                <a:extLst>
                  <a:ext uri="{FF2B5EF4-FFF2-40B4-BE49-F238E27FC236}">
                    <a16:creationId xmlns:a16="http://schemas.microsoft.com/office/drawing/2014/main" id="{15124257-899A-4FA5-ADAF-357F723C9D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7630" y="1230313"/>
                <a:ext cx="467360" cy="227330"/>
              </a:xfrm>
              <a:custGeom>
                <a:avLst/>
                <a:gdLst/>
                <a:ahLst/>
                <a:cxnLst>
                  <a:cxn ang="0">
                    <a:pos x="700" y="272"/>
                  </a:cxn>
                  <a:cxn ang="0">
                    <a:pos x="720" y="274"/>
                  </a:cxn>
                  <a:cxn ang="0">
                    <a:pos x="736" y="254"/>
                  </a:cxn>
                  <a:cxn ang="0">
                    <a:pos x="708" y="238"/>
                  </a:cxn>
                  <a:cxn ang="0">
                    <a:pos x="684" y="224"/>
                  </a:cxn>
                  <a:cxn ang="0">
                    <a:pos x="646" y="206"/>
                  </a:cxn>
                  <a:cxn ang="0">
                    <a:pos x="608" y="190"/>
                  </a:cxn>
                  <a:cxn ang="0">
                    <a:pos x="586" y="166"/>
                  </a:cxn>
                  <a:cxn ang="0">
                    <a:pos x="592" y="128"/>
                  </a:cxn>
                  <a:cxn ang="0">
                    <a:pos x="560" y="58"/>
                  </a:cxn>
                  <a:cxn ang="0">
                    <a:pos x="506" y="10"/>
                  </a:cxn>
                  <a:cxn ang="0">
                    <a:pos x="482" y="10"/>
                  </a:cxn>
                  <a:cxn ang="0">
                    <a:pos x="438" y="8"/>
                  </a:cxn>
                  <a:cxn ang="0">
                    <a:pos x="450" y="68"/>
                  </a:cxn>
                  <a:cxn ang="0">
                    <a:pos x="478" y="114"/>
                  </a:cxn>
                  <a:cxn ang="0">
                    <a:pos x="456" y="132"/>
                  </a:cxn>
                  <a:cxn ang="0">
                    <a:pos x="420" y="68"/>
                  </a:cxn>
                  <a:cxn ang="0">
                    <a:pos x="382" y="40"/>
                  </a:cxn>
                  <a:cxn ang="0">
                    <a:pos x="354" y="26"/>
                  </a:cxn>
                  <a:cxn ang="0">
                    <a:pos x="352" y="40"/>
                  </a:cxn>
                  <a:cxn ang="0">
                    <a:pos x="372" y="58"/>
                  </a:cxn>
                  <a:cxn ang="0">
                    <a:pos x="336" y="62"/>
                  </a:cxn>
                  <a:cxn ang="0">
                    <a:pos x="318" y="74"/>
                  </a:cxn>
                  <a:cxn ang="0">
                    <a:pos x="296" y="40"/>
                  </a:cxn>
                  <a:cxn ang="0">
                    <a:pos x="224" y="38"/>
                  </a:cxn>
                  <a:cxn ang="0">
                    <a:pos x="190" y="60"/>
                  </a:cxn>
                  <a:cxn ang="0">
                    <a:pos x="206" y="32"/>
                  </a:cxn>
                  <a:cxn ang="0">
                    <a:pos x="196" y="2"/>
                  </a:cxn>
                  <a:cxn ang="0">
                    <a:pos x="100" y="26"/>
                  </a:cxn>
                  <a:cxn ang="0">
                    <a:pos x="22" y="72"/>
                  </a:cxn>
                  <a:cxn ang="0">
                    <a:pos x="40" y="86"/>
                  </a:cxn>
                  <a:cxn ang="0">
                    <a:pos x="2" y="116"/>
                  </a:cxn>
                  <a:cxn ang="0">
                    <a:pos x="14" y="130"/>
                  </a:cxn>
                  <a:cxn ang="0">
                    <a:pos x="34" y="146"/>
                  </a:cxn>
                  <a:cxn ang="0">
                    <a:pos x="116" y="140"/>
                  </a:cxn>
                  <a:cxn ang="0">
                    <a:pos x="76" y="160"/>
                  </a:cxn>
                  <a:cxn ang="0">
                    <a:pos x="44" y="192"/>
                  </a:cxn>
                  <a:cxn ang="0">
                    <a:pos x="110" y="204"/>
                  </a:cxn>
                  <a:cxn ang="0">
                    <a:pos x="210" y="202"/>
                  </a:cxn>
                  <a:cxn ang="0">
                    <a:pos x="276" y="214"/>
                  </a:cxn>
                  <a:cxn ang="0">
                    <a:pos x="294" y="230"/>
                  </a:cxn>
                  <a:cxn ang="0">
                    <a:pos x="168" y="230"/>
                  </a:cxn>
                  <a:cxn ang="0">
                    <a:pos x="70" y="254"/>
                  </a:cxn>
                  <a:cxn ang="0">
                    <a:pos x="122" y="300"/>
                  </a:cxn>
                  <a:cxn ang="0">
                    <a:pos x="222" y="308"/>
                  </a:cxn>
                  <a:cxn ang="0">
                    <a:pos x="232" y="350"/>
                  </a:cxn>
                  <a:cxn ang="0">
                    <a:pos x="314" y="358"/>
                  </a:cxn>
                  <a:cxn ang="0">
                    <a:pos x="420" y="332"/>
                  </a:cxn>
                  <a:cxn ang="0">
                    <a:pos x="478" y="318"/>
                  </a:cxn>
                  <a:cxn ang="0">
                    <a:pos x="490" y="296"/>
                  </a:cxn>
                  <a:cxn ang="0">
                    <a:pos x="516" y="294"/>
                  </a:cxn>
                  <a:cxn ang="0">
                    <a:pos x="540" y="312"/>
                  </a:cxn>
                  <a:cxn ang="0">
                    <a:pos x="560" y="324"/>
                  </a:cxn>
                  <a:cxn ang="0">
                    <a:pos x="592" y="328"/>
                  </a:cxn>
                  <a:cxn ang="0">
                    <a:pos x="640" y="334"/>
                  </a:cxn>
                  <a:cxn ang="0">
                    <a:pos x="680" y="324"/>
                  </a:cxn>
                  <a:cxn ang="0">
                    <a:pos x="700" y="306"/>
                  </a:cxn>
                  <a:cxn ang="0">
                    <a:pos x="692" y="288"/>
                  </a:cxn>
                  <a:cxn ang="0">
                    <a:pos x="648" y="300"/>
                  </a:cxn>
                  <a:cxn ang="0">
                    <a:pos x="632" y="278"/>
                  </a:cxn>
                  <a:cxn ang="0">
                    <a:pos x="660" y="282"/>
                  </a:cxn>
                  <a:cxn ang="0">
                    <a:pos x="668" y="272"/>
                  </a:cxn>
                </a:cxnLst>
                <a:rect l="0" t="0" r="r" b="b"/>
                <a:pathLst>
                  <a:path w="736" h="358">
                    <a:moveTo>
                      <a:pt x="674" y="264"/>
                    </a:moveTo>
                    <a:lnTo>
                      <a:pt x="674" y="264"/>
                    </a:lnTo>
                    <a:lnTo>
                      <a:pt x="682" y="262"/>
                    </a:lnTo>
                    <a:lnTo>
                      <a:pt x="686" y="262"/>
                    </a:lnTo>
                    <a:lnTo>
                      <a:pt x="690" y="264"/>
                    </a:lnTo>
                    <a:lnTo>
                      <a:pt x="694" y="268"/>
                    </a:lnTo>
                    <a:lnTo>
                      <a:pt x="700" y="272"/>
                    </a:lnTo>
                    <a:lnTo>
                      <a:pt x="702" y="274"/>
                    </a:lnTo>
                    <a:lnTo>
                      <a:pt x="704" y="272"/>
                    </a:lnTo>
                    <a:lnTo>
                      <a:pt x="704" y="272"/>
                    </a:lnTo>
                    <a:lnTo>
                      <a:pt x="710" y="268"/>
                    </a:lnTo>
                    <a:lnTo>
                      <a:pt x="714" y="268"/>
                    </a:lnTo>
                    <a:lnTo>
                      <a:pt x="718" y="272"/>
                    </a:lnTo>
                    <a:lnTo>
                      <a:pt x="720" y="274"/>
                    </a:lnTo>
                    <a:lnTo>
                      <a:pt x="726" y="274"/>
                    </a:lnTo>
                    <a:lnTo>
                      <a:pt x="726" y="274"/>
                    </a:lnTo>
                    <a:lnTo>
                      <a:pt x="730" y="274"/>
                    </a:lnTo>
                    <a:lnTo>
                      <a:pt x="734" y="272"/>
                    </a:lnTo>
                    <a:lnTo>
                      <a:pt x="736" y="268"/>
                    </a:lnTo>
                    <a:lnTo>
                      <a:pt x="736" y="264"/>
                    </a:lnTo>
                    <a:lnTo>
                      <a:pt x="736" y="254"/>
                    </a:lnTo>
                    <a:lnTo>
                      <a:pt x="734" y="244"/>
                    </a:lnTo>
                    <a:lnTo>
                      <a:pt x="734" y="244"/>
                    </a:lnTo>
                    <a:lnTo>
                      <a:pt x="732" y="240"/>
                    </a:lnTo>
                    <a:lnTo>
                      <a:pt x="728" y="238"/>
                    </a:lnTo>
                    <a:lnTo>
                      <a:pt x="720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8" y="234"/>
                    </a:lnTo>
                    <a:lnTo>
                      <a:pt x="708" y="234"/>
                    </a:lnTo>
                    <a:lnTo>
                      <a:pt x="706" y="230"/>
                    </a:lnTo>
                    <a:lnTo>
                      <a:pt x="704" y="230"/>
                    </a:lnTo>
                    <a:lnTo>
                      <a:pt x="698" y="228"/>
                    </a:lnTo>
                    <a:lnTo>
                      <a:pt x="692" y="228"/>
                    </a:lnTo>
                    <a:lnTo>
                      <a:pt x="684" y="224"/>
                    </a:lnTo>
                    <a:lnTo>
                      <a:pt x="674" y="218"/>
                    </a:lnTo>
                    <a:lnTo>
                      <a:pt x="660" y="210"/>
                    </a:lnTo>
                    <a:lnTo>
                      <a:pt x="660" y="210"/>
                    </a:lnTo>
                    <a:lnTo>
                      <a:pt x="652" y="204"/>
                    </a:lnTo>
                    <a:lnTo>
                      <a:pt x="648" y="200"/>
                    </a:lnTo>
                    <a:lnTo>
                      <a:pt x="644" y="202"/>
                    </a:lnTo>
                    <a:lnTo>
                      <a:pt x="646" y="206"/>
                    </a:lnTo>
                    <a:lnTo>
                      <a:pt x="646" y="206"/>
                    </a:lnTo>
                    <a:lnTo>
                      <a:pt x="646" y="208"/>
                    </a:lnTo>
                    <a:lnTo>
                      <a:pt x="642" y="210"/>
                    </a:lnTo>
                    <a:lnTo>
                      <a:pt x="632" y="208"/>
                    </a:lnTo>
                    <a:lnTo>
                      <a:pt x="618" y="200"/>
                    </a:lnTo>
                    <a:lnTo>
                      <a:pt x="612" y="196"/>
                    </a:lnTo>
                    <a:lnTo>
                      <a:pt x="608" y="190"/>
                    </a:lnTo>
                    <a:lnTo>
                      <a:pt x="608" y="190"/>
                    </a:lnTo>
                    <a:lnTo>
                      <a:pt x="602" y="184"/>
                    </a:lnTo>
                    <a:lnTo>
                      <a:pt x="598" y="180"/>
                    </a:lnTo>
                    <a:lnTo>
                      <a:pt x="590" y="174"/>
                    </a:lnTo>
                    <a:lnTo>
                      <a:pt x="586" y="172"/>
                    </a:lnTo>
                    <a:lnTo>
                      <a:pt x="584" y="168"/>
                    </a:lnTo>
                    <a:lnTo>
                      <a:pt x="586" y="166"/>
                    </a:lnTo>
                    <a:lnTo>
                      <a:pt x="588" y="162"/>
                    </a:lnTo>
                    <a:lnTo>
                      <a:pt x="588" y="162"/>
                    </a:lnTo>
                    <a:lnTo>
                      <a:pt x="594" y="152"/>
                    </a:lnTo>
                    <a:lnTo>
                      <a:pt x="596" y="146"/>
                    </a:lnTo>
                    <a:lnTo>
                      <a:pt x="596" y="140"/>
                    </a:lnTo>
                    <a:lnTo>
                      <a:pt x="594" y="134"/>
                    </a:lnTo>
                    <a:lnTo>
                      <a:pt x="592" y="128"/>
                    </a:lnTo>
                    <a:lnTo>
                      <a:pt x="588" y="124"/>
                    </a:lnTo>
                    <a:lnTo>
                      <a:pt x="582" y="118"/>
                    </a:lnTo>
                    <a:lnTo>
                      <a:pt x="582" y="118"/>
                    </a:lnTo>
                    <a:lnTo>
                      <a:pt x="576" y="112"/>
                    </a:lnTo>
                    <a:lnTo>
                      <a:pt x="572" y="102"/>
                    </a:lnTo>
                    <a:lnTo>
                      <a:pt x="566" y="82"/>
                    </a:lnTo>
                    <a:lnTo>
                      <a:pt x="560" y="58"/>
                    </a:lnTo>
                    <a:lnTo>
                      <a:pt x="554" y="48"/>
                    </a:lnTo>
                    <a:lnTo>
                      <a:pt x="548" y="38"/>
                    </a:lnTo>
                    <a:lnTo>
                      <a:pt x="548" y="38"/>
                    </a:lnTo>
                    <a:lnTo>
                      <a:pt x="540" y="28"/>
                    </a:lnTo>
                    <a:lnTo>
                      <a:pt x="532" y="24"/>
                    </a:lnTo>
                    <a:lnTo>
                      <a:pt x="522" y="20"/>
                    </a:lnTo>
                    <a:lnTo>
                      <a:pt x="506" y="10"/>
                    </a:lnTo>
                    <a:lnTo>
                      <a:pt x="506" y="10"/>
                    </a:lnTo>
                    <a:lnTo>
                      <a:pt x="498" y="6"/>
                    </a:lnTo>
                    <a:lnTo>
                      <a:pt x="492" y="4"/>
                    </a:lnTo>
                    <a:lnTo>
                      <a:pt x="490" y="4"/>
                    </a:lnTo>
                    <a:lnTo>
                      <a:pt x="488" y="6"/>
                    </a:lnTo>
                    <a:lnTo>
                      <a:pt x="486" y="8"/>
                    </a:lnTo>
                    <a:lnTo>
                      <a:pt x="482" y="10"/>
                    </a:lnTo>
                    <a:lnTo>
                      <a:pt x="476" y="10"/>
                    </a:lnTo>
                    <a:lnTo>
                      <a:pt x="464" y="6"/>
                    </a:lnTo>
                    <a:lnTo>
                      <a:pt x="464" y="6"/>
                    </a:lnTo>
                    <a:lnTo>
                      <a:pt x="450" y="2"/>
                    </a:lnTo>
                    <a:lnTo>
                      <a:pt x="446" y="2"/>
                    </a:lnTo>
                    <a:lnTo>
                      <a:pt x="440" y="4"/>
                    </a:lnTo>
                    <a:lnTo>
                      <a:pt x="438" y="8"/>
                    </a:lnTo>
                    <a:lnTo>
                      <a:pt x="436" y="12"/>
                    </a:lnTo>
                    <a:lnTo>
                      <a:pt x="436" y="20"/>
                    </a:lnTo>
                    <a:lnTo>
                      <a:pt x="440" y="28"/>
                    </a:lnTo>
                    <a:lnTo>
                      <a:pt x="440" y="28"/>
                    </a:lnTo>
                    <a:lnTo>
                      <a:pt x="444" y="38"/>
                    </a:lnTo>
                    <a:lnTo>
                      <a:pt x="446" y="48"/>
                    </a:lnTo>
                    <a:lnTo>
                      <a:pt x="450" y="68"/>
                    </a:lnTo>
                    <a:lnTo>
                      <a:pt x="454" y="78"/>
                    </a:lnTo>
                    <a:lnTo>
                      <a:pt x="458" y="88"/>
                    </a:lnTo>
                    <a:lnTo>
                      <a:pt x="464" y="98"/>
                    </a:lnTo>
                    <a:lnTo>
                      <a:pt x="472" y="106"/>
                    </a:lnTo>
                    <a:lnTo>
                      <a:pt x="472" y="106"/>
                    </a:lnTo>
                    <a:lnTo>
                      <a:pt x="476" y="110"/>
                    </a:lnTo>
                    <a:lnTo>
                      <a:pt x="478" y="114"/>
                    </a:lnTo>
                    <a:lnTo>
                      <a:pt x="478" y="116"/>
                    </a:lnTo>
                    <a:lnTo>
                      <a:pt x="474" y="118"/>
                    </a:lnTo>
                    <a:lnTo>
                      <a:pt x="468" y="122"/>
                    </a:lnTo>
                    <a:lnTo>
                      <a:pt x="462" y="128"/>
                    </a:lnTo>
                    <a:lnTo>
                      <a:pt x="462" y="128"/>
                    </a:lnTo>
                    <a:lnTo>
                      <a:pt x="458" y="130"/>
                    </a:lnTo>
                    <a:lnTo>
                      <a:pt x="456" y="132"/>
                    </a:lnTo>
                    <a:lnTo>
                      <a:pt x="452" y="130"/>
                    </a:lnTo>
                    <a:lnTo>
                      <a:pt x="446" y="122"/>
                    </a:lnTo>
                    <a:lnTo>
                      <a:pt x="434" y="104"/>
                    </a:lnTo>
                    <a:lnTo>
                      <a:pt x="434" y="104"/>
                    </a:lnTo>
                    <a:lnTo>
                      <a:pt x="430" y="94"/>
                    </a:lnTo>
                    <a:lnTo>
                      <a:pt x="426" y="84"/>
                    </a:lnTo>
                    <a:lnTo>
                      <a:pt x="420" y="68"/>
                    </a:lnTo>
                    <a:lnTo>
                      <a:pt x="418" y="62"/>
                    </a:lnTo>
                    <a:lnTo>
                      <a:pt x="412" y="56"/>
                    </a:lnTo>
                    <a:lnTo>
                      <a:pt x="406" y="50"/>
                    </a:lnTo>
                    <a:lnTo>
                      <a:pt x="396" y="46"/>
                    </a:lnTo>
                    <a:lnTo>
                      <a:pt x="396" y="46"/>
                    </a:lnTo>
                    <a:lnTo>
                      <a:pt x="384" y="42"/>
                    </a:lnTo>
                    <a:lnTo>
                      <a:pt x="382" y="40"/>
                    </a:lnTo>
                    <a:lnTo>
                      <a:pt x="384" y="38"/>
                    </a:lnTo>
                    <a:lnTo>
                      <a:pt x="384" y="36"/>
                    </a:lnTo>
                    <a:lnTo>
                      <a:pt x="384" y="34"/>
                    </a:lnTo>
                    <a:lnTo>
                      <a:pt x="380" y="32"/>
                    </a:lnTo>
                    <a:lnTo>
                      <a:pt x="372" y="30"/>
                    </a:lnTo>
                    <a:lnTo>
                      <a:pt x="372" y="30"/>
                    </a:lnTo>
                    <a:lnTo>
                      <a:pt x="354" y="26"/>
                    </a:lnTo>
                    <a:lnTo>
                      <a:pt x="340" y="26"/>
                    </a:lnTo>
                    <a:lnTo>
                      <a:pt x="338" y="28"/>
                    </a:lnTo>
                    <a:lnTo>
                      <a:pt x="338" y="30"/>
                    </a:lnTo>
                    <a:lnTo>
                      <a:pt x="340" y="32"/>
                    </a:lnTo>
                    <a:lnTo>
                      <a:pt x="346" y="36"/>
                    </a:lnTo>
                    <a:lnTo>
                      <a:pt x="346" y="36"/>
                    </a:lnTo>
                    <a:lnTo>
                      <a:pt x="352" y="40"/>
                    </a:lnTo>
                    <a:lnTo>
                      <a:pt x="356" y="44"/>
                    </a:lnTo>
                    <a:lnTo>
                      <a:pt x="358" y="46"/>
                    </a:lnTo>
                    <a:lnTo>
                      <a:pt x="356" y="48"/>
                    </a:lnTo>
                    <a:lnTo>
                      <a:pt x="356" y="52"/>
                    </a:lnTo>
                    <a:lnTo>
                      <a:pt x="362" y="54"/>
                    </a:lnTo>
                    <a:lnTo>
                      <a:pt x="362" y="54"/>
                    </a:lnTo>
                    <a:lnTo>
                      <a:pt x="372" y="58"/>
                    </a:lnTo>
                    <a:lnTo>
                      <a:pt x="376" y="62"/>
                    </a:lnTo>
                    <a:lnTo>
                      <a:pt x="376" y="64"/>
                    </a:lnTo>
                    <a:lnTo>
                      <a:pt x="372" y="64"/>
                    </a:lnTo>
                    <a:lnTo>
                      <a:pt x="354" y="60"/>
                    </a:lnTo>
                    <a:lnTo>
                      <a:pt x="354" y="60"/>
                    </a:lnTo>
                    <a:lnTo>
                      <a:pt x="344" y="60"/>
                    </a:lnTo>
                    <a:lnTo>
                      <a:pt x="336" y="62"/>
                    </a:lnTo>
                    <a:lnTo>
                      <a:pt x="332" y="66"/>
                    </a:lnTo>
                    <a:lnTo>
                      <a:pt x="330" y="70"/>
                    </a:lnTo>
                    <a:lnTo>
                      <a:pt x="328" y="76"/>
                    </a:lnTo>
                    <a:lnTo>
                      <a:pt x="326" y="78"/>
                    </a:lnTo>
                    <a:lnTo>
                      <a:pt x="322" y="78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4" y="68"/>
                    </a:lnTo>
                    <a:lnTo>
                      <a:pt x="314" y="64"/>
                    </a:lnTo>
                    <a:lnTo>
                      <a:pt x="318" y="56"/>
                    </a:lnTo>
                    <a:lnTo>
                      <a:pt x="318" y="52"/>
                    </a:lnTo>
                    <a:lnTo>
                      <a:pt x="316" y="48"/>
                    </a:lnTo>
                    <a:lnTo>
                      <a:pt x="310" y="44"/>
                    </a:lnTo>
                    <a:lnTo>
                      <a:pt x="296" y="40"/>
                    </a:lnTo>
                    <a:lnTo>
                      <a:pt x="296" y="40"/>
                    </a:lnTo>
                    <a:lnTo>
                      <a:pt x="268" y="34"/>
                    </a:lnTo>
                    <a:lnTo>
                      <a:pt x="250" y="30"/>
                    </a:lnTo>
                    <a:lnTo>
                      <a:pt x="238" y="32"/>
                    </a:lnTo>
                    <a:lnTo>
                      <a:pt x="230" y="36"/>
                    </a:lnTo>
                    <a:lnTo>
                      <a:pt x="230" y="36"/>
                    </a:lnTo>
                    <a:lnTo>
                      <a:pt x="224" y="38"/>
                    </a:lnTo>
                    <a:lnTo>
                      <a:pt x="224" y="42"/>
                    </a:lnTo>
                    <a:lnTo>
                      <a:pt x="226" y="46"/>
                    </a:lnTo>
                    <a:lnTo>
                      <a:pt x="224" y="48"/>
                    </a:lnTo>
                    <a:lnTo>
                      <a:pt x="220" y="50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190" y="60"/>
                    </a:lnTo>
                    <a:lnTo>
                      <a:pt x="186" y="60"/>
                    </a:lnTo>
                    <a:lnTo>
                      <a:pt x="192" y="54"/>
                    </a:lnTo>
                    <a:lnTo>
                      <a:pt x="204" y="44"/>
                    </a:lnTo>
                    <a:lnTo>
                      <a:pt x="206" y="40"/>
                    </a:lnTo>
                    <a:lnTo>
                      <a:pt x="206" y="36"/>
                    </a:lnTo>
                    <a:lnTo>
                      <a:pt x="206" y="36"/>
                    </a:lnTo>
                    <a:lnTo>
                      <a:pt x="206" y="32"/>
                    </a:lnTo>
                    <a:lnTo>
                      <a:pt x="206" y="28"/>
                    </a:lnTo>
                    <a:lnTo>
                      <a:pt x="208" y="20"/>
                    </a:lnTo>
                    <a:lnTo>
                      <a:pt x="208" y="16"/>
                    </a:lnTo>
                    <a:lnTo>
                      <a:pt x="208" y="12"/>
                    </a:lnTo>
                    <a:lnTo>
                      <a:pt x="204" y="8"/>
                    </a:lnTo>
                    <a:lnTo>
                      <a:pt x="196" y="2"/>
                    </a:lnTo>
                    <a:lnTo>
                      <a:pt x="196" y="2"/>
                    </a:lnTo>
                    <a:lnTo>
                      <a:pt x="186" y="0"/>
                    </a:lnTo>
                    <a:lnTo>
                      <a:pt x="176" y="0"/>
                    </a:lnTo>
                    <a:lnTo>
                      <a:pt x="162" y="4"/>
                    </a:lnTo>
                    <a:lnTo>
                      <a:pt x="150" y="8"/>
                    </a:lnTo>
                    <a:lnTo>
                      <a:pt x="122" y="18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82" y="32"/>
                    </a:lnTo>
                    <a:lnTo>
                      <a:pt x="66" y="4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4" y="66"/>
                    </a:lnTo>
                    <a:lnTo>
                      <a:pt x="22" y="70"/>
                    </a:lnTo>
                    <a:lnTo>
                      <a:pt x="22" y="72"/>
                    </a:lnTo>
                    <a:lnTo>
                      <a:pt x="26" y="74"/>
                    </a:lnTo>
                    <a:lnTo>
                      <a:pt x="36" y="78"/>
                    </a:lnTo>
                    <a:lnTo>
                      <a:pt x="40" y="80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0" y="86"/>
                    </a:lnTo>
                    <a:lnTo>
                      <a:pt x="32" y="90"/>
                    </a:lnTo>
                    <a:lnTo>
                      <a:pt x="20" y="94"/>
                    </a:lnTo>
                    <a:lnTo>
                      <a:pt x="16" y="98"/>
                    </a:lnTo>
                    <a:lnTo>
                      <a:pt x="10" y="104"/>
                    </a:lnTo>
                    <a:lnTo>
                      <a:pt x="10" y="104"/>
                    </a:lnTo>
                    <a:lnTo>
                      <a:pt x="4" y="110"/>
                    </a:lnTo>
                    <a:lnTo>
                      <a:pt x="2" y="116"/>
                    </a:lnTo>
                    <a:lnTo>
                      <a:pt x="0" y="122"/>
                    </a:lnTo>
                    <a:lnTo>
                      <a:pt x="0" y="126"/>
                    </a:lnTo>
                    <a:lnTo>
                      <a:pt x="2" y="130"/>
                    </a:lnTo>
                    <a:lnTo>
                      <a:pt x="6" y="132"/>
                    </a:lnTo>
                    <a:lnTo>
                      <a:pt x="10" y="132"/>
                    </a:lnTo>
                    <a:lnTo>
                      <a:pt x="14" y="130"/>
                    </a:lnTo>
                    <a:lnTo>
                      <a:pt x="14" y="130"/>
                    </a:lnTo>
                    <a:lnTo>
                      <a:pt x="20" y="128"/>
                    </a:lnTo>
                    <a:lnTo>
                      <a:pt x="24" y="126"/>
                    </a:lnTo>
                    <a:lnTo>
                      <a:pt x="26" y="128"/>
                    </a:lnTo>
                    <a:lnTo>
                      <a:pt x="28" y="130"/>
                    </a:lnTo>
                    <a:lnTo>
                      <a:pt x="30" y="138"/>
                    </a:lnTo>
                    <a:lnTo>
                      <a:pt x="34" y="146"/>
                    </a:lnTo>
                    <a:lnTo>
                      <a:pt x="34" y="146"/>
                    </a:lnTo>
                    <a:lnTo>
                      <a:pt x="38" y="150"/>
                    </a:lnTo>
                    <a:lnTo>
                      <a:pt x="44" y="150"/>
                    </a:lnTo>
                    <a:lnTo>
                      <a:pt x="64" y="150"/>
                    </a:lnTo>
                    <a:lnTo>
                      <a:pt x="88" y="144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16" y="140"/>
                    </a:lnTo>
                    <a:lnTo>
                      <a:pt x="120" y="142"/>
                    </a:lnTo>
                    <a:lnTo>
                      <a:pt x="122" y="144"/>
                    </a:lnTo>
                    <a:lnTo>
                      <a:pt x="120" y="146"/>
                    </a:lnTo>
                    <a:lnTo>
                      <a:pt x="114" y="150"/>
                    </a:lnTo>
                    <a:lnTo>
                      <a:pt x="98" y="156"/>
                    </a:lnTo>
                    <a:lnTo>
                      <a:pt x="76" y="160"/>
                    </a:lnTo>
                    <a:lnTo>
                      <a:pt x="76" y="160"/>
                    </a:lnTo>
                    <a:lnTo>
                      <a:pt x="46" y="168"/>
                    </a:lnTo>
                    <a:lnTo>
                      <a:pt x="38" y="170"/>
                    </a:lnTo>
                    <a:lnTo>
                      <a:pt x="34" y="174"/>
                    </a:lnTo>
                    <a:lnTo>
                      <a:pt x="32" y="178"/>
                    </a:lnTo>
                    <a:lnTo>
                      <a:pt x="34" y="182"/>
                    </a:lnTo>
                    <a:lnTo>
                      <a:pt x="38" y="188"/>
                    </a:lnTo>
                    <a:lnTo>
                      <a:pt x="44" y="192"/>
                    </a:lnTo>
                    <a:lnTo>
                      <a:pt x="44" y="192"/>
                    </a:lnTo>
                    <a:lnTo>
                      <a:pt x="56" y="202"/>
                    </a:lnTo>
                    <a:lnTo>
                      <a:pt x="66" y="206"/>
                    </a:lnTo>
                    <a:lnTo>
                      <a:pt x="76" y="206"/>
                    </a:lnTo>
                    <a:lnTo>
                      <a:pt x="94" y="204"/>
                    </a:lnTo>
                    <a:lnTo>
                      <a:pt x="94" y="204"/>
                    </a:lnTo>
                    <a:lnTo>
                      <a:pt x="110" y="204"/>
                    </a:lnTo>
                    <a:lnTo>
                      <a:pt x="120" y="206"/>
                    </a:lnTo>
                    <a:lnTo>
                      <a:pt x="132" y="208"/>
                    </a:lnTo>
                    <a:lnTo>
                      <a:pt x="152" y="208"/>
                    </a:lnTo>
                    <a:lnTo>
                      <a:pt x="152" y="208"/>
                    </a:lnTo>
                    <a:lnTo>
                      <a:pt x="176" y="206"/>
                    </a:lnTo>
                    <a:lnTo>
                      <a:pt x="194" y="202"/>
                    </a:lnTo>
                    <a:lnTo>
                      <a:pt x="210" y="202"/>
                    </a:lnTo>
                    <a:lnTo>
                      <a:pt x="220" y="202"/>
                    </a:lnTo>
                    <a:lnTo>
                      <a:pt x="232" y="204"/>
                    </a:lnTo>
                    <a:lnTo>
                      <a:pt x="232" y="204"/>
                    </a:lnTo>
                    <a:lnTo>
                      <a:pt x="250" y="208"/>
                    </a:lnTo>
                    <a:lnTo>
                      <a:pt x="262" y="210"/>
                    </a:lnTo>
                    <a:lnTo>
                      <a:pt x="268" y="210"/>
                    </a:lnTo>
                    <a:lnTo>
                      <a:pt x="276" y="214"/>
                    </a:lnTo>
                    <a:lnTo>
                      <a:pt x="276" y="214"/>
                    </a:lnTo>
                    <a:lnTo>
                      <a:pt x="290" y="220"/>
                    </a:lnTo>
                    <a:lnTo>
                      <a:pt x="302" y="226"/>
                    </a:lnTo>
                    <a:lnTo>
                      <a:pt x="306" y="228"/>
                    </a:lnTo>
                    <a:lnTo>
                      <a:pt x="306" y="230"/>
                    </a:lnTo>
                    <a:lnTo>
                      <a:pt x="294" y="230"/>
                    </a:lnTo>
                    <a:lnTo>
                      <a:pt x="294" y="230"/>
                    </a:lnTo>
                    <a:lnTo>
                      <a:pt x="280" y="230"/>
                    </a:lnTo>
                    <a:lnTo>
                      <a:pt x="276" y="232"/>
                    </a:lnTo>
                    <a:lnTo>
                      <a:pt x="268" y="232"/>
                    </a:lnTo>
                    <a:lnTo>
                      <a:pt x="246" y="230"/>
                    </a:lnTo>
                    <a:lnTo>
                      <a:pt x="246" y="230"/>
                    </a:lnTo>
                    <a:lnTo>
                      <a:pt x="210" y="228"/>
                    </a:lnTo>
                    <a:lnTo>
                      <a:pt x="168" y="230"/>
                    </a:lnTo>
                    <a:lnTo>
                      <a:pt x="126" y="234"/>
                    </a:lnTo>
                    <a:lnTo>
                      <a:pt x="90" y="240"/>
                    </a:lnTo>
                    <a:lnTo>
                      <a:pt x="90" y="240"/>
                    </a:lnTo>
                    <a:lnTo>
                      <a:pt x="76" y="244"/>
                    </a:lnTo>
                    <a:lnTo>
                      <a:pt x="70" y="250"/>
                    </a:lnTo>
                    <a:lnTo>
                      <a:pt x="70" y="252"/>
                    </a:lnTo>
                    <a:lnTo>
                      <a:pt x="70" y="254"/>
                    </a:lnTo>
                    <a:lnTo>
                      <a:pt x="72" y="262"/>
                    </a:lnTo>
                    <a:lnTo>
                      <a:pt x="78" y="268"/>
                    </a:lnTo>
                    <a:lnTo>
                      <a:pt x="86" y="274"/>
                    </a:lnTo>
                    <a:lnTo>
                      <a:pt x="100" y="290"/>
                    </a:lnTo>
                    <a:lnTo>
                      <a:pt x="100" y="290"/>
                    </a:lnTo>
                    <a:lnTo>
                      <a:pt x="110" y="296"/>
                    </a:lnTo>
                    <a:lnTo>
                      <a:pt x="122" y="300"/>
                    </a:lnTo>
                    <a:lnTo>
                      <a:pt x="138" y="302"/>
                    </a:lnTo>
                    <a:lnTo>
                      <a:pt x="156" y="304"/>
                    </a:lnTo>
                    <a:lnTo>
                      <a:pt x="190" y="304"/>
                    </a:lnTo>
                    <a:lnTo>
                      <a:pt x="214" y="304"/>
                    </a:lnTo>
                    <a:lnTo>
                      <a:pt x="214" y="304"/>
                    </a:lnTo>
                    <a:lnTo>
                      <a:pt x="220" y="306"/>
                    </a:lnTo>
                    <a:lnTo>
                      <a:pt x="222" y="308"/>
                    </a:lnTo>
                    <a:lnTo>
                      <a:pt x="224" y="314"/>
                    </a:lnTo>
                    <a:lnTo>
                      <a:pt x="224" y="320"/>
                    </a:lnTo>
                    <a:lnTo>
                      <a:pt x="222" y="332"/>
                    </a:lnTo>
                    <a:lnTo>
                      <a:pt x="222" y="338"/>
                    </a:lnTo>
                    <a:lnTo>
                      <a:pt x="224" y="342"/>
                    </a:lnTo>
                    <a:lnTo>
                      <a:pt x="224" y="342"/>
                    </a:lnTo>
                    <a:lnTo>
                      <a:pt x="232" y="350"/>
                    </a:lnTo>
                    <a:lnTo>
                      <a:pt x="238" y="356"/>
                    </a:lnTo>
                    <a:lnTo>
                      <a:pt x="246" y="358"/>
                    </a:lnTo>
                    <a:lnTo>
                      <a:pt x="260" y="358"/>
                    </a:lnTo>
                    <a:lnTo>
                      <a:pt x="260" y="358"/>
                    </a:lnTo>
                    <a:lnTo>
                      <a:pt x="282" y="358"/>
                    </a:lnTo>
                    <a:lnTo>
                      <a:pt x="300" y="358"/>
                    </a:lnTo>
                    <a:lnTo>
                      <a:pt x="314" y="358"/>
                    </a:lnTo>
                    <a:lnTo>
                      <a:pt x="324" y="356"/>
                    </a:lnTo>
                    <a:lnTo>
                      <a:pt x="324" y="356"/>
                    </a:lnTo>
                    <a:lnTo>
                      <a:pt x="342" y="352"/>
                    </a:lnTo>
                    <a:lnTo>
                      <a:pt x="370" y="348"/>
                    </a:lnTo>
                    <a:lnTo>
                      <a:pt x="398" y="342"/>
                    </a:lnTo>
                    <a:lnTo>
                      <a:pt x="412" y="338"/>
                    </a:lnTo>
                    <a:lnTo>
                      <a:pt x="420" y="332"/>
                    </a:lnTo>
                    <a:lnTo>
                      <a:pt x="420" y="332"/>
                    </a:lnTo>
                    <a:lnTo>
                      <a:pt x="428" y="328"/>
                    </a:lnTo>
                    <a:lnTo>
                      <a:pt x="436" y="326"/>
                    </a:lnTo>
                    <a:lnTo>
                      <a:pt x="450" y="326"/>
                    </a:lnTo>
                    <a:lnTo>
                      <a:pt x="462" y="324"/>
                    </a:lnTo>
                    <a:lnTo>
                      <a:pt x="470" y="322"/>
                    </a:lnTo>
                    <a:lnTo>
                      <a:pt x="478" y="318"/>
                    </a:lnTo>
                    <a:lnTo>
                      <a:pt x="478" y="318"/>
                    </a:lnTo>
                    <a:lnTo>
                      <a:pt x="486" y="312"/>
                    </a:lnTo>
                    <a:lnTo>
                      <a:pt x="488" y="308"/>
                    </a:lnTo>
                    <a:lnTo>
                      <a:pt x="490" y="304"/>
                    </a:lnTo>
                    <a:lnTo>
                      <a:pt x="490" y="302"/>
                    </a:lnTo>
                    <a:lnTo>
                      <a:pt x="490" y="300"/>
                    </a:lnTo>
                    <a:lnTo>
                      <a:pt x="490" y="296"/>
                    </a:lnTo>
                    <a:lnTo>
                      <a:pt x="494" y="294"/>
                    </a:lnTo>
                    <a:lnTo>
                      <a:pt x="500" y="290"/>
                    </a:lnTo>
                    <a:lnTo>
                      <a:pt x="500" y="290"/>
                    </a:lnTo>
                    <a:lnTo>
                      <a:pt x="506" y="288"/>
                    </a:lnTo>
                    <a:lnTo>
                      <a:pt x="512" y="290"/>
                    </a:lnTo>
                    <a:lnTo>
                      <a:pt x="514" y="292"/>
                    </a:lnTo>
                    <a:lnTo>
                      <a:pt x="516" y="294"/>
                    </a:lnTo>
                    <a:lnTo>
                      <a:pt x="514" y="304"/>
                    </a:lnTo>
                    <a:lnTo>
                      <a:pt x="514" y="304"/>
                    </a:lnTo>
                    <a:lnTo>
                      <a:pt x="514" y="312"/>
                    </a:lnTo>
                    <a:lnTo>
                      <a:pt x="514" y="312"/>
                    </a:lnTo>
                    <a:lnTo>
                      <a:pt x="518" y="312"/>
                    </a:lnTo>
                    <a:lnTo>
                      <a:pt x="530" y="310"/>
                    </a:lnTo>
                    <a:lnTo>
                      <a:pt x="540" y="312"/>
                    </a:lnTo>
                    <a:lnTo>
                      <a:pt x="554" y="314"/>
                    </a:lnTo>
                    <a:lnTo>
                      <a:pt x="554" y="314"/>
                    </a:lnTo>
                    <a:lnTo>
                      <a:pt x="564" y="318"/>
                    </a:lnTo>
                    <a:lnTo>
                      <a:pt x="568" y="320"/>
                    </a:lnTo>
                    <a:lnTo>
                      <a:pt x="568" y="322"/>
                    </a:lnTo>
                    <a:lnTo>
                      <a:pt x="566" y="322"/>
                    </a:lnTo>
                    <a:lnTo>
                      <a:pt x="560" y="324"/>
                    </a:lnTo>
                    <a:lnTo>
                      <a:pt x="562" y="326"/>
                    </a:lnTo>
                    <a:lnTo>
                      <a:pt x="568" y="330"/>
                    </a:lnTo>
                    <a:lnTo>
                      <a:pt x="568" y="330"/>
                    </a:lnTo>
                    <a:lnTo>
                      <a:pt x="576" y="332"/>
                    </a:lnTo>
                    <a:lnTo>
                      <a:pt x="582" y="332"/>
                    </a:lnTo>
                    <a:lnTo>
                      <a:pt x="588" y="330"/>
                    </a:lnTo>
                    <a:lnTo>
                      <a:pt x="592" y="328"/>
                    </a:lnTo>
                    <a:lnTo>
                      <a:pt x="596" y="328"/>
                    </a:lnTo>
                    <a:lnTo>
                      <a:pt x="602" y="328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28" y="336"/>
                    </a:lnTo>
                    <a:lnTo>
                      <a:pt x="636" y="336"/>
                    </a:lnTo>
                    <a:lnTo>
                      <a:pt x="640" y="334"/>
                    </a:lnTo>
                    <a:lnTo>
                      <a:pt x="648" y="336"/>
                    </a:lnTo>
                    <a:lnTo>
                      <a:pt x="648" y="336"/>
                    </a:lnTo>
                    <a:lnTo>
                      <a:pt x="654" y="336"/>
                    </a:lnTo>
                    <a:lnTo>
                      <a:pt x="658" y="336"/>
                    </a:lnTo>
                    <a:lnTo>
                      <a:pt x="668" y="332"/>
                    </a:lnTo>
                    <a:lnTo>
                      <a:pt x="676" y="326"/>
                    </a:lnTo>
                    <a:lnTo>
                      <a:pt x="680" y="324"/>
                    </a:lnTo>
                    <a:lnTo>
                      <a:pt x="686" y="324"/>
                    </a:lnTo>
                    <a:lnTo>
                      <a:pt x="686" y="324"/>
                    </a:lnTo>
                    <a:lnTo>
                      <a:pt x="694" y="322"/>
                    </a:lnTo>
                    <a:lnTo>
                      <a:pt x="700" y="316"/>
                    </a:lnTo>
                    <a:lnTo>
                      <a:pt x="702" y="314"/>
                    </a:lnTo>
                    <a:lnTo>
                      <a:pt x="702" y="310"/>
                    </a:lnTo>
                    <a:lnTo>
                      <a:pt x="700" y="306"/>
                    </a:lnTo>
                    <a:lnTo>
                      <a:pt x="696" y="304"/>
                    </a:lnTo>
                    <a:lnTo>
                      <a:pt x="696" y="304"/>
                    </a:lnTo>
                    <a:lnTo>
                      <a:pt x="692" y="300"/>
                    </a:lnTo>
                    <a:lnTo>
                      <a:pt x="690" y="298"/>
                    </a:lnTo>
                    <a:lnTo>
                      <a:pt x="692" y="294"/>
                    </a:lnTo>
                    <a:lnTo>
                      <a:pt x="694" y="290"/>
                    </a:lnTo>
                    <a:lnTo>
                      <a:pt x="692" y="288"/>
                    </a:lnTo>
                    <a:lnTo>
                      <a:pt x="688" y="286"/>
                    </a:lnTo>
                    <a:lnTo>
                      <a:pt x="688" y="286"/>
                    </a:lnTo>
                    <a:lnTo>
                      <a:pt x="682" y="286"/>
                    </a:lnTo>
                    <a:lnTo>
                      <a:pt x="674" y="288"/>
                    </a:lnTo>
                    <a:lnTo>
                      <a:pt x="660" y="296"/>
                    </a:lnTo>
                    <a:lnTo>
                      <a:pt x="648" y="300"/>
                    </a:lnTo>
                    <a:lnTo>
                      <a:pt x="648" y="300"/>
                    </a:lnTo>
                    <a:lnTo>
                      <a:pt x="650" y="296"/>
                    </a:lnTo>
                    <a:lnTo>
                      <a:pt x="650" y="296"/>
                    </a:lnTo>
                    <a:lnTo>
                      <a:pt x="652" y="290"/>
                    </a:lnTo>
                    <a:lnTo>
                      <a:pt x="650" y="286"/>
                    </a:lnTo>
                    <a:lnTo>
                      <a:pt x="646" y="284"/>
                    </a:lnTo>
                    <a:lnTo>
                      <a:pt x="642" y="280"/>
                    </a:lnTo>
                    <a:lnTo>
                      <a:pt x="632" y="278"/>
                    </a:lnTo>
                    <a:lnTo>
                      <a:pt x="630" y="276"/>
                    </a:lnTo>
                    <a:lnTo>
                      <a:pt x="632" y="274"/>
                    </a:lnTo>
                    <a:lnTo>
                      <a:pt x="632" y="274"/>
                    </a:lnTo>
                    <a:lnTo>
                      <a:pt x="634" y="272"/>
                    </a:lnTo>
                    <a:lnTo>
                      <a:pt x="638" y="272"/>
                    </a:lnTo>
                    <a:lnTo>
                      <a:pt x="650" y="278"/>
                    </a:lnTo>
                    <a:lnTo>
                      <a:pt x="660" y="282"/>
                    </a:lnTo>
                    <a:lnTo>
                      <a:pt x="666" y="282"/>
                    </a:lnTo>
                    <a:lnTo>
                      <a:pt x="670" y="280"/>
                    </a:lnTo>
                    <a:lnTo>
                      <a:pt x="670" y="280"/>
                    </a:lnTo>
                    <a:lnTo>
                      <a:pt x="672" y="278"/>
                    </a:lnTo>
                    <a:lnTo>
                      <a:pt x="672" y="276"/>
                    </a:lnTo>
                    <a:lnTo>
                      <a:pt x="670" y="272"/>
                    </a:lnTo>
                    <a:lnTo>
                      <a:pt x="668" y="272"/>
                    </a:lnTo>
                    <a:lnTo>
                      <a:pt x="668" y="270"/>
                    </a:lnTo>
                    <a:lnTo>
                      <a:pt x="670" y="266"/>
                    </a:lnTo>
                    <a:lnTo>
                      <a:pt x="674" y="264"/>
                    </a:lnTo>
                    <a:lnTo>
                      <a:pt x="674" y="2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09" name="Freeform 6115">
                <a:extLst>
                  <a:ext uri="{FF2B5EF4-FFF2-40B4-BE49-F238E27FC236}">
                    <a16:creationId xmlns:a16="http://schemas.microsoft.com/office/drawing/2014/main" id="{C900412F-5E1F-43AF-BB93-566202A802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730" y="1203643"/>
                <a:ext cx="165100" cy="125730"/>
              </a:xfrm>
              <a:custGeom>
                <a:avLst/>
                <a:gdLst/>
                <a:ahLst/>
                <a:cxnLst>
                  <a:cxn ang="0">
                    <a:pos x="256" y="98"/>
                  </a:cxn>
                  <a:cxn ang="0">
                    <a:pos x="250" y="90"/>
                  </a:cxn>
                  <a:cxn ang="0">
                    <a:pos x="242" y="92"/>
                  </a:cxn>
                  <a:cxn ang="0">
                    <a:pos x="234" y="94"/>
                  </a:cxn>
                  <a:cxn ang="0">
                    <a:pos x="222" y="84"/>
                  </a:cxn>
                  <a:cxn ang="0">
                    <a:pos x="216" y="74"/>
                  </a:cxn>
                  <a:cxn ang="0">
                    <a:pos x="192" y="60"/>
                  </a:cxn>
                  <a:cxn ang="0">
                    <a:pos x="188" y="56"/>
                  </a:cxn>
                  <a:cxn ang="0">
                    <a:pos x="196" y="52"/>
                  </a:cxn>
                  <a:cxn ang="0">
                    <a:pos x="208" y="48"/>
                  </a:cxn>
                  <a:cxn ang="0">
                    <a:pos x="226" y="42"/>
                  </a:cxn>
                  <a:cxn ang="0">
                    <a:pos x="222" y="38"/>
                  </a:cxn>
                  <a:cxn ang="0">
                    <a:pos x="216" y="32"/>
                  </a:cxn>
                  <a:cxn ang="0">
                    <a:pos x="222" y="24"/>
                  </a:cxn>
                  <a:cxn ang="0">
                    <a:pos x="230" y="20"/>
                  </a:cxn>
                  <a:cxn ang="0">
                    <a:pos x="230" y="10"/>
                  </a:cxn>
                  <a:cxn ang="0">
                    <a:pos x="218" y="4"/>
                  </a:cxn>
                  <a:cxn ang="0">
                    <a:pos x="194" y="4"/>
                  </a:cxn>
                  <a:cxn ang="0">
                    <a:pos x="180" y="8"/>
                  </a:cxn>
                  <a:cxn ang="0">
                    <a:pos x="152" y="12"/>
                  </a:cxn>
                  <a:cxn ang="0">
                    <a:pos x="130" y="6"/>
                  </a:cxn>
                  <a:cxn ang="0">
                    <a:pos x="110" y="0"/>
                  </a:cxn>
                  <a:cxn ang="0">
                    <a:pos x="86" y="4"/>
                  </a:cxn>
                  <a:cxn ang="0">
                    <a:pos x="64" y="14"/>
                  </a:cxn>
                  <a:cxn ang="0">
                    <a:pos x="50" y="24"/>
                  </a:cxn>
                  <a:cxn ang="0">
                    <a:pos x="48" y="34"/>
                  </a:cxn>
                  <a:cxn ang="0">
                    <a:pos x="62" y="44"/>
                  </a:cxn>
                  <a:cxn ang="0">
                    <a:pos x="70" y="48"/>
                  </a:cxn>
                  <a:cxn ang="0">
                    <a:pos x="88" y="58"/>
                  </a:cxn>
                  <a:cxn ang="0">
                    <a:pos x="96" y="68"/>
                  </a:cxn>
                  <a:cxn ang="0">
                    <a:pos x="92" y="78"/>
                  </a:cxn>
                  <a:cxn ang="0">
                    <a:pos x="78" y="88"/>
                  </a:cxn>
                  <a:cxn ang="0">
                    <a:pos x="74" y="88"/>
                  </a:cxn>
                  <a:cxn ang="0">
                    <a:pos x="58" y="86"/>
                  </a:cxn>
                  <a:cxn ang="0">
                    <a:pos x="38" y="74"/>
                  </a:cxn>
                  <a:cxn ang="0">
                    <a:pos x="20" y="64"/>
                  </a:cxn>
                  <a:cxn ang="0">
                    <a:pos x="10" y="64"/>
                  </a:cxn>
                  <a:cxn ang="0">
                    <a:pos x="2" y="72"/>
                  </a:cxn>
                  <a:cxn ang="0">
                    <a:pos x="0" y="78"/>
                  </a:cxn>
                  <a:cxn ang="0">
                    <a:pos x="6" y="94"/>
                  </a:cxn>
                  <a:cxn ang="0">
                    <a:pos x="26" y="110"/>
                  </a:cxn>
                  <a:cxn ang="0">
                    <a:pos x="56" y="124"/>
                  </a:cxn>
                  <a:cxn ang="0">
                    <a:pos x="74" y="132"/>
                  </a:cxn>
                  <a:cxn ang="0">
                    <a:pos x="104" y="148"/>
                  </a:cxn>
                  <a:cxn ang="0">
                    <a:pos x="124" y="168"/>
                  </a:cxn>
                  <a:cxn ang="0">
                    <a:pos x="150" y="194"/>
                  </a:cxn>
                  <a:cxn ang="0">
                    <a:pos x="162" y="198"/>
                  </a:cxn>
                  <a:cxn ang="0">
                    <a:pos x="176" y="194"/>
                  </a:cxn>
                  <a:cxn ang="0">
                    <a:pos x="180" y="184"/>
                  </a:cxn>
                  <a:cxn ang="0">
                    <a:pos x="182" y="174"/>
                  </a:cxn>
                  <a:cxn ang="0">
                    <a:pos x="192" y="170"/>
                  </a:cxn>
                  <a:cxn ang="0">
                    <a:pos x="200" y="172"/>
                  </a:cxn>
                  <a:cxn ang="0">
                    <a:pos x="220" y="170"/>
                  </a:cxn>
                  <a:cxn ang="0">
                    <a:pos x="238" y="162"/>
                  </a:cxn>
                  <a:cxn ang="0">
                    <a:pos x="250" y="148"/>
                  </a:cxn>
                  <a:cxn ang="0">
                    <a:pos x="252" y="138"/>
                  </a:cxn>
                  <a:cxn ang="0">
                    <a:pos x="252" y="124"/>
                  </a:cxn>
                  <a:cxn ang="0">
                    <a:pos x="258" y="114"/>
                  </a:cxn>
                  <a:cxn ang="0">
                    <a:pos x="258" y="106"/>
                  </a:cxn>
                  <a:cxn ang="0">
                    <a:pos x="256" y="98"/>
                  </a:cxn>
                </a:cxnLst>
                <a:rect l="0" t="0" r="r" b="b"/>
                <a:pathLst>
                  <a:path w="260" h="198">
                    <a:moveTo>
                      <a:pt x="256" y="98"/>
                    </a:moveTo>
                    <a:lnTo>
                      <a:pt x="256" y="98"/>
                    </a:lnTo>
                    <a:lnTo>
                      <a:pt x="254" y="92"/>
                    </a:lnTo>
                    <a:lnTo>
                      <a:pt x="250" y="90"/>
                    </a:lnTo>
                    <a:lnTo>
                      <a:pt x="246" y="90"/>
                    </a:lnTo>
                    <a:lnTo>
                      <a:pt x="242" y="92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28" y="90"/>
                    </a:lnTo>
                    <a:lnTo>
                      <a:pt x="222" y="84"/>
                    </a:lnTo>
                    <a:lnTo>
                      <a:pt x="222" y="84"/>
                    </a:lnTo>
                    <a:lnTo>
                      <a:pt x="216" y="74"/>
                    </a:lnTo>
                    <a:lnTo>
                      <a:pt x="208" y="68"/>
                    </a:lnTo>
                    <a:lnTo>
                      <a:pt x="192" y="60"/>
                    </a:lnTo>
                    <a:lnTo>
                      <a:pt x="190" y="58"/>
                    </a:lnTo>
                    <a:lnTo>
                      <a:pt x="188" y="56"/>
                    </a:lnTo>
                    <a:lnTo>
                      <a:pt x="190" y="54"/>
                    </a:lnTo>
                    <a:lnTo>
                      <a:pt x="196" y="52"/>
                    </a:lnTo>
                    <a:lnTo>
                      <a:pt x="208" y="48"/>
                    </a:lnTo>
                    <a:lnTo>
                      <a:pt x="208" y="48"/>
                    </a:lnTo>
                    <a:lnTo>
                      <a:pt x="220" y="46"/>
                    </a:lnTo>
                    <a:lnTo>
                      <a:pt x="226" y="42"/>
                    </a:lnTo>
                    <a:lnTo>
                      <a:pt x="226" y="40"/>
                    </a:lnTo>
                    <a:lnTo>
                      <a:pt x="222" y="38"/>
                    </a:lnTo>
                    <a:lnTo>
                      <a:pt x="218" y="34"/>
                    </a:lnTo>
                    <a:lnTo>
                      <a:pt x="216" y="32"/>
                    </a:lnTo>
                    <a:lnTo>
                      <a:pt x="216" y="28"/>
                    </a:lnTo>
                    <a:lnTo>
                      <a:pt x="222" y="24"/>
                    </a:lnTo>
                    <a:lnTo>
                      <a:pt x="222" y="24"/>
                    </a:lnTo>
                    <a:lnTo>
                      <a:pt x="230" y="20"/>
                    </a:lnTo>
                    <a:lnTo>
                      <a:pt x="232" y="16"/>
                    </a:lnTo>
                    <a:lnTo>
                      <a:pt x="230" y="10"/>
                    </a:lnTo>
                    <a:lnTo>
                      <a:pt x="226" y="6"/>
                    </a:lnTo>
                    <a:lnTo>
                      <a:pt x="218" y="4"/>
                    </a:lnTo>
                    <a:lnTo>
                      <a:pt x="208" y="4"/>
                    </a:lnTo>
                    <a:lnTo>
                      <a:pt x="194" y="4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64" y="12"/>
                    </a:lnTo>
                    <a:lnTo>
                      <a:pt x="152" y="12"/>
                    </a:lnTo>
                    <a:lnTo>
                      <a:pt x="140" y="10"/>
                    </a:lnTo>
                    <a:lnTo>
                      <a:pt x="130" y="6"/>
                    </a:lnTo>
                    <a:lnTo>
                      <a:pt x="120" y="4"/>
                    </a:lnTo>
                    <a:lnTo>
                      <a:pt x="110" y="0"/>
                    </a:lnTo>
                    <a:lnTo>
                      <a:pt x="98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64" y="14"/>
                    </a:lnTo>
                    <a:lnTo>
                      <a:pt x="56" y="20"/>
                    </a:lnTo>
                    <a:lnTo>
                      <a:pt x="50" y="24"/>
                    </a:lnTo>
                    <a:lnTo>
                      <a:pt x="46" y="28"/>
                    </a:lnTo>
                    <a:lnTo>
                      <a:pt x="48" y="34"/>
                    </a:lnTo>
                    <a:lnTo>
                      <a:pt x="52" y="38"/>
                    </a:lnTo>
                    <a:lnTo>
                      <a:pt x="62" y="44"/>
                    </a:lnTo>
                    <a:lnTo>
                      <a:pt x="70" y="48"/>
                    </a:lnTo>
                    <a:lnTo>
                      <a:pt x="70" y="48"/>
                    </a:lnTo>
                    <a:lnTo>
                      <a:pt x="82" y="52"/>
                    </a:lnTo>
                    <a:lnTo>
                      <a:pt x="88" y="58"/>
                    </a:lnTo>
                    <a:lnTo>
                      <a:pt x="94" y="62"/>
                    </a:lnTo>
                    <a:lnTo>
                      <a:pt x="96" y="68"/>
                    </a:lnTo>
                    <a:lnTo>
                      <a:pt x="94" y="74"/>
                    </a:lnTo>
                    <a:lnTo>
                      <a:pt x="92" y="78"/>
                    </a:lnTo>
                    <a:lnTo>
                      <a:pt x="86" y="84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74" y="88"/>
                    </a:lnTo>
                    <a:lnTo>
                      <a:pt x="68" y="90"/>
                    </a:lnTo>
                    <a:lnTo>
                      <a:pt x="58" y="86"/>
                    </a:lnTo>
                    <a:lnTo>
                      <a:pt x="48" y="80"/>
                    </a:lnTo>
                    <a:lnTo>
                      <a:pt x="38" y="74"/>
                    </a:lnTo>
                    <a:lnTo>
                      <a:pt x="28" y="68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0" y="64"/>
                    </a:lnTo>
                    <a:lnTo>
                      <a:pt x="6" y="66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0" y="78"/>
                    </a:lnTo>
                    <a:lnTo>
                      <a:pt x="0" y="86"/>
                    </a:lnTo>
                    <a:lnTo>
                      <a:pt x="6" y="94"/>
                    </a:lnTo>
                    <a:lnTo>
                      <a:pt x="14" y="102"/>
                    </a:lnTo>
                    <a:lnTo>
                      <a:pt x="26" y="110"/>
                    </a:lnTo>
                    <a:lnTo>
                      <a:pt x="40" y="118"/>
                    </a:lnTo>
                    <a:lnTo>
                      <a:pt x="56" y="124"/>
                    </a:lnTo>
                    <a:lnTo>
                      <a:pt x="74" y="132"/>
                    </a:lnTo>
                    <a:lnTo>
                      <a:pt x="74" y="132"/>
                    </a:lnTo>
                    <a:lnTo>
                      <a:pt x="90" y="138"/>
                    </a:lnTo>
                    <a:lnTo>
                      <a:pt x="104" y="148"/>
                    </a:lnTo>
                    <a:lnTo>
                      <a:pt x="116" y="158"/>
                    </a:lnTo>
                    <a:lnTo>
                      <a:pt x="124" y="168"/>
                    </a:lnTo>
                    <a:lnTo>
                      <a:pt x="142" y="188"/>
                    </a:lnTo>
                    <a:lnTo>
                      <a:pt x="150" y="194"/>
                    </a:lnTo>
                    <a:lnTo>
                      <a:pt x="162" y="198"/>
                    </a:lnTo>
                    <a:lnTo>
                      <a:pt x="162" y="198"/>
                    </a:lnTo>
                    <a:lnTo>
                      <a:pt x="170" y="198"/>
                    </a:lnTo>
                    <a:lnTo>
                      <a:pt x="176" y="194"/>
                    </a:lnTo>
                    <a:lnTo>
                      <a:pt x="178" y="190"/>
                    </a:lnTo>
                    <a:lnTo>
                      <a:pt x="180" y="184"/>
                    </a:lnTo>
                    <a:lnTo>
                      <a:pt x="182" y="178"/>
                    </a:lnTo>
                    <a:lnTo>
                      <a:pt x="182" y="174"/>
                    </a:lnTo>
                    <a:lnTo>
                      <a:pt x="186" y="170"/>
                    </a:lnTo>
                    <a:lnTo>
                      <a:pt x="192" y="170"/>
                    </a:lnTo>
                    <a:lnTo>
                      <a:pt x="192" y="170"/>
                    </a:lnTo>
                    <a:lnTo>
                      <a:pt x="200" y="172"/>
                    </a:lnTo>
                    <a:lnTo>
                      <a:pt x="210" y="172"/>
                    </a:lnTo>
                    <a:lnTo>
                      <a:pt x="220" y="170"/>
                    </a:lnTo>
                    <a:lnTo>
                      <a:pt x="230" y="166"/>
                    </a:lnTo>
                    <a:lnTo>
                      <a:pt x="238" y="162"/>
                    </a:lnTo>
                    <a:lnTo>
                      <a:pt x="246" y="156"/>
                    </a:lnTo>
                    <a:lnTo>
                      <a:pt x="250" y="148"/>
                    </a:lnTo>
                    <a:lnTo>
                      <a:pt x="252" y="138"/>
                    </a:lnTo>
                    <a:lnTo>
                      <a:pt x="252" y="138"/>
                    </a:lnTo>
                    <a:lnTo>
                      <a:pt x="252" y="130"/>
                    </a:lnTo>
                    <a:lnTo>
                      <a:pt x="252" y="124"/>
                    </a:lnTo>
                    <a:lnTo>
                      <a:pt x="256" y="118"/>
                    </a:lnTo>
                    <a:lnTo>
                      <a:pt x="258" y="114"/>
                    </a:lnTo>
                    <a:lnTo>
                      <a:pt x="260" y="112"/>
                    </a:lnTo>
                    <a:lnTo>
                      <a:pt x="258" y="106"/>
                    </a:lnTo>
                    <a:lnTo>
                      <a:pt x="256" y="98"/>
                    </a:lnTo>
                    <a:lnTo>
                      <a:pt x="256" y="9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10" name="Freeform 6116">
                <a:extLst>
                  <a:ext uri="{FF2B5EF4-FFF2-40B4-BE49-F238E27FC236}">
                    <a16:creationId xmlns:a16="http://schemas.microsoft.com/office/drawing/2014/main" id="{3AA0EA95-077C-41A5-B863-FA44FAE35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0060" y="1098233"/>
                <a:ext cx="34290" cy="8890"/>
              </a:xfrm>
              <a:custGeom>
                <a:avLst/>
                <a:gdLst/>
                <a:ahLst/>
                <a:cxnLst>
                  <a:cxn ang="0">
                    <a:pos x="2" y="14"/>
                  </a:cxn>
                  <a:cxn ang="0">
                    <a:pos x="2" y="14"/>
                  </a:cxn>
                  <a:cxn ang="0">
                    <a:pos x="8" y="14"/>
                  </a:cxn>
                  <a:cxn ang="0">
                    <a:pos x="16" y="14"/>
                  </a:cxn>
                  <a:cxn ang="0">
                    <a:pos x="36" y="10"/>
                  </a:cxn>
                  <a:cxn ang="0">
                    <a:pos x="50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18" y="4"/>
                  </a:cxn>
                  <a:cxn ang="0">
                    <a:pos x="2" y="10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</a:cxnLst>
                <a:rect l="0" t="0" r="r" b="b"/>
                <a:pathLst>
                  <a:path w="54" h="14">
                    <a:moveTo>
                      <a:pt x="2" y="14"/>
                    </a:moveTo>
                    <a:lnTo>
                      <a:pt x="2" y="14"/>
                    </a:lnTo>
                    <a:lnTo>
                      <a:pt x="8" y="14"/>
                    </a:lnTo>
                    <a:lnTo>
                      <a:pt x="16" y="14"/>
                    </a:lnTo>
                    <a:lnTo>
                      <a:pt x="36" y="10"/>
                    </a:lnTo>
                    <a:lnTo>
                      <a:pt x="50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48" y="0"/>
                    </a:lnTo>
                    <a:lnTo>
                      <a:pt x="38" y="0"/>
                    </a:lnTo>
                    <a:lnTo>
                      <a:pt x="18" y="4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11" name="Freeform 6117">
                <a:extLst>
                  <a:ext uri="{FF2B5EF4-FFF2-40B4-BE49-F238E27FC236}">
                    <a16:creationId xmlns:a16="http://schemas.microsoft.com/office/drawing/2014/main" id="{9DF929B7-EEDE-42A0-8D70-63283E6F33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200" y="1394143"/>
                <a:ext cx="114300" cy="66040"/>
              </a:xfrm>
              <a:custGeom>
                <a:avLst/>
                <a:gdLst/>
                <a:ahLst/>
                <a:cxnLst>
                  <a:cxn ang="0">
                    <a:pos x="42" y="32"/>
                  </a:cxn>
                  <a:cxn ang="0">
                    <a:pos x="42" y="32"/>
                  </a:cxn>
                  <a:cxn ang="0">
                    <a:pos x="32" y="42"/>
                  </a:cxn>
                  <a:cxn ang="0">
                    <a:pos x="24" y="50"/>
                  </a:cxn>
                  <a:cxn ang="0">
                    <a:pos x="14" y="52"/>
                  </a:cxn>
                  <a:cxn ang="0">
                    <a:pos x="8" y="54"/>
                  </a:cxn>
                  <a:cxn ang="0">
                    <a:pos x="2" y="56"/>
                  </a:cxn>
                  <a:cxn ang="0">
                    <a:pos x="0" y="58"/>
                  </a:cxn>
                  <a:cxn ang="0">
                    <a:pos x="2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20" y="74"/>
                  </a:cxn>
                  <a:cxn ang="0">
                    <a:pos x="34" y="78"/>
                  </a:cxn>
                  <a:cxn ang="0">
                    <a:pos x="72" y="86"/>
                  </a:cxn>
                  <a:cxn ang="0">
                    <a:pos x="72" y="86"/>
                  </a:cxn>
                  <a:cxn ang="0">
                    <a:pos x="84" y="88"/>
                  </a:cxn>
                  <a:cxn ang="0">
                    <a:pos x="94" y="92"/>
                  </a:cxn>
                  <a:cxn ang="0">
                    <a:pos x="112" y="100"/>
                  </a:cxn>
                  <a:cxn ang="0">
                    <a:pos x="120" y="102"/>
                  </a:cxn>
                  <a:cxn ang="0">
                    <a:pos x="128" y="104"/>
                  </a:cxn>
                  <a:cxn ang="0">
                    <a:pos x="136" y="102"/>
                  </a:cxn>
                  <a:cxn ang="0">
                    <a:pos x="142" y="96"/>
                  </a:cxn>
                  <a:cxn ang="0">
                    <a:pos x="142" y="96"/>
                  </a:cxn>
                  <a:cxn ang="0">
                    <a:pos x="150" y="90"/>
                  </a:cxn>
                  <a:cxn ang="0">
                    <a:pos x="156" y="88"/>
                  </a:cxn>
                  <a:cxn ang="0">
                    <a:pos x="164" y="86"/>
                  </a:cxn>
                  <a:cxn ang="0">
                    <a:pos x="170" y="86"/>
                  </a:cxn>
                  <a:cxn ang="0">
                    <a:pos x="174" y="84"/>
                  </a:cxn>
                  <a:cxn ang="0">
                    <a:pos x="178" y="78"/>
                  </a:cxn>
                  <a:cxn ang="0">
                    <a:pos x="178" y="78"/>
                  </a:cxn>
                  <a:cxn ang="0">
                    <a:pos x="180" y="74"/>
                  </a:cxn>
                  <a:cxn ang="0">
                    <a:pos x="180" y="72"/>
                  </a:cxn>
                  <a:cxn ang="0">
                    <a:pos x="174" y="72"/>
                  </a:cxn>
                  <a:cxn ang="0">
                    <a:pos x="170" y="72"/>
                  </a:cxn>
                  <a:cxn ang="0">
                    <a:pos x="164" y="70"/>
                  </a:cxn>
                  <a:cxn ang="0">
                    <a:pos x="158" y="66"/>
                  </a:cxn>
                  <a:cxn ang="0">
                    <a:pos x="152" y="58"/>
                  </a:cxn>
                  <a:cxn ang="0">
                    <a:pos x="152" y="58"/>
                  </a:cxn>
                  <a:cxn ang="0">
                    <a:pos x="148" y="50"/>
                  </a:cxn>
                  <a:cxn ang="0">
                    <a:pos x="144" y="44"/>
                  </a:cxn>
                  <a:cxn ang="0">
                    <a:pos x="140" y="42"/>
                  </a:cxn>
                  <a:cxn ang="0">
                    <a:pos x="136" y="42"/>
                  </a:cxn>
                  <a:cxn ang="0">
                    <a:pos x="124" y="36"/>
                  </a:cxn>
                  <a:cxn ang="0">
                    <a:pos x="116" y="30"/>
                  </a:cxn>
                  <a:cxn ang="0">
                    <a:pos x="106" y="20"/>
                  </a:cxn>
                  <a:cxn ang="0">
                    <a:pos x="106" y="20"/>
                  </a:cxn>
                  <a:cxn ang="0">
                    <a:pos x="94" y="10"/>
                  </a:cxn>
                  <a:cxn ang="0">
                    <a:pos x="86" y="2"/>
                  </a:cxn>
                  <a:cxn ang="0">
                    <a:pos x="78" y="0"/>
                  </a:cxn>
                  <a:cxn ang="0">
                    <a:pos x="70" y="0"/>
                  </a:cxn>
                  <a:cxn ang="0">
                    <a:pos x="64" y="4"/>
                  </a:cxn>
                  <a:cxn ang="0">
                    <a:pos x="56" y="10"/>
                  </a:cxn>
                  <a:cxn ang="0">
                    <a:pos x="42" y="32"/>
                  </a:cxn>
                  <a:cxn ang="0">
                    <a:pos x="42" y="32"/>
                  </a:cxn>
                </a:cxnLst>
                <a:rect l="0" t="0" r="r" b="b"/>
                <a:pathLst>
                  <a:path w="180" h="104">
                    <a:moveTo>
                      <a:pt x="42" y="32"/>
                    </a:moveTo>
                    <a:lnTo>
                      <a:pt x="42" y="32"/>
                    </a:lnTo>
                    <a:lnTo>
                      <a:pt x="32" y="42"/>
                    </a:lnTo>
                    <a:lnTo>
                      <a:pt x="24" y="50"/>
                    </a:lnTo>
                    <a:lnTo>
                      <a:pt x="14" y="52"/>
                    </a:lnTo>
                    <a:lnTo>
                      <a:pt x="8" y="54"/>
                    </a:lnTo>
                    <a:lnTo>
                      <a:pt x="2" y="56"/>
                    </a:lnTo>
                    <a:lnTo>
                      <a:pt x="0" y="58"/>
                    </a:lnTo>
                    <a:lnTo>
                      <a:pt x="2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20" y="74"/>
                    </a:lnTo>
                    <a:lnTo>
                      <a:pt x="34" y="78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84" y="88"/>
                    </a:lnTo>
                    <a:lnTo>
                      <a:pt x="94" y="92"/>
                    </a:lnTo>
                    <a:lnTo>
                      <a:pt x="112" y="100"/>
                    </a:lnTo>
                    <a:lnTo>
                      <a:pt x="120" y="102"/>
                    </a:lnTo>
                    <a:lnTo>
                      <a:pt x="128" y="104"/>
                    </a:lnTo>
                    <a:lnTo>
                      <a:pt x="136" y="102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50" y="90"/>
                    </a:lnTo>
                    <a:lnTo>
                      <a:pt x="156" y="88"/>
                    </a:lnTo>
                    <a:lnTo>
                      <a:pt x="164" y="86"/>
                    </a:lnTo>
                    <a:lnTo>
                      <a:pt x="170" y="86"/>
                    </a:lnTo>
                    <a:lnTo>
                      <a:pt x="174" y="84"/>
                    </a:lnTo>
                    <a:lnTo>
                      <a:pt x="178" y="78"/>
                    </a:lnTo>
                    <a:lnTo>
                      <a:pt x="178" y="78"/>
                    </a:lnTo>
                    <a:lnTo>
                      <a:pt x="180" y="74"/>
                    </a:lnTo>
                    <a:lnTo>
                      <a:pt x="180" y="72"/>
                    </a:lnTo>
                    <a:lnTo>
                      <a:pt x="174" y="72"/>
                    </a:lnTo>
                    <a:lnTo>
                      <a:pt x="170" y="72"/>
                    </a:lnTo>
                    <a:lnTo>
                      <a:pt x="164" y="70"/>
                    </a:lnTo>
                    <a:lnTo>
                      <a:pt x="158" y="66"/>
                    </a:lnTo>
                    <a:lnTo>
                      <a:pt x="152" y="58"/>
                    </a:lnTo>
                    <a:lnTo>
                      <a:pt x="152" y="58"/>
                    </a:lnTo>
                    <a:lnTo>
                      <a:pt x="148" y="50"/>
                    </a:lnTo>
                    <a:lnTo>
                      <a:pt x="144" y="44"/>
                    </a:lnTo>
                    <a:lnTo>
                      <a:pt x="140" y="42"/>
                    </a:lnTo>
                    <a:lnTo>
                      <a:pt x="136" y="42"/>
                    </a:lnTo>
                    <a:lnTo>
                      <a:pt x="124" y="36"/>
                    </a:lnTo>
                    <a:lnTo>
                      <a:pt x="116" y="30"/>
                    </a:lnTo>
                    <a:lnTo>
                      <a:pt x="106" y="20"/>
                    </a:lnTo>
                    <a:lnTo>
                      <a:pt x="106" y="20"/>
                    </a:lnTo>
                    <a:lnTo>
                      <a:pt x="94" y="10"/>
                    </a:lnTo>
                    <a:lnTo>
                      <a:pt x="86" y="2"/>
                    </a:lnTo>
                    <a:lnTo>
                      <a:pt x="78" y="0"/>
                    </a:lnTo>
                    <a:lnTo>
                      <a:pt x="70" y="0"/>
                    </a:lnTo>
                    <a:lnTo>
                      <a:pt x="64" y="4"/>
                    </a:lnTo>
                    <a:lnTo>
                      <a:pt x="56" y="10"/>
                    </a:lnTo>
                    <a:lnTo>
                      <a:pt x="42" y="32"/>
                    </a:lnTo>
                    <a:lnTo>
                      <a:pt x="42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312" name="Freeform 6118">
                <a:extLst>
                  <a:ext uri="{FF2B5EF4-FFF2-40B4-BE49-F238E27FC236}">
                    <a16:creationId xmlns:a16="http://schemas.microsoft.com/office/drawing/2014/main" id="{B00171F1-28FB-40EB-A586-4FAF71915D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9839" y="699453"/>
                <a:ext cx="1550670" cy="1127760"/>
              </a:xfrm>
              <a:custGeom>
                <a:avLst/>
                <a:gdLst/>
                <a:ahLst/>
                <a:cxnLst>
                  <a:cxn ang="0">
                    <a:pos x="220" y="296"/>
                  </a:cxn>
                  <a:cxn ang="0">
                    <a:pos x="150" y="400"/>
                  </a:cxn>
                  <a:cxn ang="0">
                    <a:pos x="96" y="502"/>
                  </a:cxn>
                  <a:cxn ang="0">
                    <a:pos x="62" y="558"/>
                  </a:cxn>
                  <a:cxn ang="0">
                    <a:pos x="228" y="618"/>
                  </a:cxn>
                  <a:cxn ang="0">
                    <a:pos x="350" y="620"/>
                  </a:cxn>
                  <a:cxn ang="0">
                    <a:pos x="584" y="666"/>
                  </a:cxn>
                  <a:cxn ang="0">
                    <a:pos x="674" y="786"/>
                  </a:cxn>
                  <a:cxn ang="0">
                    <a:pos x="706" y="902"/>
                  </a:cxn>
                  <a:cxn ang="0">
                    <a:pos x="744" y="990"/>
                  </a:cxn>
                  <a:cxn ang="0">
                    <a:pos x="836" y="1010"/>
                  </a:cxn>
                  <a:cxn ang="0">
                    <a:pos x="750" y="1050"/>
                  </a:cxn>
                  <a:cxn ang="0">
                    <a:pos x="890" y="1110"/>
                  </a:cxn>
                  <a:cxn ang="0">
                    <a:pos x="788" y="1212"/>
                  </a:cxn>
                  <a:cxn ang="0">
                    <a:pos x="782" y="1328"/>
                  </a:cxn>
                  <a:cxn ang="0">
                    <a:pos x="834" y="1452"/>
                  </a:cxn>
                  <a:cxn ang="0">
                    <a:pos x="922" y="1474"/>
                  </a:cxn>
                  <a:cxn ang="0">
                    <a:pos x="860" y="1502"/>
                  </a:cxn>
                  <a:cxn ang="0">
                    <a:pos x="908" y="1598"/>
                  </a:cxn>
                  <a:cxn ang="0">
                    <a:pos x="966" y="1678"/>
                  </a:cxn>
                  <a:cxn ang="0">
                    <a:pos x="1032" y="1712"/>
                  </a:cxn>
                  <a:cxn ang="0">
                    <a:pos x="1090" y="1738"/>
                  </a:cxn>
                  <a:cxn ang="0">
                    <a:pos x="1196" y="1768"/>
                  </a:cxn>
                  <a:cxn ang="0">
                    <a:pos x="1232" y="1622"/>
                  </a:cxn>
                  <a:cxn ang="0">
                    <a:pos x="1262" y="1566"/>
                  </a:cxn>
                  <a:cxn ang="0">
                    <a:pos x="1262" y="1486"/>
                  </a:cxn>
                  <a:cxn ang="0">
                    <a:pos x="1332" y="1420"/>
                  </a:cxn>
                  <a:cxn ang="0">
                    <a:pos x="1402" y="1376"/>
                  </a:cxn>
                  <a:cxn ang="0">
                    <a:pos x="1412" y="1372"/>
                  </a:cxn>
                  <a:cxn ang="0">
                    <a:pos x="1468" y="1372"/>
                  </a:cxn>
                  <a:cxn ang="0">
                    <a:pos x="1628" y="1238"/>
                  </a:cxn>
                  <a:cxn ang="0">
                    <a:pos x="1748" y="1208"/>
                  </a:cxn>
                  <a:cxn ang="0">
                    <a:pos x="2012" y="1102"/>
                  </a:cxn>
                  <a:cxn ang="0">
                    <a:pos x="1846" y="1076"/>
                  </a:cxn>
                  <a:cxn ang="0">
                    <a:pos x="1800" y="1058"/>
                  </a:cxn>
                  <a:cxn ang="0">
                    <a:pos x="1842" y="970"/>
                  </a:cxn>
                  <a:cxn ang="0">
                    <a:pos x="2060" y="1056"/>
                  </a:cxn>
                  <a:cxn ang="0">
                    <a:pos x="2054" y="956"/>
                  </a:cxn>
                  <a:cxn ang="0">
                    <a:pos x="1916" y="858"/>
                  </a:cxn>
                  <a:cxn ang="0">
                    <a:pos x="2100" y="830"/>
                  </a:cxn>
                  <a:cxn ang="0">
                    <a:pos x="2142" y="768"/>
                  </a:cxn>
                  <a:cxn ang="0">
                    <a:pos x="2154" y="698"/>
                  </a:cxn>
                  <a:cxn ang="0">
                    <a:pos x="2066" y="608"/>
                  </a:cxn>
                  <a:cxn ang="0">
                    <a:pos x="2144" y="562"/>
                  </a:cxn>
                  <a:cxn ang="0">
                    <a:pos x="2144" y="504"/>
                  </a:cxn>
                  <a:cxn ang="0">
                    <a:pos x="2096" y="408"/>
                  </a:cxn>
                  <a:cxn ang="0">
                    <a:pos x="2228" y="310"/>
                  </a:cxn>
                  <a:cxn ang="0">
                    <a:pos x="2278" y="276"/>
                  </a:cxn>
                  <a:cxn ang="0">
                    <a:pos x="2298" y="244"/>
                  </a:cxn>
                  <a:cxn ang="0">
                    <a:pos x="2322" y="150"/>
                  </a:cxn>
                  <a:cxn ang="0">
                    <a:pos x="2050" y="210"/>
                  </a:cxn>
                  <a:cxn ang="0">
                    <a:pos x="1962" y="152"/>
                  </a:cxn>
                  <a:cxn ang="0">
                    <a:pos x="1616" y="174"/>
                  </a:cxn>
                  <a:cxn ang="0">
                    <a:pos x="2034" y="78"/>
                  </a:cxn>
                  <a:cxn ang="0">
                    <a:pos x="1724" y="52"/>
                  </a:cxn>
                  <a:cxn ang="0">
                    <a:pos x="1618" y="2"/>
                  </a:cxn>
                  <a:cxn ang="0">
                    <a:pos x="1402" y="44"/>
                  </a:cxn>
                  <a:cxn ang="0">
                    <a:pos x="1048" y="56"/>
                  </a:cxn>
                  <a:cxn ang="0">
                    <a:pos x="1110" y="74"/>
                  </a:cxn>
                  <a:cxn ang="0">
                    <a:pos x="1108" y="158"/>
                  </a:cxn>
                  <a:cxn ang="0">
                    <a:pos x="900" y="148"/>
                  </a:cxn>
                  <a:cxn ang="0">
                    <a:pos x="756" y="114"/>
                  </a:cxn>
                </a:cxnLst>
                <a:rect l="0" t="0" r="r" b="b"/>
                <a:pathLst>
                  <a:path w="2442" h="1776">
                    <a:moveTo>
                      <a:pt x="470" y="176"/>
                    </a:moveTo>
                    <a:lnTo>
                      <a:pt x="470" y="176"/>
                    </a:lnTo>
                    <a:lnTo>
                      <a:pt x="476" y="186"/>
                    </a:lnTo>
                    <a:lnTo>
                      <a:pt x="478" y="194"/>
                    </a:lnTo>
                    <a:lnTo>
                      <a:pt x="480" y="202"/>
                    </a:lnTo>
                    <a:lnTo>
                      <a:pt x="478" y="210"/>
                    </a:lnTo>
                    <a:lnTo>
                      <a:pt x="474" y="216"/>
                    </a:lnTo>
                    <a:lnTo>
                      <a:pt x="466" y="218"/>
                    </a:lnTo>
                    <a:lnTo>
                      <a:pt x="458" y="220"/>
                    </a:lnTo>
                    <a:lnTo>
                      <a:pt x="446" y="218"/>
                    </a:lnTo>
                    <a:lnTo>
                      <a:pt x="446" y="218"/>
                    </a:lnTo>
                    <a:lnTo>
                      <a:pt x="426" y="212"/>
                    </a:lnTo>
                    <a:lnTo>
                      <a:pt x="406" y="210"/>
                    </a:lnTo>
                    <a:lnTo>
                      <a:pt x="386" y="210"/>
                    </a:lnTo>
                    <a:lnTo>
                      <a:pt x="368" y="212"/>
                    </a:lnTo>
                    <a:lnTo>
                      <a:pt x="350" y="216"/>
                    </a:lnTo>
                    <a:lnTo>
                      <a:pt x="334" y="222"/>
                    </a:lnTo>
                    <a:lnTo>
                      <a:pt x="318" y="230"/>
                    </a:lnTo>
                    <a:lnTo>
                      <a:pt x="304" y="238"/>
                    </a:lnTo>
                    <a:lnTo>
                      <a:pt x="304" y="238"/>
                    </a:lnTo>
                    <a:lnTo>
                      <a:pt x="272" y="256"/>
                    </a:lnTo>
                    <a:lnTo>
                      <a:pt x="244" y="270"/>
                    </a:lnTo>
                    <a:lnTo>
                      <a:pt x="232" y="276"/>
                    </a:lnTo>
                    <a:lnTo>
                      <a:pt x="222" y="284"/>
                    </a:lnTo>
                    <a:lnTo>
                      <a:pt x="218" y="290"/>
                    </a:lnTo>
                    <a:lnTo>
                      <a:pt x="218" y="292"/>
                    </a:lnTo>
                    <a:lnTo>
                      <a:pt x="220" y="296"/>
                    </a:lnTo>
                    <a:lnTo>
                      <a:pt x="220" y="296"/>
                    </a:lnTo>
                    <a:lnTo>
                      <a:pt x="226" y="300"/>
                    </a:lnTo>
                    <a:lnTo>
                      <a:pt x="234" y="304"/>
                    </a:lnTo>
                    <a:lnTo>
                      <a:pt x="244" y="308"/>
                    </a:lnTo>
                    <a:lnTo>
                      <a:pt x="256" y="308"/>
                    </a:lnTo>
                    <a:lnTo>
                      <a:pt x="280" y="308"/>
                    </a:lnTo>
                    <a:lnTo>
                      <a:pt x="302" y="306"/>
                    </a:lnTo>
                    <a:lnTo>
                      <a:pt x="302" y="306"/>
                    </a:lnTo>
                    <a:lnTo>
                      <a:pt x="310" y="306"/>
                    </a:lnTo>
                    <a:lnTo>
                      <a:pt x="316" y="310"/>
                    </a:lnTo>
                    <a:lnTo>
                      <a:pt x="318" y="318"/>
                    </a:lnTo>
                    <a:lnTo>
                      <a:pt x="320" y="326"/>
                    </a:lnTo>
                    <a:lnTo>
                      <a:pt x="318" y="338"/>
                    </a:lnTo>
                    <a:lnTo>
                      <a:pt x="314" y="348"/>
                    </a:lnTo>
                    <a:lnTo>
                      <a:pt x="308" y="360"/>
                    </a:lnTo>
                    <a:lnTo>
                      <a:pt x="300" y="370"/>
                    </a:lnTo>
                    <a:lnTo>
                      <a:pt x="300" y="370"/>
                    </a:lnTo>
                    <a:lnTo>
                      <a:pt x="290" y="380"/>
                    </a:lnTo>
                    <a:lnTo>
                      <a:pt x="280" y="384"/>
                    </a:lnTo>
                    <a:lnTo>
                      <a:pt x="268" y="386"/>
                    </a:lnTo>
                    <a:lnTo>
                      <a:pt x="254" y="386"/>
                    </a:lnTo>
                    <a:lnTo>
                      <a:pt x="224" y="382"/>
                    </a:lnTo>
                    <a:lnTo>
                      <a:pt x="206" y="382"/>
                    </a:lnTo>
                    <a:lnTo>
                      <a:pt x="188" y="384"/>
                    </a:lnTo>
                    <a:lnTo>
                      <a:pt x="188" y="384"/>
                    </a:lnTo>
                    <a:lnTo>
                      <a:pt x="172" y="388"/>
                    </a:lnTo>
                    <a:lnTo>
                      <a:pt x="162" y="392"/>
                    </a:lnTo>
                    <a:lnTo>
                      <a:pt x="154" y="396"/>
                    </a:lnTo>
                    <a:lnTo>
                      <a:pt x="150" y="400"/>
                    </a:lnTo>
                    <a:lnTo>
                      <a:pt x="142" y="404"/>
                    </a:lnTo>
                    <a:lnTo>
                      <a:pt x="130" y="408"/>
                    </a:lnTo>
                    <a:lnTo>
                      <a:pt x="112" y="412"/>
                    </a:lnTo>
                    <a:lnTo>
                      <a:pt x="84" y="418"/>
                    </a:lnTo>
                    <a:lnTo>
                      <a:pt x="84" y="418"/>
                    </a:lnTo>
                    <a:lnTo>
                      <a:pt x="54" y="422"/>
                    </a:lnTo>
                    <a:lnTo>
                      <a:pt x="32" y="428"/>
                    </a:lnTo>
                    <a:lnTo>
                      <a:pt x="16" y="434"/>
                    </a:lnTo>
                    <a:lnTo>
                      <a:pt x="4" y="440"/>
                    </a:lnTo>
                    <a:lnTo>
                      <a:pt x="0" y="448"/>
                    </a:lnTo>
                    <a:lnTo>
                      <a:pt x="0" y="456"/>
                    </a:lnTo>
                    <a:lnTo>
                      <a:pt x="4" y="464"/>
                    </a:lnTo>
                    <a:lnTo>
                      <a:pt x="12" y="472"/>
                    </a:lnTo>
                    <a:lnTo>
                      <a:pt x="12" y="472"/>
                    </a:lnTo>
                    <a:lnTo>
                      <a:pt x="20" y="478"/>
                    </a:lnTo>
                    <a:lnTo>
                      <a:pt x="28" y="482"/>
                    </a:lnTo>
                    <a:lnTo>
                      <a:pt x="38" y="484"/>
                    </a:lnTo>
                    <a:lnTo>
                      <a:pt x="48" y="484"/>
                    </a:lnTo>
                    <a:lnTo>
                      <a:pt x="52" y="486"/>
                    </a:lnTo>
                    <a:lnTo>
                      <a:pt x="56" y="490"/>
                    </a:lnTo>
                    <a:lnTo>
                      <a:pt x="56" y="490"/>
                    </a:lnTo>
                    <a:lnTo>
                      <a:pt x="62" y="494"/>
                    </a:lnTo>
                    <a:lnTo>
                      <a:pt x="68" y="496"/>
                    </a:lnTo>
                    <a:lnTo>
                      <a:pt x="78" y="496"/>
                    </a:lnTo>
                    <a:lnTo>
                      <a:pt x="88" y="496"/>
                    </a:lnTo>
                    <a:lnTo>
                      <a:pt x="92" y="498"/>
                    </a:lnTo>
                    <a:lnTo>
                      <a:pt x="96" y="502"/>
                    </a:lnTo>
                    <a:lnTo>
                      <a:pt x="96" y="502"/>
                    </a:lnTo>
                    <a:lnTo>
                      <a:pt x="102" y="506"/>
                    </a:lnTo>
                    <a:lnTo>
                      <a:pt x="108" y="510"/>
                    </a:lnTo>
                    <a:lnTo>
                      <a:pt x="116" y="514"/>
                    </a:lnTo>
                    <a:lnTo>
                      <a:pt x="124" y="514"/>
                    </a:lnTo>
                    <a:lnTo>
                      <a:pt x="144" y="516"/>
                    </a:lnTo>
                    <a:lnTo>
                      <a:pt x="174" y="516"/>
                    </a:lnTo>
                    <a:lnTo>
                      <a:pt x="174" y="516"/>
                    </a:lnTo>
                    <a:lnTo>
                      <a:pt x="192" y="516"/>
                    </a:lnTo>
                    <a:lnTo>
                      <a:pt x="208" y="514"/>
                    </a:lnTo>
                    <a:lnTo>
                      <a:pt x="238" y="508"/>
                    </a:lnTo>
                    <a:lnTo>
                      <a:pt x="250" y="506"/>
                    </a:lnTo>
                    <a:lnTo>
                      <a:pt x="260" y="506"/>
                    </a:lnTo>
                    <a:lnTo>
                      <a:pt x="268" y="506"/>
                    </a:lnTo>
                    <a:lnTo>
                      <a:pt x="272" y="512"/>
                    </a:lnTo>
                    <a:lnTo>
                      <a:pt x="272" y="512"/>
                    </a:lnTo>
                    <a:lnTo>
                      <a:pt x="272" y="516"/>
                    </a:lnTo>
                    <a:lnTo>
                      <a:pt x="268" y="520"/>
                    </a:lnTo>
                    <a:lnTo>
                      <a:pt x="260" y="524"/>
                    </a:lnTo>
                    <a:lnTo>
                      <a:pt x="248" y="524"/>
                    </a:lnTo>
                    <a:lnTo>
                      <a:pt x="174" y="528"/>
                    </a:lnTo>
                    <a:lnTo>
                      <a:pt x="174" y="528"/>
                    </a:lnTo>
                    <a:lnTo>
                      <a:pt x="128" y="534"/>
                    </a:lnTo>
                    <a:lnTo>
                      <a:pt x="106" y="538"/>
                    </a:lnTo>
                    <a:lnTo>
                      <a:pt x="86" y="542"/>
                    </a:lnTo>
                    <a:lnTo>
                      <a:pt x="72" y="546"/>
                    </a:lnTo>
                    <a:lnTo>
                      <a:pt x="62" y="552"/>
                    </a:lnTo>
                    <a:lnTo>
                      <a:pt x="60" y="554"/>
                    </a:lnTo>
                    <a:lnTo>
                      <a:pt x="62" y="558"/>
                    </a:lnTo>
                    <a:lnTo>
                      <a:pt x="64" y="562"/>
                    </a:lnTo>
                    <a:lnTo>
                      <a:pt x="68" y="564"/>
                    </a:lnTo>
                    <a:lnTo>
                      <a:pt x="68" y="564"/>
                    </a:lnTo>
                    <a:lnTo>
                      <a:pt x="84" y="570"/>
                    </a:lnTo>
                    <a:lnTo>
                      <a:pt x="102" y="574"/>
                    </a:lnTo>
                    <a:lnTo>
                      <a:pt x="140" y="580"/>
                    </a:lnTo>
                    <a:lnTo>
                      <a:pt x="154" y="584"/>
                    </a:lnTo>
                    <a:lnTo>
                      <a:pt x="162" y="586"/>
                    </a:lnTo>
                    <a:lnTo>
                      <a:pt x="162" y="588"/>
                    </a:lnTo>
                    <a:lnTo>
                      <a:pt x="160" y="590"/>
                    </a:lnTo>
                    <a:lnTo>
                      <a:pt x="148" y="594"/>
                    </a:lnTo>
                    <a:lnTo>
                      <a:pt x="148" y="594"/>
                    </a:lnTo>
                    <a:lnTo>
                      <a:pt x="136" y="598"/>
                    </a:lnTo>
                    <a:lnTo>
                      <a:pt x="132" y="602"/>
                    </a:lnTo>
                    <a:lnTo>
                      <a:pt x="132" y="604"/>
                    </a:lnTo>
                    <a:lnTo>
                      <a:pt x="132" y="606"/>
                    </a:lnTo>
                    <a:lnTo>
                      <a:pt x="136" y="608"/>
                    </a:lnTo>
                    <a:lnTo>
                      <a:pt x="146" y="614"/>
                    </a:lnTo>
                    <a:lnTo>
                      <a:pt x="182" y="624"/>
                    </a:lnTo>
                    <a:lnTo>
                      <a:pt x="224" y="636"/>
                    </a:lnTo>
                    <a:lnTo>
                      <a:pt x="224" y="636"/>
                    </a:lnTo>
                    <a:lnTo>
                      <a:pt x="242" y="642"/>
                    </a:lnTo>
                    <a:lnTo>
                      <a:pt x="248" y="642"/>
                    </a:lnTo>
                    <a:lnTo>
                      <a:pt x="248" y="642"/>
                    </a:lnTo>
                    <a:lnTo>
                      <a:pt x="248" y="640"/>
                    </a:lnTo>
                    <a:lnTo>
                      <a:pt x="242" y="634"/>
                    </a:lnTo>
                    <a:lnTo>
                      <a:pt x="230" y="622"/>
                    </a:lnTo>
                    <a:lnTo>
                      <a:pt x="228" y="618"/>
                    </a:lnTo>
                    <a:lnTo>
                      <a:pt x="228" y="616"/>
                    </a:lnTo>
                    <a:lnTo>
                      <a:pt x="232" y="614"/>
                    </a:lnTo>
                    <a:lnTo>
                      <a:pt x="232" y="614"/>
                    </a:lnTo>
                    <a:lnTo>
                      <a:pt x="238" y="612"/>
                    </a:lnTo>
                    <a:lnTo>
                      <a:pt x="242" y="614"/>
                    </a:lnTo>
                    <a:lnTo>
                      <a:pt x="246" y="620"/>
                    </a:lnTo>
                    <a:lnTo>
                      <a:pt x="250" y="622"/>
                    </a:lnTo>
                    <a:lnTo>
                      <a:pt x="254" y="622"/>
                    </a:lnTo>
                    <a:lnTo>
                      <a:pt x="262" y="622"/>
                    </a:lnTo>
                    <a:lnTo>
                      <a:pt x="272" y="618"/>
                    </a:lnTo>
                    <a:lnTo>
                      <a:pt x="272" y="618"/>
                    </a:lnTo>
                    <a:lnTo>
                      <a:pt x="282" y="614"/>
                    </a:lnTo>
                    <a:lnTo>
                      <a:pt x="286" y="614"/>
                    </a:lnTo>
                    <a:lnTo>
                      <a:pt x="286" y="616"/>
                    </a:lnTo>
                    <a:lnTo>
                      <a:pt x="286" y="618"/>
                    </a:lnTo>
                    <a:lnTo>
                      <a:pt x="284" y="622"/>
                    </a:lnTo>
                    <a:lnTo>
                      <a:pt x="286" y="626"/>
                    </a:lnTo>
                    <a:lnTo>
                      <a:pt x="290" y="630"/>
                    </a:lnTo>
                    <a:lnTo>
                      <a:pt x="300" y="630"/>
                    </a:lnTo>
                    <a:lnTo>
                      <a:pt x="300" y="630"/>
                    </a:lnTo>
                    <a:lnTo>
                      <a:pt x="312" y="630"/>
                    </a:lnTo>
                    <a:lnTo>
                      <a:pt x="320" y="626"/>
                    </a:lnTo>
                    <a:lnTo>
                      <a:pt x="326" y="622"/>
                    </a:lnTo>
                    <a:lnTo>
                      <a:pt x="330" y="618"/>
                    </a:lnTo>
                    <a:lnTo>
                      <a:pt x="334" y="616"/>
                    </a:lnTo>
                    <a:lnTo>
                      <a:pt x="338" y="614"/>
                    </a:lnTo>
                    <a:lnTo>
                      <a:pt x="344" y="614"/>
                    </a:lnTo>
                    <a:lnTo>
                      <a:pt x="350" y="620"/>
                    </a:lnTo>
                    <a:lnTo>
                      <a:pt x="350" y="620"/>
                    </a:lnTo>
                    <a:lnTo>
                      <a:pt x="358" y="624"/>
                    </a:lnTo>
                    <a:lnTo>
                      <a:pt x="364" y="624"/>
                    </a:lnTo>
                    <a:lnTo>
                      <a:pt x="368" y="622"/>
                    </a:lnTo>
                    <a:lnTo>
                      <a:pt x="370" y="618"/>
                    </a:lnTo>
                    <a:lnTo>
                      <a:pt x="374" y="614"/>
                    </a:lnTo>
                    <a:lnTo>
                      <a:pt x="380" y="610"/>
                    </a:lnTo>
                    <a:lnTo>
                      <a:pt x="386" y="610"/>
                    </a:lnTo>
                    <a:lnTo>
                      <a:pt x="396" y="612"/>
                    </a:lnTo>
                    <a:lnTo>
                      <a:pt x="396" y="612"/>
                    </a:lnTo>
                    <a:lnTo>
                      <a:pt x="408" y="616"/>
                    </a:lnTo>
                    <a:lnTo>
                      <a:pt x="420" y="618"/>
                    </a:lnTo>
                    <a:lnTo>
                      <a:pt x="446" y="618"/>
                    </a:lnTo>
                    <a:lnTo>
                      <a:pt x="468" y="620"/>
                    </a:lnTo>
                    <a:lnTo>
                      <a:pt x="476" y="622"/>
                    </a:lnTo>
                    <a:lnTo>
                      <a:pt x="484" y="628"/>
                    </a:lnTo>
                    <a:lnTo>
                      <a:pt x="484" y="628"/>
                    </a:lnTo>
                    <a:lnTo>
                      <a:pt x="488" y="632"/>
                    </a:lnTo>
                    <a:lnTo>
                      <a:pt x="492" y="634"/>
                    </a:lnTo>
                    <a:lnTo>
                      <a:pt x="500" y="634"/>
                    </a:lnTo>
                    <a:lnTo>
                      <a:pt x="506" y="634"/>
                    </a:lnTo>
                    <a:lnTo>
                      <a:pt x="512" y="634"/>
                    </a:lnTo>
                    <a:lnTo>
                      <a:pt x="522" y="638"/>
                    </a:lnTo>
                    <a:lnTo>
                      <a:pt x="534" y="642"/>
                    </a:lnTo>
                    <a:lnTo>
                      <a:pt x="534" y="642"/>
                    </a:lnTo>
                    <a:lnTo>
                      <a:pt x="560" y="654"/>
                    </a:lnTo>
                    <a:lnTo>
                      <a:pt x="578" y="664"/>
                    </a:lnTo>
                    <a:lnTo>
                      <a:pt x="584" y="666"/>
                    </a:lnTo>
                    <a:lnTo>
                      <a:pt x="584" y="670"/>
                    </a:lnTo>
                    <a:lnTo>
                      <a:pt x="584" y="674"/>
                    </a:lnTo>
                    <a:lnTo>
                      <a:pt x="578" y="680"/>
                    </a:lnTo>
                    <a:lnTo>
                      <a:pt x="578" y="680"/>
                    </a:lnTo>
                    <a:lnTo>
                      <a:pt x="576" y="684"/>
                    </a:lnTo>
                    <a:lnTo>
                      <a:pt x="576" y="688"/>
                    </a:lnTo>
                    <a:lnTo>
                      <a:pt x="578" y="692"/>
                    </a:lnTo>
                    <a:lnTo>
                      <a:pt x="582" y="696"/>
                    </a:lnTo>
                    <a:lnTo>
                      <a:pt x="596" y="704"/>
                    </a:lnTo>
                    <a:lnTo>
                      <a:pt x="612" y="714"/>
                    </a:lnTo>
                    <a:lnTo>
                      <a:pt x="642" y="734"/>
                    </a:lnTo>
                    <a:lnTo>
                      <a:pt x="652" y="742"/>
                    </a:lnTo>
                    <a:lnTo>
                      <a:pt x="654" y="746"/>
                    </a:lnTo>
                    <a:lnTo>
                      <a:pt x="654" y="750"/>
                    </a:lnTo>
                    <a:lnTo>
                      <a:pt x="654" y="750"/>
                    </a:lnTo>
                    <a:lnTo>
                      <a:pt x="650" y="756"/>
                    </a:lnTo>
                    <a:lnTo>
                      <a:pt x="644" y="764"/>
                    </a:lnTo>
                    <a:lnTo>
                      <a:pt x="632" y="776"/>
                    </a:lnTo>
                    <a:lnTo>
                      <a:pt x="628" y="780"/>
                    </a:lnTo>
                    <a:lnTo>
                      <a:pt x="628" y="782"/>
                    </a:lnTo>
                    <a:lnTo>
                      <a:pt x="632" y="784"/>
                    </a:lnTo>
                    <a:lnTo>
                      <a:pt x="642" y="780"/>
                    </a:lnTo>
                    <a:lnTo>
                      <a:pt x="642" y="780"/>
                    </a:lnTo>
                    <a:lnTo>
                      <a:pt x="660" y="776"/>
                    </a:lnTo>
                    <a:lnTo>
                      <a:pt x="666" y="776"/>
                    </a:lnTo>
                    <a:lnTo>
                      <a:pt x="668" y="776"/>
                    </a:lnTo>
                    <a:lnTo>
                      <a:pt x="670" y="782"/>
                    </a:lnTo>
                    <a:lnTo>
                      <a:pt x="674" y="786"/>
                    </a:lnTo>
                    <a:lnTo>
                      <a:pt x="678" y="790"/>
                    </a:lnTo>
                    <a:lnTo>
                      <a:pt x="678" y="790"/>
                    </a:lnTo>
                    <a:lnTo>
                      <a:pt x="684" y="794"/>
                    </a:lnTo>
                    <a:lnTo>
                      <a:pt x="686" y="798"/>
                    </a:lnTo>
                    <a:lnTo>
                      <a:pt x="684" y="802"/>
                    </a:lnTo>
                    <a:lnTo>
                      <a:pt x="682" y="806"/>
                    </a:lnTo>
                    <a:lnTo>
                      <a:pt x="680" y="810"/>
                    </a:lnTo>
                    <a:lnTo>
                      <a:pt x="680" y="814"/>
                    </a:lnTo>
                    <a:lnTo>
                      <a:pt x="686" y="818"/>
                    </a:lnTo>
                    <a:lnTo>
                      <a:pt x="696" y="824"/>
                    </a:lnTo>
                    <a:lnTo>
                      <a:pt x="696" y="824"/>
                    </a:lnTo>
                    <a:lnTo>
                      <a:pt x="704" y="828"/>
                    </a:lnTo>
                    <a:lnTo>
                      <a:pt x="708" y="834"/>
                    </a:lnTo>
                    <a:lnTo>
                      <a:pt x="706" y="838"/>
                    </a:lnTo>
                    <a:lnTo>
                      <a:pt x="702" y="844"/>
                    </a:lnTo>
                    <a:lnTo>
                      <a:pt x="700" y="850"/>
                    </a:lnTo>
                    <a:lnTo>
                      <a:pt x="698" y="854"/>
                    </a:lnTo>
                    <a:lnTo>
                      <a:pt x="702" y="858"/>
                    </a:lnTo>
                    <a:lnTo>
                      <a:pt x="710" y="862"/>
                    </a:lnTo>
                    <a:lnTo>
                      <a:pt x="710" y="862"/>
                    </a:lnTo>
                    <a:lnTo>
                      <a:pt x="720" y="864"/>
                    </a:lnTo>
                    <a:lnTo>
                      <a:pt x="726" y="870"/>
                    </a:lnTo>
                    <a:lnTo>
                      <a:pt x="730" y="876"/>
                    </a:lnTo>
                    <a:lnTo>
                      <a:pt x="730" y="882"/>
                    </a:lnTo>
                    <a:lnTo>
                      <a:pt x="728" y="888"/>
                    </a:lnTo>
                    <a:lnTo>
                      <a:pt x="722" y="894"/>
                    </a:lnTo>
                    <a:lnTo>
                      <a:pt x="716" y="898"/>
                    </a:lnTo>
                    <a:lnTo>
                      <a:pt x="706" y="902"/>
                    </a:lnTo>
                    <a:lnTo>
                      <a:pt x="706" y="902"/>
                    </a:lnTo>
                    <a:lnTo>
                      <a:pt x="698" y="904"/>
                    </a:lnTo>
                    <a:lnTo>
                      <a:pt x="694" y="906"/>
                    </a:lnTo>
                    <a:lnTo>
                      <a:pt x="690" y="910"/>
                    </a:lnTo>
                    <a:lnTo>
                      <a:pt x="690" y="916"/>
                    </a:lnTo>
                    <a:lnTo>
                      <a:pt x="690" y="922"/>
                    </a:lnTo>
                    <a:lnTo>
                      <a:pt x="694" y="928"/>
                    </a:lnTo>
                    <a:lnTo>
                      <a:pt x="704" y="942"/>
                    </a:lnTo>
                    <a:lnTo>
                      <a:pt x="704" y="942"/>
                    </a:lnTo>
                    <a:lnTo>
                      <a:pt x="708" y="948"/>
                    </a:lnTo>
                    <a:lnTo>
                      <a:pt x="708" y="952"/>
                    </a:lnTo>
                    <a:lnTo>
                      <a:pt x="704" y="956"/>
                    </a:lnTo>
                    <a:lnTo>
                      <a:pt x="698" y="956"/>
                    </a:lnTo>
                    <a:lnTo>
                      <a:pt x="686" y="960"/>
                    </a:lnTo>
                    <a:lnTo>
                      <a:pt x="682" y="960"/>
                    </a:lnTo>
                    <a:lnTo>
                      <a:pt x="684" y="964"/>
                    </a:lnTo>
                    <a:lnTo>
                      <a:pt x="684" y="964"/>
                    </a:lnTo>
                    <a:lnTo>
                      <a:pt x="690" y="972"/>
                    </a:lnTo>
                    <a:lnTo>
                      <a:pt x="696" y="980"/>
                    </a:lnTo>
                    <a:lnTo>
                      <a:pt x="698" y="984"/>
                    </a:lnTo>
                    <a:lnTo>
                      <a:pt x="702" y="986"/>
                    </a:lnTo>
                    <a:lnTo>
                      <a:pt x="706" y="986"/>
                    </a:lnTo>
                    <a:lnTo>
                      <a:pt x="710" y="984"/>
                    </a:lnTo>
                    <a:lnTo>
                      <a:pt x="710" y="984"/>
                    </a:lnTo>
                    <a:lnTo>
                      <a:pt x="716" y="984"/>
                    </a:lnTo>
                    <a:lnTo>
                      <a:pt x="722" y="984"/>
                    </a:lnTo>
                    <a:lnTo>
                      <a:pt x="738" y="988"/>
                    </a:lnTo>
                    <a:lnTo>
                      <a:pt x="744" y="990"/>
                    </a:lnTo>
                    <a:lnTo>
                      <a:pt x="752" y="988"/>
                    </a:lnTo>
                    <a:lnTo>
                      <a:pt x="758" y="984"/>
                    </a:lnTo>
                    <a:lnTo>
                      <a:pt x="764" y="974"/>
                    </a:lnTo>
                    <a:lnTo>
                      <a:pt x="764" y="974"/>
                    </a:lnTo>
                    <a:lnTo>
                      <a:pt x="768" y="970"/>
                    </a:lnTo>
                    <a:lnTo>
                      <a:pt x="770" y="966"/>
                    </a:lnTo>
                    <a:lnTo>
                      <a:pt x="780" y="960"/>
                    </a:lnTo>
                    <a:lnTo>
                      <a:pt x="790" y="960"/>
                    </a:lnTo>
                    <a:lnTo>
                      <a:pt x="800" y="960"/>
                    </a:lnTo>
                    <a:lnTo>
                      <a:pt x="808" y="962"/>
                    </a:lnTo>
                    <a:lnTo>
                      <a:pt x="816" y="966"/>
                    </a:lnTo>
                    <a:lnTo>
                      <a:pt x="818" y="970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2" y="978"/>
                    </a:lnTo>
                    <a:lnTo>
                      <a:pt x="810" y="980"/>
                    </a:lnTo>
                    <a:lnTo>
                      <a:pt x="812" y="982"/>
                    </a:lnTo>
                    <a:lnTo>
                      <a:pt x="818" y="982"/>
                    </a:lnTo>
                    <a:lnTo>
                      <a:pt x="822" y="984"/>
                    </a:lnTo>
                    <a:lnTo>
                      <a:pt x="828" y="986"/>
                    </a:lnTo>
                    <a:lnTo>
                      <a:pt x="828" y="990"/>
                    </a:lnTo>
                    <a:lnTo>
                      <a:pt x="826" y="994"/>
                    </a:lnTo>
                    <a:lnTo>
                      <a:pt x="826" y="994"/>
                    </a:lnTo>
                    <a:lnTo>
                      <a:pt x="824" y="998"/>
                    </a:lnTo>
                    <a:lnTo>
                      <a:pt x="824" y="1000"/>
                    </a:lnTo>
                    <a:lnTo>
                      <a:pt x="828" y="1006"/>
                    </a:lnTo>
                    <a:lnTo>
                      <a:pt x="836" y="1010"/>
                    </a:lnTo>
                    <a:lnTo>
                      <a:pt x="846" y="1014"/>
                    </a:lnTo>
                    <a:lnTo>
                      <a:pt x="866" y="1020"/>
                    </a:lnTo>
                    <a:lnTo>
                      <a:pt x="872" y="1022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68" y="1034"/>
                    </a:lnTo>
                    <a:lnTo>
                      <a:pt x="866" y="1040"/>
                    </a:lnTo>
                    <a:lnTo>
                      <a:pt x="868" y="1044"/>
                    </a:lnTo>
                    <a:lnTo>
                      <a:pt x="874" y="1050"/>
                    </a:lnTo>
                    <a:lnTo>
                      <a:pt x="874" y="1050"/>
                    </a:lnTo>
                    <a:lnTo>
                      <a:pt x="874" y="1052"/>
                    </a:lnTo>
                    <a:lnTo>
                      <a:pt x="872" y="1054"/>
                    </a:lnTo>
                    <a:lnTo>
                      <a:pt x="862" y="1052"/>
                    </a:lnTo>
                    <a:lnTo>
                      <a:pt x="848" y="1048"/>
                    </a:lnTo>
                    <a:lnTo>
                      <a:pt x="832" y="1040"/>
                    </a:lnTo>
                    <a:lnTo>
                      <a:pt x="832" y="1040"/>
                    </a:lnTo>
                    <a:lnTo>
                      <a:pt x="822" y="1036"/>
                    </a:lnTo>
                    <a:lnTo>
                      <a:pt x="810" y="1032"/>
                    </a:lnTo>
                    <a:lnTo>
                      <a:pt x="784" y="1028"/>
                    </a:lnTo>
                    <a:lnTo>
                      <a:pt x="758" y="1028"/>
                    </a:lnTo>
                    <a:lnTo>
                      <a:pt x="748" y="1030"/>
                    </a:lnTo>
                    <a:lnTo>
                      <a:pt x="742" y="1032"/>
                    </a:lnTo>
                    <a:lnTo>
                      <a:pt x="742" y="1032"/>
                    </a:lnTo>
                    <a:lnTo>
                      <a:pt x="738" y="1036"/>
                    </a:lnTo>
                    <a:lnTo>
                      <a:pt x="740" y="1042"/>
                    </a:lnTo>
                    <a:lnTo>
                      <a:pt x="744" y="1046"/>
                    </a:lnTo>
                    <a:lnTo>
                      <a:pt x="750" y="1050"/>
                    </a:lnTo>
                    <a:lnTo>
                      <a:pt x="764" y="1056"/>
                    </a:lnTo>
                    <a:lnTo>
                      <a:pt x="782" y="1060"/>
                    </a:lnTo>
                    <a:lnTo>
                      <a:pt x="782" y="1060"/>
                    </a:lnTo>
                    <a:lnTo>
                      <a:pt x="796" y="1060"/>
                    </a:lnTo>
                    <a:lnTo>
                      <a:pt x="804" y="1064"/>
                    </a:lnTo>
                    <a:lnTo>
                      <a:pt x="810" y="1068"/>
                    </a:lnTo>
                    <a:lnTo>
                      <a:pt x="816" y="1072"/>
                    </a:lnTo>
                    <a:lnTo>
                      <a:pt x="820" y="1078"/>
                    </a:lnTo>
                    <a:lnTo>
                      <a:pt x="824" y="1082"/>
                    </a:lnTo>
                    <a:lnTo>
                      <a:pt x="832" y="1086"/>
                    </a:lnTo>
                    <a:lnTo>
                      <a:pt x="844" y="1088"/>
                    </a:lnTo>
                    <a:lnTo>
                      <a:pt x="844" y="1088"/>
                    </a:lnTo>
                    <a:lnTo>
                      <a:pt x="856" y="1090"/>
                    </a:lnTo>
                    <a:lnTo>
                      <a:pt x="864" y="1092"/>
                    </a:lnTo>
                    <a:lnTo>
                      <a:pt x="868" y="1096"/>
                    </a:lnTo>
                    <a:lnTo>
                      <a:pt x="870" y="1098"/>
                    </a:lnTo>
                    <a:lnTo>
                      <a:pt x="866" y="1108"/>
                    </a:lnTo>
                    <a:lnTo>
                      <a:pt x="866" y="1112"/>
                    </a:lnTo>
                    <a:lnTo>
                      <a:pt x="868" y="1118"/>
                    </a:lnTo>
                    <a:lnTo>
                      <a:pt x="868" y="1118"/>
                    </a:lnTo>
                    <a:lnTo>
                      <a:pt x="872" y="1122"/>
                    </a:lnTo>
                    <a:lnTo>
                      <a:pt x="876" y="1120"/>
                    </a:lnTo>
                    <a:lnTo>
                      <a:pt x="880" y="1118"/>
                    </a:lnTo>
                    <a:lnTo>
                      <a:pt x="882" y="1114"/>
                    </a:lnTo>
                    <a:lnTo>
                      <a:pt x="888" y="1106"/>
                    </a:lnTo>
                    <a:lnTo>
                      <a:pt x="888" y="1106"/>
                    </a:lnTo>
                    <a:lnTo>
                      <a:pt x="890" y="1110"/>
                    </a:lnTo>
                    <a:lnTo>
                      <a:pt x="890" y="1110"/>
                    </a:lnTo>
                    <a:lnTo>
                      <a:pt x="888" y="1116"/>
                    </a:lnTo>
                    <a:lnTo>
                      <a:pt x="888" y="1122"/>
                    </a:lnTo>
                    <a:lnTo>
                      <a:pt x="882" y="1134"/>
                    </a:lnTo>
                    <a:lnTo>
                      <a:pt x="876" y="1148"/>
                    </a:lnTo>
                    <a:lnTo>
                      <a:pt x="872" y="1164"/>
                    </a:lnTo>
                    <a:lnTo>
                      <a:pt x="872" y="1164"/>
                    </a:lnTo>
                    <a:lnTo>
                      <a:pt x="870" y="1170"/>
                    </a:lnTo>
                    <a:lnTo>
                      <a:pt x="872" y="1176"/>
                    </a:lnTo>
                    <a:lnTo>
                      <a:pt x="876" y="1182"/>
                    </a:lnTo>
                    <a:lnTo>
                      <a:pt x="876" y="1184"/>
                    </a:lnTo>
                    <a:lnTo>
                      <a:pt x="876" y="1186"/>
                    </a:lnTo>
                    <a:lnTo>
                      <a:pt x="866" y="1192"/>
                    </a:lnTo>
                    <a:lnTo>
                      <a:pt x="866" y="1192"/>
                    </a:lnTo>
                    <a:lnTo>
                      <a:pt x="858" y="1194"/>
                    </a:lnTo>
                    <a:lnTo>
                      <a:pt x="850" y="1196"/>
                    </a:lnTo>
                    <a:lnTo>
                      <a:pt x="838" y="1192"/>
                    </a:lnTo>
                    <a:lnTo>
                      <a:pt x="828" y="1190"/>
                    </a:lnTo>
                    <a:lnTo>
                      <a:pt x="822" y="1190"/>
                    </a:lnTo>
                    <a:lnTo>
                      <a:pt x="818" y="1194"/>
                    </a:lnTo>
                    <a:lnTo>
                      <a:pt x="818" y="1194"/>
                    </a:lnTo>
                    <a:lnTo>
                      <a:pt x="812" y="1196"/>
                    </a:lnTo>
                    <a:lnTo>
                      <a:pt x="806" y="1198"/>
                    </a:lnTo>
                    <a:lnTo>
                      <a:pt x="796" y="1202"/>
                    </a:lnTo>
                    <a:lnTo>
                      <a:pt x="788" y="1204"/>
                    </a:lnTo>
                    <a:lnTo>
                      <a:pt x="786" y="1206"/>
                    </a:lnTo>
                    <a:lnTo>
                      <a:pt x="788" y="1210"/>
                    </a:lnTo>
                    <a:lnTo>
                      <a:pt x="788" y="1210"/>
                    </a:lnTo>
                    <a:lnTo>
                      <a:pt x="788" y="1212"/>
                    </a:lnTo>
                    <a:lnTo>
                      <a:pt x="788" y="1214"/>
                    </a:lnTo>
                    <a:lnTo>
                      <a:pt x="784" y="1214"/>
                    </a:lnTo>
                    <a:lnTo>
                      <a:pt x="784" y="1216"/>
                    </a:lnTo>
                    <a:lnTo>
                      <a:pt x="784" y="1216"/>
                    </a:lnTo>
                    <a:lnTo>
                      <a:pt x="790" y="1222"/>
                    </a:lnTo>
                    <a:lnTo>
                      <a:pt x="790" y="1222"/>
                    </a:lnTo>
                    <a:lnTo>
                      <a:pt x="794" y="1226"/>
                    </a:lnTo>
                    <a:lnTo>
                      <a:pt x="794" y="1228"/>
                    </a:lnTo>
                    <a:lnTo>
                      <a:pt x="792" y="1232"/>
                    </a:lnTo>
                    <a:lnTo>
                      <a:pt x="788" y="1234"/>
                    </a:lnTo>
                    <a:lnTo>
                      <a:pt x="778" y="1240"/>
                    </a:lnTo>
                    <a:lnTo>
                      <a:pt x="774" y="1242"/>
                    </a:lnTo>
                    <a:lnTo>
                      <a:pt x="774" y="1246"/>
                    </a:lnTo>
                    <a:lnTo>
                      <a:pt x="774" y="1246"/>
                    </a:lnTo>
                    <a:lnTo>
                      <a:pt x="774" y="1252"/>
                    </a:lnTo>
                    <a:lnTo>
                      <a:pt x="772" y="1260"/>
                    </a:lnTo>
                    <a:lnTo>
                      <a:pt x="762" y="1284"/>
                    </a:lnTo>
                    <a:lnTo>
                      <a:pt x="762" y="1284"/>
                    </a:lnTo>
                    <a:lnTo>
                      <a:pt x="762" y="1292"/>
                    </a:lnTo>
                    <a:lnTo>
                      <a:pt x="762" y="1296"/>
                    </a:lnTo>
                    <a:lnTo>
                      <a:pt x="766" y="1300"/>
                    </a:lnTo>
                    <a:lnTo>
                      <a:pt x="772" y="1302"/>
                    </a:lnTo>
                    <a:lnTo>
                      <a:pt x="788" y="1306"/>
                    </a:lnTo>
                    <a:lnTo>
                      <a:pt x="810" y="1306"/>
                    </a:lnTo>
                    <a:lnTo>
                      <a:pt x="810" y="1306"/>
                    </a:lnTo>
                    <a:lnTo>
                      <a:pt x="800" y="1312"/>
                    </a:lnTo>
                    <a:lnTo>
                      <a:pt x="790" y="1320"/>
                    </a:lnTo>
                    <a:lnTo>
                      <a:pt x="782" y="1328"/>
                    </a:lnTo>
                    <a:lnTo>
                      <a:pt x="776" y="1338"/>
                    </a:lnTo>
                    <a:lnTo>
                      <a:pt x="772" y="1346"/>
                    </a:lnTo>
                    <a:lnTo>
                      <a:pt x="772" y="1354"/>
                    </a:lnTo>
                    <a:lnTo>
                      <a:pt x="774" y="1362"/>
                    </a:lnTo>
                    <a:lnTo>
                      <a:pt x="780" y="1368"/>
                    </a:lnTo>
                    <a:lnTo>
                      <a:pt x="780" y="1368"/>
                    </a:lnTo>
                    <a:lnTo>
                      <a:pt x="786" y="1374"/>
                    </a:lnTo>
                    <a:lnTo>
                      <a:pt x="790" y="1378"/>
                    </a:lnTo>
                    <a:lnTo>
                      <a:pt x="792" y="1384"/>
                    </a:lnTo>
                    <a:lnTo>
                      <a:pt x="792" y="1390"/>
                    </a:lnTo>
                    <a:lnTo>
                      <a:pt x="792" y="1392"/>
                    </a:lnTo>
                    <a:lnTo>
                      <a:pt x="796" y="1392"/>
                    </a:lnTo>
                    <a:lnTo>
                      <a:pt x="796" y="1392"/>
                    </a:lnTo>
                    <a:lnTo>
                      <a:pt x="806" y="1394"/>
                    </a:lnTo>
                    <a:lnTo>
                      <a:pt x="812" y="1400"/>
                    </a:lnTo>
                    <a:lnTo>
                      <a:pt x="818" y="1406"/>
                    </a:lnTo>
                    <a:lnTo>
                      <a:pt x="818" y="1410"/>
                    </a:lnTo>
                    <a:lnTo>
                      <a:pt x="818" y="1414"/>
                    </a:lnTo>
                    <a:lnTo>
                      <a:pt x="818" y="1414"/>
                    </a:lnTo>
                    <a:lnTo>
                      <a:pt x="818" y="1420"/>
                    </a:lnTo>
                    <a:lnTo>
                      <a:pt x="818" y="1422"/>
                    </a:lnTo>
                    <a:lnTo>
                      <a:pt x="824" y="1426"/>
                    </a:lnTo>
                    <a:lnTo>
                      <a:pt x="828" y="1430"/>
                    </a:lnTo>
                    <a:lnTo>
                      <a:pt x="830" y="1434"/>
                    </a:lnTo>
                    <a:lnTo>
                      <a:pt x="830" y="1440"/>
                    </a:lnTo>
                    <a:lnTo>
                      <a:pt x="830" y="1440"/>
                    </a:lnTo>
                    <a:lnTo>
                      <a:pt x="830" y="1450"/>
                    </a:lnTo>
                    <a:lnTo>
                      <a:pt x="834" y="1452"/>
                    </a:lnTo>
                    <a:lnTo>
                      <a:pt x="836" y="1454"/>
                    </a:lnTo>
                    <a:lnTo>
                      <a:pt x="836" y="1462"/>
                    </a:lnTo>
                    <a:lnTo>
                      <a:pt x="836" y="1462"/>
                    </a:lnTo>
                    <a:lnTo>
                      <a:pt x="836" y="1476"/>
                    </a:lnTo>
                    <a:lnTo>
                      <a:pt x="836" y="1482"/>
                    </a:lnTo>
                    <a:lnTo>
                      <a:pt x="840" y="1488"/>
                    </a:lnTo>
                    <a:lnTo>
                      <a:pt x="842" y="1490"/>
                    </a:lnTo>
                    <a:lnTo>
                      <a:pt x="848" y="1488"/>
                    </a:lnTo>
                    <a:lnTo>
                      <a:pt x="852" y="1482"/>
                    </a:lnTo>
                    <a:lnTo>
                      <a:pt x="860" y="1470"/>
                    </a:lnTo>
                    <a:lnTo>
                      <a:pt x="860" y="1470"/>
                    </a:lnTo>
                    <a:lnTo>
                      <a:pt x="870" y="1454"/>
                    </a:lnTo>
                    <a:lnTo>
                      <a:pt x="872" y="1454"/>
                    </a:lnTo>
                    <a:lnTo>
                      <a:pt x="874" y="1456"/>
                    </a:lnTo>
                    <a:lnTo>
                      <a:pt x="876" y="1462"/>
                    </a:lnTo>
                    <a:lnTo>
                      <a:pt x="878" y="1462"/>
                    </a:lnTo>
                    <a:lnTo>
                      <a:pt x="882" y="1460"/>
                    </a:lnTo>
                    <a:lnTo>
                      <a:pt x="882" y="1460"/>
                    </a:lnTo>
                    <a:lnTo>
                      <a:pt x="888" y="1456"/>
                    </a:lnTo>
                    <a:lnTo>
                      <a:pt x="894" y="1454"/>
                    </a:lnTo>
                    <a:lnTo>
                      <a:pt x="900" y="1452"/>
                    </a:lnTo>
                    <a:lnTo>
                      <a:pt x="906" y="1454"/>
                    </a:lnTo>
                    <a:lnTo>
                      <a:pt x="912" y="1456"/>
                    </a:lnTo>
                    <a:lnTo>
                      <a:pt x="916" y="1458"/>
                    </a:lnTo>
                    <a:lnTo>
                      <a:pt x="918" y="1464"/>
                    </a:lnTo>
                    <a:lnTo>
                      <a:pt x="920" y="1470"/>
                    </a:lnTo>
                    <a:lnTo>
                      <a:pt x="920" y="1470"/>
                    </a:lnTo>
                    <a:lnTo>
                      <a:pt x="922" y="1474"/>
                    </a:lnTo>
                    <a:lnTo>
                      <a:pt x="920" y="1474"/>
                    </a:lnTo>
                    <a:lnTo>
                      <a:pt x="912" y="1470"/>
                    </a:lnTo>
                    <a:lnTo>
                      <a:pt x="902" y="1464"/>
                    </a:lnTo>
                    <a:lnTo>
                      <a:pt x="896" y="1462"/>
                    </a:lnTo>
                    <a:lnTo>
                      <a:pt x="890" y="1464"/>
                    </a:lnTo>
                    <a:lnTo>
                      <a:pt x="890" y="1464"/>
                    </a:lnTo>
                    <a:lnTo>
                      <a:pt x="888" y="1466"/>
                    </a:lnTo>
                    <a:lnTo>
                      <a:pt x="888" y="1468"/>
                    </a:lnTo>
                    <a:lnTo>
                      <a:pt x="894" y="1474"/>
                    </a:lnTo>
                    <a:lnTo>
                      <a:pt x="898" y="1474"/>
                    </a:lnTo>
                    <a:lnTo>
                      <a:pt x="898" y="1476"/>
                    </a:lnTo>
                    <a:lnTo>
                      <a:pt x="896" y="1478"/>
                    </a:lnTo>
                    <a:lnTo>
                      <a:pt x="890" y="1478"/>
                    </a:lnTo>
                    <a:lnTo>
                      <a:pt x="890" y="1478"/>
                    </a:lnTo>
                    <a:lnTo>
                      <a:pt x="884" y="1480"/>
                    </a:lnTo>
                    <a:lnTo>
                      <a:pt x="880" y="1480"/>
                    </a:lnTo>
                    <a:lnTo>
                      <a:pt x="880" y="1484"/>
                    </a:lnTo>
                    <a:lnTo>
                      <a:pt x="880" y="1486"/>
                    </a:lnTo>
                    <a:lnTo>
                      <a:pt x="880" y="1488"/>
                    </a:lnTo>
                    <a:lnTo>
                      <a:pt x="880" y="1490"/>
                    </a:lnTo>
                    <a:lnTo>
                      <a:pt x="876" y="1492"/>
                    </a:lnTo>
                    <a:lnTo>
                      <a:pt x="868" y="1492"/>
                    </a:lnTo>
                    <a:lnTo>
                      <a:pt x="868" y="1492"/>
                    </a:lnTo>
                    <a:lnTo>
                      <a:pt x="856" y="1494"/>
                    </a:lnTo>
                    <a:lnTo>
                      <a:pt x="856" y="1496"/>
                    </a:lnTo>
                    <a:lnTo>
                      <a:pt x="856" y="1496"/>
                    </a:lnTo>
                    <a:lnTo>
                      <a:pt x="860" y="1500"/>
                    </a:lnTo>
                    <a:lnTo>
                      <a:pt x="860" y="1502"/>
                    </a:lnTo>
                    <a:lnTo>
                      <a:pt x="858" y="1504"/>
                    </a:lnTo>
                    <a:lnTo>
                      <a:pt x="858" y="1504"/>
                    </a:lnTo>
                    <a:lnTo>
                      <a:pt x="854" y="1506"/>
                    </a:lnTo>
                    <a:lnTo>
                      <a:pt x="854" y="1506"/>
                    </a:lnTo>
                    <a:lnTo>
                      <a:pt x="856" y="1510"/>
                    </a:lnTo>
                    <a:lnTo>
                      <a:pt x="860" y="1514"/>
                    </a:lnTo>
                    <a:lnTo>
                      <a:pt x="862" y="1516"/>
                    </a:lnTo>
                    <a:lnTo>
                      <a:pt x="860" y="1518"/>
                    </a:lnTo>
                    <a:lnTo>
                      <a:pt x="860" y="1518"/>
                    </a:lnTo>
                    <a:lnTo>
                      <a:pt x="860" y="1522"/>
                    </a:lnTo>
                    <a:lnTo>
                      <a:pt x="860" y="1526"/>
                    </a:lnTo>
                    <a:lnTo>
                      <a:pt x="862" y="1534"/>
                    </a:lnTo>
                    <a:lnTo>
                      <a:pt x="874" y="1554"/>
                    </a:lnTo>
                    <a:lnTo>
                      <a:pt x="874" y="1554"/>
                    </a:lnTo>
                    <a:lnTo>
                      <a:pt x="878" y="1558"/>
                    </a:lnTo>
                    <a:lnTo>
                      <a:pt x="882" y="1560"/>
                    </a:lnTo>
                    <a:lnTo>
                      <a:pt x="890" y="1562"/>
                    </a:lnTo>
                    <a:lnTo>
                      <a:pt x="898" y="1562"/>
                    </a:lnTo>
                    <a:lnTo>
                      <a:pt x="898" y="1564"/>
                    </a:lnTo>
                    <a:lnTo>
                      <a:pt x="898" y="1568"/>
                    </a:lnTo>
                    <a:lnTo>
                      <a:pt x="898" y="1568"/>
                    </a:lnTo>
                    <a:lnTo>
                      <a:pt x="896" y="1572"/>
                    </a:lnTo>
                    <a:lnTo>
                      <a:pt x="898" y="1576"/>
                    </a:lnTo>
                    <a:lnTo>
                      <a:pt x="902" y="1582"/>
                    </a:lnTo>
                    <a:lnTo>
                      <a:pt x="906" y="1590"/>
                    </a:lnTo>
                    <a:lnTo>
                      <a:pt x="908" y="1594"/>
                    </a:lnTo>
                    <a:lnTo>
                      <a:pt x="908" y="1598"/>
                    </a:lnTo>
                    <a:lnTo>
                      <a:pt x="908" y="1598"/>
                    </a:lnTo>
                    <a:lnTo>
                      <a:pt x="908" y="1606"/>
                    </a:lnTo>
                    <a:lnTo>
                      <a:pt x="910" y="1610"/>
                    </a:lnTo>
                    <a:lnTo>
                      <a:pt x="914" y="1614"/>
                    </a:lnTo>
                    <a:lnTo>
                      <a:pt x="926" y="1618"/>
                    </a:lnTo>
                    <a:lnTo>
                      <a:pt x="926" y="1618"/>
                    </a:lnTo>
                    <a:lnTo>
                      <a:pt x="932" y="1622"/>
                    </a:lnTo>
                    <a:lnTo>
                      <a:pt x="934" y="1626"/>
                    </a:lnTo>
                    <a:lnTo>
                      <a:pt x="936" y="1630"/>
                    </a:lnTo>
                    <a:lnTo>
                      <a:pt x="934" y="1634"/>
                    </a:lnTo>
                    <a:lnTo>
                      <a:pt x="934" y="1640"/>
                    </a:lnTo>
                    <a:lnTo>
                      <a:pt x="934" y="1640"/>
                    </a:lnTo>
                    <a:lnTo>
                      <a:pt x="938" y="1640"/>
                    </a:lnTo>
                    <a:lnTo>
                      <a:pt x="938" y="1640"/>
                    </a:lnTo>
                    <a:lnTo>
                      <a:pt x="942" y="1640"/>
                    </a:lnTo>
                    <a:lnTo>
                      <a:pt x="944" y="1640"/>
                    </a:lnTo>
                    <a:lnTo>
                      <a:pt x="946" y="1648"/>
                    </a:lnTo>
                    <a:lnTo>
                      <a:pt x="946" y="1654"/>
                    </a:lnTo>
                    <a:lnTo>
                      <a:pt x="948" y="1656"/>
                    </a:lnTo>
                    <a:lnTo>
                      <a:pt x="950" y="1656"/>
                    </a:lnTo>
                    <a:lnTo>
                      <a:pt x="950" y="1656"/>
                    </a:lnTo>
                    <a:lnTo>
                      <a:pt x="956" y="1656"/>
                    </a:lnTo>
                    <a:lnTo>
                      <a:pt x="958" y="1656"/>
                    </a:lnTo>
                    <a:lnTo>
                      <a:pt x="958" y="1662"/>
                    </a:lnTo>
                    <a:lnTo>
                      <a:pt x="954" y="1672"/>
                    </a:lnTo>
                    <a:lnTo>
                      <a:pt x="954" y="1672"/>
                    </a:lnTo>
                    <a:lnTo>
                      <a:pt x="952" y="1676"/>
                    </a:lnTo>
                    <a:lnTo>
                      <a:pt x="956" y="1678"/>
                    </a:lnTo>
                    <a:lnTo>
                      <a:pt x="966" y="1678"/>
                    </a:lnTo>
                    <a:lnTo>
                      <a:pt x="978" y="1678"/>
                    </a:lnTo>
                    <a:lnTo>
                      <a:pt x="980" y="1680"/>
                    </a:lnTo>
                    <a:lnTo>
                      <a:pt x="980" y="1684"/>
                    </a:lnTo>
                    <a:lnTo>
                      <a:pt x="980" y="1684"/>
                    </a:lnTo>
                    <a:lnTo>
                      <a:pt x="978" y="1690"/>
                    </a:lnTo>
                    <a:lnTo>
                      <a:pt x="978" y="1692"/>
                    </a:lnTo>
                    <a:lnTo>
                      <a:pt x="980" y="1694"/>
                    </a:lnTo>
                    <a:lnTo>
                      <a:pt x="982" y="1694"/>
                    </a:lnTo>
                    <a:lnTo>
                      <a:pt x="990" y="1694"/>
                    </a:lnTo>
                    <a:lnTo>
                      <a:pt x="994" y="1696"/>
                    </a:lnTo>
                    <a:lnTo>
                      <a:pt x="996" y="1698"/>
                    </a:lnTo>
                    <a:lnTo>
                      <a:pt x="996" y="1698"/>
                    </a:lnTo>
                    <a:lnTo>
                      <a:pt x="998" y="1700"/>
                    </a:lnTo>
                    <a:lnTo>
                      <a:pt x="996" y="1702"/>
                    </a:lnTo>
                    <a:lnTo>
                      <a:pt x="994" y="1704"/>
                    </a:lnTo>
                    <a:lnTo>
                      <a:pt x="990" y="1706"/>
                    </a:lnTo>
                    <a:lnTo>
                      <a:pt x="990" y="1708"/>
                    </a:lnTo>
                    <a:lnTo>
                      <a:pt x="990" y="1712"/>
                    </a:lnTo>
                    <a:lnTo>
                      <a:pt x="990" y="1712"/>
                    </a:lnTo>
                    <a:lnTo>
                      <a:pt x="992" y="1722"/>
                    </a:lnTo>
                    <a:lnTo>
                      <a:pt x="996" y="1724"/>
                    </a:lnTo>
                    <a:lnTo>
                      <a:pt x="1000" y="1726"/>
                    </a:lnTo>
                    <a:lnTo>
                      <a:pt x="1004" y="1726"/>
                    </a:lnTo>
                    <a:lnTo>
                      <a:pt x="1010" y="1726"/>
                    </a:lnTo>
                    <a:lnTo>
                      <a:pt x="1016" y="1722"/>
                    </a:lnTo>
                    <a:lnTo>
                      <a:pt x="1024" y="1718"/>
                    </a:lnTo>
                    <a:lnTo>
                      <a:pt x="1024" y="1718"/>
                    </a:lnTo>
                    <a:lnTo>
                      <a:pt x="1032" y="1712"/>
                    </a:lnTo>
                    <a:lnTo>
                      <a:pt x="1038" y="1712"/>
                    </a:lnTo>
                    <a:lnTo>
                      <a:pt x="1040" y="1712"/>
                    </a:lnTo>
                    <a:lnTo>
                      <a:pt x="1044" y="1714"/>
                    </a:lnTo>
                    <a:lnTo>
                      <a:pt x="1048" y="1716"/>
                    </a:lnTo>
                    <a:lnTo>
                      <a:pt x="1050" y="1716"/>
                    </a:lnTo>
                    <a:lnTo>
                      <a:pt x="1054" y="1714"/>
                    </a:lnTo>
                    <a:lnTo>
                      <a:pt x="1054" y="1714"/>
                    </a:lnTo>
                    <a:lnTo>
                      <a:pt x="1064" y="1708"/>
                    </a:lnTo>
                    <a:lnTo>
                      <a:pt x="1072" y="1704"/>
                    </a:lnTo>
                    <a:lnTo>
                      <a:pt x="1080" y="1700"/>
                    </a:lnTo>
                    <a:lnTo>
                      <a:pt x="1080" y="1696"/>
                    </a:lnTo>
                    <a:lnTo>
                      <a:pt x="1080" y="1692"/>
                    </a:lnTo>
                    <a:lnTo>
                      <a:pt x="1080" y="1692"/>
                    </a:lnTo>
                    <a:lnTo>
                      <a:pt x="1080" y="1688"/>
                    </a:lnTo>
                    <a:lnTo>
                      <a:pt x="1082" y="1686"/>
                    </a:lnTo>
                    <a:lnTo>
                      <a:pt x="1084" y="1688"/>
                    </a:lnTo>
                    <a:lnTo>
                      <a:pt x="1086" y="1690"/>
                    </a:lnTo>
                    <a:lnTo>
                      <a:pt x="1088" y="1694"/>
                    </a:lnTo>
                    <a:lnTo>
                      <a:pt x="1090" y="1698"/>
                    </a:lnTo>
                    <a:lnTo>
                      <a:pt x="1090" y="1704"/>
                    </a:lnTo>
                    <a:lnTo>
                      <a:pt x="1086" y="1710"/>
                    </a:lnTo>
                    <a:lnTo>
                      <a:pt x="1086" y="1710"/>
                    </a:lnTo>
                    <a:lnTo>
                      <a:pt x="1078" y="1718"/>
                    </a:lnTo>
                    <a:lnTo>
                      <a:pt x="1076" y="1726"/>
                    </a:lnTo>
                    <a:lnTo>
                      <a:pt x="1076" y="1728"/>
                    </a:lnTo>
                    <a:lnTo>
                      <a:pt x="1078" y="1732"/>
                    </a:lnTo>
                    <a:lnTo>
                      <a:pt x="1090" y="1738"/>
                    </a:lnTo>
                    <a:lnTo>
                      <a:pt x="1090" y="1738"/>
                    </a:lnTo>
                    <a:lnTo>
                      <a:pt x="1098" y="1740"/>
                    </a:lnTo>
                    <a:lnTo>
                      <a:pt x="1106" y="1740"/>
                    </a:lnTo>
                    <a:lnTo>
                      <a:pt x="1120" y="1738"/>
                    </a:lnTo>
                    <a:lnTo>
                      <a:pt x="1124" y="1738"/>
                    </a:lnTo>
                    <a:lnTo>
                      <a:pt x="1126" y="1740"/>
                    </a:lnTo>
                    <a:lnTo>
                      <a:pt x="1126" y="1744"/>
                    </a:lnTo>
                    <a:lnTo>
                      <a:pt x="1120" y="1752"/>
                    </a:lnTo>
                    <a:lnTo>
                      <a:pt x="1120" y="1752"/>
                    </a:lnTo>
                    <a:lnTo>
                      <a:pt x="1116" y="1758"/>
                    </a:lnTo>
                    <a:lnTo>
                      <a:pt x="1116" y="1762"/>
                    </a:lnTo>
                    <a:lnTo>
                      <a:pt x="1118" y="1766"/>
                    </a:lnTo>
                    <a:lnTo>
                      <a:pt x="1122" y="1768"/>
                    </a:lnTo>
                    <a:lnTo>
                      <a:pt x="1126" y="1770"/>
                    </a:lnTo>
                    <a:lnTo>
                      <a:pt x="1132" y="1770"/>
                    </a:lnTo>
                    <a:lnTo>
                      <a:pt x="1136" y="1768"/>
                    </a:lnTo>
                    <a:lnTo>
                      <a:pt x="1140" y="1766"/>
                    </a:lnTo>
                    <a:lnTo>
                      <a:pt x="1140" y="1766"/>
                    </a:lnTo>
                    <a:lnTo>
                      <a:pt x="1150" y="1760"/>
                    </a:lnTo>
                    <a:lnTo>
                      <a:pt x="1154" y="1758"/>
                    </a:lnTo>
                    <a:lnTo>
                      <a:pt x="1156" y="1758"/>
                    </a:lnTo>
                    <a:lnTo>
                      <a:pt x="1162" y="1762"/>
                    </a:lnTo>
                    <a:lnTo>
                      <a:pt x="1170" y="1770"/>
                    </a:lnTo>
                    <a:lnTo>
                      <a:pt x="1170" y="1770"/>
                    </a:lnTo>
                    <a:lnTo>
                      <a:pt x="1182" y="1776"/>
                    </a:lnTo>
                    <a:lnTo>
                      <a:pt x="1186" y="1776"/>
                    </a:lnTo>
                    <a:lnTo>
                      <a:pt x="1190" y="1776"/>
                    </a:lnTo>
                    <a:lnTo>
                      <a:pt x="1194" y="1774"/>
                    </a:lnTo>
                    <a:lnTo>
                      <a:pt x="1196" y="1768"/>
                    </a:lnTo>
                    <a:lnTo>
                      <a:pt x="1198" y="1764"/>
                    </a:lnTo>
                    <a:lnTo>
                      <a:pt x="1200" y="1756"/>
                    </a:lnTo>
                    <a:lnTo>
                      <a:pt x="1200" y="1756"/>
                    </a:lnTo>
                    <a:lnTo>
                      <a:pt x="1200" y="1750"/>
                    </a:lnTo>
                    <a:lnTo>
                      <a:pt x="1198" y="1746"/>
                    </a:lnTo>
                    <a:lnTo>
                      <a:pt x="1194" y="1746"/>
                    </a:lnTo>
                    <a:lnTo>
                      <a:pt x="1192" y="1746"/>
                    </a:lnTo>
                    <a:lnTo>
                      <a:pt x="1186" y="1746"/>
                    </a:lnTo>
                    <a:lnTo>
                      <a:pt x="1186" y="1746"/>
                    </a:lnTo>
                    <a:lnTo>
                      <a:pt x="1186" y="1744"/>
                    </a:lnTo>
                    <a:lnTo>
                      <a:pt x="1186" y="1744"/>
                    </a:lnTo>
                    <a:lnTo>
                      <a:pt x="1190" y="1740"/>
                    </a:lnTo>
                    <a:lnTo>
                      <a:pt x="1194" y="1738"/>
                    </a:lnTo>
                    <a:lnTo>
                      <a:pt x="1204" y="1734"/>
                    </a:lnTo>
                    <a:lnTo>
                      <a:pt x="1208" y="1732"/>
                    </a:lnTo>
                    <a:lnTo>
                      <a:pt x="1210" y="1728"/>
                    </a:lnTo>
                    <a:lnTo>
                      <a:pt x="1212" y="1724"/>
                    </a:lnTo>
                    <a:lnTo>
                      <a:pt x="1212" y="1718"/>
                    </a:lnTo>
                    <a:lnTo>
                      <a:pt x="1212" y="1718"/>
                    </a:lnTo>
                    <a:lnTo>
                      <a:pt x="1210" y="1712"/>
                    </a:lnTo>
                    <a:lnTo>
                      <a:pt x="1214" y="1702"/>
                    </a:lnTo>
                    <a:lnTo>
                      <a:pt x="1224" y="1676"/>
                    </a:lnTo>
                    <a:lnTo>
                      <a:pt x="1234" y="1652"/>
                    </a:lnTo>
                    <a:lnTo>
                      <a:pt x="1236" y="1640"/>
                    </a:lnTo>
                    <a:lnTo>
                      <a:pt x="1236" y="1630"/>
                    </a:lnTo>
                    <a:lnTo>
                      <a:pt x="1236" y="1630"/>
                    </a:lnTo>
                    <a:lnTo>
                      <a:pt x="1234" y="1624"/>
                    </a:lnTo>
                    <a:lnTo>
                      <a:pt x="1232" y="1622"/>
                    </a:lnTo>
                    <a:lnTo>
                      <a:pt x="1230" y="1622"/>
                    </a:lnTo>
                    <a:lnTo>
                      <a:pt x="1228" y="1622"/>
                    </a:lnTo>
                    <a:lnTo>
                      <a:pt x="1226" y="1622"/>
                    </a:lnTo>
                    <a:lnTo>
                      <a:pt x="1222" y="1622"/>
                    </a:lnTo>
                    <a:lnTo>
                      <a:pt x="1220" y="1620"/>
                    </a:lnTo>
                    <a:lnTo>
                      <a:pt x="1214" y="1616"/>
                    </a:lnTo>
                    <a:lnTo>
                      <a:pt x="1214" y="1616"/>
                    </a:lnTo>
                    <a:lnTo>
                      <a:pt x="1212" y="1610"/>
                    </a:lnTo>
                    <a:lnTo>
                      <a:pt x="1212" y="1610"/>
                    </a:lnTo>
                    <a:lnTo>
                      <a:pt x="1222" y="1612"/>
                    </a:lnTo>
                    <a:lnTo>
                      <a:pt x="1232" y="1614"/>
                    </a:lnTo>
                    <a:lnTo>
                      <a:pt x="1236" y="1614"/>
                    </a:lnTo>
                    <a:lnTo>
                      <a:pt x="1236" y="1610"/>
                    </a:lnTo>
                    <a:lnTo>
                      <a:pt x="1236" y="1610"/>
                    </a:lnTo>
                    <a:lnTo>
                      <a:pt x="1234" y="1604"/>
                    </a:lnTo>
                    <a:lnTo>
                      <a:pt x="1232" y="1602"/>
                    </a:lnTo>
                    <a:lnTo>
                      <a:pt x="1226" y="1600"/>
                    </a:lnTo>
                    <a:lnTo>
                      <a:pt x="1220" y="1598"/>
                    </a:lnTo>
                    <a:lnTo>
                      <a:pt x="1220" y="1596"/>
                    </a:lnTo>
                    <a:lnTo>
                      <a:pt x="1222" y="1592"/>
                    </a:lnTo>
                    <a:lnTo>
                      <a:pt x="1222" y="1592"/>
                    </a:lnTo>
                    <a:lnTo>
                      <a:pt x="1226" y="1590"/>
                    </a:lnTo>
                    <a:lnTo>
                      <a:pt x="1230" y="1588"/>
                    </a:lnTo>
                    <a:lnTo>
                      <a:pt x="1244" y="1584"/>
                    </a:lnTo>
                    <a:lnTo>
                      <a:pt x="1250" y="1582"/>
                    </a:lnTo>
                    <a:lnTo>
                      <a:pt x="1256" y="1580"/>
                    </a:lnTo>
                    <a:lnTo>
                      <a:pt x="1260" y="1574"/>
                    </a:lnTo>
                    <a:lnTo>
                      <a:pt x="1262" y="1566"/>
                    </a:lnTo>
                    <a:lnTo>
                      <a:pt x="1262" y="1566"/>
                    </a:lnTo>
                    <a:lnTo>
                      <a:pt x="1264" y="1560"/>
                    </a:lnTo>
                    <a:lnTo>
                      <a:pt x="1266" y="1558"/>
                    </a:lnTo>
                    <a:lnTo>
                      <a:pt x="1268" y="1558"/>
                    </a:lnTo>
                    <a:lnTo>
                      <a:pt x="1272" y="1560"/>
                    </a:lnTo>
                    <a:lnTo>
                      <a:pt x="1278" y="1562"/>
                    </a:lnTo>
                    <a:lnTo>
                      <a:pt x="1280" y="1560"/>
                    </a:lnTo>
                    <a:lnTo>
                      <a:pt x="1280" y="1556"/>
                    </a:lnTo>
                    <a:lnTo>
                      <a:pt x="1280" y="1556"/>
                    </a:lnTo>
                    <a:lnTo>
                      <a:pt x="1282" y="1550"/>
                    </a:lnTo>
                    <a:lnTo>
                      <a:pt x="1284" y="1546"/>
                    </a:lnTo>
                    <a:lnTo>
                      <a:pt x="1294" y="1538"/>
                    </a:lnTo>
                    <a:lnTo>
                      <a:pt x="1300" y="1530"/>
                    </a:lnTo>
                    <a:lnTo>
                      <a:pt x="1302" y="1526"/>
                    </a:lnTo>
                    <a:lnTo>
                      <a:pt x="1302" y="1520"/>
                    </a:lnTo>
                    <a:lnTo>
                      <a:pt x="1302" y="1520"/>
                    </a:lnTo>
                    <a:lnTo>
                      <a:pt x="1300" y="1510"/>
                    </a:lnTo>
                    <a:lnTo>
                      <a:pt x="1300" y="1502"/>
                    </a:lnTo>
                    <a:lnTo>
                      <a:pt x="1300" y="1500"/>
                    </a:lnTo>
                    <a:lnTo>
                      <a:pt x="1298" y="1500"/>
                    </a:lnTo>
                    <a:lnTo>
                      <a:pt x="1286" y="1498"/>
                    </a:lnTo>
                    <a:lnTo>
                      <a:pt x="1286" y="1498"/>
                    </a:lnTo>
                    <a:lnTo>
                      <a:pt x="1278" y="1498"/>
                    </a:lnTo>
                    <a:lnTo>
                      <a:pt x="1270" y="1496"/>
                    </a:lnTo>
                    <a:lnTo>
                      <a:pt x="1266" y="1492"/>
                    </a:lnTo>
                    <a:lnTo>
                      <a:pt x="1262" y="1490"/>
                    </a:lnTo>
                    <a:lnTo>
                      <a:pt x="1260" y="1486"/>
                    </a:lnTo>
                    <a:lnTo>
                      <a:pt x="1262" y="1486"/>
                    </a:lnTo>
                    <a:lnTo>
                      <a:pt x="1264" y="1484"/>
                    </a:lnTo>
                    <a:lnTo>
                      <a:pt x="1270" y="1486"/>
                    </a:lnTo>
                    <a:lnTo>
                      <a:pt x="1270" y="1486"/>
                    </a:lnTo>
                    <a:lnTo>
                      <a:pt x="1276" y="1486"/>
                    </a:lnTo>
                    <a:lnTo>
                      <a:pt x="1280" y="1486"/>
                    </a:lnTo>
                    <a:lnTo>
                      <a:pt x="1288" y="1484"/>
                    </a:lnTo>
                    <a:lnTo>
                      <a:pt x="1294" y="1482"/>
                    </a:lnTo>
                    <a:lnTo>
                      <a:pt x="1300" y="1482"/>
                    </a:lnTo>
                    <a:lnTo>
                      <a:pt x="1300" y="1482"/>
                    </a:lnTo>
                    <a:lnTo>
                      <a:pt x="1308" y="1482"/>
                    </a:lnTo>
                    <a:lnTo>
                      <a:pt x="1308" y="1482"/>
                    </a:lnTo>
                    <a:lnTo>
                      <a:pt x="1308" y="1478"/>
                    </a:lnTo>
                    <a:lnTo>
                      <a:pt x="1302" y="1470"/>
                    </a:lnTo>
                    <a:lnTo>
                      <a:pt x="1290" y="1454"/>
                    </a:lnTo>
                    <a:lnTo>
                      <a:pt x="1290" y="1454"/>
                    </a:lnTo>
                    <a:lnTo>
                      <a:pt x="1282" y="1448"/>
                    </a:lnTo>
                    <a:lnTo>
                      <a:pt x="1280" y="1442"/>
                    </a:lnTo>
                    <a:lnTo>
                      <a:pt x="1280" y="1438"/>
                    </a:lnTo>
                    <a:lnTo>
                      <a:pt x="1284" y="1434"/>
                    </a:lnTo>
                    <a:lnTo>
                      <a:pt x="1288" y="1434"/>
                    </a:lnTo>
                    <a:lnTo>
                      <a:pt x="1296" y="1434"/>
                    </a:lnTo>
                    <a:lnTo>
                      <a:pt x="1310" y="1438"/>
                    </a:lnTo>
                    <a:lnTo>
                      <a:pt x="1310" y="1438"/>
                    </a:lnTo>
                    <a:lnTo>
                      <a:pt x="1316" y="1438"/>
                    </a:lnTo>
                    <a:lnTo>
                      <a:pt x="1320" y="1436"/>
                    </a:lnTo>
                    <a:lnTo>
                      <a:pt x="1324" y="1434"/>
                    </a:lnTo>
                    <a:lnTo>
                      <a:pt x="1326" y="1430"/>
                    </a:lnTo>
                    <a:lnTo>
                      <a:pt x="1332" y="1420"/>
                    </a:lnTo>
                    <a:lnTo>
                      <a:pt x="1334" y="1418"/>
                    </a:lnTo>
                    <a:lnTo>
                      <a:pt x="1338" y="1418"/>
                    </a:lnTo>
                    <a:lnTo>
                      <a:pt x="1338" y="1418"/>
                    </a:lnTo>
                    <a:lnTo>
                      <a:pt x="1344" y="1420"/>
                    </a:lnTo>
                    <a:lnTo>
                      <a:pt x="1346" y="1418"/>
                    </a:lnTo>
                    <a:lnTo>
                      <a:pt x="1344" y="1414"/>
                    </a:lnTo>
                    <a:lnTo>
                      <a:pt x="1334" y="1408"/>
                    </a:lnTo>
                    <a:lnTo>
                      <a:pt x="1334" y="1408"/>
                    </a:lnTo>
                    <a:lnTo>
                      <a:pt x="1326" y="1404"/>
                    </a:lnTo>
                    <a:lnTo>
                      <a:pt x="1324" y="1404"/>
                    </a:lnTo>
                    <a:lnTo>
                      <a:pt x="1326" y="1402"/>
                    </a:lnTo>
                    <a:lnTo>
                      <a:pt x="1330" y="1402"/>
                    </a:lnTo>
                    <a:lnTo>
                      <a:pt x="1338" y="1400"/>
                    </a:lnTo>
                    <a:lnTo>
                      <a:pt x="1338" y="1400"/>
                    </a:lnTo>
                    <a:lnTo>
                      <a:pt x="1344" y="1398"/>
                    </a:lnTo>
                    <a:lnTo>
                      <a:pt x="1352" y="1398"/>
                    </a:lnTo>
                    <a:lnTo>
                      <a:pt x="1360" y="1400"/>
                    </a:lnTo>
                    <a:lnTo>
                      <a:pt x="1370" y="1398"/>
                    </a:lnTo>
                    <a:lnTo>
                      <a:pt x="1370" y="1398"/>
                    </a:lnTo>
                    <a:lnTo>
                      <a:pt x="1380" y="1396"/>
                    </a:lnTo>
                    <a:lnTo>
                      <a:pt x="1388" y="1396"/>
                    </a:lnTo>
                    <a:lnTo>
                      <a:pt x="1394" y="1396"/>
                    </a:lnTo>
                    <a:lnTo>
                      <a:pt x="1398" y="1390"/>
                    </a:lnTo>
                    <a:lnTo>
                      <a:pt x="1398" y="1390"/>
                    </a:lnTo>
                    <a:lnTo>
                      <a:pt x="1400" y="1386"/>
                    </a:lnTo>
                    <a:lnTo>
                      <a:pt x="1398" y="1384"/>
                    </a:lnTo>
                    <a:lnTo>
                      <a:pt x="1396" y="1380"/>
                    </a:lnTo>
                    <a:lnTo>
                      <a:pt x="1402" y="1376"/>
                    </a:lnTo>
                    <a:lnTo>
                      <a:pt x="1402" y="1376"/>
                    </a:lnTo>
                    <a:lnTo>
                      <a:pt x="1404" y="1372"/>
                    </a:lnTo>
                    <a:lnTo>
                      <a:pt x="1404" y="1368"/>
                    </a:lnTo>
                    <a:lnTo>
                      <a:pt x="1404" y="1364"/>
                    </a:lnTo>
                    <a:lnTo>
                      <a:pt x="1410" y="1360"/>
                    </a:lnTo>
                    <a:lnTo>
                      <a:pt x="1410" y="1360"/>
                    </a:lnTo>
                    <a:lnTo>
                      <a:pt x="1414" y="1356"/>
                    </a:lnTo>
                    <a:lnTo>
                      <a:pt x="1416" y="1354"/>
                    </a:lnTo>
                    <a:lnTo>
                      <a:pt x="1414" y="1352"/>
                    </a:lnTo>
                    <a:lnTo>
                      <a:pt x="1412" y="1350"/>
                    </a:lnTo>
                    <a:lnTo>
                      <a:pt x="1406" y="1346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10" y="1342"/>
                    </a:lnTo>
                    <a:lnTo>
                      <a:pt x="1414" y="1344"/>
                    </a:lnTo>
                    <a:lnTo>
                      <a:pt x="1420" y="1344"/>
                    </a:lnTo>
                    <a:lnTo>
                      <a:pt x="1430" y="1344"/>
                    </a:lnTo>
                    <a:lnTo>
                      <a:pt x="1430" y="1344"/>
                    </a:lnTo>
                    <a:lnTo>
                      <a:pt x="1436" y="1344"/>
                    </a:lnTo>
                    <a:lnTo>
                      <a:pt x="1434" y="1348"/>
                    </a:lnTo>
                    <a:lnTo>
                      <a:pt x="1428" y="1352"/>
                    </a:lnTo>
                    <a:lnTo>
                      <a:pt x="1424" y="1358"/>
                    </a:lnTo>
                    <a:lnTo>
                      <a:pt x="1424" y="1358"/>
                    </a:lnTo>
                    <a:lnTo>
                      <a:pt x="1422" y="1362"/>
                    </a:lnTo>
                    <a:lnTo>
                      <a:pt x="1418" y="1364"/>
                    </a:lnTo>
                    <a:lnTo>
                      <a:pt x="1414" y="1368"/>
                    </a:lnTo>
                    <a:lnTo>
                      <a:pt x="1412" y="1372"/>
                    </a:lnTo>
                    <a:lnTo>
                      <a:pt x="1412" y="1372"/>
                    </a:lnTo>
                    <a:lnTo>
                      <a:pt x="1410" y="1378"/>
                    </a:lnTo>
                    <a:lnTo>
                      <a:pt x="1408" y="1386"/>
                    </a:lnTo>
                    <a:lnTo>
                      <a:pt x="1406" y="1392"/>
                    </a:lnTo>
                    <a:lnTo>
                      <a:pt x="1406" y="1394"/>
                    </a:lnTo>
                    <a:lnTo>
                      <a:pt x="1408" y="1396"/>
                    </a:lnTo>
                    <a:lnTo>
                      <a:pt x="1408" y="1396"/>
                    </a:lnTo>
                    <a:lnTo>
                      <a:pt x="1414" y="1398"/>
                    </a:lnTo>
                    <a:lnTo>
                      <a:pt x="1420" y="1398"/>
                    </a:lnTo>
                    <a:lnTo>
                      <a:pt x="1426" y="1396"/>
                    </a:lnTo>
                    <a:lnTo>
                      <a:pt x="1432" y="1390"/>
                    </a:lnTo>
                    <a:lnTo>
                      <a:pt x="1432" y="1390"/>
                    </a:lnTo>
                    <a:lnTo>
                      <a:pt x="1440" y="1380"/>
                    </a:lnTo>
                    <a:lnTo>
                      <a:pt x="1444" y="1380"/>
                    </a:lnTo>
                    <a:lnTo>
                      <a:pt x="1448" y="1384"/>
                    </a:lnTo>
                    <a:lnTo>
                      <a:pt x="1448" y="1384"/>
                    </a:lnTo>
                    <a:lnTo>
                      <a:pt x="1452" y="1386"/>
                    </a:lnTo>
                    <a:lnTo>
                      <a:pt x="1454" y="1384"/>
                    </a:lnTo>
                    <a:lnTo>
                      <a:pt x="1454" y="1382"/>
                    </a:lnTo>
                    <a:lnTo>
                      <a:pt x="1452" y="1378"/>
                    </a:lnTo>
                    <a:lnTo>
                      <a:pt x="1452" y="1378"/>
                    </a:lnTo>
                    <a:lnTo>
                      <a:pt x="1452" y="1376"/>
                    </a:lnTo>
                    <a:lnTo>
                      <a:pt x="1452" y="1374"/>
                    </a:lnTo>
                    <a:lnTo>
                      <a:pt x="1456" y="1372"/>
                    </a:lnTo>
                    <a:lnTo>
                      <a:pt x="1462" y="1370"/>
                    </a:lnTo>
                    <a:lnTo>
                      <a:pt x="1466" y="1370"/>
                    </a:lnTo>
                    <a:lnTo>
                      <a:pt x="1468" y="1372"/>
                    </a:lnTo>
                    <a:lnTo>
                      <a:pt x="1468" y="1372"/>
                    </a:lnTo>
                    <a:lnTo>
                      <a:pt x="1472" y="1372"/>
                    </a:lnTo>
                    <a:lnTo>
                      <a:pt x="1476" y="1372"/>
                    </a:lnTo>
                    <a:lnTo>
                      <a:pt x="1484" y="1370"/>
                    </a:lnTo>
                    <a:lnTo>
                      <a:pt x="1498" y="1362"/>
                    </a:lnTo>
                    <a:lnTo>
                      <a:pt x="1498" y="1362"/>
                    </a:lnTo>
                    <a:lnTo>
                      <a:pt x="1502" y="1360"/>
                    </a:lnTo>
                    <a:lnTo>
                      <a:pt x="1502" y="1354"/>
                    </a:lnTo>
                    <a:lnTo>
                      <a:pt x="1502" y="1350"/>
                    </a:lnTo>
                    <a:lnTo>
                      <a:pt x="1502" y="1350"/>
                    </a:lnTo>
                    <a:lnTo>
                      <a:pt x="1504" y="1350"/>
                    </a:lnTo>
                    <a:lnTo>
                      <a:pt x="1504" y="1350"/>
                    </a:lnTo>
                    <a:lnTo>
                      <a:pt x="1508" y="1350"/>
                    </a:lnTo>
                    <a:lnTo>
                      <a:pt x="1510" y="1352"/>
                    </a:lnTo>
                    <a:lnTo>
                      <a:pt x="1510" y="1354"/>
                    </a:lnTo>
                    <a:lnTo>
                      <a:pt x="1512" y="1354"/>
                    </a:lnTo>
                    <a:lnTo>
                      <a:pt x="1512" y="1354"/>
                    </a:lnTo>
                    <a:lnTo>
                      <a:pt x="1520" y="1350"/>
                    </a:lnTo>
                    <a:lnTo>
                      <a:pt x="1532" y="1344"/>
                    </a:lnTo>
                    <a:lnTo>
                      <a:pt x="1558" y="1324"/>
                    </a:lnTo>
                    <a:lnTo>
                      <a:pt x="1570" y="1314"/>
                    </a:lnTo>
                    <a:lnTo>
                      <a:pt x="1580" y="1302"/>
                    </a:lnTo>
                    <a:lnTo>
                      <a:pt x="1588" y="1290"/>
                    </a:lnTo>
                    <a:lnTo>
                      <a:pt x="1592" y="1280"/>
                    </a:lnTo>
                    <a:lnTo>
                      <a:pt x="1592" y="1280"/>
                    </a:lnTo>
                    <a:lnTo>
                      <a:pt x="1600" y="1264"/>
                    </a:lnTo>
                    <a:lnTo>
                      <a:pt x="1610" y="1250"/>
                    </a:lnTo>
                    <a:lnTo>
                      <a:pt x="1622" y="1242"/>
                    </a:lnTo>
                    <a:lnTo>
                      <a:pt x="1628" y="1238"/>
                    </a:lnTo>
                    <a:lnTo>
                      <a:pt x="1634" y="1238"/>
                    </a:lnTo>
                    <a:lnTo>
                      <a:pt x="1634" y="1238"/>
                    </a:lnTo>
                    <a:lnTo>
                      <a:pt x="1642" y="1236"/>
                    </a:lnTo>
                    <a:lnTo>
                      <a:pt x="1646" y="1234"/>
                    </a:lnTo>
                    <a:lnTo>
                      <a:pt x="1648" y="1232"/>
                    </a:lnTo>
                    <a:lnTo>
                      <a:pt x="1648" y="1228"/>
                    </a:lnTo>
                    <a:lnTo>
                      <a:pt x="1646" y="1222"/>
                    </a:lnTo>
                    <a:lnTo>
                      <a:pt x="1640" y="1214"/>
                    </a:lnTo>
                    <a:lnTo>
                      <a:pt x="1632" y="1204"/>
                    </a:lnTo>
                    <a:lnTo>
                      <a:pt x="1632" y="1204"/>
                    </a:lnTo>
                    <a:lnTo>
                      <a:pt x="1626" y="1198"/>
                    </a:lnTo>
                    <a:lnTo>
                      <a:pt x="1624" y="1194"/>
                    </a:lnTo>
                    <a:lnTo>
                      <a:pt x="1636" y="1200"/>
                    </a:lnTo>
                    <a:lnTo>
                      <a:pt x="1670" y="1222"/>
                    </a:lnTo>
                    <a:lnTo>
                      <a:pt x="1670" y="1222"/>
                    </a:lnTo>
                    <a:lnTo>
                      <a:pt x="1684" y="1226"/>
                    </a:lnTo>
                    <a:lnTo>
                      <a:pt x="1694" y="1228"/>
                    </a:lnTo>
                    <a:lnTo>
                      <a:pt x="1702" y="1228"/>
                    </a:lnTo>
                    <a:lnTo>
                      <a:pt x="1710" y="1226"/>
                    </a:lnTo>
                    <a:lnTo>
                      <a:pt x="1718" y="1224"/>
                    </a:lnTo>
                    <a:lnTo>
                      <a:pt x="1724" y="1218"/>
                    </a:lnTo>
                    <a:lnTo>
                      <a:pt x="1730" y="1212"/>
                    </a:lnTo>
                    <a:lnTo>
                      <a:pt x="1730" y="1212"/>
                    </a:lnTo>
                    <a:lnTo>
                      <a:pt x="1732" y="1206"/>
                    </a:lnTo>
                    <a:lnTo>
                      <a:pt x="1734" y="1204"/>
                    </a:lnTo>
                    <a:lnTo>
                      <a:pt x="1738" y="1204"/>
                    </a:lnTo>
                    <a:lnTo>
                      <a:pt x="1742" y="1206"/>
                    </a:lnTo>
                    <a:lnTo>
                      <a:pt x="1748" y="1208"/>
                    </a:lnTo>
                    <a:lnTo>
                      <a:pt x="1756" y="1208"/>
                    </a:lnTo>
                    <a:lnTo>
                      <a:pt x="1766" y="1208"/>
                    </a:lnTo>
                    <a:lnTo>
                      <a:pt x="1782" y="1202"/>
                    </a:lnTo>
                    <a:lnTo>
                      <a:pt x="1782" y="1202"/>
                    </a:lnTo>
                    <a:lnTo>
                      <a:pt x="1800" y="1196"/>
                    </a:lnTo>
                    <a:lnTo>
                      <a:pt x="1818" y="1190"/>
                    </a:lnTo>
                    <a:lnTo>
                      <a:pt x="1856" y="1184"/>
                    </a:lnTo>
                    <a:lnTo>
                      <a:pt x="1886" y="1178"/>
                    </a:lnTo>
                    <a:lnTo>
                      <a:pt x="1898" y="1172"/>
                    </a:lnTo>
                    <a:lnTo>
                      <a:pt x="1906" y="1166"/>
                    </a:lnTo>
                    <a:lnTo>
                      <a:pt x="1906" y="1166"/>
                    </a:lnTo>
                    <a:lnTo>
                      <a:pt x="1920" y="1154"/>
                    </a:lnTo>
                    <a:lnTo>
                      <a:pt x="1934" y="1142"/>
                    </a:lnTo>
                    <a:lnTo>
                      <a:pt x="1950" y="1132"/>
                    </a:lnTo>
                    <a:lnTo>
                      <a:pt x="1960" y="1128"/>
                    </a:lnTo>
                    <a:lnTo>
                      <a:pt x="1970" y="1128"/>
                    </a:lnTo>
                    <a:lnTo>
                      <a:pt x="1970" y="1128"/>
                    </a:lnTo>
                    <a:lnTo>
                      <a:pt x="1978" y="1126"/>
                    </a:lnTo>
                    <a:lnTo>
                      <a:pt x="1982" y="1122"/>
                    </a:lnTo>
                    <a:lnTo>
                      <a:pt x="1982" y="1120"/>
                    </a:lnTo>
                    <a:lnTo>
                      <a:pt x="1982" y="1116"/>
                    </a:lnTo>
                    <a:lnTo>
                      <a:pt x="1982" y="1112"/>
                    </a:lnTo>
                    <a:lnTo>
                      <a:pt x="1982" y="1108"/>
                    </a:lnTo>
                    <a:lnTo>
                      <a:pt x="1986" y="1106"/>
                    </a:lnTo>
                    <a:lnTo>
                      <a:pt x="1994" y="1106"/>
                    </a:lnTo>
                    <a:lnTo>
                      <a:pt x="1994" y="1106"/>
                    </a:lnTo>
                    <a:lnTo>
                      <a:pt x="2008" y="1104"/>
                    </a:lnTo>
                    <a:lnTo>
                      <a:pt x="2012" y="1102"/>
                    </a:lnTo>
                    <a:lnTo>
                      <a:pt x="2012" y="1102"/>
                    </a:lnTo>
                    <a:lnTo>
                      <a:pt x="2016" y="1096"/>
                    </a:lnTo>
                    <a:lnTo>
                      <a:pt x="2022" y="1092"/>
                    </a:lnTo>
                    <a:lnTo>
                      <a:pt x="2030" y="1088"/>
                    </a:lnTo>
                    <a:lnTo>
                      <a:pt x="2030" y="1088"/>
                    </a:lnTo>
                    <a:lnTo>
                      <a:pt x="2046" y="1080"/>
                    </a:lnTo>
                    <a:lnTo>
                      <a:pt x="2046" y="1078"/>
                    </a:lnTo>
                    <a:lnTo>
                      <a:pt x="2044" y="1076"/>
                    </a:lnTo>
                    <a:lnTo>
                      <a:pt x="2028" y="1076"/>
                    </a:lnTo>
                    <a:lnTo>
                      <a:pt x="2000" y="1080"/>
                    </a:lnTo>
                    <a:lnTo>
                      <a:pt x="2000" y="1080"/>
                    </a:lnTo>
                    <a:lnTo>
                      <a:pt x="1984" y="1080"/>
                    </a:lnTo>
                    <a:lnTo>
                      <a:pt x="1970" y="1076"/>
                    </a:lnTo>
                    <a:lnTo>
                      <a:pt x="1956" y="1070"/>
                    </a:lnTo>
                    <a:lnTo>
                      <a:pt x="1944" y="1064"/>
                    </a:lnTo>
                    <a:lnTo>
                      <a:pt x="1932" y="1058"/>
                    </a:lnTo>
                    <a:lnTo>
                      <a:pt x="1920" y="1056"/>
                    </a:lnTo>
                    <a:lnTo>
                      <a:pt x="1914" y="1056"/>
                    </a:lnTo>
                    <a:lnTo>
                      <a:pt x="1906" y="1058"/>
                    </a:lnTo>
                    <a:lnTo>
                      <a:pt x="1900" y="1060"/>
                    </a:lnTo>
                    <a:lnTo>
                      <a:pt x="1892" y="1064"/>
                    </a:lnTo>
                    <a:lnTo>
                      <a:pt x="1892" y="1064"/>
                    </a:lnTo>
                    <a:lnTo>
                      <a:pt x="1884" y="1068"/>
                    </a:lnTo>
                    <a:lnTo>
                      <a:pt x="1878" y="1070"/>
                    </a:lnTo>
                    <a:lnTo>
                      <a:pt x="1866" y="1070"/>
                    </a:lnTo>
                    <a:lnTo>
                      <a:pt x="1860" y="1070"/>
                    </a:lnTo>
                    <a:lnTo>
                      <a:pt x="1854" y="1072"/>
                    </a:lnTo>
                    <a:lnTo>
                      <a:pt x="1846" y="1076"/>
                    </a:lnTo>
                    <a:lnTo>
                      <a:pt x="1838" y="1082"/>
                    </a:lnTo>
                    <a:lnTo>
                      <a:pt x="1838" y="1082"/>
                    </a:lnTo>
                    <a:lnTo>
                      <a:pt x="1834" y="1086"/>
                    </a:lnTo>
                    <a:lnTo>
                      <a:pt x="1828" y="1090"/>
                    </a:lnTo>
                    <a:lnTo>
                      <a:pt x="1824" y="1090"/>
                    </a:lnTo>
                    <a:lnTo>
                      <a:pt x="1820" y="1090"/>
                    </a:lnTo>
                    <a:lnTo>
                      <a:pt x="1818" y="1088"/>
                    </a:lnTo>
                    <a:lnTo>
                      <a:pt x="1820" y="1084"/>
                    </a:lnTo>
                    <a:lnTo>
                      <a:pt x="1824" y="1078"/>
                    </a:lnTo>
                    <a:lnTo>
                      <a:pt x="1832" y="1070"/>
                    </a:lnTo>
                    <a:lnTo>
                      <a:pt x="1832" y="1070"/>
                    </a:lnTo>
                    <a:lnTo>
                      <a:pt x="1840" y="1064"/>
                    </a:lnTo>
                    <a:lnTo>
                      <a:pt x="1848" y="1062"/>
                    </a:lnTo>
                    <a:lnTo>
                      <a:pt x="1852" y="1062"/>
                    </a:lnTo>
                    <a:lnTo>
                      <a:pt x="1856" y="1062"/>
                    </a:lnTo>
                    <a:lnTo>
                      <a:pt x="1864" y="1064"/>
                    </a:lnTo>
                    <a:lnTo>
                      <a:pt x="1866" y="1064"/>
                    </a:lnTo>
                    <a:lnTo>
                      <a:pt x="1870" y="1062"/>
                    </a:lnTo>
                    <a:lnTo>
                      <a:pt x="1870" y="1062"/>
                    </a:lnTo>
                    <a:lnTo>
                      <a:pt x="1876" y="1058"/>
                    </a:lnTo>
                    <a:lnTo>
                      <a:pt x="1878" y="1056"/>
                    </a:lnTo>
                    <a:lnTo>
                      <a:pt x="1878" y="1054"/>
                    </a:lnTo>
                    <a:lnTo>
                      <a:pt x="1874" y="1052"/>
                    </a:lnTo>
                    <a:lnTo>
                      <a:pt x="1868" y="1052"/>
                    </a:lnTo>
                    <a:lnTo>
                      <a:pt x="1844" y="1054"/>
                    </a:lnTo>
                    <a:lnTo>
                      <a:pt x="1844" y="1054"/>
                    </a:lnTo>
                    <a:lnTo>
                      <a:pt x="1816" y="1058"/>
                    </a:lnTo>
                    <a:lnTo>
                      <a:pt x="1800" y="1058"/>
                    </a:lnTo>
                    <a:lnTo>
                      <a:pt x="1798" y="1056"/>
                    </a:lnTo>
                    <a:lnTo>
                      <a:pt x="1796" y="1052"/>
                    </a:lnTo>
                    <a:lnTo>
                      <a:pt x="1798" y="1046"/>
                    </a:lnTo>
                    <a:lnTo>
                      <a:pt x="1804" y="1038"/>
                    </a:lnTo>
                    <a:lnTo>
                      <a:pt x="1804" y="1038"/>
                    </a:lnTo>
                    <a:lnTo>
                      <a:pt x="1814" y="1022"/>
                    </a:lnTo>
                    <a:lnTo>
                      <a:pt x="1818" y="1014"/>
                    </a:lnTo>
                    <a:lnTo>
                      <a:pt x="1820" y="1012"/>
                    </a:lnTo>
                    <a:lnTo>
                      <a:pt x="1822" y="1010"/>
                    </a:lnTo>
                    <a:lnTo>
                      <a:pt x="1828" y="1016"/>
                    </a:lnTo>
                    <a:lnTo>
                      <a:pt x="1828" y="1016"/>
                    </a:lnTo>
                    <a:lnTo>
                      <a:pt x="1836" y="1022"/>
                    </a:lnTo>
                    <a:lnTo>
                      <a:pt x="1840" y="1022"/>
                    </a:lnTo>
                    <a:lnTo>
                      <a:pt x="1844" y="1022"/>
                    </a:lnTo>
                    <a:lnTo>
                      <a:pt x="1882" y="1010"/>
                    </a:lnTo>
                    <a:lnTo>
                      <a:pt x="1882" y="1010"/>
                    </a:lnTo>
                    <a:lnTo>
                      <a:pt x="1896" y="1006"/>
                    </a:lnTo>
                    <a:lnTo>
                      <a:pt x="1904" y="1000"/>
                    </a:lnTo>
                    <a:lnTo>
                      <a:pt x="1908" y="996"/>
                    </a:lnTo>
                    <a:lnTo>
                      <a:pt x="1910" y="992"/>
                    </a:lnTo>
                    <a:lnTo>
                      <a:pt x="1906" y="986"/>
                    </a:lnTo>
                    <a:lnTo>
                      <a:pt x="1898" y="984"/>
                    </a:lnTo>
                    <a:lnTo>
                      <a:pt x="1888" y="980"/>
                    </a:lnTo>
                    <a:lnTo>
                      <a:pt x="1874" y="978"/>
                    </a:lnTo>
                    <a:lnTo>
                      <a:pt x="1874" y="978"/>
                    </a:lnTo>
                    <a:lnTo>
                      <a:pt x="1850" y="974"/>
                    </a:lnTo>
                    <a:lnTo>
                      <a:pt x="1844" y="972"/>
                    </a:lnTo>
                    <a:lnTo>
                      <a:pt x="1842" y="970"/>
                    </a:lnTo>
                    <a:lnTo>
                      <a:pt x="1844" y="968"/>
                    </a:lnTo>
                    <a:lnTo>
                      <a:pt x="1850" y="966"/>
                    </a:lnTo>
                    <a:lnTo>
                      <a:pt x="1870" y="966"/>
                    </a:lnTo>
                    <a:lnTo>
                      <a:pt x="1870" y="966"/>
                    </a:lnTo>
                    <a:lnTo>
                      <a:pt x="1892" y="970"/>
                    </a:lnTo>
                    <a:lnTo>
                      <a:pt x="1906" y="976"/>
                    </a:lnTo>
                    <a:lnTo>
                      <a:pt x="1918" y="980"/>
                    </a:lnTo>
                    <a:lnTo>
                      <a:pt x="1932" y="986"/>
                    </a:lnTo>
                    <a:lnTo>
                      <a:pt x="1932" y="986"/>
                    </a:lnTo>
                    <a:lnTo>
                      <a:pt x="1946" y="992"/>
                    </a:lnTo>
                    <a:lnTo>
                      <a:pt x="1954" y="998"/>
                    </a:lnTo>
                    <a:lnTo>
                      <a:pt x="1958" y="1008"/>
                    </a:lnTo>
                    <a:lnTo>
                      <a:pt x="1960" y="1022"/>
                    </a:lnTo>
                    <a:lnTo>
                      <a:pt x="1960" y="1022"/>
                    </a:lnTo>
                    <a:lnTo>
                      <a:pt x="1964" y="1030"/>
                    </a:lnTo>
                    <a:lnTo>
                      <a:pt x="1970" y="1038"/>
                    </a:lnTo>
                    <a:lnTo>
                      <a:pt x="1978" y="1044"/>
                    </a:lnTo>
                    <a:lnTo>
                      <a:pt x="1988" y="1050"/>
                    </a:lnTo>
                    <a:lnTo>
                      <a:pt x="1998" y="1052"/>
                    </a:lnTo>
                    <a:lnTo>
                      <a:pt x="2008" y="1054"/>
                    </a:lnTo>
                    <a:lnTo>
                      <a:pt x="2016" y="1054"/>
                    </a:lnTo>
                    <a:lnTo>
                      <a:pt x="2022" y="1052"/>
                    </a:lnTo>
                    <a:lnTo>
                      <a:pt x="2022" y="1052"/>
                    </a:lnTo>
                    <a:lnTo>
                      <a:pt x="2030" y="1048"/>
                    </a:lnTo>
                    <a:lnTo>
                      <a:pt x="2036" y="1050"/>
                    </a:lnTo>
                    <a:lnTo>
                      <a:pt x="2046" y="1052"/>
                    </a:lnTo>
                    <a:lnTo>
                      <a:pt x="2060" y="1056"/>
                    </a:lnTo>
                    <a:lnTo>
                      <a:pt x="2060" y="1056"/>
                    </a:lnTo>
                    <a:lnTo>
                      <a:pt x="2068" y="1054"/>
                    </a:lnTo>
                    <a:lnTo>
                      <a:pt x="2070" y="1050"/>
                    </a:lnTo>
                    <a:lnTo>
                      <a:pt x="2072" y="1042"/>
                    </a:lnTo>
                    <a:lnTo>
                      <a:pt x="2070" y="1032"/>
                    </a:lnTo>
                    <a:lnTo>
                      <a:pt x="2066" y="1008"/>
                    </a:lnTo>
                    <a:lnTo>
                      <a:pt x="2064" y="996"/>
                    </a:lnTo>
                    <a:lnTo>
                      <a:pt x="2064" y="984"/>
                    </a:lnTo>
                    <a:lnTo>
                      <a:pt x="2064" y="984"/>
                    </a:lnTo>
                    <a:lnTo>
                      <a:pt x="2062" y="976"/>
                    </a:lnTo>
                    <a:lnTo>
                      <a:pt x="2062" y="974"/>
                    </a:lnTo>
                    <a:lnTo>
                      <a:pt x="2060" y="974"/>
                    </a:lnTo>
                    <a:lnTo>
                      <a:pt x="2056" y="976"/>
                    </a:lnTo>
                    <a:lnTo>
                      <a:pt x="2050" y="980"/>
                    </a:lnTo>
                    <a:lnTo>
                      <a:pt x="2044" y="986"/>
                    </a:lnTo>
                    <a:lnTo>
                      <a:pt x="2038" y="990"/>
                    </a:lnTo>
                    <a:lnTo>
                      <a:pt x="2032" y="990"/>
                    </a:lnTo>
                    <a:lnTo>
                      <a:pt x="2030" y="988"/>
                    </a:lnTo>
                    <a:lnTo>
                      <a:pt x="2030" y="986"/>
                    </a:lnTo>
                    <a:lnTo>
                      <a:pt x="2030" y="986"/>
                    </a:lnTo>
                    <a:lnTo>
                      <a:pt x="2028" y="976"/>
                    </a:lnTo>
                    <a:lnTo>
                      <a:pt x="2028" y="974"/>
                    </a:lnTo>
                    <a:lnTo>
                      <a:pt x="2032" y="974"/>
                    </a:lnTo>
                    <a:lnTo>
                      <a:pt x="2038" y="972"/>
                    </a:lnTo>
                    <a:lnTo>
                      <a:pt x="2044" y="968"/>
                    </a:lnTo>
                    <a:lnTo>
                      <a:pt x="2050" y="962"/>
                    </a:lnTo>
                    <a:lnTo>
                      <a:pt x="2050" y="962"/>
                    </a:lnTo>
                    <a:lnTo>
                      <a:pt x="2054" y="956"/>
                    </a:lnTo>
                    <a:lnTo>
                      <a:pt x="2054" y="956"/>
                    </a:lnTo>
                    <a:lnTo>
                      <a:pt x="2054" y="954"/>
                    </a:lnTo>
                    <a:lnTo>
                      <a:pt x="2044" y="958"/>
                    </a:lnTo>
                    <a:lnTo>
                      <a:pt x="2032" y="962"/>
                    </a:lnTo>
                    <a:lnTo>
                      <a:pt x="2030" y="960"/>
                    </a:lnTo>
                    <a:lnTo>
                      <a:pt x="2030" y="956"/>
                    </a:lnTo>
                    <a:lnTo>
                      <a:pt x="2030" y="956"/>
                    </a:lnTo>
                    <a:lnTo>
                      <a:pt x="2032" y="950"/>
                    </a:lnTo>
                    <a:lnTo>
                      <a:pt x="2030" y="944"/>
                    </a:lnTo>
                    <a:lnTo>
                      <a:pt x="2026" y="940"/>
                    </a:lnTo>
                    <a:lnTo>
                      <a:pt x="2020" y="938"/>
                    </a:lnTo>
                    <a:lnTo>
                      <a:pt x="2002" y="932"/>
                    </a:lnTo>
                    <a:lnTo>
                      <a:pt x="1980" y="926"/>
                    </a:lnTo>
                    <a:lnTo>
                      <a:pt x="1980" y="926"/>
                    </a:lnTo>
                    <a:lnTo>
                      <a:pt x="1960" y="918"/>
                    </a:lnTo>
                    <a:lnTo>
                      <a:pt x="1948" y="912"/>
                    </a:lnTo>
                    <a:lnTo>
                      <a:pt x="1944" y="908"/>
                    </a:lnTo>
                    <a:lnTo>
                      <a:pt x="1944" y="904"/>
                    </a:lnTo>
                    <a:lnTo>
                      <a:pt x="1944" y="900"/>
                    </a:lnTo>
                    <a:lnTo>
                      <a:pt x="1944" y="896"/>
                    </a:lnTo>
                    <a:lnTo>
                      <a:pt x="1942" y="892"/>
                    </a:lnTo>
                    <a:lnTo>
                      <a:pt x="1934" y="886"/>
                    </a:lnTo>
                    <a:lnTo>
                      <a:pt x="1934" y="886"/>
                    </a:lnTo>
                    <a:lnTo>
                      <a:pt x="1924" y="880"/>
                    </a:lnTo>
                    <a:lnTo>
                      <a:pt x="1922" y="874"/>
                    </a:lnTo>
                    <a:lnTo>
                      <a:pt x="1922" y="870"/>
                    </a:lnTo>
                    <a:lnTo>
                      <a:pt x="1924" y="866"/>
                    </a:lnTo>
                    <a:lnTo>
                      <a:pt x="1922" y="862"/>
                    </a:lnTo>
                    <a:lnTo>
                      <a:pt x="1916" y="858"/>
                    </a:lnTo>
                    <a:lnTo>
                      <a:pt x="1902" y="852"/>
                    </a:lnTo>
                    <a:lnTo>
                      <a:pt x="1878" y="846"/>
                    </a:lnTo>
                    <a:lnTo>
                      <a:pt x="1878" y="846"/>
                    </a:lnTo>
                    <a:lnTo>
                      <a:pt x="1888" y="846"/>
                    </a:lnTo>
                    <a:lnTo>
                      <a:pt x="1896" y="844"/>
                    </a:lnTo>
                    <a:lnTo>
                      <a:pt x="1904" y="842"/>
                    </a:lnTo>
                    <a:lnTo>
                      <a:pt x="1910" y="838"/>
                    </a:lnTo>
                    <a:lnTo>
                      <a:pt x="1926" y="828"/>
                    </a:lnTo>
                    <a:lnTo>
                      <a:pt x="1948" y="818"/>
                    </a:lnTo>
                    <a:lnTo>
                      <a:pt x="1948" y="818"/>
                    </a:lnTo>
                    <a:lnTo>
                      <a:pt x="1954" y="816"/>
                    </a:lnTo>
                    <a:lnTo>
                      <a:pt x="1960" y="816"/>
                    </a:lnTo>
                    <a:lnTo>
                      <a:pt x="1974" y="818"/>
                    </a:lnTo>
                    <a:lnTo>
                      <a:pt x="1988" y="824"/>
                    </a:lnTo>
                    <a:lnTo>
                      <a:pt x="2002" y="832"/>
                    </a:lnTo>
                    <a:lnTo>
                      <a:pt x="2016" y="838"/>
                    </a:lnTo>
                    <a:lnTo>
                      <a:pt x="2030" y="842"/>
                    </a:lnTo>
                    <a:lnTo>
                      <a:pt x="2038" y="844"/>
                    </a:lnTo>
                    <a:lnTo>
                      <a:pt x="2044" y="842"/>
                    </a:lnTo>
                    <a:lnTo>
                      <a:pt x="2052" y="840"/>
                    </a:lnTo>
                    <a:lnTo>
                      <a:pt x="2058" y="836"/>
                    </a:lnTo>
                    <a:lnTo>
                      <a:pt x="2058" y="836"/>
                    </a:lnTo>
                    <a:lnTo>
                      <a:pt x="2070" y="830"/>
                    </a:lnTo>
                    <a:lnTo>
                      <a:pt x="2078" y="826"/>
                    </a:lnTo>
                    <a:lnTo>
                      <a:pt x="2086" y="826"/>
                    </a:lnTo>
                    <a:lnTo>
                      <a:pt x="2092" y="828"/>
                    </a:lnTo>
                    <a:lnTo>
                      <a:pt x="2096" y="830"/>
                    </a:lnTo>
                    <a:lnTo>
                      <a:pt x="2100" y="830"/>
                    </a:lnTo>
                    <a:lnTo>
                      <a:pt x="2106" y="826"/>
                    </a:lnTo>
                    <a:lnTo>
                      <a:pt x="2112" y="818"/>
                    </a:lnTo>
                    <a:lnTo>
                      <a:pt x="2112" y="818"/>
                    </a:lnTo>
                    <a:lnTo>
                      <a:pt x="2118" y="810"/>
                    </a:lnTo>
                    <a:lnTo>
                      <a:pt x="2118" y="806"/>
                    </a:lnTo>
                    <a:lnTo>
                      <a:pt x="2116" y="802"/>
                    </a:lnTo>
                    <a:lnTo>
                      <a:pt x="2112" y="796"/>
                    </a:lnTo>
                    <a:lnTo>
                      <a:pt x="2104" y="792"/>
                    </a:lnTo>
                    <a:lnTo>
                      <a:pt x="2092" y="790"/>
                    </a:lnTo>
                    <a:lnTo>
                      <a:pt x="2080" y="788"/>
                    </a:lnTo>
                    <a:lnTo>
                      <a:pt x="2054" y="786"/>
                    </a:lnTo>
                    <a:lnTo>
                      <a:pt x="2054" y="786"/>
                    </a:lnTo>
                    <a:lnTo>
                      <a:pt x="2044" y="786"/>
                    </a:lnTo>
                    <a:lnTo>
                      <a:pt x="2040" y="784"/>
                    </a:lnTo>
                    <a:lnTo>
                      <a:pt x="2040" y="780"/>
                    </a:lnTo>
                    <a:lnTo>
                      <a:pt x="2040" y="776"/>
                    </a:lnTo>
                    <a:lnTo>
                      <a:pt x="2046" y="768"/>
                    </a:lnTo>
                    <a:lnTo>
                      <a:pt x="2054" y="762"/>
                    </a:lnTo>
                    <a:lnTo>
                      <a:pt x="2066" y="758"/>
                    </a:lnTo>
                    <a:lnTo>
                      <a:pt x="2078" y="754"/>
                    </a:lnTo>
                    <a:lnTo>
                      <a:pt x="2092" y="752"/>
                    </a:lnTo>
                    <a:lnTo>
                      <a:pt x="2092" y="752"/>
                    </a:lnTo>
                    <a:lnTo>
                      <a:pt x="2104" y="754"/>
                    </a:lnTo>
                    <a:lnTo>
                      <a:pt x="2112" y="758"/>
                    </a:lnTo>
                    <a:lnTo>
                      <a:pt x="2122" y="766"/>
                    </a:lnTo>
                    <a:lnTo>
                      <a:pt x="2128" y="768"/>
                    </a:lnTo>
                    <a:lnTo>
                      <a:pt x="2132" y="770"/>
                    </a:lnTo>
                    <a:lnTo>
                      <a:pt x="2142" y="768"/>
                    </a:lnTo>
                    <a:lnTo>
                      <a:pt x="2152" y="766"/>
                    </a:lnTo>
                    <a:lnTo>
                      <a:pt x="2152" y="766"/>
                    </a:lnTo>
                    <a:lnTo>
                      <a:pt x="2162" y="762"/>
                    </a:lnTo>
                    <a:lnTo>
                      <a:pt x="2164" y="758"/>
                    </a:lnTo>
                    <a:lnTo>
                      <a:pt x="2166" y="754"/>
                    </a:lnTo>
                    <a:lnTo>
                      <a:pt x="2162" y="750"/>
                    </a:lnTo>
                    <a:lnTo>
                      <a:pt x="2154" y="746"/>
                    </a:lnTo>
                    <a:lnTo>
                      <a:pt x="2146" y="742"/>
                    </a:lnTo>
                    <a:lnTo>
                      <a:pt x="2134" y="740"/>
                    </a:lnTo>
                    <a:lnTo>
                      <a:pt x="2120" y="738"/>
                    </a:lnTo>
                    <a:lnTo>
                      <a:pt x="2120" y="738"/>
                    </a:lnTo>
                    <a:lnTo>
                      <a:pt x="2112" y="738"/>
                    </a:lnTo>
                    <a:lnTo>
                      <a:pt x="2108" y="736"/>
                    </a:lnTo>
                    <a:lnTo>
                      <a:pt x="2104" y="732"/>
                    </a:lnTo>
                    <a:lnTo>
                      <a:pt x="2102" y="728"/>
                    </a:lnTo>
                    <a:lnTo>
                      <a:pt x="2100" y="718"/>
                    </a:lnTo>
                    <a:lnTo>
                      <a:pt x="2102" y="708"/>
                    </a:lnTo>
                    <a:lnTo>
                      <a:pt x="2108" y="700"/>
                    </a:lnTo>
                    <a:lnTo>
                      <a:pt x="2114" y="694"/>
                    </a:lnTo>
                    <a:lnTo>
                      <a:pt x="2118" y="692"/>
                    </a:lnTo>
                    <a:lnTo>
                      <a:pt x="2122" y="692"/>
                    </a:lnTo>
                    <a:lnTo>
                      <a:pt x="2124" y="692"/>
                    </a:lnTo>
                    <a:lnTo>
                      <a:pt x="2126" y="696"/>
                    </a:lnTo>
                    <a:lnTo>
                      <a:pt x="2126" y="696"/>
                    </a:lnTo>
                    <a:lnTo>
                      <a:pt x="2132" y="700"/>
                    </a:lnTo>
                    <a:lnTo>
                      <a:pt x="2140" y="702"/>
                    </a:lnTo>
                    <a:lnTo>
                      <a:pt x="2148" y="702"/>
                    </a:lnTo>
                    <a:lnTo>
                      <a:pt x="2154" y="698"/>
                    </a:lnTo>
                    <a:lnTo>
                      <a:pt x="2158" y="692"/>
                    </a:lnTo>
                    <a:lnTo>
                      <a:pt x="2162" y="686"/>
                    </a:lnTo>
                    <a:lnTo>
                      <a:pt x="2160" y="678"/>
                    </a:lnTo>
                    <a:lnTo>
                      <a:pt x="2156" y="670"/>
                    </a:lnTo>
                    <a:lnTo>
                      <a:pt x="2156" y="670"/>
                    </a:lnTo>
                    <a:lnTo>
                      <a:pt x="2150" y="662"/>
                    </a:lnTo>
                    <a:lnTo>
                      <a:pt x="2150" y="658"/>
                    </a:lnTo>
                    <a:lnTo>
                      <a:pt x="2154" y="656"/>
                    </a:lnTo>
                    <a:lnTo>
                      <a:pt x="2156" y="656"/>
                    </a:lnTo>
                    <a:lnTo>
                      <a:pt x="2160" y="656"/>
                    </a:lnTo>
                    <a:lnTo>
                      <a:pt x="2160" y="654"/>
                    </a:lnTo>
                    <a:lnTo>
                      <a:pt x="2144" y="646"/>
                    </a:lnTo>
                    <a:lnTo>
                      <a:pt x="2144" y="646"/>
                    </a:lnTo>
                    <a:lnTo>
                      <a:pt x="2132" y="640"/>
                    </a:lnTo>
                    <a:lnTo>
                      <a:pt x="2128" y="636"/>
                    </a:lnTo>
                    <a:lnTo>
                      <a:pt x="2128" y="634"/>
                    </a:lnTo>
                    <a:lnTo>
                      <a:pt x="2130" y="632"/>
                    </a:lnTo>
                    <a:lnTo>
                      <a:pt x="2140" y="628"/>
                    </a:lnTo>
                    <a:lnTo>
                      <a:pt x="2142" y="624"/>
                    </a:lnTo>
                    <a:lnTo>
                      <a:pt x="2142" y="620"/>
                    </a:lnTo>
                    <a:lnTo>
                      <a:pt x="2142" y="620"/>
                    </a:lnTo>
                    <a:lnTo>
                      <a:pt x="2140" y="616"/>
                    </a:lnTo>
                    <a:lnTo>
                      <a:pt x="2136" y="614"/>
                    </a:lnTo>
                    <a:lnTo>
                      <a:pt x="2126" y="612"/>
                    </a:lnTo>
                    <a:lnTo>
                      <a:pt x="2098" y="612"/>
                    </a:lnTo>
                    <a:lnTo>
                      <a:pt x="2084" y="612"/>
                    </a:lnTo>
                    <a:lnTo>
                      <a:pt x="2074" y="612"/>
                    </a:lnTo>
                    <a:lnTo>
                      <a:pt x="2066" y="608"/>
                    </a:lnTo>
                    <a:lnTo>
                      <a:pt x="2064" y="606"/>
                    </a:lnTo>
                    <a:lnTo>
                      <a:pt x="2062" y="602"/>
                    </a:lnTo>
                    <a:lnTo>
                      <a:pt x="2062" y="602"/>
                    </a:lnTo>
                    <a:lnTo>
                      <a:pt x="2062" y="598"/>
                    </a:lnTo>
                    <a:lnTo>
                      <a:pt x="2060" y="594"/>
                    </a:lnTo>
                    <a:lnTo>
                      <a:pt x="2056" y="590"/>
                    </a:lnTo>
                    <a:lnTo>
                      <a:pt x="2048" y="586"/>
                    </a:lnTo>
                    <a:lnTo>
                      <a:pt x="2040" y="582"/>
                    </a:lnTo>
                    <a:lnTo>
                      <a:pt x="2032" y="580"/>
                    </a:lnTo>
                    <a:lnTo>
                      <a:pt x="2028" y="578"/>
                    </a:lnTo>
                    <a:lnTo>
                      <a:pt x="2026" y="576"/>
                    </a:lnTo>
                    <a:lnTo>
                      <a:pt x="2028" y="574"/>
                    </a:lnTo>
                    <a:lnTo>
                      <a:pt x="2032" y="568"/>
                    </a:lnTo>
                    <a:lnTo>
                      <a:pt x="2032" y="568"/>
                    </a:lnTo>
                    <a:lnTo>
                      <a:pt x="2040" y="566"/>
                    </a:lnTo>
                    <a:lnTo>
                      <a:pt x="2046" y="566"/>
                    </a:lnTo>
                    <a:lnTo>
                      <a:pt x="2050" y="570"/>
                    </a:lnTo>
                    <a:lnTo>
                      <a:pt x="2054" y="574"/>
                    </a:lnTo>
                    <a:lnTo>
                      <a:pt x="2058" y="578"/>
                    </a:lnTo>
                    <a:lnTo>
                      <a:pt x="2064" y="580"/>
                    </a:lnTo>
                    <a:lnTo>
                      <a:pt x="2072" y="580"/>
                    </a:lnTo>
                    <a:lnTo>
                      <a:pt x="2082" y="574"/>
                    </a:lnTo>
                    <a:lnTo>
                      <a:pt x="2082" y="574"/>
                    </a:lnTo>
                    <a:lnTo>
                      <a:pt x="2094" y="566"/>
                    </a:lnTo>
                    <a:lnTo>
                      <a:pt x="2106" y="562"/>
                    </a:lnTo>
                    <a:lnTo>
                      <a:pt x="2120" y="560"/>
                    </a:lnTo>
                    <a:lnTo>
                      <a:pt x="2132" y="560"/>
                    </a:lnTo>
                    <a:lnTo>
                      <a:pt x="2144" y="562"/>
                    </a:lnTo>
                    <a:lnTo>
                      <a:pt x="2156" y="564"/>
                    </a:lnTo>
                    <a:lnTo>
                      <a:pt x="2178" y="574"/>
                    </a:lnTo>
                    <a:lnTo>
                      <a:pt x="2178" y="574"/>
                    </a:lnTo>
                    <a:lnTo>
                      <a:pt x="2188" y="576"/>
                    </a:lnTo>
                    <a:lnTo>
                      <a:pt x="2196" y="574"/>
                    </a:lnTo>
                    <a:lnTo>
                      <a:pt x="2202" y="570"/>
                    </a:lnTo>
                    <a:lnTo>
                      <a:pt x="2206" y="564"/>
                    </a:lnTo>
                    <a:lnTo>
                      <a:pt x="2208" y="556"/>
                    </a:lnTo>
                    <a:lnTo>
                      <a:pt x="2206" y="546"/>
                    </a:lnTo>
                    <a:lnTo>
                      <a:pt x="2202" y="536"/>
                    </a:lnTo>
                    <a:lnTo>
                      <a:pt x="2194" y="528"/>
                    </a:lnTo>
                    <a:lnTo>
                      <a:pt x="2194" y="528"/>
                    </a:lnTo>
                    <a:lnTo>
                      <a:pt x="2186" y="522"/>
                    </a:lnTo>
                    <a:lnTo>
                      <a:pt x="2180" y="522"/>
                    </a:lnTo>
                    <a:lnTo>
                      <a:pt x="2176" y="524"/>
                    </a:lnTo>
                    <a:lnTo>
                      <a:pt x="2172" y="528"/>
                    </a:lnTo>
                    <a:lnTo>
                      <a:pt x="2166" y="532"/>
                    </a:lnTo>
                    <a:lnTo>
                      <a:pt x="2158" y="534"/>
                    </a:lnTo>
                    <a:lnTo>
                      <a:pt x="2148" y="532"/>
                    </a:lnTo>
                    <a:lnTo>
                      <a:pt x="2132" y="524"/>
                    </a:lnTo>
                    <a:lnTo>
                      <a:pt x="2132" y="524"/>
                    </a:lnTo>
                    <a:lnTo>
                      <a:pt x="2106" y="506"/>
                    </a:lnTo>
                    <a:lnTo>
                      <a:pt x="2102" y="502"/>
                    </a:lnTo>
                    <a:lnTo>
                      <a:pt x="2102" y="500"/>
                    </a:lnTo>
                    <a:lnTo>
                      <a:pt x="2102" y="498"/>
                    </a:lnTo>
                    <a:lnTo>
                      <a:pt x="2106" y="498"/>
                    </a:lnTo>
                    <a:lnTo>
                      <a:pt x="2116" y="498"/>
                    </a:lnTo>
                    <a:lnTo>
                      <a:pt x="2144" y="504"/>
                    </a:lnTo>
                    <a:lnTo>
                      <a:pt x="2144" y="504"/>
                    </a:lnTo>
                    <a:lnTo>
                      <a:pt x="2170" y="508"/>
                    </a:lnTo>
                    <a:lnTo>
                      <a:pt x="2174" y="508"/>
                    </a:lnTo>
                    <a:lnTo>
                      <a:pt x="2174" y="506"/>
                    </a:lnTo>
                    <a:lnTo>
                      <a:pt x="2168" y="502"/>
                    </a:lnTo>
                    <a:lnTo>
                      <a:pt x="2156" y="496"/>
                    </a:lnTo>
                    <a:lnTo>
                      <a:pt x="2120" y="480"/>
                    </a:lnTo>
                    <a:lnTo>
                      <a:pt x="2120" y="480"/>
                    </a:lnTo>
                    <a:lnTo>
                      <a:pt x="2100" y="474"/>
                    </a:lnTo>
                    <a:lnTo>
                      <a:pt x="2086" y="474"/>
                    </a:lnTo>
                    <a:lnTo>
                      <a:pt x="2078" y="476"/>
                    </a:lnTo>
                    <a:lnTo>
                      <a:pt x="2074" y="482"/>
                    </a:lnTo>
                    <a:lnTo>
                      <a:pt x="2070" y="494"/>
                    </a:lnTo>
                    <a:lnTo>
                      <a:pt x="2066" y="500"/>
                    </a:lnTo>
                    <a:lnTo>
                      <a:pt x="2060" y="504"/>
                    </a:lnTo>
                    <a:lnTo>
                      <a:pt x="2060" y="504"/>
                    </a:lnTo>
                    <a:lnTo>
                      <a:pt x="2056" y="504"/>
                    </a:lnTo>
                    <a:lnTo>
                      <a:pt x="2054" y="502"/>
                    </a:lnTo>
                    <a:lnTo>
                      <a:pt x="2052" y="500"/>
                    </a:lnTo>
                    <a:lnTo>
                      <a:pt x="2052" y="498"/>
                    </a:lnTo>
                    <a:lnTo>
                      <a:pt x="2054" y="490"/>
                    </a:lnTo>
                    <a:lnTo>
                      <a:pt x="2060" y="478"/>
                    </a:lnTo>
                    <a:lnTo>
                      <a:pt x="2072" y="454"/>
                    </a:lnTo>
                    <a:lnTo>
                      <a:pt x="2080" y="440"/>
                    </a:lnTo>
                    <a:lnTo>
                      <a:pt x="2086" y="426"/>
                    </a:lnTo>
                    <a:lnTo>
                      <a:pt x="2086" y="426"/>
                    </a:lnTo>
                    <a:lnTo>
                      <a:pt x="2090" y="414"/>
                    </a:lnTo>
                    <a:lnTo>
                      <a:pt x="2096" y="408"/>
                    </a:lnTo>
                    <a:lnTo>
                      <a:pt x="2104" y="404"/>
                    </a:lnTo>
                    <a:lnTo>
                      <a:pt x="2110" y="404"/>
                    </a:lnTo>
                    <a:lnTo>
                      <a:pt x="2124" y="404"/>
                    </a:lnTo>
                    <a:lnTo>
                      <a:pt x="2130" y="404"/>
                    </a:lnTo>
                    <a:lnTo>
                      <a:pt x="2134" y="402"/>
                    </a:lnTo>
                    <a:lnTo>
                      <a:pt x="2134" y="402"/>
                    </a:lnTo>
                    <a:lnTo>
                      <a:pt x="2146" y="392"/>
                    </a:lnTo>
                    <a:lnTo>
                      <a:pt x="2160" y="382"/>
                    </a:lnTo>
                    <a:lnTo>
                      <a:pt x="2166" y="376"/>
                    </a:lnTo>
                    <a:lnTo>
                      <a:pt x="2168" y="372"/>
                    </a:lnTo>
                    <a:lnTo>
                      <a:pt x="2168" y="370"/>
                    </a:lnTo>
                    <a:lnTo>
                      <a:pt x="2166" y="368"/>
                    </a:lnTo>
                    <a:lnTo>
                      <a:pt x="2160" y="366"/>
                    </a:lnTo>
                    <a:lnTo>
                      <a:pt x="2160" y="366"/>
                    </a:lnTo>
                    <a:lnTo>
                      <a:pt x="2152" y="362"/>
                    </a:lnTo>
                    <a:lnTo>
                      <a:pt x="2146" y="358"/>
                    </a:lnTo>
                    <a:lnTo>
                      <a:pt x="2144" y="354"/>
                    </a:lnTo>
                    <a:lnTo>
                      <a:pt x="2144" y="348"/>
                    </a:lnTo>
                    <a:lnTo>
                      <a:pt x="2146" y="344"/>
                    </a:lnTo>
                    <a:lnTo>
                      <a:pt x="2150" y="338"/>
                    </a:lnTo>
                    <a:lnTo>
                      <a:pt x="2158" y="336"/>
                    </a:lnTo>
                    <a:lnTo>
                      <a:pt x="2168" y="334"/>
                    </a:lnTo>
                    <a:lnTo>
                      <a:pt x="2168" y="334"/>
                    </a:lnTo>
                    <a:lnTo>
                      <a:pt x="2190" y="334"/>
                    </a:lnTo>
                    <a:lnTo>
                      <a:pt x="2204" y="330"/>
                    </a:lnTo>
                    <a:lnTo>
                      <a:pt x="2216" y="322"/>
                    </a:lnTo>
                    <a:lnTo>
                      <a:pt x="2228" y="310"/>
                    </a:lnTo>
                    <a:lnTo>
                      <a:pt x="2228" y="310"/>
                    </a:lnTo>
                    <a:lnTo>
                      <a:pt x="2230" y="306"/>
                    </a:lnTo>
                    <a:lnTo>
                      <a:pt x="2230" y="304"/>
                    </a:lnTo>
                    <a:lnTo>
                      <a:pt x="2228" y="302"/>
                    </a:lnTo>
                    <a:lnTo>
                      <a:pt x="2226" y="300"/>
                    </a:lnTo>
                    <a:lnTo>
                      <a:pt x="2214" y="300"/>
                    </a:lnTo>
                    <a:lnTo>
                      <a:pt x="2200" y="300"/>
                    </a:lnTo>
                    <a:lnTo>
                      <a:pt x="2162" y="308"/>
                    </a:lnTo>
                    <a:lnTo>
                      <a:pt x="2142" y="312"/>
                    </a:lnTo>
                    <a:lnTo>
                      <a:pt x="2124" y="318"/>
                    </a:lnTo>
                    <a:lnTo>
                      <a:pt x="2124" y="318"/>
                    </a:lnTo>
                    <a:lnTo>
                      <a:pt x="2112" y="322"/>
                    </a:lnTo>
                    <a:lnTo>
                      <a:pt x="2108" y="320"/>
                    </a:lnTo>
                    <a:lnTo>
                      <a:pt x="2106" y="320"/>
                    </a:lnTo>
                    <a:lnTo>
                      <a:pt x="2106" y="316"/>
                    </a:lnTo>
                    <a:lnTo>
                      <a:pt x="2108" y="314"/>
                    </a:lnTo>
                    <a:lnTo>
                      <a:pt x="2114" y="306"/>
                    </a:lnTo>
                    <a:lnTo>
                      <a:pt x="2124" y="298"/>
                    </a:lnTo>
                    <a:lnTo>
                      <a:pt x="2138" y="292"/>
                    </a:lnTo>
                    <a:lnTo>
                      <a:pt x="2152" y="288"/>
                    </a:lnTo>
                    <a:lnTo>
                      <a:pt x="2160" y="288"/>
                    </a:lnTo>
                    <a:lnTo>
                      <a:pt x="2168" y="288"/>
                    </a:lnTo>
                    <a:lnTo>
                      <a:pt x="2168" y="288"/>
                    </a:lnTo>
                    <a:lnTo>
                      <a:pt x="2182" y="292"/>
                    </a:lnTo>
                    <a:lnTo>
                      <a:pt x="2198" y="292"/>
                    </a:lnTo>
                    <a:lnTo>
                      <a:pt x="2214" y="292"/>
                    </a:lnTo>
                    <a:lnTo>
                      <a:pt x="2228" y="290"/>
                    </a:lnTo>
                    <a:lnTo>
                      <a:pt x="2256" y="284"/>
                    </a:lnTo>
                    <a:lnTo>
                      <a:pt x="2278" y="276"/>
                    </a:lnTo>
                    <a:lnTo>
                      <a:pt x="2278" y="276"/>
                    </a:lnTo>
                    <a:lnTo>
                      <a:pt x="2284" y="270"/>
                    </a:lnTo>
                    <a:lnTo>
                      <a:pt x="2286" y="268"/>
                    </a:lnTo>
                    <a:lnTo>
                      <a:pt x="2284" y="268"/>
                    </a:lnTo>
                    <a:lnTo>
                      <a:pt x="2280" y="264"/>
                    </a:lnTo>
                    <a:lnTo>
                      <a:pt x="2270" y="262"/>
                    </a:lnTo>
                    <a:lnTo>
                      <a:pt x="2244" y="260"/>
                    </a:lnTo>
                    <a:lnTo>
                      <a:pt x="2232" y="260"/>
                    </a:lnTo>
                    <a:lnTo>
                      <a:pt x="2220" y="262"/>
                    </a:lnTo>
                    <a:lnTo>
                      <a:pt x="2220" y="262"/>
                    </a:lnTo>
                    <a:lnTo>
                      <a:pt x="2206" y="264"/>
                    </a:lnTo>
                    <a:lnTo>
                      <a:pt x="2188" y="264"/>
                    </a:lnTo>
                    <a:lnTo>
                      <a:pt x="2154" y="262"/>
                    </a:lnTo>
                    <a:lnTo>
                      <a:pt x="2134" y="258"/>
                    </a:lnTo>
                    <a:lnTo>
                      <a:pt x="2150" y="258"/>
                    </a:lnTo>
                    <a:lnTo>
                      <a:pt x="2150" y="258"/>
                    </a:lnTo>
                    <a:lnTo>
                      <a:pt x="2168" y="260"/>
                    </a:lnTo>
                    <a:lnTo>
                      <a:pt x="2182" y="258"/>
                    </a:lnTo>
                    <a:lnTo>
                      <a:pt x="2192" y="256"/>
                    </a:lnTo>
                    <a:lnTo>
                      <a:pt x="2200" y="252"/>
                    </a:lnTo>
                    <a:lnTo>
                      <a:pt x="2214" y="248"/>
                    </a:lnTo>
                    <a:lnTo>
                      <a:pt x="2222" y="246"/>
                    </a:lnTo>
                    <a:lnTo>
                      <a:pt x="2232" y="248"/>
                    </a:lnTo>
                    <a:lnTo>
                      <a:pt x="2232" y="248"/>
                    </a:lnTo>
                    <a:lnTo>
                      <a:pt x="2244" y="250"/>
                    </a:lnTo>
                    <a:lnTo>
                      <a:pt x="2254" y="250"/>
                    </a:lnTo>
                    <a:lnTo>
                      <a:pt x="2274" y="248"/>
                    </a:lnTo>
                    <a:lnTo>
                      <a:pt x="2298" y="244"/>
                    </a:lnTo>
                    <a:lnTo>
                      <a:pt x="2330" y="242"/>
                    </a:lnTo>
                    <a:lnTo>
                      <a:pt x="2330" y="242"/>
                    </a:lnTo>
                    <a:lnTo>
                      <a:pt x="2342" y="240"/>
                    </a:lnTo>
                    <a:lnTo>
                      <a:pt x="2344" y="238"/>
                    </a:lnTo>
                    <a:lnTo>
                      <a:pt x="2344" y="238"/>
                    </a:lnTo>
                    <a:lnTo>
                      <a:pt x="2342" y="232"/>
                    </a:lnTo>
                    <a:lnTo>
                      <a:pt x="2336" y="228"/>
                    </a:lnTo>
                    <a:lnTo>
                      <a:pt x="2330" y="224"/>
                    </a:lnTo>
                    <a:lnTo>
                      <a:pt x="2328" y="220"/>
                    </a:lnTo>
                    <a:lnTo>
                      <a:pt x="2330" y="220"/>
                    </a:lnTo>
                    <a:lnTo>
                      <a:pt x="2334" y="218"/>
                    </a:lnTo>
                    <a:lnTo>
                      <a:pt x="2348" y="218"/>
                    </a:lnTo>
                    <a:lnTo>
                      <a:pt x="2348" y="218"/>
                    </a:lnTo>
                    <a:lnTo>
                      <a:pt x="2360" y="216"/>
                    </a:lnTo>
                    <a:lnTo>
                      <a:pt x="2372" y="214"/>
                    </a:lnTo>
                    <a:lnTo>
                      <a:pt x="2382" y="212"/>
                    </a:lnTo>
                    <a:lnTo>
                      <a:pt x="2392" y="206"/>
                    </a:lnTo>
                    <a:lnTo>
                      <a:pt x="2412" y="196"/>
                    </a:lnTo>
                    <a:lnTo>
                      <a:pt x="2436" y="182"/>
                    </a:lnTo>
                    <a:lnTo>
                      <a:pt x="2436" y="182"/>
                    </a:lnTo>
                    <a:lnTo>
                      <a:pt x="2440" y="180"/>
                    </a:lnTo>
                    <a:lnTo>
                      <a:pt x="2442" y="176"/>
                    </a:lnTo>
                    <a:lnTo>
                      <a:pt x="2438" y="174"/>
                    </a:lnTo>
                    <a:lnTo>
                      <a:pt x="2434" y="170"/>
                    </a:lnTo>
                    <a:lnTo>
                      <a:pt x="2414" y="164"/>
                    </a:lnTo>
                    <a:lnTo>
                      <a:pt x="2388" y="158"/>
                    </a:lnTo>
                    <a:lnTo>
                      <a:pt x="2356" y="154"/>
                    </a:lnTo>
                    <a:lnTo>
                      <a:pt x="2322" y="150"/>
                    </a:lnTo>
                    <a:lnTo>
                      <a:pt x="2292" y="148"/>
                    </a:lnTo>
                    <a:lnTo>
                      <a:pt x="2264" y="150"/>
                    </a:lnTo>
                    <a:lnTo>
                      <a:pt x="2264" y="150"/>
                    </a:lnTo>
                    <a:lnTo>
                      <a:pt x="2244" y="152"/>
                    </a:lnTo>
                    <a:lnTo>
                      <a:pt x="2230" y="158"/>
                    </a:lnTo>
                    <a:lnTo>
                      <a:pt x="2220" y="164"/>
                    </a:lnTo>
                    <a:lnTo>
                      <a:pt x="2214" y="172"/>
                    </a:lnTo>
                    <a:lnTo>
                      <a:pt x="2210" y="180"/>
                    </a:lnTo>
                    <a:lnTo>
                      <a:pt x="2204" y="184"/>
                    </a:lnTo>
                    <a:lnTo>
                      <a:pt x="2198" y="186"/>
                    </a:lnTo>
                    <a:lnTo>
                      <a:pt x="2188" y="186"/>
                    </a:lnTo>
                    <a:lnTo>
                      <a:pt x="2188" y="186"/>
                    </a:lnTo>
                    <a:lnTo>
                      <a:pt x="2176" y="184"/>
                    </a:lnTo>
                    <a:lnTo>
                      <a:pt x="2162" y="182"/>
                    </a:lnTo>
                    <a:lnTo>
                      <a:pt x="2140" y="184"/>
                    </a:lnTo>
                    <a:lnTo>
                      <a:pt x="2126" y="184"/>
                    </a:lnTo>
                    <a:lnTo>
                      <a:pt x="2126" y="182"/>
                    </a:lnTo>
                    <a:lnTo>
                      <a:pt x="2126" y="182"/>
                    </a:lnTo>
                    <a:lnTo>
                      <a:pt x="2130" y="178"/>
                    </a:lnTo>
                    <a:lnTo>
                      <a:pt x="2130" y="178"/>
                    </a:lnTo>
                    <a:lnTo>
                      <a:pt x="2134" y="172"/>
                    </a:lnTo>
                    <a:lnTo>
                      <a:pt x="2134" y="170"/>
                    </a:lnTo>
                    <a:lnTo>
                      <a:pt x="2128" y="170"/>
                    </a:lnTo>
                    <a:lnTo>
                      <a:pt x="2120" y="172"/>
                    </a:lnTo>
                    <a:lnTo>
                      <a:pt x="2108" y="176"/>
                    </a:lnTo>
                    <a:lnTo>
                      <a:pt x="2092" y="184"/>
                    </a:lnTo>
                    <a:lnTo>
                      <a:pt x="2074" y="196"/>
                    </a:lnTo>
                    <a:lnTo>
                      <a:pt x="2050" y="210"/>
                    </a:lnTo>
                    <a:lnTo>
                      <a:pt x="2050" y="210"/>
                    </a:lnTo>
                    <a:lnTo>
                      <a:pt x="2028" y="224"/>
                    </a:lnTo>
                    <a:lnTo>
                      <a:pt x="2010" y="234"/>
                    </a:lnTo>
                    <a:lnTo>
                      <a:pt x="1996" y="242"/>
                    </a:lnTo>
                    <a:lnTo>
                      <a:pt x="1986" y="244"/>
                    </a:lnTo>
                    <a:lnTo>
                      <a:pt x="1984" y="244"/>
                    </a:lnTo>
                    <a:lnTo>
                      <a:pt x="1982" y="244"/>
                    </a:lnTo>
                    <a:lnTo>
                      <a:pt x="1984" y="238"/>
                    </a:lnTo>
                    <a:lnTo>
                      <a:pt x="1992" y="228"/>
                    </a:lnTo>
                    <a:lnTo>
                      <a:pt x="2008" y="216"/>
                    </a:lnTo>
                    <a:lnTo>
                      <a:pt x="2008" y="216"/>
                    </a:lnTo>
                    <a:lnTo>
                      <a:pt x="2026" y="200"/>
                    </a:lnTo>
                    <a:lnTo>
                      <a:pt x="2040" y="186"/>
                    </a:lnTo>
                    <a:lnTo>
                      <a:pt x="2050" y="172"/>
                    </a:lnTo>
                    <a:lnTo>
                      <a:pt x="2052" y="166"/>
                    </a:lnTo>
                    <a:lnTo>
                      <a:pt x="2052" y="160"/>
                    </a:lnTo>
                    <a:lnTo>
                      <a:pt x="2052" y="156"/>
                    </a:lnTo>
                    <a:lnTo>
                      <a:pt x="2050" y="150"/>
                    </a:lnTo>
                    <a:lnTo>
                      <a:pt x="2048" y="146"/>
                    </a:lnTo>
                    <a:lnTo>
                      <a:pt x="2042" y="144"/>
                    </a:lnTo>
                    <a:lnTo>
                      <a:pt x="2036" y="140"/>
                    </a:lnTo>
                    <a:lnTo>
                      <a:pt x="2028" y="138"/>
                    </a:lnTo>
                    <a:lnTo>
                      <a:pt x="2004" y="138"/>
                    </a:lnTo>
                    <a:lnTo>
                      <a:pt x="2004" y="138"/>
                    </a:lnTo>
                    <a:lnTo>
                      <a:pt x="1984" y="138"/>
                    </a:lnTo>
                    <a:lnTo>
                      <a:pt x="1972" y="142"/>
                    </a:lnTo>
                    <a:lnTo>
                      <a:pt x="1964" y="146"/>
                    </a:lnTo>
                    <a:lnTo>
                      <a:pt x="1962" y="152"/>
                    </a:lnTo>
                    <a:lnTo>
                      <a:pt x="1960" y="156"/>
                    </a:lnTo>
                    <a:lnTo>
                      <a:pt x="1958" y="162"/>
                    </a:lnTo>
                    <a:lnTo>
                      <a:pt x="1952" y="168"/>
                    </a:lnTo>
                    <a:lnTo>
                      <a:pt x="1940" y="172"/>
                    </a:lnTo>
                    <a:lnTo>
                      <a:pt x="1940" y="172"/>
                    </a:lnTo>
                    <a:lnTo>
                      <a:pt x="1910" y="178"/>
                    </a:lnTo>
                    <a:lnTo>
                      <a:pt x="1886" y="182"/>
                    </a:lnTo>
                    <a:lnTo>
                      <a:pt x="1878" y="182"/>
                    </a:lnTo>
                    <a:lnTo>
                      <a:pt x="1876" y="180"/>
                    </a:lnTo>
                    <a:lnTo>
                      <a:pt x="1880" y="176"/>
                    </a:lnTo>
                    <a:lnTo>
                      <a:pt x="1890" y="172"/>
                    </a:lnTo>
                    <a:lnTo>
                      <a:pt x="1890" y="172"/>
                    </a:lnTo>
                    <a:lnTo>
                      <a:pt x="1916" y="160"/>
                    </a:lnTo>
                    <a:lnTo>
                      <a:pt x="1922" y="154"/>
                    </a:lnTo>
                    <a:lnTo>
                      <a:pt x="1924" y="152"/>
                    </a:lnTo>
                    <a:lnTo>
                      <a:pt x="1924" y="150"/>
                    </a:lnTo>
                    <a:lnTo>
                      <a:pt x="1924" y="148"/>
                    </a:lnTo>
                    <a:lnTo>
                      <a:pt x="1920" y="148"/>
                    </a:lnTo>
                    <a:lnTo>
                      <a:pt x="1906" y="144"/>
                    </a:lnTo>
                    <a:lnTo>
                      <a:pt x="1884" y="142"/>
                    </a:lnTo>
                    <a:lnTo>
                      <a:pt x="1852" y="140"/>
                    </a:lnTo>
                    <a:lnTo>
                      <a:pt x="1852" y="140"/>
                    </a:lnTo>
                    <a:lnTo>
                      <a:pt x="1812" y="142"/>
                    </a:lnTo>
                    <a:lnTo>
                      <a:pt x="1770" y="146"/>
                    </a:lnTo>
                    <a:lnTo>
                      <a:pt x="1730" y="152"/>
                    </a:lnTo>
                    <a:lnTo>
                      <a:pt x="1694" y="160"/>
                    </a:lnTo>
                    <a:lnTo>
                      <a:pt x="1636" y="172"/>
                    </a:lnTo>
                    <a:lnTo>
                      <a:pt x="1616" y="174"/>
                    </a:lnTo>
                    <a:lnTo>
                      <a:pt x="1610" y="174"/>
                    </a:lnTo>
                    <a:lnTo>
                      <a:pt x="1608" y="174"/>
                    </a:lnTo>
                    <a:lnTo>
                      <a:pt x="1608" y="174"/>
                    </a:lnTo>
                    <a:lnTo>
                      <a:pt x="1604" y="170"/>
                    </a:lnTo>
                    <a:lnTo>
                      <a:pt x="1602" y="168"/>
                    </a:lnTo>
                    <a:lnTo>
                      <a:pt x="1604" y="164"/>
                    </a:lnTo>
                    <a:lnTo>
                      <a:pt x="1606" y="162"/>
                    </a:lnTo>
                    <a:lnTo>
                      <a:pt x="1618" y="156"/>
                    </a:lnTo>
                    <a:lnTo>
                      <a:pt x="1636" y="152"/>
                    </a:lnTo>
                    <a:lnTo>
                      <a:pt x="1686" y="142"/>
                    </a:lnTo>
                    <a:lnTo>
                      <a:pt x="1744" y="134"/>
                    </a:lnTo>
                    <a:lnTo>
                      <a:pt x="1744" y="134"/>
                    </a:lnTo>
                    <a:lnTo>
                      <a:pt x="1772" y="130"/>
                    </a:lnTo>
                    <a:lnTo>
                      <a:pt x="1802" y="130"/>
                    </a:lnTo>
                    <a:lnTo>
                      <a:pt x="1864" y="130"/>
                    </a:lnTo>
                    <a:lnTo>
                      <a:pt x="1926" y="130"/>
                    </a:lnTo>
                    <a:lnTo>
                      <a:pt x="1956" y="128"/>
                    </a:lnTo>
                    <a:lnTo>
                      <a:pt x="1984" y="124"/>
                    </a:lnTo>
                    <a:lnTo>
                      <a:pt x="1984" y="124"/>
                    </a:lnTo>
                    <a:lnTo>
                      <a:pt x="2020" y="114"/>
                    </a:lnTo>
                    <a:lnTo>
                      <a:pt x="2054" y="104"/>
                    </a:lnTo>
                    <a:lnTo>
                      <a:pt x="2066" y="98"/>
                    </a:lnTo>
                    <a:lnTo>
                      <a:pt x="2072" y="92"/>
                    </a:lnTo>
                    <a:lnTo>
                      <a:pt x="2072" y="90"/>
                    </a:lnTo>
                    <a:lnTo>
                      <a:pt x="2070" y="88"/>
                    </a:lnTo>
                    <a:lnTo>
                      <a:pt x="2062" y="84"/>
                    </a:lnTo>
                    <a:lnTo>
                      <a:pt x="2062" y="84"/>
                    </a:lnTo>
                    <a:lnTo>
                      <a:pt x="2034" y="78"/>
                    </a:lnTo>
                    <a:lnTo>
                      <a:pt x="2004" y="72"/>
                    </a:lnTo>
                    <a:lnTo>
                      <a:pt x="1988" y="70"/>
                    </a:lnTo>
                    <a:lnTo>
                      <a:pt x="1970" y="68"/>
                    </a:lnTo>
                    <a:lnTo>
                      <a:pt x="1952" y="70"/>
                    </a:lnTo>
                    <a:lnTo>
                      <a:pt x="1932" y="72"/>
                    </a:lnTo>
                    <a:lnTo>
                      <a:pt x="1932" y="72"/>
                    </a:lnTo>
                    <a:lnTo>
                      <a:pt x="1914" y="76"/>
                    </a:lnTo>
                    <a:lnTo>
                      <a:pt x="1916" y="74"/>
                    </a:lnTo>
                    <a:lnTo>
                      <a:pt x="1922" y="70"/>
                    </a:lnTo>
                    <a:lnTo>
                      <a:pt x="1930" y="64"/>
                    </a:lnTo>
                    <a:lnTo>
                      <a:pt x="1936" y="58"/>
                    </a:lnTo>
                    <a:lnTo>
                      <a:pt x="1938" y="56"/>
                    </a:lnTo>
                    <a:lnTo>
                      <a:pt x="1938" y="52"/>
                    </a:lnTo>
                    <a:lnTo>
                      <a:pt x="1936" y="50"/>
                    </a:lnTo>
                    <a:lnTo>
                      <a:pt x="1932" y="46"/>
                    </a:lnTo>
                    <a:lnTo>
                      <a:pt x="1932" y="46"/>
                    </a:lnTo>
                    <a:lnTo>
                      <a:pt x="1922" y="42"/>
                    </a:lnTo>
                    <a:lnTo>
                      <a:pt x="1912" y="42"/>
                    </a:lnTo>
                    <a:lnTo>
                      <a:pt x="1898" y="42"/>
                    </a:lnTo>
                    <a:lnTo>
                      <a:pt x="1884" y="46"/>
                    </a:lnTo>
                    <a:lnTo>
                      <a:pt x="1866" y="48"/>
                    </a:lnTo>
                    <a:lnTo>
                      <a:pt x="1846" y="50"/>
                    </a:lnTo>
                    <a:lnTo>
                      <a:pt x="1822" y="52"/>
                    </a:lnTo>
                    <a:lnTo>
                      <a:pt x="1794" y="50"/>
                    </a:lnTo>
                    <a:lnTo>
                      <a:pt x="1794" y="50"/>
                    </a:lnTo>
                    <a:lnTo>
                      <a:pt x="1766" y="48"/>
                    </a:lnTo>
                    <a:lnTo>
                      <a:pt x="1744" y="48"/>
                    </a:lnTo>
                    <a:lnTo>
                      <a:pt x="1724" y="52"/>
                    </a:lnTo>
                    <a:lnTo>
                      <a:pt x="1708" y="54"/>
                    </a:lnTo>
                    <a:lnTo>
                      <a:pt x="1678" y="60"/>
                    </a:lnTo>
                    <a:lnTo>
                      <a:pt x="1660" y="60"/>
                    </a:lnTo>
                    <a:lnTo>
                      <a:pt x="1638" y="60"/>
                    </a:lnTo>
                    <a:lnTo>
                      <a:pt x="1638" y="60"/>
                    </a:lnTo>
                    <a:lnTo>
                      <a:pt x="1622" y="58"/>
                    </a:lnTo>
                    <a:lnTo>
                      <a:pt x="1616" y="56"/>
                    </a:lnTo>
                    <a:lnTo>
                      <a:pt x="1618" y="54"/>
                    </a:lnTo>
                    <a:lnTo>
                      <a:pt x="1628" y="52"/>
                    </a:lnTo>
                    <a:lnTo>
                      <a:pt x="1692" y="46"/>
                    </a:lnTo>
                    <a:lnTo>
                      <a:pt x="1692" y="46"/>
                    </a:lnTo>
                    <a:lnTo>
                      <a:pt x="1734" y="44"/>
                    </a:lnTo>
                    <a:lnTo>
                      <a:pt x="1794" y="42"/>
                    </a:lnTo>
                    <a:lnTo>
                      <a:pt x="1852" y="38"/>
                    </a:lnTo>
                    <a:lnTo>
                      <a:pt x="1894" y="34"/>
                    </a:lnTo>
                    <a:lnTo>
                      <a:pt x="1894" y="34"/>
                    </a:lnTo>
                    <a:lnTo>
                      <a:pt x="1900" y="32"/>
                    </a:lnTo>
                    <a:lnTo>
                      <a:pt x="1902" y="32"/>
                    </a:lnTo>
                    <a:lnTo>
                      <a:pt x="1902" y="30"/>
                    </a:lnTo>
                    <a:lnTo>
                      <a:pt x="1898" y="28"/>
                    </a:lnTo>
                    <a:lnTo>
                      <a:pt x="1882" y="24"/>
                    </a:lnTo>
                    <a:lnTo>
                      <a:pt x="1858" y="20"/>
                    </a:lnTo>
                    <a:lnTo>
                      <a:pt x="1798" y="12"/>
                    </a:lnTo>
                    <a:lnTo>
                      <a:pt x="1732" y="6"/>
                    </a:lnTo>
                    <a:lnTo>
                      <a:pt x="1732" y="6"/>
                    </a:lnTo>
                    <a:lnTo>
                      <a:pt x="1686" y="2"/>
                    </a:lnTo>
                    <a:lnTo>
                      <a:pt x="1648" y="0"/>
                    </a:lnTo>
                    <a:lnTo>
                      <a:pt x="1618" y="2"/>
                    </a:lnTo>
                    <a:lnTo>
                      <a:pt x="1594" y="2"/>
                    </a:lnTo>
                    <a:lnTo>
                      <a:pt x="1552" y="6"/>
                    </a:lnTo>
                    <a:lnTo>
                      <a:pt x="1528" y="8"/>
                    </a:lnTo>
                    <a:lnTo>
                      <a:pt x="1504" y="6"/>
                    </a:lnTo>
                    <a:lnTo>
                      <a:pt x="1504" y="6"/>
                    </a:lnTo>
                    <a:lnTo>
                      <a:pt x="1480" y="6"/>
                    </a:lnTo>
                    <a:lnTo>
                      <a:pt x="1466" y="8"/>
                    </a:lnTo>
                    <a:lnTo>
                      <a:pt x="1460" y="10"/>
                    </a:lnTo>
                    <a:lnTo>
                      <a:pt x="1458" y="14"/>
                    </a:lnTo>
                    <a:lnTo>
                      <a:pt x="1458" y="16"/>
                    </a:lnTo>
                    <a:lnTo>
                      <a:pt x="1458" y="18"/>
                    </a:lnTo>
                    <a:lnTo>
                      <a:pt x="1452" y="18"/>
                    </a:lnTo>
                    <a:lnTo>
                      <a:pt x="1442" y="16"/>
                    </a:lnTo>
                    <a:lnTo>
                      <a:pt x="1442" y="16"/>
                    </a:lnTo>
                    <a:lnTo>
                      <a:pt x="1420" y="12"/>
                    </a:lnTo>
                    <a:lnTo>
                      <a:pt x="1410" y="14"/>
                    </a:lnTo>
                    <a:lnTo>
                      <a:pt x="1400" y="16"/>
                    </a:lnTo>
                    <a:lnTo>
                      <a:pt x="1384" y="18"/>
                    </a:lnTo>
                    <a:lnTo>
                      <a:pt x="1384" y="18"/>
                    </a:lnTo>
                    <a:lnTo>
                      <a:pt x="1374" y="18"/>
                    </a:lnTo>
                    <a:lnTo>
                      <a:pt x="1368" y="20"/>
                    </a:lnTo>
                    <a:lnTo>
                      <a:pt x="1366" y="24"/>
                    </a:lnTo>
                    <a:lnTo>
                      <a:pt x="1366" y="28"/>
                    </a:lnTo>
                    <a:lnTo>
                      <a:pt x="1370" y="32"/>
                    </a:lnTo>
                    <a:lnTo>
                      <a:pt x="1378" y="36"/>
                    </a:lnTo>
                    <a:lnTo>
                      <a:pt x="1388" y="40"/>
                    </a:lnTo>
                    <a:lnTo>
                      <a:pt x="1402" y="44"/>
                    </a:lnTo>
                    <a:lnTo>
                      <a:pt x="1402" y="44"/>
                    </a:lnTo>
                    <a:lnTo>
                      <a:pt x="1412" y="46"/>
                    </a:lnTo>
                    <a:lnTo>
                      <a:pt x="1416" y="46"/>
                    </a:lnTo>
                    <a:lnTo>
                      <a:pt x="1412" y="48"/>
                    </a:lnTo>
                    <a:lnTo>
                      <a:pt x="1406" y="50"/>
                    </a:lnTo>
                    <a:lnTo>
                      <a:pt x="1386" y="52"/>
                    </a:lnTo>
                    <a:lnTo>
                      <a:pt x="1378" y="54"/>
                    </a:lnTo>
                    <a:lnTo>
                      <a:pt x="1372" y="56"/>
                    </a:lnTo>
                    <a:lnTo>
                      <a:pt x="1372" y="56"/>
                    </a:lnTo>
                    <a:lnTo>
                      <a:pt x="1356" y="62"/>
                    </a:lnTo>
                    <a:lnTo>
                      <a:pt x="1332" y="64"/>
                    </a:lnTo>
                    <a:lnTo>
                      <a:pt x="1318" y="66"/>
                    </a:lnTo>
                    <a:lnTo>
                      <a:pt x="1304" y="64"/>
                    </a:lnTo>
                    <a:lnTo>
                      <a:pt x="1290" y="62"/>
                    </a:lnTo>
                    <a:lnTo>
                      <a:pt x="1278" y="56"/>
                    </a:lnTo>
                    <a:lnTo>
                      <a:pt x="1278" y="56"/>
                    </a:lnTo>
                    <a:lnTo>
                      <a:pt x="1254" y="46"/>
                    </a:lnTo>
                    <a:lnTo>
                      <a:pt x="1242" y="42"/>
                    </a:lnTo>
                    <a:lnTo>
                      <a:pt x="1228" y="38"/>
                    </a:lnTo>
                    <a:lnTo>
                      <a:pt x="1212" y="36"/>
                    </a:lnTo>
                    <a:lnTo>
                      <a:pt x="1194" y="34"/>
                    </a:lnTo>
                    <a:lnTo>
                      <a:pt x="1176" y="36"/>
                    </a:lnTo>
                    <a:lnTo>
                      <a:pt x="1154" y="38"/>
                    </a:lnTo>
                    <a:lnTo>
                      <a:pt x="1154" y="38"/>
                    </a:lnTo>
                    <a:lnTo>
                      <a:pt x="1114" y="44"/>
                    </a:lnTo>
                    <a:lnTo>
                      <a:pt x="1078" y="48"/>
                    </a:lnTo>
                    <a:lnTo>
                      <a:pt x="1064" y="50"/>
                    </a:lnTo>
                    <a:lnTo>
                      <a:pt x="1054" y="54"/>
                    </a:lnTo>
                    <a:lnTo>
                      <a:pt x="1048" y="56"/>
                    </a:lnTo>
                    <a:lnTo>
                      <a:pt x="1048" y="58"/>
                    </a:lnTo>
                    <a:lnTo>
                      <a:pt x="1048" y="60"/>
                    </a:lnTo>
                    <a:lnTo>
                      <a:pt x="1048" y="60"/>
                    </a:lnTo>
                    <a:lnTo>
                      <a:pt x="1054" y="64"/>
                    </a:lnTo>
                    <a:lnTo>
                      <a:pt x="1062" y="66"/>
                    </a:lnTo>
                    <a:lnTo>
                      <a:pt x="1092" y="68"/>
                    </a:lnTo>
                    <a:lnTo>
                      <a:pt x="1128" y="66"/>
                    </a:lnTo>
                    <a:lnTo>
                      <a:pt x="1170" y="66"/>
                    </a:lnTo>
                    <a:lnTo>
                      <a:pt x="1170" y="66"/>
                    </a:lnTo>
                    <a:lnTo>
                      <a:pt x="1208" y="68"/>
                    </a:lnTo>
                    <a:lnTo>
                      <a:pt x="1246" y="72"/>
                    </a:lnTo>
                    <a:lnTo>
                      <a:pt x="1280" y="76"/>
                    </a:lnTo>
                    <a:lnTo>
                      <a:pt x="1314" y="82"/>
                    </a:lnTo>
                    <a:lnTo>
                      <a:pt x="1314" y="82"/>
                    </a:lnTo>
                    <a:lnTo>
                      <a:pt x="1326" y="86"/>
                    </a:lnTo>
                    <a:lnTo>
                      <a:pt x="1332" y="88"/>
                    </a:lnTo>
                    <a:lnTo>
                      <a:pt x="1332" y="90"/>
                    </a:lnTo>
                    <a:lnTo>
                      <a:pt x="1332" y="90"/>
                    </a:lnTo>
                    <a:lnTo>
                      <a:pt x="1326" y="92"/>
                    </a:lnTo>
                    <a:lnTo>
                      <a:pt x="1308" y="92"/>
                    </a:lnTo>
                    <a:lnTo>
                      <a:pt x="1294" y="90"/>
                    </a:lnTo>
                    <a:lnTo>
                      <a:pt x="1282" y="88"/>
                    </a:lnTo>
                    <a:lnTo>
                      <a:pt x="1282" y="88"/>
                    </a:lnTo>
                    <a:lnTo>
                      <a:pt x="1268" y="84"/>
                    </a:lnTo>
                    <a:lnTo>
                      <a:pt x="1252" y="82"/>
                    </a:lnTo>
                    <a:lnTo>
                      <a:pt x="1214" y="78"/>
                    </a:lnTo>
                    <a:lnTo>
                      <a:pt x="1110" y="74"/>
                    </a:lnTo>
                    <a:lnTo>
                      <a:pt x="1110" y="74"/>
                    </a:lnTo>
                    <a:lnTo>
                      <a:pt x="1092" y="76"/>
                    </a:lnTo>
                    <a:lnTo>
                      <a:pt x="1090" y="76"/>
                    </a:lnTo>
                    <a:lnTo>
                      <a:pt x="1092" y="78"/>
                    </a:lnTo>
                    <a:lnTo>
                      <a:pt x="1106" y="84"/>
                    </a:lnTo>
                    <a:lnTo>
                      <a:pt x="1126" y="92"/>
                    </a:lnTo>
                    <a:lnTo>
                      <a:pt x="1148" y="100"/>
                    </a:lnTo>
                    <a:lnTo>
                      <a:pt x="1164" y="108"/>
                    </a:lnTo>
                    <a:lnTo>
                      <a:pt x="1168" y="110"/>
                    </a:lnTo>
                    <a:lnTo>
                      <a:pt x="1168" y="114"/>
                    </a:lnTo>
                    <a:lnTo>
                      <a:pt x="1164" y="116"/>
                    </a:lnTo>
                    <a:lnTo>
                      <a:pt x="1154" y="116"/>
                    </a:lnTo>
                    <a:lnTo>
                      <a:pt x="1154" y="116"/>
                    </a:lnTo>
                    <a:lnTo>
                      <a:pt x="1146" y="118"/>
                    </a:lnTo>
                    <a:lnTo>
                      <a:pt x="1142" y="120"/>
                    </a:lnTo>
                    <a:lnTo>
                      <a:pt x="1138" y="122"/>
                    </a:lnTo>
                    <a:lnTo>
                      <a:pt x="1138" y="126"/>
                    </a:lnTo>
                    <a:lnTo>
                      <a:pt x="1136" y="132"/>
                    </a:lnTo>
                    <a:lnTo>
                      <a:pt x="1138" y="140"/>
                    </a:lnTo>
                    <a:lnTo>
                      <a:pt x="1142" y="148"/>
                    </a:lnTo>
                    <a:lnTo>
                      <a:pt x="1142" y="156"/>
                    </a:lnTo>
                    <a:lnTo>
                      <a:pt x="1142" y="158"/>
                    </a:lnTo>
                    <a:lnTo>
                      <a:pt x="1140" y="160"/>
                    </a:lnTo>
                    <a:lnTo>
                      <a:pt x="1136" y="162"/>
                    </a:lnTo>
                    <a:lnTo>
                      <a:pt x="1132" y="164"/>
                    </a:lnTo>
                    <a:lnTo>
                      <a:pt x="1132" y="164"/>
                    </a:lnTo>
                    <a:lnTo>
                      <a:pt x="1122" y="164"/>
                    </a:lnTo>
                    <a:lnTo>
                      <a:pt x="1114" y="162"/>
                    </a:lnTo>
                    <a:lnTo>
                      <a:pt x="1108" y="158"/>
                    </a:lnTo>
                    <a:lnTo>
                      <a:pt x="1102" y="152"/>
                    </a:lnTo>
                    <a:lnTo>
                      <a:pt x="1094" y="146"/>
                    </a:lnTo>
                    <a:lnTo>
                      <a:pt x="1084" y="142"/>
                    </a:lnTo>
                    <a:lnTo>
                      <a:pt x="1070" y="136"/>
                    </a:lnTo>
                    <a:lnTo>
                      <a:pt x="1052" y="132"/>
                    </a:lnTo>
                    <a:lnTo>
                      <a:pt x="1052" y="132"/>
                    </a:lnTo>
                    <a:lnTo>
                      <a:pt x="1034" y="128"/>
                    </a:lnTo>
                    <a:lnTo>
                      <a:pt x="1016" y="124"/>
                    </a:lnTo>
                    <a:lnTo>
                      <a:pt x="986" y="114"/>
                    </a:lnTo>
                    <a:lnTo>
                      <a:pt x="954" y="104"/>
                    </a:lnTo>
                    <a:lnTo>
                      <a:pt x="936" y="100"/>
                    </a:lnTo>
                    <a:lnTo>
                      <a:pt x="916" y="98"/>
                    </a:lnTo>
                    <a:lnTo>
                      <a:pt x="916" y="98"/>
                    </a:lnTo>
                    <a:lnTo>
                      <a:pt x="896" y="98"/>
                    </a:lnTo>
                    <a:lnTo>
                      <a:pt x="884" y="100"/>
                    </a:lnTo>
                    <a:lnTo>
                      <a:pt x="876" y="102"/>
                    </a:lnTo>
                    <a:lnTo>
                      <a:pt x="874" y="104"/>
                    </a:lnTo>
                    <a:lnTo>
                      <a:pt x="874" y="106"/>
                    </a:lnTo>
                    <a:lnTo>
                      <a:pt x="876" y="112"/>
                    </a:lnTo>
                    <a:lnTo>
                      <a:pt x="884" y="118"/>
                    </a:lnTo>
                    <a:lnTo>
                      <a:pt x="914" y="138"/>
                    </a:lnTo>
                    <a:lnTo>
                      <a:pt x="914" y="138"/>
                    </a:lnTo>
                    <a:lnTo>
                      <a:pt x="926" y="146"/>
                    </a:lnTo>
                    <a:lnTo>
                      <a:pt x="928" y="148"/>
                    </a:lnTo>
                    <a:lnTo>
                      <a:pt x="928" y="150"/>
                    </a:lnTo>
                    <a:lnTo>
                      <a:pt x="922" y="150"/>
                    </a:lnTo>
                    <a:lnTo>
                      <a:pt x="912" y="148"/>
                    </a:lnTo>
                    <a:lnTo>
                      <a:pt x="900" y="148"/>
                    </a:lnTo>
                    <a:lnTo>
                      <a:pt x="888" y="148"/>
                    </a:lnTo>
                    <a:lnTo>
                      <a:pt x="884" y="148"/>
                    </a:lnTo>
                    <a:lnTo>
                      <a:pt x="882" y="150"/>
                    </a:lnTo>
                    <a:lnTo>
                      <a:pt x="882" y="154"/>
                    </a:lnTo>
                    <a:lnTo>
                      <a:pt x="884" y="158"/>
                    </a:lnTo>
                    <a:lnTo>
                      <a:pt x="884" y="158"/>
                    </a:lnTo>
                    <a:lnTo>
                      <a:pt x="886" y="160"/>
                    </a:lnTo>
                    <a:lnTo>
                      <a:pt x="886" y="162"/>
                    </a:lnTo>
                    <a:lnTo>
                      <a:pt x="878" y="160"/>
                    </a:lnTo>
                    <a:lnTo>
                      <a:pt x="866" y="156"/>
                    </a:lnTo>
                    <a:lnTo>
                      <a:pt x="850" y="150"/>
                    </a:lnTo>
                    <a:lnTo>
                      <a:pt x="834" y="148"/>
                    </a:lnTo>
                    <a:lnTo>
                      <a:pt x="824" y="148"/>
                    </a:lnTo>
                    <a:lnTo>
                      <a:pt x="814" y="148"/>
                    </a:lnTo>
                    <a:lnTo>
                      <a:pt x="806" y="152"/>
                    </a:lnTo>
                    <a:lnTo>
                      <a:pt x="796" y="156"/>
                    </a:lnTo>
                    <a:lnTo>
                      <a:pt x="788" y="164"/>
                    </a:lnTo>
                    <a:lnTo>
                      <a:pt x="782" y="172"/>
                    </a:lnTo>
                    <a:lnTo>
                      <a:pt x="782" y="172"/>
                    </a:lnTo>
                    <a:lnTo>
                      <a:pt x="770" y="190"/>
                    </a:lnTo>
                    <a:lnTo>
                      <a:pt x="772" y="180"/>
                    </a:lnTo>
                    <a:lnTo>
                      <a:pt x="776" y="168"/>
                    </a:lnTo>
                    <a:lnTo>
                      <a:pt x="776" y="154"/>
                    </a:lnTo>
                    <a:lnTo>
                      <a:pt x="774" y="138"/>
                    </a:lnTo>
                    <a:lnTo>
                      <a:pt x="772" y="132"/>
                    </a:lnTo>
                    <a:lnTo>
                      <a:pt x="766" y="124"/>
                    </a:lnTo>
                    <a:lnTo>
                      <a:pt x="766" y="124"/>
                    </a:lnTo>
                    <a:lnTo>
                      <a:pt x="756" y="114"/>
                    </a:lnTo>
                    <a:lnTo>
                      <a:pt x="746" y="108"/>
                    </a:lnTo>
                    <a:lnTo>
                      <a:pt x="732" y="108"/>
                    </a:lnTo>
                    <a:lnTo>
                      <a:pt x="716" y="110"/>
                    </a:lnTo>
                    <a:lnTo>
                      <a:pt x="672" y="120"/>
                    </a:lnTo>
                    <a:lnTo>
                      <a:pt x="640" y="126"/>
                    </a:lnTo>
                    <a:lnTo>
                      <a:pt x="598" y="130"/>
                    </a:lnTo>
                    <a:lnTo>
                      <a:pt x="598" y="130"/>
                    </a:lnTo>
                    <a:lnTo>
                      <a:pt x="558" y="136"/>
                    </a:lnTo>
                    <a:lnTo>
                      <a:pt x="526" y="140"/>
                    </a:lnTo>
                    <a:lnTo>
                      <a:pt x="502" y="146"/>
                    </a:lnTo>
                    <a:lnTo>
                      <a:pt x="484" y="152"/>
                    </a:lnTo>
                    <a:lnTo>
                      <a:pt x="472" y="156"/>
                    </a:lnTo>
                    <a:lnTo>
                      <a:pt x="466" y="164"/>
                    </a:lnTo>
                    <a:lnTo>
                      <a:pt x="466" y="166"/>
                    </a:lnTo>
                    <a:lnTo>
                      <a:pt x="466" y="170"/>
                    </a:lnTo>
                    <a:lnTo>
                      <a:pt x="470" y="176"/>
                    </a:lnTo>
                    <a:lnTo>
                      <a:pt x="470" y="17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</p:grpSp>
        <p:sp>
          <p:nvSpPr>
            <p:cNvPr id="156" name="Freeform 6134">
              <a:extLst>
                <a:ext uri="{FF2B5EF4-FFF2-40B4-BE49-F238E27FC236}">
                  <a16:creationId xmlns:a16="http://schemas.microsoft.com/office/drawing/2014/main" id="{D1E858B1-40A2-43FC-A580-15A4813BFA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9028" y="3600798"/>
              <a:ext cx="3810" cy="5079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2" y="8"/>
                </a:cxn>
                <a:cxn ang="0">
                  <a:pos x="4" y="8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2" y="8"/>
                </a:cxn>
              </a:cxnLst>
              <a:rect l="0" t="0" r="r" b="b"/>
              <a:pathLst>
                <a:path w="6" h="8">
                  <a:moveTo>
                    <a:pt x="2" y="8"/>
                  </a:moveTo>
                  <a:lnTo>
                    <a:pt x="2" y="8"/>
                  </a:lnTo>
                  <a:lnTo>
                    <a:pt x="4" y="8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86" name="Freeform 6135">
              <a:extLst>
                <a:ext uri="{FF2B5EF4-FFF2-40B4-BE49-F238E27FC236}">
                  <a16:creationId xmlns:a16="http://schemas.microsoft.com/office/drawing/2014/main" id="{DDAA6686-023A-4C08-B8FA-48155C1CE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4396" y="3592522"/>
              <a:ext cx="1587" cy="158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87" name="Freeform 6136">
              <a:extLst>
                <a:ext uri="{FF2B5EF4-FFF2-40B4-BE49-F238E27FC236}">
                  <a16:creationId xmlns:a16="http://schemas.microsoft.com/office/drawing/2014/main" id="{58DF5CED-D9F9-4A64-A6E4-1B520F7A3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2678" y="3591909"/>
              <a:ext cx="3810" cy="5079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</a:cxnLst>
              <a:rect l="0" t="0" r="r" b="b"/>
              <a:pathLst>
                <a:path w="6" h="8">
                  <a:moveTo>
                    <a:pt x="6" y="2"/>
                  </a:moveTo>
                  <a:lnTo>
                    <a:pt x="6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188" name="Freeform 6138">
              <a:extLst>
                <a:ext uri="{FF2B5EF4-FFF2-40B4-BE49-F238E27FC236}">
                  <a16:creationId xmlns:a16="http://schemas.microsoft.com/office/drawing/2014/main" id="{C9A7DBE2-6A33-4FB0-8E07-6FDFBB1CD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3948" y="3604608"/>
              <a:ext cx="2540" cy="381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266" name="Freeform 6144">
              <a:extLst>
                <a:ext uri="{FF2B5EF4-FFF2-40B4-BE49-F238E27FC236}">
                  <a16:creationId xmlns:a16="http://schemas.microsoft.com/office/drawing/2014/main" id="{253D4760-36BD-481D-9668-DFF116D41D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0139" y="3583020"/>
              <a:ext cx="5080" cy="3810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8" y="2"/>
                </a:cxn>
                <a:cxn ang="0">
                  <a:pos x="8" y="2"/>
                </a:cxn>
              </a:cxnLst>
              <a:rect l="0" t="0" r="r" b="b"/>
              <a:pathLst>
                <a:path w="8" h="6">
                  <a:moveTo>
                    <a:pt x="8" y="2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267" name="Freeform 6149">
              <a:extLst>
                <a:ext uri="{FF2B5EF4-FFF2-40B4-BE49-F238E27FC236}">
                  <a16:creationId xmlns:a16="http://schemas.microsoft.com/office/drawing/2014/main" id="{C9F7F4E3-81B5-4817-BBBE-828D9C5D3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3758" y="3592522"/>
              <a:ext cx="3175" cy="158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6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268" name="Freeform 6150">
              <a:extLst>
                <a:ext uri="{FF2B5EF4-FFF2-40B4-BE49-F238E27FC236}">
                  <a16:creationId xmlns:a16="http://schemas.microsoft.com/office/drawing/2014/main" id="{9FE6BB99-B9CA-4F23-B82F-E6207B7850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329" y="3600798"/>
              <a:ext cx="3810" cy="254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5F96D8F3-1828-4EE7-87B9-E1ADC3835C56}"/>
              </a:ext>
            </a:extLst>
          </p:cNvPr>
          <p:cNvGrpSpPr/>
          <p:nvPr/>
        </p:nvGrpSpPr>
        <p:grpSpPr>
          <a:xfrm>
            <a:off x="5292055" y="2256312"/>
            <a:ext cx="364776" cy="364776"/>
            <a:chOff x="3200032" y="3001912"/>
            <a:chExt cx="587476" cy="587476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019CCF90-4825-4D7B-9289-BFC3AC352093}"/>
                </a:ext>
              </a:extLst>
            </p:cNvPr>
            <p:cNvSpPr/>
            <p:nvPr/>
          </p:nvSpPr>
          <p:spPr>
            <a:xfrm>
              <a:off x="3200032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14" name="Group 313">
              <a:extLst>
                <a:ext uri="{FF2B5EF4-FFF2-40B4-BE49-F238E27FC236}">
                  <a16:creationId xmlns:a16="http://schemas.microsoft.com/office/drawing/2014/main" id="{0E8EE52C-7CBF-425C-83BA-7D2A5355E15D}"/>
                </a:ext>
              </a:extLst>
            </p:cNvPr>
            <p:cNvGrpSpPr/>
            <p:nvPr/>
          </p:nvGrpSpPr>
          <p:grpSpPr>
            <a:xfrm>
              <a:off x="3350101" y="3151981"/>
              <a:ext cx="287338" cy="287338"/>
              <a:chOff x="8736013" y="1925638"/>
              <a:chExt cx="287338" cy="287338"/>
            </a:xfrm>
            <a:solidFill>
              <a:schemeClr val="accent1"/>
            </a:solidFill>
          </p:grpSpPr>
          <p:sp>
            <p:nvSpPr>
              <p:cNvPr id="315" name="Freeform 97">
                <a:extLst>
                  <a:ext uri="{FF2B5EF4-FFF2-40B4-BE49-F238E27FC236}">
                    <a16:creationId xmlns:a16="http://schemas.microsoft.com/office/drawing/2014/main" id="{EBF6CD6C-6153-41FD-B07F-E0811D37E7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98">
                <a:extLst>
                  <a:ext uri="{FF2B5EF4-FFF2-40B4-BE49-F238E27FC236}">
                    <a16:creationId xmlns:a16="http://schemas.microsoft.com/office/drawing/2014/main" id="{C0954760-1A97-47FD-B3DA-EDAB1FAE94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F5035D8-7E32-4941-8F54-71FF58335317}"/>
              </a:ext>
            </a:extLst>
          </p:cNvPr>
          <p:cNvGrpSpPr/>
          <p:nvPr/>
        </p:nvGrpSpPr>
        <p:grpSpPr>
          <a:xfrm>
            <a:off x="7095040" y="1710405"/>
            <a:ext cx="364776" cy="364776"/>
            <a:chOff x="2053199" y="3001912"/>
            <a:chExt cx="587476" cy="587476"/>
          </a:xfrm>
        </p:grpSpPr>
        <p:sp>
          <p:nvSpPr>
            <p:cNvPr id="317" name="Oval 316">
              <a:extLst>
                <a:ext uri="{FF2B5EF4-FFF2-40B4-BE49-F238E27FC236}">
                  <a16:creationId xmlns:a16="http://schemas.microsoft.com/office/drawing/2014/main" id="{346440B0-0F18-48F1-AE5B-996E4072BFED}"/>
                </a:ext>
              </a:extLst>
            </p:cNvPr>
            <p:cNvSpPr/>
            <p:nvPr/>
          </p:nvSpPr>
          <p:spPr>
            <a:xfrm>
              <a:off x="2053199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19" name="Group 318">
              <a:extLst>
                <a:ext uri="{FF2B5EF4-FFF2-40B4-BE49-F238E27FC236}">
                  <a16:creationId xmlns:a16="http://schemas.microsoft.com/office/drawing/2014/main" id="{3346A8A3-32B2-495A-A376-A17C0D3D67E4}"/>
                </a:ext>
              </a:extLst>
            </p:cNvPr>
            <p:cNvGrpSpPr/>
            <p:nvPr/>
          </p:nvGrpSpPr>
          <p:grpSpPr>
            <a:xfrm>
              <a:off x="2203268" y="3151981"/>
              <a:ext cx="287338" cy="287338"/>
              <a:chOff x="8736013" y="1925638"/>
              <a:chExt cx="287338" cy="287338"/>
            </a:xfrm>
            <a:solidFill>
              <a:schemeClr val="accent2"/>
            </a:solidFill>
          </p:grpSpPr>
          <p:sp>
            <p:nvSpPr>
              <p:cNvPr id="320" name="Freeform 97">
                <a:extLst>
                  <a:ext uri="{FF2B5EF4-FFF2-40B4-BE49-F238E27FC236}">
                    <a16:creationId xmlns:a16="http://schemas.microsoft.com/office/drawing/2014/main" id="{4EAA1A4A-4007-4E32-8D67-30F7FEE917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98">
                <a:extLst>
                  <a:ext uri="{FF2B5EF4-FFF2-40B4-BE49-F238E27FC236}">
                    <a16:creationId xmlns:a16="http://schemas.microsoft.com/office/drawing/2014/main" id="{13F47208-0C4C-4453-B01F-9C697FECBE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BFAB121-B371-4066-9BA4-BA636EDDAD96}"/>
              </a:ext>
            </a:extLst>
          </p:cNvPr>
          <p:cNvGrpSpPr/>
          <p:nvPr/>
        </p:nvGrpSpPr>
        <p:grpSpPr>
          <a:xfrm>
            <a:off x="5873909" y="3129723"/>
            <a:ext cx="364776" cy="364776"/>
            <a:chOff x="2053199" y="3732947"/>
            <a:chExt cx="587476" cy="587476"/>
          </a:xfrm>
        </p:grpSpPr>
        <p:sp>
          <p:nvSpPr>
            <p:cNvPr id="322" name="Oval 321">
              <a:extLst>
                <a:ext uri="{FF2B5EF4-FFF2-40B4-BE49-F238E27FC236}">
                  <a16:creationId xmlns:a16="http://schemas.microsoft.com/office/drawing/2014/main" id="{3796ACED-C0CF-4665-940C-DD8831A9FFFD}"/>
                </a:ext>
              </a:extLst>
            </p:cNvPr>
            <p:cNvSpPr/>
            <p:nvPr/>
          </p:nvSpPr>
          <p:spPr>
            <a:xfrm>
              <a:off x="2053199" y="3732947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3" name="Group 322">
              <a:extLst>
                <a:ext uri="{FF2B5EF4-FFF2-40B4-BE49-F238E27FC236}">
                  <a16:creationId xmlns:a16="http://schemas.microsoft.com/office/drawing/2014/main" id="{3C981CE7-C006-44B0-B4DA-E2FEDCDDA84A}"/>
                </a:ext>
              </a:extLst>
            </p:cNvPr>
            <p:cNvGrpSpPr/>
            <p:nvPr/>
          </p:nvGrpSpPr>
          <p:grpSpPr>
            <a:xfrm>
              <a:off x="2203268" y="3883016"/>
              <a:ext cx="287338" cy="287338"/>
              <a:chOff x="8736013" y="1925638"/>
              <a:chExt cx="287338" cy="287338"/>
            </a:xfrm>
            <a:solidFill>
              <a:schemeClr val="accent3"/>
            </a:solidFill>
          </p:grpSpPr>
          <p:sp>
            <p:nvSpPr>
              <p:cNvPr id="324" name="Freeform 97">
                <a:extLst>
                  <a:ext uri="{FF2B5EF4-FFF2-40B4-BE49-F238E27FC236}">
                    <a16:creationId xmlns:a16="http://schemas.microsoft.com/office/drawing/2014/main" id="{D70BE71F-246D-4BA6-A7B2-8C9D4EB7C0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98">
                <a:extLst>
                  <a:ext uri="{FF2B5EF4-FFF2-40B4-BE49-F238E27FC236}">
                    <a16:creationId xmlns:a16="http://schemas.microsoft.com/office/drawing/2014/main" id="{1B56C7E7-19AD-4508-9047-A3DE54862E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26" name="Group 325">
            <a:extLst>
              <a:ext uri="{FF2B5EF4-FFF2-40B4-BE49-F238E27FC236}">
                <a16:creationId xmlns:a16="http://schemas.microsoft.com/office/drawing/2014/main" id="{66556217-72F8-44B4-998F-2566B1F4CE33}"/>
              </a:ext>
            </a:extLst>
          </p:cNvPr>
          <p:cNvGrpSpPr/>
          <p:nvPr/>
        </p:nvGrpSpPr>
        <p:grpSpPr>
          <a:xfrm>
            <a:off x="9238063" y="2327377"/>
            <a:ext cx="364776" cy="364776"/>
            <a:chOff x="3200032" y="3001912"/>
            <a:chExt cx="587476" cy="587476"/>
          </a:xfrm>
        </p:grpSpPr>
        <p:sp>
          <p:nvSpPr>
            <p:cNvPr id="327" name="Oval 326">
              <a:extLst>
                <a:ext uri="{FF2B5EF4-FFF2-40B4-BE49-F238E27FC236}">
                  <a16:creationId xmlns:a16="http://schemas.microsoft.com/office/drawing/2014/main" id="{3B14E88B-3729-43DB-8E68-56BC38B1AC78}"/>
                </a:ext>
              </a:extLst>
            </p:cNvPr>
            <p:cNvSpPr/>
            <p:nvPr/>
          </p:nvSpPr>
          <p:spPr>
            <a:xfrm>
              <a:off x="3200032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8" name="Group 327">
              <a:extLst>
                <a:ext uri="{FF2B5EF4-FFF2-40B4-BE49-F238E27FC236}">
                  <a16:creationId xmlns:a16="http://schemas.microsoft.com/office/drawing/2014/main" id="{48608E09-F111-4909-94F8-D5DBE242EC71}"/>
                </a:ext>
              </a:extLst>
            </p:cNvPr>
            <p:cNvGrpSpPr/>
            <p:nvPr/>
          </p:nvGrpSpPr>
          <p:grpSpPr>
            <a:xfrm>
              <a:off x="3350101" y="3151981"/>
              <a:ext cx="287338" cy="287338"/>
              <a:chOff x="8736013" y="1925638"/>
              <a:chExt cx="287338" cy="287338"/>
            </a:xfrm>
            <a:solidFill>
              <a:schemeClr val="accent1"/>
            </a:solidFill>
          </p:grpSpPr>
          <p:sp>
            <p:nvSpPr>
              <p:cNvPr id="329" name="Freeform 97">
                <a:extLst>
                  <a:ext uri="{FF2B5EF4-FFF2-40B4-BE49-F238E27FC236}">
                    <a16:creationId xmlns:a16="http://schemas.microsoft.com/office/drawing/2014/main" id="{765A7E13-6CD1-481F-B453-D81A77997F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98">
                <a:extLst>
                  <a:ext uri="{FF2B5EF4-FFF2-40B4-BE49-F238E27FC236}">
                    <a16:creationId xmlns:a16="http://schemas.microsoft.com/office/drawing/2014/main" id="{71ACDAB6-155B-4A6F-A22B-988B4EE42F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31" name="Group 330">
            <a:extLst>
              <a:ext uri="{FF2B5EF4-FFF2-40B4-BE49-F238E27FC236}">
                <a16:creationId xmlns:a16="http://schemas.microsoft.com/office/drawing/2014/main" id="{FDEDD8EB-349D-4CC7-8764-C8FCBBE266A9}"/>
              </a:ext>
            </a:extLst>
          </p:cNvPr>
          <p:cNvGrpSpPr/>
          <p:nvPr/>
        </p:nvGrpSpPr>
        <p:grpSpPr>
          <a:xfrm>
            <a:off x="7670905" y="3356961"/>
            <a:ext cx="364776" cy="364776"/>
            <a:chOff x="3200032" y="3001912"/>
            <a:chExt cx="587476" cy="587476"/>
          </a:xfrm>
        </p:grpSpPr>
        <p:sp>
          <p:nvSpPr>
            <p:cNvPr id="332" name="Oval 331">
              <a:extLst>
                <a:ext uri="{FF2B5EF4-FFF2-40B4-BE49-F238E27FC236}">
                  <a16:creationId xmlns:a16="http://schemas.microsoft.com/office/drawing/2014/main" id="{2693A01C-475E-4FA4-9237-6446F99A4408}"/>
                </a:ext>
              </a:extLst>
            </p:cNvPr>
            <p:cNvSpPr/>
            <p:nvPr/>
          </p:nvSpPr>
          <p:spPr>
            <a:xfrm>
              <a:off x="3200032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3" name="Group 332">
              <a:extLst>
                <a:ext uri="{FF2B5EF4-FFF2-40B4-BE49-F238E27FC236}">
                  <a16:creationId xmlns:a16="http://schemas.microsoft.com/office/drawing/2014/main" id="{B1B6A031-5955-40AB-9391-6E2B606FD403}"/>
                </a:ext>
              </a:extLst>
            </p:cNvPr>
            <p:cNvGrpSpPr/>
            <p:nvPr/>
          </p:nvGrpSpPr>
          <p:grpSpPr>
            <a:xfrm>
              <a:off x="3350101" y="3151981"/>
              <a:ext cx="287338" cy="287338"/>
              <a:chOff x="8736013" y="1925638"/>
              <a:chExt cx="287338" cy="287338"/>
            </a:xfrm>
            <a:solidFill>
              <a:schemeClr val="accent1"/>
            </a:solidFill>
          </p:grpSpPr>
          <p:sp>
            <p:nvSpPr>
              <p:cNvPr id="334" name="Freeform 97">
                <a:extLst>
                  <a:ext uri="{FF2B5EF4-FFF2-40B4-BE49-F238E27FC236}">
                    <a16:creationId xmlns:a16="http://schemas.microsoft.com/office/drawing/2014/main" id="{861707A8-D60E-4C9D-B491-EBD4B9DCEB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98">
                <a:extLst>
                  <a:ext uri="{FF2B5EF4-FFF2-40B4-BE49-F238E27FC236}">
                    <a16:creationId xmlns:a16="http://schemas.microsoft.com/office/drawing/2014/main" id="{0C0D9251-1043-4DA6-905E-E70D267529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36" name="Group 335">
            <a:extLst>
              <a:ext uri="{FF2B5EF4-FFF2-40B4-BE49-F238E27FC236}">
                <a16:creationId xmlns:a16="http://schemas.microsoft.com/office/drawing/2014/main" id="{BF65B24E-A16A-4DE6-A6E9-E0214ACC9358}"/>
              </a:ext>
            </a:extLst>
          </p:cNvPr>
          <p:cNvGrpSpPr/>
          <p:nvPr/>
        </p:nvGrpSpPr>
        <p:grpSpPr>
          <a:xfrm>
            <a:off x="8036425" y="2742407"/>
            <a:ext cx="364776" cy="364776"/>
            <a:chOff x="2053199" y="3001912"/>
            <a:chExt cx="587476" cy="587476"/>
          </a:xfrm>
        </p:grpSpPr>
        <p:sp>
          <p:nvSpPr>
            <p:cNvPr id="337" name="Oval 336">
              <a:extLst>
                <a:ext uri="{FF2B5EF4-FFF2-40B4-BE49-F238E27FC236}">
                  <a16:creationId xmlns:a16="http://schemas.microsoft.com/office/drawing/2014/main" id="{9619D3DF-64DB-4FD2-86A1-0429A3C3BF55}"/>
                </a:ext>
              </a:extLst>
            </p:cNvPr>
            <p:cNvSpPr/>
            <p:nvPr/>
          </p:nvSpPr>
          <p:spPr>
            <a:xfrm>
              <a:off x="2053199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8" name="Group 337">
              <a:extLst>
                <a:ext uri="{FF2B5EF4-FFF2-40B4-BE49-F238E27FC236}">
                  <a16:creationId xmlns:a16="http://schemas.microsoft.com/office/drawing/2014/main" id="{188FD7B0-5BB7-4407-941B-07A128A7076B}"/>
                </a:ext>
              </a:extLst>
            </p:cNvPr>
            <p:cNvGrpSpPr/>
            <p:nvPr/>
          </p:nvGrpSpPr>
          <p:grpSpPr>
            <a:xfrm>
              <a:off x="2203268" y="3151981"/>
              <a:ext cx="287338" cy="287338"/>
              <a:chOff x="8736013" y="1925638"/>
              <a:chExt cx="287338" cy="287338"/>
            </a:xfrm>
            <a:solidFill>
              <a:schemeClr val="accent2"/>
            </a:solidFill>
          </p:grpSpPr>
          <p:sp>
            <p:nvSpPr>
              <p:cNvPr id="339" name="Freeform 97">
                <a:extLst>
                  <a:ext uri="{FF2B5EF4-FFF2-40B4-BE49-F238E27FC236}">
                    <a16:creationId xmlns:a16="http://schemas.microsoft.com/office/drawing/2014/main" id="{D9AC93DA-FB90-4E84-9B4C-27D206CA5F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98">
                <a:extLst>
                  <a:ext uri="{FF2B5EF4-FFF2-40B4-BE49-F238E27FC236}">
                    <a16:creationId xmlns:a16="http://schemas.microsoft.com/office/drawing/2014/main" id="{5A1E1849-BB2B-43B1-9870-E9876BCB32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41" name="Group 340">
            <a:extLst>
              <a:ext uri="{FF2B5EF4-FFF2-40B4-BE49-F238E27FC236}">
                <a16:creationId xmlns:a16="http://schemas.microsoft.com/office/drawing/2014/main" id="{03C98586-B830-44BE-A7DE-88FFF8708AB5}"/>
              </a:ext>
            </a:extLst>
          </p:cNvPr>
          <p:cNvGrpSpPr/>
          <p:nvPr/>
        </p:nvGrpSpPr>
        <p:grpSpPr>
          <a:xfrm>
            <a:off x="10312559" y="4634768"/>
            <a:ext cx="364776" cy="364776"/>
            <a:chOff x="2053199" y="3732947"/>
            <a:chExt cx="587476" cy="587476"/>
          </a:xfrm>
        </p:grpSpPr>
        <p:sp>
          <p:nvSpPr>
            <p:cNvPr id="342" name="Oval 341">
              <a:extLst>
                <a:ext uri="{FF2B5EF4-FFF2-40B4-BE49-F238E27FC236}">
                  <a16:creationId xmlns:a16="http://schemas.microsoft.com/office/drawing/2014/main" id="{F3449573-2901-417B-9535-E0DE568B1E8F}"/>
                </a:ext>
              </a:extLst>
            </p:cNvPr>
            <p:cNvSpPr/>
            <p:nvPr/>
          </p:nvSpPr>
          <p:spPr>
            <a:xfrm>
              <a:off x="2053199" y="3732947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43" name="Group 342">
              <a:extLst>
                <a:ext uri="{FF2B5EF4-FFF2-40B4-BE49-F238E27FC236}">
                  <a16:creationId xmlns:a16="http://schemas.microsoft.com/office/drawing/2014/main" id="{FF060CC5-92FF-4F6C-9C7D-E0BE1D1E70BD}"/>
                </a:ext>
              </a:extLst>
            </p:cNvPr>
            <p:cNvGrpSpPr/>
            <p:nvPr/>
          </p:nvGrpSpPr>
          <p:grpSpPr>
            <a:xfrm>
              <a:off x="2203268" y="3883016"/>
              <a:ext cx="287338" cy="287338"/>
              <a:chOff x="8736013" y="1925638"/>
              <a:chExt cx="287338" cy="287338"/>
            </a:xfrm>
            <a:solidFill>
              <a:schemeClr val="accent3"/>
            </a:solidFill>
          </p:grpSpPr>
          <p:sp>
            <p:nvSpPr>
              <p:cNvPr id="344" name="Freeform 97">
                <a:extLst>
                  <a:ext uri="{FF2B5EF4-FFF2-40B4-BE49-F238E27FC236}">
                    <a16:creationId xmlns:a16="http://schemas.microsoft.com/office/drawing/2014/main" id="{F885865F-FE78-4668-918E-331D19D6BC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98">
                <a:extLst>
                  <a:ext uri="{FF2B5EF4-FFF2-40B4-BE49-F238E27FC236}">
                    <a16:creationId xmlns:a16="http://schemas.microsoft.com/office/drawing/2014/main" id="{7AEFB6A6-EE53-4775-990D-AFBFF11BD6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46" name="Group 345">
            <a:extLst>
              <a:ext uri="{FF2B5EF4-FFF2-40B4-BE49-F238E27FC236}">
                <a16:creationId xmlns:a16="http://schemas.microsoft.com/office/drawing/2014/main" id="{097C5B49-6C2E-4F9D-8747-31AC29962047}"/>
              </a:ext>
            </a:extLst>
          </p:cNvPr>
          <p:cNvGrpSpPr/>
          <p:nvPr/>
        </p:nvGrpSpPr>
        <p:grpSpPr>
          <a:xfrm>
            <a:off x="9215385" y="3314233"/>
            <a:ext cx="364776" cy="364776"/>
            <a:chOff x="2053199" y="3732947"/>
            <a:chExt cx="587476" cy="587476"/>
          </a:xfrm>
        </p:grpSpPr>
        <p:sp>
          <p:nvSpPr>
            <p:cNvPr id="347" name="Oval 346">
              <a:extLst>
                <a:ext uri="{FF2B5EF4-FFF2-40B4-BE49-F238E27FC236}">
                  <a16:creationId xmlns:a16="http://schemas.microsoft.com/office/drawing/2014/main" id="{0A69AB03-20C1-4E19-87F9-A03184B0B243}"/>
                </a:ext>
              </a:extLst>
            </p:cNvPr>
            <p:cNvSpPr/>
            <p:nvPr/>
          </p:nvSpPr>
          <p:spPr>
            <a:xfrm>
              <a:off x="2053199" y="3732947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48" name="Group 347">
              <a:extLst>
                <a:ext uri="{FF2B5EF4-FFF2-40B4-BE49-F238E27FC236}">
                  <a16:creationId xmlns:a16="http://schemas.microsoft.com/office/drawing/2014/main" id="{BB0165AD-F660-453F-B87B-64390BA99C9A}"/>
                </a:ext>
              </a:extLst>
            </p:cNvPr>
            <p:cNvGrpSpPr/>
            <p:nvPr/>
          </p:nvGrpSpPr>
          <p:grpSpPr>
            <a:xfrm>
              <a:off x="2203268" y="3883016"/>
              <a:ext cx="287338" cy="287338"/>
              <a:chOff x="8736013" y="1925638"/>
              <a:chExt cx="287338" cy="287338"/>
            </a:xfrm>
            <a:solidFill>
              <a:schemeClr val="accent3"/>
            </a:solidFill>
          </p:grpSpPr>
          <p:sp>
            <p:nvSpPr>
              <p:cNvPr id="349" name="Freeform 97">
                <a:extLst>
                  <a:ext uri="{FF2B5EF4-FFF2-40B4-BE49-F238E27FC236}">
                    <a16:creationId xmlns:a16="http://schemas.microsoft.com/office/drawing/2014/main" id="{4D7569EA-2360-41F2-92EA-F5D4DA185F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98">
                <a:extLst>
                  <a:ext uri="{FF2B5EF4-FFF2-40B4-BE49-F238E27FC236}">
                    <a16:creationId xmlns:a16="http://schemas.microsoft.com/office/drawing/2014/main" id="{4D7AF70A-5AF7-462B-A288-995B74F717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51" name="Group 350">
            <a:extLst>
              <a:ext uri="{FF2B5EF4-FFF2-40B4-BE49-F238E27FC236}">
                <a16:creationId xmlns:a16="http://schemas.microsoft.com/office/drawing/2014/main" id="{83EFD42F-8C3B-4393-9473-2B100B83D1CF}"/>
              </a:ext>
            </a:extLst>
          </p:cNvPr>
          <p:cNvGrpSpPr/>
          <p:nvPr/>
        </p:nvGrpSpPr>
        <p:grpSpPr>
          <a:xfrm>
            <a:off x="10219378" y="2678547"/>
            <a:ext cx="364776" cy="364776"/>
            <a:chOff x="2053199" y="3001912"/>
            <a:chExt cx="587476" cy="587476"/>
          </a:xfrm>
        </p:grpSpPr>
        <p:sp>
          <p:nvSpPr>
            <p:cNvPr id="352" name="Oval 351">
              <a:extLst>
                <a:ext uri="{FF2B5EF4-FFF2-40B4-BE49-F238E27FC236}">
                  <a16:creationId xmlns:a16="http://schemas.microsoft.com/office/drawing/2014/main" id="{1E44271F-D8F5-40E6-92D9-3E70FE550C38}"/>
                </a:ext>
              </a:extLst>
            </p:cNvPr>
            <p:cNvSpPr/>
            <p:nvPr/>
          </p:nvSpPr>
          <p:spPr>
            <a:xfrm>
              <a:off x="2053199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53" name="Group 352">
              <a:extLst>
                <a:ext uri="{FF2B5EF4-FFF2-40B4-BE49-F238E27FC236}">
                  <a16:creationId xmlns:a16="http://schemas.microsoft.com/office/drawing/2014/main" id="{2B35B02E-E7BC-45A2-8EA4-DA19CCF88275}"/>
                </a:ext>
              </a:extLst>
            </p:cNvPr>
            <p:cNvGrpSpPr/>
            <p:nvPr/>
          </p:nvGrpSpPr>
          <p:grpSpPr>
            <a:xfrm>
              <a:off x="2203268" y="3151981"/>
              <a:ext cx="287338" cy="287338"/>
              <a:chOff x="8736013" y="1925638"/>
              <a:chExt cx="287338" cy="287338"/>
            </a:xfrm>
            <a:solidFill>
              <a:schemeClr val="accent2"/>
            </a:solidFill>
          </p:grpSpPr>
          <p:sp>
            <p:nvSpPr>
              <p:cNvPr id="354" name="Freeform 97">
                <a:extLst>
                  <a:ext uri="{FF2B5EF4-FFF2-40B4-BE49-F238E27FC236}">
                    <a16:creationId xmlns:a16="http://schemas.microsoft.com/office/drawing/2014/main" id="{3BCCE668-8BA0-4D6C-9675-B22084F516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98">
                <a:extLst>
                  <a:ext uri="{FF2B5EF4-FFF2-40B4-BE49-F238E27FC236}">
                    <a16:creationId xmlns:a16="http://schemas.microsoft.com/office/drawing/2014/main" id="{B3DACA77-483C-4959-95EF-743147FE96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56" name="Group 355">
            <a:extLst>
              <a:ext uri="{FF2B5EF4-FFF2-40B4-BE49-F238E27FC236}">
                <a16:creationId xmlns:a16="http://schemas.microsoft.com/office/drawing/2014/main" id="{4B85D758-A67F-4756-94E0-81900F93E172}"/>
              </a:ext>
            </a:extLst>
          </p:cNvPr>
          <p:cNvGrpSpPr/>
          <p:nvPr/>
        </p:nvGrpSpPr>
        <p:grpSpPr>
          <a:xfrm>
            <a:off x="8060715" y="4648568"/>
            <a:ext cx="364776" cy="364776"/>
            <a:chOff x="2053199" y="3001912"/>
            <a:chExt cx="587476" cy="587476"/>
          </a:xfrm>
        </p:grpSpPr>
        <p:sp>
          <p:nvSpPr>
            <p:cNvPr id="357" name="Oval 356">
              <a:extLst>
                <a:ext uri="{FF2B5EF4-FFF2-40B4-BE49-F238E27FC236}">
                  <a16:creationId xmlns:a16="http://schemas.microsoft.com/office/drawing/2014/main" id="{3710361F-37E7-4F57-9865-190B6570C7A6}"/>
                </a:ext>
              </a:extLst>
            </p:cNvPr>
            <p:cNvSpPr/>
            <p:nvPr/>
          </p:nvSpPr>
          <p:spPr>
            <a:xfrm>
              <a:off x="2053199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58" name="Group 357">
              <a:extLst>
                <a:ext uri="{FF2B5EF4-FFF2-40B4-BE49-F238E27FC236}">
                  <a16:creationId xmlns:a16="http://schemas.microsoft.com/office/drawing/2014/main" id="{AA08B789-C698-4522-AD19-8D10648139EC}"/>
                </a:ext>
              </a:extLst>
            </p:cNvPr>
            <p:cNvGrpSpPr/>
            <p:nvPr/>
          </p:nvGrpSpPr>
          <p:grpSpPr>
            <a:xfrm>
              <a:off x="2203268" y="3151981"/>
              <a:ext cx="287338" cy="287338"/>
              <a:chOff x="8736013" y="1925638"/>
              <a:chExt cx="287338" cy="287338"/>
            </a:xfrm>
            <a:solidFill>
              <a:schemeClr val="accent2"/>
            </a:solidFill>
          </p:grpSpPr>
          <p:sp>
            <p:nvSpPr>
              <p:cNvPr id="359" name="Freeform 97">
                <a:extLst>
                  <a:ext uri="{FF2B5EF4-FFF2-40B4-BE49-F238E27FC236}">
                    <a16:creationId xmlns:a16="http://schemas.microsoft.com/office/drawing/2014/main" id="{16C7FFB2-75A8-40D9-B6E5-37AA3FBD1D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98">
                <a:extLst>
                  <a:ext uri="{FF2B5EF4-FFF2-40B4-BE49-F238E27FC236}">
                    <a16:creationId xmlns:a16="http://schemas.microsoft.com/office/drawing/2014/main" id="{4A9B8CF0-0813-4F69-B7DB-63E5A47ED2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61" name="Group 360">
            <a:extLst>
              <a:ext uri="{FF2B5EF4-FFF2-40B4-BE49-F238E27FC236}">
                <a16:creationId xmlns:a16="http://schemas.microsoft.com/office/drawing/2014/main" id="{EF160627-5489-4881-A71A-A22C1E7F8AF5}"/>
              </a:ext>
            </a:extLst>
          </p:cNvPr>
          <p:cNvGrpSpPr/>
          <p:nvPr/>
        </p:nvGrpSpPr>
        <p:grpSpPr>
          <a:xfrm>
            <a:off x="6674085" y="3871255"/>
            <a:ext cx="364776" cy="364776"/>
            <a:chOff x="2053199" y="3001912"/>
            <a:chExt cx="587476" cy="587476"/>
          </a:xfrm>
        </p:grpSpPr>
        <p:sp>
          <p:nvSpPr>
            <p:cNvPr id="362" name="Oval 361">
              <a:extLst>
                <a:ext uri="{FF2B5EF4-FFF2-40B4-BE49-F238E27FC236}">
                  <a16:creationId xmlns:a16="http://schemas.microsoft.com/office/drawing/2014/main" id="{547294FE-012E-4403-8380-AA9E1013C93C}"/>
                </a:ext>
              </a:extLst>
            </p:cNvPr>
            <p:cNvSpPr/>
            <p:nvPr/>
          </p:nvSpPr>
          <p:spPr>
            <a:xfrm>
              <a:off x="2053199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63" name="Group 362">
              <a:extLst>
                <a:ext uri="{FF2B5EF4-FFF2-40B4-BE49-F238E27FC236}">
                  <a16:creationId xmlns:a16="http://schemas.microsoft.com/office/drawing/2014/main" id="{219BE066-79AE-44F4-8403-47718B6FAFA9}"/>
                </a:ext>
              </a:extLst>
            </p:cNvPr>
            <p:cNvGrpSpPr/>
            <p:nvPr/>
          </p:nvGrpSpPr>
          <p:grpSpPr>
            <a:xfrm>
              <a:off x="2203268" y="3151981"/>
              <a:ext cx="287338" cy="287338"/>
              <a:chOff x="8736013" y="1925638"/>
              <a:chExt cx="287338" cy="287338"/>
            </a:xfrm>
            <a:solidFill>
              <a:schemeClr val="accent2"/>
            </a:solidFill>
          </p:grpSpPr>
          <p:sp>
            <p:nvSpPr>
              <p:cNvPr id="364" name="Freeform 97">
                <a:extLst>
                  <a:ext uri="{FF2B5EF4-FFF2-40B4-BE49-F238E27FC236}">
                    <a16:creationId xmlns:a16="http://schemas.microsoft.com/office/drawing/2014/main" id="{2FCC878E-EE34-4A7E-897C-8AFA71D922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98">
                <a:extLst>
                  <a:ext uri="{FF2B5EF4-FFF2-40B4-BE49-F238E27FC236}">
                    <a16:creationId xmlns:a16="http://schemas.microsoft.com/office/drawing/2014/main" id="{E615B199-2EE1-4A41-B118-03F40B3A19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C92E5A1-8113-4D60-B4D4-A24CE5CB02F7}"/>
              </a:ext>
            </a:extLst>
          </p:cNvPr>
          <p:cNvGrpSpPr/>
          <p:nvPr/>
        </p:nvGrpSpPr>
        <p:grpSpPr>
          <a:xfrm>
            <a:off x="2022422" y="1316151"/>
            <a:ext cx="939300" cy="939298"/>
            <a:chOff x="2219325" y="1540493"/>
            <a:chExt cx="659013" cy="659013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E1912D1-8756-40E5-A5B6-FC20EE154FCB}"/>
                </a:ext>
              </a:extLst>
            </p:cNvPr>
            <p:cNvSpPr/>
            <p:nvPr/>
          </p:nvSpPr>
          <p:spPr>
            <a:xfrm>
              <a:off x="2219325" y="1540493"/>
              <a:ext cx="659013" cy="6590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66" name="Group 365">
              <a:extLst>
                <a:ext uri="{FF2B5EF4-FFF2-40B4-BE49-F238E27FC236}">
                  <a16:creationId xmlns:a16="http://schemas.microsoft.com/office/drawing/2014/main" id="{574D2A0D-0B14-4D71-A396-0EE330BFB491}"/>
                </a:ext>
              </a:extLst>
            </p:cNvPr>
            <p:cNvGrpSpPr/>
            <p:nvPr/>
          </p:nvGrpSpPr>
          <p:grpSpPr>
            <a:xfrm>
              <a:off x="2405956" y="1727124"/>
              <a:ext cx="285750" cy="285750"/>
              <a:chOff x="9891713" y="1344613"/>
              <a:chExt cx="285750" cy="285750"/>
            </a:xfrm>
            <a:solidFill>
              <a:schemeClr val="bg1"/>
            </a:solidFill>
          </p:grpSpPr>
          <p:sp>
            <p:nvSpPr>
              <p:cNvPr id="367" name="Freeform 298">
                <a:extLst>
                  <a:ext uri="{FF2B5EF4-FFF2-40B4-BE49-F238E27FC236}">
                    <a16:creationId xmlns:a16="http://schemas.microsoft.com/office/drawing/2014/main" id="{E9B700D2-7ED1-4CE1-B29C-67C34BF90D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91713" y="1344613"/>
                <a:ext cx="285750" cy="285750"/>
              </a:xfrm>
              <a:custGeom>
                <a:avLst/>
                <a:gdLst>
                  <a:gd name="T0" fmla="*/ 542 w 903"/>
                  <a:gd name="T1" fmla="*/ 707 h 903"/>
                  <a:gd name="T2" fmla="*/ 540 w 903"/>
                  <a:gd name="T3" fmla="*/ 702 h 903"/>
                  <a:gd name="T4" fmla="*/ 537 w 903"/>
                  <a:gd name="T5" fmla="*/ 696 h 903"/>
                  <a:gd name="T6" fmla="*/ 533 w 903"/>
                  <a:gd name="T7" fmla="*/ 693 h 903"/>
                  <a:gd name="T8" fmla="*/ 526 w 903"/>
                  <a:gd name="T9" fmla="*/ 692 h 903"/>
                  <a:gd name="T10" fmla="*/ 373 w 903"/>
                  <a:gd name="T11" fmla="*/ 692 h 903"/>
                  <a:gd name="T12" fmla="*/ 367 w 903"/>
                  <a:gd name="T13" fmla="*/ 694 h 903"/>
                  <a:gd name="T14" fmla="*/ 364 w 903"/>
                  <a:gd name="T15" fmla="*/ 698 h 903"/>
                  <a:gd name="T16" fmla="*/ 361 w 903"/>
                  <a:gd name="T17" fmla="*/ 704 h 903"/>
                  <a:gd name="T18" fmla="*/ 361 w 903"/>
                  <a:gd name="T19" fmla="*/ 872 h 903"/>
                  <a:gd name="T20" fmla="*/ 181 w 903"/>
                  <a:gd name="T21" fmla="*/ 210 h 903"/>
                  <a:gd name="T22" fmla="*/ 722 w 903"/>
                  <a:gd name="T23" fmla="*/ 872 h 903"/>
                  <a:gd name="T24" fmla="*/ 391 w 903"/>
                  <a:gd name="T25" fmla="*/ 872 h 903"/>
                  <a:gd name="T26" fmla="*/ 511 w 903"/>
                  <a:gd name="T27" fmla="*/ 722 h 903"/>
                  <a:gd name="T28" fmla="*/ 391 w 903"/>
                  <a:gd name="T29" fmla="*/ 872 h 903"/>
                  <a:gd name="T30" fmla="*/ 451 w 903"/>
                  <a:gd name="T31" fmla="*/ 31 h 903"/>
                  <a:gd name="T32" fmla="*/ 783 w 903"/>
                  <a:gd name="T33" fmla="*/ 180 h 903"/>
                  <a:gd name="T34" fmla="*/ 166 w 903"/>
                  <a:gd name="T35" fmla="*/ 180 h 903"/>
                  <a:gd name="T36" fmla="*/ 121 w 903"/>
                  <a:gd name="T37" fmla="*/ 160 h 903"/>
                  <a:gd name="T38" fmla="*/ 753 w 903"/>
                  <a:gd name="T39" fmla="*/ 872 h 903"/>
                  <a:gd name="T40" fmla="*/ 798 w 903"/>
                  <a:gd name="T41" fmla="*/ 210 h 903"/>
                  <a:gd name="T42" fmla="*/ 804 w 903"/>
                  <a:gd name="T43" fmla="*/ 209 h 903"/>
                  <a:gd name="T44" fmla="*/ 808 w 903"/>
                  <a:gd name="T45" fmla="*/ 206 h 903"/>
                  <a:gd name="T46" fmla="*/ 811 w 903"/>
                  <a:gd name="T47" fmla="*/ 201 h 903"/>
                  <a:gd name="T48" fmla="*/ 813 w 903"/>
                  <a:gd name="T49" fmla="*/ 195 h 903"/>
                  <a:gd name="T50" fmla="*/ 813 w 903"/>
                  <a:gd name="T51" fmla="*/ 146 h 903"/>
                  <a:gd name="T52" fmla="*/ 807 w 903"/>
                  <a:gd name="T53" fmla="*/ 138 h 903"/>
                  <a:gd name="T54" fmla="*/ 456 w 903"/>
                  <a:gd name="T55" fmla="*/ 0 h 903"/>
                  <a:gd name="T56" fmla="*/ 446 w 903"/>
                  <a:gd name="T57" fmla="*/ 0 h 903"/>
                  <a:gd name="T58" fmla="*/ 96 w 903"/>
                  <a:gd name="T59" fmla="*/ 138 h 903"/>
                  <a:gd name="T60" fmla="*/ 91 w 903"/>
                  <a:gd name="T61" fmla="*/ 146 h 903"/>
                  <a:gd name="T62" fmla="*/ 90 w 903"/>
                  <a:gd name="T63" fmla="*/ 195 h 903"/>
                  <a:gd name="T64" fmla="*/ 92 w 903"/>
                  <a:gd name="T65" fmla="*/ 201 h 903"/>
                  <a:gd name="T66" fmla="*/ 95 w 903"/>
                  <a:gd name="T67" fmla="*/ 206 h 903"/>
                  <a:gd name="T68" fmla="*/ 99 w 903"/>
                  <a:gd name="T69" fmla="*/ 209 h 903"/>
                  <a:gd name="T70" fmla="*/ 106 w 903"/>
                  <a:gd name="T71" fmla="*/ 210 h 903"/>
                  <a:gd name="T72" fmla="*/ 151 w 903"/>
                  <a:gd name="T73" fmla="*/ 872 h 903"/>
                  <a:gd name="T74" fmla="*/ 11 w 903"/>
                  <a:gd name="T75" fmla="*/ 873 h 903"/>
                  <a:gd name="T76" fmla="*/ 6 w 903"/>
                  <a:gd name="T77" fmla="*/ 876 h 903"/>
                  <a:gd name="T78" fmla="*/ 3 w 903"/>
                  <a:gd name="T79" fmla="*/ 880 h 903"/>
                  <a:gd name="T80" fmla="*/ 1 w 903"/>
                  <a:gd name="T81" fmla="*/ 885 h 903"/>
                  <a:gd name="T82" fmla="*/ 1 w 903"/>
                  <a:gd name="T83" fmla="*/ 891 h 903"/>
                  <a:gd name="T84" fmla="*/ 3 w 903"/>
                  <a:gd name="T85" fmla="*/ 896 h 903"/>
                  <a:gd name="T86" fmla="*/ 6 w 903"/>
                  <a:gd name="T87" fmla="*/ 900 h 903"/>
                  <a:gd name="T88" fmla="*/ 11 w 903"/>
                  <a:gd name="T89" fmla="*/ 902 h 903"/>
                  <a:gd name="T90" fmla="*/ 166 w 903"/>
                  <a:gd name="T91" fmla="*/ 902 h 903"/>
                  <a:gd name="T92" fmla="*/ 527 w 903"/>
                  <a:gd name="T93" fmla="*/ 902 h 903"/>
                  <a:gd name="T94" fmla="*/ 888 w 903"/>
                  <a:gd name="T95" fmla="*/ 902 h 903"/>
                  <a:gd name="T96" fmla="*/ 894 w 903"/>
                  <a:gd name="T97" fmla="*/ 901 h 903"/>
                  <a:gd name="T98" fmla="*/ 898 w 903"/>
                  <a:gd name="T99" fmla="*/ 898 h 903"/>
                  <a:gd name="T100" fmla="*/ 902 w 903"/>
                  <a:gd name="T101" fmla="*/ 894 h 903"/>
                  <a:gd name="T102" fmla="*/ 903 w 903"/>
                  <a:gd name="T103" fmla="*/ 888 h 903"/>
                  <a:gd name="T104" fmla="*/ 902 w 903"/>
                  <a:gd name="T105" fmla="*/ 882 h 903"/>
                  <a:gd name="T106" fmla="*/ 898 w 903"/>
                  <a:gd name="T107" fmla="*/ 878 h 903"/>
                  <a:gd name="T108" fmla="*/ 894 w 903"/>
                  <a:gd name="T109" fmla="*/ 874 h 903"/>
                  <a:gd name="T110" fmla="*/ 888 w 903"/>
                  <a:gd name="T111" fmla="*/ 873 h 9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03" h="903">
                    <a:moveTo>
                      <a:pt x="542" y="872"/>
                    </a:moveTo>
                    <a:lnTo>
                      <a:pt x="542" y="707"/>
                    </a:lnTo>
                    <a:lnTo>
                      <a:pt x="541" y="704"/>
                    </a:lnTo>
                    <a:lnTo>
                      <a:pt x="540" y="702"/>
                    </a:lnTo>
                    <a:lnTo>
                      <a:pt x="539" y="698"/>
                    </a:lnTo>
                    <a:lnTo>
                      <a:pt x="537" y="696"/>
                    </a:lnTo>
                    <a:lnTo>
                      <a:pt x="535" y="695"/>
                    </a:lnTo>
                    <a:lnTo>
                      <a:pt x="533" y="693"/>
                    </a:lnTo>
                    <a:lnTo>
                      <a:pt x="529" y="692"/>
                    </a:lnTo>
                    <a:lnTo>
                      <a:pt x="526" y="692"/>
                    </a:lnTo>
                    <a:lnTo>
                      <a:pt x="376" y="692"/>
                    </a:lnTo>
                    <a:lnTo>
                      <a:pt x="373" y="692"/>
                    </a:lnTo>
                    <a:lnTo>
                      <a:pt x="371" y="693"/>
                    </a:lnTo>
                    <a:lnTo>
                      <a:pt x="367" y="694"/>
                    </a:lnTo>
                    <a:lnTo>
                      <a:pt x="365" y="696"/>
                    </a:lnTo>
                    <a:lnTo>
                      <a:pt x="364" y="698"/>
                    </a:lnTo>
                    <a:lnTo>
                      <a:pt x="362" y="702"/>
                    </a:lnTo>
                    <a:lnTo>
                      <a:pt x="361" y="704"/>
                    </a:lnTo>
                    <a:lnTo>
                      <a:pt x="361" y="707"/>
                    </a:lnTo>
                    <a:lnTo>
                      <a:pt x="361" y="872"/>
                    </a:lnTo>
                    <a:lnTo>
                      <a:pt x="181" y="872"/>
                    </a:lnTo>
                    <a:lnTo>
                      <a:pt x="181" y="210"/>
                    </a:lnTo>
                    <a:lnTo>
                      <a:pt x="722" y="210"/>
                    </a:lnTo>
                    <a:lnTo>
                      <a:pt x="722" y="872"/>
                    </a:lnTo>
                    <a:lnTo>
                      <a:pt x="542" y="872"/>
                    </a:lnTo>
                    <a:close/>
                    <a:moveTo>
                      <a:pt x="391" y="872"/>
                    </a:moveTo>
                    <a:lnTo>
                      <a:pt x="391" y="722"/>
                    </a:lnTo>
                    <a:lnTo>
                      <a:pt x="511" y="722"/>
                    </a:lnTo>
                    <a:lnTo>
                      <a:pt x="511" y="872"/>
                    </a:lnTo>
                    <a:lnTo>
                      <a:pt x="391" y="872"/>
                    </a:lnTo>
                    <a:close/>
                    <a:moveTo>
                      <a:pt x="121" y="160"/>
                    </a:moveTo>
                    <a:lnTo>
                      <a:pt x="451" y="31"/>
                    </a:lnTo>
                    <a:lnTo>
                      <a:pt x="783" y="160"/>
                    </a:lnTo>
                    <a:lnTo>
                      <a:pt x="783" y="180"/>
                    </a:lnTo>
                    <a:lnTo>
                      <a:pt x="737" y="180"/>
                    </a:lnTo>
                    <a:lnTo>
                      <a:pt x="166" y="180"/>
                    </a:lnTo>
                    <a:lnTo>
                      <a:pt x="121" y="180"/>
                    </a:lnTo>
                    <a:lnTo>
                      <a:pt x="121" y="160"/>
                    </a:lnTo>
                    <a:close/>
                    <a:moveTo>
                      <a:pt x="888" y="872"/>
                    </a:moveTo>
                    <a:lnTo>
                      <a:pt x="753" y="872"/>
                    </a:lnTo>
                    <a:lnTo>
                      <a:pt x="753" y="210"/>
                    </a:lnTo>
                    <a:lnTo>
                      <a:pt x="798" y="210"/>
                    </a:lnTo>
                    <a:lnTo>
                      <a:pt x="801" y="210"/>
                    </a:lnTo>
                    <a:lnTo>
                      <a:pt x="804" y="209"/>
                    </a:lnTo>
                    <a:lnTo>
                      <a:pt x="806" y="208"/>
                    </a:lnTo>
                    <a:lnTo>
                      <a:pt x="808" y="206"/>
                    </a:lnTo>
                    <a:lnTo>
                      <a:pt x="810" y="204"/>
                    </a:lnTo>
                    <a:lnTo>
                      <a:pt x="811" y="201"/>
                    </a:lnTo>
                    <a:lnTo>
                      <a:pt x="813" y="198"/>
                    </a:lnTo>
                    <a:lnTo>
                      <a:pt x="813" y="195"/>
                    </a:lnTo>
                    <a:lnTo>
                      <a:pt x="813" y="150"/>
                    </a:lnTo>
                    <a:lnTo>
                      <a:pt x="813" y="146"/>
                    </a:lnTo>
                    <a:lnTo>
                      <a:pt x="810" y="142"/>
                    </a:lnTo>
                    <a:lnTo>
                      <a:pt x="807" y="138"/>
                    </a:lnTo>
                    <a:lnTo>
                      <a:pt x="803" y="136"/>
                    </a:lnTo>
                    <a:lnTo>
                      <a:pt x="456" y="0"/>
                    </a:lnTo>
                    <a:lnTo>
                      <a:pt x="451" y="0"/>
                    </a:lnTo>
                    <a:lnTo>
                      <a:pt x="446" y="0"/>
                    </a:lnTo>
                    <a:lnTo>
                      <a:pt x="99" y="136"/>
                    </a:lnTo>
                    <a:lnTo>
                      <a:pt x="96" y="138"/>
                    </a:lnTo>
                    <a:lnTo>
                      <a:pt x="93" y="142"/>
                    </a:lnTo>
                    <a:lnTo>
                      <a:pt x="91" y="146"/>
                    </a:lnTo>
                    <a:lnTo>
                      <a:pt x="90" y="150"/>
                    </a:lnTo>
                    <a:lnTo>
                      <a:pt x="90" y="195"/>
                    </a:lnTo>
                    <a:lnTo>
                      <a:pt x="91" y="198"/>
                    </a:lnTo>
                    <a:lnTo>
                      <a:pt x="92" y="201"/>
                    </a:lnTo>
                    <a:lnTo>
                      <a:pt x="93" y="204"/>
                    </a:lnTo>
                    <a:lnTo>
                      <a:pt x="95" y="206"/>
                    </a:lnTo>
                    <a:lnTo>
                      <a:pt x="97" y="208"/>
                    </a:lnTo>
                    <a:lnTo>
                      <a:pt x="99" y="209"/>
                    </a:lnTo>
                    <a:lnTo>
                      <a:pt x="103" y="210"/>
                    </a:lnTo>
                    <a:lnTo>
                      <a:pt x="106" y="210"/>
                    </a:lnTo>
                    <a:lnTo>
                      <a:pt x="151" y="210"/>
                    </a:lnTo>
                    <a:lnTo>
                      <a:pt x="151" y="872"/>
                    </a:lnTo>
                    <a:lnTo>
                      <a:pt x="15" y="872"/>
                    </a:lnTo>
                    <a:lnTo>
                      <a:pt x="11" y="873"/>
                    </a:lnTo>
                    <a:lnTo>
                      <a:pt x="9" y="874"/>
                    </a:lnTo>
                    <a:lnTo>
                      <a:pt x="6" y="876"/>
                    </a:lnTo>
                    <a:lnTo>
                      <a:pt x="4" y="878"/>
                    </a:lnTo>
                    <a:lnTo>
                      <a:pt x="3" y="880"/>
                    </a:lnTo>
                    <a:lnTo>
                      <a:pt x="1" y="882"/>
                    </a:lnTo>
                    <a:lnTo>
                      <a:pt x="1" y="885"/>
                    </a:lnTo>
                    <a:lnTo>
                      <a:pt x="0" y="888"/>
                    </a:lnTo>
                    <a:lnTo>
                      <a:pt x="1" y="891"/>
                    </a:lnTo>
                    <a:lnTo>
                      <a:pt x="1" y="894"/>
                    </a:lnTo>
                    <a:lnTo>
                      <a:pt x="3" y="896"/>
                    </a:lnTo>
                    <a:lnTo>
                      <a:pt x="4" y="898"/>
                    </a:lnTo>
                    <a:lnTo>
                      <a:pt x="6" y="900"/>
                    </a:lnTo>
                    <a:lnTo>
                      <a:pt x="9" y="901"/>
                    </a:lnTo>
                    <a:lnTo>
                      <a:pt x="11" y="902"/>
                    </a:lnTo>
                    <a:lnTo>
                      <a:pt x="15" y="903"/>
                    </a:lnTo>
                    <a:lnTo>
                      <a:pt x="166" y="902"/>
                    </a:lnTo>
                    <a:lnTo>
                      <a:pt x="376" y="902"/>
                    </a:lnTo>
                    <a:lnTo>
                      <a:pt x="527" y="902"/>
                    </a:lnTo>
                    <a:lnTo>
                      <a:pt x="737" y="902"/>
                    </a:lnTo>
                    <a:lnTo>
                      <a:pt x="888" y="902"/>
                    </a:lnTo>
                    <a:lnTo>
                      <a:pt x="891" y="902"/>
                    </a:lnTo>
                    <a:lnTo>
                      <a:pt x="894" y="901"/>
                    </a:lnTo>
                    <a:lnTo>
                      <a:pt x="896" y="900"/>
                    </a:lnTo>
                    <a:lnTo>
                      <a:pt x="898" y="898"/>
                    </a:lnTo>
                    <a:lnTo>
                      <a:pt x="901" y="896"/>
                    </a:lnTo>
                    <a:lnTo>
                      <a:pt x="902" y="894"/>
                    </a:lnTo>
                    <a:lnTo>
                      <a:pt x="903" y="891"/>
                    </a:lnTo>
                    <a:lnTo>
                      <a:pt x="903" y="888"/>
                    </a:lnTo>
                    <a:lnTo>
                      <a:pt x="903" y="885"/>
                    </a:lnTo>
                    <a:lnTo>
                      <a:pt x="902" y="882"/>
                    </a:lnTo>
                    <a:lnTo>
                      <a:pt x="901" y="880"/>
                    </a:lnTo>
                    <a:lnTo>
                      <a:pt x="898" y="878"/>
                    </a:lnTo>
                    <a:lnTo>
                      <a:pt x="896" y="876"/>
                    </a:lnTo>
                    <a:lnTo>
                      <a:pt x="894" y="874"/>
                    </a:lnTo>
                    <a:lnTo>
                      <a:pt x="891" y="873"/>
                    </a:lnTo>
                    <a:lnTo>
                      <a:pt x="888" y="873"/>
                    </a:lnTo>
                    <a:lnTo>
                      <a:pt x="888" y="8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299">
                <a:extLst>
                  <a:ext uri="{FF2B5EF4-FFF2-40B4-BE49-F238E27FC236}">
                    <a16:creationId xmlns:a16="http://schemas.microsoft.com/office/drawing/2014/main" id="{FD1160A7-25F0-49BB-9051-7F6E47F742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06013" y="1516063"/>
                <a:ext cx="57150" cy="38100"/>
              </a:xfrm>
              <a:custGeom>
                <a:avLst/>
                <a:gdLst>
                  <a:gd name="T0" fmla="*/ 150 w 181"/>
                  <a:gd name="T1" fmla="*/ 90 h 120"/>
                  <a:gd name="T2" fmla="*/ 30 w 181"/>
                  <a:gd name="T3" fmla="*/ 90 h 120"/>
                  <a:gd name="T4" fmla="*/ 30 w 181"/>
                  <a:gd name="T5" fmla="*/ 30 h 120"/>
                  <a:gd name="T6" fmla="*/ 150 w 181"/>
                  <a:gd name="T7" fmla="*/ 30 h 120"/>
                  <a:gd name="T8" fmla="*/ 150 w 181"/>
                  <a:gd name="T9" fmla="*/ 90 h 120"/>
                  <a:gd name="T10" fmla="*/ 166 w 181"/>
                  <a:gd name="T11" fmla="*/ 0 h 120"/>
                  <a:gd name="T12" fmla="*/ 15 w 181"/>
                  <a:gd name="T13" fmla="*/ 0 h 120"/>
                  <a:gd name="T14" fmla="*/ 12 w 181"/>
                  <a:gd name="T15" fmla="*/ 0 h 120"/>
                  <a:gd name="T16" fmla="*/ 10 w 181"/>
                  <a:gd name="T17" fmla="*/ 1 h 120"/>
                  <a:gd name="T18" fmla="*/ 6 w 181"/>
                  <a:gd name="T19" fmla="*/ 2 h 120"/>
                  <a:gd name="T20" fmla="*/ 4 w 181"/>
                  <a:gd name="T21" fmla="*/ 4 h 120"/>
                  <a:gd name="T22" fmla="*/ 3 w 181"/>
                  <a:gd name="T23" fmla="*/ 6 h 120"/>
                  <a:gd name="T24" fmla="*/ 1 w 181"/>
                  <a:gd name="T25" fmla="*/ 8 h 120"/>
                  <a:gd name="T26" fmla="*/ 0 w 181"/>
                  <a:gd name="T27" fmla="*/ 12 h 120"/>
                  <a:gd name="T28" fmla="*/ 0 w 181"/>
                  <a:gd name="T29" fmla="*/ 15 h 120"/>
                  <a:gd name="T30" fmla="*/ 0 w 181"/>
                  <a:gd name="T31" fmla="*/ 105 h 120"/>
                  <a:gd name="T32" fmla="*/ 0 w 181"/>
                  <a:gd name="T33" fmla="*/ 108 h 120"/>
                  <a:gd name="T34" fmla="*/ 1 w 181"/>
                  <a:gd name="T35" fmla="*/ 110 h 120"/>
                  <a:gd name="T36" fmla="*/ 3 w 181"/>
                  <a:gd name="T37" fmla="*/ 114 h 120"/>
                  <a:gd name="T38" fmla="*/ 4 w 181"/>
                  <a:gd name="T39" fmla="*/ 116 h 120"/>
                  <a:gd name="T40" fmla="*/ 6 w 181"/>
                  <a:gd name="T41" fmla="*/ 118 h 120"/>
                  <a:gd name="T42" fmla="*/ 10 w 181"/>
                  <a:gd name="T43" fmla="*/ 119 h 120"/>
                  <a:gd name="T44" fmla="*/ 12 w 181"/>
                  <a:gd name="T45" fmla="*/ 120 h 120"/>
                  <a:gd name="T46" fmla="*/ 15 w 181"/>
                  <a:gd name="T47" fmla="*/ 120 h 120"/>
                  <a:gd name="T48" fmla="*/ 166 w 181"/>
                  <a:gd name="T49" fmla="*/ 120 h 120"/>
                  <a:gd name="T50" fmla="*/ 168 w 181"/>
                  <a:gd name="T51" fmla="*/ 120 h 120"/>
                  <a:gd name="T52" fmla="*/ 172 w 181"/>
                  <a:gd name="T53" fmla="*/ 119 h 120"/>
                  <a:gd name="T54" fmla="*/ 174 w 181"/>
                  <a:gd name="T55" fmla="*/ 118 h 120"/>
                  <a:gd name="T56" fmla="*/ 176 w 181"/>
                  <a:gd name="T57" fmla="*/ 116 h 120"/>
                  <a:gd name="T58" fmla="*/ 178 w 181"/>
                  <a:gd name="T59" fmla="*/ 114 h 120"/>
                  <a:gd name="T60" fmla="*/ 179 w 181"/>
                  <a:gd name="T61" fmla="*/ 110 h 120"/>
                  <a:gd name="T62" fmla="*/ 180 w 181"/>
                  <a:gd name="T63" fmla="*/ 108 h 120"/>
                  <a:gd name="T64" fmla="*/ 181 w 181"/>
                  <a:gd name="T65" fmla="*/ 105 h 120"/>
                  <a:gd name="T66" fmla="*/ 181 w 181"/>
                  <a:gd name="T67" fmla="*/ 15 h 120"/>
                  <a:gd name="T68" fmla="*/ 180 w 181"/>
                  <a:gd name="T69" fmla="*/ 12 h 120"/>
                  <a:gd name="T70" fmla="*/ 179 w 181"/>
                  <a:gd name="T71" fmla="*/ 8 h 120"/>
                  <a:gd name="T72" fmla="*/ 178 w 181"/>
                  <a:gd name="T73" fmla="*/ 6 h 120"/>
                  <a:gd name="T74" fmla="*/ 176 w 181"/>
                  <a:gd name="T75" fmla="*/ 4 h 120"/>
                  <a:gd name="T76" fmla="*/ 174 w 181"/>
                  <a:gd name="T77" fmla="*/ 2 h 120"/>
                  <a:gd name="T78" fmla="*/ 172 w 181"/>
                  <a:gd name="T79" fmla="*/ 1 h 120"/>
                  <a:gd name="T80" fmla="*/ 168 w 181"/>
                  <a:gd name="T81" fmla="*/ 0 h 120"/>
                  <a:gd name="T82" fmla="*/ 166 w 181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1" h="120">
                    <a:moveTo>
                      <a:pt x="15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150" y="30"/>
                    </a:lnTo>
                    <a:lnTo>
                      <a:pt x="150" y="90"/>
                    </a:lnTo>
                    <a:close/>
                    <a:moveTo>
                      <a:pt x="166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8"/>
                    </a:lnTo>
                    <a:lnTo>
                      <a:pt x="1" y="110"/>
                    </a:lnTo>
                    <a:lnTo>
                      <a:pt x="3" y="114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10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66" y="120"/>
                    </a:lnTo>
                    <a:lnTo>
                      <a:pt x="168" y="120"/>
                    </a:lnTo>
                    <a:lnTo>
                      <a:pt x="172" y="119"/>
                    </a:lnTo>
                    <a:lnTo>
                      <a:pt x="174" y="118"/>
                    </a:lnTo>
                    <a:lnTo>
                      <a:pt x="176" y="116"/>
                    </a:lnTo>
                    <a:lnTo>
                      <a:pt x="178" y="114"/>
                    </a:lnTo>
                    <a:lnTo>
                      <a:pt x="179" y="110"/>
                    </a:lnTo>
                    <a:lnTo>
                      <a:pt x="180" y="108"/>
                    </a:lnTo>
                    <a:lnTo>
                      <a:pt x="181" y="105"/>
                    </a:lnTo>
                    <a:lnTo>
                      <a:pt x="181" y="15"/>
                    </a:lnTo>
                    <a:lnTo>
                      <a:pt x="180" y="12"/>
                    </a:lnTo>
                    <a:lnTo>
                      <a:pt x="179" y="8"/>
                    </a:lnTo>
                    <a:lnTo>
                      <a:pt x="178" y="6"/>
                    </a:lnTo>
                    <a:lnTo>
                      <a:pt x="176" y="4"/>
                    </a:lnTo>
                    <a:lnTo>
                      <a:pt x="174" y="2"/>
                    </a:lnTo>
                    <a:lnTo>
                      <a:pt x="172" y="1"/>
                    </a:lnTo>
                    <a:lnTo>
                      <a:pt x="168" y="0"/>
                    </a:lnTo>
                    <a:lnTo>
                      <a:pt x="16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300">
                <a:extLst>
                  <a:ext uri="{FF2B5EF4-FFF2-40B4-BE49-F238E27FC236}">
                    <a16:creationId xmlns:a16="http://schemas.microsoft.com/office/drawing/2014/main" id="{948E0732-589E-4ADB-BA94-CE5166036F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06013" y="1468438"/>
                <a:ext cx="57150" cy="38100"/>
              </a:xfrm>
              <a:custGeom>
                <a:avLst/>
                <a:gdLst>
                  <a:gd name="T0" fmla="*/ 150 w 181"/>
                  <a:gd name="T1" fmla="*/ 91 h 121"/>
                  <a:gd name="T2" fmla="*/ 30 w 181"/>
                  <a:gd name="T3" fmla="*/ 91 h 121"/>
                  <a:gd name="T4" fmla="*/ 30 w 181"/>
                  <a:gd name="T5" fmla="*/ 30 h 121"/>
                  <a:gd name="T6" fmla="*/ 150 w 181"/>
                  <a:gd name="T7" fmla="*/ 30 h 121"/>
                  <a:gd name="T8" fmla="*/ 150 w 181"/>
                  <a:gd name="T9" fmla="*/ 91 h 121"/>
                  <a:gd name="T10" fmla="*/ 166 w 181"/>
                  <a:gd name="T11" fmla="*/ 0 h 121"/>
                  <a:gd name="T12" fmla="*/ 15 w 181"/>
                  <a:gd name="T13" fmla="*/ 0 h 121"/>
                  <a:gd name="T14" fmla="*/ 12 w 181"/>
                  <a:gd name="T15" fmla="*/ 1 h 121"/>
                  <a:gd name="T16" fmla="*/ 10 w 181"/>
                  <a:gd name="T17" fmla="*/ 2 h 121"/>
                  <a:gd name="T18" fmla="*/ 6 w 181"/>
                  <a:gd name="T19" fmla="*/ 3 h 121"/>
                  <a:gd name="T20" fmla="*/ 4 w 181"/>
                  <a:gd name="T21" fmla="*/ 5 h 121"/>
                  <a:gd name="T22" fmla="*/ 3 w 181"/>
                  <a:gd name="T23" fmla="*/ 7 h 121"/>
                  <a:gd name="T24" fmla="*/ 1 w 181"/>
                  <a:gd name="T25" fmla="*/ 9 h 121"/>
                  <a:gd name="T26" fmla="*/ 0 w 181"/>
                  <a:gd name="T27" fmla="*/ 12 h 121"/>
                  <a:gd name="T28" fmla="*/ 0 w 181"/>
                  <a:gd name="T29" fmla="*/ 15 h 121"/>
                  <a:gd name="T30" fmla="*/ 0 w 181"/>
                  <a:gd name="T31" fmla="*/ 106 h 121"/>
                  <a:gd name="T32" fmla="*/ 0 w 181"/>
                  <a:gd name="T33" fmla="*/ 108 h 121"/>
                  <a:gd name="T34" fmla="*/ 1 w 181"/>
                  <a:gd name="T35" fmla="*/ 111 h 121"/>
                  <a:gd name="T36" fmla="*/ 3 w 181"/>
                  <a:gd name="T37" fmla="*/ 113 h 121"/>
                  <a:gd name="T38" fmla="*/ 4 w 181"/>
                  <a:gd name="T39" fmla="*/ 116 h 121"/>
                  <a:gd name="T40" fmla="*/ 6 w 181"/>
                  <a:gd name="T41" fmla="*/ 118 h 121"/>
                  <a:gd name="T42" fmla="*/ 10 w 181"/>
                  <a:gd name="T43" fmla="*/ 120 h 121"/>
                  <a:gd name="T44" fmla="*/ 12 w 181"/>
                  <a:gd name="T45" fmla="*/ 120 h 121"/>
                  <a:gd name="T46" fmla="*/ 15 w 181"/>
                  <a:gd name="T47" fmla="*/ 121 h 121"/>
                  <a:gd name="T48" fmla="*/ 166 w 181"/>
                  <a:gd name="T49" fmla="*/ 121 h 121"/>
                  <a:gd name="T50" fmla="*/ 168 w 181"/>
                  <a:gd name="T51" fmla="*/ 120 h 121"/>
                  <a:gd name="T52" fmla="*/ 172 w 181"/>
                  <a:gd name="T53" fmla="*/ 120 h 121"/>
                  <a:gd name="T54" fmla="*/ 174 w 181"/>
                  <a:gd name="T55" fmla="*/ 118 h 121"/>
                  <a:gd name="T56" fmla="*/ 176 w 181"/>
                  <a:gd name="T57" fmla="*/ 116 h 121"/>
                  <a:gd name="T58" fmla="*/ 178 w 181"/>
                  <a:gd name="T59" fmla="*/ 113 h 121"/>
                  <a:gd name="T60" fmla="*/ 179 w 181"/>
                  <a:gd name="T61" fmla="*/ 111 h 121"/>
                  <a:gd name="T62" fmla="*/ 180 w 181"/>
                  <a:gd name="T63" fmla="*/ 108 h 121"/>
                  <a:gd name="T64" fmla="*/ 181 w 181"/>
                  <a:gd name="T65" fmla="*/ 106 h 121"/>
                  <a:gd name="T66" fmla="*/ 181 w 181"/>
                  <a:gd name="T67" fmla="*/ 15 h 121"/>
                  <a:gd name="T68" fmla="*/ 180 w 181"/>
                  <a:gd name="T69" fmla="*/ 12 h 121"/>
                  <a:gd name="T70" fmla="*/ 179 w 181"/>
                  <a:gd name="T71" fmla="*/ 9 h 121"/>
                  <a:gd name="T72" fmla="*/ 178 w 181"/>
                  <a:gd name="T73" fmla="*/ 7 h 121"/>
                  <a:gd name="T74" fmla="*/ 176 w 181"/>
                  <a:gd name="T75" fmla="*/ 5 h 121"/>
                  <a:gd name="T76" fmla="*/ 174 w 181"/>
                  <a:gd name="T77" fmla="*/ 3 h 121"/>
                  <a:gd name="T78" fmla="*/ 172 w 181"/>
                  <a:gd name="T79" fmla="*/ 2 h 121"/>
                  <a:gd name="T80" fmla="*/ 168 w 181"/>
                  <a:gd name="T81" fmla="*/ 1 h 121"/>
                  <a:gd name="T82" fmla="*/ 166 w 181"/>
                  <a:gd name="T8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1" h="121">
                    <a:moveTo>
                      <a:pt x="150" y="91"/>
                    </a:moveTo>
                    <a:lnTo>
                      <a:pt x="30" y="91"/>
                    </a:lnTo>
                    <a:lnTo>
                      <a:pt x="30" y="30"/>
                    </a:lnTo>
                    <a:lnTo>
                      <a:pt x="150" y="30"/>
                    </a:lnTo>
                    <a:lnTo>
                      <a:pt x="150" y="91"/>
                    </a:lnTo>
                    <a:close/>
                    <a:moveTo>
                      <a:pt x="166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10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6"/>
                    </a:lnTo>
                    <a:lnTo>
                      <a:pt x="0" y="108"/>
                    </a:lnTo>
                    <a:lnTo>
                      <a:pt x="1" y="111"/>
                    </a:lnTo>
                    <a:lnTo>
                      <a:pt x="3" y="113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10" y="120"/>
                    </a:lnTo>
                    <a:lnTo>
                      <a:pt x="12" y="120"/>
                    </a:lnTo>
                    <a:lnTo>
                      <a:pt x="15" y="121"/>
                    </a:lnTo>
                    <a:lnTo>
                      <a:pt x="166" y="121"/>
                    </a:lnTo>
                    <a:lnTo>
                      <a:pt x="168" y="120"/>
                    </a:lnTo>
                    <a:lnTo>
                      <a:pt x="172" y="120"/>
                    </a:lnTo>
                    <a:lnTo>
                      <a:pt x="174" y="118"/>
                    </a:lnTo>
                    <a:lnTo>
                      <a:pt x="176" y="116"/>
                    </a:lnTo>
                    <a:lnTo>
                      <a:pt x="178" y="113"/>
                    </a:lnTo>
                    <a:lnTo>
                      <a:pt x="179" y="111"/>
                    </a:lnTo>
                    <a:lnTo>
                      <a:pt x="180" y="108"/>
                    </a:lnTo>
                    <a:lnTo>
                      <a:pt x="181" y="106"/>
                    </a:lnTo>
                    <a:lnTo>
                      <a:pt x="181" y="15"/>
                    </a:lnTo>
                    <a:lnTo>
                      <a:pt x="180" y="12"/>
                    </a:lnTo>
                    <a:lnTo>
                      <a:pt x="179" y="9"/>
                    </a:lnTo>
                    <a:lnTo>
                      <a:pt x="178" y="7"/>
                    </a:lnTo>
                    <a:lnTo>
                      <a:pt x="176" y="5"/>
                    </a:lnTo>
                    <a:lnTo>
                      <a:pt x="174" y="3"/>
                    </a:lnTo>
                    <a:lnTo>
                      <a:pt x="172" y="2"/>
                    </a:lnTo>
                    <a:lnTo>
                      <a:pt x="168" y="1"/>
                    </a:lnTo>
                    <a:lnTo>
                      <a:pt x="16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301">
                <a:extLst>
                  <a:ext uri="{FF2B5EF4-FFF2-40B4-BE49-F238E27FC236}">
                    <a16:creationId xmlns:a16="http://schemas.microsoft.com/office/drawing/2014/main" id="{B0E8074F-C0B4-4C1E-8F91-373CBF82CA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06013" y="1420813"/>
                <a:ext cx="57150" cy="38100"/>
              </a:xfrm>
              <a:custGeom>
                <a:avLst/>
                <a:gdLst>
                  <a:gd name="T0" fmla="*/ 150 w 181"/>
                  <a:gd name="T1" fmla="*/ 90 h 120"/>
                  <a:gd name="T2" fmla="*/ 30 w 181"/>
                  <a:gd name="T3" fmla="*/ 90 h 120"/>
                  <a:gd name="T4" fmla="*/ 30 w 181"/>
                  <a:gd name="T5" fmla="*/ 30 h 120"/>
                  <a:gd name="T6" fmla="*/ 150 w 181"/>
                  <a:gd name="T7" fmla="*/ 30 h 120"/>
                  <a:gd name="T8" fmla="*/ 150 w 181"/>
                  <a:gd name="T9" fmla="*/ 90 h 120"/>
                  <a:gd name="T10" fmla="*/ 166 w 181"/>
                  <a:gd name="T11" fmla="*/ 0 h 120"/>
                  <a:gd name="T12" fmla="*/ 15 w 181"/>
                  <a:gd name="T13" fmla="*/ 0 h 120"/>
                  <a:gd name="T14" fmla="*/ 12 w 181"/>
                  <a:gd name="T15" fmla="*/ 0 h 120"/>
                  <a:gd name="T16" fmla="*/ 10 w 181"/>
                  <a:gd name="T17" fmla="*/ 1 h 120"/>
                  <a:gd name="T18" fmla="*/ 6 w 181"/>
                  <a:gd name="T19" fmla="*/ 2 h 120"/>
                  <a:gd name="T20" fmla="*/ 4 w 181"/>
                  <a:gd name="T21" fmla="*/ 5 h 120"/>
                  <a:gd name="T22" fmla="*/ 3 w 181"/>
                  <a:gd name="T23" fmla="*/ 7 h 120"/>
                  <a:gd name="T24" fmla="*/ 1 w 181"/>
                  <a:gd name="T25" fmla="*/ 10 h 120"/>
                  <a:gd name="T26" fmla="*/ 0 w 181"/>
                  <a:gd name="T27" fmla="*/ 12 h 120"/>
                  <a:gd name="T28" fmla="*/ 0 w 181"/>
                  <a:gd name="T29" fmla="*/ 15 h 120"/>
                  <a:gd name="T30" fmla="*/ 0 w 181"/>
                  <a:gd name="T31" fmla="*/ 105 h 120"/>
                  <a:gd name="T32" fmla="*/ 0 w 181"/>
                  <a:gd name="T33" fmla="*/ 109 h 120"/>
                  <a:gd name="T34" fmla="*/ 1 w 181"/>
                  <a:gd name="T35" fmla="*/ 112 h 120"/>
                  <a:gd name="T36" fmla="*/ 3 w 181"/>
                  <a:gd name="T37" fmla="*/ 114 h 120"/>
                  <a:gd name="T38" fmla="*/ 4 w 181"/>
                  <a:gd name="T39" fmla="*/ 116 h 120"/>
                  <a:gd name="T40" fmla="*/ 6 w 181"/>
                  <a:gd name="T41" fmla="*/ 118 h 120"/>
                  <a:gd name="T42" fmla="*/ 10 w 181"/>
                  <a:gd name="T43" fmla="*/ 119 h 120"/>
                  <a:gd name="T44" fmla="*/ 12 w 181"/>
                  <a:gd name="T45" fmla="*/ 120 h 120"/>
                  <a:gd name="T46" fmla="*/ 15 w 181"/>
                  <a:gd name="T47" fmla="*/ 120 h 120"/>
                  <a:gd name="T48" fmla="*/ 166 w 181"/>
                  <a:gd name="T49" fmla="*/ 120 h 120"/>
                  <a:gd name="T50" fmla="*/ 168 w 181"/>
                  <a:gd name="T51" fmla="*/ 120 h 120"/>
                  <a:gd name="T52" fmla="*/ 172 w 181"/>
                  <a:gd name="T53" fmla="*/ 119 h 120"/>
                  <a:gd name="T54" fmla="*/ 174 w 181"/>
                  <a:gd name="T55" fmla="*/ 118 h 120"/>
                  <a:gd name="T56" fmla="*/ 176 w 181"/>
                  <a:gd name="T57" fmla="*/ 116 h 120"/>
                  <a:gd name="T58" fmla="*/ 178 w 181"/>
                  <a:gd name="T59" fmla="*/ 114 h 120"/>
                  <a:gd name="T60" fmla="*/ 179 w 181"/>
                  <a:gd name="T61" fmla="*/ 112 h 120"/>
                  <a:gd name="T62" fmla="*/ 180 w 181"/>
                  <a:gd name="T63" fmla="*/ 109 h 120"/>
                  <a:gd name="T64" fmla="*/ 181 w 181"/>
                  <a:gd name="T65" fmla="*/ 105 h 120"/>
                  <a:gd name="T66" fmla="*/ 181 w 181"/>
                  <a:gd name="T67" fmla="*/ 15 h 120"/>
                  <a:gd name="T68" fmla="*/ 180 w 181"/>
                  <a:gd name="T69" fmla="*/ 12 h 120"/>
                  <a:gd name="T70" fmla="*/ 179 w 181"/>
                  <a:gd name="T71" fmla="*/ 10 h 120"/>
                  <a:gd name="T72" fmla="*/ 178 w 181"/>
                  <a:gd name="T73" fmla="*/ 7 h 120"/>
                  <a:gd name="T74" fmla="*/ 176 w 181"/>
                  <a:gd name="T75" fmla="*/ 5 h 120"/>
                  <a:gd name="T76" fmla="*/ 174 w 181"/>
                  <a:gd name="T77" fmla="*/ 2 h 120"/>
                  <a:gd name="T78" fmla="*/ 172 w 181"/>
                  <a:gd name="T79" fmla="*/ 1 h 120"/>
                  <a:gd name="T80" fmla="*/ 168 w 181"/>
                  <a:gd name="T81" fmla="*/ 0 h 120"/>
                  <a:gd name="T82" fmla="*/ 166 w 181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1" h="120">
                    <a:moveTo>
                      <a:pt x="15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150" y="30"/>
                    </a:lnTo>
                    <a:lnTo>
                      <a:pt x="150" y="90"/>
                    </a:lnTo>
                    <a:close/>
                    <a:moveTo>
                      <a:pt x="166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9"/>
                    </a:lnTo>
                    <a:lnTo>
                      <a:pt x="1" y="112"/>
                    </a:lnTo>
                    <a:lnTo>
                      <a:pt x="3" y="114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10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66" y="120"/>
                    </a:lnTo>
                    <a:lnTo>
                      <a:pt x="168" y="120"/>
                    </a:lnTo>
                    <a:lnTo>
                      <a:pt x="172" y="119"/>
                    </a:lnTo>
                    <a:lnTo>
                      <a:pt x="174" y="118"/>
                    </a:lnTo>
                    <a:lnTo>
                      <a:pt x="176" y="116"/>
                    </a:lnTo>
                    <a:lnTo>
                      <a:pt x="178" y="114"/>
                    </a:lnTo>
                    <a:lnTo>
                      <a:pt x="179" y="112"/>
                    </a:lnTo>
                    <a:lnTo>
                      <a:pt x="180" y="109"/>
                    </a:lnTo>
                    <a:lnTo>
                      <a:pt x="181" y="105"/>
                    </a:lnTo>
                    <a:lnTo>
                      <a:pt x="181" y="15"/>
                    </a:lnTo>
                    <a:lnTo>
                      <a:pt x="180" y="12"/>
                    </a:lnTo>
                    <a:lnTo>
                      <a:pt x="179" y="10"/>
                    </a:lnTo>
                    <a:lnTo>
                      <a:pt x="178" y="7"/>
                    </a:lnTo>
                    <a:lnTo>
                      <a:pt x="176" y="5"/>
                    </a:lnTo>
                    <a:lnTo>
                      <a:pt x="174" y="2"/>
                    </a:lnTo>
                    <a:lnTo>
                      <a:pt x="172" y="1"/>
                    </a:lnTo>
                    <a:lnTo>
                      <a:pt x="168" y="0"/>
                    </a:lnTo>
                    <a:lnTo>
                      <a:pt x="16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Freeform 302">
                <a:extLst>
                  <a:ext uri="{FF2B5EF4-FFF2-40B4-BE49-F238E27FC236}">
                    <a16:creationId xmlns:a16="http://schemas.microsoft.com/office/drawing/2014/main" id="{5893F5AF-C1F0-4EC7-A8D5-75BBCF5365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72688" y="1563688"/>
                <a:ext cx="38100" cy="38100"/>
              </a:xfrm>
              <a:custGeom>
                <a:avLst/>
                <a:gdLst>
                  <a:gd name="T0" fmla="*/ 90 w 120"/>
                  <a:gd name="T1" fmla="*/ 90 h 120"/>
                  <a:gd name="T2" fmla="*/ 30 w 120"/>
                  <a:gd name="T3" fmla="*/ 90 h 120"/>
                  <a:gd name="T4" fmla="*/ 30 w 120"/>
                  <a:gd name="T5" fmla="*/ 30 h 120"/>
                  <a:gd name="T6" fmla="*/ 90 w 120"/>
                  <a:gd name="T7" fmla="*/ 30 h 120"/>
                  <a:gd name="T8" fmla="*/ 90 w 120"/>
                  <a:gd name="T9" fmla="*/ 90 h 120"/>
                  <a:gd name="T10" fmla="*/ 105 w 120"/>
                  <a:gd name="T11" fmla="*/ 0 h 120"/>
                  <a:gd name="T12" fmla="*/ 15 w 120"/>
                  <a:gd name="T13" fmla="*/ 0 h 120"/>
                  <a:gd name="T14" fmla="*/ 12 w 120"/>
                  <a:gd name="T15" fmla="*/ 0 h 120"/>
                  <a:gd name="T16" fmla="*/ 9 w 120"/>
                  <a:gd name="T17" fmla="*/ 1 h 120"/>
                  <a:gd name="T18" fmla="*/ 7 w 120"/>
                  <a:gd name="T19" fmla="*/ 2 h 120"/>
                  <a:gd name="T20" fmla="*/ 5 w 120"/>
                  <a:gd name="T21" fmla="*/ 4 h 120"/>
                  <a:gd name="T22" fmla="*/ 2 w 120"/>
                  <a:gd name="T23" fmla="*/ 6 h 120"/>
                  <a:gd name="T24" fmla="*/ 1 w 120"/>
                  <a:gd name="T25" fmla="*/ 10 h 120"/>
                  <a:gd name="T26" fmla="*/ 0 w 120"/>
                  <a:gd name="T27" fmla="*/ 12 h 120"/>
                  <a:gd name="T28" fmla="*/ 0 w 120"/>
                  <a:gd name="T29" fmla="*/ 15 h 120"/>
                  <a:gd name="T30" fmla="*/ 0 w 120"/>
                  <a:gd name="T31" fmla="*/ 105 h 120"/>
                  <a:gd name="T32" fmla="*/ 0 w 120"/>
                  <a:gd name="T33" fmla="*/ 108 h 120"/>
                  <a:gd name="T34" fmla="*/ 1 w 120"/>
                  <a:gd name="T35" fmla="*/ 112 h 120"/>
                  <a:gd name="T36" fmla="*/ 2 w 120"/>
                  <a:gd name="T37" fmla="*/ 114 h 120"/>
                  <a:gd name="T38" fmla="*/ 5 w 120"/>
                  <a:gd name="T39" fmla="*/ 116 h 120"/>
                  <a:gd name="T40" fmla="*/ 7 w 120"/>
                  <a:gd name="T41" fmla="*/ 118 h 120"/>
                  <a:gd name="T42" fmla="*/ 9 w 120"/>
                  <a:gd name="T43" fmla="*/ 119 h 120"/>
                  <a:gd name="T44" fmla="*/ 12 w 120"/>
                  <a:gd name="T45" fmla="*/ 120 h 120"/>
                  <a:gd name="T46" fmla="*/ 15 w 120"/>
                  <a:gd name="T47" fmla="*/ 120 h 120"/>
                  <a:gd name="T48" fmla="*/ 105 w 120"/>
                  <a:gd name="T49" fmla="*/ 120 h 120"/>
                  <a:gd name="T50" fmla="*/ 109 w 120"/>
                  <a:gd name="T51" fmla="*/ 120 h 120"/>
                  <a:gd name="T52" fmla="*/ 111 w 120"/>
                  <a:gd name="T53" fmla="*/ 119 h 120"/>
                  <a:gd name="T54" fmla="*/ 114 w 120"/>
                  <a:gd name="T55" fmla="*/ 118 h 120"/>
                  <a:gd name="T56" fmla="*/ 116 w 120"/>
                  <a:gd name="T57" fmla="*/ 116 h 120"/>
                  <a:gd name="T58" fmla="*/ 117 w 120"/>
                  <a:gd name="T59" fmla="*/ 114 h 120"/>
                  <a:gd name="T60" fmla="*/ 119 w 120"/>
                  <a:gd name="T61" fmla="*/ 112 h 120"/>
                  <a:gd name="T62" fmla="*/ 120 w 120"/>
                  <a:gd name="T63" fmla="*/ 108 h 120"/>
                  <a:gd name="T64" fmla="*/ 120 w 120"/>
                  <a:gd name="T65" fmla="*/ 105 h 120"/>
                  <a:gd name="T66" fmla="*/ 120 w 120"/>
                  <a:gd name="T67" fmla="*/ 15 h 120"/>
                  <a:gd name="T68" fmla="*/ 120 w 120"/>
                  <a:gd name="T69" fmla="*/ 12 h 120"/>
                  <a:gd name="T70" fmla="*/ 119 w 120"/>
                  <a:gd name="T71" fmla="*/ 10 h 120"/>
                  <a:gd name="T72" fmla="*/ 117 w 120"/>
                  <a:gd name="T73" fmla="*/ 6 h 120"/>
                  <a:gd name="T74" fmla="*/ 116 w 120"/>
                  <a:gd name="T75" fmla="*/ 4 h 120"/>
                  <a:gd name="T76" fmla="*/ 114 w 120"/>
                  <a:gd name="T77" fmla="*/ 2 h 120"/>
                  <a:gd name="T78" fmla="*/ 111 w 120"/>
                  <a:gd name="T79" fmla="*/ 1 h 120"/>
                  <a:gd name="T80" fmla="*/ 109 w 120"/>
                  <a:gd name="T81" fmla="*/ 0 h 120"/>
                  <a:gd name="T82" fmla="*/ 105 w 120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0">
                    <a:moveTo>
                      <a:pt x="9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0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7" y="2"/>
                    </a:lnTo>
                    <a:lnTo>
                      <a:pt x="5" y="4"/>
                    </a:lnTo>
                    <a:lnTo>
                      <a:pt x="2" y="6"/>
                    </a:lnTo>
                    <a:lnTo>
                      <a:pt x="1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8"/>
                    </a:lnTo>
                    <a:lnTo>
                      <a:pt x="1" y="112"/>
                    </a:lnTo>
                    <a:lnTo>
                      <a:pt x="2" y="114"/>
                    </a:lnTo>
                    <a:lnTo>
                      <a:pt x="5" y="116"/>
                    </a:lnTo>
                    <a:lnTo>
                      <a:pt x="7" y="118"/>
                    </a:lnTo>
                    <a:lnTo>
                      <a:pt x="9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05" y="120"/>
                    </a:lnTo>
                    <a:lnTo>
                      <a:pt x="109" y="120"/>
                    </a:lnTo>
                    <a:lnTo>
                      <a:pt x="111" y="119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7" y="114"/>
                    </a:lnTo>
                    <a:lnTo>
                      <a:pt x="119" y="112"/>
                    </a:lnTo>
                    <a:lnTo>
                      <a:pt x="120" y="108"/>
                    </a:lnTo>
                    <a:lnTo>
                      <a:pt x="120" y="105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10"/>
                    </a:lnTo>
                    <a:lnTo>
                      <a:pt x="117" y="6"/>
                    </a:lnTo>
                    <a:lnTo>
                      <a:pt x="116" y="4"/>
                    </a:lnTo>
                    <a:lnTo>
                      <a:pt x="114" y="2"/>
                    </a:lnTo>
                    <a:lnTo>
                      <a:pt x="111" y="1"/>
                    </a:lnTo>
                    <a:lnTo>
                      <a:pt x="109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303">
                <a:extLst>
                  <a:ext uri="{FF2B5EF4-FFF2-40B4-BE49-F238E27FC236}">
                    <a16:creationId xmlns:a16="http://schemas.microsoft.com/office/drawing/2014/main" id="{70CC22DE-76F4-4EC9-BEDA-23324DA661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58388" y="1563688"/>
                <a:ext cx="38100" cy="38100"/>
              </a:xfrm>
              <a:custGeom>
                <a:avLst/>
                <a:gdLst>
                  <a:gd name="T0" fmla="*/ 90 w 120"/>
                  <a:gd name="T1" fmla="*/ 90 h 120"/>
                  <a:gd name="T2" fmla="*/ 30 w 120"/>
                  <a:gd name="T3" fmla="*/ 90 h 120"/>
                  <a:gd name="T4" fmla="*/ 30 w 120"/>
                  <a:gd name="T5" fmla="*/ 30 h 120"/>
                  <a:gd name="T6" fmla="*/ 90 w 120"/>
                  <a:gd name="T7" fmla="*/ 30 h 120"/>
                  <a:gd name="T8" fmla="*/ 90 w 120"/>
                  <a:gd name="T9" fmla="*/ 90 h 120"/>
                  <a:gd name="T10" fmla="*/ 105 w 120"/>
                  <a:gd name="T11" fmla="*/ 0 h 120"/>
                  <a:gd name="T12" fmla="*/ 15 w 120"/>
                  <a:gd name="T13" fmla="*/ 0 h 120"/>
                  <a:gd name="T14" fmla="*/ 12 w 120"/>
                  <a:gd name="T15" fmla="*/ 0 h 120"/>
                  <a:gd name="T16" fmla="*/ 8 w 120"/>
                  <a:gd name="T17" fmla="*/ 1 h 120"/>
                  <a:gd name="T18" fmla="*/ 6 w 120"/>
                  <a:gd name="T19" fmla="*/ 2 h 120"/>
                  <a:gd name="T20" fmla="*/ 4 w 120"/>
                  <a:gd name="T21" fmla="*/ 4 h 120"/>
                  <a:gd name="T22" fmla="*/ 2 w 120"/>
                  <a:gd name="T23" fmla="*/ 6 h 120"/>
                  <a:gd name="T24" fmla="*/ 1 w 120"/>
                  <a:gd name="T25" fmla="*/ 10 h 120"/>
                  <a:gd name="T26" fmla="*/ 0 w 120"/>
                  <a:gd name="T27" fmla="*/ 12 h 120"/>
                  <a:gd name="T28" fmla="*/ 0 w 120"/>
                  <a:gd name="T29" fmla="*/ 15 h 120"/>
                  <a:gd name="T30" fmla="*/ 0 w 120"/>
                  <a:gd name="T31" fmla="*/ 105 h 120"/>
                  <a:gd name="T32" fmla="*/ 0 w 120"/>
                  <a:gd name="T33" fmla="*/ 108 h 120"/>
                  <a:gd name="T34" fmla="*/ 1 w 120"/>
                  <a:gd name="T35" fmla="*/ 112 h 120"/>
                  <a:gd name="T36" fmla="*/ 2 w 120"/>
                  <a:gd name="T37" fmla="*/ 114 h 120"/>
                  <a:gd name="T38" fmla="*/ 4 w 120"/>
                  <a:gd name="T39" fmla="*/ 116 h 120"/>
                  <a:gd name="T40" fmla="*/ 6 w 120"/>
                  <a:gd name="T41" fmla="*/ 118 h 120"/>
                  <a:gd name="T42" fmla="*/ 8 w 120"/>
                  <a:gd name="T43" fmla="*/ 119 h 120"/>
                  <a:gd name="T44" fmla="*/ 12 w 120"/>
                  <a:gd name="T45" fmla="*/ 120 h 120"/>
                  <a:gd name="T46" fmla="*/ 15 w 120"/>
                  <a:gd name="T47" fmla="*/ 120 h 120"/>
                  <a:gd name="T48" fmla="*/ 105 w 120"/>
                  <a:gd name="T49" fmla="*/ 120 h 120"/>
                  <a:gd name="T50" fmla="*/ 108 w 120"/>
                  <a:gd name="T51" fmla="*/ 120 h 120"/>
                  <a:gd name="T52" fmla="*/ 110 w 120"/>
                  <a:gd name="T53" fmla="*/ 119 h 120"/>
                  <a:gd name="T54" fmla="*/ 114 w 120"/>
                  <a:gd name="T55" fmla="*/ 118 h 120"/>
                  <a:gd name="T56" fmla="*/ 116 w 120"/>
                  <a:gd name="T57" fmla="*/ 116 h 120"/>
                  <a:gd name="T58" fmla="*/ 118 w 120"/>
                  <a:gd name="T59" fmla="*/ 114 h 120"/>
                  <a:gd name="T60" fmla="*/ 119 w 120"/>
                  <a:gd name="T61" fmla="*/ 112 h 120"/>
                  <a:gd name="T62" fmla="*/ 120 w 120"/>
                  <a:gd name="T63" fmla="*/ 108 h 120"/>
                  <a:gd name="T64" fmla="*/ 120 w 120"/>
                  <a:gd name="T65" fmla="*/ 105 h 120"/>
                  <a:gd name="T66" fmla="*/ 120 w 120"/>
                  <a:gd name="T67" fmla="*/ 15 h 120"/>
                  <a:gd name="T68" fmla="*/ 120 w 120"/>
                  <a:gd name="T69" fmla="*/ 12 h 120"/>
                  <a:gd name="T70" fmla="*/ 119 w 120"/>
                  <a:gd name="T71" fmla="*/ 10 h 120"/>
                  <a:gd name="T72" fmla="*/ 118 w 120"/>
                  <a:gd name="T73" fmla="*/ 6 h 120"/>
                  <a:gd name="T74" fmla="*/ 116 w 120"/>
                  <a:gd name="T75" fmla="*/ 4 h 120"/>
                  <a:gd name="T76" fmla="*/ 114 w 120"/>
                  <a:gd name="T77" fmla="*/ 3 h 120"/>
                  <a:gd name="T78" fmla="*/ 110 w 120"/>
                  <a:gd name="T79" fmla="*/ 1 h 120"/>
                  <a:gd name="T80" fmla="*/ 108 w 120"/>
                  <a:gd name="T81" fmla="*/ 0 h 120"/>
                  <a:gd name="T82" fmla="*/ 105 w 120"/>
                  <a:gd name="T83" fmla="*/ 0 h 120"/>
                  <a:gd name="T84" fmla="*/ 105 w 120"/>
                  <a:gd name="T8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0" h="120">
                    <a:moveTo>
                      <a:pt x="9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0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8"/>
                    </a:lnTo>
                    <a:lnTo>
                      <a:pt x="1" y="112"/>
                    </a:lnTo>
                    <a:lnTo>
                      <a:pt x="2" y="114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8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05" y="120"/>
                    </a:lnTo>
                    <a:lnTo>
                      <a:pt x="108" y="120"/>
                    </a:lnTo>
                    <a:lnTo>
                      <a:pt x="110" y="119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8" y="114"/>
                    </a:lnTo>
                    <a:lnTo>
                      <a:pt x="119" y="112"/>
                    </a:lnTo>
                    <a:lnTo>
                      <a:pt x="120" y="108"/>
                    </a:lnTo>
                    <a:lnTo>
                      <a:pt x="120" y="105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10"/>
                    </a:lnTo>
                    <a:lnTo>
                      <a:pt x="118" y="6"/>
                    </a:lnTo>
                    <a:lnTo>
                      <a:pt x="116" y="4"/>
                    </a:lnTo>
                    <a:lnTo>
                      <a:pt x="114" y="3"/>
                    </a:lnTo>
                    <a:lnTo>
                      <a:pt x="110" y="1"/>
                    </a:lnTo>
                    <a:lnTo>
                      <a:pt x="108" y="0"/>
                    </a:lnTo>
                    <a:lnTo>
                      <a:pt x="105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304">
                <a:extLst>
                  <a:ext uri="{FF2B5EF4-FFF2-40B4-BE49-F238E27FC236}">
                    <a16:creationId xmlns:a16="http://schemas.microsoft.com/office/drawing/2014/main" id="{AB859B84-A2AC-453F-9714-D3557C5623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72688" y="1516063"/>
                <a:ext cx="38100" cy="38100"/>
              </a:xfrm>
              <a:custGeom>
                <a:avLst/>
                <a:gdLst>
                  <a:gd name="T0" fmla="*/ 90 w 120"/>
                  <a:gd name="T1" fmla="*/ 90 h 120"/>
                  <a:gd name="T2" fmla="*/ 30 w 120"/>
                  <a:gd name="T3" fmla="*/ 90 h 120"/>
                  <a:gd name="T4" fmla="*/ 30 w 120"/>
                  <a:gd name="T5" fmla="*/ 30 h 120"/>
                  <a:gd name="T6" fmla="*/ 90 w 120"/>
                  <a:gd name="T7" fmla="*/ 30 h 120"/>
                  <a:gd name="T8" fmla="*/ 90 w 120"/>
                  <a:gd name="T9" fmla="*/ 90 h 120"/>
                  <a:gd name="T10" fmla="*/ 105 w 120"/>
                  <a:gd name="T11" fmla="*/ 0 h 120"/>
                  <a:gd name="T12" fmla="*/ 15 w 120"/>
                  <a:gd name="T13" fmla="*/ 0 h 120"/>
                  <a:gd name="T14" fmla="*/ 12 w 120"/>
                  <a:gd name="T15" fmla="*/ 0 h 120"/>
                  <a:gd name="T16" fmla="*/ 9 w 120"/>
                  <a:gd name="T17" fmla="*/ 1 h 120"/>
                  <a:gd name="T18" fmla="*/ 7 w 120"/>
                  <a:gd name="T19" fmla="*/ 2 h 120"/>
                  <a:gd name="T20" fmla="*/ 5 w 120"/>
                  <a:gd name="T21" fmla="*/ 4 h 120"/>
                  <a:gd name="T22" fmla="*/ 2 w 120"/>
                  <a:gd name="T23" fmla="*/ 6 h 120"/>
                  <a:gd name="T24" fmla="*/ 1 w 120"/>
                  <a:gd name="T25" fmla="*/ 8 h 120"/>
                  <a:gd name="T26" fmla="*/ 0 w 120"/>
                  <a:gd name="T27" fmla="*/ 12 h 120"/>
                  <a:gd name="T28" fmla="*/ 0 w 120"/>
                  <a:gd name="T29" fmla="*/ 15 h 120"/>
                  <a:gd name="T30" fmla="*/ 0 w 120"/>
                  <a:gd name="T31" fmla="*/ 105 h 120"/>
                  <a:gd name="T32" fmla="*/ 0 w 120"/>
                  <a:gd name="T33" fmla="*/ 108 h 120"/>
                  <a:gd name="T34" fmla="*/ 1 w 120"/>
                  <a:gd name="T35" fmla="*/ 110 h 120"/>
                  <a:gd name="T36" fmla="*/ 2 w 120"/>
                  <a:gd name="T37" fmla="*/ 114 h 120"/>
                  <a:gd name="T38" fmla="*/ 5 w 120"/>
                  <a:gd name="T39" fmla="*/ 116 h 120"/>
                  <a:gd name="T40" fmla="*/ 7 w 120"/>
                  <a:gd name="T41" fmla="*/ 118 h 120"/>
                  <a:gd name="T42" fmla="*/ 9 w 120"/>
                  <a:gd name="T43" fmla="*/ 119 h 120"/>
                  <a:gd name="T44" fmla="*/ 12 w 120"/>
                  <a:gd name="T45" fmla="*/ 120 h 120"/>
                  <a:gd name="T46" fmla="*/ 15 w 120"/>
                  <a:gd name="T47" fmla="*/ 120 h 120"/>
                  <a:gd name="T48" fmla="*/ 105 w 120"/>
                  <a:gd name="T49" fmla="*/ 120 h 120"/>
                  <a:gd name="T50" fmla="*/ 109 w 120"/>
                  <a:gd name="T51" fmla="*/ 120 h 120"/>
                  <a:gd name="T52" fmla="*/ 111 w 120"/>
                  <a:gd name="T53" fmla="*/ 119 h 120"/>
                  <a:gd name="T54" fmla="*/ 114 w 120"/>
                  <a:gd name="T55" fmla="*/ 118 h 120"/>
                  <a:gd name="T56" fmla="*/ 116 w 120"/>
                  <a:gd name="T57" fmla="*/ 116 h 120"/>
                  <a:gd name="T58" fmla="*/ 117 w 120"/>
                  <a:gd name="T59" fmla="*/ 114 h 120"/>
                  <a:gd name="T60" fmla="*/ 119 w 120"/>
                  <a:gd name="T61" fmla="*/ 110 h 120"/>
                  <a:gd name="T62" fmla="*/ 120 w 120"/>
                  <a:gd name="T63" fmla="*/ 108 h 120"/>
                  <a:gd name="T64" fmla="*/ 120 w 120"/>
                  <a:gd name="T65" fmla="*/ 105 h 120"/>
                  <a:gd name="T66" fmla="*/ 120 w 120"/>
                  <a:gd name="T67" fmla="*/ 15 h 120"/>
                  <a:gd name="T68" fmla="*/ 120 w 120"/>
                  <a:gd name="T69" fmla="*/ 12 h 120"/>
                  <a:gd name="T70" fmla="*/ 119 w 120"/>
                  <a:gd name="T71" fmla="*/ 8 h 120"/>
                  <a:gd name="T72" fmla="*/ 117 w 120"/>
                  <a:gd name="T73" fmla="*/ 6 h 120"/>
                  <a:gd name="T74" fmla="*/ 116 w 120"/>
                  <a:gd name="T75" fmla="*/ 4 h 120"/>
                  <a:gd name="T76" fmla="*/ 114 w 120"/>
                  <a:gd name="T77" fmla="*/ 2 h 120"/>
                  <a:gd name="T78" fmla="*/ 111 w 120"/>
                  <a:gd name="T79" fmla="*/ 1 h 120"/>
                  <a:gd name="T80" fmla="*/ 109 w 120"/>
                  <a:gd name="T81" fmla="*/ 0 h 120"/>
                  <a:gd name="T82" fmla="*/ 105 w 120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0">
                    <a:moveTo>
                      <a:pt x="9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0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7" y="2"/>
                    </a:lnTo>
                    <a:lnTo>
                      <a:pt x="5" y="4"/>
                    </a:lnTo>
                    <a:lnTo>
                      <a:pt x="2" y="6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8"/>
                    </a:lnTo>
                    <a:lnTo>
                      <a:pt x="1" y="110"/>
                    </a:lnTo>
                    <a:lnTo>
                      <a:pt x="2" y="114"/>
                    </a:lnTo>
                    <a:lnTo>
                      <a:pt x="5" y="116"/>
                    </a:lnTo>
                    <a:lnTo>
                      <a:pt x="7" y="118"/>
                    </a:lnTo>
                    <a:lnTo>
                      <a:pt x="9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05" y="120"/>
                    </a:lnTo>
                    <a:lnTo>
                      <a:pt x="109" y="120"/>
                    </a:lnTo>
                    <a:lnTo>
                      <a:pt x="111" y="119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7" y="114"/>
                    </a:lnTo>
                    <a:lnTo>
                      <a:pt x="119" y="110"/>
                    </a:lnTo>
                    <a:lnTo>
                      <a:pt x="120" y="108"/>
                    </a:lnTo>
                    <a:lnTo>
                      <a:pt x="120" y="105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8"/>
                    </a:lnTo>
                    <a:lnTo>
                      <a:pt x="117" y="6"/>
                    </a:lnTo>
                    <a:lnTo>
                      <a:pt x="116" y="4"/>
                    </a:lnTo>
                    <a:lnTo>
                      <a:pt x="114" y="2"/>
                    </a:lnTo>
                    <a:lnTo>
                      <a:pt x="111" y="1"/>
                    </a:lnTo>
                    <a:lnTo>
                      <a:pt x="109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305">
                <a:extLst>
                  <a:ext uri="{FF2B5EF4-FFF2-40B4-BE49-F238E27FC236}">
                    <a16:creationId xmlns:a16="http://schemas.microsoft.com/office/drawing/2014/main" id="{51233D8E-C8BC-493B-B1A7-F944720237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58388" y="1516063"/>
                <a:ext cx="38100" cy="38100"/>
              </a:xfrm>
              <a:custGeom>
                <a:avLst/>
                <a:gdLst>
                  <a:gd name="T0" fmla="*/ 90 w 120"/>
                  <a:gd name="T1" fmla="*/ 90 h 120"/>
                  <a:gd name="T2" fmla="*/ 30 w 120"/>
                  <a:gd name="T3" fmla="*/ 90 h 120"/>
                  <a:gd name="T4" fmla="*/ 30 w 120"/>
                  <a:gd name="T5" fmla="*/ 30 h 120"/>
                  <a:gd name="T6" fmla="*/ 90 w 120"/>
                  <a:gd name="T7" fmla="*/ 30 h 120"/>
                  <a:gd name="T8" fmla="*/ 90 w 120"/>
                  <a:gd name="T9" fmla="*/ 90 h 120"/>
                  <a:gd name="T10" fmla="*/ 105 w 120"/>
                  <a:gd name="T11" fmla="*/ 0 h 120"/>
                  <a:gd name="T12" fmla="*/ 15 w 120"/>
                  <a:gd name="T13" fmla="*/ 0 h 120"/>
                  <a:gd name="T14" fmla="*/ 12 w 120"/>
                  <a:gd name="T15" fmla="*/ 0 h 120"/>
                  <a:gd name="T16" fmla="*/ 8 w 120"/>
                  <a:gd name="T17" fmla="*/ 1 h 120"/>
                  <a:gd name="T18" fmla="*/ 6 w 120"/>
                  <a:gd name="T19" fmla="*/ 2 h 120"/>
                  <a:gd name="T20" fmla="*/ 4 w 120"/>
                  <a:gd name="T21" fmla="*/ 4 h 120"/>
                  <a:gd name="T22" fmla="*/ 2 w 120"/>
                  <a:gd name="T23" fmla="*/ 6 h 120"/>
                  <a:gd name="T24" fmla="*/ 1 w 120"/>
                  <a:gd name="T25" fmla="*/ 8 h 120"/>
                  <a:gd name="T26" fmla="*/ 0 w 120"/>
                  <a:gd name="T27" fmla="*/ 12 h 120"/>
                  <a:gd name="T28" fmla="*/ 0 w 120"/>
                  <a:gd name="T29" fmla="*/ 15 h 120"/>
                  <a:gd name="T30" fmla="*/ 0 w 120"/>
                  <a:gd name="T31" fmla="*/ 105 h 120"/>
                  <a:gd name="T32" fmla="*/ 0 w 120"/>
                  <a:gd name="T33" fmla="*/ 108 h 120"/>
                  <a:gd name="T34" fmla="*/ 1 w 120"/>
                  <a:gd name="T35" fmla="*/ 110 h 120"/>
                  <a:gd name="T36" fmla="*/ 2 w 120"/>
                  <a:gd name="T37" fmla="*/ 114 h 120"/>
                  <a:gd name="T38" fmla="*/ 4 w 120"/>
                  <a:gd name="T39" fmla="*/ 116 h 120"/>
                  <a:gd name="T40" fmla="*/ 6 w 120"/>
                  <a:gd name="T41" fmla="*/ 118 h 120"/>
                  <a:gd name="T42" fmla="*/ 8 w 120"/>
                  <a:gd name="T43" fmla="*/ 119 h 120"/>
                  <a:gd name="T44" fmla="*/ 12 w 120"/>
                  <a:gd name="T45" fmla="*/ 120 h 120"/>
                  <a:gd name="T46" fmla="*/ 15 w 120"/>
                  <a:gd name="T47" fmla="*/ 120 h 120"/>
                  <a:gd name="T48" fmla="*/ 105 w 120"/>
                  <a:gd name="T49" fmla="*/ 120 h 120"/>
                  <a:gd name="T50" fmla="*/ 108 w 120"/>
                  <a:gd name="T51" fmla="*/ 120 h 120"/>
                  <a:gd name="T52" fmla="*/ 110 w 120"/>
                  <a:gd name="T53" fmla="*/ 119 h 120"/>
                  <a:gd name="T54" fmla="*/ 114 w 120"/>
                  <a:gd name="T55" fmla="*/ 118 h 120"/>
                  <a:gd name="T56" fmla="*/ 116 w 120"/>
                  <a:gd name="T57" fmla="*/ 116 h 120"/>
                  <a:gd name="T58" fmla="*/ 118 w 120"/>
                  <a:gd name="T59" fmla="*/ 114 h 120"/>
                  <a:gd name="T60" fmla="*/ 119 w 120"/>
                  <a:gd name="T61" fmla="*/ 110 h 120"/>
                  <a:gd name="T62" fmla="*/ 120 w 120"/>
                  <a:gd name="T63" fmla="*/ 108 h 120"/>
                  <a:gd name="T64" fmla="*/ 120 w 120"/>
                  <a:gd name="T65" fmla="*/ 105 h 120"/>
                  <a:gd name="T66" fmla="*/ 120 w 120"/>
                  <a:gd name="T67" fmla="*/ 15 h 120"/>
                  <a:gd name="T68" fmla="*/ 120 w 120"/>
                  <a:gd name="T69" fmla="*/ 12 h 120"/>
                  <a:gd name="T70" fmla="*/ 119 w 120"/>
                  <a:gd name="T71" fmla="*/ 8 h 120"/>
                  <a:gd name="T72" fmla="*/ 118 w 120"/>
                  <a:gd name="T73" fmla="*/ 6 h 120"/>
                  <a:gd name="T74" fmla="*/ 116 w 120"/>
                  <a:gd name="T75" fmla="*/ 4 h 120"/>
                  <a:gd name="T76" fmla="*/ 114 w 120"/>
                  <a:gd name="T77" fmla="*/ 2 h 120"/>
                  <a:gd name="T78" fmla="*/ 110 w 120"/>
                  <a:gd name="T79" fmla="*/ 1 h 120"/>
                  <a:gd name="T80" fmla="*/ 108 w 120"/>
                  <a:gd name="T81" fmla="*/ 0 h 120"/>
                  <a:gd name="T82" fmla="*/ 105 w 120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0">
                    <a:moveTo>
                      <a:pt x="9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0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8"/>
                    </a:lnTo>
                    <a:lnTo>
                      <a:pt x="1" y="110"/>
                    </a:lnTo>
                    <a:lnTo>
                      <a:pt x="2" y="114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8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05" y="120"/>
                    </a:lnTo>
                    <a:lnTo>
                      <a:pt x="108" y="120"/>
                    </a:lnTo>
                    <a:lnTo>
                      <a:pt x="110" y="119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8" y="114"/>
                    </a:lnTo>
                    <a:lnTo>
                      <a:pt x="119" y="110"/>
                    </a:lnTo>
                    <a:lnTo>
                      <a:pt x="120" y="108"/>
                    </a:lnTo>
                    <a:lnTo>
                      <a:pt x="120" y="105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8"/>
                    </a:lnTo>
                    <a:lnTo>
                      <a:pt x="118" y="6"/>
                    </a:lnTo>
                    <a:lnTo>
                      <a:pt x="116" y="4"/>
                    </a:lnTo>
                    <a:lnTo>
                      <a:pt x="114" y="2"/>
                    </a:lnTo>
                    <a:lnTo>
                      <a:pt x="110" y="1"/>
                    </a:lnTo>
                    <a:lnTo>
                      <a:pt x="108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306">
                <a:extLst>
                  <a:ext uri="{FF2B5EF4-FFF2-40B4-BE49-F238E27FC236}">
                    <a16:creationId xmlns:a16="http://schemas.microsoft.com/office/drawing/2014/main" id="{BA6D123C-467E-4846-93CB-A20068CB73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72688" y="1468438"/>
                <a:ext cx="38100" cy="38100"/>
              </a:xfrm>
              <a:custGeom>
                <a:avLst/>
                <a:gdLst>
                  <a:gd name="T0" fmla="*/ 90 w 120"/>
                  <a:gd name="T1" fmla="*/ 91 h 121"/>
                  <a:gd name="T2" fmla="*/ 30 w 120"/>
                  <a:gd name="T3" fmla="*/ 91 h 121"/>
                  <a:gd name="T4" fmla="*/ 30 w 120"/>
                  <a:gd name="T5" fmla="*/ 30 h 121"/>
                  <a:gd name="T6" fmla="*/ 90 w 120"/>
                  <a:gd name="T7" fmla="*/ 30 h 121"/>
                  <a:gd name="T8" fmla="*/ 90 w 120"/>
                  <a:gd name="T9" fmla="*/ 91 h 121"/>
                  <a:gd name="T10" fmla="*/ 105 w 120"/>
                  <a:gd name="T11" fmla="*/ 0 h 121"/>
                  <a:gd name="T12" fmla="*/ 15 w 120"/>
                  <a:gd name="T13" fmla="*/ 0 h 121"/>
                  <a:gd name="T14" fmla="*/ 12 w 120"/>
                  <a:gd name="T15" fmla="*/ 1 h 121"/>
                  <a:gd name="T16" fmla="*/ 9 w 120"/>
                  <a:gd name="T17" fmla="*/ 2 h 121"/>
                  <a:gd name="T18" fmla="*/ 7 w 120"/>
                  <a:gd name="T19" fmla="*/ 3 h 121"/>
                  <a:gd name="T20" fmla="*/ 5 w 120"/>
                  <a:gd name="T21" fmla="*/ 5 h 121"/>
                  <a:gd name="T22" fmla="*/ 2 w 120"/>
                  <a:gd name="T23" fmla="*/ 7 h 121"/>
                  <a:gd name="T24" fmla="*/ 1 w 120"/>
                  <a:gd name="T25" fmla="*/ 9 h 121"/>
                  <a:gd name="T26" fmla="*/ 0 w 120"/>
                  <a:gd name="T27" fmla="*/ 12 h 121"/>
                  <a:gd name="T28" fmla="*/ 0 w 120"/>
                  <a:gd name="T29" fmla="*/ 15 h 121"/>
                  <a:gd name="T30" fmla="*/ 0 w 120"/>
                  <a:gd name="T31" fmla="*/ 106 h 121"/>
                  <a:gd name="T32" fmla="*/ 0 w 120"/>
                  <a:gd name="T33" fmla="*/ 108 h 121"/>
                  <a:gd name="T34" fmla="*/ 1 w 120"/>
                  <a:gd name="T35" fmla="*/ 111 h 121"/>
                  <a:gd name="T36" fmla="*/ 2 w 120"/>
                  <a:gd name="T37" fmla="*/ 113 h 121"/>
                  <a:gd name="T38" fmla="*/ 5 w 120"/>
                  <a:gd name="T39" fmla="*/ 116 h 121"/>
                  <a:gd name="T40" fmla="*/ 7 w 120"/>
                  <a:gd name="T41" fmla="*/ 118 h 121"/>
                  <a:gd name="T42" fmla="*/ 9 w 120"/>
                  <a:gd name="T43" fmla="*/ 120 h 121"/>
                  <a:gd name="T44" fmla="*/ 12 w 120"/>
                  <a:gd name="T45" fmla="*/ 120 h 121"/>
                  <a:gd name="T46" fmla="*/ 15 w 120"/>
                  <a:gd name="T47" fmla="*/ 121 h 121"/>
                  <a:gd name="T48" fmla="*/ 105 w 120"/>
                  <a:gd name="T49" fmla="*/ 121 h 121"/>
                  <a:gd name="T50" fmla="*/ 109 w 120"/>
                  <a:gd name="T51" fmla="*/ 120 h 121"/>
                  <a:gd name="T52" fmla="*/ 111 w 120"/>
                  <a:gd name="T53" fmla="*/ 120 h 121"/>
                  <a:gd name="T54" fmla="*/ 114 w 120"/>
                  <a:gd name="T55" fmla="*/ 118 h 121"/>
                  <a:gd name="T56" fmla="*/ 116 w 120"/>
                  <a:gd name="T57" fmla="*/ 116 h 121"/>
                  <a:gd name="T58" fmla="*/ 117 w 120"/>
                  <a:gd name="T59" fmla="*/ 113 h 121"/>
                  <a:gd name="T60" fmla="*/ 119 w 120"/>
                  <a:gd name="T61" fmla="*/ 111 h 121"/>
                  <a:gd name="T62" fmla="*/ 120 w 120"/>
                  <a:gd name="T63" fmla="*/ 108 h 121"/>
                  <a:gd name="T64" fmla="*/ 120 w 120"/>
                  <a:gd name="T65" fmla="*/ 106 h 121"/>
                  <a:gd name="T66" fmla="*/ 120 w 120"/>
                  <a:gd name="T67" fmla="*/ 15 h 121"/>
                  <a:gd name="T68" fmla="*/ 120 w 120"/>
                  <a:gd name="T69" fmla="*/ 12 h 121"/>
                  <a:gd name="T70" fmla="*/ 119 w 120"/>
                  <a:gd name="T71" fmla="*/ 9 h 121"/>
                  <a:gd name="T72" fmla="*/ 117 w 120"/>
                  <a:gd name="T73" fmla="*/ 7 h 121"/>
                  <a:gd name="T74" fmla="*/ 116 w 120"/>
                  <a:gd name="T75" fmla="*/ 5 h 121"/>
                  <a:gd name="T76" fmla="*/ 114 w 120"/>
                  <a:gd name="T77" fmla="*/ 3 h 121"/>
                  <a:gd name="T78" fmla="*/ 111 w 120"/>
                  <a:gd name="T79" fmla="*/ 2 h 121"/>
                  <a:gd name="T80" fmla="*/ 109 w 120"/>
                  <a:gd name="T81" fmla="*/ 1 h 121"/>
                  <a:gd name="T82" fmla="*/ 105 w 120"/>
                  <a:gd name="T8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1">
                    <a:moveTo>
                      <a:pt x="90" y="91"/>
                    </a:moveTo>
                    <a:lnTo>
                      <a:pt x="30" y="91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1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9" y="2"/>
                    </a:lnTo>
                    <a:lnTo>
                      <a:pt x="7" y="3"/>
                    </a:lnTo>
                    <a:lnTo>
                      <a:pt x="5" y="5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6"/>
                    </a:lnTo>
                    <a:lnTo>
                      <a:pt x="0" y="108"/>
                    </a:lnTo>
                    <a:lnTo>
                      <a:pt x="1" y="111"/>
                    </a:lnTo>
                    <a:lnTo>
                      <a:pt x="2" y="113"/>
                    </a:lnTo>
                    <a:lnTo>
                      <a:pt x="5" y="116"/>
                    </a:lnTo>
                    <a:lnTo>
                      <a:pt x="7" y="118"/>
                    </a:lnTo>
                    <a:lnTo>
                      <a:pt x="9" y="120"/>
                    </a:lnTo>
                    <a:lnTo>
                      <a:pt x="12" y="120"/>
                    </a:lnTo>
                    <a:lnTo>
                      <a:pt x="15" y="121"/>
                    </a:lnTo>
                    <a:lnTo>
                      <a:pt x="105" y="121"/>
                    </a:lnTo>
                    <a:lnTo>
                      <a:pt x="109" y="120"/>
                    </a:lnTo>
                    <a:lnTo>
                      <a:pt x="111" y="120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7" y="113"/>
                    </a:lnTo>
                    <a:lnTo>
                      <a:pt x="119" y="111"/>
                    </a:lnTo>
                    <a:lnTo>
                      <a:pt x="120" y="108"/>
                    </a:lnTo>
                    <a:lnTo>
                      <a:pt x="120" y="106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9"/>
                    </a:lnTo>
                    <a:lnTo>
                      <a:pt x="117" y="7"/>
                    </a:lnTo>
                    <a:lnTo>
                      <a:pt x="116" y="5"/>
                    </a:lnTo>
                    <a:lnTo>
                      <a:pt x="114" y="3"/>
                    </a:lnTo>
                    <a:lnTo>
                      <a:pt x="111" y="2"/>
                    </a:lnTo>
                    <a:lnTo>
                      <a:pt x="109" y="1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Freeform 307">
                <a:extLst>
                  <a:ext uri="{FF2B5EF4-FFF2-40B4-BE49-F238E27FC236}">
                    <a16:creationId xmlns:a16="http://schemas.microsoft.com/office/drawing/2014/main" id="{1DA98105-58ED-4A5B-9A07-806FA84F9F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58388" y="1468438"/>
                <a:ext cx="38100" cy="38100"/>
              </a:xfrm>
              <a:custGeom>
                <a:avLst/>
                <a:gdLst>
                  <a:gd name="T0" fmla="*/ 90 w 120"/>
                  <a:gd name="T1" fmla="*/ 91 h 121"/>
                  <a:gd name="T2" fmla="*/ 30 w 120"/>
                  <a:gd name="T3" fmla="*/ 91 h 121"/>
                  <a:gd name="T4" fmla="*/ 30 w 120"/>
                  <a:gd name="T5" fmla="*/ 30 h 121"/>
                  <a:gd name="T6" fmla="*/ 90 w 120"/>
                  <a:gd name="T7" fmla="*/ 30 h 121"/>
                  <a:gd name="T8" fmla="*/ 90 w 120"/>
                  <a:gd name="T9" fmla="*/ 91 h 121"/>
                  <a:gd name="T10" fmla="*/ 105 w 120"/>
                  <a:gd name="T11" fmla="*/ 0 h 121"/>
                  <a:gd name="T12" fmla="*/ 15 w 120"/>
                  <a:gd name="T13" fmla="*/ 0 h 121"/>
                  <a:gd name="T14" fmla="*/ 12 w 120"/>
                  <a:gd name="T15" fmla="*/ 1 h 121"/>
                  <a:gd name="T16" fmla="*/ 8 w 120"/>
                  <a:gd name="T17" fmla="*/ 2 h 121"/>
                  <a:gd name="T18" fmla="*/ 6 w 120"/>
                  <a:gd name="T19" fmla="*/ 3 h 121"/>
                  <a:gd name="T20" fmla="*/ 4 w 120"/>
                  <a:gd name="T21" fmla="*/ 5 h 121"/>
                  <a:gd name="T22" fmla="*/ 2 w 120"/>
                  <a:gd name="T23" fmla="*/ 7 h 121"/>
                  <a:gd name="T24" fmla="*/ 1 w 120"/>
                  <a:gd name="T25" fmla="*/ 9 h 121"/>
                  <a:gd name="T26" fmla="*/ 0 w 120"/>
                  <a:gd name="T27" fmla="*/ 12 h 121"/>
                  <a:gd name="T28" fmla="*/ 0 w 120"/>
                  <a:gd name="T29" fmla="*/ 15 h 121"/>
                  <a:gd name="T30" fmla="*/ 0 w 120"/>
                  <a:gd name="T31" fmla="*/ 106 h 121"/>
                  <a:gd name="T32" fmla="*/ 0 w 120"/>
                  <a:gd name="T33" fmla="*/ 108 h 121"/>
                  <a:gd name="T34" fmla="*/ 1 w 120"/>
                  <a:gd name="T35" fmla="*/ 111 h 121"/>
                  <a:gd name="T36" fmla="*/ 2 w 120"/>
                  <a:gd name="T37" fmla="*/ 113 h 121"/>
                  <a:gd name="T38" fmla="*/ 4 w 120"/>
                  <a:gd name="T39" fmla="*/ 116 h 121"/>
                  <a:gd name="T40" fmla="*/ 6 w 120"/>
                  <a:gd name="T41" fmla="*/ 118 h 121"/>
                  <a:gd name="T42" fmla="*/ 8 w 120"/>
                  <a:gd name="T43" fmla="*/ 120 h 121"/>
                  <a:gd name="T44" fmla="*/ 12 w 120"/>
                  <a:gd name="T45" fmla="*/ 120 h 121"/>
                  <a:gd name="T46" fmla="*/ 15 w 120"/>
                  <a:gd name="T47" fmla="*/ 121 h 121"/>
                  <a:gd name="T48" fmla="*/ 105 w 120"/>
                  <a:gd name="T49" fmla="*/ 121 h 121"/>
                  <a:gd name="T50" fmla="*/ 108 w 120"/>
                  <a:gd name="T51" fmla="*/ 120 h 121"/>
                  <a:gd name="T52" fmla="*/ 110 w 120"/>
                  <a:gd name="T53" fmla="*/ 120 h 121"/>
                  <a:gd name="T54" fmla="*/ 114 w 120"/>
                  <a:gd name="T55" fmla="*/ 118 h 121"/>
                  <a:gd name="T56" fmla="*/ 116 w 120"/>
                  <a:gd name="T57" fmla="*/ 116 h 121"/>
                  <a:gd name="T58" fmla="*/ 118 w 120"/>
                  <a:gd name="T59" fmla="*/ 113 h 121"/>
                  <a:gd name="T60" fmla="*/ 119 w 120"/>
                  <a:gd name="T61" fmla="*/ 111 h 121"/>
                  <a:gd name="T62" fmla="*/ 120 w 120"/>
                  <a:gd name="T63" fmla="*/ 108 h 121"/>
                  <a:gd name="T64" fmla="*/ 120 w 120"/>
                  <a:gd name="T65" fmla="*/ 106 h 121"/>
                  <a:gd name="T66" fmla="*/ 120 w 120"/>
                  <a:gd name="T67" fmla="*/ 15 h 121"/>
                  <a:gd name="T68" fmla="*/ 120 w 120"/>
                  <a:gd name="T69" fmla="*/ 12 h 121"/>
                  <a:gd name="T70" fmla="*/ 119 w 120"/>
                  <a:gd name="T71" fmla="*/ 9 h 121"/>
                  <a:gd name="T72" fmla="*/ 118 w 120"/>
                  <a:gd name="T73" fmla="*/ 7 h 121"/>
                  <a:gd name="T74" fmla="*/ 116 w 120"/>
                  <a:gd name="T75" fmla="*/ 5 h 121"/>
                  <a:gd name="T76" fmla="*/ 114 w 120"/>
                  <a:gd name="T77" fmla="*/ 3 h 121"/>
                  <a:gd name="T78" fmla="*/ 110 w 120"/>
                  <a:gd name="T79" fmla="*/ 2 h 121"/>
                  <a:gd name="T80" fmla="*/ 108 w 120"/>
                  <a:gd name="T81" fmla="*/ 1 h 121"/>
                  <a:gd name="T82" fmla="*/ 105 w 120"/>
                  <a:gd name="T8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1">
                    <a:moveTo>
                      <a:pt x="90" y="91"/>
                    </a:moveTo>
                    <a:lnTo>
                      <a:pt x="30" y="91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1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6"/>
                    </a:lnTo>
                    <a:lnTo>
                      <a:pt x="0" y="108"/>
                    </a:lnTo>
                    <a:lnTo>
                      <a:pt x="1" y="111"/>
                    </a:lnTo>
                    <a:lnTo>
                      <a:pt x="2" y="113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8" y="120"/>
                    </a:lnTo>
                    <a:lnTo>
                      <a:pt x="12" y="120"/>
                    </a:lnTo>
                    <a:lnTo>
                      <a:pt x="15" y="121"/>
                    </a:lnTo>
                    <a:lnTo>
                      <a:pt x="105" y="121"/>
                    </a:lnTo>
                    <a:lnTo>
                      <a:pt x="108" y="120"/>
                    </a:lnTo>
                    <a:lnTo>
                      <a:pt x="110" y="120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8" y="113"/>
                    </a:lnTo>
                    <a:lnTo>
                      <a:pt x="119" y="111"/>
                    </a:lnTo>
                    <a:lnTo>
                      <a:pt x="120" y="108"/>
                    </a:lnTo>
                    <a:lnTo>
                      <a:pt x="120" y="106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9"/>
                    </a:lnTo>
                    <a:lnTo>
                      <a:pt x="118" y="7"/>
                    </a:lnTo>
                    <a:lnTo>
                      <a:pt x="116" y="5"/>
                    </a:lnTo>
                    <a:lnTo>
                      <a:pt x="114" y="3"/>
                    </a:lnTo>
                    <a:lnTo>
                      <a:pt x="110" y="2"/>
                    </a:lnTo>
                    <a:lnTo>
                      <a:pt x="108" y="1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Freeform 308">
                <a:extLst>
                  <a:ext uri="{FF2B5EF4-FFF2-40B4-BE49-F238E27FC236}">
                    <a16:creationId xmlns:a16="http://schemas.microsoft.com/office/drawing/2014/main" id="{F5970FC9-0A12-4743-8149-04E370B110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72688" y="1420813"/>
                <a:ext cx="38100" cy="38100"/>
              </a:xfrm>
              <a:custGeom>
                <a:avLst/>
                <a:gdLst>
                  <a:gd name="T0" fmla="*/ 90 w 120"/>
                  <a:gd name="T1" fmla="*/ 90 h 120"/>
                  <a:gd name="T2" fmla="*/ 30 w 120"/>
                  <a:gd name="T3" fmla="*/ 90 h 120"/>
                  <a:gd name="T4" fmla="*/ 30 w 120"/>
                  <a:gd name="T5" fmla="*/ 30 h 120"/>
                  <a:gd name="T6" fmla="*/ 90 w 120"/>
                  <a:gd name="T7" fmla="*/ 30 h 120"/>
                  <a:gd name="T8" fmla="*/ 90 w 120"/>
                  <a:gd name="T9" fmla="*/ 90 h 120"/>
                  <a:gd name="T10" fmla="*/ 105 w 120"/>
                  <a:gd name="T11" fmla="*/ 0 h 120"/>
                  <a:gd name="T12" fmla="*/ 15 w 120"/>
                  <a:gd name="T13" fmla="*/ 0 h 120"/>
                  <a:gd name="T14" fmla="*/ 12 w 120"/>
                  <a:gd name="T15" fmla="*/ 0 h 120"/>
                  <a:gd name="T16" fmla="*/ 9 w 120"/>
                  <a:gd name="T17" fmla="*/ 1 h 120"/>
                  <a:gd name="T18" fmla="*/ 7 w 120"/>
                  <a:gd name="T19" fmla="*/ 2 h 120"/>
                  <a:gd name="T20" fmla="*/ 5 w 120"/>
                  <a:gd name="T21" fmla="*/ 5 h 120"/>
                  <a:gd name="T22" fmla="*/ 2 w 120"/>
                  <a:gd name="T23" fmla="*/ 7 h 120"/>
                  <a:gd name="T24" fmla="*/ 1 w 120"/>
                  <a:gd name="T25" fmla="*/ 10 h 120"/>
                  <a:gd name="T26" fmla="*/ 0 w 120"/>
                  <a:gd name="T27" fmla="*/ 12 h 120"/>
                  <a:gd name="T28" fmla="*/ 0 w 120"/>
                  <a:gd name="T29" fmla="*/ 15 h 120"/>
                  <a:gd name="T30" fmla="*/ 0 w 120"/>
                  <a:gd name="T31" fmla="*/ 105 h 120"/>
                  <a:gd name="T32" fmla="*/ 0 w 120"/>
                  <a:gd name="T33" fmla="*/ 109 h 120"/>
                  <a:gd name="T34" fmla="*/ 1 w 120"/>
                  <a:gd name="T35" fmla="*/ 112 h 120"/>
                  <a:gd name="T36" fmla="*/ 2 w 120"/>
                  <a:gd name="T37" fmla="*/ 114 h 120"/>
                  <a:gd name="T38" fmla="*/ 5 w 120"/>
                  <a:gd name="T39" fmla="*/ 116 h 120"/>
                  <a:gd name="T40" fmla="*/ 7 w 120"/>
                  <a:gd name="T41" fmla="*/ 118 h 120"/>
                  <a:gd name="T42" fmla="*/ 9 w 120"/>
                  <a:gd name="T43" fmla="*/ 119 h 120"/>
                  <a:gd name="T44" fmla="*/ 12 w 120"/>
                  <a:gd name="T45" fmla="*/ 120 h 120"/>
                  <a:gd name="T46" fmla="*/ 15 w 120"/>
                  <a:gd name="T47" fmla="*/ 120 h 120"/>
                  <a:gd name="T48" fmla="*/ 105 w 120"/>
                  <a:gd name="T49" fmla="*/ 120 h 120"/>
                  <a:gd name="T50" fmla="*/ 109 w 120"/>
                  <a:gd name="T51" fmla="*/ 120 h 120"/>
                  <a:gd name="T52" fmla="*/ 111 w 120"/>
                  <a:gd name="T53" fmla="*/ 119 h 120"/>
                  <a:gd name="T54" fmla="*/ 114 w 120"/>
                  <a:gd name="T55" fmla="*/ 118 h 120"/>
                  <a:gd name="T56" fmla="*/ 116 w 120"/>
                  <a:gd name="T57" fmla="*/ 116 h 120"/>
                  <a:gd name="T58" fmla="*/ 117 w 120"/>
                  <a:gd name="T59" fmla="*/ 114 h 120"/>
                  <a:gd name="T60" fmla="*/ 119 w 120"/>
                  <a:gd name="T61" fmla="*/ 112 h 120"/>
                  <a:gd name="T62" fmla="*/ 120 w 120"/>
                  <a:gd name="T63" fmla="*/ 109 h 120"/>
                  <a:gd name="T64" fmla="*/ 120 w 120"/>
                  <a:gd name="T65" fmla="*/ 105 h 120"/>
                  <a:gd name="T66" fmla="*/ 120 w 120"/>
                  <a:gd name="T67" fmla="*/ 15 h 120"/>
                  <a:gd name="T68" fmla="*/ 120 w 120"/>
                  <a:gd name="T69" fmla="*/ 12 h 120"/>
                  <a:gd name="T70" fmla="*/ 119 w 120"/>
                  <a:gd name="T71" fmla="*/ 10 h 120"/>
                  <a:gd name="T72" fmla="*/ 117 w 120"/>
                  <a:gd name="T73" fmla="*/ 7 h 120"/>
                  <a:gd name="T74" fmla="*/ 116 w 120"/>
                  <a:gd name="T75" fmla="*/ 5 h 120"/>
                  <a:gd name="T76" fmla="*/ 114 w 120"/>
                  <a:gd name="T77" fmla="*/ 2 h 120"/>
                  <a:gd name="T78" fmla="*/ 111 w 120"/>
                  <a:gd name="T79" fmla="*/ 1 h 120"/>
                  <a:gd name="T80" fmla="*/ 109 w 120"/>
                  <a:gd name="T81" fmla="*/ 0 h 120"/>
                  <a:gd name="T82" fmla="*/ 105 w 120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0">
                    <a:moveTo>
                      <a:pt x="9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0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7" y="2"/>
                    </a:lnTo>
                    <a:lnTo>
                      <a:pt x="5" y="5"/>
                    </a:lnTo>
                    <a:lnTo>
                      <a:pt x="2" y="7"/>
                    </a:lnTo>
                    <a:lnTo>
                      <a:pt x="1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9"/>
                    </a:lnTo>
                    <a:lnTo>
                      <a:pt x="1" y="112"/>
                    </a:lnTo>
                    <a:lnTo>
                      <a:pt x="2" y="114"/>
                    </a:lnTo>
                    <a:lnTo>
                      <a:pt x="5" y="116"/>
                    </a:lnTo>
                    <a:lnTo>
                      <a:pt x="7" y="118"/>
                    </a:lnTo>
                    <a:lnTo>
                      <a:pt x="9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05" y="120"/>
                    </a:lnTo>
                    <a:lnTo>
                      <a:pt x="109" y="120"/>
                    </a:lnTo>
                    <a:lnTo>
                      <a:pt x="111" y="119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7" y="114"/>
                    </a:lnTo>
                    <a:lnTo>
                      <a:pt x="119" y="112"/>
                    </a:lnTo>
                    <a:lnTo>
                      <a:pt x="120" y="109"/>
                    </a:lnTo>
                    <a:lnTo>
                      <a:pt x="120" y="105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10"/>
                    </a:lnTo>
                    <a:lnTo>
                      <a:pt x="117" y="7"/>
                    </a:lnTo>
                    <a:lnTo>
                      <a:pt x="116" y="5"/>
                    </a:lnTo>
                    <a:lnTo>
                      <a:pt x="114" y="2"/>
                    </a:lnTo>
                    <a:lnTo>
                      <a:pt x="111" y="1"/>
                    </a:lnTo>
                    <a:lnTo>
                      <a:pt x="109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8" name="Freeform 309">
                <a:extLst>
                  <a:ext uri="{FF2B5EF4-FFF2-40B4-BE49-F238E27FC236}">
                    <a16:creationId xmlns:a16="http://schemas.microsoft.com/office/drawing/2014/main" id="{1C81BF23-A228-49E3-BAC6-01A28CAE14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58388" y="1420813"/>
                <a:ext cx="38100" cy="38100"/>
              </a:xfrm>
              <a:custGeom>
                <a:avLst/>
                <a:gdLst>
                  <a:gd name="T0" fmla="*/ 90 w 120"/>
                  <a:gd name="T1" fmla="*/ 90 h 120"/>
                  <a:gd name="T2" fmla="*/ 30 w 120"/>
                  <a:gd name="T3" fmla="*/ 90 h 120"/>
                  <a:gd name="T4" fmla="*/ 30 w 120"/>
                  <a:gd name="T5" fmla="*/ 30 h 120"/>
                  <a:gd name="T6" fmla="*/ 90 w 120"/>
                  <a:gd name="T7" fmla="*/ 30 h 120"/>
                  <a:gd name="T8" fmla="*/ 90 w 120"/>
                  <a:gd name="T9" fmla="*/ 90 h 120"/>
                  <a:gd name="T10" fmla="*/ 105 w 120"/>
                  <a:gd name="T11" fmla="*/ 0 h 120"/>
                  <a:gd name="T12" fmla="*/ 15 w 120"/>
                  <a:gd name="T13" fmla="*/ 0 h 120"/>
                  <a:gd name="T14" fmla="*/ 12 w 120"/>
                  <a:gd name="T15" fmla="*/ 0 h 120"/>
                  <a:gd name="T16" fmla="*/ 8 w 120"/>
                  <a:gd name="T17" fmla="*/ 1 h 120"/>
                  <a:gd name="T18" fmla="*/ 6 w 120"/>
                  <a:gd name="T19" fmla="*/ 2 h 120"/>
                  <a:gd name="T20" fmla="*/ 4 w 120"/>
                  <a:gd name="T21" fmla="*/ 5 h 120"/>
                  <a:gd name="T22" fmla="*/ 2 w 120"/>
                  <a:gd name="T23" fmla="*/ 7 h 120"/>
                  <a:gd name="T24" fmla="*/ 1 w 120"/>
                  <a:gd name="T25" fmla="*/ 10 h 120"/>
                  <a:gd name="T26" fmla="*/ 0 w 120"/>
                  <a:gd name="T27" fmla="*/ 12 h 120"/>
                  <a:gd name="T28" fmla="*/ 0 w 120"/>
                  <a:gd name="T29" fmla="*/ 15 h 120"/>
                  <a:gd name="T30" fmla="*/ 0 w 120"/>
                  <a:gd name="T31" fmla="*/ 105 h 120"/>
                  <a:gd name="T32" fmla="*/ 0 w 120"/>
                  <a:gd name="T33" fmla="*/ 109 h 120"/>
                  <a:gd name="T34" fmla="*/ 1 w 120"/>
                  <a:gd name="T35" fmla="*/ 112 h 120"/>
                  <a:gd name="T36" fmla="*/ 2 w 120"/>
                  <a:gd name="T37" fmla="*/ 114 h 120"/>
                  <a:gd name="T38" fmla="*/ 4 w 120"/>
                  <a:gd name="T39" fmla="*/ 116 h 120"/>
                  <a:gd name="T40" fmla="*/ 6 w 120"/>
                  <a:gd name="T41" fmla="*/ 118 h 120"/>
                  <a:gd name="T42" fmla="*/ 8 w 120"/>
                  <a:gd name="T43" fmla="*/ 119 h 120"/>
                  <a:gd name="T44" fmla="*/ 12 w 120"/>
                  <a:gd name="T45" fmla="*/ 120 h 120"/>
                  <a:gd name="T46" fmla="*/ 15 w 120"/>
                  <a:gd name="T47" fmla="*/ 120 h 120"/>
                  <a:gd name="T48" fmla="*/ 105 w 120"/>
                  <a:gd name="T49" fmla="*/ 120 h 120"/>
                  <a:gd name="T50" fmla="*/ 108 w 120"/>
                  <a:gd name="T51" fmla="*/ 120 h 120"/>
                  <a:gd name="T52" fmla="*/ 110 w 120"/>
                  <a:gd name="T53" fmla="*/ 119 h 120"/>
                  <a:gd name="T54" fmla="*/ 114 w 120"/>
                  <a:gd name="T55" fmla="*/ 118 h 120"/>
                  <a:gd name="T56" fmla="*/ 116 w 120"/>
                  <a:gd name="T57" fmla="*/ 116 h 120"/>
                  <a:gd name="T58" fmla="*/ 118 w 120"/>
                  <a:gd name="T59" fmla="*/ 114 h 120"/>
                  <a:gd name="T60" fmla="*/ 119 w 120"/>
                  <a:gd name="T61" fmla="*/ 112 h 120"/>
                  <a:gd name="T62" fmla="*/ 120 w 120"/>
                  <a:gd name="T63" fmla="*/ 109 h 120"/>
                  <a:gd name="T64" fmla="*/ 120 w 120"/>
                  <a:gd name="T65" fmla="*/ 105 h 120"/>
                  <a:gd name="T66" fmla="*/ 120 w 120"/>
                  <a:gd name="T67" fmla="*/ 15 h 120"/>
                  <a:gd name="T68" fmla="*/ 120 w 120"/>
                  <a:gd name="T69" fmla="*/ 12 h 120"/>
                  <a:gd name="T70" fmla="*/ 119 w 120"/>
                  <a:gd name="T71" fmla="*/ 10 h 120"/>
                  <a:gd name="T72" fmla="*/ 118 w 120"/>
                  <a:gd name="T73" fmla="*/ 7 h 120"/>
                  <a:gd name="T74" fmla="*/ 116 w 120"/>
                  <a:gd name="T75" fmla="*/ 5 h 120"/>
                  <a:gd name="T76" fmla="*/ 114 w 120"/>
                  <a:gd name="T77" fmla="*/ 2 h 120"/>
                  <a:gd name="T78" fmla="*/ 110 w 120"/>
                  <a:gd name="T79" fmla="*/ 1 h 120"/>
                  <a:gd name="T80" fmla="*/ 108 w 120"/>
                  <a:gd name="T81" fmla="*/ 0 h 120"/>
                  <a:gd name="T82" fmla="*/ 105 w 120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0">
                    <a:moveTo>
                      <a:pt x="9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0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9"/>
                    </a:lnTo>
                    <a:lnTo>
                      <a:pt x="1" y="112"/>
                    </a:lnTo>
                    <a:lnTo>
                      <a:pt x="2" y="114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8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05" y="120"/>
                    </a:lnTo>
                    <a:lnTo>
                      <a:pt x="108" y="120"/>
                    </a:lnTo>
                    <a:lnTo>
                      <a:pt x="110" y="119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8" y="114"/>
                    </a:lnTo>
                    <a:lnTo>
                      <a:pt x="119" y="112"/>
                    </a:lnTo>
                    <a:lnTo>
                      <a:pt x="120" y="109"/>
                    </a:lnTo>
                    <a:lnTo>
                      <a:pt x="120" y="105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10"/>
                    </a:lnTo>
                    <a:lnTo>
                      <a:pt x="118" y="7"/>
                    </a:lnTo>
                    <a:lnTo>
                      <a:pt x="116" y="5"/>
                    </a:lnTo>
                    <a:lnTo>
                      <a:pt x="114" y="2"/>
                    </a:lnTo>
                    <a:lnTo>
                      <a:pt x="110" y="1"/>
                    </a:lnTo>
                    <a:lnTo>
                      <a:pt x="108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4F0D4BA-EBFE-4024-A181-94CBD296C8AC}"/>
              </a:ext>
            </a:extLst>
          </p:cNvPr>
          <p:cNvGrpSpPr/>
          <p:nvPr/>
        </p:nvGrpSpPr>
        <p:grpSpPr>
          <a:xfrm>
            <a:off x="1027585" y="2459444"/>
            <a:ext cx="2928975" cy="474002"/>
            <a:chOff x="1226679" y="1802910"/>
            <a:chExt cx="2928975" cy="474002"/>
          </a:xfrm>
        </p:grpSpPr>
        <p:sp>
          <p:nvSpPr>
            <p:cNvPr id="379" name="TextBox 378">
              <a:extLst>
                <a:ext uri="{FF2B5EF4-FFF2-40B4-BE49-F238E27FC236}">
                  <a16:creationId xmlns:a16="http://schemas.microsoft.com/office/drawing/2014/main" id="{A53DEF68-0912-44B2-9111-28207E4313A4}"/>
                </a:ext>
              </a:extLst>
            </p:cNvPr>
            <p:cNvSpPr txBox="1"/>
            <p:nvPr/>
          </p:nvSpPr>
          <p:spPr>
            <a:xfrm>
              <a:off x="1226679" y="1802910"/>
              <a:ext cx="2928975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400" dirty="0"/>
                <a:t>Your Company Name</a:t>
              </a:r>
            </a:p>
          </p:txBody>
        </p:sp>
        <p:sp>
          <p:nvSpPr>
            <p:cNvPr id="380" name="TextBox 379">
              <a:extLst>
                <a:ext uri="{FF2B5EF4-FFF2-40B4-BE49-F238E27FC236}">
                  <a16:creationId xmlns:a16="http://schemas.microsoft.com/office/drawing/2014/main" id="{9E8474DF-2CFD-4983-96BB-C69A768697BF}"/>
                </a:ext>
              </a:extLst>
            </p:cNvPr>
            <p:cNvSpPr txBox="1"/>
            <p:nvPr/>
          </p:nvSpPr>
          <p:spPr>
            <a:xfrm>
              <a:off x="1226679" y="2061468"/>
              <a:ext cx="2928975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400" b="1" dirty="0"/>
                <a:t>Washington DC, United States</a:t>
              </a:r>
            </a:p>
          </p:txBody>
        </p:sp>
      </p:grpSp>
      <p:sp>
        <p:nvSpPr>
          <p:cNvPr id="381" name="TextBox 380">
            <a:extLst>
              <a:ext uri="{FF2B5EF4-FFF2-40B4-BE49-F238E27FC236}">
                <a16:creationId xmlns:a16="http://schemas.microsoft.com/office/drawing/2014/main" id="{38EEF3F5-DC99-4383-B39D-EB30EF475835}"/>
              </a:ext>
            </a:extLst>
          </p:cNvPr>
          <p:cNvSpPr txBox="1"/>
          <p:nvPr/>
        </p:nvSpPr>
        <p:spPr>
          <a:xfrm>
            <a:off x="457200" y="3876178"/>
            <a:ext cx="177165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dirty="0"/>
              <a:t>72%</a:t>
            </a:r>
          </a:p>
        </p:txBody>
      </p:sp>
      <p:sp>
        <p:nvSpPr>
          <p:cNvPr id="382" name="TextBox 381">
            <a:extLst>
              <a:ext uri="{FF2B5EF4-FFF2-40B4-BE49-F238E27FC236}">
                <a16:creationId xmlns:a16="http://schemas.microsoft.com/office/drawing/2014/main" id="{DCEAAE72-4547-4F33-A755-F988A5E7AAB7}"/>
              </a:ext>
            </a:extLst>
          </p:cNvPr>
          <p:cNvSpPr txBox="1"/>
          <p:nvPr/>
        </p:nvSpPr>
        <p:spPr>
          <a:xfrm>
            <a:off x="2755295" y="3876178"/>
            <a:ext cx="177165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dirty="0"/>
              <a:t>36%</a:t>
            </a:r>
          </a:p>
        </p:txBody>
      </p:sp>
      <p:sp>
        <p:nvSpPr>
          <p:cNvPr id="383" name="TextBox 382">
            <a:extLst>
              <a:ext uri="{FF2B5EF4-FFF2-40B4-BE49-F238E27FC236}">
                <a16:creationId xmlns:a16="http://schemas.microsoft.com/office/drawing/2014/main" id="{4FC7DEEF-F382-4A9E-B8B3-B818D71809A2}"/>
              </a:ext>
            </a:extLst>
          </p:cNvPr>
          <p:cNvSpPr txBox="1"/>
          <p:nvPr/>
        </p:nvSpPr>
        <p:spPr>
          <a:xfrm>
            <a:off x="457200" y="4715261"/>
            <a:ext cx="1771650" cy="129266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384" name="TextBox 383">
            <a:extLst>
              <a:ext uri="{FF2B5EF4-FFF2-40B4-BE49-F238E27FC236}">
                <a16:creationId xmlns:a16="http://schemas.microsoft.com/office/drawing/2014/main" id="{6403AF08-DD2E-478C-A1FC-E8D7349E8592}"/>
              </a:ext>
            </a:extLst>
          </p:cNvPr>
          <p:cNvSpPr txBox="1"/>
          <p:nvPr/>
        </p:nvSpPr>
        <p:spPr>
          <a:xfrm>
            <a:off x="2755295" y="4715261"/>
            <a:ext cx="1771650" cy="129266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B37B7A3-1143-424A-BA98-FFB8B759CFDE}"/>
              </a:ext>
            </a:extLst>
          </p:cNvPr>
          <p:cNvSpPr/>
          <p:nvPr/>
        </p:nvSpPr>
        <p:spPr>
          <a:xfrm>
            <a:off x="457200" y="3161205"/>
            <a:ext cx="1771650" cy="61455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5" name="Rectangle 384">
            <a:extLst>
              <a:ext uri="{FF2B5EF4-FFF2-40B4-BE49-F238E27FC236}">
                <a16:creationId xmlns:a16="http://schemas.microsoft.com/office/drawing/2014/main" id="{8C2EF369-0325-4CA3-9F03-40B775905054}"/>
              </a:ext>
            </a:extLst>
          </p:cNvPr>
          <p:cNvSpPr/>
          <p:nvPr/>
        </p:nvSpPr>
        <p:spPr>
          <a:xfrm>
            <a:off x="2755295" y="3161205"/>
            <a:ext cx="1771650" cy="61455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86" name="Group 385">
            <a:extLst>
              <a:ext uri="{FF2B5EF4-FFF2-40B4-BE49-F238E27FC236}">
                <a16:creationId xmlns:a16="http://schemas.microsoft.com/office/drawing/2014/main" id="{CDF4BA7F-C8E5-43E5-9C6F-DCC0B30DABEE}"/>
              </a:ext>
            </a:extLst>
          </p:cNvPr>
          <p:cNvGrpSpPr/>
          <p:nvPr/>
        </p:nvGrpSpPr>
        <p:grpSpPr>
          <a:xfrm>
            <a:off x="1200150" y="3337082"/>
            <a:ext cx="285750" cy="285750"/>
            <a:chOff x="9882188" y="1354138"/>
            <a:chExt cx="285750" cy="285750"/>
          </a:xfrm>
          <a:solidFill>
            <a:schemeClr val="bg1"/>
          </a:solidFill>
        </p:grpSpPr>
        <p:sp>
          <p:nvSpPr>
            <p:cNvPr id="387" name="Freeform 186">
              <a:extLst>
                <a:ext uri="{FF2B5EF4-FFF2-40B4-BE49-F238E27FC236}">
                  <a16:creationId xmlns:a16="http://schemas.microsoft.com/office/drawing/2014/main" id="{4AE12BC2-7350-4E87-A5FB-A4DA698A4D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91713" y="1482725"/>
              <a:ext cx="133350" cy="157163"/>
            </a:xfrm>
            <a:custGeom>
              <a:avLst/>
              <a:gdLst>
                <a:gd name="T0" fmla="*/ 89 w 421"/>
                <a:gd name="T1" fmla="*/ 454 h 496"/>
                <a:gd name="T2" fmla="*/ 30 w 421"/>
                <a:gd name="T3" fmla="*/ 392 h 496"/>
                <a:gd name="T4" fmla="*/ 145 w 421"/>
                <a:gd name="T5" fmla="*/ 416 h 496"/>
                <a:gd name="T6" fmla="*/ 253 w 421"/>
                <a:gd name="T7" fmla="*/ 418 h 496"/>
                <a:gd name="T8" fmla="*/ 373 w 421"/>
                <a:gd name="T9" fmla="*/ 399 h 496"/>
                <a:gd name="T10" fmla="*/ 355 w 421"/>
                <a:gd name="T11" fmla="*/ 448 h 496"/>
                <a:gd name="T12" fmla="*/ 211 w 421"/>
                <a:gd name="T13" fmla="*/ 466 h 496"/>
                <a:gd name="T14" fmla="*/ 302 w 421"/>
                <a:gd name="T15" fmla="*/ 36 h 496"/>
                <a:gd name="T16" fmla="*/ 389 w 421"/>
                <a:gd name="T17" fmla="*/ 60 h 496"/>
                <a:gd name="T18" fmla="*/ 302 w 421"/>
                <a:gd name="T19" fmla="*/ 83 h 496"/>
                <a:gd name="T20" fmla="*/ 148 w 421"/>
                <a:gd name="T21" fmla="*/ 86 h 496"/>
                <a:gd name="T22" fmla="*/ 43 w 421"/>
                <a:gd name="T23" fmla="*/ 64 h 496"/>
                <a:gd name="T24" fmla="*/ 95 w 421"/>
                <a:gd name="T25" fmla="*/ 39 h 496"/>
                <a:gd name="T26" fmla="*/ 391 w 421"/>
                <a:gd name="T27" fmla="*/ 132 h 496"/>
                <a:gd name="T28" fmla="*/ 306 w 421"/>
                <a:gd name="T29" fmla="*/ 157 h 496"/>
                <a:gd name="T30" fmla="*/ 145 w 421"/>
                <a:gd name="T31" fmla="*/ 161 h 496"/>
                <a:gd name="T32" fmla="*/ 37 w 421"/>
                <a:gd name="T33" fmla="*/ 137 h 496"/>
                <a:gd name="T34" fmla="*/ 94 w 421"/>
                <a:gd name="T35" fmla="*/ 109 h 496"/>
                <a:gd name="T36" fmla="*/ 211 w 421"/>
                <a:gd name="T37" fmla="*/ 120 h 496"/>
                <a:gd name="T38" fmla="*/ 327 w 421"/>
                <a:gd name="T39" fmla="*/ 109 h 496"/>
                <a:gd name="T40" fmla="*/ 391 w 421"/>
                <a:gd name="T41" fmla="*/ 207 h 496"/>
                <a:gd name="T42" fmla="*/ 306 w 421"/>
                <a:gd name="T43" fmla="*/ 233 h 496"/>
                <a:gd name="T44" fmla="*/ 145 w 421"/>
                <a:gd name="T45" fmla="*/ 236 h 496"/>
                <a:gd name="T46" fmla="*/ 37 w 421"/>
                <a:gd name="T47" fmla="*/ 212 h 496"/>
                <a:gd name="T48" fmla="*/ 94 w 421"/>
                <a:gd name="T49" fmla="*/ 184 h 496"/>
                <a:gd name="T50" fmla="*/ 211 w 421"/>
                <a:gd name="T51" fmla="*/ 195 h 496"/>
                <a:gd name="T52" fmla="*/ 327 w 421"/>
                <a:gd name="T53" fmla="*/ 184 h 496"/>
                <a:gd name="T54" fmla="*/ 391 w 421"/>
                <a:gd name="T55" fmla="*/ 282 h 496"/>
                <a:gd name="T56" fmla="*/ 306 w 421"/>
                <a:gd name="T57" fmla="*/ 308 h 496"/>
                <a:gd name="T58" fmla="*/ 145 w 421"/>
                <a:gd name="T59" fmla="*/ 311 h 496"/>
                <a:gd name="T60" fmla="*/ 37 w 421"/>
                <a:gd name="T61" fmla="*/ 288 h 496"/>
                <a:gd name="T62" fmla="*/ 94 w 421"/>
                <a:gd name="T63" fmla="*/ 260 h 496"/>
                <a:gd name="T64" fmla="*/ 211 w 421"/>
                <a:gd name="T65" fmla="*/ 270 h 496"/>
                <a:gd name="T66" fmla="*/ 327 w 421"/>
                <a:gd name="T67" fmla="*/ 260 h 496"/>
                <a:gd name="T68" fmla="*/ 391 w 421"/>
                <a:gd name="T69" fmla="*/ 357 h 496"/>
                <a:gd name="T70" fmla="*/ 306 w 421"/>
                <a:gd name="T71" fmla="*/ 383 h 496"/>
                <a:gd name="T72" fmla="*/ 145 w 421"/>
                <a:gd name="T73" fmla="*/ 386 h 496"/>
                <a:gd name="T74" fmla="*/ 37 w 421"/>
                <a:gd name="T75" fmla="*/ 363 h 496"/>
                <a:gd name="T76" fmla="*/ 94 w 421"/>
                <a:gd name="T77" fmla="*/ 335 h 496"/>
                <a:gd name="T78" fmla="*/ 211 w 421"/>
                <a:gd name="T79" fmla="*/ 344 h 496"/>
                <a:gd name="T80" fmla="*/ 327 w 421"/>
                <a:gd name="T81" fmla="*/ 335 h 496"/>
                <a:gd name="T82" fmla="*/ 211 w 421"/>
                <a:gd name="T83" fmla="*/ 0 h 496"/>
                <a:gd name="T84" fmla="*/ 64 w 421"/>
                <a:gd name="T85" fmla="*/ 16 h 496"/>
                <a:gd name="T86" fmla="*/ 6 w 421"/>
                <a:gd name="T87" fmla="*/ 43 h 496"/>
                <a:gd name="T88" fmla="*/ 0 w 421"/>
                <a:gd name="T89" fmla="*/ 135 h 496"/>
                <a:gd name="T90" fmla="*/ 1 w 421"/>
                <a:gd name="T91" fmla="*/ 440 h 496"/>
                <a:gd name="T92" fmla="*/ 24 w 421"/>
                <a:gd name="T93" fmla="*/ 463 h 496"/>
                <a:gd name="T94" fmla="*/ 114 w 421"/>
                <a:gd name="T95" fmla="*/ 488 h 496"/>
                <a:gd name="T96" fmla="*/ 273 w 421"/>
                <a:gd name="T97" fmla="*/ 492 h 496"/>
                <a:gd name="T98" fmla="*/ 387 w 421"/>
                <a:gd name="T99" fmla="*/ 469 h 496"/>
                <a:gd name="T100" fmla="*/ 420 w 421"/>
                <a:gd name="T101" fmla="*/ 443 h 496"/>
                <a:gd name="T102" fmla="*/ 421 w 421"/>
                <a:gd name="T103" fmla="*/ 210 h 496"/>
                <a:gd name="T104" fmla="*/ 418 w 421"/>
                <a:gd name="T105" fmla="*/ 48 h 496"/>
                <a:gd name="T106" fmla="*/ 373 w 421"/>
                <a:gd name="T107" fmla="*/ 20 h 496"/>
                <a:gd name="T108" fmla="*/ 240 w 421"/>
                <a:gd name="T109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21" h="496">
                  <a:moveTo>
                    <a:pt x="211" y="466"/>
                  </a:moveTo>
                  <a:lnTo>
                    <a:pt x="177" y="464"/>
                  </a:lnTo>
                  <a:lnTo>
                    <a:pt x="145" y="462"/>
                  </a:lnTo>
                  <a:lnTo>
                    <a:pt x="115" y="458"/>
                  </a:lnTo>
                  <a:lnTo>
                    <a:pt x="89" y="454"/>
                  </a:lnTo>
                  <a:lnTo>
                    <a:pt x="67" y="448"/>
                  </a:lnTo>
                  <a:lnTo>
                    <a:pt x="50" y="443"/>
                  </a:lnTo>
                  <a:lnTo>
                    <a:pt x="37" y="438"/>
                  </a:lnTo>
                  <a:lnTo>
                    <a:pt x="30" y="433"/>
                  </a:lnTo>
                  <a:lnTo>
                    <a:pt x="30" y="392"/>
                  </a:lnTo>
                  <a:lnTo>
                    <a:pt x="49" y="399"/>
                  </a:lnTo>
                  <a:lnTo>
                    <a:pt x="71" y="404"/>
                  </a:lnTo>
                  <a:lnTo>
                    <a:pt x="94" y="410"/>
                  </a:lnTo>
                  <a:lnTo>
                    <a:pt x="119" y="414"/>
                  </a:lnTo>
                  <a:lnTo>
                    <a:pt x="145" y="416"/>
                  </a:lnTo>
                  <a:lnTo>
                    <a:pt x="168" y="418"/>
                  </a:lnTo>
                  <a:lnTo>
                    <a:pt x="191" y="419"/>
                  </a:lnTo>
                  <a:lnTo>
                    <a:pt x="211" y="421"/>
                  </a:lnTo>
                  <a:lnTo>
                    <a:pt x="230" y="419"/>
                  </a:lnTo>
                  <a:lnTo>
                    <a:pt x="253" y="418"/>
                  </a:lnTo>
                  <a:lnTo>
                    <a:pt x="277" y="416"/>
                  </a:lnTo>
                  <a:lnTo>
                    <a:pt x="302" y="414"/>
                  </a:lnTo>
                  <a:lnTo>
                    <a:pt x="327" y="410"/>
                  </a:lnTo>
                  <a:lnTo>
                    <a:pt x="350" y="404"/>
                  </a:lnTo>
                  <a:lnTo>
                    <a:pt x="373" y="399"/>
                  </a:lnTo>
                  <a:lnTo>
                    <a:pt x="391" y="392"/>
                  </a:lnTo>
                  <a:lnTo>
                    <a:pt x="391" y="432"/>
                  </a:lnTo>
                  <a:lnTo>
                    <a:pt x="385" y="438"/>
                  </a:lnTo>
                  <a:lnTo>
                    <a:pt x="372" y="443"/>
                  </a:lnTo>
                  <a:lnTo>
                    <a:pt x="355" y="448"/>
                  </a:lnTo>
                  <a:lnTo>
                    <a:pt x="332" y="454"/>
                  </a:lnTo>
                  <a:lnTo>
                    <a:pt x="306" y="458"/>
                  </a:lnTo>
                  <a:lnTo>
                    <a:pt x="277" y="462"/>
                  </a:lnTo>
                  <a:lnTo>
                    <a:pt x="245" y="464"/>
                  </a:lnTo>
                  <a:lnTo>
                    <a:pt x="211" y="466"/>
                  </a:lnTo>
                  <a:lnTo>
                    <a:pt x="211" y="466"/>
                  </a:lnTo>
                  <a:close/>
                  <a:moveTo>
                    <a:pt x="211" y="30"/>
                  </a:moveTo>
                  <a:lnTo>
                    <a:pt x="243" y="30"/>
                  </a:lnTo>
                  <a:lnTo>
                    <a:pt x="274" y="32"/>
                  </a:lnTo>
                  <a:lnTo>
                    <a:pt x="302" y="36"/>
                  </a:lnTo>
                  <a:lnTo>
                    <a:pt x="327" y="39"/>
                  </a:lnTo>
                  <a:lnTo>
                    <a:pt x="348" y="45"/>
                  </a:lnTo>
                  <a:lnTo>
                    <a:pt x="365" y="50"/>
                  </a:lnTo>
                  <a:lnTo>
                    <a:pt x="379" y="54"/>
                  </a:lnTo>
                  <a:lnTo>
                    <a:pt x="389" y="60"/>
                  </a:lnTo>
                  <a:lnTo>
                    <a:pt x="379" y="64"/>
                  </a:lnTo>
                  <a:lnTo>
                    <a:pt x="365" y="69"/>
                  </a:lnTo>
                  <a:lnTo>
                    <a:pt x="348" y="75"/>
                  </a:lnTo>
                  <a:lnTo>
                    <a:pt x="327" y="79"/>
                  </a:lnTo>
                  <a:lnTo>
                    <a:pt x="302" y="83"/>
                  </a:lnTo>
                  <a:lnTo>
                    <a:pt x="274" y="86"/>
                  </a:lnTo>
                  <a:lnTo>
                    <a:pt x="243" y="88"/>
                  </a:lnTo>
                  <a:lnTo>
                    <a:pt x="211" y="90"/>
                  </a:lnTo>
                  <a:lnTo>
                    <a:pt x="178" y="88"/>
                  </a:lnTo>
                  <a:lnTo>
                    <a:pt x="148" y="86"/>
                  </a:lnTo>
                  <a:lnTo>
                    <a:pt x="120" y="83"/>
                  </a:lnTo>
                  <a:lnTo>
                    <a:pt x="95" y="79"/>
                  </a:lnTo>
                  <a:lnTo>
                    <a:pt x="74" y="75"/>
                  </a:lnTo>
                  <a:lnTo>
                    <a:pt x="56" y="69"/>
                  </a:lnTo>
                  <a:lnTo>
                    <a:pt x="43" y="64"/>
                  </a:lnTo>
                  <a:lnTo>
                    <a:pt x="33" y="60"/>
                  </a:lnTo>
                  <a:lnTo>
                    <a:pt x="43" y="54"/>
                  </a:lnTo>
                  <a:lnTo>
                    <a:pt x="56" y="50"/>
                  </a:lnTo>
                  <a:lnTo>
                    <a:pt x="74" y="45"/>
                  </a:lnTo>
                  <a:lnTo>
                    <a:pt x="95" y="39"/>
                  </a:lnTo>
                  <a:lnTo>
                    <a:pt x="120" y="36"/>
                  </a:lnTo>
                  <a:lnTo>
                    <a:pt x="148" y="32"/>
                  </a:lnTo>
                  <a:lnTo>
                    <a:pt x="178" y="30"/>
                  </a:lnTo>
                  <a:lnTo>
                    <a:pt x="211" y="30"/>
                  </a:lnTo>
                  <a:close/>
                  <a:moveTo>
                    <a:pt x="391" y="132"/>
                  </a:moveTo>
                  <a:lnTo>
                    <a:pt x="385" y="137"/>
                  </a:lnTo>
                  <a:lnTo>
                    <a:pt x="372" y="142"/>
                  </a:lnTo>
                  <a:lnTo>
                    <a:pt x="355" y="147"/>
                  </a:lnTo>
                  <a:lnTo>
                    <a:pt x="332" y="153"/>
                  </a:lnTo>
                  <a:lnTo>
                    <a:pt x="306" y="157"/>
                  </a:lnTo>
                  <a:lnTo>
                    <a:pt x="277" y="161"/>
                  </a:lnTo>
                  <a:lnTo>
                    <a:pt x="245" y="163"/>
                  </a:lnTo>
                  <a:lnTo>
                    <a:pt x="211" y="165"/>
                  </a:lnTo>
                  <a:lnTo>
                    <a:pt x="177" y="163"/>
                  </a:lnTo>
                  <a:lnTo>
                    <a:pt x="145" y="161"/>
                  </a:lnTo>
                  <a:lnTo>
                    <a:pt x="115" y="157"/>
                  </a:lnTo>
                  <a:lnTo>
                    <a:pt x="89" y="153"/>
                  </a:lnTo>
                  <a:lnTo>
                    <a:pt x="67" y="147"/>
                  </a:lnTo>
                  <a:lnTo>
                    <a:pt x="50" y="142"/>
                  </a:lnTo>
                  <a:lnTo>
                    <a:pt x="37" y="137"/>
                  </a:lnTo>
                  <a:lnTo>
                    <a:pt x="30" y="132"/>
                  </a:lnTo>
                  <a:lnTo>
                    <a:pt x="30" y="91"/>
                  </a:lnTo>
                  <a:lnTo>
                    <a:pt x="49" y="98"/>
                  </a:lnTo>
                  <a:lnTo>
                    <a:pt x="71" y="105"/>
                  </a:lnTo>
                  <a:lnTo>
                    <a:pt x="94" y="109"/>
                  </a:lnTo>
                  <a:lnTo>
                    <a:pt x="119" y="113"/>
                  </a:lnTo>
                  <a:lnTo>
                    <a:pt x="145" y="116"/>
                  </a:lnTo>
                  <a:lnTo>
                    <a:pt x="168" y="117"/>
                  </a:lnTo>
                  <a:lnTo>
                    <a:pt x="191" y="120"/>
                  </a:lnTo>
                  <a:lnTo>
                    <a:pt x="211" y="120"/>
                  </a:lnTo>
                  <a:lnTo>
                    <a:pt x="230" y="120"/>
                  </a:lnTo>
                  <a:lnTo>
                    <a:pt x="253" y="117"/>
                  </a:lnTo>
                  <a:lnTo>
                    <a:pt x="277" y="116"/>
                  </a:lnTo>
                  <a:lnTo>
                    <a:pt x="302" y="113"/>
                  </a:lnTo>
                  <a:lnTo>
                    <a:pt x="327" y="109"/>
                  </a:lnTo>
                  <a:lnTo>
                    <a:pt x="350" y="105"/>
                  </a:lnTo>
                  <a:lnTo>
                    <a:pt x="373" y="98"/>
                  </a:lnTo>
                  <a:lnTo>
                    <a:pt x="391" y="91"/>
                  </a:lnTo>
                  <a:lnTo>
                    <a:pt x="391" y="132"/>
                  </a:lnTo>
                  <a:close/>
                  <a:moveTo>
                    <a:pt x="391" y="207"/>
                  </a:moveTo>
                  <a:lnTo>
                    <a:pt x="385" y="212"/>
                  </a:lnTo>
                  <a:lnTo>
                    <a:pt x="372" y="217"/>
                  </a:lnTo>
                  <a:lnTo>
                    <a:pt x="355" y="222"/>
                  </a:lnTo>
                  <a:lnTo>
                    <a:pt x="332" y="228"/>
                  </a:lnTo>
                  <a:lnTo>
                    <a:pt x="306" y="233"/>
                  </a:lnTo>
                  <a:lnTo>
                    <a:pt x="277" y="236"/>
                  </a:lnTo>
                  <a:lnTo>
                    <a:pt x="245" y="238"/>
                  </a:lnTo>
                  <a:lnTo>
                    <a:pt x="211" y="240"/>
                  </a:lnTo>
                  <a:lnTo>
                    <a:pt x="177" y="238"/>
                  </a:lnTo>
                  <a:lnTo>
                    <a:pt x="145" y="236"/>
                  </a:lnTo>
                  <a:lnTo>
                    <a:pt x="115" y="233"/>
                  </a:lnTo>
                  <a:lnTo>
                    <a:pt x="89" y="228"/>
                  </a:lnTo>
                  <a:lnTo>
                    <a:pt x="67" y="222"/>
                  </a:lnTo>
                  <a:lnTo>
                    <a:pt x="50" y="217"/>
                  </a:lnTo>
                  <a:lnTo>
                    <a:pt x="37" y="212"/>
                  </a:lnTo>
                  <a:lnTo>
                    <a:pt x="30" y="207"/>
                  </a:lnTo>
                  <a:lnTo>
                    <a:pt x="30" y="166"/>
                  </a:lnTo>
                  <a:lnTo>
                    <a:pt x="49" y="173"/>
                  </a:lnTo>
                  <a:lnTo>
                    <a:pt x="71" y="180"/>
                  </a:lnTo>
                  <a:lnTo>
                    <a:pt x="94" y="184"/>
                  </a:lnTo>
                  <a:lnTo>
                    <a:pt x="119" y="188"/>
                  </a:lnTo>
                  <a:lnTo>
                    <a:pt x="145" y="191"/>
                  </a:lnTo>
                  <a:lnTo>
                    <a:pt x="168" y="193"/>
                  </a:lnTo>
                  <a:lnTo>
                    <a:pt x="191" y="195"/>
                  </a:lnTo>
                  <a:lnTo>
                    <a:pt x="211" y="195"/>
                  </a:lnTo>
                  <a:lnTo>
                    <a:pt x="230" y="195"/>
                  </a:lnTo>
                  <a:lnTo>
                    <a:pt x="253" y="193"/>
                  </a:lnTo>
                  <a:lnTo>
                    <a:pt x="277" y="191"/>
                  </a:lnTo>
                  <a:lnTo>
                    <a:pt x="302" y="188"/>
                  </a:lnTo>
                  <a:lnTo>
                    <a:pt x="327" y="184"/>
                  </a:lnTo>
                  <a:lnTo>
                    <a:pt x="350" y="180"/>
                  </a:lnTo>
                  <a:lnTo>
                    <a:pt x="373" y="173"/>
                  </a:lnTo>
                  <a:lnTo>
                    <a:pt x="391" y="167"/>
                  </a:lnTo>
                  <a:lnTo>
                    <a:pt x="391" y="207"/>
                  </a:lnTo>
                  <a:close/>
                  <a:moveTo>
                    <a:pt x="391" y="282"/>
                  </a:moveTo>
                  <a:lnTo>
                    <a:pt x="385" y="288"/>
                  </a:lnTo>
                  <a:lnTo>
                    <a:pt x="372" y="293"/>
                  </a:lnTo>
                  <a:lnTo>
                    <a:pt x="355" y="298"/>
                  </a:lnTo>
                  <a:lnTo>
                    <a:pt x="332" y="303"/>
                  </a:lnTo>
                  <a:lnTo>
                    <a:pt x="306" y="308"/>
                  </a:lnTo>
                  <a:lnTo>
                    <a:pt x="277" y="311"/>
                  </a:lnTo>
                  <a:lnTo>
                    <a:pt x="245" y="315"/>
                  </a:lnTo>
                  <a:lnTo>
                    <a:pt x="211" y="315"/>
                  </a:lnTo>
                  <a:lnTo>
                    <a:pt x="177" y="315"/>
                  </a:lnTo>
                  <a:lnTo>
                    <a:pt x="145" y="311"/>
                  </a:lnTo>
                  <a:lnTo>
                    <a:pt x="115" y="308"/>
                  </a:lnTo>
                  <a:lnTo>
                    <a:pt x="89" y="303"/>
                  </a:lnTo>
                  <a:lnTo>
                    <a:pt x="67" y="298"/>
                  </a:lnTo>
                  <a:lnTo>
                    <a:pt x="50" y="293"/>
                  </a:lnTo>
                  <a:lnTo>
                    <a:pt x="37" y="288"/>
                  </a:lnTo>
                  <a:lnTo>
                    <a:pt x="30" y="282"/>
                  </a:lnTo>
                  <a:lnTo>
                    <a:pt x="30" y="242"/>
                  </a:lnTo>
                  <a:lnTo>
                    <a:pt x="49" y="248"/>
                  </a:lnTo>
                  <a:lnTo>
                    <a:pt x="71" y="255"/>
                  </a:lnTo>
                  <a:lnTo>
                    <a:pt x="94" y="260"/>
                  </a:lnTo>
                  <a:lnTo>
                    <a:pt x="119" y="263"/>
                  </a:lnTo>
                  <a:lnTo>
                    <a:pt x="145" y="266"/>
                  </a:lnTo>
                  <a:lnTo>
                    <a:pt x="168" y="268"/>
                  </a:lnTo>
                  <a:lnTo>
                    <a:pt x="191" y="270"/>
                  </a:lnTo>
                  <a:lnTo>
                    <a:pt x="211" y="270"/>
                  </a:lnTo>
                  <a:lnTo>
                    <a:pt x="230" y="270"/>
                  </a:lnTo>
                  <a:lnTo>
                    <a:pt x="253" y="268"/>
                  </a:lnTo>
                  <a:lnTo>
                    <a:pt x="277" y="266"/>
                  </a:lnTo>
                  <a:lnTo>
                    <a:pt x="302" y="263"/>
                  </a:lnTo>
                  <a:lnTo>
                    <a:pt x="327" y="260"/>
                  </a:lnTo>
                  <a:lnTo>
                    <a:pt x="350" y="255"/>
                  </a:lnTo>
                  <a:lnTo>
                    <a:pt x="373" y="248"/>
                  </a:lnTo>
                  <a:lnTo>
                    <a:pt x="391" y="242"/>
                  </a:lnTo>
                  <a:lnTo>
                    <a:pt x="391" y="282"/>
                  </a:lnTo>
                  <a:close/>
                  <a:moveTo>
                    <a:pt x="391" y="357"/>
                  </a:moveTo>
                  <a:lnTo>
                    <a:pt x="385" y="363"/>
                  </a:lnTo>
                  <a:lnTo>
                    <a:pt x="372" y="368"/>
                  </a:lnTo>
                  <a:lnTo>
                    <a:pt x="355" y="373"/>
                  </a:lnTo>
                  <a:lnTo>
                    <a:pt x="332" y="379"/>
                  </a:lnTo>
                  <a:lnTo>
                    <a:pt x="306" y="383"/>
                  </a:lnTo>
                  <a:lnTo>
                    <a:pt x="277" y="386"/>
                  </a:lnTo>
                  <a:lnTo>
                    <a:pt x="245" y="389"/>
                  </a:lnTo>
                  <a:lnTo>
                    <a:pt x="211" y="391"/>
                  </a:lnTo>
                  <a:lnTo>
                    <a:pt x="177" y="389"/>
                  </a:lnTo>
                  <a:lnTo>
                    <a:pt x="145" y="386"/>
                  </a:lnTo>
                  <a:lnTo>
                    <a:pt x="115" y="383"/>
                  </a:lnTo>
                  <a:lnTo>
                    <a:pt x="89" y="379"/>
                  </a:lnTo>
                  <a:lnTo>
                    <a:pt x="67" y="373"/>
                  </a:lnTo>
                  <a:lnTo>
                    <a:pt x="50" y="368"/>
                  </a:lnTo>
                  <a:lnTo>
                    <a:pt x="37" y="363"/>
                  </a:lnTo>
                  <a:lnTo>
                    <a:pt x="30" y="357"/>
                  </a:lnTo>
                  <a:lnTo>
                    <a:pt x="30" y="317"/>
                  </a:lnTo>
                  <a:lnTo>
                    <a:pt x="49" y="324"/>
                  </a:lnTo>
                  <a:lnTo>
                    <a:pt x="71" y="329"/>
                  </a:lnTo>
                  <a:lnTo>
                    <a:pt x="94" y="335"/>
                  </a:lnTo>
                  <a:lnTo>
                    <a:pt x="119" y="338"/>
                  </a:lnTo>
                  <a:lnTo>
                    <a:pt x="145" y="341"/>
                  </a:lnTo>
                  <a:lnTo>
                    <a:pt x="168" y="343"/>
                  </a:lnTo>
                  <a:lnTo>
                    <a:pt x="191" y="344"/>
                  </a:lnTo>
                  <a:lnTo>
                    <a:pt x="211" y="344"/>
                  </a:lnTo>
                  <a:lnTo>
                    <a:pt x="230" y="344"/>
                  </a:lnTo>
                  <a:lnTo>
                    <a:pt x="253" y="343"/>
                  </a:lnTo>
                  <a:lnTo>
                    <a:pt x="277" y="341"/>
                  </a:lnTo>
                  <a:lnTo>
                    <a:pt x="302" y="338"/>
                  </a:lnTo>
                  <a:lnTo>
                    <a:pt x="327" y="335"/>
                  </a:lnTo>
                  <a:lnTo>
                    <a:pt x="350" y="329"/>
                  </a:lnTo>
                  <a:lnTo>
                    <a:pt x="373" y="324"/>
                  </a:lnTo>
                  <a:lnTo>
                    <a:pt x="391" y="317"/>
                  </a:lnTo>
                  <a:lnTo>
                    <a:pt x="391" y="357"/>
                  </a:lnTo>
                  <a:close/>
                  <a:moveTo>
                    <a:pt x="211" y="0"/>
                  </a:moveTo>
                  <a:lnTo>
                    <a:pt x="182" y="0"/>
                  </a:lnTo>
                  <a:lnTo>
                    <a:pt x="149" y="2"/>
                  </a:lnTo>
                  <a:lnTo>
                    <a:pt x="114" y="6"/>
                  </a:lnTo>
                  <a:lnTo>
                    <a:pt x="80" y="12"/>
                  </a:lnTo>
                  <a:lnTo>
                    <a:pt x="64" y="16"/>
                  </a:lnTo>
                  <a:lnTo>
                    <a:pt x="49" y="20"/>
                  </a:lnTo>
                  <a:lnTo>
                    <a:pt x="35" y="25"/>
                  </a:lnTo>
                  <a:lnTo>
                    <a:pt x="24" y="31"/>
                  </a:lnTo>
                  <a:lnTo>
                    <a:pt x="14" y="37"/>
                  </a:lnTo>
                  <a:lnTo>
                    <a:pt x="6" y="43"/>
                  </a:lnTo>
                  <a:lnTo>
                    <a:pt x="4" y="48"/>
                  </a:lnTo>
                  <a:lnTo>
                    <a:pt x="2" y="51"/>
                  </a:lnTo>
                  <a:lnTo>
                    <a:pt x="1" y="55"/>
                  </a:lnTo>
                  <a:lnTo>
                    <a:pt x="0" y="60"/>
                  </a:lnTo>
                  <a:lnTo>
                    <a:pt x="0" y="135"/>
                  </a:lnTo>
                  <a:lnTo>
                    <a:pt x="0" y="210"/>
                  </a:lnTo>
                  <a:lnTo>
                    <a:pt x="0" y="285"/>
                  </a:lnTo>
                  <a:lnTo>
                    <a:pt x="0" y="359"/>
                  </a:lnTo>
                  <a:lnTo>
                    <a:pt x="0" y="436"/>
                  </a:lnTo>
                  <a:lnTo>
                    <a:pt x="1" y="440"/>
                  </a:lnTo>
                  <a:lnTo>
                    <a:pt x="2" y="443"/>
                  </a:lnTo>
                  <a:lnTo>
                    <a:pt x="4" y="447"/>
                  </a:lnTo>
                  <a:lnTo>
                    <a:pt x="6" y="451"/>
                  </a:lnTo>
                  <a:lnTo>
                    <a:pt x="14" y="458"/>
                  </a:lnTo>
                  <a:lnTo>
                    <a:pt x="24" y="463"/>
                  </a:lnTo>
                  <a:lnTo>
                    <a:pt x="35" y="469"/>
                  </a:lnTo>
                  <a:lnTo>
                    <a:pt x="49" y="474"/>
                  </a:lnTo>
                  <a:lnTo>
                    <a:pt x="64" y="478"/>
                  </a:lnTo>
                  <a:lnTo>
                    <a:pt x="80" y="483"/>
                  </a:lnTo>
                  <a:lnTo>
                    <a:pt x="114" y="488"/>
                  </a:lnTo>
                  <a:lnTo>
                    <a:pt x="149" y="492"/>
                  </a:lnTo>
                  <a:lnTo>
                    <a:pt x="182" y="494"/>
                  </a:lnTo>
                  <a:lnTo>
                    <a:pt x="211" y="496"/>
                  </a:lnTo>
                  <a:lnTo>
                    <a:pt x="240" y="494"/>
                  </a:lnTo>
                  <a:lnTo>
                    <a:pt x="273" y="492"/>
                  </a:lnTo>
                  <a:lnTo>
                    <a:pt x="307" y="488"/>
                  </a:lnTo>
                  <a:lnTo>
                    <a:pt x="342" y="483"/>
                  </a:lnTo>
                  <a:lnTo>
                    <a:pt x="358" y="478"/>
                  </a:lnTo>
                  <a:lnTo>
                    <a:pt x="373" y="474"/>
                  </a:lnTo>
                  <a:lnTo>
                    <a:pt x="387" y="469"/>
                  </a:lnTo>
                  <a:lnTo>
                    <a:pt x="398" y="463"/>
                  </a:lnTo>
                  <a:lnTo>
                    <a:pt x="408" y="458"/>
                  </a:lnTo>
                  <a:lnTo>
                    <a:pt x="416" y="451"/>
                  </a:lnTo>
                  <a:lnTo>
                    <a:pt x="418" y="447"/>
                  </a:lnTo>
                  <a:lnTo>
                    <a:pt x="420" y="443"/>
                  </a:lnTo>
                  <a:lnTo>
                    <a:pt x="421" y="440"/>
                  </a:lnTo>
                  <a:lnTo>
                    <a:pt x="421" y="436"/>
                  </a:lnTo>
                  <a:lnTo>
                    <a:pt x="421" y="359"/>
                  </a:lnTo>
                  <a:lnTo>
                    <a:pt x="421" y="285"/>
                  </a:lnTo>
                  <a:lnTo>
                    <a:pt x="421" y="210"/>
                  </a:lnTo>
                  <a:lnTo>
                    <a:pt x="421" y="135"/>
                  </a:lnTo>
                  <a:lnTo>
                    <a:pt x="421" y="60"/>
                  </a:lnTo>
                  <a:lnTo>
                    <a:pt x="421" y="55"/>
                  </a:lnTo>
                  <a:lnTo>
                    <a:pt x="420" y="51"/>
                  </a:lnTo>
                  <a:lnTo>
                    <a:pt x="418" y="48"/>
                  </a:lnTo>
                  <a:lnTo>
                    <a:pt x="416" y="43"/>
                  </a:lnTo>
                  <a:lnTo>
                    <a:pt x="408" y="37"/>
                  </a:lnTo>
                  <a:lnTo>
                    <a:pt x="398" y="31"/>
                  </a:lnTo>
                  <a:lnTo>
                    <a:pt x="387" y="25"/>
                  </a:lnTo>
                  <a:lnTo>
                    <a:pt x="373" y="20"/>
                  </a:lnTo>
                  <a:lnTo>
                    <a:pt x="358" y="16"/>
                  </a:lnTo>
                  <a:lnTo>
                    <a:pt x="342" y="12"/>
                  </a:lnTo>
                  <a:lnTo>
                    <a:pt x="307" y="6"/>
                  </a:lnTo>
                  <a:lnTo>
                    <a:pt x="273" y="2"/>
                  </a:lnTo>
                  <a:lnTo>
                    <a:pt x="240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Freeform 187">
              <a:extLst>
                <a:ext uri="{FF2B5EF4-FFF2-40B4-BE49-F238E27FC236}">
                  <a16:creationId xmlns:a16="http://schemas.microsoft.com/office/drawing/2014/main" id="{A0AA4BB5-E19C-4E1B-AF68-AD930FB89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2188" y="1354138"/>
              <a:ext cx="285750" cy="180975"/>
            </a:xfrm>
            <a:custGeom>
              <a:avLst/>
              <a:gdLst>
                <a:gd name="T0" fmla="*/ 0 w 902"/>
                <a:gd name="T1" fmla="*/ 0 h 571"/>
                <a:gd name="T2" fmla="*/ 0 w 902"/>
                <a:gd name="T3" fmla="*/ 345 h 571"/>
                <a:gd name="T4" fmla="*/ 1 w 902"/>
                <a:gd name="T5" fmla="*/ 348 h 571"/>
                <a:gd name="T6" fmla="*/ 1 w 902"/>
                <a:gd name="T7" fmla="*/ 351 h 571"/>
                <a:gd name="T8" fmla="*/ 3 w 902"/>
                <a:gd name="T9" fmla="*/ 353 h 571"/>
                <a:gd name="T10" fmla="*/ 4 w 902"/>
                <a:gd name="T11" fmla="*/ 355 h 571"/>
                <a:gd name="T12" fmla="*/ 6 w 902"/>
                <a:gd name="T13" fmla="*/ 357 h 571"/>
                <a:gd name="T14" fmla="*/ 10 w 902"/>
                <a:gd name="T15" fmla="*/ 358 h 571"/>
                <a:gd name="T16" fmla="*/ 12 w 902"/>
                <a:gd name="T17" fmla="*/ 360 h 571"/>
                <a:gd name="T18" fmla="*/ 15 w 902"/>
                <a:gd name="T19" fmla="*/ 361 h 571"/>
                <a:gd name="T20" fmla="*/ 18 w 902"/>
                <a:gd name="T21" fmla="*/ 360 h 571"/>
                <a:gd name="T22" fmla="*/ 21 w 902"/>
                <a:gd name="T23" fmla="*/ 358 h 571"/>
                <a:gd name="T24" fmla="*/ 24 w 902"/>
                <a:gd name="T25" fmla="*/ 357 h 571"/>
                <a:gd name="T26" fmla="*/ 26 w 902"/>
                <a:gd name="T27" fmla="*/ 355 h 571"/>
                <a:gd name="T28" fmla="*/ 28 w 902"/>
                <a:gd name="T29" fmla="*/ 353 h 571"/>
                <a:gd name="T30" fmla="*/ 29 w 902"/>
                <a:gd name="T31" fmla="*/ 351 h 571"/>
                <a:gd name="T32" fmla="*/ 30 w 902"/>
                <a:gd name="T33" fmla="*/ 348 h 571"/>
                <a:gd name="T34" fmla="*/ 30 w 902"/>
                <a:gd name="T35" fmla="*/ 345 h 571"/>
                <a:gd name="T36" fmla="*/ 30 w 902"/>
                <a:gd name="T37" fmla="*/ 30 h 571"/>
                <a:gd name="T38" fmla="*/ 872 w 902"/>
                <a:gd name="T39" fmla="*/ 30 h 571"/>
                <a:gd name="T40" fmla="*/ 872 w 902"/>
                <a:gd name="T41" fmla="*/ 541 h 571"/>
                <a:gd name="T42" fmla="*/ 572 w 902"/>
                <a:gd name="T43" fmla="*/ 541 h 571"/>
                <a:gd name="T44" fmla="*/ 569 w 902"/>
                <a:gd name="T45" fmla="*/ 541 h 571"/>
                <a:gd name="T46" fmla="*/ 566 w 902"/>
                <a:gd name="T47" fmla="*/ 542 h 571"/>
                <a:gd name="T48" fmla="*/ 563 w 902"/>
                <a:gd name="T49" fmla="*/ 543 h 571"/>
                <a:gd name="T50" fmla="*/ 561 w 902"/>
                <a:gd name="T51" fmla="*/ 545 h 571"/>
                <a:gd name="T52" fmla="*/ 559 w 902"/>
                <a:gd name="T53" fmla="*/ 547 h 571"/>
                <a:gd name="T54" fmla="*/ 558 w 902"/>
                <a:gd name="T55" fmla="*/ 550 h 571"/>
                <a:gd name="T56" fmla="*/ 557 w 902"/>
                <a:gd name="T57" fmla="*/ 552 h 571"/>
                <a:gd name="T58" fmla="*/ 557 w 902"/>
                <a:gd name="T59" fmla="*/ 556 h 571"/>
                <a:gd name="T60" fmla="*/ 557 w 902"/>
                <a:gd name="T61" fmla="*/ 559 h 571"/>
                <a:gd name="T62" fmla="*/ 558 w 902"/>
                <a:gd name="T63" fmla="*/ 561 h 571"/>
                <a:gd name="T64" fmla="*/ 559 w 902"/>
                <a:gd name="T65" fmla="*/ 564 h 571"/>
                <a:gd name="T66" fmla="*/ 561 w 902"/>
                <a:gd name="T67" fmla="*/ 566 h 571"/>
                <a:gd name="T68" fmla="*/ 563 w 902"/>
                <a:gd name="T69" fmla="*/ 568 h 571"/>
                <a:gd name="T70" fmla="*/ 566 w 902"/>
                <a:gd name="T71" fmla="*/ 569 h 571"/>
                <a:gd name="T72" fmla="*/ 569 w 902"/>
                <a:gd name="T73" fmla="*/ 571 h 571"/>
                <a:gd name="T74" fmla="*/ 572 w 902"/>
                <a:gd name="T75" fmla="*/ 571 h 571"/>
                <a:gd name="T76" fmla="*/ 902 w 902"/>
                <a:gd name="T77" fmla="*/ 571 h 571"/>
                <a:gd name="T78" fmla="*/ 902 w 902"/>
                <a:gd name="T79" fmla="*/ 0 h 571"/>
                <a:gd name="T80" fmla="*/ 0 w 902"/>
                <a:gd name="T81" fmla="*/ 0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02" h="571">
                  <a:moveTo>
                    <a:pt x="0" y="0"/>
                  </a:moveTo>
                  <a:lnTo>
                    <a:pt x="0" y="345"/>
                  </a:lnTo>
                  <a:lnTo>
                    <a:pt x="1" y="348"/>
                  </a:lnTo>
                  <a:lnTo>
                    <a:pt x="1" y="351"/>
                  </a:lnTo>
                  <a:lnTo>
                    <a:pt x="3" y="353"/>
                  </a:lnTo>
                  <a:lnTo>
                    <a:pt x="4" y="355"/>
                  </a:lnTo>
                  <a:lnTo>
                    <a:pt x="6" y="357"/>
                  </a:lnTo>
                  <a:lnTo>
                    <a:pt x="10" y="358"/>
                  </a:lnTo>
                  <a:lnTo>
                    <a:pt x="12" y="360"/>
                  </a:lnTo>
                  <a:lnTo>
                    <a:pt x="15" y="361"/>
                  </a:lnTo>
                  <a:lnTo>
                    <a:pt x="18" y="360"/>
                  </a:lnTo>
                  <a:lnTo>
                    <a:pt x="21" y="358"/>
                  </a:lnTo>
                  <a:lnTo>
                    <a:pt x="24" y="357"/>
                  </a:lnTo>
                  <a:lnTo>
                    <a:pt x="26" y="355"/>
                  </a:lnTo>
                  <a:lnTo>
                    <a:pt x="28" y="353"/>
                  </a:lnTo>
                  <a:lnTo>
                    <a:pt x="29" y="351"/>
                  </a:lnTo>
                  <a:lnTo>
                    <a:pt x="30" y="348"/>
                  </a:lnTo>
                  <a:lnTo>
                    <a:pt x="30" y="345"/>
                  </a:lnTo>
                  <a:lnTo>
                    <a:pt x="30" y="30"/>
                  </a:lnTo>
                  <a:lnTo>
                    <a:pt x="872" y="30"/>
                  </a:lnTo>
                  <a:lnTo>
                    <a:pt x="872" y="541"/>
                  </a:lnTo>
                  <a:lnTo>
                    <a:pt x="572" y="541"/>
                  </a:lnTo>
                  <a:lnTo>
                    <a:pt x="569" y="541"/>
                  </a:lnTo>
                  <a:lnTo>
                    <a:pt x="566" y="542"/>
                  </a:lnTo>
                  <a:lnTo>
                    <a:pt x="563" y="543"/>
                  </a:lnTo>
                  <a:lnTo>
                    <a:pt x="561" y="545"/>
                  </a:lnTo>
                  <a:lnTo>
                    <a:pt x="559" y="547"/>
                  </a:lnTo>
                  <a:lnTo>
                    <a:pt x="558" y="550"/>
                  </a:lnTo>
                  <a:lnTo>
                    <a:pt x="557" y="552"/>
                  </a:lnTo>
                  <a:lnTo>
                    <a:pt x="557" y="556"/>
                  </a:lnTo>
                  <a:lnTo>
                    <a:pt x="557" y="559"/>
                  </a:lnTo>
                  <a:lnTo>
                    <a:pt x="558" y="561"/>
                  </a:lnTo>
                  <a:lnTo>
                    <a:pt x="559" y="564"/>
                  </a:lnTo>
                  <a:lnTo>
                    <a:pt x="561" y="566"/>
                  </a:lnTo>
                  <a:lnTo>
                    <a:pt x="563" y="568"/>
                  </a:lnTo>
                  <a:lnTo>
                    <a:pt x="566" y="569"/>
                  </a:lnTo>
                  <a:lnTo>
                    <a:pt x="569" y="571"/>
                  </a:lnTo>
                  <a:lnTo>
                    <a:pt x="572" y="571"/>
                  </a:lnTo>
                  <a:lnTo>
                    <a:pt x="902" y="571"/>
                  </a:lnTo>
                  <a:lnTo>
                    <a:pt x="90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Freeform 188">
              <a:extLst>
                <a:ext uri="{FF2B5EF4-FFF2-40B4-BE49-F238E27FC236}">
                  <a16:creationId xmlns:a16="http://schemas.microsoft.com/office/drawing/2014/main" id="{4132CB2B-3354-4329-ABC0-497B9303F5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86963" y="1406525"/>
              <a:ext cx="76200" cy="76200"/>
            </a:xfrm>
            <a:custGeom>
              <a:avLst/>
              <a:gdLst>
                <a:gd name="T0" fmla="*/ 102 w 241"/>
                <a:gd name="T1" fmla="*/ 208 h 241"/>
                <a:gd name="T2" fmla="*/ 77 w 241"/>
                <a:gd name="T3" fmla="*/ 199 h 241"/>
                <a:gd name="T4" fmla="*/ 57 w 241"/>
                <a:gd name="T5" fmla="*/ 184 h 241"/>
                <a:gd name="T6" fmla="*/ 41 w 241"/>
                <a:gd name="T7" fmla="*/ 162 h 241"/>
                <a:gd name="T8" fmla="*/ 32 w 241"/>
                <a:gd name="T9" fmla="*/ 138 h 241"/>
                <a:gd name="T10" fmla="*/ 31 w 241"/>
                <a:gd name="T11" fmla="*/ 111 h 241"/>
                <a:gd name="T12" fmla="*/ 37 w 241"/>
                <a:gd name="T13" fmla="*/ 85 h 241"/>
                <a:gd name="T14" fmla="*/ 50 w 241"/>
                <a:gd name="T15" fmla="*/ 63 h 241"/>
                <a:gd name="T16" fmla="*/ 70 w 241"/>
                <a:gd name="T17" fmla="*/ 46 h 241"/>
                <a:gd name="T18" fmla="*/ 93 w 241"/>
                <a:gd name="T19" fmla="*/ 34 h 241"/>
                <a:gd name="T20" fmla="*/ 120 w 241"/>
                <a:gd name="T21" fmla="*/ 30 h 241"/>
                <a:gd name="T22" fmla="*/ 147 w 241"/>
                <a:gd name="T23" fmla="*/ 34 h 241"/>
                <a:gd name="T24" fmla="*/ 170 w 241"/>
                <a:gd name="T25" fmla="*/ 46 h 241"/>
                <a:gd name="T26" fmla="*/ 190 w 241"/>
                <a:gd name="T27" fmla="*/ 63 h 241"/>
                <a:gd name="T28" fmla="*/ 204 w 241"/>
                <a:gd name="T29" fmla="*/ 85 h 241"/>
                <a:gd name="T30" fmla="*/ 210 w 241"/>
                <a:gd name="T31" fmla="*/ 111 h 241"/>
                <a:gd name="T32" fmla="*/ 209 w 241"/>
                <a:gd name="T33" fmla="*/ 138 h 241"/>
                <a:gd name="T34" fmla="*/ 199 w 241"/>
                <a:gd name="T35" fmla="*/ 162 h 241"/>
                <a:gd name="T36" fmla="*/ 184 w 241"/>
                <a:gd name="T37" fmla="*/ 184 h 241"/>
                <a:gd name="T38" fmla="*/ 163 w 241"/>
                <a:gd name="T39" fmla="*/ 199 h 241"/>
                <a:gd name="T40" fmla="*/ 138 w 241"/>
                <a:gd name="T41" fmla="*/ 208 h 241"/>
                <a:gd name="T42" fmla="*/ 120 w 241"/>
                <a:gd name="T43" fmla="*/ 210 h 241"/>
                <a:gd name="T44" fmla="*/ 96 w 241"/>
                <a:gd name="T45" fmla="*/ 2 h 241"/>
                <a:gd name="T46" fmla="*/ 63 w 241"/>
                <a:gd name="T47" fmla="*/ 15 h 241"/>
                <a:gd name="T48" fmla="*/ 35 w 241"/>
                <a:gd name="T49" fmla="*/ 35 h 241"/>
                <a:gd name="T50" fmla="*/ 15 w 241"/>
                <a:gd name="T51" fmla="*/ 63 h 241"/>
                <a:gd name="T52" fmla="*/ 2 w 241"/>
                <a:gd name="T53" fmla="*/ 96 h 241"/>
                <a:gd name="T54" fmla="*/ 1 w 241"/>
                <a:gd name="T55" fmla="*/ 132 h 241"/>
                <a:gd name="T56" fmla="*/ 10 w 241"/>
                <a:gd name="T57" fmla="*/ 167 h 241"/>
                <a:gd name="T58" fmla="*/ 28 w 241"/>
                <a:gd name="T59" fmla="*/ 197 h 241"/>
                <a:gd name="T60" fmla="*/ 54 w 241"/>
                <a:gd name="T61" fmla="*/ 219 h 241"/>
                <a:gd name="T62" fmla="*/ 85 w 241"/>
                <a:gd name="T63" fmla="*/ 235 h 241"/>
                <a:gd name="T64" fmla="*/ 120 w 241"/>
                <a:gd name="T65" fmla="*/ 241 h 241"/>
                <a:gd name="T66" fmla="*/ 156 w 241"/>
                <a:gd name="T67" fmla="*/ 235 h 241"/>
                <a:gd name="T68" fmla="*/ 187 w 241"/>
                <a:gd name="T69" fmla="*/ 219 h 241"/>
                <a:gd name="T70" fmla="*/ 213 w 241"/>
                <a:gd name="T71" fmla="*/ 197 h 241"/>
                <a:gd name="T72" fmla="*/ 231 w 241"/>
                <a:gd name="T73" fmla="*/ 167 h 241"/>
                <a:gd name="T74" fmla="*/ 240 w 241"/>
                <a:gd name="T75" fmla="*/ 132 h 241"/>
                <a:gd name="T76" fmla="*/ 238 w 241"/>
                <a:gd name="T77" fmla="*/ 96 h 241"/>
                <a:gd name="T78" fmla="*/ 226 w 241"/>
                <a:gd name="T79" fmla="*/ 63 h 241"/>
                <a:gd name="T80" fmla="*/ 206 w 241"/>
                <a:gd name="T81" fmla="*/ 35 h 241"/>
                <a:gd name="T82" fmla="*/ 178 w 241"/>
                <a:gd name="T83" fmla="*/ 15 h 241"/>
                <a:gd name="T84" fmla="*/ 145 w 241"/>
                <a:gd name="T85" fmla="*/ 2 h 241"/>
                <a:gd name="T86" fmla="*/ 120 w 241"/>
                <a:gd name="T8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1" h="241">
                  <a:moveTo>
                    <a:pt x="120" y="210"/>
                  </a:moveTo>
                  <a:lnTo>
                    <a:pt x="111" y="210"/>
                  </a:lnTo>
                  <a:lnTo>
                    <a:pt x="102" y="208"/>
                  </a:lnTo>
                  <a:lnTo>
                    <a:pt x="93" y="206"/>
                  </a:lnTo>
                  <a:lnTo>
                    <a:pt x="86" y="203"/>
                  </a:lnTo>
                  <a:lnTo>
                    <a:pt x="77" y="199"/>
                  </a:lnTo>
                  <a:lnTo>
                    <a:pt x="70" y="195"/>
                  </a:lnTo>
                  <a:lnTo>
                    <a:pt x="63" y="189"/>
                  </a:lnTo>
                  <a:lnTo>
                    <a:pt x="57" y="184"/>
                  </a:lnTo>
                  <a:lnTo>
                    <a:pt x="50" y="177"/>
                  </a:lnTo>
                  <a:lnTo>
                    <a:pt x="46" y="170"/>
                  </a:lnTo>
                  <a:lnTo>
                    <a:pt x="41" y="162"/>
                  </a:lnTo>
                  <a:lnTo>
                    <a:pt x="37" y="155"/>
                  </a:lnTo>
                  <a:lnTo>
                    <a:pt x="34" y="146"/>
                  </a:lnTo>
                  <a:lnTo>
                    <a:pt x="32" y="138"/>
                  </a:lnTo>
                  <a:lnTo>
                    <a:pt x="31" y="129"/>
                  </a:lnTo>
                  <a:lnTo>
                    <a:pt x="30" y="120"/>
                  </a:lnTo>
                  <a:lnTo>
                    <a:pt x="31" y="111"/>
                  </a:lnTo>
                  <a:lnTo>
                    <a:pt x="32" y="101"/>
                  </a:lnTo>
                  <a:lnTo>
                    <a:pt x="34" y="93"/>
                  </a:lnTo>
                  <a:lnTo>
                    <a:pt x="37" y="85"/>
                  </a:lnTo>
                  <a:lnTo>
                    <a:pt x="41" y="77"/>
                  </a:lnTo>
                  <a:lnTo>
                    <a:pt x="46" y="69"/>
                  </a:lnTo>
                  <a:lnTo>
                    <a:pt x="50" y="63"/>
                  </a:lnTo>
                  <a:lnTo>
                    <a:pt x="57" y="56"/>
                  </a:lnTo>
                  <a:lnTo>
                    <a:pt x="63" y="50"/>
                  </a:lnTo>
                  <a:lnTo>
                    <a:pt x="70" y="46"/>
                  </a:lnTo>
                  <a:lnTo>
                    <a:pt x="77" y="40"/>
                  </a:lnTo>
                  <a:lnTo>
                    <a:pt x="86" y="37"/>
                  </a:lnTo>
                  <a:lnTo>
                    <a:pt x="93" y="34"/>
                  </a:lnTo>
                  <a:lnTo>
                    <a:pt x="102" y="32"/>
                  </a:lnTo>
                  <a:lnTo>
                    <a:pt x="111" y="31"/>
                  </a:lnTo>
                  <a:lnTo>
                    <a:pt x="120" y="30"/>
                  </a:lnTo>
                  <a:lnTo>
                    <a:pt x="130" y="31"/>
                  </a:lnTo>
                  <a:lnTo>
                    <a:pt x="138" y="32"/>
                  </a:lnTo>
                  <a:lnTo>
                    <a:pt x="147" y="34"/>
                  </a:lnTo>
                  <a:lnTo>
                    <a:pt x="155" y="37"/>
                  </a:lnTo>
                  <a:lnTo>
                    <a:pt x="163" y="40"/>
                  </a:lnTo>
                  <a:lnTo>
                    <a:pt x="170" y="46"/>
                  </a:lnTo>
                  <a:lnTo>
                    <a:pt x="178" y="50"/>
                  </a:lnTo>
                  <a:lnTo>
                    <a:pt x="184" y="56"/>
                  </a:lnTo>
                  <a:lnTo>
                    <a:pt x="190" y="63"/>
                  </a:lnTo>
                  <a:lnTo>
                    <a:pt x="195" y="69"/>
                  </a:lnTo>
                  <a:lnTo>
                    <a:pt x="199" y="77"/>
                  </a:lnTo>
                  <a:lnTo>
                    <a:pt x="204" y="85"/>
                  </a:lnTo>
                  <a:lnTo>
                    <a:pt x="207" y="93"/>
                  </a:lnTo>
                  <a:lnTo>
                    <a:pt x="209" y="101"/>
                  </a:lnTo>
                  <a:lnTo>
                    <a:pt x="210" y="111"/>
                  </a:lnTo>
                  <a:lnTo>
                    <a:pt x="211" y="120"/>
                  </a:lnTo>
                  <a:lnTo>
                    <a:pt x="210" y="129"/>
                  </a:lnTo>
                  <a:lnTo>
                    <a:pt x="209" y="138"/>
                  </a:lnTo>
                  <a:lnTo>
                    <a:pt x="207" y="146"/>
                  </a:lnTo>
                  <a:lnTo>
                    <a:pt x="204" y="155"/>
                  </a:lnTo>
                  <a:lnTo>
                    <a:pt x="199" y="162"/>
                  </a:lnTo>
                  <a:lnTo>
                    <a:pt x="195" y="170"/>
                  </a:lnTo>
                  <a:lnTo>
                    <a:pt x="190" y="177"/>
                  </a:lnTo>
                  <a:lnTo>
                    <a:pt x="184" y="184"/>
                  </a:lnTo>
                  <a:lnTo>
                    <a:pt x="178" y="189"/>
                  </a:lnTo>
                  <a:lnTo>
                    <a:pt x="170" y="195"/>
                  </a:lnTo>
                  <a:lnTo>
                    <a:pt x="163" y="199"/>
                  </a:lnTo>
                  <a:lnTo>
                    <a:pt x="155" y="203"/>
                  </a:lnTo>
                  <a:lnTo>
                    <a:pt x="147" y="206"/>
                  </a:lnTo>
                  <a:lnTo>
                    <a:pt x="138" y="208"/>
                  </a:lnTo>
                  <a:lnTo>
                    <a:pt x="130" y="210"/>
                  </a:lnTo>
                  <a:lnTo>
                    <a:pt x="120" y="211"/>
                  </a:lnTo>
                  <a:lnTo>
                    <a:pt x="120" y="210"/>
                  </a:lnTo>
                  <a:close/>
                  <a:moveTo>
                    <a:pt x="120" y="0"/>
                  </a:moveTo>
                  <a:lnTo>
                    <a:pt x="108" y="1"/>
                  </a:lnTo>
                  <a:lnTo>
                    <a:pt x="96" y="2"/>
                  </a:lnTo>
                  <a:lnTo>
                    <a:pt x="85" y="5"/>
                  </a:lnTo>
                  <a:lnTo>
                    <a:pt x="74" y="9"/>
                  </a:lnTo>
                  <a:lnTo>
                    <a:pt x="63" y="15"/>
                  </a:lnTo>
                  <a:lnTo>
                    <a:pt x="54" y="20"/>
                  </a:lnTo>
                  <a:lnTo>
                    <a:pt x="44" y="27"/>
                  </a:lnTo>
                  <a:lnTo>
                    <a:pt x="35" y="35"/>
                  </a:lnTo>
                  <a:lnTo>
                    <a:pt x="28" y="43"/>
                  </a:lnTo>
                  <a:lnTo>
                    <a:pt x="20" y="53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5" y="84"/>
                  </a:lnTo>
                  <a:lnTo>
                    <a:pt x="2" y="96"/>
                  </a:lnTo>
                  <a:lnTo>
                    <a:pt x="1" y="108"/>
                  </a:lnTo>
                  <a:lnTo>
                    <a:pt x="0" y="120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5" y="156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7"/>
                  </a:lnTo>
                  <a:lnTo>
                    <a:pt x="35" y="205"/>
                  </a:lnTo>
                  <a:lnTo>
                    <a:pt x="44" y="213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1"/>
                  </a:lnTo>
                  <a:lnTo>
                    <a:pt x="85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1"/>
                  </a:lnTo>
                  <a:lnTo>
                    <a:pt x="133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1"/>
                  </a:lnTo>
                  <a:lnTo>
                    <a:pt x="178" y="226"/>
                  </a:lnTo>
                  <a:lnTo>
                    <a:pt x="187" y="219"/>
                  </a:lnTo>
                  <a:lnTo>
                    <a:pt x="197" y="213"/>
                  </a:lnTo>
                  <a:lnTo>
                    <a:pt x="206" y="205"/>
                  </a:lnTo>
                  <a:lnTo>
                    <a:pt x="213" y="197"/>
                  </a:lnTo>
                  <a:lnTo>
                    <a:pt x="220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6" y="156"/>
                  </a:lnTo>
                  <a:lnTo>
                    <a:pt x="238" y="144"/>
                  </a:lnTo>
                  <a:lnTo>
                    <a:pt x="240" y="132"/>
                  </a:lnTo>
                  <a:lnTo>
                    <a:pt x="241" y="120"/>
                  </a:lnTo>
                  <a:lnTo>
                    <a:pt x="240" y="108"/>
                  </a:lnTo>
                  <a:lnTo>
                    <a:pt x="238" y="96"/>
                  </a:lnTo>
                  <a:lnTo>
                    <a:pt x="236" y="84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0" y="53"/>
                  </a:lnTo>
                  <a:lnTo>
                    <a:pt x="213" y="43"/>
                  </a:lnTo>
                  <a:lnTo>
                    <a:pt x="206" y="35"/>
                  </a:lnTo>
                  <a:lnTo>
                    <a:pt x="197" y="27"/>
                  </a:lnTo>
                  <a:lnTo>
                    <a:pt x="187" y="20"/>
                  </a:lnTo>
                  <a:lnTo>
                    <a:pt x="178" y="15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3" y="1"/>
                  </a:lnTo>
                  <a:lnTo>
                    <a:pt x="120" y="0"/>
                  </a:lnTo>
                  <a:lnTo>
                    <a:pt x="1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Freeform 189">
              <a:extLst>
                <a:ext uri="{FF2B5EF4-FFF2-40B4-BE49-F238E27FC236}">
                  <a16:creationId xmlns:a16="http://schemas.microsoft.com/office/drawing/2014/main" id="{EADB248E-6869-488B-923A-1526C839D2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91738" y="1458913"/>
              <a:ext cx="28575" cy="28575"/>
            </a:xfrm>
            <a:custGeom>
              <a:avLst/>
              <a:gdLst>
                <a:gd name="T0" fmla="*/ 30 w 90"/>
                <a:gd name="T1" fmla="*/ 42 h 91"/>
                <a:gd name="T2" fmla="*/ 32 w 90"/>
                <a:gd name="T3" fmla="*/ 37 h 91"/>
                <a:gd name="T4" fmla="*/ 36 w 90"/>
                <a:gd name="T5" fmla="*/ 33 h 91"/>
                <a:gd name="T6" fmla="*/ 42 w 90"/>
                <a:gd name="T7" fmla="*/ 31 h 91"/>
                <a:gd name="T8" fmla="*/ 48 w 90"/>
                <a:gd name="T9" fmla="*/ 31 h 91"/>
                <a:gd name="T10" fmla="*/ 54 w 90"/>
                <a:gd name="T11" fmla="*/ 33 h 91"/>
                <a:gd name="T12" fmla="*/ 58 w 90"/>
                <a:gd name="T13" fmla="*/ 37 h 91"/>
                <a:gd name="T14" fmla="*/ 60 w 90"/>
                <a:gd name="T15" fmla="*/ 42 h 91"/>
                <a:gd name="T16" fmla="*/ 60 w 90"/>
                <a:gd name="T17" fmla="*/ 48 h 91"/>
                <a:gd name="T18" fmla="*/ 58 w 90"/>
                <a:gd name="T19" fmla="*/ 53 h 91"/>
                <a:gd name="T20" fmla="*/ 54 w 90"/>
                <a:gd name="T21" fmla="*/ 57 h 91"/>
                <a:gd name="T22" fmla="*/ 48 w 90"/>
                <a:gd name="T23" fmla="*/ 60 h 91"/>
                <a:gd name="T24" fmla="*/ 42 w 90"/>
                <a:gd name="T25" fmla="*/ 60 h 91"/>
                <a:gd name="T26" fmla="*/ 36 w 90"/>
                <a:gd name="T27" fmla="*/ 57 h 91"/>
                <a:gd name="T28" fmla="*/ 32 w 90"/>
                <a:gd name="T29" fmla="*/ 53 h 91"/>
                <a:gd name="T30" fmla="*/ 30 w 90"/>
                <a:gd name="T31" fmla="*/ 48 h 91"/>
                <a:gd name="T32" fmla="*/ 30 w 90"/>
                <a:gd name="T33" fmla="*/ 45 h 91"/>
                <a:gd name="T34" fmla="*/ 89 w 90"/>
                <a:gd name="T35" fmla="*/ 36 h 91"/>
                <a:gd name="T36" fmla="*/ 83 w 90"/>
                <a:gd name="T37" fmla="*/ 20 h 91"/>
                <a:gd name="T38" fmla="*/ 70 w 90"/>
                <a:gd name="T39" fmla="*/ 8 h 91"/>
                <a:gd name="T40" fmla="*/ 54 w 90"/>
                <a:gd name="T41" fmla="*/ 1 h 91"/>
                <a:gd name="T42" fmla="*/ 35 w 90"/>
                <a:gd name="T43" fmla="*/ 1 h 91"/>
                <a:gd name="T44" fmla="*/ 19 w 90"/>
                <a:gd name="T45" fmla="*/ 8 h 91"/>
                <a:gd name="T46" fmla="*/ 8 w 90"/>
                <a:gd name="T47" fmla="*/ 20 h 91"/>
                <a:gd name="T48" fmla="*/ 1 w 90"/>
                <a:gd name="T49" fmla="*/ 36 h 91"/>
                <a:gd name="T50" fmla="*/ 1 w 90"/>
                <a:gd name="T51" fmla="*/ 54 h 91"/>
                <a:gd name="T52" fmla="*/ 8 w 90"/>
                <a:gd name="T53" fmla="*/ 70 h 91"/>
                <a:gd name="T54" fmla="*/ 19 w 90"/>
                <a:gd name="T55" fmla="*/ 82 h 91"/>
                <a:gd name="T56" fmla="*/ 35 w 90"/>
                <a:gd name="T57" fmla="*/ 89 h 91"/>
                <a:gd name="T58" fmla="*/ 54 w 90"/>
                <a:gd name="T59" fmla="*/ 89 h 91"/>
                <a:gd name="T60" fmla="*/ 70 w 90"/>
                <a:gd name="T61" fmla="*/ 82 h 91"/>
                <a:gd name="T62" fmla="*/ 83 w 90"/>
                <a:gd name="T63" fmla="*/ 70 h 91"/>
                <a:gd name="T64" fmla="*/ 89 w 90"/>
                <a:gd name="T65" fmla="*/ 54 h 91"/>
                <a:gd name="T66" fmla="*/ 90 w 90"/>
                <a:gd name="T67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0" h="91">
                  <a:moveTo>
                    <a:pt x="30" y="45"/>
                  </a:moveTo>
                  <a:lnTo>
                    <a:pt x="30" y="42"/>
                  </a:lnTo>
                  <a:lnTo>
                    <a:pt x="31" y="39"/>
                  </a:lnTo>
                  <a:lnTo>
                    <a:pt x="32" y="37"/>
                  </a:lnTo>
                  <a:lnTo>
                    <a:pt x="34" y="35"/>
                  </a:lnTo>
                  <a:lnTo>
                    <a:pt x="36" y="33"/>
                  </a:lnTo>
                  <a:lnTo>
                    <a:pt x="39" y="32"/>
                  </a:lnTo>
                  <a:lnTo>
                    <a:pt x="42" y="31"/>
                  </a:lnTo>
                  <a:lnTo>
                    <a:pt x="45" y="31"/>
                  </a:lnTo>
                  <a:lnTo>
                    <a:pt x="48" y="31"/>
                  </a:lnTo>
                  <a:lnTo>
                    <a:pt x="50" y="32"/>
                  </a:lnTo>
                  <a:lnTo>
                    <a:pt x="54" y="33"/>
                  </a:lnTo>
                  <a:lnTo>
                    <a:pt x="56" y="35"/>
                  </a:lnTo>
                  <a:lnTo>
                    <a:pt x="58" y="37"/>
                  </a:lnTo>
                  <a:lnTo>
                    <a:pt x="59" y="39"/>
                  </a:lnTo>
                  <a:lnTo>
                    <a:pt x="60" y="42"/>
                  </a:lnTo>
                  <a:lnTo>
                    <a:pt x="60" y="46"/>
                  </a:lnTo>
                  <a:lnTo>
                    <a:pt x="60" y="48"/>
                  </a:lnTo>
                  <a:lnTo>
                    <a:pt x="59" y="51"/>
                  </a:lnTo>
                  <a:lnTo>
                    <a:pt x="58" y="53"/>
                  </a:lnTo>
                  <a:lnTo>
                    <a:pt x="56" y="55"/>
                  </a:lnTo>
                  <a:lnTo>
                    <a:pt x="54" y="57"/>
                  </a:lnTo>
                  <a:lnTo>
                    <a:pt x="50" y="58"/>
                  </a:lnTo>
                  <a:lnTo>
                    <a:pt x="48" y="60"/>
                  </a:lnTo>
                  <a:lnTo>
                    <a:pt x="45" y="61"/>
                  </a:lnTo>
                  <a:lnTo>
                    <a:pt x="42" y="60"/>
                  </a:lnTo>
                  <a:lnTo>
                    <a:pt x="39" y="58"/>
                  </a:lnTo>
                  <a:lnTo>
                    <a:pt x="36" y="57"/>
                  </a:lnTo>
                  <a:lnTo>
                    <a:pt x="34" y="55"/>
                  </a:lnTo>
                  <a:lnTo>
                    <a:pt x="32" y="53"/>
                  </a:lnTo>
                  <a:lnTo>
                    <a:pt x="31" y="51"/>
                  </a:lnTo>
                  <a:lnTo>
                    <a:pt x="30" y="48"/>
                  </a:lnTo>
                  <a:lnTo>
                    <a:pt x="30" y="46"/>
                  </a:lnTo>
                  <a:lnTo>
                    <a:pt x="30" y="45"/>
                  </a:lnTo>
                  <a:close/>
                  <a:moveTo>
                    <a:pt x="90" y="45"/>
                  </a:moveTo>
                  <a:lnTo>
                    <a:pt x="89" y="36"/>
                  </a:lnTo>
                  <a:lnTo>
                    <a:pt x="87" y="27"/>
                  </a:lnTo>
                  <a:lnTo>
                    <a:pt x="83" y="20"/>
                  </a:lnTo>
                  <a:lnTo>
                    <a:pt x="77" y="13"/>
                  </a:lnTo>
                  <a:lnTo>
                    <a:pt x="70" y="8"/>
                  </a:lnTo>
                  <a:lnTo>
                    <a:pt x="62" y="4"/>
                  </a:lnTo>
                  <a:lnTo>
                    <a:pt x="54" y="1"/>
                  </a:lnTo>
                  <a:lnTo>
                    <a:pt x="45" y="0"/>
                  </a:lnTo>
                  <a:lnTo>
                    <a:pt x="35" y="1"/>
                  </a:lnTo>
                  <a:lnTo>
                    <a:pt x="28" y="4"/>
                  </a:lnTo>
                  <a:lnTo>
                    <a:pt x="19" y="8"/>
                  </a:lnTo>
                  <a:lnTo>
                    <a:pt x="13" y="13"/>
                  </a:lnTo>
                  <a:lnTo>
                    <a:pt x="8" y="20"/>
                  </a:lnTo>
                  <a:lnTo>
                    <a:pt x="3" y="27"/>
                  </a:lnTo>
                  <a:lnTo>
                    <a:pt x="1" y="36"/>
                  </a:lnTo>
                  <a:lnTo>
                    <a:pt x="0" y="46"/>
                  </a:lnTo>
                  <a:lnTo>
                    <a:pt x="1" y="54"/>
                  </a:lnTo>
                  <a:lnTo>
                    <a:pt x="3" y="63"/>
                  </a:lnTo>
                  <a:lnTo>
                    <a:pt x="8" y="70"/>
                  </a:lnTo>
                  <a:lnTo>
                    <a:pt x="13" y="77"/>
                  </a:lnTo>
                  <a:lnTo>
                    <a:pt x="19" y="82"/>
                  </a:lnTo>
                  <a:lnTo>
                    <a:pt x="28" y="86"/>
                  </a:lnTo>
                  <a:lnTo>
                    <a:pt x="35" y="89"/>
                  </a:lnTo>
                  <a:lnTo>
                    <a:pt x="45" y="91"/>
                  </a:lnTo>
                  <a:lnTo>
                    <a:pt x="54" y="89"/>
                  </a:lnTo>
                  <a:lnTo>
                    <a:pt x="62" y="86"/>
                  </a:lnTo>
                  <a:lnTo>
                    <a:pt x="70" y="82"/>
                  </a:lnTo>
                  <a:lnTo>
                    <a:pt x="77" y="77"/>
                  </a:lnTo>
                  <a:lnTo>
                    <a:pt x="83" y="70"/>
                  </a:lnTo>
                  <a:lnTo>
                    <a:pt x="87" y="63"/>
                  </a:lnTo>
                  <a:lnTo>
                    <a:pt x="89" y="54"/>
                  </a:lnTo>
                  <a:lnTo>
                    <a:pt x="90" y="46"/>
                  </a:lnTo>
                  <a:lnTo>
                    <a:pt x="9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1" name="Freeform 190">
              <a:extLst>
                <a:ext uri="{FF2B5EF4-FFF2-40B4-BE49-F238E27FC236}">
                  <a16:creationId xmlns:a16="http://schemas.microsoft.com/office/drawing/2014/main" id="{E8C82A88-9423-4FF6-A836-CDFB36AF56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29813" y="1401763"/>
              <a:ext cx="28575" cy="28575"/>
            </a:xfrm>
            <a:custGeom>
              <a:avLst/>
              <a:gdLst>
                <a:gd name="T0" fmla="*/ 59 w 90"/>
                <a:gd name="T1" fmla="*/ 48 h 90"/>
                <a:gd name="T2" fmla="*/ 57 w 90"/>
                <a:gd name="T3" fmla="*/ 53 h 90"/>
                <a:gd name="T4" fmla="*/ 54 w 90"/>
                <a:gd name="T5" fmla="*/ 57 h 90"/>
                <a:gd name="T6" fmla="*/ 48 w 90"/>
                <a:gd name="T7" fmla="*/ 60 h 90"/>
                <a:gd name="T8" fmla="*/ 42 w 90"/>
                <a:gd name="T9" fmla="*/ 60 h 90"/>
                <a:gd name="T10" fmla="*/ 36 w 90"/>
                <a:gd name="T11" fmla="*/ 57 h 90"/>
                <a:gd name="T12" fmla="*/ 32 w 90"/>
                <a:gd name="T13" fmla="*/ 53 h 90"/>
                <a:gd name="T14" fmla="*/ 30 w 90"/>
                <a:gd name="T15" fmla="*/ 48 h 90"/>
                <a:gd name="T16" fmla="*/ 30 w 90"/>
                <a:gd name="T17" fmla="*/ 41 h 90"/>
                <a:gd name="T18" fmla="*/ 32 w 90"/>
                <a:gd name="T19" fmla="*/ 36 h 90"/>
                <a:gd name="T20" fmla="*/ 36 w 90"/>
                <a:gd name="T21" fmla="*/ 32 h 90"/>
                <a:gd name="T22" fmla="*/ 42 w 90"/>
                <a:gd name="T23" fmla="*/ 30 h 90"/>
                <a:gd name="T24" fmla="*/ 48 w 90"/>
                <a:gd name="T25" fmla="*/ 30 h 90"/>
                <a:gd name="T26" fmla="*/ 54 w 90"/>
                <a:gd name="T27" fmla="*/ 32 h 90"/>
                <a:gd name="T28" fmla="*/ 57 w 90"/>
                <a:gd name="T29" fmla="*/ 36 h 90"/>
                <a:gd name="T30" fmla="*/ 59 w 90"/>
                <a:gd name="T31" fmla="*/ 41 h 90"/>
                <a:gd name="T32" fmla="*/ 60 w 90"/>
                <a:gd name="T33" fmla="*/ 45 h 90"/>
                <a:gd name="T34" fmla="*/ 0 w 90"/>
                <a:gd name="T35" fmla="*/ 54 h 90"/>
                <a:gd name="T36" fmla="*/ 8 w 90"/>
                <a:gd name="T37" fmla="*/ 70 h 90"/>
                <a:gd name="T38" fmla="*/ 19 w 90"/>
                <a:gd name="T39" fmla="*/ 82 h 90"/>
                <a:gd name="T40" fmla="*/ 35 w 90"/>
                <a:gd name="T41" fmla="*/ 88 h 90"/>
                <a:gd name="T42" fmla="*/ 54 w 90"/>
                <a:gd name="T43" fmla="*/ 88 h 90"/>
                <a:gd name="T44" fmla="*/ 70 w 90"/>
                <a:gd name="T45" fmla="*/ 82 h 90"/>
                <a:gd name="T46" fmla="*/ 83 w 90"/>
                <a:gd name="T47" fmla="*/ 70 h 90"/>
                <a:gd name="T48" fmla="*/ 89 w 90"/>
                <a:gd name="T49" fmla="*/ 54 h 90"/>
                <a:gd name="T50" fmla="*/ 89 w 90"/>
                <a:gd name="T51" fmla="*/ 36 h 90"/>
                <a:gd name="T52" fmla="*/ 83 w 90"/>
                <a:gd name="T53" fmla="*/ 20 h 90"/>
                <a:gd name="T54" fmla="*/ 70 w 90"/>
                <a:gd name="T55" fmla="*/ 7 h 90"/>
                <a:gd name="T56" fmla="*/ 54 w 90"/>
                <a:gd name="T57" fmla="*/ 1 h 90"/>
                <a:gd name="T58" fmla="*/ 35 w 90"/>
                <a:gd name="T59" fmla="*/ 1 h 90"/>
                <a:gd name="T60" fmla="*/ 19 w 90"/>
                <a:gd name="T61" fmla="*/ 7 h 90"/>
                <a:gd name="T62" fmla="*/ 8 w 90"/>
                <a:gd name="T63" fmla="*/ 20 h 90"/>
                <a:gd name="T64" fmla="*/ 0 w 90"/>
                <a:gd name="T65" fmla="*/ 3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0" h="90">
                  <a:moveTo>
                    <a:pt x="60" y="45"/>
                  </a:moveTo>
                  <a:lnTo>
                    <a:pt x="59" y="48"/>
                  </a:lnTo>
                  <a:lnTo>
                    <a:pt x="59" y="51"/>
                  </a:lnTo>
                  <a:lnTo>
                    <a:pt x="57" y="53"/>
                  </a:lnTo>
                  <a:lnTo>
                    <a:pt x="56" y="55"/>
                  </a:lnTo>
                  <a:lnTo>
                    <a:pt x="54" y="57"/>
                  </a:lnTo>
                  <a:lnTo>
                    <a:pt x="50" y="58"/>
                  </a:lnTo>
                  <a:lnTo>
                    <a:pt x="48" y="60"/>
                  </a:lnTo>
                  <a:lnTo>
                    <a:pt x="45" y="60"/>
                  </a:lnTo>
                  <a:lnTo>
                    <a:pt x="42" y="60"/>
                  </a:lnTo>
                  <a:lnTo>
                    <a:pt x="39" y="58"/>
                  </a:lnTo>
                  <a:lnTo>
                    <a:pt x="36" y="57"/>
                  </a:lnTo>
                  <a:lnTo>
                    <a:pt x="34" y="55"/>
                  </a:lnTo>
                  <a:lnTo>
                    <a:pt x="32" y="53"/>
                  </a:lnTo>
                  <a:lnTo>
                    <a:pt x="31" y="51"/>
                  </a:lnTo>
                  <a:lnTo>
                    <a:pt x="30" y="48"/>
                  </a:lnTo>
                  <a:lnTo>
                    <a:pt x="30" y="45"/>
                  </a:lnTo>
                  <a:lnTo>
                    <a:pt x="30" y="41"/>
                  </a:lnTo>
                  <a:lnTo>
                    <a:pt x="31" y="39"/>
                  </a:lnTo>
                  <a:lnTo>
                    <a:pt x="32" y="36"/>
                  </a:lnTo>
                  <a:lnTo>
                    <a:pt x="34" y="34"/>
                  </a:lnTo>
                  <a:lnTo>
                    <a:pt x="36" y="32"/>
                  </a:lnTo>
                  <a:lnTo>
                    <a:pt x="39" y="31"/>
                  </a:lnTo>
                  <a:lnTo>
                    <a:pt x="42" y="30"/>
                  </a:lnTo>
                  <a:lnTo>
                    <a:pt x="45" y="30"/>
                  </a:lnTo>
                  <a:lnTo>
                    <a:pt x="48" y="30"/>
                  </a:lnTo>
                  <a:lnTo>
                    <a:pt x="50" y="31"/>
                  </a:lnTo>
                  <a:lnTo>
                    <a:pt x="54" y="32"/>
                  </a:lnTo>
                  <a:lnTo>
                    <a:pt x="56" y="34"/>
                  </a:lnTo>
                  <a:lnTo>
                    <a:pt x="57" y="36"/>
                  </a:lnTo>
                  <a:lnTo>
                    <a:pt x="59" y="39"/>
                  </a:lnTo>
                  <a:lnTo>
                    <a:pt x="59" y="41"/>
                  </a:lnTo>
                  <a:lnTo>
                    <a:pt x="60" y="45"/>
                  </a:lnTo>
                  <a:lnTo>
                    <a:pt x="60" y="45"/>
                  </a:lnTo>
                  <a:close/>
                  <a:moveTo>
                    <a:pt x="0" y="45"/>
                  </a:moveTo>
                  <a:lnTo>
                    <a:pt x="0" y="54"/>
                  </a:lnTo>
                  <a:lnTo>
                    <a:pt x="3" y="62"/>
                  </a:lnTo>
                  <a:lnTo>
                    <a:pt x="8" y="70"/>
                  </a:lnTo>
                  <a:lnTo>
                    <a:pt x="13" y="77"/>
                  </a:lnTo>
                  <a:lnTo>
                    <a:pt x="19" y="82"/>
                  </a:lnTo>
                  <a:lnTo>
                    <a:pt x="27" y="86"/>
                  </a:lnTo>
                  <a:lnTo>
                    <a:pt x="35" y="88"/>
                  </a:lnTo>
                  <a:lnTo>
                    <a:pt x="45" y="90"/>
                  </a:lnTo>
                  <a:lnTo>
                    <a:pt x="54" y="88"/>
                  </a:lnTo>
                  <a:lnTo>
                    <a:pt x="62" y="86"/>
                  </a:lnTo>
                  <a:lnTo>
                    <a:pt x="70" y="82"/>
                  </a:lnTo>
                  <a:lnTo>
                    <a:pt x="76" y="77"/>
                  </a:lnTo>
                  <a:lnTo>
                    <a:pt x="83" y="70"/>
                  </a:lnTo>
                  <a:lnTo>
                    <a:pt x="87" y="62"/>
                  </a:lnTo>
                  <a:lnTo>
                    <a:pt x="89" y="54"/>
                  </a:lnTo>
                  <a:lnTo>
                    <a:pt x="90" y="45"/>
                  </a:lnTo>
                  <a:lnTo>
                    <a:pt x="89" y="36"/>
                  </a:lnTo>
                  <a:lnTo>
                    <a:pt x="87" y="27"/>
                  </a:lnTo>
                  <a:lnTo>
                    <a:pt x="83" y="20"/>
                  </a:lnTo>
                  <a:lnTo>
                    <a:pt x="76" y="12"/>
                  </a:lnTo>
                  <a:lnTo>
                    <a:pt x="70" y="7"/>
                  </a:lnTo>
                  <a:lnTo>
                    <a:pt x="62" y="3"/>
                  </a:lnTo>
                  <a:lnTo>
                    <a:pt x="54" y="1"/>
                  </a:lnTo>
                  <a:lnTo>
                    <a:pt x="45" y="0"/>
                  </a:lnTo>
                  <a:lnTo>
                    <a:pt x="35" y="1"/>
                  </a:lnTo>
                  <a:lnTo>
                    <a:pt x="27" y="3"/>
                  </a:lnTo>
                  <a:lnTo>
                    <a:pt x="19" y="7"/>
                  </a:lnTo>
                  <a:lnTo>
                    <a:pt x="13" y="12"/>
                  </a:lnTo>
                  <a:lnTo>
                    <a:pt x="8" y="20"/>
                  </a:lnTo>
                  <a:lnTo>
                    <a:pt x="3" y="27"/>
                  </a:lnTo>
                  <a:lnTo>
                    <a:pt x="0" y="36"/>
                  </a:lnTo>
                  <a:lnTo>
                    <a:pt x="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Freeform 191">
              <a:extLst>
                <a:ext uri="{FF2B5EF4-FFF2-40B4-BE49-F238E27FC236}">
                  <a16:creationId xmlns:a16="http://schemas.microsoft.com/office/drawing/2014/main" id="{3F05DD18-AEC1-43E1-8F8F-C1C387C36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1238" y="1373188"/>
              <a:ext cx="247650" cy="142875"/>
            </a:xfrm>
            <a:custGeom>
              <a:avLst/>
              <a:gdLst>
                <a:gd name="T0" fmla="*/ 498 w 782"/>
                <a:gd name="T1" fmla="*/ 441 h 451"/>
                <a:gd name="T2" fmla="*/ 503 w 782"/>
                <a:gd name="T3" fmla="*/ 447 h 451"/>
                <a:gd name="T4" fmla="*/ 512 w 782"/>
                <a:gd name="T5" fmla="*/ 451 h 451"/>
                <a:gd name="T6" fmla="*/ 710 w 782"/>
                <a:gd name="T7" fmla="*/ 448 h 451"/>
                <a:gd name="T8" fmla="*/ 735 w 782"/>
                <a:gd name="T9" fmla="*/ 440 h 451"/>
                <a:gd name="T10" fmla="*/ 756 w 782"/>
                <a:gd name="T11" fmla="*/ 424 h 451"/>
                <a:gd name="T12" fmla="*/ 771 w 782"/>
                <a:gd name="T13" fmla="*/ 403 h 451"/>
                <a:gd name="T14" fmla="*/ 781 w 782"/>
                <a:gd name="T15" fmla="*/ 379 h 451"/>
                <a:gd name="T16" fmla="*/ 782 w 782"/>
                <a:gd name="T17" fmla="*/ 90 h 451"/>
                <a:gd name="T18" fmla="*/ 779 w 782"/>
                <a:gd name="T19" fmla="*/ 63 h 451"/>
                <a:gd name="T20" fmla="*/ 767 w 782"/>
                <a:gd name="T21" fmla="*/ 39 h 451"/>
                <a:gd name="T22" fmla="*/ 750 w 782"/>
                <a:gd name="T23" fmla="*/ 20 h 451"/>
                <a:gd name="T24" fmla="*/ 727 w 782"/>
                <a:gd name="T25" fmla="*/ 6 h 451"/>
                <a:gd name="T26" fmla="*/ 702 w 782"/>
                <a:gd name="T27" fmla="*/ 0 h 451"/>
                <a:gd name="T28" fmla="*/ 81 w 782"/>
                <a:gd name="T29" fmla="*/ 0 h 451"/>
                <a:gd name="T30" fmla="*/ 56 w 782"/>
                <a:gd name="T31" fmla="*/ 6 h 451"/>
                <a:gd name="T32" fmla="*/ 33 w 782"/>
                <a:gd name="T33" fmla="*/ 20 h 451"/>
                <a:gd name="T34" fmla="*/ 16 w 782"/>
                <a:gd name="T35" fmla="*/ 39 h 451"/>
                <a:gd name="T36" fmla="*/ 4 w 782"/>
                <a:gd name="T37" fmla="*/ 63 h 451"/>
                <a:gd name="T38" fmla="*/ 0 w 782"/>
                <a:gd name="T39" fmla="*/ 90 h 451"/>
                <a:gd name="T40" fmla="*/ 2 w 782"/>
                <a:gd name="T41" fmla="*/ 291 h 451"/>
                <a:gd name="T42" fmla="*/ 7 w 782"/>
                <a:gd name="T43" fmla="*/ 297 h 451"/>
                <a:gd name="T44" fmla="*/ 15 w 782"/>
                <a:gd name="T45" fmla="*/ 301 h 451"/>
                <a:gd name="T46" fmla="*/ 24 w 782"/>
                <a:gd name="T47" fmla="*/ 297 h 451"/>
                <a:gd name="T48" fmla="*/ 29 w 782"/>
                <a:gd name="T49" fmla="*/ 291 h 451"/>
                <a:gd name="T50" fmla="*/ 30 w 782"/>
                <a:gd name="T51" fmla="*/ 90 h 451"/>
                <a:gd name="T52" fmla="*/ 33 w 782"/>
                <a:gd name="T53" fmla="*/ 71 h 451"/>
                <a:gd name="T54" fmla="*/ 41 w 782"/>
                <a:gd name="T55" fmla="*/ 55 h 451"/>
                <a:gd name="T56" fmla="*/ 52 w 782"/>
                <a:gd name="T57" fmla="*/ 43 h 451"/>
                <a:gd name="T58" fmla="*/ 67 w 782"/>
                <a:gd name="T59" fmla="*/ 34 h 451"/>
                <a:gd name="T60" fmla="*/ 85 w 782"/>
                <a:gd name="T61" fmla="*/ 30 h 451"/>
                <a:gd name="T62" fmla="*/ 698 w 782"/>
                <a:gd name="T63" fmla="*/ 30 h 451"/>
                <a:gd name="T64" fmla="*/ 716 w 782"/>
                <a:gd name="T65" fmla="*/ 34 h 451"/>
                <a:gd name="T66" fmla="*/ 731 w 782"/>
                <a:gd name="T67" fmla="*/ 43 h 451"/>
                <a:gd name="T68" fmla="*/ 742 w 782"/>
                <a:gd name="T69" fmla="*/ 55 h 451"/>
                <a:gd name="T70" fmla="*/ 750 w 782"/>
                <a:gd name="T71" fmla="*/ 71 h 451"/>
                <a:gd name="T72" fmla="*/ 752 w 782"/>
                <a:gd name="T73" fmla="*/ 90 h 451"/>
                <a:gd name="T74" fmla="*/ 751 w 782"/>
                <a:gd name="T75" fmla="*/ 372 h 451"/>
                <a:gd name="T76" fmla="*/ 744 w 782"/>
                <a:gd name="T77" fmla="*/ 389 h 451"/>
                <a:gd name="T78" fmla="*/ 735 w 782"/>
                <a:gd name="T79" fmla="*/ 403 h 451"/>
                <a:gd name="T80" fmla="*/ 721 w 782"/>
                <a:gd name="T81" fmla="*/ 413 h 451"/>
                <a:gd name="T82" fmla="*/ 704 w 782"/>
                <a:gd name="T83" fmla="*/ 419 h 451"/>
                <a:gd name="T84" fmla="*/ 512 w 782"/>
                <a:gd name="T85" fmla="*/ 421 h 451"/>
                <a:gd name="T86" fmla="*/ 503 w 782"/>
                <a:gd name="T87" fmla="*/ 423 h 451"/>
                <a:gd name="T88" fmla="*/ 498 w 782"/>
                <a:gd name="T89" fmla="*/ 429 h 451"/>
                <a:gd name="T90" fmla="*/ 497 w 782"/>
                <a:gd name="T91" fmla="*/ 436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82" h="451">
                  <a:moveTo>
                    <a:pt x="497" y="436"/>
                  </a:moveTo>
                  <a:lnTo>
                    <a:pt x="497" y="439"/>
                  </a:lnTo>
                  <a:lnTo>
                    <a:pt x="498" y="441"/>
                  </a:lnTo>
                  <a:lnTo>
                    <a:pt x="499" y="444"/>
                  </a:lnTo>
                  <a:lnTo>
                    <a:pt x="501" y="446"/>
                  </a:lnTo>
                  <a:lnTo>
                    <a:pt x="503" y="447"/>
                  </a:lnTo>
                  <a:lnTo>
                    <a:pt x="506" y="449"/>
                  </a:lnTo>
                  <a:lnTo>
                    <a:pt x="509" y="451"/>
                  </a:lnTo>
                  <a:lnTo>
                    <a:pt x="512" y="451"/>
                  </a:lnTo>
                  <a:lnTo>
                    <a:pt x="692" y="451"/>
                  </a:lnTo>
                  <a:lnTo>
                    <a:pt x="702" y="449"/>
                  </a:lnTo>
                  <a:lnTo>
                    <a:pt x="710" y="448"/>
                  </a:lnTo>
                  <a:lnTo>
                    <a:pt x="719" y="446"/>
                  </a:lnTo>
                  <a:lnTo>
                    <a:pt x="727" y="443"/>
                  </a:lnTo>
                  <a:lnTo>
                    <a:pt x="735" y="440"/>
                  </a:lnTo>
                  <a:lnTo>
                    <a:pt x="742" y="436"/>
                  </a:lnTo>
                  <a:lnTo>
                    <a:pt x="750" y="430"/>
                  </a:lnTo>
                  <a:lnTo>
                    <a:pt x="756" y="424"/>
                  </a:lnTo>
                  <a:lnTo>
                    <a:pt x="762" y="417"/>
                  </a:lnTo>
                  <a:lnTo>
                    <a:pt x="767" y="411"/>
                  </a:lnTo>
                  <a:lnTo>
                    <a:pt x="771" y="403"/>
                  </a:lnTo>
                  <a:lnTo>
                    <a:pt x="776" y="396"/>
                  </a:lnTo>
                  <a:lnTo>
                    <a:pt x="779" y="387"/>
                  </a:lnTo>
                  <a:lnTo>
                    <a:pt x="781" y="379"/>
                  </a:lnTo>
                  <a:lnTo>
                    <a:pt x="782" y="369"/>
                  </a:lnTo>
                  <a:lnTo>
                    <a:pt x="782" y="361"/>
                  </a:lnTo>
                  <a:lnTo>
                    <a:pt x="782" y="90"/>
                  </a:lnTo>
                  <a:lnTo>
                    <a:pt x="782" y="80"/>
                  </a:lnTo>
                  <a:lnTo>
                    <a:pt x="781" y="71"/>
                  </a:lnTo>
                  <a:lnTo>
                    <a:pt x="779" y="63"/>
                  </a:lnTo>
                  <a:lnTo>
                    <a:pt x="776" y="54"/>
                  </a:lnTo>
                  <a:lnTo>
                    <a:pt x="771" y="47"/>
                  </a:lnTo>
                  <a:lnTo>
                    <a:pt x="767" y="39"/>
                  </a:lnTo>
                  <a:lnTo>
                    <a:pt x="762" y="32"/>
                  </a:lnTo>
                  <a:lnTo>
                    <a:pt x="756" y="25"/>
                  </a:lnTo>
                  <a:lnTo>
                    <a:pt x="750" y="20"/>
                  </a:lnTo>
                  <a:lnTo>
                    <a:pt x="742" y="15"/>
                  </a:lnTo>
                  <a:lnTo>
                    <a:pt x="735" y="10"/>
                  </a:lnTo>
                  <a:lnTo>
                    <a:pt x="727" y="6"/>
                  </a:lnTo>
                  <a:lnTo>
                    <a:pt x="719" y="4"/>
                  </a:lnTo>
                  <a:lnTo>
                    <a:pt x="710" y="1"/>
                  </a:lnTo>
                  <a:lnTo>
                    <a:pt x="702" y="0"/>
                  </a:lnTo>
                  <a:lnTo>
                    <a:pt x="692" y="0"/>
                  </a:lnTo>
                  <a:lnTo>
                    <a:pt x="91" y="0"/>
                  </a:lnTo>
                  <a:lnTo>
                    <a:pt x="81" y="0"/>
                  </a:lnTo>
                  <a:lnTo>
                    <a:pt x="72" y="1"/>
                  </a:lnTo>
                  <a:lnTo>
                    <a:pt x="63" y="4"/>
                  </a:lnTo>
                  <a:lnTo>
                    <a:pt x="56" y="6"/>
                  </a:lnTo>
                  <a:lnTo>
                    <a:pt x="47" y="10"/>
                  </a:lnTo>
                  <a:lnTo>
                    <a:pt x="40" y="15"/>
                  </a:lnTo>
                  <a:lnTo>
                    <a:pt x="33" y="20"/>
                  </a:lnTo>
                  <a:lnTo>
                    <a:pt x="27" y="25"/>
                  </a:lnTo>
                  <a:lnTo>
                    <a:pt x="20" y="32"/>
                  </a:lnTo>
                  <a:lnTo>
                    <a:pt x="16" y="39"/>
                  </a:lnTo>
                  <a:lnTo>
                    <a:pt x="11" y="47"/>
                  </a:lnTo>
                  <a:lnTo>
                    <a:pt x="7" y="54"/>
                  </a:lnTo>
                  <a:lnTo>
                    <a:pt x="4" y="63"/>
                  </a:lnTo>
                  <a:lnTo>
                    <a:pt x="2" y="71"/>
                  </a:lnTo>
                  <a:lnTo>
                    <a:pt x="1" y="80"/>
                  </a:lnTo>
                  <a:lnTo>
                    <a:pt x="0" y="90"/>
                  </a:lnTo>
                  <a:lnTo>
                    <a:pt x="0" y="285"/>
                  </a:lnTo>
                  <a:lnTo>
                    <a:pt x="1" y="288"/>
                  </a:lnTo>
                  <a:lnTo>
                    <a:pt x="2" y="291"/>
                  </a:lnTo>
                  <a:lnTo>
                    <a:pt x="3" y="293"/>
                  </a:lnTo>
                  <a:lnTo>
                    <a:pt x="5" y="295"/>
                  </a:lnTo>
                  <a:lnTo>
                    <a:pt x="7" y="297"/>
                  </a:lnTo>
                  <a:lnTo>
                    <a:pt x="10" y="298"/>
                  </a:lnTo>
                  <a:lnTo>
                    <a:pt x="13" y="300"/>
                  </a:lnTo>
                  <a:lnTo>
                    <a:pt x="15" y="301"/>
                  </a:lnTo>
                  <a:lnTo>
                    <a:pt x="18" y="300"/>
                  </a:lnTo>
                  <a:lnTo>
                    <a:pt x="21" y="298"/>
                  </a:lnTo>
                  <a:lnTo>
                    <a:pt x="24" y="297"/>
                  </a:lnTo>
                  <a:lnTo>
                    <a:pt x="26" y="295"/>
                  </a:lnTo>
                  <a:lnTo>
                    <a:pt x="28" y="293"/>
                  </a:lnTo>
                  <a:lnTo>
                    <a:pt x="29" y="291"/>
                  </a:lnTo>
                  <a:lnTo>
                    <a:pt x="30" y="288"/>
                  </a:lnTo>
                  <a:lnTo>
                    <a:pt x="30" y="285"/>
                  </a:lnTo>
                  <a:lnTo>
                    <a:pt x="30" y="90"/>
                  </a:lnTo>
                  <a:lnTo>
                    <a:pt x="31" y="83"/>
                  </a:lnTo>
                  <a:lnTo>
                    <a:pt x="32" y="78"/>
                  </a:lnTo>
                  <a:lnTo>
                    <a:pt x="33" y="71"/>
                  </a:lnTo>
                  <a:lnTo>
                    <a:pt x="35" y="66"/>
                  </a:lnTo>
                  <a:lnTo>
                    <a:pt x="37" y="61"/>
                  </a:lnTo>
                  <a:lnTo>
                    <a:pt x="41" y="55"/>
                  </a:lnTo>
                  <a:lnTo>
                    <a:pt x="44" y="51"/>
                  </a:lnTo>
                  <a:lnTo>
                    <a:pt x="48" y="47"/>
                  </a:lnTo>
                  <a:lnTo>
                    <a:pt x="52" y="43"/>
                  </a:lnTo>
                  <a:lnTo>
                    <a:pt x="57" y="39"/>
                  </a:lnTo>
                  <a:lnTo>
                    <a:pt x="62" y="37"/>
                  </a:lnTo>
                  <a:lnTo>
                    <a:pt x="67" y="34"/>
                  </a:lnTo>
                  <a:lnTo>
                    <a:pt x="73" y="32"/>
                  </a:lnTo>
                  <a:lnTo>
                    <a:pt x="78" y="31"/>
                  </a:lnTo>
                  <a:lnTo>
                    <a:pt x="85" y="30"/>
                  </a:lnTo>
                  <a:lnTo>
                    <a:pt x="91" y="30"/>
                  </a:lnTo>
                  <a:lnTo>
                    <a:pt x="692" y="30"/>
                  </a:lnTo>
                  <a:lnTo>
                    <a:pt x="698" y="30"/>
                  </a:lnTo>
                  <a:lnTo>
                    <a:pt x="704" y="31"/>
                  </a:lnTo>
                  <a:lnTo>
                    <a:pt x="710" y="32"/>
                  </a:lnTo>
                  <a:lnTo>
                    <a:pt x="716" y="34"/>
                  </a:lnTo>
                  <a:lnTo>
                    <a:pt x="721" y="37"/>
                  </a:lnTo>
                  <a:lnTo>
                    <a:pt x="726" y="39"/>
                  </a:lnTo>
                  <a:lnTo>
                    <a:pt x="731" y="43"/>
                  </a:lnTo>
                  <a:lnTo>
                    <a:pt x="735" y="47"/>
                  </a:lnTo>
                  <a:lnTo>
                    <a:pt x="738" y="51"/>
                  </a:lnTo>
                  <a:lnTo>
                    <a:pt x="742" y="55"/>
                  </a:lnTo>
                  <a:lnTo>
                    <a:pt x="744" y="61"/>
                  </a:lnTo>
                  <a:lnTo>
                    <a:pt x="748" y="66"/>
                  </a:lnTo>
                  <a:lnTo>
                    <a:pt x="750" y="71"/>
                  </a:lnTo>
                  <a:lnTo>
                    <a:pt x="751" y="78"/>
                  </a:lnTo>
                  <a:lnTo>
                    <a:pt x="752" y="83"/>
                  </a:lnTo>
                  <a:lnTo>
                    <a:pt x="752" y="90"/>
                  </a:lnTo>
                  <a:lnTo>
                    <a:pt x="752" y="361"/>
                  </a:lnTo>
                  <a:lnTo>
                    <a:pt x="752" y="366"/>
                  </a:lnTo>
                  <a:lnTo>
                    <a:pt x="751" y="372"/>
                  </a:lnTo>
                  <a:lnTo>
                    <a:pt x="750" y="379"/>
                  </a:lnTo>
                  <a:lnTo>
                    <a:pt x="748" y="384"/>
                  </a:lnTo>
                  <a:lnTo>
                    <a:pt x="744" y="389"/>
                  </a:lnTo>
                  <a:lnTo>
                    <a:pt x="742" y="394"/>
                  </a:lnTo>
                  <a:lnTo>
                    <a:pt x="738" y="399"/>
                  </a:lnTo>
                  <a:lnTo>
                    <a:pt x="735" y="403"/>
                  </a:lnTo>
                  <a:lnTo>
                    <a:pt x="731" y="407"/>
                  </a:lnTo>
                  <a:lnTo>
                    <a:pt x="726" y="410"/>
                  </a:lnTo>
                  <a:lnTo>
                    <a:pt x="721" y="413"/>
                  </a:lnTo>
                  <a:lnTo>
                    <a:pt x="716" y="415"/>
                  </a:lnTo>
                  <a:lnTo>
                    <a:pt x="710" y="417"/>
                  </a:lnTo>
                  <a:lnTo>
                    <a:pt x="704" y="419"/>
                  </a:lnTo>
                  <a:lnTo>
                    <a:pt x="698" y="421"/>
                  </a:lnTo>
                  <a:lnTo>
                    <a:pt x="692" y="421"/>
                  </a:lnTo>
                  <a:lnTo>
                    <a:pt x="512" y="421"/>
                  </a:lnTo>
                  <a:lnTo>
                    <a:pt x="509" y="421"/>
                  </a:lnTo>
                  <a:lnTo>
                    <a:pt x="506" y="422"/>
                  </a:lnTo>
                  <a:lnTo>
                    <a:pt x="503" y="423"/>
                  </a:lnTo>
                  <a:lnTo>
                    <a:pt x="501" y="425"/>
                  </a:lnTo>
                  <a:lnTo>
                    <a:pt x="499" y="427"/>
                  </a:lnTo>
                  <a:lnTo>
                    <a:pt x="498" y="429"/>
                  </a:lnTo>
                  <a:lnTo>
                    <a:pt x="497" y="432"/>
                  </a:lnTo>
                  <a:lnTo>
                    <a:pt x="497" y="436"/>
                  </a:lnTo>
                  <a:lnTo>
                    <a:pt x="497" y="4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3" name="Group 392">
            <a:extLst>
              <a:ext uri="{FF2B5EF4-FFF2-40B4-BE49-F238E27FC236}">
                <a16:creationId xmlns:a16="http://schemas.microsoft.com/office/drawing/2014/main" id="{C327B13F-2F6E-44F5-AD02-30E3EBD447E2}"/>
              </a:ext>
            </a:extLst>
          </p:cNvPr>
          <p:cNvGrpSpPr/>
          <p:nvPr/>
        </p:nvGrpSpPr>
        <p:grpSpPr>
          <a:xfrm>
            <a:off x="3497451" y="3343863"/>
            <a:ext cx="287338" cy="249238"/>
            <a:chOff x="9309100" y="2536825"/>
            <a:chExt cx="287338" cy="249238"/>
          </a:xfrm>
          <a:solidFill>
            <a:schemeClr val="bg1"/>
          </a:solidFill>
        </p:grpSpPr>
        <p:sp>
          <p:nvSpPr>
            <p:cNvPr id="394" name="Freeform 216">
              <a:extLst>
                <a:ext uri="{FF2B5EF4-FFF2-40B4-BE49-F238E27FC236}">
                  <a16:creationId xmlns:a16="http://schemas.microsoft.com/office/drawing/2014/main" id="{2B3FA161-8B8E-408B-ADD1-8C852716DF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56725" y="2670175"/>
              <a:ext cx="104775" cy="77788"/>
            </a:xfrm>
            <a:custGeom>
              <a:avLst/>
              <a:gdLst>
                <a:gd name="T0" fmla="*/ 301 w 331"/>
                <a:gd name="T1" fmla="*/ 211 h 241"/>
                <a:gd name="T2" fmla="*/ 30 w 331"/>
                <a:gd name="T3" fmla="*/ 211 h 241"/>
                <a:gd name="T4" fmla="*/ 30 w 331"/>
                <a:gd name="T5" fmla="*/ 30 h 241"/>
                <a:gd name="T6" fmla="*/ 301 w 331"/>
                <a:gd name="T7" fmla="*/ 30 h 241"/>
                <a:gd name="T8" fmla="*/ 301 w 331"/>
                <a:gd name="T9" fmla="*/ 211 h 241"/>
                <a:gd name="T10" fmla="*/ 316 w 331"/>
                <a:gd name="T11" fmla="*/ 0 h 241"/>
                <a:gd name="T12" fmla="*/ 15 w 331"/>
                <a:gd name="T13" fmla="*/ 0 h 241"/>
                <a:gd name="T14" fmla="*/ 13 w 331"/>
                <a:gd name="T15" fmla="*/ 1 h 241"/>
                <a:gd name="T16" fmla="*/ 10 w 331"/>
                <a:gd name="T17" fmla="*/ 1 h 241"/>
                <a:gd name="T18" fmla="*/ 7 w 331"/>
                <a:gd name="T19" fmla="*/ 4 h 241"/>
                <a:gd name="T20" fmla="*/ 5 w 331"/>
                <a:gd name="T21" fmla="*/ 5 h 241"/>
                <a:gd name="T22" fmla="*/ 3 w 331"/>
                <a:gd name="T23" fmla="*/ 7 h 241"/>
                <a:gd name="T24" fmla="*/ 2 w 331"/>
                <a:gd name="T25" fmla="*/ 10 h 241"/>
                <a:gd name="T26" fmla="*/ 1 w 331"/>
                <a:gd name="T27" fmla="*/ 13 h 241"/>
                <a:gd name="T28" fmla="*/ 0 w 331"/>
                <a:gd name="T29" fmla="*/ 15 h 241"/>
                <a:gd name="T30" fmla="*/ 0 w 331"/>
                <a:gd name="T31" fmla="*/ 226 h 241"/>
                <a:gd name="T32" fmla="*/ 1 w 331"/>
                <a:gd name="T33" fmla="*/ 230 h 241"/>
                <a:gd name="T34" fmla="*/ 2 w 331"/>
                <a:gd name="T35" fmla="*/ 232 h 241"/>
                <a:gd name="T36" fmla="*/ 3 w 331"/>
                <a:gd name="T37" fmla="*/ 235 h 241"/>
                <a:gd name="T38" fmla="*/ 5 w 331"/>
                <a:gd name="T39" fmla="*/ 237 h 241"/>
                <a:gd name="T40" fmla="*/ 7 w 331"/>
                <a:gd name="T41" fmla="*/ 238 h 241"/>
                <a:gd name="T42" fmla="*/ 10 w 331"/>
                <a:gd name="T43" fmla="*/ 240 h 241"/>
                <a:gd name="T44" fmla="*/ 13 w 331"/>
                <a:gd name="T45" fmla="*/ 241 h 241"/>
                <a:gd name="T46" fmla="*/ 15 w 331"/>
                <a:gd name="T47" fmla="*/ 241 h 241"/>
                <a:gd name="T48" fmla="*/ 316 w 331"/>
                <a:gd name="T49" fmla="*/ 241 h 241"/>
                <a:gd name="T50" fmla="*/ 319 w 331"/>
                <a:gd name="T51" fmla="*/ 241 h 241"/>
                <a:gd name="T52" fmla="*/ 322 w 331"/>
                <a:gd name="T53" fmla="*/ 240 h 241"/>
                <a:gd name="T54" fmla="*/ 325 w 331"/>
                <a:gd name="T55" fmla="*/ 238 h 241"/>
                <a:gd name="T56" fmla="*/ 327 w 331"/>
                <a:gd name="T57" fmla="*/ 237 h 241"/>
                <a:gd name="T58" fmla="*/ 329 w 331"/>
                <a:gd name="T59" fmla="*/ 235 h 241"/>
                <a:gd name="T60" fmla="*/ 330 w 331"/>
                <a:gd name="T61" fmla="*/ 232 h 241"/>
                <a:gd name="T62" fmla="*/ 331 w 331"/>
                <a:gd name="T63" fmla="*/ 230 h 241"/>
                <a:gd name="T64" fmla="*/ 331 w 331"/>
                <a:gd name="T65" fmla="*/ 226 h 241"/>
                <a:gd name="T66" fmla="*/ 331 w 331"/>
                <a:gd name="T67" fmla="*/ 15 h 241"/>
                <a:gd name="T68" fmla="*/ 331 w 331"/>
                <a:gd name="T69" fmla="*/ 12 h 241"/>
                <a:gd name="T70" fmla="*/ 330 w 331"/>
                <a:gd name="T71" fmla="*/ 10 h 241"/>
                <a:gd name="T72" fmla="*/ 329 w 331"/>
                <a:gd name="T73" fmla="*/ 7 h 241"/>
                <a:gd name="T74" fmla="*/ 327 w 331"/>
                <a:gd name="T75" fmla="*/ 5 h 241"/>
                <a:gd name="T76" fmla="*/ 325 w 331"/>
                <a:gd name="T77" fmla="*/ 4 h 241"/>
                <a:gd name="T78" fmla="*/ 322 w 331"/>
                <a:gd name="T79" fmla="*/ 1 h 241"/>
                <a:gd name="T80" fmla="*/ 319 w 331"/>
                <a:gd name="T81" fmla="*/ 1 h 241"/>
                <a:gd name="T82" fmla="*/ 316 w 331"/>
                <a:gd name="T83" fmla="*/ 0 h 241"/>
                <a:gd name="T84" fmla="*/ 316 w 331"/>
                <a:gd name="T85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31" h="241">
                  <a:moveTo>
                    <a:pt x="301" y="211"/>
                  </a:moveTo>
                  <a:lnTo>
                    <a:pt x="30" y="211"/>
                  </a:lnTo>
                  <a:lnTo>
                    <a:pt x="30" y="30"/>
                  </a:lnTo>
                  <a:lnTo>
                    <a:pt x="301" y="30"/>
                  </a:lnTo>
                  <a:lnTo>
                    <a:pt x="301" y="211"/>
                  </a:lnTo>
                  <a:close/>
                  <a:moveTo>
                    <a:pt x="316" y="0"/>
                  </a:moveTo>
                  <a:lnTo>
                    <a:pt x="15" y="0"/>
                  </a:lnTo>
                  <a:lnTo>
                    <a:pt x="13" y="1"/>
                  </a:lnTo>
                  <a:lnTo>
                    <a:pt x="10" y="1"/>
                  </a:lnTo>
                  <a:lnTo>
                    <a:pt x="7" y="4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10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0" y="226"/>
                  </a:lnTo>
                  <a:lnTo>
                    <a:pt x="1" y="230"/>
                  </a:lnTo>
                  <a:lnTo>
                    <a:pt x="2" y="232"/>
                  </a:lnTo>
                  <a:lnTo>
                    <a:pt x="3" y="235"/>
                  </a:lnTo>
                  <a:lnTo>
                    <a:pt x="5" y="237"/>
                  </a:lnTo>
                  <a:lnTo>
                    <a:pt x="7" y="238"/>
                  </a:lnTo>
                  <a:lnTo>
                    <a:pt x="10" y="240"/>
                  </a:lnTo>
                  <a:lnTo>
                    <a:pt x="13" y="241"/>
                  </a:lnTo>
                  <a:lnTo>
                    <a:pt x="15" y="241"/>
                  </a:lnTo>
                  <a:lnTo>
                    <a:pt x="316" y="241"/>
                  </a:lnTo>
                  <a:lnTo>
                    <a:pt x="319" y="241"/>
                  </a:lnTo>
                  <a:lnTo>
                    <a:pt x="322" y="240"/>
                  </a:lnTo>
                  <a:lnTo>
                    <a:pt x="325" y="238"/>
                  </a:lnTo>
                  <a:lnTo>
                    <a:pt x="327" y="237"/>
                  </a:lnTo>
                  <a:lnTo>
                    <a:pt x="329" y="235"/>
                  </a:lnTo>
                  <a:lnTo>
                    <a:pt x="330" y="232"/>
                  </a:lnTo>
                  <a:lnTo>
                    <a:pt x="331" y="230"/>
                  </a:lnTo>
                  <a:lnTo>
                    <a:pt x="331" y="226"/>
                  </a:lnTo>
                  <a:lnTo>
                    <a:pt x="331" y="15"/>
                  </a:lnTo>
                  <a:lnTo>
                    <a:pt x="331" y="12"/>
                  </a:lnTo>
                  <a:lnTo>
                    <a:pt x="330" y="10"/>
                  </a:lnTo>
                  <a:lnTo>
                    <a:pt x="329" y="7"/>
                  </a:lnTo>
                  <a:lnTo>
                    <a:pt x="327" y="5"/>
                  </a:lnTo>
                  <a:lnTo>
                    <a:pt x="325" y="4"/>
                  </a:lnTo>
                  <a:lnTo>
                    <a:pt x="322" y="1"/>
                  </a:lnTo>
                  <a:lnTo>
                    <a:pt x="319" y="1"/>
                  </a:lnTo>
                  <a:lnTo>
                    <a:pt x="316" y="0"/>
                  </a:lnTo>
                  <a:lnTo>
                    <a:pt x="3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Freeform 217">
              <a:extLst>
                <a:ext uri="{FF2B5EF4-FFF2-40B4-BE49-F238E27FC236}">
                  <a16:creationId xmlns:a16="http://schemas.microsoft.com/office/drawing/2014/main" id="{DB48BF49-FF9E-4C85-B66F-D89006B755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09100" y="2536825"/>
              <a:ext cx="287338" cy="249238"/>
            </a:xfrm>
            <a:custGeom>
              <a:avLst/>
              <a:gdLst>
                <a:gd name="T0" fmla="*/ 863 w 902"/>
                <a:gd name="T1" fmla="*/ 235 h 782"/>
                <a:gd name="T2" fmla="*/ 832 w 902"/>
                <a:gd name="T3" fmla="*/ 276 h 782"/>
                <a:gd name="T4" fmla="*/ 787 w 902"/>
                <a:gd name="T5" fmla="*/ 299 h 782"/>
                <a:gd name="T6" fmla="*/ 737 w 902"/>
                <a:gd name="T7" fmla="*/ 298 h 782"/>
                <a:gd name="T8" fmla="*/ 692 w 902"/>
                <a:gd name="T9" fmla="*/ 280 h 782"/>
                <a:gd name="T10" fmla="*/ 752 w 902"/>
                <a:gd name="T11" fmla="*/ 752 h 782"/>
                <a:gd name="T12" fmla="*/ 748 w 902"/>
                <a:gd name="T13" fmla="*/ 426 h 782"/>
                <a:gd name="T14" fmla="*/ 556 w 902"/>
                <a:gd name="T15" fmla="*/ 421 h 782"/>
                <a:gd name="T16" fmla="*/ 544 w 902"/>
                <a:gd name="T17" fmla="*/ 428 h 782"/>
                <a:gd name="T18" fmla="*/ 120 w 902"/>
                <a:gd name="T19" fmla="*/ 752 h 782"/>
                <a:gd name="T20" fmla="*/ 170 w 902"/>
                <a:gd name="T21" fmla="*/ 326 h 782"/>
                <a:gd name="T22" fmla="*/ 231 w 902"/>
                <a:gd name="T23" fmla="*/ 320 h 782"/>
                <a:gd name="T24" fmla="*/ 279 w 902"/>
                <a:gd name="T25" fmla="*/ 354 h 782"/>
                <a:gd name="T26" fmla="*/ 347 w 902"/>
                <a:gd name="T27" fmla="*/ 361 h 782"/>
                <a:gd name="T28" fmla="*/ 415 w 902"/>
                <a:gd name="T29" fmla="*/ 340 h 782"/>
                <a:gd name="T30" fmla="*/ 475 w 902"/>
                <a:gd name="T31" fmla="*/ 346 h 782"/>
                <a:gd name="T32" fmla="*/ 556 w 902"/>
                <a:gd name="T33" fmla="*/ 361 h 782"/>
                <a:gd name="T34" fmla="*/ 643 w 902"/>
                <a:gd name="T35" fmla="*/ 341 h 782"/>
                <a:gd name="T36" fmla="*/ 701 w 902"/>
                <a:gd name="T37" fmla="*/ 319 h 782"/>
                <a:gd name="T38" fmla="*/ 756 w 902"/>
                <a:gd name="T39" fmla="*/ 331 h 782"/>
                <a:gd name="T40" fmla="*/ 571 w 902"/>
                <a:gd name="T41" fmla="*/ 752 h 782"/>
                <a:gd name="T42" fmla="*/ 30 w 902"/>
                <a:gd name="T43" fmla="*/ 196 h 782"/>
                <a:gd name="T44" fmla="*/ 193 w 902"/>
                <a:gd name="T45" fmla="*/ 289 h 782"/>
                <a:gd name="T46" fmla="*/ 132 w 902"/>
                <a:gd name="T47" fmla="*/ 301 h 782"/>
                <a:gd name="T48" fmla="*/ 82 w 902"/>
                <a:gd name="T49" fmla="*/ 292 h 782"/>
                <a:gd name="T50" fmla="*/ 48 w 902"/>
                <a:gd name="T51" fmla="*/ 261 h 782"/>
                <a:gd name="T52" fmla="*/ 32 w 902"/>
                <a:gd name="T53" fmla="*/ 216 h 782"/>
                <a:gd name="T54" fmla="*/ 214 w 902"/>
                <a:gd name="T55" fmla="*/ 151 h 782"/>
                <a:gd name="T56" fmla="*/ 451 w 902"/>
                <a:gd name="T57" fmla="*/ 151 h 782"/>
                <a:gd name="T58" fmla="*/ 245 w 902"/>
                <a:gd name="T59" fmla="*/ 151 h 782"/>
                <a:gd name="T60" fmla="*/ 421 w 902"/>
                <a:gd name="T61" fmla="*/ 295 h 782"/>
                <a:gd name="T62" fmla="*/ 371 w 902"/>
                <a:gd name="T63" fmla="*/ 327 h 782"/>
                <a:gd name="T64" fmla="*/ 301 w 902"/>
                <a:gd name="T65" fmla="*/ 329 h 782"/>
                <a:gd name="T66" fmla="*/ 250 w 902"/>
                <a:gd name="T67" fmla="*/ 295 h 782"/>
                <a:gd name="T68" fmla="*/ 643 w 902"/>
                <a:gd name="T69" fmla="*/ 304 h 782"/>
                <a:gd name="T70" fmla="*/ 574 w 902"/>
                <a:gd name="T71" fmla="*/ 330 h 782"/>
                <a:gd name="T72" fmla="*/ 496 w 902"/>
                <a:gd name="T73" fmla="*/ 322 h 782"/>
                <a:gd name="T74" fmla="*/ 451 w 902"/>
                <a:gd name="T75" fmla="*/ 181 h 782"/>
                <a:gd name="T76" fmla="*/ 651 w 902"/>
                <a:gd name="T77" fmla="*/ 30 h 782"/>
                <a:gd name="T78" fmla="*/ 901 w 902"/>
                <a:gd name="T79" fmla="*/ 160 h 782"/>
                <a:gd name="T80" fmla="*/ 805 w 902"/>
                <a:gd name="T81" fmla="*/ 2 h 782"/>
                <a:gd name="T82" fmla="*/ 97 w 902"/>
                <a:gd name="T83" fmla="*/ 2 h 782"/>
                <a:gd name="T84" fmla="*/ 2 w 902"/>
                <a:gd name="T85" fmla="*/ 160 h 782"/>
                <a:gd name="T86" fmla="*/ 0 w 902"/>
                <a:gd name="T87" fmla="*/ 166 h 782"/>
                <a:gd name="T88" fmla="*/ 4 w 902"/>
                <a:gd name="T89" fmla="*/ 231 h 782"/>
                <a:gd name="T90" fmla="*/ 26 w 902"/>
                <a:gd name="T91" fmla="*/ 280 h 782"/>
                <a:gd name="T92" fmla="*/ 62 w 902"/>
                <a:gd name="T93" fmla="*/ 315 h 782"/>
                <a:gd name="T94" fmla="*/ 91 w 902"/>
                <a:gd name="T95" fmla="*/ 771 h 782"/>
                <a:gd name="T96" fmla="*/ 100 w 902"/>
                <a:gd name="T97" fmla="*/ 781 h 782"/>
                <a:gd name="T98" fmla="*/ 797 w 902"/>
                <a:gd name="T99" fmla="*/ 782 h 782"/>
                <a:gd name="T100" fmla="*/ 810 w 902"/>
                <a:gd name="T101" fmla="*/ 776 h 782"/>
                <a:gd name="T102" fmla="*/ 822 w 902"/>
                <a:gd name="T103" fmla="*/ 319 h 782"/>
                <a:gd name="T104" fmla="*/ 862 w 902"/>
                <a:gd name="T105" fmla="*/ 289 h 782"/>
                <a:gd name="T106" fmla="*/ 891 w 902"/>
                <a:gd name="T107" fmla="*/ 246 h 782"/>
                <a:gd name="T108" fmla="*/ 902 w 902"/>
                <a:gd name="T109" fmla="*/ 196 h 782"/>
                <a:gd name="T110" fmla="*/ 901 w 902"/>
                <a:gd name="T111" fmla="*/ 161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02" h="782">
                  <a:moveTo>
                    <a:pt x="872" y="196"/>
                  </a:moveTo>
                  <a:lnTo>
                    <a:pt x="872" y="206"/>
                  </a:lnTo>
                  <a:lnTo>
                    <a:pt x="870" y="216"/>
                  </a:lnTo>
                  <a:lnTo>
                    <a:pt x="867" y="226"/>
                  </a:lnTo>
                  <a:lnTo>
                    <a:pt x="863" y="235"/>
                  </a:lnTo>
                  <a:lnTo>
                    <a:pt x="858" y="245"/>
                  </a:lnTo>
                  <a:lnTo>
                    <a:pt x="853" y="253"/>
                  </a:lnTo>
                  <a:lnTo>
                    <a:pt x="846" y="262"/>
                  </a:lnTo>
                  <a:lnTo>
                    <a:pt x="840" y="269"/>
                  </a:lnTo>
                  <a:lnTo>
                    <a:pt x="832" y="276"/>
                  </a:lnTo>
                  <a:lnTo>
                    <a:pt x="824" y="282"/>
                  </a:lnTo>
                  <a:lnTo>
                    <a:pt x="815" y="287"/>
                  </a:lnTo>
                  <a:lnTo>
                    <a:pt x="807" y="293"/>
                  </a:lnTo>
                  <a:lnTo>
                    <a:pt x="797" y="296"/>
                  </a:lnTo>
                  <a:lnTo>
                    <a:pt x="787" y="299"/>
                  </a:lnTo>
                  <a:lnTo>
                    <a:pt x="777" y="301"/>
                  </a:lnTo>
                  <a:lnTo>
                    <a:pt x="767" y="301"/>
                  </a:lnTo>
                  <a:lnTo>
                    <a:pt x="757" y="301"/>
                  </a:lnTo>
                  <a:lnTo>
                    <a:pt x="748" y="300"/>
                  </a:lnTo>
                  <a:lnTo>
                    <a:pt x="737" y="298"/>
                  </a:lnTo>
                  <a:lnTo>
                    <a:pt x="727" y="296"/>
                  </a:lnTo>
                  <a:lnTo>
                    <a:pt x="717" y="293"/>
                  </a:lnTo>
                  <a:lnTo>
                    <a:pt x="708" y="290"/>
                  </a:lnTo>
                  <a:lnTo>
                    <a:pt x="700" y="284"/>
                  </a:lnTo>
                  <a:lnTo>
                    <a:pt x="692" y="280"/>
                  </a:lnTo>
                  <a:lnTo>
                    <a:pt x="692" y="181"/>
                  </a:lnTo>
                  <a:lnTo>
                    <a:pt x="872" y="181"/>
                  </a:lnTo>
                  <a:lnTo>
                    <a:pt x="872" y="196"/>
                  </a:lnTo>
                  <a:close/>
                  <a:moveTo>
                    <a:pt x="782" y="752"/>
                  </a:moveTo>
                  <a:lnTo>
                    <a:pt x="752" y="752"/>
                  </a:lnTo>
                  <a:lnTo>
                    <a:pt x="752" y="436"/>
                  </a:lnTo>
                  <a:lnTo>
                    <a:pt x="752" y="433"/>
                  </a:lnTo>
                  <a:lnTo>
                    <a:pt x="751" y="431"/>
                  </a:lnTo>
                  <a:lnTo>
                    <a:pt x="749" y="428"/>
                  </a:lnTo>
                  <a:lnTo>
                    <a:pt x="748" y="426"/>
                  </a:lnTo>
                  <a:lnTo>
                    <a:pt x="746" y="425"/>
                  </a:lnTo>
                  <a:lnTo>
                    <a:pt x="742" y="422"/>
                  </a:lnTo>
                  <a:lnTo>
                    <a:pt x="740" y="422"/>
                  </a:lnTo>
                  <a:lnTo>
                    <a:pt x="737" y="421"/>
                  </a:lnTo>
                  <a:lnTo>
                    <a:pt x="556" y="421"/>
                  </a:lnTo>
                  <a:lnTo>
                    <a:pt x="554" y="422"/>
                  </a:lnTo>
                  <a:lnTo>
                    <a:pt x="551" y="422"/>
                  </a:lnTo>
                  <a:lnTo>
                    <a:pt x="548" y="425"/>
                  </a:lnTo>
                  <a:lnTo>
                    <a:pt x="545" y="426"/>
                  </a:lnTo>
                  <a:lnTo>
                    <a:pt x="544" y="428"/>
                  </a:lnTo>
                  <a:lnTo>
                    <a:pt x="542" y="431"/>
                  </a:lnTo>
                  <a:lnTo>
                    <a:pt x="542" y="434"/>
                  </a:lnTo>
                  <a:lnTo>
                    <a:pt x="541" y="436"/>
                  </a:lnTo>
                  <a:lnTo>
                    <a:pt x="541" y="752"/>
                  </a:lnTo>
                  <a:lnTo>
                    <a:pt x="120" y="752"/>
                  </a:lnTo>
                  <a:lnTo>
                    <a:pt x="120" y="331"/>
                  </a:lnTo>
                  <a:lnTo>
                    <a:pt x="131" y="331"/>
                  </a:lnTo>
                  <a:lnTo>
                    <a:pt x="144" y="330"/>
                  </a:lnTo>
                  <a:lnTo>
                    <a:pt x="156" y="328"/>
                  </a:lnTo>
                  <a:lnTo>
                    <a:pt x="170" y="326"/>
                  </a:lnTo>
                  <a:lnTo>
                    <a:pt x="184" y="323"/>
                  </a:lnTo>
                  <a:lnTo>
                    <a:pt x="197" y="319"/>
                  </a:lnTo>
                  <a:lnTo>
                    <a:pt x="210" y="314"/>
                  </a:lnTo>
                  <a:lnTo>
                    <a:pt x="222" y="308"/>
                  </a:lnTo>
                  <a:lnTo>
                    <a:pt x="231" y="320"/>
                  </a:lnTo>
                  <a:lnTo>
                    <a:pt x="241" y="330"/>
                  </a:lnTo>
                  <a:lnTo>
                    <a:pt x="252" y="340"/>
                  </a:lnTo>
                  <a:lnTo>
                    <a:pt x="265" y="347"/>
                  </a:lnTo>
                  <a:lnTo>
                    <a:pt x="271" y="351"/>
                  </a:lnTo>
                  <a:lnTo>
                    <a:pt x="279" y="354"/>
                  </a:lnTo>
                  <a:lnTo>
                    <a:pt x="285" y="356"/>
                  </a:lnTo>
                  <a:lnTo>
                    <a:pt x="294" y="358"/>
                  </a:lnTo>
                  <a:lnTo>
                    <a:pt x="311" y="360"/>
                  </a:lnTo>
                  <a:lnTo>
                    <a:pt x="331" y="361"/>
                  </a:lnTo>
                  <a:lnTo>
                    <a:pt x="347" y="361"/>
                  </a:lnTo>
                  <a:lnTo>
                    <a:pt x="362" y="359"/>
                  </a:lnTo>
                  <a:lnTo>
                    <a:pt x="376" y="356"/>
                  </a:lnTo>
                  <a:lnTo>
                    <a:pt x="390" y="352"/>
                  </a:lnTo>
                  <a:lnTo>
                    <a:pt x="403" y="346"/>
                  </a:lnTo>
                  <a:lnTo>
                    <a:pt x="415" y="340"/>
                  </a:lnTo>
                  <a:lnTo>
                    <a:pt x="425" y="332"/>
                  </a:lnTo>
                  <a:lnTo>
                    <a:pt x="436" y="323"/>
                  </a:lnTo>
                  <a:lnTo>
                    <a:pt x="448" y="331"/>
                  </a:lnTo>
                  <a:lnTo>
                    <a:pt x="461" y="339"/>
                  </a:lnTo>
                  <a:lnTo>
                    <a:pt x="475" y="346"/>
                  </a:lnTo>
                  <a:lnTo>
                    <a:pt x="488" y="352"/>
                  </a:lnTo>
                  <a:lnTo>
                    <a:pt x="505" y="356"/>
                  </a:lnTo>
                  <a:lnTo>
                    <a:pt x="522" y="359"/>
                  </a:lnTo>
                  <a:lnTo>
                    <a:pt x="539" y="361"/>
                  </a:lnTo>
                  <a:lnTo>
                    <a:pt x="556" y="361"/>
                  </a:lnTo>
                  <a:lnTo>
                    <a:pt x="576" y="360"/>
                  </a:lnTo>
                  <a:lnTo>
                    <a:pt x="595" y="358"/>
                  </a:lnTo>
                  <a:lnTo>
                    <a:pt x="612" y="354"/>
                  </a:lnTo>
                  <a:lnTo>
                    <a:pt x="628" y="348"/>
                  </a:lnTo>
                  <a:lnTo>
                    <a:pt x="643" y="341"/>
                  </a:lnTo>
                  <a:lnTo>
                    <a:pt x="656" y="331"/>
                  </a:lnTo>
                  <a:lnTo>
                    <a:pt x="668" y="321"/>
                  </a:lnTo>
                  <a:lnTo>
                    <a:pt x="679" y="308"/>
                  </a:lnTo>
                  <a:lnTo>
                    <a:pt x="690" y="314"/>
                  </a:lnTo>
                  <a:lnTo>
                    <a:pt x="701" y="319"/>
                  </a:lnTo>
                  <a:lnTo>
                    <a:pt x="712" y="323"/>
                  </a:lnTo>
                  <a:lnTo>
                    <a:pt x="723" y="326"/>
                  </a:lnTo>
                  <a:lnTo>
                    <a:pt x="735" y="328"/>
                  </a:lnTo>
                  <a:lnTo>
                    <a:pt x="746" y="330"/>
                  </a:lnTo>
                  <a:lnTo>
                    <a:pt x="756" y="331"/>
                  </a:lnTo>
                  <a:lnTo>
                    <a:pt x="767" y="331"/>
                  </a:lnTo>
                  <a:lnTo>
                    <a:pt x="775" y="331"/>
                  </a:lnTo>
                  <a:lnTo>
                    <a:pt x="782" y="330"/>
                  </a:lnTo>
                  <a:lnTo>
                    <a:pt x="782" y="752"/>
                  </a:lnTo>
                  <a:close/>
                  <a:moveTo>
                    <a:pt x="571" y="752"/>
                  </a:moveTo>
                  <a:lnTo>
                    <a:pt x="571" y="451"/>
                  </a:lnTo>
                  <a:lnTo>
                    <a:pt x="722" y="451"/>
                  </a:lnTo>
                  <a:lnTo>
                    <a:pt x="722" y="752"/>
                  </a:lnTo>
                  <a:lnTo>
                    <a:pt x="571" y="752"/>
                  </a:lnTo>
                  <a:close/>
                  <a:moveTo>
                    <a:pt x="30" y="196"/>
                  </a:moveTo>
                  <a:lnTo>
                    <a:pt x="30" y="181"/>
                  </a:lnTo>
                  <a:lnTo>
                    <a:pt x="211" y="181"/>
                  </a:lnTo>
                  <a:lnTo>
                    <a:pt x="211" y="279"/>
                  </a:lnTo>
                  <a:lnTo>
                    <a:pt x="202" y="284"/>
                  </a:lnTo>
                  <a:lnTo>
                    <a:pt x="193" y="289"/>
                  </a:lnTo>
                  <a:lnTo>
                    <a:pt x="182" y="292"/>
                  </a:lnTo>
                  <a:lnTo>
                    <a:pt x="170" y="295"/>
                  </a:lnTo>
                  <a:lnTo>
                    <a:pt x="157" y="298"/>
                  </a:lnTo>
                  <a:lnTo>
                    <a:pt x="145" y="300"/>
                  </a:lnTo>
                  <a:lnTo>
                    <a:pt x="132" y="301"/>
                  </a:lnTo>
                  <a:lnTo>
                    <a:pt x="120" y="301"/>
                  </a:lnTo>
                  <a:lnTo>
                    <a:pt x="110" y="300"/>
                  </a:lnTo>
                  <a:lnTo>
                    <a:pt x="101" y="299"/>
                  </a:lnTo>
                  <a:lnTo>
                    <a:pt x="91" y="296"/>
                  </a:lnTo>
                  <a:lnTo>
                    <a:pt x="82" y="292"/>
                  </a:lnTo>
                  <a:lnTo>
                    <a:pt x="74" y="287"/>
                  </a:lnTo>
                  <a:lnTo>
                    <a:pt x="67" y="282"/>
                  </a:lnTo>
                  <a:lnTo>
                    <a:pt x="60" y="276"/>
                  </a:lnTo>
                  <a:lnTo>
                    <a:pt x="54" y="268"/>
                  </a:lnTo>
                  <a:lnTo>
                    <a:pt x="48" y="261"/>
                  </a:lnTo>
                  <a:lnTo>
                    <a:pt x="44" y="252"/>
                  </a:lnTo>
                  <a:lnTo>
                    <a:pt x="40" y="244"/>
                  </a:lnTo>
                  <a:lnTo>
                    <a:pt x="36" y="235"/>
                  </a:lnTo>
                  <a:lnTo>
                    <a:pt x="33" y="225"/>
                  </a:lnTo>
                  <a:lnTo>
                    <a:pt x="32" y="216"/>
                  </a:lnTo>
                  <a:lnTo>
                    <a:pt x="31" y="206"/>
                  </a:lnTo>
                  <a:lnTo>
                    <a:pt x="30" y="196"/>
                  </a:lnTo>
                  <a:close/>
                  <a:moveTo>
                    <a:pt x="114" y="30"/>
                  </a:moveTo>
                  <a:lnTo>
                    <a:pt x="251" y="30"/>
                  </a:lnTo>
                  <a:lnTo>
                    <a:pt x="214" y="151"/>
                  </a:lnTo>
                  <a:lnTo>
                    <a:pt x="42" y="151"/>
                  </a:lnTo>
                  <a:lnTo>
                    <a:pt x="114" y="30"/>
                  </a:lnTo>
                  <a:close/>
                  <a:moveTo>
                    <a:pt x="620" y="30"/>
                  </a:moveTo>
                  <a:lnTo>
                    <a:pt x="657" y="151"/>
                  </a:lnTo>
                  <a:lnTo>
                    <a:pt x="451" y="151"/>
                  </a:lnTo>
                  <a:lnTo>
                    <a:pt x="451" y="30"/>
                  </a:lnTo>
                  <a:lnTo>
                    <a:pt x="620" y="30"/>
                  </a:lnTo>
                  <a:close/>
                  <a:moveTo>
                    <a:pt x="421" y="30"/>
                  </a:moveTo>
                  <a:lnTo>
                    <a:pt x="421" y="151"/>
                  </a:lnTo>
                  <a:lnTo>
                    <a:pt x="245" y="151"/>
                  </a:lnTo>
                  <a:lnTo>
                    <a:pt x="282" y="30"/>
                  </a:lnTo>
                  <a:lnTo>
                    <a:pt x="421" y="30"/>
                  </a:lnTo>
                  <a:close/>
                  <a:moveTo>
                    <a:pt x="241" y="181"/>
                  </a:moveTo>
                  <a:lnTo>
                    <a:pt x="421" y="181"/>
                  </a:lnTo>
                  <a:lnTo>
                    <a:pt x="421" y="295"/>
                  </a:lnTo>
                  <a:lnTo>
                    <a:pt x="412" y="305"/>
                  </a:lnTo>
                  <a:lnTo>
                    <a:pt x="403" y="312"/>
                  </a:lnTo>
                  <a:lnTo>
                    <a:pt x="392" y="317"/>
                  </a:lnTo>
                  <a:lnTo>
                    <a:pt x="381" y="323"/>
                  </a:lnTo>
                  <a:lnTo>
                    <a:pt x="371" y="327"/>
                  </a:lnTo>
                  <a:lnTo>
                    <a:pt x="358" y="329"/>
                  </a:lnTo>
                  <a:lnTo>
                    <a:pt x="345" y="331"/>
                  </a:lnTo>
                  <a:lnTo>
                    <a:pt x="331" y="331"/>
                  </a:lnTo>
                  <a:lnTo>
                    <a:pt x="315" y="331"/>
                  </a:lnTo>
                  <a:lnTo>
                    <a:pt x="301" y="329"/>
                  </a:lnTo>
                  <a:lnTo>
                    <a:pt x="289" y="326"/>
                  </a:lnTo>
                  <a:lnTo>
                    <a:pt x="279" y="321"/>
                  </a:lnTo>
                  <a:lnTo>
                    <a:pt x="268" y="314"/>
                  </a:lnTo>
                  <a:lnTo>
                    <a:pt x="259" y="306"/>
                  </a:lnTo>
                  <a:lnTo>
                    <a:pt x="250" y="295"/>
                  </a:lnTo>
                  <a:lnTo>
                    <a:pt x="241" y="282"/>
                  </a:lnTo>
                  <a:lnTo>
                    <a:pt x="241" y="181"/>
                  </a:lnTo>
                  <a:close/>
                  <a:moveTo>
                    <a:pt x="662" y="282"/>
                  </a:moveTo>
                  <a:lnTo>
                    <a:pt x="652" y="294"/>
                  </a:lnTo>
                  <a:lnTo>
                    <a:pt x="643" y="304"/>
                  </a:lnTo>
                  <a:lnTo>
                    <a:pt x="631" y="312"/>
                  </a:lnTo>
                  <a:lnTo>
                    <a:pt x="619" y="320"/>
                  </a:lnTo>
                  <a:lnTo>
                    <a:pt x="605" y="325"/>
                  </a:lnTo>
                  <a:lnTo>
                    <a:pt x="590" y="328"/>
                  </a:lnTo>
                  <a:lnTo>
                    <a:pt x="574" y="330"/>
                  </a:lnTo>
                  <a:lnTo>
                    <a:pt x="556" y="331"/>
                  </a:lnTo>
                  <a:lnTo>
                    <a:pt x="540" y="331"/>
                  </a:lnTo>
                  <a:lnTo>
                    <a:pt x="524" y="329"/>
                  </a:lnTo>
                  <a:lnTo>
                    <a:pt x="510" y="326"/>
                  </a:lnTo>
                  <a:lnTo>
                    <a:pt x="496" y="322"/>
                  </a:lnTo>
                  <a:lnTo>
                    <a:pt x="483" y="316"/>
                  </a:lnTo>
                  <a:lnTo>
                    <a:pt x="471" y="311"/>
                  </a:lnTo>
                  <a:lnTo>
                    <a:pt x="461" y="304"/>
                  </a:lnTo>
                  <a:lnTo>
                    <a:pt x="451" y="295"/>
                  </a:lnTo>
                  <a:lnTo>
                    <a:pt x="451" y="181"/>
                  </a:lnTo>
                  <a:lnTo>
                    <a:pt x="662" y="181"/>
                  </a:lnTo>
                  <a:lnTo>
                    <a:pt x="662" y="282"/>
                  </a:lnTo>
                  <a:close/>
                  <a:moveTo>
                    <a:pt x="860" y="151"/>
                  </a:moveTo>
                  <a:lnTo>
                    <a:pt x="688" y="151"/>
                  </a:lnTo>
                  <a:lnTo>
                    <a:pt x="651" y="30"/>
                  </a:lnTo>
                  <a:lnTo>
                    <a:pt x="788" y="30"/>
                  </a:lnTo>
                  <a:lnTo>
                    <a:pt x="860" y="151"/>
                  </a:lnTo>
                  <a:close/>
                  <a:moveTo>
                    <a:pt x="901" y="161"/>
                  </a:moveTo>
                  <a:lnTo>
                    <a:pt x="901" y="160"/>
                  </a:lnTo>
                  <a:lnTo>
                    <a:pt x="901" y="160"/>
                  </a:lnTo>
                  <a:lnTo>
                    <a:pt x="900" y="159"/>
                  </a:lnTo>
                  <a:lnTo>
                    <a:pt x="900" y="159"/>
                  </a:lnTo>
                  <a:lnTo>
                    <a:pt x="810" y="8"/>
                  </a:lnTo>
                  <a:lnTo>
                    <a:pt x="808" y="5"/>
                  </a:lnTo>
                  <a:lnTo>
                    <a:pt x="805" y="2"/>
                  </a:lnTo>
                  <a:lnTo>
                    <a:pt x="801" y="1"/>
                  </a:lnTo>
                  <a:lnTo>
                    <a:pt x="797" y="0"/>
                  </a:lnTo>
                  <a:lnTo>
                    <a:pt x="105" y="0"/>
                  </a:lnTo>
                  <a:lnTo>
                    <a:pt x="102" y="1"/>
                  </a:lnTo>
                  <a:lnTo>
                    <a:pt x="97" y="2"/>
                  </a:lnTo>
                  <a:lnTo>
                    <a:pt x="95" y="5"/>
                  </a:lnTo>
                  <a:lnTo>
                    <a:pt x="92" y="8"/>
                  </a:lnTo>
                  <a:lnTo>
                    <a:pt x="2" y="158"/>
                  </a:lnTo>
                  <a:lnTo>
                    <a:pt x="2" y="159"/>
                  </a:lnTo>
                  <a:lnTo>
                    <a:pt x="2" y="160"/>
                  </a:lnTo>
                  <a:lnTo>
                    <a:pt x="1" y="160"/>
                  </a:lnTo>
                  <a:lnTo>
                    <a:pt x="1" y="161"/>
                  </a:lnTo>
                  <a:lnTo>
                    <a:pt x="0" y="163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96"/>
                  </a:lnTo>
                  <a:lnTo>
                    <a:pt x="0" y="208"/>
                  </a:lnTo>
                  <a:lnTo>
                    <a:pt x="2" y="220"/>
                  </a:lnTo>
                  <a:lnTo>
                    <a:pt x="4" y="231"/>
                  </a:lnTo>
                  <a:lnTo>
                    <a:pt x="6" y="241"/>
                  </a:lnTo>
                  <a:lnTo>
                    <a:pt x="11" y="252"/>
                  </a:lnTo>
                  <a:lnTo>
                    <a:pt x="15" y="262"/>
                  </a:lnTo>
                  <a:lnTo>
                    <a:pt x="19" y="271"/>
                  </a:lnTo>
                  <a:lnTo>
                    <a:pt x="26" y="280"/>
                  </a:lnTo>
                  <a:lnTo>
                    <a:pt x="32" y="289"/>
                  </a:lnTo>
                  <a:lnTo>
                    <a:pt x="39" y="296"/>
                  </a:lnTo>
                  <a:lnTo>
                    <a:pt x="46" y="304"/>
                  </a:lnTo>
                  <a:lnTo>
                    <a:pt x="54" y="310"/>
                  </a:lnTo>
                  <a:lnTo>
                    <a:pt x="62" y="315"/>
                  </a:lnTo>
                  <a:lnTo>
                    <a:pt x="72" y="320"/>
                  </a:lnTo>
                  <a:lnTo>
                    <a:pt x="80" y="324"/>
                  </a:lnTo>
                  <a:lnTo>
                    <a:pt x="90" y="327"/>
                  </a:lnTo>
                  <a:lnTo>
                    <a:pt x="90" y="767"/>
                  </a:lnTo>
                  <a:lnTo>
                    <a:pt x="91" y="771"/>
                  </a:lnTo>
                  <a:lnTo>
                    <a:pt x="91" y="774"/>
                  </a:lnTo>
                  <a:lnTo>
                    <a:pt x="93" y="776"/>
                  </a:lnTo>
                  <a:lnTo>
                    <a:pt x="94" y="778"/>
                  </a:lnTo>
                  <a:lnTo>
                    <a:pt x="96" y="780"/>
                  </a:lnTo>
                  <a:lnTo>
                    <a:pt x="100" y="781"/>
                  </a:lnTo>
                  <a:lnTo>
                    <a:pt x="102" y="782"/>
                  </a:lnTo>
                  <a:lnTo>
                    <a:pt x="105" y="782"/>
                  </a:lnTo>
                  <a:lnTo>
                    <a:pt x="556" y="782"/>
                  </a:lnTo>
                  <a:lnTo>
                    <a:pt x="737" y="782"/>
                  </a:lnTo>
                  <a:lnTo>
                    <a:pt x="797" y="782"/>
                  </a:lnTo>
                  <a:lnTo>
                    <a:pt x="800" y="782"/>
                  </a:lnTo>
                  <a:lnTo>
                    <a:pt x="802" y="781"/>
                  </a:lnTo>
                  <a:lnTo>
                    <a:pt x="806" y="780"/>
                  </a:lnTo>
                  <a:lnTo>
                    <a:pt x="808" y="778"/>
                  </a:lnTo>
                  <a:lnTo>
                    <a:pt x="810" y="776"/>
                  </a:lnTo>
                  <a:lnTo>
                    <a:pt x="811" y="774"/>
                  </a:lnTo>
                  <a:lnTo>
                    <a:pt x="812" y="771"/>
                  </a:lnTo>
                  <a:lnTo>
                    <a:pt x="812" y="767"/>
                  </a:lnTo>
                  <a:lnTo>
                    <a:pt x="812" y="323"/>
                  </a:lnTo>
                  <a:lnTo>
                    <a:pt x="822" y="319"/>
                  </a:lnTo>
                  <a:lnTo>
                    <a:pt x="830" y="313"/>
                  </a:lnTo>
                  <a:lnTo>
                    <a:pt x="839" y="308"/>
                  </a:lnTo>
                  <a:lnTo>
                    <a:pt x="847" y="302"/>
                  </a:lnTo>
                  <a:lnTo>
                    <a:pt x="856" y="296"/>
                  </a:lnTo>
                  <a:lnTo>
                    <a:pt x="862" y="289"/>
                  </a:lnTo>
                  <a:lnTo>
                    <a:pt x="870" y="281"/>
                  </a:lnTo>
                  <a:lnTo>
                    <a:pt x="876" y="272"/>
                  </a:lnTo>
                  <a:lnTo>
                    <a:pt x="882" y="264"/>
                  </a:lnTo>
                  <a:lnTo>
                    <a:pt x="887" y="255"/>
                  </a:lnTo>
                  <a:lnTo>
                    <a:pt x="891" y="246"/>
                  </a:lnTo>
                  <a:lnTo>
                    <a:pt x="896" y="236"/>
                  </a:lnTo>
                  <a:lnTo>
                    <a:pt x="898" y="226"/>
                  </a:lnTo>
                  <a:lnTo>
                    <a:pt x="900" y="217"/>
                  </a:lnTo>
                  <a:lnTo>
                    <a:pt x="902" y="206"/>
                  </a:lnTo>
                  <a:lnTo>
                    <a:pt x="902" y="196"/>
                  </a:lnTo>
                  <a:lnTo>
                    <a:pt x="902" y="166"/>
                  </a:lnTo>
                  <a:lnTo>
                    <a:pt x="902" y="166"/>
                  </a:lnTo>
                  <a:lnTo>
                    <a:pt x="902" y="166"/>
                  </a:lnTo>
                  <a:lnTo>
                    <a:pt x="902" y="163"/>
                  </a:lnTo>
                  <a:lnTo>
                    <a:pt x="901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Freeform 218">
              <a:extLst>
                <a:ext uri="{FF2B5EF4-FFF2-40B4-BE49-F238E27FC236}">
                  <a16:creationId xmlns:a16="http://schemas.microsoft.com/office/drawing/2014/main" id="{368A1A5C-837A-49CC-AE8C-1B1CF64E0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0238" y="2728913"/>
              <a:ext cx="9525" cy="9525"/>
            </a:xfrm>
            <a:custGeom>
              <a:avLst/>
              <a:gdLst>
                <a:gd name="T0" fmla="*/ 15 w 30"/>
                <a:gd name="T1" fmla="*/ 0 h 30"/>
                <a:gd name="T2" fmla="*/ 12 w 30"/>
                <a:gd name="T3" fmla="*/ 0 h 30"/>
                <a:gd name="T4" fmla="*/ 9 w 30"/>
                <a:gd name="T5" fmla="*/ 1 h 30"/>
                <a:gd name="T6" fmla="*/ 6 w 30"/>
                <a:gd name="T7" fmla="*/ 3 h 30"/>
                <a:gd name="T8" fmla="*/ 4 w 30"/>
                <a:gd name="T9" fmla="*/ 5 h 30"/>
                <a:gd name="T10" fmla="*/ 2 w 30"/>
                <a:gd name="T11" fmla="*/ 7 h 30"/>
                <a:gd name="T12" fmla="*/ 1 w 30"/>
                <a:gd name="T13" fmla="*/ 9 h 30"/>
                <a:gd name="T14" fmla="*/ 0 w 30"/>
                <a:gd name="T15" fmla="*/ 12 h 30"/>
                <a:gd name="T16" fmla="*/ 0 w 30"/>
                <a:gd name="T17" fmla="*/ 15 h 30"/>
                <a:gd name="T18" fmla="*/ 0 w 30"/>
                <a:gd name="T19" fmla="*/ 19 h 30"/>
                <a:gd name="T20" fmla="*/ 1 w 30"/>
                <a:gd name="T21" fmla="*/ 21 h 30"/>
                <a:gd name="T22" fmla="*/ 2 w 30"/>
                <a:gd name="T23" fmla="*/ 24 h 30"/>
                <a:gd name="T24" fmla="*/ 4 w 30"/>
                <a:gd name="T25" fmla="*/ 26 h 30"/>
                <a:gd name="T26" fmla="*/ 6 w 30"/>
                <a:gd name="T27" fmla="*/ 27 h 30"/>
                <a:gd name="T28" fmla="*/ 9 w 30"/>
                <a:gd name="T29" fmla="*/ 29 h 30"/>
                <a:gd name="T30" fmla="*/ 12 w 30"/>
                <a:gd name="T31" fmla="*/ 30 h 30"/>
                <a:gd name="T32" fmla="*/ 15 w 30"/>
                <a:gd name="T33" fmla="*/ 30 h 30"/>
                <a:gd name="T34" fmla="*/ 17 w 30"/>
                <a:gd name="T35" fmla="*/ 30 h 30"/>
                <a:gd name="T36" fmla="*/ 20 w 30"/>
                <a:gd name="T37" fmla="*/ 29 h 30"/>
                <a:gd name="T38" fmla="*/ 23 w 30"/>
                <a:gd name="T39" fmla="*/ 27 h 30"/>
                <a:gd name="T40" fmla="*/ 26 w 30"/>
                <a:gd name="T41" fmla="*/ 26 h 30"/>
                <a:gd name="T42" fmla="*/ 27 w 30"/>
                <a:gd name="T43" fmla="*/ 24 h 30"/>
                <a:gd name="T44" fmla="*/ 29 w 30"/>
                <a:gd name="T45" fmla="*/ 21 h 30"/>
                <a:gd name="T46" fmla="*/ 29 w 30"/>
                <a:gd name="T47" fmla="*/ 19 h 30"/>
                <a:gd name="T48" fmla="*/ 30 w 30"/>
                <a:gd name="T49" fmla="*/ 15 h 30"/>
                <a:gd name="T50" fmla="*/ 29 w 30"/>
                <a:gd name="T51" fmla="*/ 12 h 30"/>
                <a:gd name="T52" fmla="*/ 29 w 30"/>
                <a:gd name="T53" fmla="*/ 9 h 30"/>
                <a:gd name="T54" fmla="*/ 27 w 30"/>
                <a:gd name="T55" fmla="*/ 7 h 30"/>
                <a:gd name="T56" fmla="*/ 26 w 30"/>
                <a:gd name="T57" fmla="*/ 5 h 30"/>
                <a:gd name="T58" fmla="*/ 23 w 30"/>
                <a:gd name="T59" fmla="*/ 3 h 30"/>
                <a:gd name="T60" fmla="*/ 20 w 30"/>
                <a:gd name="T61" fmla="*/ 1 h 30"/>
                <a:gd name="T62" fmla="*/ 17 w 30"/>
                <a:gd name="T63" fmla="*/ 0 h 30"/>
                <a:gd name="T64" fmla="*/ 15 w 30"/>
                <a:gd name="T6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0">
                  <a:moveTo>
                    <a:pt x="15" y="0"/>
                  </a:moveTo>
                  <a:lnTo>
                    <a:pt x="12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7" y="30"/>
                  </a:lnTo>
                  <a:lnTo>
                    <a:pt x="20" y="29"/>
                  </a:lnTo>
                  <a:lnTo>
                    <a:pt x="23" y="27"/>
                  </a:lnTo>
                  <a:lnTo>
                    <a:pt x="26" y="26"/>
                  </a:lnTo>
                  <a:lnTo>
                    <a:pt x="27" y="24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30" y="15"/>
                  </a:lnTo>
                  <a:lnTo>
                    <a:pt x="29" y="12"/>
                  </a:lnTo>
                  <a:lnTo>
                    <a:pt x="29" y="9"/>
                  </a:lnTo>
                  <a:lnTo>
                    <a:pt x="27" y="7"/>
                  </a:lnTo>
                  <a:lnTo>
                    <a:pt x="26" y="5"/>
                  </a:lnTo>
                  <a:lnTo>
                    <a:pt x="23" y="3"/>
                  </a:lnTo>
                  <a:lnTo>
                    <a:pt x="20" y="1"/>
                  </a:lnTo>
                  <a:lnTo>
                    <a:pt x="17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191998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BD3BB9-7494-4054-ABD5-BF4DEDF50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7AEFA-B56B-463F-809E-4A0CAC2C214B}" type="datetime1">
              <a:rPr lang="en-US" sz="1000" smtClean="0">
                <a:solidFill>
                  <a:schemeClr val="tx1"/>
                </a:solidFill>
              </a:rPr>
              <a:t>8/17/2020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4D9497-D6ED-4F5D-9AF8-723FC8208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t>6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" name="Rectangle 70">
            <a:extLst>
              <a:ext uri="{FF2B5EF4-FFF2-40B4-BE49-F238E27FC236}">
                <a16:creationId xmlns:a16="http://schemas.microsoft.com/office/drawing/2014/main" id="{2C7F6899-AA89-4ACF-BBC6-9182A564A0B3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70">
            <a:extLst>
              <a:ext uri="{FF2B5EF4-FFF2-40B4-BE49-F238E27FC236}">
                <a16:creationId xmlns:a16="http://schemas.microsoft.com/office/drawing/2014/main" id="{46EBEB8D-01EC-4B1A-B44A-BDF60EEB1BDB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70">
            <a:extLst>
              <a:ext uri="{FF2B5EF4-FFF2-40B4-BE49-F238E27FC236}">
                <a16:creationId xmlns:a16="http://schemas.microsoft.com/office/drawing/2014/main" id="{0EFEE770-1BB8-4BC8-92D5-8B8941EDBE25}"/>
              </a:ext>
            </a:extLst>
          </p:cNvPr>
          <p:cNvSpPr/>
          <p:nvPr/>
        </p:nvSpPr>
        <p:spPr>
          <a:xfrm flipV="1">
            <a:off x="2054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FE3DD1-8761-4FA2-A00F-4C407ED92CBC}"/>
              </a:ext>
            </a:extLst>
          </p:cNvPr>
          <p:cNvSpPr txBox="1"/>
          <p:nvPr/>
        </p:nvSpPr>
        <p:spPr>
          <a:xfrm>
            <a:off x="708963" y="250833"/>
            <a:ext cx="10774074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/>
              <a:t>WORLD MAP</a:t>
            </a:r>
          </a:p>
        </p:txBody>
      </p:sp>
      <p:grpSp>
        <p:nvGrpSpPr>
          <p:cNvPr id="1707" name="Group 1706">
            <a:extLst>
              <a:ext uri="{FF2B5EF4-FFF2-40B4-BE49-F238E27FC236}">
                <a16:creationId xmlns:a16="http://schemas.microsoft.com/office/drawing/2014/main" id="{BA00C8B9-C4B2-4E30-941C-057642D236E1}"/>
              </a:ext>
            </a:extLst>
          </p:cNvPr>
          <p:cNvGrpSpPr/>
          <p:nvPr/>
        </p:nvGrpSpPr>
        <p:grpSpPr>
          <a:xfrm>
            <a:off x="4186900" y="1064853"/>
            <a:ext cx="7337425" cy="5195888"/>
            <a:chOff x="2425701" y="1025525"/>
            <a:chExt cx="7337425" cy="5195888"/>
          </a:xfrm>
        </p:grpSpPr>
        <p:grpSp>
          <p:nvGrpSpPr>
            <p:cNvPr id="25" name="Group 1210">
              <a:extLst>
                <a:ext uri="{FF2B5EF4-FFF2-40B4-BE49-F238E27FC236}">
                  <a16:creationId xmlns:a16="http://schemas.microsoft.com/office/drawing/2014/main" id="{C6F1F050-8CBD-4C24-8053-7095CEAB52F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974976" y="1025525"/>
              <a:ext cx="2486025" cy="2170113"/>
              <a:chOff x="1874" y="646"/>
              <a:chExt cx="1566" cy="1367"/>
            </a:xfrm>
            <a:solidFill>
              <a:schemeClr val="bg2">
                <a:lumMod val="90000"/>
              </a:schemeClr>
            </a:solidFill>
          </p:grpSpPr>
          <p:sp>
            <p:nvSpPr>
              <p:cNvPr id="506" name="Freeform 1010">
                <a:extLst>
                  <a:ext uri="{FF2B5EF4-FFF2-40B4-BE49-F238E27FC236}">
                    <a16:creationId xmlns:a16="http://schemas.microsoft.com/office/drawing/2014/main" id="{B6AEAD18-DEA5-44B5-9E5B-B74B30387D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3" y="1083"/>
                <a:ext cx="2" cy="3"/>
              </a:xfrm>
              <a:custGeom>
                <a:avLst/>
                <a:gdLst>
                  <a:gd name="T0" fmla="*/ 0 w 2"/>
                  <a:gd name="T1" fmla="*/ 0 h 3"/>
                  <a:gd name="T2" fmla="*/ 0 w 2"/>
                  <a:gd name="T3" fmla="*/ 1 h 3"/>
                  <a:gd name="T4" fmla="*/ 0 w 2"/>
                  <a:gd name="T5" fmla="*/ 3 h 3"/>
                  <a:gd name="T6" fmla="*/ 2 w 2"/>
                  <a:gd name="T7" fmla="*/ 2 h 3"/>
                  <a:gd name="T8" fmla="*/ 1 w 2"/>
                  <a:gd name="T9" fmla="*/ 0 h 3"/>
                  <a:gd name="T10" fmla="*/ 0 w 2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0" y="1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7" name="Freeform 1011">
                <a:extLst>
                  <a:ext uri="{FF2B5EF4-FFF2-40B4-BE49-F238E27FC236}">
                    <a16:creationId xmlns:a16="http://schemas.microsoft.com/office/drawing/2014/main" id="{AEE759F6-32B3-43B2-A71D-455C582DCF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1" y="1010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1 w 3"/>
                  <a:gd name="T3" fmla="*/ 0 h 2"/>
                  <a:gd name="T4" fmla="*/ 0 w 3"/>
                  <a:gd name="T5" fmla="*/ 1 h 2"/>
                  <a:gd name="T6" fmla="*/ 2 w 3"/>
                  <a:gd name="T7" fmla="*/ 2 h 2"/>
                  <a:gd name="T8" fmla="*/ 3 w 3"/>
                  <a:gd name="T9" fmla="*/ 1 h 2"/>
                  <a:gd name="T10" fmla="*/ 3 w 3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1" y="0"/>
                    </a:lnTo>
                    <a:lnTo>
                      <a:pt x="0" y="1"/>
                    </a:lnTo>
                    <a:lnTo>
                      <a:pt x="2" y="2"/>
                    </a:lnTo>
                    <a:lnTo>
                      <a:pt x="3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8" name="Freeform 1012">
                <a:extLst>
                  <a:ext uri="{FF2B5EF4-FFF2-40B4-BE49-F238E27FC236}">
                    <a16:creationId xmlns:a16="http://schemas.microsoft.com/office/drawing/2014/main" id="{FC0ED774-30AE-4C1E-A689-69BA034E63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1" y="1016"/>
                <a:ext cx="2" cy="7"/>
              </a:xfrm>
              <a:custGeom>
                <a:avLst/>
                <a:gdLst>
                  <a:gd name="T0" fmla="*/ 0 w 2"/>
                  <a:gd name="T1" fmla="*/ 6 h 7"/>
                  <a:gd name="T2" fmla="*/ 0 w 2"/>
                  <a:gd name="T3" fmla="*/ 7 h 7"/>
                  <a:gd name="T4" fmla="*/ 1 w 2"/>
                  <a:gd name="T5" fmla="*/ 6 h 7"/>
                  <a:gd name="T6" fmla="*/ 2 w 2"/>
                  <a:gd name="T7" fmla="*/ 2 h 7"/>
                  <a:gd name="T8" fmla="*/ 2 w 2"/>
                  <a:gd name="T9" fmla="*/ 0 h 7"/>
                  <a:gd name="T10" fmla="*/ 1 w 2"/>
                  <a:gd name="T11" fmla="*/ 1 h 7"/>
                  <a:gd name="T12" fmla="*/ 0 w 2"/>
                  <a:gd name="T1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7">
                    <a:moveTo>
                      <a:pt x="0" y="6"/>
                    </a:moveTo>
                    <a:lnTo>
                      <a:pt x="0" y="7"/>
                    </a:lnTo>
                    <a:lnTo>
                      <a:pt x="1" y="6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9" name="Freeform 1013">
                <a:extLst>
                  <a:ext uri="{FF2B5EF4-FFF2-40B4-BE49-F238E27FC236}">
                    <a16:creationId xmlns:a16="http://schemas.microsoft.com/office/drawing/2014/main" id="{F6F7EB43-CFB2-4485-BB2C-27CD9F53D2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1" y="1027"/>
                <a:ext cx="6" cy="7"/>
              </a:xfrm>
              <a:custGeom>
                <a:avLst/>
                <a:gdLst>
                  <a:gd name="T0" fmla="*/ 2 w 6"/>
                  <a:gd name="T1" fmla="*/ 0 h 7"/>
                  <a:gd name="T2" fmla="*/ 0 w 6"/>
                  <a:gd name="T3" fmla="*/ 0 h 7"/>
                  <a:gd name="T4" fmla="*/ 0 w 6"/>
                  <a:gd name="T5" fmla="*/ 1 h 7"/>
                  <a:gd name="T6" fmla="*/ 2 w 6"/>
                  <a:gd name="T7" fmla="*/ 5 h 7"/>
                  <a:gd name="T8" fmla="*/ 4 w 6"/>
                  <a:gd name="T9" fmla="*/ 7 h 7"/>
                  <a:gd name="T10" fmla="*/ 6 w 6"/>
                  <a:gd name="T11" fmla="*/ 7 h 7"/>
                  <a:gd name="T12" fmla="*/ 6 w 6"/>
                  <a:gd name="T13" fmla="*/ 5 h 7"/>
                  <a:gd name="T14" fmla="*/ 3 w 6"/>
                  <a:gd name="T15" fmla="*/ 3 h 7"/>
                  <a:gd name="T16" fmla="*/ 2 w 6"/>
                  <a:gd name="T1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7">
                    <a:moveTo>
                      <a:pt x="2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2" y="5"/>
                    </a:lnTo>
                    <a:lnTo>
                      <a:pt x="4" y="7"/>
                    </a:lnTo>
                    <a:lnTo>
                      <a:pt x="6" y="7"/>
                    </a:lnTo>
                    <a:lnTo>
                      <a:pt x="6" y="5"/>
                    </a:lnTo>
                    <a:lnTo>
                      <a:pt x="3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0" name="Freeform 1014">
                <a:extLst>
                  <a:ext uri="{FF2B5EF4-FFF2-40B4-BE49-F238E27FC236}">
                    <a16:creationId xmlns:a16="http://schemas.microsoft.com/office/drawing/2014/main" id="{50080703-C2D6-4B6A-AD1D-3512FFF456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0" y="1292"/>
                <a:ext cx="2" cy="4"/>
              </a:xfrm>
              <a:custGeom>
                <a:avLst/>
                <a:gdLst>
                  <a:gd name="T0" fmla="*/ 1 w 2"/>
                  <a:gd name="T1" fmla="*/ 1 h 4"/>
                  <a:gd name="T2" fmla="*/ 1 w 2"/>
                  <a:gd name="T3" fmla="*/ 0 h 4"/>
                  <a:gd name="T4" fmla="*/ 0 w 2"/>
                  <a:gd name="T5" fmla="*/ 1 h 4"/>
                  <a:gd name="T6" fmla="*/ 0 w 2"/>
                  <a:gd name="T7" fmla="*/ 3 h 4"/>
                  <a:gd name="T8" fmla="*/ 1 w 2"/>
                  <a:gd name="T9" fmla="*/ 4 h 4"/>
                  <a:gd name="T10" fmla="*/ 2 w 2"/>
                  <a:gd name="T11" fmla="*/ 3 h 4"/>
                  <a:gd name="T12" fmla="*/ 1 w 2"/>
                  <a:gd name="T13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1" y="1"/>
                    </a:move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1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1" name="Freeform 1015">
                <a:extLst>
                  <a:ext uri="{FF2B5EF4-FFF2-40B4-BE49-F238E27FC236}">
                    <a16:creationId xmlns:a16="http://schemas.microsoft.com/office/drawing/2014/main" id="{9C33FC7E-E941-4BE4-819E-0534AF987C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7" y="1313"/>
                <a:ext cx="4" cy="3"/>
              </a:xfrm>
              <a:custGeom>
                <a:avLst/>
                <a:gdLst>
                  <a:gd name="T0" fmla="*/ 1 w 5"/>
                  <a:gd name="T1" fmla="*/ 2 h 3"/>
                  <a:gd name="T2" fmla="*/ 2 w 5"/>
                  <a:gd name="T3" fmla="*/ 3 h 3"/>
                  <a:gd name="T4" fmla="*/ 5 w 5"/>
                  <a:gd name="T5" fmla="*/ 2 h 3"/>
                  <a:gd name="T6" fmla="*/ 5 w 5"/>
                  <a:gd name="T7" fmla="*/ 1 h 3"/>
                  <a:gd name="T8" fmla="*/ 2 w 5"/>
                  <a:gd name="T9" fmla="*/ 0 h 3"/>
                  <a:gd name="T10" fmla="*/ 1 w 5"/>
                  <a:gd name="T1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1" y="2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0" y="2"/>
                      <a:pt x="1" y="2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2" name="Freeform 1016">
                <a:extLst>
                  <a:ext uri="{FF2B5EF4-FFF2-40B4-BE49-F238E27FC236}">
                    <a16:creationId xmlns:a16="http://schemas.microsoft.com/office/drawing/2014/main" id="{3583C8EA-9C6A-4705-8492-BBBF1B79BC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7" y="1341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1 w 2"/>
                  <a:gd name="T3" fmla="*/ 3 h 3"/>
                  <a:gd name="T4" fmla="*/ 2 w 2"/>
                  <a:gd name="T5" fmla="*/ 2 h 3"/>
                  <a:gd name="T6" fmla="*/ 1 w 2"/>
                  <a:gd name="T7" fmla="*/ 0 h 3"/>
                  <a:gd name="T8" fmla="*/ 0 w 2"/>
                  <a:gd name="T9" fmla="*/ 2 h 3"/>
                  <a:gd name="T10" fmla="*/ 0 w 2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2" y="2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3" name="Freeform 1017">
                <a:extLst>
                  <a:ext uri="{FF2B5EF4-FFF2-40B4-BE49-F238E27FC236}">
                    <a16:creationId xmlns:a16="http://schemas.microsoft.com/office/drawing/2014/main" id="{8DF745A7-7A59-46D6-BB36-515B70ACA6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4" y="1299"/>
                <a:ext cx="3" cy="3"/>
              </a:xfrm>
              <a:custGeom>
                <a:avLst/>
                <a:gdLst>
                  <a:gd name="T0" fmla="*/ 3 w 3"/>
                  <a:gd name="T1" fmla="*/ 2 h 3"/>
                  <a:gd name="T2" fmla="*/ 3 w 3"/>
                  <a:gd name="T3" fmla="*/ 0 h 3"/>
                  <a:gd name="T4" fmla="*/ 2 w 3"/>
                  <a:gd name="T5" fmla="*/ 0 h 3"/>
                  <a:gd name="T6" fmla="*/ 0 w 3"/>
                  <a:gd name="T7" fmla="*/ 2 h 3"/>
                  <a:gd name="T8" fmla="*/ 2 w 3"/>
                  <a:gd name="T9" fmla="*/ 3 h 3"/>
                  <a:gd name="T10" fmla="*/ 3 w 3"/>
                  <a:gd name="T1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3" y="2"/>
                    </a:moveTo>
                    <a:lnTo>
                      <a:pt x="3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4" name="Freeform 1018">
                <a:extLst>
                  <a:ext uri="{FF2B5EF4-FFF2-40B4-BE49-F238E27FC236}">
                    <a16:creationId xmlns:a16="http://schemas.microsoft.com/office/drawing/2014/main" id="{D6C70FCB-57E8-4727-A7AD-982C3003EC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9" y="1294"/>
                <a:ext cx="32" cy="20"/>
              </a:xfrm>
              <a:custGeom>
                <a:avLst/>
                <a:gdLst>
                  <a:gd name="T0" fmla="*/ 27 w 32"/>
                  <a:gd name="T1" fmla="*/ 17 h 20"/>
                  <a:gd name="T2" fmla="*/ 29 w 32"/>
                  <a:gd name="T3" fmla="*/ 18 h 20"/>
                  <a:gd name="T4" fmla="*/ 32 w 32"/>
                  <a:gd name="T5" fmla="*/ 15 h 20"/>
                  <a:gd name="T6" fmla="*/ 32 w 32"/>
                  <a:gd name="T7" fmla="*/ 5 h 20"/>
                  <a:gd name="T8" fmla="*/ 30 w 32"/>
                  <a:gd name="T9" fmla="*/ 4 h 20"/>
                  <a:gd name="T10" fmla="*/ 29 w 32"/>
                  <a:gd name="T11" fmla="*/ 0 h 20"/>
                  <a:gd name="T12" fmla="*/ 27 w 32"/>
                  <a:gd name="T13" fmla="*/ 0 h 20"/>
                  <a:gd name="T14" fmla="*/ 18 w 32"/>
                  <a:gd name="T15" fmla="*/ 5 h 20"/>
                  <a:gd name="T16" fmla="*/ 11 w 32"/>
                  <a:gd name="T17" fmla="*/ 5 h 20"/>
                  <a:gd name="T18" fmla="*/ 9 w 32"/>
                  <a:gd name="T19" fmla="*/ 9 h 20"/>
                  <a:gd name="T20" fmla="*/ 6 w 32"/>
                  <a:gd name="T21" fmla="*/ 10 h 20"/>
                  <a:gd name="T22" fmla="*/ 4 w 32"/>
                  <a:gd name="T23" fmla="*/ 14 h 20"/>
                  <a:gd name="T24" fmla="*/ 1 w 32"/>
                  <a:gd name="T25" fmla="*/ 14 h 20"/>
                  <a:gd name="T26" fmla="*/ 1 w 32"/>
                  <a:gd name="T27" fmla="*/ 16 h 20"/>
                  <a:gd name="T28" fmla="*/ 0 w 32"/>
                  <a:gd name="T29" fmla="*/ 19 h 20"/>
                  <a:gd name="T30" fmla="*/ 1 w 32"/>
                  <a:gd name="T31" fmla="*/ 20 h 20"/>
                  <a:gd name="T32" fmla="*/ 4 w 32"/>
                  <a:gd name="T33" fmla="*/ 19 h 20"/>
                  <a:gd name="T34" fmla="*/ 10 w 32"/>
                  <a:gd name="T35" fmla="*/ 18 h 20"/>
                  <a:gd name="T36" fmla="*/ 16 w 32"/>
                  <a:gd name="T37" fmla="*/ 19 h 20"/>
                  <a:gd name="T38" fmla="*/ 18 w 32"/>
                  <a:gd name="T39" fmla="*/ 17 h 20"/>
                  <a:gd name="T40" fmla="*/ 21 w 32"/>
                  <a:gd name="T41" fmla="*/ 17 h 20"/>
                  <a:gd name="T42" fmla="*/ 24 w 32"/>
                  <a:gd name="T43" fmla="*/ 19 h 20"/>
                  <a:gd name="T44" fmla="*/ 27 w 32"/>
                  <a:gd name="T45" fmla="*/ 1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2" h="20">
                    <a:moveTo>
                      <a:pt x="27" y="17"/>
                    </a:moveTo>
                    <a:lnTo>
                      <a:pt x="29" y="18"/>
                    </a:lnTo>
                    <a:lnTo>
                      <a:pt x="32" y="15"/>
                    </a:lnTo>
                    <a:lnTo>
                      <a:pt x="32" y="5"/>
                    </a:lnTo>
                    <a:lnTo>
                      <a:pt x="30" y="4"/>
                    </a:lnTo>
                    <a:lnTo>
                      <a:pt x="29" y="0"/>
                    </a:lnTo>
                    <a:lnTo>
                      <a:pt x="27" y="0"/>
                    </a:lnTo>
                    <a:lnTo>
                      <a:pt x="18" y="5"/>
                    </a:lnTo>
                    <a:lnTo>
                      <a:pt x="11" y="5"/>
                    </a:lnTo>
                    <a:lnTo>
                      <a:pt x="9" y="9"/>
                    </a:lnTo>
                    <a:lnTo>
                      <a:pt x="6" y="10"/>
                    </a:lnTo>
                    <a:lnTo>
                      <a:pt x="4" y="14"/>
                    </a:lnTo>
                    <a:lnTo>
                      <a:pt x="1" y="14"/>
                    </a:lnTo>
                    <a:lnTo>
                      <a:pt x="1" y="16"/>
                    </a:lnTo>
                    <a:lnTo>
                      <a:pt x="0" y="19"/>
                    </a:lnTo>
                    <a:lnTo>
                      <a:pt x="1" y="20"/>
                    </a:lnTo>
                    <a:lnTo>
                      <a:pt x="4" y="19"/>
                    </a:lnTo>
                    <a:lnTo>
                      <a:pt x="10" y="18"/>
                    </a:lnTo>
                    <a:lnTo>
                      <a:pt x="16" y="19"/>
                    </a:lnTo>
                    <a:lnTo>
                      <a:pt x="18" y="17"/>
                    </a:lnTo>
                    <a:lnTo>
                      <a:pt x="21" y="17"/>
                    </a:lnTo>
                    <a:lnTo>
                      <a:pt x="24" y="19"/>
                    </a:lnTo>
                    <a:lnTo>
                      <a:pt x="27" y="1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5" name="Freeform 1019">
                <a:extLst>
                  <a:ext uri="{FF2B5EF4-FFF2-40B4-BE49-F238E27FC236}">
                    <a16:creationId xmlns:a16="http://schemas.microsoft.com/office/drawing/2014/main" id="{F8A3F957-BD74-4305-AC9D-A93DED10B2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6" y="1175"/>
                <a:ext cx="1" cy="2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0 h 2"/>
                  <a:gd name="T4" fmla="*/ 0 w 1"/>
                  <a:gd name="T5" fmla="*/ 2 h 2"/>
                  <a:gd name="T6" fmla="*/ 1 w 1"/>
                  <a:gd name="T7" fmla="*/ 1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6" name="Freeform 1020">
                <a:extLst>
                  <a:ext uri="{FF2B5EF4-FFF2-40B4-BE49-F238E27FC236}">
                    <a16:creationId xmlns:a16="http://schemas.microsoft.com/office/drawing/2014/main" id="{5BFC70A4-9C62-46C1-88A7-2B54E9CF56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7" y="1172"/>
                <a:ext cx="2" cy="1"/>
              </a:xfrm>
              <a:custGeom>
                <a:avLst/>
                <a:gdLst>
                  <a:gd name="T0" fmla="*/ 0 w 2"/>
                  <a:gd name="T1" fmla="*/ 0 h 1"/>
                  <a:gd name="T2" fmla="*/ 0 w 2"/>
                  <a:gd name="T3" fmla="*/ 0 h 1"/>
                  <a:gd name="T4" fmla="*/ 1 w 2"/>
                  <a:gd name="T5" fmla="*/ 1 h 1"/>
                  <a:gd name="T6" fmla="*/ 2 w 2"/>
                  <a:gd name="T7" fmla="*/ 0 h 1"/>
                  <a:gd name="T8" fmla="*/ 0 w 2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7" name="Freeform 1021">
                <a:extLst>
                  <a:ext uri="{FF2B5EF4-FFF2-40B4-BE49-F238E27FC236}">
                    <a16:creationId xmlns:a16="http://schemas.microsoft.com/office/drawing/2014/main" id="{31F4B438-2049-469A-9361-5E0AFFB0BB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8" y="1030"/>
                <a:ext cx="5" cy="13"/>
              </a:xfrm>
              <a:custGeom>
                <a:avLst/>
                <a:gdLst>
                  <a:gd name="T0" fmla="*/ 6 w 6"/>
                  <a:gd name="T1" fmla="*/ 5 h 16"/>
                  <a:gd name="T2" fmla="*/ 6 w 6"/>
                  <a:gd name="T3" fmla="*/ 0 h 16"/>
                  <a:gd name="T4" fmla="*/ 2 w 6"/>
                  <a:gd name="T5" fmla="*/ 6 h 16"/>
                  <a:gd name="T6" fmla="*/ 2 w 6"/>
                  <a:gd name="T7" fmla="*/ 10 h 16"/>
                  <a:gd name="T8" fmla="*/ 0 w 6"/>
                  <a:gd name="T9" fmla="*/ 14 h 16"/>
                  <a:gd name="T10" fmla="*/ 1 w 6"/>
                  <a:gd name="T11" fmla="*/ 16 h 16"/>
                  <a:gd name="T12" fmla="*/ 4 w 6"/>
                  <a:gd name="T13" fmla="*/ 16 h 16"/>
                  <a:gd name="T14" fmla="*/ 5 w 6"/>
                  <a:gd name="T15" fmla="*/ 14 h 16"/>
                  <a:gd name="T16" fmla="*/ 4 w 6"/>
                  <a:gd name="T17" fmla="*/ 11 h 16"/>
                  <a:gd name="T18" fmla="*/ 5 w 6"/>
                  <a:gd name="T19" fmla="*/ 7 h 16"/>
                  <a:gd name="T20" fmla="*/ 6 w 6"/>
                  <a:gd name="T21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16">
                    <a:moveTo>
                      <a:pt x="6" y="5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1" y="16"/>
                      <a:pt x="1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7"/>
                      <a:pt x="5" y="7"/>
                      <a:pt x="5" y="7"/>
                    </a:cubicBezTo>
                    <a:lnTo>
                      <a:pt x="6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8" name="Freeform 1022">
                <a:extLst>
                  <a:ext uri="{FF2B5EF4-FFF2-40B4-BE49-F238E27FC236}">
                    <a16:creationId xmlns:a16="http://schemas.microsoft.com/office/drawing/2014/main" id="{6FF1F377-3DAD-4A9F-961C-9D34E58F2F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6" y="1144"/>
                <a:ext cx="6" cy="6"/>
              </a:xfrm>
              <a:custGeom>
                <a:avLst/>
                <a:gdLst>
                  <a:gd name="T0" fmla="*/ 6 w 6"/>
                  <a:gd name="T1" fmla="*/ 5 h 6"/>
                  <a:gd name="T2" fmla="*/ 5 w 6"/>
                  <a:gd name="T3" fmla="*/ 3 h 6"/>
                  <a:gd name="T4" fmla="*/ 3 w 6"/>
                  <a:gd name="T5" fmla="*/ 0 h 6"/>
                  <a:gd name="T6" fmla="*/ 1 w 6"/>
                  <a:gd name="T7" fmla="*/ 1 h 6"/>
                  <a:gd name="T8" fmla="*/ 0 w 6"/>
                  <a:gd name="T9" fmla="*/ 2 h 6"/>
                  <a:gd name="T10" fmla="*/ 1 w 6"/>
                  <a:gd name="T11" fmla="*/ 4 h 6"/>
                  <a:gd name="T12" fmla="*/ 3 w 6"/>
                  <a:gd name="T13" fmla="*/ 4 h 6"/>
                  <a:gd name="T14" fmla="*/ 4 w 6"/>
                  <a:gd name="T15" fmla="*/ 6 h 6"/>
                  <a:gd name="T16" fmla="*/ 6 w 6"/>
                  <a:gd name="T17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6" y="5"/>
                    </a:moveTo>
                    <a:lnTo>
                      <a:pt x="5" y="3"/>
                    </a:lnTo>
                    <a:lnTo>
                      <a:pt x="3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1" y="4"/>
                    </a:lnTo>
                    <a:lnTo>
                      <a:pt x="3" y="4"/>
                    </a:lnTo>
                    <a:lnTo>
                      <a:pt x="4" y="6"/>
                    </a:lnTo>
                    <a:lnTo>
                      <a:pt x="6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9" name="Freeform 1023">
                <a:extLst>
                  <a:ext uri="{FF2B5EF4-FFF2-40B4-BE49-F238E27FC236}">
                    <a16:creationId xmlns:a16="http://schemas.microsoft.com/office/drawing/2014/main" id="{C9820C2B-92BC-47CA-8C27-5CE43894F6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9" y="1183"/>
                <a:ext cx="3" cy="3"/>
              </a:xfrm>
              <a:custGeom>
                <a:avLst/>
                <a:gdLst>
                  <a:gd name="T0" fmla="*/ 4 w 4"/>
                  <a:gd name="T1" fmla="*/ 1 h 3"/>
                  <a:gd name="T2" fmla="*/ 2 w 4"/>
                  <a:gd name="T3" fmla="*/ 0 h 3"/>
                  <a:gd name="T4" fmla="*/ 0 w 4"/>
                  <a:gd name="T5" fmla="*/ 2 h 3"/>
                  <a:gd name="T6" fmla="*/ 1 w 4"/>
                  <a:gd name="T7" fmla="*/ 3 h 3"/>
                  <a:gd name="T8" fmla="*/ 3 w 4"/>
                  <a:gd name="T9" fmla="*/ 3 h 3"/>
                  <a:gd name="T10" fmla="*/ 4 w 4"/>
                  <a:gd name="T11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4" y="1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3"/>
                      <a:pt x="1" y="3"/>
                    </a:cubicBezTo>
                    <a:cubicBezTo>
                      <a:pt x="3" y="3"/>
                      <a:pt x="3" y="3"/>
                      <a:pt x="3" y="3"/>
                    </a:cubicBezTo>
                    <a:lnTo>
                      <a:pt x="4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0" name="Freeform 1024">
                <a:extLst>
                  <a:ext uri="{FF2B5EF4-FFF2-40B4-BE49-F238E27FC236}">
                    <a16:creationId xmlns:a16="http://schemas.microsoft.com/office/drawing/2014/main" id="{83E43E0B-47CD-411F-BCA3-19FF4C71ED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4" y="1153"/>
                <a:ext cx="4" cy="3"/>
              </a:xfrm>
              <a:custGeom>
                <a:avLst/>
                <a:gdLst>
                  <a:gd name="T0" fmla="*/ 0 w 4"/>
                  <a:gd name="T1" fmla="*/ 0 h 3"/>
                  <a:gd name="T2" fmla="*/ 0 w 4"/>
                  <a:gd name="T3" fmla="*/ 1 h 3"/>
                  <a:gd name="T4" fmla="*/ 0 w 4"/>
                  <a:gd name="T5" fmla="*/ 2 h 3"/>
                  <a:gd name="T6" fmla="*/ 2 w 4"/>
                  <a:gd name="T7" fmla="*/ 3 h 3"/>
                  <a:gd name="T8" fmla="*/ 4 w 4"/>
                  <a:gd name="T9" fmla="*/ 1 h 3"/>
                  <a:gd name="T10" fmla="*/ 2 w 4"/>
                  <a:gd name="T11" fmla="*/ 1 h 3"/>
                  <a:gd name="T12" fmla="*/ 0 w 4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lnTo>
                      <a:pt x="0" y="1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1" name="Freeform 1025">
                <a:extLst>
                  <a:ext uri="{FF2B5EF4-FFF2-40B4-BE49-F238E27FC236}">
                    <a16:creationId xmlns:a16="http://schemas.microsoft.com/office/drawing/2014/main" id="{D7D12E97-AE75-4321-A367-DE912D1BC3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5" y="1182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1 w 3"/>
                  <a:gd name="T3" fmla="*/ 1 h 1"/>
                  <a:gd name="T4" fmla="*/ 3 w 3"/>
                  <a:gd name="T5" fmla="*/ 0 h 1"/>
                  <a:gd name="T6" fmla="*/ 3 w 3"/>
                  <a:gd name="T7" fmla="*/ 0 h 1"/>
                  <a:gd name="T8" fmla="*/ 2 w 3"/>
                  <a:gd name="T9" fmla="*/ 0 h 1"/>
                  <a:gd name="T10" fmla="*/ 0 w 3"/>
                  <a:gd name="T11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1" y="1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2" name="Freeform 1026">
                <a:extLst>
                  <a:ext uri="{FF2B5EF4-FFF2-40B4-BE49-F238E27FC236}">
                    <a16:creationId xmlns:a16="http://schemas.microsoft.com/office/drawing/2014/main" id="{89888B00-2C6C-4FCB-A3BA-BD40DD5266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0" y="1196"/>
                <a:ext cx="2" cy="3"/>
              </a:xfrm>
              <a:custGeom>
                <a:avLst/>
                <a:gdLst>
                  <a:gd name="T0" fmla="*/ 2 w 2"/>
                  <a:gd name="T1" fmla="*/ 2 h 3"/>
                  <a:gd name="T2" fmla="*/ 2 w 2"/>
                  <a:gd name="T3" fmla="*/ 0 h 3"/>
                  <a:gd name="T4" fmla="*/ 0 w 2"/>
                  <a:gd name="T5" fmla="*/ 3 h 3"/>
                  <a:gd name="T6" fmla="*/ 1 w 2"/>
                  <a:gd name="T7" fmla="*/ 3 h 3"/>
                  <a:gd name="T8" fmla="*/ 2 w 2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2" y="2"/>
                    </a:moveTo>
                    <a:lnTo>
                      <a:pt x="2" y="0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3" name="Freeform 1027">
                <a:extLst>
                  <a:ext uri="{FF2B5EF4-FFF2-40B4-BE49-F238E27FC236}">
                    <a16:creationId xmlns:a16="http://schemas.microsoft.com/office/drawing/2014/main" id="{FA152715-0576-4011-B8EC-22C33A9782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8" y="1200"/>
                <a:ext cx="1" cy="2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2 h 2"/>
                  <a:gd name="T4" fmla="*/ 1 w 1"/>
                  <a:gd name="T5" fmla="*/ 0 h 2"/>
                  <a:gd name="T6" fmla="*/ 0 w 1"/>
                  <a:gd name="T7" fmla="*/ 1 h 2"/>
                  <a:gd name="T8" fmla="*/ 0 w 1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lnTo>
                      <a:pt x="1" y="2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4" name="Freeform 1028">
                <a:extLst>
                  <a:ext uri="{FF2B5EF4-FFF2-40B4-BE49-F238E27FC236}">
                    <a16:creationId xmlns:a16="http://schemas.microsoft.com/office/drawing/2014/main" id="{18EB02B4-A11C-4310-8FAD-B8BCC1A73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3" y="1201"/>
                <a:ext cx="3" cy="2"/>
              </a:xfrm>
              <a:custGeom>
                <a:avLst/>
                <a:gdLst>
                  <a:gd name="T0" fmla="*/ 0 w 3"/>
                  <a:gd name="T1" fmla="*/ 1 h 2"/>
                  <a:gd name="T2" fmla="*/ 0 w 3"/>
                  <a:gd name="T3" fmla="*/ 2 h 2"/>
                  <a:gd name="T4" fmla="*/ 1 w 3"/>
                  <a:gd name="T5" fmla="*/ 2 h 2"/>
                  <a:gd name="T6" fmla="*/ 3 w 3"/>
                  <a:gd name="T7" fmla="*/ 1 h 2"/>
                  <a:gd name="T8" fmla="*/ 1 w 3"/>
                  <a:gd name="T9" fmla="*/ 0 h 2"/>
                  <a:gd name="T10" fmla="*/ 0 w 3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0" y="1"/>
                    </a:moveTo>
                    <a:lnTo>
                      <a:pt x="0" y="2"/>
                    </a:lnTo>
                    <a:lnTo>
                      <a:pt x="1" y="2"/>
                    </a:lnTo>
                    <a:lnTo>
                      <a:pt x="3" y="1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5" name="Freeform 1029">
                <a:extLst>
                  <a:ext uri="{FF2B5EF4-FFF2-40B4-BE49-F238E27FC236}">
                    <a16:creationId xmlns:a16="http://schemas.microsoft.com/office/drawing/2014/main" id="{18560EAD-4933-4A1A-8112-333C41F818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7" y="1163"/>
                <a:ext cx="2" cy="5"/>
              </a:xfrm>
              <a:custGeom>
                <a:avLst/>
                <a:gdLst>
                  <a:gd name="T0" fmla="*/ 2 w 2"/>
                  <a:gd name="T1" fmla="*/ 4 h 5"/>
                  <a:gd name="T2" fmla="*/ 2 w 2"/>
                  <a:gd name="T3" fmla="*/ 2 h 5"/>
                  <a:gd name="T4" fmla="*/ 1 w 2"/>
                  <a:gd name="T5" fmla="*/ 0 h 5"/>
                  <a:gd name="T6" fmla="*/ 0 w 2"/>
                  <a:gd name="T7" fmla="*/ 1 h 5"/>
                  <a:gd name="T8" fmla="*/ 0 w 2"/>
                  <a:gd name="T9" fmla="*/ 5 h 5"/>
                  <a:gd name="T10" fmla="*/ 2 w 2"/>
                  <a:gd name="T11" fmla="*/ 5 h 5"/>
                  <a:gd name="T12" fmla="*/ 2 w 2"/>
                  <a:gd name="T13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5">
                    <a:moveTo>
                      <a:pt x="2" y="4"/>
                    </a:moveTo>
                    <a:lnTo>
                      <a:pt x="2" y="2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6" name="Freeform 1030">
                <a:extLst>
                  <a:ext uri="{FF2B5EF4-FFF2-40B4-BE49-F238E27FC236}">
                    <a16:creationId xmlns:a16="http://schemas.microsoft.com/office/drawing/2014/main" id="{792F0A4A-A945-4835-A00E-CF91052EAC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2" y="1171"/>
                <a:ext cx="2" cy="2"/>
              </a:xfrm>
              <a:custGeom>
                <a:avLst/>
                <a:gdLst>
                  <a:gd name="T0" fmla="*/ 0 w 2"/>
                  <a:gd name="T1" fmla="*/ 1 h 2"/>
                  <a:gd name="T2" fmla="*/ 1 w 2"/>
                  <a:gd name="T3" fmla="*/ 2 h 2"/>
                  <a:gd name="T4" fmla="*/ 2 w 2"/>
                  <a:gd name="T5" fmla="*/ 1 h 2"/>
                  <a:gd name="T6" fmla="*/ 1 w 2"/>
                  <a:gd name="T7" fmla="*/ 0 h 2"/>
                  <a:gd name="T8" fmla="*/ 0 w 2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lnTo>
                      <a:pt x="1" y="2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7" name="Freeform 1031">
                <a:extLst>
                  <a:ext uri="{FF2B5EF4-FFF2-40B4-BE49-F238E27FC236}">
                    <a16:creationId xmlns:a16="http://schemas.microsoft.com/office/drawing/2014/main" id="{6102F3EE-3E1A-4E98-BDBA-79FAA5BC68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6" y="913"/>
                <a:ext cx="8" cy="10"/>
              </a:xfrm>
              <a:custGeom>
                <a:avLst/>
                <a:gdLst>
                  <a:gd name="T0" fmla="*/ 2 w 8"/>
                  <a:gd name="T1" fmla="*/ 3 h 10"/>
                  <a:gd name="T2" fmla="*/ 0 w 8"/>
                  <a:gd name="T3" fmla="*/ 7 h 10"/>
                  <a:gd name="T4" fmla="*/ 0 w 8"/>
                  <a:gd name="T5" fmla="*/ 10 h 10"/>
                  <a:gd name="T6" fmla="*/ 2 w 8"/>
                  <a:gd name="T7" fmla="*/ 10 h 10"/>
                  <a:gd name="T8" fmla="*/ 2 w 8"/>
                  <a:gd name="T9" fmla="*/ 9 h 10"/>
                  <a:gd name="T10" fmla="*/ 5 w 8"/>
                  <a:gd name="T11" fmla="*/ 10 h 10"/>
                  <a:gd name="T12" fmla="*/ 8 w 8"/>
                  <a:gd name="T13" fmla="*/ 7 h 10"/>
                  <a:gd name="T14" fmla="*/ 8 w 8"/>
                  <a:gd name="T15" fmla="*/ 3 h 10"/>
                  <a:gd name="T16" fmla="*/ 5 w 8"/>
                  <a:gd name="T17" fmla="*/ 0 h 10"/>
                  <a:gd name="T18" fmla="*/ 2 w 8"/>
                  <a:gd name="T1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10">
                    <a:moveTo>
                      <a:pt x="2" y="3"/>
                    </a:moveTo>
                    <a:lnTo>
                      <a:pt x="0" y="7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9"/>
                    </a:lnTo>
                    <a:lnTo>
                      <a:pt x="5" y="10"/>
                    </a:lnTo>
                    <a:lnTo>
                      <a:pt x="8" y="7"/>
                    </a:lnTo>
                    <a:lnTo>
                      <a:pt x="8" y="3"/>
                    </a:lnTo>
                    <a:lnTo>
                      <a:pt x="5" y="0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8" name="Freeform 1032">
                <a:extLst>
                  <a:ext uri="{FF2B5EF4-FFF2-40B4-BE49-F238E27FC236}">
                    <a16:creationId xmlns:a16="http://schemas.microsoft.com/office/drawing/2014/main" id="{40802872-C1D6-4466-81B2-B4DA4A09C0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5" y="964"/>
                <a:ext cx="5" cy="14"/>
              </a:xfrm>
              <a:custGeom>
                <a:avLst/>
                <a:gdLst>
                  <a:gd name="T0" fmla="*/ 3 w 5"/>
                  <a:gd name="T1" fmla="*/ 0 h 14"/>
                  <a:gd name="T2" fmla="*/ 2 w 5"/>
                  <a:gd name="T3" fmla="*/ 1 h 14"/>
                  <a:gd name="T4" fmla="*/ 1 w 5"/>
                  <a:gd name="T5" fmla="*/ 4 h 14"/>
                  <a:gd name="T6" fmla="*/ 0 w 5"/>
                  <a:gd name="T7" fmla="*/ 9 h 14"/>
                  <a:gd name="T8" fmla="*/ 1 w 5"/>
                  <a:gd name="T9" fmla="*/ 12 h 14"/>
                  <a:gd name="T10" fmla="*/ 1 w 5"/>
                  <a:gd name="T11" fmla="*/ 14 h 14"/>
                  <a:gd name="T12" fmla="*/ 3 w 5"/>
                  <a:gd name="T13" fmla="*/ 11 h 14"/>
                  <a:gd name="T14" fmla="*/ 4 w 5"/>
                  <a:gd name="T15" fmla="*/ 7 h 14"/>
                  <a:gd name="T16" fmla="*/ 4 w 5"/>
                  <a:gd name="T17" fmla="*/ 4 h 14"/>
                  <a:gd name="T18" fmla="*/ 5 w 5"/>
                  <a:gd name="T19" fmla="*/ 1 h 14"/>
                  <a:gd name="T20" fmla="*/ 3 w 5"/>
                  <a:gd name="T2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14">
                    <a:moveTo>
                      <a:pt x="3" y="0"/>
                    </a:moveTo>
                    <a:lnTo>
                      <a:pt x="2" y="1"/>
                    </a:lnTo>
                    <a:lnTo>
                      <a:pt x="1" y="4"/>
                    </a:lnTo>
                    <a:lnTo>
                      <a:pt x="0" y="9"/>
                    </a:lnTo>
                    <a:lnTo>
                      <a:pt x="1" y="12"/>
                    </a:lnTo>
                    <a:lnTo>
                      <a:pt x="1" y="14"/>
                    </a:lnTo>
                    <a:lnTo>
                      <a:pt x="3" y="11"/>
                    </a:lnTo>
                    <a:lnTo>
                      <a:pt x="4" y="7"/>
                    </a:lnTo>
                    <a:lnTo>
                      <a:pt x="4" y="4"/>
                    </a:lnTo>
                    <a:lnTo>
                      <a:pt x="5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9" name="Freeform 1033">
                <a:extLst>
                  <a:ext uri="{FF2B5EF4-FFF2-40B4-BE49-F238E27FC236}">
                    <a16:creationId xmlns:a16="http://schemas.microsoft.com/office/drawing/2014/main" id="{5273246C-8937-4F0F-BBFC-E8ECE7DB66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1" y="1172"/>
                <a:ext cx="2" cy="0"/>
              </a:xfrm>
              <a:custGeom>
                <a:avLst/>
                <a:gdLst>
                  <a:gd name="T0" fmla="*/ 2 w 2"/>
                  <a:gd name="T1" fmla="*/ 1 w 2"/>
                  <a:gd name="T2" fmla="*/ 0 w 2"/>
                  <a:gd name="T3" fmla="*/ 1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0" name="Freeform 1034">
                <a:extLst>
                  <a:ext uri="{FF2B5EF4-FFF2-40B4-BE49-F238E27FC236}">
                    <a16:creationId xmlns:a16="http://schemas.microsoft.com/office/drawing/2014/main" id="{B5317D9A-5124-4E76-AD63-E970882DCC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7" y="962"/>
                <a:ext cx="10" cy="6"/>
              </a:xfrm>
              <a:custGeom>
                <a:avLst/>
                <a:gdLst>
                  <a:gd name="T0" fmla="*/ 6 w 10"/>
                  <a:gd name="T1" fmla="*/ 5 h 6"/>
                  <a:gd name="T2" fmla="*/ 9 w 10"/>
                  <a:gd name="T3" fmla="*/ 6 h 6"/>
                  <a:gd name="T4" fmla="*/ 10 w 10"/>
                  <a:gd name="T5" fmla="*/ 6 h 6"/>
                  <a:gd name="T6" fmla="*/ 9 w 10"/>
                  <a:gd name="T7" fmla="*/ 3 h 6"/>
                  <a:gd name="T8" fmla="*/ 7 w 10"/>
                  <a:gd name="T9" fmla="*/ 3 h 6"/>
                  <a:gd name="T10" fmla="*/ 5 w 10"/>
                  <a:gd name="T11" fmla="*/ 0 h 6"/>
                  <a:gd name="T12" fmla="*/ 2 w 10"/>
                  <a:gd name="T13" fmla="*/ 0 h 6"/>
                  <a:gd name="T14" fmla="*/ 1 w 10"/>
                  <a:gd name="T15" fmla="*/ 0 h 6"/>
                  <a:gd name="T16" fmla="*/ 0 w 10"/>
                  <a:gd name="T17" fmla="*/ 1 h 6"/>
                  <a:gd name="T18" fmla="*/ 2 w 10"/>
                  <a:gd name="T19" fmla="*/ 4 h 6"/>
                  <a:gd name="T20" fmla="*/ 6 w 10"/>
                  <a:gd name="T21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6">
                    <a:moveTo>
                      <a:pt x="6" y="5"/>
                    </a:moveTo>
                    <a:lnTo>
                      <a:pt x="9" y="6"/>
                    </a:lnTo>
                    <a:lnTo>
                      <a:pt x="10" y="6"/>
                    </a:lnTo>
                    <a:lnTo>
                      <a:pt x="9" y="3"/>
                    </a:lnTo>
                    <a:lnTo>
                      <a:pt x="7" y="3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2" y="4"/>
                    </a:lnTo>
                    <a:lnTo>
                      <a:pt x="6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1" name="Freeform 1035">
                <a:extLst>
                  <a:ext uri="{FF2B5EF4-FFF2-40B4-BE49-F238E27FC236}">
                    <a16:creationId xmlns:a16="http://schemas.microsoft.com/office/drawing/2014/main" id="{7641FBC8-FD1D-4996-9E0D-D3A1F61759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0" y="1191"/>
                <a:ext cx="4" cy="3"/>
              </a:xfrm>
              <a:custGeom>
                <a:avLst/>
                <a:gdLst>
                  <a:gd name="T0" fmla="*/ 0 w 4"/>
                  <a:gd name="T1" fmla="*/ 2 h 3"/>
                  <a:gd name="T2" fmla="*/ 1 w 4"/>
                  <a:gd name="T3" fmla="*/ 3 h 3"/>
                  <a:gd name="T4" fmla="*/ 3 w 4"/>
                  <a:gd name="T5" fmla="*/ 1 h 3"/>
                  <a:gd name="T6" fmla="*/ 4 w 4"/>
                  <a:gd name="T7" fmla="*/ 1 h 3"/>
                  <a:gd name="T8" fmla="*/ 4 w 4"/>
                  <a:gd name="T9" fmla="*/ 0 h 3"/>
                  <a:gd name="T10" fmla="*/ 1 w 4"/>
                  <a:gd name="T11" fmla="*/ 1 h 3"/>
                  <a:gd name="T12" fmla="*/ 0 w 4"/>
                  <a:gd name="T1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">
                    <a:moveTo>
                      <a:pt x="0" y="2"/>
                    </a:moveTo>
                    <a:lnTo>
                      <a:pt x="1" y="3"/>
                    </a:lnTo>
                    <a:lnTo>
                      <a:pt x="3" y="1"/>
                    </a:lnTo>
                    <a:lnTo>
                      <a:pt x="4" y="1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2" name="Freeform 1036">
                <a:extLst>
                  <a:ext uri="{FF2B5EF4-FFF2-40B4-BE49-F238E27FC236}">
                    <a16:creationId xmlns:a16="http://schemas.microsoft.com/office/drawing/2014/main" id="{1446B389-365F-408D-B3A4-C99FDCB749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2" y="1104"/>
                <a:ext cx="2" cy="4"/>
              </a:xfrm>
              <a:custGeom>
                <a:avLst/>
                <a:gdLst>
                  <a:gd name="T0" fmla="*/ 0 w 2"/>
                  <a:gd name="T1" fmla="*/ 1 h 4"/>
                  <a:gd name="T2" fmla="*/ 0 w 2"/>
                  <a:gd name="T3" fmla="*/ 3 h 4"/>
                  <a:gd name="T4" fmla="*/ 0 w 2"/>
                  <a:gd name="T5" fmla="*/ 4 h 4"/>
                  <a:gd name="T6" fmla="*/ 2 w 2"/>
                  <a:gd name="T7" fmla="*/ 2 h 4"/>
                  <a:gd name="T8" fmla="*/ 0 w 2"/>
                  <a:gd name="T9" fmla="*/ 0 h 4"/>
                  <a:gd name="T10" fmla="*/ 0 w 2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1"/>
                    </a:moveTo>
                    <a:lnTo>
                      <a:pt x="0" y="3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3" name="Freeform 1037">
                <a:extLst>
                  <a:ext uri="{FF2B5EF4-FFF2-40B4-BE49-F238E27FC236}">
                    <a16:creationId xmlns:a16="http://schemas.microsoft.com/office/drawing/2014/main" id="{4813E3A7-7EFE-4A58-84BE-AE064EBA1A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9" y="1211"/>
                <a:ext cx="7" cy="6"/>
              </a:xfrm>
              <a:custGeom>
                <a:avLst/>
                <a:gdLst>
                  <a:gd name="T0" fmla="*/ 0 w 9"/>
                  <a:gd name="T1" fmla="*/ 8 h 8"/>
                  <a:gd name="T2" fmla="*/ 2 w 9"/>
                  <a:gd name="T3" fmla="*/ 8 h 8"/>
                  <a:gd name="T4" fmla="*/ 5 w 9"/>
                  <a:gd name="T5" fmla="*/ 4 h 8"/>
                  <a:gd name="T6" fmla="*/ 9 w 9"/>
                  <a:gd name="T7" fmla="*/ 3 h 8"/>
                  <a:gd name="T8" fmla="*/ 9 w 9"/>
                  <a:gd name="T9" fmla="*/ 1 h 8"/>
                  <a:gd name="T10" fmla="*/ 8 w 9"/>
                  <a:gd name="T11" fmla="*/ 0 h 8"/>
                  <a:gd name="T12" fmla="*/ 6 w 9"/>
                  <a:gd name="T13" fmla="*/ 1 h 8"/>
                  <a:gd name="T14" fmla="*/ 3 w 9"/>
                  <a:gd name="T15" fmla="*/ 1 h 8"/>
                  <a:gd name="T16" fmla="*/ 2 w 9"/>
                  <a:gd name="T17" fmla="*/ 4 h 8"/>
                  <a:gd name="T18" fmla="*/ 0 w 9"/>
                  <a:gd name="T19" fmla="*/ 5 h 8"/>
                  <a:gd name="T20" fmla="*/ 0 w 9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8">
                    <a:moveTo>
                      <a:pt x="0" y="8"/>
                    </a:moveTo>
                    <a:cubicBezTo>
                      <a:pt x="2" y="8"/>
                      <a:pt x="2" y="8"/>
                      <a:pt x="2" y="8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0" y="5"/>
                      <a:pt x="0" y="5"/>
                    </a:cubicBezTo>
                    <a:lnTo>
                      <a:pt x="0" y="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4" name="Freeform 1038">
                <a:extLst>
                  <a:ext uri="{FF2B5EF4-FFF2-40B4-BE49-F238E27FC236}">
                    <a16:creationId xmlns:a16="http://schemas.microsoft.com/office/drawing/2014/main" id="{6E29ED68-9E89-447D-A998-248C9AE81A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7" y="1225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1 w 3"/>
                  <a:gd name="T3" fmla="*/ 3 h 3"/>
                  <a:gd name="T4" fmla="*/ 2 w 3"/>
                  <a:gd name="T5" fmla="*/ 3 h 3"/>
                  <a:gd name="T6" fmla="*/ 3 w 3"/>
                  <a:gd name="T7" fmla="*/ 2 h 3"/>
                  <a:gd name="T8" fmla="*/ 2 w 3"/>
                  <a:gd name="T9" fmla="*/ 0 h 3"/>
                  <a:gd name="T10" fmla="*/ 0 w 3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1" y="3"/>
                    </a:lnTo>
                    <a:lnTo>
                      <a:pt x="2" y="3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5" name="Line 1039">
                <a:extLst>
                  <a:ext uri="{FF2B5EF4-FFF2-40B4-BE49-F238E27FC236}">
                    <a16:creationId xmlns:a16="http://schemas.microsoft.com/office/drawing/2014/main" id="{34B6FF54-5BEC-4093-B887-D99BACA0E99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68" y="1231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6" name="Line 1040">
                <a:extLst>
                  <a:ext uri="{FF2B5EF4-FFF2-40B4-BE49-F238E27FC236}">
                    <a16:creationId xmlns:a16="http://schemas.microsoft.com/office/drawing/2014/main" id="{314BE619-E839-4F4D-91BB-A146BA5B9B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68" y="1231"/>
                <a:ext cx="0" cy="0"/>
              </a:xfrm>
              <a:prstGeom prst="line">
                <a:avLst/>
              </a:pr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7" name="Freeform 1041">
                <a:extLst>
                  <a:ext uri="{FF2B5EF4-FFF2-40B4-BE49-F238E27FC236}">
                    <a16:creationId xmlns:a16="http://schemas.microsoft.com/office/drawing/2014/main" id="{B0312E13-BD07-4238-9782-4F64CDE802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8" y="1080"/>
                <a:ext cx="276" cy="451"/>
              </a:xfrm>
              <a:custGeom>
                <a:avLst/>
                <a:gdLst>
                  <a:gd name="T0" fmla="*/ 256 w 276"/>
                  <a:gd name="T1" fmla="*/ 309 h 451"/>
                  <a:gd name="T2" fmla="*/ 248 w 276"/>
                  <a:gd name="T3" fmla="*/ 294 h 451"/>
                  <a:gd name="T4" fmla="*/ 244 w 276"/>
                  <a:gd name="T5" fmla="*/ 265 h 451"/>
                  <a:gd name="T6" fmla="*/ 232 w 276"/>
                  <a:gd name="T7" fmla="*/ 266 h 451"/>
                  <a:gd name="T8" fmla="*/ 228 w 276"/>
                  <a:gd name="T9" fmla="*/ 249 h 451"/>
                  <a:gd name="T10" fmla="*/ 204 w 276"/>
                  <a:gd name="T11" fmla="*/ 233 h 451"/>
                  <a:gd name="T12" fmla="*/ 211 w 276"/>
                  <a:gd name="T13" fmla="*/ 226 h 451"/>
                  <a:gd name="T14" fmla="*/ 236 w 276"/>
                  <a:gd name="T15" fmla="*/ 218 h 451"/>
                  <a:gd name="T16" fmla="*/ 232 w 276"/>
                  <a:gd name="T17" fmla="*/ 185 h 451"/>
                  <a:gd name="T18" fmla="*/ 215 w 276"/>
                  <a:gd name="T19" fmla="*/ 192 h 451"/>
                  <a:gd name="T20" fmla="*/ 225 w 276"/>
                  <a:gd name="T21" fmla="*/ 175 h 451"/>
                  <a:gd name="T22" fmla="*/ 210 w 276"/>
                  <a:gd name="T23" fmla="*/ 159 h 451"/>
                  <a:gd name="T24" fmla="*/ 199 w 276"/>
                  <a:gd name="T25" fmla="*/ 164 h 451"/>
                  <a:gd name="T26" fmla="*/ 191 w 276"/>
                  <a:gd name="T27" fmla="*/ 153 h 451"/>
                  <a:gd name="T28" fmla="*/ 194 w 276"/>
                  <a:gd name="T29" fmla="*/ 126 h 451"/>
                  <a:gd name="T30" fmla="*/ 184 w 276"/>
                  <a:gd name="T31" fmla="*/ 127 h 451"/>
                  <a:gd name="T32" fmla="*/ 164 w 276"/>
                  <a:gd name="T33" fmla="*/ 133 h 451"/>
                  <a:gd name="T34" fmla="*/ 179 w 276"/>
                  <a:gd name="T35" fmla="*/ 102 h 451"/>
                  <a:gd name="T36" fmla="*/ 173 w 276"/>
                  <a:gd name="T37" fmla="*/ 84 h 451"/>
                  <a:gd name="T38" fmla="*/ 146 w 276"/>
                  <a:gd name="T39" fmla="*/ 88 h 451"/>
                  <a:gd name="T40" fmla="*/ 128 w 276"/>
                  <a:gd name="T41" fmla="*/ 79 h 451"/>
                  <a:gd name="T42" fmla="*/ 113 w 276"/>
                  <a:gd name="T43" fmla="*/ 82 h 451"/>
                  <a:gd name="T44" fmla="*/ 125 w 276"/>
                  <a:gd name="T45" fmla="*/ 40 h 451"/>
                  <a:gd name="T46" fmla="*/ 89 w 276"/>
                  <a:gd name="T47" fmla="*/ 28 h 451"/>
                  <a:gd name="T48" fmla="*/ 79 w 276"/>
                  <a:gd name="T49" fmla="*/ 42 h 451"/>
                  <a:gd name="T50" fmla="*/ 64 w 276"/>
                  <a:gd name="T51" fmla="*/ 66 h 451"/>
                  <a:gd name="T52" fmla="*/ 51 w 276"/>
                  <a:gd name="T53" fmla="*/ 119 h 451"/>
                  <a:gd name="T54" fmla="*/ 51 w 276"/>
                  <a:gd name="T55" fmla="*/ 68 h 451"/>
                  <a:gd name="T56" fmla="*/ 72 w 276"/>
                  <a:gd name="T57" fmla="*/ 0 h 451"/>
                  <a:gd name="T58" fmla="*/ 16 w 276"/>
                  <a:gd name="T59" fmla="*/ 54 h 451"/>
                  <a:gd name="T60" fmla="*/ 26 w 276"/>
                  <a:gd name="T61" fmla="*/ 111 h 451"/>
                  <a:gd name="T62" fmla="*/ 7 w 276"/>
                  <a:gd name="T63" fmla="*/ 140 h 451"/>
                  <a:gd name="T64" fmla="*/ 35 w 276"/>
                  <a:gd name="T65" fmla="*/ 152 h 451"/>
                  <a:gd name="T66" fmla="*/ 73 w 276"/>
                  <a:gd name="T67" fmla="*/ 168 h 451"/>
                  <a:gd name="T68" fmla="*/ 94 w 276"/>
                  <a:gd name="T69" fmla="*/ 167 h 451"/>
                  <a:gd name="T70" fmla="*/ 114 w 276"/>
                  <a:gd name="T71" fmla="*/ 144 h 451"/>
                  <a:gd name="T72" fmla="*/ 125 w 276"/>
                  <a:gd name="T73" fmla="*/ 183 h 451"/>
                  <a:gd name="T74" fmla="*/ 122 w 276"/>
                  <a:gd name="T75" fmla="*/ 214 h 451"/>
                  <a:gd name="T76" fmla="*/ 142 w 276"/>
                  <a:gd name="T77" fmla="*/ 221 h 451"/>
                  <a:gd name="T78" fmla="*/ 159 w 276"/>
                  <a:gd name="T79" fmla="*/ 244 h 451"/>
                  <a:gd name="T80" fmla="*/ 136 w 276"/>
                  <a:gd name="T81" fmla="*/ 295 h 451"/>
                  <a:gd name="T82" fmla="*/ 104 w 276"/>
                  <a:gd name="T83" fmla="*/ 335 h 451"/>
                  <a:gd name="T84" fmla="*/ 64 w 276"/>
                  <a:gd name="T85" fmla="*/ 344 h 451"/>
                  <a:gd name="T86" fmla="*/ 104 w 276"/>
                  <a:gd name="T87" fmla="*/ 359 h 451"/>
                  <a:gd name="T88" fmla="*/ 126 w 276"/>
                  <a:gd name="T89" fmla="*/ 379 h 451"/>
                  <a:gd name="T90" fmla="*/ 145 w 276"/>
                  <a:gd name="T91" fmla="*/ 420 h 451"/>
                  <a:gd name="T92" fmla="*/ 187 w 276"/>
                  <a:gd name="T93" fmla="*/ 451 h 451"/>
                  <a:gd name="T94" fmla="*/ 175 w 276"/>
                  <a:gd name="T95" fmla="*/ 416 h 451"/>
                  <a:gd name="T96" fmla="*/ 178 w 276"/>
                  <a:gd name="T97" fmla="*/ 401 h 451"/>
                  <a:gd name="T98" fmla="*/ 197 w 276"/>
                  <a:gd name="T99" fmla="*/ 423 h 451"/>
                  <a:gd name="T100" fmla="*/ 214 w 276"/>
                  <a:gd name="T101" fmla="*/ 414 h 451"/>
                  <a:gd name="T102" fmla="*/ 208 w 276"/>
                  <a:gd name="T103" fmla="*/ 367 h 451"/>
                  <a:gd name="T104" fmla="*/ 199 w 276"/>
                  <a:gd name="T105" fmla="*/ 347 h 451"/>
                  <a:gd name="T106" fmla="*/ 181 w 276"/>
                  <a:gd name="T107" fmla="*/ 318 h 451"/>
                  <a:gd name="T108" fmla="*/ 197 w 276"/>
                  <a:gd name="T109" fmla="*/ 313 h 451"/>
                  <a:gd name="T110" fmla="*/ 211 w 276"/>
                  <a:gd name="T111" fmla="*/ 316 h 451"/>
                  <a:gd name="T112" fmla="*/ 233 w 276"/>
                  <a:gd name="T113" fmla="*/ 319 h 451"/>
                  <a:gd name="T114" fmla="*/ 221 w 276"/>
                  <a:gd name="T115" fmla="*/ 347 h 451"/>
                  <a:gd name="T116" fmla="*/ 232 w 276"/>
                  <a:gd name="T117" fmla="*/ 358 h 451"/>
                  <a:gd name="T118" fmla="*/ 238 w 276"/>
                  <a:gd name="T119" fmla="*/ 347 h 451"/>
                  <a:gd name="T120" fmla="*/ 249 w 276"/>
                  <a:gd name="T121" fmla="*/ 337 h 451"/>
                  <a:gd name="T122" fmla="*/ 259 w 276"/>
                  <a:gd name="T123" fmla="*/ 323 h 451"/>
                  <a:gd name="T124" fmla="*/ 267 w 276"/>
                  <a:gd name="T125" fmla="*/ 315 h 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6" h="451">
                    <a:moveTo>
                      <a:pt x="274" y="319"/>
                    </a:moveTo>
                    <a:lnTo>
                      <a:pt x="275" y="318"/>
                    </a:lnTo>
                    <a:lnTo>
                      <a:pt x="276" y="317"/>
                    </a:lnTo>
                    <a:lnTo>
                      <a:pt x="276" y="315"/>
                    </a:lnTo>
                    <a:lnTo>
                      <a:pt x="274" y="313"/>
                    </a:lnTo>
                    <a:lnTo>
                      <a:pt x="274" y="311"/>
                    </a:lnTo>
                    <a:lnTo>
                      <a:pt x="273" y="309"/>
                    </a:lnTo>
                    <a:lnTo>
                      <a:pt x="270" y="310"/>
                    </a:lnTo>
                    <a:lnTo>
                      <a:pt x="271" y="306"/>
                    </a:lnTo>
                    <a:lnTo>
                      <a:pt x="270" y="305"/>
                    </a:lnTo>
                    <a:lnTo>
                      <a:pt x="268" y="305"/>
                    </a:lnTo>
                    <a:lnTo>
                      <a:pt x="267" y="304"/>
                    </a:lnTo>
                    <a:lnTo>
                      <a:pt x="268" y="302"/>
                    </a:lnTo>
                    <a:lnTo>
                      <a:pt x="267" y="302"/>
                    </a:lnTo>
                    <a:lnTo>
                      <a:pt x="264" y="303"/>
                    </a:lnTo>
                    <a:lnTo>
                      <a:pt x="263" y="306"/>
                    </a:lnTo>
                    <a:lnTo>
                      <a:pt x="263" y="309"/>
                    </a:lnTo>
                    <a:lnTo>
                      <a:pt x="263" y="309"/>
                    </a:lnTo>
                    <a:lnTo>
                      <a:pt x="261" y="308"/>
                    </a:lnTo>
                    <a:lnTo>
                      <a:pt x="261" y="303"/>
                    </a:lnTo>
                    <a:lnTo>
                      <a:pt x="260" y="302"/>
                    </a:lnTo>
                    <a:lnTo>
                      <a:pt x="259" y="303"/>
                    </a:lnTo>
                    <a:lnTo>
                      <a:pt x="259" y="305"/>
                    </a:lnTo>
                    <a:lnTo>
                      <a:pt x="257" y="309"/>
                    </a:lnTo>
                    <a:lnTo>
                      <a:pt x="256" y="310"/>
                    </a:lnTo>
                    <a:lnTo>
                      <a:pt x="256" y="309"/>
                    </a:lnTo>
                    <a:lnTo>
                      <a:pt x="256" y="305"/>
                    </a:lnTo>
                    <a:lnTo>
                      <a:pt x="259" y="301"/>
                    </a:lnTo>
                    <a:lnTo>
                      <a:pt x="259" y="299"/>
                    </a:lnTo>
                    <a:lnTo>
                      <a:pt x="256" y="300"/>
                    </a:lnTo>
                    <a:lnTo>
                      <a:pt x="253" y="304"/>
                    </a:lnTo>
                    <a:lnTo>
                      <a:pt x="253" y="306"/>
                    </a:lnTo>
                    <a:lnTo>
                      <a:pt x="252" y="308"/>
                    </a:lnTo>
                    <a:lnTo>
                      <a:pt x="249" y="308"/>
                    </a:lnTo>
                    <a:lnTo>
                      <a:pt x="249" y="306"/>
                    </a:lnTo>
                    <a:lnTo>
                      <a:pt x="251" y="302"/>
                    </a:lnTo>
                    <a:lnTo>
                      <a:pt x="254" y="301"/>
                    </a:lnTo>
                    <a:lnTo>
                      <a:pt x="256" y="298"/>
                    </a:lnTo>
                    <a:lnTo>
                      <a:pt x="256" y="295"/>
                    </a:lnTo>
                    <a:lnTo>
                      <a:pt x="258" y="295"/>
                    </a:lnTo>
                    <a:lnTo>
                      <a:pt x="260" y="293"/>
                    </a:lnTo>
                    <a:lnTo>
                      <a:pt x="260" y="292"/>
                    </a:lnTo>
                    <a:lnTo>
                      <a:pt x="258" y="291"/>
                    </a:lnTo>
                    <a:lnTo>
                      <a:pt x="255" y="293"/>
                    </a:lnTo>
                    <a:lnTo>
                      <a:pt x="253" y="295"/>
                    </a:lnTo>
                    <a:lnTo>
                      <a:pt x="252" y="296"/>
                    </a:lnTo>
                    <a:lnTo>
                      <a:pt x="249" y="299"/>
                    </a:lnTo>
                    <a:lnTo>
                      <a:pt x="250" y="295"/>
                    </a:lnTo>
                    <a:lnTo>
                      <a:pt x="252" y="292"/>
                    </a:lnTo>
                    <a:lnTo>
                      <a:pt x="252" y="292"/>
                    </a:lnTo>
                    <a:lnTo>
                      <a:pt x="249" y="292"/>
                    </a:lnTo>
                    <a:lnTo>
                      <a:pt x="248" y="294"/>
                    </a:lnTo>
                    <a:lnTo>
                      <a:pt x="244" y="293"/>
                    </a:lnTo>
                    <a:lnTo>
                      <a:pt x="242" y="293"/>
                    </a:lnTo>
                    <a:lnTo>
                      <a:pt x="240" y="292"/>
                    </a:lnTo>
                    <a:lnTo>
                      <a:pt x="242" y="292"/>
                    </a:lnTo>
                    <a:lnTo>
                      <a:pt x="248" y="291"/>
                    </a:lnTo>
                    <a:lnTo>
                      <a:pt x="246" y="289"/>
                    </a:lnTo>
                    <a:lnTo>
                      <a:pt x="244" y="288"/>
                    </a:lnTo>
                    <a:lnTo>
                      <a:pt x="246" y="288"/>
                    </a:lnTo>
                    <a:lnTo>
                      <a:pt x="248" y="288"/>
                    </a:lnTo>
                    <a:lnTo>
                      <a:pt x="246" y="285"/>
                    </a:lnTo>
                    <a:lnTo>
                      <a:pt x="245" y="285"/>
                    </a:lnTo>
                    <a:lnTo>
                      <a:pt x="245" y="283"/>
                    </a:lnTo>
                    <a:lnTo>
                      <a:pt x="247" y="282"/>
                    </a:lnTo>
                    <a:lnTo>
                      <a:pt x="247" y="280"/>
                    </a:lnTo>
                    <a:lnTo>
                      <a:pt x="246" y="276"/>
                    </a:lnTo>
                    <a:lnTo>
                      <a:pt x="246" y="275"/>
                    </a:lnTo>
                    <a:lnTo>
                      <a:pt x="242" y="276"/>
                    </a:lnTo>
                    <a:lnTo>
                      <a:pt x="241" y="277"/>
                    </a:lnTo>
                    <a:lnTo>
                      <a:pt x="239" y="276"/>
                    </a:lnTo>
                    <a:lnTo>
                      <a:pt x="239" y="277"/>
                    </a:lnTo>
                    <a:lnTo>
                      <a:pt x="238" y="276"/>
                    </a:lnTo>
                    <a:lnTo>
                      <a:pt x="239" y="274"/>
                    </a:lnTo>
                    <a:lnTo>
                      <a:pt x="239" y="271"/>
                    </a:lnTo>
                    <a:lnTo>
                      <a:pt x="242" y="270"/>
                    </a:lnTo>
                    <a:lnTo>
                      <a:pt x="244" y="268"/>
                    </a:lnTo>
                    <a:lnTo>
                      <a:pt x="244" y="265"/>
                    </a:lnTo>
                    <a:lnTo>
                      <a:pt x="243" y="264"/>
                    </a:lnTo>
                    <a:lnTo>
                      <a:pt x="241" y="266"/>
                    </a:lnTo>
                    <a:lnTo>
                      <a:pt x="238" y="269"/>
                    </a:lnTo>
                    <a:lnTo>
                      <a:pt x="236" y="271"/>
                    </a:lnTo>
                    <a:lnTo>
                      <a:pt x="235" y="273"/>
                    </a:lnTo>
                    <a:lnTo>
                      <a:pt x="234" y="276"/>
                    </a:lnTo>
                    <a:lnTo>
                      <a:pt x="235" y="278"/>
                    </a:lnTo>
                    <a:lnTo>
                      <a:pt x="233" y="279"/>
                    </a:lnTo>
                    <a:lnTo>
                      <a:pt x="233" y="276"/>
                    </a:lnTo>
                    <a:lnTo>
                      <a:pt x="233" y="273"/>
                    </a:lnTo>
                    <a:lnTo>
                      <a:pt x="234" y="271"/>
                    </a:lnTo>
                    <a:lnTo>
                      <a:pt x="237" y="267"/>
                    </a:lnTo>
                    <a:lnTo>
                      <a:pt x="238" y="264"/>
                    </a:lnTo>
                    <a:lnTo>
                      <a:pt x="237" y="264"/>
                    </a:lnTo>
                    <a:lnTo>
                      <a:pt x="235" y="265"/>
                    </a:lnTo>
                    <a:lnTo>
                      <a:pt x="234" y="268"/>
                    </a:lnTo>
                    <a:lnTo>
                      <a:pt x="234" y="268"/>
                    </a:lnTo>
                    <a:lnTo>
                      <a:pt x="232" y="270"/>
                    </a:lnTo>
                    <a:lnTo>
                      <a:pt x="230" y="272"/>
                    </a:lnTo>
                    <a:lnTo>
                      <a:pt x="230" y="274"/>
                    </a:lnTo>
                    <a:lnTo>
                      <a:pt x="229" y="278"/>
                    </a:lnTo>
                    <a:lnTo>
                      <a:pt x="227" y="279"/>
                    </a:lnTo>
                    <a:lnTo>
                      <a:pt x="227" y="277"/>
                    </a:lnTo>
                    <a:lnTo>
                      <a:pt x="229" y="274"/>
                    </a:lnTo>
                    <a:lnTo>
                      <a:pt x="231" y="268"/>
                    </a:lnTo>
                    <a:lnTo>
                      <a:pt x="232" y="266"/>
                    </a:lnTo>
                    <a:lnTo>
                      <a:pt x="232" y="264"/>
                    </a:lnTo>
                    <a:lnTo>
                      <a:pt x="229" y="264"/>
                    </a:lnTo>
                    <a:lnTo>
                      <a:pt x="228" y="266"/>
                    </a:lnTo>
                    <a:lnTo>
                      <a:pt x="227" y="268"/>
                    </a:lnTo>
                    <a:lnTo>
                      <a:pt x="226" y="270"/>
                    </a:lnTo>
                    <a:lnTo>
                      <a:pt x="226" y="268"/>
                    </a:lnTo>
                    <a:lnTo>
                      <a:pt x="228" y="264"/>
                    </a:lnTo>
                    <a:lnTo>
                      <a:pt x="229" y="262"/>
                    </a:lnTo>
                    <a:lnTo>
                      <a:pt x="227" y="260"/>
                    </a:lnTo>
                    <a:lnTo>
                      <a:pt x="225" y="259"/>
                    </a:lnTo>
                    <a:lnTo>
                      <a:pt x="225" y="257"/>
                    </a:lnTo>
                    <a:lnTo>
                      <a:pt x="225" y="256"/>
                    </a:lnTo>
                    <a:lnTo>
                      <a:pt x="221" y="256"/>
                    </a:lnTo>
                    <a:lnTo>
                      <a:pt x="219" y="257"/>
                    </a:lnTo>
                    <a:lnTo>
                      <a:pt x="220" y="255"/>
                    </a:lnTo>
                    <a:lnTo>
                      <a:pt x="222" y="254"/>
                    </a:lnTo>
                    <a:lnTo>
                      <a:pt x="220" y="254"/>
                    </a:lnTo>
                    <a:lnTo>
                      <a:pt x="216" y="254"/>
                    </a:lnTo>
                    <a:lnTo>
                      <a:pt x="215" y="256"/>
                    </a:lnTo>
                    <a:lnTo>
                      <a:pt x="215" y="254"/>
                    </a:lnTo>
                    <a:lnTo>
                      <a:pt x="219" y="251"/>
                    </a:lnTo>
                    <a:lnTo>
                      <a:pt x="222" y="250"/>
                    </a:lnTo>
                    <a:lnTo>
                      <a:pt x="224" y="252"/>
                    </a:lnTo>
                    <a:lnTo>
                      <a:pt x="226" y="253"/>
                    </a:lnTo>
                    <a:lnTo>
                      <a:pt x="226" y="251"/>
                    </a:lnTo>
                    <a:lnTo>
                      <a:pt x="228" y="249"/>
                    </a:lnTo>
                    <a:lnTo>
                      <a:pt x="225" y="249"/>
                    </a:lnTo>
                    <a:lnTo>
                      <a:pt x="223" y="247"/>
                    </a:lnTo>
                    <a:lnTo>
                      <a:pt x="220" y="246"/>
                    </a:lnTo>
                    <a:lnTo>
                      <a:pt x="218" y="246"/>
                    </a:lnTo>
                    <a:lnTo>
                      <a:pt x="218" y="249"/>
                    </a:lnTo>
                    <a:lnTo>
                      <a:pt x="216" y="249"/>
                    </a:lnTo>
                    <a:lnTo>
                      <a:pt x="216" y="248"/>
                    </a:lnTo>
                    <a:lnTo>
                      <a:pt x="218" y="247"/>
                    </a:lnTo>
                    <a:lnTo>
                      <a:pt x="218" y="245"/>
                    </a:lnTo>
                    <a:lnTo>
                      <a:pt x="215" y="245"/>
                    </a:lnTo>
                    <a:lnTo>
                      <a:pt x="215" y="247"/>
                    </a:lnTo>
                    <a:lnTo>
                      <a:pt x="214" y="247"/>
                    </a:lnTo>
                    <a:lnTo>
                      <a:pt x="213" y="246"/>
                    </a:lnTo>
                    <a:lnTo>
                      <a:pt x="213" y="244"/>
                    </a:lnTo>
                    <a:lnTo>
                      <a:pt x="211" y="243"/>
                    </a:lnTo>
                    <a:lnTo>
                      <a:pt x="211" y="244"/>
                    </a:lnTo>
                    <a:lnTo>
                      <a:pt x="209" y="242"/>
                    </a:lnTo>
                    <a:lnTo>
                      <a:pt x="208" y="240"/>
                    </a:lnTo>
                    <a:lnTo>
                      <a:pt x="206" y="241"/>
                    </a:lnTo>
                    <a:lnTo>
                      <a:pt x="208" y="239"/>
                    </a:lnTo>
                    <a:lnTo>
                      <a:pt x="209" y="238"/>
                    </a:lnTo>
                    <a:lnTo>
                      <a:pt x="213" y="241"/>
                    </a:lnTo>
                    <a:lnTo>
                      <a:pt x="215" y="240"/>
                    </a:lnTo>
                    <a:lnTo>
                      <a:pt x="214" y="239"/>
                    </a:lnTo>
                    <a:lnTo>
                      <a:pt x="207" y="235"/>
                    </a:lnTo>
                    <a:lnTo>
                      <a:pt x="204" y="233"/>
                    </a:lnTo>
                    <a:lnTo>
                      <a:pt x="203" y="233"/>
                    </a:lnTo>
                    <a:lnTo>
                      <a:pt x="205" y="232"/>
                    </a:lnTo>
                    <a:lnTo>
                      <a:pt x="211" y="234"/>
                    </a:lnTo>
                    <a:lnTo>
                      <a:pt x="214" y="235"/>
                    </a:lnTo>
                    <a:lnTo>
                      <a:pt x="219" y="237"/>
                    </a:lnTo>
                    <a:lnTo>
                      <a:pt x="221" y="237"/>
                    </a:lnTo>
                    <a:lnTo>
                      <a:pt x="219" y="235"/>
                    </a:lnTo>
                    <a:lnTo>
                      <a:pt x="220" y="233"/>
                    </a:lnTo>
                    <a:lnTo>
                      <a:pt x="218" y="231"/>
                    </a:lnTo>
                    <a:lnTo>
                      <a:pt x="217" y="230"/>
                    </a:lnTo>
                    <a:lnTo>
                      <a:pt x="215" y="228"/>
                    </a:lnTo>
                    <a:lnTo>
                      <a:pt x="215" y="228"/>
                    </a:lnTo>
                    <a:lnTo>
                      <a:pt x="217" y="227"/>
                    </a:lnTo>
                    <a:lnTo>
                      <a:pt x="218" y="229"/>
                    </a:lnTo>
                    <a:lnTo>
                      <a:pt x="218" y="230"/>
                    </a:lnTo>
                    <a:lnTo>
                      <a:pt x="220" y="229"/>
                    </a:lnTo>
                    <a:lnTo>
                      <a:pt x="222" y="229"/>
                    </a:lnTo>
                    <a:lnTo>
                      <a:pt x="223" y="228"/>
                    </a:lnTo>
                    <a:lnTo>
                      <a:pt x="223" y="227"/>
                    </a:lnTo>
                    <a:lnTo>
                      <a:pt x="222" y="226"/>
                    </a:lnTo>
                    <a:lnTo>
                      <a:pt x="222" y="225"/>
                    </a:lnTo>
                    <a:lnTo>
                      <a:pt x="220" y="223"/>
                    </a:lnTo>
                    <a:lnTo>
                      <a:pt x="218" y="223"/>
                    </a:lnTo>
                    <a:lnTo>
                      <a:pt x="215" y="224"/>
                    </a:lnTo>
                    <a:lnTo>
                      <a:pt x="212" y="224"/>
                    </a:lnTo>
                    <a:lnTo>
                      <a:pt x="211" y="226"/>
                    </a:lnTo>
                    <a:lnTo>
                      <a:pt x="210" y="226"/>
                    </a:lnTo>
                    <a:lnTo>
                      <a:pt x="210" y="224"/>
                    </a:lnTo>
                    <a:lnTo>
                      <a:pt x="212" y="222"/>
                    </a:lnTo>
                    <a:lnTo>
                      <a:pt x="215" y="222"/>
                    </a:lnTo>
                    <a:lnTo>
                      <a:pt x="216" y="221"/>
                    </a:lnTo>
                    <a:lnTo>
                      <a:pt x="220" y="221"/>
                    </a:lnTo>
                    <a:lnTo>
                      <a:pt x="221" y="219"/>
                    </a:lnTo>
                    <a:lnTo>
                      <a:pt x="218" y="219"/>
                    </a:lnTo>
                    <a:lnTo>
                      <a:pt x="215" y="218"/>
                    </a:lnTo>
                    <a:lnTo>
                      <a:pt x="215" y="216"/>
                    </a:lnTo>
                    <a:lnTo>
                      <a:pt x="217" y="218"/>
                    </a:lnTo>
                    <a:lnTo>
                      <a:pt x="219" y="217"/>
                    </a:lnTo>
                    <a:lnTo>
                      <a:pt x="221" y="217"/>
                    </a:lnTo>
                    <a:lnTo>
                      <a:pt x="222" y="218"/>
                    </a:lnTo>
                    <a:lnTo>
                      <a:pt x="225" y="222"/>
                    </a:lnTo>
                    <a:lnTo>
                      <a:pt x="227" y="223"/>
                    </a:lnTo>
                    <a:lnTo>
                      <a:pt x="229" y="222"/>
                    </a:lnTo>
                    <a:lnTo>
                      <a:pt x="230" y="223"/>
                    </a:lnTo>
                    <a:lnTo>
                      <a:pt x="231" y="224"/>
                    </a:lnTo>
                    <a:lnTo>
                      <a:pt x="232" y="223"/>
                    </a:lnTo>
                    <a:lnTo>
                      <a:pt x="233" y="223"/>
                    </a:lnTo>
                    <a:lnTo>
                      <a:pt x="235" y="225"/>
                    </a:lnTo>
                    <a:lnTo>
                      <a:pt x="236" y="225"/>
                    </a:lnTo>
                    <a:lnTo>
                      <a:pt x="238" y="224"/>
                    </a:lnTo>
                    <a:lnTo>
                      <a:pt x="237" y="220"/>
                    </a:lnTo>
                    <a:lnTo>
                      <a:pt x="236" y="218"/>
                    </a:lnTo>
                    <a:lnTo>
                      <a:pt x="235" y="215"/>
                    </a:lnTo>
                    <a:lnTo>
                      <a:pt x="233" y="214"/>
                    </a:lnTo>
                    <a:lnTo>
                      <a:pt x="231" y="213"/>
                    </a:lnTo>
                    <a:lnTo>
                      <a:pt x="229" y="211"/>
                    </a:lnTo>
                    <a:lnTo>
                      <a:pt x="228" y="212"/>
                    </a:lnTo>
                    <a:lnTo>
                      <a:pt x="226" y="213"/>
                    </a:lnTo>
                    <a:lnTo>
                      <a:pt x="225" y="211"/>
                    </a:lnTo>
                    <a:lnTo>
                      <a:pt x="221" y="207"/>
                    </a:lnTo>
                    <a:lnTo>
                      <a:pt x="218" y="206"/>
                    </a:lnTo>
                    <a:lnTo>
                      <a:pt x="213" y="207"/>
                    </a:lnTo>
                    <a:lnTo>
                      <a:pt x="211" y="206"/>
                    </a:lnTo>
                    <a:lnTo>
                      <a:pt x="215" y="206"/>
                    </a:lnTo>
                    <a:lnTo>
                      <a:pt x="218" y="203"/>
                    </a:lnTo>
                    <a:lnTo>
                      <a:pt x="219" y="203"/>
                    </a:lnTo>
                    <a:lnTo>
                      <a:pt x="221" y="204"/>
                    </a:lnTo>
                    <a:lnTo>
                      <a:pt x="222" y="204"/>
                    </a:lnTo>
                    <a:lnTo>
                      <a:pt x="225" y="202"/>
                    </a:lnTo>
                    <a:lnTo>
                      <a:pt x="226" y="201"/>
                    </a:lnTo>
                    <a:lnTo>
                      <a:pt x="230" y="201"/>
                    </a:lnTo>
                    <a:lnTo>
                      <a:pt x="232" y="202"/>
                    </a:lnTo>
                    <a:lnTo>
                      <a:pt x="235" y="203"/>
                    </a:lnTo>
                    <a:lnTo>
                      <a:pt x="236" y="201"/>
                    </a:lnTo>
                    <a:lnTo>
                      <a:pt x="237" y="198"/>
                    </a:lnTo>
                    <a:lnTo>
                      <a:pt x="235" y="195"/>
                    </a:lnTo>
                    <a:lnTo>
                      <a:pt x="235" y="192"/>
                    </a:lnTo>
                    <a:lnTo>
                      <a:pt x="232" y="185"/>
                    </a:lnTo>
                    <a:lnTo>
                      <a:pt x="231" y="181"/>
                    </a:lnTo>
                    <a:lnTo>
                      <a:pt x="230" y="181"/>
                    </a:lnTo>
                    <a:lnTo>
                      <a:pt x="229" y="181"/>
                    </a:lnTo>
                    <a:lnTo>
                      <a:pt x="228" y="181"/>
                    </a:lnTo>
                    <a:lnTo>
                      <a:pt x="228" y="183"/>
                    </a:lnTo>
                    <a:lnTo>
                      <a:pt x="226" y="186"/>
                    </a:lnTo>
                    <a:lnTo>
                      <a:pt x="227" y="187"/>
                    </a:lnTo>
                    <a:lnTo>
                      <a:pt x="227" y="189"/>
                    </a:lnTo>
                    <a:lnTo>
                      <a:pt x="226" y="190"/>
                    </a:lnTo>
                    <a:lnTo>
                      <a:pt x="223" y="192"/>
                    </a:lnTo>
                    <a:lnTo>
                      <a:pt x="222" y="194"/>
                    </a:lnTo>
                    <a:lnTo>
                      <a:pt x="219" y="194"/>
                    </a:lnTo>
                    <a:lnTo>
                      <a:pt x="217" y="192"/>
                    </a:lnTo>
                    <a:lnTo>
                      <a:pt x="215" y="194"/>
                    </a:lnTo>
                    <a:lnTo>
                      <a:pt x="213" y="197"/>
                    </a:lnTo>
                    <a:lnTo>
                      <a:pt x="210" y="199"/>
                    </a:lnTo>
                    <a:lnTo>
                      <a:pt x="208" y="199"/>
                    </a:lnTo>
                    <a:lnTo>
                      <a:pt x="207" y="198"/>
                    </a:lnTo>
                    <a:lnTo>
                      <a:pt x="204" y="199"/>
                    </a:lnTo>
                    <a:lnTo>
                      <a:pt x="203" y="199"/>
                    </a:lnTo>
                    <a:lnTo>
                      <a:pt x="205" y="197"/>
                    </a:lnTo>
                    <a:lnTo>
                      <a:pt x="207" y="196"/>
                    </a:lnTo>
                    <a:lnTo>
                      <a:pt x="209" y="197"/>
                    </a:lnTo>
                    <a:lnTo>
                      <a:pt x="211" y="196"/>
                    </a:lnTo>
                    <a:lnTo>
                      <a:pt x="213" y="193"/>
                    </a:lnTo>
                    <a:lnTo>
                      <a:pt x="215" y="192"/>
                    </a:lnTo>
                    <a:lnTo>
                      <a:pt x="217" y="192"/>
                    </a:lnTo>
                    <a:lnTo>
                      <a:pt x="219" y="190"/>
                    </a:lnTo>
                    <a:lnTo>
                      <a:pt x="221" y="188"/>
                    </a:lnTo>
                    <a:lnTo>
                      <a:pt x="221" y="185"/>
                    </a:lnTo>
                    <a:lnTo>
                      <a:pt x="221" y="184"/>
                    </a:lnTo>
                    <a:lnTo>
                      <a:pt x="219" y="184"/>
                    </a:lnTo>
                    <a:lnTo>
                      <a:pt x="217" y="185"/>
                    </a:lnTo>
                    <a:lnTo>
                      <a:pt x="215" y="184"/>
                    </a:lnTo>
                    <a:lnTo>
                      <a:pt x="212" y="185"/>
                    </a:lnTo>
                    <a:lnTo>
                      <a:pt x="208" y="188"/>
                    </a:lnTo>
                    <a:lnTo>
                      <a:pt x="205" y="192"/>
                    </a:lnTo>
                    <a:lnTo>
                      <a:pt x="201" y="193"/>
                    </a:lnTo>
                    <a:lnTo>
                      <a:pt x="201" y="192"/>
                    </a:lnTo>
                    <a:lnTo>
                      <a:pt x="205" y="191"/>
                    </a:lnTo>
                    <a:lnTo>
                      <a:pt x="206" y="188"/>
                    </a:lnTo>
                    <a:lnTo>
                      <a:pt x="204" y="188"/>
                    </a:lnTo>
                    <a:lnTo>
                      <a:pt x="202" y="188"/>
                    </a:lnTo>
                    <a:lnTo>
                      <a:pt x="206" y="185"/>
                    </a:lnTo>
                    <a:lnTo>
                      <a:pt x="208" y="185"/>
                    </a:lnTo>
                    <a:lnTo>
                      <a:pt x="212" y="181"/>
                    </a:lnTo>
                    <a:lnTo>
                      <a:pt x="215" y="182"/>
                    </a:lnTo>
                    <a:lnTo>
                      <a:pt x="217" y="181"/>
                    </a:lnTo>
                    <a:lnTo>
                      <a:pt x="222" y="181"/>
                    </a:lnTo>
                    <a:lnTo>
                      <a:pt x="223" y="178"/>
                    </a:lnTo>
                    <a:lnTo>
                      <a:pt x="225" y="177"/>
                    </a:lnTo>
                    <a:lnTo>
                      <a:pt x="225" y="175"/>
                    </a:lnTo>
                    <a:lnTo>
                      <a:pt x="226" y="175"/>
                    </a:lnTo>
                    <a:lnTo>
                      <a:pt x="226" y="178"/>
                    </a:lnTo>
                    <a:lnTo>
                      <a:pt x="228" y="178"/>
                    </a:lnTo>
                    <a:lnTo>
                      <a:pt x="230" y="175"/>
                    </a:lnTo>
                    <a:lnTo>
                      <a:pt x="231" y="173"/>
                    </a:lnTo>
                    <a:lnTo>
                      <a:pt x="230" y="171"/>
                    </a:lnTo>
                    <a:lnTo>
                      <a:pt x="228" y="170"/>
                    </a:lnTo>
                    <a:lnTo>
                      <a:pt x="226" y="167"/>
                    </a:lnTo>
                    <a:lnTo>
                      <a:pt x="223" y="163"/>
                    </a:lnTo>
                    <a:lnTo>
                      <a:pt x="222" y="160"/>
                    </a:lnTo>
                    <a:lnTo>
                      <a:pt x="220" y="159"/>
                    </a:lnTo>
                    <a:lnTo>
                      <a:pt x="218" y="161"/>
                    </a:lnTo>
                    <a:lnTo>
                      <a:pt x="217" y="162"/>
                    </a:lnTo>
                    <a:lnTo>
                      <a:pt x="215" y="163"/>
                    </a:lnTo>
                    <a:lnTo>
                      <a:pt x="212" y="165"/>
                    </a:lnTo>
                    <a:lnTo>
                      <a:pt x="210" y="166"/>
                    </a:lnTo>
                    <a:lnTo>
                      <a:pt x="208" y="168"/>
                    </a:lnTo>
                    <a:lnTo>
                      <a:pt x="207" y="168"/>
                    </a:lnTo>
                    <a:lnTo>
                      <a:pt x="208" y="164"/>
                    </a:lnTo>
                    <a:lnTo>
                      <a:pt x="209" y="163"/>
                    </a:lnTo>
                    <a:lnTo>
                      <a:pt x="211" y="163"/>
                    </a:lnTo>
                    <a:lnTo>
                      <a:pt x="215" y="160"/>
                    </a:lnTo>
                    <a:lnTo>
                      <a:pt x="215" y="157"/>
                    </a:lnTo>
                    <a:lnTo>
                      <a:pt x="215" y="156"/>
                    </a:lnTo>
                    <a:lnTo>
                      <a:pt x="214" y="157"/>
                    </a:lnTo>
                    <a:lnTo>
                      <a:pt x="210" y="159"/>
                    </a:lnTo>
                    <a:lnTo>
                      <a:pt x="206" y="162"/>
                    </a:lnTo>
                    <a:lnTo>
                      <a:pt x="204" y="162"/>
                    </a:lnTo>
                    <a:lnTo>
                      <a:pt x="203" y="164"/>
                    </a:lnTo>
                    <a:lnTo>
                      <a:pt x="203" y="166"/>
                    </a:lnTo>
                    <a:lnTo>
                      <a:pt x="201" y="171"/>
                    </a:lnTo>
                    <a:lnTo>
                      <a:pt x="196" y="178"/>
                    </a:lnTo>
                    <a:lnTo>
                      <a:pt x="192" y="181"/>
                    </a:lnTo>
                    <a:lnTo>
                      <a:pt x="192" y="179"/>
                    </a:lnTo>
                    <a:lnTo>
                      <a:pt x="194" y="177"/>
                    </a:lnTo>
                    <a:lnTo>
                      <a:pt x="197" y="173"/>
                    </a:lnTo>
                    <a:lnTo>
                      <a:pt x="199" y="169"/>
                    </a:lnTo>
                    <a:lnTo>
                      <a:pt x="201" y="168"/>
                    </a:lnTo>
                    <a:lnTo>
                      <a:pt x="200" y="166"/>
                    </a:lnTo>
                    <a:lnTo>
                      <a:pt x="199" y="166"/>
                    </a:lnTo>
                    <a:lnTo>
                      <a:pt x="198" y="165"/>
                    </a:lnTo>
                    <a:lnTo>
                      <a:pt x="197" y="166"/>
                    </a:lnTo>
                    <a:lnTo>
                      <a:pt x="194" y="170"/>
                    </a:lnTo>
                    <a:lnTo>
                      <a:pt x="191" y="175"/>
                    </a:lnTo>
                    <a:lnTo>
                      <a:pt x="190" y="175"/>
                    </a:lnTo>
                    <a:lnTo>
                      <a:pt x="190" y="173"/>
                    </a:lnTo>
                    <a:lnTo>
                      <a:pt x="191" y="171"/>
                    </a:lnTo>
                    <a:lnTo>
                      <a:pt x="194" y="168"/>
                    </a:lnTo>
                    <a:lnTo>
                      <a:pt x="194" y="165"/>
                    </a:lnTo>
                    <a:lnTo>
                      <a:pt x="196" y="163"/>
                    </a:lnTo>
                    <a:lnTo>
                      <a:pt x="197" y="163"/>
                    </a:lnTo>
                    <a:lnTo>
                      <a:pt x="199" y="164"/>
                    </a:lnTo>
                    <a:lnTo>
                      <a:pt x="201" y="164"/>
                    </a:lnTo>
                    <a:lnTo>
                      <a:pt x="202" y="163"/>
                    </a:lnTo>
                    <a:lnTo>
                      <a:pt x="204" y="161"/>
                    </a:lnTo>
                    <a:lnTo>
                      <a:pt x="207" y="159"/>
                    </a:lnTo>
                    <a:lnTo>
                      <a:pt x="209" y="155"/>
                    </a:lnTo>
                    <a:lnTo>
                      <a:pt x="211" y="152"/>
                    </a:lnTo>
                    <a:lnTo>
                      <a:pt x="210" y="150"/>
                    </a:lnTo>
                    <a:lnTo>
                      <a:pt x="210" y="147"/>
                    </a:lnTo>
                    <a:lnTo>
                      <a:pt x="209" y="147"/>
                    </a:lnTo>
                    <a:lnTo>
                      <a:pt x="205" y="149"/>
                    </a:lnTo>
                    <a:lnTo>
                      <a:pt x="204" y="151"/>
                    </a:lnTo>
                    <a:lnTo>
                      <a:pt x="204" y="154"/>
                    </a:lnTo>
                    <a:lnTo>
                      <a:pt x="203" y="158"/>
                    </a:lnTo>
                    <a:lnTo>
                      <a:pt x="202" y="159"/>
                    </a:lnTo>
                    <a:lnTo>
                      <a:pt x="202" y="157"/>
                    </a:lnTo>
                    <a:lnTo>
                      <a:pt x="202" y="156"/>
                    </a:lnTo>
                    <a:lnTo>
                      <a:pt x="201" y="154"/>
                    </a:lnTo>
                    <a:lnTo>
                      <a:pt x="198" y="154"/>
                    </a:lnTo>
                    <a:lnTo>
                      <a:pt x="196" y="157"/>
                    </a:lnTo>
                    <a:lnTo>
                      <a:pt x="194" y="157"/>
                    </a:lnTo>
                    <a:lnTo>
                      <a:pt x="190" y="157"/>
                    </a:lnTo>
                    <a:lnTo>
                      <a:pt x="188" y="158"/>
                    </a:lnTo>
                    <a:lnTo>
                      <a:pt x="185" y="158"/>
                    </a:lnTo>
                    <a:lnTo>
                      <a:pt x="187" y="157"/>
                    </a:lnTo>
                    <a:lnTo>
                      <a:pt x="190" y="156"/>
                    </a:lnTo>
                    <a:lnTo>
                      <a:pt x="191" y="153"/>
                    </a:lnTo>
                    <a:lnTo>
                      <a:pt x="191" y="150"/>
                    </a:lnTo>
                    <a:lnTo>
                      <a:pt x="190" y="150"/>
                    </a:lnTo>
                    <a:lnTo>
                      <a:pt x="187" y="151"/>
                    </a:lnTo>
                    <a:lnTo>
                      <a:pt x="188" y="149"/>
                    </a:lnTo>
                    <a:lnTo>
                      <a:pt x="190" y="149"/>
                    </a:lnTo>
                    <a:lnTo>
                      <a:pt x="191" y="147"/>
                    </a:lnTo>
                    <a:lnTo>
                      <a:pt x="193" y="144"/>
                    </a:lnTo>
                    <a:lnTo>
                      <a:pt x="194" y="143"/>
                    </a:lnTo>
                    <a:lnTo>
                      <a:pt x="196" y="143"/>
                    </a:lnTo>
                    <a:lnTo>
                      <a:pt x="197" y="143"/>
                    </a:lnTo>
                    <a:lnTo>
                      <a:pt x="200" y="145"/>
                    </a:lnTo>
                    <a:lnTo>
                      <a:pt x="201" y="147"/>
                    </a:lnTo>
                    <a:lnTo>
                      <a:pt x="203" y="147"/>
                    </a:lnTo>
                    <a:lnTo>
                      <a:pt x="206" y="143"/>
                    </a:lnTo>
                    <a:lnTo>
                      <a:pt x="208" y="140"/>
                    </a:lnTo>
                    <a:lnTo>
                      <a:pt x="208" y="139"/>
                    </a:lnTo>
                    <a:lnTo>
                      <a:pt x="204" y="136"/>
                    </a:lnTo>
                    <a:lnTo>
                      <a:pt x="204" y="132"/>
                    </a:lnTo>
                    <a:lnTo>
                      <a:pt x="204" y="130"/>
                    </a:lnTo>
                    <a:lnTo>
                      <a:pt x="201" y="126"/>
                    </a:lnTo>
                    <a:lnTo>
                      <a:pt x="199" y="125"/>
                    </a:lnTo>
                    <a:lnTo>
                      <a:pt x="197" y="119"/>
                    </a:lnTo>
                    <a:lnTo>
                      <a:pt x="196" y="120"/>
                    </a:lnTo>
                    <a:lnTo>
                      <a:pt x="196" y="123"/>
                    </a:lnTo>
                    <a:lnTo>
                      <a:pt x="194" y="125"/>
                    </a:lnTo>
                    <a:lnTo>
                      <a:pt x="194" y="126"/>
                    </a:lnTo>
                    <a:lnTo>
                      <a:pt x="193" y="127"/>
                    </a:lnTo>
                    <a:lnTo>
                      <a:pt x="192" y="130"/>
                    </a:lnTo>
                    <a:lnTo>
                      <a:pt x="190" y="131"/>
                    </a:lnTo>
                    <a:lnTo>
                      <a:pt x="189" y="133"/>
                    </a:lnTo>
                    <a:lnTo>
                      <a:pt x="189" y="137"/>
                    </a:lnTo>
                    <a:lnTo>
                      <a:pt x="186" y="139"/>
                    </a:lnTo>
                    <a:lnTo>
                      <a:pt x="184" y="142"/>
                    </a:lnTo>
                    <a:lnTo>
                      <a:pt x="184" y="144"/>
                    </a:lnTo>
                    <a:lnTo>
                      <a:pt x="183" y="147"/>
                    </a:lnTo>
                    <a:lnTo>
                      <a:pt x="181" y="146"/>
                    </a:lnTo>
                    <a:lnTo>
                      <a:pt x="182" y="142"/>
                    </a:lnTo>
                    <a:lnTo>
                      <a:pt x="184" y="137"/>
                    </a:lnTo>
                    <a:lnTo>
                      <a:pt x="187" y="137"/>
                    </a:lnTo>
                    <a:lnTo>
                      <a:pt x="187" y="135"/>
                    </a:lnTo>
                    <a:lnTo>
                      <a:pt x="186" y="134"/>
                    </a:lnTo>
                    <a:lnTo>
                      <a:pt x="185" y="132"/>
                    </a:lnTo>
                    <a:lnTo>
                      <a:pt x="183" y="133"/>
                    </a:lnTo>
                    <a:lnTo>
                      <a:pt x="179" y="139"/>
                    </a:lnTo>
                    <a:lnTo>
                      <a:pt x="178" y="141"/>
                    </a:lnTo>
                    <a:lnTo>
                      <a:pt x="176" y="143"/>
                    </a:lnTo>
                    <a:lnTo>
                      <a:pt x="175" y="141"/>
                    </a:lnTo>
                    <a:lnTo>
                      <a:pt x="177" y="140"/>
                    </a:lnTo>
                    <a:lnTo>
                      <a:pt x="179" y="136"/>
                    </a:lnTo>
                    <a:lnTo>
                      <a:pt x="180" y="133"/>
                    </a:lnTo>
                    <a:lnTo>
                      <a:pt x="183" y="130"/>
                    </a:lnTo>
                    <a:lnTo>
                      <a:pt x="184" y="127"/>
                    </a:lnTo>
                    <a:lnTo>
                      <a:pt x="184" y="126"/>
                    </a:lnTo>
                    <a:lnTo>
                      <a:pt x="184" y="123"/>
                    </a:lnTo>
                    <a:lnTo>
                      <a:pt x="181" y="126"/>
                    </a:lnTo>
                    <a:lnTo>
                      <a:pt x="177" y="130"/>
                    </a:lnTo>
                    <a:lnTo>
                      <a:pt x="177" y="132"/>
                    </a:lnTo>
                    <a:lnTo>
                      <a:pt x="175" y="135"/>
                    </a:lnTo>
                    <a:lnTo>
                      <a:pt x="174" y="134"/>
                    </a:lnTo>
                    <a:lnTo>
                      <a:pt x="175" y="131"/>
                    </a:lnTo>
                    <a:lnTo>
                      <a:pt x="176" y="129"/>
                    </a:lnTo>
                    <a:lnTo>
                      <a:pt x="175" y="128"/>
                    </a:lnTo>
                    <a:lnTo>
                      <a:pt x="175" y="126"/>
                    </a:lnTo>
                    <a:lnTo>
                      <a:pt x="177" y="126"/>
                    </a:lnTo>
                    <a:lnTo>
                      <a:pt x="182" y="122"/>
                    </a:lnTo>
                    <a:lnTo>
                      <a:pt x="186" y="117"/>
                    </a:lnTo>
                    <a:lnTo>
                      <a:pt x="186" y="116"/>
                    </a:lnTo>
                    <a:lnTo>
                      <a:pt x="184" y="115"/>
                    </a:lnTo>
                    <a:lnTo>
                      <a:pt x="180" y="118"/>
                    </a:lnTo>
                    <a:lnTo>
                      <a:pt x="180" y="120"/>
                    </a:lnTo>
                    <a:lnTo>
                      <a:pt x="178" y="122"/>
                    </a:lnTo>
                    <a:lnTo>
                      <a:pt x="178" y="119"/>
                    </a:lnTo>
                    <a:lnTo>
                      <a:pt x="177" y="119"/>
                    </a:lnTo>
                    <a:lnTo>
                      <a:pt x="173" y="123"/>
                    </a:lnTo>
                    <a:lnTo>
                      <a:pt x="171" y="125"/>
                    </a:lnTo>
                    <a:lnTo>
                      <a:pt x="169" y="130"/>
                    </a:lnTo>
                    <a:lnTo>
                      <a:pt x="166" y="133"/>
                    </a:lnTo>
                    <a:lnTo>
                      <a:pt x="164" y="133"/>
                    </a:lnTo>
                    <a:lnTo>
                      <a:pt x="166" y="130"/>
                    </a:lnTo>
                    <a:lnTo>
                      <a:pt x="169" y="127"/>
                    </a:lnTo>
                    <a:lnTo>
                      <a:pt x="170" y="124"/>
                    </a:lnTo>
                    <a:lnTo>
                      <a:pt x="170" y="123"/>
                    </a:lnTo>
                    <a:lnTo>
                      <a:pt x="167" y="124"/>
                    </a:lnTo>
                    <a:lnTo>
                      <a:pt x="170" y="122"/>
                    </a:lnTo>
                    <a:lnTo>
                      <a:pt x="173" y="121"/>
                    </a:lnTo>
                    <a:lnTo>
                      <a:pt x="174" y="119"/>
                    </a:lnTo>
                    <a:lnTo>
                      <a:pt x="174" y="117"/>
                    </a:lnTo>
                    <a:lnTo>
                      <a:pt x="172" y="119"/>
                    </a:lnTo>
                    <a:lnTo>
                      <a:pt x="169" y="119"/>
                    </a:lnTo>
                    <a:lnTo>
                      <a:pt x="167" y="122"/>
                    </a:lnTo>
                    <a:lnTo>
                      <a:pt x="166" y="121"/>
                    </a:lnTo>
                    <a:lnTo>
                      <a:pt x="170" y="118"/>
                    </a:lnTo>
                    <a:lnTo>
                      <a:pt x="170" y="116"/>
                    </a:lnTo>
                    <a:lnTo>
                      <a:pt x="167" y="116"/>
                    </a:lnTo>
                    <a:lnTo>
                      <a:pt x="169" y="114"/>
                    </a:lnTo>
                    <a:lnTo>
                      <a:pt x="171" y="114"/>
                    </a:lnTo>
                    <a:lnTo>
                      <a:pt x="173" y="115"/>
                    </a:lnTo>
                    <a:lnTo>
                      <a:pt x="176" y="115"/>
                    </a:lnTo>
                    <a:lnTo>
                      <a:pt x="177" y="111"/>
                    </a:lnTo>
                    <a:lnTo>
                      <a:pt x="180" y="110"/>
                    </a:lnTo>
                    <a:lnTo>
                      <a:pt x="180" y="108"/>
                    </a:lnTo>
                    <a:lnTo>
                      <a:pt x="180" y="105"/>
                    </a:lnTo>
                    <a:lnTo>
                      <a:pt x="180" y="102"/>
                    </a:lnTo>
                    <a:lnTo>
                      <a:pt x="179" y="102"/>
                    </a:lnTo>
                    <a:lnTo>
                      <a:pt x="177" y="101"/>
                    </a:lnTo>
                    <a:lnTo>
                      <a:pt x="175" y="99"/>
                    </a:lnTo>
                    <a:lnTo>
                      <a:pt x="172" y="103"/>
                    </a:lnTo>
                    <a:lnTo>
                      <a:pt x="168" y="105"/>
                    </a:lnTo>
                    <a:lnTo>
                      <a:pt x="166" y="109"/>
                    </a:lnTo>
                    <a:lnTo>
                      <a:pt x="161" y="115"/>
                    </a:lnTo>
                    <a:lnTo>
                      <a:pt x="159" y="115"/>
                    </a:lnTo>
                    <a:lnTo>
                      <a:pt x="160" y="112"/>
                    </a:lnTo>
                    <a:lnTo>
                      <a:pt x="162" y="112"/>
                    </a:lnTo>
                    <a:lnTo>
                      <a:pt x="163" y="110"/>
                    </a:lnTo>
                    <a:lnTo>
                      <a:pt x="166" y="104"/>
                    </a:lnTo>
                    <a:lnTo>
                      <a:pt x="170" y="102"/>
                    </a:lnTo>
                    <a:lnTo>
                      <a:pt x="172" y="99"/>
                    </a:lnTo>
                    <a:lnTo>
                      <a:pt x="171" y="98"/>
                    </a:lnTo>
                    <a:lnTo>
                      <a:pt x="166" y="99"/>
                    </a:lnTo>
                    <a:lnTo>
                      <a:pt x="162" y="102"/>
                    </a:lnTo>
                    <a:lnTo>
                      <a:pt x="166" y="97"/>
                    </a:lnTo>
                    <a:lnTo>
                      <a:pt x="170" y="96"/>
                    </a:lnTo>
                    <a:lnTo>
                      <a:pt x="173" y="97"/>
                    </a:lnTo>
                    <a:lnTo>
                      <a:pt x="174" y="97"/>
                    </a:lnTo>
                    <a:lnTo>
                      <a:pt x="177" y="94"/>
                    </a:lnTo>
                    <a:lnTo>
                      <a:pt x="177" y="92"/>
                    </a:lnTo>
                    <a:lnTo>
                      <a:pt x="176" y="90"/>
                    </a:lnTo>
                    <a:lnTo>
                      <a:pt x="177" y="88"/>
                    </a:lnTo>
                    <a:lnTo>
                      <a:pt x="176" y="85"/>
                    </a:lnTo>
                    <a:lnTo>
                      <a:pt x="173" y="84"/>
                    </a:lnTo>
                    <a:lnTo>
                      <a:pt x="172" y="81"/>
                    </a:lnTo>
                    <a:lnTo>
                      <a:pt x="170" y="81"/>
                    </a:lnTo>
                    <a:lnTo>
                      <a:pt x="169" y="81"/>
                    </a:lnTo>
                    <a:lnTo>
                      <a:pt x="168" y="82"/>
                    </a:lnTo>
                    <a:lnTo>
                      <a:pt x="167" y="79"/>
                    </a:lnTo>
                    <a:lnTo>
                      <a:pt x="166" y="78"/>
                    </a:lnTo>
                    <a:lnTo>
                      <a:pt x="163" y="76"/>
                    </a:lnTo>
                    <a:lnTo>
                      <a:pt x="163" y="74"/>
                    </a:lnTo>
                    <a:lnTo>
                      <a:pt x="159" y="72"/>
                    </a:lnTo>
                    <a:lnTo>
                      <a:pt x="158" y="72"/>
                    </a:lnTo>
                    <a:lnTo>
                      <a:pt x="157" y="71"/>
                    </a:lnTo>
                    <a:lnTo>
                      <a:pt x="153" y="70"/>
                    </a:lnTo>
                    <a:lnTo>
                      <a:pt x="149" y="71"/>
                    </a:lnTo>
                    <a:lnTo>
                      <a:pt x="146" y="74"/>
                    </a:lnTo>
                    <a:lnTo>
                      <a:pt x="143" y="74"/>
                    </a:lnTo>
                    <a:lnTo>
                      <a:pt x="141" y="79"/>
                    </a:lnTo>
                    <a:lnTo>
                      <a:pt x="142" y="81"/>
                    </a:lnTo>
                    <a:lnTo>
                      <a:pt x="143" y="81"/>
                    </a:lnTo>
                    <a:lnTo>
                      <a:pt x="149" y="87"/>
                    </a:lnTo>
                    <a:lnTo>
                      <a:pt x="149" y="88"/>
                    </a:lnTo>
                    <a:lnTo>
                      <a:pt x="151" y="89"/>
                    </a:lnTo>
                    <a:lnTo>
                      <a:pt x="152" y="92"/>
                    </a:lnTo>
                    <a:lnTo>
                      <a:pt x="151" y="92"/>
                    </a:lnTo>
                    <a:lnTo>
                      <a:pt x="149" y="91"/>
                    </a:lnTo>
                    <a:lnTo>
                      <a:pt x="146" y="91"/>
                    </a:lnTo>
                    <a:lnTo>
                      <a:pt x="146" y="88"/>
                    </a:lnTo>
                    <a:lnTo>
                      <a:pt x="142" y="84"/>
                    </a:lnTo>
                    <a:lnTo>
                      <a:pt x="139" y="84"/>
                    </a:lnTo>
                    <a:lnTo>
                      <a:pt x="138" y="85"/>
                    </a:lnTo>
                    <a:lnTo>
                      <a:pt x="139" y="82"/>
                    </a:lnTo>
                    <a:lnTo>
                      <a:pt x="139" y="79"/>
                    </a:lnTo>
                    <a:lnTo>
                      <a:pt x="136" y="78"/>
                    </a:lnTo>
                    <a:lnTo>
                      <a:pt x="135" y="78"/>
                    </a:lnTo>
                    <a:lnTo>
                      <a:pt x="135" y="85"/>
                    </a:lnTo>
                    <a:lnTo>
                      <a:pt x="137" y="88"/>
                    </a:lnTo>
                    <a:lnTo>
                      <a:pt x="137" y="92"/>
                    </a:lnTo>
                    <a:lnTo>
                      <a:pt x="136" y="94"/>
                    </a:lnTo>
                    <a:lnTo>
                      <a:pt x="136" y="91"/>
                    </a:lnTo>
                    <a:lnTo>
                      <a:pt x="135" y="87"/>
                    </a:lnTo>
                    <a:lnTo>
                      <a:pt x="132" y="90"/>
                    </a:lnTo>
                    <a:lnTo>
                      <a:pt x="131" y="93"/>
                    </a:lnTo>
                    <a:lnTo>
                      <a:pt x="132" y="95"/>
                    </a:lnTo>
                    <a:lnTo>
                      <a:pt x="131" y="97"/>
                    </a:lnTo>
                    <a:lnTo>
                      <a:pt x="128" y="95"/>
                    </a:lnTo>
                    <a:lnTo>
                      <a:pt x="125" y="95"/>
                    </a:lnTo>
                    <a:lnTo>
                      <a:pt x="127" y="92"/>
                    </a:lnTo>
                    <a:lnTo>
                      <a:pt x="129" y="90"/>
                    </a:lnTo>
                    <a:lnTo>
                      <a:pt x="133" y="84"/>
                    </a:lnTo>
                    <a:lnTo>
                      <a:pt x="134" y="81"/>
                    </a:lnTo>
                    <a:lnTo>
                      <a:pt x="132" y="78"/>
                    </a:lnTo>
                    <a:lnTo>
                      <a:pt x="132" y="76"/>
                    </a:lnTo>
                    <a:lnTo>
                      <a:pt x="128" y="79"/>
                    </a:lnTo>
                    <a:lnTo>
                      <a:pt x="127" y="81"/>
                    </a:lnTo>
                    <a:lnTo>
                      <a:pt x="126" y="79"/>
                    </a:lnTo>
                    <a:lnTo>
                      <a:pt x="126" y="75"/>
                    </a:lnTo>
                    <a:lnTo>
                      <a:pt x="124" y="74"/>
                    </a:lnTo>
                    <a:lnTo>
                      <a:pt x="122" y="76"/>
                    </a:lnTo>
                    <a:lnTo>
                      <a:pt x="122" y="78"/>
                    </a:lnTo>
                    <a:lnTo>
                      <a:pt x="122" y="81"/>
                    </a:lnTo>
                    <a:lnTo>
                      <a:pt x="122" y="85"/>
                    </a:lnTo>
                    <a:lnTo>
                      <a:pt x="121" y="85"/>
                    </a:lnTo>
                    <a:lnTo>
                      <a:pt x="121" y="80"/>
                    </a:lnTo>
                    <a:lnTo>
                      <a:pt x="120" y="79"/>
                    </a:lnTo>
                    <a:lnTo>
                      <a:pt x="119" y="82"/>
                    </a:lnTo>
                    <a:lnTo>
                      <a:pt x="117" y="83"/>
                    </a:lnTo>
                    <a:lnTo>
                      <a:pt x="117" y="85"/>
                    </a:lnTo>
                    <a:lnTo>
                      <a:pt x="114" y="88"/>
                    </a:lnTo>
                    <a:lnTo>
                      <a:pt x="113" y="89"/>
                    </a:lnTo>
                    <a:lnTo>
                      <a:pt x="111" y="92"/>
                    </a:lnTo>
                    <a:lnTo>
                      <a:pt x="109" y="92"/>
                    </a:lnTo>
                    <a:lnTo>
                      <a:pt x="111" y="89"/>
                    </a:lnTo>
                    <a:lnTo>
                      <a:pt x="111" y="87"/>
                    </a:lnTo>
                    <a:lnTo>
                      <a:pt x="111" y="85"/>
                    </a:lnTo>
                    <a:lnTo>
                      <a:pt x="109" y="85"/>
                    </a:lnTo>
                    <a:lnTo>
                      <a:pt x="109" y="84"/>
                    </a:lnTo>
                    <a:lnTo>
                      <a:pt x="111" y="83"/>
                    </a:lnTo>
                    <a:lnTo>
                      <a:pt x="112" y="84"/>
                    </a:lnTo>
                    <a:lnTo>
                      <a:pt x="113" y="82"/>
                    </a:lnTo>
                    <a:lnTo>
                      <a:pt x="113" y="81"/>
                    </a:lnTo>
                    <a:lnTo>
                      <a:pt x="113" y="80"/>
                    </a:lnTo>
                    <a:lnTo>
                      <a:pt x="115" y="78"/>
                    </a:lnTo>
                    <a:lnTo>
                      <a:pt x="119" y="74"/>
                    </a:lnTo>
                    <a:lnTo>
                      <a:pt x="120" y="71"/>
                    </a:lnTo>
                    <a:lnTo>
                      <a:pt x="122" y="69"/>
                    </a:lnTo>
                    <a:lnTo>
                      <a:pt x="121" y="69"/>
                    </a:lnTo>
                    <a:lnTo>
                      <a:pt x="119" y="69"/>
                    </a:lnTo>
                    <a:lnTo>
                      <a:pt x="116" y="72"/>
                    </a:lnTo>
                    <a:lnTo>
                      <a:pt x="113" y="76"/>
                    </a:lnTo>
                    <a:lnTo>
                      <a:pt x="111" y="76"/>
                    </a:lnTo>
                    <a:lnTo>
                      <a:pt x="113" y="74"/>
                    </a:lnTo>
                    <a:lnTo>
                      <a:pt x="114" y="71"/>
                    </a:lnTo>
                    <a:lnTo>
                      <a:pt x="116" y="68"/>
                    </a:lnTo>
                    <a:lnTo>
                      <a:pt x="119" y="68"/>
                    </a:lnTo>
                    <a:lnTo>
                      <a:pt x="121" y="64"/>
                    </a:lnTo>
                    <a:lnTo>
                      <a:pt x="123" y="64"/>
                    </a:lnTo>
                    <a:lnTo>
                      <a:pt x="125" y="61"/>
                    </a:lnTo>
                    <a:lnTo>
                      <a:pt x="125" y="59"/>
                    </a:lnTo>
                    <a:lnTo>
                      <a:pt x="122" y="57"/>
                    </a:lnTo>
                    <a:lnTo>
                      <a:pt x="123" y="54"/>
                    </a:lnTo>
                    <a:lnTo>
                      <a:pt x="124" y="51"/>
                    </a:lnTo>
                    <a:lnTo>
                      <a:pt x="128" y="47"/>
                    </a:lnTo>
                    <a:lnTo>
                      <a:pt x="128" y="44"/>
                    </a:lnTo>
                    <a:lnTo>
                      <a:pt x="127" y="42"/>
                    </a:lnTo>
                    <a:lnTo>
                      <a:pt x="125" y="40"/>
                    </a:lnTo>
                    <a:lnTo>
                      <a:pt x="124" y="39"/>
                    </a:lnTo>
                    <a:lnTo>
                      <a:pt x="125" y="34"/>
                    </a:lnTo>
                    <a:lnTo>
                      <a:pt x="128" y="32"/>
                    </a:lnTo>
                    <a:lnTo>
                      <a:pt x="128" y="30"/>
                    </a:lnTo>
                    <a:lnTo>
                      <a:pt x="128" y="23"/>
                    </a:lnTo>
                    <a:lnTo>
                      <a:pt x="129" y="21"/>
                    </a:lnTo>
                    <a:lnTo>
                      <a:pt x="129" y="19"/>
                    </a:lnTo>
                    <a:lnTo>
                      <a:pt x="125" y="18"/>
                    </a:lnTo>
                    <a:lnTo>
                      <a:pt x="121" y="18"/>
                    </a:lnTo>
                    <a:lnTo>
                      <a:pt x="116" y="16"/>
                    </a:lnTo>
                    <a:lnTo>
                      <a:pt x="113" y="19"/>
                    </a:lnTo>
                    <a:lnTo>
                      <a:pt x="110" y="19"/>
                    </a:lnTo>
                    <a:lnTo>
                      <a:pt x="105" y="21"/>
                    </a:lnTo>
                    <a:lnTo>
                      <a:pt x="98" y="23"/>
                    </a:lnTo>
                    <a:lnTo>
                      <a:pt x="97" y="25"/>
                    </a:lnTo>
                    <a:lnTo>
                      <a:pt x="100" y="29"/>
                    </a:lnTo>
                    <a:lnTo>
                      <a:pt x="100" y="32"/>
                    </a:lnTo>
                    <a:lnTo>
                      <a:pt x="99" y="33"/>
                    </a:lnTo>
                    <a:lnTo>
                      <a:pt x="98" y="30"/>
                    </a:lnTo>
                    <a:lnTo>
                      <a:pt x="97" y="28"/>
                    </a:lnTo>
                    <a:lnTo>
                      <a:pt x="95" y="24"/>
                    </a:lnTo>
                    <a:lnTo>
                      <a:pt x="92" y="24"/>
                    </a:lnTo>
                    <a:lnTo>
                      <a:pt x="90" y="26"/>
                    </a:lnTo>
                    <a:lnTo>
                      <a:pt x="90" y="29"/>
                    </a:lnTo>
                    <a:lnTo>
                      <a:pt x="90" y="30"/>
                    </a:lnTo>
                    <a:lnTo>
                      <a:pt x="89" y="28"/>
                    </a:lnTo>
                    <a:lnTo>
                      <a:pt x="90" y="25"/>
                    </a:lnTo>
                    <a:lnTo>
                      <a:pt x="88" y="25"/>
                    </a:lnTo>
                    <a:lnTo>
                      <a:pt x="84" y="26"/>
                    </a:lnTo>
                    <a:lnTo>
                      <a:pt x="83" y="29"/>
                    </a:lnTo>
                    <a:lnTo>
                      <a:pt x="83" y="30"/>
                    </a:lnTo>
                    <a:lnTo>
                      <a:pt x="86" y="33"/>
                    </a:lnTo>
                    <a:lnTo>
                      <a:pt x="89" y="38"/>
                    </a:lnTo>
                    <a:lnTo>
                      <a:pt x="92" y="41"/>
                    </a:lnTo>
                    <a:lnTo>
                      <a:pt x="90" y="41"/>
                    </a:lnTo>
                    <a:lnTo>
                      <a:pt x="87" y="38"/>
                    </a:lnTo>
                    <a:lnTo>
                      <a:pt x="83" y="33"/>
                    </a:lnTo>
                    <a:lnTo>
                      <a:pt x="81" y="33"/>
                    </a:lnTo>
                    <a:lnTo>
                      <a:pt x="80" y="34"/>
                    </a:lnTo>
                    <a:lnTo>
                      <a:pt x="76" y="34"/>
                    </a:lnTo>
                    <a:lnTo>
                      <a:pt x="75" y="35"/>
                    </a:lnTo>
                    <a:lnTo>
                      <a:pt x="76" y="37"/>
                    </a:lnTo>
                    <a:lnTo>
                      <a:pt x="79" y="37"/>
                    </a:lnTo>
                    <a:lnTo>
                      <a:pt x="80" y="39"/>
                    </a:lnTo>
                    <a:lnTo>
                      <a:pt x="80" y="42"/>
                    </a:lnTo>
                    <a:lnTo>
                      <a:pt x="84" y="45"/>
                    </a:lnTo>
                    <a:lnTo>
                      <a:pt x="85" y="47"/>
                    </a:lnTo>
                    <a:lnTo>
                      <a:pt x="87" y="50"/>
                    </a:lnTo>
                    <a:lnTo>
                      <a:pt x="84" y="50"/>
                    </a:lnTo>
                    <a:lnTo>
                      <a:pt x="83" y="47"/>
                    </a:lnTo>
                    <a:lnTo>
                      <a:pt x="79" y="43"/>
                    </a:lnTo>
                    <a:lnTo>
                      <a:pt x="79" y="42"/>
                    </a:lnTo>
                    <a:lnTo>
                      <a:pt x="76" y="39"/>
                    </a:lnTo>
                    <a:lnTo>
                      <a:pt x="73" y="38"/>
                    </a:lnTo>
                    <a:lnTo>
                      <a:pt x="71" y="41"/>
                    </a:lnTo>
                    <a:lnTo>
                      <a:pt x="70" y="43"/>
                    </a:lnTo>
                    <a:lnTo>
                      <a:pt x="69" y="48"/>
                    </a:lnTo>
                    <a:lnTo>
                      <a:pt x="67" y="53"/>
                    </a:lnTo>
                    <a:lnTo>
                      <a:pt x="69" y="55"/>
                    </a:lnTo>
                    <a:lnTo>
                      <a:pt x="66" y="57"/>
                    </a:lnTo>
                    <a:lnTo>
                      <a:pt x="66" y="58"/>
                    </a:lnTo>
                    <a:lnTo>
                      <a:pt x="67" y="61"/>
                    </a:lnTo>
                    <a:lnTo>
                      <a:pt x="68" y="64"/>
                    </a:lnTo>
                    <a:lnTo>
                      <a:pt x="70" y="64"/>
                    </a:lnTo>
                    <a:lnTo>
                      <a:pt x="75" y="60"/>
                    </a:lnTo>
                    <a:lnTo>
                      <a:pt x="76" y="61"/>
                    </a:lnTo>
                    <a:lnTo>
                      <a:pt x="78" y="62"/>
                    </a:lnTo>
                    <a:lnTo>
                      <a:pt x="75" y="63"/>
                    </a:lnTo>
                    <a:lnTo>
                      <a:pt x="74" y="64"/>
                    </a:lnTo>
                    <a:lnTo>
                      <a:pt x="74" y="66"/>
                    </a:lnTo>
                    <a:lnTo>
                      <a:pt x="73" y="66"/>
                    </a:lnTo>
                    <a:lnTo>
                      <a:pt x="70" y="69"/>
                    </a:lnTo>
                    <a:lnTo>
                      <a:pt x="70" y="72"/>
                    </a:lnTo>
                    <a:lnTo>
                      <a:pt x="69" y="74"/>
                    </a:lnTo>
                    <a:lnTo>
                      <a:pt x="67" y="73"/>
                    </a:lnTo>
                    <a:lnTo>
                      <a:pt x="68" y="71"/>
                    </a:lnTo>
                    <a:lnTo>
                      <a:pt x="66" y="67"/>
                    </a:lnTo>
                    <a:lnTo>
                      <a:pt x="64" y="66"/>
                    </a:lnTo>
                    <a:lnTo>
                      <a:pt x="62" y="69"/>
                    </a:lnTo>
                    <a:lnTo>
                      <a:pt x="63" y="71"/>
                    </a:lnTo>
                    <a:lnTo>
                      <a:pt x="62" y="74"/>
                    </a:lnTo>
                    <a:lnTo>
                      <a:pt x="59" y="74"/>
                    </a:lnTo>
                    <a:lnTo>
                      <a:pt x="58" y="76"/>
                    </a:lnTo>
                    <a:lnTo>
                      <a:pt x="57" y="74"/>
                    </a:lnTo>
                    <a:lnTo>
                      <a:pt x="55" y="74"/>
                    </a:lnTo>
                    <a:lnTo>
                      <a:pt x="55" y="78"/>
                    </a:lnTo>
                    <a:lnTo>
                      <a:pt x="57" y="81"/>
                    </a:lnTo>
                    <a:lnTo>
                      <a:pt x="58" y="85"/>
                    </a:lnTo>
                    <a:lnTo>
                      <a:pt x="58" y="86"/>
                    </a:lnTo>
                    <a:lnTo>
                      <a:pt x="59" y="90"/>
                    </a:lnTo>
                    <a:lnTo>
                      <a:pt x="60" y="91"/>
                    </a:lnTo>
                    <a:lnTo>
                      <a:pt x="62" y="92"/>
                    </a:lnTo>
                    <a:lnTo>
                      <a:pt x="61" y="95"/>
                    </a:lnTo>
                    <a:lnTo>
                      <a:pt x="62" y="96"/>
                    </a:lnTo>
                    <a:lnTo>
                      <a:pt x="62" y="100"/>
                    </a:lnTo>
                    <a:lnTo>
                      <a:pt x="59" y="102"/>
                    </a:lnTo>
                    <a:lnTo>
                      <a:pt x="59" y="104"/>
                    </a:lnTo>
                    <a:lnTo>
                      <a:pt x="58" y="110"/>
                    </a:lnTo>
                    <a:lnTo>
                      <a:pt x="56" y="112"/>
                    </a:lnTo>
                    <a:lnTo>
                      <a:pt x="53" y="118"/>
                    </a:lnTo>
                    <a:lnTo>
                      <a:pt x="53" y="120"/>
                    </a:lnTo>
                    <a:lnTo>
                      <a:pt x="50" y="124"/>
                    </a:lnTo>
                    <a:lnTo>
                      <a:pt x="51" y="123"/>
                    </a:lnTo>
                    <a:lnTo>
                      <a:pt x="51" y="119"/>
                    </a:lnTo>
                    <a:lnTo>
                      <a:pt x="52" y="114"/>
                    </a:lnTo>
                    <a:lnTo>
                      <a:pt x="54" y="112"/>
                    </a:lnTo>
                    <a:lnTo>
                      <a:pt x="53" y="111"/>
                    </a:lnTo>
                    <a:lnTo>
                      <a:pt x="52" y="111"/>
                    </a:lnTo>
                    <a:lnTo>
                      <a:pt x="50" y="112"/>
                    </a:lnTo>
                    <a:lnTo>
                      <a:pt x="49" y="109"/>
                    </a:lnTo>
                    <a:lnTo>
                      <a:pt x="48" y="108"/>
                    </a:lnTo>
                    <a:lnTo>
                      <a:pt x="49" y="108"/>
                    </a:lnTo>
                    <a:lnTo>
                      <a:pt x="51" y="106"/>
                    </a:lnTo>
                    <a:lnTo>
                      <a:pt x="52" y="106"/>
                    </a:lnTo>
                    <a:lnTo>
                      <a:pt x="52" y="105"/>
                    </a:lnTo>
                    <a:lnTo>
                      <a:pt x="54" y="105"/>
                    </a:lnTo>
                    <a:lnTo>
                      <a:pt x="55" y="108"/>
                    </a:lnTo>
                    <a:lnTo>
                      <a:pt x="56" y="105"/>
                    </a:lnTo>
                    <a:lnTo>
                      <a:pt x="56" y="101"/>
                    </a:lnTo>
                    <a:lnTo>
                      <a:pt x="53" y="99"/>
                    </a:lnTo>
                    <a:lnTo>
                      <a:pt x="53" y="98"/>
                    </a:lnTo>
                    <a:lnTo>
                      <a:pt x="51" y="94"/>
                    </a:lnTo>
                    <a:lnTo>
                      <a:pt x="51" y="89"/>
                    </a:lnTo>
                    <a:lnTo>
                      <a:pt x="49" y="87"/>
                    </a:lnTo>
                    <a:lnTo>
                      <a:pt x="49" y="82"/>
                    </a:lnTo>
                    <a:lnTo>
                      <a:pt x="48" y="79"/>
                    </a:lnTo>
                    <a:lnTo>
                      <a:pt x="48" y="77"/>
                    </a:lnTo>
                    <a:lnTo>
                      <a:pt x="49" y="75"/>
                    </a:lnTo>
                    <a:lnTo>
                      <a:pt x="51" y="71"/>
                    </a:lnTo>
                    <a:lnTo>
                      <a:pt x="51" y="68"/>
                    </a:lnTo>
                    <a:lnTo>
                      <a:pt x="54" y="64"/>
                    </a:lnTo>
                    <a:lnTo>
                      <a:pt x="55" y="61"/>
                    </a:lnTo>
                    <a:lnTo>
                      <a:pt x="58" y="60"/>
                    </a:lnTo>
                    <a:lnTo>
                      <a:pt x="58" y="57"/>
                    </a:lnTo>
                    <a:lnTo>
                      <a:pt x="56" y="54"/>
                    </a:lnTo>
                    <a:lnTo>
                      <a:pt x="55" y="51"/>
                    </a:lnTo>
                    <a:lnTo>
                      <a:pt x="55" y="47"/>
                    </a:lnTo>
                    <a:lnTo>
                      <a:pt x="59" y="40"/>
                    </a:lnTo>
                    <a:lnTo>
                      <a:pt x="60" y="40"/>
                    </a:lnTo>
                    <a:lnTo>
                      <a:pt x="64" y="37"/>
                    </a:lnTo>
                    <a:lnTo>
                      <a:pt x="69" y="29"/>
                    </a:lnTo>
                    <a:lnTo>
                      <a:pt x="74" y="23"/>
                    </a:lnTo>
                    <a:lnTo>
                      <a:pt x="77" y="22"/>
                    </a:lnTo>
                    <a:lnTo>
                      <a:pt x="80" y="19"/>
                    </a:lnTo>
                    <a:lnTo>
                      <a:pt x="81" y="16"/>
                    </a:lnTo>
                    <a:lnTo>
                      <a:pt x="84" y="16"/>
                    </a:lnTo>
                    <a:lnTo>
                      <a:pt x="89" y="14"/>
                    </a:lnTo>
                    <a:lnTo>
                      <a:pt x="92" y="12"/>
                    </a:lnTo>
                    <a:lnTo>
                      <a:pt x="93" y="9"/>
                    </a:lnTo>
                    <a:lnTo>
                      <a:pt x="93" y="7"/>
                    </a:lnTo>
                    <a:lnTo>
                      <a:pt x="87" y="4"/>
                    </a:lnTo>
                    <a:lnTo>
                      <a:pt x="83" y="2"/>
                    </a:lnTo>
                    <a:lnTo>
                      <a:pt x="79" y="1"/>
                    </a:lnTo>
                    <a:lnTo>
                      <a:pt x="77" y="0"/>
                    </a:lnTo>
                    <a:lnTo>
                      <a:pt x="76" y="2"/>
                    </a:lnTo>
                    <a:lnTo>
                      <a:pt x="72" y="0"/>
                    </a:lnTo>
                    <a:lnTo>
                      <a:pt x="69" y="2"/>
                    </a:lnTo>
                    <a:lnTo>
                      <a:pt x="65" y="2"/>
                    </a:lnTo>
                    <a:lnTo>
                      <a:pt x="57" y="5"/>
                    </a:lnTo>
                    <a:lnTo>
                      <a:pt x="52" y="10"/>
                    </a:lnTo>
                    <a:lnTo>
                      <a:pt x="47" y="12"/>
                    </a:lnTo>
                    <a:lnTo>
                      <a:pt x="46" y="16"/>
                    </a:lnTo>
                    <a:lnTo>
                      <a:pt x="47" y="19"/>
                    </a:lnTo>
                    <a:lnTo>
                      <a:pt x="45" y="18"/>
                    </a:lnTo>
                    <a:lnTo>
                      <a:pt x="43" y="18"/>
                    </a:lnTo>
                    <a:lnTo>
                      <a:pt x="42" y="20"/>
                    </a:lnTo>
                    <a:lnTo>
                      <a:pt x="38" y="20"/>
                    </a:lnTo>
                    <a:lnTo>
                      <a:pt x="36" y="25"/>
                    </a:lnTo>
                    <a:lnTo>
                      <a:pt x="37" y="27"/>
                    </a:lnTo>
                    <a:lnTo>
                      <a:pt x="35" y="27"/>
                    </a:lnTo>
                    <a:lnTo>
                      <a:pt x="31" y="33"/>
                    </a:lnTo>
                    <a:lnTo>
                      <a:pt x="32" y="36"/>
                    </a:lnTo>
                    <a:lnTo>
                      <a:pt x="31" y="38"/>
                    </a:lnTo>
                    <a:lnTo>
                      <a:pt x="30" y="36"/>
                    </a:lnTo>
                    <a:lnTo>
                      <a:pt x="28" y="35"/>
                    </a:lnTo>
                    <a:lnTo>
                      <a:pt x="27" y="40"/>
                    </a:lnTo>
                    <a:lnTo>
                      <a:pt x="26" y="40"/>
                    </a:lnTo>
                    <a:lnTo>
                      <a:pt x="24" y="40"/>
                    </a:lnTo>
                    <a:lnTo>
                      <a:pt x="22" y="43"/>
                    </a:lnTo>
                    <a:lnTo>
                      <a:pt x="21" y="45"/>
                    </a:lnTo>
                    <a:lnTo>
                      <a:pt x="19" y="50"/>
                    </a:lnTo>
                    <a:lnTo>
                      <a:pt x="16" y="54"/>
                    </a:lnTo>
                    <a:lnTo>
                      <a:pt x="16" y="57"/>
                    </a:lnTo>
                    <a:lnTo>
                      <a:pt x="17" y="57"/>
                    </a:lnTo>
                    <a:lnTo>
                      <a:pt x="18" y="57"/>
                    </a:lnTo>
                    <a:lnTo>
                      <a:pt x="18" y="59"/>
                    </a:lnTo>
                    <a:lnTo>
                      <a:pt x="16" y="59"/>
                    </a:lnTo>
                    <a:lnTo>
                      <a:pt x="12" y="61"/>
                    </a:lnTo>
                    <a:lnTo>
                      <a:pt x="11" y="64"/>
                    </a:lnTo>
                    <a:lnTo>
                      <a:pt x="9" y="65"/>
                    </a:lnTo>
                    <a:lnTo>
                      <a:pt x="8" y="68"/>
                    </a:lnTo>
                    <a:lnTo>
                      <a:pt x="8" y="74"/>
                    </a:lnTo>
                    <a:lnTo>
                      <a:pt x="7" y="77"/>
                    </a:lnTo>
                    <a:lnTo>
                      <a:pt x="4" y="77"/>
                    </a:lnTo>
                    <a:lnTo>
                      <a:pt x="3" y="81"/>
                    </a:lnTo>
                    <a:lnTo>
                      <a:pt x="3" y="83"/>
                    </a:lnTo>
                    <a:lnTo>
                      <a:pt x="1" y="85"/>
                    </a:lnTo>
                    <a:lnTo>
                      <a:pt x="0" y="91"/>
                    </a:lnTo>
                    <a:lnTo>
                      <a:pt x="2" y="94"/>
                    </a:lnTo>
                    <a:lnTo>
                      <a:pt x="7" y="97"/>
                    </a:lnTo>
                    <a:lnTo>
                      <a:pt x="10" y="97"/>
                    </a:lnTo>
                    <a:lnTo>
                      <a:pt x="13" y="99"/>
                    </a:lnTo>
                    <a:lnTo>
                      <a:pt x="15" y="99"/>
                    </a:lnTo>
                    <a:lnTo>
                      <a:pt x="18" y="102"/>
                    </a:lnTo>
                    <a:lnTo>
                      <a:pt x="22" y="102"/>
                    </a:lnTo>
                    <a:lnTo>
                      <a:pt x="22" y="106"/>
                    </a:lnTo>
                    <a:lnTo>
                      <a:pt x="26" y="109"/>
                    </a:lnTo>
                    <a:lnTo>
                      <a:pt x="26" y="111"/>
                    </a:lnTo>
                    <a:lnTo>
                      <a:pt x="28" y="113"/>
                    </a:lnTo>
                    <a:lnTo>
                      <a:pt x="24" y="113"/>
                    </a:lnTo>
                    <a:lnTo>
                      <a:pt x="23" y="114"/>
                    </a:lnTo>
                    <a:lnTo>
                      <a:pt x="18" y="114"/>
                    </a:lnTo>
                    <a:lnTo>
                      <a:pt x="13" y="112"/>
                    </a:lnTo>
                    <a:lnTo>
                      <a:pt x="12" y="109"/>
                    </a:lnTo>
                    <a:lnTo>
                      <a:pt x="10" y="106"/>
                    </a:lnTo>
                    <a:lnTo>
                      <a:pt x="5" y="106"/>
                    </a:lnTo>
                    <a:lnTo>
                      <a:pt x="4" y="104"/>
                    </a:lnTo>
                    <a:lnTo>
                      <a:pt x="2" y="103"/>
                    </a:lnTo>
                    <a:lnTo>
                      <a:pt x="1" y="105"/>
                    </a:lnTo>
                    <a:lnTo>
                      <a:pt x="2" y="109"/>
                    </a:lnTo>
                    <a:lnTo>
                      <a:pt x="2" y="111"/>
                    </a:lnTo>
                    <a:lnTo>
                      <a:pt x="0" y="111"/>
                    </a:lnTo>
                    <a:lnTo>
                      <a:pt x="0" y="113"/>
                    </a:lnTo>
                    <a:lnTo>
                      <a:pt x="1" y="118"/>
                    </a:lnTo>
                    <a:lnTo>
                      <a:pt x="1" y="123"/>
                    </a:lnTo>
                    <a:lnTo>
                      <a:pt x="1" y="126"/>
                    </a:lnTo>
                    <a:lnTo>
                      <a:pt x="1" y="129"/>
                    </a:lnTo>
                    <a:lnTo>
                      <a:pt x="4" y="131"/>
                    </a:lnTo>
                    <a:lnTo>
                      <a:pt x="7" y="134"/>
                    </a:lnTo>
                    <a:lnTo>
                      <a:pt x="7" y="135"/>
                    </a:lnTo>
                    <a:lnTo>
                      <a:pt x="6" y="134"/>
                    </a:lnTo>
                    <a:lnTo>
                      <a:pt x="5" y="134"/>
                    </a:lnTo>
                    <a:lnTo>
                      <a:pt x="6" y="137"/>
                    </a:lnTo>
                    <a:lnTo>
                      <a:pt x="7" y="140"/>
                    </a:lnTo>
                    <a:lnTo>
                      <a:pt x="9" y="139"/>
                    </a:lnTo>
                    <a:lnTo>
                      <a:pt x="10" y="137"/>
                    </a:lnTo>
                    <a:lnTo>
                      <a:pt x="11" y="137"/>
                    </a:lnTo>
                    <a:lnTo>
                      <a:pt x="14" y="137"/>
                    </a:lnTo>
                    <a:lnTo>
                      <a:pt x="15" y="140"/>
                    </a:lnTo>
                    <a:lnTo>
                      <a:pt x="17" y="140"/>
                    </a:lnTo>
                    <a:lnTo>
                      <a:pt x="18" y="138"/>
                    </a:lnTo>
                    <a:lnTo>
                      <a:pt x="17" y="137"/>
                    </a:lnTo>
                    <a:lnTo>
                      <a:pt x="18" y="134"/>
                    </a:lnTo>
                    <a:lnTo>
                      <a:pt x="20" y="134"/>
                    </a:lnTo>
                    <a:lnTo>
                      <a:pt x="21" y="135"/>
                    </a:lnTo>
                    <a:lnTo>
                      <a:pt x="20" y="138"/>
                    </a:lnTo>
                    <a:lnTo>
                      <a:pt x="21" y="140"/>
                    </a:lnTo>
                    <a:lnTo>
                      <a:pt x="22" y="140"/>
                    </a:lnTo>
                    <a:lnTo>
                      <a:pt x="23" y="137"/>
                    </a:lnTo>
                    <a:lnTo>
                      <a:pt x="27" y="136"/>
                    </a:lnTo>
                    <a:lnTo>
                      <a:pt x="28" y="134"/>
                    </a:lnTo>
                    <a:lnTo>
                      <a:pt x="30" y="135"/>
                    </a:lnTo>
                    <a:lnTo>
                      <a:pt x="28" y="137"/>
                    </a:lnTo>
                    <a:lnTo>
                      <a:pt x="24" y="140"/>
                    </a:lnTo>
                    <a:lnTo>
                      <a:pt x="23" y="143"/>
                    </a:lnTo>
                    <a:lnTo>
                      <a:pt x="26" y="145"/>
                    </a:lnTo>
                    <a:lnTo>
                      <a:pt x="26" y="150"/>
                    </a:lnTo>
                    <a:lnTo>
                      <a:pt x="30" y="153"/>
                    </a:lnTo>
                    <a:lnTo>
                      <a:pt x="33" y="153"/>
                    </a:lnTo>
                    <a:lnTo>
                      <a:pt x="35" y="152"/>
                    </a:lnTo>
                    <a:lnTo>
                      <a:pt x="32" y="150"/>
                    </a:lnTo>
                    <a:lnTo>
                      <a:pt x="34" y="150"/>
                    </a:lnTo>
                    <a:lnTo>
                      <a:pt x="36" y="150"/>
                    </a:lnTo>
                    <a:lnTo>
                      <a:pt x="38" y="152"/>
                    </a:lnTo>
                    <a:lnTo>
                      <a:pt x="40" y="151"/>
                    </a:lnTo>
                    <a:lnTo>
                      <a:pt x="42" y="149"/>
                    </a:lnTo>
                    <a:lnTo>
                      <a:pt x="44" y="146"/>
                    </a:lnTo>
                    <a:lnTo>
                      <a:pt x="46" y="146"/>
                    </a:lnTo>
                    <a:lnTo>
                      <a:pt x="46" y="147"/>
                    </a:lnTo>
                    <a:lnTo>
                      <a:pt x="45" y="148"/>
                    </a:lnTo>
                    <a:lnTo>
                      <a:pt x="41" y="153"/>
                    </a:lnTo>
                    <a:lnTo>
                      <a:pt x="41" y="154"/>
                    </a:lnTo>
                    <a:lnTo>
                      <a:pt x="44" y="157"/>
                    </a:lnTo>
                    <a:lnTo>
                      <a:pt x="45" y="160"/>
                    </a:lnTo>
                    <a:lnTo>
                      <a:pt x="48" y="159"/>
                    </a:lnTo>
                    <a:lnTo>
                      <a:pt x="51" y="160"/>
                    </a:lnTo>
                    <a:lnTo>
                      <a:pt x="53" y="162"/>
                    </a:lnTo>
                    <a:lnTo>
                      <a:pt x="55" y="161"/>
                    </a:lnTo>
                    <a:lnTo>
                      <a:pt x="60" y="160"/>
                    </a:lnTo>
                    <a:lnTo>
                      <a:pt x="61" y="163"/>
                    </a:lnTo>
                    <a:lnTo>
                      <a:pt x="63" y="164"/>
                    </a:lnTo>
                    <a:lnTo>
                      <a:pt x="65" y="166"/>
                    </a:lnTo>
                    <a:lnTo>
                      <a:pt x="66" y="166"/>
                    </a:lnTo>
                    <a:lnTo>
                      <a:pt x="70" y="169"/>
                    </a:lnTo>
                    <a:lnTo>
                      <a:pt x="72" y="167"/>
                    </a:lnTo>
                    <a:lnTo>
                      <a:pt x="73" y="168"/>
                    </a:lnTo>
                    <a:lnTo>
                      <a:pt x="74" y="166"/>
                    </a:lnTo>
                    <a:lnTo>
                      <a:pt x="73" y="164"/>
                    </a:lnTo>
                    <a:lnTo>
                      <a:pt x="71" y="162"/>
                    </a:lnTo>
                    <a:lnTo>
                      <a:pt x="69" y="159"/>
                    </a:lnTo>
                    <a:lnTo>
                      <a:pt x="68" y="157"/>
                    </a:lnTo>
                    <a:lnTo>
                      <a:pt x="62" y="151"/>
                    </a:lnTo>
                    <a:lnTo>
                      <a:pt x="62" y="149"/>
                    </a:lnTo>
                    <a:lnTo>
                      <a:pt x="64" y="150"/>
                    </a:lnTo>
                    <a:lnTo>
                      <a:pt x="65" y="151"/>
                    </a:lnTo>
                    <a:lnTo>
                      <a:pt x="67" y="152"/>
                    </a:lnTo>
                    <a:lnTo>
                      <a:pt x="69" y="156"/>
                    </a:lnTo>
                    <a:lnTo>
                      <a:pt x="71" y="157"/>
                    </a:lnTo>
                    <a:lnTo>
                      <a:pt x="72" y="158"/>
                    </a:lnTo>
                    <a:lnTo>
                      <a:pt x="73" y="161"/>
                    </a:lnTo>
                    <a:lnTo>
                      <a:pt x="76" y="164"/>
                    </a:lnTo>
                    <a:lnTo>
                      <a:pt x="77" y="167"/>
                    </a:lnTo>
                    <a:lnTo>
                      <a:pt x="78" y="168"/>
                    </a:lnTo>
                    <a:lnTo>
                      <a:pt x="80" y="171"/>
                    </a:lnTo>
                    <a:lnTo>
                      <a:pt x="82" y="174"/>
                    </a:lnTo>
                    <a:lnTo>
                      <a:pt x="84" y="174"/>
                    </a:lnTo>
                    <a:lnTo>
                      <a:pt x="84" y="173"/>
                    </a:lnTo>
                    <a:lnTo>
                      <a:pt x="83" y="169"/>
                    </a:lnTo>
                    <a:lnTo>
                      <a:pt x="81" y="164"/>
                    </a:lnTo>
                    <a:lnTo>
                      <a:pt x="85" y="164"/>
                    </a:lnTo>
                    <a:lnTo>
                      <a:pt x="90" y="167"/>
                    </a:lnTo>
                    <a:lnTo>
                      <a:pt x="94" y="167"/>
                    </a:lnTo>
                    <a:lnTo>
                      <a:pt x="94" y="170"/>
                    </a:lnTo>
                    <a:lnTo>
                      <a:pt x="94" y="171"/>
                    </a:lnTo>
                    <a:lnTo>
                      <a:pt x="97" y="173"/>
                    </a:lnTo>
                    <a:lnTo>
                      <a:pt x="99" y="173"/>
                    </a:lnTo>
                    <a:lnTo>
                      <a:pt x="100" y="174"/>
                    </a:lnTo>
                    <a:lnTo>
                      <a:pt x="106" y="174"/>
                    </a:lnTo>
                    <a:lnTo>
                      <a:pt x="107" y="172"/>
                    </a:lnTo>
                    <a:lnTo>
                      <a:pt x="110" y="168"/>
                    </a:lnTo>
                    <a:lnTo>
                      <a:pt x="110" y="166"/>
                    </a:lnTo>
                    <a:lnTo>
                      <a:pt x="111" y="163"/>
                    </a:lnTo>
                    <a:lnTo>
                      <a:pt x="109" y="161"/>
                    </a:lnTo>
                    <a:lnTo>
                      <a:pt x="107" y="155"/>
                    </a:lnTo>
                    <a:lnTo>
                      <a:pt x="105" y="155"/>
                    </a:lnTo>
                    <a:lnTo>
                      <a:pt x="104" y="151"/>
                    </a:lnTo>
                    <a:lnTo>
                      <a:pt x="104" y="148"/>
                    </a:lnTo>
                    <a:lnTo>
                      <a:pt x="105" y="147"/>
                    </a:lnTo>
                    <a:lnTo>
                      <a:pt x="105" y="145"/>
                    </a:lnTo>
                    <a:lnTo>
                      <a:pt x="106" y="144"/>
                    </a:lnTo>
                    <a:lnTo>
                      <a:pt x="107" y="146"/>
                    </a:lnTo>
                    <a:lnTo>
                      <a:pt x="108" y="149"/>
                    </a:lnTo>
                    <a:lnTo>
                      <a:pt x="110" y="146"/>
                    </a:lnTo>
                    <a:lnTo>
                      <a:pt x="110" y="141"/>
                    </a:lnTo>
                    <a:lnTo>
                      <a:pt x="111" y="140"/>
                    </a:lnTo>
                    <a:lnTo>
                      <a:pt x="113" y="139"/>
                    </a:lnTo>
                    <a:lnTo>
                      <a:pt x="113" y="143"/>
                    </a:lnTo>
                    <a:lnTo>
                      <a:pt x="114" y="144"/>
                    </a:lnTo>
                    <a:lnTo>
                      <a:pt x="113" y="146"/>
                    </a:lnTo>
                    <a:lnTo>
                      <a:pt x="111" y="147"/>
                    </a:lnTo>
                    <a:lnTo>
                      <a:pt x="110" y="151"/>
                    </a:lnTo>
                    <a:lnTo>
                      <a:pt x="111" y="152"/>
                    </a:lnTo>
                    <a:lnTo>
                      <a:pt x="113" y="154"/>
                    </a:lnTo>
                    <a:lnTo>
                      <a:pt x="113" y="156"/>
                    </a:lnTo>
                    <a:lnTo>
                      <a:pt x="116" y="161"/>
                    </a:lnTo>
                    <a:lnTo>
                      <a:pt x="118" y="161"/>
                    </a:lnTo>
                    <a:lnTo>
                      <a:pt x="118" y="159"/>
                    </a:lnTo>
                    <a:lnTo>
                      <a:pt x="119" y="158"/>
                    </a:lnTo>
                    <a:lnTo>
                      <a:pt x="121" y="160"/>
                    </a:lnTo>
                    <a:lnTo>
                      <a:pt x="123" y="158"/>
                    </a:lnTo>
                    <a:lnTo>
                      <a:pt x="124" y="160"/>
                    </a:lnTo>
                    <a:lnTo>
                      <a:pt x="123" y="161"/>
                    </a:lnTo>
                    <a:lnTo>
                      <a:pt x="123" y="164"/>
                    </a:lnTo>
                    <a:lnTo>
                      <a:pt x="121" y="169"/>
                    </a:lnTo>
                    <a:lnTo>
                      <a:pt x="121" y="171"/>
                    </a:lnTo>
                    <a:lnTo>
                      <a:pt x="119" y="175"/>
                    </a:lnTo>
                    <a:lnTo>
                      <a:pt x="117" y="181"/>
                    </a:lnTo>
                    <a:lnTo>
                      <a:pt x="117" y="182"/>
                    </a:lnTo>
                    <a:lnTo>
                      <a:pt x="118" y="182"/>
                    </a:lnTo>
                    <a:lnTo>
                      <a:pt x="119" y="179"/>
                    </a:lnTo>
                    <a:lnTo>
                      <a:pt x="121" y="180"/>
                    </a:lnTo>
                    <a:lnTo>
                      <a:pt x="121" y="181"/>
                    </a:lnTo>
                    <a:lnTo>
                      <a:pt x="123" y="181"/>
                    </a:lnTo>
                    <a:lnTo>
                      <a:pt x="125" y="183"/>
                    </a:lnTo>
                    <a:lnTo>
                      <a:pt x="128" y="184"/>
                    </a:lnTo>
                    <a:lnTo>
                      <a:pt x="126" y="185"/>
                    </a:lnTo>
                    <a:lnTo>
                      <a:pt x="125" y="187"/>
                    </a:lnTo>
                    <a:lnTo>
                      <a:pt x="125" y="188"/>
                    </a:lnTo>
                    <a:lnTo>
                      <a:pt x="123" y="186"/>
                    </a:lnTo>
                    <a:lnTo>
                      <a:pt x="121" y="188"/>
                    </a:lnTo>
                    <a:lnTo>
                      <a:pt x="121" y="189"/>
                    </a:lnTo>
                    <a:lnTo>
                      <a:pt x="123" y="191"/>
                    </a:lnTo>
                    <a:lnTo>
                      <a:pt x="124" y="192"/>
                    </a:lnTo>
                    <a:lnTo>
                      <a:pt x="126" y="192"/>
                    </a:lnTo>
                    <a:lnTo>
                      <a:pt x="126" y="194"/>
                    </a:lnTo>
                    <a:lnTo>
                      <a:pt x="127" y="195"/>
                    </a:lnTo>
                    <a:lnTo>
                      <a:pt x="128" y="198"/>
                    </a:lnTo>
                    <a:lnTo>
                      <a:pt x="128" y="200"/>
                    </a:lnTo>
                    <a:lnTo>
                      <a:pt x="132" y="201"/>
                    </a:lnTo>
                    <a:lnTo>
                      <a:pt x="133" y="203"/>
                    </a:lnTo>
                    <a:lnTo>
                      <a:pt x="134" y="205"/>
                    </a:lnTo>
                    <a:lnTo>
                      <a:pt x="133" y="208"/>
                    </a:lnTo>
                    <a:lnTo>
                      <a:pt x="131" y="210"/>
                    </a:lnTo>
                    <a:lnTo>
                      <a:pt x="129" y="211"/>
                    </a:lnTo>
                    <a:lnTo>
                      <a:pt x="128" y="212"/>
                    </a:lnTo>
                    <a:lnTo>
                      <a:pt x="126" y="210"/>
                    </a:lnTo>
                    <a:lnTo>
                      <a:pt x="125" y="209"/>
                    </a:lnTo>
                    <a:lnTo>
                      <a:pt x="123" y="210"/>
                    </a:lnTo>
                    <a:lnTo>
                      <a:pt x="121" y="213"/>
                    </a:lnTo>
                    <a:lnTo>
                      <a:pt x="122" y="214"/>
                    </a:lnTo>
                    <a:lnTo>
                      <a:pt x="122" y="216"/>
                    </a:lnTo>
                    <a:lnTo>
                      <a:pt x="121" y="218"/>
                    </a:lnTo>
                    <a:lnTo>
                      <a:pt x="121" y="219"/>
                    </a:lnTo>
                    <a:lnTo>
                      <a:pt x="123" y="219"/>
                    </a:lnTo>
                    <a:lnTo>
                      <a:pt x="123" y="219"/>
                    </a:lnTo>
                    <a:lnTo>
                      <a:pt x="125" y="218"/>
                    </a:lnTo>
                    <a:lnTo>
                      <a:pt x="128" y="218"/>
                    </a:lnTo>
                    <a:lnTo>
                      <a:pt x="129" y="216"/>
                    </a:lnTo>
                    <a:lnTo>
                      <a:pt x="132" y="216"/>
                    </a:lnTo>
                    <a:lnTo>
                      <a:pt x="133" y="213"/>
                    </a:lnTo>
                    <a:lnTo>
                      <a:pt x="134" y="213"/>
                    </a:lnTo>
                    <a:lnTo>
                      <a:pt x="135" y="216"/>
                    </a:lnTo>
                    <a:lnTo>
                      <a:pt x="135" y="217"/>
                    </a:lnTo>
                    <a:lnTo>
                      <a:pt x="137" y="216"/>
                    </a:lnTo>
                    <a:lnTo>
                      <a:pt x="139" y="213"/>
                    </a:lnTo>
                    <a:lnTo>
                      <a:pt x="142" y="210"/>
                    </a:lnTo>
                    <a:lnTo>
                      <a:pt x="143" y="212"/>
                    </a:lnTo>
                    <a:lnTo>
                      <a:pt x="142" y="213"/>
                    </a:lnTo>
                    <a:lnTo>
                      <a:pt x="141" y="214"/>
                    </a:lnTo>
                    <a:lnTo>
                      <a:pt x="139" y="216"/>
                    </a:lnTo>
                    <a:lnTo>
                      <a:pt x="141" y="216"/>
                    </a:lnTo>
                    <a:lnTo>
                      <a:pt x="141" y="218"/>
                    </a:lnTo>
                    <a:lnTo>
                      <a:pt x="138" y="219"/>
                    </a:lnTo>
                    <a:lnTo>
                      <a:pt x="138" y="219"/>
                    </a:lnTo>
                    <a:lnTo>
                      <a:pt x="142" y="219"/>
                    </a:lnTo>
                    <a:lnTo>
                      <a:pt x="142" y="221"/>
                    </a:lnTo>
                    <a:lnTo>
                      <a:pt x="140" y="224"/>
                    </a:lnTo>
                    <a:lnTo>
                      <a:pt x="140" y="228"/>
                    </a:lnTo>
                    <a:lnTo>
                      <a:pt x="142" y="229"/>
                    </a:lnTo>
                    <a:lnTo>
                      <a:pt x="142" y="232"/>
                    </a:lnTo>
                    <a:lnTo>
                      <a:pt x="145" y="230"/>
                    </a:lnTo>
                    <a:lnTo>
                      <a:pt x="146" y="229"/>
                    </a:lnTo>
                    <a:lnTo>
                      <a:pt x="145" y="226"/>
                    </a:lnTo>
                    <a:lnTo>
                      <a:pt x="145" y="225"/>
                    </a:lnTo>
                    <a:lnTo>
                      <a:pt x="147" y="224"/>
                    </a:lnTo>
                    <a:lnTo>
                      <a:pt x="150" y="226"/>
                    </a:lnTo>
                    <a:lnTo>
                      <a:pt x="150" y="229"/>
                    </a:lnTo>
                    <a:lnTo>
                      <a:pt x="149" y="232"/>
                    </a:lnTo>
                    <a:lnTo>
                      <a:pt x="151" y="233"/>
                    </a:lnTo>
                    <a:lnTo>
                      <a:pt x="151" y="235"/>
                    </a:lnTo>
                    <a:lnTo>
                      <a:pt x="147" y="237"/>
                    </a:lnTo>
                    <a:lnTo>
                      <a:pt x="146" y="238"/>
                    </a:lnTo>
                    <a:lnTo>
                      <a:pt x="149" y="240"/>
                    </a:lnTo>
                    <a:lnTo>
                      <a:pt x="154" y="241"/>
                    </a:lnTo>
                    <a:lnTo>
                      <a:pt x="155" y="242"/>
                    </a:lnTo>
                    <a:lnTo>
                      <a:pt x="155" y="244"/>
                    </a:lnTo>
                    <a:lnTo>
                      <a:pt x="155" y="247"/>
                    </a:lnTo>
                    <a:lnTo>
                      <a:pt x="156" y="247"/>
                    </a:lnTo>
                    <a:lnTo>
                      <a:pt x="156" y="244"/>
                    </a:lnTo>
                    <a:lnTo>
                      <a:pt x="158" y="242"/>
                    </a:lnTo>
                    <a:lnTo>
                      <a:pt x="159" y="242"/>
                    </a:lnTo>
                    <a:lnTo>
                      <a:pt x="159" y="244"/>
                    </a:lnTo>
                    <a:lnTo>
                      <a:pt x="158" y="247"/>
                    </a:lnTo>
                    <a:lnTo>
                      <a:pt x="158" y="249"/>
                    </a:lnTo>
                    <a:lnTo>
                      <a:pt x="156" y="250"/>
                    </a:lnTo>
                    <a:lnTo>
                      <a:pt x="155" y="254"/>
                    </a:lnTo>
                    <a:lnTo>
                      <a:pt x="155" y="256"/>
                    </a:lnTo>
                    <a:lnTo>
                      <a:pt x="156" y="257"/>
                    </a:lnTo>
                    <a:lnTo>
                      <a:pt x="156" y="259"/>
                    </a:lnTo>
                    <a:lnTo>
                      <a:pt x="155" y="263"/>
                    </a:lnTo>
                    <a:lnTo>
                      <a:pt x="155" y="265"/>
                    </a:lnTo>
                    <a:lnTo>
                      <a:pt x="156" y="266"/>
                    </a:lnTo>
                    <a:lnTo>
                      <a:pt x="156" y="268"/>
                    </a:lnTo>
                    <a:lnTo>
                      <a:pt x="155" y="274"/>
                    </a:lnTo>
                    <a:lnTo>
                      <a:pt x="153" y="276"/>
                    </a:lnTo>
                    <a:lnTo>
                      <a:pt x="155" y="279"/>
                    </a:lnTo>
                    <a:lnTo>
                      <a:pt x="154" y="282"/>
                    </a:lnTo>
                    <a:lnTo>
                      <a:pt x="150" y="283"/>
                    </a:lnTo>
                    <a:lnTo>
                      <a:pt x="146" y="282"/>
                    </a:lnTo>
                    <a:lnTo>
                      <a:pt x="145" y="283"/>
                    </a:lnTo>
                    <a:lnTo>
                      <a:pt x="144" y="285"/>
                    </a:lnTo>
                    <a:lnTo>
                      <a:pt x="139" y="290"/>
                    </a:lnTo>
                    <a:lnTo>
                      <a:pt x="139" y="293"/>
                    </a:lnTo>
                    <a:lnTo>
                      <a:pt x="142" y="295"/>
                    </a:lnTo>
                    <a:lnTo>
                      <a:pt x="142" y="295"/>
                    </a:lnTo>
                    <a:lnTo>
                      <a:pt x="139" y="296"/>
                    </a:lnTo>
                    <a:lnTo>
                      <a:pt x="138" y="295"/>
                    </a:lnTo>
                    <a:lnTo>
                      <a:pt x="136" y="295"/>
                    </a:lnTo>
                    <a:lnTo>
                      <a:pt x="133" y="299"/>
                    </a:lnTo>
                    <a:lnTo>
                      <a:pt x="131" y="300"/>
                    </a:lnTo>
                    <a:lnTo>
                      <a:pt x="126" y="304"/>
                    </a:lnTo>
                    <a:lnTo>
                      <a:pt x="121" y="308"/>
                    </a:lnTo>
                    <a:lnTo>
                      <a:pt x="121" y="308"/>
                    </a:lnTo>
                    <a:lnTo>
                      <a:pt x="119" y="309"/>
                    </a:lnTo>
                    <a:lnTo>
                      <a:pt x="118" y="313"/>
                    </a:lnTo>
                    <a:lnTo>
                      <a:pt x="120" y="316"/>
                    </a:lnTo>
                    <a:lnTo>
                      <a:pt x="121" y="319"/>
                    </a:lnTo>
                    <a:lnTo>
                      <a:pt x="123" y="323"/>
                    </a:lnTo>
                    <a:lnTo>
                      <a:pt x="124" y="332"/>
                    </a:lnTo>
                    <a:lnTo>
                      <a:pt x="122" y="333"/>
                    </a:lnTo>
                    <a:lnTo>
                      <a:pt x="121" y="333"/>
                    </a:lnTo>
                    <a:lnTo>
                      <a:pt x="119" y="334"/>
                    </a:lnTo>
                    <a:lnTo>
                      <a:pt x="119" y="337"/>
                    </a:lnTo>
                    <a:lnTo>
                      <a:pt x="118" y="335"/>
                    </a:lnTo>
                    <a:lnTo>
                      <a:pt x="118" y="330"/>
                    </a:lnTo>
                    <a:lnTo>
                      <a:pt x="117" y="328"/>
                    </a:lnTo>
                    <a:lnTo>
                      <a:pt x="114" y="330"/>
                    </a:lnTo>
                    <a:lnTo>
                      <a:pt x="113" y="333"/>
                    </a:lnTo>
                    <a:lnTo>
                      <a:pt x="111" y="336"/>
                    </a:lnTo>
                    <a:lnTo>
                      <a:pt x="108" y="334"/>
                    </a:lnTo>
                    <a:lnTo>
                      <a:pt x="109" y="333"/>
                    </a:lnTo>
                    <a:lnTo>
                      <a:pt x="109" y="332"/>
                    </a:lnTo>
                    <a:lnTo>
                      <a:pt x="106" y="332"/>
                    </a:lnTo>
                    <a:lnTo>
                      <a:pt x="104" y="335"/>
                    </a:lnTo>
                    <a:lnTo>
                      <a:pt x="102" y="337"/>
                    </a:lnTo>
                    <a:lnTo>
                      <a:pt x="99" y="337"/>
                    </a:lnTo>
                    <a:lnTo>
                      <a:pt x="97" y="337"/>
                    </a:lnTo>
                    <a:lnTo>
                      <a:pt x="97" y="335"/>
                    </a:lnTo>
                    <a:lnTo>
                      <a:pt x="94" y="335"/>
                    </a:lnTo>
                    <a:lnTo>
                      <a:pt x="93" y="337"/>
                    </a:lnTo>
                    <a:lnTo>
                      <a:pt x="90" y="335"/>
                    </a:lnTo>
                    <a:lnTo>
                      <a:pt x="88" y="334"/>
                    </a:lnTo>
                    <a:lnTo>
                      <a:pt x="86" y="332"/>
                    </a:lnTo>
                    <a:lnTo>
                      <a:pt x="83" y="329"/>
                    </a:lnTo>
                    <a:lnTo>
                      <a:pt x="80" y="329"/>
                    </a:lnTo>
                    <a:lnTo>
                      <a:pt x="77" y="323"/>
                    </a:lnTo>
                    <a:lnTo>
                      <a:pt x="76" y="324"/>
                    </a:lnTo>
                    <a:lnTo>
                      <a:pt x="76" y="326"/>
                    </a:lnTo>
                    <a:lnTo>
                      <a:pt x="76" y="328"/>
                    </a:lnTo>
                    <a:lnTo>
                      <a:pt x="74" y="327"/>
                    </a:lnTo>
                    <a:lnTo>
                      <a:pt x="74" y="328"/>
                    </a:lnTo>
                    <a:lnTo>
                      <a:pt x="74" y="330"/>
                    </a:lnTo>
                    <a:lnTo>
                      <a:pt x="75" y="333"/>
                    </a:lnTo>
                    <a:lnTo>
                      <a:pt x="75" y="335"/>
                    </a:lnTo>
                    <a:lnTo>
                      <a:pt x="73" y="335"/>
                    </a:lnTo>
                    <a:lnTo>
                      <a:pt x="71" y="336"/>
                    </a:lnTo>
                    <a:lnTo>
                      <a:pt x="69" y="337"/>
                    </a:lnTo>
                    <a:lnTo>
                      <a:pt x="66" y="338"/>
                    </a:lnTo>
                    <a:lnTo>
                      <a:pt x="64" y="340"/>
                    </a:lnTo>
                    <a:lnTo>
                      <a:pt x="64" y="344"/>
                    </a:lnTo>
                    <a:lnTo>
                      <a:pt x="62" y="346"/>
                    </a:lnTo>
                    <a:lnTo>
                      <a:pt x="61" y="349"/>
                    </a:lnTo>
                    <a:lnTo>
                      <a:pt x="62" y="356"/>
                    </a:lnTo>
                    <a:lnTo>
                      <a:pt x="66" y="358"/>
                    </a:lnTo>
                    <a:lnTo>
                      <a:pt x="66" y="357"/>
                    </a:lnTo>
                    <a:lnTo>
                      <a:pt x="69" y="361"/>
                    </a:lnTo>
                    <a:lnTo>
                      <a:pt x="69" y="364"/>
                    </a:lnTo>
                    <a:lnTo>
                      <a:pt x="73" y="364"/>
                    </a:lnTo>
                    <a:lnTo>
                      <a:pt x="76" y="365"/>
                    </a:lnTo>
                    <a:lnTo>
                      <a:pt x="76" y="364"/>
                    </a:lnTo>
                    <a:lnTo>
                      <a:pt x="80" y="364"/>
                    </a:lnTo>
                    <a:lnTo>
                      <a:pt x="80" y="362"/>
                    </a:lnTo>
                    <a:lnTo>
                      <a:pt x="83" y="362"/>
                    </a:lnTo>
                    <a:lnTo>
                      <a:pt x="85" y="361"/>
                    </a:lnTo>
                    <a:lnTo>
                      <a:pt x="87" y="362"/>
                    </a:lnTo>
                    <a:lnTo>
                      <a:pt x="89" y="361"/>
                    </a:lnTo>
                    <a:lnTo>
                      <a:pt x="89" y="357"/>
                    </a:lnTo>
                    <a:lnTo>
                      <a:pt x="90" y="354"/>
                    </a:lnTo>
                    <a:lnTo>
                      <a:pt x="90" y="354"/>
                    </a:lnTo>
                    <a:lnTo>
                      <a:pt x="94" y="360"/>
                    </a:lnTo>
                    <a:lnTo>
                      <a:pt x="96" y="360"/>
                    </a:lnTo>
                    <a:lnTo>
                      <a:pt x="97" y="363"/>
                    </a:lnTo>
                    <a:lnTo>
                      <a:pt x="100" y="364"/>
                    </a:lnTo>
                    <a:lnTo>
                      <a:pt x="101" y="361"/>
                    </a:lnTo>
                    <a:lnTo>
                      <a:pt x="103" y="359"/>
                    </a:lnTo>
                    <a:lnTo>
                      <a:pt x="104" y="359"/>
                    </a:lnTo>
                    <a:lnTo>
                      <a:pt x="107" y="356"/>
                    </a:lnTo>
                    <a:lnTo>
                      <a:pt x="109" y="355"/>
                    </a:lnTo>
                    <a:lnTo>
                      <a:pt x="108" y="357"/>
                    </a:lnTo>
                    <a:lnTo>
                      <a:pt x="109" y="361"/>
                    </a:lnTo>
                    <a:lnTo>
                      <a:pt x="107" y="364"/>
                    </a:lnTo>
                    <a:lnTo>
                      <a:pt x="107" y="367"/>
                    </a:lnTo>
                    <a:lnTo>
                      <a:pt x="109" y="365"/>
                    </a:lnTo>
                    <a:lnTo>
                      <a:pt x="111" y="360"/>
                    </a:lnTo>
                    <a:lnTo>
                      <a:pt x="111" y="361"/>
                    </a:lnTo>
                    <a:lnTo>
                      <a:pt x="113" y="360"/>
                    </a:lnTo>
                    <a:lnTo>
                      <a:pt x="115" y="361"/>
                    </a:lnTo>
                    <a:lnTo>
                      <a:pt x="114" y="364"/>
                    </a:lnTo>
                    <a:lnTo>
                      <a:pt x="114" y="367"/>
                    </a:lnTo>
                    <a:lnTo>
                      <a:pt x="114" y="364"/>
                    </a:lnTo>
                    <a:lnTo>
                      <a:pt x="119" y="359"/>
                    </a:lnTo>
                    <a:lnTo>
                      <a:pt x="120" y="361"/>
                    </a:lnTo>
                    <a:lnTo>
                      <a:pt x="117" y="364"/>
                    </a:lnTo>
                    <a:lnTo>
                      <a:pt x="117" y="366"/>
                    </a:lnTo>
                    <a:lnTo>
                      <a:pt x="119" y="368"/>
                    </a:lnTo>
                    <a:lnTo>
                      <a:pt x="121" y="372"/>
                    </a:lnTo>
                    <a:lnTo>
                      <a:pt x="120" y="375"/>
                    </a:lnTo>
                    <a:lnTo>
                      <a:pt x="121" y="378"/>
                    </a:lnTo>
                    <a:lnTo>
                      <a:pt x="123" y="378"/>
                    </a:lnTo>
                    <a:lnTo>
                      <a:pt x="123" y="382"/>
                    </a:lnTo>
                    <a:lnTo>
                      <a:pt x="124" y="383"/>
                    </a:lnTo>
                    <a:lnTo>
                      <a:pt x="126" y="379"/>
                    </a:lnTo>
                    <a:lnTo>
                      <a:pt x="125" y="385"/>
                    </a:lnTo>
                    <a:lnTo>
                      <a:pt x="124" y="387"/>
                    </a:lnTo>
                    <a:lnTo>
                      <a:pt x="126" y="389"/>
                    </a:lnTo>
                    <a:lnTo>
                      <a:pt x="126" y="387"/>
                    </a:lnTo>
                    <a:lnTo>
                      <a:pt x="128" y="384"/>
                    </a:lnTo>
                    <a:lnTo>
                      <a:pt x="129" y="383"/>
                    </a:lnTo>
                    <a:lnTo>
                      <a:pt x="128" y="385"/>
                    </a:lnTo>
                    <a:lnTo>
                      <a:pt x="129" y="389"/>
                    </a:lnTo>
                    <a:lnTo>
                      <a:pt x="132" y="392"/>
                    </a:lnTo>
                    <a:lnTo>
                      <a:pt x="135" y="391"/>
                    </a:lnTo>
                    <a:lnTo>
                      <a:pt x="135" y="393"/>
                    </a:lnTo>
                    <a:lnTo>
                      <a:pt x="129" y="397"/>
                    </a:lnTo>
                    <a:lnTo>
                      <a:pt x="125" y="397"/>
                    </a:lnTo>
                    <a:lnTo>
                      <a:pt x="125" y="398"/>
                    </a:lnTo>
                    <a:lnTo>
                      <a:pt x="128" y="399"/>
                    </a:lnTo>
                    <a:lnTo>
                      <a:pt x="128" y="404"/>
                    </a:lnTo>
                    <a:lnTo>
                      <a:pt x="129" y="406"/>
                    </a:lnTo>
                    <a:lnTo>
                      <a:pt x="131" y="409"/>
                    </a:lnTo>
                    <a:lnTo>
                      <a:pt x="133" y="409"/>
                    </a:lnTo>
                    <a:lnTo>
                      <a:pt x="132" y="411"/>
                    </a:lnTo>
                    <a:lnTo>
                      <a:pt x="135" y="413"/>
                    </a:lnTo>
                    <a:lnTo>
                      <a:pt x="137" y="415"/>
                    </a:lnTo>
                    <a:lnTo>
                      <a:pt x="139" y="415"/>
                    </a:lnTo>
                    <a:lnTo>
                      <a:pt x="142" y="419"/>
                    </a:lnTo>
                    <a:lnTo>
                      <a:pt x="145" y="419"/>
                    </a:lnTo>
                    <a:lnTo>
                      <a:pt x="145" y="420"/>
                    </a:lnTo>
                    <a:lnTo>
                      <a:pt x="146" y="421"/>
                    </a:lnTo>
                    <a:lnTo>
                      <a:pt x="147" y="420"/>
                    </a:lnTo>
                    <a:lnTo>
                      <a:pt x="148" y="420"/>
                    </a:lnTo>
                    <a:lnTo>
                      <a:pt x="151" y="420"/>
                    </a:lnTo>
                    <a:lnTo>
                      <a:pt x="149" y="422"/>
                    </a:lnTo>
                    <a:lnTo>
                      <a:pt x="148" y="423"/>
                    </a:lnTo>
                    <a:lnTo>
                      <a:pt x="149" y="426"/>
                    </a:lnTo>
                    <a:lnTo>
                      <a:pt x="151" y="427"/>
                    </a:lnTo>
                    <a:lnTo>
                      <a:pt x="152" y="427"/>
                    </a:lnTo>
                    <a:lnTo>
                      <a:pt x="152" y="430"/>
                    </a:lnTo>
                    <a:lnTo>
                      <a:pt x="155" y="433"/>
                    </a:lnTo>
                    <a:lnTo>
                      <a:pt x="157" y="433"/>
                    </a:lnTo>
                    <a:lnTo>
                      <a:pt x="159" y="435"/>
                    </a:lnTo>
                    <a:lnTo>
                      <a:pt x="159" y="437"/>
                    </a:lnTo>
                    <a:lnTo>
                      <a:pt x="163" y="439"/>
                    </a:lnTo>
                    <a:lnTo>
                      <a:pt x="164" y="438"/>
                    </a:lnTo>
                    <a:lnTo>
                      <a:pt x="166" y="439"/>
                    </a:lnTo>
                    <a:lnTo>
                      <a:pt x="168" y="438"/>
                    </a:lnTo>
                    <a:lnTo>
                      <a:pt x="170" y="440"/>
                    </a:lnTo>
                    <a:lnTo>
                      <a:pt x="170" y="442"/>
                    </a:lnTo>
                    <a:lnTo>
                      <a:pt x="174" y="446"/>
                    </a:lnTo>
                    <a:lnTo>
                      <a:pt x="177" y="446"/>
                    </a:lnTo>
                    <a:lnTo>
                      <a:pt x="178" y="448"/>
                    </a:lnTo>
                    <a:lnTo>
                      <a:pt x="183" y="450"/>
                    </a:lnTo>
                    <a:lnTo>
                      <a:pt x="185" y="451"/>
                    </a:lnTo>
                    <a:lnTo>
                      <a:pt x="187" y="451"/>
                    </a:lnTo>
                    <a:lnTo>
                      <a:pt x="188" y="451"/>
                    </a:lnTo>
                    <a:lnTo>
                      <a:pt x="188" y="449"/>
                    </a:lnTo>
                    <a:lnTo>
                      <a:pt x="187" y="447"/>
                    </a:lnTo>
                    <a:lnTo>
                      <a:pt x="185" y="444"/>
                    </a:lnTo>
                    <a:lnTo>
                      <a:pt x="187" y="443"/>
                    </a:lnTo>
                    <a:lnTo>
                      <a:pt x="189" y="444"/>
                    </a:lnTo>
                    <a:lnTo>
                      <a:pt x="190" y="441"/>
                    </a:lnTo>
                    <a:lnTo>
                      <a:pt x="189" y="440"/>
                    </a:lnTo>
                    <a:lnTo>
                      <a:pt x="187" y="440"/>
                    </a:lnTo>
                    <a:lnTo>
                      <a:pt x="187" y="439"/>
                    </a:lnTo>
                    <a:lnTo>
                      <a:pt x="187" y="436"/>
                    </a:lnTo>
                    <a:lnTo>
                      <a:pt x="187" y="435"/>
                    </a:lnTo>
                    <a:lnTo>
                      <a:pt x="184" y="437"/>
                    </a:lnTo>
                    <a:lnTo>
                      <a:pt x="184" y="436"/>
                    </a:lnTo>
                    <a:lnTo>
                      <a:pt x="184" y="433"/>
                    </a:lnTo>
                    <a:lnTo>
                      <a:pt x="182" y="433"/>
                    </a:lnTo>
                    <a:lnTo>
                      <a:pt x="184" y="431"/>
                    </a:lnTo>
                    <a:lnTo>
                      <a:pt x="184" y="427"/>
                    </a:lnTo>
                    <a:lnTo>
                      <a:pt x="182" y="426"/>
                    </a:lnTo>
                    <a:lnTo>
                      <a:pt x="180" y="426"/>
                    </a:lnTo>
                    <a:lnTo>
                      <a:pt x="180" y="423"/>
                    </a:lnTo>
                    <a:lnTo>
                      <a:pt x="179" y="420"/>
                    </a:lnTo>
                    <a:lnTo>
                      <a:pt x="178" y="419"/>
                    </a:lnTo>
                    <a:lnTo>
                      <a:pt x="175" y="418"/>
                    </a:lnTo>
                    <a:lnTo>
                      <a:pt x="177" y="416"/>
                    </a:lnTo>
                    <a:lnTo>
                      <a:pt x="175" y="416"/>
                    </a:lnTo>
                    <a:lnTo>
                      <a:pt x="173" y="416"/>
                    </a:lnTo>
                    <a:lnTo>
                      <a:pt x="174" y="414"/>
                    </a:lnTo>
                    <a:lnTo>
                      <a:pt x="173" y="411"/>
                    </a:lnTo>
                    <a:lnTo>
                      <a:pt x="170" y="410"/>
                    </a:lnTo>
                    <a:lnTo>
                      <a:pt x="168" y="410"/>
                    </a:lnTo>
                    <a:lnTo>
                      <a:pt x="168" y="406"/>
                    </a:lnTo>
                    <a:lnTo>
                      <a:pt x="168" y="404"/>
                    </a:lnTo>
                    <a:lnTo>
                      <a:pt x="167" y="402"/>
                    </a:lnTo>
                    <a:lnTo>
                      <a:pt x="163" y="399"/>
                    </a:lnTo>
                    <a:lnTo>
                      <a:pt x="163" y="395"/>
                    </a:lnTo>
                    <a:lnTo>
                      <a:pt x="163" y="392"/>
                    </a:lnTo>
                    <a:lnTo>
                      <a:pt x="165" y="393"/>
                    </a:lnTo>
                    <a:lnTo>
                      <a:pt x="166" y="391"/>
                    </a:lnTo>
                    <a:lnTo>
                      <a:pt x="169" y="392"/>
                    </a:lnTo>
                    <a:lnTo>
                      <a:pt x="169" y="395"/>
                    </a:lnTo>
                    <a:lnTo>
                      <a:pt x="171" y="399"/>
                    </a:lnTo>
                    <a:lnTo>
                      <a:pt x="174" y="401"/>
                    </a:lnTo>
                    <a:lnTo>
                      <a:pt x="176" y="402"/>
                    </a:lnTo>
                    <a:lnTo>
                      <a:pt x="176" y="404"/>
                    </a:lnTo>
                    <a:lnTo>
                      <a:pt x="177" y="406"/>
                    </a:lnTo>
                    <a:lnTo>
                      <a:pt x="177" y="403"/>
                    </a:lnTo>
                    <a:lnTo>
                      <a:pt x="176" y="399"/>
                    </a:lnTo>
                    <a:lnTo>
                      <a:pt x="176" y="398"/>
                    </a:lnTo>
                    <a:lnTo>
                      <a:pt x="177" y="397"/>
                    </a:lnTo>
                    <a:lnTo>
                      <a:pt x="178" y="399"/>
                    </a:lnTo>
                    <a:lnTo>
                      <a:pt x="178" y="401"/>
                    </a:lnTo>
                    <a:lnTo>
                      <a:pt x="180" y="402"/>
                    </a:lnTo>
                    <a:lnTo>
                      <a:pt x="181" y="408"/>
                    </a:lnTo>
                    <a:lnTo>
                      <a:pt x="183" y="408"/>
                    </a:lnTo>
                    <a:lnTo>
                      <a:pt x="183" y="409"/>
                    </a:lnTo>
                    <a:lnTo>
                      <a:pt x="185" y="412"/>
                    </a:lnTo>
                    <a:lnTo>
                      <a:pt x="187" y="417"/>
                    </a:lnTo>
                    <a:lnTo>
                      <a:pt x="188" y="416"/>
                    </a:lnTo>
                    <a:lnTo>
                      <a:pt x="187" y="413"/>
                    </a:lnTo>
                    <a:lnTo>
                      <a:pt x="187" y="407"/>
                    </a:lnTo>
                    <a:lnTo>
                      <a:pt x="188" y="404"/>
                    </a:lnTo>
                    <a:lnTo>
                      <a:pt x="188" y="406"/>
                    </a:lnTo>
                    <a:lnTo>
                      <a:pt x="190" y="412"/>
                    </a:lnTo>
                    <a:lnTo>
                      <a:pt x="189" y="414"/>
                    </a:lnTo>
                    <a:lnTo>
                      <a:pt x="190" y="417"/>
                    </a:lnTo>
                    <a:lnTo>
                      <a:pt x="190" y="418"/>
                    </a:lnTo>
                    <a:lnTo>
                      <a:pt x="193" y="419"/>
                    </a:lnTo>
                    <a:lnTo>
                      <a:pt x="194" y="417"/>
                    </a:lnTo>
                    <a:lnTo>
                      <a:pt x="192" y="416"/>
                    </a:lnTo>
                    <a:lnTo>
                      <a:pt x="192" y="414"/>
                    </a:lnTo>
                    <a:lnTo>
                      <a:pt x="194" y="415"/>
                    </a:lnTo>
                    <a:lnTo>
                      <a:pt x="195" y="418"/>
                    </a:lnTo>
                    <a:lnTo>
                      <a:pt x="195" y="420"/>
                    </a:lnTo>
                    <a:lnTo>
                      <a:pt x="195" y="421"/>
                    </a:lnTo>
                    <a:lnTo>
                      <a:pt x="196" y="419"/>
                    </a:lnTo>
                    <a:lnTo>
                      <a:pt x="197" y="417"/>
                    </a:lnTo>
                    <a:lnTo>
                      <a:pt x="197" y="423"/>
                    </a:lnTo>
                    <a:lnTo>
                      <a:pt x="198" y="424"/>
                    </a:lnTo>
                    <a:lnTo>
                      <a:pt x="201" y="424"/>
                    </a:lnTo>
                    <a:lnTo>
                      <a:pt x="201" y="422"/>
                    </a:lnTo>
                    <a:lnTo>
                      <a:pt x="201" y="426"/>
                    </a:lnTo>
                    <a:lnTo>
                      <a:pt x="201" y="427"/>
                    </a:lnTo>
                    <a:lnTo>
                      <a:pt x="201" y="432"/>
                    </a:lnTo>
                    <a:lnTo>
                      <a:pt x="203" y="434"/>
                    </a:lnTo>
                    <a:lnTo>
                      <a:pt x="206" y="434"/>
                    </a:lnTo>
                    <a:lnTo>
                      <a:pt x="206" y="433"/>
                    </a:lnTo>
                    <a:lnTo>
                      <a:pt x="205" y="431"/>
                    </a:lnTo>
                    <a:lnTo>
                      <a:pt x="205" y="427"/>
                    </a:lnTo>
                    <a:lnTo>
                      <a:pt x="204" y="421"/>
                    </a:lnTo>
                    <a:lnTo>
                      <a:pt x="206" y="421"/>
                    </a:lnTo>
                    <a:lnTo>
                      <a:pt x="207" y="423"/>
                    </a:lnTo>
                    <a:lnTo>
                      <a:pt x="209" y="424"/>
                    </a:lnTo>
                    <a:lnTo>
                      <a:pt x="211" y="423"/>
                    </a:lnTo>
                    <a:lnTo>
                      <a:pt x="209" y="420"/>
                    </a:lnTo>
                    <a:lnTo>
                      <a:pt x="210" y="417"/>
                    </a:lnTo>
                    <a:lnTo>
                      <a:pt x="210" y="412"/>
                    </a:lnTo>
                    <a:lnTo>
                      <a:pt x="208" y="406"/>
                    </a:lnTo>
                    <a:lnTo>
                      <a:pt x="209" y="402"/>
                    </a:lnTo>
                    <a:lnTo>
                      <a:pt x="209" y="397"/>
                    </a:lnTo>
                    <a:lnTo>
                      <a:pt x="210" y="402"/>
                    </a:lnTo>
                    <a:lnTo>
                      <a:pt x="210" y="406"/>
                    </a:lnTo>
                    <a:lnTo>
                      <a:pt x="211" y="409"/>
                    </a:lnTo>
                    <a:lnTo>
                      <a:pt x="214" y="414"/>
                    </a:lnTo>
                    <a:lnTo>
                      <a:pt x="215" y="413"/>
                    </a:lnTo>
                    <a:lnTo>
                      <a:pt x="214" y="409"/>
                    </a:lnTo>
                    <a:lnTo>
                      <a:pt x="215" y="406"/>
                    </a:lnTo>
                    <a:lnTo>
                      <a:pt x="216" y="402"/>
                    </a:lnTo>
                    <a:lnTo>
                      <a:pt x="218" y="400"/>
                    </a:lnTo>
                    <a:lnTo>
                      <a:pt x="217" y="399"/>
                    </a:lnTo>
                    <a:lnTo>
                      <a:pt x="214" y="393"/>
                    </a:lnTo>
                    <a:lnTo>
                      <a:pt x="213" y="389"/>
                    </a:lnTo>
                    <a:lnTo>
                      <a:pt x="211" y="389"/>
                    </a:lnTo>
                    <a:lnTo>
                      <a:pt x="212" y="386"/>
                    </a:lnTo>
                    <a:lnTo>
                      <a:pt x="211" y="383"/>
                    </a:lnTo>
                    <a:lnTo>
                      <a:pt x="209" y="381"/>
                    </a:lnTo>
                    <a:lnTo>
                      <a:pt x="212" y="380"/>
                    </a:lnTo>
                    <a:lnTo>
                      <a:pt x="213" y="379"/>
                    </a:lnTo>
                    <a:lnTo>
                      <a:pt x="215" y="377"/>
                    </a:lnTo>
                    <a:lnTo>
                      <a:pt x="214" y="375"/>
                    </a:lnTo>
                    <a:lnTo>
                      <a:pt x="212" y="377"/>
                    </a:lnTo>
                    <a:lnTo>
                      <a:pt x="209" y="377"/>
                    </a:lnTo>
                    <a:lnTo>
                      <a:pt x="208" y="375"/>
                    </a:lnTo>
                    <a:lnTo>
                      <a:pt x="208" y="375"/>
                    </a:lnTo>
                    <a:lnTo>
                      <a:pt x="208" y="372"/>
                    </a:lnTo>
                    <a:lnTo>
                      <a:pt x="210" y="371"/>
                    </a:lnTo>
                    <a:lnTo>
                      <a:pt x="211" y="368"/>
                    </a:lnTo>
                    <a:lnTo>
                      <a:pt x="209" y="365"/>
                    </a:lnTo>
                    <a:lnTo>
                      <a:pt x="208" y="364"/>
                    </a:lnTo>
                    <a:lnTo>
                      <a:pt x="208" y="367"/>
                    </a:lnTo>
                    <a:lnTo>
                      <a:pt x="207" y="369"/>
                    </a:lnTo>
                    <a:lnTo>
                      <a:pt x="207" y="367"/>
                    </a:lnTo>
                    <a:lnTo>
                      <a:pt x="206" y="368"/>
                    </a:lnTo>
                    <a:lnTo>
                      <a:pt x="202" y="368"/>
                    </a:lnTo>
                    <a:lnTo>
                      <a:pt x="202" y="367"/>
                    </a:lnTo>
                    <a:lnTo>
                      <a:pt x="204" y="365"/>
                    </a:lnTo>
                    <a:lnTo>
                      <a:pt x="204" y="364"/>
                    </a:lnTo>
                    <a:lnTo>
                      <a:pt x="204" y="363"/>
                    </a:lnTo>
                    <a:lnTo>
                      <a:pt x="203" y="359"/>
                    </a:lnTo>
                    <a:lnTo>
                      <a:pt x="201" y="357"/>
                    </a:lnTo>
                    <a:lnTo>
                      <a:pt x="200" y="358"/>
                    </a:lnTo>
                    <a:lnTo>
                      <a:pt x="200" y="361"/>
                    </a:lnTo>
                    <a:lnTo>
                      <a:pt x="199" y="364"/>
                    </a:lnTo>
                    <a:lnTo>
                      <a:pt x="198" y="363"/>
                    </a:lnTo>
                    <a:lnTo>
                      <a:pt x="198" y="359"/>
                    </a:lnTo>
                    <a:lnTo>
                      <a:pt x="197" y="357"/>
                    </a:lnTo>
                    <a:lnTo>
                      <a:pt x="197" y="356"/>
                    </a:lnTo>
                    <a:lnTo>
                      <a:pt x="197" y="354"/>
                    </a:lnTo>
                    <a:lnTo>
                      <a:pt x="196" y="354"/>
                    </a:lnTo>
                    <a:lnTo>
                      <a:pt x="196" y="352"/>
                    </a:lnTo>
                    <a:lnTo>
                      <a:pt x="196" y="352"/>
                    </a:lnTo>
                    <a:lnTo>
                      <a:pt x="196" y="350"/>
                    </a:lnTo>
                    <a:lnTo>
                      <a:pt x="194" y="350"/>
                    </a:lnTo>
                    <a:lnTo>
                      <a:pt x="195" y="348"/>
                    </a:lnTo>
                    <a:lnTo>
                      <a:pt x="197" y="347"/>
                    </a:lnTo>
                    <a:lnTo>
                      <a:pt x="199" y="347"/>
                    </a:lnTo>
                    <a:lnTo>
                      <a:pt x="197" y="345"/>
                    </a:lnTo>
                    <a:lnTo>
                      <a:pt x="195" y="344"/>
                    </a:lnTo>
                    <a:lnTo>
                      <a:pt x="194" y="344"/>
                    </a:lnTo>
                    <a:lnTo>
                      <a:pt x="195" y="341"/>
                    </a:lnTo>
                    <a:lnTo>
                      <a:pt x="197" y="340"/>
                    </a:lnTo>
                    <a:lnTo>
                      <a:pt x="197" y="339"/>
                    </a:lnTo>
                    <a:lnTo>
                      <a:pt x="197" y="337"/>
                    </a:lnTo>
                    <a:lnTo>
                      <a:pt x="193" y="337"/>
                    </a:lnTo>
                    <a:lnTo>
                      <a:pt x="192" y="339"/>
                    </a:lnTo>
                    <a:lnTo>
                      <a:pt x="190" y="340"/>
                    </a:lnTo>
                    <a:lnTo>
                      <a:pt x="185" y="342"/>
                    </a:lnTo>
                    <a:lnTo>
                      <a:pt x="187" y="340"/>
                    </a:lnTo>
                    <a:lnTo>
                      <a:pt x="191" y="336"/>
                    </a:lnTo>
                    <a:lnTo>
                      <a:pt x="193" y="333"/>
                    </a:lnTo>
                    <a:lnTo>
                      <a:pt x="193" y="332"/>
                    </a:lnTo>
                    <a:lnTo>
                      <a:pt x="190" y="332"/>
                    </a:lnTo>
                    <a:lnTo>
                      <a:pt x="190" y="331"/>
                    </a:lnTo>
                    <a:lnTo>
                      <a:pt x="190" y="329"/>
                    </a:lnTo>
                    <a:lnTo>
                      <a:pt x="190" y="328"/>
                    </a:lnTo>
                    <a:lnTo>
                      <a:pt x="188" y="328"/>
                    </a:lnTo>
                    <a:lnTo>
                      <a:pt x="188" y="326"/>
                    </a:lnTo>
                    <a:lnTo>
                      <a:pt x="190" y="324"/>
                    </a:lnTo>
                    <a:lnTo>
                      <a:pt x="190" y="320"/>
                    </a:lnTo>
                    <a:lnTo>
                      <a:pt x="187" y="319"/>
                    </a:lnTo>
                    <a:lnTo>
                      <a:pt x="184" y="318"/>
                    </a:lnTo>
                    <a:lnTo>
                      <a:pt x="181" y="318"/>
                    </a:lnTo>
                    <a:lnTo>
                      <a:pt x="180" y="316"/>
                    </a:lnTo>
                    <a:lnTo>
                      <a:pt x="183" y="316"/>
                    </a:lnTo>
                    <a:lnTo>
                      <a:pt x="185" y="316"/>
                    </a:lnTo>
                    <a:lnTo>
                      <a:pt x="187" y="315"/>
                    </a:lnTo>
                    <a:lnTo>
                      <a:pt x="188" y="317"/>
                    </a:lnTo>
                    <a:lnTo>
                      <a:pt x="188" y="319"/>
                    </a:lnTo>
                    <a:lnTo>
                      <a:pt x="190" y="319"/>
                    </a:lnTo>
                    <a:lnTo>
                      <a:pt x="193" y="320"/>
                    </a:lnTo>
                    <a:lnTo>
                      <a:pt x="193" y="322"/>
                    </a:lnTo>
                    <a:lnTo>
                      <a:pt x="192" y="324"/>
                    </a:lnTo>
                    <a:lnTo>
                      <a:pt x="193" y="326"/>
                    </a:lnTo>
                    <a:lnTo>
                      <a:pt x="195" y="330"/>
                    </a:lnTo>
                    <a:lnTo>
                      <a:pt x="196" y="330"/>
                    </a:lnTo>
                    <a:lnTo>
                      <a:pt x="197" y="327"/>
                    </a:lnTo>
                    <a:lnTo>
                      <a:pt x="198" y="329"/>
                    </a:lnTo>
                    <a:lnTo>
                      <a:pt x="201" y="330"/>
                    </a:lnTo>
                    <a:lnTo>
                      <a:pt x="203" y="329"/>
                    </a:lnTo>
                    <a:lnTo>
                      <a:pt x="203" y="327"/>
                    </a:lnTo>
                    <a:lnTo>
                      <a:pt x="201" y="326"/>
                    </a:lnTo>
                    <a:lnTo>
                      <a:pt x="202" y="325"/>
                    </a:lnTo>
                    <a:lnTo>
                      <a:pt x="201" y="322"/>
                    </a:lnTo>
                    <a:lnTo>
                      <a:pt x="199" y="319"/>
                    </a:lnTo>
                    <a:lnTo>
                      <a:pt x="197" y="319"/>
                    </a:lnTo>
                    <a:lnTo>
                      <a:pt x="198" y="316"/>
                    </a:lnTo>
                    <a:lnTo>
                      <a:pt x="198" y="314"/>
                    </a:lnTo>
                    <a:lnTo>
                      <a:pt x="197" y="313"/>
                    </a:lnTo>
                    <a:lnTo>
                      <a:pt x="197" y="312"/>
                    </a:lnTo>
                    <a:lnTo>
                      <a:pt x="198" y="313"/>
                    </a:lnTo>
                    <a:lnTo>
                      <a:pt x="199" y="316"/>
                    </a:lnTo>
                    <a:lnTo>
                      <a:pt x="201" y="318"/>
                    </a:lnTo>
                    <a:lnTo>
                      <a:pt x="203" y="317"/>
                    </a:lnTo>
                    <a:lnTo>
                      <a:pt x="202" y="316"/>
                    </a:lnTo>
                    <a:lnTo>
                      <a:pt x="203" y="316"/>
                    </a:lnTo>
                    <a:lnTo>
                      <a:pt x="204" y="316"/>
                    </a:lnTo>
                    <a:lnTo>
                      <a:pt x="204" y="313"/>
                    </a:lnTo>
                    <a:lnTo>
                      <a:pt x="203" y="310"/>
                    </a:lnTo>
                    <a:lnTo>
                      <a:pt x="200" y="308"/>
                    </a:lnTo>
                    <a:lnTo>
                      <a:pt x="202" y="308"/>
                    </a:lnTo>
                    <a:lnTo>
                      <a:pt x="204" y="309"/>
                    </a:lnTo>
                    <a:lnTo>
                      <a:pt x="205" y="311"/>
                    </a:lnTo>
                    <a:lnTo>
                      <a:pt x="208" y="310"/>
                    </a:lnTo>
                    <a:lnTo>
                      <a:pt x="207" y="308"/>
                    </a:lnTo>
                    <a:lnTo>
                      <a:pt x="207" y="306"/>
                    </a:lnTo>
                    <a:lnTo>
                      <a:pt x="208" y="306"/>
                    </a:lnTo>
                    <a:lnTo>
                      <a:pt x="208" y="308"/>
                    </a:lnTo>
                    <a:lnTo>
                      <a:pt x="210" y="309"/>
                    </a:lnTo>
                    <a:lnTo>
                      <a:pt x="210" y="310"/>
                    </a:lnTo>
                    <a:lnTo>
                      <a:pt x="209" y="311"/>
                    </a:lnTo>
                    <a:lnTo>
                      <a:pt x="208" y="314"/>
                    </a:lnTo>
                    <a:lnTo>
                      <a:pt x="209" y="315"/>
                    </a:lnTo>
                    <a:lnTo>
                      <a:pt x="210" y="315"/>
                    </a:lnTo>
                    <a:lnTo>
                      <a:pt x="211" y="316"/>
                    </a:lnTo>
                    <a:lnTo>
                      <a:pt x="211" y="318"/>
                    </a:lnTo>
                    <a:lnTo>
                      <a:pt x="210" y="318"/>
                    </a:lnTo>
                    <a:lnTo>
                      <a:pt x="209" y="319"/>
                    </a:lnTo>
                    <a:lnTo>
                      <a:pt x="211" y="320"/>
                    </a:lnTo>
                    <a:lnTo>
                      <a:pt x="212" y="319"/>
                    </a:lnTo>
                    <a:lnTo>
                      <a:pt x="213" y="321"/>
                    </a:lnTo>
                    <a:lnTo>
                      <a:pt x="212" y="323"/>
                    </a:lnTo>
                    <a:lnTo>
                      <a:pt x="213" y="324"/>
                    </a:lnTo>
                    <a:lnTo>
                      <a:pt x="215" y="325"/>
                    </a:lnTo>
                    <a:lnTo>
                      <a:pt x="216" y="324"/>
                    </a:lnTo>
                    <a:lnTo>
                      <a:pt x="222" y="320"/>
                    </a:lnTo>
                    <a:lnTo>
                      <a:pt x="223" y="316"/>
                    </a:lnTo>
                    <a:lnTo>
                      <a:pt x="224" y="319"/>
                    </a:lnTo>
                    <a:lnTo>
                      <a:pt x="222" y="320"/>
                    </a:lnTo>
                    <a:lnTo>
                      <a:pt x="222" y="322"/>
                    </a:lnTo>
                    <a:lnTo>
                      <a:pt x="219" y="323"/>
                    </a:lnTo>
                    <a:lnTo>
                      <a:pt x="215" y="329"/>
                    </a:lnTo>
                    <a:lnTo>
                      <a:pt x="215" y="330"/>
                    </a:lnTo>
                    <a:lnTo>
                      <a:pt x="217" y="330"/>
                    </a:lnTo>
                    <a:lnTo>
                      <a:pt x="219" y="330"/>
                    </a:lnTo>
                    <a:lnTo>
                      <a:pt x="223" y="327"/>
                    </a:lnTo>
                    <a:lnTo>
                      <a:pt x="225" y="327"/>
                    </a:lnTo>
                    <a:lnTo>
                      <a:pt x="229" y="325"/>
                    </a:lnTo>
                    <a:lnTo>
                      <a:pt x="229" y="323"/>
                    </a:lnTo>
                    <a:lnTo>
                      <a:pt x="231" y="322"/>
                    </a:lnTo>
                    <a:lnTo>
                      <a:pt x="233" y="319"/>
                    </a:lnTo>
                    <a:lnTo>
                      <a:pt x="235" y="319"/>
                    </a:lnTo>
                    <a:lnTo>
                      <a:pt x="235" y="320"/>
                    </a:lnTo>
                    <a:lnTo>
                      <a:pt x="233" y="321"/>
                    </a:lnTo>
                    <a:lnTo>
                      <a:pt x="232" y="324"/>
                    </a:lnTo>
                    <a:lnTo>
                      <a:pt x="230" y="326"/>
                    </a:lnTo>
                    <a:lnTo>
                      <a:pt x="229" y="328"/>
                    </a:lnTo>
                    <a:lnTo>
                      <a:pt x="226" y="330"/>
                    </a:lnTo>
                    <a:lnTo>
                      <a:pt x="224" y="331"/>
                    </a:lnTo>
                    <a:lnTo>
                      <a:pt x="222" y="331"/>
                    </a:lnTo>
                    <a:lnTo>
                      <a:pt x="220" y="335"/>
                    </a:lnTo>
                    <a:lnTo>
                      <a:pt x="220" y="337"/>
                    </a:lnTo>
                    <a:lnTo>
                      <a:pt x="221" y="337"/>
                    </a:lnTo>
                    <a:lnTo>
                      <a:pt x="222" y="336"/>
                    </a:lnTo>
                    <a:lnTo>
                      <a:pt x="224" y="336"/>
                    </a:lnTo>
                    <a:lnTo>
                      <a:pt x="226" y="337"/>
                    </a:lnTo>
                    <a:lnTo>
                      <a:pt x="224" y="337"/>
                    </a:lnTo>
                    <a:lnTo>
                      <a:pt x="222" y="339"/>
                    </a:lnTo>
                    <a:lnTo>
                      <a:pt x="221" y="339"/>
                    </a:lnTo>
                    <a:lnTo>
                      <a:pt x="221" y="341"/>
                    </a:lnTo>
                    <a:lnTo>
                      <a:pt x="222" y="341"/>
                    </a:lnTo>
                    <a:lnTo>
                      <a:pt x="224" y="340"/>
                    </a:lnTo>
                    <a:lnTo>
                      <a:pt x="225" y="340"/>
                    </a:lnTo>
                    <a:lnTo>
                      <a:pt x="223" y="343"/>
                    </a:lnTo>
                    <a:lnTo>
                      <a:pt x="221" y="344"/>
                    </a:lnTo>
                    <a:lnTo>
                      <a:pt x="221" y="345"/>
                    </a:lnTo>
                    <a:lnTo>
                      <a:pt x="221" y="347"/>
                    </a:lnTo>
                    <a:lnTo>
                      <a:pt x="223" y="347"/>
                    </a:lnTo>
                    <a:lnTo>
                      <a:pt x="225" y="347"/>
                    </a:lnTo>
                    <a:lnTo>
                      <a:pt x="226" y="347"/>
                    </a:lnTo>
                    <a:lnTo>
                      <a:pt x="227" y="347"/>
                    </a:lnTo>
                    <a:lnTo>
                      <a:pt x="225" y="348"/>
                    </a:lnTo>
                    <a:lnTo>
                      <a:pt x="225" y="349"/>
                    </a:lnTo>
                    <a:lnTo>
                      <a:pt x="223" y="350"/>
                    </a:lnTo>
                    <a:lnTo>
                      <a:pt x="222" y="351"/>
                    </a:lnTo>
                    <a:lnTo>
                      <a:pt x="222" y="354"/>
                    </a:lnTo>
                    <a:lnTo>
                      <a:pt x="224" y="355"/>
                    </a:lnTo>
                    <a:lnTo>
                      <a:pt x="224" y="357"/>
                    </a:lnTo>
                    <a:lnTo>
                      <a:pt x="224" y="358"/>
                    </a:lnTo>
                    <a:lnTo>
                      <a:pt x="225" y="356"/>
                    </a:lnTo>
                    <a:lnTo>
                      <a:pt x="227" y="353"/>
                    </a:lnTo>
                    <a:lnTo>
                      <a:pt x="229" y="351"/>
                    </a:lnTo>
                    <a:lnTo>
                      <a:pt x="229" y="351"/>
                    </a:lnTo>
                    <a:lnTo>
                      <a:pt x="229" y="353"/>
                    </a:lnTo>
                    <a:lnTo>
                      <a:pt x="229" y="354"/>
                    </a:lnTo>
                    <a:lnTo>
                      <a:pt x="227" y="355"/>
                    </a:lnTo>
                    <a:lnTo>
                      <a:pt x="228" y="356"/>
                    </a:lnTo>
                    <a:lnTo>
                      <a:pt x="229" y="357"/>
                    </a:lnTo>
                    <a:lnTo>
                      <a:pt x="228" y="359"/>
                    </a:lnTo>
                    <a:lnTo>
                      <a:pt x="229" y="361"/>
                    </a:lnTo>
                    <a:lnTo>
                      <a:pt x="229" y="361"/>
                    </a:lnTo>
                    <a:lnTo>
                      <a:pt x="230" y="360"/>
                    </a:lnTo>
                    <a:lnTo>
                      <a:pt x="232" y="358"/>
                    </a:lnTo>
                    <a:lnTo>
                      <a:pt x="233" y="358"/>
                    </a:lnTo>
                    <a:lnTo>
                      <a:pt x="233" y="360"/>
                    </a:lnTo>
                    <a:lnTo>
                      <a:pt x="232" y="361"/>
                    </a:lnTo>
                    <a:lnTo>
                      <a:pt x="232" y="363"/>
                    </a:lnTo>
                    <a:lnTo>
                      <a:pt x="234" y="363"/>
                    </a:lnTo>
                    <a:lnTo>
                      <a:pt x="234" y="364"/>
                    </a:lnTo>
                    <a:lnTo>
                      <a:pt x="234" y="365"/>
                    </a:lnTo>
                    <a:lnTo>
                      <a:pt x="235" y="367"/>
                    </a:lnTo>
                    <a:lnTo>
                      <a:pt x="235" y="368"/>
                    </a:lnTo>
                    <a:lnTo>
                      <a:pt x="236" y="366"/>
                    </a:lnTo>
                    <a:lnTo>
                      <a:pt x="239" y="365"/>
                    </a:lnTo>
                    <a:lnTo>
                      <a:pt x="239" y="362"/>
                    </a:lnTo>
                    <a:lnTo>
                      <a:pt x="239" y="361"/>
                    </a:lnTo>
                    <a:lnTo>
                      <a:pt x="237" y="358"/>
                    </a:lnTo>
                    <a:lnTo>
                      <a:pt x="238" y="358"/>
                    </a:lnTo>
                    <a:lnTo>
                      <a:pt x="239" y="359"/>
                    </a:lnTo>
                    <a:lnTo>
                      <a:pt x="240" y="359"/>
                    </a:lnTo>
                    <a:lnTo>
                      <a:pt x="240" y="357"/>
                    </a:lnTo>
                    <a:lnTo>
                      <a:pt x="239" y="354"/>
                    </a:lnTo>
                    <a:lnTo>
                      <a:pt x="239" y="353"/>
                    </a:lnTo>
                    <a:lnTo>
                      <a:pt x="240" y="353"/>
                    </a:lnTo>
                    <a:lnTo>
                      <a:pt x="241" y="351"/>
                    </a:lnTo>
                    <a:lnTo>
                      <a:pt x="240" y="349"/>
                    </a:lnTo>
                    <a:lnTo>
                      <a:pt x="239" y="349"/>
                    </a:lnTo>
                    <a:lnTo>
                      <a:pt x="238" y="347"/>
                    </a:lnTo>
                    <a:lnTo>
                      <a:pt x="238" y="347"/>
                    </a:lnTo>
                    <a:lnTo>
                      <a:pt x="239" y="347"/>
                    </a:lnTo>
                    <a:lnTo>
                      <a:pt x="240" y="347"/>
                    </a:lnTo>
                    <a:lnTo>
                      <a:pt x="242" y="346"/>
                    </a:lnTo>
                    <a:lnTo>
                      <a:pt x="241" y="344"/>
                    </a:lnTo>
                    <a:lnTo>
                      <a:pt x="239" y="344"/>
                    </a:lnTo>
                    <a:lnTo>
                      <a:pt x="239" y="344"/>
                    </a:lnTo>
                    <a:lnTo>
                      <a:pt x="241" y="344"/>
                    </a:lnTo>
                    <a:lnTo>
                      <a:pt x="242" y="342"/>
                    </a:lnTo>
                    <a:lnTo>
                      <a:pt x="242" y="337"/>
                    </a:lnTo>
                    <a:lnTo>
                      <a:pt x="242" y="336"/>
                    </a:lnTo>
                    <a:lnTo>
                      <a:pt x="243" y="337"/>
                    </a:lnTo>
                    <a:lnTo>
                      <a:pt x="243" y="340"/>
                    </a:lnTo>
                    <a:lnTo>
                      <a:pt x="244" y="342"/>
                    </a:lnTo>
                    <a:lnTo>
                      <a:pt x="244" y="344"/>
                    </a:lnTo>
                    <a:lnTo>
                      <a:pt x="245" y="345"/>
                    </a:lnTo>
                    <a:lnTo>
                      <a:pt x="247" y="344"/>
                    </a:lnTo>
                    <a:lnTo>
                      <a:pt x="247" y="343"/>
                    </a:lnTo>
                    <a:lnTo>
                      <a:pt x="248" y="342"/>
                    </a:lnTo>
                    <a:lnTo>
                      <a:pt x="248" y="345"/>
                    </a:lnTo>
                    <a:lnTo>
                      <a:pt x="249" y="346"/>
                    </a:lnTo>
                    <a:lnTo>
                      <a:pt x="250" y="346"/>
                    </a:lnTo>
                    <a:lnTo>
                      <a:pt x="251" y="345"/>
                    </a:lnTo>
                    <a:lnTo>
                      <a:pt x="251" y="341"/>
                    </a:lnTo>
                    <a:lnTo>
                      <a:pt x="251" y="338"/>
                    </a:lnTo>
                    <a:lnTo>
                      <a:pt x="250" y="337"/>
                    </a:lnTo>
                    <a:lnTo>
                      <a:pt x="249" y="337"/>
                    </a:lnTo>
                    <a:lnTo>
                      <a:pt x="252" y="337"/>
                    </a:lnTo>
                    <a:lnTo>
                      <a:pt x="253" y="339"/>
                    </a:lnTo>
                    <a:lnTo>
                      <a:pt x="254" y="341"/>
                    </a:lnTo>
                    <a:lnTo>
                      <a:pt x="256" y="341"/>
                    </a:lnTo>
                    <a:lnTo>
                      <a:pt x="256" y="340"/>
                    </a:lnTo>
                    <a:lnTo>
                      <a:pt x="256" y="336"/>
                    </a:lnTo>
                    <a:lnTo>
                      <a:pt x="255" y="333"/>
                    </a:lnTo>
                    <a:lnTo>
                      <a:pt x="253" y="331"/>
                    </a:lnTo>
                    <a:lnTo>
                      <a:pt x="252" y="330"/>
                    </a:lnTo>
                    <a:lnTo>
                      <a:pt x="253" y="330"/>
                    </a:lnTo>
                    <a:lnTo>
                      <a:pt x="254" y="331"/>
                    </a:lnTo>
                    <a:lnTo>
                      <a:pt x="256" y="333"/>
                    </a:lnTo>
                    <a:lnTo>
                      <a:pt x="257" y="335"/>
                    </a:lnTo>
                    <a:lnTo>
                      <a:pt x="261" y="335"/>
                    </a:lnTo>
                    <a:lnTo>
                      <a:pt x="262" y="333"/>
                    </a:lnTo>
                    <a:lnTo>
                      <a:pt x="262" y="331"/>
                    </a:lnTo>
                    <a:lnTo>
                      <a:pt x="260" y="330"/>
                    </a:lnTo>
                    <a:lnTo>
                      <a:pt x="259" y="329"/>
                    </a:lnTo>
                    <a:lnTo>
                      <a:pt x="256" y="329"/>
                    </a:lnTo>
                    <a:lnTo>
                      <a:pt x="254" y="326"/>
                    </a:lnTo>
                    <a:lnTo>
                      <a:pt x="255" y="324"/>
                    </a:lnTo>
                    <a:lnTo>
                      <a:pt x="255" y="326"/>
                    </a:lnTo>
                    <a:lnTo>
                      <a:pt x="257" y="327"/>
                    </a:lnTo>
                    <a:lnTo>
                      <a:pt x="259" y="326"/>
                    </a:lnTo>
                    <a:lnTo>
                      <a:pt x="260" y="326"/>
                    </a:lnTo>
                    <a:lnTo>
                      <a:pt x="259" y="323"/>
                    </a:lnTo>
                    <a:lnTo>
                      <a:pt x="258" y="322"/>
                    </a:lnTo>
                    <a:lnTo>
                      <a:pt x="257" y="320"/>
                    </a:lnTo>
                    <a:lnTo>
                      <a:pt x="259" y="319"/>
                    </a:lnTo>
                    <a:lnTo>
                      <a:pt x="260" y="321"/>
                    </a:lnTo>
                    <a:lnTo>
                      <a:pt x="261" y="322"/>
                    </a:lnTo>
                    <a:lnTo>
                      <a:pt x="261" y="323"/>
                    </a:lnTo>
                    <a:lnTo>
                      <a:pt x="261" y="326"/>
                    </a:lnTo>
                    <a:lnTo>
                      <a:pt x="263" y="326"/>
                    </a:lnTo>
                    <a:lnTo>
                      <a:pt x="266" y="327"/>
                    </a:lnTo>
                    <a:lnTo>
                      <a:pt x="268" y="326"/>
                    </a:lnTo>
                    <a:lnTo>
                      <a:pt x="270" y="326"/>
                    </a:lnTo>
                    <a:lnTo>
                      <a:pt x="271" y="324"/>
                    </a:lnTo>
                    <a:lnTo>
                      <a:pt x="271" y="323"/>
                    </a:lnTo>
                    <a:lnTo>
                      <a:pt x="270" y="323"/>
                    </a:lnTo>
                    <a:lnTo>
                      <a:pt x="267" y="323"/>
                    </a:lnTo>
                    <a:lnTo>
                      <a:pt x="265" y="322"/>
                    </a:lnTo>
                    <a:lnTo>
                      <a:pt x="267" y="321"/>
                    </a:lnTo>
                    <a:lnTo>
                      <a:pt x="269" y="322"/>
                    </a:lnTo>
                    <a:lnTo>
                      <a:pt x="270" y="321"/>
                    </a:lnTo>
                    <a:lnTo>
                      <a:pt x="270" y="319"/>
                    </a:lnTo>
                    <a:lnTo>
                      <a:pt x="268" y="319"/>
                    </a:lnTo>
                    <a:lnTo>
                      <a:pt x="269" y="318"/>
                    </a:lnTo>
                    <a:lnTo>
                      <a:pt x="268" y="316"/>
                    </a:lnTo>
                    <a:lnTo>
                      <a:pt x="267" y="316"/>
                    </a:lnTo>
                    <a:lnTo>
                      <a:pt x="265" y="317"/>
                    </a:lnTo>
                    <a:lnTo>
                      <a:pt x="267" y="315"/>
                    </a:lnTo>
                    <a:lnTo>
                      <a:pt x="268" y="313"/>
                    </a:lnTo>
                    <a:lnTo>
                      <a:pt x="269" y="314"/>
                    </a:lnTo>
                    <a:lnTo>
                      <a:pt x="270" y="315"/>
                    </a:lnTo>
                    <a:lnTo>
                      <a:pt x="271" y="317"/>
                    </a:lnTo>
                    <a:lnTo>
                      <a:pt x="271" y="319"/>
                    </a:lnTo>
                    <a:lnTo>
                      <a:pt x="274" y="31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8" name="Freeform 1042">
                <a:extLst>
                  <a:ext uri="{FF2B5EF4-FFF2-40B4-BE49-F238E27FC236}">
                    <a16:creationId xmlns:a16="http://schemas.microsoft.com/office/drawing/2014/main" id="{AC43415E-4844-4E10-B29F-6B18FB3D8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941"/>
                <a:ext cx="8" cy="19"/>
              </a:xfrm>
              <a:custGeom>
                <a:avLst/>
                <a:gdLst>
                  <a:gd name="T0" fmla="*/ 0 w 8"/>
                  <a:gd name="T1" fmla="*/ 2 h 19"/>
                  <a:gd name="T2" fmla="*/ 1 w 8"/>
                  <a:gd name="T3" fmla="*/ 3 h 19"/>
                  <a:gd name="T4" fmla="*/ 1 w 8"/>
                  <a:gd name="T5" fmla="*/ 6 h 19"/>
                  <a:gd name="T6" fmla="*/ 2 w 8"/>
                  <a:gd name="T7" fmla="*/ 8 h 19"/>
                  <a:gd name="T8" fmla="*/ 2 w 8"/>
                  <a:gd name="T9" fmla="*/ 14 h 19"/>
                  <a:gd name="T10" fmla="*/ 2 w 8"/>
                  <a:gd name="T11" fmla="*/ 17 h 19"/>
                  <a:gd name="T12" fmla="*/ 5 w 8"/>
                  <a:gd name="T13" fmla="*/ 19 h 19"/>
                  <a:gd name="T14" fmla="*/ 7 w 8"/>
                  <a:gd name="T15" fmla="*/ 19 h 19"/>
                  <a:gd name="T16" fmla="*/ 7 w 8"/>
                  <a:gd name="T17" fmla="*/ 16 h 19"/>
                  <a:gd name="T18" fmla="*/ 6 w 8"/>
                  <a:gd name="T19" fmla="*/ 15 h 19"/>
                  <a:gd name="T20" fmla="*/ 6 w 8"/>
                  <a:gd name="T21" fmla="*/ 13 h 19"/>
                  <a:gd name="T22" fmla="*/ 8 w 8"/>
                  <a:gd name="T23" fmla="*/ 6 h 19"/>
                  <a:gd name="T24" fmla="*/ 7 w 8"/>
                  <a:gd name="T25" fmla="*/ 3 h 19"/>
                  <a:gd name="T26" fmla="*/ 3 w 8"/>
                  <a:gd name="T27" fmla="*/ 0 h 19"/>
                  <a:gd name="T28" fmla="*/ 0 w 8"/>
                  <a:gd name="T29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19">
                    <a:moveTo>
                      <a:pt x="0" y="2"/>
                    </a:moveTo>
                    <a:lnTo>
                      <a:pt x="1" y="3"/>
                    </a:lnTo>
                    <a:lnTo>
                      <a:pt x="1" y="6"/>
                    </a:lnTo>
                    <a:lnTo>
                      <a:pt x="2" y="8"/>
                    </a:lnTo>
                    <a:lnTo>
                      <a:pt x="2" y="14"/>
                    </a:lnTo>
                    <a:lnTo>
                      <a:pt x="2" y="17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7" y="16"/>
                    </a:lnTo>
                    <a:lnTo>
                      <a:pt x="6" y="15"/>
                    </a:lnTo>
                    <a:lnTo>
                      <a:pt x="6" y="13"/>
                    </a:lnTo>
                    <a:lnTo>
                      <a:pt x="8" y="6"/>
                    </a:lnTo>
                    <a:lnTo>
                      <a:pt x="7" y="3"/>
                    </a:lnTo>
                    <a:lnTo>
                      <a:pt x="3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9" name="Freeform 1043">
                <a:extLst>
                  <a:ext uri="{FF2B5EF4-FFF2-40B4-BE49-F238E27FC236}">
                    <a16:creationId xmlns:a16="http://schemas.microsoft.com/office/drawing/2014/main" id="{F2EAACAE-1001-4E3A-A176-8E423EB4CA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2" y="921"/>
                <a:ext cx="3" cy="6"/>
              </a:xfrm>
              <a:custGeom>
                <a:avLst/>
                <a:gdLst>
                  <a:gd name="T0" fmla="*/ 3 w 3"/>
                  <a:gd name="T1" fmla="*/ 6 h 6"/>
                  <a:gd name="T2" fmla="*/ 3 w 3"/>
                  <a:gd name="T3" fmla="*/ 3 h 6"/>
                  <a:gd name="T4" fmla="*/ 1 w 3"/>
                  <a:gd name="T5" fmla="*/ 2 h 6"/>
                  <a:gd name="T6" fmla="*/ 1 w 3"/>
                  <a:gd name="T7" fmla="*/ 0 h 6"/>
                  <a:gd name="T8" fmla="*/ 0 w 3"/>
                  <a:gd name="T9" fmla="*/ 1 h 6"/>
                  <a:gd name="T10" fmla="*/ 0 w 3"/>
                  <a:gd name="T11" fmla="*/ 2 h 6"/>
                  <a:gd name="T12" fmla="*/ 0 w 3"/>
                  <a:gd name="T13" fmla="*/ 6 h 6"/>
                  <a:gd name="T14" fmla="*/ 2 w 3"/>
                  <a:gd name="T15" fmla="*/ 6 h 6"/>
                  <a:gd name="T16" fmla="*/ 3 w 3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3" y="3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3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0" name="Freeform 1044">
                <a:extLst>
                  <a:ext uri="{FF2B5EF4-FFF2-40B4-BE49-F238E27FC236}">
                    <a16:creationId xmlns:a16="http://schemas.microsoft.com/office/drawing/2014/main" id="{673333AA-6B20-4D32-B20D-07D77316D7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0" y="882"/>
                <a:ext cx="35" cy="24"/>
              </a:xfrm>
              <a:custGeom>
                <a:avLst/>
                <a:gdLst>
                  <a:gd name="T0" fmla="*/ 25 w 35"/>
                  <a:gd name="T1" fmla="*/ 8 h 24"/>
                  <a:gd name="T2" fmla="*/ 23 w 35"/>
                  <a:gd name="T3" fmla="*/ 3 h 24"/>
                  <a:gd name="T4" fmla="*/ 21 w 35"/>
                  <a:gd name="T5" fmla="*/ 3 h 24"/>
                  <a:gd name="T6" fmla="*/ 18 w 35"/>
                  <a:gd name="T7" fmla="*/ 2 h 24"/>
                  <a:gd name="T8" fmla="*/ 17 w 35"/>
                  <a:gd name="T9" fmla="*/ 3 h 24"/>
                  <a:gd name="T10" fmla="*/ 15 w 35"/>
                  <a:gd name="T11" fmla="*/ 3 h 24"/>
                  <a:gd name="T12" fmla="*/ 14 w 35"/>
                  <a:gd name="T13" fmla="*/ 0 h 24"/>
                  <a:gd name="T14" fmla="*/ 13 w 35"/>
                  <a:gd name="T15" fmla="*/ 0 h 24"/>
                  <a:gd name="T16" fmla="*/ 11 w 35"/>
                  <a:gd name="T17" fmla="*/ 0 h 24"/>
                  <a:gd name="T18" fmla="*/ 9 w 35"/>
                  <a:gd name="T19" fmla="*/ 0 h 24"/>
                  <a:gd name="T20" fmla="*/ 7 w 35"/>
                  <a:gd name="T21" fmla="*/ 0 h 24"/>
                  <a:gd name="T22" fmla="*/ 4 w 35"/>
                  <a:gd name="T23" fmla="*/ 0 h 24"/>
                  <a:gd name="T24" fmla="*/ 2 w 35"/>
                  <a:gd name="T25" fmla="*/ 3 h 24"/>
                  <a:gd name="T26" fmla="*/ 0 w 35"/>
                  <a:gd name="T27" fmla="*/ 8 h 24"/>
                  <a:gd name="T28" fmla="*/ 0 w 35"/>
                  <a:gd name="T29" fmla="*/ 14 h 24"/>
                  <a:gd name="T30" fmla="*/ 3 w 35"/>
                  <a:gd name="T31" fmla="*/ 14 h 24"/>
                  <a:gd name="T32" fmla="*/ 5 w 35"/>
                  <a:gd name="T33" fmla="*/ 14 h 24"/>
                  <a:gd name="T34" fmla="*/ 7 w 35"/>
                  <a:gd name="T35" fmla="*/ 16 h 24"/>
                  <a:gd name="T36" fmla="*/ 10 w 35"/>
                  <a:gd name="T37" fmla="*/ 18 h 24"/>
                  <a:gd name="T38" fmla="*/ 13 w 35"/>
                  <a:gd name="T39" fmla="*/ 18 h 24"/>
                  <a:gd name="T40" fmla="*/ 17 w 35"/>
                  <a:gd name="T41" fmla="*/ 21 h 24"/>
                  <a:gd name="T42" fmla="*/ 21 w 35"/>
                  <a:gd name="T43" fmla="*/ 21 h 24"/>
                  <a:gd name="T44" fmla="*/ 24 w 35"/>
                  <a:gd name="T45" fmla="*/ 24 h 24"/>
                  <a:gd name="T46" fmla="*/ 27 w 35"/>
                  <a:gd name="T47" fmla="*/ 24 h 24"/>
                  <a:gd name="T48" fmla="*/ 31 w 35"/>
                  <a:gd name="T49" fmla="*/ 19 h 24"/>
                  <a:gd name="T50" fmla="*/ 34 w 35"/>
                  <a:gd name="T51" fmla="*/ 21 h 24"/>
                  <a:gd name="T52" fmla="*/ 35 w 35"/>
                  <a:gd name="T53" fmla="*/ 19 h 24"/>
                  <a:gd name="T54" fmla="*/ 35 w 35"/>
                  <a:gd name="T55" fmla="*/ 17 h 24"/>
                  <a:gd name="T56" fmla="*/ 35 w 35"/>
                  <a:gd name="T57" fmla="*/ 15 h 24"/>
                  <a:gd name="T58" fmla="*/ 33 w 35"/>
                  <a:gd name="T59" fmla="*/ 14 h 24"/>
                  <a:gd name="T60" fmla="*/ 31 w 35"/>
                  <a:gd name="T61" fmla="*/ 10 h 24"/>
                  <a:gd name="T62" fmla="*/ 29 w 35"/>
                  <a:gd name="T63" fmla="*/ 12 h 24"/>
                  <a:gd name="T64" fmla="*/ 28 w 35"/>
                  <a:gd name="T65" fmla="*/ 12 h 24"/>
                  <a:gd name="T66" fmla="*/ 26 w 35"/>
                  <a:gd name="T67" fmla="*/ 10 h 24"/>
                  <a:gd name="T68" fmla="*/ 28 w 35"/>
                  <a:gd name="T69" fmla="*/ 9 h 24"/>
                  <a:gd name="T70" fmla="*/ 25 w 35"/>
                  <a:gd name="T71" fmla="*/ 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5" h="24">
                    <a:moveTo>
                      <a:pt x="25" y="8"/>
                    </a:moveTo>
                    <a:lnTo>
                      <a:pt x="23" y="3"/>
                    </a:lnTo>
                    <a:lnTo>
                      <a:pt x="21" y="3"/>
                    </a:lnTo>
                    <a:lnTo>
                      <a:pt x="18" y="2"/>
                    </a:lnTo>
                    <a:lnTo>
                      <a:pt x="17" y="3"/>
                    </a:lnTo>
                    <a:lnTo>
                      <a:pt x="15" y="3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3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3" y="14"/>
                    </a:lnTo>
                    <a:lnTo>
                      <a:pt x="5" y="14"/>
                    </a:lnTo>
                    <a:lnTo>
                      <a:pt x="7" y="16"/>
                    </a:lnTo>
                    <a:lnTo>
                      <a:pt x="10" y="18"/>
                    </a:lnTo>
                    <a:lnTo>
                      <a:pt x="13" y="18"/>
                    </a:lnTo>
                    <a:lnTo>
                      <a:pt x="17" y="21"/>
                    </a:lnTo>
                    <a:lnTo>
                      <a:pt x="21" y="21"/>
                    </a:lnTo>
                    <a:lnTo>
                      <a:pt x="24" y="24"/>
                    </a:lnTo>
                    <a:lnTo>
                      <a:pt x="27" y="24"/>
                    </a:lnTo>
                    <a:lnTo>
                      <a:pt x="31" y="19"/>
                    </a:lnTo>
                    <a:lnTo>
                      <a:pt x="34" y="21"/>
                    </a:lnTo>
                    <a:lnTo>
                      <a:pt x="35" y="19"/>
                    </a:lnTo>
                    <a:lnTo>
                      <a:pt x="35" y="17"/>
                    </a:lnTo>
                    <a:lnTo>
                      <a:pt x="35" y="15"/>
                    </a:lnTo>
                    <a:lnTo>
                      <a:pt x="33" y="14"/>
                    </a:lnTo>
                    <a:lnTo>
                      <a:pt x="31" y="10"/>
                    </a:lnTo>
                    <a:lnTo>
                      <a:pt x="29" y="12"/>
                    </a:lnTo>
                    <a:lnTo>
                      <a:pt x="28" y="12"/>
                    </a:lnTo>
                    <a:lnTo>
                      <a:pt x="26" y="10"/>
                    </a:lnTo>
                    <a:lnTo>
                      <a:pt x="28" y="9"/>
                    </a:lnTo>
                    <a:lnTo>
                      <a:pt x="25" y="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1" name="Freeform 1045">
                <a:extLst>
                  <a:ext uri="{FF2B5EF4-FFF2-40B4-BE49-F238E27FC236}">
                    <a16:creationId xmlns:a16="http://schemas.microsoft.com/office/drawing/2014/main" id="{ACE23343-1770-4083-BE73-5DFCA8A234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9" y="910"/>
                <a:ext cx="142" cy="158"/>
              </a:xfrm>
              <a:custGeom>
                <a:avLst/>
                <a:gdLst>
                  <a:gd name="T0" fmla="*/ 11 w 184"/>
                  <a:gd name="T1" fmla="*/ 27 h 203"/>
                  <a:gd name="T2" fmla="*/ 13 w 184"/>
                  <a:gd name="T3" fmla="*/ 46 h 203"/>
                  <a:gd name="T4" fmla="*/ 8 w 184"/>
                  <a:gd name="T5" fmla="*/ 48 h 203"/>
                  <a:gd name="T6" fmla="*/ 26 w 184"/>
                  <a:gd name="T7" fmla="*/ 60 h 203"/>
                  <a:gd name="T8" fmla="*/ 36 w 184"/>
                  <a:gd name="T9" fmla="*/ 59 h 203"/>
                  <a:gd name="T10" fmla="*/ 35 w 184"/>
                  <a:gd name="T11" fmla="*/ 90 h 203"/>
                  <a:gd name="T12" fmla="*/ 19 w 184"/>
                  <a:gd name="T13" fmla="*/ 113 h 203"/>
                  <a:gd name="T14" fmla="*/ 17 w 184"/>
                  <a:gd name="T15" fmla="*/ 130 h 203"/>
                  <a:gd name="T16" fmla="*/ 13 w 184"/>
                  <a:gd name="T17" fmla="*/ 150 h 203"/>
                  <a:gd name="T18" fmla="*/ 21 w 184"/>
                  <a:gd name="T19" fmla="*/ 150 h 203"/>
                  <a:gd name="T20" fmla="*/ 24 w 184"/>
                  <a:gd name="T21" fmla="*/ 154 h 203"/>
                  <a:gd name="T22" fmla="*/ 33 w 184"/>
                  <a:gd name="T23" fmla="*/ 166 h 203"/>
                  <a:gd name="T24" fmla="*/ 47 w 184"/>
                  <a:gd name="T25" fmla="*/ 156 h 203"/>
                  <a:gd name="T26" fmla="*/ 53 w 184"/>
                  <a:gd name="T27" fmla="*/ 155 h 203"/>
                  <a:gd name="T28" fmla="*/ 51 w 184"/>
                  <a:gd name="T29" fmla="*/ 176 h 203"/>
                  <a:gd name="T30" fmla="*/ 66 w 184"/>
                  <a:gd name="T31" fmla="*/ 178 h 203"/>
                  <a:gd name="T32" fmla="*/ 72 w 184"/>
                  <a:gd name="T33" fmla="*/ 181 h 203"/>
                  <a:gd name="T34" fmla="*/ 77 w 184"/>
                  <a:gd name="T35" fmla="*/ 186 h 203"/>
                  <a:gd name="T36" fmla="*/ 80 w 184"/>
                  <a:gd name="T37" fmla="*/ 186 h 203"/>
                  <a:gd name="T38" fmla="*/ 89 w 184"/>
                  <a:gd name="T39" fmla="*/ 187 h 203"/>
                  <a:gd name="T40" fmla="*/ 100 w 184"/>
                  <a:gd name="T41" fmla="*/ 189 h 203"/>
                  <a:gd name="T42" fmla="*/ 118 w 184"/>
                  <a:gd name="T43" fmla="*/ 190 h 203"/>
                  <a:gd name="T44" fmla="*/ 124 w 184"/>
                  <a:gd name="T45" fmla="*/ 171 h 203"/>
                  <a:gd name="T46" fmla="*/ 123 w 184"/>
                  <a:gd name="T47" fmla="*/ 197 h 203"/>
                  <a:gd name="T48" fmla="*/ 138 w 184"/>
                  <a:gd name="T49" fmla="*/ 203 h 203"/>
                  <a:gd name="T50" fmla="*/ 160 w 184"/>
                  <a:gd name="T51" fmla="*/ 199 h 203"/>
                  <a:gd name="T52" fmla="*/ 163 w 184"/>
                  <a:gd name="T53" fmla="*/ 179 h 203"/>
                  <a:gd name="T54" fmla="*/ 174 w 184"/>
                  <a:gd name="T55" fmla="*/ 187 h 203"/>
                  <a:gd name="T56" fmla="*/ 170 w 184"/>
                  <a:gd name="T57" fmla="*/ 177 h 203"/>
                  <a:gd name="T58" fmla="*/ 174 w 184"/>
                  <a:gd name="T59" fmla="*/ 169 h 203"/>
                  <a:gd name="T60" fmla="*/ 181 w 184"/>
                  <a:gd name="T61" fmla="*/ 157 h 203"/>
                  <a:gd name="T62" fmla="*/ 179 w 184"/>
                  <a:gd name="T63" fmla="*/ 149 h 203"/>
                  <a:gd name="T64" fmla="*/ 170 w 184"/>
                  <a:gd name="T65" fmla="*/ 137 h 203"/>
                  <a:gd name="T66" fmla="*/ 147 w 184"/>
                  <a:gd name="T67" fmla="*/ 131 h 203"/>
                  <a:gd name="T68" fmla="*/ 131 w 184"/>
                  <a:gd name="T69" fmla="*/ 124 h 203"/>
                  <a:gd name="T70" fmla="*/ 113 w 184"/>
                  <a:gd name="T71" fmla="*/ 126 h 203"/>
                  <a:gd name="T72" fmla="*/ 99 w 184"/>
                  <a:gd name="T73" fmla="*/ 125 h 203"/>
                  <a:gd name="T74" fmla="*/ 98 w 184"/>
                  <a:gd name="T75" fmla="*/ 132 h 203"/>
                  <a:gd name="T76" fmla="*/ 88 w 184"/>
                  <a:gd name="T77" fmla="*/ 121 h 203"/>
                  <a:gd name="T78" fmla="*/ 80 w 184"/>
                  <a:gd name="T79" fmla="*/ 123 h 203"/>
                  <a:gd name="T80" fmla="*/ 74 w 184"/>
                  <a:gd name="T81" fmla="*/ 115 h 203"/>
                  <a:gd name="T82" fmla="*/ 64 w 184"/>
                  <a:gd name="T83" fmla="*/ 120 h 203"/>
                  <a:gd name="T84" fmla="*/ 59 w 184"/>
                  <a:gd name="T85" fmla="*/ 102 h 203"/>
                  <a:gd name="T86" fmla="*/ 58 w 184"/>
                  <a:gd name="T87" fmla="*/ 90 h 203"/>
                  <a:gd name="T88" fmla="*/ 50 w 184"/>
                  <a:gd name="T89" fmla="*/ 90 h 203"/>
                  <a:gd name="T90" fmla="*/ 53 w 184"/>
                  <a:gd name="T91" fmla="*/ 81 h 203"/>
                  <a:gd name="T92" fmla="*/ 55 w 184"/>
                  <a:gd name="T93" fmla="*/ 76 h 203"/>
                  <a:gd name="T94" fmla="*/ 53 w 184"/>
                  <a:gd name="T95" fmla="*/ 69 h 203"/>
                  <a:gd name="T96" fmla="*/ 74 w 184"/>
                  <a:gd name="T97" fmla="*/ 81 h 203"/>
                  <a:gd name="T98" fmla="*/ 65 w 184"/>
                  <a:gd name="T99" fmla="*/ 62 h 203"/>
                  <a:gd name="T100" fmla="*/ 62 w 184"/>
                  <a:gd name="T101" fmla="*/ 50 h 203"/>
                  <a:gd name="T102" fmla="*/ 69 w 184"/>
                  <a:gd name="T103" fmla="*/ 48 h 203"/>
                  <a:gd name="T104" fmla="*/ 50 w 184"/>
                  <a:gd name="T105" fmla="*/ 44 h 203"/>
                  <a:gd name="T106" fmla="*/ 33 w 184"/>
                  <a:gd name="T107" fmla="*/ 52 h 203"/>
                  <a:gd name="T108" fmla="*/ 43 w 184"/>
                  <a:gd name="T109" fmla="*/ 34 h 203"/>
                  <a:gd name="T110" fmla="*/ 34 w 184"/>
                  <a:gd name="T111" fmla="*/ 17 h 203"/>
                  <a:gd name="T112" fmla="*/ 19 w 184"/>
                  <a:gd name="T113" fmla="*/ 2 h 203"/>
                  <a:gd name="T114" fmla="*/ 3 w 184"/>
                  <a:gd name="T115" fmla="*/ 8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84" h="203">
                    <a:moveTo>
                      <a:pt x="0" y="9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8" y="27"/>
                      <a:pt x="8" y="27"/>
                      <a:pt x="8" y="27"/>
                    </a:cubicBezTo>
                    <a:cubicBezTo>
                      <a:pt x="11" y="27"/>
                      <a:pt x="11" y="27"/>
                      <a:pt x="11" y="27"/>
                    </a:cubicBezTo>
                    <a:cubicBezTo>
                      <a:pt x="9" y="30"/>
                      <a:pt x="9" y="30"/>
                      <a:pt x="9" y="3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5" y="34"/>
                      <a:pt x="5" y="34"/>
                      <a:pt x="5" y="34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3" y="46"/>
                      <a:pt x="13" y="46"/>
                      <a:pt x="13" y="46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4" y="47"/>
                      <a:pt x="4" y="47"/>
                      <a:pt x="4" y="47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8" y="48"/>
                      <a:pt x="8" y="48"/>
                      <a:pt x="8" y="48"/>
                    </a:cubicBezTo>
                    <a:cubicBezTo>
                      <a:pt x="10" y="51"/>
                      <a:pt x="10" y="51"/>
                      <a:pt x="10" y="51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7" y="51"/>
                      <a:pt x="17" y="51"/>
                      <a:pt x="17" y="51"/>
                    </a:cubicBezTo>
                    <a:cubicBezTo>
                      <a:pt x="21" y="52"/>
                      <a:pt x="21" y="52"/>
                      <a:pt x="21" y="52"/>
                    </a:cubicBezTo>
                    <a:cubicBezTo>
                      <a:pt x="21" y="55"/>
                      <a:pt x="21" y="55"/>
                      <a:pt x="21" y="55"/>
                    </a:cubicBezTo>
                    <a:cubicBezTo>
                      <a:pt x="26" y="60"/>
                      <a:pt x="26" y="60"/>
                      <a:pt x="26" y="60"/>
                    </a:cubicBezTo>
                    <a:cubicBezTo>
                      <a:pt x="28" y="59"/>
                      <a:pt x="28" y="59"/>
                      <a:pt x="28" y="59"/>
                    </a:cubicBezTo>
                    <a:cubicBezTo>
                      <a:pt x="28" y="57"/>
                      <a:pt x="28" y="57"/>
                      <a:pt x="28" y="57"/>
                    </a:cubicBezTo>
                    <a:cubicBezTo>
                      <a:pt x="30" y="58"/>
                      <a:pt x="30" y="58"/>
                      <a:pt x="30" y="58"/>
                    </a:cubicBezTo>
                    <a:cubicBezTo>
                      <a:pt x="33" y="56"/>
                      <a:pt x="33" y="56"/>
                      <a:pt x="33" y="56"/>
                    </a:cubicBezTo>
                    <a:cubicBezTo>
                      <a:pt x="35" y="57"/>
                      <a:pt x="35" y="57"/>
                      <a:pt x="35" y="57"/>
                    </a:cubicBezTo>
                    <a:cubicBezTo>
                      <a:pt x="36" y="59"/>
                      <a:pt x="36" y="59"/>
                      <a:pt x="36" y="59"/>
                    </a:cubicBezTo>
                    <a:cubicBezTo>
                      <a:pt x="35" y="63"/>
                      <a:pt x="35" y="63"/>
                      <a:pt x="35" y="63"/>
                    </a:cubicBezTo>
                    <a:cubicBezTo>
                      <a:pt x="35" y="71"/>
                      <a:pt x="35" y="71"/>
                      <a:pt x="35" y="71"/>
                    </a:cubicBezTo>
                    <a:cubicBezTo>
                      <a:pt x="33" y="76"/>
                      <a:pt x="33" y="76"/>
                      <a:pt x="33" y="76"/>
                    </a:cubicBezTo>
                    <a:cubicBezTo>
                      <a:pt x="33" y="80"/>
                      <a:pt x="33" y="80"/>
                      <a:pt x="33" y="80"/>
                    </a:cubicBezTo>
                    <a:cubicBezTo>
                      <a:pt x="36" y="84"/>
                      <a:pt x="36" y="84"/>
                      <a:pt x="36" y="84"/>
                    </a:cubicBezTo>
                    <a:cubicBezTo>
                      <a:pt x="35" y="90"/>
                      <a:pt x="35" y="90"/>
                      <a:pt x="35" y="90"/>
                    </a:cubicBezTo>
                    <a:cubicBezTo>
                      <a:pt x="35" y="93"/>
                      <a:pt x="35" y="93"/>
                      <a:pt x="35" y="93"/>
                    </a:cubicBezTo>
                    <a:cubicBezTo>
                      <a:pt x="33" y="98"/>
                      <a:pt x="33" y="98"/>
                      <a:pt x="33" y="98"/>
                    </a:cubicBezTo>
                    <a:cubicBezTo>
                      <a:pt x="28" y="102"/>
                      <a:pt x="28" y="102"/>
                      <a:pt x="28" y="102"/>
                    </a:cubicBezTo>
                    <a:cubicBezTo>
                      <a:pt x="24" y="103"/>
                      <a:pt x="24" y="103"/>
                      <a:pt x="24" y="103"/>
                    </a:cubicBezTo>
                    <a:cubicBezTo>
                      <a:pt x="23" y="107"/>
                      <a:pt x="23" y="107"/>
                      <a:pt x="23" y="107"/>
                    </a:cubicBezTo>
                    <a:cubicBezTo>
                      <a:pt x="19" y="113"/>
                      <a:pt x="19" y="113"/>
                      <a:pt x="19" y="113"/>
                    </a:cubicBezTo>
                    <a:cubicBezTo>
                      <a:pt x="19" y="115"/>
                      <a:pt x="19" y="115"/>
                      <a:pt x="19" y="115"/>
                    </a:cubicBezTo>
                    <a:cubicBezTo>
                      <a:pt x="16" y="118"/>
                      <a:pt x="16" y="118"/>
                      <a:pt x="16" y="118"/>
                    </a:cubicBezTo>
                    <a:cubicBezTo>
                      <a:pt x="14" y="122"/>
                      <a:pt x="14" y="122"/>
                      <a:pt x="14" y="122"/>
                    </a:cubicBezTo>
                    <a:cubicBezTo>
                      <a:pt x="14" y="126"/>
                      <a:pt x="14" y="126"/>
                      <a:pt x="14" y="126"/>
                    </a:cubicBezTo>
                    <a:cubicBezTo>
                      <a:pt x="17" y="127"/>
                      <a:pt x="17" y="127"/>
                      <a:pt x="17" y="127"/>
                    </a:cubicBezTo>
                    <a:cubicBezTo>
                      <a:pt x="17" y="130"/>
                      <a:pt x="17" y="130"/>
                      <a:pt x="17" y="130"/>
                    </a:cubicBezTo>
                    <a:cubicBezTo>
                      <a:pt x="14" y="132"/>
                      <a:pt x="14" y="132"/>
                      <a:pt x="14" y="132"/>
                    </a:cubicBezTo>
                    <a:cubicBezTo>
                      <a:pt x="13" y="135"/>
                      <a:pt x="13" y="135"/>
                      <a:pt x="13" y="135"/>
                    </a:cubicBezTo>
                    <a:cubicBezTo>
                      <a:pt x="15" y="137"/>
                      <a:pt x="15" y="137"/>
                      <a:pt x="15" y="137"/>
                    </a:cubicBezTo>
                    <a:cubicBezTo>
                      <a:pt x="12" y="141"/>
                      <a:pt x="12" y="141"/>
                      <a:pt x="12" y="141"/>
                    </a:cubicBezTo>
                    <a:cubicBezTo>
                      <a:pt x="11" y="145"/>
                      <a:pt x="11" y="145"/>
                      <a:pt x="11" y="145"/>
                    </a:cubicBezTo>
                    <a:cubicBezTo>
                      <a:pt x="13" y="150"/>
                      <a:pt x="13" y="150"/>
                      <a:pt x="13" y="150"/>
                    </a:cubicBezTo>
                    <a:cubicBezTo>
                      <a:pt x="15" y="150"/>
                      <a:pt x="15" y="150"/>
                      <a:pt x="15" y="150"/>
                    </a:cubicBezTo>
                    <a:cubicBezTo>
                      <a:pt x="15" y="153"/>
                      <a:pt x="15" y="153"/>
                      <a:pt x="15" y="153"/>
                    </a:cubicBezTo>
                    <a:cubicBezTo>
                      <a:pt x="18" y="156"/>
                      <a:pt x="18" y="156"/>
                      <a:pt x="18" y="156"/>
                    </a:cubicBezTo>
                    <a:cubicBezTo>
                      <a:pt x="20" y="156"/>
                      <a:pt x="20" y="156"/>
                      <a:pt x="20" y="156"/>
                    </a:cubicBezTo>
                    <a:cubicBezTo>
                      <a:pt x="20" y="152"/>
                      <a:pt x="20" y="152"/>
                      <a:pt x="20" y="152"/>
                    </a:cubicBezTo>
                    <a:cubicBezTo>
                      <a:pt x="21" y="150"/>
                      <a:pt x="21" y="150"/>
                      <a:pt x="21" y="150"/>
                    </a:cubicBezTo>
                    <a:cubicBezTo>
                      <a:pt x="23" y="151"/>
                      <a:pt x="23" y="151"/>
                      <a:pt x="23" y="151"/>
                    </a:cubicBezTo>
                    <a:cubicBezTo>
                      <a:pt x="25" y="151"/>
                      <a:pt x="25" y="151"/>
                      <a:pt x="25" y="151"/>
                    </a:cubicBezTo>
                    <a:cubicBezTo>
                      <a:pt x="28" y="146"/>
                      <a:pt x="28" y="146"/>
                      <a:pt x="28" y="146"/>
                    </a:cubicBezTo>
                    <a:cubicBezTo>
                      <a:pt x="29" y="148"/>
                      <a:pt x="29" y="148"/>
                      <a:pt x="29" y="148"/>
                    </a:cubicBezTo>
                    <a:cubicBezTo>
                      <a:pt x="27" y="153"/>
                      <a:pt x="27" y="153"/>
                      <a:pt x="27" y="153"/>
                    </a:cubicBezTo>
                    <a:cubicBezTo>
                      <a:pt x="24" y="154"/>
                      <a:pt x="24" y="154"/>
                      <a:pt x="24" y="154"/>
                    </a:cubicBezTo>
                    <a:cubicBezTo>
                      <a:pt x="24" y="156"/>
                      <a:pt x="24" y="156"/>
                      <a:pt x="24" y="156"/>
                    </a:cubicBezTo>
                    <a:cubicBezTo>
                      <a:pt x="25" y="158"/>
                      <a:pt x="25" y="158"/>
                      <a:pt x="25" y="158"/>
                    </a:cubicBezTo>
                    <a:cubicBezTo>
                      <a:pt x="25" y="161"/>
                      <a:pt x="25" y="161"/>
                      <a:pt x="25" y="161"/>
                    </a:cubicBezTo>
                    <a:cubicBezTo>
                      <a:pt x="29" y="166"/>
                      <a:pt x="29" y="166"/>
                      <a:pt x="29" y="166"/>
                    </a:cubicBezTo>
                    <a:cubicBezTo>
                      <a:pt x="32" y="165"/>
                      <a:pt x="32" y="165"/>
                      <a:pt x="32" y="165"/>
                    </a:cubicBezTo>
                    <a:cubicBezTo>
                      <a:pt x="33" y="166"/>
                      <a:pt x="33" y="166"/>
                      <a:pt x="33" y="166"/>
                    </a:cubicBezTo>
                    <a:cubicBezTo>
                      <a:pt x="38" y="167"/>
                      <a:pt x="38" y="167"/>
                      <a:pt x="38" y="167"/>
                    </a:cubicBezTo>
                    <a:cubicBezTo>
                      <a:pt x="40" y="165"/>
                      <a:pt x="40" y="165"/>
                      <a:pt x="40" y="165"/>
                    </a:cubicBezTo>
                    <a:cubicBezTo>
                      <a:pt x="44" y="163"/>
                      <a:pt x="44" y="163"/>
                      <a:pt x="44" y="163"/>
                    </a:cubicBezTo>
                    <a:cubicBezTo>
                      <a:pt x="44" y="158"/>
                      <a:pt x="44" y="158"/>
                      <a:pt x="44" y="158"/>
                    </a:cubicBezTo>
                    <a:cubicBezTo>
                      <a:pt x="46" y="157"/>
                      <a:pt x="46" y="157"/>
                      <a:pt x="46" y="157"/>
                    </a:cubicBezTo>
                    <a:cubicBezTo>
                      <a:pt x="47" y="156"/>
                      <a:pt x="47" y="156"/>
                      <a:pt x="47" y="156"/>
                    </a:cubicBezTo>
                    <a:cubicBezTo>
                      <a:pt x="48" y="158"/>
                      <a:pt x="48" y="158"/>
                      <a:pt x="48" y="158"/>
                    </a:cubicBezTo>
                    <a:cubicBezTo>
                      <a:pt x="47" y="160"/>
                      <a:pt x="47" y="160"/>
                      <a:pt x="47" y="160"/>
                    </a:cubicBezTo>
                    <a:cubicBezTo>
                      <a:pt x="47" y="163"/>
                      <a:pt x="47" y="163"/>
                      <a:pt x="47" y="163"/>
                    </a:cubicBezTo>
                    <a:cubicBezTo>
                      <a:pt x="49" y="162"/>
                      <a:pt x="49" y="162"/>
                      <a:pt x="49" y="162"/>
                    </a:cubicBezTo>
                    <a:cubicBezTo>
                      <a:pt x="51" y="156"/>
                      <a:pt x="51" y="156"/>
                      <a:pt x="51" y="156"/>
                    </a:cubicBezTo>
                    <a:cubicBezTo>
                      <a:pt x="53" y="155"/>
                      <a:pt x="53" y="155"/>
                      <a:pt x="53" y="155"/>
                    </a:cubicBezTo>
                    <a:cubicBezTo>
                      <a:pt x="55" y="157"/>
                      <a:pt x="55" y="157"/>
                      <a:pt x="55" y="157"/>
                    </a:cubicBezTo>
                    <a:cubicBezTo>
                      <a:pt x="54" y="161"/>
                      <a:pt x="54" y="161"/>
                      <a:pt x="54" y="161"/>
                    </a:cubicBezTo>
                    <a:cubicBezTo>
                      <a:pt x="49" y="169"/>
                      <a:pt x="49" y="169"/>
                      <a:pt x="49" y="169"/>
                    </a:cubicBezTo>
                    <a:cubicBezTo>
                      <a:pt x="47" y="172"/>
                      <a:pt x="47" y="172"/>
                      <a:pt x="47" y="172"/>
                    </a:cubicBezTo>
                    <a:cubicBezTo>
                      <a:pt x="47" y="175"/>
                      <a:pt x="47" y="175"/>
                      <a:pt x="47" y="175"/>
                    </a:cubicBezTo>
                    <a:cubicBezTo>
                      <a:pt x="51" y="176"/>
                      <a:pt x="51" y="176"/>
                      <a:pt x="51" y="176"/>
                    </a:cubicBezTo>
                    <a:cubicBezTo>
                      <a:pt x="54" y="179"/>
                      <a:pt x="54" y="179"/>
                      <a:pt x="54" y="179"/>
                    </a:cubicBezTo>
                    <a:cubicBezTo>
                      <a:pt x="57" y="179"/>
                      <a:pt x="57" y="179"/>
                      <a:pt x="57" y="179"/>
                    </a:cubicBezTo>
                    <a:cubicBezTo>
                      <a:pt x="58" y="181"/>
                      <a:pt x="58" y="181"/>
                      <a:pt x="58" y="181"/>
                    </a:cubicBezTo>
                    <a:cubicBezTo>
                      <a:pt x="62" y="181"/>
                      <a:pt x="62" y="181"/>
                      <a:pt x="62" y="181"/>
                    </a:cubicBezTo>
                    <a:cubicBezTo>
                      <a:pt x="63" y="178"/>
                      <a:pt x="63" y="178"/>
                      <a:pt x="63" y="178"/>
                    </a:cubicBezTo>
                    <a:cubicBezTo>
                      <a:pt x="66" y="178"/>
                      <a:pt x="66" y="178"/>
                      <a:pt x="66" y="178"/>
                    </a:cubicBezTo>
                    <a:cubicBezTo>
                      <a:pt x="65" y="180"/>
                      <a:pt x="65" y="180"/>
                      <a:pt x="65" y="180"/>
                    </a:cubicBezTo>
                    <a:cubicBezTo>
                      <a:pt x="66" y="183"/>
                      <a:pt x="66" y="183"/>
                      <a:pt x="66" y="183"/>
                    </a:cubicBezTo>
                    <a:cubicBezTo>
                      <a:pt x="68" y="184"/>
                      <a:pt x="68" y="184"/>
                      <a:pt x="68" y="184"/>
                    </a:cubicBezTo>
                    <a:cubicBezTo>
                      <a:pt x="71" y="186"/>
                      <a:pt x="71" y="186"/>
                      <a:pt x="71" y="186"/>
                    </a:cubicBezTo>
                    <a:cubicBezTo>
                      <a:pt x="73" y="184"/>
                      <a:pt x="73" y="184"/>
                      <a:pt x="73" y="184"/>
                    </a:cubicBezTo>
                    <a:cubicBezTo>
                      <a:pt x="72" y="181"/>
                      <a:pt x="72" y="181"/>
                      <a:pt x="72" y="181"/>
                    </a:cubicBezTo>
                    <a:cubicBezTo>
                      <a:pt x="72" y="178"/>
                      <a:pt x="72" y="178"/>
                      <a:pt x="72" y="178"/>
                    </a:cubicBezTo>
                    <a:cubicBezTo>
                      <a:pt x="74" y="174"/>
                      <a:pt x="74" y="174"/>
                      <a:pt x="74" y="174"/>
                    </a:cubicBezTo>
                    <a:cubicBezTo>
                      <a:pt x="75" y="177"/>
                      <a:pt x="75" y="177"/>
                      <a:pt x="75" y="177"/>
                    </a:cubicBezTo>
                    <a:cubicBezTo>
                      <a:pt x="74" y="181"/>
                      <a:pt x="74" y="181"/>
                      <a:pt x="74" y="181"/>
                    </a:cubicBezTo>
                    <a:cubicBezTo>
                      <a:pt x="75" y="186"/>
                      <a:pt x="75" y="186"/>
                      <a:pt x="75" y="186"/>
                    </a:cubicBezTo>
                    <a:cubicBezTo>
                      <a:pt x="77" y="186"/>
                      <a:pt x="77" y="186"/>
                      <a:pt x="77" y="186"/>
                    </a:cubicBezTo>
                    <a:cubicBezTo>
                      <a:pt x="78" y="181"/>
                      <a:pt x="78" y="181"/>
                      <a:pt x="78" y="181"/>
                    </a:cubicBezTo>
                    <a:cubicBezTo>
                      <a:pt x="80" y="179"/>
                      <a:pt x="80" y="179"/>
                      <a:pt x="80" y="179"/>
                    </a:cubicBezTo>
                    <a:cubicBezTo>
                      <a:pt x="82" y="178"/>
                      <a:pt x="82" y="178"/>
                      <a:pt x="82" y="178"/>
                    </a:cubicBezTo>
                    <a:cubicBezTo>
                      <a:pt x="82" y="181"/>
                      <a:pt x="82" y="181"/>
                      <a:pt x="82" y="181"/>
                    </a:cubicBezTo>
                    <a:cubicBezTo>
                      <a:pt x="80" y="183"/>
                      <a:pt x="80" y="183"/>
                      <a:pt x="80" y="183"/>
                    </a:cubicBezTo>
                    <a:cubicBezTo>
                      <a:pt x="80" y="186"/>
                      <a:pt x="80" y="186"/>
                      <a:pt x="80" y="186"/>
                    </a:cubicBezTo>
                    <a:cubicBezTo>
                      <a:pt x="85" y="186"/>
                      <a:pt x="85" y="186"/>
                      <a:pt x="85" y="186"/>
                    </a:cubicBezTo>
                    <a:cubicBezTo>
                      <a:pt x="88" y="184"/>
                      <a:pt x="88" y="184"/>
                      <a:pt x="88" y="184"/>
                    </a:cubicBezTo>
                    <a:cubicBezTo>
                      <a:pt x="90" y="177"/>
                      <a:pt x="90" y="177"/>
                      <a:pt x="90" y="177"/>
                    </a:cubicBezTo>
                    <a:cubicBezTo>
                      <a:pt x="91" y="181"/>
                      <a:pt x="91" y="181"/>
                      <a:pt x="91" y="181"/>
                    </a:cubicBezTo>
                    <a:cubicBezTo>
                      <a:pt x="89" y="184"/>
                      <a:pt x="89" y="184"/>
                      <a:pt x="89" y="184"/>
                    </a:cubicBezTo>
                    <a:cubicBezTo>
                      <a:pt x="89" y="187"/>
                      <a:pt x="89" y="187"/>
                      <a:pt x="89" y="187"/>
                    </a:cubicBezTo>
                    <a:cubicBezTo>
                      <a:pt x="94" y="186"/>
                      <a:pt x="94" y="186"/>
                      <a:pt x="94" y="186"/>
                    </a:cubicBezTo>
                    <a:cubicBezTo>
                      <a:pt x="95" y="180"/>
                      <a:pt x="95" y="180"/>
                      <a:pt x="95" y="180"/>
                    </a:cubicBezTo>
                    <a:cubicBezTo>
                      <a:pt x="96" y="177"/>
                      <a:pt x="96" y="177"/>
                      <a:pt x="96" y="177"/>
                    </a:cubicBezTo>
                    <a:cubicBezTo>
                      <a:pt x="96" y="186"/>
                      <a:pt x="96" y="186"/>
                      <a:pt x="96" y="186"/>
                    </a:cubicBezTo>
                    <a:cubicBezTo>
                      <a:pt x="96" y="189"/>
                      <a:pt x="96" y="189"/>
                      <a:pt x="96" y="189"/>
                    </a:cubicBezTo>
                    <a:cubicBezTo>
                      <a:pt x="100" y="189"/>
                      <a:pt x="100" y="189"/>
                      <a:pt x="100" y="189"/>
                    </a:cubicBezTo>
                    <a:cubicBezTo>
                      <a:pt x="105" y="193"/>
                      <a:pt x="105" y="193"/>
                      <a:pt x="105" y="193"/>
                    </a:cubicBezTo>
                    <a:cubicBezTo>
                      <a:pt x="108" y="191"/>
                      <a:pt x="108" y="191"/>
                      <a:pt x="108" y="191"/>
                    </a:cubicBezTo>
                    <a:cubicBezTo>
                      <a:pt x="110" y="190"/>
                      <a:pt x="110" y="190"/>
                      <a:pt x="110" y="190"/>
                    </a:cubicBezTo>
                    <a:cubicBezTo>
                      <a:pt x="111" y="193"/>
                      <a:pt x="111" y="193"/>
                      <a:pt x="111" y="193"/>
                    </a:cubicBezTo>
                    <a:cubicBezTo>
                      <a:pt x="115" y="192"/>
                      <a:pt x="115" y="192"/>
                      <a:pt x="115" y="192"/>
                    </a:cubicBezTo>
                    <a:cubicBezTo>
                      <a:pt x="118" y="190"/>
                      <a:pt x="118" y="190"/>
                      <a:pt x="118" y="190"/>
                    </a:cubicBezTo>
                    <a:cubicBezTo>
                      <a:pt x="118" y="185"/>
                      <a:pt x="118" y="185"/>
                      <a:pt x="118" y="185"/>
                    </a:cubicBezTo>
                    <a:cubicBezTo>
                      <a:pt x="121" y="181"/>
                      <a:pt x="121" y="181"/>
                      <a:pt x="121" y="181"/>
                    </a:cubicBezTo>
                    <a:cubicBezTo>
                      <a:pt x="122" y="179"/>
                      <a:pt x="122" y="179"/>
                      <a:pt x="122" y="179"/>
                    </a:cubicBezTo>
                    <a:cubicBezTo>
                      <a:pt x="121" y="174"/>
                      <a:pt x="121" y="174"/>
                      <a:pt x="121" y="174"/>
                    </a:cubicBezTo>
                    <a:cubicBezTo>
                      <a:pt x="122" y="171"/>
                      <a:pt x="122" y="171"/>
                      <a:pt x="122" y="171"/>
                    </a:cubicBezTo>
                    <a:cubicBezTo>
                      <a:pt x="124" y="171"/>
                      <a:pt x="124" y="171"/>
                      <a:pt x="124" y="171"/>
                    </a:cubicBezTo>
                    <a:cubicBezTo>
                      <a:pt x="124" y="177"/>
                      <a:pt x="124" y="177"/>
                      <a:pt x="124" y="177"/>
                    </a:cubicBezTo>
                    <a:cubicBezTo>
                      <a:pt x="126" y="177"/>
                      <a:pt x="126" y="177"/>
                      <a:pt x="126" y="177"/>
                    </a:cubicBezTo>
                    <a:cubicBezTo>
                      <a:pt x="126" y="179"/>
                      <a:pt x="126" y="179"/>
                      <a:pt x="126" y="179"/>
                    </a:cubicBezTo>
                    <a:cubicBezTo>
                      <a:pt x="124" y="182"/>
                      <a:pt x="124" y="182"/>
                      <a:pt x="124" y="182"/>
                    </a:cubicBezTo>
                    <a:cubicBezTo>
                      <a:pt x="122" y="188"/>
                      <a:pt x="122" y="188"/>
                      <a:pt x="122" y="188"/>
                    </a:cubicBezTo>
                    <a:cubicBezTo>
                      <a:pt x="123" y="197"/>
                      <a:pt x="123" y="197"/>
                      <a:pt x="123" y="197"/>
                    </a:cubicBezTo>
                    <a:cubicBezTo>
                      <a:pt x="123" y="197"/>
                      <a:pt x="126" y="198"/>
                      <a:pt x="126" y="198"/>
                    </a:cubicBezTo>
                    <a:cubicBezTo>
                      <a:pt x="130" y="197"/>
                      <a:pt x="130" y="197"/>
                      <a:pt x="130" y="197"/>
                    </a:cubicBezTo>
                    <a:cubicBezTo>
                      <a:pt x="130" y="201"/>
                      <a:pt x="130" y="201"/>
                      <a:pt x="130" y="201"/>
                    </a:cubicBezTo>
                    <a:cubicBezTo>
                      <a:pt x="134" y="201"/>
                      <a:pt x="134" y="201"/>
                      <a:pt x="134" y="201"/>
                    </a:cubicBezTo>
                    <a:cubicBezTo>
                      <a:pt x="135" y="203"/>
                      <a:pt x="135" y="203"/>
                      <a:pt x="135" y="203"/>
                    </a:cubicBezTo>
                    <a:cubicBezTo>
                      <a:pt x="138" y="203"/>
                      <a:pt x="138" y="203"/>
                      <a:pt x="138" y="203"/>
                    </a:cubicBezTo>
                    <a:cubicBezTo>
                      <a:pt x="144" y="198"/>
                      <a:pt x="144" y="198"/>
                      <a:pt x="144" y="198"/>
                    </a:cubicBezTo>
                    <a:cubicBezTo>
                      <a:pt x="147" y="197"/>
                      <a:pt x="147" y="197"/>
                      <a:pt x="147" y="197"/>
                    </a:cubicBezTo>
                    <a:cubicBezTo>
                      <a:pt x="153" y="201"/>
                      <a:pt x="153" y="201"/>
                      <a:pt x="153" y="201"/>
                    </a:cubicBezTo>
                    <a:cubicBezTo>
                      <a:pt x="156" y="200"/>
                      <a:pt x="156" y="200"/>
                      <a:pt x="156" y="200"/>
                    </a:cubicBezTo>
                    <a:cubicBezTo>
                      <a:pt x="158" y="201"/>
                      <a:pt x="158" y="201"/>
                      <a:pt x="158" y="201"/>
                    </a:cubicBezTo>
                    <a:cubicBezTo>
                      <a:pt x="160" y="199"/>
                      <a:pt x="160" y="199"/>
                      <a:pt x="160" y="199"/>
                    </a:cubicBezTo>
                    <a:cubicBezTo>
                      <a:pt x="160" y="197"/>
                      <a:pt x="160" y="197"/>
                      <a:pt x="160" y="197"/>
                    </a:cubicBezTo>
                    <a:cubicBezTo>
                      <a:pt x="162" y="192"/>
                      <a:pt x="162" y="192"/>
                      <a:pt x="162" y="192"/>
                    </a:cubicBezTo>
                    <a:cubicBezTo>
                      <a:pt x="165" y="191"/>
                      <a:pt x="165" y="191"/>
                      <a:pt x="165" y="191"/>
                    </a:cubicBezTo>
                    <a:cubicBezTo>
                      <a:pt x="165" y="189"/>
                      <a:pt x="165" y="189"/>
                      <a:pt x="165" y="189"/>
                    </a:cubicBezTo>
                    <a:cubicBezTo>
                      <a:pt x="163" y="184"/>
                      <a:pt x="163" y="184"/>
                      <a:pt x="163" y="184"/>
                    </a:cubicBezTo>
                    <a:cubicBezTo>
                      <a:pt x="163" y="179"/>
                      <a:pt x="163" y="179"/>
                      <a:pt x="163" y="179"/>
                    </a:cubicBezTo>
                    <a:cubicBezTo>
                      <a:pt x="165" y="182"/>
                      <a:pt x="165" y="182"/>
                      <a:pt x="165" y="182"/>
                    </a:cubicBezTo>
                    <a:cubicBezTo>
                      <a:pt x="165" y="185"/>
                      <a:pt x="165" y="185"/>
                      <a:pt x="165" y="185"/>
                    </a:cubicBezTo>
                    <a:cubicBezTo>
                      <a:pt x="168" y="190"/>
                      <a:pt x="168" y="190"/>
                      <a:pt x="168" y="190"/>
                    </a:cubicBezTo>
                    <a:cubicBezTo>
                      <a:pt x="170" y="187"/>
                      <a:pt x="170" y="187"/>
                      <a:pt x="170" y="187"/>
                    </a:cubicBezTo>
                    <a:cubicBezTo>
                      <a:pt x="172" y="187"/>
                      <a:pt x="172" y="187"/>
                      <a:pt x="172" y="187"/>
                    </a:cubicBezTo>
                    <a:cubicBezTo>
                      <a:pt x="174" y="187"/>
                      <a:pt x="174" y="187"/>
                      <a:pt x="174" y="187"/>
                    </a:cubicBezTo>
                    <a:cubicBezTo>
                      <a:pt x="176" y="188"/>
                      <a:pt x="176" y="188"/>
                      <a:pt x="176" y="188"/>
                    </a:cubicBezTo>
                    <a:cubicBezTo>
                      <a:pt x="177" y="185"/>
                      <a:pt x="177" y="185"/>
                      <a:pt x="177" y="185"/>
                    </a:cubicBezTo>
                    <a:cubicBezTo>
                      <a:pt x="175" y="181"/>
                      <a:pt x="175" y="181"/>
                      <a:pt x="175" y="181"/>
                    </a:cubicBezTo>
                    <a:cubicBezTo>
                      <a:pt x="176" y="178"/>
                      <a:pt x="176" y="178"/>
                      <a:pt x="176" y="178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0" y="177"/>
                      <a:pt x="170" y="177"/>
                      <a:pt x="170" y="177"/>
                    </a:cubicBezTo>
                    <a:cubicBezTo>
                      <a:pt x="166" y="178"/>
                      <a:pt x="166" y="178"/>
                      <a:pt x="166" y="178"/>
                    </a:cubicBezTo>
                    <a:cubicBezTo>
                      <a:pt x="165" y="174"/>
                      <a:pt x="165" y="174"/>
                      <a:pt x="165" y="174"/>
                    </a:cubicBezTo>
                    <a:cubicBezTo>
                      <a:pt x="166" y="173"/>
                      <a:pt x="166" y="173"/>
                      <a:pt x="166" y="173"/>
                    </a:cubicBezTo>
                    <a:cubicBezTo>
                      <a:pt x="169" y="174"/>
                      <a:pt x="169" y="174"/>
                      <a:pt x="169" y="174"/>
                    </a:cubicBezTo>
                    <a:cubicBezTo>
                      <a:pt x="172" y="172"/>
                      <a:pt x="172" y="172"/>
                      <a:pt x="172" y="172"/>
                    </a:cubicBezTo>
                    <a:cubicBezTo>
                      <a:pt x="174" y="169"/>
                      <a:pt x="174" y="169"/>
                      <a:pt x="174" y="169"/>
                    </a:cubicBezTo>
                    <a:cubicBezTo>
                      <a:pt x="176" y="171"/>
                      <a:pt x="176" y="171"/>
                      <a:pt x="176" y="171"/>
                    </a:cubicBezTo>
                    <a:cubicBezTo>
                      <a:pt x="179" y="170"/>
                      <a:pt x="179" y="170"/>
                      <a:pt x="179" y="170"/>
                    </a:cubicBezTo>
                    <a:cubicBezTo>
                      <a:pt x="181" y="166"/>
                      <a:pt x="181" y="166"/>
                      <a:pt x="181" y="166"/>
                    </a:cubicBezTo>
                    <a:cubicBezTo>
                      <a:pt x="180" y="164"/>
                      <a:pt x="180" y="164"/>
                      <a:pt x="180" y="164"/>
                    </a:cubicBezTo>
                    <a:cubicBezTo>
                      <a:pt x="182" y="159"/>
                      <a:pt x="182" y="159"/>
                      <a:pt x="182" y="159"/>
                    </a:cubicBezTo>
                    <a:cubicBezTo>
                      <a:pt x="181" y="157"/>
                      <a:pt x="181" y="157"/>
                      <a:pt x="181" y="157"/>
                    </a:cubicBezTo>
                    <a:cubicBezTo>
                      <a:pt x="183" y="156"/>
                      <a:pt x="183" y="156"/>
                      <a:pt x="183" y="156"/>
                    </a:cubicBezTo>
                    <a:cubicBezTo>
                      <a:pt x="184" y="154"/>
                      <a:pt x="184" y="154"/>
                      <a:pt x="184" y="154"/>
                    </a:cubicBezTo>
                    <a:cubicBezTo>
                      <a:pt x="179" y="153"/>
                      <a:pt x="179" y="153"/>
                      <a:pt x="179" y="153"/>
                    </a:cubicBezTo>
                    <a:cubicBezTo>
                      <a:pt x="176" y="154"/>
                      <a:pt x="176" y="154"/>
                      <a:pt x="176" y="154"/>
                    </a:cubicBezTo>
                    <a:cubicBezTo>
                      <a:pt x="177" y="150"/>
                      <a:pt x="177" y="150"/>
                      <a:pt x="177" y="150"/>
                    </a:cubicBezTo>
                    <a:cubicBezTo>
                      <a:pt x="179" y="149"/>
                      <a:pt x="179" y="149"/>
                      <a:pt x="179" y="149"/>
                    </a:cubicBezTo>
                    <a:cubicBezTo>
                      <a:pt x="180" y="145"/>
                      <a:pt x="180" y="145"/>
                      <a:pt x="180" y="145"/>
                    </a:cubicBezTo>
                    <a:cubicBezTo>
                      <a:pt x="177" y="143"/>
                      <a:pt x="177" y="143"/>
                      <a:pt x="177" y="143"/>
                    </a:cubicBezTo>
                    <a:cubicBezTo>
                      <a:pt x="169" y="143"/>
                      <a:pt x="169" y="143"/>
                      <a:pt x="169" y="143"/>
                    </a:cubicBezTo>
                    <a:cubicBezTo>
                      <a:pt x="168" y="140"/>
                      <a:pt x="168" y="140"/>
                      <a:pt x="168" y="140"/>
                    </a:cubicBezTo>
                    <a:cubicBezTo>
                      <a:pt x="168" y="137"/>
                      <a:pt x="168" y="137"/>
                      <a:pt x="168" y="137"/>
                    </a:cubicBezTo>
                    <a:cubicBezTo>
                      <a:pt x="170" y="137"/>
                      <a:pt x="170" y="137"/>
                      <a:pt x="170" y="137"/>
                    </a:cubicBezTo>
                    <a:cubicBezTo>
                      <a:pt x="169" y="133"/>
                      <a:pt x="169" y="133"/>
                      <a:pt x="169" y="133"/>
                    </a:cubicBezTo>
                    <a:cubicBezTo>
                      <a:pt x="163" y="127"/>
                      <a:pt x="163" y="127"/>
                      <a:pt x="163" y="127"/>
                    </a:cubicBezTo>
                    <a:cubicBezTo>
                      <a:pt x="160" y="127"/>
                      <a:pt x="160" y="127"/>
                      <a:pt x="160" y="127"/>
                    </a:cubicBezTo>
                    <a:cubicBezTo>
                      <a:pt x="158" y="129"/>
                      <a:pt x="158" y="129"/>
                      <a:pt x="158" y="129"/>
                    </a:cubicBezTo>
                    <a:cubicBezTo>
                      <a:pt x="153" y="129"/>
                      <a:pt x="153" y="129"/>
                      <a:pt x="153" y="129"/>
                    </a:cubicBezTo>
                    <a:cubicBezTo>
                      <a:pt x="147" y="131"/>
                      <a:pt x="147" y="131"/>
                      <a:pt x="147" y="131"/>
                    </a:cubicBezTo>
                    <a:cubicBezTo>
                      <a:pt x="141" y="126"/>
                      <a:pt x="141" y="126"/>
                      <a:pt x="141" y="126"/>
                    </a:cubicBezTo>
                    <a:cubicBezTo>
                      <a:pt x="140" y="122"/>
                      <a:pt x="140" y="122"/>
                      <a:pt x="140" y="122"/>
                    </a:cubicBezTo>
                    <a:cubicBezTo>
                      <a:pt x="138" y="121"/>
                      <a:pt x="138" y="121"/>
                      <a:pt x="138" y="121"/>
                    </a:cubicBezTo>
                    <a:cubicBezTo>
                      <a:pt x="135" y="124"/>
                      <a:pt x="135" y="124"/>
                      <a:pt x="135" y="124"/>
                    </a:cubicBezTo>
                    <a:cubicBezTo>
                      <a:pt x="133" y="123"/>
                      <a:pt x="133" y="123"/>
                      <a:pt x="133" y="123"/>
                    </a:cubicBezTo>
                    <a:cubicBezTo>
                      <a:pt x="131" y="124"/>
                      <a:pt x="131" y="124"/>
                      <a:pt x="131" y="124"/>
                    </a:cubicBezTo>
                    <a:cubicBezTo>
                      <a:pt x="127" y="125"/>
                      <a:pt x="127" y="125"/>
                      <a:pt x="127" y="125"/>
                    </a:cubicBezTo>
                    <a:cubicBezTo>
                      <a:pt x="125" y="129"/>
                      <a:pt x="125" y="129"/>
                      <a:pt x="125" y="129"/>
                    </a:cubicBezTo>
                    <a:cubicBezTo>
                      <a:pt x="123" y="126"/>
                      <a:pt x="123" y="126"/>
                      <a:pt x="123" y="126"/>
                    </a:cubicBezTo>
                    <a:cubicBezTo>
                      <a:pt x="120" y="124"/>
                      <a:pt x="120" y="124"/>
                      <a:pt x="120" y="124"/>
                    </a:cubicBezTo>
                    <a:cubicBezTo>
                      <a:pt x="117" y="125"/>
                      <a:pt x="117" y="125"/>
                      <a:pt x="117" y="125"/>
                    </a:cubicBezTo>
                    <a:cubicBezTo>
                      <a:pt x="113" y="126"/>
                      <a:pt x="113" y="126"/>
                      <a:pt x="113" y="126"/>
                    </a:cubicBezTo>
                    <a:cubicBezTo>
                      <a:pt x="113" y="129"/>
                      <a:pt x="113" y="129"/>
                      <a:pt x="113" y="129"/>
                    </a:cubicBezTo>
                    <a:cubicBezTo>
                      <a:pt x="111" y="130"/>
                      <a:pt x="111" y="130"/>
                      <a:pt x="111" y="130"/>
                    </a:cubicBezTo>
                    <a:cubicBezTo>
                      <a:pt x="111" y="128"/>
                      <a:pt x="111" y="128"/>
                      <a:pt x="111" y="128"/>
                    </a:cubicBezTo>
                    <a:cubicBezTo>
                      <a:pt x="110" y="126"/>
                      <a:pt x="110" y="126"/>
                      <a:pt x="110" y="126"/>
                    </a:cubicBezTo>
                    <a:cubicBezTo>
                      <a:pt x="106" y="127"/>
                      <a:pt x="106" y="127"/>
                      <a:pt x="106" y="127"/>
                    </a:cubicBezTo>
                    <a:cubicBezTo>
                      <a:pt x="99" y="125"/>
                      <a:pt x="99" y="125"/>
                      <a:pt x="99" y="125"/>
                    </a:cubicBezTo>
                    <a:cubicBezTo>
                      <a:pt x="98" y="127"/>
                      <a:pt x="98" y="127"/>
                      <a:pt x="98" y="127"/>
                    </a:cubicBezTo>
                    <a:cubicBezTo>
                      <a:pt x="100" y="130"/>
                      <a:pt x="100" y="130"/>
                      <a:pt x="100" y="130"/>
                    </a:cubicBezTo>
                    <a:cubicBezTo>
                      <a:pt x="100" y="133"/>
                      <a:pt x="100" y="133"/>
                      <a:pt x="100" y="133"/>
                    </a:cubicBezTo>
                    <a:cubicBezTo>
                      <a:pt x="103" y="136"/>
                      <a:pt x="103" y="136"/>
                      <a:pt x="103" y="136"/>
                    </a:cubicBezTo>
                    <a:cubicBezTo>
                      <a:pt x="99" y="135"/>
                      <a:pt x="99" y="135"/>
                      <a:pt x="99" y="135"/>
                    </a:cubicBezTo>
                    <a:cubicBezTo>
                      <a:pt x="98" y="132"/>
                      <a:pt x="98" y="132"/>
                      <a:pt x="98" y="132"/>
                    </a:cubicBezTo>
                    <a:cubicBezTo>
                      <a:pt x="95" y="131"/>
                      <a:pt x="95" y="131"/>
                      <a:pt x="95" y="131"/>
                    </a:cubicBezTo>
                    <a:cubicBezTo>
                      <a:pt x="90" y="133"/>
                      <a:pt x="90" y="133"/>
                      <a:pt x="90" y="133"/>
                    </a:cubicBezTo>
                    <a:cubicBezTo>
                      <a:pt x="88" y="131"/>
                      <a:pt x="88" y="131"/>
                      <a:pt x="88" y="131"/>
                    </a:cubicBezTo>
                    <a:cubicBezTo>
                      <a:pt x="92" y="130"/>
                      <a:pt x="92" y="130"/>
                      <a:pt x="92" y="130"/>
                    </a:cubicBezTo>
                    <a:cubicBezTo>
                      <a:pt x="92" y="126"/>
                      <a:pt x="92" y="126"/>
                      <a:pt x="92" y="126"/>
                    </a:cubicBezTo>
                    <a:cubicBezTo>
                      <a:pt x="88" y="121"/>
                      <a:pt x="88" y="121"/>
                      <a:pt x="88" y="121"/>
                    </a:cubicBezTo>
                    <a:cubicBezTo>
                      <a:pt x="89" y="119"/>
                      <a:pt x="89" y="119"/>
                      <a:pt x="89" y="119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3" y="119"/>
                      <a:pt x="83" y="119"/>
                      <a:pt x="83" y="119"/>
                    </a:cubicBezTo>
                    <a:cubicBezTo>
                      <a:pt x="84" y="122"/>
                      <a:pt x="84" y="122"/>
                      <a:pt x="84" y="122"/>
                    </a:cubicBezTo>
                    <a:cubicBezTo>
                      <a:pt x="83" y="125"/>
                      <a:pt x="83" y="125"/>
                      <a:pt x="83" y="125"/>
                    </a:cubicBezTo>
                    <a:cubicBezTo>
                      <a:pt x="80" y="123"/>
                      <a:pt x="80" y="123"/>
                      <a:pt x="80" y="123"/>
                    </a:cubicBezTo>
                    <a:cubicBezTo>
                      <a:pt x="81" y="121"/>
                      <a:pt x="81" y="121"/>
                      <a:pt x="81" y="121"/>
                    </a:cubicBezTo>
                    <a:cubicBezTo>
                      <a:pt x="81" y="118"/>
                      <a:pt x="81" y="118"/>
                      <a:pt x="81" y="118"/>
                    </a:cubicBezTo>
                    <a:cubicBezTo>
                      <a:pt x="78" y="117"/>
                      <a:pt x="78" y="117"/>
                      <a:pt x="78" y="117"/>
                    </a:cubicBezTo>
                    <a:cubicBezTo>
                      <a:pt x="75" y="119"/>
                      <a:pt x="75" y="119"/>
                      <a:pt x="75" y="119"/>
                    </a:cubicBezTo>
                    <a:cubicBezTo>
                      <a:pt x="73" y="119"/>
                      <a:pt x="73" y="119"/>
                      <a:pt x="73" y="119"/>
                    </a:cubicBezTo>
                    <a:cubicBezTo>
                      <a:pt x="74" y="115"/>
                      <a:pt x="74" y="115"/>
                      <a:pt x="74" y="115"/>
                    </a:cubicBezTo>
                    <a:cubicBezTo>
                      <a:pt x="74" y="113"/>
                      <a:pt x="74" y="113"/>
                      <a:pt x="74" y="113"/>
                    </a:cubicBezTo>
                    <a:cubicBezTo>
                      <a:pt x="74" y="108"/>
                      <a:pt x="74" y="108"/>
                      <a:pt x="74" y="108"/>
                    </a:cubicBezTo>
                    <a:cubicBezTo>
                      <a:pt x="70" y="109"/>
                      <a:pt x="70" y="109"/>
                      <a:pt x="70" y="109"/>
                    </a:cubicBezTo>
                    <a:cubicBezTo>
                      <a:pt x="66" y="114"/>
                      <a:pt x="66" y="114"/>
                      <a:pt x="66" y="114"/>
                    </a:cubicBezTo>
                    <a:cubicBezTo>
                      <a:pt x="66" y="120"/>
                      <a:pt x="66" y="120"/>
                      <a:pt x="66" y="120"/>
                    </a:cubicBezTo>
                    <a:cubicBezTo>
                      <a:pt x="64" y="120"/>
                      <a:pt x="64" y="120"/>
                      <a:pt x="64" y="120"/>
                    </a:cubicBezTo>
                    <a:cubicBezTo>
                      <a:pt x="63" y="116"/>
                      <a:pt x="63" y="116"/>
                      <a:pt x="63" y="116"/>
                    </a:cubicBezTo>
                    <a:cubicBezTo>
                      <a:pt x="64" y="112"/>
                      <a:pt x="64" y="112"/>
                      <a:pt x="64" y="112"/>
                    </a:cubicBezTo>
                    <a:cubicBezTo>
                      <a:pt x="64" y="110"/>
                      <a:pt x="64" y="110"/>
                      <a:pt x="64" y="110"/>
                    </a:cubicBezTo>
                    <a:cubicBezTo>
                      <a:pt x="66" y="103"/>
                      <a:pt x="66" y="103"/>
                      <a:pt x="66" y="103"/>
                    </a:cubicBezTo>
                    <a:cubicBezTo>
                      <a:pt x="64" y="100"/>
                      <a:pt x="64" y="100"/>
                      <a:pt x="64" y="100"/>
                    </a:cubicBezTo>
                    <a:cubicBezTo>
                      <a:pt x="59" y="102"/>
                      <a:pt x="59" y="102"/>
                      <a:pt x="59" y="102"/>
                    </a:cubicBezTo>
                    <a:cubicBezTo>
                      <a:pt x="59" y="100"/>
                      <a:pt x="59" y="100"/>
                      <a:pt x="59" y="100"/>
                    </a:cubicBezTo>
                    <a:cubicBezTo>
                      <a:pt x="62" y="98"/>
                      <a:pt x="62" y="98"/>
                      <a:pt x="62" y="98"/>
                    </a:cubicBezTo>
                    <a:cubicBezTo>
                      <a:pt x="64" y="93"/>
                      <a:pt x="64" y="93"/>
                      <a:pt x="64" y="93"/>
                    </a:cubicBezTo>
                    <a:cubicBezTo>
                      <a:pt x="64" y="90"/>
                      <a:pt x="64" y="90"/>
                      <a:pt x="64" y="90"/>
                    </a:cubicBezTo>
                    <a:cubicBezTo>
                      <a:pt x="61" y="91"/>
                      <a:pt x="61" y="91"/>
                      <a:pt x="61" y="91"/>
                    </a:cubicBezTo>
                    <a:cubicBezTo>
                      <a:pt x="58" y="90"/>
                      <a:pt x="58" y="90"/>
                      <a:pt x="58" y="90"/>
                    </a:cubicBezTo>
                    <a:cubicBezTo>
                      <a:pt x="57" y="91"/>
                      <a:pt x="57" y="91"/>
                      <a:pt x="57" y="91"/>
                    </a:cubicBezTo>
                    <a:cubicBezTo>
                      <a:pt x="53" y="92"/>
                      <a:pt x="53" y="92"/>
                      <a:pt x="53" y="92"/>
                    </a:cubicBezTo>
                    <a:cubicBezTo>
                      <a:pt x="55" y="90"/>
                      <a:pt x="55" y="90"/>
                      <a:pt x="55" y="90"/>
                    </a:cubicBezTo>
                    <a:cubicBezTo>
                      <a:pt x="55" y="88"/>
                      <a:pt x="55" y="88"/>
                      <a:pt x="55" y="88"/>
                    </a:cubicBezTo>
                    <a:cubicBezTo>
                      <a:pt x="52" y="88"/>
                      <a:pt x="52" y="88"/>
                      <a:pt x="52" y="88"/>
                    </a:cubicBezTo>
                    <a:cubicBezTo>
                      <a:pt x="50" y="90"/>
                      <a:pt x="50" y="90"/>
                      <a:pt x="50" y="90"/>
                    </a:cubicBezTo>
                    <a:cubicBezTo>
                      <a:pt x="45" y="91"/>
                      <a:pt x="45" y="91"/>
                      <a:pt x="45" y="91"/>
                    </a:cubicBezTo>
                    <a:cubicBezTo>
                      <a:pt x="45" y="89"/>
                      <a:pt x="45" y="89"/>
                      <a:pt x="45" y="89"/>
                    </a:cubicBezTo>
                    <a:cubicBezTo>
                      <a:pt x="48" y="88"/>
                      <a:pt x="48" y="88"/>
                      <a:pt x="48" y="88"/>
                    </a:cubicBezTo>
                    <a:cubicBezTo>
                      <a:pt x="49" y="84"/>
                      <a:pt x="49" y="84"/>
                      <a:pt x="49" y="84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3" y="81"/>
                      <a:pt x="53" y="81"/>
                      <a:pt x="53" y="81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61" y="85"/>
                      <a:pt x="61" y="85"/>
                      <a:pt x="61" y="85"/>
                    </a:cubicBezTo>
                    <a:cubicBezTo>
                      <a:pt x="60" y="82"/>
                      <a:pt x="60" y="82"/>
                      <a:pt x="60" y="82"/>
                    </a:cubicBezTo>
                    <a:cubicBezTo>
                      <a:pt x="57" y="78"/>
                      <a:pt x="57" y="78"/>
                      <a:pt x="57" y="78"/>
                    </a:cubicBezTo>
                    <a:cubicBezTo>
                      <a:pt x="54" y="78"/>
                      <a:pt x="54" y="78"/>
                      <a:pt x="54" y="78"/>
                    </a:cubicBezTo>
                    <a:cubicBezTo>
                      <a:pt x="55" y="76"/>
                      <a:pt x="55" y="76"/>
                      <a:pt x="55" y="76"/>
                    </a:cubicBezTo>
                    <a:cubicBezTo>
                      <a:pt x="51" y="71"/>
                      <a:pt x="51" y="71"/>
                      <a:pt x="51" y="71"/>
                    </a:cubicBezTo>
                    <a:cubicBezTo>
                      <a:pt x="48" y="68"/>
                      <a:pt x="48" y="68"/>
                      <a:pt x="48" y="68"/>
                    </a:cubicBezTo>
                    <a:cubicBezTo>
                      <a:pt x="50" y="68"/>
                      <a:pt x="50" y="68"/>
                      <a:pt x="50" y="68"/>
                    </a:cubicBezTo>
                    <a:cubicBezTo>
                      <a:pt x="50" y="65"/>
                      <a:pt x="50" y="65"/>
                      <a:pt x="50" y="65"/>
                    </a:cubicBezTo>
                    <a:cubicBezTo>
                      <a:pt x="52" y="65"/>
                      <a:pt x="52" y="65"/>
                      <a:pt x="52" y="65"/>
                    </a:cubicBezTo>
                    <a:cubicBezTo>
                      <a:pt x="53" y="69"/>
                      <a:pt x="53" y="69"/>
                      <a:pt x="53" y="69"/>
                    </a:cubicBezTo>
                    <a:cubicBezTo>
                      <a:pt x="57" y="74"/>
                      <a:pt x="57" y="74"/>
                      <a:pt x="57" y="74"/>
                    </a:cubicBezTo>
                    <a:cubicBezTo>
                      <a:pt x="61" y="75"/>
                      <a:pt x="61" y="75"/>
                      <a:pt x="61" y="75"/>
                    </a:cubicBezTo>
                    <a:cubicBezTo>
                      <a:pt x="64" y="79"/>
                      <a:pt x="64" y="79"/>
                      <a:pt x="64" y="79"/>
                    </a:cubicBezTo>
                    <a:cubicBezTo>
                      <a:pt x="66" y="76"/>
                      <a:pt x="66" y="76"/>
                      <a:pt x="66" y="76"/>
                    </a:cubicBezTo>
                    <a:cubicBezTo>
                      <a:pt x="68" y="79"/>
                      <a:pt x="68" y="79"/>
                      <a:pt x="68" y="79"/>
                    </a:cubicBezTo>
                    <a:cubicBezTo>
                      <a:pt x="74" y="81"/>
                      <a:pt x="74" y="81"/>
                      <a:pt x="74" y="81"/>
                    </a:cubicBezTo>
                    <a:cubicBezTo>
                      <a:pt x="78" y="81"/>
                      <a:pt x="78" y="81"/>
                      <a:pt x="78" y="81"/>
                    </a:cubicBezTo>
                    <a:cubicBezTo>
                      <a:pt x="79" y="77"/>
                      <a:pt x="79" y="77"/>
                      <a:pt x="79" y="77"/>
                    </a:cubicBezTo>
                    <a:cubicBezTo>
                      <a:pt x="78" y="72"/>
                      <a:pt x="78" y="72"/>
                      <a:pt x="78" y="72"/>
                    </a:cubicBezTo>
                    <a:cubicBezTo>
                      <a:pt x="71" y="66"/>
                      <a:pt x="71" y="66"/>
                      <a:pt x="71" y="66"/>
                    </a:cubicBezTo>
                    <a:cubicBezTo>
                      <a:pt x="67" y="61"/>
                      <a:pt x="67" y="61"/>
                      <a:pt x="67" y="61"/>
                    </a:cubicBezTo>
                    <a:cubicBezTo>
                      <a:pt x="65" y="62"/>
                      <a:pt x="65" y="62"/>
                      <a:pt x="65" y="62"/>
                    </a:cubicBezTo>
                    <a:cubicBezTo>
                      <a:pt x="64" y="58"/>
                      <a:pt x="64" y="58"/>
                      <a:pt x="64" y="58"/>
                    </a:cubicBezTo>
                    <a:cubicBezTo>
                      <a:pt x="61" y="54"/>
                      <a:pt x="61" y="54"/>
                      <a:pt x="61" y="54"/>
                    </a:cubicBezTo>
                    <a:cubicBezTo>
                      <a:pt x="59" y="54"/>
                      <a:pt x="59" y="54"/>
                      <a:pt x="59" y="54"/>
                    </a:cubicBezTo>
                    <a:cubicBezTo>
                      <a:pt x="58" y="52"/>
                      <a:pt x="58" y="52"/>
                      <a:pt x="58" y="52"/>
                    </a:cubicBezTo>
                    <a:cubicBezTo>
                      <a:pt x="59" y="49"/>
                      <a:pt x="59" y="49"/>
                      <a:pt x="59" y="49"/>
                    </a:cubicBezTo>
                    <a:cubicBezTo>
                      <a:pt x="62" y="50"/>
                      <a:pt x="62" y="50"/>
                      <a:pt x="62" y="50"/>
                    </a:cubicBezTo>
                    <a:cubicBezTo>
                      <a:pt x="64" y="54"/>
                      <a:pt x="64" y="54"/>
                      <a:pt x="64" y="54"/>
                    </a:cubicBezTo>
                    <a:cubicBezTo>
                      <a:pt x="67" y="54"/>
                      <a:pt x="67" y="54"/>
                      <a:pt x="67" y="54"/>
                    </a:cubicBezTo>
                    <a:cubicBezTo>
                      <a:pt x="67" y="58"/>
                      <a:pt x="67" y="58"/>
                      <a:pt x="67" y="58"/>
                    </a:cubicBezTo>
                    <a:cubicBezTo>
                      <a:pt x="69" y="58"/>
                      <a:pt x="69" y="58"/>
                      <a:pt x="69" y="58"/>
                    </a:cubicBezTo>
                    <a:cubicBezTo>
                      <a:pt x="71" y="55"/>
                      <a:pt x="71" y="55"/>
                      <a:pt x="71" y="55"/>
                    </a:cubicBezTo>
                    <a:cubicBezTo>
                      <a:pt x="69" y="48"/>
                      <a:pt x="69" y="48"/>
                      <a:pt x="69" y="48"/>
                    </a:cubicBezTo>
                    <a:cubicBezTo>
                      <a:pt x="65" y="42"/>
                      <a:pt x="65" y="42"/>
                      <a:pt x="65" y="42"/>
                    </a:cubicBezTo>
                    <a:cubicBezTo>
                      <a:pt x="62" y="42"/>
                      <a:pt x="62" y="42"/>
                      <a:pt x="62" y="42"/>
                    </a:cubicBezTo>
                    <a:cubicBezTo>
                      <a:pt x="61" y="41"/>
                      <a:pt x="61" y="41"/>
                      <a:pt x="61" y="41"/>
                    </a:cubicBezTo>
                    <a:cubicBezTo>
                      <a:pt x="58" y="41"/>
                      <a:pt x="58" y="41"/>
                      <a:pt x="58" y="41"/>
                    </a:cubicBezTo>
                    <a:cubicBezTo>
                      <a:pt x="54" y="44"/>
                      <a:pt x="54" y="44"/>
                      <a:pt x="54" y="44"/>
                    </a:cubicBezTo>
                    <a:cubicBezTo>
                      <a:pt x="50" y="44"/>
                      <a:pt x="50" y="44"/>
                      <a:pt x="50" y="44"/>
                    </a:cubicBezTo>
                    <a:cubicBezTo>
                      <a:pt x="47" y="41"/>
                      <a:pt x="47" y="41"/>
                      <a:pt x="47" y="41"/>
                    </a:cubicBezTo>
                    <a:cubicBezTo>
                      <a:pt x="45" y="42"/>
                      <a:pt x="45" y="42"/>
                      <a:pt x="45" y="42"/>
                    </a:cubicBezTo>
                    <a:cubicBezTo>
                      <a:pt x="42" y="38"/>
                      <a:pt x="42" y="38"/>
                      <a:pt x="42" y="38"/>
                    </a:cubicBezTo>
                    <a:cubicBezTo>
                      <a:pt x="39" y="45"/>
                      <a:pt x="39" y="45"/>
                      <a:pt x="39" y="45"/>
                    </a:cubicBezTo>
                    <a:cubicBezTo>
                      <a:pt x="34" y="48"/>
                      <a:pt x="34" y="48"/>
                      <a:pt x="34" y="48"/>
                    </a:cubicBezTo>
                    <a:cubicBezTo>
                      <a:pt x="33" y="52"/>
                      <a:pt x="33" y="52"/>
                      <a:pt x="33" y="52"/>
                    </a:cubicBezTo>
                    <a:cubicBezTo>
                      <a:pt x="30" y="53"/>
                      <a:pt x="30" y="53"/>
                      <a:pt x="30" y="53"/>
                    </a:cubicBezTo>
                    <a:cubicBezTo>
                      <a:pt x="30" y="50"/>
                      <a:pt x="30" y="50"/>
                      <a:pt x="30" y="50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5" y="46"/>
                      <a:pt x="35" y="46"/>
                      <a:pt x="35" y="46"/>
                    </a:cubicBezTo>
                    <a:cubicBezTo>
                      <a:pt x="42" y="37"/>
                      <a:pt x="42" y="37"/>
                      <a:pt x="42" y="37"/>
                    </a:cubicBezTo>
                    <a:cubicBezTo>
                      <a:pt x="43" y="34"/>
                      <a:pt x="43" y="34"/>
                      <a:pt x="43" y="34"/>
                    </a:cubicBezTo>
                    <a:cubicBezTo>
                      <a:pt x="41" y="30"/>
                      <a:pt x="41" y="30"/>
                      <a:pt x="41" y="30"/>
                    </a:cubicBezTo>
                    <a:cubicBezTo>
                      <a:pt x="41" y="20"/>
                      <a:pt x="41" y="20"/>
                      <a:pt x="41" y="20"/>
                    </a:cubicBezTo>
                    <a:cubicBezTo>
                      <a:pt x="42" y="19"/>
                      <a:pt x="42" y="19"/>
                      <a:pt x="42" y="19"/>
                    </a:cubicBezTo>
                    <a:cubicBezTo>
                      <a:pt x="40" y="15"/>
                      <a:pt x="40" y="15"/>
                      <a:pt x="40" y="15"/>
                    </a:cubicBezTo>
                    <a:cubicBezTo>
                      <a:pt x="38" y="18"/>
                      <a:pt x="38" y="18"/>
                      <a:pt x="38" y="18"/>
                    </a:cubicBezTo>
                    <a:cubicBezTo>
                      <a:pt x="34" y="17"/>
                      <a:pt x="34" y="17"/>
                      <a:pt x="34" y="17"/>
                    </a:cubicBezTo>
                    <a:cubicBezTo>
                      <a:pt x="32" y="15"/>
                      <a:pt x="32" y="15"/>
                      <a:pt x="32" y="15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2" y="8"/>
                      <a:pt x="32" y="8"/>
                      <a:pt x="32" y="8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4" y="16"/>
                      <a:pt x="4" y="16"/>
                      <a:pt x="4" y="16"/>
                    </a:cubicBezTo>
                    <a:lnTo>
                      <a:pt x="0" y="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2" name="Freeform 1046">
                <a:extLst>
                  <a:ext uri="{FF2B5EF4-FFF2-40B4-BE49-F238E27FC236}">
                    <a16:creationId xmlns:a16="http://schemas.microsoft.com/office/drawing/2014/main" id="{DEF36820-DE9F-490A-97B1-CC5248A3D6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7" y="999"/>
                <a:ext cx="3" cy="4"/>
              </a:xfrm>
              <a:custGeom>
                <a:avLst/>
                <a:gdLst>
                  <a:gd name="T0" fmla="*/ 4 w 4"/>
                  <a:gd name="T1" fmla="*/ 1 h 4"/>
                  <a:gd name="T2" fmla="*/ 3 w 4"/>
                  <a:gd name="T3" fmla="*/ 0 h 4"/>
                  <a:gd name="T4" fmla="*/ 0 w 4"/>
                  <a:gd name="T5" fmla="*/ 2 h 4"/>
                  <a:gd name="T6" fmla="*/ 1 w 4"/>
                  <a:gd name="T7" fmla="*/ 4 h 4"/>
                  <a:gd name="T8" fmla="*/ 3 w 4"/>
                  <a:gd name="T9" fmla="*/ 4 h 4"/>
                  <a:gd name="T10" fmla="*/ 4 w 4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4" y="1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4"/>
                      <a:pt x="1" y="4"/>
                    </a:cubicBezTo>
                    <a:cubicBezTo>
                      <a:pt x="3" y="4"/>
                      <a:pt x="3" y="4"/>
                      <a:pt x="3" y="4"/>
                    </a:cubicBezTo>
                    <a:lnTo>
                      <a:pt x="4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3" name="Freeform 1047">
                <a:extLst>
                  <a:ext uri="{FF2B5EF4-FFF2-40B4-BE49-F238E27FC236}">
                    <a16:creationId xmlns:a16="http://schemas.microsoft.com/office/drawing/2014/main" id="{07EEE741-4215-471A-8175-B1150FF1B7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860"/>
                <a:ext cx="3" cy="8"/>
              </a:xfrm>
              <a:custGeom>
                <a:avLst/>
                <a:gdLst>
                  <a:gd name="T0" fmla="*/ 0 w 3"/>
                  <a:gd name="T1" fmla="*/ 1 h 8"/>
                  <a:gd name="T2" fmla="*/ 0 w 3"/>
                  <a:gd name="T3" fmla="*/ 2 h 8"/>
                  <a:gd name="T4" fmla="*/ 0 w 3"/>
                  <a:gd name="T5" fmla="*/ 6 h 8"/>
                  <a:gd name="T6" fmla="*/ 0 w 3"/>
                  <a:gd name="T7" fmla="*/ 8 h 8"/>
                  <a:gd name="T8" fmla="*/ 2 w 3"/>
                  <a:gd name="T9" fmla="*/ 8 h 8"/>
                  <a:gd name="T10" fmla="*/ 3 w 3"/>
                  <a:gd name="T11" fmla="*/ 6 h 8"/>
                  <a:gd name="T12" fmla="*/ 2 w 3"/>
                  <a:gd name="T13" fmla="*/ 0 h 8"/>
                  <a:gd name="T14" fmla="*/ 0 w 3"/>
                  <a:gd name="T15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8">
                    <a:moveTo>
                      <a:pt x="0" y="1"/>
                    </a:moveTo>
                    <a:lnTo>
                      <a:pt x="0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3" y="6"/>
                    </a:lnTo>
                    <a:lnTo>
                      <a:pt x="2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4" name="Freeform 1048">
                <a:extLst>
                  <a:ext uri="{FF2B5EF4-FFF2-40B4-BE49-F238E27FC236}">
                    <a16:creationId xmlns:a16="http://schemas.microsoft.com/office/drawing/2014/main" id="{84D997FF-3E5A-4F02-BA41-3DCDF82E24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6" y="976"/>
                <a:ext cx="6" cy="8"/>
              </a:xfrm>
              <a:custGeom>
                <a:avLst/>
                <a:gdLst>
                  <a:gd name="T0" fmla="*/ 1 w 6"/>
                  <a:gd name="T1" fmla="*/ 2 h 8"/>
                  <a:gd name="T2" fmla="*/ 0 w 6"/>
                  <a:gd name="T3" fmla="*/ 2 h 8"/>
                  <a:gd name="T4" fmla="*/ 0 w 6"/>
                  <a:gd name="T5" fmla="*/ 7 h 8"/>
                  <a:gd name="T6" fmla="*/ 2 w 6"/>
                  <a:gd name="T7" fmla="*/ 8 h 8"/>
                  <a:gd name="T8" fmla="*/ 3 w 6"/>
                  <a:gd name="T9" fmla="*/ 8 h 8"/>
                  <a:gd name="T10" fmla="*/ 4 w 6"/>
                  <a:gd name="T11" fmla="*/ 6 h 8"/>
                  <a:gd name="T12" fmla="*/ 5 w 6"/>
                  <a:gd name="T13" fmla="*/ 6 h 8"/>
                  <a:gd name="T14" fmla="*/ 5 w 6"/>
                  <a:gd name="T15" fmla="*/ 4 h 8"/>
                  <a:gd name="T16" fmla="*/ 6 w 6"/>
                  <a:gd name="T17" fmla="*/ 2 h 8"/>
                  <a:gd name="T18" fmla="*/ 5 w 6"/>
                  <a:gd name="T19" fmla="*/ 1 h 8"/>
                  <a:gd name="T20" fmla="*/ 4 w 6"/>
                  <a:gd name="T21" fmla="*/ 0 h 8"/>
                  <a:gd name="T22" fmla="*/ 2 w 6"/>
                  <a:gd name="T23" fmla="*/ 0 h 8"/>
                  <a:gd name="T24" fmla="*/ 1 w 6"/>
                  <a:gd name="T2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8">
                    <a:moveTo>
                      <a:pt x="1" y="2"/>
                    </a:moveTo>
                    <a:lnTo>
                      <a:pt x="0" y="2"/>
                    </a:lnTo>
                    <a:lnTo>
                      <a:pt x="0" y="7"/>
                    </a:lnTo>
                    <a:lnTo>
                      <a:pt x="2" y="8"/>
                    </a:lnTo>
                    <a:lnTo>
                      <a:pt x="3" y="8"/>
                    </a:lnTo>
                    <a:lnTo>
                      <a:pt x="4" y="6"/>
                    </a:lnTo>
                    <a:lnTo>
                      <a:pt x="5" y="6"/>
                    </a:lnTo>
                    <a:lnTo>
                      <a:pt x="5" y="4"/>
                    </a:lnTo>
                    <a:lnTo>
                      <a:pt x="6" y="2"/>
                    </a:lnTo>
                    <a:lnTo>
                      <a:pt x="5" y="1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1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5" name="Freeform 1049">
                <a:extLst>
                  <a:ext uri="{FF2B5EF4-FFF2-40B4-BE49-F238E27FC236}">
                    <a16:creationId xmlns:a16="http://schemas.microsoft.com/office/drawing/2014/main" id="{25229C1F-BFCE-4D28-AF67-B97ED2008A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9" y="971"/>
                <a:ext cx="2" cy="3"/>
              </a:xfrm>
              <a:custGeom>
                <a:avLst/>
                <a:gdLst>
                  <a:gd name="T0" fmla="*/ 2 w 2"/>
                  <a:gd name="T1" fmla="*/ 0 h 3"/>
                  <a:gd name="T2" fmla="*/ 2 w 2"/>
                  <a:gd name="T3" fmla="*/ 0 h 3"/>
                  <a:gd name="T4" fmla="*/ 0 w 2"/>
                  <a:gd name="T5" fmla="*/ 1 h 3"/>
                  <a:gd name="T6" fmla="*/ 0 w 2"/>
                  <a:gd name="T7" fmla="*/ 3 h 3"/>
                  <a:gd name="T8" fmla="*/ 2 w 2"/>
                  <a:gd name="T9" fmla="*/ 2 h 3"/>
                  <a:gd name="T10" fmla="*/ 2 w 2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6" name="Freeform 1050">
                <a:extLst>
                  <a:ext uri="{FF2B5EF4-FFF2-40B4-BE49-F238E27FC236}">
                    <a16:creationId xmlns:a16="http://schemas.microsoft.com/office/drawing/2014/main" id="{4D6CEBF0-BF28-45FE-BCD2-C6FC22484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4" y="980"/>
                <a:ext cx="33" cy="44"/>
              </a:xfrm>
              <a:custGeom>
                <a:avLst/>
                <a:gdLst>
                  <a:gd name="T0" fmla="*/ 0 w 33"/>
                  <a:gd name="T1" fmla="*/ 21 h 44"/>
                  <a:gd name="T2" fmla="*/ 1 w 33"/>
                  <a:gd name="T3" fmla="*/ 23 h 44"/>
                  <a:gd name="T4" fmla="*/ 1 w 33"/>
                  <a:gd name="T5" fmla="*/ 26 h 44"/>
                  <a:gd name="T6" fmla="*/ 3 w 33"/>
                  <a:gd name="T7" fmla="*/ 24 h 44"/>
                  <a:gd name="T8" fmla="*/ 3 w 33"/>
                  <a:gd name="T9" fmla="*/ 28 h 44"/>
                  <a:gd name="T10" fmla="*/ 5 w 33"/>
                  <a:gd name="T11" fmla="*/ 31 h 44"/>
                  <a:gd name="T12" fmla="*/ 7 w 33"/>
                  <a:gd name="T13" fmla="*/ 31 h 44"/>
                  <a:gd name="T14" fmla="*/ 8 w 33"/>
                  <a:gd name="T15" fmla="*/ 34 h 44"/>
                  <a:gd name="T16" fmla="*/ 11 w 33"/>
                  <a:gd name="T17" fmla="*/ 33 h 44"/>
                  <a:gd name="T18" fmla="*/ 11 w 33"/>
                  <a:gd name="T19" fmla="*/ 39 h 44"/>
                  <a:gd name="T20" fmla="*/ 14 w 33"/>
                  <a:gd name="T21" fmla="*/ 41 h 44"/>
                  <a:gd name="T22" fmla="*/ 21 w 33"/>
                  <a:gd name="T23" fmla="*/ 43 h 44"/>
                  <a:gd name="T24" fmla="*/ 24 w 33"/>
                  <a:gd name="T25" fmla="*/ 44 h 44"/>
                  <a:gd name="T26" fmla="*/ 24 w 33"/>
                  <a:gd name="T27" fmla="*/ 41 h 44"/>
                  <a:gd name="T28" fmla="*/ 28 w 33"/>
                  <a:gd name="T29" fmla="*/ 36 h 44"/>
                  <a:gd name="T30" fmla="*/ 29 w 33"/>
                  <a:gd name="T31" fmla="*/ 28 h 44"/>
                  <a:gd name="T32" fmla="*/ 32 w 33"/>
                  <a:gd name="T33" fmla="*/ 21 h 44"/>
                  <a:gd name="T34" fmla="*/ 33 w 33"/>
                  <a:gd name="T35" fmla="*/ 16 h 44"/>
                  <a:gd name="T36" fmla="*/ 30 w 33"/>
                  <a:gd name="T37" fmla="*/ 9 h 44"/>
                  <a:gd name="T38" fmla="*/ 28 w 33"/>
                  <a:gd name="T39" fmla="*/ 5 h 44"/>
                  <a:gd name="T40" fmla="*/ 24 w 33"/>
                  <a:gd name="T41" fmla="*/ 0 h 44"/>
                  <a:gd name="T42" fmla="*/ 19 w 33"/>
                  <a:gd name="T43" fmla="*/ 0 h 44"/>
                  <a:gd name="T44" fmla="*/ 14 w 33"/>
                  <a:gd name="T45" fmla="*/ 2 h 44"/>
                  <a:gd name="T46" fmla="*/ 16 w 33"/>
                  <a:gd name="T47" fmla="*/ 6 h 44"/>
                  <a:gd name="T48" fmla="*/ 13 w 33"/>
                  <a:gd name="T49" fmla="*/ 4 h 44"/>
                  <a:gd name="T50" fmla="*/ 10 w 33"/>
                  <a:gd name="T51" fmla="*/ 5 h 44"/>
                  <a:gd name="T52" fmla="*/ 13 w 33"/>
                  <a:gd name="T53" fmla="*/ 7 h 44"/>
                  <a:gd name="T54" fmla="*/ 9 w 33"/>
                  <a:gd name="T55" fmla="*/ 9 h 44"/>
                  <a:gd name="T56" fmla="*/ 9 w 33"/>
                  <a:gd name="T57" fmla="*/ 13 h 44"/>
                  <a:gd name="T58" fmla="*/ 10 w 33"/>
                  <a:gd name="T59" fmla="*/ 15 h 44"/>
                  <a:gd name="T60" fmla="*/ 4 w 33"/>
                  <a:gd name="T61" fmla="*/ 15 h 44"/>
                  <a:gd name="T62" fmla="*/ 1 w 33"/>
                  <a:gd name="T63" fmla="*/ 2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3" h="44">
                    <a:moveTo>
                      <a:pt x="1" y="20"/>
                    </a:moveTo>
                    <a:lnTo>
                      <a:pt x="0" y="21"/>
                    </a:lnTo>
                    <a:lnTo>
                      <a:pt x="0" y="23"/>
                    </a:lnTo>
                    <a:lnTo>
                      <a:pt x="1" y="23"/>
                    </a:lnTo>
                    <a:lnTo>
                      <a:pt x="1" y="24"/>
                    </a:lnTo>
                    <a:lnTo>
                      <a:pt x="1" y="26"/>
                    </a:lnTo>
                    <a:lnTo>
                      <a:pt x="1" y="26"/>
                    </a:lnTo>
                    <a:lnTo>
                      <a:pt x="3" y="24"/>
                    </a:lnTo>
                    <a:lnTo>
                      <a:pt x="4" y="25"/>
                    </a:lnTo>
                    <a:lnTo>
                      <a:pt x="3" y="28"/>
                    </a:lnTo>
                    <a:lnTo>
                      <a:pt x="3" y="30"/>
                    </a:lnTo>
                    <a:lnTo>
                      <a:pt x="5" y="31"/>
                    </a:lnTo>
                    <a:lnTo>
                      <a:pt x="6" y="30"/>
                    </a:lnTo>
                    <a:lnTo>
                      <a:pt x="7" y="31"/>
                    </a:lnTo>
                    <a:lnTo>
                      <a:pt x="7" y="34"/>
                    </a:lnTo>
                    <a:lnTo>
                      <a:pt x="8" y="34"/>
                    </a:lnTo>
                    <a:lnTo>
                      <a:pt x="9" y="32"/>
                    </a:lnTo>
                    <a:lnTo>
                      <a:pt x="11" y="33"/>
                    </a:lnTo>
                    <a:lnTo>
                      <a:pt x="11" y="37"/>
                    </a:lnTo>
                    <a:lnTo>
                      <a:pt x="11" y="39"/>
                    </a:lnTo>
                    <a:lnTo>
                      <a:pt x="14" y="38"/>
                    </a:lnTo>
                    <a:lnTo>
                      <a:pt x="14" y="41"/>
                    </a:lnTo>
                    <a:lnTo>
                      <a:pt x="17" y="41"/>
                    </a:lnTo>
                    <a:lnTo>
                      <a:pt x="21" y="43"/>
                    </a:lnTo>
                    <a:lnTo>
                      <a:pt x="23" y="43"/>
                    </a:lnTo>
                    <a:lnTo>
                      <a:pt x="24" y="44"/>
                    </a:lnTo>
                    <a:lnTo>
                      <a:pt x="25" y="43"/>
                    </a:lnTo>
                    <a:lnTo>
                      <a:pt x="24" y="41"/>
                    </a:lnTo>
                    <a:lnTo>
                      <a:pt x="26" y="40"/>
                    </a:lnTo>
                    <a:lnTo>
                      <a:pt x="28" y="36"/>
                    </a:lnTo>
                    <a:lnTo>
                      <a:pt x="27" y="33"/>
                    </a:lnTo>
                    <a:lnTo>
                      <a:pt x="29" y="28"/>
                    </a:lnTo>
                    <a:lnTo>
                      <a:pt x="30" y="26"/>
                    </a:lnTo>
                    <a:lnTo>
                      <a:pt x="32" y="21"/>
                    </a:lnTo>
                    <a:lnTo>
                      <a:pt x="32" y="16"/>
                    </a:lnTo>
                    <a:lnTo>
                      <a:pt x="33" y="16"/>
                    </a:lnTo>
                    <a:lnTo>
                      <a:pt x="32" y="12"/>
                    </a:lnTo>
                    <a:lnTo>
                      <a:pt x="30" y="9"/>
                    </a:lnTo>
                    <a:lnTo>
                      <a:pt x="30" y="6"/>
                    </a:lnTo>
                    <a:lnTo>
                      <a:pt x="28" y="5"/>
                    </a:lnTo>
                    <a:lnTo>
                      <a:pt x="28" y="2"/>
                    </a:lnTo>
                    <a:lnTo>
                      <a:pt x="24" y="0"/>
                    </a:lnTo>
                    <a:lnTo>
                      <a:pt x="21" y="1"/>
                    </a:lnTo>
                    <a:lnTo>
                      <a:pt x="19" y="0"/>
                    </a:lnTo>
                    <a:lnTo>
                      <a:pt x="15" y="1"/>
                    </a:lnTo>
                    <a:lnTo>
                      <a:pt x="14" y="2"/>
                    </a:lnTo>
                    <a:lnTo>
                      <a:pt x="16" y="5"/>
                    </a:lnTo>
                    <a:lnTo>
                      <a:pt x="16" y="6"/>
                    </a:lnTo>
                    <a:lnTo>
                      <a:pt x="15" y="6"/>
                    </a:lnTo>
                    <a:lnTo>
                      <a:pt x="13" y="4"/>
                    </a:lnTo>
                    <a:lnTo>
                      <a:pt x="11" y="4"/>
                    </a:lnTo>
                    <a:lnTo>
                      <a:pt x="10" y="5"/>
                    </a:lnTo>
                    <a:lnTo>
                      <a:pt x="12" y="5"/>
                    </a:lnTo>
                    <a:lnTo>
                      <a:pt x="13" y="7"/>
                    </a:lnTo>
                    <a:lnTo>
                      <a:pt x="13" y="9"/>
                    </a:lnTo>
                    <a:lnTo>
                      <a:pt x="9" y="9"/>
                    </a:lnTo>
                    <a:lnTo>
                      <a:pt x="8" y="10"/>
                    </a:lnTo>
                    <a:lnTo>
                      <a:pt x="9" y="13"/>
                    </a:lnTo>
                    <a:lnTo>
                      <a:pt x="10" y="13"/>
                    </a:lnTo>
                    <a:lnTo>
                      <a:pt x="10" y="15"/>
                    </a:lnTo>
                    <a:lnTo>
                      <a:pt x="7" y="13"/>
                    </a:lnTo>
                    <a:lnTo>
                      <a:pt x="4" y="15"/>
                    </a:lnTo>
                    <a:lnTo>
                      <a:pt x="1" y="17"/>
                    </a:lnTo>
                    <a:lnTo>
                      <a:pt x="1" y="2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7" name="Freeform 1051">
                <a:extLst>
                  <a:ext uri="{FF2B5EF4-FFF2-40B4-BE49-F238E27FC236}">
                    <a16:creationId xmlns:a16="http://schemas.microsoft.com/office/drawing/2014/main" id="{0ECD12C9-A493-4372-8D11-D1B27B5DF8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6" y="837"/>
                <a:ext cx="3" cy="3"/>
              </a:xfrm>
              <a:custGeom>
                <a:avLst/>
                <a:gdLst>
                  <a:gd name="T0" fmla="*/ 3 w 3"/>
                  <a:gd name="T1" fmla="*/ 0 h 3"/>
                  <a:gd name="T2" fmla="*/ 3 w 3"/>
                  <a:gd name="T3" fmla="*/ 0 h 3"/>
                  <a:gd name="T4" fmla="*/ 1 w 3"/>
                  <a:gd name="T5" fmla="*/ 0 h 3"/>
                  <a:gd name="T6" fmla="*/ 0 w 3"/>
                  <a:gd name="T7" fmla="*/ 2 h 3"/>
                  <a:gd name="T8" fmla="*/ 1 w 3"/>
                  <a:gd name="T9" fmla="*/ 3 h 3"/>
                  <a:gd name="T10" fmla="*/ 3 w 3"/>
                  <a:gd name="T11" fmla="*/ 3 h 3"/>
                  <a:gd name="T12" fmla="*/ 3 w 3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3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8" name="Freeform 1052">
                <a:extLst>
                  <a:ext uri="{FF2B5EF4-FFF2-40B4-BE49-F238E27FC236}">
                    <a16:creationId xmlns:a16="http://schemas.microsoft.com/office/drawing/2014/main" id="{035E9188-586A-4EAB-99ED-87556601D7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4" y="965"/>
                <a:ext cx="4" cy="4"/>
              </a:xfrm>
              <a:custGeom>
                <a:avLst/>
                <a:gdLst>
                  <a:gd name="T0" fmla="*/ 2 w 4"/>
                  <a:gd name="T1" fmla="*/ 4 h 4"/>
                  <a:gd name="T2" fmla="*/ 3 w 4"/>
                  <a:gd name="T3" fmla="*/ 3 h 4"/>
                  <a:gd name="T4" fmla="*/ 4 w 4"/>
                  <a:gd name="T5" fmla="*/ 1 h 4"/>
                  <a:gd name="T6" fmla="*/ 4 w 4"/>
                  <a:gd name="T7" fmla="*/ 0 h 4"/>
                  <a:gd name="T8" fmla="*/ 1 w 4"/>
                  <a:gd name="T9" fmla="*/ 1 h 4"/>
                  <a:gd name="T10" fmla="*/ 0 w 4"/>
                  <a:gd name="T11" fmla="*/ 3 h 4"/>
                  <a:gd name="T12" fmla="*/ 1 w 4"/>
                  <a:gd name="T13" fmla="*/ 4 h 4"/>
                  <a:gd name="T14" fmla="*/ 2 w 4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lnTo>
                      <a:pt x="3" y="3"/>
                    </a:lnTo>
                    <a:lnTo>
                      <a:pt x="4" y="1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9" name="Freeform 1053">
                <a:extLst>
                  <a:ext uri="{FF2B5EF4-FFF2-40B4-BE49-F238E27FC236}">
                    <a16:creationId xmlns:a16="http://schemas.microsoft.com/office/drawing/2014/main" id="{5B05A313-6074-4C54-A74F-408B271E9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6" y="1099"/>
                <a:ext cx="45" cy="52"/>
              </a:xfrm>
              <a:custGeom>
                <a:avLst/>
                <a:gdLst>
                  <a:gd name="T0" fmla="*/ 14 w 45"/>
                  <a:gd name="T1" fmla="*/ 48 h 52"/>
                  <a:gd name="T2" fmla="*/ 17 w 45"/>
                  <a:gd name="T3" fmla="*/ 45 h 52"/>
                  <a:gd name="T4" fmla="*/ 19 w 45"/>
                  <a:gd name="T5" fmla="*/ 45 h 52"/>
                  <a:gd name="T6" fmla="*/ 23 w 45"/>
                  <a:gd name="T7" fmla="*/ 43 h 52"/>
                  <a:gd name="T8" fmla="*/ 25 w 45"/>
                  <a:gd name="T9" fmla="*/ 45 h 52"/>
                  <a:gd name="T10" fmla="*/ 27 w 45"/>
                  <a:gd name="T11" fmla="*/ 45 h 52"/>
                  <a:gd name="T12" fmla="*/ 30 w 45"/>
                  <a:gd name="T13" fmla="*/ 45 h 52"/>
                  <a:gd name="T14" fmla="*/ 31 w 45"/>
                  <a:gd name="T15" fmla="*/ 47 h 52"/>
                  <a:gd name="T16" fmla="*/ 37 w 45"/>
                  <a:gd name="T17" fmla="*/ 49 h 52"/>
                  <a:gd name="T18" fmla="*/ 38 w 45"/>
                  <a:gd name="T19" fmla="*/ 50 h 52"/>
                  <a:gd name="T20" fmla="*/ 43 w 45"/>
                  <a:gd name="T21" fmla="*/ 52 h 52"/>
                  <a:gd name="T22" fmla="*/ 44 w 45"/>
                  <a:gd name="T23" fmla="*/ 49 h 52"/>
                  <a:gd name="T24" fmla="*/ 45 w 45"/>
                  <a:gd name="T25" fmla="*/ 48 h 52"/>
                  <a:gd name="T26" fmla="*/ 45 w 45"/>
                  <a:gd name="T27" fmla="*/ 46 h 52"/>
                  <a:gd name="T28" fmla="*/ 42 w 45"/>
                  <a:gd name="T29" fmla="*/ 45 h 52"/>
                  <a:gd name="T30" fmla="*/ 44 w 45"/>
                  <a:gd name="T31" fmla="*/ 42 h 52"/>
                  <a:gd name="T32" fmla="*/ 44 w 45"/>
                  <a:gd name="T33" fmla="*/ 40 h 52"/>
                  <a:gd name="T34" fmla="*/ 42 w 45"/>
                  <a:gd name="T35" fmla="*/ 36 h 52"/>
                  <a:gd name="T36" fmla="*/ 43 w 45"/>
                  <a:gd name="T37" fmla="*/ 35 h 52"/>
                  <a:gd name="T38" fmla="*/ 42 w 45"/>
                  <a:gd name="T39" fmla="*/ 31 h 52"/>
                  <a:gd name="T40" fmla="*/ 43 w 45"/>
                  <a:gd name="T41" fmla="*/ 30 h 52"/>
                  <a:gd name="T42" fmla="*/ 41 w 45"/>
                  <a:gd name="T43" fmla="*/ 28 h 52"/>
                  <a:gd name="T44" fmla="*/ 40 w 45"/>
                  <a:gd name="T45" fmla="*/ 25 h 52"/>
                  <a:gd name="T46" fmla="*/ 42 w 45"/>
                  <a:gd name="T47" fmla="*/ 22 h 52"/>
                  <a:gd name="T48" fmla="*/ 40 w 45"/>
                  <a:gd name="T49" fmla="*/ 18 h 52"/>
                  <a:gd name="T50" fmla="*/ 36 w 45"/>
                  <a:gd name="T51" fmla="*/ 15 h 52"/>
                  <a:gd name="T52" fmla="*/ 35 w 45"/>
                  <a:gd name="T53" fmla="*/ 12 h 52"/>
                  <a:gd name="T54" fmla="*/ 34 w 45"/>
                  <a:gd name="T55" fmla="*/ 11 h 52"/>
                  <a:gd name="T56" fmla="*/ 30 w 45"/>
                  <a:gd name="T57" fmla="*/ 11 h 52"/>
                  <a:gd name="T58" fmla="*/ 24 w 45"/>
                  <a:gd name="T59" fmla="*/ 9 h 52"/>
                  <a:gd name="T60" fmla="*/ 24 w 45"/>
                  <a:gd name="T61" fmla="*/ 11 h 52"/>
                  <a:gd name="T62" fmla="*/ 21 w 45"/>
                  <a:gd name="T63" fmla="*/ 9 h 52"/>
                  <a:gd name="T64" fmla="*/ 18 w 45"/>
                  <a:gd name="T65" fmla="*/ 7 h 52"/>
                  <a:gd name="T66" fmla="*/ 13 w 45"/>
                  <a:gd name="T67" fmla="*/ 4 h 52"/>
                  <a:gd name="T68" fmla="*/ 12 w 45"/>
                  <a:gd name="T69" fmla="*/ 1 h 52"/>
                  <a:gd name="T70" fmla="*/ 11 w 45"/>
                  <a:gd name="T71" fmla="*/ 0 h 52"/>
                  <a:gd name="T72" fmla="*/ 8 w 45"/>
                  <a:gd name="T73" fmla="*/ 0 h 52"/>
                  <a:gd name="T74" fmla="*/ 7 w 45"/>
                  <a:gd name="T75" fmla="*/ 5 h 52"/>
                  <a:gd name="T76" fmla="*/ 5 w 45"/>
                  <a:gd name="T77" fmla="*/ 7 h 52"/>
                  <a:gd name="T78" fmla="*/ 6 w 45"/>
                  <a:gd name="T79" fmla="*/ 11 h 52"/>
                  <a:gd name="T80" fmla="*/ 5 w 45"/>
                  <a:gd name="T81" fmla="*/ 13 h 52"/>
                  <a:gd name="T82" fmla="*/ 4 w 45"/>
                  <a:gd name="T83" fmla="*/ 13 h 52"/>
                  <a:gd name="T84" fmla="*/ 0 w 45"/>
                  <a:gd name="T85" fmla="*/ 20 h 52"/>
                  <a:gd name="T86" fmla="*/ 4 w 45"/>
                  <a:gd name="T87" fmla="*/ 22 h 52"/>
                  <a:gd name="T88" fmla="*/ 6 w 45"/>
                  <a:gd name="T89" fmla="*/ 23 h 52"/>
                  <a:gd name="T90" fmla="*/ 6 w 45"/>
                  <a:gd name="T91" fmla="*/ 25 h 52"/>
                  <a:gd name="T92" fmla="*/ 5 w 45"/>
                  <a:gd name="T93" fmla="*/ 28 h 52"/>
                  <a:gd name="T94" fmla="*/ 5 w 45"/>
                  <a:gd name="T95" fmla="*/ 30 h 52"/>
                  <a:gd name="T96" fmla="*/ 2 w 45"/>
                  <a:gd name="T97" fmla="*/ 32 h 52"/>
                  <a:gd name="T98" fmla="*/ 1 w 45"/>
                  <a:gd name="T99" fmla="*/ 37 h 52"/>
                  <a:gd name="T100" fmla="*/ 3 w 45"/>
                  <a:gd name="T101" fmla="*/ 40 h 52"/>
                  <a:gd name="T102" fmla="*/ 4 w 45"/>
                  <a:gd name="T103" fmla="*/ 41 h 52"/>
                  <a:gd name="T104" fmla="*/ 5 w 45"/>
                  <a:gd name="T105" fmla="*/ 45 h 52"/>
                  <a:gd name="T106" fmla="*/ 8 w 45"/>
                  <a:gd name="T107" fmla="*/ 46 h 52"/>
                  <a:gd name="T108" fmla="*/ 12 w 45"/>
                  <a:gd name="T109" fmla="*/ 49 h 52"/>
                  <a:gd name="T110" fmla="*/ 14 w 45"/>
                  <a:gd name="T111" fmla="*/ 4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5" h="52">
                    <a:moveTo>
                      <a:pt x="14" y="48"/>
                    </a:moveTo>
                    <a:lnTo>
                      <a:pt x="17" y="45"/>
                    </a:lnTo>
                    <a:lnTo>
                      <a:pt x="19" y="45"/>
                    </a:lnTo>
                    <a:lnTo>
                      <a:pt x="23" y="43"/>
                    </a:lnTo>
                    <a:lnTo>
                      <a:pt x="25" y="45"/>
                    </a:lnTo>
                    <a:lnTo>
                      <a:pt x="27" y="45"/>
                    </a:lnTo>
                    <a:lnTo>
                      <a:pt x="30" y="45"/>
                    </a:lnTo>
                    <a:lnTo>
                      <a:pt x="31" y="47"/>
                    </a:lnTo>
                    <a:lnTo>
                      <a:pt x="37" y="49"/>
                    </a:lnTo>
                    <a:lnTo>
                      <a:pt x="38" y="50"/>
                    </a:lnTo>
                    <a:lnTo>
                      <a:pt x="43" y="52"/>
                    </a:lnTo>
                    <a:lnTo>
                      <a:pt x="44" y="49"/>
                    </a:lnTo>
                    <a:lnTo>
                      <a:pt x="45" y="48"/>
                    </a:lnTo>
                    <a:lnTo>
                      <a:pt x="45" y="46"/>
                    </a:lnTo>
                    <a:lnTo>
                      <a:pt x="42" y="45"/>
                    </a:lnTo>
                    <a:lnTo>
                      <a:pt x="44" y="42"/>
                    </a:lnTo>
                    <a:lnTo>
                      <a:pt x="44" y="40"/>
                    </a:lnTo>
                    <a:lnTo>
                      <a:pt x="42" y="36"/>
                    </a:lnTo>
                    <a:lnTo>
                      <a:pt x="43" y="35"/>
                    </a:lnTo>
                    <a:lnTo>
                      <a:pt x="42" y="31"/>
                    </a:lnTo>
                    <a:lnTo>
                      <a:pt x="43" y="30"/>
                    </a:lnTo>
                    <a:lnTo>
                      <a:pt x="41" y="28"/>
                    </a:lnTo>
                    <a:lnTo>
                      <a:pt x="40" y="25"/>
                    </a:lnTo>
                    <a:lnTo>
                      <a:pt x="42" y="22"/>
                    </a:lnTo>
                    <a:lnTo>
                      <a:pt x="40" y="18"/>
                    </a:lnTo>
                    <a:lnTo>
                      <a:pt x="36" y="15"/>
                    </a:lnTo>
                    <a:lnTo>
                      <a:pt x="35" y="12"/>
                    </a:lnTo>
                    <a:lnTo>
                      <a:pt x="34" y="11"/>
                    </a:lnTo>
                    <a:lnTo>
                      <a:pt x="30" y="11"/>
                    </a:lnTo>
                    <a:lnTo>
                      <a:pt x="24" y="9"/>
                    </a:lnTo>
                    <a:lnTo>
                      <a:pt x="24" y="11"/>
                    </a:lnTo>
                    <a:lnTo>
                      <a:pt x="21" y="9"/>
                    </a:lnTo>
                    <a:lnTo>
                      <a:pt x="18" y="7"/>
                    </a:lnTo>
                    <a:lnTo>
                      <a:pt x="13" y="4"/>
                    </a:lnTo>
                    <a:lnTo>
                      <a:pt x="12" y="1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7" y="5"/>
                    </a:lnTo>
                    <a:lnTo>
                      <a:pt x="5" y="7"/>
                    </a:lnTo>
                    <a:lnTo>
                      <a:pt x="6" y="11"/>
                    </a:lnTo>
                    <a:lnTo>
                      <a:pt x="5" y="13"/>
                    </a:lnTo>
                    <a:lnTo>
                      <a:pt x="4" y="13"/>
                    </a:lnTo>
                    <a:lnTo>
                      <a:pt x="0" y="20"/>
                    </a:lnTo>
                    <a:lnTo>
                      <a:pt x="4" y="22"/>
                    </a:lnTo>
                    <a:lnTo>
                      <a:pt x="6" y="23"/>
                    </a:lnTo>
                    <a:lnTo>
                      <a:pt x="6" y="25"/>
                    </a:lnTo>
                    <a:lnTo>
                      <a:pt x="5" y="28"/>
                    </a:lnTo>
                    <a:lnTo>
                      <a:pt x="5" y="30"/>
                    </a:lnTo>
                    <a:lnTo>
                      <a:pt x="2" y="32"/>
                    </a:lnTo>
                    <a:lnTo>
                      <a:pt x="1" y="37"/>
                    </a:lnTo>
                    <a:lnTo>
                      <a:pt x="3" y="40"/>
                    </a:lnTo>
                    <a:lnTo>
                      <a:pt x="4" y="41"/>
                    </a:lnTo>
                    <a:lnTo>
                      <a:pt x="5" y="45"/>
                    </a:lnTo>
                    <a:lnTo>
                      <a:pt x="8" y="46"/>
                    </a:lnTo>
                    <a:lnTo>
                      <a:pt x="12" y="49"/>
                    </a:lnTo>
                    <a:lnTo>
                      <a:pt x="14" y="4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0" name="Freeform 1054">
                <a:extLst>
                  <a:ext uri="{FF2B5EF4-FFF2-40B4-BE49-F238E27FC236}">
                    <a16:creationId xmlns:a16="http://schemas.microsoft.com/office/drawing/2014/main" id="{C3AB8EBB-8DE2-4250-90F1-49D415DAB2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3" y="975"/>
                <a:ext cx="4" cy="6"/>
              </a:xfrm>
              <a:custGeom>
                <a:avLst/>
                <a:gdLst>
                  <a:gd name="T0" fmla="*/ 0 w 4"/>
                  <a:gd name="T1" fmla="*/ 3 h 6"/>
                  <a:gd name="T2" fmla="*/ 1 w 4"/>
                  <a:gd name="T3" fmla="*/ 4 h 6"/>
                  <a:gd name="T4" fmla="*/ 0 w 4"/>
                  <a:gd name="T5" fmla="*/ 6 h 6"/>
                  <a:gd name="T6" fmla="*/ 2 w 4"/>
                  <a:gd name="T7" fmla="*/ 6 h 6"/>
                  <a:gd name="T8" fmla="*/ 4 w 4"/>
                  <a:gd name="T9" fmla="*/ 3 h 6"/>
                  <a:gd name="T10" fmla="*/ 3 w 4"/>
                  <a:gd name="T11" fmla="*/ 1 h 6"/>
                  <a:gd name="T12" fmla="*/ 2 w 4"/>
                  <a:gd name="T13" fmla="*/ 0 h 6"/>
                  <a:gd name="T14" fmla="*/ 1 w 4"/>
                  <a:gd name="T15" fmla="*/ 0 h 6"/>
                  <a:gd name="T16" fmla="*/ 0 w 4"/>
                  <a:gd name="T17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6">
                    <a:moveTo>
                      <a:pt x="0" y="3"/>
                    </a:moveTo>
                    <a:lnTo>
                      <a:pt x="1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4" y="3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1" name="Freeform 1055">
                <a:extLst>
                  <a:ext uri="{FF2B5EF4-FFF2-40B4-BE49-F238E27FC236}">
                    <a16:creationId xmlns:a16="http://schemas.microsoft.com/office/drawing/2014/main" id="{616FC935-78E4-478F-A558-FF01A8137F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0" y="1234"/>
                <a:ext cx="6" cy="8"/>
              </a:xfrm>
              <a:custGeom>
                <a:avLst/>
                <a:gdLst>
                  <a:gd name="T0" fmla="*/ 6 w 6"/>
                  <a:gd name="T1" fmla="*/ 0 h 8"/>
                  <a:gd name="T2" fmla="*/ 4 w 6"/>
                  <a:gd name="T3" fmla="*/ 1 h 8"/>
                  <a:gd name="T4" fmla="*/ 3 w 6"/>
                  <a:gd name="T5" fmla="*/ 3 h 8"/>
                  <a:gd name="T6" fmla="*/ 1 w 6"/>
                  <a:gd name="T7" fmla="*/ 3 h 8"/>
                  <a:gd name="T8" fmla="*/ 0 w 6"/>
                  <a:gd name="T9" fmla="*/ 3 h 8"/>
                  <a:gd name="T10" fmla="*/ 2 w 6"/>
                  <a:gd name="T11" fmla="*/ 7 h 8"/>
                  <a:gd name="T12" fmla="*/ 3 w 6"/>
                  <a:gd name="T13" fmla="*/ 8 h 8"/>
                  <a:gd name="T14" fmla="*/ 5 w 6"/>
                  <a:gd name="T15" fmla="*/ 7 h 8"/>
                  <a:gd name="T16" fmla="*/ 6 w 6"/>
                  <a:gd name="T17" fmla="*/ 4 h 8"/>
                  <a:gd name="T18" fmla="*/ 6 w 6"/>
                  <a:gd name="T19" fmla="*/ 3 h 8"/>
                  <a:gd name="T20" fmla="*/ 6 w 6"/>
                  <a:gd name="T21" fmla="*/ 0 h 8"/>
                  <a:gd name="T22" fmla="*/ 6 w 6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8">
                    <a:moveTo>
                      <a:pt x="6" y="0"/>
                    </a:moveTo>
                    <a:lnTo>
                      <a:pt x="4" y="1"/>
                    </a:lnTo>
                    <a:lnTo>
                      <a:pt x="3" y="3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2" y="7"/>
                    </a:lnTo>
                    <a:lnTo>
                      <a:pt x="3" y="8"/>
                    </a:lnTo>
                    <a:lnTo>
                      <a:pt x="5" y="7"/>
                    </a:lnTo>
                    <a:lnTo>
                      <a:pt x="6" y="4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2" name="Freeform 1056">
                <a:extLst>
                  <a:ext uri="{FF2B5EF4-FFF2-40B4-BE49-F238E27FC236}">
                    <a16:creationId xmlns:a16="http://schemas.microsoft.com/office/drawing/2014/main" id="{036A371F-B0DC-4680-8406-E7F82B330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2" y="926"/>
                <a:ext cx="3" cy="4"/>
              </a:xfrm>
              <a:custGeom>
                <a:avLst/>
                <a:gdLst>
                  <a:gd name="T0" fmla="*/ 1 w 3"/>
                  <a:gd name="T1" fmla="*/ 2 h 4"/>
                  <a:gd name="T2" fmla="*/ 0 w 3"/>
                  <a:gd name="T3" fmla="*/ 4 h 4"/>
                  <a:gd name="T4" fmla="*/ 1 w 3"/>
                  <a:gd name="T5" fmla="*/ 4 h 4"/>
                  <a:gd name="T6" fmla="*/ 3 w 3"/>
                  <a:gd name="T7" fmla="*/ 2 h 4"/>
                  <a:gd name="T8" fmla="*/ 3 w 3"/>
                  <a:gd name="T9" fmla="*/ 0 h 4"/>
                  <a:gd name="T10" fmla="*/ 1 w 3"/>
                  <a:gd name="T1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4">
                    <a:moveTo>
                      <a:pt x="1" y="2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1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" name="Freeform 1057">
                <a:extLst>
                  <a:ext uri="{FF2B5EF4-FFF2-40B4-BE49-F238E27FC236}">
                    <a16:creationId xmlns:a16="http://schemas.microsoft.com/office/drawing/2014/main" id="{B57A776C-87DE-4ECB-97B9-27172E16CB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1017"/>
                <a:ext cx="3" cy="7"/>
              </a:xfrm>
              <a:custGeom>
                <a:avLst/>
                <a:gdLst>
                  <a:gd name="T0" fmla="*/ 0 w 3"/>
                  <a:gd name="T1" fmla="*/ 2 h 7"/>
                  <a:gd name="T2" fmla="*/ 0 w 3"/>
                  <a:gd name="T3" fmla="*/ 6 h 7"/>
                  <a:gd name="T4" fmla="*/ 2 w 3"/>
                  <a:gd name="T5" fmla="*/ 7 h 7"/>
                  <a:gd name="T6" fmla="*/ 3 w 3"/>
                  <a:gd name="T7" fmla="*/ 6 h 7"/>
                  <a:gd name="T8" fmla="*/ 3 w 3"/>
                  <a:gd name="T9" fmla="*/ 3 h 7"/>
                  <a:gd name="T10" fmla="*/ 3 w 3"/>
                  <a:gd name="T11" fmla="*/ 1 h 7"/>
                  <a:gd name="T12" fmla="*/ 1 w 3"/>
                  <a:gd name="T13" fmla="*/ 0 h 7"/>
                  <a:gd name="T14" fmla="*/ 0 w 3"/>
                  <a:gd name="T15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7">
                    <a:moveTo>
                      <a:pt x="0" y="2"/>
                    </a:moveTo>
                    <a:lnTo>
                      <a:pt x="0" y="6"/>
                    </a:lnTo>
                    <a:lnTo>
                      <a:pt x="2" y="7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" name="Freeform 1058">
                <a:extLst>
                  <a:ext uri="{FF2B5EF4-FFF2-40B4-BE49-F238E27FC236}">
                    <a16:creationId xmlns:a16="http://schemas.microsoft.com/office/drawing/2014/main" id="{C8049EA9-BB1D-478F-8343-1F0F89C45C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2" y="1148"/>
                <a:ext cx="1" cy="4"/>
              </a:xfrm>
              <a:custGeom>
                <a:avLst/>
                <a:gdLst>
                  <a:gd name="T0" fmla="*/ 0 w 1"/>
                  <a:gd name="T1" fmla="*/ 1 h 4"/>
                  <a:gd name="T2" fmla="*/ 0 w 1"/>
                  <a:gd name="T3" fmla="*/ 4 h 4"/>
                  <a:gd name="T4" fmla="*/ 1 w 1"/>
                  <a:gd name="T5" fmla="*/ 3 h 4"/>
                  <a:gd name="T6" fmla="*/ 1 w 1"/>
                  <a:gd name="T7" fmla="*/ 1 h 4"/>
                  <a:gd name="T8" fmla="*/ 1 w 1"/>
                  <a:gd name="T9" fmla="*/ 0 h 4"/>
                  <a:gd name="T10" fmla="*/ 0 w 1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4">
                    <a:moveTo>
                      <a:pt x="0" y="1"/>
                    </a:moveTo>
                    <a:lnTo>
                      <a:pt x="0" y="4"/>
                    </a:lnTo>
                    <a:lnTo>
                      <a:pt x="1" y="3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" name="Freeform 1059">
                <a:extLst>
                  <a:ext uri="{FF2B5EF4-FFF2-40B4-BE49-F238E27FC236}">
                    <a16:creationId xmlns:a16="http://schemas.microsoft.com/office/drawing/2014/main" id="{5D887970-9DBE-443E-86E2-B199071318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1" y="1153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1 w 3"/>
                  <a:gd name="T3" fmla="*/ 2 h 2"/>
                  <a:gd name="T4" fmla="*/ 2 w 3"/>
                  <a:gd name="T5" fmla="*/ 2 h 2"/>
                  <a:gd name="T6" fmla="*/ 3 w 3"/>
                  <a:gd name="T7" fmla="*/ 1 h 2"/>
                  <a:gd name="T8" fmla="*/ 2 w 3"/>
                  <a:gd name="T9" fmla="*/ 0 h 2"/>
                  <a:gd name="T10" fmla="*/ 0 w 3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1" y="2"/>
                    </a:lnTo>
                    <a:lnTo>
                      <a:pt x="2" y="2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6" name="Freeform 1060">
                <a:extLst>
                  <a:ext uri="{FF2B5EF4-FFF2-40B4-BE49-F238E27FC236}">
                    <a16:creationId xmlns:a16="http://schemas.microsoft.com/office/drawing/2014/main" id="{C432291D-DDD6-4EF9-AF75-F591D7AC60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" y="1198"/>
                <a:ext cx="3" cy="5"/>
              </a:xfrm>
              <a:custGeom>
                <a:avLst/>
                <a:gdLst>
                  <a:gd name="T0" fmla="*/ 0 w 3"/>
                  <a:gd name="T1" fmla="*/ 1 h 5"/>
                  <a:gd name="T2" fmla="*/ 0 w 3"/>
                  <a:gd name="T3" fmla="*/ 4 h 5"/>
                  <a:gd name="T4" fmla="*/ 0 w 3"/>
                  <a:gd name="T5" fmla="*/ 5 h 5"/>
                  <a:gd name="T6" fmla="*/ 2 w 3"/>
                  <a:gd name="T7" fmla="*/ 5 h 5"/>
                  <a:gd name="T8" fmla="*/ 3 w 3"/>
                  <a:gd name="T9" fmla="*/ 2 h 5"/>
                  <a:gd name="T10" fmla="*/ 2 w 3"/>
                  <a:gd name="T11" fmla="*/ 0 h 5"/>
                  <a:gd name="T12" fmla="*/ 0 w 3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5">
                    <a:moveTo>
                      <a:pt x="0" y="1"/>
                    </a:moveTo>
                    <a:lnTo>
                      <a:pt x="0" y="4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7" name="Freeform 1061">
                <a:extLst>
                  <a:ext uri="{FF2B5EF4-FFF2-40B4-BE49-F238E27FC236}">
                    <a16:creationId xmlns:a16="http://schemas.microsoft.com/office/drawing/2014/main" id="{B9F27AA1-C5BF-4787-A5FD-F83A962631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4" y="1203"/>
                <a:ext cx="5" cy="9"/>
              </a:xfrm>
              <a:custGeom>
                <a:avLst/>
                <a:gdLst>
                  <a:gd name="T0" fmla="*/ 1 w 5"/>
                  <a:gd name="T1" fmla="*/ 9 h 9"/>
                  <a:gd name="T2" fmla="*/ 2 w 5"/>
                  <a:gd name="T3" fmla="*/ 9 h 9"/>
                  <a:gd name="T4" fmla="*/ 3 w 5"/>
                  <a:gd name="T5" fmla="*/ 6 h 9"/>
                  <a:gd name="T6" fmla="*/ 5 w 5"/>
                  <a:gd name="T7" fmla="*/ 3 h 9"/>
                  <a:gd name="T8" fmla="*/ 4 w 5"/>
                  <a:gd name="T9" fmla="*/ 3 h 9"/>
                  <a:gd name="T10" fmla="*/ 3 w 5"/>
                  <a:gd name="T11" fmla="*/ 3 h 9"/>
                  <a:gd name="T12" fmla="*/ 1 w 5"/>
                  <a:gd name="T13" fmla="*/ 0 h 9"/>
                  <a:gd name="T14" fmla="*/ 1 w 5"/>
                  <a:gd name="T15" fmla="*/ 2 h 9"/>
                  <a:gd name="T16" fmla="*/ 1 w 5"/>
                  <a:gd name="T17" fmla="*/ 5 h 9"/>
                  <a:gd name="T18" fmla="*/ 0 w 5"/>
                  <a:gd name="T19" fmla="*/ 7 h 9"/>
                  <a:gd name="T20" fmla="*/ 1 w 5"/>
                  <a:gd name="T21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9">
                    <a:moveTo>
                      <a:pt x="1" y="9"/>
                    </a:moveTo>
                    <a:lnTo>
                      <a:pt x="2" y="9"/>
                    </a:lnTo>
                    <a:lnTo>
                      <a:pt x="3" y="6"/>
                    </a:lnTo>
                    <a:lnTo>
                      <a:pt x="5" y="3"/>
                    </a:lnTo>
                    <a:lnTo>
                      <a:pt x="4" y="3"/>
                    </a:lnTo>
                    <a:lnTo>
                      <a:pt x="3" y="3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1" y="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8" name="Freeform 1062">
                <a:extLst>
                  <a:ext uri="{FF2B5EF4-FFF2-40B4-BE49-F238E27FC236}">
                    <a16:creationId xmlns:a16="http://schemas.microsoft.com/office/drawing/2014/main" id="{958026E8-30FE-4B54-928B-26C602C552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2" y="965"/>
                <a:ext cx="6" cy="12"/>
              </a:xfrm>
              <a:custGeom>
                <a:avLst/>
                <a:gdLst>
                  <a:gd name="T0" fmla="*/ 2 w 7"/>
                  <a:gd name="T1" fmla="*/ 2 h 15"/>
                  <a:gd name="T2" fmla="*/ 2 w 7"/>
                  <a:gd name="T3" fmla="*/ 7 h 15"/>
                  <a:gd name="T4" fmla="*/ 0 w 7"/>
                  <a:gd name="T5" fmla="*/ 8 h 15"/>
                  <a:gd name="T6" fmla="*/ 0 w 7"/>
                  <a:gd name="T7" fmla="*/ 10 h 15"/>
                  <a:gd name="T8" fmla="*/ 2 w 7"/>
                  <a:gd name="T9" fmla="*/ 11 h 15"/>
                  <a:gd name="T10" fmla="*/ 2 w 7"/>
                  <a:gd name="T11" fmla="*/ 15 h 15"/>
                  <a:gd name="T12" fmla="*/ 3 w 7"/>
                  <a:gd name="T13" fmla="*/ 13 h 15"/>
                  <a:gd name="T14" fmla="*/ 5 w 7"/>
                  <a:gd name="T15" fmla="*/ 9 h 15"/>
                  <a:gd name="T16" fmla="*/ 7 w 7"/>
                  <a:gd name="T17" fmla="*/ 0 h 15"/>
                  <a:gd name="T18" fmla="*/ 3 w 7"/>
                  <a:gd name="T19" fmla="*/ 0 h 15"/>
                  <a:gd name="T20" fmla="*/ 2 w 7"/>
                  <a:gd name="T21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15">
                    <a:moveTo>
                      <a:pt x="2" y="2"/>
                    </a:moveTo>
                    <a:cubicBezTo>
                      <a:pt x="2" y="7"/>
                      <a:pt x="2" y="7"/>
                      <a:pt x="2" y="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2" y="15"/>
                      <a:pt x="3" y="13"/>
                      <a:pt x="3" y="13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3" y="0"/>
                      <a:pt x="3" y="0"/>
                    </a:cubicBezTo>
                    <a:lnTo>
                      <a:pt x="2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9" name="Freeform 1063">
                <a:extLst>
                  <a:ext uri="{FF2B5EF4-FFF2-40B4-BE49-F238E27FC236}">
                    <a16:creationId xmlns:a16="http://schemas.microsoft.com/office/drawing/2014/main" id="{5F8B27B3-8CAD-443B-B5BF-7063151C1A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5" y="1152"/>
                <a:ext cx="3" cy="3"/>
              </a:xfrm>
              <a:custGeom>
                <a:avLst/>
                <a:gdLst>
                  <a:gd name="T0" fmla="*/ 0 w 3"/>
                  <a:gd name="T1" fmla="*/ 2 h 3"/>
                  <a:gd name="T2" fmla="*/ 1 w 3"/>
                  <a:gd name="T3" fmla="*/ 3 h 3"/>
                  <a:gd name="T4" fmla="*/ 3 w 3"/>
                  <a:gd name="T5" fmla="*/ 2 h 3"/>
                  <a:gd name="T6" fmla="*/ 2 w 3"/>
                  <a:gd name="T7" fmla="*/ 0 h 3"/>
                  <a:gd name="T8" fmla="*/ 1 w 3"/>
                  <a:gd name="T9" fmla="*/ 0 h 3"/>
                  <a:gd name="T10" fmla="*/ 0 w 3"/>
                  <a:gd name="T1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0" y="2"/>
                    </a:moveTo>
                    <a:lnTo>
                      <a:pt x="1" y="3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0" name="Freeform 1064">
                <a:extLst>
                  <a:ext uri="{FF2B5EF4-FFF2-40B4-BE49-F238E27FC236}">
                    <a16:creationId xmlns:a16="http://schemas.microsoft.com/office/drawing/2014/main" id="{9A65F559-A3DB-4041-AB8C-FA6D2F3B64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" y="1059"/>
                <a:ext cx="5" cy="4"/>
              </a:xfrm>
              <a:custGeom>
                <a:avLst/>
                <a:gdLst>
                  <a:gd name="T0" fmla="*/ 0 w 5"/>
                  <a:gd name="T1" fmla="*/ 2 h 4"/>
                  <a:gd name="T2" fmla="*/ 2 w 5"/>
                  <a:gd name="T3" fmla="*/ 4 h 4"/>
                  <a:gd name="T4" fmla="*/ 3 w 5"/>
                  <a:gd name="T5" fmla="*/ 4 h 4"/>
                  <a:gd name="T6" fmla="*/ 5 w 5"/>
                  <a:gd name="T7" fmla="*/ 3 h 4"/>
                  <a:gd name="T8" fmla="*/ 5 w 5"/>
                  <a:gd name="T9" fmla="*/ 2 h 4"/>
                  <a:gd name="T10" fmla="*/ 1 w 5"/>
                  <a:gd name="T11" fmla="*/ 0 h 4"/>
                  <a:gd name="T12" fmla="*/ 0 w 5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4">
                    <a:moveTo>
                      <a:pt x="0" y="2"/>
                    </a:moveTo>
                    <a:lnTo>
                      <a:pt x="2" y="4"/>
                    </a:lnTo>
                    <a:lnTo>
                      <a:pt x="3" y="4"/>
                    </a:lnTo>
                    <a:lnTo>
                      <a:pt x="5" y="3"/>
                    </a:lnTo>
                    <a:lnTo>
                      <a:pt x="5" y="2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1" name="Freeform 1065">
                <a:extLst>
                  <a:ext uri="{FF2B5EF4-FFF2-40B4-BE49-F238E27FC236}">
                    <a16:creationId xmlns:a16="http://schemas.microsoft.com/office/drawing/2014/main" id="{F0A9AFE5-035B-4DE5-B0E6-8BD80DC8AC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6" y="957"/>
                <a:ext cx="3" cy="3"/>
              </a:xfrm>
              <a:custGeom>
                <a:avLst/>
                <a:gdLst>
                  <a:gd name="T0" fmla="*/ 3 w 4"/>
                  <a:gd name="T1" fmla="*/ 4 h 4"/>
                  <a:gd name="T2" fmla="*/ 4 w 4"/>
                  <a:gd name="T3" fmla="*/ 0 h 4"/>
                  <a:gd name="T4" fmla="*/ 1 w 4"/>
                  <a:gd name="T5" fmla="*/ 0 h 4"/>
                  <a:gd name="T6" fmla="*/ 0 w 4"/>
                  <a:gd name="T7" fmla="*/ 2 h 4"/>
                  <a:gd name="T8" fmla="*/ 3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3" y="4"/>
                    </a:moveTo>
                    <a:cubicBezTo>
                      <a:pt x="3" y="4"/>
                      <a:pt x="4" y="0"/>
                      <a:pt x="4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2"/>
                      <a:pt x="0" y="2"/>
                      <a:pt x="0" y="2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2" name="Freeform 1066">
                <a:extLst>
                  <a:ext uri="{FF2B5EF4-FFF2-40B4-BE49-F238E27FC236}">
                    <a16:creationId xmlns:a16="http://schemas.microsoft.com/office/drawing/2014/main" id="{E69C8CED-F382-412F-A34A-C8D1940147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6" y="906"/>
                <a:ext cx="3" cy="3"/>
              </a:xfrm>
              <a:custGeom>
                <a:avLst/>
                <a:gdLst>
                  <a:gd name="T0" fmla="*/ 0 w 3"/>
                  <a:gd name="T1" fmla="*/ 2 h 3"/>
                  <a:gd name="T2" fmla="*/ 1 w 3"/>
                  <a:gd name="T3" fmla="*/ 3 h 3"/>
                  <a:gd name="T4" fmla="*/ 3 w 3"/>
                  <a:gd name="T5" fmla="*/ 3 h 3"/>
                  <a:gd name="T6" fmla="*/ 3 w 3"/>
                  <a:gd name="T7" fmla="*/ 1 h 3"/>
                  <a:gd name="T8" fmla="*/ 1 w 3"/>
                  <a:gd name="T9" fmla="*/ 0 h 3"/>
                  <a:gd name="T10" fmla="*/ 0 w 3"/>
                  <a:gd name="T1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0" y="2"/>
                    </a:moveTo>
                    <a:lnTo>
                      <a:pt x="1" y="3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3" name="Freeform 1067">
                <a:extLst>
                  <a:ext uri="{FF2B5EF4-FFF2-40B4-BE49-F238E27FC236}">
                    <a16:creationId xmlns:a16="http://schemas.microsoft.com/office/drawing/2014/main" id="{446F9C9C-89A3-4B05-8949-57168B75BE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" y="933"/>
                <a:ext cx="17" cy="4"/>
              </a:xfrm>
              <a:custGeom>
                <a:avLst/>
                <a:gdLst>
                  <a:gd name="T0" fmla="*/ 0 w 17"/>
                  <a:gd name="T1" fmla="*/ 2 h 4"/>
                  <a:gd name="T2" fmla="*/ 7 w 17"/>
                  <a:gd name="T3" fmla="*/ 4 h 4"/>
                  <a:gd name="T4" fmla="*/ 9 w 17"/>
                  <a:gd name="T5" fmla="*/ 4 h 4"/>
                  <a:gd name="T6" fmla="*/ 12 w 17"/>
                  <a:gd name="T7" fmla="*/ 4 h 4"/>
                  <a:gd name="T8" fmla="*/ 12 w 17"/>
                  <a:gd name="T9" fmla="*/ 4 h 4"/>
                  <a:gd name="T10" fmla="*/ 15 w 17"/>
                  <a:gd name="T11" fmla="*/ 3 h 4"/>
                  <a:gd name="T12" fmla="*/ 17 w 17"/>
                  <a:gd name="T13" fmla="*/ 3 h 4"/>
                  <a:gd name="T14" fmla="*/ 17 w 17"/>
                  <a:gd name="T15" fmla="*/ 1 h 4"/>
                  <a:gd name="T16" fmla="*/ 15 w 17"/>
                  <a:gd name="T17" fmla="*/ 0 h 4"/>
                  <a:gd name="T18" fmla="*/ 9 w 17"/>
                  <a:gd name="T19" fmla="*/ 1 h 4"/>
                  <a:gd name="T20" fmla="*/ 6 w 17"/>
                  <a:gd name="T21" fmla="*/ 1 h 4"/>
                  <a:gd name="T22" fmla="*/ 5 w 17"/>
                  <a:gd name="T23" fmla="*/ 0 h 4"/>
                  <a:gd name="T24" fmla="*/ 2 w 17"/>
                  <a:gd name="T25" fmla="*/ 0 h 4"/>
                  <a:gd name="T26" fmla="*/ 0 w 17"/>
                  <a:gd name="T27" fmla="*/ 1 h 4"/>
                  <a:gd name="T28" fmla="*/ 0 w 17"/>
                  <a:gd name="T2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4">
                    <a:moveTo>
                      <a:pt x="0" y="2"/>
                    </a:moveTo>
                    <a:lnTo>
                      <a:pt x="7" y="4"/>
                    </a:lnTo>
                    <a:lnTo>
                      <a:pt x="9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5" y="3"/>
                    </a:lnTo>
                    <a:lnTo>
                      <a:pt x="17" y="3"/>
                    </a:lnTo>
                    <a:lnTo>
                      <a:pt x="17" y="1"/>
                    </a:lnTo>
                    <a:lnTo>
                      <a:pt x="15" y="0"/>
                    </a:lnTo>
                    <a:lnTo>
                      <a:pt x="9" y="1"/>
                    </a:lnTo>
                    <a:lnTo>
                      <a:pt x="6" y="1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4" name="Freeform 1068">
                <a:extLst>
                  <a:ext uri="{FF2B5EF4-FFF2-40B4-BE49-F238E27FC236}">
                    <a16:creationId xmlns:a16="http://schemas.microsoft.com/office/drawing/2014/main" id="{A05C7D4B-AAB5-4ABB-A08A-C31CF05960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6" y="876"/>
                <a:ext cx="33" cy="25"/>
              </a:xfrm>
              <a:custGeom>
                <a:avLst/>
                <a:gdLst>
                  <a:gd name="T0" fmla="*/ 5 w 33"/>
                  <a:gd name="T1" fmla="*/ 22 h 25"/>
                  <a:gd name="T2" fmla="*/ 6 w 33"/>
                  <a:gd name="T3" fmla="*/ 25 h 25"/>
                  <a:gd name="T4" fmla="*/ 7 w 33"/>
                  <a:gd name="T5" fmla="*/ 25 h 25"/>
                  <a:gd name="T6" fmla="*/ 9 w 33"/>
                  <a:gd name="T7" fmla="*/ 23 h 25"/>
                  <a:gd name="T8" fmla="*/ 11 w 33"/>
                  <a:gd name="T9" fmla="*/ 23 h 25"/>
                  <a:gd name="T10" fmla="*/ 13 w 33"/>
                  <a:gd name="T11" fmla="*/ 22 h 25"/>
                  <a:gd name="T12" fmla="*/ 15 w 33"/>
                  <a:gd name="T13" fmla="*/ 18 h 25"/>
                  <a:gd name="T14" fmla="*/ 24 w 33"/>
                  <a:gd name="T15" fmla="*/ 10 h 25"/>
                  <a:gd name="T16" fmla="*/ 28 w 33"/>
                  <a:gd name="T17" fmla="*/ 7 h 25"/>
                  <a:gd name="T18" fmla="*/ 32 w 33"/>
                  <a:gd name="T19" fmla="*/ 3 h 25"/>
                  <a:gd name="T20" fmla="*/ 33 w 33"/>
                  <a:gd name="T21" fmla="*/ 1 h 25"/>
                  <a:gd name="T22" fmla="*/ 32 w 33"/>
                  <a:gd name="T23" fmla="*/ 0 h 25"/>
                  <a:gd name="T24" fmla="*/ 27 w 33"/>
                  <a:gd name="T25" fmla="*/ 2 h 25"/>
                  <a:gd name="T26" fmla="*/ 25 w 33"/>
                  <a:gd name="T27" fmla="*/ 2 h 25"/>
                  <a:gd name="T28" fmla="*/ 24 w 33"/>
                  <a:gd name="T29" fmla="*/ 3 h 25"/>
                  <a:gd name="T30" fmla="*/ 19 w 33"/>
                  <a:gd name="T31" fmla="*/ 4 h 25"/>
                  <a:gd name="T32" fmla="*/ 15 w 33"/>
                  <a:gd name="T33" fmla="*/ 7 h 25"/>
                  <a:gd name="T34" fmla="*/ 14 w 33"/>
                  <a:gd name="T35" fmla="*/ 7 h 25"/>
                  <a:gd name="T36" fmla="*/ 11 w 33"/>
                  <a:gd name="T37" fmla="*/ 9 h 25"/>
                  <a:gd name="T38" fmla="*/ 7 w 33"/>
                  <a:gd name="T39" fmla="*/ 11 h 25"/>
                  <a:gd name="T40" fmla="*/ 2 w 33"/>
                  <a:gd name="T41" fmla="*/ 16 h 25"/>
                  <a:gd name="T42" fmla="*/ 0 w 33"/>
                  <a:gd name="T43" fmla="*/ 20 h 25"/>
                  <a:gd name="T44" fmla="*/ 2 w 33"/>
                  <a:gd name="T45" fmla="*/ 22 h 25"/>
                  <a:gd name="T46" fmla="*/ 3 w 33"/>
                  <a:gd name="T47" fmla="*/ 21 h 25"/>
                  <a:gd name="T48" fmla="*/ 5 w 33"/>
                  <a:gd name="T49" fmla="*/ 2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3" h="25">
                    <a:moveTo>
                      <a:pt x="5" y="22"/>
                    </a:moveTo>
                    <a:lnTo>
                      <a:pt x="6" y="25"/>
                    </a:lnTo>
                    <a:lnTo>
                      <a:pt x="7" y="25"/>
                    </a:lnTo>
                    <a:lnTo>
                      <a:pt x="9" y="23"/>
                    </a:lnTo>
                    <a:lnTo>
                      <a:pt x="11" y="23"/>
                    </a:lnTo>
                    <a:lnTo>
                      <a:pt x="13" y="22"/>
                    </a:lnTo>
                    <a:lnTo>
                      <a:pt x="15" y="18"/>
                    </a:lnTo>
                    <a:lnTo>
                      <a:pt x="24" y="10"/>
                    </a:lnTo>
                    <a:lnTo>
                      <a:pt x="28" y="7"/>
                    </a:lnTo>
                    <a:lnTo>
                      <a:pt x="32" y="3"/>
                    </a:lnTo>
                    <a:lnTo>
                      <a:pt x="33" y="1"/>
                    </a:lnTo>
                    <a:lnTo>
                      <a:pt x="32" y="0"/>
                    </a:lnTo>
                    <a:lnTo>
                      <a:pt x="27" y="2"/>
                    </a:lnTo>
                    <a:lnTo>
                      <a:pt x="25" y="2"/>
                    </a:lnTo>
                    <a:lnTo>
                      <a:pt x="24" y="3"/>
                    </a:lnTo>
                    <a:lnTo>
                      <a:pt x="19" y="4"/>
                    </a:lnTo>
                    <a:lnTo>
                      <a:pt x="15" y="7"/>
                    </a:lnTo>
                    <a:lnTo>
                      <a:pt x="14" y="7"/>
                    </a:lnTo>
                    <a:lnTo>
                      <a:pt x="11" y="9"/>
                    </a:lnTo>
                    <a:lnTo>
                      <a:pt x="7" y="11"/>
                    </a:lnTo>
                    <a:lnTo>
                      <a:pt x="2" y="16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3" y="21"/>
                    </a:lnTo>
                    <a:lnTo>
                      <a:pt x="5" y="2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5" name="Freeform 1069">
                <a:extLst>
                  <a:ext uri="{FF2B5EF4-FFF2-40B4-BE49-F238E27FC236}">
                    <a16:creationId xmlns:a16="http://schemas.microsoft.com/office/drawing/2014/main" id="{A18840F9-D0B6-4C3C-89BC-A9E057E775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5" y="1221"/>
                <a:ext cx="3" cy="8"/>
              </a:xfrm>
              <a:custGeom>
                <a:avLst/>
                <a:gdLst>
                  <a:gd name="T0" fmla="*/ 3 w 3"/>
                  <a:gd name="T1" fmla="*/ 4 h 8"/>
                  <a:gd name="T2" fmla="*/ 1 w 3"/>
                  <a:gd name="T3" fmla="*/ 0 h 8"/>
                  <a:gd name="T4" fmla="*/ 0 w 3"/>
                  <a:gd name="T5" fmla="*/ 2 h 8"/>
                  <a:gd name="T6" fmla="*/ 0 w 3"/>
                  <a:gd name="T7" fmla="*/ 7 h 8"/>
                  <a:gd name="T8" fmla="*/ 1 w 3"/>
                  <a:gd name="T9" fmla="*/ 8 h 8"/>
                  <a:gd name="T10" fmla="*/ 3 w 3"/>
                  <a:gd name="T1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8">
                    <a:moveTo>
                      <a:pt x="3" y="4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6" name="Freeform 1070">
                <a:extLst>
                  <a:ext uri="{FF2B5EF4-FFF2-40B4-BE49-F238E27FC236}">
                    <a16:creationId xmlns:a16="http://schemas.microsoft.com/office/drawing/2014/main" id="{3C3ECD89-B3F3-4B14-BBD8-3BFA6BEF5D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6" y="872"/>
                <a:ext cx="3" cy="5"/>
              </a:xfrm>
              <a:custGeom>
                <a:avLst/>
                <a:gdLst>
                  <a:gd name="T0" fmla="*/ 0 w 4"/>
                  <a:gd name="T1" fmla="*/ 6 h 6"/>
                  <a:gd name="T2" fmla="*/ 4 w 4"/>
                  <a:gd name="T3" fmla="*/ 2 h 6"/>
                  <a:gd name="T4" fmla="*/ 4 w 4"/>
                  <a:gd name="T5" fmla="*/ 0 h 6"/>
                  <a:gd name="T6" fmla="*/ 0 w 4"/>
                  <a:gd name="T7" fmla="*/ 4 h 6"/>
                  <a:gd name="T8" fmla="*/ 0 w 4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cubicBezTo>
                      <a:pt x="4" y="2"/>
                      <a:pt x="4" y="2"/>
                      <a:pt x="4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6"/>
                      <a:pt x="0" y="6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7" name="Freeform 1071">
                <a:extLst>
                  <a:ext uri="{FF2B5EF4-FFF2-40B4-BE49-F238E27FC236}">
                    <a16:creationId xmlns:a16="http://schemas.microsoft.com/office/drawing/2014/main" id="{E9BB4A59-D3DB-4130-A76A-F56534E4E5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2" y="1245"/>
                <a:ext cx="2" cy="3"/>
              </a:xfrm>
              <a:custGeom>
                <a:avLst/>
                <a:gdLst>
                  <a:gd name="T0" fmla="*/ 1 w 2"/>
                  <a:gd name="T1" fmla="*/ 0 h 3"/>
                  <a:gd name="T2" fmla="*/ 0 w 2"/>
                  <a:gd name="T3" fmla="*/ 1 h 3"/>
                  <a:gd name="T4" fmla="*/ 1 w 2"/>
                  <a:gd name="T5" fmla="*/ 3 h 3"/>
                  <a:gd name="T6" fmla="*/ 2 w 2"/>
                  <a:gd name="T7" fmla="*/ 3 h 3"/>
                  <a:gd name="T8" fmla="*/ 1 w 2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1" y="0"/>
                    </a:moveTo>
                    <a:lnTo>
                      <a:pt x="0" y="1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8" name="Freeform 1072">
                <a:extLst>
                  <a:ext uri="{FF2B5EF4-FFF2-40B4-BE49-F238E27FC236}">
                    <a16:creationId xmlns:a16="http://schemas.microsoft.com/office/drawing/2014/main" id="{B5D6DB52-F2DA-4EAD-B94D-C11BE68C3F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2" y="1165"/>
                <a:ext cx="4" cy="10"/>
              </a:xfrm>
              <a:custGeom>
                <a:avLst/>
                <a:gdLst>
                  <a:gd name="T0" fmla="*/ 2 w 4"/>
                  <a:gd name="T1" fmla="*/ 0 h 10"/>
                  <a:gd name="T2" fmla="*/ 1 w 4"/>
                  <a:gd name="T3" fmla="*/ 0 h 10"/>
                  <a:gd name="T4" fmla="*/ 0 w 4"/>
                  <a:gd name="T5" fmla="*/ 4 h 10"/>
                  <a:gd name="T6" fmla="*/ 1 w 4"/>
                  <a:gd name="T7" fmla="*/ 6 h 10"/>
                  <a:gd name="T8" fmla="*/ 1 w 4"/>
                  <a:gd name="T9" fmla="*/ 10 h 10"/>
                  <a:gd name="T10" fmla="*/ 2 w 4"/>
                  <a:gd name="T11" fmla="*/ 10 h 10"/>
                  <a:gd name="T12" fmla="*/ 3 w 4"/>
                  <a:gd name="T13" fmla="*/ 7 h 10"/>
                  <a:gd name="T14" fmla="*/ 4 w 4"/>
                  <a:gd name="T15" fmla="*/ 4 h 10"/>
                  <a:gd name="T16" fmla="*/ 3 w 4"/>
                  <a:gd name="T17" fmla="*/ 3 h 10"/>
                  <a:gd name="T18" fmla="*/ 3 w 4"/>
                  <a:gd name="T19" fmla="*/ 1 h 10"/>
                  <a:gd name="T20" fmla="*/ 2 w 4"/>
                  <a:gd name="T2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10">
                    <a:moveTo>
                      <a:pt x="2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1" y="6"/>
                    </a:lnTo>
                    <a:lnTo>
                      <a:pt x="1" y="10"/>
                    </a:lnTo>
                    <a:lnTo>
                      <a:pt x="2" y="10"/>
                    </a:lnTo>
                    <a:lnTo>
                      <a:pt x="3" y="7"/>
                    </a:lnTo>
                    <a:lnTo>
                      <a:pt x="4" y="4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9" name="Freeform 1073">
                <a:extLst>
                  <a:ext uri="{FF2B5EF4-FFF2-40B4-BE49-F238E27FC236}">
                    <a16:creationId xmlns:a16="http://schemas.microsoft.com/office/drawing/2014/main" id="{6AA53764-0A24-4ED0-98C0-963833A5D0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4" y="1020"/>
                <a:ext cx="31" cy="44"/>
              </a:xfrm>
              <a:custGeom>
                <a:avLst/>
                <a:gdLst>
                  <a:gd name="T0" fmla="*/ 9 w 31"/>
                  <a:gd name="T1" fmla="*/ 44 h 44"/>
                  <a:gd name="T2" fmla="*/ 10 w 31"/>
                  <a:gd name="T3" fmla="*/ 42 h 44"/>
                  <a:gd name="T4" fmla="*/ 9 w 31"/>
                  <a:gd name="T5" fmla="*/ 40 h 44"/>
                  <a:gd name="T6" fmla="*/ 12 w 31"/>
                  <a:gd name="T7" fmla="*/ 38 h 44"/>
                  <a:gd name="T8" fmla="*/ 14 w 31"/>
                  <a:gd name="T9" fmla="*/ 38 h 44"/>
                  <a:gd name="T10" fmla="*/ 17 w 31"/>
                  <a:gd name="T11" fmla="*/ 34 h 44"/>
                  <a:gd name="T12" fmla="*/ 21 w 31"/>
                  <a:gd name="T13" fmla="*/ 31 h 44"/>
                  <a:gd name="T14" fmla="*/ 25 w 31"/>
                  <a:gd name="T15" fmla="*/ 27 h 44"/>
                  <a:gd name="T16" fmla="*/ 26 w 31"/>
                  <a:gd name="T17" fmla="*/ 27 h 44"/>
                  <a:gd name="T18" fmla="*/ 30 w 31"/>
                  <a:gd name="T19" fmla="*/ 23 h 44"/>
                  <a:gd name="T20" fmla="*/ 30 w 31"/>
                  <a:gd name="T21" fmla="*/ 20 h 44"/>
                  <a:gd name="T22" fmla="*/ 31 w 31"/>
                  <a:gd name="T23" fmla="*/ 19 h 44"/>
                  <a:gd name="T24" fmla="*/ 31 w 31"/>
                  <a:gd name="T25" fmla="*/ 17 h 44"/>
                  <a:gd name="T26" fmla="*/ 30 w 31"/>
                  <a:gd name="T27" fmla="*/ 14 h 44"/>
                  <a:gd name="T28" fmla="*/ 30 w 31"/>
                  <a:gd name="T29" fmla="*/ 12 h 44"/>
                  <a:gd name="T30" fmla="*/ 30 w 31"/>
                  <a:gd name="T31" fmla="*/ 10 h 44"/>
                  <a:gd name="T32" fmla="*/ 27 w 31"/>
                  <a:gd name="T33" fmla="*/ 5 h 44"/>
                  <a:gd name="T34" fmla="*/ 26 w 31"/>
                  <a:gd name="T35" fmla="*/ 5 h 44"/>
                  <a:gd name="T36" fmla="*/ 24 w 31"/>
                  <a:gd name="T37" fmla="*/ 6 h 44"/>
                  <a:gd name="T38" fmla="*/ 21 w 31"/>
                  <a:gd name="T39" fmla="*/ 4 h 44"/>
                  <a:gd name="T40" fmla="*/ 19 w 31"/>
                  <a:gd name="T41" fmla="*/ 5 h 44"/>
                  <a:gd name="T42" fmla="*/ 17 w 31"/>
                  <a:gd name="T43" fmla="*/ 3 h 44"/>
                  <a:gd name="T44" fmla="*/ 15 w 31"/>
                  <a:gd name="T45" fmla="*/ 3 h 44"/>
                  <a:gd name="T46" fmla="*/ 13 w 31"/>
                  <a:gd name="T47" fmla="*/ 0 h 44"/>
                  <a:gd name="T48" fmla="*/ 9 w 31"/>
                  <a:gd name="T49" fmla="*/ 1 h 44"/>
                  <a:gd name="T50" fmla="*/ 6 w 31"/>
                  <a:gd name="T51" fmla="*/ 4 h 44"/>
                  <a:gd name="T52" fmla="*/ 5 w 31"/>
                  <a:gd name="T53" fmla="*/ 5 h 44"/>
                  <a:gd name="T54" fmla="*/ 0 w 31"/>
                  <a:gd name="T55" fmla="*/ 10 h 44"/>
                  <a:gd name="T56" fmla="*/ 0 w 31"/>
                  <a:gd name="T57" fmla="*/ 11 h 44"/>
                  <a:gd name="T58" fmla="*/ 2 w 31"/>
                  <a:gd name="T59" fmla="*/ 14 h 44"/>
                  <a:gd name="T60" fmla="*/ 5 w 31"/>
                  <a:gd name="T61" fmla="*/ 17 h 44"/>
                  <a:gd name="T62" fmla="*/ 5 w 31"/>
                  <a:gd name="T63" fmla="*/ 21 h 44"/>
                  <a:gd name="T64" fmla="*/ 6 w 31"/>
                  <a:gd name="T65" fmla="*/ 25 h 44"/>
                  <a:gd name="T66" fmla="*/ 5 w 31"/>
                  <a:gd name="T67" fmla="*/ 27 h 44"/>
                  <a:gd name="T68" fmla="*/ 5 w 31"/>
                  <a:gd name="T69" fmla="*/ 30 h 44"/>
                  <a:gd name="T70" fmla="*/ 6 w 31"/>
                  <a:gd name="T71" fmla="*/ 34 h 44"/>
                  <a:gd name="T72" fmla="*/ 7 w 31"/>
                  <a:gd name="T73" fmla="*/ 41 h 44"/>
                  <a:gd name="T74" fmla="*/ 9 w 31"/>
                  <a:gd name="T75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" h="44">
                    <a:moveTo>
                      <a:pt x="9" y="44"/>
                    </a:moveTo>
                    <a:lnTo>
                      <a:pt x="10" y="42"/>
                    </a:lnTo>
                    <a:lnTo>
                      <a:pt x="9" y="40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7" y="34"/>
                    </a:lnTo>
                    <a:lnTo>
                      <a:pt x="21" y="31"/>
                    </a:lnTo>
                    <a:lnTo>
                      <a:pt x="25" y="27"/>
                    </a:lnTo>
                    <a:lnTo>
                      <a:pt x="26" y="27"/>
                    </a:lnTo>
                    <a:lnTo>
                      <a:pt x="30" y="23"/>
                    </a:lnTo>
                    <a:lnTo>
                      <a:pt x="30" y="20"/>
                    </a:lnTo>
                    <a:lnTo>
                      <a:pt x="31" y="19"/>
                    </a:lnTo>
                    <a:lnTo>
                      <a:pt x="31" y="17"/>
                    </a:lnTo>
                    <a:lnTo>
                      <a:pt x="30" y="14"/>
                    </a:lnTo>
                    <a:lnTo>
                      <a:pt x="30" y="12"/>
                    </a:lnTo>
                    <a:lnTo>
                      <a:pt x="30" y="10"/>
                    </a:lnTo>
                    <a:lnTo>
                      <a:pt x="27" y="5"/>
                    </a:lnTo>
                    <a:lnTo>
                      <a:pt x="26" y="5"/>
                    </a:lnTo>
                    <a:lnTo>
                      <a:pt x="24" y="6"/>
                    </a:lnTo>
                    <a:lnTo>
                      <a:pt x="21" y="4"/>
                    </a:lnTo>
                    <a:lnTo>
                      <a:pt x="19" y="5"/>
                    </a:lnTo>
                    <a:lnTo>
                      <a:pt x="17" y="3"/>
                    </a:lnTo>
                    <a:lnTo>
                      <a:pt x="15" y="3"/>
                    </a:lnTo>
                    <a:lnTo>
                      <a:pt x="13" y="0"/>
                    </a:lnTo>
                    <a:lnTo>
                      <a:pt x="9" y="1"/>
                    </a:lnTo>
                    <a:lnTo>
                      <a:pt x="6" y="4"/>
                    </a:lnTo>
                    <a:lnTo>
                      <a:pt x="5" y="5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2" y="14"/>
                    </a:lnTo>
                    <a:lnTo>
                      <a:pt x="5" y="17"/>
                    </a:lnTo>
                    <a:lnTo>
                      <a:pt x="5" y="21"/>
                    </a:lnTo>
                    <a:lnTo>
                      <a:pt x="6" y="25"/>
                    </a:lnTo>
                    <a:lnTo>
                      <a:pt x="5" y="27"/>
                    </a:lnTo>
                    <a:lnTo>
                      <a:pt x="5" y="30"/>
                    </a:lnTo>
                    <a:lnTo>
                      <a:pt x="6" y="34"/>
                    </a:lnTo>
                    <a:lnTo>
                      <a:pt x="7" y="41"/>
                    </a:lnTo>
                    <a:lnTo>
                      <a:pt x="9" y="4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0" name="Freeform 1074">
                <a:extLst>
                  <a:ext uri="{FF2B5EF4-FFF2-40B4-BE49-F238E27FC236}">
                    <a16:creationId xmlns:a16="http://schemas.microsoft.com/office/drawing/2014/main" id="{9BAD2F32-80AF-4630-A338-E03B3D68F4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1020"/>
                <a:ext cx="5" cy="4"/>
              </a:xfrm>
              <a:custGeom>
                <a:avLst/>
                <a:gdLst>
                  <a:gd name="T0" fmla="*/ 2 w 5"/>
                  <a:gd name="T1" fmla="*/ 3 h 4"/>
                  <a:gd name="T2" fmla="*/ 4 w 5"/>
                  <a:gd name="T3" fmla="*/ 4 h 4"/>
                  <a:gd name="T4" fmla="*/ 5 w 5"/>
                  <a:gd name="T5" fmla="*/ 3 h 4"/>
                  <a:gd name="T6" fmla="*/ 4 w 5"/>
                  <a:gd name="T7" fmla="*/ 1 h 4"/>
                  <a:gd name="T8" fmla="*/ 1 w 5"/>
                  <a:gd name="T9" fmla="*/ 0 h 4"/>
                  <a:gd name="T10" fmla="*/ 0 w 5"/>
                  <a:gd name="T11" fmla="*/ 1 h 4"/>
                  <a:gd name="T12" fmla="*/ 0 w 5"/>
                  <a:gd name="T13" fmla="*/ 3 h 4"/>
                  <a:gd name="T14" fmla="*/ 1 w 5"/>
                  <a:gd name="T15" fmla="*/ 4 h 4"/>
                  <a:gd name="T16" fmla="*/ 2 w 5"/>
                  <a:gd name="T1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4">
                    <a:moveTo>
                      <a:pt x="2" y="3"/>
                    </a:moveTo>
                    <a:lnTo>
                      <a:pt x="4" y="4"/>
                    </a:lnTo>
                    <a:lnTo>
                      <a:pt x="5" y="3"/>
                    </a:lnTo>
                    <a:lnTo>
                      <a:pt x="4" y="1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1" name="Freeform 1075">
                <a:extLst>
                  <a:ext uri="{FF2B5EF4-FFF2-40B4-BE49-F238E27FC236}">
                    <a16:creationId xmlns:a16="http://schemas.microsoft.com/office/drawing/2014/main" id="{6BF4BF65-A3F5-4617-848A-27E94913DC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7" y="1256"/>
                <a:ext cx="5" cy="6"/>
              </a:xfrm>
              <a:custGeom>
                <a:avLst/>
                <a:gdLst>
                  <a:gd name="T0" fmla="*/ 3 w 5"/>
                  <a:gd name="T1" fmla="*/ 0 h 6"/>
                  <a:gd name="T2" fmla="*/ 2 w 5"/>
                  <a:gd name="T3" fmla="*/ 2 h 6"/>
                  <a:gd name="T4" fmla="*/ 1 w 5"/>
                  <a:gd name="T5" fmla="*/ 1 h 6"/>
                  <a:gd name="T6" fmla="*/ 0 w 5"/>
                  <a:gd name="T7" fmla="*/ 2 h 6"/>
                  <a:gd name="T8" fmla="*/ 1 w 5"/>
                  <a:gd name="T9" fmla="*/ 5 h 6"/>
                  <a:gd name="T10" fmla="*/ 2 w 5"/>
                  <a:gd name="T11" fmla="*/ 6 h 6"/>
                  <a:gd name="T12" fmla="*/ 5 w 5"/>
                  <a:gd name="T13" fmla="*/ 3 h 6"/>
                  <a:gd name="T14" fmla="*/ 4 w 5"/>
                  <a:gd name="T15" fmla="*/ 2 h 6"/>
                  <a:gd name="T16" fmla="*/ 5 w 5"/>
                  <a:gd name="T17" fmla="*/ 0 h 6"/>
                  <a:gd name="T18" fmla="*/ 3 w 5"/>
                  <a:gd name="T1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6">
                    <a:moveTo>
                      <a:pt x="3" y="0"/>
                    </a:moveTo>
                    <a:lnTo>
                      <a:pt x="2" y="2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1" y="5"/>
                    </a:lnTo>
                    <a:lnTo>
                      <a:pt x="2" y="6"/>
                    </a:lnTo>
                    <a:lnTo>
                      <a:pt x="5" y="3"/>
                    </a:lnTo>
                    <a:lnTo>
                      <a:pt x="4" y="2"/>
                    </a:lnTo>
                    <a:lnTo>
                      <a:pt x="5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2" name="Freeform 1076">
                <a:extLst>
                  <a:ext uri="{FF2B5EF4-FFF2-40B4-BE49-F238E27FC236}">
                    <a16:creationId xmlns:a16="http://schemas.microsoft.com/office/drawing/2014/main" id="{C14709AE-9B57-44F9-ADEB-B41A4274AE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8" y="1230"/>
                <a:ext cx="4" cy="1"/>
              </a:xfrm>
              <a:custGeom>
                <a:avLst/>
                <a:gdLst>
                  <a:gd name="T0" fmla="*/ 5 w 5"/>
                  <a:gd name="T1" fmla="*/ 0 h 2"/>
                  <a:gd name="T2" fmla="*/ 2 w 5"/>
                  <a:gd name="T3" fmla="*/ 0 h 2"/>
                  <a:gd name="T4" fmla="*/ 0 w 5"/>
                  <a:gd name="T5" fmla="*/ 2 h 2"/>
                  <a:gd name="T6" fmla="*/ 2 w 5"/>
                  <a:gd name="T7" fmla="*/ 2 h 2"/>
                  <a:gd name="T8" fmla="*/ 5 w 5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2" y="2"/>
                      <a:pt x="2" y="2"/>
                    </a:cubicBez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3" name="Freeform 1077">
                <a:extLst>
                  <a:ext uri="{FF2B5EF4-FFF2-40B4-BE49-F238E27FC236}">
                    <a16:creationId xmlns:a16="http://schemas.microsoft.com/office/drawing/2014/main" id="{1B4DA3ED-B5B1-4EBD-8965-A737723FCB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8" y="1234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1 w 3"/>
                  <a:gd name="T3" fmla="*/ 0 h 2"/>
                  <a:gd name="T4" fmla="*/ 0 w 3"/>
                  <a:gd name="T5" fmla="*/ 2 h 2"/>
                  <a:gd name="T6" fmla="*/ 3 w 3"/>
                  <a:gd name="T7" fmla="*/ 2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4" name="Freeform 1078">
                <a:extLst>
                  <a:ext uri="{FF2B5EF4-FFF2-40B4-BE49-F238E27FC236}">
                    <a16:creationId xmlns:a16="http://schemas.microsoft.com/office/drawing/2014/main" id="{03032870-0A1C-47D3-8D85-D08EF27DED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2" y="1265"/>
                <a:ext cx="5" cy="13"/>
              </a:xfrm>
              <a:custGeom>
                <a:avLst/>
                <a:gdLst>
                  <a:gd name="T0" fmla="*/ 4 w 5"/>
                  <a:gd name="T1" fmla="*/ 3 h 13"/>
                  <a:gd name="T2" fmla="*/ 5 w 5"/>
                  <a:gd name="T3" fmla="*/ 1 h 13"/>
                  <a:gd name="T4" fmla="*/ 4 w 5"/>
                  <a:gd name="T5" fmla="*/ 0 h 13"/>
                  <a:gd name="T6" fmla="*/ 2 w 5"/>
                  <a:gd name="T7" fmla="*/ 3 h 13"/>
                  <a:gd name="T8" fmla="*/ 2 w 5"/>
                  <a:gd name="T9" fmla="*/ 6 h 13"/>
                  <a:gd name="T10" fmla="*/ 0 w 5"/>
                  <a:gd name="T11" fmla="*/ 7 h 13"/>
                  <a:gd name="T12" fmla="*/ 1 w 5"/>
                  <a:gd name="T13" fmla="*/ 13 h 13"/>
                  <a:gd name="T14" fmla="*/ 3 w 5"/>
                  <a:gd name="T15" fmla="*/ 12 h 13"/>
                  <a:gd name="T16" fmla="*/ 3 w 5"/>
                  <a:gd name="T17" fmla="*/ 10 h 13"/>
                  <a:gd name="T18" fmla="*/ 5 w 5"/>
                  <a:gd name="T19" fmla="*/ 9 h 13"/>
                  <a:gd name="T20" fmla="*/ 4 w 5"/>
                  <a:gd name="T21" fmla="*/ 7 h 13"/>
                  <a:gd name="T22" fmla="*/ 5 w 5"/>
                  <a:gd name="T23" fmla="*/ 5 h 13"/>
                  <a:gd name="T24" fmla="*/ 4 w 5"/>
                  <a:gd name="T2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" h="13">
                    <a:moveTo>
                      <a:pt x="4" y="3"/>
                    </a:moveTo>
                    <a:lnTo>
                      <a:pt x="5" y="1"/>
                    </a:lnTo>
                    <a:lnTo>
                      <a:pt x="4" y="0"/>
                    </a:lnTo>
                    <a:lnTo>
                      <a:pt x="2" y="3"/>
                    </a:lnTo>
                    <a:lnTo>
                      <a:pt x="2" y="6"/>
                    </a:lnTo>
                    <a:lnTo>
                      <a:pt x="0" y="7"/>
                    </a:lnTo>
                    <a:lnTo>
                      <a:pt x="1" y="13"/>
                    </a:lnTo>
                    <a:lnTo>
                      <a:pt x="3" y="12"/>
                    </a:lnTo>
                    <a:lnTo>
                      <a:pt x="3" y="10"/>
                    </a:lnTo>
                    <a:lnTo>
                      <a:pt x="5" y="9"/>
                    </a:lnTo>
                    <a:lnTo>
                      <a:pt x="4" y="7"/>
                    </a:lnTo>
                    <a:lnTo>
                      <a:pt x="5" y="5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5" name="Freeform 1079">
                <a:extLst>
                  <a:ext uri="{FF2B5EF4-FFF2-40B4-BE49-F238E27FC236}">
                    <a16:creationId xmlns:a16="http://schemas.microsoft.com/office/drawing/2014/main" id="{F5534664-B737-4A0F-9038-E7F4CFD7F8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0" y="1245"/>
                <a:ext cx="3" cy="5"/>
              </a:xfrm>
              <a:custGeom>
                <a:avLst/>
                <a:gdLst>
                  <a:gd name="T0" fmla="*/ 3 w 3"/>
                  <a:gd name="T1" fmla="*/ 5 h 5"/>
                  <a:gd name="T2" fmla="*/ 1 w 3"/>
                  <a:gd name="T3" fmla="*/ 0 h 5"/>
                  <a:gd name="T4" fmla="*/ 0 w 3"/>
                  <a:gd name="T5" fmla="*/ 2 h 5"/>
                  <a:gd name="T6" fmla="*/ 1 w 3"/>
                  <a:gd name="T7" fmla="*/ 3 h 5"/>
                  <a:gd name="T8" fmla="*/ 3 w 3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5">
                    <a:moveTo>
                      <a:pt x="3" y="5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6" name="Freeform 1080">
                <a:extLst>
                  <a:ext uri="{FF2B5EF4-FFF2-40B4-BE49-F238E27FC236}">
                    <a16:creationId xmlns:a16="http://schemas.microsoft.com/office/drawing/2014/main" id="{58140B56-7428-4E7C-B633-03C6370DAE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0" y="982"/>
                <a:ext cx="2" cy="4"/>
              </a:xfrm>
              <a:custGeom>
                <a:avLst/>
                <a:gdLst>
                  <a:gd name="T0" fmla="*/ 2 w 2"/>
                  <a:gd name="T1" fmla="*/ 2 h 4"/>
                  <a:gd name="T2" fmla="*/ 1 w 2"/>
                  <a:gd name="T3" fmla="*/ 0 h 4"/>
                  <a:gd name="T4" fmla="*/ 0 w 2"/>
                  <a:gd name="T5" fmla="*/ 1 h 4"/>
                  <a:gd name="T6" fmla="*/ 1 w 2"/>
                  <a:gd name="T7" fmla="*/ 4 h 4"/>
                  <a:gd name="T8" fmla="*/ 1 w 2"/>
                  <a:gd name="T9" fmla="*/ 3 h 4"/>
                  <a:gd name="T10" fmla="*/ 2 w 2"/>
                  <a:gd name="T1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1" y="0"/>
                    </a:lnTo>
                    <a:lnTo>
                      <a:pt x="0" y="1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7" name="Freeform 1081">
                <a:extLst>
                  <a:ext uri="{FF2B5EF4-FFF2-40B4-BE49-F238E27FC236}">
                    <a16:creationId xmlns:a16="http://schemas.microsoft.com/office/drawing/2014/main" id="{59C0C203-CFFE-4F37-BC64-2153616C9F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4" y="1054"/>
                <a:ext cx="1026" cy="959"/>
              </a:xfrm>
              <a:custGeom>
                <a:avLst/>
                <a:gdLst>
                  <a:gd name="T0" fmla="*/ 626 w 1026"/>
                  <a:gd name="T1" fmla="*/ 954 h 959"/>
                  <a:gd name="T2" fmla="*/ 847 w 1026"/>
                  <a:gd name="T3" fmla="*/ 855 h 959"/>
                  <a:gd name="T4" fmla="*/ 884 w 1026"/>
                  <a:gd name="T5" fmla="*/ 894 h 959"/>
                  <a:gd name="T6" fmla="*/ 889 w 1026"/>
                  <a:gd name="T7" fmla="*/ 911 h 959"/>
                  <a:gd name="T8" fmla="*/ 889 w 1026"/>
                  <a:gd name="T9" fmla="*/ 877 h 959"/>
                  <a:gd name="T10" fmla="*/ 894 w 1026"/>
                  <a:gd name="T11" fmla="*/ 818 h 959"/>
                  <a:gd name="T12" fmla="*/ 840 w 1026"/>
                  <a:gd name="T13" fmla="*/ 815 h 959"/>
                  <a:gd name="T14" fmla="*/ 934 w 1026"/>
                  <a:gd name="T15" fmla="*/ 787 h 959"/>
                  <a:gd name="T16" fmla="*/ 1004 w 1026"/>
                  <a:gd name="T17" fmla="*/ 761 h 959"/>
                  <a:gd name="T18" fmla="*/ 1018 w 1026"/>
                  <a:gd name="T19" fmla="*/ 709 h 959"/>
                  <a:gd name="T20" fmla="*/ 963 w 1026"/>
                  <a:gd name="T21" fmla="*/ 703 h 959"/>
                  <a:gd name="T22" fmla="*/ 989 w 1026"/>
                  <a:gd name="T23" fmla="*/ 672 h 959"/>
                  <a:gd name="T24" fmla="*/ 968 w 1026"/>
                  <a:gd name="T25" fmla="*/ 653 h 959"/>
                  <a:gd name="T26" fmla="*/ 959 w 1026"/>
                  <a:gd name="T27" fmla="*/ 610 h 959"/>
                  <a:gd name="T28" fmla="*/ 955 w 1026"/>
                  <a:gd name="T29" fmla="*/ 564 h 959"/>
                  <a:gd name="T30" fmla="*/ 942 w 1026"/>
                  <a:gd name="T31" fmla="*/ 529 h 959"/>
                  <a:gd name="T32" fmla="*/ 895 w 1026"/>
                  <a:gd name="T33" fmla="*/ 585 h 959"/>
                  <a:gd name="T34" fmla="*/ 885 w 1026"/>
                  <a:gd name="T35" fmla="*/ 513 h 959"/>
                  <a:gd name="T36" fmla="*/ 844 w 1026"/>
                  <a:gd name="T37" fmla="*/ 452 h 959"/>
                  <a:gd name="T38" fmla="*/ 791 w 1026"/>
                  <a:gd name="T39" fmla="*/ 492 h 959"/>
                  <a:gd name="T40" fmla="*/ 778 w 1026"/>
                  <a:gd name="T41" fmla="*/ 607 h 959"/>
                  <a:gd name="T42" fmla="*/ 726 w 1026"/>
                  <a:gd name="T43" fmla="*/ 691 h 959"/>
                  <a:gd name="T44" fmla="*/ 698 w 1026"/>
                  <a:gd name="T45" fmla="*/ 743 h 959"/>
                  <a:gd name="T46" fmla="*/ 671 w 1026"/>
                  <a:gd name="T47" fmla="*/ 639 h 959"/>
                  <a:gd name="T48" fmla="*/ 583 w 1026"/>
                  <a:gd name="T49" fmla="*/ 549 h 959"/>
                  <a:gd name="T50" fmla="*/ 588 w 1026"/>
                  <a:gd name="T51" fmla="*/ 463 h 959"/>
                  <a:gd name="T52" fmla="*/ 625 w 1026"/>
                  <a:gd name="T53" fmla="*/ 413 h 959"/>
                  <a:gd name="T54" fmla="*/ 629 w 1026"/>
                  <a:gd name="T55" fmla="*/ 370 h 959"/>
                  <a:gd name="T56" fmla="*/ 681 w 1026"/>
                  <a:gd name="T57" fmla="*/ 379 h 959"/>
                  <a:gd name="T58" fmla="*/ 697 w 1026"/>
                  <a:gd name="T59" fmla="*/ 321 h 959"/>
                  <a:gd name="T60" fmla="*/ 757 w 1026"/>
                  <a:gd name="T61" fmla="*/ 312 h 959"/>
                  <a:gd name="T62" fmla="*/ 777 w 1026"/>
                  <a:gd name="T63" fmla="*/ 306 h 959"/>
                  <a:gd name="T64" fmla="*/ 809 w 1026"/>
                  <a:gd name="T65" fmla="*/ 244 h 959"/>
                  <a:gd name="T66" fmla="*/ 796 w 1026"/>
                  <a:gd name="T67" fmla="*/ 188 h 959"/>
                  <a:gd name="T68" fmla="*/ 760 w 1026"/>
                  <a:gd name="T69" fmla="*/ 246 h 959"/>
                  <a:gd name="T70" fmla="*/ 732 w 1026"/>
                  <a:gd name="T71" fmla="*/ 198 h 959"/>
                  <a:gd name="T72" fmla="*/ 716 w 1026"/>
                  <a:gd name="T73" fmla="*/ 183 h 959"/>
                  <a:gd name="T74" fmla="*/ 716 w 1026"/>
                  <a:gd name="T75" fmla="*/ 128 h 959"/>
                  <a:gd name="T76" fmla="*/ 688 w 1026"/>
                  <a:gd name="T77" fmla="*/ 97 h 959"/>
                  <a:gd name="T78" fmla="*/ 691 w 1026"/>
                  <a:gd name="T79" fmla="*/ 180 h 959"/>
                  <a:gd name="T80" fmla="*/ 656 w 1026"/>
                  <a:gd name="T81" fmla="*/ 225 h 959"/>
                  <a:gd name="T82" fmla="*/ 633 w 1026"/>
                  <a:gd name="T83" fmla="*/ 258 h 959"/>
                  <a:gd name="T84" fmla="*/ 639 w 1026"/>
                  <a:gd name="T85" fmla="*/ 215 h 959"/>
                  <a:gd name="T86" fmla="*/ 613 w 1026"/>
                  <a:gd name="T87" fmla="*/ 214 h 959"/>
                  <a:gd name="T88" fmla="*/ 550 w 1026"/>
                  <a:gd name="T89" fmla="*/ 201 h 959"/>
                  <a:gd name="T90" fmla="*/ 515 w 1026"/>
                  <a:gd name="T91" fmla="*/ 180 h 959"/>
                  <a:gd name="T92" fmla="*/ 518 w 1026"/>
                  <a:gd name="T93" fmla="*/ 188 h 959"/>
                  <a:gd name="T94" fmla="*/ 488 w 1026"/>
                  <a:gd name="T95" fmla="*/ 232 h 959"/>
                  <a:gd name="T96" fmla="*/ 448 w 1026"/>
                  <a:gd name="T97" fmla="*/ 190 h 959"/>
                  <a:gd name="T98" fmla="*/ 429 w 1026"/>
                  <a:gd name="T99" fmla="*/ 132 h 959"/>
                  <a:gd name="T100" fmla="*/ 349 w 1026"/>
                  <a:gd name="T101" fmla="*/ 79 h 959"/>
                  <a:gd name="T102" fmla="*/ 327 w 1026"/>
                  <a:gd name="T103" fmla="*/ 22 h 959"/>
                  <a:gd name="T104" fmla="*/ 252 w 1026"/>
                  <a:gd name="T105" fmla="*/ 63 h 959"/>
                  <a:gd name="T106" fmla="*/ 302 w 1026"/>
                  <a:gd name="T107" fmla="*/ 30 h 959"/>
                  <a:gd name="T108" fmla="*/ 221 w 1026"/>
                  <a:gd name="T109" fmla="*/ 81 h 959"/>
                  <a:gd name="T110" fmla="*/ 165 w 1026"/>
                  <a:gd name="T111" fmla="*/ 2 h 959"/>
                  <a:gd name="T112" fmla="*/ 74 w 1026"/>
                  <a:gd name="T113" fmla="*/ 459 h 959"/>
                  <a:gd name="T114" fmla="*/ 90 w 1026"/>
                  <a:gd name="T115" fmla="*/ 541 h 959"/>
                  <a:gd name="T116" fmla="*/ 92 w 1026"/>
                  <a:gd name="T117" fmla="*/ 604 h 959"/>
                  <a:gd name="T118" fmla="*/ 99 w 1026"/>
                  <a:gd name="T119" fmla="*/ 632 h 959"/>
                  <a:gd name="T120" fmla="*/ 83 w 1026"/>
                  <a:gd name="T121" fmla="*/ 665 h 959"/>
                  <a:gd name="T122" fmla="*/ 106 w 1026"/>
                  <a:gd name="T123" fmla="*/ 680 h 959"/>
                  <a:gd name="T124" fmla="*/ 110 w 1026"/>
                  <a:gd name="T125" fmla="*/ 715 h 9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6" h="959">
                    <a:moveTo>
                      <a:pt x="495" y="783"/>
                    </a:moveTo>
                    <a:lnTo>
                      <a:pt x="499" y="783"/>
                    </a:lnTo>
                    <a:lnTo>
                      <a:pt x="502" y="786"/>
                    </a:lnTo>
                    <a:lnTo>
                      <a:pt x="502" y="787"/>
                    </a:lnTo>
                    <a:lnTo>
                      <a:pt x="504" y="789"/>
                    </a:lnTo>
                    <a:lnTo>
                      <a:pt x="505" y="790"/>
                    </a:lnTo>
                    <a:lnTo>
                      <a:pt x="508" y="791"/>
                    </a:lnTo>
                    <a:lnTo>
                      <a:pt x="508" y="792"/>
                    </a:lnTo>
                    <a:lnTo>
                      <a:pt x="511" y="793"/>
                    </a:lnTo>
                    <a:lnTo>
                      <a:pt x="512" y="795"/>
                    </a:lnTo>
                    <a:lnTo>
                      <a:pt x="513" y="794"/>
                    </a:lnTo>
                    <a:lnTo>
                      <a:pt x="516" y="794"/>
                    </a:lnTo>
                    <a:lnTo>
                      <a:pt x="519" y="794"/>
                    </a:lnTo>
                    <a:lnTo>
                      <a:pt x="521" y="794"/>
                    </a:lnTo>
                    <a:lnTo>
                      <a:pt x="524" y="798"/>
                    </a:lnTo>
                    <a:lnTo>
                      <a:pt x="526" y="798"/>
                    </a:lnTo>
                    <a:lnTo>
                      <a:pt x="528" y="801"/>
                    </a:lnTo>
                    <a:lnTo>
                      <a:pt x="532" y="803"/>
                    </a:lnTo>
                    <a:lnTo>
                      <a:pt x="535" y="804"/>
                    </a:lnTo>
                    <a:lnTo>
                      <a:pt x="537" y="807"/>
                    </a:lnTo>
                    <a:lnTo>
                      <a:pt x="539" y="808"/>
                    </a:lnTo>
                    <a:lnTo>
                      <a:pt x="544" y="808"/>
                    </a:lnTo>
                    <a:lnTo>
                      <a:pt x="546" y="806"/>
                    </a:lnTo>
                    <a:lnTo>
                      <a:pt x="547" y="808"/>
                    </a:lnTo>
                    <a:lnTo>
                      <a:pt x="549" y="810"/>
                    </a:lnTo>
                    <a:lnTo>
                      <a:pt x="555" y="811"/>
                    </a:lnTo>
                    <a:lnTo>
                      <a:pt x="557" y="812"/>
                    </a:lnTo>
                    <a:lnTo>
                      <a:pt x="560" y="813"/>
                    </a:lnTo>
                    <a:lnTo>
                      <a:pt x="562" y="815"/>
                    </a:lnTo>
                    <a:lnTo>
                      <a:pt x="619" y="847"/>
                    </a:lnTo>
                    <a:lnTo>
                      <a:pt x="622" y="853"/>
                    </a:lnTo>
                    <a:lnTo>
                      <a:pt x="631" y="860"/>
                    </a:lnTo>
                    <a:lnTo>
                      <a:pt x="640" y="912"/>
                    </a:lnTo>
                    <a:lnTo>
                      <a:pt x="639" y="936"/>
                    </a:lnTo>
                    <a:lnTo>
                      <a:pt x="638" y="939"/>
                    </a:lnTo>
                    <a:lnTo>
                      <a:pt x="636" y="943"/>
                    </a:lnTo>
                    <a:lnTo>
                      <a:pt x="634" y="946"/>
                    </a:lnTo>
                    <a:lnTo>
                      <a:pt x="629" y="949"/>
                    </a:lnTo>
                    <a:lnTo>
                      <a:pt x="626" y="954"/>
                    </a:lnTo>
                    <a:lnTo>
                      <a:pt x="628" y="959"/>
                    </a:lnTo>
                    <a:lnTo>
                      <a:pt x="677" y="943"/>
                    </a:lnTo>
                    <a:lnTo>
                      <a:pt x="683" y="941"/>
                    </a:lnTo>
                    <a:lnTo>
                      <a:pt x="684" y="932"/>
                    </a:lnTo>
                    <a:lnTo>
                      <a:pt x="711" y="923"/>
                    </a:lnTo>
                    <a:lnTo>
                      <a:pt x="723" y="913"/>
                    </a:lnTo>
                    <a:lnTo>
                      <a:pt x="725" y="911"/>
                    </a:lnTo>
                    <a:lnTo>
                      <a:pt x="729" y="910"/>
                    </a:lnTo>
                    <a:lnTo>
                      <a:pt x="735" y="902"/>
                    </a:lnTo>
                    <a:lnTo>
                      <a:pt x="738" y="900"/>
                    </a:lnTo>
                    <a:lnTo>
                      <a:pt x="741" y="898"/>
                    </a:lnTo>
                    <a:lnTo>
                      <a:pt x="744" y="895"/>
                    </a:lnTo>
                    <a:lnTo>
                      <a:pt x="749" y="894"/>
                    </a:lnTo>
                    <a:lnTo>
                      <a:pt x="790" y="895"/>
                    </a:lnTo>
                    <a:lnTo>
                      <a:pt x="793" y="891"/>
                    </a:lnTo>
                    <a:lnTo>
                      <a:pt x="795" y="891"/>
                    </a:lnTo>
                    <a:lnTo>
                      <a:pt x="796" y="890"/>
                    </a:lnTo>
                    <a:lnTo>
                      <a:pt x="798" y="890"/>
                    </a:lnTo>
                    <a:lnTo>
                      <a:pt x="800" y="891"/>
                    </a:lnTo>
                    <a:lnTo>
                      <a:pt x="802" y="889"/>
                    </a:lnTo>
                    <a:lnTo>
                      <a:pt x="803" y="887"/>
                    </a:lnTo>
                    <a:lnTo>
                      <a:pt x="807" y="880"/>
                    </a:lnTo>
                    <a:lnTo>
                      <a:pt x="809" y="880"/>
                    </a:lnTo>
                    <a:lnTo>
                      <a:pt x="813" y="875"/>
                    </a:lnTo>
                    <a:lnTo>
                      <a:pt x="813" y="871"/>
                    </a:lnTo>
                    <a:lnTo>
                      <a:pt x="814" y="867"/>
                    </a:lnTo>
                    <a:lnTo>
                      <a:pt x="817" y="865"/>
                    </a:lnTo>
                    <a:lnTo>
                      <a:pt x="817" y="862"/>
                    </a:lnTo>
                    <a:lnTo>
                      <a:pt x="820" y="858"/>
                    </a:lnTo>
                    <a:lnTo>
                      <a:pt x="825" y="852"/>
                    </a:lnTo>
                    <a:lnTo>
                      <a:pt x="826" y="849"/>
                    </a:lnTo>
                    <a:lnTo>
                      <a:pt x="828" y="846"/>
                    </a:lnTo>
                    <a:lnTo>
                      <a:pt x="830" y="846"/>
                    </a:lnTo>
                    <a:lnTo>
                      <a:pt x="831" y="847"/>
                    </a:lnTo>
                    <a:lnTo>
                      <a:pt x="833" y="849"/>
                    </a:lnTo>
                    <a:lnTo>
                      <a:pt x="836" y="849"/>
                    </a:lnTo>
                    <a:lnTo>
                      <a:pt x="840" y="849"/>
                    </a:lnTo>
                    <a:lnTo>
                      <a:pt x="841" y="848"/>
                    </a:lnTo>
                    <a:lnTo>
                      <a:pt x="847" y="855"/>
                    </a:lnTo>
                    <a:lnTo>
                      <a:pt x="847" y="860"/>
                    </a:lnTo>
                    <a:lnTo>
                      <a:pt x="844" y="881"/>
                    </a:lnTo>
                    <a:lnTo>
                      <a:pt x="843" y="884"/>
                    </a:lnTo>
                    <a:lnTo>
                      <a:pt x="844" y="884"/>
                    </a:lnTo>
                    <a:lnTo>
                      <a:pt x="845" y="886"/>
                    </a:lnTo>
                    <a:lnTo>
                      <a:pt x="846" y="888"/>
                    </a:lnTo>
                    <a:lnTo>
                      <a:pt x="846" y="891"/>
                    </a:lnTo>
                    <a:lnTo>
                      <a:pt x="846" y="893"/>
                    </a:lnTo>
                    <a:lnTo>
                      <a:pt x="846" y="894"/>
                    </a:lnTo>
                    <a:lnTo>
                      <a:pt x="845" y="896"/>
                    </a:lnTo>
                    <a:lnTo>
                      <a:pt x="846" y="897"/>
                    </a:lnTo>
                    <a:lnTo>
                      <a:pt x="846" y="897"/>
                    </a:lnTo>
                    <a:lnTo>
                      <a:pt x="851" y="898"/>
                    </a:lnTo>
                    <a:lnTo>
                      <a:pt x="854" y="898"/>
                    </a:lnTo>
                    <a:lnTo>
                      <a:pt x="854" y="900"/>
                    </a:lnTo>
                    <a:lnTo>
                      <a:pt x="856" y="901"/>
                    </a:lnTo>
                    <a:lnTo>
                      <a:pt x="858" y="898"/>
                    </a:lnTo>
                    <a:lnTo>
                      <a:pt x="859" y="899"/>
                    </a:lnTo>
                    <a:lnTo>
                      <a:pt x="863" y="898"/>
                    </a:lnTo>
                    <a:lnTo>
                      <a:pt x="864" y="895"/>
                    </a:lnTo>
                    <a:lnTo>
                      <a:pt x="867" y="892"/>
                    </a:lnTo>
                    <a:lnTo>
                      <a:pt x="865" y="895"/>
                    </a:lnTo>
                    <a:lnTo>
                      <a:pt x="866" y="895"/>
                    </a:lnTo>
                    <a:lnTo>
                      <a:pt x="865" y="898"/>
                    </a:lnTo>
                    <a:lnTo>
                      <a:pt x="866" y="898"/>
                    </a:lnTo>
                    <a:lnTo>
                      <a:pt x="872" y="896"/>
                    </a:lnTo>
                    <a:lnTo>
                      <a:pt x="874" y="894"/>
                    </a:lnTo>
                    <a:lnTo>
                      <a:pt x="877" y="894"/>
                    </a:lnTo>
                    <a:lnTo>
                      <a:pt x="880" y="890"/>
                    </a:lnTo>
                    <a:lnTo>
                      <a:pt x="882" y="889"/>
                    </a:lnTo>
                    <a:lnTo>
                      <a:pt x="886" y="884"/>
                    </a:lnTo>
                    <a:lnTo>
                      <a:pt x="886" y="886"/>
                    </a:lnTo>
                    <a:lnTo>
                      <a:pt x="888" y="885"/>
                    </a:lnTo>
                    <a:lnTo>
                      <a:pt x="888" y="887"/>
                    </a:lnTo>
                    <a:lnTo>
                      <a:pt x="885" y="891"/>
                    </a:lnTo>
                    <a:lnTo>
                      <a:pt x="882" y="891"/>
                    </a:lnTo>
                    <a:lnTo>
                      <a:pt x="879" y="895"/>
                    </a:lnTo>
                    <a:lnTo>
                      <a:pt x="882" y="897"/>
                    </a:lnTo>
                    <a:lnTo>
                      <a:pt x="884" y="894"/>
                    </a:lnTo>
                    <a:lnTo>
                      <a:pt x="887" y="894"/>
                    </a:lnTo>
                    <a:lnTo>
                      <a:pt x="889" y="895"/>
                    </a:lnTo>
                    <a:lnTo>
                      <a:pt x="895" y="896"/>
                    </a:lnTo>
                    <a:lnTo>
                      <a:pt x="899" y="895"/>
                    </a:lnTo>
                    <a:lnTo>
                      <a:pt x="896" y="898"/>
                    </a:lnTo>
                    <a:lnTo>
                      <a:pt x="892" y="898"/>
                    </a:lnTo>
                    <a:lnTo>
                      <a:pt x="889" y="898"/>
                    </a:lnTo>
                    <a:lnTo>
                      <a:pt x="889" y="901"/>
                    </a:lnTo>
                    <a:lnTo>
                      <a:pt x="889" y="902"/>
                    </a:lnTo>
                    <a:lnTo>
                      <a:pt x="888" y="901"/>
                    </a:lnTo>
                    <a:lnTo>
                      <a:pt x="887" y="898"/>
                    </a:lnTo>
                    <a:lnTo>
                      <a:pt x="885" y="897"/>
                    </a:lnTo>
                    <a:lnTo>
                      <a:pt x="881" y="898"/>
                    </a:lnTo>
                    <a:lnTo>
                      <a:pt x="876" y="902"/>
                    </a:lnTo>
                    <a:lnTo>
                      <a:pt x="870" y="904"/>
                    </a:lnTo>
                    <a:lnTo>
                      <a:pt x="865" y="908"/>
                    </a:lnTo>
                    <a:lnTo>
                      <a:pt x="864" y="910"/>
                    </a:lnTo>
                    <a:lnTo>
                      <a:pt x="861" y="913"/>
                    </a:lnTo>
                    <a:lnTo>
                      <a:pt x="858" y="918"/>
                    </a:lnTo>
                    <a:lnTo>
                      <a:pt x="858" y="922"/>
                    </a:lnTo>
                    <a:lnTo>
                      <a:pt x="859" y="925"/>
                    </a:lnTo>
                    <a:lnTo>
                      <a:pt x="860" y="929"/>
                    </a:lnTo>
                    <a:lnTo>
                      <a:pt x="861" y="928"/>
                    </a:lnTo>
                    <a:lnTo>
                      <a:pt x="863" y="929"/>
                    </a:lnTo>
                    <a:lnTo>
                      <a:pt x="863" y="933"/>
                    </a:lnTo>
                    <a:lnTo>
                      <a:pt x="865" y="935"/>
                    </a:lnTo>
                    <a:lnTo>
                      <a:pt x="867" y="933"/>
                    </a:lnTo>
                    <a:lnTo>
                      <a:pt x="868" y="936"/>
                    </a:lnTo>
                    <a:lnTo>
                      <a:pt x="869" y="934"/>
                    </a:lnTo>
                    <a:lnTo>
                      <a:pt x="870" y="931"/>
                    </a:lnTo>
                    <a:lnTo>
                      <a:pt x="871" y="930"/>
                    </a:lnTo>
                    <a:lnTo>
                      <a:pt x="872" y="930"/>
                    </a:lnTo>
                    <a:lnTo>
                      <a:pt x="875" y="927"/>
                    </a:lnTo>
                    <a:lnTo>
                      <a:pt x="879" y="926"/>
                    </a:lnTo>
                    <a:lnTo>
                      <a:pt x="882" y="921"/>
                    </a:lnTo>
                    <a:lnTo>
                      <a:pt x="886" y="916"/>
                    </a:lnTo>
                    <a:lnTo>
                      <a:pt x="886" y="915"/>
                    </a:lnTo>
                    <a:lnTo>
                      <a:pt x="888" y="911"/>
                    </a:lnTo>
                    <a:lnTo>
                      <a:pt x="889" y="911"/>
                    </a:lnTo>
                    <a:lnTo>
                      <a:pt x="890" y="909"/>
                    </a:lnTo>
                    <a:lnTo>
                      <a:pt x="892" y="909"/>
                    </a:lnTo>
                    <a:lnTo>
                      <a:pt x="893" y="913"/>
                    </a:lnTo>
                    <a:lnTo>
                      <a:pt x="896" y="913"/>
                    </a:lnTo>
                    <a:lnTo>
                      <a:pt x="896" y="911"/>
                    </a:lnTo>
                    <a:lnTo>
                      <a:pt x="899" y="911"/>
                    </a:lnTo>
                    <a:lnTo>
                      <a:pt x="903" y="909"/>
                    </a:lnTo>
                    <a:lnTo>
                      <a:pt x="907" y="908"/>
                    </a:lnTo>
                    <a:lnTo>
                      <a:pt x="912" y="906"/>
                    </a:lnTo>
                    <a:lnTo>
                      <a:pt x="914" y="906"/>
                    </a:lnTo>
                    <a:lnTo>
                      <a:pt x="921" y="901"/>
                    </a:lnTo>
                    <a:lnTo>
                      <a:pt x="925" y="901"/>
                    </a:lnTo>
                    <a:lnTo>
                      <a:pt x="927" y="900"/>
                    </a:lnTo>
                    <a:lnTo>
                      <a:pt x="930" y="901"/>
                    </a:lnTo>
                    <a:lnTo>
                      <a:pt x="931" y="900"/>
                    </a:lnTo>
                    <a:lnTo>
                      <a:pt x="931" y="898"/>
                    </a:lnTo>
                    <a:lnTo>
                      <a:pt x="927" y="898"/>
                    </a:lnTo>
                    <a:lnTo>
                      <a:pt x="925" y="896"/>
                    </a:lnTo>
                    <a:lnTo>
                      <a:pt x="926" y="896"/>
                    </a:lnTo>
                    <a:lnTo>
                      <a:pt x="928" y="895"/>
                    </a:lnTo>
                    <a:lnTo>
                      <a:pt x="928" y="894"/>
                    </a:lnTo>
                    <a:lnTo>
                      <a:pt x="924" y="891"/>
                    </a:lnTo>
                    <a:lnTo>
                      <a:pt x="920" y="890"/>
                    </a:lnTo>
                    <a:lnTo>
                      <a:pt x="920" y="888"/>
                    </a:lnTo>
                    <a:lnTo>
                      <a:pt x="920" y="886"/>
                    </a:lnTo>
                    <a:lnTo>
                      <a:pt x="916" y="889"/>
                    </a:lnTo>
                    <a:lnTo>
                      <a:pt x="915" y="891"/>
                    </a:lnTo>
                    <a:lnTo>
                      <a:pt x="910" y="890"/>
                    </a:lnTo>
                    <a:lnTo>
                      <a:pt x="910" y="888"/>
                    </a:lnTo>
                    <a:lnTo>
                      <a:pt x="906" y="886"/>
                    </a:lnTo>
                    <a:lnTo>
                      <a:pt x="904" y="887"/>
                    </a:lnTo>
                    <a:lnTo>
                      <a:pt x="902" y="886"/>
                    </a:lnTo>
                    <a:lnTo>
                      <a:pt x="897" y="886"/>
                    </a:lnTo>
                    <a:lnTo>
                      <a:pt x="893" y="883"/>
                    </a:lnTo>
                    <a:lnTo>
                      <a:pt x="896" y="881"/>
                    </a:lnTo>
                    <a:lnTo>
                      <a:pt x="897" y="879"/>
                    </a:lnTo>
                    <a:lnTo>
                      <a:pt x="893" y="879"/>
                    </a:lnTo>
                    <a:lnTo>
                      <a:pt x="893" y="877"/>
                    </a:lnTo>
                    <a:lnTo>
                      <a:pt x="889" y="877"/>
                    </a:lnTo>
                    <a:lnTo>
                      <a:pt x="888" y="873"/>
                    </a:lnTo>
                    <a:lnTo>
                      <a:pt x="886" y="872"/>
                    </a:lnTo>
                    <a:lnTo>
                      <a:pt x="886" y="867"/>
                    </a:lnTo>
                    <a:lnTo>
                      <a:pt x="886" y="864"/>
                    </a:lnTo>
                    <a:lnTo>
                      <a:pt x="885" y="862"/>
                    </a:lnTo>
                    <a:lnTo>
                      <a:pt x="886" y="859"/>
                    </a:lnTo>
                    <a:lnTo>
                      <a:pt x="886" y="857"/>
                    </a:lnTo>
                    <a:lnTo>
                      <a:pt x="881" y="857"/>
                    </a:lnTo>
                    <a:lnTo>
                      <a:pt x="882" y="855"/>
                    </a:lnTo>
                    <a:lnTo>
                      <a:pt x="885" y="854"/>
                    </a:lnTo>
                    <a:lnTo>
                      <a:pt x="888" y="846"/>
                    </a:lnTo>
                    <a:lnTo>
                      <a:pt x="891" y="843"/>
                    </a:lnTo>
                    <a:lnTo>
                      <a:pt x="890" y="841"/>
                    </a:lnTo>
                    <a:lnTo>
                      <a:pt x="888" y="841"/>
                    </a:lnTo>
                    <a:lnTo>
                      <a:pt x="887" y="840"/>
                    </a:lnTo>
                    <a:lnTo>
                      <a:pt x="885" y="840"/>
                    </a:lnTo>
                    <a:lnTo>
                      <a:pt x="882" y="842"/>
                    </a:lnTo>
                    <a:lnTo>
                      <a:pt x="879" y="844"/>
                    </a:lnTo>
                    <a:lnTo>
                      <a:pt x="878" y="842"/>
                    </a:lnTo>
                    <a:lnTo>
                      <a:pt x="877" y="839"/>
                    </a:lnTo>
                    <a:lnTo>
                      <a:pt x="872" y="836"/>
                    </a:lnTo>
                    <a:lnTo>
                      <a:pt x="868" y="836"/>
                    </a:lnTo>
                    <a:lnTo>
                      <a:pt x="864" y="837"/>
                    </a:lnTo>
                    <a:lnTo>
                      <a:pt x="867" y="835"/>
                    </a:lnTo>
                    <a:lnTo>
                      <a:pt x="870" y="836"/>
                    </a:lnTo>
                    <a:lnTo>
                      <a:pt x="873" y="835"/>
                    </a:lnTo>
                    <a:lnTo>
                      <a:pt x="875" y="833"/>
                    </a:lnTo>
                    <a:lnTo>
                      <a:pt x="879" y="835"/>
                    </a:lnTo>
                    <a:lnTo>
                      <a:pt x="881" y="837"/>
                    </a:lnTo>
                    <a:lnTo>
                      <a:pt x="884" y="837"/>
                    </a:lnTo>
                    <a:lnTo>
                      <a:pt x="888" y="833"/>
                    </a:lnTo>
                    <a:lnTo>
                      <a:pt x="890" y="833"/>
                    </a:lnTo>
                    <a:lnTo>
                      <a:pt x="893" y="830"/>
                    </a:lnTo>
                    <a:lnTo>
                      <a:pt x="896" y="829"/>
                    </a:lnTo>
                    <a:lnTo>
                      <a:pt x="898" y="824"/>
                    </a:lnTo>
                    <a:lnTo>
                      <a:pt x="896" y="822"/>
                    </a:lnTo>
                    <a:lnTo>
                      <a:pt x="898" y="822"/>
                    </a:lnTo>
                    <a:lnTo>
                      <a:pt x="897" y="819"/>
                    </a:lnTo>
                    <a:lnTo>
                      <a:pt x="894" y="818"/>
                    </a:lnTo>
                    <a:lnTo>
                      <a:pt x="892" y="818"/>
                    </a:lnTo>
                    <a:lnTo>
                      <a:pt x="893" y="817"/>
                    </a:lnTo>
                    <a:lnTo>
                      <a:pt x="892" y="816"/>
                    </a:lnTo>
                    <a:lnTo>
                      <a:pt x="896" y="818"/>
                    </a:lnTo>
                    <a:lnTo>
                      <a:pt x="896" y="816"/>
                    </a:lnTo>
                    <a:lnTo>
                      <a:pt x="891" y="811"/>
                    </a:lnTo>
                    <a:lnTo>
                      <a:pt x="886" y="809"/>
                    </a:lnTo>
                    <a:lnTo>
                      <a:pt x="876" y="809"/>
                    </a:lnTo>
                    <a:lnTo>
                      <a:pt x="873" y="811"/>
                    </a:lnTo>
                    <a:lnTo>
                      <a:pt x="870" y="811"/>
                    </a:lnTo>
                    <a:lnTo>
                      <a:pt x="861" y="815"/>
                    </a:lnTo>
                    <a:lnTo>
                      <a:pt x="854" y="816"/>
                    </a:lnTo>
                    <a:lnTo>
                      <a:pt x="851" y="819"/>
                    </a:lnTo>
                    <a:lnTo>
                      <a:pt x="847" y="820"/>
                    </a:lnTo>
                    <a:lnTo>
                      <a:pt x="840" y="825"/>
                    </a:lnTo>
                    <a:lnTo>
                      <a:pt x="830" y="832"/>
                    </a:lnTo>
                    <a:lnTo>
                      <a:pt x="823" y="840"/>
                    </a:lnTo>
                    <a:lnTo>
                      <a:pt x="821" y="842"/>
                    </a:lnTo>
                    <a:lnTo>
                      <a:pt x="818" y="846"/>
                    </a:lnTo>
                    <a:lnTo>
                      <a:pt x="814" y="852"/>
                    </a:lnTo>
                    <a:lnTo>
                      <a:pt x="809" y="855"/>
                    </a:lnTo>
                    <a:lnTo>
                      <a:pt x="803" y="859"/>
                    </a:lnTo>
                    <a:lnTo>
                      <a:pt x="796" y="863"/>
                    </a:lnTo>
                    <a:lnTo>
                      <a:pt x="792" y="863"/>
                    </a:lnTo>
                    <a:lnTo>
                      <a:pt x="797" y="861"/>
                    </a:lnTo>
                    <a:lnTo>
                      <a:pt x="804" y="857"/>
                    </a:lnTo>
                    <a:lnTo>
                      <a:pt x="805" y="855"/>
                    </a:lnTo>
                    <a:lnTo>
                      <a:pt x="811" y="850"/>
                    </a:lnTo>
                    <a:lnTo>
                      <a:pt x="813" y="846"/>
                    </a:lnTo>
                    <a:lnTo>
                      <a:pt x="814" y="842"/>
                    </a:lnTo>
                    <a:lnTo>
                      <a:pt x="817" y="841"/>
                    </a:lnTo>
                    <a:lnTo>
                      <a:pt x="820" y="837"/>
                    </a:lnTo>
                    <a:lnTo>
                      <a:pt x="824" y="835"/>
                    </a:lnTo>
                    <a:lnTo>
                      <a:pt x="825" y="829"/>
                    </a:lnTo>
                    <a:lnTo>
                      <a:pt x="831" y="825"/>
                    </a:lnTo>
                    <a:lnTo>
                      <a:pt x="834" y="820"/>
                    </a:lnTo>
                    <a:lnTo>
                      <a:pt x="836" y="819"/>
                    </a:lnTo>
                    <a:lnTo>
                      <a:pt x="837" y="818"/>
                    </a:lnTo>
                    <a:lnTo>
                      <a:pt x="840" y="815"/>
                    </a:lnTo>
                    <a:lnTo>
                      <a:pt x="842" y="814"/>
                    </a:lnTo>
                    <a:lnTo>
                      <a:pt x="844" y="811"/>
                    </a:lnTo>
                    <a:lnTo>
                      <a:pt x="846" y="808"/>
                    </a:lnTo>
                    <a:lnTo>
                      <a:pt x="847" y="810"/>
                    </a:lnTo>
                    <a:lnTo>
                      <a:pt x="848" y="810"/>
                    </a:lnTo>
                    <a:lnTo>
                      <a:pt x="851" y="806"/>
                    </a:lnTo>
                    <a:lnTo>
                      <a:pt x="855" y="805"/>
                    </a:lnTo>
                    <a:lnTo>
                      <a:pt x="858" y="804"/>
                    </a:lnTo>
                    <a:lnTo>
                      <a:pt x="862" y="804"/>
                    </a:lnTo>
                    <a:lnTo>
                      <a:pt x="864" y="801"/>
                    </a:lnTo>
                    <a:lnTo>
                      <a:pt x="864" y="798"/>
                    </a:lnTo>
                    <a:lnTo>
                      <a:pt x="865" y="795"/>
                    </a:lnTo>
                    <a:lnTo>
                      <a:pt x="865" y="793"/>
                    </a:lnTo>
                    <a:lnTo>
                      <a:pt x="869" y="791"/>
                    </a:lnTo>
                    <a:lnTo>
                      <a:pt x="874" y="785"/>
                    </a:lnTo>
                    <a:lnTo>
                      <a:pt x="876" y="784"/>
                    </a:lnTo>
                    <a:lnTo>
                      <a:pt x="878" y="784"/>
                    </a:lnTo>
                    <a:lnTo>
                      <a:pt x="876" y="781"/>
                    </a:lnTo>
                    <a:lnTo>
                      <a:pt x="878" y="780"/>
                    </a:lnTo>
                    <a:lnTo>
                      <a:pt x="880" y="778"/>
                    </a:lnTo>
                    <a:lnTo>
                      <a:pt x="882" y="781"/>
                    </a:lnTo>
                    <a:lnTo>
                      <a:pt x="886" y="783"/>
                    </a:lnTo>
                    <a:lnTo>
                      <a:pt x="892" y="781"/>
                    </a:lnTo>
                    <a:lnTo>
                      <a:pt x="896" y="784"/>
                    </a:lnTo>
                    <a:lnTo>
                      <a:pt x="898" y="784"/>
                    </a:lnTo>
                    <a:lnTo>
                      <a:pt x="899" y="784"/>
                    </a:lnTo>
                    <a:lnTo>
                      <a:pt x="903" y="782"/>
                    </a:lnTo>
                    <a:lnTo>
                      <a:pt x="905" y="784"/>
                    </a:lnTo>
                    <a:lnTo>
                      <a:pt x="907" y="784"/>
                    </a:lnTo>
                    <a:lnTo>
                      <a:pt x="910" y="782"/>
                    </a:lnTo>
                    <a:lnTo>
                      <a:pt x="913" y="785"/>
                    </a:lnTo>
                    <a:lnTo>
                      <a:pt x="917" y="785"/>
                    </a:lnTo>
                    <a:lnTo>
                      <a:pt x="919" y="784"/>
                    </a:lnTo>
                    <a:lnTo>
                      <a:pt x="920" y="784"/>
                    </a:lnTo>
                    <a:lnTo>
                      <a:pt x="923" y="786"/>
                    </a:lnTo>
                    <a:lnTo>
                      <a:pt x="926" y="786"/>
                    </a:lnTo>
                    <a:lnTo>
                      <a:pt x="927" y="786"/>
                    </a:lnTo>
                    <a:lnTo>
                      <a:pt x="931" y="787"/>
                    </a:lnTo>
                    <a:lnTo>
                      <a:pt x="934" y="787"/>
                    </a:lnTo>
                    <a:lnTo>
                      <a:pt x="936" y="787"/>
                    </a:lnTo>
                    <a:lnTo>
                      <a:pt x="938" y="787"/>
                    </a:lnTo>
                    <a:lnTo>
                      <a:pt x="938" y="789"/>
                    </a:lnTo>
                    <a:lnTo>
                      <a:pt x="941" y="790"/>
                    </a:lnTo>
                    <a:lnTo>
                      <a:pt x="947" y="787"/>
                    </a:lnTo>
                    <a:lnTo>
                      <a:pt x="948" y="787"/>
                    </a:lnTo>
                    <a:lnTo>
                      <a:pt x="951" y="786"/>
                    </a:lnTo>
                    <a:lnTo>
                      <a:pt x="952" y="787"/>
                    </a:lnTo>
                    <a:lnTo>
                      <a:pt x="957" y="787"/>
                    </a:lnTo>
                    <a:lnTo>
                      <a:pt x="958" y="788"/>
                    </a:lnTo>
                    <a:lnTo>
                      <a:pt x="962" y="787"/>
                    </a:lnTo>
                    <a:lnTo>
                      <a:pt x="962" y="785"/>
                    </a:lnTo>
                    <a:lnTo>
                      <a:pt x="965" y="785"/>
                    </a:lnTo>
                    <a:lnTo>
                      <a:pt x="966" y="784"/>
                    </a:lnTo>
                    <a:lnTo>
                      <a:pt x="968" y="784"/>
                    </a:lnTo>
                    <a:lnTo>
                      <a:pt x="969" y="781"/>
                    </a:lnTo>
                    <a:lnTo>
                      <a:pt x="972" y="780"/>
                    </a:lnTo>
                    <a:lnTo>
                      <a:pt x="972" y="778"/>
                    </a:lnTo>
                    <a:lnTo>
                      <a:pt x="975" y="778"/>
                    </a:lnTo>
                    <a:lnTo>
                      <a:pt x="977" y="773"/>
                    </a:lnTo>
                    <a:lnTo>
                      <a:pt x="977" y="770"/>
                    </a:lnTo>
                    <a:lnTo>
                      <a:pt x="979" y="771"/>
                    </a:lnTo>
                    <a:lnTo>
                      <a:pt x="981" y="769"/>
                    </a:lnTo>
                    <a:lnTo>
                      <a:pt x="981" y="767"/>
                    </a:lnTo>
                    <a:lnTo>
                      <a:pt x="980" y="767"/>
                    </a:lnTo>
                    <a:lnTo>
                      <a:pt x="981" y="765"/>
                    </a:lnTo>
                    <a:lnTo>
                      <a:pt x="984" y="765"/>
                    </a:lnTo>
                    <a:lnTo>
                      <a:pt x="986" y="764"/>
                    </a:lnTo>
                    <a:lnTo>
                      <a:pt x="986" y="763"/>
                    </a:lnTo>
                    <a:lnTo>
                      <a:pt x="987" y="761"/>
                    </a:lnTo>
                    <a:lnTo>
                      <a:pt x="989" y="763"/>
                    </a:lnTo>
                    <a:lnTo>
                      <a:pt x="992" y="764"/>
                    </a:lnTo>
                    <a:lnTo>
                      <a:pt x="994" y="762"/>
                    </a:lnTo>
                    <a:lnTo>
                      <a:pt x="995" y="763"/>
                    </a:lnTo>
                    <a:lnTo>
                      <a:pt x="997" y="763"/>
                    </a:lnTo>
                    <a:lnTo>
                      <a:pt x="1000" y="762"/>
                    </a:lnTo>
                    <a:lnTo>
                      <a:pt x="1001" y="763"/>
                    </a:lnTo>
                    <a:lnTo>
                      <a:pt x="1003" y="763"/>
                    </a:lnTo>
                    <a:lnTo>
                      <a:pt x="1004" y="761"/>
                    </a:lnTo>
                    <a:lnTo>
                      <a:pt x="1006" y="761"/>
                    </a:lnTo>
                    <a:lnTo>
                      <a:pt x="1008" y="759"/>
                    </a:lnTo>
                    <a:lnTo>
                      <a:pt x="1009" y="759"/>
                    </a:lnTo>
                    <a:lnTo>
                      <a:pt x="1012" y="756"/>
                    </a:lnTo>
                    <a:lnTo>
                      <a:pt x="1015" y="756"/>
                    </a:lnTo>
                    <a:lnTo>
                      <a:pt x="1019" y="752"/>
                    </a:lnTo>
                    <a:lnTo>
                      <a:pt x="1020" y="749"/>
                    </a:lnTo>
                    <a:lnTo>
                      <a:pt x="1022" y="749"/>
                    </a:lnTo>
                    <a:lnTo>
                      <a:pt x="1022" y="746"/>
                    </a:lnTo>
                    <a:lnTo>
                      <a:pt x="1024" y="743"/>
                    </a:lnTo>
                    <a:lnTo>
                      <a:pt x="1022" y="742"/>
                    </a:lnTo>
                    <a:lnTo>
                      <a:pt x="1020" y="742"/>
                    </a:lnTo>
                    <a:lnTo>
                      <a:pt x="1017" y="741"/>
                    </a:lnTo>
                    <a:lnTo>
                      <a:pt x="1019" y="741"/>
                    </a:lnTo>
                    <a:lnTo>
                      <a:pt x="1021" y="741"/>
                    </a:lnTo>
                    <a:lnTo>
                      <a:pt x="1024" y="740"/>
                    </a:lnTo>
                    <a:lnTo>
                      <a:pt x="1022" y="738"/>
                    </a:lnTo>
                    <a:lnTo>
                      <a:pt x="1020" y="738"/>
                    </a:lnTo>
                    <a:lnTo>
                      <a:pt x="1015" y="736"/>
                    </a:lnTo>
                    <a:lnTo>
                      <a:pt x="1014" y="733"/>
                    </a:lnTo>
                    <a:lnTo>
                      <a:pt x="1017" y="735"/>
                    </a:lnTo>
                    <a:lnTo>
                      <a:pt x="1020" y="735"/>
                    </a:lnTo>
                    <a:lnTo>
                      <a:pt x="1021" y="732"/>
                    </a:lnTo>
                    <a:lnTo>
                      <a:pt x="1022" y="731"/>
                    </a:lnTo>
                    <a:lnTo>
                      <a:pt x="1024" y="728"/>
                    </a:lnTo>
                    <a:lnTo>
                      <a:pt x="1019" y="726"/>
                    </a:lnTo>
                    <a:lnTo>
                      <a:pt x="1021" y="724"/>
                    </a:lnTo>
                    <a:lnTo>
                      <a:pt x="1024" y="725"/>
                    </a:lnTo>
                    <a:lnTo>
                      <a:pt x="1026" y="722"/>
                    </a:lnTo>
                    <a:lnTo>
                      <a:pt x="1025" y="720"/>
                    </a:lnTo>
                    <a:lnTo>
                      <a:pt x="1021" y="718"/>
                    </a:lnTo>
                    <a:lnTo>
                      <a:pt x="1021" y="715"/>
                    </a:lnTo>
                    <a:lnTo>
                      <a:pt x="1022" y="715"/>
                    </a:lnTo>
                    <a:lnTo>
                      <a:pt x="1024" y="716"/>
                    </a:lnTo>
                    <a:lnTo>
                      <a:pt x="1024" y="714"/>
                    </a:lnTo>
                    <a:lnTo>
                      <a:pt x="1021" y="712"/>
                    </a:lnTo>
                    <a:lnTo>
                      <a:pt x="1017" y="711"/>
                    </a:lnTo>
                    <a:lnTo>
                      <a:pt x="1017" y="710"/>
                    </a:lnTo>
                    <a:lnTo>
                      <a:pt x="1018" y="709"/>
                    </a:lnTo>
                    <a:lnTo>
                      <a:pt x="1017" y="708"/>
                    </a:lnTo>
                    <a:lnTo>
                      <a:pt x="1014" y="708"/>
                    </a:lnTo>
                    <a:lnTo>
                      <a:pt x="1010" y="710"/>
                    </a:lnTo>
                    <a:lnTo>
                      <a:pt x="1010" y="713"/>
                    </a:lnTo>
                    <a:lnTo>
                      <a:pt x="1008" y="715"/>
                    </a:lnTo>
                    <a:lnTo>
                      <a:pt x="1007" y="712"/>
                    </a:lnTo>
                    <a:lnTo>
                      <a:pt x="1003" y="711"/>
                    </a:lnTo>
                    <a:lnTo>
                      <a:pt x="1006" y="709"/>
                    </a:lnTo>
                    <a:lnTo>
                      <a:pt x="1007" y="709"/>
                    </a:lnTo>
                    <a:lnTo>
                      <a:pt x="1010" y="705"/>
                    </a:lnTo>
                    <a:lnTo>
                      <a:pt x="1010" y="702"/>
                    </a:lnTo>
                    <a:lnTo>
                      <a:pt x="1009" y="698"/>
                    </a:lnTo>
                    <a:lnTo>
                      <a:pt x="1003" y="696"/>
                    </a:lnTo>
                    <a:lnTo>
                      <a:pt x="998" y="697"/>
                    </a:lnTo>
                    <a:lnTo>
                      <a:pt x="996" y="698"/>
                    </a:lnTo>
                    <a:lnTo>
                      <a:pt x="996" y="698"/>
                    </a:lnTo>
                    <a:lnTo>
                      <a:pt x="1000" y="698"/>
                    </a:lnTo>
                    <a:lnTo>
                      <a:pt x="1001" y="700"/>
                    </a:lnTo>
                    <a:lnTo>
                      <a:pt x="998" y="700"/>
                    </a:lnTo>
                    <a:lnTo>
                      <a:pt x="995" y="699"/>
                    </a:lnTo>
                    <a:lnTo>
                      <a:pt x="990" y="701"/>
                    </a:lnTo>
                    <a:lnTo>
                      <a:pt x="987" y="702"/>
                    </a:lnTo>
                    <a:lnTo>
                      <a:pt x="984" y="706"/>
                    </a:lnTo>
                    <a:lnTo>
                      <a:pt x="983" y="709"/>
                    </a:lnTo>
                    <a:lnTo>
                      <a:pt x="981" y="709"/>
                    </a:lnTo>
                    <a:lnTo>
                      <a:pt x="978" y="712"/>
                    </a:lnTo>
                    <a:lnTo>
                      <a:pt x="974" y="712"/>
                    </a:lnTo>
                    <a:lnTo>
                      <a:pt x="972" y="718"/>
                    </a:lnTo>
                    <a:lnTo>
                      <a:pt x="969" y="718"/>
                    </a:lnTo>
                    <a:lnTo>
                      <a:pt x="969" y="719"/>
                    </a:lnTo>
                    <a:lnTo>
                      <a:pt x="967" y="718"/>
                    </a:lnTo>
                    <a:lnTo>
                      <a:pt x="966" y="716"/>
                    </a:lnTo>
                    <a:lnTo>
                      <a:pt x="968" y="715"/>
                    </a:lnTo>
                    <a:lnTo>
                      <a:pt x="969" y="715"/>
                    </a:lnTo>
                    <a:lnTo>
                      <a:pt x="970" y="713"/>
                    </a:lnTo>
                    <a:lnTo>
                      <a:pt x="965" y="707"/>
                    </a:lnTo>
                    <a:lnTo>
                      <a:pt x="964" y="706"/>
                    </a:lnTo>
                    <a:lnTo>
                      <a:pt x="962" y="704"/>
                    </a:lnTo>
                    <a:lnTo>
                      <a:pt x="963" y="703"/>
                    </a:lnTo>
                    <a:lnTo>
                      <a:pt x="962" y="700"/>
                    </a:lnTo>
                    <a:lnTo>
                      <a:pt x="965" y="706"/>
                    </a:lnTo>
                    <a:lnTo>
                      <a:pt x="971" y="710"/>
                    </a:lnTo>
                    <a:lnTo>
                      <a:pt x="972" y="708"/>
                    </a:lnTo>
                    <a:lnTo>
                      <a:pt x="972" y="705"/>
                    </a:lnTo>
                    <a:lnTo>
                      <a:pt x="976" y="705"/>
                    </a:lnTo>
                    <a:lnTo>
                      <a:pt x="977" y="703"/>
                    </a:lnTo>
                    <a:lnTo>
                      <a:pt x="982" y="701"/>
                    </a:lnTo>
                    <a:lnTo>
                      <a:pt x="987" y="699"/>
                    </a:lnTo>
                    <a:lnTo>
                      <a:pt x="993" y="698"/>
                    </a:lnTo>
                    <a:lnTo>
                      <a:pt x="992" y="697"/>
                    </a:lnTo>
                    <a:lnTo>
                      <a:pt x="990" y="696"/>
                    </a:lnTo>
                    <a:lnTo>
                      <a:pt x="985" y="698"/>
                    </a:lnTo>
                    <a:lnTo>
                      <a:pt x="979" y="700"/>
                    </a:lnTo>
                    <a:lnTo>
                      <a:pt x="980" y="698"/>
                    </a:lnTo>
                    <a:lnTo>
                      <a:pt x="987" y="696"/>
                    </a:lnTo>
                    <a:lnTo>
                      <a:pt x="993" y="695"/>
                    </a:lnTo>
                    <a:lnTo>
                      <a:pt x="995" y="692"/>
                    </a:lnTo>
                    <a:lnTo>
                      <a:pt x="1000" y="691"/>
                    </a:lnTo>
                    <a:lnTo>
                      <a:pt x="1000" y="691"/>
                    </a:lnTo>
                    <a:lnTo>
                      <a:pt x="1006" y="691"/>
                    </a:lnTo>
                    <a:lnTo>
                      <a:pt x="1006" y="689"/>
                    </a:lnTo>
                    <a:lnTo>
                      <a:pt x="1010" y="688"/>
                    </a:lnTo>
                    <a:lnTo>
                      <a:pt x="1007" y="685"/>
                    </a:lnTo>
                    <a:lnTo>
                      <a:pt x="1001" y="683"/>
                    </a:lnTo>
                    <a:lnTo>
                      <a:pt x="1002" y="682"/>
                    </a:lnTo>
                    <a:lnTo>
                      <a:pt x="1003" y="682"/>
                    </a:lnTo>
                    <a:lnTo>
                      <a:pt x="1005" y="679"/>
                    </a:lnTo>
                    <a:lnTo>
                      <a:pt x="1003" y="677"/>
                    </a:lnTo>
                    <a:lnTo>
                      <a:pt x="1000" y="679"/>
                    </a:lnTo>
                    <a:lnTo>
                      <a:pt x="997" y="682"/>
                    </a:lnTo>
                    <a:lnTo>
                      <a:pt x="994" y="680"/>
                    </a:lnTo>
                    <a:lnTo>
                      <a:pt x="991" y="680"/>
                    </a:lnTo>
                    <a:lnTo>
                      <a:pt x="990" y="678"/>
                    </a:lnTo>
                    <a:lnTo>
                      <a:pt x="992" y="677"/>
                    </a:lnTo>
                    <a:lnTo>
                      <a:pt x="992" y="672"/>
                    </a:lnTo>
                    <a:lnTo>
                      <a:pt x="993" y="670"/>
                    </a:lnTo>
                    <a:lnTo>
                      <a:pt x="989" y="673"/>
                    </a:lnTo>
                    <a:lnTo>
                      <a:pt x="989" y="672"/>
                    </a:lnTo>
                    <a:lnTo>
                      <a:pt x="990" y="670"/>
                    </a:lnTo>
                    <a:lnTo>
                      <a:pt x="989" y="670"/>
                    </a:lnTo>
                    <a:lnTo>
                      <a:pt x="984" y="675"/>
                    </a:lnTo>
                    <a:lnTo>
                      <a:pt x="982" y="677"/>
                    </a:lnTo>
                    <a:lnTo>
                      <a:pt x="980" y="677"/>
                    </a:lnTo>
                    <a:lnTo>
                      <a:pt x="983" y="675"/>
                    </a:lnTo>
                    <a:lnTo>
                      <a:pt x="986" y="671"/>
                    </a:lnTo>
                    <a:lnTo>
                      <a:pt x="985" y="670"/>
                    </a:lnTo>
                    <a:lnTo>
                      <a:pt x="981" y="672"/>
                    </a:lnTo>
                    <a:lnTo>
                      <a:pt x="980" y="671"/>
                    </a:lnTo>
                    <a:lnTo>
                      <a:pt x="982" y="670"/>
                    </a:lnTo>
                    <a:lnTo>
                      <a:pt x="984" y="668"/>
                    </a:lnTo>
                    <a:lnTo>
                      <a:pt x="984" y="666"/>
                    </a:lnTo>
                    <a:lnTo>
                      <a:pt x="981" y="667"/>
                    </a:lnTo>
                    <a:lnTo>
                      <a:pt x="979" y="670"/>
                    </a:lnTo>
                    <a:lnTo>
                      <a:pt x="976" y="674"/>
                    </a:lnTo>
                    <a:lnTo>
                      <a:pt x="974" y="673"/>
                    </a:lnTo>
                    <a:lnTo>
                      <a:pt x="976" y="670"/>
                    </a:lnTo>
                    <a:lnTo>
                      <a:pt x="978" y="669"/>
                    </a:lnTo>
                    <a:lnTo>
                      <a:pt x="978" y="666"/>
                    </a:lnTo>
                    <a:lnTo>
                      <a:pt x="976" y="666"/>
                    </a:lnTo>
                    <a:lnTo>
                      <a:pt x="970" y="673"/>
                    </a:lnTo>
                    <a:lnTo>
                      <a:pt x="968" y="673"/>
                    </a:lnTo>
                    <a:lnTo>
                      <a:pt x="965" y="672"/>
                    </a:lnTo>
                    <a:lnTo>
                      <a:pt x="968" y="673"/>
                    </a:lnTo>
                    <a:lnTo>
                      <a:pt x="971" y="670"/>
                    </a:lnTo>
                    <a:lnTo>
                      <a:pt x="975" y="663"/>
                    </a:lnTo>
                    <a:lnTo>
                      <a:pt x="978" y="661"/>
                    </a:lnTo>
                    <a:lnTo>
                      <a:pt x="976" y="659"/>
                    </a:lnTo>
                    <a:lnTo>
                      <a:pt x="977" y="656"/>
                    </a:lnTo>
                    <a:lnTo>
                      <a:pt x="976" y="656"/>
                    </a:lnTo>
                    <a:lnTo>
                      <a:pt x="974" y="660"/>
                    </a:lnTo>
                    <a:lnTo>
                      <a:pt x="972" y="660"/>
                    </a:lnTo>
                    <a:lnTo>
                      <a:pt x="972" y="659"/>
                    </a:lnTo>
                    <a:lnTo>
                      <a:pt x="973" y="657"/>
                    </a:lnTo>
                    <a:lnTo>
                      <a:pt x="973" y="653"/>
                    </a:lnTo>
                    <a:lnTo>
                      <a:pt x="972" y="652"/>
                    </a:lnTo>
                    <a:lnTo>
                      <a:pt x="971" y="651"/>
                    </a:lnTo>
                    <a:lnTo>
                      <a:pt x="968" y="653"/>
                    </a:lnTo>
                    <a:lnTo>
                      <a:pt x="967" y="653"/>
                    </a:lnTo>
                    <a:lnTo>
                      <a:pt x="968" y="649"/>
                    </a:lnTo>
                    <a:lnTo>
                      <a:pt x="967" y="649"/>
                    </a:lnTo>
                    <a:lnTo>
                      <a:pt x="965" y="649"/>
                    </a:lnTo>
                    <a:lnTo>
                      <a:pt x="967" y="647"/>
                    </a:lnTo>
                    <a:lnTo>
                      <a:pt x="965" y="646"/>
                    </a:lnTo>
                    <a:lnTo>
                      <a:pt x="965" y="643"/>
                    </a:lnTo>
                    <a:lnTo>
                      <a:pt x="964" y="642"/>
                    </a:lnTo>
                    <a:lnTo>
                      <a:pt x="960" y="643"/>
                    </a:lnTo>
                    <a:lnTo>
                      <a:pt x="960" y="645"/>
                    </a:lnTo>
                    <a:lnTo>
                      <a:pt x="958" y="646"/>
                    </a:lnTo>
                    <a:lnTo>
                      <a:pt x="953" y="643"/>
                    </a:lnTo>
                    <a:lnTo>
                      <a:pt x="957" y="644"/>
                    </a:lnTo>
                    <a:lnTo>
                      <a:pt x="958" y="642"/>
                    </a:lnTo>
                    <a:lnTo>
                      <a:pt x="962" y="642"/>
                    </a:lnTo>
                    <a:lnTo>
                      <a:pt x="962" y="640"/>
                    </a:lnTo>
                    <a:lnTo>
                      <a:pt x="961" y="638"/>
                    </a:lnTo>
                    <a:lnTo>
                      <a:pt x="958" y="635"/>
                    </a:lnTo>
                    <a:lnTo>
                      <a:pt x="958" y="632"/>
                    </a:lnTo>
                    <a:lnTo>
                      <a:pt x="954" y="629"/>
                    </a:lnTo>
                    <a:lnTo>
                      <a:pt x="958" y="629"/>
                    </a:lnTo>
                    <a:lnTo>
                      <a:pt x="962" y="632"/>
                    </a:lnTo>
                    <a:lnTo>
                      <a:pt x="965" y="632"/>
                    </a:lnTo>
                    <a:lnTo>
                      <a:pt x="965" y="629"/>
                    </a:lnTo>
                    <a:lnTo>
                      <a:pt x="962" y="628"/>
                    </a:lnTo>
                    <a:lnTo>
                      <a:pt x="962" y="626"/>
                    </a:lnTo>
                    <a:lnTo>
                      <a:pt x="965" y="628"/>
                    </a:lnTo>
                    <a:lnTo>
                      <a:pt x="969" y="624"/>
                    </a:lnTo>
                    <a:lnTo>
                      <a:pt x="970" y="622"/>
                    </a:lnTo>
                    <a:lnTo>
                      <a:pt x="971" y="620"/>
                    </a:lnTo>
                    <a:lnTo>
                      <a:pt x="969" y="617"/>
                    </a:lnTo>
                    <a:lnTo>
                      <a:pt x="966" y="618"/>
                    </a:lnTo>
                    <a:lnTo>
                      <a:pt x="964" y="616"/>
                    </a:lnTo>
                    <a:lnTo>
                      <a:pt x="965" y="615"/>
                    </a:lnTo>
                    <a:lnTo>
                      <a:pt x="966" y="612"/>
                    </a:lnTo>
                    <a:lnTo>
                      <a:pt x="965" y="611"/>
                    </a:lnTo>
                    <a:lnTo>
                      <a:pt x="962" y="611"/>
                    </a:lnTo>
                    <a:lnTo>
                      <a:pt x="961" y="609"/>
                    </a:lnTo>
                    <a:lnTo>
                      <a:pt x="959" y="610"/>
                    </a:lnTo>
                    <a:lnTo>
                      <a:pt x="957" y="608"/>
                    </a:lnTo>
                    <a:lnTo>
                      <a:pt x="960" y="608"/>
                    </a:lnTo>
                    <a:lnTo>
                      <a:pt x="962" y="606"/>
                    </a:lnTo>
                    <a:lnTo>
                      <a:pt x="963" y="607"/>
                    </a:lnTo>
                    <a:lnTo>
                      <a:pt x="966" y="604"/>
                    </a:lnTo>
                    <a:lnTo>
                      <a:pt x="965" y="598"/>
                    </a:lnTo>
                    <a:lnTo>
                      <a:pt x="962" y="596"/>
                    </a:lnTo>
                    <a:lnTo>
                      <a:pt x="961" y="597"/>
                    </a:lnTo>
                    <a:lnTo>
                      <a:pt x="958" y="597"/>
                    </a:lnTo>
                    <a:lnTo>
                      <a:pt x="956" y="599"/>
                    </a:lnTo>
                    <a:lnTo>
                      <a:pt x="957" y="596"/>
                    </a:lnTo>
                    <a:lnTo>
                      <a:pt x="960" y="594"/>
                    </a:lnTo>
                    <a:lnTo>
                      <a:pt x="962" y="593"/>
                    </a:lnTo>
                    <a:lnTo>
                      <a:pt x="962" y="590"/>
                    </a:lnTo>
                    <a:lnTo>
                      <a:pt x="959" y="589"/>
                    </a:lnTo>
                    <a:lnTo>
                      <a:pt x="958" y="590"/>
                    </a:lnTo>
                    <a:lnTo>
                      <a:pt x="955" y="590"/>
                    </a:lnTo>
                    <a:lnTo>
                      <a:pt x="950" y="593"/>
                    </a:lnTo>
                    <a:lnTo>
                      <a:pt x="954" y="587"/>
                    </a:lnTo>
                    <a:lnTo>
                      <a:pt x="957" y="587"/>
                    </a:lnTo>
                    <a:lnTo>
                      <a:pt x="959" y="584"/>
                    </a:lnTo>
                    <a:lnTo>
                      <a:pt x="959" y="583"/>
                    </a:lnTo>
                    <a:lnTo>
                      <a:pt x="961" y="581"/>
                    </a:lnTo>
                    <a:lnTo>
                      <a:pt x="960" y="580"/>
                    </a:lnTo>
                    <a:lnTo>
                      <a:pt x="957" y="581"/>
                    </a:lnTo>
                    <a:lnTo>
                      <a:pt x="952" y="581"/>
                    </a:lnTo>
                    <a:lnTo>
                      <a:pt x="948" y="584"/>
                    </a:lnTo>
                    <a:lnTo>
                      <a:pt x="950" y="580"/>
                    </a:lnTo>
                    <a:lnTo>
                      <a:pt x="949" y="578"/>
                    </a:lnTo>
                    <a:lnTo>
                      <a:pt x="950" y="576"/>
                    </a:lnTo>
                    <a:lnTo>
                      <a:pt x="952" y="578"/>
                    </a:lnTo>
                    <a:lnTo>
                      <a:pt x="957" y="578"/>
                    </a:lnTo>
                    <a:lnTo>
                      <a:pt x="959" y="574"/>
                    </a:lnTo>
                    <a:lnTo>
                      <a:pt x="959" y="570"/>
                    </a:lnTo>
                    <a:lnTo>
                      <a:pt x="957" y="572"/>
                    </a:lnTo>
                    <a:lnTo>
                      <a:pt x="955" y="571"/>
                    </a:lnTo>
                    <a:lnTo>
                      <a:pt x="957" y="567"/>
                    </a:lnTo>
                    <a:lnTo>
                      <a:pt x="958" y="564"/>
                    </a:lnTo>
                    <a:lnTo>
                      <a:pt x="955" y="564"/>
                    </a:lnTo>
                    <a:lnTo>
                      <a:pt x="949" y="566"/>
                    </a:lnTo>
                    <a:lnTo>
                      <a:pt x="947" y="564"/>
                    </a:lnTo>
                    <a:lnTo>
                      <a:pt x="948" y="563"/>
                    </a:lnTo>
                    <a:lnTo>
                      <a:pt x="951" y="563"/>
                    </a:lnTo>
                    <a:lnTo>
                      <a:pt x="954" y="562"/>
                    </a:lnTo>
                    <a:lnTo>
                      <a:pt x="956" y="558"/>
                    </a:lnTo>
                    <a:lnTo>
                      <a:pt x="954" y="556"/>
                    </a:lnTo>
                    <a:lnTo>
                      <a:pt x="954" y="554"/>
                    </a:lnTo>
                    <a:lnTo>
                      <a:pt x="952" y="556"/>
                    </a:lnTo>
                    <a:lnTo>
                      <a:pt x="951" y="556"/>
                    </a:lnTo>
                    <a:lnTo>
                      <a:pt x="950" y="554"/>
                    </a:lnTo>
                    <a:lnTo>
                      <a:pt x="948" y="553"/>
                    </a:lnTo>
                    <a:lnTo>
                      <a:pt x="950" y="551"/>
                    </a:lnTo>
                    <a:lnTo>
                      <a:pt x="951" y="553"/>
                    </a:lnTo>
                    <a:lnTo>
                      <a:pt x="953" y="552"/>
                    </a:lnTo>
                    <a:lnTo>
                      <a:pt x="952" y="547"/>
                    </a:lnTo>
                    <a:lnTo>
                      <a:pt x="950" y="544"/>
                    </a:lnTo>
                    <a:lnTo>
                      <a:pt x="949" y="541"/>
                    </a:lnTo>
                    <a:lnTo>
                      <a:pt x="951" y="539"/>
                    </a:lnTo>
                    <a:lnTo>
                      <a:pt x="951" y="537"/>
                    </a:lnTo>
                    <a:lnTo>
                      <a:pt x="949" y="537"/>
                    </a:lnTo>
                    <a:lnTo>
                      <a:pt x="950" y="535"/>
                    </a:lnTo>
                    <a:lnTo>
                      <a:pt x="951" y="532"/>
                    </a:lnTo>
                    <a:lnTo>
                      <a:pt x="949" y="532"/>
                    </a:lnTo>
                    <a:lnTo>
                      <a:pt x="947" y="532"/>
                    </a:lnTo>
                    <a:lnTo>
                      <a:pt x="947" y="531"/>
                    </a:lnTo>
                    <a:lnTo>
                      <a:pt x="948" y="531"/>
                    </a:lnTo>
                    <a:lnTo>
                      <a:pt x="950" y="528"/>
                    </a:lnTo>
                    <a:lnTo>
                      <a:pt x="948" y="526"/>
                    </a:lnTo>
                    <a:lnTo>
                      <a:pt x="949" y="524"/>
                    </a:lnTo>
                    <a:lnTo>
                      <a:pt x="951" y="523"/>
                    </a:lnTo>
                    <a:lnTo>
                      <a:pt x="950" y="521"/>
                    </a:lnTo>
                    <a:lnTo>
                      <a:pt x="947" y="522"/>
                    </a:lnTo>
                    <a:lnTo>
                      <a:pt x="949" y="520"/>
                    </a:lnTo>
                    <a:lnTo>
                      <a:pt x="948" y="519"/>
                    </a:lnTo>
                    <a:lnTo>
                      <a:pt x="945" y="520"/>
                    </a:lnTo>
                    <a:lnTo>
                      <a:pt x="943" y="524"/>
                    </a:lnTo>
                    <a:lnTo>
                      <a:pt x="944" y="526"/>
                    </a:lnTo>
                    <a:lnTo>
                      <a:pt x="942" y="529"/>
                    </a:lnTo>
                    <a:lnTo>
                      <a:pt x="939" y="533"/>
                    </a:lnTo>
                    <a:lnTo>
                      <a:pt x="939" y="535"/>
                    </a:lnTo>
                    <a:lnTo>
                      <a:pt x="938" y="537"/>
                    </a:lnTo>
                    <a:lnTo>
                      <a:pt x="938" y="540"/>
                    </a:lnTo>
                    <a:lnTo>
                      <a:pt x="936" y="538"/>
                    </a:lnTo>
                    <a:lnTo>
                      <a:pt x="934" y="539"/>
                    </a:lnTo>
                    <a:lnTo>
                      <a:pt x="933" y="544"/>
                    </a:lnTo>
                    <a:lnTo>
                      <a:pt x="933" y="546"/>
                    </a:lnTo>
                    <a:lnTo>
                      <a:pt x="935" y="546"/>
                    </a:lnTo>
                    <a:lnTo>
                      <a:pt x="936" y="549"/>
                    </a:lnTo>
                    <a:lnTo>
                      <a:pt x="936" y="551"/>
                    </a:lnTo>
                    <a:lnTo>
                      <a:pt x="934" y="548"/>
                    </a:lnTo>
                    <a:lnTo>
                      <a:pt x="932" y="548"/>
                    </a:lnTo>
                    <a:lnTo>
                      <a:pt x="931" y="550"/>
                    </a:lnTo>
                    <a:lnTo>
                      <a:pt x="930" y="553"/>
                    </a:lnTo>
                    <a:lnTo>
                      <a:pt x="927" y="556"/>
                    </a:lnTo>
                    <a:lnTo>
                      <a:pt x="927" y="559"/>
                    </a:lnTo>
                    <a:lnTo>
                      <a:pt x="924" y="560"/>
                    </a:lnTo>
                    <a:lnTo>
                      <a:pt x="923" y="563"/>
                    </a:lnTo>
                    <a:lnTo>
                      <a:pt x="923" y="565"/>
                    </a:lnTo>
                    <a:lnTo>
                      <a:pt x="922" y="565"/>
                    </a:lnTo>
                    <a:lnTo>
                      <a:pt x="922" y="570"/>
                    </a:lnTo>
                    <a:lnTo>
                      <a:pt x="920" y="576"/>
                    </a:lnTo>
                    <a:lnTo>
                      <a:pt x="920" y="572"/>
                    </a:lnTo>
                    <a:lnTo>
                      <a:pt x="920" y="566"/>
                    </a:lnTo>
                    <a:lnTo>
                      <a:pt x="918" y="564"/>
                    </a:lnTo>
                    <a:lnTo>
                      <a:pt x="914" y="568"/>
                    </a:lnTo>
                    <a:lnTo>
                      <a:pt x="913" y="571"/>
                    </a:lnTo>
                    <a:lnTo>
                      <a:pt x="912" y="574"/>
                    </a:lnTo>
                    <a:lnTo>
                      <a:pt x="910" y="575"/>
                    </a:lnTo>
                    <a:lnTo>
                      <a:pt x="908" y="577"/>
                    </a:lnTo>
                    <a:lnTo>
                      <a:pt x="908" y="575"/>
                    </a:lnTo>
                    <a:lnTo>
                      <a:pt x="906" y="574"/>
                    </a:lnTo>
                    <a:lnTo>
                      <a:pt x="903" y="577"/>
                    </a:lnTo>
                    <a:lnTo>
                      <a:pt x="901" y="577"/>
                    </a:lnTo>
                    <a:lnTo>
                      <a:pt x="898" y="580"/>
                    </a:lnTo>
                    <a:lnTo>
                      <a:pt x="897" y="584"/>
                    </a:lnTo>
                    <a:lnTo>
                      <a:pt x="894" y="589"/>
                    </a:lnTo>
                    <a:lnTo>
                      <a:pt x="895" y="585"/>
                    </a:lnTo>
                    <a:lnTo>
                      <a:pt x="895" y="583"/>
                    </a:lnTo>
                    <a:lnTo>
                      <a:pt x="896" y="581"/>
                    </a:lnTo>
                    <a:lnTo>
                      <a:pt x="896" y="574"/>
                    </a:lnTo>
                    <a:lnTo>
                      <a:pt x="896" y="571"/>
                    </a:lnTo>
                    <a:lnTo>
                      <a:pt x="895" y="571"/>
                    </a:lnTo>
                    <a:lnTo>
                      <a:pt x="892" y="575"/>
                    </a:lnTo>
                    <a:lnTo>
                      <a:pt x="888" y="584"/>
                    </a:lnTo>
                    <a:lnTo>
                      <a:pt x="885" y="586"/>
                    </a:lnTo>
                    <a:lnTo>
                      <a:pt x="887" y="583"/>
                    </a:lnTo>
                    <a:lnTo>
                      <a:pt x="888" y="579"/>
                    </a:lnTo>
                    <a:lnTo>
                      <a:pt x="890" y="573"/>
                    </a:lnTo>
                    <a:lnTo>
                      <a:pt x="890" y="570"/>
                    </a:lnTo>
                    <a:lnTo>
                      <a:pt x="891" y="566"/>
                    </a:lnTo>
                    <a:lnTo>
                      <a:pt x="889" y="563"/>
                    </a:lnTo>
                    <a:lnTo>
                      <a:pt x="886" y="559"/>
                    </a:lnTo>
                    <a:lnTo>
                      <a:pt x="884" y="559"/>
                    </a:lnTo>
                    <a:lnTo>
                      <a:pt x="885" y="563"/>
                    </a:lnTo>
                    <a:lnTo>
                      <a:pt x="884" y="563"/>
                    </a:lnTo>
                    <a:lnTo>
                      <a:pt x="882" y="561"/>
                    </a:lnTo>
                    <a:lnTo>
                      <a:pt x="879" y="555"/>
                    </a:lnTo>
                    <a:lnTo>
                      <a:pt x="883" y="558"/>
                    </a:lnTo>
                    <a:lnTo>
                      <a:pt x="885" y="557"/>
                    </a:lnTo>
                    <a:lnTo>
                      <a:pt x="882" y="556"/>
                    </a:lnTo>
                    <a:lnTo>
                      <a:pt x="879" y="550"/>
                    </a:lnTo>
                    <a:lnTo>
                      <a:pt x="878" y="549"/>
                    </a:lnTo>
                    <a:lnTo>
                      <a:pt x="881" y="545"/>
                    </a:lnTo>
                    <a:lnTo>
                      <a:pt x="882" y="542"/>
                    </a:lnTo>
                    <a:lnTo>
                      <a:pt x="884" y="539"/>
                    </a:lnTo>
                    <a:lnTo>
                      <a:pt x="884" y="532"/>
                    </a:lnTo>
                    <a:lnTo>
                      <a:pt x="880" y="528"/>
                    </a:lnTo>
                    <a:lnTo>
                      <a:pt x="875" y="528"/>
                    </a:lnTo>
                    <a:lnTo>
                      <a:pt x="868" y="523"/>
                    </a:lnTo>
                    <a:lnTo>
                      <a:pt x="875" y="526"/>
                    </a:lnTo>
                    <a:lnTo>
                      <a:pt x="882" y="527"/>
                    </a:lnTo>
                    <a:lnTo>
                      <a:pt x="882" y="521"/>
                    </a:lnTo>
                    <a:lnTo>
                      <a:pt x="884" y="520"/>
                    </a:lnTo>
                    <a:lnTo>
                      <a:pt x="885" y="525"/>
                    </a:lnTo>
                    <a:lnTo>
                      <a:pt x="886" y="521"/>
                    </a:lnTo>
                    <a:lnTo>
                      <a:pt x="885" y="513"/>
                    </a:lnTo>
                    <a:lnTo>
                      <a:pt x="888" y="508"/>
                    </a:lnTo>
                    <a:lnTo>
                      <a:pt x="892" y="508"/>
                    </a:lnTo>
                    <a:lnTo>
                      <a:pt x="893" y="501"/>
                    </a:lnTo>
                    <a:lnTo>
                      <a:pt x="892" y="496"/>
                    </a:lnTo>
                    <a:lnTo>
                      <a:pt x="889" y="496"/>
                    </a:lnTo>
                    <a:lnTo>
                      <a:pt x="889" y="501"/>
                    </a:lnTo>
                    <a:lnTo>
                      <a:pt x="886" y="504"/>
                    </a:lnTo>
                    <a:lnTo>
                      <a:pt x="885" y="501"/>
                    </a:lnTo>
                    <a:lnTo>
                      <a:pt x="885" y="495"/>
                    </a:lnTo>
                    <a:lnTo>
                      <a:pt x="882" y="494"/>
                    </a:lnTo>
                    <a:lnTo>
                      <a:pt x="879" y="495"/>
                    </a:lnTo>
                    <a:lnTo>
                      <a:pt x="877" y="494"/>
                    </a:lnTo>
                    <a:lnTo>
                      <a:pt x="875" y="494"/>
                    </a:lnTo>
                    <a:lnTo>
                      <a:pt x="872" y="490"/>
                    </a:lnTo>
                    <a:lnTo>
                      <a:pt x="869" y="491"/>
                    </a:lnTo>
                    <a:lnTo>
                      <a:pt x="869" y="489"/>
                    </a:lnTo>
                    <a:lnTo>
                      <a:pt x="867" y="491"/>
                    </a:lnTo>
                    <a:lnTo>
                      <a:pt x="867" y="488"/>
                    </a:lnTo>
                    <a:lnTo>
                      <a:pt x="863" y="484"/>
                    </a:lnTo>
                    <a:lnTo>
                      <a:pt x="865" y="484"/>
                    </a:lnTo>
                    <a:lnTo>
                      <a:pt x="867" y="481"/>
                    </a:lnTo>
                    <a:lnTo>
                      <a:pt x="869" y="484"/>
                    </a:lnTo>
                    <a:lnTo>
                      <a:pt x="869" y="481"/>
                    </a:lnTo>
                    <a:lnTo>
                      <a:pt x="867" y="477"/>
                    </a:lnTo>
                    <a:lnTo>
                      <a:pt x="865" y="480"/>
                    </a:lnTo>
                    <a:lnTo>
                      <a:pt x="863" y="477"/>
                    </a:lnTo>
                    <a:lnTo>
                      <a:pt x="865" y="477"/>
                    </a:lnTo>
                    <a:lnTo>
                      <a:pt x="864" y="473"/>
                    </a:lnTo>
                    <a:lnTo>
                      <a:pt x="861" y="470"/>
                    </a:lnTo>
                    <a:lnTo>
                      <a:pt x="858" y="471"/>
                    </a:lnTo>
                    <a:lnTo>
                      <a:pt x="858" y="468"/>
                    </a:lnTo>
                    <a:lnTo>
                      <a:pt x="860" y="466"/>
                    </a:lnTo>
                    <a:lnTo>
                      <a:pt x="860" y="460"/>
                    </a:lnTo>
                    <a:lnTo>
                      <a:pt x="858" y="460"/>
                    </a:lnTo>
                    <a:lnTo>
                      <a:pt x="854" y="457"/>
                    </a:lnTo>
                    <a:lnTo>
                      <a:pt x="854" y="453"/>
                    </a:lnTo>
                    <a:lnTo>
                      <a:pt x="850" y="449"/>
                    </a:lnTo>
                    <a:lnTo>
                      <a:pt x="846" y="452"/>
                    </a:lnTo>
                    <a:lnTo>
                      <a:pt x="844" y="452"/>
                    </a:lnTo>
                    <a:lnTo>
                      <a:pt x="842" y="454"/>
                    </a:lnTo>
                    <a:lnTo>
                      <a:pt x="839" y="452"/>
                    </a:lnTo>
                    <a:lnTo>
                      <a:pt x="839" y="456"/>
                    </a:lnTo>
                    <a:lnTo>
                      <a:pt x="837" y="452"/>
                    </a:lnTo>
                    <a:lnTo>
                      <a:pt x="835" y="452"/>
                    </a:lnTo>
                    <a:lnTo>
                      <a:pt x="834" y="450"/>
                    </a:lnTo>
                    <a:lnTo>
                      <a:pt x="831" y="450"/>
                    </a:lnTo>
                    <a:lnTo>
                      <a:pt x="827" y="453"/>
                    </a:lnTo>
                    <a:lnTo>
                      <a:pt x="823" y="454"/>
                    </a:lnTo>
                    <a:lnTo>
                      <a:pt x="826" y="452"/>
                    </a:lnTo>
                    <a:lnTo>
                      <a:pt x="827" y="449"/>
                    </a:lnTo>
                    <a:lnTo>
                      <a:pt x="823" y="449"/>
                    </a:lnTo>
                    <a:lnTo>
                      <a:pt x="817" y="445"/>
                    </a:lnTo>
                    <a:lnTo>
                      <a:pt x="813" y="442"/>
                    </a:lnTo>
                    <a:lnTo>
                      <a:pt x="808" y="442"/>
                    </a:lnTo>
                    <a:lnTo>
                      <a:pt x="806" y="440"/>
                    </a:lnTo>
                    <a:lnTo>
                      <a:pt x="804" y="441"/>
                    </a:lnTo>
                    <a:lnTo>
                      <a:pt x="803" y="441"/>
                    </a:lnTo>
                    <a:lnTo>
                      <a:pt x="800" y="443"/>
                    </a:lnTo>
                    <a:lnTo>
                      <a:pt x="800" y="446"/>
                    </a:lnTo>
                    <a:lnTo>
                      <a:pt x="799" y="446"/>
                    </a:lnTo>
                    <a:lnTo>
                      <a:pt x="798" y="445"/>
                    </a:lnTo>
                    <a:lnTo>
                      <a:pt x="796" y="446"/>
                    </a:lnTo>
                    <a:lnTo>
                      <a:pt x="796" y="450"/>
                    </a:lnTo>
                    <a:lnTo>
                      <a:pt x="793" y="456"/>
                    </a:lnTo>
                    <a:lnTo>
                      <a:pt x="793" y="462"/>
                    </a:lnTo>
                    <a:lnTo>
                      <a:pt x="795" y="465"/>
                    </a:lnTo>
                    <a:lnTo>
                      <a:pt x="796" y="466"/>
                    </a:lnTo>
                    <a:lnTo>
                      <a:pt x="796" y="467"/>
                    </a:lnTo>
                    <a:lnTo>
                      <a:pt x="798" y="468"/>
                    </a:lnTo>
                    <a:lnTo>
                      <a:pt x="798" y="472"/>
                    </a:lnTo>
                    <a:lnTo>
                      <a:pt x="797" y="473"/>
                    </a:lnTo>
                    <a:lnTo>
                      <a:pt x="796" y="473"/>
                    </a:lnTo>
                    <a:lnTo>
                      <a:pt x="795" y="477"/>
                    </a:lnTo>
                    <a:lnTo>
                      <a:pt x="791" y="484"/>
                    </a:lnTo>
                    <a:lnTo>
                      <a:pt x="785" y="489"/>
                    </a:lnTo>
                    <a:lnTo>
                      <a:pt x="785" y="492"/>
                    </a:lnTo>
                    <a:lnTo>
                      <a:pt x="786" y="493"/>
                    </a:lnTo>
                    <a:lnTo>
                      <a:pt x="791" y="492"/>
                    </a:lnTo>
                    <a:lnTo>
                      <a:pt x="792" y="492"/>
                    </a:lnTo>
                    <a:lnTo>
                      <a:pt x="790" y="494"/>
                    </a:lnTo>
                    <a:lnTo>
                      <a:pt x="789" y="499"/>
                    </a:lnTo>
                    <a:lnTo>
                      <a:pt x="789" y="501"/>
                    </a:lnTo>
                    <a:lnTo>
                      <a:pt x="792" y="501"/>
                    </a:lnTo>
                    <a:lnTo>
                      <a:pt x="789" y="502"/>
                    </a:lnTo>
                    <a:lnTo>
                      <a:pt x="788" y="505"/>
                    </a:lnTo>
                    <a:lnTo>
                      <a:pt x="789" y="508"/>
                    </a:lnTo>
                    <a:lnTo>
                      <a:pt x="790" y="509"/>
                    </a:lnTo>
                    <a:lnTo>
                      <a:pt x="787" y="513"/>
                    </a:lnTo>
                    <a:lnTo>
                      <a:pt x="788" y="515"/>
                    </a:lnTo>
                    <a:lnTo>
                      <a:pt x="792" y="515"/>
                    </a:lnTo>
                    <a:lnTo>
                      <a:pt x="792" y="517"/>
                    </a:lnTo>
                    <a:lnTo>
                      <a:pt x="789" y="523"/>
                    </a:lnTo>
                    <a:lnTo>
                      <a:pt x="786" y="525"/>
                    </a:lnTo>
                    <a:lnTo>
                      <a:pt x="785" y="528"/>
                    </a:lnTo>
                    <a:lnTo>
                      <a:pt x="787" y="530"/>
                    </a:lnTo>
                    <a:lnTo>
                      <a:pt x="785" y="529"/>
                    </a:lnTo>
                    <a:lnTo>
                      <a:pt x="783" y="525"/>
                    </a:lnTo>
                    <a:lnTo>
                      <a:pt x="782" y="525"/>
                    </a:lnTo>
                    <a:lnTo>
                      <a:pt x="778" y="530"/>
                    </a:lnTo>
                    <a:lnTo>
                      <a:pt x="779" y="531"/>
                    </a:lnTo>
                    <a:lnTo>
                      <a:pt x="780" y="532"/>
                    </a:lnTo>
                    <a:lnTo>
                      <a:pt x="780" y="534"/>
                    </a:lnTo>
                    <a:lnTo>
                      <a:pt x="778" y="537"/>
                    </a:lnTo>
                    <a:lnTo>
                      <a:pt x="776" y="537"/>
                    </a:lnTo>
                    <a:lnTo>
                      <a:pt x="768" y="546"/>
                    </a:lnTo>
                    <a:lnTo>
                      <a:pt x="765" y="548"/>
                    </a:lnTo>
                    <a:lnTo>
                      <a:pt x="764" y="555"/>
                    </a:lnTo>
                    <a:lnTo>
                      <a:pt x="764" y="557"/>
                    </a:lnTo>
                    <a:lnTo>
                      <a:pt x="768" y="558"/>
                    </a:lnTo>
                    <a:lnTo>
                      <a:pt x="768" y="562"/>
                    </a:lnTo>
                    <a:lnTo>
                      <a:pt x="771" y="564"/>
                    </a:lnTo>
                    <a:lnTo>
                      <a:pt x="776" y="572"/>
                    </a:lnTo>
                    <a:lnTo>
                      <a:pt x="777" y="581"/>
                    </a:lnTo>
                    <a:lnTo>
                      <a:pt x="776" y="591"/>
                    </a:lnTo>
                    <a:lnTo>
                      <a:pt x="778" y="597"/>
                    </a:lnTo>
                    <a:lnTo>
                      <a:pt x="778" y="601"/>
                    </a:lnTo>
                    <a:lnTo>
                      <a:pt x="778" y="607"/>
                    </a:lnTo>
                    <a:lnTo>
                      <a:pt x="777" y="608"/>
                    </a:lnTo>
                    <a:lnTo>
                      <a:pt x="775" y="616"/>
                    </a:lnTo>
                    <a:lnTo>
                      <a:pt x="774" y="621"/>
                    </a:lnTo>
                    <a:lnTo>
                      <a:pt x="775" y="620"/>
                    </a:lnTo>
                    <a:lnTo>
                      <a:pt x="775" y="617"/>
                    </a:lnTo>
                    <a:lnTo>
                      <a:pt x="777" y="615"/>
                    </a:lnTo>
                    <a:lnTo>
                      <a:pt x="778" y="619"/>
                    </a:lnTo>
                    <a:lnTo>
                      <a:pt x="780" y="623"/>
                    </a:lnTo>
                    <a:lnTo>
                      <a:pt x="778" y="626"/>
                    </a:lnTo>
                    <a:lnTo>
                      <a:pt x="775" y="626"/>
                    </a:lnTo>
                    <a:lnTo>
                      <a:pt x="774" y="625"/>
                    </a:lnTo>
                    <a:lnTo>
                      <a:pt x="771" y="625"/>
                    </a:lnTo>
                    <a:lnTo>
                      <a:pt x="768" y="632"/>
                    </a:lnTo>
                    <a:lnTo>
                      <a:pt x="764" y="633"/>
                    </a:lnTo>
                    <a:lnTo>
                      <a:pt x="764" y="636"/>
                    </a:lnTo>
                    <a:lnTo>
                      <a:pt x="757" y="640"/>
                    </a:lnTo>
                    <a:lnTo>
                      <a:pt x="756" y="642"/>
                    </a:lnTo>
                    <a:lnTo>
                      <a:pt x="756" y="643"/>
                    </a:lnTo>
                    <a:lnTo>
                      <a:pt x="747" y="647"/>
                    </a:lnTo>
                    <a:lnTo>
                      <a:pt x="741" y="650"/>
                    </a:lnTo>
                    <a:lnTo>
                      <a:pt x="740" y="652"/>
                    </a:lnTo>
                    <a:lnTo>
                      <a:pt x="737" y="652"/>
                    </a:lnTo>
                    <a:lnTo>
                      <a:pt x="734" y="654"/>
                    </a:lnTo>
                    <a:lnTo>
                      <a:pt x="728" y="656"/>
                    </a:lnTo>
                    <a:lnTo>
                      <a:pt x="725" y="657"/>
                    </a:lnTo>
                    <a:lnTo>
                      <a:pt x="726" y="660"/>
                    </a:lnTo>
                    <a:lnTo>
                      <a:pt x="726" y="663"/>
                    </a:lnTo>
                    <a:lnTo>
                      <a:pt x="727" y="666"/>
                    </a:lnTo>
                    <a:lnTo>
                      <a:pt x="727" y="668"/>
                    </a:lnTo>
                    <a:lnTo>
                      <a:pt x="728" y="671"/>
                    </a:lnTo>
                    <a:lnTo>
                      <a:pt x="726" y="672"/>
                    </a:lnTo>
                    <a:lnTo>
                      <a:pt x="727" y="674"/>
                    </a:lnTo>
                    <a:lnTo>
                      <a:pt x="729" y="675"/>
                    </a:lnTo>
                    <a:lnTo>
                      <a:pt x="727" y="676"/>
                    </a:lnTo>
                    <a:lnTo>
                      <a:pt x="729" y="679"/>
                    </a:lnTo>
                    <a:lnTo>
                      <a:pt x="727" y="680"/>
                    </a:lnTo>
                    <a:lnTo>
                      <a:pt x="728" y="684"/>
                    </a:lnTo>
                    <a:lnTo>
                      <a:pt x="726" y="685"/>
                    </a:lnTo>
                    <a:lnTo>
                      <a:pt x="726" y="691"/>
                    </a:lnTo>
                    <a:lnTo>
                      <a:pt x="726" y="694"/>
                    </a:lnTo>
                    <a:lnTo>
                      <a:pt x="724" y="702"/>
                    </a:lnTo>
                    <a:lnTo>
                      <a:pt x="724" y="704"/>
                    </a:lnTo>
                    <a:lnTo>
                      <a:pt x="726" y="705"/>
                    </a:lnTo>
                    <a:lnTo>
                      <a:pt x="726" y="707"/>
                    </a:lnTo>
                    <a:lnTo>
                      <a:pt x="726" y="709"/>
                    </a:lnTo>
                    <a:lnTo>
                      <a:pt x="724" y="713"/>
                    </a:lnTo>
                    <a:lnTo>
                      <a:pt x="724" y="716"/>
                    </a:lnTo>
                    <a:lnTo>
                      <a:pt x="726" y="718"/>
                    </a:lnTo>
                    <a:lnTo>
                      <a:pt x="726" y="722"/>
                    </a:lnTo>
                    <a:lnTo>
                      <a:pt x="727" y="724"/>
                    </a:lnTo>
                    <a:lnTo>
                      <a:pt x="724" y="728"/>
                    </a:lnTo>
                    <a:lnTo>
                      <a:pt x="723" y="732"/>
                    </a:lnTo>
                    <a:lnTo>
                      <a:pt x="721" y="733"/>
                    </a:lnTo>
                    <a:lnTo>
                      <a:pt x="719" y="732"/>
                    </a:lnTo>
                    <a:lnTo>
                      <a:pt x="720" y="735"/>
                    </a:lnTo>
                    <a:lnTo>
                      <a:pt x="722" y="738"/>
                    </a:lnTo>
                    <a:lnTo>
                      <a:pt x="720" y="740"/>
                    </a:lnTo>
                    <a:lnTo>
                      <a:pt x="719" y="746"/>
                    </a:lnTo>
                    <a:lnTo>
                      <a:pt x="720" y="749"/>
                    </a:lnTo>
                    <a:lnTo>
                      <a:pt x="723" y="753"/>
                    </a:lnTo>
                    <a:lnTo>
                      <a:pt x="726" y="755"/>
                    </a:lnTo>
                    <a:lnTo>
                      <a:pt x="720" y="754"/>
                    </a:lnTo>
                    <a:lnTo>
                      <a:pt x="717" y="751"/>
                    </a:lnTo>
                    <a:lnTo>
                      <a:pt x="718" y="746"/>
                    </a:lnTo>
                    <a:lnTo>
                      <a:pt x="716" y="740"/>
                    </a:lnTo>
                    <a:lnTo>
                      <a:pt x="715" y="740"/>
                    </a:lnTo>
                    <a:lnTo>
                      <a:pt x="715" y="738"/>
                    </a:lnTo>
                    <a:lnTo>
                      <a:pt x="716" y="735"/>
                    </a:lnTo>
                    <a:lnTo>
                      <a:pt x="714" y="735"/>
                    </a:lnTo>
                    <a:lnTo>
                      <a:pt x="709" y="742"/>
                    </a:lnTo>
                    <a:lnTo>
                      <a:pt x="709" y="746"/>
                    </a:lnTo>
                    <a:lnTo>
                      <a:pt x="709" y="748"/>
                    </a:lnTo>
                    <a:lnTo>
                      <a:pt x="706" y="748"/>
                    </a:lnTo>
                    <a:lnTo>
                      <a:pt x="704" y="745"/>
                    </a:lnTo>
                    <a:lnTo>
                      <a:pt x="700" y="743"/>
                    </a:lnTo>
                    <a:lnTo>
                      <a:pt x="697" y="746"/>
                    </a:lnTo>
                    <a:lnTo>
                      <a:pt x="692" y="749"/>
                    </a:lnTo>
                    <a:lnTo>
                      <a:pt x="698" y="743"/>
                    </a:lnTo>
                    <a:lnTo>
                      <a:pt x="699" y="739"/>
                    </a:lnTo>
                    <a:lnTo>
                      <a:pt x="699" y="736"/>
                    </a:lnTo>
                    <a:lnTo>
                      <a:pt x="698" y="731"/>
                    </a:lnTo>
                    <a:lnTo>
                      <a:pt x="696" y="728"/>
                    </a:lnTo>
                    <a:lnTo>
                      <a:pt x="695" y="725"/>
                    </a:lnTo>
                    <a:lnTo>
                      <a:pt x="695" y="725"/>
                    </a:lnTo>
                    <a:lnTo>
                      <a:pt x="692" y="724"/>
                    </a:lnTo>
                    <a:lnTo>
                      <a:pt x="689" y="722"/>
                    </a:lnTo>
                    <a:lnTo>
                      <a:pt x="689" y="720"/>
                    </a:lnTo>
                    <a:lnTo>
                      <a:pt x="688" y="718"/>
                    </a:lnTo>
                    <a:lnTo>
                      <a:pt x="689" y="716"/>
                    </a:lnTo>
                    <a:lnTo>
                      <a:pt x="688" y="713"/>
                    </a:lnTo>
                    <a:lnTo>
                      <a:pt x="685" y="711"/>
                    </a:lnTo>
                    <a:lnTo>
                      <a:pt x="685" y="708"/>
                    </a:lnTo>
                    <a:lnTo>
                      <a:pt x="683" y="704"/>
                    </a:lnTo>
                    <a:lnTo>
                      <a:pt x="681" y="702"/>
                    </a:lnTo>
                    <a:lnTo>
                      <a:pt x="683" y="695"/>
                    </a:lnTo>
                    <a:lnTo>
                      <a:pt x="686" y="692"/>
                    </a:lnTo>
                    <a:lnTo>
                      <a:pt x="687" y="688"/>
                    </a:lnTo>
                    <a:lnTo>
                      <a:pt x="687" y="685"/>
                    </a:lnTo>
                    <a:lnTo>
                      <a:pt x="691" y="678"/>
                    </a:lnTo>
                    <a:lnTo>
                      <a:pt x="691" y="671"/>
                    </a:lnTo>
                    <a:lnTo>
                      <a:pt x="689" y="670"/>
                    </a:lnTo>
                    <a:lnTo>
                      <a:pt x="689" y="666"/>
                    </a:lnTo>
                    <a:lnTo>
                      <a:pt x="691" y="662"/>
                    </a:lnTo>
                    <a:lnTo>
                      <a:pt x="693" y="659"/>
                    </a:lnTo>
                    <a:lnTo>
                      <a:pt x="693" y="656"/>
                    </a:lnTo>
                    <a:lnTo>
                      <a:pt x="697" y="647"/>
                    </a:lnTo>
                    <a:lnTo>
                      <a:pt x="696" y="642"/>
                    </a:lnTo>
                    <a:lnTo>
                      <a:pt x="695" y="642"/>
                    </a:lnTo>
                    <a:lnTo>
                      <a:pt x="694" y="642"/>
                    </a:lnTo>
                    <a:lnTo>
                      <a:pt x="694" y="642"/>
                    </a:lnTo>
                    <a:lnTo>
                      <a:pt x="692" y="642"/>
                    </a:lnTo>
                    <a:lnTo>
                      <a:pt x="688" y="643"/>
                    </a:lnTo>
                    <a:lnTo>
                      <a:pt x="684" y="642"/>
                    </a:lnTo>
                    <a:lnTo>
                      <a:pt x="679" y="640"/>
                    </a:lnTo>
                    <a:lnTo>
                      <a:pt x="678" y="640"/>
                    </a:lnTo>
                    <a:lnTo>
                      <a:pt x="677" y="639"/>
                    </a:lnTo>
                    <a:lnTo>
                      <a:pt x="671" y="639"/>
                    </a:lnTo>
                    <a:lnTo>
                      <a:pt x="667" y="639"/>
                    </a:lnTo>
                    <a:lnTo>
                      <a:pt x="667" y="639"/>
                    </a:lnTo>
                    <a:lnTo>
                      <a:pt x="662" y="639"/>
                    </a:lnTo>
                    <a:lnTo>
                      <a:pt x="661" y="637"/>
                    </a:lnTo>
                    <a:lnTo>
                      <a:pt x="661" y="635"/>
                    </a:lnTo>
                    <a:lnTo>
                      <a:pt x="658" y="632"/>
                    </a:lnTo>
                    <a:lnTo>
                      <a:pt x="657" y="629"/>
                    </a:lnTo>
                    <a:lnTo>
                      <a:pt x="653" y="624"/>
                    </a:lnTo>
                    <a:lnTo>
                      <a:pt x="650" y="623"/>
                    </a:lnTo>
                    <a:lnTo>
                      <a:pt x="647" y="620"/>
                    </a:lnTo>
                    <a:lnTo>
                      <a:pt x="644" y="619"/>
                    </a:lnTo>
                    <a:lnTo>
                      <a:pt x="639" y="615"/>
                    </a:lnTo>
                    <a:lnTo>
                      <a:pt x="637" y="612"/>
                    </a:lnTo>
                    <a:lnTo>
                      <a:pt x="635" y="614"/>
                    </a:lnTo>
                    <a:lnTo>
                      <a:pt x="636" y="612"/>
                    </a:lnTo>
                    <a:lnTo>
                      <a:pt x="633" y="606"/>
                    </a:lnTo>
                    <a:lnTo>
                      <a:pt x="632" y="604"/>
                    </a:lnTo>
                    <a:lnTo>
                      <a:pt x="632" y="601"/>
                    </a:lnTo>
                    <a:lnTo>
                      <a:pt x="629" y="599"/>
                    </a:lnTo>
                    <a:lnTo>
                      <a:pt x="627" y="594"/>
                    </a:lnTo>
                    <a:lnTo>
                      <a:pt x="625" y="593"/>
                    </a:lnTo>
                    <a:lnTo>
                      <a:pt x="620" y="587"/>
                    </a:lnTo>
                    <a:lnTo>
                      <a:pt x="618" y="587"/>
                    </a:lnTo>
                    <a:lnTo>
                      <a:pt x="616" y="585"/>
                    </a:lnTo>
                    <a:lnTo>
                      <a:pt x="610" y="583"/>
                    </a:lnTo>
                    <a:lnTo>
                      <a:pt x="605" y="578"/>
                    </a:lnTo>
                    <a:lnTo>
                      <a:pt x="599" y="573"/>
                    </a:lnTo>
                    <a:lnTo>
                      <a:pt x="595" y="573"/>
                    </a:lnTo>
                    <a:lnTo>
                      <a:pt x="584" y="578"/>
                    </a:lnTo>
                    <a:lnTo>
                      <a:pt x="574" y="582"/>
                    </a:lnTo>
                    <a:lnTo>
                      <a:pt x="570" y="581"/>
                    </a:lnTo>
                    <a:lnTo>
                      <a:pt x="567" y="580"/>
                    </a:lnTo>
                    <a:lnTo>
                      <a:pt x="570" y="580"/>
                    </a:lnTo>
                    <a:lnTo>
                      <a:pt x="574" y="579"/>
                    </a:lnTo>
                    <a:lnTo>
                      <a:pt x="582" y="569"/>
                    </a:lnTo>
                    <a:lnTo>
                      <a:pt x="584" y="566"/>
                    </a:lnTo>
                    <a:lnTo>
                      <a:pt x="583" y="559"/>
                    </a:lnTo>
                    <a:lnTo>
                      <a:pt x="581" y="556"/>
                    </a:lnTo>
                    <a:lnTo>
                      <a:pt x="583" y="549"/>
                    </a:lnTo>
                    <a:lnTo>
                      <a:pt x="583" y="542"/>
                    </a:lnTo>
                    <a:lnTo>
                      <a:pt x="581" y="538"/>
                    </a:lnTo>
                    <a:lnTo>
                      <a:pt x="581" y="534"/>
                    </a:lnTo>
                    <a:lnTo>
                      <a:pt x="582" y="530"/>
                    </a:lnTo>
                    <a:lnTo>
                      <a:pt x="582" y="527"/>
                    </a:lnTo>
                    <a:lnTo>
                      <a:pt x="580" y="525"/>
                    </a:lnTo>
                    <a:lnTo>
                      <a:pt x="572" y="526"/>
                    </a:lnTo>
                    <a:lnTo>
                      <a:pt x="568" y="535"/>
                    </a:lnTo>
                    <a:lnTo>
                      <a:pt x="564" y="542"/>
                    </a:lnTo>
                    <a:lnTo>
                      <a:pt x="557" y="542"/>
                    </a:lnTo>
                    <a:lnTo>
                      <a:pt x="553" y="546"/>
                    </a:lnTo>
                    <a:lnTo>
                      <a:pt x="554" y="543"/>
                    </a:lnTo>
                    <a:lnTo>
                      <a:pt x="562" y="541"/>
                    </a:lnTo>
                    <a:lnTo>
                      <a:pt x="566" y="537"/>
                    </a:lnTo>
                    <a:lnTo>
                      <a:pt x="568" y="528"/>
                    </a:lnTo>
                    <a:lnTo>
                      <a:pt x="567" y="528"/>
                    </a:lnTo>
                    <a:lnTo>
                      <a:pt x="567" y="524"/>
                    </a:lnTo>
                    <a:lnTo>
                      <a:pt x="566" y="521"/>
                    </a:lnTo>
                    <a:lnTo>
                      <a:pt x="567" y="518"/>
                    </a:lnTo>
                    <a:lnTo>
                      <a:pt x="566" y="516"/>
                    </a:lnTo>
                    <a:lnTo>
                      <a:pt x="563" y="515"/>
                    </a:lnTo>
                    <a:lnTo>
                      <a:pt x="564" y="514"/>
                    </a:lnTo>
                    <a:lnTo>
                      <a:pt x="567" y="513"/>
                    </a:lnTo>
                    <a:lnTo>
                      <a:pt x="567" y="510"/>
                    </a:lnTo>
                    <a:lnTo>
                      <a:pt x="571" y="504"/>
                    </a:lnTo>
                    <a:lnTo>
                      <a:pt x="571" y="500"/>
                    </a:lnTo>
                    <a:lnTo>
                      <a:pt x="569" y="498"/>
                    </a:lnTo>
                    <a:lnTo>
                      <a:pt x="571" y="491"/>
                    </a:lnTo>
                    <a:lnTo>
                      <a:pt x="574" y="490"/>
                    </a:lnTo>
                    <a:lnTo>
                      <a:pt x="574" y="485"/>
                    </a:lnTo>
                    <a:lnTo>
                      <a:pt x="576" y="482"/>
                    </a:lnTo>
                    <a:lnTo>
                      <a:pt x="577" y="476"/>
                    </a:lnTo>
                    <a:lnTo>
                      <a:pt x="580" y="473"/>
                    </a:lnTo>
                    <a:lnTo>
                      <a:pt x="578" y="469"/>
                    </a:lnTo>
                    <a:lnTo>
                      <a:pt x="578" y="467"/>
                    </a:lnTo>
                    <a:lnTo>
                      <a:pt x="581" y="470"/>
                    </a:lnTo>
                    <a:lnTo>
                      <a:pt x="584" y="466"/>
                    </a:lnTo>
                    <a:lnTo>
                      <a:pt x="584" y="463"/>
                    </a:lnTo>
                    <a:lnTo>
                      <a:pt x="588" y="463"/>
                    </a:lnTo>
                    <a:lnTo>
                      <a:pt x="592" y="457"/>
                    </a:lnTo>
                    <a:lnTo>
                      <a:pt x="595" y="456"/>
                    </a:lnTo>
                    <a:lnTo>
                      <a:pt x="594" y="452"/>
                    </a:lnTo>
                    <a:lnTo>
                      <a:pt x="595" y="450"/>
                    </a:lnTo>
                    <a:lnTo>
                      <a:pt x="598" y="450"/>
                    </a:lnTo>
                    <a:lnTo>
                      <a:pt x="598" y="449"/>
                    </a:lnTo>
                    <a:lnTo>
                      <a:pt x="597" y="446"/>
                    </a:lnTo>
                    <a:lnTo>
                      <a:pt x="600" y="444"/>
                    </a:lnTo>
                    <a:lnTo>
                      <a:pt x="602" y="439"/>
                    </a:lnTo>
                    <a:lnTo>
                      <a:pt x="605" y="439"/>
                    </a:lnTo>
                    <a:lnTo>
                      <a:pt x="605" y="438"/>
                    </a:lnTo>
                    <a:lnTo>
                      <a:pt x="606" y="436"/>
                    </a:lnTo>
                    <a:lnTo>
                      <a:pt x="603" y="433"/>
                    </a:lnTo>
                    <a:lnTo>
                      <a:pt x="605" y="432"/>
                    </a:lnTo>
                    <a:lnTo>
                      <a:pt x="605" y="430"/>
                    </a:lnTo>
                    <a:lnTo>
                      <a:pt x="607" y="430"/>
                    </a:lnTo>
                    <a:lnTo>
                      <a:pt x="610" y="433"/>
                    </a:lnTo>
                    <a:lnTo>
                      <a:pt x="610" y="435"/>
                    </a:lnTo>
                    <a:lnTo>
                      <a:pt x="612" y="434"/>
                    </a:lnTo>
                    <a:lnTo>
                      <a:pt x="611" y="432"/>
                    </a:lnTo>
                    <a:lnTo>
                      <a:pt x="609" y="430"/>
                    </a:lnTo>
                    <a:lnTo>
                      <a:pt x="613" y="428"/>
                    </a:lnTo>
                    <a:lnTo>
                      <a:pt x="615" y="426"/>
                    </a:lnTo>
                    <a:lnTo>
                      <a:pt x="618" y="426"/>
                    </a:lnTo>
                    <a:lnTo>
                      <a:pt x="619" y="427"/>
                    </a:lnTo>
                    <a:lnTo>
                      <a:pt x="619" y="425"/>
                    </a:lnTo>
                    <a:lnTo>
                      <a:pt x="619" y="423"/>
                    </a:lnTo>
                    <a:lnTo>
                      <a:pt x="620" y="423"/>
                    </a:lnTo>
                    <a:lnTo>
                      <a:pt x="620" y="427"/>
                    </a:lnTo>
                    <a:lnTo>
                      <a:pt x="622" y="424"/>
                    </a:lnTo>
                    <a:lnTo>
                      <a:pt x="622" y="421"/>
                    </a:lnTo>
                    <a:lnTo>
                      <a:pt x="621" y="419"/>
                    </a:lnTo>
                    <a:lnTo>
                      <a:pt x="621" y="417"/>
                    </a:lnTo>
                    <a:lnTo>
                      <a:pt x="622" y="418"/>
                    </a:lnTo>
                    <a:lnTo>
                      <a:pt x="627" y="419"/>
                    </a:lnTo>
                    <a:lnTo>
                      <a:pt x="626" y="417"/>
                    </a:lnTo>
                    <a:lnTo>
                      <a:pt x="624" y="416"/>
                    </a:lnTo>
                    <a:lnTo>
                      <a:pt x="623" y="414"/>
                    </a:lnTo>
                    <a:lnTo>
                      <a:pt x="625" y="413"/>
                    </a:lnTo>
                    <a:lnTo>
                      <a:pt x="625" y="411"/>
                    </a:lnTo>
                    <a:lnTo>
                      <a:pt x="626" y="415"/>
                    </a:lnTo>
                    <a:lnTo>
                      <a:pt x="629" y="415"/>
                    </a:lnTo>
                    <a:lnTo>
                      <a:pt x="630" y="415"/>
                    </a:lnTo>
                    <a:lnTo>
                      <a:pt x="632" y="414"/>
                    </a:lnTo>
                    <a:lnTo>
                      <a:pt x="629" y="408"/>
                    </a:lnTo>
                    <a:lnTo>
                      <a:pt x="627" y="401"/>
                    </a:lnTo>
                    <a:lnTo>
                      <a:pt x="625" y="397"/>
                    </a:lnTo>
                    <a:lnTo>
                      <a:pt x="625" y="394"/>
                    </a:lnTo>
                    <a:lnTo>
                      <a:pt x="624" y="392"/>
                    </a:lnTo>
                    <a:lnTo>
                      <a:pt x="625" y="390"/>
                    </a:lnTo>
                    <a:lnTo>
                      <a:pt x="627" y="393"/>
                    </a:lnTo>
                    <a:lnTo>
                      <a:pt x="628" y="398"/>
                    </a:lnTo>
                    <a:lnTo>
                      <a:pt x="632" y="404"/>
                    </a:lnTo>
                    <a:lnTo>
                      <a:pt x="638" y="406"/>
                    </a:lnTo>
                    <a:lnTo>
                      <a:pt x="640" y="408"/>
                    </a:lnTo>
                    <a:lnTo>
                      <a:pt x="644" y="408"/>
                    </a:lnTo>
                    <a:lnTo>
                      <a:pt x="646" y="406"/>
                    </a:lnTo>
                    <a:lnTo>
                      <a:pt x="648" y="406"/>
                    </a:lnTo>
                    <a:lnTo>
                      <a:pt x="651" y="401"/>
                    </a:lnTo>
                    <a:lnTo>
                      <a:pt x="652" y="394"/>
                    </a:lnTo>
                    <a:lnTo>
                      <a:pt x="647" y="386"/>
                    </a:lnTo>
                    <a:lnTo>
                      <a:pt x="646" y="382"/>
                    </a:lnTo>
                    <a:lnTo>
                      <a:pt x="644" y="380"/>
                    </a:lnTo>
                    <a:lnTo>
                      <a:pt x="643" y="380"/>
                    </a:lnTo>
                    <a:lnTo>
                      <a:pt x="640" y="383"/>
                    </a:lnTo>
                    <a:lnTo>
                      <a:pt x="635" y="383"/>
                    </a:lnTo>
                    <a:lnTo>
                      <a:pt x="633" y="385"/>
                    </a:lnTo>
                    <a:lnTo>
                      <a:pt x="633" y="383"/>
                    </a:lnTo>
                    <a:lnTo>
                      <a:pt x="633" y="381"/>
                    </a:lnTo>
                    <a:lnTo>
                      <a:pt x="634" y="382"/>
                    </a:lnTo>
                    <a:lnTo>
                      <a:pt x="638" y="381"/>
                    </a:lnTo>
                    <a:lnTo>
                      <a:pt x="641" y="379"/>
                    </a:lnTo>
                    <a:lnTo>
                      <a:pt x="640" y="377"/>
                    </a:lnTo>
                    <a:lnTo>
                      <a:pt x="636" y="373"/>
                    </a:lnTo>
                    <a:lnTo>
                      <a:pt x="629" y="366"/>
                    </a:lnTo>
                    <a:lnTo>
                      <a:pt x="629" y="366"/>
                    </a:lnTo>
                    <a:lnTo>
                      <a:pt x="628" y="368"/>
                    </a:lnTo>
                    <a:lnTo>
                      <a:pt x="629" y="370"/>
                    </a:lnTo>
                    <a:lnTo>
                      <a:pt x="629" y="372"/>
                    </a:lnTo>
                    <a:lnTo>
                      <a:pt x="626" y="369"/>
                    </a:lnTo>
                    <a:lnTo>
                      <a:pt x="624" y="364"/>
                    </a:lnTo>
                    <a:lnTo>
                      <a:pt x="627" y="365"/>
                    </a:lnTo>
                    <a:lnTo>
                      <a:pt x="627" y="360"/>
                    </a:lnTo>
                    <a:lnTo>
                      <a:pt x="629" y="363"/>
                    </a:lnTo>
                    <a:lnTo>
                      <a:pt x="633" y="366"/>
                    </a:lnTo>
                    <a:lnTo>
                      <a:pt x="634" y="367"/>
                    </a:lnTo>
                    <a:lnTo>
                      <a:pt x="636" y="372"/>
                    </a:lnTo>
                    <a:lnTo>
                      <a:pt x="642" y="376"/>
                    </a:lnTo>
                    <a:lnTo>
                      <a:pt x="647" y="378"/>
                    </a:lnTo>
                    <a:lnTo>
                      <a:pt x="650" y="383"/>
                    </a:lnTo>
                    <a:lnTo>
                      <a:pt x="652" y="384"/>
                    </a:lnTo>
                    <a:lnTo>
                      <a:pt x="653" y="387"/>
                    </a:lnTo>
                    <a:lnTo>
                      <a:pt x="656" y="388"/>
                    </a:lnTo>
                    <a:lnTo>
                      <a:pt x="657" y="390"/>
                    </a:lnTo>
                    <a:lnTo>
                      <a:pt x="657" y="386"/>
                    </a:lnTo>
                    <a:lnTo>
                      <a:pt x="660" y="383"/>
                    </a:lnTo>
                    <a:lnTo>
                      <a:pt x="658" y="382"/>
                    </a:lnTo>
                    <a:lnTo>
                      <a:pt x="659" y="379"/>
                    </a:lnTo>
                    <a:lnTo>
                      <a:pt x="661" y="383"/>
                    </a:lnTo>
                    <a:lnTo>
                      <a:pt x="661" y="385"/>
                    </a:lnTo>
                    <a:lnTo>
                      <a:pt x="663" y="386"/>
                    </a:lnTo>
                    <a:lnTo>
                      <a:pt x="667" y="380"/>
                    </a:lnTo>
                    <a:lnTo>
                      <a:pt x="667" y="373"/>
                    </a:lnTo>
                    <a:lnTo>
                      <a:pt x="665" y="372"/>
                    </a:lnTo>
                    <a:lnTo>
                      <a:pt x="667" y="367"/>
                    </a:lnTo>
                    <a:lnTo>
                      <a:pt x="668" y="372"/>
                    </a:lnTo>
                    <a:lnTo>
                      <a:pt x="668" y="375"/>
                    </a:lnTo>
                    <a:lnTo>
                      <a:pt x="671" y="369"/>
                    </a:lnTo>
                    <a:lnTo>
                      <a:pt x="673" y="366"/>
                    </a:lnTo>
                    <a:lnTo>
                      <a:pt x="674" y="369"/>
                    </a:lnTo>
                    <a:lnTo>
                      <a:pt x="674" y="370"/>
                    </a:lnTo>
                    <a:lnTo>
                      <a:pt x="673" y="373"/>
                    </a:lnTo>
                    <a:lnTo>
                      <a:pt x="674" y="373"/>
                    </a:lnTo>
                    <a:lnTo>
                      <a:pt x="674" y="376"/>
                    </a:lnTo>
                    <a:lnTo>
                      <a:pt x="676" y="373"/>
                    </a:lnTo>
                    <a:lnTo>
                      <a:pt x="678" y="374"/>
                    </a:lnTo>
                    <a:lnTo>
                      <a:pt x="681" y="379"/>
                    </a:lnTo>
                    <a:lnTo>
                      <a:pt x="682" y="377"/>
                    </a:lnTo>
                    <a:lnTo>
                      <a:pt x="684" y="377"/>
                    </a:lnTo>
                    <a:lnTo>
                      <a:pt x="685" y="378"/>
                    </a:lnTo>
                    <a:lnTo>
                      <a:pt x="688" y="378"/>
                    </a:lnTo>
                    <a:lnTo>
                      <a:pt x="690" y="373"/>
                    </a:lnTo>
                    <a:lnTo>
                      <a:pt x="694" y="370"/>
                    </a:lnTo>
                    <a:lnTo>
                      <a:pt x="703" y="359"/>
                    </a:lnTo>
                    <a:lnTo>
                      <a:pt x="703" y="357"/>
                    </a:lnTo>
                    <a:lnTo>
                      <a:pt x="705" y="356"/>
                    </a:lnTo>
                    <a:lnTo>
                      <a:pt x="705" y="358"/>
                    </a:lnTo>
                    <a:lnTo>
                      <a:pt x="709" y="351"/>
                    </a:lnTo>
                    <a:lnTo>
                      <a:pt x="712" y="349"/>
                    </a:lnTo>
                    <a:lnTo>
                      <a:pt x="715" y="347"/>
                    </a:lnTo>
                    <a:lnTo>
                      <a:pt x="716" y="345"/>
                    </a:lnTo>
                    <a:lnTo>
                      <a:pt x="716" y="342"/>
                    </a:lnTo>
                    <a:lnTo>
                      <a:pt x="706" y="339"/>
                    </a:lnTo>
                    <a:lnTo>
                      <a:pt x="700" y="337"/>
                    </a:lnTo>
                    <a:lnTo>
                      <a:pt x="695" y="335"/>
                    </a:lnTo>
                    <a:lnTo>
                      <a:pt x="693" y="330"/>
                    </a:lnTo>
                    <a:lnTo>
                      <a:pt x="690" y="323"/>
                    </a:lnTo>
                    <a:lnTo>
                      <a:pt x="688" y="323"/>
                    </a:lnTo>
                    <a:lnTo>
                      <a:pt x="688" y="318"/>
                    </a:lnTo>
                    <a:lnTo>
                      <a:pt x="688" y="316"/>
                    </a:lnTo>
                    <a:lnTo>
                      <a:pt x="688" y="315"/>
                    </a:lnTo>
                    <a:lnTo>
                      <a:pt x="689" y="315"/>
                    </a:lnTo>
                    <a:lnTo>
                      <a:pt x="690" y="313"/>
                    </a:lnTo>
                    <a:lnTo>
                      <a:pt x="688" y="311"/>
                    </a:lnTo>
                    <a:lnTo>
                      <a:pt x="682" y="311"/>
                    </a:lnTo>
                    <a:lnTo>
                      <a:pt x="676" y="309"/>
                    </a:lnTo>
                    <a:lnTo>
                      <a:pt x="674" y="309"/>
                    </a:lnTo>
                    <a:lnTo>
                      <a:pt x="674" y="311"/>
                    </a:lnTo>
                    <a:lnTo>
                      <a:pt x="672" y="308"/>
                    </a:lnTo>
                    <a:lnTo>
                      <a:pt x="672" y="306"/>
                    </a:lnTo>
                    <a:lnTo>
                      <a:pt x="674" y="308"/>
                    </a:lnTo>
                    <a:lnTo>
                      <a:pt x="681" y="308"/>
                    </a:lnTo>
                    <a:lnTo>
                      <a:pt x="685" y="311"/>
                    </a:lnTo>
                    <a:lnTo>
                      <a:pt x="691" y="311"/>
                    </a:lnTo>
                    <a:lnTo>
                      <a:pt x="694" y="314"/>
                    </a:lnTo>
                    <a:lnTo>
                      <a:pt x="697" y="321"/>
                    </a:lnTo>
                    <a:lnTo>
                      <a:pt x="700" y="321"/>
                    </a:lnTo>
                    <a:lnTo>
                      <a:pt x="701" y="324"/>
                    </a:lnTo>
                    <a:lnTo>
                      <a:pt x="700" y="325"/>
                    </a:lnTo>
                    <a:lnTo>
                      <a:pt x="699" y="325"/>
                    </a:lnTo>
                    <a:lnTo>
                      <a:pt x="699" y="326"/>
                    </a:lnTo>
                    <a:lnTo>
                      <a:pt x="703" y="328"/>
                    </a:lnTo>
                    <a:lnTo>
                      <a:pt x="704" y="332"/>
                    </a:lnTo>
                    <a:lnTo>
                      <a:pt x="706" y="335"/>
                    </a:lnTo>
                    <a:lnTo>
                      <a:pt x="715" y="338"/>
                    </a:lnTo>
                    <a:lnTo>
                      <a:pt x="717" y="337"/>
                    </a:lnTo>
                    <a:lnTo>
                      <a:pt x="719" y="332"/>
                    </a:lnTo>
                    <a:lnTo>
                      <a:pt x="721" y="331"/>
                    </a:lnTo>
                    <a:lnTo>
                      <a:pt x="723" y="332"/>
                    </a:lnTo>
                    <a:lnTo>
                      <a:pt x="726" y="327"/>
                    </a:lnTo>
                    <a:lnTo>
                      <a:pt x="729" y="322"/>
                    </a:lnTo>
                    <a:lnTo>
                      <a:pt x="736" y="317"/>
                    </a:lnTo>
                    <a:lnTo>
                      <a:pt x="737" y="316"/>
                    </a:lnTo>
                    <a:lnTo>
                      <a:pt x="740" y="311"/>
                    </a:lnTo>
                    <a:lnTo>
                      <a:pt x="738" y="308"/>
                    </a:lnTo>
                    <a:lnTo>
                      <a:pt x="734" y="308"/>
                    </a:lnTo>
                    <a:lnTo>
                      <a:pt x="733" y="305"/>
                    </a:lnTo>
                    <a:lnTo>
                      <a:pt x="733" y="302"/>
                    </a:lnTo>
                    <a:lnTo>
                      <a:pt x="734" y="301"/>
                    </a:lnTo>
                    <a:lnTo>
                      <a:pt x="733" y="299"/>
                    </a:lnTo>
                    <a:lnTo>
                      <a:pt x="734" y="296"/>
                    </a:lnTo>
                    <a:lnTo>
                      <a:pt x="737" y="299"/>
                    </a:lnTo>
                    <a:lnTo>
                      <a:pt x="740" y="298"/>
                    </a:lnTo>
                    <a:lnTo>
                      <a:pt x="742" y="301"/>
                    </a:lnTo>
                    <a:lnTo>
                      <a:pt x="745" y="301"/>
                    </a:lnTo>
                    <a:lnTo>
                      <a:pt x="749" y="298"/>
                    </a:lnTo>
                    <a:lnTo>
                      <a:pt x="749" y="300"/>
                    </a:lnTo>
                    <a:lnTo>
                      <a:pt x="751" y="301"/>
                    </a:lnTo>
                    <a:lnTo>
                      <a:pt x="751" y="301"/>
                    </a:lnTo>
                    <a:lnTo>
                      <a:pt x="749" y="307"/>
                    </a:lnTo>
                    <a:lnTo>
                      <a:pt x="749" y="309"/>
                    </a:lnTo>
                    <a:lnTo>
                      <a:pt x="751" y="308"/>
                    </a:lnTo>
                    <a:lnTo>
                      <a:pt x="751" y="309"/>
                    </a:lnTo>
                    <a:lnTo>
                      <a:pt x="754" y="310"/>
                    </a:lnTo>
                    <a:lnTo>
                      <a:pt x="757" y="312"/>
                    </a:lnTo>
                    <a:lnTo>
                      <a:pt x="757" y="309"/>
                    </a:lnTo>
                    <a:lnTo>
                      <a:pt x="754" y="306"/>
                    </a:lnTo>
                    <a:lnTo>
                      <a:pt x="757" y="304"/>
                    </a:lnTo>
                    <a:lnTo>
                      <a:pt x="757" y="306"/>
                    </a:lnTo>
                    <a:lnTo>
                      <a:pt x="759" y="307"/>
                    </a:lnTo>
                    <a:lnTo>
                      <a:pt x="759" y="310"/>
                    </a:lnTo>
                    <a:lnTo>
                      <a:pt x="764" y="314"/>
                    </a:lnTo>
                    <a:lnTo>
                      <a:pt x="765" y="314"/>
                    </a:lnTo>
                    <a:lnTo>
                      <a:pt x="765" y="311"/>
                    </a:lnTo>
                    <a:lnTo>
                      <a:pt x="764" y="311"/>
                    </a:lnTo>
                    <a:lnTo>
                      <a:pt x="765" y="308"/>
                    </a:lnTo>
                    <a:lnTo>
                      <a:pt x="765" y="304"/>
                    </a:lnTo>
                    <a:lnTo>
                      <a:pt x="764" y="303"/>
                    </a:lnTo>
                    <a:lnTo>
                      <a:pt x="764" y="298"/>
                    </a:lnTo>
                    <a:lnTo>
                      <a:pt x="763" y="293"/>
                    </a:lnTo>
                    <a:lnTo>
                      <a:pt x="761" y="291"/>
                    </a:lnTo>
                    <a:lnTo>
                      <a:pt x="761" y="288"/>
                    </a:lnTo>
                    <a:lnTo>
                      <a:pt x="759" y="287"/>
                    </a:lnTo>
                    <a:lnTo>
                      <a:pt x="755" y="290"/>
                    </a:lnTo>
                    <a:lnTo>
                      <a:pt x="754" y="290"/>
                    </a:lnTo>
                    <a:lnTo>
                      <a:pt x="757" y="286"/>
                    </a:lnTo>
                    <a:lnTo>
                      <a:pt x="759" y="285"/>
                    </a:lnTo>
                    <a:lnTo>
                      <a:pt x="760" y="287"/>
                    </a:lnTo>
                    <a:lnTo>
                      <a:pt x="763" y="284"/>
                    </a:lnTo>
                    <a:lnTo>
                      <a:pt x="764" y="287"/>
                    </a:lnTo>
                    <a:lnTo>
                      <a:pt x="765" y="288"/>
                    </a:lnTo>
                    <a:lnTo>
                      <a:pt x="766" y="295"/>
                    </a:lnTo>
                    <a:lnTo>
                      <a:pt x="767" y="295"/>
                    </a:lnTo>
                    <a:lnTo>
                      <a:pt x="770" y="292"/>
                    </a:lnTo>
                    <a:lnTo>
                      <a:pt x="768" y="297"/>
                    </a:lnTo>
                    <a:lnTo>
                      <a:pt x="768" y="299"/>
                    </a:lnTo>
                    <a:lnTo>
                      <a:pt x="766" y="300"/>
                    </a:lnTo>
                    <a:lnTo>
                      <a:pt x="766" y="301"/>
                    </a:lnTo>
                    <a:lnTo>
                      <a:pt x="768" y="304"/>
                    </a:lnTo>
                    <a:lnTo>
                      <a:pt x="768" y="308"/>
                    </a:lnTo>
                    <a:lnTo>
                      <a:pt x="768" y="311"/>
                    </a:lnTo>
                    <a:lnTo>
                      <a:pt x="769" y="311"/>
                    </a:lnTo>
                    <a:lnTo>
                      <a:pt x="776" y="309"/>
                    </a:lnTo>
                    <a:lnTo>
                      <a:pt x="777" y="306"/>
                    </a:lnTo>
                    <a:lnTo>
                      <a:pt x="779" y="306"/>
                    </a:lnTo>
                    <a:lnTo>
                      <a:pt x="781" y="307"/>
                    </a:lnTo>
                    <a:lnTo>
                      <a:pt x="785" y="301"/>
                    </a:lnTo>
                    <a:lnTo>
                      <a:pt x="787" y="301"/>
                    </a:lnTo>
                    <a:lnTo>
                      <a:pt x="789" y="299"/>
                    </a:lnTo>
                    <a:lnTo>
                      <a:pt x="792" y="297"/>
                    </a:lnTo>
                    <a:lnTo>
                      <a:pt x="792" y="294"/>
                    </a:lnTo>
                    <a:lnTo>
                      <a:pt x="794" y="292"/>
                    </a:lnTo>
                    <a:lnTo>
                      <a:pt x="799" y="291"/>
                    </a:lnTo>
                    <a:lnTo>
                      <a:pt x="801" y="293"/>
                    </a:lnTo>
                    <a:lnTo>
                      <a:pt x="802" y="290"/>
                    </a:lnTo>
                    <a:lnTo>
                      <a:pt x="802" y="287"/>
                    </a:lnTo>
                    <a:lnTo>
                      <a:pt x="805" y="283"/>
                    </a:lnTo>
                    <a:lnTo>
                      <a:pt x="806" y="281"/>
                    </a:lnTo>
                    <a:lnTo>
                      <a:pt x="806" y="280"/>
                    </a:lnTo>
                    <a:lnTo>
                      <a:pt x="807" y="276"/>
                    </a:lnTo>
                    <a:lnTo>
                      <a:pt x="804" y="269"/>
                    </a:lnTo>
                    <a:lnTo>
                      <a:pt x="804" y="266"/>
                    </a:lnTo>
                    <a:lnTo>
                      <a:pt x="801" y="263"/>
                    </a:lnTo>
                    <a:lnTo>
                      <a:pt x="801" y="260"/>
                    </a:lnTo>
                    <a:lnTo>
                      <a:pt x="802" y="257"/>
                    </a:lnTo>
                    <a:lnTo>
                      <a:pt x="805" y="256"/>
                    </a:lnTo>
                    <a:lnTo>
                      <a:pt x="806" y="253"/>
                    </a:lnTo>
                    <a:lnTo>
                      <a:pt x="805" y="252"/>
                    </a:lnTo>
                    <a:lnTo>
                      <a:pt x="803" y="255"/>
                    </a:lnTo>
                    <a:lnTo>
                      <a:pt x="803" y="255"/>
                    </a:lnTo>
                    <a:lnTo>
                      <a:pt x="803" y="252"/>
                    </a:lnTo>
                    <a:lnTo>
                      <a:pt x="804" y="249"/>
                    </a:lnTo>
                    <a:lnTo>
                      <a:pt x="802" y="249"/>
                    </a:lnTo>
                    <a:lnTo>
                      <a:pt x="803" y="247"/>
                    </a:lnTo>
                    <a:lnTo>
                      <a:pt x="804" y="245"/>
                    </a:lnTo>
                    <a:lnTo>
                      <a:pt x="803" y="243"/>
                    </a:lnTo>
                    <a:lnTo>
                      <a:pt x="800" y="242"/>
                    </a:lnTo>
                    <a:lnTo>
                      <a:pt x="801" y="242"/>
                    </a:lnTo>
                    <a:lnTo>
                      <a:pt x="801" y="239"/>
                    </a:lnTo>
                    <a:lnTo>
                      <a:pt x="803" y="239"/>
                    </a:lnTo>
                    <a:lnTo>
                      <a:pt x="804" y="240"/>
                    </a:lnTo>
                    <a:lnTo>
                      <a:pt x="806" y="241"/>
                    </a:lnTo>
                    <a:lnTo>
                      <a:pt x="809" y="244"/>
                    </a:lnTo>
                    <a:lnTo>
                      <a:pt x="810" y="245"/>
                    </a:lnTo>
                    <a:lnTo>
                      <a:pt x="812" y="242"/>
                    </a:lnTo>
                    <a:lnTo>
                      <a:pt x="814" y="243"/>
                    </a:lnTo>
                    <a:lnTo>
                      <a:pt x="818" y="242"/>
                    </a:lnTo>
                    <a:lnTo>
                      <a:pt x="821" y="239"/>
                    </a:lnTo>
                    <a:lnTo>
                      <a:pt x="820" y="238"/>
                    </a:lnTo>
                    <a:lnTo>
                      <a:pt x="822" y="234"/>
                    </a:lnTo>
                    <a:lnTo>
                      <a:pt x="821" y="233"/>
                    </a:lnTo>
                    <a:lnTo>
                      <a:pt x="820" y="233"/>
                    </a:lnTo>
                    <a:lnTo>
                      <a:pt x="820" y="231"/>
                    </a:lnTo>
                    <a:lnTo>
                      <a:pt x="818" y="230"/>
                    </a:lnTo>
                    <a:lnTo>
                      <a:pt x="814" y="230"/>
                    </a:lnTo>
                    <a:lnTo>
                      <a:pt x="816" y="228"/>
                    </a:lnTo>
                    <a:lnTo>
                      <a:pt x="819" y="228"/>
                    </a:lnTo>
                    <a:lnTo>
                      <a:pt x="823" y="224"/>
                    </a:lnTo>
                    <a:lnTo>
                      <a:pt x="825" y="221"/>
                    </a:lnTo>
                    <a:lnTo>
                      <a:pt x="825" y="219"/>
                    </a:lnTo>
                    <a:lnTo>
                      <a:pt x="823" y="218"/>
                    </a:lnTo>
                    <a:lnTo>
                      <a:pt x="823" y="216"/>
                    </a:lnTo>
                    <a:lnTo>
                      <a:pt x="818" y="215"/>
                    </a:lnTo>
                    <a:lnTo>
                      <a:pt x="816" y="216"/>
                    </a:lnTo>
                    <a:lnTo>
                      <a:pt x="814" y="215"/>
                    </a:lnTo>
                    <a:lnTo>
                      <a:pt x="816" y="214"/>
                    </a:lnTo>
                    <a:lnTo>
                      <a:pt x="816" y="211"/>
                    </a:lnTo>
                    <a:lnTo>
                      <a:pt x="810" y="206"/>
                    </a:lnTo>
                    <a:lnTo>
                      <a:pt x="810" y="204"/>
                    </a:lnTo>
                    <a:lnTo>
                      <a:pt x="812" y="204"/>
                    </a:lnTo>
                    <a:lnTo>
                      <a:pt x="814" y="207"/>
                    </a:lnTo>
                    <a:lnTo>
                      <a:pt x="816" y="205"/>
                    </a:lnTo>
                    <a:lnTo>
                      <a:pt x="814" y="204"/>
                    </a:lnTo>
                    <a:lnTo>
                      <a:pt x="816" y="202"/>
                    </a:lnTo>
                    <a:lnTo>
                      <a:pt x="816" y="201"/>
                    </a:lnTo>
                    <a:lnTo>
                      <a:pt x="812" y="199"/>
                    </a:lnTo>
                    <a:lnTo>
                      <a:pt x="809" y="197"/>
                    </a:lnTo>
                    <a:lnTo>
                      <a:pt x="807" y="198"/>
                    </a:lnTo>
                    <a:lnTo>
                      <a:pt x="802" y="195"/>
                    </a:lnTo>
                    <a:lnTo>
                      <a:pt x="800" y="193"/>
                    </a:lnTo>
                    <a:lnTo>
                      <a:pt x="800" y="191"/>
                    </a:lnTo>
                    <a:lnTo>
                      <a:pt x="796" y="188"/>
                    </a:lnTo>
                    <a:lnTo>
                      <a:pt x="792" y="187"/>
                    </a:lnTo>
                    <a:lnTo>
                      <a:pt x="790" y="189"/>
                    </a:lnTo>
                    <a:lnTo>
                      <a:pt x="788" y="189"/>
                    </a:lnTo>
                    <a:lnTo>
                      <a:pt x="786" y="187"/>
                    </a:lnTo>
                    <a:lnTo>
                      <a:pt x="784" y="186"/>
                    </a:lnTo>
                    <a:lnTo>
                      <a:pt x="785" y="187"/>
                    </a:lnTo>
                    <a:lnTo>
                      <a:pt x="786" y="189"/>
                    </a:lnTo>
                    <a:lnTo>
                      <a:pt x="785" y="192"/>
                    </a:lnTo>
                    <a:lnTo>
                      <a:pt x="783" y="192"/>
                    </a:lnTo>
                    <a:lnTo>
                      <a:pt x="783" y="193"/>
                    </a:lnTo>
                    <a:lnTo>
                      <a:pt x="784" y="194"/>
                    </a:lnTo>
                    <a:lnTo>
                      <a:pt x="782" y="197"/>
                    </a:lnTo>
                    <a:lnTo>
                      <a:pt x="782" y="199"/>
                    </a:lnTo>
                    <a:lnTo>
                      <a:pt x="783" y="202"/>
                    </a:lnTo>
                    <a:lnTo>
                      <a:pt x="782" y="202"/>
                    </a:lnTo>
                    <a:lnTo>
                      <a:pt x="781" y="205"/>
                    </a:lnTo>
                    <a:lnTo>
                      <a:pt x="779" y="207"/>
                    </a:lnTo>
                    <a:lnTo>
                      <a:pt x="779" y="212"/>
                    </a:lnTo>
                    <a:lnTo>
                      <a:pt x="781" y="212"/>
                    </a:lnTo>
                    <a:lnTo>
                      <a:pt x="782" y="215"/>
                    </a:lnTo>
                    <a:lnTo>
                      <a:pt x="783" y="215"/>
                    </a:lnTo>
                    <a:lnTo>
                      <a:pt x="785" y="218"/>
                    </a:lnTo>
                    <a:lnTo>
                      <a:pt x="783" y="220"/>
                    </a:lnTo>
                    <a:lnTo>
                      <a:pt x="782" y="219"/>
                    </a:lnTo>
                    <a:lnTo>
                      <a:pt x="780" y="221"/>
                    </a:lnTo>
                    <a:lnTo>
                      <a:pt x="778" y="219"/>
                    </a:lnTo>
                    <a:lnTo>
                      <a:pt x="775" y="219"/>
                    </a:lnTo>
                    <a:lnTo>
                      <a:pt x="775" y="221"/>
                    </a:lnTo>
                    <a:lnTo>
                      <a:pt x="777" y="225"/>
                    </a:lnTo>
                    <a:lnTo>
                      <a:pt x="778" y="225"/>
                    </a:lnTo>
                    <a:lnTo>
                      <a:pt x="778" y="226"/>
                    </a:lnTo>
                    <a:lnTo>
                      <a:pt x="775" y="227"/>
                    </a:lnTo>
                    <a:lnTo>
                      <a:pt x="774" y="225"/>
                    </a:lnTo>
                    <a:lnTo>
                      <a:pt x="772" y="228"/>
                    </a:lnTo>
                    <a:lnTo>
                      <a:pt x="771" y="224"/>
                    </a:lnTo>
                    <a:lnTo>
                      <a:pt x="768" y="226"/>
                    </a:lnTo>
                    <a:lnTo>
                      <a:pt x="765" y="232"/>
                    </a:lnTo>
                    <a:lnTo>
                      <a:pt x="763" y="239"/>
                    </a:lnTo>
                    <a:lnTo>
                      <a:pt x="760" y="246"/>
                    </a:lnTo>
                    <a:lnTo>
                      <a:pt x="754" y="251"/>
                    </a:lnTo>
                    <a:lnTo>
                      <a:pt x="753" y="253"/>
                    </a:lnTo>
                    <a:lnTo>
                      <a:pt x="752" y="254"/>
                    </a:lnTo>
                    <a:lnTo>
                      <a:pt x="749" y="258"/>
                    </a:lnTo>
                    <a:lnTo>
                      <a:pt x="747" y="259"/>
                    </a:lnTo>
                    <a:lnTo>
                      <a:pt x="747" y="265"/>
                    </a:lnTo>
                    <a:lnTo>
                      <a:pt x="744" y="267"/>
                    </a:lnTo>
                    <a:lnTo>
                      <a:pt x="744" y="271"/>
                    </a:lnTo>
                    <a:lnTo>
                      <a:pt x="743" y="272"/>
                    </a:lnTo>
                    <a:lnTo>
                      <a:pt x="741" y="267"/>
                    </a:lnTo>
                    <a:lnTo>
                      <a:pt x="740" y="268"/>
                    </a:lnTo>
                    <a:lnTo>
                      <a:pt x="737" y="270"/>
                    </a:lnTo>
                    <a:lnTo>
                      <a:pt x="738" y="271"/>
                    </a:lnTo>
                    <a:lnTo>
                      <a:pt x="739" y="276"/>
                    </a:lnTo>
                    <a:lnTo>
                      <a:pt x="737" y="276"/>
                    </a:lnTo>
                    <a:lnTo>
                      <a:pt x="735" y="273"/>
                    </a:lnTo>
                    <a:lnTo>
                      <a:pt x="736" y="270"/>
                    </a:lnTo>
                    <a:lnTo>
                      <a:pt x="733" y="265"/>
                    </a:lnTo>
                    <a:lnTo>
                      <a:pt x="731" y="253"/>
                    </a:lnTo>
                    <a:lnTo>
                      <a:pt x="731" y="247"/>
                    </a:lnTo>
                    <a:lnTo>
                      <a:pt x="730" y="245"/>
                    </a:lnTo>
                    <a:lnTo>
                      <a:pt x="731" y="241"/>
                    </a:lnTo>
                    <a:lnTo>
                      <a:pt x="733" y="238"/>
                    </a:lnTo>
                    <a:lnTo>
                      <a:pt x="733" y="235"/>
                    </a:lnTo>
                    <a:lnTo>
                      <a:pt x="734" y="232"/>
                    </a:lnTo>
                    <a:lnTo>
                      <a:pt x="736" y="230"/>
                    </a:lnTo>
                    <a:lnTo>
                      <a:pt x="737" y="232"/>
                    </a:lnTo>
                    <a:lnTo>
                      <a:pt x="739" y="231"/>
                    </a:lnTo>
                    <a:lnTo>
                      <a:pt x="741" y="227"/>
                    </a:lnTo>
                    <a:lnTo>
                      <a:pt x="740" y="220"/>
                    </a:lnTo>
                    <a:lnTo>
                      <a:pt x="741" y="217"/>
                    </a:lnTo>
                    <a:lnTo>
                      <a:pt x="741" y="213"/>
                    </a:lnTo>
                    <a:lnTo>
                      <a:pt x="738" y="210"/>
                    </a:lnTo>
                    <a:lnTo>
                      <a:pt x="738" y="205"/>
                    </a:lnTo>
                    <a:lnTo>
                      <a:pt x="736" y="200"/>
                    </a:lnTo>
                    <a:lnTo>
                      <a:pt x="735" y="197"/>
                    </a:lnTo>
                    <a:lnTo>
                      <a:pt x="734" y="195"/>
                    </a:lnTo>
                    <a:lnTo>
                      <a:pt x="733" y="195"/>
                    </a:lnTo>
                    <a:lnTo>
                      <a:pt x="732" y="198"/>
                    </a:lnTo>
                    <a:lnTo>
                      <a:pt x="729" y="204"/>
                    </a:lnTo>
                    <a:lnTo>
                      <a:pt x="725" y="208"/>
                    </a:lnTo>
                    <a:lnTo>
                      <a:pt x="724" y="211"/>
                    </a:lnTo>
                    <a:lnTo>
                      <a:pt x="724" y="218"/>
                    </a:lnTo>
                    <a:lnTo>
                      <a:pt x="723" y="219"/>
                    </a:lnTo>
                    <a:lnTo>
                      <a:pt x="722" y="218"/>
                    </a:lnTo>
                    <a:lnTo>
                      <a:pt x="719" y="220"/>
                    </a:lnTo>
                    <a:lnTo>
                      <a:pt x="720" y="221"/>
                    </a:lnTo>
                    <a:lnTo>
                      <a:pt x="719" y="222"/>
                    </a:lnTo>
                    <a:lnTo>
                      <a:pt x="716" y="225"/>
                    </a:lnTo>
                    <a:lnTo>
                      <a:pt x="715" y="227"/>
                    </a:lnTo>
                    <a:lnTo>
                      <a:pt x="712" y="229"/>
                    </a:lnTo>
                    <a:lnTo>
                      <a:pt x="711" y="230"/>
                    </a:lnTo>
                    <a:lnTo>
                      <a:pt x="711" y="228"/>
                    </a:lnTo>
                    <a:lnTo>
                      <a:pt x="712" y="226"/>
                    </a:lnTo>
                    <a:lnTo>
                      <a:pt x="712" y="223"/>
                    </a:lnTo>
                    <a:lnTo>
                      <a:pt x="712" y="221"/>
                    </a:lnTo>
                    <a:lnTo>
                      <a:pt x="715" y="217"/>
                    </a:lnTo>
                    <a:lnTo>
                      <a:pt x="715" y="214"/>
                    </a:lnTo>
                    <a:lnTo>
                      <a:pt x="715" y="211"/>
                    </a:lnTo>
                    <a:lnTo>
                      <a:pt x="717" y="209"/>
                    </a:lnTo>
                    <a:lnTo>
                      <a:pt x="717" y="205"/>
                    </a:lnTo>
                    <a:lnTo>
                      <a:pt x="717" y="204"/>
                    </a:lnTo>
                    <a:lnTo>
                      <a:pt x="717" y="201"/>
                    </a:lnTo>
                    <a:lnTo>
                      <a:pt x="715" y="196"/>
                    </a:lnTo>
                    <a:lnTo>
                      <a:pt x="715" y="193"/>
                    </a:lnTo>
                    <a:lnTo>
                      <a:pt x="713" y="190"/>
                    </a:lnTo>
                    <a:lnTo>
                      <a:pt x="713" y="188"/>
                    </a:lnTo>
                    <a:lnTo>
                      <a:pt x="714" y="189"/>
                    </a:lnTo>
                    <a:lnTo>
                      <a:pt x="716" y="189"/>
                    </a:lnTo>
                    <a:lnTo>
                      <a:pt x="716" y="193"/>
                    </a:lnTo>
                    <a:lnTo>
                      <a:pt x="717" y="192"/>
                    </a:lnTo>
                    <a:lnTo>
                      <a:pt x="720" y="188"/>
                    </a:lnTo>
                    <a:lnTo>
                      <a:pt x="723" y="188"/>
                    </a:lnTo>
                    <a:lnTo>
                      <a:pt x="724" y="186"/>
                    </a:lnTo>
                    <a:lnTo>
                      <a:pt x="723" y="184"/>
                    </a:lnTo>
                    <a:lnTo>
                      <a:pt x="720" y="187"/>
                    </a:lnTo>
                    <a:lnTo>
                      <a:pt x="718" y="184"/>
                    </a:lnTo>
                    <a:lnTo>
                      <a:pt x="716" y="183"/>
                    </a:lnTo>
                    <a:lnTo>
                      <a:pt x="716" y="182"/>
                    </a:lnTo>
                    <a:lnTo>
                      <a:pt x="717" y="181"/>
                    </a:lnTo>
                    <a:lnTo>
                      <a:pt x="716" y="180"/>
                    </a:lnTo>
                    <a:lnTo>
                      <a:pt x="714" y="180"/>
                    </a:lnTo>
                    <a:lnTo>
                      <a:pt x="713" y="183"/>
                    </a:lnTo>
                    <a:lnTo>
                      <a:pt x="710" y="184"/>
                    </a:lnTo>
                    <a:lnTo>
                      <a:pt x="708" y="181"/>
                    </a:lnTo>
                    <a:lnTo>
                      <a:pt x="707" y="178"/>
                    </a:lnTo>
                    <a:lnTo>
                      <a:pt x="706" y="177"/>
                    </a:lnTo>
                    <a:lnTo>
                      <a:pt x="702" y="178"/>
                    </a:lnTo>
                    <a:lnTo>
                      <a:pt x="702" y="176"/>
                    </a:lnTo>
                    <a:lnTo>
                      <a:pt x="702" y="173"/>
                    </a:lnTo>
                    <a:lnTo>
                      <a:pt x="704" y="172"/>
                    </a:lnTo>
                    <a:lnTo>
                      <a:pt x="704" y="170"/>
                    </a:lnTo>
                    <a:lnTo>
                      <a:pt x="706" y="169"/>
                    </a:lnTo>
                    <a:lnTo>
                      <a:pt x="713" y="163"/>
                    </a:lnTo>
                    <a:lnTo>
                      <a:pt x="714" y="162"/>
                    </a:lnTo>
                    <a:lnTo>
                      <a:pt x="712" y="159"/>
                    </a:lnTo>
                    <a:lnTo>
                      <a:pt x="709" y="160"/>
                    </a:lnTo>
                    <a:lnTo>
                      <a:pt x="709" y="159"/>
                    </a:lnTo>
                    <a:lnTo>
                      <a:pt x="711" y="158"/>
                    </a:lnTo>
                    <a:lnTo>
                      <a:pt x="712" y="154"/>
                    </a:lnTo>
                    <a:lnTo>
                      <a:pt x="716" y="152"/>
                    </a:lnTo>
                    <a:lnTo>
                      <a:pt x="715" y="156"/>
                    </a:lnTo>
                    <a:lnTo>
                      <a:pt x="716" y="159"/>
                    </a:lnTo>
                    <a:lnTo>
                      <a:pt x="719" y="159"/>
                    </a:lnTo>
                    <a:lnTo>
                      <a:pt x="720" y="159"/>
                    </a:lnTo>
                    <a:lnTo>
                      <a:pt x="723" y="158"/>
                    </a:lnTo>
                    <a:lnTo>
                      <a:pt x="723" y="155"/>
                    </a:lnTo>
                    <a:lnTo>
                      <a:pt x="721" y="152"/>
                    </a:lnTo>
                    <a:lnTo>
                      <a:pt x="719" y="151"/>
                    </a:lnTo>
                    <a:lnTo>
                      <a:pt x="719" y="149"/>
                    </a:lnTo>
                    <a:lnTo>
                      <a:pt x="719" y="145"/>
                    </a:lnTo>
                    <a:lnTo>
                      <a:pt x="719" y="143"/>
                    </a:lnTo>
                    <a:lnTo>
                      <a:pt x="719" y="142"/>
                    </a:lnTo>
                    <a:lnTo>
                      <a:pt x="719" y="138"/>
                    </a:lnTo>
                    <a:lnTo>
                      <a:pt x="717" y="135"/>
                    </a:lnTo>
                    <a:lnTo>
                      <a:pt x="718" y="132"/>
                    </a:lnTo>
                    <a:lnTo>
                      <a:pt x="716" y="128"/>
                    </a:lnTo>
                    <a:lnTo>
                      <a:pt x="718" y="128"/>
                    </a:lnTo>
                    <a:lnTo>
                      <a:pt x="718" y="123"/>
                    </a:lnTo>
                    <a:lnTo>
                      <a:pt x="720" y="119"/>
                    </a:lnTo>
                    <a:lnTo>
                      <a:pt x="720" y="117"/>
                    </a:lnTo>
                    <a:lnTo>
                      <a:pt x="723" y="114"/>
                    </a:lnTo>
                    <a:lnTo>
                      <a:pt x="723" y="111"/>
                    </a:lnTo>
                    <a:lnTo>
                      <a:pt x="721" y="111"/>
                    </a:lnTo>
                    <a:lnTo>
                      <a:pt x="721" y="104"/>
                    </a:lnTo>
                    <a:lnTo>
                      <a:pt x="720" y="102"/>
                    </a:lnTo>
                    <a:lnTo>
                      <a:pt x="718" y="99"/>
                    </a:lnTo>
                    <a:lnTo>
                      <a:pt x="719" y="97"/>
                    </a:lnTo>
                    <a:lnTo>
                      <a:pt x="718" y="94"/>
                    </a:lnTo>
                    <a:lnTo>
                      <a:pt x="719" y="93"/>
                    </a:lnTo>
                    <a:lnTo>
                      <a:pt x="720" y="90"/>
                    </a:lnTo>
                    <a:lnTo>
                      <a:pt x="718" y="88"/>
                    </a:lnTo>
                    <a:lnTo>
                      <a:pt x="716" y="85"/>
                    </a:lnTo>
                    <a:lnTo>
                      <a:pt x="714" y="84"/>
                    </a:lnTo>
                    <a:lnTo>
                      <a:pt x="715" y="83"/>
                    </a:lnTo>
                    <a:lnTo>
                      <a:pt x="715" y="80"/>
                    </a:lnTo>
                    <a:lnTo>
                      <a:pt x="710" y="78"/>
                    </a:lnTo>
                    <a:lnTo>
                      <a:pt x="707" y="77"/>
                    </a:lnTo>
                    <a:lnTo>
                      <a:pt x="705" y="78"/>
                    </a:lnTo>
                    <a:lnTo>
                      <a:pt x="705" y="81"/>
                    </a:lnTo>
                    <a:lnTo>
                      <a:pt x="701" y="84"/>
                    </a:lnTo>
                    <a:lnTo>
                      <a:pt x="700" y="86"/>
                    </a:lnTo>
                    <a:lnTo>
                      <a:pt x="696" y="86"/>
                    </a:lnTo>
                    <a:lnTo>
                      <a:pt x="694" y="89"/>
                    </a:lnTo>
                    <a:lnTo>
                      <a:pt x="695" y="92"/>
                    </a:lnTo>
                    <a:lnTo>
                      <a:pt x="698" y="93"/>
                    </a:lnTo>
                    <a:lnTo>
                      <a:pt x="700" y="94"/>
                    </a:lnTo>
                    <a:lnTo>
                      <a:pt x="700" y="95"/>
                    </a:lnTo>
                    <a:lnTo>
                      <a:pt x="697" y="100"/>
                    </a:lnTo>
                    <a:lnTo>
                      <a:pt x="696" y="103"/>
                    </a:lnTo>
                    <a:lnTo>
                      <a:pt x="694" y="104"/>
                    </a:lnTo>
                    <a:lnTo>
                      <a:pt x="694" y="102"/>
                    </a:lnTo>
                    <a:lnTo>
                      <a:pt x="693" y="100"/>
                    </a:lnTo>
                    <a:lnTo>
                      <a:pt x="694" y="97"/>
                    </a:lnTo>
                    <a:lnTo>
                      <a:pt x="692" y="95"/>
                    </a:lnTo>
                    <a:lnTo>
                      <a:pt x="688" y="97"/>
                    </a:lnTo>
                    <a:lnTo>
                      <a:pt x="686" y="100"/>
                    </a:lnTo>
                    <a:lnTo>
                      <a:pt x="685" y="100"/>
                    </a:lnTo>
                    <a:lnTo>
                      <a:pt x="683" y="105"/>
                    </a:lnTo>
                    <a:lnTo>
                      <a:pt x="681" y="106"/>
                    </a:lnTo>
                    <a:lnTo>
                      <a:pt x="678" y="111"/>
                    </a:lnTo>
                    <a:lnTo>
                      <a:pt x="675" y="117"/>
                    </a:lnTo>
                    <a:lnTo>
                      <a:pt x="674" y="120"/>
                    </a:lnTo>
                    <a:lnTo>
                      <a:pt x="676" y="124"/>
                    </a:lnTo>
                    <a:lnTo>
                      <a:pt x="676" y="125"/>
                    </a:lnTo>
                    <a:lnTo>
                      <a:pt x="677" y="126"/>
                    </a:lnTo>
                    <a:lnTo>
                      <a:pt x="679" y="125"/>
                    </a:lnTo>
                    <a:lnTo>
                      <a:pt x="681" y="125"/>
                    </a:lnTo>
                    <a:lnTo>
                      <a:pt x="681" y="127"/>
                    </a:lnTo>
                    <a:lnTo>
                      <a:pt x="678" y="129"/>
                    </a:lnTo>
                    <a:lnTo>
                      <a:pt x="678" y="130"/>
                    </a:lnTo>
                    <a:lnTo>
                      <a:pt x="676" y="130"/>
                    </a:lnTo>
                    <a:lnTo>
                      <a:pt x="673" y="132"/>
                    </a:lnTo>
                    <a:lnTo>
                      <a:pt x="668" y="136"/>
                    </a:lnTo>
                    <a:lnTo>
                      <a:pt x="667" y="139"/>
                    </a:lnTo>
                    <a:lnTo>
                      <a:pt x="666" y="147"/>
                    </a:lnTo>
                    <a:lnTo>
                      <a:pt x="667" y="150"/>
                    </a:lnTo>
                    <a:lnTo>
                      <a:pt x="667" y="153"/>
                    </a:lnTo>
                    <a:lnTo>
                      <a:pt x="666" y="156"/>
                    </a:lnTo>
                    <a:lnTo>
                      <a:pt x="667" y="157"/>
                    </a:lnTo>
                    <a:lnTo>
                      <a:pt x="667" y="160"/>
                    </a:lnTo>
                    <a:lnTo>
                      <a:pt x="670" y="159"/>
                    </a:lnTo>
                    <a:lnTo>
                      <a:pt x="671" y="160"/>
                    </a:lnTo>
                    <a:lnTo>
                      <a:pt x="671" y="164"/>
                    </a:lnTo>
                    <a:lnTo>
                      <a:pt x="674" y="166"/>
                    </a:lnTo>
                    <a:lnTo>
                      <a:pt x="675" y="169"/>
                    </a:lnTo>
                    <a:lnTo>
                      <a:pt x="677" y="169"/>
                    </a:lnTo>
                    <a:lnTo>
                      <a:pt x="679" y="166"/>
                    </a:lnTo>
                    <a:lnTo>
                      <a:pt x="678" y="169"/>
                    </a:lnTo>
                    <a:lnTo>
                      <a:pt x="680" y="174"/>
                    </a:lnTo>
                    <a:lnTo>
                      <a:pt x="684" y="175"/>
                    </a:lnTo>
                    <a:lnTo>
                      <a:pt x="685" y="177"/>
                    </a:lnTo>
                    <a:lnTo>
                      <a:pt x="688" y="176"/>
                    </a:lnTo>
                    <a:lnTo>
                      <a:pt x="691" y="177"/>
                    </a:lnTo>
                    <a:lnTo>
                      <a:pt x="691" y="180"/>
                    </a:lnTo>
                    <a:lnTo>
                      <a:pt x="688" y="187"/>
                    </a:lnTo>
                    <a:lnTo>
                      <a:pt x="685" y="188"/>
                    </a:lnTo>
                    <a:lnTo>
                      <a:pt x="685" y="187"/>
                    </a:lnTo>
                    <a:lnTo>
                      <a:pt x="685" y="184"/>
                    </a:lnTo>
                    <a:lnTo>
                      <a:pt x="688" y="183"/>
                    </a:lnTo>
                    <a:lnTo>
                      <a:pt x="685" y="181"/>
                    </a:lnTo>
                    <a:lnTo>
                      <a:pt x="681" y="182"/>
                    </a:lnTo>
                    <a:lnTo>
                      <a:pt x="678" y="186"/>
                    </a:lnTo>
                    <a:lnTo>
                      <a:pt x="680" y="187"/>
                    </a:lnTo>
                    <a:lnTo>
                      <a:pt x="680" y="190"/>
                    </a:lnTo>
                    <a:lnTo>
                      <a:pt x="676" y="191"/>
                    </a:lnTo>
                    <a:lnTo>
                      <a:pt x="674" y="194"/>
                    </a:lnTo>
                    <a:lnTo>
                      <a:pt x="673" y="194"/>
                    </a:lnTo>
                    <a:lnTo>
                      <a:pt x="671" y="198"/>
                    </a:lnTo>
                    <a:lnTo>
                      <a:pt x="671" y="200"/>
                    </a:lnTo>
                    <a:lnTo>
                      <a:pt x="674" y="200"/>
                    </a:lnTo>
                    <a:lnTo>
                      <a:pt x="674" y="201"/>
                    </a:lnTo>
                    <a:lnTo>
                      <a:pt x="678" y="201"/>
                    </a:lnTo>
                    <a:lnTo>
                      <a:pt x="679" y="197"/>
                    </a:lnTo>
                    <a:lnTo>
                      <a:pt x="678" y="196"/>
                    </a:lnTo>
                    <a:lnTo>
                      <a:pt x="681" y="196"/>
                    </a:lnTo>
                    <a:lnTo>
                      <a:pt x="682" y="194"/>
                    </a:lnTo>
                    <a:lnTo>
                      <a:pt x="683" y="196"/>
                    </a:lnTo>
                    <a:lnTo>
                      <a:pt x="683" y="199"/>
                    </a:lnTo>
                    <a:lnTo>
                      <a:pt x="681" y="203"/>
                    </a:lnTo>
                    <a:lnTo>
                      <a:pt x="680" y="207"/>
                    </a:lnTo>
                    <a:lnTo>
                      <a:pt x="680" y="209"/>
                    </a:lnTo>
                    <a:lnTo>
                      <a:pt x="678" y="212"/>
                    </a:lnTo>
                    <a:lnTo>
                      <a:pt x="674" y="212"/>
                    </a:lnTo>
                    <a:lnTo>
                      <a:pt x="671" y="216"/>
                    </a:lnTo>
                    <a:lnTo>
                      <a:pt x="670" y="217"/>
                    </a:lnTo>
                    <a:lnTo>
                      <a:pt x="670" y="218"/>
                    </a:lnTo>
                    <a:lnTo>
                      <a:pt x="669" y="221"/>
                    </a:lnTo>
                    <a:lnTo>
                      <a:pt x="662" y="225"/>
                    </a:lnTo>
                    <a:lnTo>
                      <a:pt x="661" y="227"/>
                    </a:lnTo>
                    <a:lnTo>
                      <a:pt x="658" y="228"/>
                    </a:lnTo>
                    <a:lnTo>
                      <a:pt x="657" y="226"/>
                    </a:lnTo>
                    <a:lnTo>
                      <a:pt x="656" y="226"/>
                    </a:lnTo>
                    <a:lnTo>
                      <a:pt x="656" y="225"/>
                    </a:lnTo>
                    <a:lnTo>
                      <a:pt x="654" y="227"/>
                    </a:lnTo>
                    <a:lnTo>
                      <a:pt x="652" y="228"/>
                    </a:lnTo>
                    <a:lnTo>
                      <a:pt x="653" y="226"/>
                    </a:lnTo>
                    <a:lnTo>
                      <a:pt x="652" y="225"/>
                    </a:lnTo>
                    <a:lnTo>
                      <a:pt x="650" y="228"/>
                    </a:lnTo>
                    <a:lnTo>
                      <a:pt x="648" y="232"/>
                    </a:lnTo>
                    <a:lnTo>
                      <a:pt x="646" y="236"/>
                    </a:lnTo>
                    <a:lnTo>
                      <a:pt x="645" y="238"/>
                    </a:lnTo>
                    <a:lnTo>
                      <a:pt x="647" y="239"/>
                    </a:lnTo>
                    <a:lnTo>
                      <a:pt x="647" y="242"/>
                    </a:lnTo>
                    <a:lnTo>
                      <a:pt x="645" y="247"/>
                    </a:lnTo>
                    <a:lnTo>
                      <a:pt x="645" y="249"/>
                    </a:lnTo>
                    <a:lnTo>
                      <a:pt x="646" y="252"/>
                    </a:lnTo>
                    <a:lnTo>
                      <a:pt x="644" y="253"/>
                    </a:lnTo>
                    <a:lnTo>
                      <a:pt x="643" y="257"/>
                    </a:lnTo>
                    <a:lnTo>
                      <a:pt x="644" y="257"/>
                    </a:lnTo>
                    <a:lnTo>
                      <a:pt x="646" y="256"/>
                    </a:lnTo>
                    <a:lnTo>
                      <a:pt x="647" y="253"/>
                    </a:lnTo>
                    <a:lnTo>
                      <a:pt x="650" y="254"/>
                    </a:lnTo>
                    <a:lnTo>
                      <a:pt x="652" y="252"/>
                    </a:lnTo>
                    <a:lnTo>
                      <a:pt x="650" y="255"/>
                    </a:lnTo>
                    <a:lnTo>
                      <a:pt x="647" y="255"/>
                    </a:lnTo>
                    <a:lnTo>
                      <a:pt x="645" y="259"/>
                    </a:lnTo>
                    <a:lnTo>
                      <a:pt x="641" y="259"/>
                    </a:lnTo>
                    <a:lnTo>
                      <a:pt x="641" y="263"/>
                    </a:lnTo>
                    <a:lnTo>
                      <a:pt x="639" y="266"/>
                    </a:lnTo>
                    <a:lnTo>
                      <a:pt x="636" y="263"/>
                    </a:lnTo>
                    <a:lnTo>
                      <a:pt x="633" y="263"/>
                    </a:lnTo>
                    <a:lnTo>
                      <a:pt x="632" y="261"/>
                    </a:lnTo>
                    <a:lnTo>
                      <a:pt x="630" y="263"/>
                    </a:lnTo>
                    <a:lnTo>
                      <a:pt x="631" y="268"/>
                    </a:lnTo>
                    <a:lnTo>
                      <a:pt x="629" y="275"/>
                    </a:lnTo>
                    <a:lnTo>
                      <a:pt x="629" y="267"/>
                    </a:lnTo>
                    <a:lnTo>
                      <a:pt x="629" y="263"/>
                    </a:lnTo>
                    <a:lnTo>
                      <a:pt x="626" y="260"/>
                    </a:lnTo>
                    <a:lnTo>
                      <a:pt x="628" y="256"/>
                    </a:lnTo>
                    <a:lnTo>
                      <a:pt x="629" y="255"/>
                    </a:lnTo>
                    <a:lnTo>
                      <a:pt x="630" y="259"/>
                    </a:lnTo>
                    <a:lnTo>
                      <a:pt x="633" y="258"/>
                    </a:lnTo>
                    <a:lnTo>
                      <a:pt x="635" y="261"/>
                    </a:lnTo>
                    <a:lnTo>
                      <a:pt x="638" y="263"/>
                    </a:lnTo>
                    <a:lnTo>
                      <a:pt x="640" y="260"/>
                    </a:lnTo>
                    <a:lnTo>
                      <a:pt x="640" y="258"/>
                    </a:lnTo>
                    <a:lnTo>
                      <a:pt x="641" y="253"/>
                    </a:lnTo>
                    <a:lnTo>
                      <a:pt x="639" y="255"/>
                    </a:lnTo>
                    <a:lnTo>
                      <a:pt x="637" y="254"/>
                    </a:lnTo>
                    <a:lnTo>
                      <a:pt x="639" y="252"/>
                    </a:lnTo>
                    <a:lnTo>
                      <a:pt x="641" y="249"/>
                    </a:lnTo>
                    <a:lnTo>
                      <a:pt x="639" y="249"/>
                    </a:lnTo>
                    <a:lnTo>
                      <a:pt x="637" y="251"/>
                    </a:lnTo>
                    <a:lnTo>
                      <a:pt x="633" y="252"/>
                    </a:lnTo>
                    <a:lnTo>
                      <a:pt x="633" y="250"/>
                    </a:lnTo>
                    <a:lnTo>
                      <a:pt x="636" y="248"/>
                    </a:lnTo>
                    <a:lnTo>
                      <a:pt x="636" y="245"/>
                    </a:lnTo>
                    <a:lnTo>
                      <a:pt x="635" y="245"/>
                    </a:lnTo>
                    <a:lnTo>
                      <a:pt x="633" y="246"/>
                    </a:lnTo>
                    <a:lnTo>
                      <a:pt x="633" y="244"/>
                    </a:lnTo>
                    <a:lnTo>
                      <a:pt x="633" y="239"/>
                    </a:lnTo>
                    <a:lnTo>
                      <a:pt x="635" y="235"/>
                    </a:lnTo>
                    <a:lnTo>
                      <a:pt x="636" y="238"/>
                    </a:lnTo>
                    <a:lnTo>
                      <a:pt x="636" y="236"/>
                    </a:lnTo>
                    <a:lnTo>
                      <a:pt x="636" y="234"/>
                    </a:lnTo>
                    <a:lnTo>
                      <a:pt x="641" y="229"/>
                    </a:lnTo>
                    <a:lnTo>
                      <a:pt x="641" y="228"/>
                    </a:lnTo>
                    <a:lnTo>
                      <a:pt x="646" y="225"/>
                    </a:lnTo>
                    <a:lnTo>
                      <a:pt x="646" y="221"/>
                    </a:lnTo>
                    <a:lnTo>
                      <a:pt x="647" y="218"/>
                    </a:lnTo>
                    <a:lnTo>
                      <a:pt x="650" y="218"/>
                    </a:lnTo>
                    <a:lnTo>
                      <a:pt x="650" y="217"/>
                    </a:lnTo>
                    <a:lnTo>
                      <a:pt x="647" y="216"/>
                    </a:lnTo>
                    <a:lnTo>
                      <a:pt x="643" y="218"/>
                    </a:lnTo>
                    <a:lnTo>
                      <a:pt x="641" y="221"/>
                    </a:lnTo>
                    <a:lnTo>
                      <a:pt x="638" y="223"/>
                    </a:lnTo>
                    <a:lnTo>
                      <a:pt x="636" y="222"/>
                    </a:lnTo>
                    <a:lnTo>
                      <a:pt x="636" y="221"/>
                    </a:lnTo>
                    <a:lnTo>
                      <a:pt x="640" y="219"/>
                    </a:lnTo>
                    <a:lnTo>
                      <a:pt x="641" y="217"/>
                    </a:lnTo>
                    <a:lnTo>
                      <a:pt x="639" y="215"/>
                    </a:lnTo>
                    <a:lnTo>
                      <a:pt x="636" y="216"/>
                    </a:lnTo>
                    <a:lnTo>
                      <a:pt x="635" y="214"/>
                    </a:lnTo>
                    <a:lnTo>
                      <a:pt x="636" y="211"/>
                    </a:lnTo>
                    <a:lnTo>
                      <a:pt x="636" y="207"/>
                    </a:lnTo>
                    <a:lnTo>
                      <a:pt x="634" y="206"/>
                    </a:lnTo>
                    <a:lnTo>
                      <a:pt x="633" y="206"/>
                    </a:lnTo>
                    <a:lnTo>
                      <a:pt x="632" y="208"/>
                    </a:lnTo>
                    <a:lnTo>
                      <a:pt x="632" y="207"/>
                    </a:lnTo>
                    <a:lnTo>
                      <a:pt x="633" y="204"/>
                    </a:lnTo>
                    <a:lnTo>
                      <a:pt x="632" y="201"/>
                    </a:lnTo>
                    <a:lnTo>
                      <a:pt x="629" y="201"/>
                    </a:lnTo>
                    <a:lnTo>
                      <a:pt x="628" y="205"/>
                    </a:lnTo>
                    <a:lnTo>
                      <a:pt x="626" y="207"/>
                    </a:lnTo>
                    <a:lnTo>
                      <a:pt x="625" y="208"/>
                    </a:lnTo>
                    <a:lnTo>
                      <a:pt x="624" y="207"/>
                    </a:lnTo>
                    <a:lnTo>
                      <a:pt x="624" y="205"/>
                    </a:lnTo>
                    <a:lnTo>
                      <a:pt x="622" y="203"/>
                    </a:lnTo>
                    <a:lnTo>
                      <a:pt x="620" y="203"/>
                    </a:lnTo>
                    <a:lnTo>
                      <a:pt x="619" y="204"/>
                    </a:lnTo>
                    <a:lnTo>
                      <a:pt x="620" y="207"/>
                    </a:lnTo>
                    <a:lnTo>
                      <a:pt x="619" y="208"/>
                    </a:lnTo>
                    <a:lnTo>
                      <a:pt x="621" y="211"/>
                    </a:lnTo>
                    <a:lnTo>
                      <a:pt x="621" y="214"/>
                    </a:lnTo>
                    <a:lnTo>
                      <a:pt x="619" y="215"/>
                    </a:lnTo>
                    <a:lnTo>
                      <a:pt x="618" y="214"/>
                    </a:lnTo>
                    <a:lnTo>
                      <a:pt x="618" y="211"/>
                    </a:lnTo>
                    <a:lnTo>
                      <a:pt x="617" y="211"/>
                    </a:lnTo>
                    <a:lnTo>
                      <a:pt x="616" y="213"/>
                    </a:lnTo>
                    <a:lnTo>
                      <a:pt x="618" y="220"/>
                    </a:lnTo>
                    <a:lnTo>
                      <a:pt x="619" y="225"/>
                    </a:lnTo>
                    <a:lnTo>
                      <a:pt x="622" y="227"/>
                    </a:lnTo>
                    <a:lnTo>
                      <a:pt x="624" y="229"/>
                    </a:lnTo>
                    <a:lnTo>
                      <a:pt x="623" y="236"/>
                    </a:lnTo>
                    <a:lnTo>
                      <a:pt x="622" y="232"/>
                    </a:lnTo>
                    <a:lnTo>
                      <a:pt x="621" y="231"/>
                    </a:lnTo>
                    <a:lnTo>
                      <a:pt x="617" y="225"/>
                    </a:lnTo>
                    <a:lnTo>
                      <a:pt x="616" y="221"/>
                    </a:lnTo>
                    <a:lnTo>
                      <a:pt x="615" y="215"/>
                    </a:lnTo>
                    <a:lnTo>
                      <a:pt x="613" y="214"/>
                    </a:lnTo>
                    <a:lnTo>
                      <a:pt x="612" y="216"/>
                    </a:lnTo>
                    <a:lnTo>
                      <a:pt x="613" y="221"/>
                    </a:lnTo>
                    <a:lnTo>
                      <a:pt x="615" y="224"/>
                    </a:lnTo>
                    <a:lnTo>
                      <a:pt x="616" y="228"/>
                    </a:lnTo>
                    <a:lnTo>
                      <a:pt x="614" y="228"/>
                    </a:lnTo>
                    <a:lnTo>
                      <a:pt x="612" y="225"/>
                    </a:lnTo>
                    <a:lnTo>
                      <a:pt x="607" y="227"/>
                    </a:lnTo>
                    <a:lnTo>
                      <a:pt x="605" y="228"/>
                    </a:lnTo>
                    <a:lnTo>
                      <a:pt x="604" y="225"/>
                    </a:lnTo>
                    <a:lnTo>
                      <a:pt x="602" y="225"/>
                    </a:lnTo>
                    <a:lnTo>
                      <a:pt x="597" y="221"/>
                    </a:lnTo>
                    <a:lnTo>
                      <a:pt x="591" y="221"/>
                    </a:lnTo>
                    <a:lnTo>
                      <a:pt x="591" y="219"/>
                    </a:lnTo>
                    <a:lnTo>
                      <a:pt x="590" y="219"/>
                    </a:lnTo>
                    <a:lnTo>
                      <a:pt x="586" y="221"/>
                    </a:lnTo>
                    <a:lnTo>
                      <a:pt x="584" y="224"/>
                    </a:lnTo>
                    <a:lnTo>
                      <a:pt x="580" y="224"/>
                    </a:lnTo>
                    <a:lnTo>
                      <a:pt x="577" y="226"/>
                    </a:lnTo>
                    <a:lnTo>
                      <a:pt x="574" y="223"/>
                    </a:lnTo>
                    <a:lnTo>
                      <a:pt x="573" y="222"/>
                    </a:lnTo>
                    <a:lnTo>
                      <a:pt x="573" y="220"/>
                    </a:lnTo>
                    <a:lnTo>
                      <a:pt x="571" y="218"/>
                    </a:lnTo>
                    <a:lnTo>
                      <a:pt x="568" y="221"/>
                    </a:lnTo>
                    <a:lnTo>
                      <a:pt x="568" y="218"/>
                    </a:lnTo>
                    <a:lnTo>
                      <a:pt x="564" y="214"/>
                    </a:lnTo>
                    <a:lnTo>
                      <a:pt x="564" y="212"/>
                    </a:lnTo>
                    <a:lnTo>
                      <a:pt x="563" y="211"/>
                    </a:lnTo>
                    <a:lnTo>
                      <a:pt x="563" y="210"/>
                    </a:lnTo>
                    <a:lnTo>
                      <a:pt x="564" y="208"/>
                    </a:lnTo>
                    <a:lnTo>
                      <a:pt x="562" y="206"/>
                    </a:lnTo>
                    <a:lnTo>
                      <a:pt x="561" y="207"/>
                    </a:lnTo>
                    <a:lnTo>
                      <a:pt x="560" y="205"/>
                    </a:lnTo>
                    <a:lnTo>
                      <a:pt x="560" y="203"/>
                    </a:lnTo>
                    <a:lnTo>
                      <a:pt x="560" y="202"/>
                    </a:lnTo>
                    <a:lnTo>
                      <a:pt x="557" y="204"/>
                    </a:lnTo>
                    <a:lnTo>
                      <a:pt x="554" y="204"/>
                    </a:lnTo>
                    <a:lnTo>
                      <a:pt x="552" y="201"/>
                    </a:lnTo>
                    <a:lnTo>
                      <a:pt x="551" y="202"/>
                    </a:lnTo>
                    <a:lnTo>
                      <a:pt x="550" y="201"/>
                    </a:lnTo>
                    <a:lnTo>
                      <a:pt x="548" y="199"/>
                    </a:lnTo>
                    <a:lnTo>
                      <a:pt x="545" y="200"/>
                    </a:lnTo>
                    <a:lnTo>
                      <a:pt x="546" y="197"/>
                    </a:lnTo>
                    <a:lnTo>
                      <a:pt x="546" y="194"/>
                    </a:lnTo>
                    <a:lnTo>
                      <a:pt x="549" y="193"/>
                    </a:lnTo>
                    <a:lnTo>
                      <a:pt x="549" y="191"/>
                    </a:lnTo>
                    <a:lnTo>
                      <a:pt x="547" y="190"/>
                    </a:lnTo>
                    <a:lnTo>
                      <a:pt x="545" y="190"/>
                    </a:lnTo>
                    <a:lnTo>
                      <a:pt x="544" y="183"/>
                    </a:lnTo>
                    <a:lnTo>
                      <a:pt x="543" y="182"/>
                    </a:lnTo>
                    <a:lnTo>
                      <a:pt x="543" y="181"/>
                    </a:lnTo>
                    <a:lnTo>
                      <a:pt x="545" y="180"/>
                    </a:lnTo>
                    <a:lnTo>
                      <a:pt x="546" y="178"/>
                    </a:lnTo>
                    <a:lnTo>
                      <a:pt x="544" y="177"/>
                    </a:lnTo>
                    <a:lnTo>
                      <a:pt x="545" y="175"/>
                    </a:lnTo>
                    <a:lnTo>
                      <a:pt x="546" y="168"/>
                    </a:lnTo>
                    <a:lnTo>
                      <a:pt x="544" y="166"/>
                    </a:lnTo>
                    <a:lnTo>
                      <a:pt x="543" y="165"/>
                    </a:lnTo>
                    <a:lnTo>
                      <a:pt x="542" y="163"/>
                    </a:lnTo>
                    <a:lnTo>
                      <a:pt x="540" y="161"/>
                    </a:lnTo>
                    <a:lnTo>
                      <a:pt x="536" y="163"/>
                    </a:lnTo>
                    <a:lnTo>
                      <a:pt x="535" y="162"/>
                    </a:lnTo>
                    <a:lnTo>
                      <a:pt x="527" y="165"/>
                    </a:lnTo>
                    <a:lnTo>
                      <a:pt x="517" y="165"/>
                    </a:lnTo>
                    <a:lnTo>
                      <a:pt x="514" y="164"/>
                    </a:lnTo>
                    <a:lnTo>
                      <a:pt x="512" y="164"/>
                    </a:lnTo>
                    <a:lnTo>
                      <a:pt x="508" y="170"/>
                    </a:lnTo>
                    <a:lnTo>
                      <a:pt x="505" y="172"/>
                    </a:lnTo>
                    <a:lnTo>
                      <a:pt x="505" y="175"/>
                    </a:lnTo>
                    <a:lnTo>
                      <a:pt x="506" y="176"/>
                    </a:lnTo>
                    <a:lnTo>
                      <a:pt x="508" y="175"/>
                    </a:lnTo>
                    <a:lnTo>
                      <a:pt x="509" y="175"/>
                    </a:lnTo>
                    <a:lnTo>
                      <a:pt x="508" y="178"/>
                    </a:lnTo>
                    <a:lnTo>
                      <a:pt x="507" y="180"/>
                    </a:lnTo>
                    <a:lnTo>
                      <a:pt x="507" y="181"/>
                    </a:lnTo>
                    <a:lnTo>
                      <a:pt x="511" y="182"/>
                    </a:lnTo>
                    <a:lnTo>
                      <a:pt x="512" y="183"/>
                    </a:lnTo>
                    <a:lnTo>
                      <a:pt x="515" y="183"/>
                    </a:lnTo>
                    <a:lnTo>
                      <a:pt x="515" y="180"/>
                    </a:lnTo>
                    <a:lnTo>
                      <a:pt x="513" y="178"/>
                    </a:lnTo>
                    <a:lnTo>
                      <a:pt x="513" y="176"/>
                    </a:lnTo>
                    <a:lnTo>
                      <a:pt x="515" y="176"/>
                    </a:lnTo>
                    <a:lnTo>
                      <a:pt x="515" y="177"/>
                    </a:lnTo>
                    <a:lnTo>
                      <a:pt x="518" y="177"/>
                    </a:lnTo>
                    <a:lnTo>
                      <a:pt x="520" y="180"/>
                    </a:lnTo>
                    <a:lnTo>
                      <a:pt x="522" y="179"/>
                    </a:lnTo>
                    <a:lnTo>
                      <a:pt x="522" y="176"/>
                    </a:lnTo>
                    <a:lnTo>
                      <a:pt x="524" y="174"/>
                    </a:lnTo>
                    <a:lnTo>
                      <a:pt x="524" y="176"/>
                    </a:lnTo>
                    <a:lnTo>
                      <a:pt x="526" y="180"/>
                    </a:lnTo>
                    <a:lnTo>
                      <a:pt x="527" y="178"/>
                    </a:lnTo>
                    <a:lnTo>
                      <a:pt x="527" y="176"/>
                    </a:lnTo>
                    <a:lnTo>
                      <a:pt x="529" y="176"/>
                    </a:lnTo>
                    <a:lnTo>
                      <a:pt x="530" y="173"/>
                    </a:lnTo>
                    <a:lnTo>
                      <a:pt x="532" y="174"/>
                    </a:lnTo>
                    <a:lnTo>
                      <a:pt x="537" y="172"/>
                    </a:lnTo>
                    <a:lnTo>
                      <a:pt x="539" y="171"/>
                    </a:lnTo>
                    <a:lnTo>
                      <a:pt x="540" y="173"/>
                    </a:lnTo>
                    <a:lnTo>
                      <a:pt x="543" y="173"/>
                    </a:lnTo>
                    <a:lnTo>
                      <a:pt x="541" y="175"/>
                    </a:lnTo>
                    <a:lnTo>
                      <a:pt x="542" y="177"/>
                    </a:lnTo>
                    <a:lnTo>
                      <a:pt x="539" y="181"/>
                    </a:lnTo>
                    <a:lnTo>
                      <a:pt x="537" y="180"/>
                    </a:lnTo>
                    <a:lnTo>
                      <a:pt x="536" y="181"/>
                    </a:lnTo>
                    <a:lnTo>
                      <a:pt x="533" y="181"/>
                    </a:lnTo>
                    <a:lnTo>
                      <a:pt x="532" y="180"/>
                    </a:lnTo>
                    <a:lnTo>
                      <a:pt x="529" y="180"/>
                    </a:lnTo>
                    <a:lnTo>
                      <a:pt x="527" y="185"/>
                    </a:lnTo>
                    <a:lnTo>
                      <a:pt x="529" y="189"/>
                    </a:lnTo>
                    <a:lnTo>
                      <a:pt x="529" y="193"/>
                    </a:lnTo>
                    <a:lnTo>
                      <a:pt x="528" y="189"/>
                    </a:lnTo>
                    <a:lnTo>
                      <a:pt x="526" y="188"/>
                    </a:lnTo>
                    <a:lnTo>
                      <a:pt x="525" y="186"/>
                    </a:lnTo>
                    <a:lnTo>
                      <a:pt x="524" y="186"/>
                    </a:lnTo>
                    <a:lnTo>
                      <a:pt x="522" y="189"/>
                    </a:lnTo>
                    <a:lnTo>
                      <a:pt x="519" y="190"/>
                    </a:lnTo>
                    <a:lnTo>
                      <a:pt x="518" y="190"/>
                    </a:lnTo>
                    <a:lnTo>
                      <a:pt x="518" y="188"/>
                    </a:lnTo>
                    <a:lnTo>
                      <a:pt x="517" y="188"/>
                    </a:lnTo>
                    <a:lnTo>
                      <a:pt x="515" y="191"/>
                    </a:lnTo>
                    <a:lnTo>
                      <a:pt x="513" y="192"/>
                    </a:lnTo>
                    <a:lnTo>
                      <a:pt x="512" y="190"/>
                    </a:lnTo>
                    <a:lnTo>
                      <a:pt x="510" y="191"/>
                    </a:lnTo>
                    <a:lnTo>
                      <a:pt x="508" y="193"/>
                    </a:lnTo>
                    <a:lnTo>
                      <a:pt x="508" y="194"/>
                    </a:lnTo>
                    <a:lnTo>
                      <a:pt x="505" y="194"/>
                    </a:lnTo>
                    <a:lnTo>
                      <a:pt x="502" y="196"/>
                    </a:lnTo>
                    <a:lnTo>
                      <a:pt x="502" y="199"/>
                    </a:lnTo>
                    <a:lnTo>
                      <a:pt x="503" y="202"/>
                    </a:lnTo>
                    <a:lnTo>
                      <a:pt x="501" y="211"/>
                    </a:lnTo>
                    <a:lnTo>
                      <a:pt x="499" y="217"/>
                    </a:lnTo>
                    <a:lnTo>
                      <a:pt x="499" y="219"/>
                    </a:lnTo>
                    <a:lnTo>
                      <a:pt x="501" y="221"/>
                    </a:lnTo>
                    <a:lnTo>
                      <a:pt x="501" y="223"/>
                    </a:lnTo>
                    <a:lnTo>
                      <a:pt x="498" y="224"/>
                    </a:lnTo>
                    <a:lnTo>
                      <a:pt x="498" y="226"/>
                    </a:lnTo>
                    <a:lnTo>
                      <a:pt x="500" y="229"/>
                    </a:lnTo>
                    <a:lnTo>
                      <a:pt x="500" y="232"/>
                    </a:lnTo>
                    <a:lnTo>
                      <a:pt x="499" y="234"/>
                    </a:lnTo>
                    <a:lnTo>
                      <a:pt x="498" y="232"/>
                    </a:lnTo>
                    <a:lnTo>
                      <a:pt x="496" y="234"/>
                    </a:lnTo>
                    <a:lnTo>
                      <a:pt x="495" y="233"/>
                    </a:lnTo>
                    <a:lnTo>
                      <a:pt x="496" y="231"/>
                    </a:lnTo>
                    <a:lnTo>
                      <a:pt x="497" y="230"/>
                    </a:lnTo>
                    <a:lnTo>
                      <a:pt x="497" y="227"/>
                    </a:lnTo>
                    <a:lnTo>
                      <a:pt x="494" y="227"/>
                    </a:lnTo>
                    <a:lnTo>
                      <a:pt x="491" y="234"/>
                    </a:lnTo>
                    <a:lnTo>
                      <a:pt x="491" y="242"/>
                    </a:lnTo>
                    <a:lnTo>
                      <a:pt x="492" y="249"/>
                    </a:lnTo>
                    <a:lnTo>
                      <a:pt x="492" y="260"/>
                    </a:lnTo>
                    <a:lnTo>
                      <a:pt x="491" y="249"/>
                    </a:lnTo>
                    <a:lnTo>
                      <a:pt x="490" y="245"/>
                    </a:lnTo>
                    <a:lnTo>
                      <a:pt x="489" y="243"/>
                    </a:lnTo>
                    <a:lnTo>
                      <a:pt x="490" y="240"/>
                    </a:lnTo>
                    <a:lnTo>
                      <a:pt x="490" y="238"/>
                    </a:lnTo>
                    <a:lnTo>
                      <a:pt x="487" y="235"/>
                    </a:lnTo>
                    <a:lnTo>
                      <a:pt x="488" y="232"/>
                    </a:lnTo>
                    <a:lnTo>
                      <a:pt x="488" y="225"/>
                    </a:lnTo>
                    <a:lnTo>
                      <a:pt x="486" y="221"/>
                    </a:lnTo>
                    <a:lnTo>
                      <a:pt x="486" y="216"/>
                    </a:lnTo>
                    <a:lnTo>
                      <a:pt x="488" y="212"/>
                    </a:lnTo>
                    <a:lnTo>
                      <a:pt x="490" y="207"/>
                    </a:lnTo>
                    <a:lnTo>
                      <a:pt x="491" y="202"/>
                    </a:lnTo>
                    <a:lnTo>
                      <a:pt x="490" y="202"/>
                    </a:lnTo>
                    <a:lnTo>
                      <a:pt x="488" y="204"/>
                    </a:lnTo>
                    <a:lnTo>
                      <a:pt x="488" y="208"/>
                    </a:lnTo>
                    <a:lnTo>
                      <a:pt x="486" y="211"/>
                    </a:lnTo>
                    <a:lnTo>
                      <a:pt x="485" y="210"/>
                    </a:lnTo>
                    <a:lnTo>
                      <a:pt x="484" y="207"/>
                    </a:lnTo>
                    <a:lnTo>
                      <a:pt x="487" y="201"/>
                    </a:lnTo>
                    <a:lnTo>
                      <a:pt x="487" y="198"/>
                    </a:lnTo>
                    <a:lnTo>
                      <a:pt x="485" y="197"/>
                    </a:lnTo>
                    <a:lnTo>
                      <a:pt x="484" y="198"/>
                    </a:lnTo>
                    <a:lnTo>
                      <a:pt x="483" y="197"/>
                    </a:lnTo>
                    <a:lnTo>
                      <a:pt x="482" y="196"/>
                    </a:lnTo>
                    <a:lnTo>
                      <a:pt x="482" y="194"/>
                    </a:lnTo>
                    <a:lnTo>
                      <a:pt x="482" y="190"/>
                    </a:lnTo>
                    <a:lnTo>
                      <a:pt x="480" y="190"/>
                    </a:lnTo>
                    <a:lnTo>
                      <a:pt x="480" y="188"/>
                    </a:lnTo>
                    <a:lnTo>
                      <a:pt x="481" y="187"/>
                    </a:lnTo>
                    <a:lnTo>
                      <a:pt x="482" y="183"/>
                    </a:lnTo>
                    <a:lnTo>
                      <a:pt x="480" y="184"/>
                    </a:lnTo>
                    <a:lnTo>
                      <a:pt x="472" y="187"/>
                    </a:lnTo>
                    <a:lnTo>
                      <a:pt x="467" y="190"/>
                    </a:lnTo>
                    <a:lnTo>
                      <a:pt x="466" y="190"/>
                    </a:lnTo>
                    <a:lnTo>
                      <a:pt x="466" y="188"/>
                    </a:lnTo>
                    <a:lnTo>
                      <a:pt x="464" y="188"/>
                    </a:lnTo>
                    <a:lnTo>
                      <a:pt x="463" y="190"/>
                    </a:lnTo>
                    <a:lnTo>
                      <a:pt x="461" y="190"/>
                    </a:lnTo>
                    <a:lnTo>
                      <a:pt x="460" y="189"/>
                    </a:lnTo>
                    <a:lnTo>
                      <a:pt x="456" y="193"/>
                    </a:lnTo>
                    <a:lnTo>
                      <a:pt x="456" y="190"/>
                    </a:lnTo>
                    <a:lnTo>
                      <a:pt x="453" y="188"/>
                    </a:lnTo>
                    <a:lnTo>
                      <a:pt x="452" y="189"/>
                    </a:lnTo>
                    <a:lnTo>
                      <a:pt x="452" y="190"/>
                    </a:lnTo>
                    <a:lnTo>
                      <a:pt x="448" y="190"/>
                    </a:lnTo>
                    <a:lnTo>
                      <a:pt x="442" y="187"/>
                    </a:lnTo>
                    <a:lnTo>
                      <a:pt x="437" y="187"/>
                    </a:lnTo>
                    <a:lnTo>
                      <a:pt x="433" y="183"/>
                    </a:lnTo>
                    <a:lnTo>
                      <a:pt x="429" y="183"/>
                    </a:lnTo>
                    <a:lnTo>
                      <a:pt x="429" y="180"/>
                    </a:lnTo>
                    <a:lnTo>
                      <a:pt x="425" y="177"/>
                    </a:lnTo>
                    <a:lnTo>
                      <a:pt x="424" y="179"/>
                    </a:lnTo>
                    <a:lnTo>
                      <a:pt x="422" y="176"/>
                    </a:lnTo>
                    <a:lnTo>
                      <a:pt x="421" y="173"/>
                    </a:lnTo>
                    <a:lnTo>
                      <a:pt x="418" y="171"/>
                    </a:lnTo>
                    <a:lnTo>
                      <a:pt x="417" y="169"/>
                    </a:lnTo>
                    <a:lnTo>
                      <a:pt x="420" y="168"/>
                    </a:lnTo>
                    <a:lnTo>
                      <a:pt x="422" y="169"/>
                    </a:lnTo>
                    <a:lnTo>
                      <a:pt x="423" y="165"/>
                    </a:lnTo>
                    <a:lnTo>
                      <a:pt x="425" y="163"/>
                    </a:lnTo>
                    <a:lnTo>
                      <a:pt x="425" y="161"/>
                    </a:lnTo>
                    <a:lnTo>
                      <a:pt x="427" y="161"/>
                    </a:lnTo>
                    <a:lnTo>
                      <a:pt x="430" y="163"/>
                    </a:lnTo>
                    <a:lnTo>
                      <a:pt x="432" y="161"/>
                    </a:lnTo>
                    <a:lnTo>
                      <a:pt x="432" y="160"/>
                    </a:lnTo>
                    <a:lnTo>
                      <a:pt x="435" y="160"/>
                    </a:lnTo>
                    <a:lnTo>
                      <a:pt x="441" y="163"/>
                    </a:lnTo>
                    <a:lnTo>
                      <a:pt x="444" y="159"/>
                    </a:lnTo>
                    <a:lnTo>
                      <a:pt x="444" y="156"/>
                    </a:lnTo>
                    <a:lnTo>
                      <a:pt x="446" y="152"/>
                    </a:lnTo>
                    <a:lnTo>
                      <a:pt x="444" y="149"/>
                    </a:lnTo>
                    <a:lnTo>
                      <a:pt x="444" y="145"/>
                    </a:lnTo>
                    <a:lnTo>
                      <a:pt x="442" y="142"/>
                    </a:lnTo>
                    <a:lnTo>
                      <a:pt x="441" y="137"/>
                    </a:lnTo>
                    <a:lnTo>
                      <a:pt x="439" y="136"/>
                    </a:lnTo>
                    <a:lnTo>
                      <a:pt x="439" y="134"/>
                    </a:lnTo>
                    <a:lnTo>
                      <a:pt x="435" y="129"/>
                    </a:lnTo>
                    <a:lnTo>
                      <a:pt x="433" y="130"/>
                    </a:lnTo>
                    <a:lnTo>
                      <a:pt x="432" y="132"/>
                    </a:lnTo>
                    <a:lnTo>
                      <a:pt x="432" y="132"/>
                    </a:lnTo>
                    <a:lnTo>
                      <a:pt x="431" y="130"/>
                    </a:lnTo>
                    <a:lnTo>
                      <a:pt x="426" y="128"/>
                    </a:lnTo>
                    <a:lnTo>
                      <a:pt x="426" y="129"/>
                    </a:lnTo>
                    <a:lnTo>
                      <a:pt x="429" y="132"/>
                    </a:lnTo>
                    <a:lnTo>
                      <a:pt x="429" y="134"/>
                    </a:lnTo>
                    <a:lnTo>
                      <a:pt x="429" y="136"/>
                    </a:lnTo>
                    <a:lnTo>
                      <a:pt x="429" y="138"/>
                    </a:lnTo>
                    <a:lnTo>
                      <a:pt x="427" y="136"/>
                    </a:lnTo>
                    <a:lnTo>
                      <a:pt x="427" y="132"/>
                    </a:lnTo>
                    <a:lnTo>
                      <a:pt x="425" y="132"/>
                    </a:lnTo>
                    <a:lnTo>
                      <a:pt x="420" y="129"/>
                    </a:lnTo>
                    <a:lnTo>
                      <a:pt x="419" y="127"/>
                    </a:lnTo>
                    <a:lnTo>
                      <a:pt x="418" y="128"/>
                    </a:lnTo>
                    <a:lnTo>
                      <a:pt x="416" y="128"/>
                    </a:lnTo>
                    <a:lnTo>
                      <a:pt x="415" y="125"/>
                    </a:lnTo>
                    <a:lnTo>
                      <a:pt x="412" y="122"/>
                    </a:lnTo>
                    <a:lnTo>
                      <a:pt x="411" y="122"/>
                    </a:lnTo>
                    <a:lnTo>
                      <a:pt x="407" y="117"/>
                    </a:lnTo>
                    <a:lnTo>
                      <a:pt x="403" y="114"/>
                    </a:lnTo>
                    <a:lnTo>
                      <a:pt x="402" y="111"/>
                    </a:lnTo>
                    <a:lnTo>
                      <a:pt x="390" y="103"/>
                    </a:lnTo>
                    <a:lnTo>
                      <a:pt x="387" y="97"/>
                    </a:lnTo>
                    <a:lnTo>
                      <a:pt x="387" y="93"/>
                    </a:lnTo>
                    <a:lnTo>
                      <a:pt x="385" y="84"/>
                    </a:lnTo>
                    <a:lnTo>
                      <a:pt x="385" y="81"/>
                    </a:lnTo>
                    <a:lnTo>
                      <a:pt x="382" y="81"/>
                    </a:lnTo>
                    <a:lnTo>
                      <a:pt x="379" y="78"/>
                    </a:lnTo>
                    <a:lnTo>
                      <a:pt x="377" y="78"/>
                    </a:lnTo>
                    <a:lnTo>
                      <a:pt x="374" y="76"/>
                    </a:lnTo>
                    <a:lnTo>
                      <a:pt x="371" y="75"/>
                    </a:lnTo>
                    <a:lnTo>
                      <a:pt x="370" y="73"/>
                    </a:lnTo>
                    <a:lnTo>
                      <a:pt x="366" y="74"/>
                    </a:lnTo>
                    <a:lnTo>
                      <a:pt x="363" y="78"/>
                    </a:lnTo>
                    <a:lnTo>
                      <a:pt x="360" y="84"/>
                    </a:lnTo>
                    <a:lnTo>
                      <a:pt x="357" y="85"/>
                    </a:lnTo>
                    <a:lnTo>
                      <a:pt x="355" y="88"/>
                    </a:lnTo>
                    <a:lnTo>
                      <a:pt x="352" y="88"/>
                    </a:lnTo>
                    <a:lnTo>
                      <a:pt x="350" y="86"/>
                    </a:lnTo>
                    <a:lnTo>
                      <a:pt x="346" y="85"/>
                    </a:lnTo>
                    <a:lnTo>
                      <a:pt x="345" y="83"/>
                    </a:lnTo>
                    <a:lnTo>
                      <a:pt x="346" y="80"/>
                    </a:lnTo>
                    <a:lnTo>
                      <a:pt x="347" y="79"/>
                    </a:lnTo>
                    <a:lnTo>
                      <a:pt x="349" y="79"/>
                    </a:lnTo>
                    <a:lnTo>
                      <a:pt x="352" y="76"/>
                    </a:lnTo>
                    <a:lnTo>
                      <a:pt x="354" y="75"/>
                    </a:lnTo>
                    <a:lnTo>
                      <a:pt x="354" y="73"/>
                    </a:lnTo>
                    <a:lnTo>
                      <a:pt x="353" y="71"/>
                    </a:lnTo>
                    <a:lnTo>
                      <a:pt x="352" y="72"/>
                    </a:lnTo>
                    <a:lnTo>
                      <a:pt x="350" y="71"/>
                    </a:lnTo>
                    <a:lnTo>
                      <a:pt x="351" y="69"/>
                    </a:lnTo>
                    <a:lnTo>
                      <a:pt x="353" y="66"/>
                    </a:lnTo>
                    <a:lnTo>
                      <a:pt x="353" y="64"/>
                    </a:lnTo>
                    <a:lnTo>
                      <a:pt x="356" y="61"/>
                    </a:lnTo>
                    <a:lnTo>
                      <a:pt x="356" y="59"/>
                    </a:lnTo>
                    <a:lnTo>
                      <a:pt x="356" y="55"/>
                    </a:lnTo>
                    <a:lnTo>
                      <a:pt x="352" y="56"/>
                    </a:lnTo>
                    <a:lnTo>
                      <a:pt x="352" y="59"/>
                    </a:lnTo>
                    <a:lnTo>
                      <a:pt x="347" y="63"/>
                    </a:lnTo>
                    <a:lnTo>
                      <a:pt x="344" y="62"/>
                    </a:lnTo>
                    <a:lnTo>
                      <a:pt x="347" y="68"/>
                    </a:lnTo>
                    <a:lnTo>
                      <a:pt x="345" y="70"/>
                    </a:lnTo>
                    <a:lnTo>
                      <a:pt x="345" y="68"/>
                    </a:lnTo>
                    <a:lnTo>
                      <a:pt x="341" y="68"/>
                    </a:lnTo>
                    <a:lnTo>
                      <a:pt x="338" y="70"/>
                    </a:lnTo>
                    <a:lnTo>
                      <a:pt x="339" y="71"/>
                    </a:lnTo>
                    <a:lnTo>
                      <a:pt x="338" y="75"/>
                    </a:lnTo>
                    <a:lnTo>
                      <a:pt x="336" y="74"/>
                    </a:lnTo>
                    <a:lnTo>
                      <a:pt x="333" y="76"/>
                    </a:lnTo>
                    <a:lnTo>
                      <a:pt x="334" y="78"/>
                    </a:lnTo>
                    <a:lnTo>
                      <a:pt x="337" y="78"/>
                    </a:lnTo>
                    <a:lnTo>
                      <a:pt x="338" y="80"/>
                    </a:lnTo>
                    <a:lnTo>
                      <a:pt x="334" y="83"/>
                    </a:lnTo>
                    <a:lnTo>
                      <a:pt x="332" y="79"/>
                    </a:lnTo>
                    <a:lnTo>
                      <a:pt x="329" y="77"/>
                    </a:lnTo>
                    <a:lnTo>
                      <a:pt x="328" y="73"/>
                    </a:lnTo>
                    <a:lnTo>
                      <a:pt x="328" y="58"/>
                    </a:lnTo>
                    <a:lnTo>
                      <a:pt x="330" y="52"/>
                    </a:lnTo>
                    <a:lnTo>
                      <a:pt x="330" y="42"/>
                    </a:lnTo>
                    <a:lnTo>
                      <a:pt x="332" y="38"/>
                    </a:lnTo>
                    <a:lnTo>
                      <a:pt x="331" y="25"/>
                    </a:lnTo>
                    <a:lnTo>
                      <a:pt x="331" y="20"/>
                    </a:lnTo>
                    <a:lnTo>
                      <a:pt x="327" y="22"/>
                    </a:lnTo>
                    <a:lnTo>
                      <a:pt x="325" y="27"/>
                    </a:lnTo>
                    <a:lnTo>
                      <a:pt x="326" y="28"/>
                    </a:lnTo>
                    <a:lnTo>
                      <a:pt x="325" y="31"/>
                    </a:lnTo>
                    <a:lnTo>
                      <a:pt x="325" y="35"/>
                    </a:lnTo>
                    <a:lnTo>
                      <a:pt x="325" y="39"/>
                    </a:lnTo>
                    <a:lnTo>
                      <a:pt x="323" y="38"/>
                    </a:lnTo>
                    <a:lnTo>
                      <a:pt x="321" y="37"/>
                    </a:lnTo>
                    <a:lnTo>
                      <a:pt x="320" y="38"/>
                    </a:lnTo>
                    <a:lnTo>
                      <a:pt x="320" y="42"/>
                    </a:lnTo>
                    <a:lnTo>
                      <a:pt x="318" y="40"/>
                    </a:lnTo>
                    <a:lnTo>
                      <a:pt x="315" y="42"/>
                    </a:lnTo>
                    <a:lnTo>
                      <a:pt x="315" y="45"/>
                    </a:lnTo>
                    <a:lnTo>
                      <a:pt x="314" y="45"/>
                    </a:lnTo>
                    <a:lnTo>
                      <a:pt x="307" y="48"/>
                    </a:lnTo>
                    <a:lnTo>
                      <a:pt x="304" y="52"/>
                    </a:lnTo>
                    <a:lnTo>
                      <a:pt x="301" y="51"/>
                    </a:lnTo>
                    <a:lnTo>
                      <a:pt x="301" y="48"/>
                    </a:lnTo>
                    <a:lnTo>
                      <a:pt x="305" y="47"/>
                    </a:lnTo>
                    <a:lnTo>
                      <a:pt x="306" y="43"/>
                    </a:lnTo>
                    <a:lnTo>
                      <a:pt x="304" y="43"/>
                    </a:lnTo>
                    <a:lnTo>
                      <a:pt x="301" y="45"/>
                    </a:lnTo>
                    <a:lnTo>
                      <a:pt x="296" y="45"/>
                    </a:lnTo>
                    <a:lnTo>
                      <a:pt x="293" y="48"/>
                    </a:lnTo>
                    <a:lnTo>
                      <a:pt x="289" y="48"/>
                    </a:lnTo>
                    <a:lnTo>
                      <a:pt x="280" y="55"/>
                    </a:lnTo>
                    <a:lnTo>
                      <a:pt x="276" y="56"/>
                    </a:lnTo>
                    <a:lnTo>
                      <a:pt x="273" y="62"/>
                    </a:lnTo>
                    <a:lnTo>
                      <a:pt x="273" y="59"/>
                    </a:lnTo>
                    <a:lnTo>
                      <a:pt x="276" y="54"/>
                    </a:lnTo>
                    <a:lnTo>
                      <a:pt x="275" y="52"/>
                    </a:lnTo>
                    <a:lnTo>
                      <a:pt x="270" y="56"/>
                    </a:lnTo>
                    <a:lnTo>
                      <a:pt x="270" y="54"/>
                    </a:lnTo>
                    <a:lnTo>
                      <a:pt x="268" y="55"/>
                    </a:lnTo>
                    <a:lnTo>
                      <a:pt x="266" y="56"/>
                    </a:lnTo>
                    <a:lnTo>
                      <a:pt x="265" y="54"/>
                    </a:lnTo>
                    <a:lnTo>
                      <a:pt x="262" y="55"/>
                    </a:lnTo>
                    <a:lnTo>
                      <a:pt x="262" y="57"/>
                    </a:lnTo>
                    <a:lnTo>
                      <a:pt x="254" y="63"/>
                    </a:lnTo>
                    <a:lnTo>
                      <a:pt x="252" y="63"/>
                    </a:lnTo>
                    <a:lnTo>
                      <a:pt x="247" y="64"/>
                    </a:lnTo>
                    <a:lnTo>
                      <a:pt x="243" y="69"/>
                    </a:lnTo>
                    <a:lnTo>
                      <a:pt x="245" y="72"/>
                    </a:lnTo>
                    <a:lnTo>
                      <a:pt x="242" y="70"/>
                    </a:lnTo>
                    <a:lnTo>
                      <a:pt x="241" y="72"/>
                    </a:lnTo>
                    <a:lnTo>
                      <a:pt x="238" y="71"/>
                    </a:lnTo>
                    <a:lnTo>
                      <a:pt x="238" y="72"/>
                    </a:lnTo>
                    <a:lnTo>
                      <a:pt x="240" y="76"/>
                    </a:lnTo>
                    <a:lnTo>
                      <a:pt x="238" y="74"/>
                    </a:lnTo>
                    <a:lnTo>
                      <a:pt x="235" y="70"/>
                    </a:lnTo>
                    <a:lnTo>
                      <a:pt x="237" y="68"/>
                    </a:lnTo>
                    <a:lnTo>
                      <a:pt x="238" y="68"/>
                    </a:lnTo>
                    <a:lnTo>
                      <a:pt x="240" y="64"/>
                    </a:lnTo>
                    <a:lnTo>
                      <a:pt x="243" y="62"/>
                    </a:lnTo>
                    <a:lnTo>
                      <a:pt x="245" y="63"/>
                    </a:lnTo>
                    <a:lnTo>
                      <a:pt x="246" y="62"/>
                    </a:lnTo>
                    <a:lnTo>
                      <a:pt x="247" y="59"/>
                    </a:lnTo>
                    <a:lnTo>
                      <a:pt x="250" y="57"/>
                    </a:lnTo>
                    <a:lnTo>
                      <a:pt x="251" y="58"/>
                    </a:lnTo>
                    <a:lnTo>
                      <a:pt x="257" y="55"/>
                    </a:lnTo>
                    <a:lnTo>
                      <a:pt x="259" y="51"/>
                    </a:lnTo>
                    <a:lnTo>
                      <a:pt x="262" y="49"/>
                    </a:lnTo>
                    <a:lnTo>
                      <a:pt x="267" y="50"/>
                    </a:lnTo>
                    <a:lnTo>
                      <a:pt x="268" y="49"/>
                    </a:lnTo>
                    <a:lnTo>
                      <a:pt x="273" y="49"/>
                    </a:lnTo>
                    <a:lnTo>
                      <a:pt x="277" y="46"/>
                    </a:lnTo>
                    <a:lnTo>
                      <a:pt x="278" y="49"/>
                    </a:lnTo>
                    <a:lnTo>
                      <a:pt x="280" y="49"/>
                    </a:lnTo>
                    <a:lnTo>
                      <a:pt x="281" y="47"/>
                    </a:lnTo>
                    <a:lnTo>
                      <a:pt x="283" y="47"/>
                    </a:lnTo>
                    <a:lnTo>
                      <a:pt x="287" y="46"/>
                    </a:lnTo>
                    <a:lnTo>
                      <a:pt x="289" y="43"/>
                    </a:lnTo>
                    <a:lnTo>
                      <a:pt x="294" y="42"/>
                    </a:lnTo>
                    <a:lnTo>
                      <a:pt x="300" y="39"/>
                    </a:lnTo>
                    <a:lnTo>
                      <a:pt x="301" y="36"/>
                    </a:lnTo>
                    <a:lnTo>
                      <a:pt x="303" y="36"/>
                    </a:lnTo>
                    <a:lnTo>
                      <a:pt x="304" y="35"/>
                    </a:lnTo>
                    <a:lnTo>
                      <a:pt x="302" y="33"/>
                    </a:lnTo>
                    <a:lnTo>
                      <a:pt x="302" y="30"/>
                    </a:lnTo>
                    <a:lnTo>
                      <a:pt x="300" y="28"/>
                    </a:lnTo>
                    <a:lnTo>
                      <a:pt x="300" y="30"/>
                    </a:lnTo>
                    <a:lnTo>
                      <a:pt x="299" y="32"/>
                    </a:lnTo>
                    <a:lnTo>
                      <a:pt x="297" y="33"/>
                    </a:lnTo>
                    <a:lnTo>
                      <a:pt x="296" y="31"/>
                    </a:lnTo>
                    <a:lnTo>
                      <a:pt x="295" y="31"/>
                    </a:lnTo>
                    <a:lnTo>
                      <a:pt x="294" y="30"/>
                    </a:lnTo>
                    <a:lnTo>
                      <a:pt x="291" y="30"/>
                    </a:lnTo>
                    <a:lnTo>
                      <a:pt x="287" y="32"/>
                    </a:lnTo>
                    <a:lnTo>
                      <a:pt x="285" y="35"/>
                    </a:lnTo>
                    <a:lnTo>
                      <a:pt x="283" y="37"/>
                    </a:lnTo>
                    <a:lnTo>
                      <a:pt x="282" y="34"/>
                    </a:lnTo>
                    <a:lnTo>
                      <a:pt x="281" y="34"/>
                    </a:lnTo>
                    <a:lnTo>
                      <a:pt x="278" y="36"/>
                    </a:lnTo>
                    <a:lnTo>
                      <a:pt x="272" y="38"/>
                    </a:lnTo>
                    <a:lnTo>
                      <a:pt x="264" y="39"/>
                    </a:lnTo>
                    <a:lnTo>
                      <a:pt x="262" y="38"/>
                    </a:lnTo>
                    <a:lnTo>
                      <a:pt x="260" y="38"/>
                    </a:lnTo>
                    <a:lnTo>
                      <a:pt x="261" y="39"/>
                    </a:lnTo>
                    <a:lnTo>
                      <a:pt x="259" y="41"/>
                    </a:lnTo>
                    <a:lnTo>
                      <a:pt x="257" y="40"/>
                    </a:lnTo>
                    <a:lnTo>
                      <a:pt x="255" y="40"/>
                    </a:lnTo>
                    <a:lnTo>
                      <a:pt x="254" y="44"/>
                    </a:lnTo>
                    <a:lnTo>
                      <a:pt x="250" y="49"/>
                    </a:lnTo>
                    <a:lnTo>
                      <a:pt x="248" y="47"/>
                    </a:lnTo>
                    <a:lnTo>
                      <a:pt x="246" y="47"/>
                    </a:lnTo>
                    <a:lnTo>
                      <a:pt x="245" y="47"/>
                    </a:lnTo>
                    <a:lnTo>
                      <a:pt x="242" y="47"/>
                    </a:lnTo>
                    <a:lnTo>
                      <a:pt x="240" y="48"/>
                    </a:lnTo>
                    <a:lnTo>
                      <a:pt x="238" y="49"/>
                    </a:lnTo>
                    <a:lnTo>
                      <a:pt x="237" y="51"/>
                    </a:lnTo>
                    <a:lnTo>
                      <a:pt x="234" y="52"/>
                    </a:lnTo>
                    <a:lnTo>
                      <a:pt x="231" y="54"/>
                    </a:lnTo>
                    <a:lnTo>
                      <a:pt x="228" y="56"/>
                    </a:lnTo>
                    <a:lnTo>
                      <a:pt x="224" y="58"/>
                    </a:lnTo>
                    <a:lnTo>
                      <a:pt x="222" y="61"/>
                    </a:lnTo>
                    <a:lnTo>
                      <a:pt x="221" y="67"/>
                    </a:lnTo>
                    <a:lnTo>
                      <a:pt x="222" y="76"/>
                    </a:lnTo>
                    <a:lnTo>
                      <a:pt x="221" y="81"/>
                    </a:lnTo>
                    <a:lnTo>
                      <a:pt x="220" y="80"/>
                    </a:lnTo>
                    <a:lnTo>
                      <a:pt x="218" y="81"/>
                    </a:lnTo>
                    <a:lnTo>
                      <a:pt x="212" y="87"/>
                    </a:lnTo>
                    <a:lnTo>
                      <a:pt x="214" y="84"/>
                    </a:lnTo>
                    <a:lnTo>
                      <a:pt x="217" y="80"/>
                    </a:lnTo>
                    <a:lnTo>
                      <a:pt x="217" y="78"/>
                    </a:lnTo>
                    <a:lnTo>
                      <a:pt x="216" y="77"/>
                    </a:lnTo>
                    <a:lnTo>
                      <a:pt x="216" y="75"/>
                    </a:lnTo>
                    <a:lnTo>
                      <a:pt x="213" y="70"/>
                    </a:lnTo>
                    <a:lnTo>
                      <a:pt x="210" y="69"/>
                    </a:lnTo>
                    <a:lnTo>
                      <a:pt x="209" y="67"/>
                    </a:lnTo>
                    <a:lnTo>
                      <a:pt x="207" y="66"/>
                    </a:lnTo>
                    <a:lnTo>
                      <a:pt x="207" y="62"/>
                    </a:lnTo>
                    <a:lnTo>
                      <a:pt x="204" y="57"/>
                    </a:lnTo>
                    <a:lnTo>
                      <a:pt x="203" y="57"/>
                    </a:lnTo>
                    <a:lnTo>
                      <a:pt x="202" y="56"/>
                    </a:lnTo>
                    <a:lnTo>
                      <a:pt x="201" y="53"/>
                    </a:lnTo>
                    <a:lnTo>
                      <a:pt x="200" y="52"/>
                    </a:lnTo>
                    <a:lnTo>
                      <a:pt x="199" y="52"/>
                    </a:lnTo>
                    <a:lnTo>
                      <a:pt x="196" y="50"/>
                    </a:lnTo>
                    <a:lnTo>
                      <a:pt x="191" y="45"/>
                    </a:lnTo>
                    <a:lnTo>
                      <a:pt x="190" y="39"/>
                    </a:lnTo>
                    <a:lnTo>
                      <a:pt x="190" y="34"/>
                    </a:lnTo>
                    <a:lnTo>
                      <a:pt x="190" y="34"/>
                    </a:lnTo>
                    <a:lnTo>
                      <a:pt x="189" y="35"/>
                    </a:lnTo>
                    <a:lnTo>
                      <a:pt x="187" y="35"/>
                    </a:lnTo>
                    <a:lnTo>
                      <a:pt x="186" y="31"/>
                    </a:lnTo>
                    <a:lnTo>
                      <a:pt x="187" y="27"/>
                    </a:lnTo>
                    <a:lnTo>
                      <a:pt x="187" y="26"/>
                    </a:lnTo>
                    <a:lnTo>
                      <a:pt x="187" y="24"/>
                    </a:lnTo>
                    <a:lnTo>
                      <a:pt x="184" y="20"/>
                    </a:lnTo>
                    <a:lnTo>
                      <a:pt x="184" y="17"/>
                    </a:lnTo>
                    <a:lnTo>
                      <a:pt x="182" y="14"/>
                    </a:lnTo>
                    <a:lnTo>
                      <a:pt x="180" y="14"/>
                    </a:lnTo>
                    <a:lnTo>
                      <a:pt x="179" y="12"/>
                    </a:lnTo>
                    <a:lnTo>
                      <a:pt x="177" y="10"/>
                    </a:lnTo>
                    <a:lnTo>
                      <a:pt x="175" y="9"/>
                    </a:lnTo>
                    <a:lnTo>
                      <a:pt x="166" y="2"/>
                    </a:lnTo>
                    <a:lnTo>
                      <a:pt x="165" y="2"/>
                    </a:lnTo>
                    <a:lnTo>
                      <a:pt x="164" y="0"/>
                    </a:lnTo>
                    <a:lnTo>
                      <a:pt x="0" y="359"/>
                    </a:lnTo>
                    <a:lnTo>
                      <a:pt x="10" y="359"/>
                    </a:lnTo>
                    <a:lnTo>
                      <a:pt x="13" y="361"/>
                    </a:lnTo>
                    <a:lnTo>
                      <a:pt x="18" y="357"/>
                    </a:lnTo>
                    <a:lnTo>
                      <a:pt x="25" y="359"/>
                    </a:lnTo>
                    <a:lnTo>
                      <a:pt x="22" y="366"/>
                    </a:lnTo>
                    <a:lnTo>
                      <a:pt x="23" y="370"/>
                    </a:lnTo>
                    <a:lnTo>
                      <a:pt x="26" y="379"/>
                    </a:lnTo>
                    <a:lnTo>
                      <a:pt x="30" y="398"/>
                    </a:lnTo>
                    <a:lnTo>
                      <a:pt x="31" y="403"/>
                    </a:lnTo>
                    <a:lnTo>
                      <a:pt x="29" y="408"/>
                    </a:lnTo>
                    <a:lnTo>
                      <a:pt x="29" y="410"/>
                    </a:lnTo>
                    <a:lnTo>
                      <a:pt x="30" y="410"/>
                    </a:lnTo>
                    <a:lnTo>
                      <a:pt x="35" y="408"/>
                    </a:lnTo>
                    <a:lnTo>
                      <a:pt x="40" y="408"/>
                    </a:lnTo>
                    <a:lnTo>
                      <a:pt x="43" y="406"/>
                    </a:lnTo>
                    <a:lnTo>
                      <a:pt x="47" y="398"/>
                    </a:lnTo>
                    <a:lnTo>
                      <a:pt x="51" y="394"/>
                    </a:lnTo>
                    <a:lnTo>
                      <a:pt x="55" y="393"/>
                    </a:lnTo>
                    <a:lnTo>
                      <a:pt x="57" y="392"/>
                    </a:lnTo>
                    <a:lnTo>
                      <a:pt x="61" y="390"/>
                    </a:lnTo>
                    <a:lnTo>
                      <a:pt x="65" y="390"/>
                    </a:lnTo>
                    <a:lnTo>
                      <a:pt x="68" y="393"/>
                    </a:lnTo>
                    <a:lnTo>
                      <a:pt x="68" y="396"/>
                    </a:lnTo>
                    <a:lnTo>
                      <a:pt x="69" y="398"/>
                    </a:lnTo>
                    <a:lnTo>
                      <a:pt x="67" y="403"/>
                    </a:lnTo>
                    <a:lnTo>
                      <a:pt x="67" y="405"/>
                    </a:lnTo>
                    <a:lnTo>
                      <a:pt x="69" y="415"/>
                    </a:lnTo>
                    <a:lnTo>
                      <a:pt x="69" y="418"/>
                    </a:lnTo>
                    <a:lnTo>
                      <a:pt x="70" y="425"/>
                    </a:lnTo>
                    <a:lnTo>
                      <a:pt x="73" y="428"/>
                    </a:lnTo>
                    <a:lnTo>
                      <a:pt x="74" y="435"/>
                    </a:lnTo>
                    <a:lnTo>
                      <a:pt x="75" y="437"/>
                    </a:lnTo>
                    <a:lnTo>
                      <a:pt x="75" y="440"/>
                    </a:lnTo>
                    <a:lnTo>
                      <a:pt x="74" y="443"/>
                    </a:lnTo>
                    <a:lnTo>
                      <a:pt x="74" y="446"/>
                    </a:lnTo>
                    <a:lnTo>
                      <a:pt x="75" y="449"/>
                    </a:lnTo>
                    <a:lnTo>
                      <a:pt x="74" y="459"/>
                    </a:lnTo>
                    <a:lnTo>
                      <a:pt x="74" y="471"/>
                    </a:lnTo>
                    <a:lnTo>
                      <a:pt x="75" y="484"/>
                    </a:lnTo>
                    <a:lnTo>
                      <a:pt x="72" y="486"/>
                    </a:lnTo>
                    <a:lnTo>
                      <a:pt x="72" y="487"/>
                    </a:lnTo>
                    <a:lnTo>
                      <a:pt x="74" y="487"/>
                    </a:lnTo>
                    <a:lnTo>
                      <a:pt x="75" y="489"/>
                    </a:lnTo>
                    <a:lnTo>
                      <a:pt x="75" y="490"/>
                    </a:lnTo>
                    <a:lnTo>
                      <a:pt x="75" y="490"/>
                    </a:lnTo>
                    <a:lnTo>
                      <a:pt x="73" y="493"/>
                    </a:lnTo>
                    <a:lnTo>
                      <a:pt x="74" y="494"/>
                    </a:lnTo>
                    <a:lnTo>
                      <a:pt x="75" y="496"/>
                    </a:lnTo>
                    <a:lnTo>
                      <a:pt x="75" y="498"/>
                    </a:lnTo>
                    <a:lnTo>
                      <a:pt x="75" y="500"/>
                    </a:lnTo>
                    <a:lnTo>
                      <a:pt x="75" y="501"/>
                    </a:lnTo>
                    <a:lnTo>
                      <a:pt x="77" y="501"/>
                    </a:lnTo>
                    <a:lnTo>
                      <a:pt x="79" y="502"/>
                    </a:lnTo>
                    <a:lnTo>
                      <a:pt x="82" y="507"/>
                    </a:lnTo>
                    <a:lnTo>
                      <a:pt x="82" y="508"/>
                    </a:lnTo>
                    <a:lnTo>
                      <a:pt x="84" y="511"/>
                    </a:lnTo>
                    <a:lnTo>
                      <a:pt x="87" y="513"/>
                    </a:lnTo>
                    <a:lnTo>
                      <a:pt x="89" y="516"/>
                    </a:lnTo>
                    <a:lnTo>
                      <a:pt x="89" y="519"/>
                    </a:lnTo>
                    <a:lnTo>
                      <a:pt x="90" y="521"/>
                    </a:lnTo>
                    <a:lnTo>
                      <a:pt x="91" y="522"/>
                    </a:lnTo>
                    <a:lnTo>
                      <a:pt x="90" y="524"/>
                    </a:lnTo>
                    <a:lnTo>
                      <a:pt x="90" y="525"/>
                    </a:lnTo>
                    <a:lnTo>
                      <a:pt x="89" y="525"/>
                    </a:lnTo>
                    <a:lnTo>
                      <a:pt x="89" y="528"/>
                    </a:lnTo>
                    <a:lnTo>
                      <a:pt x="89" y="529"/>
                    </a:lnTo>
                    <a:lnTo>
                      <a:pt x="89" y="530"/>
                    </a:lnTo>
                    <a:lnTo>
                      <a:pt x="89" y="534"/>
                    </a:lnTo>
                    <a:lnTo>
                      <a:pt x="85" y="542"/>
                    </a:lnTo>
                    <a:lnTo>
                      <a:pt x="84" y="547"/>
                    </a:lnTo>
                    <a:lnTo>
                      <a:pt x="82" y="553"/>
                    </a:lnTo>
                    <a:lnTo>
                      <a:pt x="81" y="555"/>
                    </a:lnTo>
                    <a:lnTo>
                      <a:pt x="82" y="555"/>
                    </a:lnTo>
                    <a:lnTo>
                      <a:pt x="86" y="548"/>
                    </a:lnTo>
                    <a:lnTo>
                      <a:pt x="87" y="545"/>
                    </a:lnTo>
                    <a:lnTo>
                      <a:pt x="90" y="541"/>
                    </a:lnTo>
                    <a:lnTo>
                      <a:pt x="91" y="542"/>
                    </a:lnTo>
                    <a:lnTo>
                      <a:pt x="93" y="543"/>
                    </a:lnTo>
                    <a:lnTo>
                      <a:pt x="93" y="545"/>
                    </a:lnTo>
                    <a:lnTo>
                      <a:pt x="89" y="548"/>
                    </a:lnTo>
                    <a:lnTo>
                      <a:pt x="87" y="550"/>
                    </a:lnTo>
                    <a:lnTo>
                      <a:pt x="83" y="556"/>
                    </a:lnTo>
                    <a:lnTo>
                      <a:pt x="84" y="557"/>
                    </a:lnTo>
                    <a:lnTo>
                      <a:pt x="86" y="557"/>
                    </a:lnTo>
                    <a:lnTo>
                      <a:pt x="84" y="559"/>
                    </a:lnTo>
                    <a:lnTo>
                      <a:pt x="81" y="558"/>
                    </a:lnTo>
                    <a:lnTo>
                      <a:pt x="79" y="559"/>
                    </a:lnTo>
                    <a:lnTo>
                      <a:pt x="77" y="563"/>
                    </a:lnTo>
                    <a:lnTo>
                      <a:pt x="75" y="566"/>
                    </a:lnTo>
                    <a:lnTo>
                      <a:pt x="75" y="570"/>
                    </a:lnTo>
                    <a:lnTo>
                      <a:pt x="74" y="569"/>
                    </a:lnTo>
                    <a:lnTo>
                      <a:pt x="72" y="567"/>
                    </a:lnTo>
                    <a:lnTo>
                      <a:pt x="70" y="569"/>
                    </a:lnTo>
                    <a:lnTo>
                      <a:pt x="70" y="573"/>
                    </a:lnTo>
                    <a:lnTo>
                      <a:pt x="72" y="574"/>
                    </a:lnTo>
                    <a:lnTo>
                      <a:pt x="73" y="576"/>
                    </a:lnTo>
                    <a:lnTo>
                      <a:pt x="72" y="582"/>
                    </a:lnTo>
                    <a:lnTo>
                      <a:pt x="72" y="591"/>
                    </a:lnTo>
                    <a:lnTo>
                      <a:pt x="72" y="595"/>
                    </a:lnTo>
                    <a:lnTo>
                      <a:pt x="75" y="600"/>
                    </a:lnTo>
                    <a:lnTo>
                      <a:pt x="76" y="601"/>
                    </a:lnTo>
                    <a:lnTo>
                      <a:pt x="77" y="598"/>
                    </a:lnTo>
                    <a:lnTo>
                      <a:pt x="79" y="595"/>
                    </a:lnTo>
                    <a:lnTo>
                      <a:pt x="83" y="594"/>
                    </a:lnTo>
                    <a:lnTo>
                      <a:pt x="86" y="592"/>
                    </a:lnTo>
                    <a:lnTo>
                      <a:pt x="89" y="588"/>
                    </a:lnTo>
                    <a:lnTo>
                      <a:pt x="89" y="587"/>
                    </a:lnTo>
                    <a:lnTo>
                      <a:pt x="89" y="591"/>
                    </a:lnTo>
                    <a:lnTo>
                      <a:pt x="89" y="594"/>
                    </a:lnTo>
                    <a:lnTo>
                      <a:pt x="87" y="595"/>
                    </a:lnTo>
                    <a:lnTo>
                      <a:pt x="85" y="598"/>
                    </a:lnTo>
                    <a:lnTo>
                      <a:pt x="85" y="600"/>
                    </a:lnTo>
                    <a:lnTo>
                      <a:pt x="88" y="602"/>
                    </a:lnTo>
                    <a:lnTo>
                      <a:pt x="89" y="604"/>
                    </a:lnTo>
                    <a:lnTo>
                      <a:pt x="92" y="604"/>
                    </a:lnTo>
                    <a:lnTo>
                      <a:pt x="94" y="605"/>
                    </a:lnTo>
                    <a:lnTo>
                      <a:pt x="96" y="608"/>
                    </a:lnTo>
                    <a:lnTo>
                      <a:pt x="93" y="605"/>
                    </a:lnTo>
                    <a:lnTo>
                      <a:pt x="89" y="606"/>
                    </a:lnTo>
                    <a:lnTo>
                      <a:pt x="86" y="604"/>
                    </a:lnTo>
                    <a:lnTo>
                      <a:pt x="82" y="604"/>
                    </a:lnTo>
                    <a:lnTo>
                      <a:pt x="82" y="607"/>
                    </a:lnTo>
                    <a:lnTo>
                      <a:pt x="82" y="609"/>
                    </a:lnTo>
                    <a:lnTo>
                      <a:pt x="83" y="611"/>
                    </a:lnTo>
                    <a:lnTo>
                      <a:pt x="83" y="618"/>
                    </a:lnTo>
                    <a:lnTo>
                      <a:pt x="85" y="622"/>
                    </a:lnTo>
                    <a:lnTo>
                      <a:pt x="86" y="622"/>
                    </a:lnTo>
                    <a:lnTo>
                      <a:pt x="88" y="620"/>
                    </a:lnTo>
                    <a:lnTo>
                      <a:pt x="89" y="621"/>
                    </a:lnTo>
                    <a:lnTo>
                      <a:pt x="88" y="622"/>
                    </a:lnTo>
                    <a:lnTo>
                      <a:pt x="87" y="624"/>
                    </a:lnTo>
                    <a:lnTo>
                      <a:pt x="89" y="625"/>
                    </a:lnTo>
                    <a:lnTo>
                      <a:pt x="89" y="627"/>
                    </a:lnTo>
                    <a:lnTo>
                      <a:pt x="88" y="628"/>
                    </a:lnTo>
                    <a:lnTo>
                      <a:pt x="86" y="628"/>
                    </a:lnTo>
                    <a:lnTo>
                      <a:pt x="83" y="629"/>
                    </a:lnTo>
                    <a:lnTo>
                      <a:pt x="80" y="632"/>
                    </a:lnTo>
                    <a:lnTo>
                      <a:pt x="79" y="634"/>
                    </a:lnTo>
                    <a:lnTo>
                      <a:pt x="81" y="635"/>
                    </a:lnTo>
                    <a:lnTo>
                      <a:pt x="85" y="633"/>
                    </a:lnTo>
                    <a:lnTo>
                      <a:pt x="87" y="634"/>
                    </a:lnTo>
                    <a:lnTo>
                      <a:pt x="85" y="635"/>
                    </a:lnTo>
                    <a:lnTo>
                      <a:pt x="84" y="636"/>
                    </a:lnTo>
                    <a:lnTo>
                      <a:pt x="86" y="639"/>
                    </a:lnTo>
                    <a:lnTo>
                      <a:pt x="90" y="638"/>
                    </a:lnTo>
                    <a:lnTo>
                      <a:pt x="94" y="634"/>
                    </a:lnTo>
                    <a:lnTo>
                      <a:pt x="96" y="630"/>
                    </a:lnTo>
                    <a:lnTo>
                      <a:pt x="100" y="629"/>
                    </a:lnTo>
                    <a:lnTo>
                      <a:pt x="102" y="627"/>
                    </a:lnTo>
                    <a:lnTo>
                      <a:pt x="103" y="624"/>
                    </a:lnTo>
                    <a:lnTo>
                      <a:pt x="103" y="623"/>
                    </a:lnTo>
                    <a:lnTo>
                      <a:pt x="104" y="626"/>
                    </a:lnTo>
                    <a:lnTo>
                      <a:pt x="102" y="630"/>
                    </a:lnTo>
                    <a:lnTo>
                      <a:pt x="99" y="632"/>
                    </a:lnTo>
                    <a:lnTo>
                      <a:pt x="96" y="634"/>
                    </a:lnTo>
                    <a:lnTo>
                      <a:pt x="96" y="636"/>
                    </a:lnTo>
                    <a:lnTo>
                      <a:pt x="96" y="638"/>
                    </a:lnTo>
                    <a:lnTo>
                      <a:pt x="99" y="637"/>
                    </a:lnTo>
                    <a:lnTo>
                      <a:pt x="102" y="637"/>
                    </a:lnTo>
                    <a:lnTo>
                      <a:pt x="104" y="639"/>
                    </a:lnTo>
                    <a:lnTo>
                      <a:pt x="101" y="639"/>
                    </a:lnTo>
                    <a:lnTo>
                      <a:pt x="99" y="639"/>
                    </a:lnTo>
                    <a:lnTo>
                      <a:pt x="99" y="645"/>
                    </a:lnTo>
                    <a:lnTo>
                      <a:pt x="100" y="649"/>
                    </a:lnTo>
                    <a:lnTo>
                      <a:pt x="99" y="649"/>
                    </a:lnTo>
                    <a:lnTo>
                      <a:pt x="97" y="647"/>
                    </a:lnTo>
                    <a:lnTo>
                      <a:pt x="97" y="642"/>
                    </a:lnTo>
                    <a:lnTo>
                      <a:pt x="96" y="640"/>
                    </a:lnTo>
                    <a:lnTo>
                      <a:pt x="94" y="642"/>
                    </a:lnTo>
                    <a:lnTo>
                      <a:pt x="87" y="647"/>
                    </a:lnTo>
                    <a:lnTo>
                      <a:pt x="86" y="649"/>
                    </a:lnTo>
                    <a:lnTo>
                      <a:pt x="82" y="652"/>
                    </a:lnTo>
                    <a:lnTo>
                      <a:pt x="82" y="654"/>
                    </a:lnTo>
                    <a:lnTo>
                      <a:pt x="82" y="656"/>
                    </a:lnTo>
                    <a:lnTo>
                      <a:pt x="82" y="659"/>
                    </a:lnTo>
                    <a:lnTo>
                      <a:pt x="82" y="660"/>
                    </a:lnTo>
                    <a:lnTo>
                      <a:pt x="84" y="659"/>
                    </a:lnTo>
                    <a:lnTo>
                      <a:pt x="87" y="657"/>
                    </a:lnTo>
                    <a:lnTo>
                      <a:pt x="88" y="654"/>
                    </a:lnTo>
                    <a:lnTo>
                      <a:pt x="89" y="655"/>
                    </a:lnTo>
                    <a:lnTo>
                      <a:pt x="91" y="656"/>
                    </a:lnTo>
                    <a:lnTo>
                      <a:pt x="95" y="657"/>
                    </a:lnTo>
                    <a:lnTo>
                      <a:pt x="94" y="658"/>
                    </a:lnTo>
                    <a:lnTo>
                      <a:pt x="92" y="658"/>
                    </a:lnTo>
                    <a:lnTo>
                      <a:pt x="89" y="658"/>
                    </a:lnTo>
                    <a:lnTo>
                      <a:pt x="87" y="660"/>
                    </a:lnTo>
                    <a:lnTo>
                      <a:pt x="87" y="661"/>
                    </a:lnTo>
                    <a:lnTo>
                      <a:pt x="87" y="663"/>
                    </a:lnTo>
                    <a:lnTo>
                      <a:pt x="86" y="663"/>
                    </a:lnTo>
                    <a:lnTo>
                      <a:pt x="84" y="663"/>
                    </a:lnTo>
                    <a:lnTo>
                      <a:pt x="80" y="663"/>
                    </a:lnTo>
                    <a:lnTo>
                      <a:pt x="80" y="665"/>
                    </a:lnTo>
                    <a:lnTo>
                      <a:pt x="83" y="665"/>
                    </a:lnTo>
                    <a:lnTo>
                      <a:pt x="85" y="666"/>
                    </a:lnTo>
                    <a:lnTo>
                      <a:pt x="88" y="666"/>
                    </a:lnTo>
                    <a:lnTo>
                      <a:pt x="86" y="668"/>
                    </a:lnTo>
                    <a:lnTo>
                      <a:pt x="83" y="668"/>
                    </a:lnTo>
                    <a:lnTo>
                      <a:pt x="82" y="666"/>
                    </a:lnTo>
                    <a:lnTo>
                      <a:pt x="79" y="667"/>
                    </a:lnTo>
                    <a:lnTo>
                      <a:pt x="79" y="670"/>
                    </a:lnTo>
                    <a:lnTo>
                      <a:pt x="80" y="672"/>
                    </a:lnTo>
                    <a:lnTo>
                      <a:pt x="82" y="672"/>
                    </a:lnTo>
                    <a:lnTo>
                      <a:pt x="85" y="670"/>
                    </a:lnTo>
                    <a:lnTo>
                      <a:pt x="87" y="672"/>
                    </a:lnTo>
                    <a:lnTo>
                      <a:pt x="90" y="672"/>
                    </a:lnTo>
                    <a:lnTo>
                      <a:pt x="90" y="673"/>
                    </a:lnTo>
                    <a:lnTo>
                      <a:pt x="87" y="674"/>
                    </a:lnTo>
                    <a:lnTo>
                      <a:pt x="85" y="673"/>
                    </a:lnTo>
                    <a:lnTo>
                      <a:pt x="84" y="674"/>
                    </a:lnTo>
                    <a:lnTo>
                      <a:pt x="85" y="675"/>
                    </a:lnTo>
                    <a:lnTo>
                      <a:pt x="89" y="675"/>
                    </a:lnTo>
                    <a:lnTo>
                      <a:pt x="90" y="675"/>
                    </a:lnTo>
                    <a:lnTo>
                      <a:pt x="90" y="677"/>
                    </a:lnTo>
                    <a:lnTo>
                      <a:pt x="87" y="677"/>
                    </a:lnTo>
                    <a:lnTo>
                      <a:pt x="84" y="677"/>
                    </a:lnTo>
                    <a:lnTo>
                      <a:pt x="82" y="675"/>
                    </a:lnTo>
                    <a:lnTo>
                      <a:pt x="81" y="676"/>
                    </a:lnTo>
                    <a:lnTo>
                      <a:pt x="82" y="680"/>
                    </a:lnTo>
                    <a:lnTo>
                      <a:pt x="86" y="682"/>
                    </a:lnTo>
                    <a:lnTo>
                      <a:pt x="86" y="680"/>
                    </a:lnTo>
                    <a:lnTo>
                      <a:pt x="88" y="680"/>
                    </a:lnTo>
                    <a:lnTo>
                      <a:pt x="90" y="680"/>
                    </a:lnTo>
                    <a:lnTo>
                      <a:pt x="94" y="680"/>
                    </a:lnTo>
                    <a:lnTo>
                      <a:pt x="95" y="681"/>
                    </a:lnTo>
                    <a:lnTo>
                      <a:pt x="93" y="682"/>
                    </a:lnTo>
                    <a:lnTo>
                      <a:pt x="93" y="684"/>
                    </a:lnTo>
                    <a:lnTo>
                      <a:pt x="96" y="684"/>
                    </a:lnTo>
                    <a:lnTo>
                      <a:pt x="96" y="686"/>
                    </a:lnTo>
                    <a:lnTo>
                      <a:pt x="100" y="687"/>
                    </a:lnTo>
                    <a:lnTo>
                      <a:pt x="102" y="687"/>
                    </a:lnTo>
                    <a:lnTo>
                      <a:pt x="103" y="683"/>
                    </a:lnTo>
                    <a:lnTo>
                      <a:pt x="106" y="680"/>
                    </a:lnTo>
                    <a:lnTo>
                      <a:pt x="106" y="678"/>
                    </a:lnTo>
                    <a:lnTo>
                      <a:pt x="106" y="681"/>
                    </a:lnTo>
                    <a:lnTo>
                      <a:pt x="105" y="684"/>
                    </a:lnTo>
                    <a:lnTo>
                      <a:pt x="101" y="687"/>
                    </a:lnTo>
                    <a:lnTo>
                      <a:pt x="98" y="689"/>
                    </a:lnTo>
                    <a:lnTo>
                      <a:pt x="96" y="689"/>
                    </a:lnTo>
                    <a:lnTo>
                      <a:pt x="93" y="691"/>
                    </a:lnTo>
                    <a:lnTo>
                      <a:pt x="93" y="693"/>
                    </a:lnTo>
                    <a:lnTo>
                      <a:pt x="96" y="694"/>
                    </a:lnTo>
                    <a:lnTo>
                      <a:pt x="97" y="693"/>
                    </a:lnTo>
                    <a:lnTo>
                      <a:pt x="99" y="692"/>
                    </a:lnTo>
                    <a:lnTo>
                      <a:pt x="100" y="694"/>
                    </a:lnTo>
                    <a:lnTo>
                      <a:pt x="100" y="694"/>
                    </a:lnTo>
                    <a:lnTo>
                      <a:pt x="102" y="692"/>
                    </a:lnTo>
                    <a:lnTo>
                      <a:pt x="103" y="691"/>
                    </a:lnTo>
                    <a:lnTo>
                      <a:pt x="103" y="692"/>
                    </a:lnTo>
                    <a:lnTo>
                      <a:pt x="103" y="693"/>
                    </a:lnTo>
                    <a:lnTo>
                      <a:pt x="103" y="695"/>
                    </a:lnTo>
                    <a:lnTo>
                      <a:pt x="104" y="695"/>
                    </a:lnTo>
                    <a:lnTo>
                      <a:pt x="106" y="697"/>
                    </a:lnTo>
                    <a:lnTo>
                      <a:pt x="108" y="697"/>
                    </a:lnTo>
                    <a:lnTo>
                      <a:pt x="111" y="691"/>
                    </a:lnTo>
                    <a:lnTo>
                      <a:pt x="111" y="686"/>
                    </a:lnTo>
                    <a:lnTo>
                      <a:pt x="113" y="683"/>
                    </a:lnTo>
                    <a:lnTo>
                      <a:pt x="114" y="682"/>
                    </a:lnTo>
                    <a:lnTo>
                      <a:pt x="114" y="684"/>
                    </a:lnTo>
                    <a:lnTo>
                      <a:pt x="113" y="686"/>
                    </a:lnTo>
                    <a:lnTo>
                      <a:pt x="113" y="691"/>
                    </a:lnTo>
                    <a:lnTo>
                      <a:pt x="110" y="695"/>
                    </a:lnTo>
                    <a:lnTo>
                      <a:pt x="108" y="698"/>
                    </a:lnTo>
                    <a:lnTo>
                      <a:pt x="109" y="699"/>
                    </a:lnTo>
                    <a:lnTo>
                      <a:pt x="112" y="699"/>
                    </a:lnTo>
                    <a:lnTo>
                      <a:pt x="115" y="698"/>
                    </a:lnTo>
                    <a:lnTo>
                      <a:pt x="116" y="699"/>
                    </a:lnTo>
                    <a:lnTo>
                      <a:pt x="113" y="701"/>
                    </a:lnTo>
                    <a:lnTo>
                      <a:pt x="112" y="705"/>
                    </a:lnTo>
                    <a:lnTo>
                      <a:pt x="109" y="708"/>
                    </a:lnTo>
                    <a:lnTo>
                      <a:pt x="109" y="710"/>
                    </a:lnTo>
                    <a:lnTo>
                      <a:pt x="110" y="715"/>
                    </a:lnTo>
                    <a:lnTo>
                      <a:pt x="113" y="716"/>
                    </a:lnTo>
                    <a:lnTo>
                      <a:pt x="115" y="715"/>
                    </a:lnTo>
                    <a:lnTo>
                      <a:pt x="117" y="715"/>
                    </a:lnTo>
                    <a:lnTo>
                      <a:pt x="118" y="718"/>
                    </a:lnTo>
                    <a:lnTo>
                      <a:pt x="120" y="720"/>
                    </a:lnTo>
                    <a:lnTo>
                      <a:pt x="119" y="722"/>
                    </a:lnTo>
                    <a:lnTo>
                      <a:pt x="118" y="722"/>
                    </a:lnTo>
                    <a:lnTo>
                      <a:pt x="117" y="719"/>
                    </a:lnTo>
                    <a:lnTo>
                      <a:pt x="115" y="718"/>
                    </a:lnTo>
                    <a:lnTo>
                      <a:pt x="115" y="722"/>
                    </a:lnTo>
                    <a:lnTo>
                      <a:pt x="118" y="726"/>
                    </a:lnTo>
                    <a:lnTo>
                      <a:pt x="121" y="724"/>
                    </a:lnTo>
                    <a:lnTo>
                      <a:pt x="124" y="722"/>
                    </a:lnTo>
                    <a:lnTo>
                      <a:pt x="126" y="721"/>
                    </a:lnTo>
                    <a:lnTo>
                      <a:pt x="125" y="725"/>
                    </a:lnTo>
                    <a:lnTo>
                      <a:pt x="123" y="732"/>
                    </a:lnTo>
                    <a:lnTo>
                      <a:pt x="124" y="738"/>
                    </a:lnTo>
                    <a:lnTo>
                      <a:pt x="126" y="738"/>
                    </a:lnTo>
                    <a:lnTo>
                      <a:pt x="126" y="738"/>
                    </a:lnTo>
                    <a:lnTo>
                      <a:pt x="493" y="782"/>
                    </a:lnTo>
                    <a:lnTo>
                      <a:pt x="495" y="78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8" name="Freeform 1082">
                <a:extLst>
                  <a:ext uri="{FF2B5EF4-FFF2-40B4-BE49-F238E27FC236}">
                    <a16:creationId xmlns:a16="http://schemas.microsoft.com/office/drawing/2014/main" id="{1DC0357B-A8E7-419D-8945-91B4B4B2E0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1" y="1089"/>
                <a:ext cx="4" cy="5"/>
              </a:xfrm>
              <a:custGeom>
                <a:avLst/>
                <a:gdLst>
                  <a:gd name="T0" fmla="*/ 0 w 4"/>
                  <a:gd name="T1" fmla="*/ 1 h 5"/>
                  <a:gd name="T2" fmla="*/ 0 w 4"/>
                  <a:gd name="T3" fmla="*/ 3 h 5"/>
                  <a:gd name="T4" fmla="*/ 2 w 4"/>
                  <a:gd name="T5" fmla="*/ 5 h 5"/>
                  <a:gd name="T6" fmla="*/ 3 w 4"/>
                  <a:gd name="T7" fmla="*/ 3 h 5"/>
                  <a:gd name="T8" fmla="*/ 4 w 4"/>
                  <a:gd name="T9" fmla="*/ 0 h 5"/>
                  <a:gd name="T10" fmla="*/ 2 w 4"/>
                  <a:gd name="T11" fmla="*/ 0 h 5"/>
                  <a:gd name="T12" fmla="*/ 0 w 4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5">
                    <a:moveTo>
                      <a:pt x="0" y="1"/>
                    </a:moveTo>
                    <a:lnTo>
                      <a:pt x="0" y="3"/>
                    </a:lnTo>
                    <a:lnTo>
                      <a:pt x="2" y="5"/>
                    </a:lnTo>
                    <a:lnTo>
                      <a:pt x="3" y="3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9" name="Freeform 1083">
                <a:extLst>
                  <a:ext uri="{FF2B5EF4-FFF2-40B4-BE49-F238E27FC236}">
                    <a16:creationId xmlns:a16="http://schemas.microsoft.com/office/drawing/2014/main" id="{99DD5550-F279-48EC-8C76-8720DF9BD9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8" y="1013"/>
                <a:ext cx="7" cy="5"/>
              </a:xfrm>
              <a:custGeom>
                <a:avLst/>
                <a:gdLst>
                  <a:gd name="T0" fmla="*/ 5 w 7"/>
                  <a:gd name="T1" fmla="*/ 3 h 5"/>
                  <a:gd name="T2" fmla="*/ 6 w 7"/>
                  <a:gd name="T3" fmla="*/ 3 h 5"/>
                  <a:gd name="T4" fmla="*/ 7 w 7"/>
                  <a:gd name="T5" fmla="*/ 1 h 5"/>
                  <a:gd name="T6" fmla="*/ 6 w 7"/>
                  <a:gd name="T7" fmla="*/ 0 h 5"/>
                  <a:gd name="T8" fmla="*/ 2 w 7"/>
                  <a:gd name="T9" fmla="*/ 1 h 5"/>
                  <a:gd name="T10" fmla="*/ 0 w 7"/>
                  <a:gd name="T11" fmla="*/ 5 h 5"/>
                  <a:gd name="T12" fmla="*/ 2 w 7"/>
                  <a:gd name="T13" fmla="*/ 5 h 5"/>
                  <a:gd name="T14" fmla="*/ 5 w 7"/>
                  <a:gd name="T1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5">
                    <a:moveTo>
                      <a:pt x="5" y="3"/>
                    </a:moveTo>
                    <a:lnTo>
                      <a:pt x="6" y="3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2" y="1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0" name="Freeform 1084">
                <a:extLst>
                  <a:ext uri="{FF2B5EF4-FFF2-40B4-BE49-F238E27FC236}">
                    <a16:creationId xmlns:a16="http://schemas.microsoft.com/office/drawing/2014/main" id="{825B1E8F-547B-42E6-AAFE-5627859F06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6" y="1072"/>
                <a:ext cx="2" cy="3"/>
              </a:xfrm>
              <a:custGeom>
                <a:avLst/>
                <a:gdLst>
                  <a:gd name="T0" fmla="*/ 2 w 2"/>
                  <a:gd name="T1" fmla="*/ 1 h 3"/>
                  <a:gd name="T2" fmla="*/ 0 w 2"/>
                  <a:gd name="T3" fmla="*/ 0 h 3"/>
                  <a:gd name="T4" fmla="*/ 0 w 2"/>
                  <a:gd name="T5" fmla="*/ 2 h 3"/>
                  <a:gd name="T6" fmla="*/ 1 w 2"/>
                  <a:gd name="T7" fmla="*/ 3 h 3"/>
                  <a:gd name="T8" fmla="*/ 2 w 2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2" y="1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1" name="Freeform 1085">
                <a:extLst>
                  <a:ext uri="{FF2B5EF4-FFF2-40B4-BE49-F238E27FC236}">
                    <a16:creationId xmlns:a16="http://schemas.microsoft.com/office/drawing/2014/main" id="{10A515D7-FA3B-410F-ABF1-32C6E42466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3" y="1076"/>
                <a:ext cx="5" cy="10"/>
              </a:xfrm>
              <a:custGeom>
                <a:avLst/>
                <a:gdLst>
                  <a:gd name="T0" fmla="*/ 5 w 5"/>
                  <a:gd name="T1" fmla="*/ 6 h 10"/>
                  <a:gd name="T2" fmla="*/ 5 w 5"/>
                  <a:gd name="T3" fmla="*/ 4 h 10"/>
                  <a:gd name="T4" fmla="*/ 4 w 5"/>
                  <a:gd name="T5" fmla="*/ 3 h 10"/>
                  <a:gd name="T6" fmla="*/ 3 w 5"/>
                  <a:gd name="T7" fmla="*/ 0 h 10"/>
                  <a:gd name="T8" fmla="*/ 2 w 5"/>
                  <a:gd name="T9" fmla="*/ 1 h 10"/>
                  <a:gd name="T10" fmla="*/ 1 w 5"/>
                  <a:gd name="T11" fmla="*/ 3 h 10"/>
                  <a:gd name="T12" fmla="*/ 0 w 5"/>
                  <a:gd name="T13" fmla="*/ 5 h 10"/>
                  <a:gd name="T14" fmla="*/ 0 w 5"/>
                  <a:gd name="T15" fmla="*/ 9 h 10"/>
                  <a:gd name="T16" fmla="*/ 1 w 5"/>
                  <a:gd name="T17" fmla="*/ 10 h 10"/>
                  <a:gd name="T18" fmla="*/ 3 w 5"/>
                  <a:gd name="T19" fmla="*/ 9 h 10"/>
                  <a:gd name="T20" fmla="*/ 5 w 5"/>
                  <a:gd name="T2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10">
                    <a:moveTo>
                      <a:pt x="5" y="6"/>
                    </a:moveTo>
                    <a:lnTo>
                      <a:pt x="5" y="4"/>
                    </a:lnTo>
                    <a:lnTo>
                      <a:pt x="4" y="3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1" y="10"/>
                    </a:lnTo>
                    <a:lnTo>
                      <a:pt x="3" y="9"/>
                    </a:lnTo>
                    <a:lnTo>
                      <a:pt x="5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2" name="Freeform 1086">
                <a:extLst>
                  <a:ext uri="{FF2B5EF4-FFF2-40B4-BE49-F238E27FC236}">
                    <a16:creationId xmlns:a16="http://schemas.microsoft.com/office/drawing/2014/main" id="{72699020-5997-4826-A280-773F2ED4B6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3" y="955"/>
                <a:ext cx="13" cy="16"/>
              </a:xfrm>
              <a:custGeom>
                <a:avLst/>
                <a:gdLst>
                  <a:gd name="T0" fmla="*/ 3 w 13"/>
                  <a:gd name="T1" fmla="*/ 13 h 16"/>
                  <a:gd name="T2" fmla="*/ 4 w 13"/>
                  <a:gd name="T3" fmla="*/ 16 h 16"/>
                  <a:gd name="T4" fmla="*/ 5 w 13"/>
                  <a:gd name="T5" fmla="*/ 16 h 16"/>
                  <a:gd name="T6" fmla="*/ 7 w 13"/>
                  <a:gd name="T7" fmla="*/ 15 h 16"/>
                  <a:gd name="T8" fmla="*/ 9 w 13"/>
                  <a:gd name="T9" fmla="*/ 15 h 16"/>
                  <a:gd name="T10" fmla="*/ 12 w 13"/>
                  <a:gd name="T11" fmla="*/ 13 h 16"/>
                  <a:gd name="T12" fmla="*/ 13 w 13"/>
                  <a:gd name="T13" fmla="*/ 10 h 16"/>
                  <a:gd name="T14" fmla="*/ 13 w 13"/>
                  <a:gd name="T15" fmla="*/ 5 h 16"/>
                  <a:gd name="T16" fmla="*/ 12 w 13"/>
                  <a:gd name="T17" fmla="*/ 3 h 16"/>
                  <a:gd name="T18" fmla="*/ 12 w 13"/>
                  <a:gd name="T19" fmla="*/ 0 h 16"/>
                  <a:gd name="T20" fmla="*/ 9 w 13"/>
                  <a:gd name="T21" fmla="*/ 0 h 16"/>
                  <a:gd name="T22" fmla="*/ 9 w 13"/>
                  <a:gd name="T23" fmla="*/ 1 h 16"/>
                  <a:gd name="T24" fmla="*/ 5 w 13"/>
                  <a:gd name="T25" fmla="*/ 4 h 16"/>
                  <a:gd name="T26" fmla="*/ 5 w 13"/>
                  <a:gd name="T27" fmla="*/ 6 h 16"/>
                  <a:gd name="T28" fmla="*/ 4 w 13"/>
                  <a:gd name="T29" fmla="*/ 8 h 16"/>
                  <a:gd name="T30" fmla="*/ 1 w 13"/>
                  <a:gd name="T31" fmla="*/ 10 h 16"/>
                  <a:gd name="T32" fmla="*/ 0 w 13"/>
                  <a:gd name="T33" fmla="*/ 10 h 16"/>
                  <a:gd name="T34" fmla="*/ 1 w 13"/>
                  <a:gd name="T35" fmla="*/ 12 h 16"/>
                  <a:gd name="T36" fmla="*/ 3 w 13"/>
                  <a:gd name="T37" fmla="*/ 13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" h="16">
                    <a:moveTo>
                      <a:pt x="3" y="13"/>
                    </a:moveTo>
                    <a:lnTo>
                      <a:pt x="4" y="16"/>
                    </a:lnTo>
                    <a:lnTo>
                      <a:pt x="5" y="16"/>
                    </a:lnTo>
                    <a:lnTo>
                      <a:pt x="7" y="15"/>
                    </a:lnTo>
                    <a:lnTo>
                      <a:pt x="9" y="15"/>
                    </a:lnTo>
                    <a:lnTo>
                      <a:pt x="12" y="13"/>
                    </a:lnTo>
                    <a:lnTo>
                      <a:pt x="13" y="10"/>
                    </a:lnTo>
                    <a:lnTo>
                      <a:pt x="13" y="5"/>
                    </a:lnTo>
                    <a:lnTo>
                      <a:pt x="12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1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4" y="8"/>
                    </a:lnTo>
                    <a:lnTo>
                      <a:pt x="1" y="10"/>
                    </a:lnTo>
                    <a:lnTo>
                      <a:pt x="0" y="10"/>
                    </a:lnTo>
                    <a:lnTo>
                      <a:pt x="1" y="12"/>
                    </a:lnTo>
                    <a:lnTo>
                      <a:pt x="3" y="1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3" name="Freeform 1087">
                <a:extLst>
                  <a:ext uri="{FF2B5EF4-FFF2-40B4-BE49-F238E27FC236}">
                    <a16:creationId xmlns:a16="http://schemas.microsoft.com/office/drawing/2014/main" id="{0A3CC496-930A-4B74-800F-D2F511C350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5" y="1196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0 h 4"/>
                  <a:gd name="T4" fmla="*/ 0 w 2"/>
                  <a:gd name="T5" fmla="*/ 2 h 4"/>
                  <a:gd name="T6" fmla="*/ 0 w 2"/>
                  <a:gd name="T7" fmla="*/ 4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4" name="Freeform 1088">
                <a:extLst>
                  <a:ext uri="{FF2B5EF4-FFF2-40B4-BE49-F238E27FC236}">
                    <a16:creationId xmlns:a16="http://schemas.microsoft.com/office/drawing/2014/main" id="{48338522-8B81-40ED-8B7D-C9D655140F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" y="920"/>
                <a:ext cx="20" cy="11"/>
              </a:xfrm>
              <a:custGeom>
                <a:avLst/>
                <a:gdLst>
                  <a:gd name="T0" fmla="*/ 3 w 20"/>
                  <a:gd name="T1" fmla="*/ 8 h 11"/>
                  <a:gd name="T2" fmla="*/ 5 w 20"/>
                  <a:gd name="T3" fmla="*/ 9 h 11"/>
                  <a:gd name="T4" fmla="*/ 7 w 20"/>
                  <a:gd name="T5" fmla="*/ 10 h 11"/>
                  <a:gd name="T6" fmla="*/ 10 w 20"/>
                  <a:gd name="T7" fmla="*/ 10 h 11"/>
                  <a:gd name="T8" fmla="*/ 16 w 20"/>
                  <a:gd name="T9" fmla="*/ 11 h 11"/>
                  <a:gd name="T10" fmla="*/ 18 w 20"/>
                  <a:gd name="T11" fmla="*/ 10 h 11"/>
                  <a:gd name="T12" fmla="*/ 20 w 20"/>
                  <a:gd name="T13" fmla="*/ 4 h 11"/>
                  <a:gd name="T14" fmla="*/ 18 w 20"/>
                  <a:gd name="T15" fmla="*/ 2 h 11"/>
                  <a:gd name="T16" fmla="*/ 15 w 20"/>
                  <a:gd name="T17" fmla="*/ 2 h 11"/>
                  <a:gd name="T18" fmla="*/ 12 w 20"/>
                  <a:gd name="T19" fmla="*/ 0 h 11"/>
                  <a:gd name="T20" fmla="*/ 9 w 20"/>
                  <a:gd name="T21" fmla="*/ 0 h 11"/>
                  <a:gd name="T22" fmla="*/ 6 w 20"/>
                  <a:gd name="T23" fmla="*/ 0 h 11"/>
                  <a:gd name="T24" fmla="*/ 4 w 20"/>
                  <a:gd name="T25" fmla="*/ 0 h 11"/>
                  <a:gd name="T26" fmla="*/ 2 w 20"/>
                  <a:gd name="T27" fmla="*/ 1 h 11"/>
                  <a:gd name="T28" fmla="*/ 1 w 20"/>
                  <a:gd name="T29" fmla="*/ 2 h 11"/>
                  <a:gd name="T30" fmla="*/ 0 w 20"/>
                  <a:gd name="T31" fmla="*/ 4 h 11"/>
                  <a:gd name="T32" fmla="*/ 1 w 20"/>
                  <a:gd name="T33" fmla="*/ 6 h 11"/>
                  <a:gd name="T34" fmla="*/ 2 w 20"/>
                  <a:gd name="T35" fmla="*/ 7 h 11"/>
                  <a:gd name="T36" fmla="*/ 3 w 20"/>
                  <a:gd name="T37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0" h="11">
                    <a:moveTo>
                      <a:pt x="3" y="8"/>
                    </a:moveTo>
                    <a:lnTo>
                      <a:pt x="5" y="9"/>
                    </a:lnTo>
                    <a:lnTo>
                      <a:pt x="7" y="10"/>
                    </a:lnTo>
                    <a:lnTo>
                      <a:pt x="10" y="10"/>
                    </a:lnTo>
                    <a:lnTo>
                      <a:pt x="16" y="11"/>
                    </a:lnTo>
                    <a:lnTo>
                      <a:pt x="18" y="10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1" y="6"/>
                    </a:lnTo>
                    <a:lnTo>
                      <a:pt x="2" y="7"/>
                    </a:lnTo>
                    <a:lnTo>
                      <a:pt x="3" y="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5" name="Freeform 1089">
                <a:extLst>
                  <a:ext uri="{FF2B5EF4-FFF2-40B4-BE49-F238E27FC236}">
                    <a16:creationId xmlns:a16="http://schemas.microsoft.com/office/drawing/2014/main" id="{5DAB280C-7768-497F-B00B-E059C4EDA9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3" y="960"/>
                <a:ext cx="2" cy="2"/>
              </a:xfrm>
              <a:custGeom>
                <a:avLst/>
                <a:gdLst>
                  <a:gd name="T0" fmla="*/ 1 w 2"/>
                  <a:gd name="T1" fmla="*/ 0 h 2"/>
                  <a:gd name="T2" fmla="*/ 0 w 2"/>
                  <a:gd name="T3" fmla="*/ 1 h 2"/>
                  <a:gd name="T4" fmla="*/ 1 w 2"/>
                  <a:gd name="T5" fmla="*/ 2 h 2"/>
                  <a:gd name="T6" fmla="*/ 2 w 2"/>
                  <a:gd name="T7" fmla="*/ 1 h 2"/>
                  <a:gd name="T8" fmla="*/ 1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1" y="0"/>
                    </a:moveTo>
                    <a:lnTo>
                      <a:pt x="0" y="1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6" name="Freeform 1090">
                <a:extLst>
                  <a:ext uri="{FF2B5EF4-FFF2-40B4-BE49-F238E27FC236}">
                    <a16:creationId xmlns:a16="http://schemas.microsoft.com/office/drawing/2014/main" id="{F66BD018-B618-46C6-BF0A-A0DE858E6F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0" y="939"/>
                <a:ext cx="19" cy="8"/>
              </a:xfrm>
              <a:custGeom>
                <a:avLst/>
                <a:gdLst>
                  <a:gd name="T0" fmla="*/ 0 w 19"/>
                  <a:gd name="T1" fmla="*/ 7 h 8"/>
                  <a:gd name="T2" fmla="*/ 1 w 19"/>
                  <a:gd name="T3" fmla="*/ 8 h 8"/>
                  <a:gd name="T4" fmla="*/ 2 w 19"/>
                  <a:gd name="T5" fmla="*/ 6 h 8"/>
                  <a:gd name="T6" fmla="*/ 4 w 19"/>
                  <a:gd name="T7" fmla="*/ 6 h 8"/>
                  <a:gd name="T8" fmla="*/ 7 w 19"/>
                  <a:gd name="T9" fmla="*/ 8 h 8"/>
                  <a:gd name="T10" fmla="*/ 10 w 19"/>
                  <a:gd name="T11" fmla="*/ 6 h 8"/>
                  <a:gd name="T12" fmla="*/ 11 w 19"/>
                  <a:gd name="T13" fmla="*/ 5 h 8"/>
                  <a:gd name="T14" fmla="*/ 14 w 19"/>
                  <a:gd name="T15" fmla="*/ 4 h 8"/>
                  <a:gd name="T16" fmla="*/ 16 w 19"/>
                  <a:gd name="T17" fmla="*/ 4 h 8"/>
                  <a:gd name="T18" fmla="*/ 19 w 19"/>
                  <a:gd name="T19" fmla="*/ 2 h 8"/>
                  <a:gd name="T20" fmla="*/ 18 w 19"/>
                  <a:gd name="T21" fmla="*/ 0 h 8"/>
                  <a:gd name="T22" fmla="*/ 16 w 19"/>
                  <a:gd name="T23" fmla="*/ 0 h 8"/>
                  <a:gd name="T24" fmla="*/ 15 w 19"/>
                  <a:gd name="T25" fmla="*/ 1 h 8"/>
                  <a:gd name="T26" fmla="*/ 13 w 19"/>
                  <a:gd name="T27" fmla="*/ 0 h 8"/>
                  <a:gd name="T28" fmla="*/ 7 w 19"/>
                  <a:gd name="T29" fmla="*/ 2 h 8"/>
                  <a:gd name="T30" fmla="*/ 4 w 19"/>
                  <a:gd name="T31" fmla="*/ 4 h 8"/>
                  <a:gd name="T32" fmla="*/ 2 w 19"/>
                  <a:gd name="T33" fmla="*/ 5 h 8"/>
                  <a:gd name="T34" fmla="*/ 0 w 19"/>
                  <a:gd name="T35" fmla="*/ 5 h 8"/>
                  <a:gd name="T36" fmla="*/ 0 w 19"/>
                  <a:gd name="T37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9" h="8">
                    <a:moveTo>
                      <a:pt x="0" y="7"/>
                    </a:moveTo>
                    <a:lnTo>
                      <a:pt x="1" y="8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7" y="8"/>
                    </a:lnTo>
                    <a:lnTo>
                      <a:pt x="10" y="6"/>
                    </a:lnTo>
                    <a:lnTo>
                      <a:pt x="11" y="5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9" y="2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5" y="1"/>
                    </a:lnTo>
                    <a:lnTo>
                      <a:pt x="13" y="0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7" name="Freeform 1091">
                <a:extLst>
                  <a:ext uri="{FF2B5EF4-FFF2-40B4-BE49-F238E27FC236}">
                    <a16:creationId xmlns:a16="http://schemas.microsoft.com/office/drawing/2014/main" id="{8D8ED930-FA32-4545-A254-4FC80E1BF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2" y="1033"/>
                <a:ext cx="25" cy="10"/>
              </a:xfrm>
              <a:custGeom>
                <a:avLst/>
                <a:gdLst>
                  <a:gd name="T0" fmla="*/ 7 w 25"/>
                  <a:gd name="T1" fmla="*/ 1 h 10"/>
                  <a:gd name="T2" fmla="*/ 4 w 25"/>
                  <a:gd name="T3" fmla="*/ 4 h 10"/>
                  <a:gd name="T4" fmla="*/ 1 w 25"/>
                  <a:gd name="T5" fmla="*/ 3 h 10"/>
                  <a:gd name="T6" fmla="*/ 0 w 25"/>
                  <a:gd name="T7" fmla="*/ 4 h 10"/>
                  <a:gd name="T8" fmla="*/ 1 w 25"/>
                  <a:gd name="T9" fmla="*/ 6 h 10"/>
                  <a:gd name="T10" fmla="*/ 4 w 25"/>
                  <a:gd name="T11" fmla="*/ 7 h 10"/>
                  <a:gd name="T12" fmla="*/ 8 w 25"/>
                  <a:gd name="T13" fmla="*/ 10 h 10"/>
                  <a:gd name="T14" fmla="*/ 9 w 25"/>
                  <a:gd name="T15" fmla="*/ 8 h 10"/>
                  <a:gd name="T16" fmla="*/ 11 w 25"/>
                  <a:gd name="T17" fmla="*/ 9 h 10"/>
                  <a:gd name="T18" fmla="*/ 15 w 25"/>
                  <a:gd name="T19" fmla="*/ 8 h 10"/>
                  <a:gd name="T20" fmla="*/ 17 w 25"/>
                  <a:gd name="T21" fmla="*/ 8 h 10"/>
                  <a:gd name="T22" fmla="*/ 19 w 25"/>
                  <a:gd name="T23" fmla="*/ 8 h 10"/>
                  <a:gd name="T24" fmla="*/ 21 w 25"/>
                  <a:gd name="T25" fmla="*/ 5 h 10"/>
                  <a:gd name="T26" fmla="*/ 25 w 25"/>
                  <a:gd name="T27" fmla="*/ 5 h 10"/>
                  <a:gd name="T28" fmla="*/ 25 w 25"/>
                  <a:gd name="T29" fmla="*/ 3 h 10"/>
                  <a:gd name="T30" fmla="*/ 20 w 25"/>
                  <a:gd name="T31" fmla="*/ 0 h 10"/>
                  <a:gd name="T32" fmla="*/ 18 w 25"/>
                  <a:gd name="T33" fmla="*/ 1 h 10"/>
                  <a:gd name="T34" fmla="*/ 14 w 25"/>
                  <a:gd name="T35" fmla="*/ 2 h 10"/>
                  <a:gd name="T36" fmla="*/ 13 w 25"/>
                  <a:gd name="T37" fmla="*/ 1 h 10"/>
                  <a:gd name="T38" fmla="*/ 11 w 25"/>
                  <a:gd name="T39" fmla="*/ 3 h 10"/>
                  <a:gd name="T40" fmla="*/ 7 w 25"/>
                  <a:gd name="T41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" h="10">
                    <a:moveTo>
                      <a:pt x="7" y="1"/>
                    </a:moveTo>
                    <a:lnTo>
                      <a:pt x="4" y="4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1" y="6"/>
                    </a:lnTo>
                    <a:lnTo>
                      <a:pt x="4" y="7"/>
                    </a:lnTo>
                    <a:lnTo>
                      <a:pt x="8" y="10"/>
                    </a:lnTo>
                    <a:lnTo>
                      <a:pt x="9" y="8"/>
                    </a:lnTo>
                    <a:lnTo>
                      <a:pt x="11" y="9"/>
                    </a:lnTo>
                    <a:lnTo>
                      <a:pt x="15" y="8"/>
                    </a:lnTo>
                    <a:lnTo>
                      <a:pt x="17" y="8"/>
                    </a:lnTo>
                    <a:lnTo>
                      <a:pt x="19" y="8"/>
                    </a:lnTo>
                    <a:lnTo>
                      <a:pt x="21" y="5"/>
                    </a:lnTo>
                    <a:lnTo>
                      <a:pt x="25" y="5"/>
                    </a:lnTo>
                    <a:lnTo>
                      <a:pt x="25" y="3"/>
                    </a:lnTo>
                    <a:lnTo>
                      <a:pt x="20" y="0"/>
                    </a:lnTo>
                    <a:lnTo>
                      <a:pt x="18" y="1"/>
                    </a:lnTo>
                    <a:lnTo>
                      <a:pt x="14" y="2"/>
                    </a:lnTo>
                    <a:lnTo>
                      <a:pt x="13" y="1"/>
                    </a:lnTo>
                    <a:lnTo>
                      <a:pt x="11" y="3"/>
                    </a:lnTo>
                    <a:lnTo>
                      <a:pt x="7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8" name="Freeform 1092">
                <a:extLst>
                  <a:ext uri="{FF2B5EF4-FFF2-40B4-BE49-F238E27FC236}">
                    <a16:creationId xmlns:a16="http://schemas.microsoft.com/office/drawing/2014/main" id="{45180C94-A6DF-49A8-91CE-A9933F5A0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0" y="1003"/>
                <a:ext cx="12" cy="13"/>
              </a:xfrm>
              <a:custGeom>
                <a:avLst/>
                <a:gdLst>
                  <a:gd name="T0" fmla="*/ 10 w 12"/>
                  <a:gd name="T1" fmla="*/ 1 h 13"/>
                  <a:gd name="T2" fmla="*/ 3 w 12"/>
                  <a:gd name="T3" fmla="*/ 6 h 13"/>
                  <a:gd name="T4" fmla="*/ 2 w 12"/>
                  <a:gd name="T5" fmla="*/ 9 h 13"/>
                  <a:gd name="T6" fmla="*/ 0 w 12"/>
                  <a:gd name="T7" fmla="*/ 10 h 13"/>
                  <a:gd name="T8" fmla="*/ 1 w 12"/>
                  <a:gd name="T9" fmla="*/ 13 h 13"/>
                  <a:gd name="T10" fmla="*/ 2 w 12"/>
                  <a:gd name="T11" fmla="*/ 13 h 13"/>
                  <a:gd name="T12" fmla="*/ 2 w 12"/>
                  <a:gd name="T13" fmla="*/ 12 h 13"/>
                  <a:gd name="T14" fmla="*/ 4 w 12"/>
                  <a:gd name="T15" fmla="*/ 11 h 13"/>
                  <a:gd name="T16" fmla="*/ 5 w 12"/>
                  <a:gd name="T17" fmla="*/ 13 h 13"/>
                  <a:gd name="T18" fmla="*/ 6 w 12"/>
                  <a:gd name="T19" fmla="*/ 13 h 13"/>
                  <a:gd name="T20" fmla="*/ 7 w 12"/>
                  <a:gd name="T21" fmla="*/ 12 h 13"/>
                  <a:gd name="T22" fmla="*/ 5 w 12"/>
                  <a:gd name="T23" fmla="*/ 10 h 13"/>
                  <a:gd name="T24" fmla="*/ 6 w 12"/>
                  <a:gd name="T25" fmla="*/ 7 h 13"/>
                  <a:gd name="T26" fmla="*/ 11 w 12"/>
                  <a:gd name="T27" fmla="*/ 3 h 13"/>
                  <a:gd name="T28" fmla="*/ 12 w 12"/>
                  <a:gd name="T29" fmla="*/ 0 h 13"/>
                  <a:gd name="T30" fmla="*/ 10 w 12"/>
                  <a:gd name="T31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" h="13">
                    <a:moveTo>
                      <a:pt x="10" y="1"/>
                    </a:moveTo>
                    <a:lnTo>
                      <a:pt x="3" y="6"/>
                    </a:lnTo>
                    <a:lnTo>
                      <a:pt x="2" y="9"/>
                    </a:lnTo>
                    <a:lnTo>
                      <a:pt x="0" y="10"/>
                    </a:lnTo>
                    <a:lnTo>
                      <a:pt x="1" y="13"/>
                    </a:lnTo>
                    <a:lnTo>
                      <a:pt x="2" y="13"/>
                    </a:lnTo>
                    <a:lnTo>
                      <a:pt x="2" y="12"/>
                    </a:lnTo>
                    <a:lnTo>
                      <a:pt x="4" y="11"/>
                    </a:lnTo>
                    <a:lnTo>
                      <a:pt x="5" y="13"/>
                    </a:lnTo>
                    <a:lnTo>
                      <a:pt x="6" y="13"/>
                    </a:lnTo>
                    <a:lnTo>
                      <a:pt x="7" y="12"/>
                    </a:lnTo>
                    <a:lnTo>
                      <a:pt x="5" y="10"/>
                    </a:lnTo>
                    <a:lnTo>
                      <a:pt x="6" y="7"/>
                    </a:lnTo>
                    <a:lnTo>
                      <a:pt x="11" y="3"/>
                    </a:lnTo>
                    <a:lnTo>
                      <a:pt x="12" y="0"/>
                    </a:lnTo>
                    <a:lnTo>
                      <a:pt x="1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9" name="Freeform 1093">
                <a:extLst>
                  <a:ext uri="{FF2B5EF4-FFF2-40B4-BE49-F238E27FC236}">
                    <a16:creationId xmlns:a16="http://schemas.microsoft.com/office/drawing/2014/main" id="{157BD034-D214-4091-81DC-09DE76433E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1" y="1699"/>
                <a:ext cx="5" cy="6"/>
              </a:xfrm>
              <a:custGeom>
                <a:avLst/>
                <a:gdLst>
                  <a:gd name="T0" fmla="*/ 7 w 7"/>
                  <a:gd name="T1" fmla="*/ 2 h 8"/>
                  <a:gd name="T2" fmla="*/ 5 w 7"/>
                  <a:gd name="T3" fmla="*/ 0 h 8"/>
                  <a:gd name="T4" fmla="*/ 1 w 7"/>
                  <a:gd name="T5" fmla="*/ 3 h 8"/>
                  <a:gd name="T6" fmla="*/ 0 w 7"/>
                  <a:gd name="T7" fmla="*/ 8 h 8"/>
                  <a:gd name="T8" fmla="*/ 2 w 7"/>
                  <a:gd name="T9" fmla="*/ 7 h 8"/>
                  <a:gd name="T10" fmla="*/ 4 w 7"/>
                  <a:gd name="T11" fmla="*/ 8 h 8"/>
                  <a:gd name="T12" fmla="*/ 7 w 7"/>
                  <a:gd name="T1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8">
                    <a:moveTo>
                      <a:pt x="7" y="2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4" y="8"/>
                      <a:pt x="4" y="8"/>
                    </a:cubicBezTo>
                    <a:lnTo>
                      <a:pt x="7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0" name="Freeform 1094">
                <a:extLst>
                  <a:ext uri="{FF2B5EF4-FFF2-40B4-BE49-F238E27FC236}">
                    <a16:creationId xmlns:a16="http://schemas.microsoft.com/office/drawing/2014/main" id="{C59617D2-1A79-4D6C-87CF-3641651F8D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3" y="1769"/>
                <a:ext cx="5" cy="10"/>
              </a:xfrm>
              <a:custGeom>
                <a:avLst/>
                <a:gdLst>
                  <a:gd name="T0" fmla="*/ 5 w 5"/>
                  <a:gd name="T1" fmla="*/ 7 h 10"/>
                  <a:gd name="T2" fmla="*/ 3 w 5"/>
                  <a:gd name="T3" fmla="*/ 3 h 10"/>
                  <a:gd name="T4" fmla="*/ 0 w 5"/>
                  <a:gd name="T5" fmla="*/ 0 h 10"/>
                  <a:gd name="T6" fmla="*/ 1 w 5"/>
                  <a:gd name="T7" fmla="*/ 5 h 10"/>
                  <a:gd name="T8" fmla="*/ 4 w 5"/>
                  <a:gd name="T9" fmla="*/ 10 h 10"/>
                  <a:gd name="T10" fmla="*/ 5 w 5"/>
                  <a:gd name="T11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10">
                    <a:moveTo>
                      <a:pt x="5" y="7"/>
                    </a:moveTo>
                    <a:lnTo>
                      <a:pt x="3" y="3"/>
                    </a:lnTo>
                    <a:lnTo>
                      <a:pt x="0" y="0"/>
                    </a:lnTo>
                    <a:lnTo>
                      <a:pt x="1" y="5"/>
                    </a:lnTo>
                    <a:lnTo>
                      <a:pt x="4" y="10"/>
                    </a:lnTo>
                    <a:lnTo>
                      <a:pt x="5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1" name="Freeform 1095">
                <a:extLst>
                  <a:ext uri="{FF2B5EF4-FFF2-40B4-BE49-F238E27FC236}">
                    <a16:creationId xmlns:a16="http://schemas.microsoft.com/office/drawing/2014/main" id="{4076F070-D3B6-4E3A-AE53-8E60A2802E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0" y="1709"/>
                <a:ext cx="3" cy="7"/>
              </a:xfrm>
              <a:custGeom>
                <a:avLst/>
                <a:gdLst>
                  <a:gd name="T0" fmla="*/ 0 w 3"/>
                  <a:gd name="T1" fmla="*/ 2 h 7"/>
                  <a:gd name="T2" fmla="*/ 0 w 3"/>
                  <a:gd name="T3" fmla="*/ 5 h 7"/>
                  <a:gd name="T4" fmla="*/ 2 w 3"/>
                  <a:gd name="T5" fmla="*/ 7 h 7"/>
                  <a:gd name="T6" fmla="*/ 3 w 3"/>
                  <a:gd name="T7" fmla="*/ 2 h 7"/>
                  <a:gd name="T8" fmla="*/ 2 w 3"/>
                  <a:gd name="T9" fmla="*/ 0 h 7"/>
                  <a:gd name="T10" fmla="*/ 0 w 3"/>
                  <a:gd name="T11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7">
                    <a:moveTo>
                      <a:pt x="0" y="2"/>
                    </a:moveTo>
                    <a:lnTo>
                      <a:pt x="0" y="5"/>
                    </a:lnTo>
                    <a:lnTo>
                      <a:pt x="2" y="7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2" name="Freeform 1096">
                <a:extLst>
                  <a:ext uri="{FF2B5EF4-FFF2-40B4-BE49-F238E27FC236}">
                    <a16:creationId xmlns:a16="http://schemas.microsoft.com/office/drawing/2014/main" id="{B545EB40-C472-4DB3-991E-205F6A7F31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3" y="1694"/>
                <a:ext cx="1" cy="4"/>
              </a:xfrm>
              <a:custGeom>
                <a:avLst/>
                <a:gdLst>
                  <a:gd name="T0" fmla="*/ 0 w 1"/>
                  <a:gd name="T1" fmla="*/ 1 h 4"/>
                  <a:gd name="T2" fmla="*/ 0 w 1"/>
                  <a:gd name="T3" fmla="*/ 4 h 4"/>
                  <a:gd name="T4" fmla="*/ 0 w 1"/>
                  <a:gd name="T5" fmla="*/ 4 h 4"/>
                  <a:gd name="T6" fmla="*/ 1 w 1"/>
                  <a:gd name="T7" fmla="*/ 2 h 4"/>
                  <a:gd name="T8" fmla="*/ 0 w 1"/>
                  <a:gd name="T9" fmla="*/ 0 h 4"/>
                  <a:gd name="T10" fmla="*/ 0 w 1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4">
                    <a:moveTo>
                      <a:pt x="0" y="1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3" name="Freeform 1097">
                <a:extLst>
                  <a:ext uri="{FF2B5EF4-FFF2-40B4-BE49-F238E27FC236}">
                    <a16:creationId xmlns:a16="http://schemas.microsoft.com/office/drawing/2014/main" id="{ABB9BB9F-50F5-4AF1-BB82-14FB4A8706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4" y="1672"/>
                <a:ext cx="4" cy="10"/>
              </a:xfrm>
              <a:custGeom>
                <a:avLst/>
                <a:gdLst>
                  <a:gd name="T0" fmla="*/ 1 w 4"/>
                  <a:gd name="T1" fmla="*/ 0 h 10"/>
                  <a:gd name="T2" fmla="*/ 0 w 4"/>
                  <a:gd name="T3" fmla="*/ 6 h 10"/>
                  <a:gd name="T4" fmla="*/ 2 w 4"/>
                  <a:gd name="T5" fmla="*/ 7 h 10"/>
                  <a:gd name="T6" fmla="*/ 2 w 4"/>
                  <a:gd name="T7" fmla="*/ 10 h 10"/>
                  <a:gd name="T8" fmla="*/ 4 w 4"/>
                  <a:gd name="T9" fmla="*/ 7 h 10"/>
                  <a:gd name="T10" fmla="*/ 2 w 4"/>
                  <a:gd name="T11" fmla="*/ 3 h 10"/>
                  <a:gd name="T12" fmla="*/ 1 w 4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0">
                    <a:moveTo>
                      <a:pt x="1" y="0"/>
                    </a:moveTo>
                    <a:lnTo>
                      <a:pt x="0" y="6"/>
                    </a:lnTo>
                    <a:lnTo>
                      <a:pt x="2" y="7"/>
                    </a:lnTo>
                    <a:lnTo>
                      <a:pt x="2" y="10"/>
                    </a:lnTo>
                    <a:lnTo>
                      <a:pt x="4" y="7"/>
                    </a:lnTo>
                    <a:lnTo>
                      <a:pt x="2" y="3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4" name="Freeform 1098">
                <a:extLst>
                  <a:ext uri="{FF2B5EF4-FFF2-40B4-BE49-F238E27FC236}">
                    <a16:creationId xmlns:a16="http://schemas.microsoft.com/office/drawing/2014/main" id="{C1821953-792B-4847-8A05-E723B2DEA2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9" y="1680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0 w 4"/>
                  <a:gd name="T3" fmla="*/ 2 h 4"/>
                  <a:gd name="T4" fmla="*/ 3 w 4"/>
                  <a:gd name="T5" fmla="*/ 4 h 4"/>
                  <a:gd name="T6" fmla="*/ 4 w 4"/>
                  <a:gd name="T7" fmla="*/ 2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0" y="2"/>
                    </a:lnTo>
                    <a:lnTo>
                      <a:pt x="3" y="4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5" name="Freeform 1099">
                <a:extLst>
                  <a:ext uri="{FF2B5EF4-FFF2-40B4-BE49-F238E27FC236}">
                    <a16:creationId xmlns:a16="http://schemas.microsoft.com/office/drawing/2014/main" id="{E726839B-5E43-4BF5-9FC0-24CE793786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6" y="899"/>
                <a:ext cx="12" cy="19"/>
              </a:xfrm>
              <a:custGeom>
                <a:avLst/>
                <a:gdLst>
                  <a:gd name="T0" fmla="*/ 4 w 12"/>
                  <a:gd name="T1" fmla="*/ 0 h 19"/>
                  <a:gd name="T2" fmla="*/ 3 w 12"/>
                  <a:gd name="T3" fmla="*/ 1 h 19"/>
                  <a:gd name="T4" fmla="*/ 2 w 12"/>
                  <a:gd name="T5" fmla="*/ 5 h 19"/>
                  <a:gd name="T6" fmla="*/ 3 w 12"/>
                  <a:gd name="T7" fmla="*/ 7 h 19"/>
                  <a:gd name="T8" fmla="*/ 2 w 12"/>
                  <a:gd name="T9" fmla="*/ 9 h 19"/>
                  <a:gd name="T10" fmla="*/ 0 w 12"/>
                  <a:gd name="T11" fmla="*/ 11 h 19"/>
                  <a:gd name="T12" fmla="*/ 1 w 12"/>
                  <a:gd name="T13" fmla="*/ 16 h 19"/>
                  <a:gd name="T14" fmla="*/ 4 w 12"/>
                  <a:gd name="T15" fmla="*/ 17 h 19"/>
                  <a:gd name="T16" fmla="*/ 7 w 12"/>
                  <a:gd name="T17" fmla="*/ 17 h 19"/>
                  <a:gd name="T18" fmla="*/ 9 w 12"/>
                  <a:gd name="T19" fmla="*/ 19 h 19"/>
                  <a:gd name="T20" fmla="*/ 11 w 12"/>
                  <a:gd name="T21" fmla="*/ 18 h 19"/>
                  <a:gd name="T22" fmla="*/ 12 w 12"/>
                  <a:gd name="T23" fmla="*/ 16 h 19"/>
                  <a:gd name="T24" fmla="*/ 12 w 12"/>
                  <a:gd name="T25" fmla="*/ 12 h 19"/>
                  <a:gd name="T26" fmla="*/ 10 w 12"/>
                  <a:gd name="T27" fmla="*/ 10 h 19"/>
                  <a:gd name="T28" fmla="*/ 12 w 12"/>
                  <a:gd name="T29" fmla="*/ 8 h 19"/>
                  <a:gd name="T30" fmla="*/ 12 w 12"/>
                  <a:gd name="T31" fmla="*/ 7 h 19"/>
                  <a:gd name="T32" fmla="*/ 10 w 12"/>
                  <a:gd name="T33" fmla="*/ 7 h 19"/>
                  <a:gd name="T34" fmla="*/ 8 w 12"/>
                  <a:gd name="T35" fmla="*/ 6 h 19"/>
                  <a:gd name="T36" fmla="*/ 9 w 12"/>
                  <a:gd name="T37" fmla="*/ 4 h 19"/>
                  <a:gd name="T38" fmla="*/ 10 w 12"/>
                  <a:gd name="T39" fmla="*/ 4 h 19"/>
                  <a:gd name="T40" fmla="*/ 10 w 12"/>
                  <a:gd name="T41" fmla="*/ 2 h 19"/>
                  <a:gd name="T42" fmla="*/ 9 w 12"/>
                  <a:gd name="T43" fmla="*/ 1 h 19"/>
                  <a:gd name="T44" fmla="*/ 8 w 12"/>
                  <a:gd name="T45" fmla="*/ 0 h 19"/>
                  <a:gd name="T46" fmla="*/ 4 w 12"/>
                  <a:gd name="T4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" h="19">
                    <a:moveTo>
                      <a:pt x="4" y="0"/>
                    </a:moveTo>
                    <a:lnTo>
                      <a:pt x="3" y="1"/>
                    </a:lnTo>
                    <a:lnTo>
                      <a:pt x="2" y="5"/>
                    </a:lnTo>
                    <a:lnTo>
                      <a:pt x="3" y="7"/>
                    </a:lnTo>
                    <a:lnTo>
                      <a:pt x="2" y="9"/>
                    </a:lnTo>
                    <a:lnTo>
                      <a:pt x="0" y="11"/>
                    </a:lnTo>
                    <a:lnTo>
                      <a:pt x="1" y="16"/>
                    </a:lnTo>
                    <a:lnTo>
                      <a:pt x="4" y="17"/>
                    </a:lnTo>
                    <a:lnTo>
                      <a:pt x="7" y="17"/>
                    </a:lnTo>
                    <a:lnTo>
                      <a:pt x="9" y="19"/>
                    </a:lnTo>
                    <a:lnTo>
                      <a:pt x="11" y="18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7"/>
                    </a:lnTo>
                    <a:lnTo>
                      <a:pt x="10" y="7"/>
                    </a:lnTo>
                    <a:lnTo>
                      <a:pt x="8" y="6"/>
                    </a:lnTo>
                    <a:lnTo>
                      <a:pt x="9" y="4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6" name="Freeform 1100">
                <a:extLst>
                  <a:ext uri="{FF2B5EF4-FFF2-40B4-BE49-F238E27FC236}">
                    <a16:creationId xmlns:a16="http://schemas.microsoft.com/office/drawing/2014/main" id="{E37F8797-19A5-48FD-AF82-534D052D3F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9" y="843"/>
                <a:ext cx="12" cy="34"/>
              </a:xfrm>
              <a:custGeom>
                <a:avLst/>
                <a:gdLst>
                  <a:gd name="T0" fmla="*/ 4 w 12"/>
                  <a:gd name="T1" fmla="*/ 34 h 34"/>
                  <a:gd name="T2" fmla="*/ 8 w 12"/>
                  <a:gd name="T3" fmla="*/ 32 h 34"/>
                  <a:gd name="T4" fmla="*/ 10 w 12"/>
                  <a:gd name="T5" fmla="*/ 24 h 34"/>
                  <a:gd name="T6" fmla="*/ 9 w 12"/>
                  <a:gd name="T7" fmla="*/ 22 h 34"/>
                  <a:gd name="T8" fmla="*/ 11 w 12"/>
                  <a:gd name="T9" fmla="*/ 18 h 34"/>
                  <a:gd name="T10" fmla="*/ 10 w 12"/>
                  <a:gd name="T11" fmla="*/ 15 h 34"/>
                  <a:gd name="T12" fmla="*/ 12 w 12"/>
                  <a:gd name="T13" fmla="*/ 8 h 34"/>
                  <a:gd name="T14" fmla="*/ 11 w 12"/>
                  <a:gd name="T15" fmla="*/ 6 h 34"/>
                  <a:gd name="T16" fmla="*/ 11 w 12"/>
                  <a:gd name="T17" fmla="*/ 2 h 34"/>
                  <a:gd name="T18" fmla="*/ 9 w 12"/>
                  <a:gd name="T19" fmla="*/ 0 h 34"/>
                  <a:gd name="T20" fmla="*/ 8 w 12"/>
                  <a:gd name="T21" fmla="*/ 1 h 34"/>
                  <a:gd name="T22" fmla="*/ 8 w 12"/>
                  <a:gd name="T23" fmla="*/ 4 h 34"/>
                  <a:gd name="T24" fmla="*/ 6 w 12"/>
                  <a:gd name="T25" fmla="*/ 10 h 34"/>
                  <a:gd name="T26" fmla="*/ 6 w 12"/>
                  <a:gd name="T27" fmla="*/ 11 h 34"/>
                  <a:gd name="T28" fmla="*/ 4 w 12"/>
                  <a:gd name="T29" fmla="*/ 13 h 34"/>
                  <a:gd name="T30" fmla="*/ 4 w 12"/>
                  <a:gd name="T31" fmla="*/ 15 h 34"/>
                  <a:gd name="T32" fmla="*/ 1 w 12"/>
                  <a:gd name="T33" fmla="*/ 18 h 34"/>
                  <a:gd name="T34" fmla="*/ 1 w 12"/>
                  <a:gd name="T35" fmla="*/ 22 h 34"/>
                  <a:gd name="T36" fmla="*/ 1 w 12"/>
                  <a:gd name="T37" fmla="*/ 26 h 34"/>
                  <a:gd name="T38" fmla="*/ 0 w 12"/>
                  <a:gd name="T39" fmla="*/ 28 h 34"/>
                  <a:gd name="T40" fmla="*/ 1 w 12"/>
                  <a:gd name="T41" fmla="*/ 33 h 34"/>
                  <a:gd name="T42" fmla="*/ 4 w 12"/>
                  <a:gd name="T43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2" h="34">
                    <a:moveTo>
                      <a:pt x="4" y="34"/>
                    </a:moveTo>
                    <a:lnTo>
                      <a:pt x="8" y="32"/>
                    </a:lnTo>
                    <a:lnTo>
                      <a:pt x="10" y="24"/>
                    </a:lnTo>
                    <a:lnTo>
                      <a:pt x="9" y="22"/>
                    </a:lnTo>
                    <a:lnTo>
                      <a:pt x="11" y="18"/>
                    </a:lnTo>
                    <a:lnTo>
                      <a:pt x="10" y="15"/>
                    </a:lnTo>
                    <a:lnTo>
                      <a:pt x="12" y="8"/>
                    </a:lnTo>
                    <a:lnTo>
                      <a:pt x="11" y="6"/>
                    </a:lnTo>
                    <a:lnTo>
                      <a:pt x="11" y="2"/>
                    </a:lnTo>
                    <a:lnTo>
                      <a:pt x="9" y="0"/>
                    </a:lnTo>
                    <a:lnTo>
                      <a:pt x="8" y="1"/>
                    </a:lnTo>
                    <a:lnTo>
                      <a:pt x="8" y="4"/>
                    </a:lnTo>
                    <a:lnTo>
                      <a:pt x="6" y="10"/>
                    </a:lnTo>
                    <a:lnTo>
                      <a:pt x="6" y="11"/>
                    </a:lnTo>
                    <a:lnTo>
                      <a:pt x="4" y="13"/>
                    </a:lnTo>
                    <a:lnTo>
                      <a:pt x="4" y="15"/>
                    </a:lnTo>
                    <a:lnTo>
                      <a:pt x="1" y="18"/>
                    </a:lnTo>
                    <a:lnTo>
                      <a:pt x="1" y="22"/>
                    </a:lnTo>
                    <a:lnTo>
                      <a:pt x="1" y="26"/>
                    </a:lnTo>
                    <a:lnTo>
                      <a:pt x="0" y="28"/>
                    </a:lnTo>
                    <a:lnTo>
                      <a:pt x="1" y="33"/>
                    </a:lnTo>
                    <a:lnTo>
                      <a:pt x="4" y="3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7" name="Freeform 1101">
                <a:extLst>
                  <a:ext uri="{FF2B5EF4-FFF2-40B4-BE49-F238E27FC236}">
                    <a16:creationId xmlns:a16="http://schemas.microsoft.com/office/drawing/2014/main" id="{6DD31834-17FD-48EF-B486-35C75F0D50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7" y="1756"/>
                <a:ext cx="2" cy="6"/>
              </a:xfrm>
              <a:custGeom>
                <a:avLst/>
                <a:gdLst>
                  <a:gd name="T0" fmla="*/ 0 w 2"/>
                  <a:gd name="T1" fmla="*/ 1 h 6"/>
                  <a:gd name="T2" fmla="*/ 0 w 2"/>
                  <a:gd name="T3" fmla="*/ 6 h 6"/>
                  <a:gd name="T4" fmla="*/ 2 w 2"/>
                  <a:gd name="T5" fmla="*/ 0 h 6"/>
                  <a:gd name="T6" fmla="*/ 0 w 2"/>
                  <a:gd name="T7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6">
                    <a:moveTo>
                      <a:pt x="0" y="1"/>
                    </a:moveTo>
                    <a:lnTo>
                      <a:pt x="0" y="6"/>
                    </a:lnTo>
                    <a:lnTo>
                      <a:pt x="2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8" name="Freeform 1102">
                <a:extLst>
                  <a:ext uri="{FF2B5EF4-FFF2-40B4-BE49-F238E27FC236}">
                    <a16:creationId xmlns:a16="http://schemas.microsoft.com/office/drawing/2014/main" id="{390CD116-3FB5-4808-BE5E-605E42314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5" y="1663"/>
                <a:ext cx="1" cy="4"/>
              </a:xfrm>
              <a:custGeom>
                <a:avLst/>
                <a:gdLst>
                  <a:gd name="T0" fmla="*/ 0 w 1"/>
                  <a:gd name="T1" fmla="*/ 4 h 4"/>
                  <a:gd name="T2" fmla="*/ 1 w 1"/>
                  <a:gd name="T3" fmla="*/ 2 h 4"/>
                  <a:gd name="T4" fmla="*/ 0 w 1"/>
                  <a:gd name="T5" fmla="*/ 0 h 4"/>
                  <a:gd name="T6" fmla="*/ 0 w 1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9" name="Freeform 1103">
                <a:extLst>
                  <a:ext uri="{FF2B5EF4-FFF2-40B4-BE49-F238E27FC236}">
                    <a16:creationId xmlns:a16="http://schemas.microsoft.com/office/drawing/2014/main" id="{133B0CBE-32DD-4D64-9F93-688F3BF43A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2" y="878"/>
                <a:ext cx="6" cy="4"/>
              </a:xfrm>
              <a:custGeom>
                <a:avLst/>
                <a:gdLst>
                  <a:gd name="T0" fmla="*/ 5 w 6"/>
                  <a:gd name="T1" fmla="*/ 4 h 4"/>
                  <a:gd name="T2" fmla="*/ 6 w 6"/>
                  <a:gd name="T3" fmla="*/ 0 h 4"/>
                  <a:gd name="T4" fmla="*/ 2 w 6"/>
                  <a:gd name="T5" fmla="*/ 0 h 4"/>
                  <a:gd name="T6" fmla="*/ 0 w 6"/>
                  <a:gd name="T7" fmla="*/ 3 h 4"/>
                  <a:gd name="T8" fmla="*/ 2 w 6"/>
                  <a:gd name="T9" fmla="*/ 4 h 4"/>
                  <a:gd name="T10" fmla="*/ 5 w 6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5" y="4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2" y="4"/>
                    </a:lnTo>
                    <a:lnTo>
                      <a:pt x="5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0" name="Freeform 1104">
                <a:extLst>
                  <a:ext uri="{FF2B5EF4-FFF2-40B4-BE49-F238E27FC236}">
                    <a16:creationId xmlns:a16="http://schemas.microsoft.com/office/drawing/2014/main" id="{492D71B7-E180-4882-BF5D-F9F20F2922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3" y="775"/>
                <a:ext cx="42" cy="31"/>
              </a:xfrm>
              <a:custGeom>
                <a:avLst/>
                <a:gdLst>
                  <a:gd name="T0" fmla="*/ 3 w 42"/>
                  <a:gd name="T1" fmla="*/ 13 h 31"/>
                  <a:gd name="T2" fmla="*/ 5 w 42"/>
                  <a:gd name="T3" fmla="*/ 14 h 31"/>
                  <a:gd name="T4" fmla="*/ 8 w 42"/>
                  <a:gd name="T5" fmla="*/ 13 h 31"/>
                  <a:gd name="T6" fmla="*/ 9 w 42"/>
                  <a:gd name="T7" fmla="*/ 14 h 31"/>
                  <a:gd name="T8" fmla="*/ 12 w 42"/>
                  <a:gd name="T9" fmla="*/ 13 h 31"/>
                  <a:gd name="T10" fmla="*/ 14 w 42"/>
                  <a:gd name="T11" fmla="*/ 15 h 31"/>
                  <a:gd name="T12" fmla="*/ 12 w 42"/>
                  <a:gd name="T13" fmla="*/ 17 h 31"/>
                  <a:gd name="T14" fmla="*/ 13 w 42"/>
                  <a:gd name="T15" fmla="*/ 21 h 31"/>
                  <a:gd name="T16" fmla="*/ 16 w 42"/>
                  <a:gd name="T17" fmla="*/ 24 h 31"/>
                  <a:gd name="T18" fmla="*/ 18 w 42"/>
                  <a:gd name="T19" fmla="*/ 21 h 31"/>
                  <a:gd name="T20" fmla="*/ 17 w 42"/>
                  <a:gd name="T21" fmla="*/ 18 h 31"/>
                  <a:gd name="T22" fmla="*/ 19 w 42"/>
                  <a:gd name="T23" fmla="*/ 17 h 31"/>
                  <a:gd name="T24" fmla="*/ 21 w 42"/>
                  <a:gd name="T25" fmla="*/ 21 h 31"/>
                  <a:gd name="T26" fmla="*/ 21 w 42"/>
                  <a:gd name="T27" fmla="*/ 24 h 31"/>
                  <a:gd name="T28" fmla="*/ 24 w 42"/>
                  <a:gd name="T29" fmla="*/ 29 h 31"/>
                  <a:gd name="T30" fmla="*/ 27 w 42"/>
                  <a:gd name="T31" fmla="*/ 28 h 31"/>
                  <a:gd name="T32" fmla="*/ 28 w 42"/>
                  <a:gd name="T33" fmla="*/ 31 h 31"/>
                  <a:gd name="T34" fmla="*/ 31 w 42"/>
                  <a:gd name="T35" fmla="*/ 31 h 31"/>
                  <a:gd name="T36" fmla="*/ 33 w 42"/>
                  <a:gd name="T37" fmla="*/ 31 h 31"/>
                  <a:gd name="T38" fmla="*/ 36 w 42"/>
                  <a:gd name="T39" fmla="*/ 28 h 31"/>
                  <a:gd name="T40" fmla="*/ 39 w 42"/>
                  <a:gd name="T41" fmla="*/ 26 h 31"/>
                  <a:gd name="T42" fmla="*/ 41 w 42"/>
                  <a:gd name="T43" fmla="*/ 19 h 31"/>
                  <a:gd name="T44" fmla="*/ 40 w 42"/>
                  <a:gd name="T45" fmla="*/ 14 h 31"/>
                  <a:gd name="T46" fmla="*/ 42 w 42"/>
                  <a:gd name="T47" fmla="*/ 10 h 31"/>
                  <a:gd name="T48" fmla="*/ 42 w 42"/>
                  <a:gd name="T49" fmla="*/ 7 h 31"/>
                  <a:gd name="T50" fmla="*/ 40 w 42"/>
                  <a:gd name="T51" fmla="*/ 3 h 31"/>
                  <a:gd name="T52" fmla="*/ 40 w 42"/>
                  <a:gd name="T53" fmla="*/ 1 h 31"/>
                  <a:gd name="T54" fmla="*/ 38 w 42"/>
                  <a:gd name="T55" fmla="*/ 0 h 31"/>
                  <a:gd name="T56" fmla="*/ 37 w 42"/>
                  <a:gd name="T57" fmla="*/ 2 h 31"/>
                  <a:gd name="T58" fmla="*/ 35 w 42"/>
                  <a:gd name="T59" fmla="*/ 1 h 31"/>
                  <a:gd name="T60" fmla="*/ 31 w 42"/>
                  <a:gd name="T61" fmla="*/ 2 h 31"/>
                  <a:gd name="T62" fmla="*/ 27 w 42"/>
                  <a:gd name="T63" fmla="*/ 5 h 31"/>
                  <a:gd name="T64" fmla="*/ 24 w 42"/>
                  <a:gd name="T65" fmla="*/ 5 h 31"/>
                  <a:gd name="T66" fmla="*/ 23 w 42"/>
                  <a:gd name="T67" fmla="*/ 5 h 31"/>
                  <a:gd name="T68" fmla="*/ 19 w 42"/>
                  <a:gd name="T69" fmla="*/ 3 h 31"/>
                  <a:gd name="T70" fmla="*/ 17 w 42"/>
                  <a:gd name="T71" fmla="*/ 3 h 31"/>
                  <a:gd name="T72" fmla="*/ 9 w 42"/>
                  <a:gd name="T73" fmla="*/ 5 h 31"/>
                  <a:gd name="T74" fmla="*/ 6 w 42"/>
                  <a:gd name="T75" fmla="*/ 5 h 31"/>
                  <a:gd name="T76" fmla="*/ 3 w 42"/>
                  <a:gd name="T77" fmla="*/ 6 h 31"/>
                  <a:gd name="T78" fmla="*/ 2 w 42"/>
                  <a:gd name="T79" fmla="*/ 8 h 31"/>
                  <a:gd name="T80" fmla="*/ 0 w 42"/>
                  <a:gd name="T81" fmla="*/ 11 h 31"/>
                  <a:gd name="T82" fmla="*/ 0 w 42"/>
                  <a:gd name="T83" fmla="*/ 14 h 31"/>
                  <a:gd name="T84" fmla="*/ 3 w 42"/>
                  <a:gd name="T8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2" h="31">
                    <a:moveTo>
                      <a:pt x="3" y="13"/>
                    </a:moveTo>
                    <a:lnTo>
                      <a:pt x="5" y="14"/>
                    </a:lnTo>
                    <a:lnTo>
                      <a:pt x="8" y="13"/>
                    </a:lnTo>
                    <a:lnTo>
                      <a:pt x="9" y="14"/>
                    </a:lnTo>
                    <a:lnTo>
                      <a:pt x="12" y="13"/>
                    </a:lnTo>
                    <a:lnTo>
                      <a:pt x="14" y="15"/>
                    </a:lnTo>
                    <a:lnTo>
                      <a:pt x="12" y="17"/>
                    </a:lnTo>
                    <a:lnTo>
                      <a:pt x="13" y="21"/>
                    </a:lnTo>
                    <a:lnTo>
                      <a:pt x="16" y="24"/>
                    </a:lnTo>
                    <a:lnTo>
                      <a:pt x="18" y="21"/>
                    </a:lnTo>
                    <a:lnTo>
                      <a:pt x="17" y="18"/>
                    </a:lnTo>
                    <a:lnTo>
                      <a:pt x="19" y="17"/>
                    </a:lnTo>
                    <a:lnTo>
                      <a:pt x="21" y="21"/>
                    </a:lnTo>
                    <a:lnTo>
                      <a:pt x="21" y="24"/>
                    </a:lnTo>
                    <a:lnTo>
                      <a:pt x="24" y="29"/>
                    </a:lnTo>
                    <a:lnTo>
                      <a:pt x="27" y="28"/>
                    </a:lnTo>
                    <a:lnTo>
                      <a:pt x="28" y="31"/>
                    </a:lnTo>
                    <a:lnTo>
                      <a:pt x="31" y="31"/>
                    </a:lnTo>
                    <a:lnTo>
                      <a:pt x="33" y="31"/>
                    </a:lnTo>
                    <a:lnTo>
                      <a:pt x="36" y="28"/>
                    </a:lnTo>
                    <a:lnTo>
                      <a:pt x="39" y="26"/>
                    </a:lnTo>
                    <a:lnTo>
                      <a:pt x="41" y="19"/>
                    </a:lnTo>
                    <a:lnTo>
                      <a:pt x="40" y="14"/>
                    </a:lnTo>
                    <a:lnTo>
                      <a:pt x="42" y="10"/>
                    </a:lnTo>
                    <a:lnTo>
                      <a:pt x="42" y="7"/>
                    </a:lnTo>
                    <a:lnTo>
                      <a:pt x="40" y="3"/>
                    </a:lnTo>
                    <a:lnTo>
                      <a:pt x="40" y="1"/>
                    </a:lnTo>
                    <a:lnTo>
                      <a:pt x="38" y="0"/>
                    </a:lnTo>
                    <a:lnTo>
                      <a:pt x="37" y="2"/>
                    </a:lnTo>
                    <a:lnTo>
                      <a:pt x="35" y="1"/>
                    </a:lnTo>
                    <a:lnTo>
                      <a:pt x="31" y="2"/>
                    </a:lnTo>
                    <a:lnTo>
                      <a:pt x="27" y="5"/>
                    </a:lnTo>
                    <a:lnTo>
                      <a:pt x="24" y="5"/>
                    </a:lnTo>
                    <a:lnTo>
                      <a:pt x="23" y="5"/>
                    </a:lnTo>
                    <a:lnTo>
                      <a:pt x="19" y="3"/>
                    </a:lnTo>
                    <a:lnTo>
                      <a:pt x="17" y="3"/>
                    </a:lnTo>
                    <a:lnTo>
                      <a:pt x="9" y="5"/>
                    </a:lnTo>
                    <a:lnTo>
                      <a:pt x="6" y="5"/>
                    </a:lnTo>
                    <a:lnTo>
                      <a:pt x="3" y="6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3" y="1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1" name="Freeform 1105">
                <a:extLst>
                  <a:ext uri="{FF2B5EF4-FFF2-40B4-BE49-F238E27FC236}">
                    <a16:creationId xmlns:a16="http://schemas.microsoft.com/office/drawing/2014/main" id="{8C25BE60-DA91-4F6B-BE0C-C62649014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9" y="1732"/>
                <a:ext cx="51" cy="78"/>
              </a:xfrm>
              <a:custGeom>
                <a:avLst/>
                <a:gdLst>
                  <a:gd name="T0" fmla="*/ 15 w 51"/>
                  <a:gd name="T1" fmla="*/ 10 h 78"/>
                  <a:gd name="T2" fmla="*/ 12 w 51"/>
                  <a:gd name="T3" fmla="*/ 4 h 78"/>
                  <a:gd name="T4" fmla="*/ 7 w 51"/>
                  <a:gd name="T5" fmla="*/ 1 h 78"/>
                  <a:gd name="T6" fmla="*/ 3 w 51"/>
                  <a:gd name="T7" fmla="*/ 2 h 78"/>
                  <a:gd name="T8" fmla="*/ 0 w 51"/>
                  <a:gd name="T9" fmla="*/ 6 h 78"/>
                  <a:gd name="T10" fmla="*/ 3 w 51"/>
                  <a:gd name="T11" fmla="*/ 10 h 78"/>
                  <a:gd name="T12" fmla="*/ 7 w 51"/>
                  <a:gd name="T13" fmla="*/ 13 h 78"/>
                  <a:gd name="T14" fmla="*/ 2 w 51"/>
                  <a:gd name="T15" fmla="*/ 16 h 78"/>
                  <a:gd name="T16" fmla="*/ 2 w 51"/>
                  <a:gd name="T17" fmla="*/ 22 h 78"/>
                  <a:gd name="T18" fmla="*/ 6 w 51"/>
                  <a:gd name="T19" fmla="*/ 22 h 78"/>
                  <a:gd name="T20" fmla="*/ 9 w 51"/>
                  <a:gd name="T21" fmla="*/ 24 h 78"/>
                  <a:gd name="T22" fmla="*/ 12 w 51"/>
                  <a:gd name="T23" fmla="*/ 30 h 78"/>
                  <a:gd name="T24" fmla="*/ 11 w 51"/>
                  <a:gd name="T25" fmla="*/ 33 h 78"/>
                  <a:gd name="T26" fmla="*/ 15 w 51"/>
                  <a:gd name="T27" fmla="*/ 37 h 78"/>
                  <a:gd name="T28" fmla="*/ 19 w 51"/>
                  <a:gd name="T29" fmla="*/ 33 h 78"/>
                  <a:gd name="T30" fmla="*/ 16 w 51"/>
                  <a:gd name="T31" fmla="*/ 39 h 78"/>
                  <a:gd name="T32" fmla="*/ 17 w 51"/>
                  <a:gd name="T33" fmla="*/ 41 h 78"/>
                  <a:gd name="T34" fmla="*/ 23 w 51"/>
                  <a:gd name="T35" fmla="*/ 44 h 78"/>
                  <a:gd name="T36" fmla="*/ 24 w 51"/>
                  <a:gd name="T37" fmla="*/ 48 h 78"/>
                  <a:gd name="T38" fmla="*/ 24 w 51"/>
                  <a:gd name="T39" fmla="*/ 54 h 78"/>
                  <a:gd name="T40" fmla="*/ 30 w 51"/>
                  <a:gd name="T41" fmla="*/ 55 h 78"/>
                  <a:gd name="T42" fmla="*/ 34 w 51"/>
                  <a:gd name="T43" fmla="*/ 57 h 78"/>
                  <a:gd name="T44" fmla="*/ 35 w 51"/>
                  <a:gd name="T45" fmla="*/ 68 h 78"/>
                  <a:gd name="T46" fmla="*/ 38 w 51"/>
                  <a:gd name="T47" fmla="*/ 71 h 78"/>
                  <a:gd name="T48" fmla="*/ 48 w 51"/>
                  <a:gd name="T49" fmla="*/ 76 h 78"/>
                  <a:gd name="T50" fmla="*/ 48 w 51"/>
                  <a:gd name="T51" fmla="*/ 68 h 78"/>
                  <a:gd name="T52" fmla="*/ 48 w 51"/>
                  <a:gd name="T53" fmla="*/ 61 h 78"/>
                  <a:gd name="T54" fmla="*/ 47 w 51"/>
                  <a:gd name="T55" fmla="*/ 51 h 78"/>
                  <a:gd name="T56" fmla="*/ 40 w 51"/>
                  <a:gd name="T57" fmla="*/ 35 h 78"/>
                  <a:gd name="T58" fmla="*/ 36 w 51"/>
                  <a:gd name="T59" fmla="*/ 23 h 78"/>
                  <a:gd name="T60" fmla="*/ 31 w 51"/>
                  <a:gd name="T61" fmla="*/ 21 h 78"/>
                  <a:gd name="T62" fmla="*/ 24 w 51"/>
                  <a:gd name="T63" fmla="*/ 18 h 78"/>
                  <a:gd name="T64" fmla="*/ 20 w 51"/>
                  <a:gd name="T65" fmla="*/ 13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1" h="78">
                    <a:moveTo>
                      <a:pt x="20" y="13"/>
                    </a:moveTo>
                    <a:lnTo>
                      <a:pt x="15" y="10"/>
                    </a:lnTo>
                    <a:lnTo>
                      <a:pt x="13" y="8"/>
                    </a:lnTo>
                    <a:lnTo>
                      <a:pt x="12" y="4"/>
                    </a:lnTo>
                    <a:lnTo>
                      <a:pt x="9" y="5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0" y="1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3" y="10"/>
                    </a:lnTo>
                    <a:lnTo>
                      <a:pt x="10" y="11"/>
                    </a:lnTo>
                    <a:lnTo>
                      <a:pt x="7" y="13"/>
                    </a:lnTo>
                    <a:lnTo>
                      <a:pt x="3" y="13"/>
                    </a:lnTo>
                    <a:lnTo>
                      <a:pt x="2" y="16"/>
                    </a:lnTo>
                    <a:lnTo>
                      <a:pt x="3" y="18"/>
                    </a:lnTo>
                    <a:lnTo>
                      <a:pt x="2" y="22"/>
                    </a:lnTo>
                    <a:lnTo>
                      <a:pt x="3" y="23"/>
                    </a:lnTo>
                    <a:lnTo>
                      <a:pt x="6" y="22"/>
                    </a:lnTo>
                    <a:lnTo>
                      <a:pt x="7" y="25"/>
                    </a:lnTo>
                    <a:lnTo>
                      <a:pt x="9" y="24"/>
                    </a:lnTo>
                    <a:lnTo>
                      <a:pt x="10" y="28"/>
                    </a:lnTo>
                    <a:lnTo>
                      <a:pt x="12" y="30"/>
                    </a:lnTo>
                    <a:lnTo>
                      <a:pt x="15" y="28"/>
                    </a:lnTo>
                    <a:lnTo>
                      <a:pt x="11" y="33"/>
                    </a:lnTo>
                    <a:lnTo>
                      <a:pt x="13" y="37"/>
                    </a:lnTo>
                    <a:lnTo>
                      <a:pt x="15" y="37"/>
                    </a:lnTo>
                    <a:lnTo>
                      <a:pt x="15" y="33"/>
                    </a:lnTo>
                    <a:lnTo>
                      <a:pt x="19" y="33"/>
                    </a:lnTo>
                    <a:lnTo>
                      <a:pt x="18" y="37"/>
                    </a:lnTo>
                    <a:lnTo>
                      <a:pt x="16" y="39"/>
                    </a:lnTo>
                    <a:lnTo>
                      <a:pt x="16" y="42"/>
                    </a:lnTo>
                    <a:lnTo>
                      <a:pt x="17" y="41"/>
                    </a:lnTo>
                    <a:lnTo>
                      <a:pt x="18" y="45"/>
                    </a:lnTo>
                    <a:lnTo>
                      <a:pt x="23" y="44"/>
                    </a:lnTo>
                    <a:lnTo>
                      <a:pt x="23" y="47"/>
                    </a:lnTo>
                    <a:lnTo>
                      <a:pt x="24" y="48"/>
                    </a:lnTo>
                    <a:lnTo>
                      <a:pt x="26" y="51"/>
                    </a:lnTo>
                    <a:lnTo>
                      <a:pt x="24" y="54"/>
                    </a:lnTo>
                    <a:lnTo>
                      <a:pt x="28" y="57"/>
                    </a:lnTo>
                    <a:lnTo>
                      <a:pt x="30" y="55"/>
                    </a:lnTo>
                    <a:lnTo>
                      <a:pt x="31" y="57"/>
                    </a:lnTo>
                    <a:lnTo>
                      <a:pt x="34" y="57"/>
                    </a:lnTo>
                    <a:lnTo>
                      <a:pt x="30" y="62"/>
                    </a:lnTo>
                    <a:lnTo>
                      <a:pt x="35" y="68"/>
                    </a:lnTo>
                    <a:lnTo>
                      <a:pt x="37" y="69"/>
                    </a:lnTo>
                    <a:lnTo>
                      <a:pt x="38" y="71"/>
                    </a:lnTo>
                    <a:lnTo>
                      <a:pt x="47" y="78"/>
                    </a:lnTo>
                    <a:lnTo>
                      <a:pt x="48" y="76"/>
                    </a:lnTo>
                    <a:lnTo>
                      <a:pt x="51" y="77"/>
                    </a:lnTo>
                    <a:lnTo>
                      <a:pt x="48" y="68"/>
                    </a:lnTo>
                    <a:lnTo>
                      <a:pt x="49" y="64"/>
                    </a:lnTo>
                    <a:lnTo>
                      <a:pt x="48" y="61"/>
                    </a:lnTo>
                    <a:lnTo>
                      <a:pt x="49" y="54"/>
                    </a:lnTo>
                    <a:lnTo>
                      <a:pt x="47" y="51"/>
                    </a:lnTo>
                    <a:lnTo>
                      <a:pt x="40" y="45"/>
                    </a:lnTo>
                    <a:lnTo>
                      <a:pt x="40" y="35"/>
                    </a:lnTo>
                    <a:lnTo>
                      <a:pt x="36" y="30"/>
                    </a:lnTo>
                    <a:lnTo>
                      <a:pt x="36" y="23"/>
                    </a:lnTo>
                    <a:lnTo>
                      <a:pt x="35" y="22"/>
                    </a:lnTo>
                    <a:lnTo>
                      <a:pt x="31" y="21"/>
                    </a:lnTo>
                    <a:lnTo>
                      <a:pt x="27" y="18"/>
                    </a:lnTo>
                    <a:lnTo>
                      <a:pt x="24" y="18"/>
                    </a:lnTo>
                    <a:lnTo>
                      <a:pt x="21" y="16"/>
                    </a:lnTo>
                    <a:lnTo>
                      <a:pt x="20" y="1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2" name="Freeform 1106">
                <a:extLst>
                  <a:ext uri="{FF2B5EF4-FFF2-40B4-BE49-F238E27FC236}">
                    <a16:creationId xmlns:a16="http://schemas.microsoft.com/office/drawing/2014/main" id="{FEDD48CC-3214-4416-9174-FB243CFEC9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4" y="1625"/>
                <a:ext cx="23" cy="64"/>
              </a:xfrm>
              <a:custGeom>
                <a:avLst/>
                <a:gdLst>
                  <a:gd name="T0" fmla="*/ 18 w 23"/>
                  <a:gd name="T1" fmla="*/ 8 h 64"/>
                  <a:gd name="T2" fmla="*/ 14 w 23"/>
                  <a:gd name="T3" fmla="*/ 13 h 64"/>
                  <a:gd name="T4" fmla="*/ 12 w 23"/>
                  <a:gd name="T5" fmla="*/ 18 h 64"/>
                  <a:gd name="T6" fmla="*/ 9 w 23"/>
                  <a:gd name="T7" fmla="*/ 20 h 64"/>
                  <a:gd name="T8" fmla="*/ 8 w 23"/>
                  <a:gd name="T9" fmla="*/ 17 h 64"/>
                  <a:gd name="T10" fmla="*/ 7 w 23"/>
                  <a:gd name="T11" fmla="*/ 16 h 64"/>
                  <a:gd name="T12" fmla="*/ 12 w 23"/>
                  <a:gd name="T13" fmla="*/ 13 h 64"/>
                  <a:gd name="T14" fmla="*/ 14 w 23"/>
                  <a:gd name="T15" fmla="*/ 10 h 64"/>
                  <a:gd name="T16" fmla="*/ 15 w 23"/>
                  <a:gd name="T17" fmla="*/ 6 h 64"/>
                  <a:gd name="T18" fmla="*/ 14 w 23"/>
                  <a:gd name="T19" fmla="*/ 4 h 64"/>
                  <a:gd name="T20" fmla="*/ 13 w 23"/>
                  <a:gd name="T21" fmla="*/ 3 h 64"/>
                  <a:gd name="T22" fmla="*/ 11 w 23"/>
                  <a:gd name="T23" fmla="*/ 6 h 64"/>
                  <a:gd name="T24" fmla="*/ 9 w 23"/>
                  <a:gd name="T25" fmla="*/ 6 h 64"/>
                  <a:gd name="T26" fmla="*/ 10 w 23"/>
                  <a:gd name="T27" fmla="*/ 2 h 64"/>
                  <a:gd name="T28" fmla="*/ 6 w 23"/>
                  <a:gd name="T29" fmla="*/ 0 h 64"/>
                  <a:gd name="T30" fmla="*/ 1 w 23"/>
                  <a:gd name="T31" fmla="*/ 9 h 64"/>
                  <a:gd name="T32" fmla="*/ 2 w 23"/>
                  <a:gd name="T33" fmla="*/ 15 h 64"/>
                  <a:gd name="T34" fmla="*/ 0 w 23"/>
                  <a:gd name="T35" fmla="*/ 19 h 64"/>
                  <a:gd name="T36" fmla="*/ 0 w 23"/>
                  <a:gd name="T37" fmla="*/ 22 h 64"/>
                  <a:gd name="T38" fmla="*/ 3 w 23"/>
                  <a:gd name="T39" fmla="*/ 22 h 64"/>
                  <a:gd name="T40" fmla="*/ 4 w 23"/>
                  <a:gd name="T41" fmla="*/ 25 h 64"/>
                  <a:gd name="T42" fmla="*/ 5 w 23"/>
                  <a:gd name="T43" fmla="*/ 28 h 64"/>
                  <a:gd name="T44" fmla="*/ 4 w 23"/>
                  <a:gd name="T45" fmla="*/ 26 h 64"/>
                  <a:gd name="T46" fmla="*/ 1 w 23"/>
                  <a:gd name="T47" fmla="*/ 26 h 64"/>
                  <a:gd name="T48" fmla="*/ 0 w 23"/>
                  <a:gd name="T49" fmla="*/ 28 h 64"/>
                  <a:gd name="T50" fmla="*/ 3 w 23"/>
                  <a:gd name="T51" fmla="*/ 31 h 64"/>
                  <a:gd name="T52" fmla="*/ 1 w 23"/>
                  <a:gd name="T53" fmla="*/ 35 h 64"/>
                  <a:gd name="T54" fmla="*/ 3 w 23"/>
                  <a:gd name="T55" fmla="*/ 36 h 64"/>
                  <a:gd name="T56" fmla="*/ 5 w 23"/>
                  <a:gd name="T57" fmla="*/ 39 h 64"/>
                  <a:gd name="T58" fmla="*/ 2 w 23"/>
                  <a:gd name="T59" fmla="*/ 38 h 64"/>
                  <a:gd name="T60" fmla="*/ 1 w 23"/>
                  <a:gd name="T61" fmla="*/ 41 h 64"/>
                  <a:gd name="T62" fmla="*/ 2 w 23"/>
                  <a:gd name="T63" fmla="*/ 44 h 64"/>
                  <a:gd name="T64" fmla="*/ 5 w 23"/>
                  <a:gd name="T65" fmla="*/ 44 h 64"/>
                  <a:gd name="T66" fmla="*/ 4 w 23"/>
                  <a:gd name="T67" fmla="*/ 47 h 64"/>
                  <a:gd name="T68" fmla="*/ 5 w 23"/>
                  <a:gd name="T69" fmla="*/ 52 h 64"/>
                  <a:gd name="T70" fmla="*/ 9 w 23"/>
                  <a:gd name="T71" fmla="*/ 63 h 64"/>
                  <a:gd name="T72" fmla="*/ 13 w 23"/>
                  <a:gd name="T73" fmla="*/ 64 h 64"/>
                  <a:gd name="T74" fmla="*/ 14 w 23"/>
                  <a:gd name="T75" fmla="*/ 61 h 64"/>
                  <a:gd name="T76" fmla="*/ 13 w 23"/>
                  <a:gd name="T77" fmla="*/ 59 h 64"/>
                  <a:gd name="T78" fmla="*/ 11 w 23"/>
                  <a:gd name="T79" fmla="*/ 59 h 64"/>
                  <a:gd name="T80" fmla="*/ 10 w 23"/>
                  <a:gd name="T81" fmla="*/ 54 h 64"/>
                  <a:gd name="T82" fmla="*/ 9 w 23"/>
                  <a:gd name="T83" fmla="*/ 49 h 64"/>
                  <a:gd name="T84" fmla="*/ 9 w 23"/>
                  <a:gd name="T85" fmla="*/ 44 h 64"/>
                  <a:gd name="T86" fmla="*/ 8 w 23"/>
                  <a:gd name="T87" fmla="*/ 40 h 64"/>
                  <a:gd name="T88" fmla="*/ 10 w 23"/>
                  <a:gd name="T89" fmla="*/ 37 h 64"/>
                  <a:gd name="T90" fmla="*/ 14 w 23"/>
                  <a:gd name="T91" fmla="*/ 37 h 64"/>
                  <a:gd name="T92" fmla="*/ 14 w 23"/>
                  <a:gd name="T93" fmla="*/ 33 h 64"/>
                  <a:gd name="T94" fmla="*/ 11 w 23"/>
                  <a:gd name="T95" fmla="*/ 32 h 64"/>
                  <a:gd name="T96" fmla="*/ 8 w 23"/>
                  <a:gd name="T97" fmla="*/ 33 h 64"/>
                  <a:gd name="T98" fmla="*/ 6 w 23"/>
                  <a:gd name="T99" fmla="*/ 33 h 64"/>
                  <a:gd name="T100" fmla="*/ 8 w 23"/>
                  <a:gd name="T101" fmla="*/ 30 h 64"/>
                  <a:gd name="T102" fmla="*/ 11 w 23"/>
                  <a:gd name="T103" fmla="*/ 30 h 64"/>
                  <a:gd name="T104" fmla="*/ 14 w 23"/>
                  <a:gd name="T105" fmla="*/ 27 h 64"/>
                  <a:gd name="T106" fmla="*/ 14 w 23"/>
                  <a:gd name="T107" fmla="*/ 22 h 64"/>
                  <a:gd name="T108" fmla="*/ 17 w 23"/>
                  <a:gd name="T109" fmla="*/ 18 h 64"/>
                  <a:gd name="T110" fmla="*/ 18 w 23"/>
                  <a:gd name="T111" fmla="*/ 13 h 64"/>
                  <a:gd name="T112" fmla="*/ 23 w 23"/>
                  <a:gd name="T113" fmla="*/ 6 h 64"/>
                  <a:gd name="T114" fmla="*/ 21 w 23"/>
                  <a:gd name="T115" fmla="*/ 6 h 64"/>
                  <a:gd name="T116" fmla="*/ 18 w 23"/>
                  <a:gd name="T117" fmla="*/ 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" h="64">
                    <a:moveTo>
                      <a:pt x="18" y="8"/>
                    </a:moveTo>
                    <a:lnTo>
                      <a:pt x="14" y="13"/>
                    </a:lnTo>
                    <a:lnTo>
                      <a:pt x="12" y="18"/>
                    </a:lnTo>
                    <a:lnTo>
                      <a:pt x="9" y="20"/>
                    </a:lnTo>
                    <a:lnTo>
                      <a:pt x="8" y="17"/>
                    </a:lnTo>
                    <a:lnTo>
                      <a:pt x="7" y="16"/>
                    </a:lnTo>
                    <a:lnTo>
                      <a:pt x="12" y="13"/>
                    </a:lnTo>
                    <a:lnTo>
                      <a:pt x="14" y="10"/>
                    </a:lnTo>
                    <a:lnTo>
                      <a:pt x="15" y="6"/>
                    </a:lnTo>
                    <a:lnTo>
                      <a:pt x="14" y="4"/>
                    </a:lnTo>
                    <a:lnTo>
                      <a:pt x="13" y="3"/>
                    </a:lnTo>
                    <a:lnTo>
                      <a:pt x="11" y="6"/>
                    </a:lnTo>
                    <a:lnTo>
                      <a:pt x="9" y="6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1" y="9"/>
                    </a:lnTo>
                    <a:lnTo>
                      <a:pt x="2" y="15"/>
                    </a:lnTo>
                    <a:lnTo>
                      <a:pt x="0" y="19"/>
                    </a:lnTo>
                    <a:lnTo>
                      <a:pt x="0" y="22"/>
                    </a:lnTo>
                    <a:lnTo>
                      <a:pt x="3" y="22"/>
                    </a:lnTo>
                    <a:lnTo>
                      <a:pt x="4" y="25"/>
                    </a:lnTo>
                    <a:lnTo>
                      <a:pt x="5" y="28"/>
                    </a:lnTo>
                    <a:lnTo>
                      <a:pt x="4" y="26"/>
                    </a:lnTo>
                    <a:lnTo>
                      <a:pt x="1" y="26"/>
                    </a:lnTo>
                    <a:lnTo>
                      <a:pt x="0" y="28"/>
                    </a:lnTo>
                    <a:lnTo>
                      <a:pt x="3" y="31"/>
                    </a:lnTo>
                    <a:lnTo>
                      <a:pt x="1" y="35"/>
                    </a:lnTo>
                    <a:lnTo>
                      <a:pt x="3" y="36"/>
                    </a:lnTo>
                    <a:lnTo>
                      <a:pt x="5" y="39"/>
                    </a:lnTo>
                    <a:lnTo>
                      <a:pt x="2" y="38"/>
                    </a:lnTo>
                    <a:lnTo>
                      <a:pt x="1" y="41"/>
                    </a:lnTo>
                    <a:lnTo>
                      <a:pt x="2" y="44"/>
                    </a:lnTo>
                    <a:lnTo>
                      <a:pt x="5" y="44"/>
                    </a:lnTo>
                    <a:lnTo>
                      <a:pt x="4" y="47"/>
                    </a:lnTo>
                    <a:lnTo>
                      <a:pt x="5" y="52"/>
                    </a:lnTo>
                    <a:lnTo>
                      <a:pt x="9" y="63"/>
                    </a:lnTo>
                    <a:lnTo>
                      <a:pt x="13" y="64"/>
                    </a:lnTo>
                    <a:lnTo>
                      <a:pt x="14" y="61"/>
                    </a:lnTo>
                    <a:lnTo>
                      <a:pt x="13" y="59"/>
                    </a:lnTo>
                    <a:lnTo>
                      <a:pt x="11" y="59"/>
                    </a:lnTo>
                    <a:lnTo>
                      <a:pt x="10" y="54"/>
                    </a:lnTo>
                    <a:lnTo>
                      <a:pt x="9" y="49"/>
                    </a:lnTo>
                    <a:lnTo>
                      <a:pt x="9" y="44"/>
                    </a:lnTo>
                    <a:lnTo>
                      <a:pt x="8" y="40"/>
                    </a:lnTo>
                    <a:lnTo>
                      <a:pt x="10" y="37"/>
                    </a:lnTo>
                    <a:lnTo>
                      <a:pt x="14" y="37"/>
                    </a:lnTo>
                    <a:lnTo>
                      <a:pt x="14" y="33"/>
                    </a:lnTo>
                    <a:lnTo>
                      <a:pt x="11" y="32"/>
                    </a:lnTo>
                    <a:lnTo>
                      <a:pt x="8" y="33"/>
                    </a:lnTo>
                    <a:lnTo>
                      <a:pt x="6" y="33"/>
                    </a:lnTo>
                    <a:lnTo>
                      <a:pt x="8" y="30"/>
                    </a:lnTo>
                    <a:lnTo>
                      <a:pt x="11" y="30"/>
                    </a:lnTo>
                    <a:lnTo>
                      <a:pt x="14" y="27"/>
                    </a:lnTo>
                    <a:lnTo>
                      <a:pt x="14" y="22"/>
                    </a:lnTo>
                    <a:lnTo>
                      <a:pt x="17" y="18"/>
                    </a:lnTo>
                    <a:lnTo>
                      <a:pt x="18" y="13"/>
                    </a:lnTo>
                    <a:lnTo>
                      <a:pt x="23" y="6"/>
                    </a:lnTo>
                    <a:lnTo>
                      <a:pt x="21" y="6"/>
                    </a:lnTo>
                    <a:lnTo>
                      <a:pt x="18" y="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3" name="Freeform 1107">
                <a:extLst>
                  <a:ext uri="{FF2B5EF4-FFF2-40B4-BE49-F238E27FC236}">
                    <a16:creationId xmlns:a16="http://schemas.microsoft.com/office/drawing/2014/main" id="{E887FF60-0DA4-4C95-81E5-E1307C3D58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1" y="1641"/>
                <a:ext cx="5" cy="17"/>
              </a:xfrm>
              <a:custGeom>
                <a:avLst/>
                <a:gdLst>
                  <a:gd name="T0" fmla="*/ 1 w 5"/>
                  <a:gd name="T1" fmla="*/ 1 h 17"/>
                  <a:gd name="T2" fmla="*/ 1 w 5"/>
                  <a:gd name="T3" fmla="*/ 0 h 17"/>
                  <a:gd name="T4" fmla="*/ 0 w 5"/>
                  <a:gd name="T5" fmla="*/ 2 h 17"/>
                  <a:gd name="T6" fmla="*/ 0 w 5"/>
                  <a:gd name="T7" fmla="*/ 6 h 17"/>
                  <a:gd name="T8" fmla="*/ 2 w 5"/>
                  <a:gd name="T9" fmla="*/ 10 h 17"/>
                  <a:gd name="T10" fmla="*/ 2 w 5"/>
                  <a:gd name="T11" fmla="*/ 15 h 17"/>
                  <a:gd name="T12" fmla="*/ 5 w 5"/>
                  <a:gd name="T13" fmla="*/ 17 h 17"/>
                  <a:gd name="T14" fmla="*/ 5 w 5"/>
                  <a:gd name="T15" fmla="*/ 12 h 17"/>
                  <a:gd name="T16" fmla="*/ 3 w 5"/>
                  <a:gd name="T17" fmla="*/ 6 h 17"/>
                  <a:gd name="T18" fmla="*/ 1 w 5"/>
                  <a:gd name="T19" fmla="*/ 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17">
                    <a:moveTo>
                      <a:pt x="1" y="1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5"/>
                    </a:lnTo>
                    <a:lnTo>
                      <a:pt x="5" y="17"/>
                    </a:lnTo>
                    <a:lnTo>
                      <a:pt x="5" y="12"/>
                    </a:lnTo>
                    <a:lnTo>
                      <a:pt x="3" y="6"/>
                    </a:lnTo>
                    <a:lnTo>
                      <a:pt x="1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4" name="Freeform 1108">
                <a:extLst>
                  <a:ext uri="{FF2B5EF4-FFF2-40B4-BE49-F238E27FC236}">
                    <a16:creationId xmlns:a16="http://schemas.microsoft.com/office/drawing/2014/main" id="{0B83B035-9A51-45A4-BA58-57B0915323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1" y="1225"/>
                <a:ext cx="9" cy="10"/>
              </a:xfrm>
              <a:custGeom>
                <a:avLst/>
                <a:gdLst>
                  <a:gd name="T0" fmla="*/ 2 w 12"/>
                  <a:gd name="T1" fmla="*/ 13 h 13"/>
                  <a:gd name="T2" fmla="*/ 3 w 12"/>
                  <a:gd name="T3" fmla="*/ 11 h 13"/>
                  <a:gd name="T4" fmla="*/ 6 w 12"/>
                  <a:gd name="T5" fmla="*/ 9 h 13"/>
                  <a:gd name="T6" fmla="*/ 7 w 12"/>
                  <a:gd name="T7" fmla="*/ 10 h 13"/>
                  <a:gd name="T8" fmla="*/ 10 w 12"/>
                  <a:gd name="T9" fmla="*/ 9 h 13"/>
                  <a:gd name="T10" fmla="*/ 12 w 12"/>
                  <a:gd name="T11" fmla="*/ 6 h 13"/>
                  <a:gd name="T12" fmla="*/ 10 w 12"/>
                  <a:gd name="T13" fmla="*/ 4 h 13"/>
                  <a:gd name="T14" fmla="*/ 8 w 12"/>
                  <a:gd name="T15" fmla="*/ 4 h 13"/>
                  <a:gd name="T16" fmla="*/ 7 w 12"/>
                  <a:gd name="T17" fmla="*/ 1 h 13"/>
                  <a:gd name="T18" fmla="*/ 5 w 12"/>
                  <a:gd name="T19" fmla="*/ 0 h 13"/>
                  <a:gd name="T20" fmla="*/ 2 w 12"/>
                  <a:gd name="T21" fmla="*/ 3 h 13"/>
                  <a:gd name="T22" fmla="*/ 0 w 12"/>
                  <a:gd name="T23" fmla="*/ 6 h 13"/>
                  <a:gd name="T24" fmla="*/ 1 w 12"/>
                  <a:gd name="T25" fmla="*/ 8 h 13"/>
                  <a:gd name="T26" fmla="*/ 1 w 12"/>
                  <a:gd name="T27" fmla="*/ 12 h 13"/>
                  <a:gd name="T28" fmla="*/ 2 w 12"/>
                  <a:gd name="T2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" h="13">
                    <a:moveTo>
                      <a:pt x="2" y="13"/>
                    </a:moveTo>
                    <a:cubicBezTo>
                      <a:pt x="3" y="11"/>
                      <a:pt x="3" y="11"/>
                      <a:pt x="3" y="11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2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5" name="Freeform 1109">
                <a:extLst>
                  <a:ext uri="{FF2B5EF4-FFF2-40B4-BE49-F238E27FC236}">
                    <a16:creationId xmlns:a16="http://schemas.microsoft.com/office/drawing/2014/main" id="{38A50881-65B1-4726-A495-1AA3E4216F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9" y="938"/>
                <a:ext cx="140" cy="133"/>
              </a:xfrm>
              <a:custGeom>
                <a:avLst/>
                <a:gdLst>
                  <a:gd name="T0" fmla="*/ 9 w 140"/>
                  <a:gd name="T1" fmla="*/ 96 h 133"/>
                  <a:gd name="T2" fmla="*/ 10 w 140"/>
                  <a:gd name="T3" fmla="*/ 106 h 133"/>
                  <a:gd name="T4" fmla="*/ 10 w 140"/>
                  <a:gd name="T5" fmla="*/ 118 h 133"/>
                  <a:gd name="T6" fmla="*/ 7 w 140"/>
                  <a:gd name="T7" fmla="*/ 132 h 133"/>
                  <a:gd name="T8" fmla="*/ 13 w 140"/>
                  <a:gd name="T9" fmla="*/ 130 h 133"/>
                  <a:gd name="T10" fmla="*/ 23 w 140"/>
                  <a:gd name="T11" fmla="*/ 128 h 133"/>
                  <a:gd name="T12" fmla="*/ 28 w 140"/>
                  <a:gd name="T13" fmla="*/ 121 h 133"/>
                  <a:gd name="T14" fmla="*/ 32 w 140"/>
                  <a:gd name="T15" fmla="*/ 125 h 133"/>
                  <a:gd name="T16" fmla="*/ 34 w 140"/>
                  <a:gd name="T17" fmla="*/ 130 h 133"/>
                  <a:gd name="T18" fmla="*/ 44 w 140"/>
                  <a:gd name="T19" fmla="*/ 124 h 133"/>
                  <a:gd name="T20" fmla="*/ 51 w 140"/>
                  <a:gd name="T21" fmla="*/ 113 h 133"/>
                  <a:gd name="T22" fmla="*/ 59 w 140"/>
                  <a:gd name="T23" fmla="*/ 105 h 133"/>
                  <a:gd name="T24" fmla="*/ 63 w 140"/>
                  <a:gd name="T25" fmla="*/ 102 h 133"/>
                  <a:gd name="T26" fmla="*/ 74 w 140"/>
                  <a:gd name="T27" fmla="*/ 97 h 133"/>
                  <a:gd name="T28" fmla="*/ 79 w 140"/>
                  <a:gd name="T29" fmla="*/ 89 h 133"/>
                  <a:gd name="T30" fmla="*/ 87 w 140"/>
                  <a:gd name="T31" fmla="*/ 82 h 133"/>
                  <a:gd name="T32" fmla="*/ 95 w 140"/>
                  <a:gd name="T33" fmla="*/ 82 h 133"/>
                  <a:gd name="T34" fmla="*/ 106 w 140"/>
                  <a:gd name="T35" fmla="*/ 77 h 133"/>
                  <a:gd name="T36" fmla="*/ 123 w 140"/>
                  <a:gd name="T37" fmla="*/ 72 h 133"/>
                  <a:gd name="T38" fmla="*/ 137 w 140"/>
                  <a:gd name="T39" fmla="*/ 68 h 133"/>
                  <a:gd name="T40" fmla="*/ 139 w 140"/>
                  <a:gd name="T41" fmla="*/ 58 h 133"/>
                  <a:gd name="T42" fmla="*/ 138 w 140"/>
                  <a:gd name="T43" fmla="*/ 49 h 133"/>
                  <a:gd name="T44" fmla="*/ 137 w 140"/>
                  <a:gd name="T45" fmla="*/ 32 h 133"/>
                  <a:gd name="T46" fmla="*/ 130 w 140"/>
                  <a:gd name="T47" fmla="*/ 21 h 133"/>
                  <a:gd name="T48" fmla="*/ 120 w 140"/>
                  <a:gd name="T49" fmla="*/ 25 h 133"/>
                  <a:gd name="T50" fmla="*/ 114 w 140"/>
                  <a:gd name="T51" fmla="*/ 31 h 133"/>
                  <a:gd name="T52" fmla="*/ 116 w 140"/>
                  <a:gd name="T53" fmla="*/ 20 h 133"/>
                  <a:gd name="T54" fmla="*/ 113 w 140"/>
                  <a:gd name="T55" fmla="*/ 20 h 133"/>
                  <a:gd name="T56" fmla="*/ 104 w 140"/>
                  <a:gd name="T57" fmla="*/ 8 h 133"/>
                  <a:gd name="T58" fmla="*/ 95 w 140"/>
                  <a:gd name="T59" fmla="*/ 0 h 133"/>
                  <a:gd name="T60" fmla="*/ 77 w 140"/>
                  <a:gd name="T61" fmla="*/ 2 h 133"/>
                  <a:gd name="T62" fmla="*/ 62 w 140"/>
                  <a:gd name="T63" fmla="*/ 3 h 133"/>
                  <a:gd name="T64" fmla="*/ 61 w 140"/>
                  <a:gd name="T65" fmla="*/ 11 h 133"/>
                  <a:gd name="T66" fmla="*/ 62 w 140"/>
                  <a:gd name="T67" fmla="*/ 26 h 133"/>
                  <a:gd name="T68" fmla="*/ 53 w 140"/>
                  <a:gd name="T69" fmla="*/ 33 h 133"/>
                  <a:gd name="T70" fmla="*/ 44 w 140"/>
                  <a:gd name="T71" fmla="*/ 44 h 133"/>
                  <a:gd name="T72" fmla="*/ 34 w 140"/>
                  <a:gd name="T73" fmla="*/ 52 h 133"/>
                  <a:gd name="T74" fmla="*/ 28 w 140"/>
                  <a:gd name="T75" fmla="*/ 61 h 133"/>
                  <a:gd name="T76" fmla="*/ 24 w 140"/>
                  <a:gd name="T77" fmla="*/ 69 h 133"/>
                  <a:gd name="T78" fmla="*/ 16 w 140"/>
                  <a:gd name="T79" fmla="*/ 73 h 133"/>
                  <a:gd name="T80" fmla="*/ 10 w 140"/>
                  <a:gd name="T81" fmla="*/ 82 h 133"/>
                  <a:gd name="T82" fmla="*/ 5 w 140"/>
                  <a:gd name="T83" fmla="*/ 86 h 133"/>
                  <a:gd name="T84" fmla="*/ 0 w 140"/>
                  <a:gd name="T85" fmla="*/ 91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40" h="133">
                    <a:moveTo>
                      <a:pt x="5" y="93"/>
                    </a:moveTo>
                    <a:lnTo>
                      <a:pt x="9" y="93"/>
                    </a:lnTo>
                    <a:lnTo>
                      <a:pt x="9" y="96"/>
                    </a:lnTo>
                    <a:lnTo>
                      <a:pt x="6" y="95"/>
                    </a:lnTo>
                    <a:lnTo>
                      <a:pt x="9" y="104"/>
                    </a:lnTo>
                    <a:lnTo>
                      <a:pt x="10" y="106"/>
                    </a:lnTo>
                    <a:lnTo>
                      <a:pt x="10" y="109"/>
                    </a:lnTo>
                    <a:lnTo>
                      <a:pt x="9" y="114"/>
                    </a:lnTo>
                    <a:lnTo>
                      <a:pt x="10" y="118"/>
                    </a:lnTo>
                    <a:lnTo>
                      <a:pt x="8" y="123"/>
                    </a:lnTo>
                    <a:lnTo>
                      <a:pt x="8" y="130"/>
                    </a:lnTo>
                    <a:lnTo>
                      <a:pt x="7" y="132"/>
                    </a:lnTo>
                    <a:lnTo>
                      <a:pt x="9" y="132"/>
                    </a:lnTo>
                    <a:lnTo>
                      <a:pt x="11" y="133"/>
                    </a:lnTo>
                    <a:lnTo>
                      <a:pt x="13" y="130"/>
                    </a:lnTo>
                    <a:lnTo>
                      <a:pt x="16" y="129"/>
                    </a:lnTo>
                    <a:lnTo>
                      <a:pt x="19" y="130"/>
                    </a:lnTo>
                    <a:lnTo>
                      <a:pt x="23" y="128"/>
                    </a:lnTo>
                    <a:lnTo>
                      <a:pt x="26" y="123"/>
                    </a:lnTo>
                    <a:lnTo>
                      <a:pt x="28" y="123"/>
                    </a:lnTo>
                    <a:lnTo>
                      <a:pt x="28" y="121"/>
                    </a:lnTo>
                    <a:lnTo>
                      <a:pt x="30" y="119"/>
                    </a:lnTo>
                    <a:lnTo>
                      <a:pt x="32" y="120"/>
                    </a:lnTo>
                    <a:lnTo>
                      <a:pt x="32" y="125"/>
                    </a:lnTo>
                    <a:lnTo>
                      <a:pt x="30" y="127"/>
                    </a:lnTo>
                    <a:lnTo>
                      <a:pt x="32" y="130"/>
                    </a:lnTo>
                    <a:lnTo>
                      <a:pt x="34" y="130"/>
                    </a:lnTo>
                    <a:lnTo>
                      <a:pt x="37" y="127"/>
                    </a:lnTo>
                    <a:lnTo>
                      <a:pt x="42" y="128"/>
                    </a:lnTo>
                    <a:lnTo>
                      <a:pt x="44" y="124"/>
                    </a:lnTo>
                    <a:lnTo>
                      <a:pt x="48" y="120"/>
                    </a:lnTo>
                    <a:lnTo>
                      <a:pt x="48" y="117"/>
                    </a:lnTo>
                    <a:lnTo>
                      <a:pt x="51" y="113"/>
                    </a:lnTo>
                    <a:lnTo>
                      <a:pt x="52" y="110"/>
                    </a:lnTo>
                    <a:lnTo>
                      <a:pt x="55" y="106"/>
                    </a:lnTo>
                    <a:lnTo>
                      <a:pt x="59" y="105"/>
                    </a:lnTo>
                    <a:lnTo>
                      <a:pt x="59" y="101"/>
                    </a:lnTo>
                    <a:lnTo>
                      <a:pt x="61" y="97"/>
                    </a:lnTo>
                    <a:lnTo>
                      <a:pt x="63" y="102"/>
                    </a:lnTo>
                    <a:lnTo>
                      <a:pt x="67" y="102"/>
                    </a:lnTo>
                    <a:lnTo>
                      <a:pt x="70" y="99"/>
                    </a:lnTo>
                    <a:lnTo>
                      <a:pt x="74" y="97"/>
                    </a:lnTo>
                    <a:lnTo>
                      <a:pt x="75" y="92"/>
                    </a:lnTo>
                    <a:lnTo>
                      <a:pt x="76" y="92"/>
                    </a:lnTo>
                    <a:lnTo>
                      <a:pt x="79" y="89"/>
                    </a:lnTo>
                    <a:lnTo>
                      <a:pt x="80" y="85"/>
                    </a:lnTo>
                    <a:lnTo>
                      <a:pt x="85" y="84"/>
                    </a:lnTo>
                    <a:lnTo>
                      <a:pt x="87" y="82"/>
                    </a:lnTo>
                    <a:lnTo>
                      <a:pt x="89" y="85"/>
                    </a:lnTo>
                    <a:lnTo>
                      <a:pt x="90" y="83"/>
                    </a:lnTo>
                    <a:lnTo>
                      <a:pt x="95" y="82"/>
                    </a:lnTo>
                    <a:lnTo>
                      <a:pt x="98" y="80"/>
                    </a:lnTo>
                    <a:lnTo>
                      <a:pt x="100" y="80"/>
                    </a:lnTo>
                    <a:lnTo>
                      <a:pt x="106" y="77"/>
                    </a:lnTo>
                    <a:lnTo>
                      <a:pt x="112" y="76"/>
                    </a:lnTo>
                    <a:lnTo>
                      <a:pt x="120" y="72"/>
                    </a:lnTo>
                    <a:lnTo>
                      <a:pt x="123" y="72"/>
                    </a:lnTo>
                    <a:lnTo>
                      <a:pt x="130" y="72"/>
                    </a:lnTo>
                    <a:lnTo>
                      <a:pt x="132" y="70"/>
                    </a:lnTo>
                    <a:lnTo>
                      <a:pt x="137" y="68"/>
                    </a:lnTo>
                    <a:lnTo>
                      <a:pt x="140" y="65"/>
                    </a:lnTo>
                    <a:lnTo>
                      <a:pt x="139" y="61"/>
                    </a:lnTo>
                    <a:lnTo>
                      <a:pt x="139" y="58"/>
                    </a:lnTo>
                    <a:lnTo>
                      <a:pt x="137" y="56"/>
                    </a:lnTo>
                    <a:lnTo>
                      <a:pt x="138" y="54"/>
                    </a:lnTo>
                    <a:lnTo>
                      <a:pt x="138" y="49"/>
                    </a:lnTo>
                    <a:lnTo>
                      <a:pt x="137" y="44"/>
                    </a:lnTo>
                    <a:lnTo>
                      <a:pt x="137" y="40"/>
                    </a:lnTo>
                    <a:lnTo>
                      <a:pt x="137" y="32"/>
                    </a:lnTo>
                    <a:lnTo>
                      <a:pt x="132" y="25"/>
                    </a:lnTo>
                    <a:lnTo>
                      <a:pt x="131" y="22"/>
                    </a:lnTo>
                    <a:lnTo>
                      <a:pt x="130" y="21"/>
                    </a:lnTo>
                    <a:lnTo>
                      <a:pt x="126" y="23"/>
                    </a:lnTo>
                    <a:lnTo>
                      <a:pt x="122" y="23"/>
                    </a:lnTo>
                    <a:lnTo>
                      <a:pt x="120" y="25"/>
                    </a:lnTo>
                    <a:lnTo>
                      <a:pt x="120" y="29"/>
                    </a:lnTo>
                    <a:lnTo>
                      <a:pt x="114" y="33"/>
                    </a:lnTo>
                    <a:lnTo>
                      <a:pt x="114" y="31"/>
                    </a:lnTo>
                    <a:lnTo>
                      <a:pt x="118" y="26"/>
                    </a:lnTo>
                    <a:lnTo>
                      <a:pt x="119" y="22"/>
                    </a:lnTo>
                    <a:lnTo>
                      <a:pt x="116" y="20"/>
                    </a:lnTo>
                    <a:lnTo>
                      <a:pt x="113" y="21"/>
                    </a:lnTo>
                    <a:lnTo>
                      <a:pt x="112" y="22"/>
                    </a:lnTo>
                    <a:lnTo>
                      <a:pt x="113" y="20"/>
                    </a:lnTo>
                    <a:lnTo>
                      <a:pt x="113" y="16"/>
                    </a:lnTo>
                    <a:lnTo>
                      <a:pt x="106" y="12"/>
                    </a:lnTo>
                    <a:lnTo>
                      <a:pt x="104" y="8"/>
                    </a:lnTo>
                    <a:lnTo>
                      <a:pt x="102" y="6"/>
                    </a:lnTo>
                    <a:lnTo>
                      <a:pt x="102" y="3"/>
                    </a:lnTo>
                    <a:lnTo>
                      <a:pt x="95" y="0"/>
                    </a:lnTo>
                    <a:lnTo>
                      <a:pt x="89" y="3"/>
                    </a:lnTo>
                    <a:lnTo>
                      <a:pt x="79" y="3"/>
                    </a:lnTo>
                    <a:lnTo>
                      <a:pt x="77" y="2"/>
                    </a:lnTo>
                    <a:lnTo>
                      <a:pt x="68" y="3"/>
                    </a:lnTo>
                    <a:lnTo>
                      <a:pt x="66" y="2"/>
                    </a:lnTo>
                    <a:lnTo>
                      <a:pt x="62" y="3"/>
                    </a:lnTo>
                    <a:lnTo>
                      <a:pt x="61" y="6"/>
                    </a:lnTo>
                    <a:lnTo>
                      <a:pt x="62" y="8"/>
                    </a:lnTo>
                    <a:lnTo>
                      <a:pt x="61" y="11"/>
                    </a:lnTo>
                    <a:lnTo>
                      <a:pt x="61" y="16"/>
                    </a:lnTo>
                    <a:lnTo>
                      <a:pt x="60" y="23"/>
                    </a:lnTo>
                    <a:lnTo>
                      <a:pt x="62" y="26"/>
                    </a:lnTo>
                    <a:lnTo>
                      <a:pt x="60" y="29"/>
                    </a:lnTo>
                    <a:lnTo>
                      <a:pt x="57" y="29"/>
                    </a:lnTo>
                    <a:lnTo>
                      <a:pt x="53" y="33"/>
                    </a:lnTo>
                    <a:lnTo>
                      <a:pt x="52" y="36"/>
                    </a:lnTo>
                    <a:lnTo>
                      <a:pt x="46" y="38"/>
                    </a:lnTo>
                    <a:lnTo>
                      <a:pt x="44" y="44"/>
                    </a:lnTo>
                    <a:lnTo>
                      <a:pt x="37" y="49"/>
                    </a:lnTo>
                    <a:lnTo>
                      <a:pt x="34" y="50"/>
                    </a:lnTo>
                    <a:lnTo>
                      <a:pt x="34" y="52"/>
                    </a:lnTo>
                    <a:lnTo>
                      <a:pt x="36" y="58"/>
                    </a:lnTo>
                    <a:lnTo>
                      <a:pt x="36" y="62"/>
                    </a:lnTo>
                    <a:lnTo>
                      <a:pt x="28" y="61"/>
                    </a:lnTo>
                    <a:lnTo>
                      <a:pt x="27" y="59"/>
                    </a:lnTo>
                    <a:lnTo>
                      <a:pt x="26" y="65"/>
                    </a:lnTo>
                    <a:lnTo>
                      <a:pt x="24" y="69"/>
                    </a:lnTo>
                    <a:lnTo>
                      <a:pt x="23" y="70"/>
                    </a:lnTo>
                    <a:lnTo>
                      <a:pt x="22" y="72"/>
                    </a:lnTo>
                    <a:lnTo>
                      <a:pt x="16" y="73"/>
                    </a:lnTo>
                    <a:lnTo>
                      <a:pt x="15" y="78"/>
                    </a:lnTo>
                    <a:lnTo>
                      <a:pt x="12" y="78"/>
                    </a:lnTo>
                    <a:lnTo>
                      <a:pt x="10" y="82"/>
                    </a:lnTo>
                    <a:lnTo>
                      <a:pt x="9" y="82"/>
                    </a:lnTo>
                    <a:lnTo>
                      <a:pt x="9" y="84"/>
                    </a:lnTo>
                    <a:lnTo>
                      <a:pt x="5" y="86"/>
                    </a:lnTo>
                    <a:lnTo>
                      <a:pt x="2" y="89"/>
                    </a:lnTo>
                    <a:lnTo>
                      <a:pt x="0" y="88"/>
                    </a:lnTo>
                    <a:lnTo>
                      <a:pt x="0" y="91"/>
                    </a:lnTo>
                    <a:lnTo>
                      <a:pt x="5" y="9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6" name="Freeform 1110">
                <a:extLst>
                  <a:ext uri="{FF2B5EF4-FFF2-40B4-BE49-F238E27FC236}">
                    <a16:creationId xmlns:a16="http://schemas.microsoft.com/office/drawing/2014/main" id="{18F551C8-846F-42FE-A4AE-4AECDECAFA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5" y="806"/>
                <a:ext cx="107" cy="72"/>
              </a:xfrm>
              <a:custGeom>
                <a:avLst/>
                <a:gdLst>
                  <a:gd name="T0" fmla="*/ 3 w 107"/>
                  <a:gd name="T1" fmla="*/ 49 h 72"/>
                  <a:gd name="T2" fmla="*/ 0 w 107"/>
                  <a:gd name="T3" fmla="*/ 55 h 72"/>
                  <a:gd name="T4" fmla="*/ 6 w 107"/>
                  <a:gd name="T5" fmla="*/ 57 h 72"/>
                  <a:gd name="T6" fmla="*/ 11 w 107"/>
                  <a:gd name="T7" fmla="*/ 55 h 72"/>
                  <a:gd name="T8" fmla="*/ 16 w 107"/>
                  <a:gd name="T9" fmla="*/ 64 h 72"/>
                  <a:gd name="T10" fmla="*/ 18 w 107"/>
                  <a:gd name="T11" fmla="*/ 59 h 72"/>
                  <a:gd name="T12" fmla="*/ 25 w 107"/>
                  <a:gd name="T13" fmla="*/ 52 h 72"/>
                  <a:gd name="T14" fmla="*/ 23 w 107"/>
                  <a:gd name="T15" fmla="*/ 58 h 72"/>
                  <a:gd name="T16" fmla="*/ 21 w 107"/>
                  <a:gd name="T17" fmla="*/ 66 h 72"/>
                  <a:gd name="T18" fmla="*/ 22 w 107"/>
                  <a:gd name="T19" fmla="*/ 69 h 72"/>
                  <a:gd name="T20" fmla="*/ 25 w 107"/>
                  <a:gd name="T21" fmla="*/ 72 h 72"/>
                  <a:gd name="T22" fmla="*/ 33 w 107"/>
                  <a:gd name="T23" fmla="*/ 66 h 72"/>
                  <a:gd name="T24" fmla="*/ 36 w 107"/>
                  <a:gd name="T25" fmla="*/ 59 h 72"/>
                  <a:gd name="T26" fmla="*/ 40 w 107"/>
                  <a:gd name="T27" fmla="*/ 52 h 72"/>
                  <a:gd name="T28" fmla="*/ 41 w 107"/>
                  <a:gd name="T29" fmla="*/ 58 h 72"/>
                  <a:gd name="T30" fmla="*/ 42 w 107"/>
                  <a:gd name="T31" fmla="*/ 65 h 72"/>
                  <a:gd name="T32" fmla="*/ 46 w 107"/>
                  <a:gd name="T33" fmla="*/ 56 h 72"/>
                  <a:gd name="T34" fmla="*/ 51 w 107"/>
                  <a:gd name="T35" fmla="*/ 47 h 72"/>
                  <a:gd name="T36" fmla="*/ 54 w 107"/>
                  <a:gd name="T37" fmla="*/ 45 h 72"/>
                  <a:gd name="T38" fmla="*/ 60 w 107"/>
                  <a:gd name="T39" fmla="*/ 33 h 72"/>
                  <a:gd name="T40" fmla="*/ 66 w 107"/>
                  <a:gd name="T41" fmla="*/ 33 h 72"/>
                  <a:gd name="T42" fmla="*/ 69 w 107"/>
                  <a:gd name="T43" fmla="*/ 38 h 72"/>
                  <a:gd name="T44" fmla="*/ 63 w 107"/>
                  <a:gd name="T45" fmla="*/ 48 h 72"/>
                  <a:gd name="T46" fmla="*/ 56 w 107"/>
                  <a:gd name="T47" fmla="*/ 57 h 72"/>
                  <a:gd name="T48" fmla="*/ 57 w 107"/>
                  <a:gd name="T49" fmla="*/ 65 h 72"/>
                  <a:gd name="T50" fmla="*/ 63 w 107"/>
                  <a:gd name="T51" fmla="*/ 65 h 72"/>
                  <a:gd name="T52" fmla="*/ 66 w 107"/>
                  <a:gd name="T53" fmla="*/ 58 h 72"/>
                  <a:gd name="T54" fmla="*/ 73 w 107"/>
                  <a:gd name="T55" fmla="*/ 52 h 72"/>
                  <a:gd name="T56" fmla="*/ 77 w 107"/>
                  <a:gd name="T57" fmla="*/ 53 h 72"/>
                  <a:gd name="T58" fmla="*/ 85 w 107"/>
                  <a:gd name="T59" fmla="*/ 48 h 72"/>
                  <a:gd name="T60" fmla="*/ 89 w 107"/>
                  <a:gd name="T61" fmla="*/ 34 h 72"/>
                  <a:gd name="T62" fmla="*/ 94 w 107"/>
                  <a:gd name="T63" fmla="*/ 38 h 72"/>
                  <a:gd name="T64" fmla="*/ 93 w 107"/>
                  <a:gd name="T65" fmla="*/ 29 h 72"/>
                  <a:gd name="T66" fmla="*/ 98 w 107"/>
                  <a:gd name="T67" fmla="*/ 23 h 72"/>
                  <a:gd name="T68" fmla="*/ 105 w 107"/>
                  <a:gd name="T69" fmla="*/ 22 h 72"/>
                  <a:gd name="T70" fmla="*/ 106 w 107"/>
                  <a:gd name="T71" fmla="*/ 9 h 72"/>
                  <a:gd name="T72" fmla="*/ 106 w 107"/>
                  <a:gd name="T73" fmla="*/ 1 h 72"/>
                  <a:gd name="T74" fmla="*/ 99 w 107"/>
                  <a:gd name="T75" fmla="*/ 3 h 72"/>
                  <a:gd name="T76" fmla="*/ 99 w 107"/>
                  <a:gd name="T77" fmla="*/ 13 h 72"/>
                  <a:gd name="T78" fmla="*/ 95 w 107"/>
                  <a:gd name="T79" fmla="*/ 10 h 72"/>
                  <a:gd name="T80" fmla="*/ 92 w 107"/>
                  <a:gd name="T81" fmla="*/ 11 h 72"/>
                  <a:gd name="T82" fmla="*/ 87 w 107"/>
                  <a:gd name="T83" fmla="*/ 3 h 72"/>
                  <a:gd name="T84" fmla="*/ 80 w 107"/>
                  <a:gd name="T85" fmla="*/ 3 h 72"/>
                  <a:gd name="T86" fmla="*/ 70 w 107"/>
                  <a:gd name="T87" fmla="*/ 4 h 72"/>
                  <a:gd name="T88" fmla="*/ 66 w 107"/>
                  <a:gd name="T89" fmla="*/ 9 h 72"/>
                  <a:gd name="T90" fmla="*/ 56 w 107"/>
                  <a:gd name="T91" fmla="*/ 17 h 72"/>
                  <a:gd name="T92" fmla="*/ 47 w 107"/>
                  <a:gd name="T93" fmla="*/ 21 h 72"/>
                  <a:gd name="T94" fmla="*/ 40 w 107"/>
                  <a:gd name="T95" fmla="*/ 26 h 72"/>
                  <a:gd name="T96" fmla="*/ 35 w 107"/>
                  <a:gd name="T97" fmla="*/ 28 h 72"/>
                  <a:gd name="T98" fmla="*/ 25 w 107"/>
                  <a:gd name="T99" fmla="*/ 34 h 72"/>
                  <a:gd name="T100" fmla="*/ 12 w 107"/>
                  <a:gd name="T101" fmla="*/ 36 h 72"/>
                  <a:gd name="T102" fmla="*/ 4 w 107"/>
                  <a:gd name="T103" fmla="*/ 42 h 72"/>
                  <a:gd name="T104" fmla="*/ 6 w 107"/>
                  <a:gd name="T105" fmla="*/ 47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7" h="72">
                    <a:moveTo>
                      <a:pt x="6" y="47"/>
                    </a:moveTo>
                    <a:lnTo>
                      <a:pt x="4" y="48"/>
                    </a:lnTo>
                    <a:lnTo>
                      <a:pt x="3" y="49"/>
                    </a:lnTo>
                    <a:lnTo>
                      <a:pt x="4" y="51"/>
                    </a:lnTo>
                    <a:lnTo>
                      <a:pt x="4" y="53"/>
                    </a:lnTo>
                    <a:lnTo>
                      <a:pt x="0" y="55"/>
                    </a:lnTo>
                    <a:lnTo>
                      <a:pt x="0" y="56"/>
                    </a:lnTo>
                    <a:lnTo>
                      <a:pt x="3" y="58"/>
                    </a:lnTo>
                    <a:lnTo>
                      <a:pt x="6" y="57"/>
                    </a:lnTo>
                    <a:lnTo>
                      <a:pt x="7" y="54"/>
                    </a:lnTo>
                    <a:lnTo>
                      <a:pt x="9" y="53"/>
                    </a:lnTo>
                    <a:lnTo>
                      <a:pt x="11" y="55"/>
                    </a:lnTo>
                    <a:lnTo>
                      <a:pt x="14" y="59"/>
                    </a:lnTo>
                    <a:lnTo>
                      <a:pt x="14" y="63"/>
                    </a:lnTo>
                    <a:lnTo>
                      <a:pt x="16" y="64"/>
                    </a:lnTo>
                    <a:lnTo>
                      <a:pt x="18" y="63"/>
                    </a:lnTo>
                    <a:lnTo>
                      <a:pt x="18" y="59"/>
                    </a:lnTo>
                    <a:lnTo>
                      <a:pt x="18" y="59"/>
                    </a:lnTo>
                    <a:lnTo>
                      <a:pt x="19" y="55"/>
                    </a:lnTo>
                    <a:lnTo>
                      <a:pt x="21" y="55"/>
                    </a:lnTo>
                    <a:lnTo>
                      <a:pt x="25" y="52"/>
                    </a:lnTo>
                    <a:lnTo>
                      <a:pt x="25" y="53"/>
                    </a:lnTo>
                    <a:lnTo>
                      <a:pt x="25" y="56"/>
                    </a:lnTo>
                    <a:lnTo>
                      <a:pt x="23" y="58"/>
                    </a:lnTo>
                    <a:lnTo>
                      <a:pt x="21" y="62"/>
                    </a:lnTo>
                    <a:lnTo>
                      <a:pt x="22" y="65"/>
                    </a:lnTo>
                    <a:lnTo>
                      <a:pt x="21" y="66"/>
                    </a:lnTo>
                    <a:lnTo>
                      <a:pt x="20" y="69"/>
                    </a:lnTo>
                    <a:lnTo>
                      <a:pt x="21" y="71"/>
                    </a:lnTo>
                    <a:lnTo>
                      <a:pt x="22" y="69"/>
                    </a:lnTo>
                    <a:lnTo>
                      <a:pt x="24" y="70"/>
                    </a:lnTo>
                    <a:lnTo>
                      <a:pt x="25" y="72"/>
                    </a:lnTo>
                    <a:lnTo>
                      <a:pt x="25" y="72"/>
                    </a:lnTo>
                    <a:lnTo>
                      <a:pt x="30" y="69"/>
                    </a:lnTo>
                    <a:lnTo>
                      <a:pt x="32" y="66"/>
                    </a:lnTo>
                    <a:lnTo>
                      <a:pt x="33" y="66"/>
                    </a:lnTo>
                    <a:lnTo>
                      <a:pt x="35" y="63"/>
                    </a:lnTo>
                    <a:lnTo>
                      <a:pt x="35" y="60"/>
                    </a:lnTo>
                    <a:lnTo>
                      <a:pt x="36" y="59"/>
                    </a:lnTo>
                    <a:lnTo>
                      <a:pt x="39" y="57"/>
                    </a:lnTo>
                    <a:lnTo>
                      <a:pt x="39" y="53"/>
                    </a:lnTo>
                    <a:lnTo>
                      <a:pt x="40" y="52"/>
                    </a:lnTo>
                    <a:lnTo>
                      <a:pt x="41" y="52"/>
                    </a:lnTo>
                    <a:lnTo>
                      <a:pt x="40" y="55"/>
                    </a:lnTo>
                    <a:lnTo>
                      <a:pt x="41" y="58"/>
                    </a:lnTo>
                    <a:lnTo>
                      <a:pt x="40" y="62"/>
                    </a:lnTo>
                    <a:lnTo>
                      <a:pt x="41" y="65"/>
                    </a:lnTo>
                    <a:lnTo>
                      <a:pt x="42" y="65"/>
                    </a:lnTo>
                    <a:lnTo>
                      <a:pt x="45" y="62"/>
                    </a:lnTo>
                    <a:lnTo>
                      <a:pt x="45" y="58"/>
                    </a:lnTo>
                    <a:lnTo>
                      <a:pt x="46" y="56"/>
                    </a:lnTo>
                    <a:lnTo>
                      <a:pt x="48" y="55"/>
                    </a:lnTo>
                    <a:lnTo>
                      <a:pt x="51" y="51"/>
                    </a:lnTo>
                    <a:lnTo>
                      <a:pt x="51" y="47"/>
                    </a:lnTo>
                    <a:lnTo>
                      <a:pt x="51" y="44"/>
                    </a:lnTo>
                    <a:lnTo>
                      <a:pt x="52" y="41"/>
                    </a:lnTo>
                    <a:lnTo>
                      <a:pt x="54" y="45"/>
                    </a:lnTo>
                    <a:lnTo>
                      <a:pt x="59" y="41"/>
                    </a:lnTo>
                    <a:lnTo>
                      <a:pt x="60" y="36"/>
                    </a:lnTo>
                    <a:lnTo>
                      <a:pt x="60" y="33"/>
                    </a:lnTo>
                    <a:lnTo>
                      <a:pt x="63" y="32"/>
                    </a:lnTo>
                    <a:lnTo>
                      <a:pt x="64" y="31"/>
                    </a:lnTo>
                    <a:lnTo>
                      <a:pt x="66" y="33"/>
                    </a:lnTo>
                    <a:lnTo>
                      <a:pt x="69" y="30"/>
                    </a:lnTo>
                    <a:lnTo>
                      <a:pt x="70" y="31"/>
                    </a:lnTo>
                    <a:lnTo>
                      <a:pt x="69" y="38"/>
                    </a:lnTo>
                    <a:lnTo>
                      <a:pt x="65" y="42"/>
                    </a:lnTo>
                    <a:lnTo>
                      <a:pt x="64" y="45"/>
                    </a:lnTo>
                    <a:lnTo>
                      <a:pt x="63" y="48"/>
                    </a:lnTo>
                    <a:lnTo>
                      <a:pt x="63" y="49"/>
                    </a:lnTo>
                    <a:lnTo>
                      <a:pt x="60" y="51"/>
                    </a:lnTo>
                    <a:lnTo>
                      <a:pt x="56" y="57"/>
                    </a:lnTo>
                    <a:lnTo>
                      <a:pt x="56" y="59"/>
                    </a:lnTo>
                    <a:lnTo>
                      <a:pt x="58" y="62"/>
                    </a:lnTo>
                    <a:lnTo>
                      <a:pt x="57" y="65"/>
                    </a:lnTo>
                    <a:lnTo>
                      <a:pt x="60" y="65"/>
                    </a:lnTo>
                    <a:lnTo>
                      <a:pt x="62" y="67"/>
                    </a:lnTo>
                    <a:lnTo>
                      <a:pt x="63" y="65"/>
                    </a:lnTo>
                    <a:lnTo>
                      <a:pt x="66" y="63"/>
                    </a:lnTo>
                    <a:lnTo>
                      <a:pt x="67" y="61"/>
                    </a:lnTo>
                    <a:lnTo>
                      <a:pt x="66" y="58"/>
                    </a:lnTo>
                    <a:lnTo>
                      <a:pt x="69" y="55"/>
                    </a:lnTo>
                    <a:lnTo>
                      <a:pt x="70" y="52"/>
                    </a:lnTo>
                    <a:lnTo>
                      <a:pt x="73" y="52"/>
                    </a:lnTo>
                    <a:lnTo>
                      <a:pt x="73" y="52"/>
                    </a:lnTo>
                    <a:lnTo>
                      <a:pt x="75" y="53"/>
                    </a:lnTo>
                    <a:lnTo>
                      <a:pt x="77" y="53"/>
                    </a:lnTo>
                    <a:lnTo>
                      <a:pt x="80" y="52"/>
                    </a:lnTo>
                    <a:lnTo>
                      <a:pt x="84" y="51"/>
                    </a:lnTo>
                    <a:lnTo>
                      <a:pt x="85" y="48"/>
                    </a:lnTo>
                    <a:lnTo>
                      <a:pt x="87" y="42"/>
                    </a:lnTo>
                    <a:lnTo>
                      <a:pt x="89" y="38"/>
                    </a:lnTo>
                    <a:lnTo>
                      <a:pt x="89" y="34"/>
                    </a:lnTo>
                    <a:lnTo>
                      <a:pt x="90" y="33"/>
                    </a:lnTo>
                    <a:lnTo>
                      <a:pt x="92" y="37"/>
                    </a:lnTo>
                    <a:lnTo>
                      <a:pt x="94" y="38"/>
                    </a:lnTo>
                    <a:lnTo>
                      <a:pt x="95" y="36"/>
                    </a:lnTo>
                    <a:lnTo>
                      <a:pt x="95" y="34"/>
                    </a:lnTo>
                    <a:lnTo>
                      <a:pt x="93" y="29"/>
                    </a:lnTo>
                    <a:lnTo>
                      <a:pt x="93" y="27"/>
                    </a:lnTo>
                    <a:lnTo>
                      <a:pt x="95" y="24"/>
                    </a:lnTo>
                    <a:lnTo>
                      <a:pt x="98" y="23"/>
                    </a:lnTo>
                    <a:lnTo>
                      <a:pt x="101" y="21"/>
                    </a:lnTo>
                    <a:lnTo>
                      <a:pt x="103" y="22"/>
                    </a:lnTo>
                    <a:lnTo>
                      <a:pt x="105" y="22"/>
                    </a:lnTo>
                    <a:lnTo>
                      <a:pt x="107" y="18"/>
                    </a:lnTo>
                    <a:lnTo>
                      <a:pt x="107" y="16"/>
                    </a:lnTo>
                    <a:lnTo>
                      <a:pt x="106" y="9"/>
                    </a:lnTo>
                    <a:lnTo>
                      <a:pt x="107" y="7"/>
                    </a:lnTo>
                    <a:lnTo>
                      <a:pt x="106" y="6"/>
                    </a:lnTo>
                    <a:lnTo>
                      <a:pt x="106" y="1"/>
                    </a:lnTo>
                    <a:lnTo>
                      <a:pt x="105" y="0"/>
                    </a:lnTo>
                    <a:lnTo>
                      <a:pt x="102" y="2"/>
                    </a:lnTo>
                    <a:lnTo>
                      <a:pt x="99" y="3"/>
                    </a:lnTo>
                    <a:lnTo>
                      <a:pt x="99" y="8"/>
                    </a:lnTo>
                    <a:lnTo>
                      <a:pt x="98" y="10"/>
                    </a:lnTo>
                    <a:lnTo>
                      <a:pt x="99" y="13"/>
                    </a:lnTo>
                    <a:lnTo>
                      <a:pt x="97" y="13"/>
                    </a:lnTo>
                    <a:lnTo>
                      <a:pt x="96" y="10"/>
                    </a:lnTo>
                    <a:lnTo>
                      <a:pt x="95" y="10"/>
                    </a:lnTo>
                    <a:lnTo>
                      <a:pt x="94" y="12"/>
                    </a:lnTo>
                    <a:lnTo>
                      <a:pt x="94" y="14"/>
                    </a:lnTo>
                    <a:lnTo>
                      <a:pt x="92" y="11"/>
                    </a:lnTo>
                    <a:lnTo>
                      <a:pt x="91" y="7"/>
                    </a:lnTo>
                    <a:lnTo>
                      <a:pt x="89" y="3"/>
                    </a:lnTo>
                    <a:lnTo>
                      <a:pt x="87" y="3"/>
                    </a:lnTo>
                    <a:lnTo>
                      <a:pt x="87" y="4"/>
                    </a:lnTo>
                    <a:lnTo>
                      <a:pt x="84" y="4"/>
                    </a:lnTo>
                    <a:lnTo>
                      <a:pt x="80" y="3"/>
                    </a:lnTo>
                    <a:lnTo>
                      <a:pt x="79" y="3"/>
                    </a:lnTo>
                    <a:lnTo>
                      <a:pt x="73" y="3"/>
                    </a:lnTo>
                    <a:lnTo>
                      <a:pt x="70" y="4"/>
                    </a:lnTo>
                    <a:lnTo>
                      <a:pt x="69" y="7"/>
                    </a:lnTo>
                    <a:lnTo>
                      <a:pt x="67" y="10"/>
                    </a:lnTo>
                    <a:lnTo>
                      <a:pt x="66" y="9"/>
                    </a:lnTo>
                    <a:lnTo>
                      <a:pt x="64" y="9"/>
                    </a:lnTo>
                    <a:lnTo>
                      <a:pt x="58" y="15"/>
                    </a:lnTo>
                    <a:lnTo>
                      <a:pt x="56" y="17"/>
                    </a:lnTo>
                    <a:lnTo>
                      <a:pt x="53" y="17"/>
                    </a:lnTo>
                    <a:lnTo>
                      <a:pt x="49" y="21"/>
                    </a:lnTo>
                    <a:lnTo>
                      <a:pt x="47" y="21"/>
                    </a:lnTo>
                    <a:lnTo>
                      <a:pt x="45" y="24"/>
                    </a:lnTo>
                    <a:lnTo>
                      <a:pt x="45" y="26"/>
                    </a:lnTo>
                    <a:lnTo>
                      <a:pt x="40" y="26"/>
                    </a:lnTo>
                    <a:lnTo>
                      <a:pt x="39" y="27"/>
                    </a:lnTo>
                    <a:lnTo>
                      <a:pt x="35" y="26"/>
                    </a:lnTo>
                    <a:lnTo>
                      <a:pt x="35" y="28"/>
                    </a:lnTo>
                    <a:lnTo>
                      <a:pt x="32" y="28"/>
                    </a:lnTo>
                    <a:lnTo>
                      <a:pt x="28" y="32"/>
                    </a:lnTo>
                    <a:lnTo>
                      <a:pt x="25" y="34"/>
                    </a:lnTo>
                    <a:lnTo>
                      <a:pt x="21" y="33"/>
                    </a:lnTo>
                    <a:lnTo>
                      <a:pt x="19" y="34"/>
                    </a:lnTo>
                    <a:lnTo>
                      <a:pt x="12" y="36"/>
                    </a:lnTo>
                    <a:lnTo>
                      <a:pt x="10" y="41"/>
                    </a:lnTo>
                    <a:lnTo>
                      <a:pt x="8" y="41"/>
                    </a:lnTo>
                    <a:lnTo>
                      <a:pt x="4" y="42"/>
                    </a:lnTo>
                    <a:lnTo>
                      <a:pt x="2" y="46"/>
                    </a:lnTo>
                    <a:lnTo>
                      <a:pt x="4" y="45"/>
                    </a:lnTo>
                    <a:lnTo>
                      <a:pt x="6" y="4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7" name="Freeform 1111">
                <a:extLst>
                  <a:ext uri="{FF2B5EF4-FFF2-40B4-BE49-F238E27FC236}">
                    <a16:creationId xmlns:a16="http://schemas.microsoft.com/office/drawing/2014/main" id="{826D4A82-F040-40D4-A4A9-0C2D5AA803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5" y="851"/>
                <a:ext cx="13" cy="10"/>
              </a:xfrm>
              <a:custGeom>
                <a:avLst/>
                <a:gdLst>
                  <a:gd name="T0" fmla="*/ 3 w 17"/>
                  <a:gd name="T1" fmla="*/ 1 h 14"/>
                  <a:gd name="T2" fmla="*/ 0 w 17"/>
                  <a:gd name="T3" fmla="*/ 2 h 14"/>
                  <a:gd name="T4" fmla="*/ 0 w 17"/>
                  <a:gd name="T5" fmla="*/ 3 h 14"/>
                  <a:gd name="T6" fmla="*/ 2 w 17"/>
                  <a:gd name="T7" fmla="*/ 4 h 14"/>
                  <a:gd name="T8" fmla="*/ 5 w 17"/>
                  <a:gd name="T9" fmla="*/ 8 h 14"/>
                  <a:gd name="T10" fmla="*/ 6 w 17"/>
                  <a:gd name="T11" fmla="*/ 12 h 14"/>
                  <a:gd name="T12" fmla="*/ 9 w 17"/>
                  <a:gd name="T13" fmla="*/ 12 h 14"/>
                  <a:gd name="T14" fmla="*/ 12 w 17"/>
                  <a:gd name="T15" fmla="*/ 14 h 14"/>
                  <a:gd name="T16" fmla="*/ 15 w 17"/>
                  <a:gd name="T17" fmla="*/ 12 h 14"/>
                  <a:gd name="T18" fmla="*/ 17 w 17"/>
                  <a:gd name="T19" fmla="*/ 8 h 14"/>
                  <a:gd name="T20" fmla="*/ 16 w 17"/>
                  <a:gd name="T21" fmla="*/ 6 h 14"/>
                  <a:gd name="T22" fmla="*/ 15 w 17"/>
                  <a:gd name="T23" fmla="*/ 3 h 14"/>
                  <a:gd name="T24" fmla="*/ 13 w 17"/>
                  <a:gd name="T25" fmla="*/ 2 h 14"/>
                  <a:gd name="T26" fmla="*/ 10 w 17"/>
                  <a:gd name="T27" fmla="*/ 3 h 14"/>
                  <a:gd name="T28" fmla="*/ 5 w 17"/>
                  <a:gd name="T29" fmla="*/ 0 h 14"/>
                  <a:gd name="T30" fmla="*/ 3 w 17"/>
                  <a:gd name="T31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" h="14">
                    <a:moveTo>
                      <a:pt x="3" y="1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5" y="0"/>
                      <a:pt x="5" y="0"/>
                      <a:pt x="5" y="0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8" name="Freeform 1112">
                <a:extLst>
                  <a:ext uri="{FF2B5EF4-FFF2-40B4-BE49-F238E27FC236}">
                    <a16:creationId xmlns:a16="http://schemas.microsoft.com/office/drawing/2014/main" id="{22871C89-A248-40A9-841C-08B1CBC9BA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8" y="1103"/>
                <a:ext cx="4" cy="4"/>
              </a:xfrm>
              <a:custGeom>
                <a:avLst/>
                <a:gdLst>
                  <a:gd name="T0" fmla="*/ 2 w 4"/>
                  <a:gd name="T1" fmla="*/ 3 h 4"/>
                  <a:gd name="T2" fmla="*/ 2 w 4"/>
                  <a:gd name="T3" fmla="*/ 2 h 4"/>
                  <a:gd name="T4" fmla="*/ 4 w 4"/>
                  <a:gd name="T5" fmla="*/ 1 h 4"/>
                  <a:gd name="T6" fmla="*/ 1 w 4"/>
                  <a:gd name="T7" fmla="*/ 0 h 4"/>
                  <a:gd name="T8" fmla="*/ 0 w 4"/>
                  <a:gd name="T9" fmla="*/ 2 h 4"/>
                  <a:gd name="T10" fmla="*/ 2 w 4"/>
                  <a:gd name="T11" fmla="*/ 4 h 4"/>
                  <a:gd name="T12" fmla="*/ 2 w 4"/>
                  <a:gd name="T13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4">
                    <a:moveTo>
                      <a:pt x="2" y="3"/>
                    </a:moveTo>
                    <a:lnTo>
                      <a:pt x="2" y="2"/>
                    </a:lnTo>
                    <a:lnTo>
                      <a:pt x="4" y="1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9" name="Freeform 1113">
                <a:extLst>
                  <a:ext uri="{FF2B5EF4-FFF2-40B4-BE49-F238E27FC236}">
                    <a16:creationId xmlns:a16="http://schemas.microsoft.com/office/drawing/2014/main" id="{6779CAAF-B036-49DE-ADE3-F2474926D8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4" y="1646"/>
                <a:ext cx="9" cy="16"/>
              </a:xfrm>
              <a:custGeom>
                <a:avLst/>
                <a:gdLst>
                  <a:gd name="T0" fmla="*/ 0 w 12"/>
                  <a:gd name="T1" fmla="*/ 3 h 21"/>
                  <a:gd name="T2" fmla="*/ 2 w 12"/>
                  <a:gd name="T3" fmla="*/ 7 h 21"/>
                  <a:gd name="T4" fmla="*/ 7 w 12"/>
                  <a:gd name="T5" fmla="*/ 14 h 21"/>
                  <a:gd name="T6" fmla="*/ 7 w 12"/>
                  <a:gd name="T7" fmla="*/ 19 h 21"/>
                  <a:gd name="T8" fmla="*/ 10 w 12"/>
                  <a:gd name="T9" fmla="*/ 21 h 21"/>
                  <a:gd name="T10" fmla="*/ 12 w 12"/>
                  <a:gd name="T11" fmla="*/ 17 h 21"/>
                  <a:gd name="T12" fmla="*/ 9 w 12"/>
                  <a:gd name="T13" fmla="*/ 11 h 21"/>
                  <a:gd name="T14" fmla="*/ 2 w 12"/>
                  <a:gd name="T15" fmla="*/ 0 h 21"/>
                  <a:gd name="T16" fmla="*/ 0 w 12"/>
                  <a:gd name="T17" fmla="*/ 3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1">
                    <a:moveTo>
                      <a:pt x="0" y="3"/>
                    </a:moveTo>
                    <a:cubicBezTo>
                      <a:pt x="2" y="7"/>
                      <a:pt x="2" y="7"/>
                      <a:pt x="2" y="7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3"/>
                      <a:pt x="0" y="3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0" name="Freeform 1114">
                <a:extLst>
                  <a:ext uri="{FF2B5EF4-FFF2-40B4-BE49-F238E27FC236}">
                    <a16:creationId xmlns:a16="http://schemas.microsoft.com/office/drawing/2014/main" id="{0F232064-2ACA-4DF0-A085-745A314A01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9" y="806"/>
                <a:ext cx="48" cy="39"/>
              </a:xfrm>
              <a:custGeom>
                <a:avLst/>
                <a:gdLst>
                  <a:gd name="T0" fmla="*/ 2 w 48"/>
                  <a:gd name="T1" fmla="*/ 14 h 39"/>
                  <a:gd name="T2" fmla="*/ 2 w 48"/>
                  <a:gd name="T3" fmla="*/ 16 h 39"/>
                  <a:gd name="T4" fmla="*/ 0 w 48"/>
                  <a:gd name="T5" fmla="*/ 19 h 39"/>
                  <a:gd name="T6" fmla="*/ 1 w 48"/>
                  <a:gd name="T7" fmla="*/ 23 h 39"/>
                  <a:gd name="T8" fmla="*/ 2 w 48"/>
                  <a:gd name="T9" fmla="*/ 27 h 39"/>
                  <a:gd name="T10" fmla="*/ 3 w 48"/>
                  <a:gd name="T11" fmla="*/ 27 h 39"/>
                  <a:gd name="T12" fmla="*/ 5 w 48"/>
                  <a:gd name="T13" fmla="*/ 29 h 39"/>
                  <a:gd name="T14" fmla="*/ 8 w 48"/>
                  <a:gd name="T15" fmla="*/ 34 h 39"/>
                  <a:gd name="T16" fmla="*/ 6 w 48"/>
                  <a:gd name="T17" fmla="*/ 36 h 39"/>
                  <a:gd name="T18" fmla="*/ 7 w 48"/>
                  <a:gd name="T19" fmla="*/ 37 h 39"/>
                  <a:gd name="T20" fmla="*/ 10 w 48"/>
                  <a:gd name="T21" fmla="*/ 37 h 39"/>
                  <a:gd name="T22" fmla="*/ 13 w 48"/>
                  <a:gd name="T23" fmla="*/ 38 h 39"/>
                  <a:gd name="T24" fmla="*/ 15 w 48"/>
                  <a:gd name="T25" fmla="*/ 37 h 39"/>
                  <a:gd name="T26" fmla="*/ 17 w 48"/>
                  <a:gd name="T27" fmla="*/ 39 h 39"/>
                  <a:gd name="T28" fmla="*/ 20 w 48"/>
                  <a:gd name="T29" fmla="*/ 39 h 39"/>
                  <a:gd name="T30" fmla="*/ 23 w 48"/>
                  <a:gd name="T31" fmla="*/ 38 h 39"/>
                  <a:gd name="T32" fmla="*/ 26 w 48"/>
                  <a:gd name="T33" fmla="*/ 38 h 39"/>
                  <a:gd name="T34" fmla="*/ 28 w 48"/>
                  <a:gd name="T35" fmla="*/ 34 h 39"/>
                  <a:gd name="T36" fmla="*/ 28 w 48"/>
                  <a:gd name="T37" fmla="*/ 33 h 39"/>
                  <a:gd name="T38" fmla="*/ 30 w 48"/>
                  <a:gd name="T39" fmla="*/ 32 h 39"/>
                  <a:gd name="T40" fmla="*/ 31 w 48"/>
                  <a:gd name="T41" fmla="*/ 30 h 39"/>
                  <a:gd name="T42" fmla="*/ 35 w 48"/>
                  <a:gd name="T43" fmla="*/ 24 h 39"/>
                  <a:gd name="T44" fmla="*/ 34 w 48"/>
                  <a:gd name="T45" fmla="*/ 22 h 39"/>
                  <a:gd name="T46" fmla="*/ 33 w 48"/>
                  <a:gd name="T47" fmla="*/ 23 h 39"/>
                  <a:gd name="T48" fmla="*/ 30 w 48"/>
                  <a:gd name="T49" fmla="*/ 23 h 39"/>
                  <a:gd name="T50" fmla="*/ 30 w 48"/>
                  <a:gd name="T51" fmla="*/ 21 h 39"/>
                  <a:gd name="T52" fmla="*/ 33 w 48"/>
                  <a:gd name="T53" fmla="*/ 17 h 39"/>
                  <a:gd name="T54" fmla="*/ 36 w 48"/>
                  <a:gd name="T55" fmla="*/ 17 h 39"/>
                  <a:gd name="T56" fmla="*/ 43 w 48"/>
                  <a:gd name="T57" fmla="*/ 14 h 39"/>
                  <a:gd name="T58" fmla="*/ 45 w 48"/>
                  <a:gd name="T59" fmla="*/ 14 h 39"/>
                  <a:gd name="T60" fmla="*/ 48 w 48"/>
                  <a:gd name="T61" fmla="*/ 9 h 39"/>
                  <a:gd name="T62" fmla="*/ 47 w 48"/>
                  <a:gd name="T63" fmla="*/ 7 h 39"/>
                  <a:gd name="T64" fmla="*/ 43 w 48"/>
                  <a:gd name="T65" fmla="*/ 7 h 39"/>
                  <a:gd name="T66" fmla="*/ 43 w 48"/>
                  <a:gd name="T67" fmla="*/ 5 h 39"/>
                  <a:gd name="T68" fmla="*/ 40 w 48"/>
                  <a:gd name="T69" fmla="*/ 4 h 39"/>
                  <a:gd name="T70" fmla="*/ 36 w 48"/>
                  <a:gd name="T71" fmla="*/ 4 h 39"/>
                  <a:gd name="T72" fmla="*/ 35 w 48"/>
                  <a:gd name="T73" fmla="*/ 3 h 39"/>
                  <a:gd name="T74" fmla="*/ 31 w 48"/>
                  <a:gd name="T75" fmla="*/ 2 h 39"/>
                  <a:gd name="T76" fmla="*/ 29 w 48"/>
                  <a:gd name="T77" fmla="*/ 3 h 39"/>
                  <a:gd name="T78" fmla="*/ 26 w 48"/>
                  <a:gd name="T79" fmla="*/ 3 h 39"/>
                  <a:gd name="T80" fmla="*/ 24 w 48"/>
                  <a:gd name="T81" fmla="*/ 2 h 39"/>
                  <a:gd name="T82" fmla="*/ 22 w 48"/>
                  <a:gd name="T83" fmla="*/ 2 h 39"/>
                  <a:gd name="T84" fmla="*/ 20 w 48"/>
                  <a:gd name="T85" fmla="*/ 0 h 39"/>
                  <a:gd name="T86" fmla="*/ 13 w 48"/>
                  <a:gd name="T87" fmla="*/ 2 h 39"/>
                  <a:gd name="T88" fmla="*/ 11 w 48"/>
                  <a:gd name="T89" fmla="*/ 2 h 39"/>
                  <a:gd name="T90" fmla="*/ 9 w 48"/>
                  <a:gd name="T91" fmla="*/ 4 h 39"/>
                  <a:gd name="T92" fmla="*/ 5 w 48"/>
                  <a:gd name="T93" fmla="*/ 6 h 39"/>
                  <a:gd name="T94" fmla="*/ 5 w 48"/>
                  <a:gd name="T95" fmla="*/ 10 h 39"/>
                  <a:gd name="T96" fmla="*/ 2 w 48"/>
                  <a:gd name="T97" fmla="*/ 14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8" h="39">
                    <a:moveTo>
                      <a:pt x="2" y="14"/>
                    </a:moveTo>
                    <a:lnTo>
                      <a:pt x="2" y="16"/>
                    </a:lnTo>
                    <a:lnTo>
                      <a:pt x="0" y="19"/>
                    </a:lnTo>
                    <a:lnTo>
                      <a:pt x="1" y="23"/>
                    </a:lnTo>
                    <a:lnTo>
                      <a:pt x="2" y="27"/>
                    </a:lnTo>
                    <a:lnTo>
                      <a:pt x="3" y="27"/>
                    </a:lnTo>
                    <a:lnTo>
                      <a:pt x="5" y="29"/>
                    </a:lnTo>
                    <a:lnTo>
                      <a:pt x="8" y="34"/>
                    </a:lnTo>
                    <a:lnTo>
                      <a:pt x="6" y="36"/>
                    </a:lnTo>
                    <a:lnTo>
                      <a:pt x="7" y="37"/>
                    </a:lnTo>
                    <a:lnTo>
                      <a:pt x="10" y="37"/>
                    </a:lnTo>
                    <a:lnTo>
                      <a:pt x="13" y="38"/>
                    </a:lnTo>
                    <a:lnTo>
                      <a:pt x="15" y="37"/>
                    </a:lnTo>
                    <a:lnTo>
                      <a:pt x="17" y="39"/>
                    </a:lnTo>
                    <a:lnTo>
                      <a:pt x="20" y="39"/>
                    </a:lnTo>
                    <a:lnTo>
                      <a:pt x="23" y="38"/>
                    </a:lnTo>
                    <a:lnTo>
                      <a:pt x="26" y="38"/>
                    </a:lnTo>
                    <a:lnTo>
                      <a:pt x="28" y="34"/>
                    </a:lnTo>
                    <a:lnTo>
                      <a:pt x="28" y="33"/>
                    </a:lnTo>
                    <a:lnTo>
                      <a:pt x="30" y="32"/>
                    </a:lnTo>
                    <a:lnTo>
                      <a:pt x="31" y="30"/>
                    </a:lnTo>
                    <a:lnTo>
                      <a:pt x="35" y="24"/>
                    </a:lnTo>
                    <a:lnTo>
                      <a:pt x="34" y="22"/>
                    </a:lnTo>
                    <a:lnTo>
                      <a:pt x="33" y="23"/>
                    </a:lnTo>
                    <a:lnTo>
                      <a:pt x="30" y="23"/>
                    </a:lnTo>
                    <a:lnTo>
                      <a:pt x="30" y="21"/>
                    </a:lnTo>
                    <a:lnTo>
                      <a:pt x="33" y="17"/>
                    </a:lnTo>
                    <a:lnTo>
                      <a:pt x="36" y="17"/>
                    </a:lnTo>
                    <a:lnTo>
                      <a:pt x="43" y="14"/>
                    </a:lnTo>
                    <a:lnTo>
                      <a:pt x="45" y="14"/>
                    </a:lnTo>
                    <a:lnTo>
                      <a:pt x="48" y="9"/>
                    </a:lnTo>
                    <a:lnTo>
                      <a:pt x="47" y="7"/>
                    </a:lnTo>
                    <a:lnTo>
                      <a:pt x="43" y="7"/>
                    </a:lnTo>
                    <a:lnTo>
                      <a:pt x="43" y="5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5" y="3"/>
                    </a:lnTo>
                    <a:lnTo>
                      <a:pt x="31" y="2"/>
                    </a:lnTo>
                    <a:lnTo>
                      <a:pt x="29" y="3"/>
                    </a:lnTo>
                    <a:lnTo>
                      <a:pt x="26" y="3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9" y="4"/>
                    </a:lnTo>
                    <a:lnTo>
                      <a:pt x="5" y="6"/>
                    </a:lnTo>
                    <a:lnTo>
                      <a:pt x="5" y="10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1" name="Freeform 1115">
                <a:extLst>
                  <a:ext uri="{FF2B5EF4-FFF2-40B4-BE49-F238E27FC236}">
                    <a16:creationId xmlns:a16="http://schemas.microsoft.com/office/drawing/2014/main" id="{03AE73C4-00E8-4578-9C57-61A16AFF09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3" y="839"/>
                <a:ext cx="4" cy="3"/>
              </a:xfrm>
              <a:custGeom>
                <a:avLst/>
                <a:gdLst>
                  <a:gd name="T0" fmla="*/ 2 w 4"/>
                  <a:gd name="T1" fmla="*/ 2 h 3"/>
                  <a:gd name="T2" fmla="*/ 4 w 4"/>
                  <a:gd name="T3" fmla="*/ 0 h 3"/>
                  <a:gd name="T4" fmla="*/ 0 w 4"/>
                  <a:gd name="T5" fmla="*/ 0 h 3"/>
                  <a:gd name="T6" fmla="*/ 0 w 4"/>
                  <a:gd name="T7" fmla="*/ 2 h 3"/>
                  <a:gd name="T8" fmla="*/ 0 w 4"/>
                  <a:gd name="T9" fmla="*/ 3 h 3"/>
                  <a:gd name="T10" fmla="*/ 2 w 4"/>
                  <a:gd name="T1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2" y="2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2" name="Freeform 1116">
                <a:extLst>
                  <a:ext uri="{FF2B5EF4-FFF2-40B4-BE49-F238E27FC236}">
                    <a16:creationId xmlns:a16="http://schemas.microsoft.com/office/drawing/2014/main" id="{11519E9A-3B06-40B1-936B-1148D9AB95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4" y="796"/>
                <a:ext cx="10" cy="18"/>
              </a:xfrm>
              <a:custGeom>
                <a:avLst/>
                <a:gdLst>
                  <a:gd name="T0" fmla="*/ 1 w 10"/>
                  <a:gd name="T1" fmla="*/ 17 h 18"/>
                  <a:gd name="T2" fmla="*/ 3 w 10"/>
                  <a:gd name="T3" fmla="*/ 18 h 18"/>
                  <a:gd name="T4" fmla="*/ 7 w 10"/>
                  <a:gd name="T5" fmla="*/ 17 h 18"/>
                  <a:gd name="T6" fmla="*/ 10 w 10"/>
                  <a:gd name="T7" fmla="*/ 13 h 18"/>
                  <a:gd name="T8" fmla="*/ 10 w 10"/>
                  <a:gd name="T9" fmla="*/ 9 h 18"/>
                  <a:gd name="T10" fmla="*/ 10 w 10"/>
                  <a:gd name="T11" fmla="*/ 6 h 18"/>
                  <a:gd name="T12" fmla="*/ 10 w 10"/>
                  <a:gd name="T13" fmla="*/ 4 h 18"/>
                  <a:gd name="T14" fmla="*/ 10 w 10"/>
                  <a:gd name="T15" fmla="*/ 0 h 18"/>
                  <a:gd name="T16" fmla="*/ 8 w 10"/>
                  <a:gd name="T17" fmla="*/ 1 h 18"/>
                  <a:gd name="T18" fmla="*/ 7 w 10"/>
                  <a:gd name="T19" fmla="*/ 1 h 18"/>
                  <a:gd name="T20" fmla="*/ 4 w 10"/>
                  <a:gd name="T21" fmla="*/ 0 h 18"/>
                  <a:gd name="T22" fmla="*/ 3 w 10"/>
                  <a:gd name="T23" fmla="*/ 1 h 18"/>
                  <a:gd name="T24" fmla="*/ 1 w 10"/>
                  <a:gd name="T25" fmla="*/ 2 h 18"/>
                  <a:gd name="T26" fmla="*/ 0 w 10"/>
                  <a:gd name="T27" fmla="*/ 5 h 18"/>
                  <a:gd name="T28" fmla="*/ 0 w 10"/>
                  <a:gd name="T29" fmla="*/ 9 h 18"/>
                  <a:gd name="T30" fmla="*/ 0 w 10"/>
                  <a:gd name="T31" fmla="*/ 12 h 18"/>
                  <a:gd name="T32" fmla="*/ 1 w 10"/>
                  <a:gd name="T33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8">
                    <a:moveTo>
                      <a:pt x="1" y="17"/>
                    </a:moveTo>
                    <a:lnTo>
                      <a:pt x="3" y="18"/>
                    </a:lnTo>
                    <a:lnTo>
                      <a:pt x="7" y="17"/>
                    </a:lnTo>
                    <a:lnTo>
                      <a:pt x="10" y="13"/>
                    </a:lnTo>
                    <a:lnTo>
                      <a:pt x="10" y="9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8" y="1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1" y="1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3" name="Freeform 1117">
                <a:extLst>
                  <a:ext uri="{FF2B5EF4-FFF2-40B4-BE49-F238E27FC236}">
                    <a16:creationId xmlns:a16="http://schemas.microsoft.com/office/drawing/2014/main" id="{9F56EF03-C14A-4822-95F2-35C5A64024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5" y="869"/>
                <a:ext cx="140" cy="103"/>
              </a:xfrm>
              <a:custGeom>
                <a:avLst/>
                <a:gdLst>
                  <a:gd name="T0" fmla="*/ 72 w 140"/>
                  <a:gd name="T1" fmla="*/ 60 h 103"/>
                  <a:gd name="T2" fmla="*/ 71 w 140"/>
                  <a:gd name="T3" fmla="*/ 44 h 103"/>
                  <a:gd name="T4" fmla="*/ 75 w 140"/>
                  <a:gd name="T5" fmla="*/ 40 h 103"/>
                  <a:gd name="T6" fmla="*/ 75 w 140"/>
                  <a:gd name="T7" fmla="*/ 23 h 103"/>
                  <a:gd name="T8" fmla="*/ 68 w 140"/>
                  <a:gd name="T9" fmla="*/ 16 h 103"/>
                  <a:gd name="T10" fmla="*/ 64 w 140"/>
                  <a:gd name="T11" fmla="*/ 9 h 103"/>
                  <a:gd name="T12" fmla="*/ 46 w 140"/>
                  <a:gd name="T13" fmla="*/ 2 h 103"/>
                  <a:gd name="T14" fmla="*/ 50 w 140"/>
                  <a:gd name="T15" fmla="*/ 14 h 103"/>
                  <a:gd name="T16" fmla="*/ 40 w 140"/>
                  <a:gd name="T17" fmla="*/ 8 h 103"/>
                  <a:gd name="T18" fmla="*/ 28 w 140"/>
                  <a:gd name="T19" fmla="*/ 18 h 103"/>
                  <a:gd name="T20" fmla="*/ 43 w 140"/>
                  <a:gd name="T21" fmla="*/ 24 h 103"/>
                  <a:gd name="T22" fmla="*/ 27 w 140"/>
                  <a:gd name="T23" fmla="*/ 27 h 103"/>
                  <a:gd name="T24" fmla="*/ 16 w 140"/>
                  <a:gd name="T25" fmla="*/ 37 h 103"/>
                  <a:gd name="T26" fmla="*/ 31 w 140"/>
                  <a:gd name="T27" fmla="*/ 39 h 103"/>
                  <a:gd name="T28" fmla="*/ 21 w 140"/>
                  <a:gd name="T29" fmla="*/ 45 h 103"/>
                  <a:gd name="T30" fmla="*/ 2 w 140"/>
                  <a:gd name="T31" fmla="*/ 47 h 103"/>
                  <a:gd name="T32" fmla="*/ 5 w 140"/>
                  <a:gd name="T33" fmla="*/ 58 h 103"/>
                  <a:gd name="T34" fmla="*/ 11 w 140"/>
                  <a:gd name="T35" fmla="*/ 63 h 103"/>
                  <a:gd name="T36" fmla="*/ 19 w 140"/>
                  <a:gd name="T37" fmla="*/ 65 h 103"/>
                  <a:gd name="T38" fmla="*/ 24 w 140"/>
                  <a:gd name="T39" fmla="*/ 74 h 103"/>
                  <a:gd name="T40" fmla="*/ 33 w 140"/>
                  <a:gd name="T41" fmla="*/ 64 h 103"/>
                  <a:gd name="T42" fmla="*/ 38 w 140"/>
                  <a:gd name="T43" fmla="*/ 67 h 103"/>
                  <a:gd name="T44" fmla="*/ 43 w 140"/>
                  <a:gd name="T45" fmla="*/ 75 h 103"/>
                  <a:gd name="T46" fmla="*/ 52 w 140"/>
                  <a:gd name="T47" fmla="*/ 75 h 103"/>
                  <a:gd name="T48" fmla="*/ 65 w 140"/>
                  <a:gd name="T49" fmla="*/ 73 h 103"/>
                  <a:gd name="T50" fmla="*/ 55 w 140"/>
                  <a:gd name="T51" fmla="*/ 81 h 103"/>
                  <a:gd name="T52" fmla="*/ 37 w 140"/>
                  <a:gd name="T53" fmla="*/ 81 h 103"/>
                  <a:gd name="T54" fmla="*/ 21 w 140"/>
                  <a:gd name="T55" fmla="*/ 82 h 103"/>
                  <a:gd name="T56" fmla="*/ 24 w 140"/>
                  <a:gd name="T57" fmla="*/ 99 h 103"/>
                  <a:gd name="T58" fmla="*/ 44 w 140"/>
                  <a:gd name="T59" fmla="*/ 102 h 103"/>
                  <a:gd name="T60" fmla="*/ 55 w 140"/>
                  <a:gd name="T61" fmla="*/ 102 h 103"/>
                  <a:gd name="T62" fmla="*/ 63 w 140"/>
                  <a:gd name="T63" fmla="*/ 94 h 103"/>
                  <a:gd name="T64" fmla="*/ 72 w 140"/>
                  <a:gd name="T65" fmla="*/ 95 h 103"/>
                  <a:gd name="T66" fmla="*/ 85 w 140"/>
                  <a:gd name="T67" fmla="*/ 89 h 103"/>
                  <a:gd name="T68" fmla="*/ 86 w 140"/>
                  <a:gd name="T69" fmla="*/ 95 h 103"/>
                  <a:gd name="T70" fmla="*/ 97 w 140"/>
                  <a:gd name="T71" fmla="*/ 92 h 103"/>
                  <a:gd name="T72" fmla="*/ 103 w 140"/>
                  <a:gd name="T73" fmla="*/ 99 h 103"/>
                  <a:gd name="T74" fmla="*/ 116 w 140"/>
                  <a:gd name="T75" fmla="*/ 97 h 103"/>
                  <a:gd name="T76" fmla="*/ 120 w 140"/>
                  <a:gd name="T77" fmla="*/ 90 h 103"/>
                  <a:gd name="T78" fmla="*/ 128 w 140"/>
                  <a:gd name="T79" fmla="*/ 78 h 103"/>
                  <a:gd name="T80" fmla="*/ 140 w 140"/>
                  <a:gd name="T81" fmla="*/ 61 h 103"/>
                  <a:gd name="T82" fmla="*/ 127 w 140"/>
                  <a:gd name="T83" fmla="*/ 54 h 103"/>
                  <a:gd name="T84" fmla="*/ 123 w 140"/>
                  <a:gd name="T85" fmla="*/ 63 h 103"/>
                  <a:gd name="T86" fmla="*/ 119 w 140"/>
                  <a:gd name="T87" fmla="*/ 53 h 103"/>
                  <a:gd name="T88" fmla="*/ 108 w 140"/>
                  <a:gd name="T89" fmla="*/ 61 h 103"/>
                  <a:gd name="T90" fmla="*/ 119 w 140"/>
                  <a:gd name="T91" fmla="*/ 44 h 103"/>
                  <a:gd name="T92" fmla="*/ 113 w 140"/>
                  <a:gd name="T93" fmla="*/ 42 h 103"/>
                  <a:gd name="T94" fmla="*/ 119 w 140"/>
                  <a:gd name="T95" fmla="*/ 27 h 103"/>
                  <a:gd name="T96" fmla="*/ 124 w 140"/>
                  <a:gd name="T97" fmla="*/ 14 h 103"/>
                  <a:gd name="T98" fmla="*/ 118 w 140"/>
                  <a:gd name="T99" fmla="*/ 5 h 103"/>
                  <a:gd name="T100" fmla="*/ 106 w 140"/>
                  <a:gd name="T101" fmla="*/ 18 h 103"/>
                  <a:gd name="T102" fmla="*/ 100 w 140"/>
                  <a:gd name="T103" fmla="*/ 32 h 103"/>
                  <a:gd name="T104" fmla="*/ 95 w 140"/>
                  <a:gd name="T105" fmla="*/ 44 h 103"/>
                  <a:gd name="T106" fmla="*/ 96 w 140"/>
                  <a:gd name="T107" fmla="*/ 55 h 103"/>
                  <a:gd name="T108" fmla="*/ 92 w 140"/>
                  <a:gd name="T109" fmla="*/ 67 h 103"/>
                  <a:gd name="T110" fmla="*/ 80 w 140"/>
                  <a:gd name="T111" fmla="*/ 59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0" h="103">
                    <a:moveTo>
                      <a:pt x="80" y="59"/>
                    </a:moveTo>
                    <a:lnTo>
                      <a:pt x="78" y="58"/>
                    </a:lnTo>
                    <a:lnTo>
                      <a:pt x="77" y="60"/>
                    </a:lnTo>
                    <a:lnTo>
                      <a:pt x="74" y="61"/>
                    </a:lnTo>
                    <a:lnTo>
                      <a:pt x="72" y="60"/>
                    </a:lnTo>
                    <a:lnTo>
                      <a:pt x="72" y="54"/>
                    </a:lnTo>
                    <a:lnTo>
                      <a:pt x="75" y="52"/>
                    </a:lnTo>
                    <a:lnTo>
                      <a:pt x="76" y="45"/>
                    </a:lnTo>
                    <a:lnTo>
                      <a:pt x="75" y="45"/>
                    </a:lnTo>
                    <a:lnTo>
                      <a:pt x="71" y="44"/>
                    </a:lnTo>
                    <a:lnTo>
                      <a:pt x="69" y="44"/>
                    </a:lnTo>
                    <a:lnTo>
                      <a:pt x="68" y="42"/>
                    </a:lnTo>
                    <a:lnTo>
                      <a:pt x="71" y="40"/>
                    </a:lnTo>
                    <a:lnTo>
                      <a:pt x="74" y="42"/>
                    </a:lnTo>
                    <a:lnTo>
                      <a:pt x="75" y="40"/>
                    </a:lnTo>
                    <a:lnTo>
                      <a:pt x="74" y="33"/>
                    </a:lnTo>
                    <a:lnTo>
                      <a:pt x="71" y="29"/>
                    </a:lnTo>
                    <a:lnTo>
                      <a:pt x="73" y="27"/>
                    </a:lnTo>
                    <a:lnTo>
                      <a:pt x="75" y="25"/>
                    </a:lnTo>
                    <a:lnTo>
                      <a:pt x="75" y="23"/>
                    </a:lnTo>
                    <a:lnTo>
                      <a:pt x="73" y="21"/>
                    </a:lnTo>
                    <a:lnTo>
                      <a:pt x="73" y="19"/>
                    </a:lnTo>
                    <a:lnTo>
                      <a:pt x="71" y="16"/>
                    </a:lnTo>
                    <a:lnTo>
                      <a:pt x="70" y="16"/>
                    </a:lnTo>
                    <a:lnTo>
                      <a:pt x="68" y="16"/>
                    </a:lnTo>
                    <a:lnTo>
                      <a:pt x="67" y="16"/>
                    </a:lnTo>
                    <a:lnTo>
                      <a:pt x="61" y="17"/>
                    </a:lnTo>
                    <a:lnTo>
                      <a:pt x="61" y="14"/>
                    </a:lnTo>
                    <a:lnTo>
                      <a:pt x="62" y="10"/>
                    </a:lnTo>
                    <a:lnTo>
                      <a:pt x="64" y="9"/>
                    </a:lnTo>
                    <a:lnTo>
                      <a:pt x="64" y="3"/>
                    </a:lnTo>
                    <a:lnTo>
                      <a:pt x="61" y="0"/>
                    </a:lnTo>
                    <a:lnTo>
                      <a:pt x="56" y="1"/>
                    </a:lnTo>
                    <a:lnTo>
                      <a:pt x="54" y="0"/>
                    </a:lnTo>
                    <a:lnTo>
                      <a:pt x="46" y="2"/>
                    </a:lnTo>
                    <a:lnTo>
                      <a:pt x="44" y="4"/>
                    </a:lnTo>
                    <a:lnTo>
                      <a:pt x="46" y="6"/>
                    </a:lnTo>
                    <a:lnTo>
                      <a:pt x="46" y="8"/>
                    </a:lnTo>
                    <a:lnTo>
                      <a:pt x="49" y="11"/>
                    </a:lnTo>
                    <a:lnTo>
                      <a:pt x="50" y="14"/>
                    </a:lnTo>
                    <a:lnTo>
                      <a:pt x="49" y="13"/>
                    </a:lnTo>
                    <a:lnTo>
                      <a:pt x="46" y="9"/>
                    </a:lnTo>
                    <a:lnTo>
                      <a:pt x="43" y="9"/>
                    </a:lnTo>
                    <a:lnTo>
                      <a:pt x="42" y="8"/>
                    </a:lnTo>
                    <a:lnTo>
                      <a:pt x="40" y="8"/>
                    </a:lnTo>
                    <a:lnTo>
                      <a:pt x="36" y="10"/>
                    </a:lnTo>
                    <a:lnTo>
                      <a:pt x="34" y="10"/>
                    </a:lnTo>
                    <a:lnTo>
                      <a:pt x="33" y="12"/>
                    </a:lnTo>
                    <a:lnTo>
                      <a:pt x="31" y="15"/>
                    </a:lnTo>
                    <a:lnTo>
                      <a:pt x="28" y="18"/>
                    </a:lnTo>
                    <a:lnTo>
                      <a:pt x="30" y="20"/>
                    </a:lnTo>
                    <a:lnTo>
                      <a:pt x="36" y="23"/>
                    </a:lnTo>
                    <a:lnTo>
                      <a:pt x="38" y="23"/>
                    </a:lnTo>
                    <a:lnTo>
                      <a:pt x="41" y="24"/>
                    </a:lnTo>
                    <a:lnTo>
                      <a:pt x="43" y="24"/>
                    </a:lnTo>
                    <a:lnTo>
                      <a:pt x="43" y="27"/>
                    </a:lnTo>
                    <a:lnTo>
                      <a:pt x="42" y="27"/>
                    </a:lnTo>
                    <a:lnTo>
                      <a:pt x="39" y="26"/>
                    </a:lnTo>
                    <a:lnTo>
                      <a:pt x="33" y="25"/>
                    </a:lnTo>
                    <a:lnTo>
                      <a:pt x="27" y="27"/>
                    </a:lnTo>
                    <a:lnTo>
                      <a:pt x="26" y="26"/>
                    </a:lnTo>
                    <a:lnTo>
                      <a:pt x="23" y="26"/>
                    </a:lnTo>
                    <a:lnTo>
                      <a:pt x="19" y="30"/>
                    </a:lnTo>
                    <a:lnTo>
                      <a:pt x="16" y="35"/>
                    </a:lnTo>
                    <a:lnTo>
                      <a:pt x="16" y="37"/>
                    </a:lnTo>
                    <a:lnTo>
                      <a:pt x="19" y="37"/>
                    </a:lnTo>
                    <a:lnTo>
                      <a:pt x="24" y="39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1" y="39"/>
                    </a:lnTo>
                    <a:lnTo>
                      <a:pt x="33" y="41"/>
                    </a:lnTo>
                    <a:lnTo>
                      <a:pt x="30" y="44"/>
                    </a:lnTo>
                    <a:lnTo>
                      <a:pt x="26" y="44"/>
                    </a:lnTo>
                    <a:lnTo>
                      <a:pt x="24" y="46"/>
                    </a:lnTo>
                    <a:lnTo>
                      <a:pt x="21" y="45"/>
                    </a:lnTo>
                    <a:lnTo>
                      <a:pt x="17" y="43"/>
                    </a:lnTo>
                    <a:lnTo>
                      <a:pt x="12" y="43"/>
                    </a:lnTo>
                    <a:lnTo>
                      <a:pt x="11" y="42"/>
                    </a:lnTo>
                    <a:lnTo>
                      <a:pt x="8" y="43"/>
                    </a:lnTo>
                    <a:lnTo>
                      <a:pt x="2" y="47"/>
                    </a:lnTo>
                    <a:lnTo>
                      <a:pt x="4" y="50"/>
                    </a:lnTo>
                    <a:lnTo>
                      <a:pt x="4" y="53"/>
                    </a:lnTo>
                    <a:lnTo>
                      <a:pt x="0" y="53"/>
                    </a:lnTo>
                    <a:lnTo>
                      <a:pt x="0" y="54"/>
                    </a:lnTo>
                    <a:lnTo>
                      <a:pt x="5" y="58"/>
                    </a:lnTo>
                    <a:lnTo>
                      <a:pt x="8" y="63"/>
                    </a:lnTo>
                    <a:lnTo>
                      <a:pt x="9" y="63"/>
                    </a:lnTo>
                    <a:lnTo>
                      <a:pt x="10" y="60"/>
                    </a:lnTo>
                    <a:lnTo>
                      <a:pt x="12" y="61"/>
                    </a:lnTo>
                    <a:lnTo>
                      <a:pt x="11" y="63"/>
                    </a:lnTo>
                    <a:lnTo>
                      <a:pt x="14" y="66"/>
                    </a:lnTo>
                    <a:lnTo>
                      <a:pt x="14" y="70"/>
                    </a:lnTo>
                    <a:lnTo>
                      <a:pt x="16" y="72"/>
                    </a:lnTo>
                    <a:lnTo>
                      <a:pt x="18" y="70"/>
                    </a:lnTo>
                    <a:lnTo>
                      <a:pt x="19" y="65"/>
                    </a:lnTo>
                    <a:lnTo>
                      <a:pt x="20" y="66"/>
                    </a:lnTo>
                    <a:lnTo>
                      <a:pt x="23" y="66"/>
                    </a:lnTo>
                    <a:lnTo>
                      <a:pt x="21" y="68"/>
                    </a:lnTo>
                    <a:lnTo>
                      <a:pt x="21" y="72"/>
                    </a:lnTo>
                    <a:lnTo>
                      <a:pt x="24" y="74"/>
                    </a:lnTo>
                    <a:lnTo>
                      <a:pt x="26" y="73"/>
                    </a:lnTo>
                    <a:lnTo>
                      <a:pt x="27" y="71"/>
                    </a:lnTo>
                    <a:lnTo>
                      <a:pt x="32" y="68"/>
                    </a:lnTo>
                    <a:lnTo>
                      <a:pt x="33" y="65"/>
                    </a:lnTo>
                    <a:lnTo>
                      <a:pt x="33" y="64"/>
                    </a:lnTo>
                    <a:lnTo>
                      <a:pt x="35" y="67"/>
                    </a:lnTo>
                    <a:lnTo>
                      <a:pt x="36" y="65"/>
                    </a:lnTo>
                    <a:lnTo>
                      <a:pt x="40" y="64"/>
                    </a:lnTo>
                    <a:lnTo>
                      <a:pt x="41" y="64"/>
                    </a:lnTo>
                    <a:lnTo>
                      <a:pt x="38" y="67"/>
                    </a:lnTo>
                    <a:lnTo>
                      <a:pt x="35" y="70"/>
                    </a:lnTo>
                    <a:lnTo>
                      <a:pt x="35" y="72"/>
                    </a:lnTo>
                    <a:lnTo>
                      <a:pt x="39" y="74"/>
                    </a:lnTo>
                    <a:lnTo>
                      <a:pt x="41" y="73"/>
                    </a:lnTo>
                    <a:lnTo>
                      <a:pt x="43" y="75"/>
                    </a:lnTo>
                    <a:lnTo>
                      <a:pt x="45" y="74"/>
                    </a:lnTo>
                    <a:lnTo>
                      <a:pt x="48" y="73"/>
                    </a:lnTo>
                    <a:lnTo>
                      <a:pt x="50" y="71"/>
                    </a:lnTo>
                    <a:lnTo>
                      <a:pt x="52" y="73"/>
                    </a:lnTo>
                    <a:lnTo>
                      <a:pt x="52" y="75"/>
                    </a:lnTo>
                    <a:lnTo>
                      <a:pt x="55" y="75"/>
                    </a:lnTo>
                    <a:lnTo>
                      <a:pt x="60" y="73"/>
                    </a:lnTo>
                    <a:lnTo>
                      <a:pt x="60" y="75"/>
                    </a:lnTo>
                    <a:lnTo>
                      <a:pt x="64" y="75"/>
                    </a:lnTo>
                    <a:lnTo>
                      <a:pt x="65" y="73"/>
                    </a:lnTo>
                    <a:lnTo>
                      <a:pt x="66" y="75"/>
                    </a:lnTo>
                    <a:lnTo>
                      <a:pt x="64" y="76"/>
                    </a:lnTo>
                    <a:lnTo>
                      <a:pt x="64" y="78"/>
                    </a:lnTo>
                    <a:lnTo>
                      <a:pt x="57" y="78"/>
                    </a:lnTo>
                    <a:lnTo>
                      <a:pt x="55" y="81"/>
                    </a:lnTo>
                    <a:lnTo>
                      <a:pt x="53" y="80"/>
                    </a:lnTo>
                    <a:lnTo>
                      <a:pt x="50" y="80"/>
                    </a:lnTo>
                    <a:lnTo>
                      <a:pt x="45" y="78"/>
                    </a:lnTo>
                    <a:lnTo>
                      <a:pt x="41" y="78"/>
                    </a:lnTo>
                    <a:lnTo>
                      <a:pt x="37" y="81"/>
                    </a:lnTo>
                    <a:lnTo>
                      <a:pt x="34" y="81"/>
                    </a:lnTo>
                    <a:lnTo>
                      <a:pt x="31" y="80"/>
                    </a:lnTo>
                    <a:lnTo>
                      <a:pt x="30" y="82"/>
                    </a:lnTo>
                    <a:lnTo>
                      <a:pt x="25" y="80"/>
                    </a:lnTo>
                    <a:lnTo>
                      <a:pt x="21" y="82"/>
                    </a:lnTo>
                    <a:lnTo>
                      <a:pt x="20" y="87"/>
                    </a:lnTo>
                    <a:lnTo>
                      <a:pt x="21" y="89"/>
                    </a:lnTo>
                    <a:lnTo>
                      <a:pt x="20" y="93"/>
                    </a:lnTo>
                    <a:lnTo>
                      <a:pt x="23" y="96"/>
                    </a:lnTo>
                    <a:lnTo>
                      <a:pt x="24" y="99"/>
                    </a:lnTo>
                    <a:lnTo>
                      <a:pt x="28" y="101"/>
                    </a:lnTo>
                    <a:lnTo>
                      <a:pt x="32" y="103"/>
                    </a:lnTo>
                    <a:lnTo>
                      <a:pt x="36" y="103"/>
                    </a:lnTo>
                    <a:lnTo>
                      <a:pt x="40" y="102"/>
                    </a:lnTo>
                    <a:lnTo>
                      <a:pt x="44" y="102"/>
                    </a:lnTo>
                    <a:lnTo>
                      <a:pt x="45" y="103"/>
                    </a:lnTo>
                    <a:lnTo>
                      <a:pt x="48" y="103"/>
                    </a:lnTo>
                    <a:lnTo>
                      <a:pt x="51" y="102"/>
                    </a:lnTo>
                    <a:lnTo>
                      <a:pt x="52" y="103"/>
                    </a:lnTo>
                    <a:lnTo>
                      <a:pt x="55" y="102"/>
                    </a:lnTo>
                    <a:lnTo>
                      <a:pt x="56" y="99"/>
                    </a:lnTo>
                    <a:lnTo>
                      <a:pt x="59" y="99"/>
                    </a:lnTo>
                    <a:lnTo>
                      <a:pt x="61" y="98"/>
                    </a:lnTo>
                    <a:lnTo>
                      <a:pt x="61" y="96"/>
                    </a:lnTo>
                    <a:lnTo>
                      <a:pt x="63" y="94"/>
                    </a:lnTo>
                    <a:lnTo>
                      <a:pt x="64" y="95"/>
                    </a:lnTo>
                    <a:lnTo>
                      <a:pt x="66" y="92"/>
                    </a:lnTo>
                    <a:lnTo>
                      <a:pt x="68" y="94"/>
                    </a:lnTo>
                    <a:lnTo>
                      <a:pt x="71" y="93"/>
                    </a:lnTo>
                    <a:lnTo>
                      <a:pt x="72" y="95"/>
                    </a:lnTo>
                    <a:lnTo>
                      <a:pt x="75" y="95"/>
                    </a:lnTo>
                    <a:lnTo>
                      <a:pt x="77" y="93"/>
                    </a:lnTo>
                    <a:lnTo>
                      <a:pt x="81" y="91"/>
                    </a:lnTo>
                    <a:lnTo>
                      <a:pt x="83" y="91"/>
                    </a:lnTo>
                    <a:lnTo>
                      <a:pt x="85" y="89"/>
                    </a:lnTo>
                    <a:lnTo>
                      <a:pt x="85" y="88"/>
                    </a:lnTo>
                    <a:lnTo>
                      <a:pt x="87" y="89"/>
                    </a:lnTo>
                    <a:lnTo>
                      <a:pt x="88" y="91"/>
                    </a:lnTo>
                    <a:lnTo>
                      <a:pt x="86" y="92"/>
                    </a:lnTo>
                    <a:lnTo>
                      <a:pt x="86" y="95"/>
                    </a:lnTo>
                    <a:lnTo>
                      <a:pt x="90" y="96"/>
                    </a:lnTo>
                    <a:lnTo>
                      <a:pt x="92" y="95"/>
                    </a:lnTo>
                    <a:lnTo>
                      <a:pt x="93" y="93"/>
                    </a:lnTo>
                    <a:lnTo>
                      <a:pt x="95" y="92"/>
                    </a:lnTo>
                    <a:lnTo>
                      <a:pt x="97" y="92"/>
                    </a:lnTo>
                    <a:lnTo>
                      <a:pt x="97" y="93"/>
                    </a:lnTo>
                    <a:lnTo>
                      <a:pt x="95" y="96"/>
                    </a:lnTo>
                    <a:lnTo>
                      <a:pt x="96" y="99"/>
                    </a:lnTo>
                    <a:lnTo>
                      <a:pt x="99" y="100"/>
                    </a:lnTo>
                    <a:lnTo>
                      <a:pt x="103" y="99"/>
                    </a:lnTo>
                    <a:lnTo>
                      <a:pt x="108" y="97"/>
                    </a:lnTo>
                    <a:lnTo>
                      <a:pt x="110" y="97"/>
                    </a:lnTo>
                    <a:lnTo>
                      <a:pt x="113" y="96"/>
                    </a:lnTo>
                    <a:lnTo>
                      <a:pt x="115" y="98"/>
                    </a:lnTo>
                    <a:lnTo>
                      <a:pt x="116" y="97"/>
                    </a:lnTo>
                    <a:lnTo>
                      <a:pt x="116" y="96"/>
                    </a:lnTo>
                    <a:lnTo>
                      <a:pt x="117" y="95"/>
                    </a:lnTo>
                    <a:lnTo>
                      <a:pt x="119" y="94"/>
                    </a:lnTo>
                    <a:lnTo>
                      <a:pt x="120" y="92"/>
                    </a:lnTo>
                    <a:lnTo>
                      <a:pt x="120" y="90"/>
                    </a:lnTo>
                    <a:lnTo>
                      <a:pt x="123" y="88"/>
                    </a:lnTo>
                    <a:lnTo>
                      <a:pt x="124" y="87"/>
                    </a:lnTo>
                    <a:lnTo>
                      <a:pt x="127" y="82"/>
                    </a:lnTo>
                    <a:lnTo>
                      <a:pt x="127" y="80"/>
                    </a:lnTo>
                    <a:lnTo>
                      <a:pt x="128" y="78"/>
                    </a:lnTo>
                    <a:lnTo>
                      <a:pt x="130" y="78"/>
                    </a:lnTo>
                    <a:lnTo>
                      <a:pt x="133" y="77"/>
                    </a:lnTo>
                    <a:lnTo>
                      <a:pt x="136" y="73"/>
                    </a:lnTo>
                    <a:lnTo>
                      <a:pt x="139" y="65"/>
                    </a:lnTo>
                    <a:lnTo>
                      <a:pt x="140" y="61"/>
                    </a:lnTo>
                    <a:lnTo>
                      <a:pt x="139" y="58"/>
                    </a:lnTo>
                    <a:lnTo>
                      <a:pt x="137" y="53"/>
                    </a:lnTo>
                    <a:lnTo>
                      <a:pt x="133" y="50"/>
                    </a:lnTo>
                    <a:lnTo>
                      <a:pt x="132" y="50"/>
                    </a:lnTo>
                    <a:lnTo>
                      <a:pt x="127" y="54"/>
                    </a:lnTo>
                    <a:lnTo>
                      <a:pt x="127" y="58"/>
                    </a:lnTo>
                    <a:lnTo>
                      <a:pt x="126" y="61"/>
                    </a:lnTo>
                    <a:lnTo>
                      <a:pt x="126" y="61"/>
                    </a:lnTo>
                    <a:lnTo>
                      <a:pt x="126" y="63"/>
                    </a:lnTo>
                    <a:lnTo>
                      <a:pt x="123" y="63"/>
                    </a:lnTo>
                    <a:lnTo>
                      <a:pt x="121" y="66"/>
                    </a:lnTo>
                    <a:lnTo>
                      <a:pt x="120" y="65"/>
                    </a:lnTo>
                    <a:lnTo>
                      <a:pt x="123" y="60"/>
                    </a:lnTo>
                    <a:lnTo>
                      <a:pt x="123" y="55"/>
                    </a:lnTo>
                    <a:lnTo>
                      <a:pt x="119" y="53"/>
                    </a:lnTo>
                    <a:lnTo>
                      <a:pt x="117" y="54"/>
                    </a:lnTo>
                    <a:lnTo>
                      <a:pt x="116" y="56"/>
                    </a:lnTo>
                    <a:lnTo>
                      <a:pt x="110" y="59"/>
                    </a:lnTo>
                    <a:lnTo>
                      <a:pt x="109" y="62"/>
                    </a:lnTo>
                    <a:lnTo>
                      <a:pt x="108" y="61"/>
                    </a:lnTo>
                    <a:lnTo>
                      <a:pt x="109" y="58"/>
                    </a:lnTo>
                    <a:lnTo>
                      <a:pt x="113" y="53"/>
                    </a:lnTo>
                    <a:lnTo>
                      <a:pt x="117" y="50"/>
                    </a:lnTo>
                    <a:lnTo>
                      <a:pt x="120" y="46"/>
                    </a:lnTo>
                    <a:lnTo>
                      <a:pt x="119" y="44"/>
                    </a:lnTo>
                    <a:lnTo>
                      <a:pt x="115" y="44"/>
                    </a:lnTo>
                    <a:lnTo>
                      <a:pt x="112" y="45"/>
                    </a:lnTo>
                    <a:lnTo>
                      <a:pt x="111" y="45"/>
                    </a:lnTo>
                    <a:lnTo>
                      <a:pt x="111" y="44"/>
                    </a:lnTo>
                    <a:lnTo>
                      <a:pt x="113" y="42"/>
                    </a:lnTo>
                    <a:lnTo>
                      <a:pt x="117" y="37"/>
                    </a:lnTo>
                    <a:lnTo>
                      <a:pt x="118" y="37"/>
                    </a:lnTo>
                    <a:lnTo>
                      <a:pt x="120" y="36"/>
                    </a:lnTo>
                    <a:lnTo>
                      <a:pt x="120" y="28"/>
                    </a:lnTo>
                    <a:lnTo>
                      <a:pt x="119" y="27"/>
                    </a:lnTo>
                    <a:lnTo>
                      <a:pt x="119" y="23"/>
                    </a:lnTo>
                    <a:lnTo>
                      <a:pt x="120" y="20"/>
                    </a:lnTo>
                    <a:lnTo>
                      <a:pt x="120" y="16"/>
                    </a:lnTo>
                    <a:lnTo>
                      <a:pt x="121" y="15"/>
                    </a:lnTo>
                    <a:lnTo>
                      <a:pt x="124" y="14"/>
                    </a:lnTo>
                    <a:lnTo>
                      <a:pt x="125" y="13"/>
                    </a:lnTo>
                    <a:lnTo>
                      <a:pt x="123" y="9"/>
                    </a:lnTo>
                    <a:lnTo>
                      <a:pt x="124" y="8"/>
                    </a:lnTo>
                    <a:lnTo>
                      <a:pt x="120" y="6"/>
                    </a:lnTo>
                    <a:lnTo>
                      <a:pt x="118" y="5"/>
                    </a:lnTo>
                    <a:lnTo>
                      <a:pt x="112" y="13"/>
                    </a:lnTo>
                    <a:lnTo>
                      <a:pt x="109" y="13"/>
                    </a:lnTo>
                    <a:lnTo>
                      <a:pt x="108" y="16"/>
                    </a:lnTo>
                    <a:lnTo>
                      <a:pt x="108" y="19"/>
                    </a:lnTo>
                    <a:lnTo>
                      <a:pt x="106" y="18"/>
                    </a:lnTo>
                    <a:lnTo>
                      <a:pt x="104" y="18"/>
                    </a:lnTo>
                    <a:lnTo>
                      <a:pt x="102" y="20"/>
                    </a:lnTo>
                    <a:lnTo>
                      <a:pt x="99" y="23"/>
                    </a:lnTo>
                    <a:lnTo>
                      <a:pt x="100" y="28"/>
                    </a:lnTo>
                    <a:lnTo>
                      <a:pt x="100" y="32"/>
                    </a:lnTo>
                    <a:lnTo>
                      <a:pt x="102" y="34"/>
                    </a:lnTo>
                    <a:lnTo>
                      <a:pt x="103" y="38"/>
                    </a:lnTo>
                    <a:lnTo>
                      <a:pt x="102" y="43"/>
                    </a:lnTo>
                    <a:lnTo>
                      <a:pt x="99" y="43"/>
                    </a:lnTo>
                    <a:lnTo>
                      <a:pt x="95" y="44"/>
                    </a:lnTo>
                    <a:lnTo>
                      <a:pt x="93" y="44"/>
                    </a:lnTo>
                    <a:lnTo>
                      <a:pt x="92" y="47"/>
                    </a:lnTo>
                    <a:lnTo>
                      <a:pt x="94" y="49"/>
                    </a:lnTo>
                    <a:lnTo>
                      <a:pt x="93" y="51"/>
                    </a:lnTo>
                    <a:lnTo>
                      <a:pt x="96" y="55"/>
                    </a:lnTo>
                    <a:lnTo>
                      <a:pt x="97" y="61"/>
                    </a:lnTo>
                    <a:lnTo>
                      <a:pt x="92" y="63"/>
                    </a:lnTo>
                    <a:lnTo>
                      <a:pt x="94" y="65"/>
                    </a:lnTo>
                    <a:lnTo>
                      <a:pt x="94" y="66"/>
                    </a:lnTo>
                    <a:lnTo>
                      <a:pt x="92" y="67"/>
                    </a:lnTo>
                    <a:lnTo>
                      <a:pt x="90" y="64"/>
                    </a:lnTo>
                    <a:lnTo>
                      <a:pt x="85" y="61"/>
                    </a:lnTo>
                    <a:lnTo>
                      <a:pt x="84" y="62"/>
                    </a:lnTo>
                    <a:lnTo>
                      <a:pt x="80" y="61"/>
                    </a:lnTo>
                    <a:lnTo>
                      <a:pt x="80" y="5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4" name="Freeform 1118">
                <a:extLst>
                  <a:ext uri="{FF2B5EF4-FFF2-40B4-BE49-F238E27FC236}">
                    <a16:creationId xmlns:a16="http://schemas.microsoft.com/office/drawing/2014/main" id="{ED058EDD-4A31-4DB9-BE10-24753BC4ED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2" y="855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3 h 4"/>
                  <a:gd name="T4" fmla="*/ 4 w 4"/>
                  <a:gd name="T5" fmla="*/ 1 h 4"/>
                  <a:gd name="T6" fmla="*/ 1 w 4"/>
                  <a:gd name="T7" fmla="*/ 0 h 4"/>
                  <a:gd name="T8" fmla="*/ 0 w 4"/>
                  <a:gd name="T9" fmla="*/ 1 h 4"/>
                  <a:gd name="T10" fmla="*/ 1 w 4"/>
                  <a:gd name="T11" fmla="*/ 3 h 4"/>
                  <a:gd name="T12" fmla="*/ 4 w 4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3"/>
                    </a:lnTo>
                    <a:lnTo>
                      <a:pt x="4" y="1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" name="Freeform 1119">
                <a:extLst>
                  <a:ext uri="{FF2B5EF4-FFF2-40B4-BE49-F238E27FC236}">
                    <a16:creationId xmlns:a16="http://schemas.microsoft.com/office/drawing/2014/main" id="{FDC313D4-823F-45B7-A7EA-3FA368D0C4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1" y="1803"/>
                <a:ext cx="3" cy="5"/>
              </a:xfrm>
              <a:custGeom>
                <a:avLst/>
                <a:gdLst>
                  <a:gd name="T0" fmla="*/ 0 w 4"/>
                  <a:gd name="T1" fmla="*/ 6 h 7"/>
                  <a:gd name="T2" fmla="*/ 1 w 4"/>
                  <a:gd name="T3" fmla="*/ 7 h 7"/>
                  <a:gd name="T4" fmla="*/ 3 w 4"/>
                  <a:gd name="T5" fmla="*/ 6 h 7"/>
                  <a:gd name="T6" fmla="*/ 4 w 4"/>
                  <a:gd name="T7" fmla="*/ 3 h 7"/>
                  <a:gd name="T8" fmla="*/ 4 w 4"/>
                  <a:gd name="T9" fmla="*/ 0 h 7"/>
                  <a:gd name="T10" fmla="*/ 1 w 4"/>
                  <a:gd name="T11" fmla="*/ 2 h 7"/>
                  <a:gd name="T12" fmla="*/ 0 w 4"/>
                  <a:gd name="T1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7">
                    <a:moveTo>
                      <a:pt x="0" y="6"/>
                    </a:moveTo>
                    <a:cubicBezTo>
                      <a:pt x="0" y="6"/>
                      <a:pt x="1" y="7"/>
                      <a:pt x="1" y="7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2"/>
                      <a:pt x="1" y="2"/>
                      <a:pt x="1" y="2"/>
                    </a:cubicBezTo>
                    <a:lnTo>
                      <a:pt x="0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" name="Freeform 1120">
                <a:extLst>
                  <a:ext uri="{FF2B5EF4-FFF2-40B4-BE49-F238E27FC236}">
                    <a16:creationId xmlns:a16="http://schemas.microsoft.com/office/drawing/2014/main" id="{FC07A75A-3EE2-419D-97A5-81246DEF1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1" y="876"/>
                <a:ext cx="6" cy="9"/>
              </a:xfrm>
              <a:custGeom>
                <a:avLst/>
                <a:gdLst>
                  <a:gd name="T0" fmla="*/ 5 w 6"/>
                  <a:gd name="T1" fmla="*/ 3 h 9"/>
                  <a:gd name="T2" fmla="*/ 6 w 6"/>
                  <a:gd name="T3" fmla="*/ 1 h 9"/>
                  <a:gd name="T4" fmla="*/ 5 w 6"/>
                  <a:gd name="T5" fmla="*/ 0 h 9"/>
                  <a:gd name="T6" fmla="*/ 3 w 6"/>
                  <a:gd name="T7" fmla="*/ 1 h 9"/>
                  <a:gd name="T8" fmla="*/ 2 w 6"/>
                  <a:gd name="T9" fmla="*/ 3 h 9"/>
                  <a:gd name="T10" fmla="*/ 1 w 6"/>
                  <a:gd name="T11" fmla="*/ 6 h 9"/>
                  <a:gd name="T12" fmla="*/ 0 w 6"/>
                  <a:gd name="T13" fmla="*/ 9 h 9"/>
                  <a:gd name="T14" fmla="*/ 2 w 6"/>
                  <a:gd name="T15" fmla="*/ 9 h 9"/>
                  <a:gd name="T16" fmla="*/ 5 w 6"/>
                  <a:gd name="T17" fmla="*/ 5 h 9"/>
                  <a:gd name="T18" fmla="*/ 5 w 6"/>
                  <a:gd name="T1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9">
                    <a:moveTo>
                      <a:pt x="5" y="3"/>
                    </a:moveTo>
                    <a:lnTo>
                      <a:pt x="6" y="1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2" y="3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5" y="5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" name="Freeform 1121">
                <a:extLst>
                  <a:ext uri="{FF2B5EF4-FFF2-40B4-BE49-F238E27FC236}">
                    <a16:creationId xmlns:a16="http://schemas.microsoft.com/office/drawing/2014/main" id="{3E7EBAB5-3BA2-4FBC-9457-8A19EBBF36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8" y="1373"/>
                <a:ext cx="5" cy="6"/>
              </a:xfrm>
              <a:custGeom>
                <a:avLst/>
                <a:gdLst>
                  <a:gd name="T0" fmla="*/ 4 w 6"/>
                  <a:gd name="T1" fmla="*/ 6 h 8"/>
                  <a:gd name="T2" fmla="*/ 6 w 6"/>
                  <a:gd name="T3" fmla="*/ 2 h 8"/>
                  <a:gd name="T4" fmla="*/ 4 w 6"/>
                  <a:gd name="T5" fmla="*/ 0 h 8"/>
                  <a:gd name="T6" fmla="*/ 3 w 6"/>
                  <a:gd name="T7" fmla="*/ 1 h 8"/>
                  <a:gd name="T8" fmla="*/ 1 w 6"/>
                  <a:gd name="T9" fmla="*/ 3 h 8"/>
                  <a:gd name="T10" fmla="*/ 0 w 6"/>
                  <a:gd name="T11" fmla="*/ 7 h 8"/>
                  <a:gd name="T12" fmla="*/ 2 w 6"/>
                  <a:gd name="T13" fmla="*/ 7 h 8"/>
                  <a:gd name="T14" fmla="*/ 4 w 6"/>
                  <a:gd name="T1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8">
                    <a:moveTo>
                      <a:pt x="4" y="6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8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" name="Freeform 1122">
                <a:extLst>
                  <a:ext uri="{FF2B5EF4-FFF2-40B4-BE49-F238E27FC236}">
                    <a16:creationId xmlns:a16="http://schemas.microsoft.com/office/drawing/2014/main" id="{ED3C892F-7626-4736-A4D7-FB923852A9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6" y="1856"/>
                <a:ext cx="4" cy="5"/>
              </a:xfrm>
              <a:custGeom>
                <a:avLst/>
                <a:gdLst>
                  <a:gd name="T0" fmla="*/ 3 w 5"/>
                  <a:gd name="T1" fmla="*/ 1 h 6"/>
                  <a:gd name="T2" fmla="*/ 2 w 5"/>
                  <a:gd name="T3" fmla="*/ 2 h 6"/>
                  <a:gd name="T4" fmla="*/ 1 w 5"/>
                  <a:gd name="T5" fmla="*/ 1 h 6"/>
                  <a:gd name="T6" fmla="*/ 0 w 5"/>
                  <a:gd name="T7" fmla="*/ 0 h 6"/>
                  <a:gd name="T8" fmla="*/ 0 w 5"/>
                  <a:gd name="T9" fmla="*/ 2 h 6"/>
                  <a:gd name="T10" fmla="*/ 1 w 5"/>
                  <a:gd name="T11" fmla="*/ 6 h 6"/>
                  <a:gd name="T12" fmla="*/ 3 w 5"/>
                  <a:gd name="T13" fmla="*/ 6 h 6"/>
                  <a:gd name="T14" fmla="*/ 5 w 5"/>
                  <a:gd name="T15" fmla="*/ 4 h 6"/>
                  <a:gd name="T16" fmla="*/ 5 w 5"/>
                  <a:gd name="T17" fmla="*/ 3 h 6"/>
                  <a:gd name="T18" fmla="*/ 3 w 5"/>
                  <a:gd name="T1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6">
                    <a:moveTo>
                      <a:pt x="3" y="1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3" y="6"/>
                      <a:pt x="3" y="6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" name="Freeform 1123">
                <a:extLst>
                  <a:ext uri="{FF2B5EF4-FFF2-40B4-BE49-F238E27FC236}">
                    <a16:creationId xmlns:a16="http://schemas.microsoft.com/office/drawing/2014/main" id="{3A7AB687-47D3-4553-A624-7D32209248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7" y="1357"/>
                <a:ext cx="4" cy="6"/>
              </a:xfrm>
              <a:custGeom>
                <a:avLst/>
                <a:gdLst>
                  <a:gd name="T0" fmla="*/ 2 w 4"/>
                  <a:gd name="T1" fmla="*/ 6 h 6"/>
                  <a:gd name="T2" fmla="*/ 4 w 4"/>
                  <a:gd name="T3" fmla="*/ 5 h 6"/>
                  <a:gd name="T4" fmla="*/ 4 w 4"/>
                  <a:gd name="T5" fmla="*/ 1 h 6"/>
                  <a:gd name="T6" fmla="*/ 2 w 4"/>
                  <a:gd name="T7" fmla="*/ 0 h 6"/>
                  <a:gd name="T8" fmla="*/ 0 w 4"/>
                  <a:gd name="T9" fmla="*/ 2 h 6"/>
                  <a:gd name="T10" fmla="*/ 0 w 4"/>
                  <a:gd name="T11" fmla="*/ 6 h 6"/>
                  <a:gd name="T12" fmla="*/ 2 w 4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4" y="5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" name="Freeform 1124">
                <a:extLst>
                  <a:ext uri="{FF2B5EF4-FFF2-40B4-BE49-F238E27FC236}">
                    <a16:creationId xmlns:a16="http://schemas.microsoft.com/office/drawing/2014/main" id="{C0FF2FC0-8599-40C3-AEA5-CD10BF567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0" y="892"/>
                <a:ext cx="4" cy="4"/>
              </a:xfrm>
              <a:custGeom>
                <a:avLst/>
                <a:gdLst>
                  <a:gd name="T0" fmla="*/ 5 w 5"/>
                  <a:gd name="T1" fmla="*/ 2 h 5"/>
                  <a:gd name="T2" fmla="*/ 3 w 5"/>
                  <a:gd name="T3" fmla="*/ 0 h 5"/>
                  <a:gd name="T4" fmla="*/ 2 w 5"/>
                  <a:gd name="T5" fmla="*/ 1 h 5"/>
                  <a:gd name="T6" fmla="*/ 0 w 5"/>
                  <a:gd name="T7" fmla="*/ 2 h 5"/>
                  <a:gd name="T8" fmla="*/ 2 w 5"/>
                  <a:gd name="T9" fmla="*/ 5 h 5"/>
                  <a:gd name="T10" fmla="*/ 5 w 5"/>
                  <a:gd name="T11" fmla="*/ 5 h 5"/>
                  <a:gd name="T12" fmla="*/ 5 w 5"/>
                  <a:gd name="T13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5">
                    <a:moveTo>
                      <a:pt x="5" y="2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2" y="1"/>
                      <a:pt x="2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5" y="5"/>
                      <a:pt x="5" y="5"/>
                      <a:pt x="5" y="5"/>
                    </a:cubicBezTo>
                    <a:lnTo>
                      <a:pt x="5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" name="Freeform 1125">
                <a:extLst>
                  <a:ext uri="{FF2B5EF4-FFF2-40B4-BE49-F238E27FC236}">
                    <a16:creationId xmlns:a16="http://schemas.microsoft.com/office/drawing/2014/main" id="{63A7A7F4-DAAD-4281-A848-AEDF33087E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9" y="1858"/>
                <a:ext cx="5" cy="5"/>
              </a:xfrm>
              <a:custGeom>
                <a:avLst/>
                <a:gdLst>
                  <a:gd name="T0" fmla="*/ 0 w 5"/>
                  <a:gd name="T1" fmla="*/ 4 h 5"/>
                  <a:gd name="T2" fmla="*/ 2 w 5"/>
                  <a:gd name="T3" fmla="*/ 5 h 5"/>
                  <a:gd name="T4" fmla="*/ 4 w 5"/>
                  <a:gd name="T5" fmla="*/ 4 h 5"/>
                  <a:gd name="T6" fmla="*/ 5 w 5"/>
                  <a:gd name="T7" fmla="*/ 2 h 5"/>
                  <a:gd name="T8" fmla="*/ 5 w 5"/>
                  <a:gd name="T9" fmla="*/ 0 h 5"/>
                  <a:gd name="T10" fmla="*/ 4 w 5"/>
                  <a:gd name="T11" fmla="*/ 0 h 5"/>
                  <a:gd name="T12" fmla="*/ 4 w 5"/>
                  <a:gd name="T13" fmla="*/ 0 h 5"/>
                  <a:gd name="T14" fmla="*/ 3 w 5"/>
                  <a:gd name="T15" fmla="*/ 3 h 5"/>
                  <a:gd name="T16" fmla="*/ 3 w 5"/>
                  <a:gd name="T17" fmla="*/ 3 h 5"/>
                  <a:gd name="T18" fmla="*/ 1 w 5"/>
                  <a:gd name="T19" fmla="*/ 2 h 5"/>
                  <a:gd name="T20" fmla="*/ 1 w 5"/>
                  <a:gd name="T21" fmla="*/ 3 h 5"/>
                  <a:gd name="T22" fmla="*/ 0 w 5"/>
                  <a:gd name="T23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5">
                    <a:moveTo>
                      <a:pt x="0" y="4"/>
                    </a:moveTo>
                    <a:lnTo>
                      <a:pt x="2" y="5"/>
                    </a:lnTo>
                    <a:lnTo>
                      <a:pt x="4" y="4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" name="Freeform 1126">
                <a:extLst>
                  <a:ext uri="{FF2B5EF4-FFF2-40B4-BE49-F238E27FC236}">
                    <a16:creationId xmlns:a16="http://schemas.microsoft.com/office/drawing/2014/main" id="{42A7F13E-646E-4589-9E26-6D79C1C732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4" y="1321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2 w 3"/>
                  <a:gd name="T3" fmla="*/ 2 h 2"/>
                  <a:gd name="T4" fmla="*/ 3 w 3"/>
                  <a:gd name="T5" fmla="*/ 1 h 2"/>
                  <a:gd name="T6" fmla="*/ 2 w 3"/>
                  <a:gd name="T7" fmla="*/ 0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2" y="2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" name="Freeform 1127">
                <a:extLst>
                  <a:ext uri="{FF2B5EF4-FFF2-40B4-BE49-F238E27FC236}">
                    <a16:creationId xmlns:a16="http://schemas.microsoft.com/office/drawing/2014/main" id="{D461B1F1-F305-40DB-B458-115EB5DCE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7" y="1286"/>
                <a:ext cx="4" cy="3"/>
              </a:xfrm>
              <a:custGeom>
                <a:avLst/>
                <a:gdLst>
                  <a:gd name="T0" fmla="*/ 0 w 4"/>
                  <a:gd name="T1" fmla="*/ 2 h 3"/>
                  <a:gd name="T2" fmla="*/ 1 w 4"/>
                  <a:gd name="T3" fmla="*/ 3 h 3"/>
                  <a:gd name="T4" fmla="*/ 3 w 4"/>
                  <a:gd name="T5" fmla="*/ 3 h 3"/>
                  <a:gd name="T6" fmla="*/ 4 w 4"/>
                  <a:gd name="T7" fmla="*/ 0 h 3"/>
                  <a:gd name="T8" fmla="*/ 2 w 4"/>
                  <a:gd name="T9" fmla="*/ 0 h 3"/>
                  <a:gd name="T10" fmla="*/ 0 w 4"/>
                  <a:gd name="T1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0" y="2"/>
                    </a:moveTo>
                    <a:lnTo>
                      <a:pt x="1" y="3"/>
                    </a:lnTo>
                    <a:lnTo>
                      <a:pt x="3" y="3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" name="Freeform 1128">
                <a:extLst>
                  <a:ext uri="{FF2B5EF4-FFF2-40B4-BE49-F238E27FC236}">
                    <a16:creationId xmlns:a16="http://schemas.microsoft.com/office/drawing/2014/main" id="{7B880729-8A2A-4939-B322-4FB494EBCC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0" y="929"/>
                <a:ext cx="4" cy="3"/>
              </a:xfrm>
              <a:custGeom>
                <a:avLst/>
                <a:gdLst>
                  <a:gd name="T0" fmla="*/ 3 w 4"/>
                  <a:gd name="T1" fmla="*/ 0 h 3"/>
                  <a:gd name="T2" fmla="*/ 0 w 4"/>
                  <a:gd name="T3" fmla="*/ 1 h 3"/>
                  <a:gd name="T4" fmla="*/ 2 w 4"/>
                  <a:gd name="T5" fmla="*/ 3 h 3"/>
                  <a:gd name="T6" fmla="*/ 4 w 4"/>
                  <a:gd name="T7" fmla="*/ 2 h 3"/>
                  <a:gd name="T8" fmla="*/ 3 w 4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3" y="0"/>
                    </a:moveTo>
                    <a:lnTo>
                      <a:pt x="0" y="1"/>
                    </a:lnTo>
                    <a:lnTo>
                      <a:pt x="2" y="3"/>
                    </a:lnTo>
                    <a:lnTo>
                      <a:pt x="4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5" name="Freeform 1129">
                <a:extLst>
                  <a:ext uri="{FF2B5EF4-FFF2-40B4-BE49-F238E27FC236}">
                    <a16:creationId xmlns:a16="http://schemas.microsoft.com/office/drawing/2014/main" id="{FDE5E1D2-925D-4B95-B3A7-417510345D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6" y="1336"/>
                <a:ext cx="4" cy="3"/>
              </a:xfrm>
              <a:custGeom>
                <a:avLst/>
                <a:gdLst>
                  <a:gd name="T0" fmla="*/ 2 w 5"/>
                  <a:gd name="T1" fmla="*/ 0 h 4"/>
                  <a:gd name="T2" fmla="*/ 0 w 5"/>
                  <a:gd name="T3" fmla="*/ 1 h 4"/>
                  <a:gd name="T4" fmla="*/ 3 w 5"/>
                  <a:gd name="T5" fmla="*/ 4 h 4"/>
                  <a:gd name="T6" fmla="*/ 5 w 5"/>
                  <a:gd name="T7" fmla="*/ 3 h 4"/>
                  <a:gd name="T8" fmla="*/ 4 w 5"/>
                  <a:gd name="T9" fmla="*/ 0 h 4"/>
                  <a:gd name="T10" fmla="*/ 2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2" y="0"/>
                    </a:moveTo>
                    <a:cubicBezTo>
                      <a:pt x="2" y="0"/>
                      <a:pt x="0" y="1"/>
                      <a:pt x="0" y="1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0"/>
                      <a:pt x="4" y="0"/>
                      <a:pt x="4" y="0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6" name="Freeform 1130">
                <a:extLst>
                  <a:ext uri="{FF2B5EF4-FFF2-40B4-BE49-F238E27FC236}">
                    <a16:creationId xmlns:a16="http://schemas.microsoft.com/office/drawing/2014/main" id="{313E2C49-D002-4EB7-BE11-7C831542E1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3" y="1283"/>
                <a:ext cx="4" cy="5"/>
              </a:xfrm>
              <a:custGeom>
                <a:avLst/>
                <a:gdLst>
                  <a:gd name="T0" fmla="*/ 0 w 4"/>
                  <a:gd name="T1" fmla="*/ 2 h 5"/>
                  <a:gd name="T2" fmla="*/ 0 w 4"/>
                  <a:gd name="T3" fmla="*/ 3 h 5"/>
                  <a:gd name="T4" fmla="*/ 0 w 4"/>
                  <a:gd name="T5" fmla="*/ 5 h 5"/>
                  <a:gd name="T6" fmla="*/ 2 w 4"/>
                  <a:gd name="T7" fmla="*/ 5 h 5"/>
                  <a:gd name="T8" fmla="*/ 4 w 4"/>
                  <a:gd name="T9" fmla="*/ 2 h 5"/>
                  <a:gd name="T10" fmla="*/ 4 w 4"/>
                  <a:gd name="T11" fmla="*/ 0 h 5"/>
                  <a:gd name="T12" fmla="*/ 2 w 4"/>
                  <a:gd name="T13" fmla="*/ 1 h 5"/>
                  <a:gd name="T14" fmla="*/ 0 w 4"/>
                  <a:gd name="T1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5">
                    <a:moveTo>
                      <a:pt x="0" y="2"/>
                    </a:move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7" name="Freeform 1131">
                <a:extLst>
                  <a:ext uri="{FF2B5EF4-FFF2-40B4-BE49-F238E27FC236}">
                    <a16:creationId xmlns:a16="http://schemas.microsoft.com/office/drawing/2014/main" id="{E41A4408-4499-48BD-9A1B-9DA7D80045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7" y="922"/>
                <a:ext cx="4" cy="6"/>
              </a:xfrm>
              <a:custGeom>
                <a:avLst/>
                <a:gdLst>
                  <a:gd name="T0" fmla="*/ 4 w 4"/>
                  <a:gd name="T1" fmla="*/ 5 h 6"/>
                  <a:gd name="T2" fmla="*/ 4 w 4"/>
                  <a:gd name="T3" fmla="*/ 1 h 6"/>
                  <a:gd name="T4" fmla="*/ 2 w 4"/>
                  <a:gd name="T5" fmla="*/ 0 h 6"/>
                  <a:gd name="T6" fmla="*/ 0 w 4"/>
                  <a:gd name="T7" fmla="*/ 0 h 6"/>
                  <a:gd name="T8" fmla="*/ 0 w 4"/>
                  <a:gd name="T9" fmla="*/ 2 h 6"/>
                  <a:gd name="T10" fmla="*/ 2 w 4"/>
                  <a:gd name="T11" fmla="*/ 6 h 6"/>
                  <a:gd name="T12" fmla="*/ 3 w 4"/>
                  <a:gd name="T13" fmla="*/ 6 h 6"/>
                  <a:gd name="T14" fmla="*/ 4 w 4"/>
                  <a:gd name="T15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6">
                    <a:moveTo>
                      <a:pt x="4" y="5"/>
                    </a:moveTo>
                    <a:lnTo>
                      <a:pt x="4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3" y="6"/>
                    </a:lnTo>
                    <a:lnTo>
                      <a:pt x="4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8" name="Freeform 1132">
                <a:extLst>
                  <a:ext uri="{FF2B5EF4-FFF2-40B4-BE49-F238E27FC236}">
                    <a16:creationId xmlns:a16="http://schemas.microsoft.com/office/drawing/2014/main" id="{8F606351-FFA6-4D44-A6C2-8FAC27E64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8" y="848"/>
                <a:ext cx="14" cy="17"/>
              </a:xfrm>
              <a:custGeom>
                <a:avLst/>
                <a:gdLst>
                  <a:gd name="T0" fmla="*/ 7 w 14"/>
                  <a:gd name="T1" fmla="*/ 16 h 17"/>
                  <a:gd name="T2" fmla="*/ 9 w 14"/>
                  <a:gd name="T3" fmla="*/ 15 h 17"/>
                  <a:gd name="T4" fmla="*/ 12 w 14"/>
                  <a:gd name="T5" fmla="*/ 17 h 17"/>
                  <a:gd name="T6" fmla="*/ 14 w 14"/>
                  <a:gd name="T7" fmla="*/ 17 h 17"/>
                  <a:gd name="T8" fmla="*/ 14 w 14"/>
                  <a:gd name="T9" fmla="*/ 11 h 17"/>
                  <a:gd name="T10" fmla="*/ 14 w 14"/>
                  <a:gd name="T11" fmla="*/ 7 h 17"/>
                  <a:gd name="T12" fmla="*/ 10 w 14"/>
                  <a:gd name="T13" fmla="*/ 2 h 17"/>
                  <a:gd name="T14" fmla="*/ 6 w 14"/>
                  <a:gd name="T15" fmla="*/ 0 h 17"/>
                  <a:gd name="T16" fmla="*/ 1 w 14"/>
                  <a:gd name="T17" fmla="*/ 1 h 17"/>
                  <a:gd name="T18" fmla="*/ 0 w 14"/>
                  <a:gd name="T19" fmla="*/ 4 h 17"/>
                  <a:gd name="T20" fmla="*/ 0 w 14"/>
                  <a:gd name="T21" fmla="*/ 9 h 17"/>
                  <a:gd name="T22" fmla="*/ 3 w 14"/>
                  <a:gd name="T23" fmla="*/ 12 h 17"/>
                  <a:gd name="T24" fmla="*/ 5 w 14"/>
                  <a:gd name="T25" fmla="*/ 16 h 17"/>
                  <a:gd name="T26" fmla="*/ 7 w 14"/>
                  <a:gd name="T27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" h="17">
                    <a:moveTo>
                      <a:pt x="7" y="16"/>
                    </a:moveTo>
                    <a:lnTo>
                      <a:pt x="9" y="15"/>
                    </a:lnTo>
                    <a:lnTo>
                      <a:pt x="12" y="17"/>
                    </a:lnTo>
                    <a:lnTo>
                      <a:pt x="14" y="17"/>
                    </a:lnTo>
                    <a:lnTo>
                      <a:pt x="14" y="11"/>
                    </a:lnTo>
                    <a:lnTo>
                      <a:pt x="14" y="7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3" y="12"/>
                    </a:lnTo>
                    <a:lnTo>
                      <a:pt x="5" y="16"/>
                    </a:lnTo>
                    <a:lnTo>
                      <a:pt x="7" y="1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9" name="Freeform 1133">
                <a:extLst>
                  <a:ext uri="{FF2B5EF4-FFF2-40B4-BE49-F238E27FC236}">
                    <a16:creationId xmlns:a16="http://schemas.microsoft.com/office/drawing/2014/main" id="{7A4675CF-FC59-468C-8303-82042D6CB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6" y="913"/>
                <a:ext cx="69" cy="80"/>
              </a:xfrm>
              <a:custGeom>
                <a:avLst/>
                <a:gdLst>
                  <a:gd name="T0" fmla="*/ 25 w 89"/>
                  <a:gd name="T1" fmla="*/ 17 h 104"/>
                  <a:gd name="T2" fmla="*/ 28 w 89"/>
                  <a:gd name="T3" fmla="*/ 20 h 104"/>
                  <a:gd name="T4" fmla="*/ 26 w 89"/>
                  <a:gd name="T5" fmla="*/ 27 h 104"/>
                  <a:gd name="T6" fmla="*/ 24 w 89"/>
                  <a:gd name="T7" fmla="*/ 36 h 104"/>
                  <a:gd name="T8" fmla="*/ 19 w 89"/>
                  <a:gd name="T9" fmla="*/ 43 h 104"/>
                  <a:gd name="T10" fmla="*/ 20 w 89"/>
                  <a:gd name="T11" fmla="*/ 53 h 104"/>
                  <a:gd name="T12" fmla="*/ 16 w 89"/>
                  <a:gd name="T13" fmla="*/ 45 h 104"/>
                  <a:gd name="T14" fmla="*/ 11 w 89"/>
                  <a:gd name="T15" fmla="*/ 42 h 104"/>
                  <a:gd name="T16" fmla="*/ 9 w 89"/>
                  <a:gd name="T17" fmla="*/ 49 h 104"/>
                  <a:gd name="T18" fmla="*/ 3 w 89"/>
                  <a:gd name="T19" fmla="*/ 51 h 104"/>
                  <a:gd name="T20" fmla="*/ 2 w 89"/>
                  <a:gd name="T21" fmla="*/ 57 h 104"/>
                  <a:gd name="T22" fmla="*/ 7 w 89"/>
                  <a:gd name="T23" fmla="*/ 56 h 104"/>
                  <a:gd name="T24" fmla="*/ 15 w 89"/>
                  <a:gd name="T25" fmla="*/ 57 h 104"/>
                  <a:gd name="T26" fmla="*/ 26 w 89"/>
                  <a:gd name="T27" fmla="*/ 60 h 104"/>
                  <a:gd name="T28" fmla="*/ 47 w 89"/>
                  <a:gd name="T29" fmla="*/ 65 h 104"/>
                  <a:gd name="T30" fmla="*/ 36 w 89"/>
                  <a:gd name="T31" fmla="*/ 67 h 104"/>
                  <a:gd name="T32" fmla="*/ 25 w 89"/>
                  <a:gd name="T33" fmla="*/ 70 h 104"/>
                  <a:gd name="T34" fmla="*/ 28 w 89"/>
                  <a:gd name="T35" fmla="*/ 74 h 104"/>
                  <a:gd name="T36" fmla="*/ 17 w 89"/>
                  <a:gd name="T37" fmla="*/ 73 h 104"/>
                  <a:gd name="T38" fmla="*/ 15 w 89"/>
                  <a:gd name="T39" fmla="*/ 74 h 104"/>
                  <a:gd name="T40" fmla="*/ 14 w 89"/>
                  <a:gd name="T41" fmla="*/ 78 h 104"/>
                  <a:gd name="T42" fmla="*/ 18 w 89"/>
                  <a:gd name="T43" fmla="*/ 83 h 104"/>
                  <a:gd name="T44" fmla="*/ 17 w 89"/>
                  <a:gd name="T45" fmla="*/ 84 h 104"/>
                  <a:gd name="T46" fmla="*/ 14 w 89"/>
                  <a:gd name="T47" fmla="*/ 90 h 104"/>
                  <a:gd name="T48" fmla="*/ 15 w 89"/>
                  <a:gd name="T49" fmla="*/ 98 h 104"/>
                  <a:gd name="T50" fmla="*/ 22 w 89"/>
                  <a:gd name="T51" fmla="*/ 100 h 104"/>
                  <a:gd name="T52" fmla="*/ 25 w 89"/>
                  <a:gd name="T53" fmla="*/ 98 h 104"/>
                  <a:gd name="T54" fmla="*/ 30 w 89"/>
                  <a:gd name="T55" fmla="*/ 98 h 104"/>
                  <a:gd name="T56" fmla="*/ 42 w 89"/>
                  <a:gd name="T57" fmla="*/ 104 h 104"/>
                  <a:gd name="T58" fmla="*/ 44 w 89"/>
                  <a:gd name="T59" fmla="*/ 94 h 104"/>
                  <a:gd name="T60" fmla="*/ 46 w 89"/>
                  <a:gd name="T61" fmla="*/ 98 h 104"/>
                  <a:gd name="T62" fmla="*/ 50 w 89"/>
                  <a:gd name="T63" fmla="*/ 97 h 104"/>
                  <a:gd name="T64" fmla="*/ 52 w 89"/>
                  <a:gd name="T65" fmla="*/ 90 h 104"/>
                  <a:gd name="T66" fmla="*/ 48 w 89"/>
                  <a:gd name="T67" fmla="*/ 86 h 104"/>
                  <a:gd name="T68" fmla="*/ 55 w 89"/>
                  <a:gd name="T69" fmla="*/ 81 h 104"/>
                  <a:gd name="T70" fmla="*/ 60 w 89"/>
                  <a:gd name="T71" fmla="*/ 78 h 104"/>
                  <a:gd name="T72" fmla="*/ 61 w 89"/>
                  <a:gd name="T73" fmla="*/ 81 h 104"/>
                  <a:gd name="T74" fmla="*/ 62 w 89"/>
                  <a:gd name="T75" fmla="*/ 68 h 104"/>
                  <a:gd name="T76" fmla="*/ 65 w 89"/>
                  <a:gd name="T77" fmla="*/ 65 h 104"/>
                  <a:gd name="T78" fmla="*/ 69 w 89"/>
                  <a:gd name="T79" fmla="*/ 59 h 104"/>
                  <a:gd name="T80" fmla="*/ 77 w 89"/>
                  <a:gd name="T81" fmla="*/ 47 h 104"/>
                  <a:gd name="T82" fmla="*/ 81 w 89"/>
                  <a:gd name="T83" fmla="*/ 37 h 104"/>
                  <a:gd name="T84" fmla="*/ 89 w 89"/>
                  <a:gd name="T85" fmla="*/ 23 h 104"/>
                  <a:gd name="T86" fmla="*/ 82 w 89"/>
                  <a:gd name="T87" fmla="*/ 14 h 104"/>
                  <a:gd name="T88" fmla="*/ 84 w 89"/>
                  <a:gd name="T89" fmla="*/ 11 h 104"/>
                  <a:gd name="T90" fmla="*/ 81 w 89"/>
                  <a:gd name="T91" fmla="*/ 5 h 104"/>
                  <a:gd name="T92" fmla="*/ 79 w 89"/>
                  <a:gd name="T93" fmla="*/ 11 h 104"/>
                  <a:gd name="T94" fmla="*/ 74 w 89"/>
                  <a:gd name="T95" fmla="*/ 18 h 104"/>
                  <a:gd name="T96" fmla="*/ 69 w 89"/>
                  <a:gd name="T97" fmla="*/ 21 h 104"/>
                  <a:gd name="T98" fmla="*/ 69 w 89"/>
                  <a:gd name="T99" fmla="*/ 15 h 104"/>
                  <a:gd name="T100" fmla="*/ 66 w 89"/>
                  <a:gd name="T101" fmla="*/ 5 h 104"/>
                  <a:gd name="T102" fmla="*/ 60 w 89"/>
                  <a:gd name="T103" fmla="*/ 0 h 104"/>
                  <a:gd name="T104" fmla="*/ 51 w 89"/>
                  <a:gd name="T105" fmla="*/ 5 h 104"/>
                  <a:gd name="T106" fmla="*/ 46 w 89"/>
                  <a:gd name="T107" fmla="*/ 13 h 104"/>
                  <a:gd name="T108" fmla="*/ 49 w 89"/>
                  <a:gd name="T109" fmla="*/ 25 h 104"/>
                  <a:gd name="T110" fmla="*/ 44 w 89"/>
                  <a:gd name="T111" fmla="*/ 25 h 104"/>
                  <a:gd name="T112" fmla="*/ 49 w 89"/>
                  <a:gd name="T113" fmla="*/ 35 h 104"/>
                  <a:gd name="T114" fmla="*/ 47 w 89"/>
                  <a:gd name="T115" fmla="*/ 46 h 104"/>
                  <a:gd name="T116" fmla="*/ 39 w 89"/>
                  <a:gd name="T117" fmla="*/ 44 h 104"/>
                  <a:gd name="T118" fmla="*/ 37 w 89"/>
                  <a:gd name="T119" fmla="*/ 26 h 104"/>
                  <a:gd name="T120" fmla="*/ 37 w 89"/>
                  <a:gd name="T121" fmla="*/ 17 h 104"/>
                  <a:gd name="T122" fmla="*/ 33 w 89"/>
                  <a:gd name="T123" fmla="*/ 1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9" h="104">
                    <a:moveTo>
                      <a:pt x="29" y="12"/>
                    </a:moveTo>
                    <a:cubicBezTo>
                      <a:pt x="28" y="14"/>
                      <a:pt x="28" y="14"/>
                      <a:pt x="28" y="14"/>
                    </a:cubicBezTo>
                    <a:cubicBezTo>
                      <a:pt x="25" y="17"/>
                      <a:pt x="25" y="17"/>
                      <a:pt x="25" y="17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6" y="20"/>
                      <a:pt x="26" y="20"/>
                      <a:pt x="26" y="20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21" y="35"/>
                      <a:pt x="21" y="35"/>
                      <a:pt x="21" y="35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0" y="40"/>
                      <a:pt x="20" y="40"/>
                      <a:pt x="20" y="40"/>
                    </a:cubicBezTo>
                    <a:cubicBezTo>
                      <a:pt x="19" y="43"/>
                      <a:pt x="19" y="43"/>
                      <a:pt x="19" y="43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1" y="51"/>
                      <a:pt x="21" y="51"/>
                      <a:pt x="21" y="51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8" y="46"/>
                      <a:pt x="18" y="46"/>
                      <a:pt x="18" y="46"/>
                    </a:cubicBezTo>
                    <a:cubicBezTo>
                      <a:pt x="16" y="45"/>
                      <a:pt x="16" y="45"/>
                      <a:pt x="16" y="45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4" y="42"/>
                      <a:pt x="14" y="42"/>
                      <a:pt x="14" y="42"/>
                    </a:cubicBezTo>
                    <a:cubicBezTo>
                      <a:pt x="11" y="42"/>
                      <a:pt x="11" y="42"/>
                      <a:pt x="11" y="42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8" y="47"/>
                      <a:pt x="8" y="47"/>
                      <a:pt x="8" y="47"/>
                    </a:cubicBezTo>
                    <a:cubicBezTo>
                      <a:pt x="9" y="49"/>
                      <a:pt x="9" y="49"/>
                      <a:pt x="9" y="49"/>
                    </a:cubicBezTo>
                    <a:cubicBezTo>
                      <a:pt x="7" y="50"/>
                      <a:pt x="7" y="50"/>
                      <a:pt x="7" y="50"/>
                    </a:cubicBezTo>
                    <a:cubicBezTo>
                      <a:pt x="5" y="49"/>
                      <a:pt x="5" y="49"/>
                      <a:pt x="5" y="49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2" y="57"/>
                      <a:pt x="2" y="57"/>
                      <a:pt x="2" y="57"/>
                    </a:cubicBezTo>
                    <a:cubicBezTo>
                      <a:pt x="4" y="57"/>
                      <a:pt x="4" y="57"/>
                      <a:pt x="4" y="57"/>
                    </a:cubicBezTo>
                    <a:cubicBezTo>
                      <a:pt x="6" y="58"/>
                      <a:pt x="6" y="58"/>
                      <a:pt x="6" y="58"/>
                    </a:cubicBezTo>
                    <a:cubicBezTo>
                      <a:pt x="7" y="56"/>
                      <a:pt x="7" y="56"/>
                      <a:pt x="7" y="56"/>
                    </a:cubicBezTo>
                    <a:cubicBezTo>
                      <a:pt x="10" y="56"/>
                      <a:pt x="10" y="56"/>
                      <a:pt x="10" y="56"/>
                    </a:cubicBezTo>
                    <a:cubicBezTo>
                      <a:pt x="13" y="58"/>
                      <a:pt x="13" y="58"/>
                      <a:pt x="13" y="58"/>
                    </a:cubicBezTo>
                    <a:cubicBezTo>
                      <a:pt x="15" y="57"/>
                      <a:pt x="15" y="57"/>
                      <a:pt x="15" y="57"/>
                    </a:cubicBezTo>
                    <a:cubicBezTo>
                      <a:pt x="19" y="59"/>
                      <a:pt x="19" y="59"/>
                      <a:pt x="19" y="59"/>
                    </a:cubicBezTo>
                    <a:cubicBezTo>
                      <a:pt x="24" y="58"/>
                      <a:pt x="24" y="58"/>
                      <a:pt x="24" y="58"/>
                    </a:cubicBezTo>
                    <a:cubicBezTo>
                      <a:pt x="26" y="60"/>
                      <a:pt x="26" y="60"/>
                      <a:pt x="26" y="60"/>
                    </a:cubicBezTo>
                    <a:cubicBezTo>
                      <a:pt x="30" y="60"/>
                      <a:pt x="30" y="60"/>
                      <a:pt x="30" y="60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7" y="65"/>
                      <a:pt x="47" y="65"/>
                      <a:pt x="47" y="65"/>
                    </a:cubicBezTo>
                    <a:cubicBezTo>
                      <a:pt x="44" y="67"/>
                      <a:pt x="44" y="67"/>
                      <a:pt x="44" y="67"/>
                    </a:cubicBezTo>
                    <a:cubicBezTo>
                      <a:pt x="40" y="67"/>
                      <a:pt x="40" y="67"/>
                      <a:pt x="40" y="67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32" y="69"/>
                      <a:pt x="32" y="69"/>
                      <a:pt x="32" y="69"/>
                    </a:cubicBezTo>
                    <a:cubicBezTo>
                      <a:pt x="27" y="70"/>
                      <a:pt x="27" y="70"/>
                      <a:pt x="27" y="70"/>
                    </a:cubicBezTo>
                    <a:cubicBezTo>
                      <a:pt x="25" y="70"/>
                      <a:pt x="25" y="70"/>
                      <a:pt x="25" y="70"/>
                    </a:cubicBezTo>
                    <a:cubicBezTo>
                      <a:pt x="28" y="70"/>
                      <a:pt x="28" y="70"/>
                      <a:pt x="28" y="70"/>
                    </a:cubicBezTo>
                    <a:cubicBezTo>
                      <a:pt x="30" y="73"/>
                      <a:pt x="30" y="73"/>
                      <a:pt x="30" y="73"/>
                    </a:cubicBezTo>
                    <a:cubicBezTo>
                      <a:pt x="28" y="74"/>
                      <a:pt x="28" y="74"/>
                      <a:pt x="28" y="74"/>
                    </a:cubicBezTo>
                    <a:cubicBezTo>
                      <a:pt x="22" y="72"/>
                      <a:pt x="22" y="72"/>
                      <a:pt x="22" y="72"/>
                    </a:cubicBezTo>
                    <a:cubicBezTo>
                      <a:pt x="20" y="71"/>
                      <a:pt x="20" y="71"/>
                      <a:pt x="20" y="71"/>
                    </a:cubicBezTo>
                    <a:cubicBezTo>
                      <a:pt x="17" y="73"/>
                      <a:pt x="17" y="73"/>
                      <a:pt x="17" y="73"/>
                    </a:cubicBezTo>
                    <a:cubicBezTo>
                      <a:pt x="18" y="75"/>
                      <a:pt x="18" y="75"/>
                      <a:pt x="18" y="75"/>
                    </a:cubicBezTo>
                    <a:cubicBezTo>
                      <a:pt x="17" y="76"/>
                      <a:pt x="17" y="76"/>
                      <a:pt x="17" y="76"/>
                    </a:cubicBezTo>
                    <a:cubicBezTo>
                      <a:pt x="15" y="74"/>
                      <a:pt x="15" y="74"/>
                      <a:pt x="15" y="74"/>
                    </a:cubicBezTo>
                    <a:cubicBezTo>
                      <a:pt x="14" y="74"/>
                      <a:pt x="14" y="74"/>
                      <a:pt x="14" y="74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4" y="78"/>
                      <a:pt x="14" y="78"/>
                      <a:pt x="14" y="78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9" y="81"/>
                      <a:pt x="19" y="81"/>
                      <a:pt x="19" y="81"/>
                    </a:cubicBezTo>
                    <a:cubicBezTo>
                      <a:pt x="18" y="83"/>
                      <a:pt x="18" y="83"/>
                      <a:pt x="18" y="83"/>
                    </a:cubicBezTo>
                    <a:cubicBezTo>
                      <a:pt x="20" y="87"/>
                      <a:pt x="20" y="87"/>
                      <a:pt x="20" y="87"/>
                    </a:cubicBezTo>
                    <a:cubicBezTo>
                      <a:pt x="18" y="87"/>
                      <a:pt x="18" y="87"/>
                      <a:pt x="18" y="87"/>
                    </a:cubicBezTo>
                    <a:cubicBezTo>
                      <a:pt x="17" y="84"/>
                      <a:pt x="17" y="84"/>
                      <a:pt x="17" y="84"/>
                    </a:cubicBezTo>
                    <a:cubicBezTo>
                      <a:pt x="15" y="84"/>
                      <a:pt x="15" y="84"/>
                      <a:pt x="15" y="84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4" y="90"/>
                      <a:pt x="14" y="90"/>
                      <a:pt x="14" y="90"/>
                    </a:cubicBezTo>
                    <a:cubicBezTo>
                      <a:pt x="13" y="92"/>
                      <a:pt x="13" y="92"/>
                      <a:pt x="13" y="92"/>
                    </a:cubicBezTo>
                    <a:cubicBezTo>
                      <a:pt x="13" y="96"/>
                      <a:pt x="13" y="96"/>
                      <a:pt x="13" y="96"/>
                    </a:cubicBezTo>
                    <a:cubicBezTo>
                      <a:pt x="15" y="98"/>
                      <a:pt x="15" y="98"/>
                      <a:pt x="15" y="98"/>
                    </a:cubicBezTo>
                    <a:cubicBezTo>
                      <a:pt x="18" y="98"/>
                      <a:pt x="18" y="98"/>
                      <a:pt x="18" y="98"/>
                    </a:cubicBezTo>
                    <a:cubicBezTo>
                      <a:pt x="20" y="100"/>
                      <a:pt x="20" y="100"/>
                      <a:pt x="20" y="100"/>
                    </a:cubicBezTo>
                    <a:cubicBezTo>
                      <a:pt x="22" y="100"/>
                      <a:pt x="22" y="100"/>
                      <a:pt x="22" y="100"/>
                    </a:cubicBezTo>
                    <a:cubicBezTo>
                      <a:pt x="23" y="97"/>
                      <a:pt x="23" y="97"/>
                      <a:pt x="23" y="97"/>
                    </a:cubicBezTo>
                    <a:cubicBezTo>
                      <a:pt x="28" y="95"/>
                      <a:pt x="28" y="95"/>
                      <a:pt x="28" y="95"/>
                    </a:cubicBezTo>
                    <a:cubicBezTo>
                      <a:pt x="25" y="98"/>
                      <a:pt x="25" y="98"/>
                      <a:pt x="25" y="98"/>
                    </a:cubicBezTo>
                    <a:cubicBezTo>
                      <a:pt x="25" y="101"/>
                      <a:pt x="25" y="101"/>
                      <a:pt x="25" y="101"/>
                    </a:cubicBezTo>
                    <a:cubicBezTo>
                      <a:pt x="28" y="101"/>
                      <a:pt x="28" y="101"/>
                      <a:pt x="28" y="101"/>
                    </a:cubicBezTo>
                    <a:cubicBezTo>
                      <a:pt x="30" y="98"/>
                      <a:pt x="30" y="98"/>
                      <a:pt x="30" y="98"/>
                    </a:cubicBezTo>
                    <a:cubicBezTo>
                      <a:pt x="32" y="100"/>
                      <a:pt x="32" y="100"/>
                      <a:pt x="32" y="100"/>
                    </a:cubicBezTo>
                    <a:cubicBezTo>
                      <a:pt x="32" y="104"/>
                      <a:pt x="32" y="104"/>
                      <a:pt x="32" y="104"/>
                    </a:cubicBezTo>
                    <a:cubicBezTo>
                      <a:pt x="42" y="104"/>
                      <a:pt x="42" y="104"/>
                      <a:pt x="42" y="104"/>
                    </a:cubicBezTo>
                    <a:cubicBezTo>
                      <a:pt x="44" y="100"/>
                      <a:pt x="44" y="100"/>
                      <a:pt x="44" y="100"/>
                    </a:cubicBezTo>
                    <a:cubicBezTo>
                      <a:pt x="43" y="98"/>
                      <a:pt x="43" y="98"/>
                      <a:pt x="43" y="98"/>
                    </a:cubicBezTo>
                    <a:cubicBezTo>
                      <a:pt x="44" y="94"/>
                      <a:pt x="44" y="94"/>
                      <a:pt x="44" y="94"/>
                    </a:cubicBezTo>
                    <a:cubicBezTo>
                      <a:pt x="45" y="92"/>
                      <a:pt x="45" y="92"/>
                      <a:pt x="45" y="92"/>
                    </a:cubicBezTo>
                    <a:cubicBezTo>
                      <a:pt x="46" y="94"/>
                      <a:pt x="46" y="94"/>
                      <a:pt x="46" y="94"/>
                    </a:cubicBezTo>
                    <a:cubicBezTo>
                      <a:pt x="46" y="98"/>
                      <a:pt x="46" y="98"/>
                      <a:pt x="46" y="98"/>
                    </a:cubicBezTo>
                    <a:cubicBezTo>
                      <a:pt x="48" y="103"/>
                      <a:pt x="48" y="103"/>
                      <a:pt x="48" y="103"/>
                    </a:cubicBezTo>
                    <a:cubicBezTo>
                      <a:pt x="50" y="101"/>
                      <a:pt x="50" y="101"/>
                      <a:pt x="50" y="101"/>
                    </a:cubicBezTo>
                    <a:cubicBezTo>
                      <a:pt x="50" y="97"/>
                      <a:pt x="50" y="97"/>
                      <a:pt x="50" y="97"/>
                    </a:cubicBezTo>
                    <a:cubicBezTo>
                      <a:pt x="50" y="95"/>
                      <a:pt x="50" y="95"/>
                      <a:pt x="50" y="95"/>
                    </a:cubicBezTo>
                    <a:cubicBezTo>
                      <a:pt x="51" y="93"/>
                      <a:pt x="51" y="93"/>
                      <a:pt x="51" y="93"/>
                    </a:cubicBezTo>
                    <a:cubicBezTo>
                      <a:pt x="52" y="90"/>
                      <a:pt x="52" y="90"/>
                      <a:pt x="52" y="90"/>
                    </a:cubicBezTo>
                    <a:cubicBezTo>
                      <a:pt x="49" y="91"/>
                      <a:pt x="49" y="91"/>
                      <a:pt x="49" y="91"/>
                    </a:cubicBezTo>
                    <a:cubicBezTo>
                      <a:pt x="47" y="90"/>
                      <a:pt x="47" y="90"/>
                      <a:pt x="47" y="90"/>
                    </a:cubicBezTo>
                    <a:cubicBezTo>
                      <a:pt x="48" y="86"/>
                      <a:pt x="48" y="86"/>
                      <a:pt x="48" y="86"/>
                    </a:cubicBezTo>
                    <a:cubicBezTo>
                      <a:pt x="51" y="85"/>
                      <a:pt x="51" y="85"/>
                      <a:pt x="51" y="85"/>
                    </a:cubicBezTo>
                    <a:cubicBezTo>
                      <a:pt x="53" y="82"/>
                      <a:pt x="53" y="82"/>
                      <a:pt x="53" y="82"/>
                    </a:cubicBezTo>
                    <a:cubicBezTo>
                      <a:pt x="55" y="81"/>
                      <a:pt x="55" y="81"/>
                      <a:pt x="55" y="81"/>
                    </a:cubicBezTo>
                    <a:cubicBezTo>
                      <a:pt x="56" y="78"/>
                      <a:pt x="56" y="78"/>
                      <a:pt x="56" y="78"/>
                    </a:cubicBezTo>
                    <a:cubicBezTo>
                      <a:pt x="57" y="77"/>
                      <a:pt x="57" y="77"/>
                      <a:pt x="57" y="77"/>
                    </a:cubicBezTo>
                    <a:cubicBezTo>
                      <a:pt x="60" y="78"/>
                      <a:pt x="60" y="78"/>
                      <a:pt x="60" y="78"/>
                    </a:cubicBezTo>
                    <a:cubicBezTo>
                      <a:pt x="60" y="80"/>
                      <a:pt x="60" y="80"/>
                      <a:pt x="60" y="80"/>
                    </a:cubicBezTo>
                    <a:cubicBezTo>
                      <a:pt x="60" y="83"/>
                      <a:pt x="60" y="83"/>
                      <a:pt x="60" y="83"/>
                    </a:cubicBezTo>
                    <a:cubicBezTo>
                      <a:pt x="61" y="81"/>
                      <a:pt x="61" y="81"/>
                      <a:pt x="61" y="81"/>
                    </a:cubicBezTo>
                    <a:cubicBezTo>
                      <a:pt x="65" y="73"/>
                      <a:pt x="65" y="73"/>
                      <a:pt x="65" y="73"/>
                    </a:cubicBezTo>
                    <a:cubicBezTo>
                      <a:pt x="66" y="71"/>
                      <a:pt x="66" y="71"/>
                      <a:pt x="66" y="71"/>
                    </a:cubicBezTo>
                    <a:cubicBezTo>
                      <a:pt x="62" y="68"/>
                      <a:pt x="62" y="68"/>
                      <a:pt x="62" y="68"/>
                    </a:cubicBezTo>
                    <a:cubicBezTo>
                      <a:pt x="61" y="67"/>
                      <a:pt x="61" y="67"/>
                      <a:pt x="61" y="67"/>
                    </a:cubicBezTo>
                    <a:cubicBezTo>
                      <a:pt x="63" y="65"/>
                      <a:pt x="63" y="65"/>
                      <a:pt x="63" y="65"/>
                    </a:cubicBezTo>
                    <a:cubicBezTo>
                      <a:pt x="65" y="65"/>
                      <a:pt x="65" y="65"/>
                      <a:pt x="65" y="65"/>
                    </a:cubicBezTo>
                    <a:cubicBezTo>
                      <a:pt x="68" y="65"/>
                      <a:pt x="68" y="65"/>
                      <a:pt x="68" y="65"/>
                    </a:cubicBezTo>
                    <a:cubicBezTo>
                      <a:pt x="69" y="62"/>
                      <a:pt x="69" y="62"/>
                      <a:pt x="69" y="62"/>
                    </a:cubicBezTo>
                    <a:cubicBezTo>
                      <a:pt x="69" y="59"/>
                      <a:pt x="69" y="59"/>
                      <a:pt x="69" y="59"/>
                    </a:cubicBezTo>
                    <a:cubicBezTo>
                      <a:pt x="72" y="55"/>
                      <a:pt x="72" y="55"/>
                      <a:pt x="72" y="55"/>
                    </a:cubicBezTo>
                    <a:cubicBezTo>
                      <a:pt x="73" y="52"/>
                      <a:pt x="73" y="52"/>
                      <a:pt x="73" y="52"/>
                    </a:cubicBezTo>
                    <a:cubicBezTo>
                      <a:pt x="77" y="47"/>
                      <a:pt x="77" y="47"/>
                      <a:pt x="77" y="47"/>
                    </a:cubicBezTo>
                    <a:cubicBezTo>
                      <a:pt x="81" y="45"/>
                      <a:pt x="81" y="45"/>
                      <a:pt x="81" y="45"/>
                    </a:cubicBezTo>
                    <a:cubicBezTo>
                      <a:pt x="82" y="42"/>
                      <a:pt x="82" y="42"/>
                      <a:pt x="82" y="42"/>
                    </a:cubicBezTo>
                    <a:cubicBezTo>
                      <a:pt x="81" y="37"/>
                      <a:pt x="81" y="37"/>
                      <a:pt x="81" y="37"/>
                    </a:cubicBezTo>
                    <a:cubicBezTo>
                      <a:pt x="84" y="30"/>
                      <a:pt x="84" y="30"/>
                      <a:pt x="84" y="30"/>
                    </a:cubicBezTo>
                    <a:cubicBezTo>
                      <a:pt x="88" y="28"/>
                      <a:pt x="88" y="28"/>
                      <a:pt x="88" y="28"/>
                    </a:cubicBezTo>
                    <a:cubicBezTo>
                      <a:pt x="89" y="23"/>
                      <a:pt x="89" y="23"/>
                      <a:pt x="89" y="23"/>
                    </a:cubicBezTo>
                    <a:cubicBezTo>
                      <a:pt x="87" y="20"/>
                      <a:pt x="87" y="20"/>
                      <a:pt x="87" y="20"/>
                    </a:cubicBezTo>
                    <a:cubicBezTo>
                      <a:pt x="84" y="18"/>
                      <a:pt x="84" y="18"/>
                      <a:pt x="84" y="18"/>
                    </a:cubicBezTo>
                    <a:cubicBezTo>
                      <a:pt x="82" y="14"/>
                      <a:pt x="82" y="14"/>
                      <a:pt x="82" y="14"/>
                    </a:cubicBezTo>
                    <a:cubicBezTo>
                      <a:pt x="84" y="14"/>
                      <a:pt x="84" y="14"/>
                      <a:pt x="84" y="14"/>
                    </a:cubicBezTo>
                    <a:cubicBezTo>
                      <a:pt x="85" y="12"/>
                      <a:pt x="85" y="12"/>
                      <a:pt x="85" y="12"/>
                    </a:cubicBezTo>
                    <a:cubicBezTo>
                      <a:pt x="84" y="11"/>
                      <a:pt x="84" y="11"/>
                      <a:pt x="84" y="11"/>
                    </a:cubicBezTo>
                    <a:cubicBezTo>
                      <a:pt x="85" y="8"/>
                      <a:pt x="85" y="8"/>
                      <a:pt x="85" y="8"/>
                    </a:cubicBezTo>
                    <a:cubicBezTo>
                      <a:pt x="83" y="5"/>
                      <a:pt x="83" y="5"/>
                      <a:pt x="83" y="5"/>
                    </a:cubicBezTo>
                    <a:cubicBezTo>
                      <a:pt x="81" y="5"/>
                      <a:pt x="81" y="5"/>
                      <a:pt x="81" y="5"/>
                    </a:cubicBezTo>
                    <a:cubicBezTo>
                      <a:pt x="82" y="6"/>
                      <a:pt x="82" y="6"/>
                      <a:pt x="82" y="6"/>
                    </a:cubicBezTo>
                    <a:cubicBezTo>
                      <a:pt x="82" y="10"/>
                      <a:pt x="82" y="10"/>
                      <a:pt x="82" y="10"/>
                    </a:cubicBezTo>
                    <a:cubicBezTo>
                      <a:pt x="79" y="11"/>
                      <a:pt x="79" y="11"/>
                      <a:pt x="79" y="11"/>
                    </a:cubicBezTo>
                    <a:cubicBezTo>
                      <a:pt x="76" y="8"/>
                      <a:pt x="76" y="8"/>
                      <a:pt x="76" y="8"/>
                    </a:cubicBezTo>
                    <a:cubicBezTo>
                      <a:pt x="74" y="11"/>
                      <a:pt x="74" y="11"/>
                      <a:pt x="74" y="11"/>
                    </a:cubicBezTo>
                    <a:cubicBezTo>
                      <a:pt x="74" y="18"/>
                      <a:pt x="74" y="18"/>
                      <a:pt x="74" y="18"/>
                    </a:cubicBezTo>
                    <a:cubicBezTo>
                      <a:pt x="72" y="20"/>
                      <a:pt x="72" y="20"/>
                      <a:pt x="72" y="20"/>
                    </a:cubicBezTo>
                    <a:cubicBezTo>
                      <a:pt x="70" y="19"/>
                      <a:pt x="70" y="19"/>
                      <a:pt x="70" y="19"/>
                    </a:cubicBezTo>
                    <a:cubicBezTo>
                      <a:pt x="69" y="21"/>
                      <a:pt x="69" y="21"/>
                      <a:pt x="69" y="21"/>
                    </a:cubicBezTo>
                    <a:cubicBezTo>
                      <a:pt x="67" y="22"/>
                      <a:pt x="67" y="22"/>
                      <a:pt x="67" y="22"/>
                    </a:cubicBezTo>
                    <a:cubicBezTo>
                      <a:pt x="67" y="18"/>
                      <a:pt x="67" y="18"/>
                      <a:pt x="67" y="18"/>
                    </a:cubicBezTo>
                    <a:cubicBezTo>
                      <a:pt x="69" y="15"/>
                      <a:pt x="69" y="15"/>
                      <a:pt x="69" y="15"/>
                    </a:cubicBezTo>
                    <a:cubicBezTo>
                      <a:pt x="70" y="6"/>
                      <a:pt x="70" y="6"/>
                      <a:pt x="70" y="6"/>
                    </a:cubicBezTo>
                    <a:cubicBezTo>
                      <a:pt x="68" y="4"/>
                      <a:pt x="68" y="4"/>
                      <a:pt x="68" y="4"/>
                    </a:cubicBezTo>
                    <a:cubicBezTo>
                      <a:pt x="66" y="5"/>
                      <a:pt x="66" y="5"/>
                      <a:pt x="66" y="5"/>
                    </a:cubicBezTo>
                    <a:cubicBezTo>
                      <a:pt x="63" y="3"/>
                      <a:pt x="63" y="3"/>
                      <a:pt x="63" y="3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62" y="0"/>
                      <a:pt x="60" y="0"/>
                      <a:pt x="60" y="0"/>
                    </a:cubicBezTo>
                    <a:cubicBezTo>
                      <a:pt x="59" y="0"/>
                      <a:pt x="56" y="3"/>
                      <a:pt x="56" y="3"/>
                    </a:cubicBezTo>
                    <a:cubicBezTo>
                      <a:pt x="53" y="2"/>
                      <a:pt x="53" y="2"/>
                      <a:pt x="53" y="2"/>
                    </a:cubicBezTo>
                    <a:cubicBezTo>
                      <a:pt x="51" y="5"/>
                      <a:pt x="51" y="5"/>
                      <a:pt x="51" y="5"/>
                    </a:cubicBezTo>
                    <a:cubicBezTo>
                      <a:pt x="48" y="5"/>
                      <a:pt x="48" y="5"/>
                      <a:pt x="48" y="5"/>
                    </a:cubicBezTo>
                    <a:cubicBezTo>
                      <a:pt x="46" y="7"/>
                      <a:pt x="46" y="7"/>
                      <a:pt x="46" y="7"/>
                    </a:cubicBezTo>
                    <a:cubicBezTo>
                      <a:pt x="46" y="13"/>
                      <a:pt x="46" y="13"/>
                      <a:pt x="46" y="13"/>
                    </a:cubicBezTo>
                    <a:cubicBezTo>
                      <a:pt x="45" y="15"/>
                      <a:pt x="45" y="15"/>
                      <a:pt x="45" y="15"/>
                    </a:cubicBezTo>
                    <a:cubicBezTo>
                      <a:pt x="46" y="20"/>
                      <a:pt x="46" y="20"/>
                      <a:pt x="46" y="20"/>
                    </a:cubicBezTo>
                    <a:cubicBezTo>
                      <a:pt x="49" y="25"/>
                      <a:pt x="49" y="25"/>
                      <a:pt x="49" y="25"/>
                    </a:cubicBezTo>
                    <a:cubicBezTo>
                      <a:pt x="50" y="28"/>
                      <a:pt x="50" y="28"/>
                      <a:pt x="50" y="28"/>
                    </a:cubicBezTo>
                    <a:cubicBezTo>
                      <a:pt x="47" y="26"/>
                      <a:pt x="47" y="26"/>
                      <a:pt x="47" y="26"/>
                    </a:cubicBezTo>
                    <a:cubicBezTo>
                      <a:pt x="44" y="25"/>
                      <a:pt x="44" y="25"/>
                      <a:pt x="44" y="25"/>
                    </a:cubicBezTo>
                    <a:cubicBezTo>
                      <a:pt x="43" y="27"/>
                      <a:pt x="43" y="27"/>
                      <a:pt x="43" y="27"/>
                    </a:cubicBezTo>
                    <a:cubicBezTo>
                      <a:pt x="49" y="32"/>
                      <a:pt x="49" y="32"/>
                      <a:pt x="49" y="32"/>
                    </a:cubicBezTo>
                    <a:cubicBezTo>
                      <a:pt x="49" y="35"/>
                      <a:pt x="49" y="35"/>
                      <a:pt x="49" y="35"/>
                    </a:cubicBezTo>
                    <a:cubicBezTo>
                      <a:pt x="46" y="36"/>
                      <a:pt x="46" y="36"/>
                      <a:pt x="46" y="36"/>
                    </a:cubicBezTo>
                    <a:cubicBezTo>
                      <a:pt x="45" y="43"/>
                      <a:pt x="45" y="43"/>
                      <a:pt x="45" y="43"/>
                    </a:cubicBezTo>
                    <a:cubicBezTo>
                      <a:pt x="47" y="46"/>
                      <a:pt x="47" y="46"/>
                      <a:pt x="47" y="46"/>
                    </a:cubicBezTo>
                    <a:cubicBezTo>
                      <a:pt x="43" y="49"/>
                      <a:pt x="43" y="49"/>
                      <a:pt x="43" y="49"/>
                    </a:cubicBezTo>
                    <a:cubicBezTo>
                      <a:pt x="40" y="46"/>
                      <a:pt x="40" y="46"/>
                      <a:pt x="40" y="46"/>
                    </a:cubicBezTo>
                    <a:cubicBezTo>
                      <a:pt x="39" y="44"/>
                      <a:pt x="39" y="44"/>
                      <a:pt x="39" y="44"/>
                    </a:cubicBezTo>
                    <a:cubicBezTo>
                      <a:pt x="40" y="40"/>
                      <a:pt x="40" y="40"/>
                      <a:pt x="40" y="40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7" y="26"/>
                      <a:pt x="37" y="26"/>
                      <a:pt x="37" y="26"/>
                    </a:cubicBezTo>
                    <a:cubicBezTo>
                      <a:pt x="36" y="22"/>
                      <a:pt x="36" y="22"/>
                      <a:pt x="36" y="22"/>
                    </a:cubicBezTo>
                    <a:cubicBezTo>
                      <a:pt x="37" y="21"/>
                      <a:pt x="37" y="21"/>
                      <a:pt x="37" y="21"/>
                    </a:cubicBezTo>
                    <a:cubicBezTo>
                      <a:pt x="37" y="17"/>
                      <a:pt x="37" y="17"/>
                      <a:pt x="37" y="17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3" y="10"/>
                      <a:pt x="33" y="10"/>
                      <a:pt x="33" y="10"/>
                    </a:cubicBezTo>
                    <a:lnTo>
                      <a:pt x="29" y="1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0" name="Freeform 1134">
                <a:extLst>
                  <a:ext uri="{FF2B5EF4-FFF2-40B4-BE49-F238E27FC236}">
                    <a16:creationId xmlns:a16="http://schemas.microsoft.com/office/drawing/2014/main" id="{E6670117-C3FD-43A6-A2C4-2F61F5F84D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4" y="828"/>
                <a:ext cx="6" cy="6"/>
              </a:xfrm>
              <a:custGeom>
                <a:avLst/>
                <a:gdLst>
                  <a:gd name="T0" fmla="*/ 4 w 6"/>
                  <a:gd name="T1" fmla="*/ 4 h 6"/>
                  <a:gd name="T2" fmla="*/ 4 w 6"/>
                  <a:gd name="T3" fmla="*/ 2 h 6"/>
                  <a:gd name="T4" fmla="*/ 6 w 6"/>
                  <a:gd name="T5" fmla="*/ 0 h 6"/>
                  <a:gd name="T6" fmla="*/ 4 w 6"/>
                  <a:gd name="T7" fmla="*/ 0 h 6"/>
                  <a:gd name="T8" fmla="*/ 1 w 6"/>
                  <a:gd name="T9" fmla="*/ 2 h 6"/>
                  <a:gd name="T10" fmla="*/ 0 w 6"/>
                  <a:gd name="T11" fmla="*/ 6 h 6"/>
                  <a:gd name="T12" fmla="*/ 1 w 6"/>
                  <a:gd name="T13" fmla="*/ 6 h 6"/>
                  <a:gd name="T14" fmla="*/ 4 w 6"/>
                  <a:gd name="T1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6">
                    <a:moveTo>
                      <a:pt x="4" y="4"/>
                    </a:moveTo>
                    <a:lnTo>
                      <a:pt x="4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1" y="2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1" name="Freeform 1135">
                <a:extLst>
                  <a:ext uri="{FF2B5EF4-FFF2-40B4-BE49-F238E27FC236}">
                    <a16:creationId xmlns:a16="http://schemas.microsoft.com/office/drawing/2014/main" id="{58FB9A9D-0BD5-497D-A10D-FB58A5B42A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3" y="763"/>
                <a:ext cx="60" cy="105"/>
              </a:xfrm>
              <a:custGeom>
                <a:avLst/>
                <a:gdLst>
                  <a:gd name="T0" fmla="*/ 5 w 60"/>
                  <a:gd name="T1" fmla="*/ 62 h 105"/>
                  <a:gd name="T2" fmla="*/ 8 w 60"/>
                  <a:gd name="T3" fmla="*/ 60 h 105"/>
                  <a:gd name="T4" fmla="*/ 17 w 60"/>
                  <a:gd name="T5" fmla="*/ 61 h 105"/>
                  <a:gd name="T6" fmla="*/ 22 w 60"/>
                  <a:gd name="T7" fmla="*/ 61 h 105"/>
                  <a:gd name="T8" fmla="*/ 20 w 60"/>
                  <a:gd name="T9" fmla="*/ 64 h 105"/>
                  <a:gd name="T10" fmla="*/ 19 w 60"/>
                  <a:gd name="T11" fmla="*/ 70 h 105"/>
                  <a:gd name="T12" fmla="*/ 26 w 60"/>
                  <a:gd name="T13" fmla="*/ 72 h 105"/>
                  <a:gd name="T14" fmla="*/ 30 w 60"/>
                  <a:gd name="T15" fmla="*/ 77 h 105"/>
                  <a:gd name="T16" fmla="*/ 30 w 60"/>
                  <a:gd name="T17" fmla="*/ 81 h 105"/>
                  <a:gd name="T18" fmla="*/ 26 w 60"/>
                  <a:gd name="T19" fmla="*/ 95 h 105"/>
                  <a:gd name="T20" fmla="*/ 29 w 60"/>
                  <a:gd name="T21" fmla="*/ 104 h 105"/>
                  <a:gd name="T22" fmla="*/ 33 w 60"/>
                  <a:gd name="T23" fmla="*/ 103 h 105"/>
                  <a:gd name="T24" fmla="*/ 36 w 60"/>
                  <a:gd name="T25" fmla="*/ 105 h 105"/>
                  <a:gd name="T26" fmla="*/ 40 w 60"/>
                  <a:gd name="T27" fmla="*/ 99 h 105"/>
                  <a:gd name="T28" fmla="*/ 44 w 60"/>
                  <a:gd name="T29" fmla="*/ 94 h 105"/>
                  <a:gd name="T30" fmla="*/ 46 w 60"/>
                  <a:gd name="T31" fmla="*/ 84 h 105"/>
                  <a:gd name="T32" fmla="*/ 47 w 60"/>
                  <a:gd name="T33" fmla="*/ 79 h 105"/>
                  <a:gd name="T34" fmla="*/ 48 w 60"/>
                  <a:gd name="T35" fmla="*/ 75 h 105"/>
                  <a:gd name="T36" fmla="*/ 52 w 60"/>
                  <a:gd name="T37" fmla="*/ 71 h 105"/>
                  <a:gd name="T38" fmla="*/ 57 w 60"/>
                  <a:gd name="T39" fmla="*/ 65 h 105"/>
                  <a:gd name="T40" fmla="*/ 57 w 60"/>
                  <a:gd name="T41" fmla="*/ 58 h 105"/>
                  <a:gd name="T42" fmla="*/ 60 w 60"/>
                  <a:gd name="T43" fmla="*/ 53 h 105"/>
                  <a:gd name="T44" fmla="*/ 59 w 60"/>
                  <a:gd name="T45" fmla="*/ 46 h 105"/>
                  <a:gd name="T46" fmla="*/ 54 w 60"/>
                  <a:gd name="T47" fmla="*/ 45 h 105"/>
                  <a:gd name="T48" fmla="*/ 50 w 60"/>
                  <a:gd name="T49" fmla="*/ 43 h 105"/>
                  <a:gd name="T50" fmla="*/ 56 w 60"/>
                  <a:gd name="T51" fmla="*/ 38 h 105"/>
                  <a:gd name="T52" fmla="*/ 54 w 60"/>
                  <a:gd name="T53" fmla="*/ 34 h 105"/>
                  <a:gd name="T54" fmla="*/ 55 w 60"/>
                  <a:gd name="T55" fmla="*/ 27 h 105"/>
                  <a:gd name="T56" fmla="*/ 50 w 60"/>
                  <a:gd name="T57" fmla="*/ 23 h 105"/>
                  <a:gd name="T58" fmla="*/ 43 w 60"/>
                  <a:gd name="T59" fmla="*/ 27 h 105"/>
                  <a:gd name="T60" fmla="*/ 40 w 60"/>
                  <a:gd name="T61" fmla="*/ 33 h 105"/>
                  <a:gd name="T62" fmla="*/ 38 w 60"/>
                  <a:gd name="T63" fmla="*/ 29 h 105"/>
                  <a:gd name="T64" fmla="*/ 43 w 60"/>
                  <a:gd name="T65" fmla="*/ 25 h 105"/>
                  <a:gd name="T66" fmla="*/ 43 w 60"/>
                  <a:gd name="T67" fmla="*/ 15 h 105"/>
                  <a:gd name="T68" fmla="*/ 41 w 60"/>
                  <a:gd name="T69" fmla="*/ 8 h 105"/>
                  <a:gd name="T70" fmla="*/ 36 w 60"/>
                  <a:gd name="T71" fmla="*/ 4 h 105"/>
                  <a:gd name="T72" fmla="*/ 31 w 60"/>
                  <a:gd name="T73" fmla="*/ 4 h 105"/>
                  <a:gd name="T74" fmla="*/ 26 w 60"/>
                  <a:gd name="T75" fmla="*/ 7 h 105"/>
                  <a:gd name="T76" fmla="*/ 24 w 60"/>
                  <a:gd name="T77" fmla="*/ 0 h 105"/>
                  <a:gd name="T78" fmla="*/ 21 w 60"/>
                  <a:gd name="T79" fmla="*/ 5 h 105"/>
                  <a:gd name="T80" fmla="*/ 17 w 60"/>
                  <a:gd name="T81" fmla="*/ 11 h 105"/>
                  <a:gd name="T82" fmla="*/ 15 w 60"/>
                  <a:gd name="T83" fmla="*/ 18 h 105"/>
                  <a:gd name="T84" fmla="*/ 18 w 60"/>
                  <a:gd name="T85" fmla="*/ 19 h 105"/>
                  <a:gd name="T86" fmla="*/ 22 w 60"/>
                  <a:gd name="T87" fmla="*/ 19 h 105"/>
                  <a:gd name="T88" fmla="*/ 15 w 60"/>
                  <a:gd name="T89" fmla="*/ 25 h 105"/>
                  <a:gd name="T90" fmla="*/ 13 w 60"/>
                  <a:gd name="T91" fmla="*/ 31 h 105"/>
                  <a:gd name="T92" fmla="*/ 21 w 60"/>
                  <a:gd name="T93" fmla="*/ 25 h 105"/>
                  <a:gd name="T94" fmla="*/ 24 w 60"/>
                  <a:gd name="T95" fmla="*/ 23 h 105"/>
                  <a:gd name="T96" fmla="*/ 25 w 60"/>
                  <a:gd name="T97" fmla="*/ 30 h 105"/>
                  <a:gd name="T98" fmla="*/ 20 w 60"/>
                  <a:gd name="T99" fmla="*/ 33 h 105"/>
                  <a:gd name="T100" fmla="*/ 20 w 60"/>
                  <a:gd name="T101" fmla="*/ 38 h 105"/>
                  <a:gd name="T102" fmla="*/ 26 w 60"/>
                  <a:gd name="T103" fmla="*/ 39 h 105"/>
                  <a:gd name="T104" fmla="*/ 19 w 60"/>
                  <a:gd name="T105" fmla="*/ 43 h 105"/>
                  <a:gd name="T106" fmla="*/ 17 w 60"/>
                  <a:gd name="T107" fmla="*/ 44 h 105"/>
                  <a:gd name="T108" fmla="*/ 19 w 60"/>
                  <a:gd name="T109" fmla="*/ 48 h 105"/>
                  <a:gd name="T110" fmla="*/ 14 w 60"/>
                  <a:gd name="T111" fmla="*/ 53 h 105"/>
                  <a:gd name="T112" fmla="*/ 10 w 60"/>
                  <a:gd name="T113" fmla="*/ 46 h 105"/>
                  <a:gd name="T114" fmla="*/ 2 w 60"/>
                  <a:gd name="T115" fmla="*/ 46 h 105"/>
                  <a:gd name="T116" fmla="*/ 0 w 60"/>
                  <a:gd name="T117" fmla="*/ 53 h 105"/>
                  <a:gd name="T118" fmla="*/ 2 w 60"/>
                  <a:gd name="T119" fmla="*/ 61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0" h="105">
                    <a:moveTo>
                      <a:pt x="2" y="61"/>
                    </a:moveTo>
                    <a:lnTo>
                      <a:pt x="5" y="62"/>
                    </a:lnTo>
                    <a:lnTo>
                      <a:pt x="6" y="60"/>
                    </a:lnTo>
                    <a:lnTo>
                      <a:pt x="8" y="60"/>
                    </a:lnTo>
                    <a:lnTo>
                      <a:pt x="13" y="61"/>
                    </a:lnTo>
                    <a:lnTo>
                      <a:pt x="17" y="61"/>
                    </a:lnTo>
                    <a:lnTo>
                      <a:pt x="18" y="63"/>
                    </a:lnTo>
                    <a:lnTo>
                      <a:pt x="22" y="61"/>
                    </a:lnTo>
                    <a:lnTo>
                      <a:pt x="22" y="64"/>
                    </a:lnTo>
                    <a:lnTo>
                      <a:pt x="20" y="64"/>
                    </a:lnTo>
                    <a:lnTo>
                      <a:pt x="19" y="67"/>
                    </a:lnTo>
                    <a:lnTo>
                      <a:pt x="19" y="70"/>
                    </a:lnTo>
                    <a:lnTo>
                      <a:pt x="23" y="69"/>
                    </a:lnTo>
                    <a:lnTo>
                      <a:pt x="26" y="72"/>
                    </a:lnTo>
                    <a:lnTo>
                      <a:pt x="28" y="77"/>
                    </a:lnTo>
                    <a:lnTo>
                      <a:pt x="30" y="77"/>
                    </a:lnTo>
                    <a:lnTo>
                      <a:pt x="31" y="79"/>
                    </a:lnTo>
                    <a:lnTo>
                      <a:pt x="30" y="81"/>
                    </a:lnTo>
                    <a:lnTo>
                      <a:pt x="30" y="85"/>
                    </a:lnTo>
                    <a:lnTo>
                      <a:pt x="26" y="95"/>
                    </a:lnTo>
                    <a:lnTo>
                      <a:pt x="27" y="101"/>
                    </a:lnTo>
                    <a:lnTo>
                      <a:pt x="29" y="104"/>
                    </a:lnTo>
                    <a:lnTo>
                      <a:pt x="30" y="103"/>
                    </a:lnTo>
                    <a:lnTo>
                      <a:pt x="33" y="103"/>
                    </a:lnTo>
                    <a:lnTo>
                      <a:pt x="34" y="105"/>
                    </a:lnTo>
                    <a:lnTo>
                      <a:pt x="36" y="105"/>
                    </a:lnTo>
                    <a:lnTo>
                      <a:pt x="40" y="101"/>
                    </a:lnTo>
                    <a:lnTo>
                      <a:pt x="40" y="99"/>
                    </a:lnTo>
                    <a:lnTo>
                      <a:pt x="42" y="98"/>
                    </a:lnTo>
                    <a:lnTo>
                      <a:pt x="44" y="94"/>
                    </a:lnTo>
                    <a:lnTo>
                      <a:pt x="45" y="90"/>
                    </a:lnTo>
                    <a:lnTo>
                      <a:pt x="46" y="84"/>
                    </a:lnTo>
                    <a:lnTo>
                      <a:pt x="48" y="80"/>
                    </a:lnTo>
                    <a:lnTo>
                      <a:pt x="47" y="79"/>
                    </a:lnTo>
                    <a:lnTo>
                      <a:pt x="47" y="77"/>
                    </a:lnTo>
                    <a:lnTo>
                      <a:pt x="48" y="75"/>
                    </a:lnTo>
                    <a:lnTo>
                      <a:pt x="50" y="71"/>
                    </a:lnTo>
                    <a:lnTo>
                      <a:pt x="52" y="71"/>
                    </a:lnTo>
                    <a:lnTo>
                      <a:pt x="54" y="67"/>
                    </a:lnTo>
                    <a:lnTo>
                      <a:pt x="57" y="65"/>
                    </a:lnTo>
                    <a:lnTo>
                      <a:pt x="58" y="60"/>
                    </a:lnTo>
                    <a:lnTo>
                      <a:pt x="57" y="58"/>
                    </a:lnTo>
                    <a:lnTo>
                      <a:pt x="60" y="56"/>
                    </a:lnTo>
                    <a:lnTo>
                      <a:pt x="60" y="53"/>
                    </a:lnTo>
                    <a:lnTo>
                      <a:pt x="60" y="50"/>
                    </a:lnTo>
                    <a:lnTo>
                      <a:pt x="59" y="46"/>
                    </a:lnTo>
                    <a:lnTo>
                      <a:pt x="57" y="46"/>
                    </a:lnTo>
                    <a:lnTo>
                      <a:pt x="54" y="45"/>
                    </a:lnTo>
                    <a:lnTo>
                      <a:pt x="51" y="45"/>
                    </a:lnTo>
                    <a:lnTo>
                      <a:pt x="50" y="43"/>
                    </a:lnTo>
                    <a:lnTo>
                      <a:pt x="52" y="40"/>
                    </a:lnTo>
                    <a:lnTo>
                      <a:pt x="56" y="38"/>
                    </a:lnTo>
                    <a:lnTo>
                      <a:pt x="56" y="36"/>
                    </a:lnTo>
                    <a:lnTo>
                      <a:pt x="54" y="34"/>
                    </a:lnTo>
                    <a:lnTo>
                      <a:pt x="54" y="29"/>
                    </a:lnTo>
                    <a:lnTo>
                      <a:pt x="55" y="27"/>
                    </a:lnTo>
                    <a:lnTo>
                      <a:pt x="53" y="23"/>
                    </a:lnTo>
                    <a:lnTo>
                      <a:pt x="50" y="23"/>
                    </a:lnTo>
                    <a:lnTo>
                      <a:pt x="47" y="26"/>
                    </a:lnTo>
                    <a:lnTo>
                      <a:pt x="43" y="27"/>
                    </a:lnTo>
                    <a:lnTo>
                      <a:pt x="43" y="29"/>
                    </a:lnTo>
                    <a:lnTo>
                      <a:pt x="40" y="33"/>
                    </a:lnTo>
                    <a:lnTo>
                      <a:pt x="39" y="33"/>
                    </a:lnTo>
                    <a:lnTo>
                      <a:pt x="38" y="29"/>
                    </a:lnTo>
                    <a:lnTo>
                      <a:pt x="41" y="27"/>
                    </a:lnTo>
                    <a:lnTo>
                      <a:pt x="43" y="25"/>
                    </a:lnTo>
                    <a:lnTo>
                      <a:pt x="43" y="20"/>
                    </a:lnTo>
                    <a:lnTo>
                      <a:pt x="43" y="15"/>
                    </a:lnTo>
                    <a:lnTo>
                      <a:pt x="43" y="11"/>
                    </a:lnTo>
                    <a:lnTo>
                      <a:pt x="41" y="8"/>
                    </a:lnTo>
                    <a:lnTo>
                      <a:pt x="40" y="6"/>
                    </a:lnTo>
                    <a:lnTo>
                      <a:pt x="36" y="4"/>
                    </a:lnTo>
                    <a:lnTo>
                      <a:pt x="34" y="5"/>
                    </a:lnTo>
                    <a:lnTo>
                      <a:pt x="31" y="4"/>
                    </a:lnTo>
                    <a:lnTo>
                      <a:pt x="27" y="7"/>
                    </a:lnTo>
                    <a:lnTo>
                      <a:pt x="26" y="7"/>
                    </a:lnTo>
                    <a:lnTo>
                      <a:pt x="25" y="2"/>
                    </a:lnTo>
                    <a:lnTo>
                      <a:pt x="24" y="0"/>
                    </a:lnTo>
                    <a:lnTo>
                      <a:pt x="22" y="2"/>
                    </a:lnTo>
                    <a:lnTo>
                      <a:pt x="21" y="5"/>
                    </a:lnTo>
                    <a:lnTo>
                      <a:pt x="19" y="7"/>
                    </a:lnTo>
                    <a:lnTo>
                      <a:pt x="17" y="11"/>
                    </a:lnTo>
                    <a:lnTo>
                      <a:pt x="15" y="15"/>
                    </a:lnTo>
                    <a:lnTo>
                      <a:pt x="15" y="18"/>
                    </a:lnTo>
                    <a:lnTo>
                      <a:pt x="17" y="20"/>
                    </a:lnTo>
                    <a:lnTo>
                      <a:pt x="18" y="19"/>
                    </a:lnTo>
                    <a:lnTo>
                      <a:pt x="22" y="18"/>
                    </a:lnTo>
                    <a:lnTo>
                      <a:pt x="22" y="19"/>
                    </a:lnTo>
                    <a:lnTo>
                      <a:pt x="19" y="22"/>
                    </a:lnTo>
                    <a:lnTo>
                      <a:pt x="15" y="25"/>
                    </a:lnTo>
                    <a:lnTo>
                      <a:pt x="12" y="29"/>
                    </a:lnTo>
                    <a:lnTo>
                      <a:pt x="13" y="31"/>
                    </a:lnTo>
                    <a:lnTo>
                      <a:pt x="17" y="29"/>
                    </a:lnTo>
                    <a:lnTo>
                      <a:pt x="21" y="25"/>
                    </a:lnTo>
                    <a:lnTo>
                      <a:pt x="22" y="25"/>
                    </a:lnTo>
                    <a:lnTo>
                      <a:pt x="24" y="23"/>
                    </a:lnTo>
                    <a:lnTo>
                      <a:pt x="26" y="26"/>
                    </a:lnTo>
                    <a:lnTo>
                      <a:pt x="25" y="30"/>
                    </a:lnTo>
                    <a:lnTo>
                      <a:pt x="23" y="30"/>
                    </a:lnTo>
                    <a:lnTo>
                      <a:pt x="20" y="33"/>
                    </a:lnTo>
                    <a:lnTo>
                      <a:pt x="19" y="36"/>
                    </a:lnTo>
                    <a:lnTo>
                      <a:pt x="20" y="38"/>
                    </a:lnTo>
                    <a:lnTo>
                      <a:pt x="24" y="37"/>
                    </a:lnTo>
                    <a:lnTo>
                      <a:pt x="26" y="39"/>
                    </a:lnTo>
                    <a:lnTo>
                      <a:pt x="23" y="42"/>
                    </a:lnTo>
                    <a:lnTo>
                      <a:pt x="19" y="43"/>
                    </a:lnTo>
                    <a:lnTo>
                      <a:pt x="17" y="43"/>
                    </a:lnTo>
                    <a:lnTo>
                      <a:pt x="17" y="44"/>
                    </a:lnTo>
                    <a:lnTo>
                      <a:pt x="19" y="46"/>
                    </a:lnTo>
                    <a:lnTo>
                      <a:pt x="19" y="48"/>
                    </a:lnTo>
                    <a:lnTo>
                      <a:pt x="15" y="53"/>
                    </a:lnTo>
                    <a:lnTo>
                      <a:pt x="14" y="53"/>
                    </a:lnTo>
                    <a:lnTo>
                      <a:pt x="13" y="48"/>
                    </a:lnTo>
                    <a:lnTo>
                      <a:pt x="10" y="46"/>
                    </a:lnTo>
                    <a:lnTo>
                      <a:pt x="8" y="43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0" y="53"/>
                    </a:lnTo>
                    <a:lnTo>
                      <a:pt x="2" y="58"/>
                    </a:lnTo>
                    <a:lnTo>
                      <a:pt x="2" y="6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2" name="Freeform 1136">
                <a:extLst>
                  <a:ext uri="{FF2B5EF4-FFF2-40B4-BE49-F238E27FC236}">
                    <a16:creationId xmlns:a16="http://schemas.microsoft.com/office/drawing/2014/main" id="{078D5ABF-3FE4-4F9F-9AC0-08A532B7D1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7" y="905"/>
                <a:ext cx="17" cy="8"/>
              </a:xfrm>
              <a:custGeom>
                <a:avLst/>
                <a:gdLst>
                  <a:gd name="T0" fmla="*/ 4 w 22"/>
                  <a:gd name="T1" fmla="*/ 8 h 10"/>
                  <a:gd name="T2" fmla="*/ 8 w 22"/>
                  <a:gd name="T3" fmla="*/ 7 h 10"/>
                  <a:gd name="T4" fmla="*/ 11 w 22"/>
                  <a:gd name="T5" fmla="*/ 8 h 10"/>
                  <a:gd name="T6" fmla="*/ 16 w 22"/>
                  <a:gd name="T7" fmla="*/ 4 h 10"/>
                  <a:gd name="T8" fmla="*/ 19 w 22"/>
                  <a:gd name="T9" fmla="*/ 4 h 10"/>
                  <a:gd name="T10" fmla="*/ 22 w 22"/>
                  <a:gd name="T11" fmla="*/ 3 h 10"/>
                  <a:gd name="T12" fmla="*/ 21 w 22"/>
                  <a:gd name="T13" fmla="*/ 1 h 10"/>
                  <a:gd name="T14" fmla="*/ 16 w 22"/>
                  <a:gd name="T15" fmla="*/ 0 h 10"/>
                  <a:gd name="T16" fmla="*/ 12 w 22"/>
                  <a:gd name="T17" fmla="*/ 2 h 10"/>
                  <a:gd name="T18" fmla="*/ 8 w 22"/>
                  <a:gd name="T19" fmla="*/ 4 h 10"/>
                  <a:gd name="T20" fmla="*/ 6 w 22"/>
                  <a:gd name="T21" fmla="*/ 3 h 10"/>
                  <a:gd name="T22" fmla="*/ 2 w 22"/>
                  <a:gd name="T23" fmla="*/ 4 h 10"/>
                  <a:gd name="T24" fmla="*/ 0 w 22"/>
                  <a:gd name="T25" fmla="*/ 6 h 10"/>
                  <a:gd name="T26" fmla="*/ 0 w 22"/>
                  <a:gd name="T27" fmla="*/ 8 h 10"/>
                  <a:gd name="T28" fmla="*/ 2 w 22"/>
                  <a:gd name="T29" fmla="*/ 10 h 10"/>
                  <a:gd name="T30" fmla="*/ 4 w 22"/>
                  <a:gd name="T31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" h="10">
                    <a:moveTo>
                      <a:pt x="4" y="8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22" y="3"/>
                      <a:pt x="22" y="3"/>
                      <a:pt x="22" y="3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9" y="4"/>
                      <a:pt x="8" y="4"/>
                    </a:cubicBezTo>
                    <a:cubicBezTo>
                      <a:pt x="8" y="4"/>
                      <a:pt x="6" y="3"/>
                      <a:pt x="6" y="3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" y="10"/>
                      <a:pt x="2" y="10"/>
                      <a:pt x="2" y="10"/>
                    </a:cubicBezTo>
                    <a:lnTo>
                      <a:pt x="4" y="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" name="Freeform 1137">
                <a:extLst>
                  <a:ext uri="{FF2B5EF4-FFF2-40B4-BE49-F238E27FC236}">
                    <a16:creationId xmlns:a16="http://schemas.microsoft.com/office/drawing/2014/main" id="{FC9ED423-0B03-4366-B926-3D60732133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8" y="908"/>
                <a:ext cx="3" cy="6"/>
              </a:xfrm>
              <a:custGeom>
                <a:avLst/>
                <a:gdLst>
                  <a:gd name="T0" fmla="*/ 0 w 3"/>
                  <a:gd name="T1" fmla="*/ 0 h 6"/>
                  <a:gd name="T2" fmla="*/ 0 w 3"/>
                  <a:gd name="T3" fmla="*/ 1 h 6"/>
                  <a:gd name="T4" fmla="*/ 2 w 3"/>
                  <a:gd name="T5" fmla="*/ 5 h 6"/>
                  <a:gd name="T6" fmla="*/ 2 w 3"/>
                  <a:gd name="T7" fmla="*/ 6 h 6"/>
                  <a:gd name="T8" fmla="*/ 3 w 3"/>
                  <a:gd name="T9" fmla="*/ 5 h 6"/>
                  <a:gd name="T10" fmla="*/ 3 w 3"/>
                  <a:gd name="T11" fmla="*/ 2 h 6"/>
                  <a:gd name="T12" fmla="*/ 1 w 3"/>
                  <a:gd name="T13" fmla="*/ 1 h 6"/>
                  <a:gd name="T14" fmla="*/ 0 w 3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6">
                    <a:moveTo>
                      <a:pt x="0" y="0"/>
                    </a:moveTo>
                    <a:lnTo>
                      <a:pt x="0" y="1"/>
                    </a:lnTo>
                    <a:lnTo>
                      <a:pt x="2" y="5"/>
                    </a:lnTo>
                    <a:lnTo>
                      <a:pt x="2" y="6"/>
                    </a:lnTo>
                    <a:lnTo>
                      <a:pt x="3" y="5"/>
                    </a:lnTo>
                    <a:lnTo>
                      <a:pt x="3" y="2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4" name="Freeform 1138">
                <a:extLst>
                  <a:ext uri="{FF2B5EF4-FFF2-40B4-BE49-F238E27FC236}">
                    <a16:creationId xmlns:a16="http://schemas.microsoft.com/office/drawing/2014/main" id="{F5C15F3D-F6A0-4D2C-9556-439253BBE7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4" y="699"/>
                <a:ext cx="95" cy="187"/>
              </a:xfrm>
              <a:custGeom>
                <a:avLst/>
                <a:gdLst>
                  <a:gd name="T0" fmla="*/ 5 w 95"/>
                  <a:gd name="T1" fmla="*/ 176 h 187"/>
                  <a:gd name="T2" fmla="*/ 22 w 95"/>
                  <a:gd name="T3" fmla="*/ 175 h 187"/>
                  <a:gd name="T4" fmla="*/ 26 w 95"/>
                  <a:gd name="T5" fmla="*/ 168 h 187"/>
                  <a:gd name="T6" fmla="*/ 27 w 95"/>
                  <a:gd name="T7" fmla="*/ 172 h 187"/>
                  <a:gd name="T8" fmla="*/ 30 w 95"/>
                  <a:gd name="T9" fmla="*/ 185 h 187"/>
                  <a:gd name="T10" fmla="*/ 39 w 95"/>
                  <a:gd name="T11" fmla="*/ 173 h 187"/>
                  <a:gd name="T12" fmla="*/ 44 w 95"/>
                  <a:gd name="T13" fmla="*/ 166 h 187"/>
                  <a:gd name="T14" fmla="*/ 50 w 95"/>
                  <a:gd name="T15" fmla="*/ 151 h 187"/>
                  <a:gd name="T16" fmla="*/ 53 w 95"/>
                  <a:gd name="T17" fmla="*/ 147 h 187"/>
                  <a:gd name="T18" fmla="*/ 52 w 95"/>
                  <a:gd name="T19" fmla="*/ 166 h 187"/>
                  <a:gd name="T20" fmla="*/ 65 w 95"/>
                  <a:gd name="T21" fmla="*/ 143 h 187"/>
                  <a:gd name="T22" fmla="*/ 73 w 95"/>
                  <a:gd name="T23" fmla="*/ 144 h 187"/>
                  <a:gd name="T24" fmla="*/ 89 w 95"/>
                  <a:gd name="T25" fmla="*/ 136 h 187"/>
                  <a:gd name="T26" fmla="*/ 88 w 95"/>
                  <a:gd name="T27" fmla="*/ 117 h 187"/>
                  <a:gd name="T28" fmla="*/ 86 w 95"/>
                  <a:gd name="T29" fmla="*/ 119 h 187"/>
                  <a:gd name="T30" fmla="*/ 79 w 95"/>
                  <a:gd name="T31" fmla="*/ 113 h 187"/>
                  <a:gd name="T32" fmla="*/ 78 w 95"/>
                  <a:gd name="T33" fmla="*/ 108 h 187"/>
                  <a:gd name="T34" fmla="*/ 91 w 95"/>
                  <a:gd name="T35" fmla="*/ 87 h 187"/>
                  <a:gd name="T36" fmla="*/ 91 w 95"/>
                  <a:gd name="T37" fmla="*/ 84 h 187"/>
                  <a:gd name="T38" fmla="*/ 94 w 95"/>
                  <a:gd name="T39" fmla="*/ 67 h 187"/>
                  <a:gd name="T40" fmla="*/ 84 w 95"/>
                  <a:gd name="T41" fmla="*/ 84 h 187"/>
                  <a:gd name="T42" fmla="*/ 84 w 95"/>
                  <a:gd name="T43" fmla="*/ 72 h 187"/>
                  <a:gd name="T44" fmla="*/ 84 w 95"/>
                  <a:gd name="T45" fmla="*/ 59 h 187"/>
                  <a:gd name="T46" fmla="*/ 76 w 95"/>
                  <a:gd name="T47" fmla="*/ 56 h 187"/>
                  <a:gd name="T48" fmla="*/ 77 w 95"/>
                  <a:gd name="T49" fmla="*/ 25 h 187"/>
                  <a:gd name="T50" fmla="*/ 71 w 95"/>
                  <a:gd name="T51" fmla="*/ 2 h 187"/>
                  <a:gd name="T52" fmla="*/ 58 w 95"/>
                  <a:gd name="T53" fmla="*/ 0 h 187"/>
                  <a:gd name="T54" fmla="*/ 67 w 95"/>
                  <a:gd name="T55" fmla="*/ 11 h 187"/>
                  <a:gd name="T56" fmla="*/ 60 w 95"/>
                  <a:gd name="T57" fmla="*/ 19 h 187"/>
                  <a:gd name="T58" fmla="*/ 54 w 95"/>
                  <a:gd name="T59" fmla="*/ 25 h 187"/>
                  <a:gd name="T60" fmla="*/ 46 w 95"/>
                  <a:gd name="T61" fmla="*/ 33 h 187"/>
                  <a:gd name="T62" fmla="*/ 48 w 95"/>
                  <a:gd name="T63" fmla="*/ 45 h 187"/>
                  <a:gd name="T64" fmla="*/ 36 w 95"/>
                  <a:gd name="T65" fmla="*/ 41 h 187"/>
                  <a:gd name="T66" fmla="*/ 33 w 95"/>
                  <a:gd name="T67" fmla="*/ 49 h 187"/>
                  <a:gd name="T68" fmla="*/ 22 w 95"/>
                  <a:gd name="T69" fmla="*/ 45 h 187"/>
                  <a:gd name="T70" fmla="*/ 31 w 95"/>
                  <a:gd name="T71" fmla="*/ 62 h 187"/>
                  <a:gd name="T72" fmla="*/ 37 w 95"/>
                  <a:gd name="T73" fmla="*/ 69 h 187"/>
                  <a:gd name="T74" fmla="*/ 36 w 95"/>
                  <a:gd name="T75" fmla="*/ 77 h 187"/>
                  <a:gd name="T76" fmla="*/ 18 w 95"/>
                  <a:gd name="T77" fmla="*/ 64 h 187"/>
                  <a:gd name="T78" fmla="*/ 13 w 95"/>
                  <a:gd name="T79" fmla="*/ 76 h 187"/>
                  <a:gd name="T80" fmla="*/ 20 w 95"/>
                  <a:gd name="T81" fmla="*/ 93 h 187"/>
                  <a:gd name="T82" fmla="*/ 12 w 95"/>
                  <a:gd name="T83" fmla="*/ 93 h 187"/>
                  <a:gd name="T84" fmla="*/ 5 w 95"/>
                  <a:gd name="T85" fmla="*/ 107 h 187"/>
                  <a:gd name="T86" fmla="*/ 15 w 95"/>
                  <a:gd name="T87" fmla="*/ 109 h 187"/>
                  <a:gd name="T88" fmla="*/ 16 w 95"/>
                  <a:gd name="T89" fmla="*/ 114 h 187"/>
                  <a:gd name="T90" fmla="*/ 25 w 95"/>
                  <a:gd name="T91" fmla="*/ 117 h 187"/>
                  <a:gd name="T92" fmla="*/ 32 w 95"/>
                  <a:gd name="T93" fmla="*/ 124 h 187"/>
                  <a:gd name="T94" fmla="*/ 23 w 95"/>
                  <a:gd name="T95" fmla="*/ 126 h 187"/>
                  <a:gd name="T96" fmla="*/ 34 w 95"/>
                  <a:gd name="T97" fmla="*/ 134 h 187"/>
                  <a:gd name="T98" fmla="*/ 15 w 95"/>
                  <a:gd name="T99" fmla="*/ 124 h 187"/>
                  <a:gd name="T100" fmla="*/ 7 w 95"/>
                  <a:gd name="T101" fmla="*/ 139 h 187"/>
                  <a:gd name="T102" fmla="*/ 1 w 95"/>
                  <a:gd name="T103" fmla="*/ 151 h 187"/>
                  <a:gd name="T104" fmla="*/ 8 w 95"/>
                  <a:gd name="T105" fmla="*/ 155 h 187"/>
                  <a:gd name="T106" fmla="*/ 2 w 95"/>
                  <a:gd name="T107" fmla="*/ 162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5" h="187">
                    <a:moveTo>
                      <a:pt x="2" y="162"/>
                    </a:moveTo>
                    <a:lnTo>
                      <a:pt x="1" y="164"/>
                    </a:lnTo>
                    <a:lnTo>
                      <a:pt x="1" y="171"/>
                    </a:lnTo>
                    <a:lnTo>
                      <a:pt x="3" y="169"/>
                    </a:lnTo>
                    <a:lnTo>
                      <a:pt x="5" y="170"/>
                    </a:lnTo>
                    <a:lnTo>
                      <a:pt x="5" y="176"/>
                    </a:lnTo>
                    <a:lnTo>
                      <a:pt x="9" y="177"/>
                    </a:lnTo>
                    <a:lnTo>
                      <a:pt x="15" y="182"/>
                    </a:lnTo>
                    <a:lnTo>
                      <a:pt x="18" y="180"/>
                    </a:lnTo>
                    <a:lnTo>
                      <a:pt x="19" y="177"/>
                    </a:lnTo>
                    <a:lnTo>
                      <a:pt x="18" y="174"/>
                    </a:lnTo>
                    <a:lnTo>
                      <a:pt x="22" y="175"/>
                    </a:lnTo>
                    <a:lnTo>
                      <a:pt x="22" y="177"/>
                    </a:lnTo>
                    <a:lnTo>
                      <a:pt x="22" y="180"/>
                    </a:lnTo>
                    <a:lnTo>
                      <a:pt x="22" y="184"/>
                    </a:lnTo>
                    <a:lnTo>
                      <a:pt x="23" y="183"/>
                    </a:lnTo>
                    <a:lnTo>
                      <a:pt x="26" y="175"/>
                    </a:lnTo>
                    <a:lnTo>
                      <a:pt x="26" y="168"/>
                    </a:lnTo>
                    <a:lnTo>
                      <a:pt x="27" y="163"/>
                    </a:lnTo>
                    <a:lnTo>
                      <a:pt x="30" y="159"/>
                    </a:lnTo>
                    <a:lnTo>
                      <a:pt x="31" y="156"/>
                    </a:lnTo>
                    <a:lnTo>
                      <a:pt x="31" y="160"/>
                    </a:lnTo>
                    <a:lnTo>
                      <a:pt x="28" y="167"/>
                    </a:lnTo>
                    <a:lnTo>
                      <a:pt x="27" y="172"/>
                    </a:lnTo>
                    <a:lnTo>
                      <a:pt x="28" y="174"/>
                    </a:lnTo>
                    <a:lnTo>
                      <a:pt x="27" y="180"/>
                    </a:lnTo>
                    <a:lnTo>
                      <a:pt x="29" y="184"/>
                    </a:lnTo>
                    <a:lnTo>
                      <a:pt x="28" y="186"/>
                    </a:lnTo>
                    <a:lnTo>
                      <a:pt x="29" y="187"/>
                    </a:lnTo>
                    <a:lnTo>
                      <a:pt x="30" y="185"/>
                    </a:lnTo>
                    <a:lnTo>
                      <a:pt x="32" y="182"/>
                    </a:lnTo>
                    <a:lnTo>
                      <a:pt x="36" y="176"/>
                    </a:lnTo>
                    <a:lnTo>
                      <a:pt x="39" y="168"/>
                    </a:lnTo>
                    <a:lnTo>
                      <a:pt x="40" y="166"/>
                    </a:lnTo>
                    <a:lnTo>
                      <a:pt x="41" y="169"/>
                    </a:lnTo>
                    <a:lnTo>
                      <a:pt x="39" y="173"/>
                    </a:lnTo>
                    <a:lnTo>
                      <a:pt x="39" y="175"/>
                    </a:lnTo>
                    <a:lnTo>
                      <a:pt x="42" y="176"/>
                    </a:lnTo>
                    <a:lnTo>
                      <a:pt x="45" y="172"/>
                    </a:lnTo>
                    <a:lnTo>
                      <a:pt x="47" y="170"/>
                    </a:lnTo>
                    <a:lnTo>
                      <a:pt x="47" y="167"/>
                    </a:lnTo>
                    <a:lnTo>
                      <a:pt x="44" y="166"/>
                    </a:lnTo>
                    <a:lnTo>
                      <a:pt x="44" y="166"/>
                    </a:lnTo>
                    <a:lnTo>
                      <a:pt x="47" y="164"/>
                    </a:lnTo>
                    <a:lnTo>
                      <a:pt x="47" y="159"/>
                    </a:lnTo>
                    <a:lnTo>
                      <a:pt x="46" y="157"/>
                    </a:lnTo>
                    <a:lnTo>
                      <a:pt x="46" y="154"/>
                    </a:lnTo>
                    <a:lnTo>
                      <a:pt x="50" y="151"/>
                    </a:lnTo>
                    <a:lnTo>
                      <a:pt x="51" y="145"/>
                    </a:lnTo>
                    <a:lnTo>
                      <a:pt x="53" y="144"/>
                    </a:lnTo>
                    <a:lnTo>
                      <a:pt x="55" y="141"/>
                    </a:lnTo>
                    <a:lnTo>
                      <a:pt x="55" y="145"/>
                    </a:lnTo>
                    <a:lnTo>
                      <a:pt x="56" y="146"/>
                    </a:lnTo>
                    <a:lnTo>
                      <a:pt x="53" y="147"/>
                    </a:lnTo>
                    <a:lnTo>
                      <a:pt x="52" y="152"/>
                    </a:lnTo>
                    <a:lnTo>
                      <a:pt x="49" y="156"/>
                    </a:lnTo>
                    <a:lnTo>
                      <a:pt x="49" y="161"/>
                    </a:lnTo>
                    <a:lnTo>
                      <a:pt x="50" y="164"/>
                    </a:lnTo>
                    <a:lnTo>
                      <a:pt x="50" y="168"/>
                    </a:lnTo>
                    <a:lnTo>
                      <a:pt x="52" y="166"/>
                    </a:lnTo>
                    <a:lnTo>
                      <a:pt x="54" y="160"/>
                    </a:lnTo>
                    <a:lnTo>
                      <a:pt x="60" y="155"/>
                    </a:lnTo>
                    <a:lnTo>
                      <a:pt x="61" y="152"/>
                    </a:lnTo>
                    <a:lnTo>
                      <a:pt x="62" y="147"/>
                    </a:lnTo>
                    <a:lnTo>
                      <a:pt x="64" y="144"/>
                    </a:lnTo>
                    <a:lnTo>
                      <a:pt x="65" y="143"/>
                    </a:lnTo>
                    <a:lnTo>
                      <a:pt x="66" y="145"/>
                    </a:lnTo>
                    <a:lnTo>
                      <a:pt x="64" y="146"/>
                    </a:lnTo>
                    <a:lnTo>
                      <a:pt x="64" y="150"/>
                    </a:lnTo>
                    <a:lnTo>
                      <a:pt x="67" y="148"/>
                    </a:lnTo>
                    <a:lnTo>
                      <a:pt x="70" y="144"/>
                    </a:lnTo>
                    <a:lnTo>
                      <a:pt x="73" y="144"/>
                    </a:lnTo>
                    <a:lnTo>
                      <a:pt x="77" y="145"/>
                    </a:lnTo>
                    <a:lnTo>
                      <a:pt x="81" y="143"/>
                    </a:lnTo>
                    <a:lnTo>
                      <a:pt x="84" y="142"/>
                    </a:lnTo>
                    <a:lnTo>
                      <a:pt x="85" y="140"/>
                    </a:lnTo>
                    <a:lnTo>
                      <a:pt x="88" y="139"/>
                    </a:lnTo>
                    <a:lnTo>
                      <a:pt x="89" y="136"/>
                    </a:lnTo>
                    <a:lnTo>
                      <a:pt x="89" y="134"/>
                    </a:lnTo>
                    <a:lnTo>
                      <a:pt x="90" y="131"/>
                    </a:lnTo>
                    <a:lnTo>
                      <a:pt x="88" y="129"/>
                    </a:lnTo>
                    <a:lnTo>
                      <a:pt x="89" y="124"/>
                    </a:lnTo>
                    <a:lnTo>
                      <a:pt x="89" y="117"/>
                    </a:lnTo>
                    <a:lnTo>
                      <a:pt x="88" y="117"/>
                    </a:lnTo>
                    <a:lnTo>
                      <a:pt x="86" y="121"/>
                    </a:lnTo>
                    <a:lnTo>
                      <a:pt x="83" y="126"/>
                    </a:lnTo>
                    <a:lnTo>
                      <a:pt x="81" y="126"/>
                    </a:lnTo>
                    <a:lnTo>
                      <a:pt x="81" y="124"/>
                    </a:lnTo>
                    <a:lnTo>
                      <a:pt x="84" y="121"/>
                    </a:lnTo>
                    <a:lnTo>
                      <a:pt x="86" y="119"/>
                    </a:lnTo>
                    <a:lnTo>
                      <a:pt x="87" y="116"/>
                    </a:lnTo>
                    <a:lnTo>
                      <a:pt x="84" y="113"/>
                    </a:lnTo>
                    <a:lnTo>
                      <a:pt x="83" y="110"/>
                    </a:lnTo>
                    <a:lnTo>
                      <a:pt x="81" y="110"/>
                    </a:lnTo>
                    <a:lnTo>
                      <a:pt x="80" y="111"/>
                    </a:lnTo>
                    <a:lnTo>
                      <a:pt x="79" y="113"/>
                    </a:lnTo>
                    <a:lnTo>
                      <a:pt x="78" y="111"/>
                    </a:lnTo>
                    <a:lnTo>
                      <a:pt x="75" y="112"/>
                    </a:lnTo>
                    <a:lnTo>
                      <a:pt x="73" y="114"/>
                    </a:lnTo>
                    <a:lnTo>
                      <a:pt x="71" y="114"/>
                    </a:lnTo>
                    <a:lnTo>
                      <a:pt x="71" y="111"/>
                    </a:lnTo>
                    <a:lnTo>
                      <a:pt x="78" y="108"/>
                    </a:lnTo>
                    <a:lnTo>
                      <a:pt x="81" y="107"/>
                    </a:lnTo>
                    <a:lnTo>
                      <a:pt x="86" y="101"/>
                    </a:lnTo>
                    <a:lnTo>
                      <a:pt x="88" y="100"/>
                    </a:lnTo>
                    <a:lnTo>
                      <a:pt x="91" y="93"/>
                    </a:lnTo>
                    <a:lnTo>
                      <a:pt x="91" y="88"/>
                    </a:lnTo>
                    <a:lnTo>
                      <a:pt x="91" y="87"/>
                    </a:lnTo>
                    <a:lnTo>
                      <a:pt x="88" y="87"/>
                    </a:lnTo>
                    <a:lnTo>
                      <a:pt x="87" y="89"/>
                    </a:lnTo>
                    <a:lnTo>
                      <a:pt x="86" y="87"/>
                    </a:lnTo>
                    <a:lnTo>
                      <a:pt x="87" y="85"/>
                    </a:lnTo>
                    <a:lnTo>
                      <a:pt x="88" y="84"/>
                    </a:lnTo>
                    <a:lnTo>
                      <a:pt x="91" y="84"/>
                    </a:lnTo>
                    <a:lnTo>
                      <a:pt x="91" y="82"/>
                    </a:lnTo>
                    <a:lnTo>
                      <a:pt x="91" y="79"/>
                    </a:lnTo>
                    <a:lnTo>
                      <a:pt x="95" y="76"/>
                    </a:lnTo>
                    <a:lnTo>
                      <a:pt x="95" y="71"/>
                    </a:lnTo>
                    <a:lnTo>
                      <a:pt x="94" y="70"/>
                    </a:lnTo>
                    <a:lnTo>
                      <a:pt x="94" y="67"/>
                    </a:lnTo>
                    <a:lnTo>
                      <a:pt x="91" y="66"/>
                    </a:lnTo>
                    <a:lnTo>
                      <a:pt x="88" y="68"/>
                    </a:lnTo>
                    <a:lnTo>
                      <a:pt x="85" y="75"/>
                    </a:lnTo>
                    <a:lnTo>
                      <a:pt x="85" y="79"/>
                    </a:lnTo>
                    <a:lnTo>
                      <a:pt x="87" y="81"/>
                    </a:lnTo>
                    <a:lnTo>
                      <a:pt x="84" y="84"/>
                    </a:lnTo>
                    <a:lnTo>
                      <a:pt x="83" y="85"/>
                    </a:lnTo>
                    <a:lnTo>
                      <a:pt x="82" y="85"/>
                    </a:lnTo>
                    <a:lnTo>
                      <a:pt x="82" y="83"/>
                    </a:lnTo>
                    <a:lnTo>
                      <a:pt x="81" y="81"/>
                    </a:lnTo>
                    <a:lnTo>
                      <a:pt x="81" y="78"/>
                    </a:lnTo>
                    <a:lnTo>
                      <a:pt x="84" y="72"/>
                    </a:lnTo>
                    <a:lnTo>
                      <a:pt x="83" y="69"/>
                    </a:lnTo>
                    <a:lnTo>
                      <a:pt x="84" y="68"/>
                    </a:lnTo>
                    <a:lnTo>
                      <a:pt x="85" y="69"/>
                    </a:lnTo>
                    <a:lnTo>
                      <a:pt x="87" y="67"/>
                    </a:lnTo>
                    <a:lnTo>
                      <a:pt x="86" y="63"/>
                    </a:lnTo>
                    <a:lnTo>
                      <a:pt x="84" y="59"/>
                    </a:lnTo>
                    <a:lnTo>
                      <a:pt x="81" y="59"/>
                    </a:lnTo>
                    <a:lnTo>
                      <a:pt x="78" y="61"/>
                    </a:lnTo>
                    <a:lnTo>
                      <a:pt x="78" y="64"/>
                    </a:lnTo>
                    <a:lnTo>
                      <a:pt x="77" y="62"/>
                    </a:lnTo>
                    <a:lnTo>
                      <a:pt x="76" y="61"/>
                    </a:lnTo>
                    <a:lnTo>
                      <a:pt x="76" y="56"/>
                    </a:lnTo>
                    <a:lnTo>
                      <a:pt x="74" y="52"/>
                    </a:lnTo>
                    <a:lnTo>
                      <a:pt x="75" y="45"/>
                    </a:lnTo>
                    <a:lnTo>
                      <a:pt x="75" y="39"/>
                    </a:lnTo>
                    <a:lnTo>
                      <a:pt x="77" y="35"/>
                    </a:lnTo>
                    <a:lnTo>
                      <a:pt x="77" y="30"/>
                    </a:lnTo>
                    <a:lnTo>
                      <a:pt x="77" y="25"/>
                    </a:lnTo>
                    <a:lnTo>
                      <a:pt x="79" y="20"/>
                    </a:lnTo>
                    <a:lnTo>
                      <a:pt x="79" y="16"/>
                    </a:lnTo>
                    <a:lnTo>
                      <a:pt x="77" y="12"/>
                    </a:lnTo>
                    <a:lnTo>
                      <a:pt x="76" y="8"/>
                    </a:lnTo>
                    <a:lnTo>
                      <a:pt x="72" y="5"/>
                    </a:lnTo>
                    <a:lnTo>
                      <a:pt x="71" y="2"/>
                    </a:lnTo>
                    <a:lnTo>
                      <a:pt x="67" y="0"/>
                    </a:lnTo>
                    <a:lnTo>
                      <a:pt x="66" y="1"/>
                    </a:lnTo>
                    <a:lnTo>
                      <a:pt x="66" y="3"/>
                    </a:lnTo>
                    <a:lnTo>
                      <a:pt x="64" y="3"/>
                    </a:lnTo>
                    <a:lnTo>
                      <a:pt x="61" y="0"/>
                    </a:lnTo>
                    <a:lnTo>
                      <a:pt x="58" y="0"/>
                    </a:lnTo>
                    <a:lnTo>
                      <a:pt x="58" y="3"/>
                    </a:lnTo>
                    <a:lnTo>
                      <a:pt x="56" y="8"/>
                    </a:lnTo>
                    <a:lnTo>
                      <a:pt x="57" y="10"/>
                    </a:lnTo>
                    <a:lnTo>
                      <a:pt x="60" y="10"/>
                    </a:lnTo>
                    <a:lnTo>
                      <a:pt x="63" y="10"/>
                    </a:lnTo>
                    <a:lnTo>
                      <a:pt x="67" y="11"/>
                    </a:lnTo>
                    <a:lnTo>
                      <a:pt x="67" y="14"/>
                    </a:lnTo>
                    <a:lnTo>
                      <a:pt x="70" y="14"/>
                    </a:lnTo>
                    <a:lnTo>
                      <a:pt x="70" y="17"/>
                    </a:lnTo>
                    <a:lnTo>
                      <a:pt x="65" y="21"/>
                    </a:lnTo>
                    <a:lnTo>
                      <a:pt x="64" y="21"/>
                    </a:lnTo>
                    <a:lnTo>
                      <a:pt x="60" y="19"/>
                    </a:lnTo>
                    <a:lnTo>
                      <a:pt x="58" y="19"/>
                    </a:lnTo>
                    <a:lnTo>
                      <a:pt x="55" y="18"/>
                    </a:lnTo>
                    <a:lnTo>
                      <a:pt x="57" y="21"/>
                    </a:lnTo>
                    <a:lnTo>
                      <a:pt x="58" y="22"/>
                    </a:lnTo>
                    <a:lnTo>
                      <a:pt x="57" y="24"/>
                    </a:lnTo>
                    <a:lnTo>
                      <a:pt x="54" y="25"/>
                    </a:lnTo>
                    <a:lnTo>
                      <a:pt x="50" y="21"/>
                    </a:lnTo>
                    <a:lnTo>
                      <a:pt x="46" y="23"/>
                    </a:lnTo>
                    <a:lnTo>
                      <a:pt x="45" y="28"/>
                    </a:lnTo>
                    <a:lnTo>
                      <a:pt x="43" y="30"/>
                    </a:lnTo>
                    <a:lnTo>
                      <a:pt x="43" y="32"/>
                    </a:lnTo>
                    <a:lnTo>
                      <a:pt x="46" y="33"/>
                    </a:lnTo>
                    <a:lnTo>
                      <a:pt x="46" y="37"/>
                    </a:lnTo>
                    <a:lnTo>
                      <a:pt x="50" y="39"/>
                    </a:lnTo>
                    <a:lnTo>
                      <a:pt x="50" y="41"/>
                    </a:lnTo>
                    <a:lnTo>
                      <a:pt x="47" y="41"/>
                    </a:lnTo>
                    <a:lnTo>
                      <a:pt x="46" y="43"/>
                    </a:lnTo>
                    <a:lnTo>
                      <a:pt x="48" y="45"/>
                    </a:lnTo>
                    <a:lnTo>
                      <a:pt x="48" y="47"/>
                    </a:lnTo>
                    <a:lnTo>
                      <a:pt x="46" y="47"/>
                    </a:lnTo>
                    <a:lnTo>
                      <a:pt x="44" y="45"/>
                    </a:lnTo>
                    <a:lnTo>
                      <a:pt x="41" y="45"/>
                    </a:lnTo>
                    <a:lnTo>
                      <a:pt x="39" y="42"/>
                    </a:lnTo>
                    <a:lnTo>
                      <a:pt x="36" y="41"/>
                    </a:lnTo>
                    <a:lnTo>
                      <a:pt x="34" y="43"/>
                    </a:lnTo>
                    <a:lnTo>
                      <a:pt x="33" y="46"/>
                    </a:lnTo>
                    <a:lnTo>
                      <a:pt x="35" y="49"/>
                    </a:lnTo>
                    <a:lnTo>
                      <a:pt x="34" y="52"/>
                    </a:lnTo>
                    <a:lnTo>
                      <a:pt x="33" y="51"/>
                    </a:lnTo>
                    <a:lnTo>
                      <a:pt x="33" y="49"/>
                    </a:lnTo>
                    <a:lnTo>
                      <a:pt x="31" y="47"/>
                    </a:lnTo>
                    <a:lnTo>
                      <a:pt x="27" y="46"/>
                    </a:lnTo>
                    <a:lnTo>
                      <a:pt x="26" y="46"/>
                    </a:lnTo>
                    <a:lnTo>
                      <a:pt x="25" y="44"/>
                    </a:lnTo>
                    <a:lnTo>
                      <a:pt x="22" y="43"/>
                    </a:lnTo>
                    <a:lnTo>
                      <a:pt x="22" y="45"/>
                    </a:lnTo>
                    <a:lnTo>
                      <a:pt x="23" y="49"/>
                    </a:lnTo>
                    <a:lnTo>
                      <a:pt x="23" y="53"/>
                    </a:lnTo>
                    <a:lnTo>
                      <a:pt x="24" y="57"/>
                    </a:lnTo>
                    <a:lnTo>
                      <a:pt x="26" y="59"/>
                    </a:lnTo>
                    <a:lnTo>
                      <a:pt x="29" y="60"/>
                    </a:lnTo>
                    <a:lnTo>
                      <a:pt x="31" y="62"/>
                    </a:lnTo>
                    <a:lnTo>
                      <a:pt x="30" y="62"/>
                    </a:lnTo>
                    <a:lnTo>
                      <a:pt x="27" y="62"/>
                    </a:lnTo>
                    <a:lnTo>
                      <a:pt x="30" y="65"/>
                    </a:lnTo>
                    <a:lnTo>
                      <a:pt x="31" y="67"/>
                    </a:lnTo>
                    <a:lnTo>
                      <a:pt x="34" y="69"/>
                    </a:lnTo>
                    <a:lnTo>
                      <a:pt x="37" y="69"/>
                    </a:lnTo>
                    <a:lnTo>
                      <a:pt x="39" y="67"/>
                    </a:lnTo>
                    <a:lnTo>
                      <a:pt x="40" y="67"/>
                    </a:lnTo>
                    <a:lnTo>
                      <a:pt x="41" y="69"/>
                    </a:lnTo>
                    <a:lnTo>
                      <a:pt x="39" y="71"/>
                    </a:lnTo>
                    <a:lnTo>
                      <a:pt x="37" y="76"/>
                    </a:lnTo>
                    <a:lnTo>
                      <a:pt x="36" y="77"/>
                    </a:lnTo>
                    <a:lnTo>
                      <a:pt x="32" y="73"/>
                    </a:lnTo>
                    <a:lnTo>
                      <a:pt x="25" y="71"/>
                    </a:lnTo>
                    <a:lnTo>
                      <a:pt x="22" y="66"/>
                    </a:lnTo>
                    <a:lnTo>
                      <a:pt x="19" y="66"/>
                    </a:lnTo>
                    <a:lnTo>
                      <a:pt x="19" y="64"/>
                    </a:lnTo>
                    <a:lnTo>
                      <a:pt x="18" y="64"/>
                    </a:lnTo>
                    <a:lnTo>
                      <a:pt x="16" y="68"/>
                    </a:lnTo>
                    <a:lnTo>
                      <a:pt x="17" y="69"/>
                    </a:lnTo>
                    <a:lnTo>
                      <a:pt x="15" y="71"/>
                    </a:lnTo>
                    <a:lnTo>
                      <a:pt x="17" y="76"/>
                    </a:lnTo>
                    <a:lnTo>
                      <a:pt x="15" y="78"/>
                    </a:lnTo>
                    <a:lnTo>
                      <a:pt x="13" y="76"/>
                    </a:lnTo>
                    <a:lnTo>
                      <a:pt x="13" y="81"/>
                    </a:lnTo>
                    <a:lnTo>
                      <a:pt x="12" y="82"/>
                    </a:lnTo>
                    <a:lnTo>
                      <a:pt x="12" y="90"/>
                    </a:lnTo>
                    <a:lnTo>
                      <a:pt x="13" y="91"/>
                    </a:lnTo>
                    <a:lnTo>
                      <a:pt x="18" y="92"/>
                    </a:lnTo>
                    <a:lnTo>
                      <a:pt x="20" y="93"/>
                    </a:lnTo>
                    <a:lnTo>
                      <a:pt x="22" y="93"/>
                    </a:lnTo>
                    <a:lnTo>
                      <a:pt x="22" y="93"/>
                    </a:lnTo>
                    <a:lnTo>
                      <a:pt x="21" y="95"/>
                    </a:lnTo>
                    <a:lnTo>
                      <a:pt x="18" y="94"/>
                    </a:lnTo>
                    <a:lnTo>
                      <a:pt x="13" y="94"/>
                    </a:lnTo>
                    <a:lnTo>
                      <a:pt x="12" y="93"/>
                    </a:lnTo>
                    <a:lnTo>
                      <a:pt x="9" y="93"/>
                    </a:lnTo>
                    <a:lnTo>
                      <a:pt x="5" y="100"/>
                    </a:lnTo>
                    <a:lnTo>
                      <a:pt x="5" y="102"/>
                    </a:lnTo>
                    <a:lnTo>
                      <a:pt x="7" y="104"/>
                    </a:lnTo>
                    <a:lnTo>
                      <a:pt x="6" y="106"/>
                    </a:lnTo>
                    <a:lnTo>
                      <a:pt x="5" y="107"/>
                    </a:lnTo>
                    <a:lnTo>
                      <a:pt x="5" y="110"/>
                    </a:lnTo>
                    <a:lnTo>
                      <a:pt x="6" y="111"/>
                    </a:lnTo>
                    <a:lnTo>
                      <a:pt x="8" y="110"/>
                    </a:lnTo>
                    <a:lnTo>
                      <a:pt x="12" y="110"/>
                    </a:lnTo>
                    <a:lnTo>
                      <a:pt x="14" y="107"/>
                    </a:lnTo>
                    <a:lnTo>
                      <a:pt x="15" y="109"/>
                    </a:lnTo>
                    <a:lnTo>
                      <a:pt x="15" y="112"/>
                    </a:lnTo>
                    <a:lnTo>
                      <a:pt x="12" y="112"/>
                    </a:lnTo>
                    <a:lnTo>
                      <a:pt x="11" y="115"/>
                    </a:lnTo>
                    <a:lnTo>
                      <a:pt x="12" y="117"/>
                    </a:lnTo>
                    <a:lnTo>
                      <a:pt x="14" y="117"/>
                    </a:lnTo>
                    <a:lnTo>
                      <a:pt x="16" y="114"/>
                    </a:lnTo>
                    <a:lnTo>
                      <a:pt x="18" y="114"/>
                    </a:lnTo>
                    <a:lnTo>
                      <a:pt x="20" y="112"/>
                    </a:lnTo>
                    <a:lnTo>
                      <a:pt x="21" y="114"/>
                    </a:lnTo>
                    <a:lnTo>
                      <a:pt x="19" y="116"/>
                    </a:lnTo>
                    <a:lnTo>
                      <a:pt x="21" y="117"/>
                    </a:lnTo>
                    <a:lnTo>
                      <a:pt x="25" y="117"/>
                    </a:lnTo>
                    <a:lnTo>
                      <a:pt x="26" y="118"/>
                    </a:lnTo>
                    <a:lnTo>
                      <a:pt x="23" y="119"/>
                    </a:lnTo>
                    <a:lnTo>
                      <a:pt x="23" y="121"/>
                    </a:lnTo>
                    <a:lnTo>
                      <a:pt x="26" y="122"/>
                    </a:lnTo>
                    <a:lnTo>
                      <a:pt x="29" y="121"/>
                    </a:lnTo>
                    <a:lnTo>
                      <a:pt x="32" y="124"/>
                    </a:lnTo>
                    <a:lnTo>
                      <a:pt x="39" y="126"/>
                    </a:lnTo>
                    <a:lnTo>
                      <a:pt x="39" y="128"/>
                    </a:lnTo>
                    <a:lnTo>
                      <a:pt x="33" y="128"/>
                    </a:lnTo>
                    <a:lnTo>
                      <a:pt x="31" y="128"/>
                    </a:lnTo>
                    <a:lnTo>
                      <a:pt x="27" y="124"/>
                    </a:lnTo>
                    <a:lnTo>
                      <a:pt x="23" y="126"/>
                    </a:lnTo>
                    <a:lnTo>
                      <a:pt x="23" y="128"/>
                    </a:lnTo>
                    <a:lnTo>
                      <a:pt x="27" y="130"/>
                    </a:lnTo>
                    <a:lnTo>
                      <a:pt x="33" y="131"/>
                    </a:lnTo>
                    <a:lnTo>
                      <a:pt x="38" y="131"/>
                    </a:lnTo>
                    <a:lnTo>
                      <a:pt x="39" y="132"/>
                    </a:lnTo>
                    <a:lnTo>
                      <a:pt x="34" y="134"/>
                    </a:lnTo>
                    <a:lnTo>
                      <a:pt x="32" y="133"/>
                    </a:lnTo>
                    <a:lnTo>
                      <a:pt x="26" y="132"/>
                    </a:lnTo>
                    <a:lnTo>
                      <a:pt x="22" y="131"/>
                    </a:lnTo>
                    <a:lnTo>
                      <a:pt x="21" y="129"/>
                    </a:lnTo>
                    <a:lnTo>
                      <a:pt x="19" y="128"/>
                    </a:lnTo>
                    <a:lnTo>
                      <a:pt x="15" y="124"/>
                    </a:lnTo>
                    <a:lnTo>
                      <a:pt x="13" y="125"/>
                    </a:lnTo>
                    <a:lnTo>
                      <a:pt x="11" y="128"/>
                    </a:lnTo>
                    <a:lnTo>
                      <a:pt x="7" y="128"/>
                    </a:lnTo>
                    <a:lnTo>
                      <a:pt x="5" y="130"/>
                    </a:lnTo>
                    <a:lnTo>
                      <a:pt x="4" y="136"/>
                    </a:lnTo>
                    <a:lnTo>
                      <a:pt x="7" y="139"/>
                    </a:lnTo>
                    <a:lnTo>
                      <a:pt x="7" y="143"/>
                    </a:lnTo>
                    <a:lnTo>
                      <a:pt x="6" y="145"/>
                    </a:lnTo>
                    <a:lnTo>
                      <a:pt x="5" y="139"/>
                    </a:lnTo>
                    <a:lnTo>
                      <a:pt x="2" y="139"/>
                    </a:lnTo>
                    <a:lnTo>
                      <a:pt x="1" y="147"/>
                    </a:lnTo>
                    <a:lnTo>
                      <a:pt x="1" y="151"/>
                    </a:lnTo>
                    <a:lnTo>
                      <a:pt x="3" y="152"/>
                    </a:lnTo>
                    <a:lnTo>
                      <a:pt x="5" y="150"/>
                    </a:lnTo>
                    <a:lnTo>
                      <a:pt x="6" y="151"/>
                    </a:lnTo>
                    <a:lnTo>
                      <a:pt x="8" y="155"/>
                    </a:lnTo>
                    <a:lnTo>
                      <a:pt x="10" y="155"/>
                    </a:lnTo>
                    <a:lnTo>
                      <a:pt x="8" y="155"/>
                    </a:lnTo>
                    <a:lnTo>
                      <a:pt x="6" y="157"/>
                    </a:lnTo>
                    <a:lnTo>
                      <a:pt x="4" y="154"/>
                    </a:lnTo>
                    <a:lnTo>
                      <a:pt x="0" y="155"/>
                    </a:lnTo>
                    <a:lnTo>
                      <a:pt x="0" y="161"/>
                    </a:lnTo>
                    <a:lnTo>
                      <a:pt x="1" y="162"/>
                    </a:lnTo>
                    <a:lnTo>
                      <a:pt x="2" y="16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5" name="Freeform 1139">
                <a:extLst>
                  <a:ext uri="{FF2B5EF4-FFF2-40B4-BE49-F238E27FC236}">
                    <a16:creationId xmlns:a16="http://schemas.microsoft.com/office/drawing/2014/main" id="{FD1C1CAF-A357-4346-AD73-1E99187C75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0" y="736"/>
                <a:ext cx="6" cy="4"/>
              </a:xfrm>
              <a:custGeom>
                <a:avLst/>
                <a:gdLst>
                  <a:gd name="T0" fmla="*/ 3 w 6"/>
                  <a:gd name="T1" fmla="*/ 3 h 4"/>
                  <a:gd name="T2" fmla="*/ 4 w 6"/>
                  <a:gd name="T3" fmla="*/ 4 h 4"/>
                  <a:gd name="T4" fmla="*/ 6 w 6"/>
                  <a:gd name="T5" fmla="*/ 4 h 4"/>
                  <a:gd name="T6" fmla="*/ 6 w 6"/>
                  <a:gd name="T7" fmla="*/ 1 h 4"/>
                  <a:gd name="T8" fmla="*/ 3 w 6"/>
                  <a:gd name="T9" fmla="*/ 1 h 4"/>
                  <a:gd name="T10" fmla="*/ 2 w 6"/>
                  <a:gd name="T11" fmla="*/ 0 h 4"/>
                  <a:gd name="T12" fmla="*/ 0 w 6"/>
                  <a:gd name="T13" fmla="*/ 0 h 4"/>
                  <a:gd name="T14" fmla="*/ 0 w 6"/>
                  <a:gd name="T15" fmla="*/ 1 h 4"/>
                  <a:gd name="T16" fmla="*/ 0 w 6"/>
                  <a:gd name="T17" fmla="*/ 2 h 4"/>
                  <a:gd name="T18" fmla="*/ 3 w 6"/>
                  <a:gd name="T1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4">
                    <a:moveTo>
                      <a:pt x="3" y="3"/>
                    </a:moveTo>
                    <a:lnTo>
                      <a:pt x="4" y="4"/>
                    </a:lnTo>
                    <a:lnTo>
                      <a:pt x="6" y="4"/>
                    </a:lnTo>
                    <a:lnTo>
                      <a:pt x="6" y="1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6" name="Freeform 1140">
                <a:extLst>
                  <a:ext uri="{FF2B5EF4-FFF2-40B4-BE49-F238E27FC236}">
                    <a16:creationId xmlns:a16="http://schemas.microsoft.com/office/drawing/2014/main" id="{74ABC593-74FD-4C62-9112-E67525BE66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4" y="747"/>
                <a:ext cx="16" cy="25"/>
              </a:xfrm>
              <a:custGeom>
                <a:avLst/>
                <a:gdLst>
                  <a:gd name="T0" fmla="*/ 4 w 16"/>
                  <a:gd name="T1" fmla="*/ 14 h 25"/>
                  <a:gd name="T2" fmla="*/ 6 w 16"/>
                  <a:gd name="T3" fmla="*/ 13 h 25"/>
                  <a:gd name="T4" fmla="*/ 6 w 16"/>
                  <a:gd name="T5" fmla="*/ 16 h 25"/>
                  <a:gd name="T6" fmla="*/ 4 w 16"/>
                  <a:gd name="T7" fmla="*/ 18 h 25"/>
                  <a:gd name="T8" fmla="*/ 4 w 16"/>
                  <a:gd name="T9" fmla="*/ 21 h 25"/>
                  <a:gd name="T10" fmla="*/ 4 w 16"/>
                  <a:gd name="T11" fmla="*/ 23 h 25"/>
                  <a:gd name="T12" fmla="*/ 5 w 16"/>
                  <a:gd name="T13" fmla="*/ 25 h 25"/>
                  <a:gd name="T14" fmla="*/ 8 w 16"/>
                  <a:gd name="T15" fmla="*/ 21 h 25"/>
                  <a:gd name="T16" fmla="*/ 11 w 16"/>
                  <a:gd name="T17" fmla="*/ 17 h 25"/>
                  <a:gd name="T18" fmla="*/ 11 w 16"/>
                  <a:gd name="T19" fmla="*/ 14 h 25"/>
                  <a:gd name="T20" fmla="*/ 14 w 16"/>
                  <a:gd name="T21" fmla="*/ 11 h 25"/>
                  <a:gd name="T22" fmla="*/ 16 w 16"/>
                  <a:gd name="T23" fmla="*/ 7 h 25"/>
                  <a:gd name="T24" fmla="*/ 15 w 16"/>
                  <a:gd name="T25" fmla="*/ 4 h 25"/>
                  <a:gd name="T26" fmla="*/ 11 w 16"/>
                  <a:gd name="T27" fmla="*/ 4 h 25"/>
                  <a:gd name="T28" fmla="*/ 10 w 16"/>
                  <a:gd name="T29" fmla="*/ 4 h 25"/>
                  <a:gd name="T30" fmla="*/ 11 w 16"/>
                  <a:gd name="T31" fmla="*/ 0 h 25"/>
                  <a:gd name="T32" fmla="*/ 10 w 16"/>
                  <a:gd name="T33" fmla="*/ 0 h 25"/>
                  <a:gd name="T34" fmla="*/ 6 w 16"/>
                  <a:gd name="T35" fmla="*/ 4 h 25"/>
                  <a:gd name="T36" fmla="*/ 2 w 16"/>
                  <a:gd name="T37" fmla="*/ 5 h 25"/>
                  <a:gd name="T38" fmla="*/ 1 w 16"/>
                  <a:gd name="T39" fmla="*/ 8 h 25"/>
                  <a:gd name="T40" fmla="*/ 0 w 16"/>
                  <a:gd name="T41" fmla="*/ 10 h 25"/>
                  <a:gd name="T42" fmla="*/ 0 w 16"/>
                  <a:gd name="T43" fmla="*/ 12 h 25"/>
                  <a:gd name="T44" fmla="*/ 4 w 16"/>
                  <a:gd name="T45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" h="25">
                    <a:moveTo>
                      <a:pt x="4" y="14"/>
                    </a:moveTo>
                    <a:lnTo>
                      <a:pt x="6" y="13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4" y="21"/>
                    </a:lnTo>
                    <a:lnTo>
                      <a:pt x="4" y="23"/>
                    </a:lnTo>
                    <a:lnTo>
                      <a:pt x="5" y="25"/>
                    </a:lnTo>
                    <a:lnTo>
                      <a:pt x="8" y="21"/>
                    </a:lnTo>
                    <a:lnTo>
                      <a:pt x="11" y="17"/>
                    </a:lnTo>
                    <a:lnTo>
                      <a:pt x="11" y="14"/>
                    </a:lnTo>
                    <a:lnTo>
                      <a:pt x="14" y="11"/>
                    </a:lnTo>
                    <a:lnTo>
                      <a:pt x="16" y="7"/>
                    </a:lnTo>
                    <a:lnTo>
                      <a:pt x="15" y="4"/>
                    </a:lnTo>
                    <a:lnTo>
                      <a:pt x="11" y="4"/>
                    </a:lnTo>
                    <a:lnTo>
                      <a:pt x="10" y="4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6" y="4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4" y="1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7" name="Freeform 1141">
                <a:extLst>
                  <a:ext uri="{FF2B5EF4-FFF2-40B4-BE49-F238E27FC236}">
                    <a16:creationId xmlns:a16="http://schemas.microsoft.com/office/drawing/2014/main" id="{B58AD147-32DB-4EAE-AD5F-0123FFE2C5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0" y="819"/>
                <a:ext cx="36" cy="57"/>
              </a:xfrm>
              <a:custGeom>
                <a:avLst/>
                <a:gdLst>
                  <a:gd name="T0" fmla="*/ 4 w 36"/>
                  <a:gd name="T1" fmla="*/ 30 h 57"/>
                  <a:gd name="T2" fmla="*/ 7 w 36"/>
                  <a:gd name="T3" fmla="*/ 32 h 57"/>
                  <a:gd name="T4" fmla="*/ 10 w 36"/>
                  <a:gd name="T5" fmla="*/ 37 h 57"/>
                  <a:gd name="T6" fmla="*/ 10 w 36"/>
                  <a:gd name="T7" fmla="*/ 40 h 57"/>
                  <a:gd name="T8" fmla="*/ 8 w 36"/>
                  <a:gd name="T9" fmla="*/ 40 h 57"/>
                  <a:gd name="T10" fmla="*/ 6 w 36"/>
                  <a:gd name="T11" fmla="*/ 37 h 57"/>
                  <a:gd name="T12" fmla="*/ 2 w 36"/>
                  <a:gd name="T13" fmla="*/ 36 h 57"/>
                  <a:gd name="T14" fmla="*/ 1 w 36"/>
                  <a:gd name="T15" fmla="*/ 39 h 57"/>
                  <a:gd name="T16" fmla="*/ 0 w 36"/>
                  <a:gd name="T17" fmla="*/ 41 h 57"/>
                  <a:gd name="T18" fmla="*/ 3 w 36"/>
                  <a:gd name="T19" fmla="*/ 43 h 57"/>
                  <a:gd name="T20" fmla="*/ 3 w 36"/>
                  <a:gd name="T21" fmla="*/ 47 h 57"/>
                  <a:gd name="T22" fmla="*/ 4 w 36"/>
                  <a:gd name="T23" fmla="*/ 49 h 57"/>
                  <a:gd name="T24" fmla="*/ 3 w 36"/>
                  <a:gd name="T25" fmla="*/ 51 h 57"/>
                  <a:gd name="T26" fmla="*/ 3 w 36"/>
                  <a:gd name="T27" fmla="*/ 55 h 57"/>
                  <a:gd name="T28" fmla="*/ 6 w 36"/>
                  <a:gd name="T29" fmla="*/ 54 h 57"/>
                  <a:gd name="T30" fmla="*/ 7 w 36"/>
                  <a:gd name="T31" fmla="*/ 52 h 57"/>
                  <a:gd name="T32" fmla="*/ 9 w 36"/>
                  <a:gd name="T33" fmla="*/ 52 h 57"/>
                  <a:gd name="T34" fmla="*/ 9 w 36"/>
                  <a:gd name="T35" fmla="*/ 56 h 57"/>
                  <a:gd name="T36" fmla="*/ 11 w 36"/>
                  <a:gd name="T37" fmla="*/ 56 h 57"/>
                  <a:gd name="T38" fmla="*/ 15 w 36"/>
                  <a:gd name="T39" fmla="*/ 54 h 57"/>
                  <a:gd name="T40" fmla="*/ 17 w 36"/>
                  <a:gd name="T41" fmla="*/ 56 h 57"/>
                  <a:gd name="T42" fmla="*/ 21 w 36"/>
                  <a:gd name="T43" fmla="*/ 52 h 57"/>
                  <a:gd name="T44" fmla="*/ 22 w 36"/>
                  <a:gd name="T45" fmla="*/ 54 h 57"/>
                  <a:gd name="T46" fmla="*/ 22 w 36"/>
                  <a:gd name="T47" fmla="*/ 56 h 57"/>
                  <a:gd name="T48" fmla="*/ 24 w 36"/>
                  <a:gd name="T49" fmla="*/ 57 h 57"/>
                  <a:gd name="T50" fmla="*/ 25 w 36"/>
                  <a:gd name="T51" fmla="*/ 55 h 57"/>
                  <a:gd name="T52" fmla="*/ 30 w 36"/>
                  <a:gd name="T53" fmla="*/ 51 h 57"/>
                  <a:gd name="T54" fmla="*/ 31 w 36"/>
                  <a:gd name="T55" fmla="*/ 48 h 57"/>
                  <a:gd name="T56" fmla="*/ 30 w 36"/>
                  <a:gd name="T57" fmla="*/ 43 h 57"/>
                  <a:gd name="T58" fmla="*/ 28 w 36"/>
                  <a:gd name="T59" fmla="*/ 42 h 57"/>
                  <a:gd name="T60" fmla="*/ 28 w 36"/>
                  <a:gd name="T61" fmla="*/ 41 h 57"/>
                  <a:gd name="T62" fmla="*/ 29 w 36"/>
                  <a:gd name="T63" fmla="*/ 40 h 57"/>
                  <a:gd name="T64" fmla="*/ 31 w 36"/>
                  <a:gd name="T65" fmla="*/ 40 h 57"/>
                  <a:gd name="T66" fmla="*/ 33 w 36"/>
                  <a:gd name="T67" fmla="*/ 39 h 57"/>
                  <a:gd name="T68" fmla="*/ 36 w 36"/>
                  <a:gd name="T69" fmla="*/ 36 h 57"/>
                  <a:gd name="T70" fmla="*/ 35 w 36"/>
                  <a:gd name="T71" fmla="*/ 29 h 57"/>
                  <a:gd name="T72" fmla="*/ 34 w 36"/>
                  <a:gd name="T73" fmla="*/ 26 h 57"/>
                  <a:gd name="T74" fmla="*/ 34 w 36"/>
                  <a:gd name="T75" fmla="*/ 25 h 57"/>
                  <a:gd name="T76" fmla="*/ 31 w 36"/>
                  <a:gd name="T77" fmla="*/ 25 h 57"/>
                  <a:gd name="T78" fmla="*/ 29 w 36"/>
                  <a:gd name="T79" fmla="*/ 21 h 57"/>
                  <a:gd name="T80" fmla="*/ 29 w 36"/>
                  <a:gd name="T81" fmla="*/ 19 h 57"/>
                  <a:gd name="T82" fmla="*/ 28 w 36"/>
                  <a:gd name="T83" fmla="*/ 18 h 57"/>
                  <a:gd name="T84" fmla="*/ 28 w 36"/>
                  <a:gd name="T85" fmla="*/ 15 h 57"/>
                  <a:gd name="T86" fmla="*/ 26 w 36"/>
                  <a:gd name="T87" fmla="*/ 14 h 57"/>
                  <a:gd name="T88" fmla="*/ 25 w 36"/>
                  <a:gd name="T89" fmla="*/ 11 h 57"/>
                  <a:gd name="T90" fmla="*/ 25 w 36"/>
                  <a:gd name="T91" fmla="*/ 9 h 57"/>
                  <a:gd name="T92" fmla="*/ 24 w 36"/>
                  <a:gd name="T93" fmla="*/ 5 h 57"/>
                  <a:gd name="T94" fmla="*/ 21 w 36"/>
                  <a:gd name="T95" fmla="*/ 0 h 57"/>
                  <a:gd name="T96" fmla="*/ 17 w 36"/>
                  <a:gd name="T97" fmla="*/ 0 h 57"/>
                  <a:gd name="T98" fmla="*/ 14 w 36"/>
                  <a:gd name="T99" fmla="*/ 3 h 57"/>
                  <a:gd name="T100" fmla="*/ 12 w 36"/>
                  <a:gd name="T101" fmla="*/ 5 h 57"/>
                  <a:gd name="T102" fmla="*/ 12 w 36"/>
                  <a:gd name="T103" fmla="*/ 11 h 57"/>
                  <a:gd name="T104" fmla="*/ 10 w 36"/>
                  <a:gd name="T105" fmla="*/ 12 h 57"/>
                  <a:gd name="T106" fmla="*/ 8 w 36"/>
                  <a:gd name="T107" fmla="*/ 11 h 57"/>
                  <a:gd name="T108" fmla="*/ 7 w 36"/>
                  <a:gd name="T109" fmla="*/ 16 h 57"/>
                  <a:gd name="T110" fmla="*/ 7 w 36"/>
                  <a:gd name="T111" fmla="*/ 21 h 57"/>
                  <a:gd name="T112" fmla="*/ 5 w 36"/>
                  <a:gd name="T113" fmla="*/ 25 h 57"/>
                  <a:gd name="T114" fmla="*/ 7 w 36"/>
                  <a:gd name="T115" fmla="*/ 28 h 57"/>
                  <a:gd name="T116" fmla="*/ 3 w 36"/>
                  <a:gd name="T117" fmla="*/ 28 h 57"/>
                  <a:gd name="T118" fmla="*/ 4 w 36"/>
                  <a:gd name="T119" fmla="*/ 3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6" h="57">
                    <a:moveTo>
                      <a:pt x="4" y="30"/>
                    </a:moveTo>
                    <a:lnTo>
                      <a:pt x="7" y="32"/>
                    </a:lnTo>
                    <a:lnTo>
                      <a:pt x="10" y="37"/>
                    </a:lnTo>
                    <a:lnTo>
                      <a:pt x="10" y="40"/>
                    </a:lnTo>
                    <a:lnTo>
                      <a:pt x="8" y="40"/>
                    </a:lnTo>
                    <a:lnTo>
                      <a:pt x="6" y="37"/>
                    </a:lnTo>
                    <a:lnTo>
                      <a:pt x="2" y="36"/>
                    </a:lnTo>
                    <a:lnTo>
                      <a:pt x="1" y="39"/>
                    </a:lnTo>
                    <a:lnTo>
                      <a:pt x="0" y="41"/>
                    </a:lnTo>
                    <a:lnTo>
                      <a:pt x="3" y="43"/>
                    </a:lnTo>
                    <a:lnTo>
                      <a:pt x="3" y="47"/>
                    </a:lnTo>
                    <a:lnTo>
                      <a:pt x="4" y="49"/>
                    </a:lnTo>
                    <a:lnTo>
                      <a:pt x="3" y="51"/>
                    </a:lnTo>
                    <a:lnTo>
                      <a:pt x="3" y="55"/>
                    </a:lnTo>
                    <a:lnTo>
                      <a:pt x="6" y="54"/>
                    </a:lnTo>
                    <a:lnTo>
                      <a:pt x="7" y="52"/>
                    </a:lnTo>
                    <a:lnTo>
                      <a:pt x="9" y="52"/>
                    </a:lnTo>
                    <a:lnTo>
                      <a:pt x="9" y="56"/>
                    </a:lnTo>
                    <a:lnTo>
                      <a:pt x="11" y="56"/>
                    </a:lnTo>
                    <a:lnTo>
                      <a:pt x="15" y="54"/>
                    </a:lnTo>
                    <a:lnTo>
                      <a:pt x="17" y="56"/>
                    </a:lnTo>
                    <a:lnTo>
                      <a:pt x="21" y="52"/>
                    </a:lnTo>
                    <a:lnTo>
                      <a:pt x="22" y="54"/>
                    </a:lnTo>
                    <a:lnTo>
                      <a:pt x="22" y="56"/>
                    </a:lnTo>
                    <a:lnTo>
                      <a:pt x="24" y="57"/>
                    </a:lnTo>
                    <a:lnTo>
                      <a:pt x="25" y="55"/>
                    </a:lnTo>
                    <a:lnTo>
                      <a:pt x="30" y="51"/>
                    </a:lnTo>
                    <a:lnTo>
                      <a:pt x="31" y="48"/>
                    </a:lnTo>
                    <a:lnTo>
                      <a:pt x="30" y="43"/>
                    </a:lnTo>
                    <a:lnTo>
                      <a:pt x="28" y="42"/>
                    </a:lnTo>
                    <a:lnTo>
                      <a:pt x="28" y="41"/>
                    </a:lnTo>
                    <a:lnTo>
                      <a:pt x="29" y="40"/>
                    </a:lnTo>
                    <a:lnTo>
                      <a:pt x="31" y="40"/>
                    </a:lnTo>
                    <a:lnTo>
                      <a:pt x="33" y="39"/>
                    </a:lnTo>
                    <a:lnTo>
                      <a:pt x="36" y="36"/>
                    </a:lnTo>
                    <a:lnTo>
                      <a:pt x="35" y="29"/>
                    </a:lnTo>
                    <a:lnTo>
                      <a:pt x="34" y="26"/>
                    </a:lnTo>
                    <a:lnTo>
                      <a:pt x="34" y="25"/>
                    </a:lnTo>
                    <a:lnTo>
                      <a:pt x="31" y="25"/>
                    </a:lnTo>
                    <a:lnTo>
                      <a:pt x="29" y="21"/>
                    </a:lnTo>
                    <a:lnTo>
                      <a:pt x="29" y="19"/>
                    </a:lnTo>
                    <a:lnTo>
                      <a:pt x="28" y="18"/>
                    </a:lnTo>
                    <a:lnTo>
                      <a:pt x="28" y="15"/>
                    </a:lnTo>
                    <a:lnTo>
                      <a:pt x="26" y="14"/>
                    </a:lnTo>
                    <a:lnTo>
                      <a:pt x="25" y="11"/>
                    </a:lnTo>
                    <a:lnTo>
                      <a:pt x="25" y="9"/>
                    </a:lnTo>
                    <a:lnTo>
                      <a:pt x="24" y="5"/>
                    </a:lnTo>
                    <a:lnTo>
                      <a:pt x="21" y="0"/>
                    </a:lnTo>
                    <a:lnTo>
                      <a:pt x="17" y="0"/>
                    </a:lnTo>
                    <a:lnTo>
                      <a:pt x="14" y="3"/>
                    </a:lnTo>
                    <a:lnTo>
                      <a:pt x="12" y="5"/>
                    </a:lnTo>
                    <a:lnTo>
                      <a:pt x="12" y="11"/>
                    </a:lnTo>
                    <a:lnTo>
                      <a:pt x="10" y="12"/>
                    </a:lnTo>
                    <a:lnTo>
                      <a:pt x="8" y="11"/>
                    </a:lnTo>
                    <a:lnTo>
                      <a:pt x="7" y="16"/>
                    </a:lnTo>
                    <a:lnTo>
                      <a:pt x="7" y="21"/>
                    </a:lnTo>
                    <a:lnTo>
                      <a:pt x="5" y="25"/>
                    </a:lnTo>
                    <a:lnTo>
                      <a:pt x="7" y="28"/>
                    </a:lnTo>
                    <a:lnTo>
                      <a:pt x="3" y="28"/>
                    </a:lnTo>
                    <a:lnTo>
                      <a:pt x="4" y="3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8" name="Freeform 1142">
                <a:extLst>
                  <a:ext uri="{FF2B5EF4-FFF2-40B4-BE49-F238E27FC236}">
                    <a16:creationId xmlns:a16="http://schemas.microsoft.com/office/drawing/2014/main" id="{647B91CA-D313-48A3-852C-23E956AA3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5" y="907"/>
                <a:ext cx="12" cy="19"/>
              </a:xfrm>
              <a:custGeom>
                <a:avLst/>
                <a:gdLst>
                  <a:gd name="T0" fmla="*/ 2 w 12"/>
                  <a:gd name="T1" fmla="*/ 2 h 19"/>
                  <a:gd name="T2" fmla="*/ 1 w 12"/>
                  <a:gd name="T3" fmla="*/ 6 h 19"/>
                  <a:gd name="T4" fmla="*/ 0 w 12"/>
                  <a:gd name="T5" fmla="*/ 9 h 19"/>
                  <a:gd name="T6" fmla="*/ 1 w 12"/>
                  <a:gd name="T7" fmla="*/ 13 h 19"/>
                  <a:gd name="T8" fmla="*/ 1 w 12"/>
                  <a:gd name="T9" fmla="*/ 16 h 19"/>
                  <a:gd name="T10" fmla="*/ 3 w 12"/>
                  <a:gd name="T11" fmla="*/ 19 h 19"/>
                  <a:gd name="T12" fmla="*/ 6 w 12"/>
                  <a:gd name="T13" fmla="*/ 19 h 19"/>
                  <a:gd name="T14" fmla="*/ 9 w 12"/>
                  <a:gd name="T15" fmla="*/ 17 h 19"/>
                  <a:gd name="T16" fmla="*/ 12 w 12"/>
                  <a:gd name="T17" fmla="*/ 11 h 19"/>
                  <a:gd name="T18" fmla="*/ 12 w 12"/>
                  <a:gd name="T19" fmla="*/ 9 h 19"/>
                  <a:gd name="T20" fmla="*/ 11 w 12"/>
                  <a:gd name="T21" fmla="*/ 8 h 19"/>
                  <a:gd name="T22" fmla="*/ 11 w 12"/>
                  <a:gd name="T23" fmla="*/ 6 h 19"/>
                  <a:gd name="T24" fmla="*/ 10 w 12"/>
                  <a:gd name="T25" fmla="*/ 4 h 19"/>
                  <a:gd name="T26" fmla="*/ 8 w 12"/>
                  <a:gd name="T27" fmla="*/ 4 h 19"/>
                  <a:gd name="T28" fmla="*/ 7 w 12"/>
                  <a:gd name="T29" fmla="*/ 0 h 19"/>
                  <a:gd name="T30" fmla="*/ 4 w 12"/>
                  <a:gd name="T31" fmla="*/ 0 h 19"/>
                  <a:gd name="T32" fmla="*/ 2 w 12"/>
                  <a:gd name="T33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19">
                    <a:moveTo>
                      <a:pt x="2" y="2"/>
                    </a:moveTo>
                    <a:lnTo>
                      <a:pt x="1" y="6"/>
                    </a:lnTo>
                    <a:lnTo>
                      <a:pt x="0" y="9"/>
                    </a:lnTo>
                    <a:lnTo>
                      <a:pt x="1" y="13"/>
                    </a:lnTo>
                    <a:lnTo>
                      <a:pt x="1" y="16"/>
                    </a:lnTo>
                    <a:lnTo>
                      <a:pt x="3" y="19"/>
                    </a:lnTo>
                    <a:lnTo>
                      <a:pt x="6" y="19"/>
                    </a:lnTo>
                    <a:lnTo>
                      <a:pt x="9" y="17"/>
                    </a:lnTo>
                    <a:lnTo>
                      <a:pt x="12" y="11"/>
                    </a:lnTo>
                    <a:lnTo>
                      <a:pt x="12" y="9"/>
                    </a:lnTo>
                    <a:lnTo>
                      <a:pt x="11" y="8"/>
                    </a:lnTo>
                    <a:lnTo>
                      <a:pt x="11" y="6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9" name="Freeform 1143">
                <a:extLst>
                  <a:ext uri="{FF2B5EF4-FFF2-40B4-BE49-F238E27FC236}">
                    <a16:creationId xmlns:a16="http://schemas.microsoft.com/office/drawing/2014/main" id="{9635968F-8A0B-471E-B151-6D73B78BA4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1" y="845"/>
                <a:ext cx="13" cy="10"/>
              </a:xfrm>
              <a:custGeom>
                <a:avLst/>
                <a:gdLst>
                  <a:gd name="T0" fmla="*/ 6 w 13"/>
                  <a:gd name="T1" fmla="*/ 9 h 10"/>
                  <a:gd name="T2" fmla="*/ 8 w 13"/>
                  <a:gd name="T3" fmla="*/ 6 h 10"/>
                  <a:gd name="T4" fmla="*/ 12 w 13"/>
                  <a:gd name="T5" fmla="*/ 6 h 10"/>
                  <a:gd name="T6" fmla="*/ 13 w 13"/>
                  <a:gd name="T7" fmla="*/ 5 h 10"/>
                  <a:gd name="T8" fmla="*/ 11 w 13"/>
                  <a:gd name="T9" fmla="*/ 2 h 10"/>
                  <a:gd name="T10" fmla="*/ 7 w 13"/>
                  <a:gd name="T11" fmla="*/ 0 h 10"/>
                  <a:gd name="T12" fmla="*/ 5 w 13"/>
                  <a:gd name="T13" fmla="*/ 2 h 10"/>
                  <a:gd name="T14" fmla="*/ 4 w 13"/>
                  <a:gd name="T15" fmla="*/ 2 h 10"/>
                  <a:gd name="T16" fmla="*/ 0 w 13"/>
                  <a:gd name="T17" fmla="*/ 7 h 10"/>
                  <a:gd name="T18" fmla="*/ 0 w 13"/>
                  <a:gd name="T19" fmla="*/ 9 h 10"/>
                  <a:gd name="T20" fmla="*/ 3 w 13"/>
                  <a:gd name="T21" fmla="*/ 10 h 10"/>
                  <a:gd name="T22" fmla="*/ 6 w 13"/>
                  <a:gd name="T23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" h="10">
                    <a:moveTo>
                      <a:pt x="6" y="9"/>
                    </a:moveTo>
                    <a:lnTo>
                      <a:pt x="8" y="6"/>
                    </a:lnTo>
                    <a:lnTo>
                      <a:pt x="12" y="6"/>
                    </a:lnTo>
                    <a:lnTo>
                      <a:pt x="13" y="5"/>
                    </a:lnTo>
                    <a:lnTo>
                      <a:pt x="11" y="2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4" y="2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3" y="10"/>
                    </a:lnTo>
                    <a:lnTo>
                      <a:pt x="6" y="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0" name="Freeform 1144">
                <a:extLst>
                  <a:ext uri="{FF2B5EF4-FFF2-40B4-BE49-F238E27FC236}">
                    <a16:creationId xmlns:a16="http://schemas.microsoft.com/office/drawing/2014/main" id="{673E2D4E-22AA-4E9A-BFFB-6C24EE2A76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" y="1541"/>
                <a:ext cx="10" cy="10"/>
              </a:xfrm>
              <a:custGeom>
                <a:avLst/>
                <a:gdLst>
                  <a:gd name="T0" fmla="*/ 1 w 10"/>
                  <a:gd name="T1" fmla="*/ 1 h 10"/>
                  <a:gd name="T2" fmla="*/ 0 w 10"/>
                  <a:gd name="T3" fmla="*/ 1 h 10"/>
                  <a:gd name="T4" fmla="*/ 0 w 10"/>
                  <a:gd name="T5" fmla="*/ 3 h 10"/>
                  <a:gd name="T6" fmla="*/ 2 w 10"/>
                  <a:gd name="T7" fmla="*/ 6 h 10"/>
                  <a:gd name="T8" fmla="*/ 3 w 10"/>
                  <a:gd name="T9" fmla="*/ 6 h 10"/>
                  <a:gd name="T10" fmla="*/ 5 w 10"/>
                  <a:gd name="T11" fmla="*/ 7 h 10"/>
                  <a:gd name="T12" fmla="*/ 5 w 10"/>
                  <a:gd name="T13" fmla="*/ 9 h 10"/>
                  <a:gd name="T14" fmla="*/ 6 w 10"/>
                  <a:gd name="T15" fmla="*/ 10 h 10"/>
                  <a:gd name="T16" fmla="*/ 6 w 10"/>
                  <a:gd name="T17" fmla="*/ 10 h 10"/>
                  <a:gd name="T18" fmla="*/ 7 w 10"/>
                  <a:gd name="T19" fmla="*/ 8 h 10"/>
                  <a:gd name="T20" fmla="*/ 8 w 10"/>
                  <a:gd name="T21" fmla="*/ 7 h 10"/>
                  <a:gd name="T22" fmla="*/ 8 w 10"/>
                  <a:gd name="T23" fmla="*/ 5 h 10"/>
                  <a:gd name="T24" fmla="*/ 10 w 10"/>
                  <a:gd name="T25" fmla="*/ 4 h 10"/>
                  <a:gd name="T26" fmla="*/ 10 w 10"/>
                  <a:gd name="T27" fmla="*/ 3 h 10"/>
                  <a:gd name="T28" fmla="*/ 6 w 10"/>
                  <a:gd name="T29" fmla="*/ 1 h 10"/>
                  <a:gd name="T30" fmla="*/ 3 w 10"/>
                  <a:gd name="T31" fmla="*/ 0 h 10"/>
                  <a:gd name="T32" fmla="*/ 1 w 10"/>
                  <a:gd name="T33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0">
                    <a:moveTo>
                      <a:pt x="1" y="1"/>
                    </a:moveTo>
                    <a:lnTo>
                      <a:pt x="0" y="1"/>
                    </a:lnTo>
                    <a:lnTo>
                      <a:pt x="0" y="3"/>
                    </a:lnTo>
                    <a:lnTo>
                      <a:pt x="2" y="6"/>
                    </a:lnTo>
                    <a:lnTo>
                      <a:pt x="3" y="6"/>
                    </a:lnTo>
                    <a:lnTo>
                      <a:pt x="5" y="7"/>
                    </a:lnTo>
                    <a:lnTo>
                      <a:pt x="5" y="9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7" y="8"/>
                    </a:lnTo>
                    <a:lnTo>
                      <a:pt x="8" y="7"/>
                    </a:lnTo>
                    <a:lnTo>
                      <a:pt x="8" y="5"/>
                    </a:lnTo>
                    <a:lnTo>
                      <a:pt x="10" y="4"/>
                    </a:lnTo>
                    <a:lnTo>
                      <a:pt x="10" y="3"/>
                    </a:lnTo>
                    <a:lnTo>
                      <a:pt x="6" y="1"/>
                    </a:lnTo>
                    <a:lnTo>
                      <a:pt x="3" y="0"/>
                    </a:lnTo>
                    <a:lnTo>
                      <a:pt x="1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1" name="Freeform 1145">
                <a:extLst>
                  <a:ext uri="{FF2B5EF4-FFF2-40B4-BE49-F238E27FC236}">
                    <a16:creationId xmlns:a16="http://schemas.microsoft.com/office/drawing/2014/main" id="{6DF0D3F3-70D0-4353-9A4C-CD3CF34C56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" y="1565"/>
                <a:ext cx="9" cy="12"/>
              </a:xfrm>
              <a:custGeom>
                <a:avLst/>
                <a:gdLst>
                  <a:gd name="T0" fmla="*/ 8 w 9"/>
                  <a:gd name="T1" fmla="*/ 0 h 12"/>
                  <a:gd name="T2" fmla="*/ 5 w 9"/>
                  <a:gd name="T3" fmla="*/ 1 h 12"/>
                  <a:gd name="T4" fmla="*/ 2 w 9"/>
                  <a:gd name="T5" fmla="*/ 4 h 12"/>
                  <a:gd name="T6" fmla="*/ 2 w 9"/>
                  <a:gd name="T7" fmla="*/ 6 h 12"/>
                  <a:gd name="T8" fmla="*/ 1 w 9"/>
                  <a:gd name="T9" fmla="*/ 7 h 12"/>
                  <a:gd name="T10" fmla="*/ 0 w 9"/>
                  <a:gd name="T11" fmla="*/ 10 h 12"/>
                  <a:gd name="T12" fmla="*/ 1 w 9"/>
                  <a:gd name="T13" fmla="*/ 12 h 12"/>
                  <a:gd name="T14" fmla="*/ 1 w 9"/>
                  <a:gd name="T15" fmla="*/ 12 h 12"/>
                  <a:gd name="T16" fmla="*/ 4 w 9"/>
                  <a:gd name="T17" fmla="*/ 10 h 12"/>
                  <a:gd name="T18" fmla="*/ 6 w 9"/>
                  <a:gd name="T19" fmla="*/ 10 h 12"/>
                  <a:gd name="T20" fmla="*/ 7 w 9"/>
                  <a:gd name="T21" fmla="*/ 7 h 12"/>
                  <a:gd name="T22" fmla="*/ 9 w 9"/>
                  <a:gd name="T23" fmla="*/ 6 h 12"/>
                  <a:gd name="T24" fmla="*/ 9 w 9"/>
                  <a:gd name="T25" fmla="*/ 4 h 12"/>
                  <a:gd name="T26" fmla="*/ 8 w 9"/>
                  <a:gd name="T27" fmla="*/ 4 h 12"/>
                  <a:gd name="T28" fmla="*/ 8 w 9"/>
                  <a:gd name="T29" fmla="*/ 2 h 12"/>
                  <a:gd name="T30" fmla="*/ 8 w 9"/>
                  <a:gd name="T3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" h="12">
                    <a:moveTo>
                      <a:pt x="8" y="0"/>
                    </a:moveTo>
                    <a:lnTo>
                      <a:pt x="5" y="1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1" y="7"/>
                    </a:lnTo>
                    <a:lnTo>
                      <a:pt x="0" y="10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7" y="7"/>
                    </a:lnTo>
                    <a:lnTo>
                      <a:pt x="9" y="6"/>
                    </a:lnTo>
                    <a:lnTo>
                      <a:pt x="9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2" name="Freeform 1146">
                <a:extLst>
                  <a:ext uri="{FF2B5EF4-FFF2-40B4-BE49-F238E27FC236}">
                    <a16:creationId xmlns:a16="http://schemas.microsoft.com/office/drawing/2014/main" id="{BC20D453-7ED9-474A-B170-B8E5ED214B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1493"/>
                <a:ext cx="9" cy="6"/>
              </a:xfrm>
              <a:custGeom>
                <a:avLst/>
                <a:gdLst>
                  <a:gd name="T0" fmla="*/ 6 w 9"/>
                  <a:gd name="T1" fmla="*/ 3 h 6"/>
                  <a:gd name="T2" fmla="*/ 3 w 9"/>
                  <a:gd name="T3" fmla="*/ 0 h 6"/>
                  <a:gd name="T4" fmla="*/ 0 w 9"/>
                  <a:gd name="T5" fmla="*/ 0 h 6"/>
                  <a:gd name="T6" fmla="*/ 0 w 9"/>
                  <a:gd name="T7" fmla="*/ 0 h 6"/>
                  <a:gd name="T8" fmla="*/ 2 w 9"/>
                  <a:gd name="T9" fmla="*/ 2 h 6"/>
                  <a:gd name="T10" fmla="*/ 4 w 9"/>
                  <a:gd name="T11" fmla="*/ 4 h 6"/>
                  <a:gd name="T12" fmla="*/ 6 w 9"/>
                  <a:gd name="T13" fmla="*/ 5 h 6"/>
                  <a:gd name="T14" fmla="*/ 9 w 9"/>
                  <a:gd name="T15" fmla="*/ 6 h 6"/>
                  <a:gd name="T16" fmla="*/ 8 w 9"/>
                  <a:gd name="T17" fmla="*/ 5 h 6"/>
                  <a:gd name="T18" fmla="*/ 6 w 9"/>
                  <a:gd name="T19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6">
                    <a:moveTo>
                      <a:pt x="6" y="3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6" y="5"/>
                    </a:lnTo>
                    <a:lnTo>
                      <a:pt x="9" y="6"/>
                    </a:lnTo>
                    <a:lnTo>
                      <a:pt x="8" y="5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3" name="Freeform 1147">
                <a:extLst>
                  <a:ext uri="{FF2B5EF4-FFF2-40B4-BE49-F238E27FC236}">
                    <a16:creationId xmlns:a16="http://schemas.microsoft.com/office/drawing/2014/main" id="{68AA2CF3-C417-4397-8D58-A37493D734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4" y="1532"/>
                <a:ext cx="4" cy="9"/>
              </a:xfrm>
              <a:custGeom>
                <a:avLst/>
                <a:gdLst>
                  <a:gd name="T0" fmla="*/ 4 w 4"/>
                  <a:gd name="T1" fmla="*/ 9 h 9"/>
                  <a:gd name="T2" fmla="*/ 4 w 4"/>
                  <a:gd name="T3" fmla="*/ 9 h 9"/>
                  <a:gd name="T4" fmla="*/ 4 w 4"/>
                  <a:gd name="T5" fmla="*/ 6 h 9"/>
                  <a:gd name="T6" fmla="*/ 2 w 4"/>
                  <a:gd name="T7" fmla="*/ 4 h 9"/>
                  <a:gd name="T8" fmla="*/ 2 w 4"/>
                  <a:gd name="T9" fmla="*/ 2 h 9"/>
                  <a:gd name="T10" fmla="*/ 1 w 4"/>
                  <a:gd name="T11" fmla="*/ 0 h 9"/>
                  <a:gd name="T12" fmla="*/ 0 w 4"/>
                  <a:gd name="T13" fmla="*/ 2 h 9"/>
                  <a:gd name="T14" fmla="*/ 0 w 4"/>
                  <a:gd name="T15" fmla="*/ 3 h 9"/>
                  <a:gd name="T16" fmla="*/ 1 w 4"/>
                  <a:gd name="T17" fmla="*/ 5 h 9"/>
                  <a:gd name="T18" fmla="*/ 1 w 4"/>
                  <a:gd name="T19" fmla="*/ 6 h 9"/>
                  <a:gd name="T20" fmla="*/ 4 w 4"/>
                  <a:gd name="T21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9">
                    <a:moveTo>
                      <a:pt x="4" y="9"/>
                    </a:moveTo>
                    <a:lnTo>
                      <a:pt x="4" y="9"/>
                    </a:lnTo>
                    <a:lnTo>
                      <a:pt x="4" y="6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5"/>
                    </a:lnTo>
                    <a:lnTo>
                      <a:pt x="1" y="6"/>
                    </a:lnTo>
                    <a:lnTo>
                      <a:pt x="4" y="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4" name="Freeform 1148">
                <a:extLst>
                  <a:ext uri="{FF2B5EF4-FFF2-40B4-BE49-F238E27FC236}">
                    <a16:creationId xmlns:a16="http://schemas.microsoft.com/office/drawing/2014/main" id="{8CCD76B0-8E33-49C6-8410-ACCAA0B21D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9" y="1496"/>
                <a:ext cx="10" cy="10"/>
              </a:xfrm>
              <a:custGeom>
                <a:avLst/>
                <a:gdLst>
                  <a:gd name="T0" fmla="*/ 4 w 10"/>
                  <a:gd name="T1" fmla="*/ 7 h 10"/>
                  <a:gd name="T2" fmla="*/ 6 w 10"/>
                  <a:gd name="T3" fmla="*/ 8 h 10"/>
                  <a:gd name="T4" fmla="*/ 7 w 10"/>
                  <a:gd name="T5" fmla="*/ 10 h 10"/>
                  <a:gd name="T6" fmla="*/ 8 w 10"/>
                  <a:gd name="T7" fmla="*/ 9 h 10"/>
                  <a:gd name="T8" fmla="*/ 9 w 10"/>
                  <a:gd name="T9" fmla="*/ 8 h 10"/>
                  <a:gd name="T10" fmla="*/ 10 w 10"/>
                  <a:gd name="T11" fmla="*/ 8 h 10"/>
                  <a:gd name="T12" fmla="*/ 9 w 10"/>
                  <a:gd name="T13" fmla="*/ 6 h 10"/>
                  <a:gd name="T14" fmla="*/ 8 w 10"/>
                  <a:gd name="T15" fmla="*/ 4 h 10"/>
                  <a:gd name="T16" fmla="*/ 6 w 10"/>
                  <a:gd name="T17" fmla="*/ 3 h 10"/>
                  <a:gd name="T18" fmla="*/ 5 w 10"/>
                  <a:gd name="T19" fmla="*/ 2 h 10"/>
                  <a:gd name="T20" fmla="*/ 3 w 10"/>
                  <a:gd name="T21" fmla="*/ 0 h 10"/>
                  <a:gd name="T22" fmla="*/ 1 w 10"/>
                  <a:gd name="T23" fmla="*/ 0 h 10"/>
                  <a:gd name="T24" fmla="*/ 0 w 10"/>
                  <a:gd name="T25" fmla="*/ 0 h 10"/>
                  <a:gd name="T26" fmla="*/ 1 w 10"/>
                  <a:gd name="T27" fmla="*/ 1 h 10"/>
                  <a:gd name="T28" fmla="*/ 4 w 10"/>
                  <a:gd name="T29" fmla="*/ 3 h 10"/>
                  <a:gd name="T30" fmla="*/ 4 w 10"/>
                  <a:gd name="T31" fmla="*/ 4 h 10"/>
                  <a:gd name="T32" fmla="*/ 4 w 10"/>
                  <a:gd name="T33" fmla="*/ 5 h 10"/>
                  <a:gd name="T34" fmla="*/ 4 w 10"/>
                  <a:gd name="T35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" h="10">
                    <a:moveTo>
                      <a:pt x="4" y="7"/>
                    </a:moveTo>
                    <a:lnTo>
                      <a:pt x="6" y="8"/>
                    </a:lnTo>
                    <a:lnTo>
                      <a:pt x="7" y="10"/>
                    </a:lnTo>
                    <a:lnTo>
                      <a:pt x="8" y="9"/>
                    </a:lnTo>
                    <a:lnTo>
                      <a:pt x="9" y="8"/>
                    </a:lnTo>
                    <a:lnTo>
                      <a:pt x="10" y="8"/>
                    </a:lnTo>
                    <a:lnTo>
                      <a:pt x="9" y="6"/>
                    </a:lnTo>
                    <a:lnTo>
                      <a:pt x="8" y="4"/>
                    </a:lnTo>
                    <a:lnTo>
                      <a:pt x="6" y="3"/>
                    </a:lnTo>
                    <a:lnTo>
                      <a:pt x="5" y="2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1" y="1"/>
                    </a:lnTo>
                    <a:lnTo>
                      <a:pt x="4" y="3"/>
                    </a:lnTo>
                    <a:lnTo>
                      <a:pt x="4" y="4"/>
                    </a:lnTo>
                    <a:lnTo>
                      <a:pt x="4" y="5"/>
                    </a:lnTo>
                    <a:lnTo>
                      <a:pt x="4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5" name="Freeform 1149">
                <a:extLst>
                  <a:ext uri="{FF2B5EF4-FFF2-40B4-BE49-F238E27FC236}">
                    <a16:creationId xmlns:a16="http://schemas.microsoft.com/office/drawing/2014/main" id="{15061A7C-160B-431D-B5FB-2FD25A15AE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2" y="1745"/>
                <a:ext cx="4" cy="3"/>
              </a:xfrm>
              <a:custGeom>
                <a:avLst/>
                <a:gdLst>
                  <a:gd name="T0" fmla="*/ 4 w 4"/>
                  <a:gd name="T1" fmla="*/ 3 h 3"/>
                  <a:gd name="T2" fmla="*/ 4 w 4"/>
                  <a:gd name="T3" fmla="*/ 0 h 3"/>
                  <a:gd name="T4" fmla="*/ 0 w 4"/>
                  <a:gd name="T5" fmla="*/ 0 h 3"/>
                  <a:gd name="T6" fmla="*/ 4 w 4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6" name="Freeform 1150">
                <a:extLst>
                  <a:ext uri="{FF2B5EF4-FFF2-40B4-BE49-F238E27FC236}">
                    <a16:creationId xmlns:a16="http://schemas.microsoft.com/office/drawing/2014/main" id="{D14FF718-F31B-4FB2-B179-55E933E787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3" y="1739"/>
                <a:ext cx="5" cy="4"/>
              </a:xfrm>
              <a:custGeom>
                <a:avLst/>
                <a:gdLst>
                  <a:gd name="T0" fmla="*/ 5 w 5"/>
                  <a:gd name="T1" fmla="*/ 2 h 4"/>
                  <a:gd name="T2" fmla="*/ 4 w 5"/>
                  <a:gd name="T3" fmla="*/ 0 h 4"/>
                  <a:gd name="T4" fmla="*/ 3 w 5"/>
                  <a:gd name="T5" fmla="*/ 2 h 4"/>
                  <a:gd name="T6" fmla="*/ 1 w 5"/>
                  <a:gd name="T7" fmla="*/ 2 h 4"/>
                  <a:gd name="T8" fmla="*/ 0 w 5"/>
                  <a:gd name="T9" fmla="*/ 4 h 4"/>
                  <a:gd name="T10" fmla="*/ 4 w 5"/>
                  <a:gd name="T11" fmla="*/ 4 h 4"/>
                  <a:gd name="T12" fmla="*/ 5 w 5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4">
                    <a:moveTo>
                      <a:pt x="5" y="2"/>
                    </a:moveTo>
                    <a:lnTo>
                      <a:pt x="4" y="0"/>
                    </a:lnTo>
                    <a:lnTo>
                      <a:pt x="3" y="2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7" name="Freeform 1151">
                <a:extLst>
                  <a:ext uri="{FF2B5EF4-FFF2-40B4-BE49-F238E27FC236}">
                    <a16:creationId xmlns:a16="http://schemas.microsoft.com/office/drawing/2014/main" id="{028BDB90-C42F-4642-824C-A3FD02EC20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9" y="1198"/>
                <a:ext cx="0" cy="3"/>
              </a:xfrm>
              <a:custGeom>
                <a:avLst/>
                <a:gdLst>
                  <a:gd name="T0" fmla="*/ 3 h 3"/>
                  <a:gd name="T1" fmla="*/ 3 h 3"/>
                  <a:gd name="T2" fmla="*/ 1 h 3"/>
                  <a:gd name="T3" fmla="*/ 0 h 3"/>
                  <a:gd name="T4" fmla="*/ 1 h 3"/>
                  <a:gd name="T5" fmla="*/ 3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8" name="Freeform 1152">
                <a:extLst>
                  <a:ext uri="{FF2B5EF4-FFF2-40B4-BE49-F238E27FC236}">
                    <a16:creationId xmlns:a16="http://schemas.microsoft.com/office/drawing/2014/main" id="{E716108C-74C1-4AF7-9CAC-13062FA185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5" y="1676"/>
                <a:ext cx="2" cy="7"/>
              </a:xfrm>
              <a:custGeom>
                <a:avLst/>
                <a:gdLst>
                  <a:gd name="T0" fmla="*/ 0 w 2"/>
                  <a:gd name="T1" fmla="*/ 7 h 7"/>
                  <a:gd name="T2" fmla="*/ 1 w 2"/>
                  <a:gd name="T3" fmla="*/ 6 h 7"/>
                  <a:gd name="T4" fmla="*/ 1 w 2"/>
                  <a:gd name="T5" fmla="*/ 5 h 7"/>
                  <a:gd name="T6" fmla="*/ 2 w 2"/>
                  <a:gd name="T7" fmla="*/ 3 h 7"/>
                  <a:gd name="T8" fmla="*/ 1 w 2"/>
                  <a:gd name="T9" fmla="*/ 0 h 7"/>
                  <a:gd name="T10" fmla="*/ 0 w 2"/>
                  <a:gd name="T11" fmla="*/ 3 h 7"/>
                  <a:gd name="T12" fmla="*/ 0 w 2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7">
                    <a:moveTo>
                      <a:pt x="0" y="7"/>
                    </a:moveTo>
                    <a:lnTo>
                      <a:pt x="1" y="6"/>
                    </a:lnTo>
                    <a:lnTo>
                      <a:pt x="1" y="5"/>
                    </a:lnTo>
                    <a:lnTo>
                      <a:pt x="2" y="3"/>
                    </a:lnTo>
                    <a:lnTo>
                      <a:pt x="1" y="0"/>
                    </a:lnTo>
                    <a:lnTo>
                      <a:pt x="0" y="3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9" name="Freeform 1153">
                <a:extLst>
                  <a:ext uri="{FF2B5EF4-FFF2-40B4-BE49-F238E27FC236}">
                    <a16:creationId xmlns:a16="http://schemas.microsoft.com/office/drawing/2014/main" id="{EB43F847-E06E-447E-90FD-06FA4A496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0" y="1516"/>
                <a:ext cx="8" cy="7"/>
              </a:xfrm>
              <a:custGeom>
                <a:avLst/>
                <a:gdLst>
                  <a:gd name="T0" fmla="*/ 5 w 8"/>
                  <a:gd name="T1" fmla="*/ 1 h 7"/>
                  <a:gd name="T2" fmla="*/ 2 w 8"/>
                  <a:gd name="T3" fmla="*/ 1 h 7"/>
                  <a:gd name="T4" fmla="*/ 0 w 8"/>
                  <a:gd name="T5" fmla="*/ 3 h 7"/>
                  <a:gd name="T6" fmla="*/ 1 w 8"/>
                  <a:gd name="T7" fmla="*/ 4 h 7"/>
                  <a:gd name="T8" fmla="*/ 3 w 8"/>
                  <a:gd name="T9" fmla="*/ 4 h 7"/>
                  <a:gd name="T10" fmla="*/ 6 w 8"/>
                  <a:gd name="T11" fmla="*/ 7 h 7"/>
                  <a:gd name="T12" fmla="*/ 7 w 8"/>
                  <a:gd name="T13" fmla="*/ 6 h 7"/>
                  <a:gd name="T14" fmla="*/ 7 w 8"/>
                  <a:gd name="T15" fmla="*/ 4 h 7"/>
                  <a:gd name="T16" fmla="*/ 8 w 8"/>
                  <a:gd name="T17" fmla="*/ 2 h 7"/>
                  <a:gd name="T18" fmla="*/ 8 w 8"/>
                  <a:gd name="T19" fmla="*/ 1 h 7"/>
                  <a:gd name="T20" fmla="*/ 6 w 8"/>
                  <a:gd name="T21" fmla="*/ 0 h 7"/>
                  <a:gd name="T22" fmla="*/ 5 w 8"/>
                  <a:gd name="T23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7">
                    <a:moveTo>
                      <a:pt x="5" y="1"/>
                    </a:moveTo>
                    <a:lnTo>
                      <a:pt x="2" y="1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3" y="4"/>
                    </a:lnTo>
                    <a:lnTo>
                      <a:pt x="6" y="7"/>
                    </a:lnTo>
                    <a:lnTo>
                      <a:pt x="7" y="6"/>
                    </a:lnTo>
                    <a:lnTo>
                      <a:pt x="7" y="4"/>
                    </a:lnTo>
                    <a:lnTo>
                      <a:pt x="8" y="2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0" name="Freeform 1154">
                <a:extLst>
                  <a:ext uri="{FF2B5EF4-FFF2-40B4-BE49-F238E27FC236}">
                    <a16:creationId xmlns:a16="http://schemas.microsoft.com/office/drawing/2014/main" id="{944BEF97-A956-4DFB-9FB2-94D0315A09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1" y="1735"/>
                <a:ext cx="3" cy="3"/>
              </a:xfrm>
              <a:custGeom>
                <a:avLst/>
                <a:gdLst>
                  <a:gd name="T0" fmla="*/ 0 w 3"/>
                  <a:gd name="T1" fmla="*/ 3 h 3"/>
                  <a:gd name="T2" fmla="*/ 3 w 3"/>
                  <a:gd name="T3" fmla="*/ 3 h 3"/>
                  <a:gd name="T4" fmla="*/ 2 w 3"/>
                  <a:gd name="T5" fmla="*/ 0 h 3"/>
                  <a:gd name="T6" fmla="*/ 0 w 3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3" y="3"/>
                    </a:lnTo>
                    <a:lnTo>
                      <a:pt x="2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1" name="Freeform 1155">
                <a:extLst>
                  <a:ext uri="{FF2B5EF4-FFF2-40B4-BE49-F238E27FC236}">
                    <a16:creationId xmlns:a16="http://schemas.microsoft.com/office/drawing/2014/main" id="{F65D0C1D-4282-482E-91D9-0022230DD0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8" y="1449"/>
                <a:ext cx="5" cy="6"/>
              </a:xfrm>
              <a:custGeom>
                <a:avLst/>
                <a:gdLst>
                  <a:gd name="T0" fmla="*/ 2 w 5"/>
                  <a:gd name="T1" fmla="*/ 1 h 6"/>
                  <a:gd name="T2" fmla="*/ 0 w 5"/>
                  <a:gd name="T3" fmla="*/ 5 h 6"/>
                  <a:gd name="T4" fmla="*/ 1 w 5"/>
                  <a:gd name="T5" fmla="*/ 6 h 6"/>
                  <a:gd name="T6" fmla="*/ 2 w 5"/>
                  <a:gd name="T7" fmla="*/ 4 h 6"/>
                  <a:gd name="T8" fmla="*/ 5 w 5"/>
                  <a:gd name="T9" fmla="*/ 2 h 6"/>
                  <a:gd name="T10" fmla="*/ 5 w 5"/>
                  <a:gd name="T11" fmla="*/ 0 h 6"/>
                  <a:gd name="T12" fmla="*/ 2 w 5"/>
                  <a:gd name="T13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6">
                    <a:moveTo>
                      <a:pt x="2" y="1"/>
                    </a:moveTo>
                    <a:lnTo>
                      <a:pt x="0" y="5"/>
                    </a:lnTo>
                    <a:lnTo>
                      <a:pt x="1" y="6"/>
                    </a:lnTo>
                    <a:lnTo>
                      <a:pt x="2" y="4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2" name="Freeform 1156">
                <a:extLst>
                  <a:ext uri="{FF2B5EF4-FFF2-40B4-BE49-F238E27FC236}">
                    <a16:creationId xmlns:a16="http://schemas.microsoft.com/office/drawing/2014/main" id="{1314BBDA-B636-4D59-A950-2B732F1AF8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6" y="1306"/>
                <a:ext cx="5" cy="7"/>
              </a:xfrm>
              <a:custGeom>
                <a:avLst/>
                <a:gdLst>
                  <a:gd name="T0" fmla="*/ 1 w 5"/>
                  <a:gd name="T1" fmla="*/ 0 h 7"/>
                  <a:gd name="T2" fmla="*/ 0 w 5"/>
                  <a:gd name="T3" fmla="*/ 4 h 7"/>
                  <a:gd name="T4" fmla="*/ 1 w 5"/>
                  <a:gd name="T5" fmla="*/ 7 h 7"/>
                  <a:gd name="T6" fmla="*/ 2 w 5"/>
                  <a:gd name="T7" fmla="*/ 7 h 7"/>
                  <a:gd name="T8" fmla="*/ 2 w 5"/>
                  <a:gd name="T9" fmla="*/ 4 h 7"/>
                  <a:gd name="T10" fmla="*/ 4 w 5"/>
                  <a:gd name="T11" fmla="*/ 4 h 7"/>
                  <a:gd name="T12" fmla="*/ 5 w 5"/>
                  <a:gd name="T13" fmla="*/ 1 h 7"/>
                  <a:gd name="T14" fmla="*/ 2 w 5"/>
                  <a:gd name="T15" fmla="*/ 1 h 7"/>
                  <a:gd name="T16" fmla="*/ 1 w 5"/>
                  <a:gd name="T1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7">
                    <a:moveTo>
                      <a:pt x="1" y="0"/>
                    </a:moveTo>
                    <a:lnTo>
                      <a:pt x="0" y="4"/>
                    </a:lnTo>
                    <a:lnTo>
                      <a:pt x="1" y="7"/>
                    </a:lnTo>
                    <a:lnTo>
                      <a:pt x="2" y="7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5" y="1"/>
                    </a:lnTo>
                    <a:lnTo>
                      <a:pt x="2" y="1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3" name="Freeform 1157">
                <a:extLst>
                  <a:ext uri="{FF2B5EF4-FFF2-40B4-BE49-F238E27FC236}">
                    <a16:creationId xmlns:a16="http://schemas.microsoft.com/office/drawing/2014/main" id="{8BC8C5C3-1D6D-4106-87C0-55A9A614C4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2" y="1252"/>
                <a:ext cx="13" cy="10"/>
              </a:xfrm>
              <a:custGeom>
                <a:avLst/>
                <a:gdLst>
                  <a:gd name="T0" fmla="*/ 9 w 16"/>
                  <a:gd name="T1" fmla="*/ 4 h 13"/>
                  <a:gd name="T2" fmla="*/ 7 w 16"/>
                  <a:gd name="T3" fmla="*/ 1 h 13"/>
                  <a:gd name="T4" fmla="*/ 4 w 16"/>
                  <a:gd name="T5" fmla="*/ 0 h 13"/>
                  <a:gd name="T6" fmla="*/ 3 w 16"/>
                  <a:gd name="T7" fmla="*/ 2 h 13"/>
                  <a:gd name="T8" fmla="*/ 0 w 16"/>
                  <a:gd name="T9" fmla="*/ 5 h 13"/>
                  <a:gd name="T10" fmla="*/ 3 w 16"/>
                  <a:gd name="T11" fmla="*/ 6 h 13"/>
                  <a:gd name="T12" fmla="*/ 4 w 16"/>
                  <a:gd name="T13" fmla="*/ 8 h 13"/>
                  <a:gd name="T14" fmla="*/ 5 w 16"/>
                  <a:gd name="T15" fmla="*/ 9 h 13"/>
                  <a:gd name="T16" fmla="*/ 4 w 16"/>
                  <a:gd name="T17" fmla="*/ 11 h 13"/>
                  <a:gd name="T18" fmla="*/ 5 w 16"/>
                  <a:gd name="T19" fmla="*/ 13 h 13"/>
                  <a:gd name="T20" fmla="*/ 7 w 16"/>
                  <a:gd name="T21" fmla="*/ 12 h 13"/>
                  <a:gd name="T22" fmla="*/ 7 w 16"/>
                  <a:gd name="T23" fmla="*/ 9 h 13"/>
                  <a:gd name="T24" fmla="*/ 10 w 16"/>
                  <a:gd name="T25" fmla="*/ 10 h 13"/>
                  <a:gd name="T26" fmla="*/ 12 w 16"/>
                  <a:gd name="T27" fmla="*/ 10 h 13"/>
                  <a:gd name="T28" fmla="*/ 14 w 16"/>
                  <a:gd name="T29" fmla="*/ 10 h 13"/>
                  <a:gd name="T30" fmla="*/ 16 w 16"/>
                  <a:gd name="T31" fmla="*/ 8 h 13"/>
                  <a:gd name="T32" fmla="*/ 14 w 16"/>
                  <a:gd name="T33" fmla="*/ 5 h 13"/>
                  <a:gd name="T34" fmla="*/ 9 w 16"/>
                  <a:gd name="T35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13">
                    <a:moveTo>
                      <a:pt x="9" y="4"/>
                    </a:moveTo>
                    <a:cubicBezTo>
                      <a:pt x="7" y="1"/>
                      <a:pt x="7" y="1"/>
                      <a:pt x="7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0" y="5"/>
                      <a:pt x="0" y="5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4" y="5"/>
                      <a:pt x="14" y="5"/>
                      <a:pt x="14" y="5"/>
                    </a:cubicBezTo>
                    <a:lnTo>
                      <a:pt x="9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4" name="Freeform 1158">
                <a:extLst>
                  <a:ext uri="{FF2B5EF4-FFF2-40B4-BE49-F238E27FC236}">
                    <a16:creationId xmlns:a16="http://schemas.microsoft.com/office/drawing/2014/main" id="{14F0240A-D22F-46FF-A25B-971CFE7242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0" y="1323"/>
                <a:ext cx="14" cy="14"/>
              </a:xfrm>
              <a:custGeom>
                <a:avLst/>
                <a:gdLst>
                  <a:gd name="T0" fmla="*/ 4 w 14"/>
                  <a:gd name="T1" fmla="*/ 3 h 14"/>
                  <a:gd name="T2" fmla="*/ 3 w 14"/>
                  <a:gd name="T3" fmla="*/ 3 h 14"/>
                  <a:gd name="T4" fmla="*/ 1 w 14"/>
                  <a:gd name="T5" fmla="*/ 3 h 14"/>
                  <a:gd name="T6" fmla="*/ 0 w 14"/>
                  <a:gd name="T7" fmla="*/ 4 h 14"/>
                  <a:gd name="T8" fmla="*/ 1 w 14"/>
                  <a:gd name="T9" fmla="*/ 7 h 14"/>
                  <a:gd name="T10" fmla="*/ 2 w 14"/>
                  <a:gd name="T11" fmla="*/ 11 h 14"/>
                  <a:gd name="T12" fmla="*/ 3 w 14"/>
                  <a:gd name="T13" fmla="*/ 12 h 14"/>
                  <a:gd name="T14" fmla="*/ 4 w 14"/>
                  <a:gd name="T15" fmla="*/ 11 h 14"/>
                  <a:gd name="T16" fmla="*/ 7 w 14"/>
                  <a:gd name="T17" fmla="*/ 12 h 14"/>
                  <a:gd name="T18" fmla="*/ 8 w 14"/>
                  <a:gd name="T19" fmla="*/ 13 h 14"/>
                  <a:gd name="T20" fmla="*/ 10 w 14"/>
                  <a:gd name="T21" fmla="*/ 12 h 14"/>
                  <a:gd name="T22" fmla="*/ 13 w 14"/>
                  <a:gd name="T23" fmla="*/ 14 h 14"/>
                  <a:gd name="T24" fmla="*/ 14 w 14"/>
                  <a:gd name="T25" fmla="*/ 11 h 14"/>
                  <a:gd name="T26" fmla="*/ 13 w 14"/>
                  <a:gd name="T27" fmla="*/ 9 h 14"/>
                  <a:gd name="T28" fmla="*/ 13 w 14"/>
                  <a:gd name="T29" fmla="*/ 6 h 14"/>
                  <a:gd name="T30" fmla="*/ 10 w 14"/>
                  <a:gd name="T31" fmla="*/ 6 h 14"/>
                  <a:gd name="T32" fmla="*/ 10 w 14"/>
                  <a:gd name="T33" fmla="*/ 4 h 14"/>
                  <a:gd name="T34" fmla="*/ 7 w 14"/>
                  <a:gd name="T35" fmla="*/ 3 h 14"/>
                  <a:gd name="T36" fmla="*/ 7 w 14"/>
                  <a:gd name="T37" fmla="*/ 4 h 14"/>
                  <a:gd name="T38" fmla="*/ 7 w 14"/>
                  <a:gd name="T39" fmla="*/ 2 h 14"/>
                  <a:gd name="T40" fmla="*/ 6 w 14"/>
                  <a:gd name="T41" fmla="*/ 0 h 14"/>
                  <a:gd name="T42" fmla="*/ 5 w 14"/>
                  <a:gd name="T43" fmla="*/ 1 h 14"/>
                  <a:gd name="T44" fmla="*/ 4 w 14"/>
                  <a:gd name="T45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" h="14">
                    <a:moveTo>
                      <a:pt x="4" y="3"/>
                    </a:moveTo>
                    <a:lnTo>
                      <a:pt x="3" y="3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1" y="7"/>
                    </a:lnTo>
                    <a:lnTo>
                      <a:pt x="2" y="11"/>
                    </a:lnTo>
                    <a:lnTo>
                      <a:pt x="3" y="12"/>
                    </a:lnTo>
                    <a:lnTo>
                      <a:pt x="4" y="11"/>
                    </a:lnTo>
                    <a:lnTo>
                      <a:pt x="7" y="12"/>
                    </a:lnTo>
                    <a:lnTo>
                      <a:pt x="8" y="13"/>
                    </a:lnTo>
                    <a:lnTo>
                      <a:pt x="10" y="12"/>
                    </a:lnTo>
                    <a:lnTo>
                      <a:pt x="13" y="14"/>
                    </a:lnTo>
                    <a:lnTo>
                      <a:pt x="14" y="11"/>
                    </a:lnTo>
                    <a:lnTo>
                      <a:pt x="13" y="9"/>
                    </a:lnTo>
                    <a:lnTo>
                      <a:pt x="13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7" y="3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6" y="0"/>
                    </a:lnTo>
                    <a:lnTo>
                      <a:pt x="5" y="1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" name="Freeform 1159">
                <a:extLst>
                  <a:ext uri="{FF2B5EF4-FFF2-40B4-BE49-F238E27FC236}">
                    <a16:creationId xmlns:a16="http://schemas.microsoft.com/office/drawing/2014/main" id="{B3DEE102-B607-44ED-866E-40961B57BB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7" y="1448"/>
                <a:ext cx="4" cy="3"/>
              </a:xfrm>
              <a:custGeom>
                <a:avLst/>
                <a:gdLst>
                  <a:gd name="T0" fmla="*/ 4 w 4"/>
                  <a:gd name="T1" fmla="*/ 2 h 3"/>
                  <a:gd name="T2" fmla="*/ 3 w 4"/>
                  <a:gd name="T3" fmla="*/ 0 h 3"/>
                  <a:gd name="T4" fmla="*/ 0 w 4"/>
                  <a:gd name="T5" fmla="*/ 0 h 3"/>
                  <a:gd name="T6" fmla="*/ 0 w 4"/>
                  <a:gd name="T7" fmla="*/ 2 h 3"/>
                  <a:gd name="T8" fmla="*/ 3 w 4"/>
                  <a:gd name="T9" fmla="*/ 3 h 3"/>
                  <a:gd name="T10" fmla="*/ 4 w 4"/>
                  <a:gd name="T1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4" y="2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3" y="3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" name="Freeform 1160">
                <a:extLst>
                  <a:ext uri="{FF2B5EF4-FFF2-40B4-BE49-F238E27FC236}">
                    <a16:creationId xmlns:a16="http://schemas.microsoft.com/office/drawing/2014/main" id="{7B91F4F3-1F06-4CFB-925A-8D67ED0FF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6" y="1306"/>
                <a:ext cx="2" cy="6"/>
              </a:xfrm>
              <a:custGeom>
                <a:avLst/>
                <a:gdLst>
                  <a:gd name="T0" fmla="*/ 1 w 2"/>
                  <a:gd name="T1" fmla="*/ 6 h 6"/>
                  <a:gd name="T2" fmla="*/ 2 w 2"/>
                  <a:gd name="T3" fmla="*/ 4 h 6"/>
                  <a:gd name="T4" fmla="*/ 1 w 2"/>
                  <a:gd name="T5" fmla="*/ 3 h 6"/>
                  <a:gd name="T6" fmla="*/ 1 w 2"/>
                  <a:gd name="T7" fmla="*/ 0 h 6"/>
                  <a:gd name="T8" fmla="*/ 0 w 2"/>
                  <a:gd name="T9" fmla="*/ 3 h 6"/>
                  <a:gd name="T10" fmla="*/ 1 w 2"/>
                  <a:gd name="T11" fmla="*/ 6 h 6"/>
                  <a:gd name="T12" fmla="*/ 1 w 2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1" y="6"/>
                    </a:moveTo>
                    <a:lnTo>
                      <a:pt x="2" y="4"/>
                    </a:lnTo>
                    <a:lnTo>
                      <a:pt x="1" y="3"/>
                    </a:lnTo>
                    <a:lnTo>
                      <a:pt x="1" y="0"/>
                    </a:lnTo>
                    <a:lnTo>
                      <a:pt x="0" y="3"/>
                    </a:lnTo>
                    <a:lnTo>
                      <a:pt x="1" y="6"/>
                    </a:lnTo>
                    <a:lnTo>
                      <a:pt x="1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7" name="Freeform 1161">
                <a:extLst>
                  <a:ext uri="{FF2B5EF4-FFF2-40B4-BE49-F238E27FC236}">
                    <a16:creationId xmlns:a16="http://schemas.microsoft.com/office/drawing/2014/main" id="{CC01C696-5B8B-4F9F-B8B3-F81C941F00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0" y="1296"/>
                <a:ext cx="3" cy="7"/>
              </a:xfrm>
              <a:custGeom>
                <a:avLst/>
                <a:gdLst>
                  <a:gd name="T0" fmla="*/ 2 w 3"/>
                  <a:gd name="T1" fmla="*/ 4 h 7"/>
                  <a:gd name="T2" fmla="*/ 3 w 3"/>
                  <a:gd name="T3" fmla="*/ 3 h 7"/>
                  <a:gd name="T4" fmla="*/ 2 w 3"/>
                  <a:gd name="T5" fmla="*/ 1 h 7"/>
                  <a:gd name="T6" fmla="*/ 0 w 3"/>
                  <a:gd name="T7" fmla="*/ 0 h 7"/>
                  <a:gd name="T8" fmla="*/ 1 w 3"/>
                  <a:gd name="T9" fmla="*/ 3 h 7"/>
                  <a:gd name="T10" fmla="*/ 0 w 3"/>
                  <a:gd name="T11" fmla="*/ 5 h 7"/>
                  <a:gd name="T12" fmla="*/ 0 w 3"/>
                  <a:gd name="T13" fmla="*/ 7 h 7"/>
                  <a:gd name="T14" fmla="*/ 2 w 3"/>
                  <a:gd name="T15" fmla="*/ 7 h 7"/>
                  <a:gd name="T16" fmla="*/ 2 w 3"/>
                  <a:gd name="T17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7">
                    <a:moveTo>
                      <a:pt x="2" y="4"/>
                    </a:moveTo>
                    <a:lnTo>
                      <a:pt x="3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1" y="3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8" name="Rectangle 1162">
                <a:extLst>
                  <a:ext uri="{FF2B5EF4-FFF2-40B4-BE49-F238E27FC236}">
                    <a16:creationId xmlns:a16="http://schemas.microsoft.com/office/drawing/2014/main" id="{5E7AAF27-1D93-40C1-B190-FF37A18E5D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1251"/>
                <a:ext cx="1" cy="2"/>
              </a:xfrm>
              <a:prstGeom prst="rect">
                <a:avLst/>
              </a:pr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9" name="Freeform 1163">
                <a:extLst>
                  <a:ext uri="{FF2B5EF4-FFF2-40B4-BE49-F238E27FC236}">
                    <a16:creationId xmlns:a16="http://schemas.microsoft.com/office/drawing/2014/main" id="{43FD81FF-72CC-45AB-ABC7-068256BC3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8" y="1312"/>
                <a:ext cx="30" cy="36"/>
              </a:xfrm>
              <a:custGeom>
                <a:avLst/>
                <a:gdLst>
                  <a:gd name="T0" fmla="*/ 14 w 30"/>
                  <a:gd name="T1" fmla="*/ 2 h 36"/>
                  <a:gd name="T2" fmla="*/ 12 w 30"/>
                  <a:gd name="T3" fmla="*/ 4 h 36"/>
                  <a:gd name="T4" fmla="*/ 7 w 30"/>
                  <a:gd name="T5" fmla="*/ 11 h 36"/>
                  <a:gd name="T6" fmla="*/ 6 w 30"/>
                  <a:gd name="T7" fmla="*/ 13 h 36"/>
                  <a:gd name="T8" fmla="*/ 4 w 30"/>
                  <a:gd name="T9" fmla="*/ 17 h 36"/>
                  <a:gd name="T10" fmla="*/ 0 w 30"/>
                  <a:gd name="T11" fmla="*/ 21 h 36"/>
                  <a:gd name="T12" fmla="*/ 0 w 30"/>
                  <a:gd name="T13" fmla="*/ 25 h 36"/>
                  <a:gd name="T14" fmla="*/ 0 w 30"/>
                  <a:gd name="T15" fmla="*/ 29 h 36"/>
                  <a:gd name="T16" fmla="*/ 0 w 30"/>
                  <a:gd name="T17" fmla="*/ 30 h 36"/>
                  <a:gd name="T18" fmla="*/ 0 w 30"/>
                  <a:gd name="T19" fmla="*/ 34 h 36"/>
                  <a:gd name="T20" fmla="*/ 0 w 30"/>
                  <a:gd name="T21" fmla="*/ 35 h 36"/>
                  <a:gd name="T22" fmla="*/ 2 w 30"/>
                  <a:gd name="T23" fmla="*/ 35 h 36"/>
                  <a:gd name="T24" fmla="*/ 4 w 30"/>
                  <a:gd name="T25" fmla="*/ 36 h 36"/>
                  <a:gd name="T26" fmla="*/ 8 w 30"/>
                  <a:gd name="T27" fmla="*/ 35 h 36"/>
                  <a:gd name="T28" fmla="*/ 10 w 30"/>
                  <a:gd name="T29" fmla="*/ 36 h 36"/>
                  <a:gd name="T30" fmla="*/ 13 w 30"/>
                  <a:gd name="T31" fmla="*/ 35 h 36"/>
                  <a:gd name="T32" fmla="*/ 14 w 30"/>
                  <a:gd name="T33" fmla="*/ 34 h 36"/>
                  <a:gd name="T34" fmla="*/ 15 w 30"/>
                  <a:gd name="T35" fmla="*/ 33 h 36"/>
                  <a:gd name="T36" fmla="*/ 19 w 30"/>
                  <a:gd name="T37" fmla="*/ 31 h 36"/>
                  <a:gd name="T38" fmla="*/ 21 w 30"/>
                  <a:gd name="T39" fmla="*/ 30 h 36"/>
                  <a:gd name="T40" fmla="*/ 22 w 30"/>
                  <a:gd name="T41" fmla="*/ 28 h 36"/>
                  <a:gd name="T42" fmla="*/ 26 w 30"/>
                  <a:gd name="T43" fmla="*/ 21 h 36"/>
                  <a:gd name="T44" fmla="*/ 26 w 30"/>
                  <a:gd name="T45" fmla="*/ 17 h 36"/>
                  <a:gd name="T46" fmla="*/ 28 w 30"/>
                  <a:gd name="T47" fmla="*/ 14 h 36"/>
                  <a:gd name="T48" fmla="*/ 30 w 30"/>
                  <a:gd name="T49" fmla="*/ 12 h 36"/>
                  <a:gd name="T50" fmla="*/ 30 w 30"/>
                  <a:gd name="T51" fmla="*/ 9 h 36"/>
                  <a:gd name="T52" fmla="*/ 29 w 30"/>
                  <a:gd name="T53" fmla="*/ 5 h 36"/>
                  <a:gd name="T54" fmla="*/ 27 w 30"/>
                  <a:gd name="T55" fmla="*/ 3 h 36"/>
                  <a:gd name="T56" fmla="*/ 25 w 30"/>
                  <a:gd name="T57" fmla="*/ 3 h 36"/>
                  <a:gd name="T58" fmla="*/ 25 w 30"/>
                  <a:gd name="T59" fmla="*/ 1 h 36"/>
                  <a:gd name="T60" fmla="*/ 21 w 30"/>
                  <a:gd name="T61" fmla="*/ 0 h 36"/>
                  <a:gd name="T62" fmla="*/ 18 w 30"/>
                  <a:gd name="T63" fmla="*/ 1 h 36"/>
                  <a:gd name="T64" fmla="*/ 17 w 30"/>
                  <a:gd name="T65" fmla="*/ 1 h 36"/>
                  <a:gd name="T66" fmla="*/ 16 w 30"/>
                  <a:gd name="T67" fmla="*/ 2 h 36"/>
                  <a:gd name="T68" fmla="*/ 14 w 30"/>
                  <a:gd name="T69" fmla="*/ 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36">
                    <a:moveTo>
                      <a:pt x="14" y="2"/>
                    </a:moveTo>
                    <a:lnTo>
                      <a:pt x="12" y="4"/>
                    </a:lnTo>
                    <a:lnTo>
                      <a:pt x="7" y="11"/>
                    </a:lnTo>
                    <a:lnTo>
                      <a:pt x="6" y="13"/>
                    </a:lnTo>
                    <a:lnTo>
                      <a:pt x="4" y="17"/>
                    </a:lnTo>
                    <a:lnTo>
                      <a:pt x="0" y="21"/>
                    </a:lnTo>
                    <a:lnTo>
                      <a:pt x="0" y="25"/>
                    </a:lnTo>
                    <a:lnTo>
                      <a:pt x="0" y="29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0" y="35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8" y="35"/>
                    </a:lnTo>
                    <a:lnTo>
                      <a:pt x="10" y="36"/>
                    </a:lnTo>
                    <a:lnTo>
                      <a:pt x="13" y="35"/>
                    </a:lnTo>
                    <a:lnTo>
                      <a:pt x="14" y="34"/>
                    </a:lnTo>
                    <a:lnTo>
                      <a:pt x="15" y="33"/>
                    </a:lnTo>
                    <a:lnTo>
                      <a:pt x="19" y="31"/>
                    </a:lnTo>
                    <a:lnTo>
                      <a:pt x="21" y="30"/>
                    </a:lnTo>
                    <a:lnTo>
                      <a:pt x="22" y="28"/>
                    </a:lnTo>
                    <a:lnTo>
                      <a:pt x="26" y="21"/>
                    </a:lnTo>
                    <a:lnTo>
                      <a:pt x="26" y="17"/>
                    </a:lnTo>
                    <a:lnTo>
                      <a:pt x="28" y="14"/>
                    </a:lnTo>
                    <a:lnTo>
                      <a:pt x="30" y="12"/>
                    </a:lnTo>
                    <a:lnTo>
                      <a:pt x="30" y="9"/>
                    </a:lnTo>
                    <a:lnTo>
                      <a:pt x="29" y="5"/>
                    </a:lnTo>
                    <a:lnTo>
                      <a:pt x="27" y="3"/>
                    </a:lnTo>
                    <a:lnTo>
                      <a:pt x="25" y="3"/>
                    </a:lnTo>
                    <a:lnTo>
                      <a:pt x="25" y="1"/>
                    </a:lnTo>
                    <a:lnTo>
                      <a:pt x="21" y="0"/>
                    </a:lnTo>
                    <a:lnTo>
                      <a:pt x="18" y="1"/>
                    </a:lnTo>
                    <a:lnTo>
                      <a:pt x="17" y="1"/>
                    </a:lnTo>
                    <a:lnTo>
                      <a:pt x="16" y="2"/>
                    </a:lnTo>
                    <a:lnTo>
                      <a:pt x="14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0" name="Freeform 1164">
                <a:extLst>
                  <a:ext uri="{FF2B5EF4-FFF2-40B4-BE49-F238E27FC236}">
                    <a16:creationId xmlns:a16="http://schemas.microsoft.com/office/drawing/2014/main" id="{9C71AD40-8DB8-43C0-8263-89F21B25EA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5" y="1277"/>
                <a:ext cx="8" cy="10"/>
              </a:xfrm>
              <a:custGeom>
                <a:avLst/>
                <a:gdLst>
                  <a:gd name="T0" fmla="*/ 3 w 8"/>
                  <a:gd name="T1" fmla="*/ 10 h 10"/>
                  <a:gd name="T2" fmla="*/ 4 w 8"/>
                  <a:gd name="T3" fmla="*/ 7 h 10"/>
                  <a:gd name="T4" fmla="*/ 6 w 8"/>
                  <a:gd name="T5" fmla="*/ 7 h 10"/>
                  <a:gd name="T6" fmla="*/ 8 w 8"/>
                  <a:gd name="T7" fmla="*/ 4 h 10"/>
                  <a:gd name="T8" fmla="*/ 7 w 8"/>
                  <a:gd name="T9" fmla="*/ 0 h 10"/>
                  <a:gd name="T10" fmla="*/ 4 w 8"/>
                  <a:gd name="T11" fmla="*/ 0 h 10"/>
                  <a:gd name="T12" fmla="*/ 2 w 8"/>
                  <a:gd name="T13" fmla="*/ 0 h 10"/>
                  <a:gd name="T14" fmla="*/ 1 w 8"/>
                  <a:gd name="T15" fmla="*/ 3 h 10"/>
                  <a:gd name="T16" fmla="*/ 0 w 8"/>
                  <a:gd name="T17" fmla="*/ 5 h 10"/>
                  <a:gd name="T18" fmla="*/ 1 w 8"/>
                  <a:gd name="T19" fmla="*/ 9 h 10"/>
                  <a:gd name="T20" fmla="*/ 3 w 8"/>
                  <a:gd name="T2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10">
                    <a:moveTo>
                      <a:pt x="3" y="10"/>
                    </a:moveTo>
                    <a:lnTo>
                      <a:pt x="4" y="7"/>
                    </a:lnTo>
                    <a:lnTo>
                      <a:pt x="6" y="7"/>
                    </a:lnTo>
                    <a:lnTo>
                      <a:pt x="8" y="4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1" y="3"/>
                    </a:lnTo>
                    <a:lnTo>
                      <a:pt x="0" y="5"/>
                    </a:lnTo>
                    <a:lnTo>
                      <a:pt x="1" y="9"/>
                    </a:lnTo>
                    <a:lnTo>
                      <a:pt x="3" y="1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1" name="Freeform 1165">
                <a:extLst>
                  <a:ext uri="{FF2B5EF4-FFF2-40B4-BE49-F238E27FC236}">
                    <a16:creationId xmlns:a16="http://schemas.microsoft.com/office/drawing/2014/main" id="{2FDF14EB-ECAE-489A-8E80-9AE7978434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7" y="1273"/>
                <a:ext cx="18" cy="17"/>
              </a:xfrm>
              <a:custGeom>
                <a:avLst/>
                <a:gdLst>
                  <a:gd name="T0" fmla="*/ 15 w 18"/>
                  <a:gd name="T1" fmla="*/ 3 h 17"/>
                  <a:gd name="T2" fmla="*/ 13 w 18"/>
                  <a:gd name="T3" fmla="*/ 3 h 17"/>
                  <a:gd name="T4" fmla="*/ 11 w 18"/>
                  <a:gd name="T5" fmla="*/ 6 h 17"/>
                  <a:gd name="T6" fmla="*/ 8 w 18"/>
                  <a:gd name="T7" fmla="*/ 8 h 17"/>
                  <a:gd name="T8" fmla="*/ 5 w 18"/>
                  <a:gd name="T9" fmla="*/ 7 h 17"/>
                  <a:gd name="T10" fmla="*/ 3 w 18"/>
                  <a:gd name="T11" fmla="*/ 9 h 17"/>
                  <a:gd name="T12" fmla="*/ 1 w 18"/>
                  <a:gd name="T13" fmla="*/ 12 h 17"/>
                  <a:gd name="T14" fmla="*/ 0 w 18"/>
                  <a:gd name="T15" fmla="*/ 13 h 17"/>
                  <a:gd name="T16" fmla="*/ 1 w 18"/>
                  <a:gd name="T17" fmla="*/ 17 h 17"/>
                  <a:gd name="T18" fmla="*/ 1 w 18"/>
                  <a:gd name="T19" fmla="*/ 16 h 17"/>
                  <a:gd name="T20" fmla="*/ 4 w 18"/>
                  <a:gd name="T21" fmla="*/ 16 h 17"/>
                  <a:gd name="T22" fmla="*/ 6 w 18"/>
                  <a:gd name="T23" fmla="*/ 16 h 17"/>
                  <a:gd name="T24" fmla="*/ 11 w 18"/>
                  <a:gd name="T25" fmla="*/ 12 h 17"/>
                  <a:gd name="T26" fmla="*/ 12 w 18"/>
                  <a:gd name="T27" fmla="*/ 9 h 17"/>
                  <a:gd name="T28" fmla="*/ 14 w 18"/>
                  <a:gd name="T29" fmla="*/ 9 h 17"/>
                  <a:gd name="T30" fmla="*/ 16 w 18"/>
                  <a:gd name="T31" fmla="*/ 6 h 17"/>
                  <a:gd name="T32" fmla="*/ 18 w 18"/>
                  <a:gd name="T33" fmla="*/ 4 h 17"/>
                  <a:gd name="T34" fmla="*/ 18 w 18"/>
                  <a:gd name="T35" fmla="*/ 1 h 17"/>
                  <a:gd name="T36" fmla="*/ 17 w 18"/>
                  <a:gd name="T37" fmla="*/ 0 h 17"/>
                  <a:gd name="T38" fmla="*/ 15 w 18"/>
                  <a:gd name="T39" fmla="*/ 0 h 17"/>
                  <a:gd name="T40" fmla="*/ 15 w 18"/>
                  <a:gd name="T41" fmla="*/ 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" h="17">
                    <a:moveTo>
                      <a:pt x="15" y="3"/>
                    </a:moveTo>
                    <a:lnTo>
                      <a:pt x="13" y="3"/>
                    </a:lnTo>
                    <a:lnTo>
                      <a:pt x="11" y="6"/>
                    </a:lnTo>
                    <a:lnTo>
                      <a:pt x="8" y="8"/>
                    </a:lnTo>
                    <a:lnTo>
                      <a:pt x="5" y="7"/>
                    </a:lnTo>
                    <a:lnTo>
                      <a:pt x="3" y="9"/>
                    </a:lnTo>
                    <a:lnTo>
                      <a:pt x="1" y="12"/>
                    </a:lnTo>
                    <a:lnTo>
                      <a:pt x="0" y="13"/>
                    </a:lnTo>
                    <a:lnTo>
                      <a:pt x="1" y="17"/>
                    </a:lnTo>
                    <a:lnTo>
                      <a:pt x="1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11" y="12"/>
                    </a:lnTo>
                    <a:lnTo>
                      <a:pt x="12" y="9"/>
                    </a:lnTo>
                    <a:lnTo>
                      <a:pt x="14" y="9"/>
                    </a:lnTo>
                    <a:lnTo>
                      <a:pt x="16" y="6"/>
                    </a:lnTo>
                    <a:lnTo>
                      <a:pt x="18" y="4"/>
                    </a:lnTo>
                    <a:lnTo>
                      <a:pt x="18" y="1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5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2" name="Freeform 1166">
                <a:extLst>
                  <a:ext uri="{FF2B5EF4-FFF2-40B4-BE49-F238E27FC236}">
                    <a16:creationId xmlns:a16="http://schemas.microsoft.com/office/drawing/2014/main" id="{3D5FBEC6-3ACC-45D4-A80C-7655496601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3" y="1261"/>
                <a:ext cx="9" cy="8"/>
              </a:xfrm>
              <a:custGeom>
                <a:avLst/>
                <a:gdLst>
                  <a:gd name="T0" fmla="*/ 7 w 9"/>
                  <a:gd name="T1" fmla="*/ 0 h 8"/>
                  <a:gd name="T2" fmla="*/ 6 w 9"/>
                  <a:gd name="T3" fmla="*/ 3 h 8"/>
                  <a:gd name="T4" fmla="*/ 3 w 9"/>
                  <a:gd name="T5" fmla="*/ 3 h 8"/>
                  <a:gd name="T6" fmla="*/ 2 w 9"/>
                  <a:gd name="T7" fmla="*/ 6 h 8"/>
                  <a:gd name="T8" fmla="*/ 0 w 9"/>
                  <a:gd name="T9" fmla="*/ 8 h 8"/>
                  <a:gd name="T10" fmla="*/ 2 w 9"/>
                  <a:gd name="T11" fmla="*/ 7 h 8"/>
                  <a:gd name="T12" fmla="*/ 4 w 9"/>
                  <a:gd name="T13" fmla="*/ 7 h 8"/>
                  <a:gd name="T14" fmla="*/ 6 w 9"/>
                  <a:gd name="T15" fmla="*/ 5 h 8"/>
                  <a:gd name="T16" fmla="*/ 9 w 9"/>
                  <a:gd name="T17" fmla="*/ 4 h 8"/>
                  <a:gd name="T18" fmla="*/ 9 w 9"/>
                  <a:gd name="T19" fmla="*/ 2 h 8"/>
                  <a:gd name="T20" fmla="*/ 8 w 9"/>
                  <a:gd name="T21" fmla="*/ 0 h 8"/>
                  <a:gd name="T22" fmla="*/ 7 w 9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8">
                    <a:moveTo>
                      <a:pt x="7" y="0"/>
                    </a:moveTo>
                    <a:lnTo>
                      <a:pt x="6" y="3"/>
                    </a:lnTo>
                    <a:lnTo>
                      <a:pt x="3" y="3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7"/>
                    </a:lnTo>
                    <a:lnTo>
                      <a:pt x="4" y="7"/>
                    </a:lnTo>
                    <a:lnTo>
                      <a:pt x="6" y="5"/>
                    </a:lnTo>
                    <a:lnTo>
                      <a:pt x="9" y="4"/>
                    </a:lnTo>
                    <a:lnTo>
                      <a:pt x="9" y="2"/>
                    </a:lnTo>
                    <a:lnTo>
                      <a:pt x="8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3" name="Freeform 1167">
                <a:extLst>
                  <a:ext uri="{FF2B5EF4-FFF2-40B4-BE49-F238E27FC236}">
                    <a16:creationId xmlns:a16="http://schemas.microsoft.com/office/drawing/2014/main" id="{57969CF1-D5FD-4C28-8A2C-0BF97FD4C9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3" y="649"/>
                <a:ext cx="5" cy="5"/>
              </a:xfrm>
              <a:custGeom>
                <a:avLst/>
                <a:gdLst>
                  <a:gd name="T0" fmla="*/ 5 w 5"/>
                  <a:gd name="T1" fmla="*/ 3 h 5"/>
                  <a:gd name="T2" fmla="*/ 3 w 5"/>
                  <a:gd name="T3" fmla="*/ 0 h 5"/>
                  <a:gd name="T4" fmla="*/ 2 w 5"/>
                  <a:gd name="T5" fmla="*/ 1 h 5"/>
                  <a:gd name="T6" fmla="*/ 0 w 5"/>
                  <a:gd name="T7" fmla="*/ 4 h 5"/>
                  <a:gd name="T8" fmla="*/ 2 w 5"/>
                  <a:gd name="T9" fmla="*/ 5 h 5"/>
                  <a:gd name="T10" fmla="*/ 5 w 5"/>
                  <a:gd name="T1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5">
                    <a:moveTo>
                      <a:pt x="5" y="3"/>
                    </a:moveTo>
                    <a:lnTo>
                      <a:pt x="3" y="0"/>
                    </a:lnTo>
                    <a:lnTo>
                      <a:pt x="2" y="1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4" name="Freeform 1168">
                <a:extLst>
                  <a:ext uri="{FF2B5EF4-FFF2-40B4-BE49-F238E27FC236}">
                    <a16:creationId xmlns:a16="http://schemas.microsoft.com/office/drawing/2014/main" id="{8C7E0568-7DAA-4B66-A969-641E3A7A49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2" y="1832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2 h 2"/>
                  <a:gd name="T4" fmla="*/ 1 w 3"/>
                  <a:gd name="T5" fmla="*/ 2 h 2"/>
                  <a:gd name="T6" fmla="*/ 2 w 3"/>
                  <a:gd name="T7" fmla="*/ 2 h 2"/>
                  <a:gd name="T8" fmla="*/ 3 w 3"/>
                  <a:gd name="T9" fmla="*/ 2 h 2"/>
                  <a:gd name="T10" fmla="*/ 3 w 3"/>
                  <a:gd name="T11" fmla="*/ 0 h 2"/>
                  <a:gd name="T12" fmla="*/ 2 w 3"/>
                  <a:gd name="T13" fmla="*/ 0 h 2"/>
                  <a:gd name="T14" fmla="*/ 0 w 3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2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5" name="Freeform 1169">
                <a:extLst>
                  <a:ext uri="{FF2B5EF4-FFF2-40B4-BE49-F238E27FC236}">
                    <a16:creationId xmlns:a16="http://schemas.microsoft.com/office/drawing/2014/main" id="{4A6FF84A-836C-4427-A718-CFEE8A6CB6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0" y="1914"/>
                <a:ext cx="3" cy="11"/>
              </a:xfrm>
              <a:custGeom>
                <a:avLst/>
                <a:gdLst>
                  <a:gd name="T0" fmla="*/ 0 w 3"/>
                  <a:gd name="T1" fmla="*/ 11 h 11"/>
                  <a:gd name="T2" fmla="*/ 1 w 3"/>
                  <a:gd name="T3" fmla="*/ 11 h 11"/>
                  <a:gd name="T4" fmla="*/ 3 w 3"/>
                  <a:gd name="T5" fmla="*/ 9 h 11"/>
                  <a:gd name="T6" fmla="*/ 2 w 3"/>
                  <a:gd name="T7" fmla="*/ 7 h 11"/>
                  <a:gd name="T8" fmla="*/ 1 w 3"/>
                  <a:gd name="T9" fmla="*/ 7 h 11"/>
                  <a:gd name="T10" fmla="*/ 1 w 3"/>
                  <a:gd name="T11" fmla="*/ 5 h 11"/>
                  <a:gd name="T12" fmla="*/ 2 w 3"/>
                  <a:gd name="T13" fmla="*/ 4 h 11"/>
                  <a:gd name="T14" fmla="*/ 2 w 3"/>
                  <a:gd name="T15" fmla="*/ 2 h 11"/>
                  <a:gd name="T16" fmla="*/ 1 w 3"/>
                  <a:gd name="T17" fmla="*/ 1 h 11"/>
                  <a:gd name="T18" fmla="*/ 1 w 3"/>
                  <a:gd name="T19" fmla="*/ 0 h 11"/>
                  <a:gd name="T20" fmla="*/ 0 w 3"/>
                  <a:gd name="T21" fmla="*/ 1 h 11"/>
                  <a:gd name="T22" fmla="*/ 0 w 3"/>
                  <a:gd name="T23" fmla="*/ 2 h 11"/>
                  <a:gd name="T24" fmla="*/ 0 w 3"/>
                  <a:gd name="T25" fmla="*/ 4 h 11"/>
                  <a:gd name="T26" fmla="*/ 0 w 3"/>
                  <a:gd name="T27" fmla="*/ 7 h 11"/>
                  <a:gd name="T28" fmla="*/ 0 w 3"/>
                  <a:gd name="T29" fmla="*/ 10 h 11"/>
                  <a:gd name="T30" fmla="*/ 0 w 3"/>
                  <a:gd name="T3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" h="11">
                    <a:moveTo>
                      <a:pt x="0" y="11"/>
                    </a:moveTo>
                    <a:lnTo>
                      <a:pt x="1" y="11"/>
                    </a:lnTo>
                    <a:lnTo>
                      <a:pt x="3" y="9"/>
                    </a:lnTo>
                    <a:lnTo>
                      <a:pt x="2" y="7"/>
                    </a:lnTo>
                    <a:lnTo>
                      <a:pt x="1" y="7"/>
                    </a:lnTo>
                    <a:lnTo>
                      <a:pt x="1" y="5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6" name="Freeform 1170">
                <a:extLst>
                  <a:ext uri="{FF2B5EF4-FFF2-40B4-BE49-F238E27FC236}">
                    <a16:creationId xmlns:a16="http://schemas.microsoft.com/office/drawing/2014/main" id="{009B4882-1CEA-4070-8B25-46F024733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2" y="1462"/>
                <a:ext cx="1" cy="3"/>
              </a:xfrm>
              <a:custGeom>
                <a:avLst/>
                <a:gdLst>
                  <a:gd name="T0" fmla="*/ 0 w 1"/>
                  <a:gd name="T1" fmla="*/ 1 h 3"/>
                  <a:gd name="T2" fmla="*/ 1 w 1"/>
                  <a:gd name="T3" fmla="*/ 3 h 3"/>
                  <a:gd name="T4" fmla="*/ 1 w 1"/>
                  <a:gd name="T5" fmla="*/ 3 h 3"/>
                  <a:gd name="T6" fmla="*/ 1 w 1"/>
                  <a:gd name="T7" fmla="*/ 0 h 3"/>
                  <a:gd name="T8" fmla="*/ 1 w 1"/>
                  <a:gd name="T9" fmla="*/ 0 h 3"/>
                  <a:gd name="T10" fmla="*/ 0 w 1"/>
                  <a:gd name="T11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3">
                    <a:moveTo>
                      <a:pt x="0" y="1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7" name="Freeform 1171">
                <a:extLst>
                  <a:ext uri="{FF2B5EF4-FFF2-40B4-BE49-F238E27FC236}">
                    <a16:creationId xmlns:a16="http://schemas.microsoft.com/office/drawing/2014/main" id="{AACF9657-6601-408A-912B-1E78CB32F6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4" y="1924"/>
                <a:ext cx="1" cy="4"/>
              </a:xfrm>
              <a:custGeom>
                <a:avLst/>
                <a:gdLst>
                  <a:gd name="T0" fmla="*/ 0 w 1"/>
                  <a:gd name="T1" fmla="*/ 3 h 4"/>
                  <a:gd name="T2" fmla="*/ 0 w 1"/>
                  <a:gd name="T3" fmla="*/ 4 h 4"/>
                  <a:gd name="T4" fmla="*/ 1 w 1"/>
                  <a:gd name="T5" fmla="*/ 2 h 4"/>
                  <a:gd name="T6" fmla="*/ 1 w 1"/>
                  <a:gd name="T7" fmla="*/ 0 h 4"/>
                  <a:gd name="T8" fmla="*/ 0 w 1"/>
                  <a:gd name="T9" fmla="*/ 1 h 4"/>
                  <a:gd name="T10" fmla="*/ 0 w 1"/>
                  <a:gd name="T1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4">
                    <a:moveTo>
                      <a:pt x="0" y="3"/>
                    </a:moveTo>
                    <a:lnTo>
                      <a:pt x="0" y="4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8" name="Freeform 1172">
                <a:extLst>
                  <a:ext uri="{FF2B5EF4-FFF2-40B4-BE49-F238E27FC236}">
                    <a16:creationId xmlns:a16="http://schemas.microsoft.com/office/drawing/2014/main" id="{DDB75152-0E49-42BB-BBC2-6D0346126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0" y="1086"/>
                <a:ext cx="2" cy="3"/>
              </a:xfrm>
              <a:custGeom>
                <a:avLst/>
                <a:gdLst>
                  <a:gd name="T0" fmla="*/ 2 w 2"/>
                  <a:gd name="T1" fmla="*/ 2 h 3"/>
                  <a:gd name="T2" fmla="*/ 2 w 2"/>
                  <a:gd name="T3" fmla="*/ 0 h 3"/>
                  <a:gd name="T4" fmla="*/ 0 w 2"/>
                  <a:gd name="T5" fmla="*/ 1 h 3"/>
                  <a:gd name="T6" fmla="*/ 1 w 2"/>
                  <a:gd name="T7" fmla="*/ 3 h 3"/>
                  <a:gd name="T8" fmla="*/ 2 w 2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2" y="2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9" name="Freeform 1173">
                <a:extLst>
                  <a:ext uri="{FF2B5EF4-FFF2-40B4-BE49-F238E27FC236}">
                    <a16:creationId xmlns:a16="http://schemas.microsoft.com/office/drawing/2014/main" id="{CD5A4A92-FF07-496E-80F0-AD5904C3ED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3" y="1482"/>
                <a:ext cx="3" cy="12"/>
              </a:xfrm>
              <a:custGeom>
                <a:avLst/>
                <a:gdLst>
                  <a:gd name="T0" fmla="*/ 3 w 3"/>
                  <a:gd name="T1" fmla="*/ 2 h 12"/>
                  <a:gd name="T2" fmla="*/ 2 w 3"/>
                  <a:gd name="T3" fmla="*/ 0 h 12"/>
                  <a:gd name="T4" fmla="*/ 1 w 3"/>
                  <a:gd name="T5" fmla="*/ 6 h 12"/>
                  <a:gd name="T6" fmla="*/ 0 w 3"/>
                  <a:gd name="T7" fmla="*/ 10 h 12"/>
                  <a:gd name="T8" fmla="*/ 2 w 3"/>
                  <a:gd name="T9" fmla="*/ 12 h 12"/>
                  <a:gd name="T10" fmla="*/ 3 w 3"/>
                  <a:gd name="T11" fmla="*/ 11 h 12"/>
                  <a:gd name="T12" fmla="*/ 3 w 3"/>
                  <a:gd name="T13" fmla="*/ 9 h 12"/>
                  <a:gd name="T14" fmla="*/ 3 w 3"/>
                  <a:gd name="T15" fmla="*/ 5 h 12"/>
                  <a:gd name="T16" fmla="*/ 3 w 3"/>
                  <a:gd name="T1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12">
                    <a:moveTo>
                      <a:pt x="3" y="2"/>
                    </a:moveTo>
                    <a:lnTo>
                      <a:pt x="2" y="0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3" y="11"/>
                    </a:lnTo>
                    <a:lnTo>
                      <a:pt x="3" y="9"/>
                    </a:lnTo>
                    <a:lnTo>
                      <a:pt x="3" y="5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0" name="Freeform 1174">
                <a:extLst>
                  <a:ext uri="{FF2B5EF4-FFF2-40B4-BE49-F238E27FC236}">
                    <a16:creationId xmlns:a16="http://schemas.microsoft.com/office/drawing/2014/main" id="{F47DAFBF-B92F-4D5D-8421-B9094BCA95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4" y="646"/>
                <a:ext cx="378" cy="356"/>
              </a:xfrm>
              <a:custGeom>
                <a:avLst/>
                <a:gdLst>
                  <a:gd name="T0" fmla="*/ 109 w 378"/>
                  <a:gd name="T1" fmla="*/ 61 h 356"/>
                  <a:gd name="T2" fmla="*/ 115 w 378"/>
                  <a:gd name="T3" fmla="*/ 74 h 356"/>
                  <a:gd name="T4" fmla="*/ 136 w 378"/>
                  <a:gd name="T5" fmla="*/ 92 h 356"/>
                  <a:gd name="T6" fmla="*/ 112 w 378"/>
                  <a:gd name="T7" fmla="*/ 91 h 356"/>
                  <a:gd name="T8" fmla="*/ 142 w 378"/>
                  <a:gd name="T9" fmla="*/ 100 h 356"/>
                  <a:gd name="T10" fmla="*/ 123 w 378"/>
                  <a:gd name="T11" fmla="*/ 116 h 356"/>
                  <a:gd name="T12" fmla="*/ 168 w 378"/>
                  <a:gd name="T13" fmla="*/ 123 h 356"/>
                  <a:gd name="T14" fmla="*/ 199 w 378"/>
                  <a:gd name="T15" fmla="*/ 119 h 356"/>
                  <a:gd name="T16" fmla="*/ 207 w 378"/>
                  <a:gd name="T17" fmla="*/ 135 h 356"/>
                  <a:gd name="T18" fmla="*/ 188 w 378"/>
                  <a:gd name="T19" fmla="*/ 152 h 356"/>
                  <a:gd name="T20" fmla="*/ 150 w 378"/>
                  <a:gd name="T21" fmla="*/ 176 h 356"/>
                  <a:gd name="T22" fmla="*/ 115 w 378"/>
                  <a:gd name="T23" fmla="*/ 134 h 356"/>
                  <a:gd name="T24" fmla="*/ 105 w 378"/>
                  <a:gd name="T25" fmla="*/ 189 h 356"/>
                  <a:gd name="T26" fmla="*/ 122 w 378"/>
                  <a:gd name="T27" fmla="*/ 213 h 356"/>
                  <a:gd name="T28" fmla="*/ 97 w 378"/>
                  <a:gd name="T29" fmla="*/ 216 h 356"/>
                  <a:gd name="T30" fmla="*/ 56 w 378"/>
                  <a:gd name="T31" fmla="*/ 243 h 356"/>
                  <a:gd name="T32" fmla="*/ 87 w 378"/>
                  <a:gd name="T33" fmla="*/ 235 h 356"/>
                  <a:gd name="T34" fmla="*/ 69 w 378"/>
                  <a:gd name="T35" fmla="*/ 263 h 356"/>
                  <a:gd name="T36" fmla="*/ 69 w 378"/>
                  <a:gd name="T37" fmla="*/ 278 h 356"/>
                  <a:gd name="T38" fmla="*/ 81 w 378"/>
                  <a:gd name="T39" fmla="*/ 285 h 356"/>
                  <a:gd name="T40" fmla="*/ 42 w 378"/>
                  <a:gd name="T41" fmla="*/ 257 h 356"/>
                  <a:gd name="T42" fmla="*/ 42 w 378"/>
                  <a:gd name="T43" fmla="*/ 287 h 356"/>
                  <a:gd name="T44" fmla="*/ 19 w 378"/>
                  <a:gd name="T45" fmla="*/ 291 h 356"/>
                  <a:gd name="T46" fmla="*/ 5 w 378"/>
                  <a:gd name="T47" fmla="*/ 319 h 356"/>
                  <a:gd name="T48" fmla="*/ 18 w 378"/>
                  <a:gd name="T49" fmla="*/ 314 h 356"/>
                  <a:gd name="T50" fmla="*/ 25 w 378"/>
                  <a:gd name="T51" fmla="*/ 326 h 356"/>
                  <a:gd name="T52" fmla="*/ 44 w 378"/>
                  <a:gd name="T53" fmla="*/ 329 h 356"/>
                  <a:gd name="T54" fmla="*/ 61 w 378"/>
                  <a:gd name="T55" fmla="*/ 332 h 356"/>
                  <a:gd name="T56" fmla="*/ 72 w 378"/>
                  <a:gd name="T57" fmla="*/ 321 h 356"/>
                  <a:gd name="T58" fmla="*/ 91 w 378"/>
                  <a:gd name="T59" fmla="*/ 351 h 356"/>
                  <a:gd name="T60" fmla="*/ 116 w 378"/>
                  <a:gd name="T61" fmla="*/ 325 h 356"/>
                  <a:gd name="T62" fmla="*/ 93 w 378"/>
                  <a:gd name="T63" fmla="*/ 303 h 356"/>
                  <a:gd name="T64" fmla="*/ 94 w 378"/>
                  <a:gd name="T65" fmla="*/ 291 h 356"/>
                  <a:gd name="T66" fmla="*/ 136 w 378"/>
                  <a:gd name="T67" fmla="*/ 290 h 356"/>
                  <a:gd name="T68" fmla="*/ 157 w 378"/>
                  <a:gd name="T69" fmla="*/ 267 h 356"/>
                  <a:gd name="T70" fmla="*/ 181 w 378"/>
                  <a:gd name="T71" fmla="*/ 257 h 356"/>
                  <a:gd name="T72" fmla="*/ 166 w 378"/>
                  <a:gd name="T73" fmla="*/ 228 h 356"/>
                  <a:gd name="T74" fmla="*/ 168 w 378"/>
                  <a:gd name="T75" fmla="*/ 216 h 356"/>
                  <a:gd name="T76" fmla="*/ 181 w 378"/>
                  <a:gd name="T77" fmla="*/ 218 h 356"/>
                  <a:gd name="T78" fmla="*/ 185 w 378"/>
                  <a:gd name="T79" fmla="*/ 206 h 356"/>
                  <a:gd name="T80" fmla="*/ 209 w 378"/>
                  <a:gd name="T81" fmla="*/ 213 h 356"/>
                  <a:gd name="T82" fmla="*/ 229 w 378"/>
                  <a:gd name="T83" fmla="*/ 209 h 356"/>
                  <a:gd name="T84" fmla="*/ 237 w 378"/>
                  <a:gd name="T85" fmla="*/ 188 h 356"/>
                  <a:gd name="T86" fmla="*/ 267 w 378"/>
                  <a:gd name="T87" fmla="*/ 174 h 356"/>
                  <a:gd name="T88" fmla="*/ 324 w 378"/>
                  <a:gd name="T89" fmla="*/ 140 h 356"/>
                  <a:gd name="T90" fmla="*/ 287 w 378"/>
                  <a:gd name="T91" fmla="*/ 136 h 356"/>
                  <a:gd name="T92" fmla="*/ 318 w 378"/>
                  <a:gd name="T93" fmla="*/ 120 h 356"/>
                  <a:gd name="T94" fmla="*/ 362 w 378"/>
                  <a:gd name="T95" fmla="*/ 106 h 356"/>
                  <a:gd name="T96" fmla="*/ 369 w 378"/>
                  <a:gd name="T97" fmla="*/ 60 h 356"/>
                  <a:gd name="T98" fmla="*/ 354 w 378"/>
                  <a:gd name="T99" fmla="*/ 45 h 356"/>
                  <a:gd name="T100" fmla="*/ 349 w 378"/>
                  <a:gd name="T101" fmla="*/ 37 h 356"/>
                  <a:gd name="T102" fmla="*/ 327 w 378"/>
                  <a:gd name="T103" fmla="*/ 20 h 356"/>
                  <a:gd name="T104" fmla="*/ 289 w 378"/>
                  <a:gd name="T105" fmla="*/ 12 h 356"/>
                  <a:gd name="T106" fmla="*/ 254 w 378"/>
                  <a:gd name="T107" fmla="*/ 24 h 356"/>
                  <a:gd name="T108" fmla="*/ 233 w 378"/>
                  <a:gd name="T109" fmla="*/ 3 h 356"/>
                  <a:gd name="T110" fmla="*/ 228 w 378"/>
                  <a:gd name="T111" fmla="*/ 25 h 356"/>
                  <a:gd name="T112" fmla="*/ 214 w 378"/>
                  <a:gd name="T113" fmla="*/ 26 h 356"/>
                  <a:gd name="T114" fmla="*/ 193 w 378"/>
                  <a:gd name="T115" fmla="*/ 39 h 356"/>
                  <a:gd name="T116" fmla="*/ 171 w 378"/>
                  <a:gd name="T117" fmla="*/ 27 h 356"/>
                  <a:gd name="T118" fmla="*/ 166 w 378"/>
                  <a:gd name="T119" fmla="*/ 45 h 356"/>
                  <a:gd name="T120" fmla="*/ 150 w 378"/>
                  <a:gd name="T121" fmla="*/ 37 h 356"/>
                  <a:gd name="T122" fmla="*/ 133 w 378"/>
                  <a:gd name="T123" fmla="*/ 3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8" h="356">
                    <a:moveTo>
                      <a:pt x="105" y="51"/>
                    </a:moveTo>
                    <a:lnTo>
                      <a:pt x="105" y="55"/>
                    </a:lnTo>
                    <a:lnTo>
                      <a:pt x="105" y="58"/>
                    </a:lnTo>
                    <a:lnTo>
                      <a:pt x="108" y="56"/>
                    </a:lnTo>
                    <a:lnTo>
                      <a:pt x="109" y="54"/>
                    </a:lnTo>
                    <a:lnTo>
                      <a:pt x="109" y="52"/>
                    </a:lnTo>
                    <a:lnTo>
                      <a:pt x="112" y="51"/>
                    </a:lnTo>
                    <a:lnTo>
                      <a:pt x="114" y="49"/>
                    </a:lnTo>
                    <a:lnTo>
                      <a:pt x="115" y="49"/>
                    </a:lnTo>
                    <a:lnTo>
                      <a:pt x="116" y="53"/>
                    </a:lnTo>
                    <a:lnTo>
                      <a:pt x="118" y="51"/>
                    </a:lnTo>
                    <a:lnTo>
                      <a:pt x="119" y="48"/>
                    </a:lnTo>
                    <a:lnTo>
                      <a:pt x="119" y="47"/>
                    </a:lnTo>
                    <a:lnTo>
                      <a:pt x="119" y="52"/>
                    </a:lnTo>
                    <a:lnTo>
                      <a:pt x="120" y="53"/>
                    </a:lnTo>
                    <a:lnTo>
                      <a:pt x="123" y="54"/>
                    </a:lnTo>
                    <a:lnTo>
                      <a:pt x="121" y="55"/>
                    </a:lnTo>
                    <a:lnTo>
                      <a:pt x="117" y="56"/>
                    </a:lnTo>
                    <a:lnTo>
                      <a:pt x="112" y="60"/>
                    </a:lnTo>
                    <a:lnTo>
                      <a:pt x="109" y="61"/>
                    </a:lnTo>
                    <a:lnTo>
                      <a:pt x="110" y="64"/>
                    </a:lnTo>
                    <a:lnTo>
                      <a:pt x="110" y="67"/>
                    </a:lnTo>
                    <a:lnTo>
                      <a:pt x="112" y="67"/>
                    </a:lnTo>
                    <a:lnTo>
                      <a:pt x="114" y="65"/>
                    </a:lnTo>
                    <a:lnTo>
                      <a:pt x="117" y="64"/>
                    </a:lnTo>
                    <a:lnTo>
                      <a:pt x="120" y="63"/>
                    </a:lnTo>
                    <a:lnTo>
                      <a:pt x="126" y="62"/>
                    </a:lnTo>
                    <a:lnTo>
                      <a:pt x="131" y="61"/>
                    </a:lnTo>
                    <a:lnTo>
                      <a:pt x="133" y="63"/>
                    </a:lnTo>
                    <a:lnTo>
                      <a:pt x="133" y="64"/>
                    </a:lnTo>
                    <a:lnTo>
                      <a:pt x="130" y="65"/>
                    </a:lnTo>
                    <a:lnTo>
                      <a:pt x="129" y="63"/>
                    </a:lnTo>
                    <a:lnTo>
                      <a:pt x="126" y="64"/>
                    </a:lnTo>
                    <a:lnTo>
                      <a:pt x="124" y="66"/>
                    </a:lnTo>
                    <a:lnTo>
                      <a:pt x="119" y="66"/>
                    </a:lnTo>
                    <a:lnTo>
                      <a:pt x="115" y="70"/>
                    </a:lnTo>
                    <a:lnTo>
                      <a:pt x="112" y="70"/>
                    </a:lnTo>
                    <a:lnTo>
                      <a:pt x="111" y="71"/>
                    </a:lnTo>
                    <a:lnTo>
                      <a:pt x="112" y="74"/>
                    </a:lnTo>
                    <a:lnTo>
                      <a:pt x="115" y="74"/>
                    </a:lnTo>
                    <a:lnTo>
                      <a:pt x="118" y="77"/>
                    </a:lnTo>
                    <a:lnTo>
                      <a:pt x="115" y="77"/>
                    </a:lnTo>
                    <a:lnTo>
                      <a:pt x="112" y="77"/>
                    </a:lnTo>
                    <a:lnTo>
                      <a:pt x="109" y="75"/>
                    </a:lnTo>
                    <a:lnTo>
                      <a:pt x="108" y="75"/>
                    </a:lnTo>
                    <a:lnTo>
                      <a:pt x="106" y="77"/>
                    </a:lnTo>
                    <a:lnTo>
                      <a:pt x="106" y="81"/>
                    </a:lnTo>
                    <a:lnTo>
                      <a:pt x="105" y="82"/>
                    </a:lnTo>
                    <a:lnTo>
                      <a:pt x="105" y="85"/>
                    </a:lnTo>
                    <a:lnTo>
                      <a:pt x="108" y="87"/>
                    </a:lnTo>
                    <a:lnTo>
                      <a:pt x="112" y="85"/>
                    </a:lnTo>
                    <a:lnTo>
                      <a:pt x="116" y="88"/>
                    </a:lnTo>
                    <a:lnTo>
                      <a:pt x="119" y="87"/>
                    </a:lnTo>
                    <a:lnTo>
                      <a:pt x="121" y="89"/>
                    </a:lnTo>
                    <a:lnTo>
                      <a:pt x="122" y="89"/>
                    </a:lnTo>
                    <a:lnTo>
                      <a:pt x="126" y="92"/>
                    </a:lnTo>
                    <a:lnTo>
                      <a:pt x="129" y="92"/>
                    </a:lnTo>
                    <a:lnTo>
                      <a:pt x="129" y="91"/>
                    </a:lnTo>
                    <a:lnTo>
                      <a:pt x="133" y="92"/>
                    </a:lnTo>
                    <a:lnTo>
                      <a:pt x="136" y="92"/>
                    </a:lnTo>
                    <a:lnTo>
                      <a:pt x="139" y="88"/>
                    </a:lnTo>
                    <a:lnTo>
                      <a:pt x="146" y="89"/>
                    </a:lnTo>
                    <a:lnTo>
                      <a:pt x="149" y="88"/>
                    </a:lnTo>
                    <a:lnTo>
                      <a:pt x="151" y="87"/>
                    </a:lnTo>
                    <a:lnTo>
                      <a:pt x="153" y="86"/>
                    </a:lnTo>
                    <a:lnTo>
                      <a:pt x="154" y="85"/>
                    </a:lnTo>
                    <a:lnTo>
                      <a:pt x="154" y="87"/>
                    </a:lnTo>
                    <a:lnTo>
                      <a:pt x="153" y="90"/>
                    </a:lnTo>
                    <a:lnTo>
                      <a:pt x="148" y="91"/>
                    </a:lnTo>
                    <a:lnTo>
                      <a:pt x="143" y="92"/>
                    </a:lnTo>
                    <a:lnTo>
                      <a:pt x="141" y="94"/>
                    </a:lnTo>
                    <a:lnTo>
                      <a:pt x="138" y="94"/>
                    </a:lnTo>
                    <a:lnTo>
                      <a:pt x="137" y="95"/>
                    </a:lnTo>
                    <a:lnTo>
                      <a:pt x="134" y="94"/>
                    </a:lnTo>
                    <a:lnTo>
                      <a:pt x="131" y="96"/>
                    </a:lnTo>
                    <a:lnTo>
                      <a:pt x="128" y="96"/>
                    </a:lnTo>
                    <a:lnTo>
                      <a:pt x="126" y="94"/>
                    </a:lnTo>
                    <a:lnTo>
                      <a:pt x="124" y="94"/>
                    </a:lnTo>
                    <a:lnTo>
                      <a:pt x="120" y="91"/>
                    </a:lnTo>
                    <a:lnTo>
                      <a:pt x="112" y="91"/>
                    </a:lnTo>
                    <a:lnTo>
                      <a:pt x="110" y="90"/>
                    </a:lnTo>
                    <a:lnTo>
                      <a:pt x="107" y="91"/>
                    </a:lnTo>
                    <a:lnTo>
                      <a:pt x="105" y="90"/>
                    </a:lnTo>
                    <a:lnTo>
                      <a:pt x="103" y="91"/>
                    </a:lnTo>
                    <a:lnTo>
                      <a:pt x="104" y="96"/>
                    </a:lnTo>
                    <a:lnTo>
                      <a:pt x="105" y="98"/>
                    </a:lnTo>
                    <a:lnTo>
                      <a:pt x="105" y="102"/>
                    </a:lnTo>
                    <a:lnTo>
                      <a:pt x="106" y="107"/>
                    </a:lnTo>
                    <a:lnTo>
                      <a:pt x="108" y="108"/>
                    </a:lnTo>
                    <a:lnTo>
                      <a:pt x="109" y="109"/>
                    </a:lnTo>
                    <a:lnTo>
                      <a:pt x="113" y="115"/>
                    </a:lnTo>
                    <a:lnTo>
                      <a:pt x="115" y="116"/>
                    </a:lnTo>
                    <a:lnTo>
                      <a:pt x="116" y="115"/>
                    </a:lnTo>
                    <a:lnTo>
                      <a:pt x="120" y="111"/>
                    </a:lnTo>
                    <a:lnTo>
                      <a:pt x="125" y="108"/>
                    </a:lnTo>
                    <a:lnTo>
                      <a:pt x="130" y="104"/>
                    </a:lnTo>
                    <a:lnTo>
                      <a:pt x="133" y="100"/>
                    </a:lnTo>
                    <a:lnTo>
                      <a:pt x="134" y="98"/>
                    </a:lnTo>
                    <a:lnTo>
                      <a:pt x="136" y="98"/>
                    </a:lnTo>
                    <a:lnTo>
                      <a:pt x="142" y="100"/>
                    </a:lnTo>
                    <a:lnTo>
                      <a:pt x="147" y="99"/>
                    </a:lnTo>
                    <a:lnTo>
                      <a:pt x="151" y="99"/>
                    </a:lnTo>
                    <a:lnTo>
                      <a:pt x="155" y="101"/>
                    </a:lnTo>
                    <a:lnTo>
                      <a:pt x="160" y="103"/>
                    </a:lnTo>
                    <a:lnTo>
                      <a:pt x="166" y="103"/>
                    </a:lnTo>
                    <a:lnTo>
                      <a:pt x="168" y="105"/>
                    </a:lnTo>
                    <a:lnTo>
                      <a:pt x="167" y="105"/>
                    </a:lnTo>
                    <a:lnTo>
                      <a:pt x="163" y="106"/>
                    </a:lnTo>
                    <a:lnTo>
                      <a:pt x="160" y="105"/>
                    </a:lnTo>
                    <a:lnTo>
                      <a:pt x="156" y="105"/>
                    </a:lnTo>
                    <a:lnTo>
                      <a:pt x="150" y="101"/>
                    </a:lnTo>
                    <a:lnTo>
                      <a:pt x="147" y="101"/>
                    </a:lnTo>
                    <a:lnTo>
                      <a:pt x="146" y="102"/>
                    </a:lnTo>
                    <a:lnTo>
                      <a:pt x="140" y="101"/>
                    </a:lnTo>
                    <a:lnTo>
                      <a:pt x="137" y="101"/>
                    </a:lnTo>
                    <a:lnTo>
                      <a:pt x="136" y="103"/>
                    </a:lnTo>
                    <a:lnTo>
                      <a:pt x="132" y="105"/>
                    </a:lnTo>
                    <a:lnTo>
                      <a:pt x="129" y="109"/>
                    </a:lnTo>
                    <a:lnTo>
                      <a:pt x="125" y="112"/>
                    </a:lnTo>
                    <a:lnTo>
                      <a:pt x="123" y="116"/>
                    </a:lnTo>
                    <a:lnTo>
                      <a:pt x="121" y="119"/>
                    </a:lnTo>
                    <a:lnTo>
                      <a:pt x="120" y="121"/>
                    </a:lnTo>
                    <a:lnTo>
                      <a:pt x="123" y="123"/>
                    </a:lnTo>
                    <a:lnTo>
                      <a:pt x="127" y="124"/>
                    </a:lnTo>
                    <a:lnTo>
                      <a:pt x="127" y="125"/>
                    </a:lnTo>
                    <a:lnTo>
                      <a:pt x="129" y="129"/>
                    </a:lnTo>
                    <a:lnTo>
                      <a:pt x="135" y="129"/>
                    </a:lnTo>
                    <a:lnTo>
                      <a:pt x="140" y="132"/>
                    </a:lnTo>
                    <a:lnTo>
                      <a:pt x="145" y="131"/>
                    </a:lnTo>
                    <a:lnTo>
                      <a:pt x="149" y="126"/>
                    </a:lnTo>
                    <a:lnTo>
                      <a:pt x="150" y="122"/>
                    </a:lnTo>
                    <a:lnTo>
                      <a:pt x="154" y="120"/>
                    </a:lnTo>
                    <a:lnTo>
                      <a:pt x="157" y="120"/>
                    </a:lnTo>
                    <a:lnTo>
                      <a:pt x="153" y="122"/>
                    </a:lnTo>
                    <a:lnTo>
                      <a:pt x="153" y="125"/>
                    </a:lnTo>
                    <a:lnTo>
                      <a:pt x="156" y="126"/>
                    </a:lnTo>
                    <a:lnTo>
                      <a:pt x="160" y="124"/>
                    </a:lnTo>
                    <a:lnTo>
                      <a:pt x="163" y="125"/>
                    </a:lnTo>
                    <a:lnTo>
                      <a:pt x="166" y="123"/>
                    </a:lnTo>
                    <a:lnTo>
                      <a:pt x="168" y="123"/>
                    </a:lnTo>
                    <a:lnTo>
                      <a:pt x="166" y="126"/>
                    </a:lnTo>
                    <a:lnTo>
                      <a:pt x="160" y="127"/>
                    </a:lnTo>
                    <a:lnTo>
                      <a:pt x="158" y="129"/>
                    </a:lnTo>
                    <a:lnTo>
                      <a:pt x="154" y="129"/>
                    </a:lnTo>
                    <a:lnTo>
                      <a:pt x="150" y="132"/>
                    </a:lnTo>
                    <a:lnTo>
                      <a:pt x="151" y="136"/>
                    </a:lnTo>
                    <a:lnTo>
                      <a:pt x="153" y="136"/>
                    </a:lnTo>
                    <a:lnTo>
                      <a:pt x="157" y="136"/>
                    </a:lnTo>
                    <a:lnTo>
                      <a:pt x="161" y="139"/>
                    </a:lnTo>
                    <a:lnTo>
                      <a:pt x="169" y="139"/>
                    </a:lnTo>
                    <a:lnTo>
                      <a:pt x="172" y="140"/>
                    </a:lnTo>
                    <a:lnTo>
                      <a:pt x="175" y="139"/>
                    </a:lnTo>
                    <a:lnTo>
                      <a:pt x="185" y="135"/>
                    </a:lnTo>
                    <a:lnTo>
                      <a:pt x="188" y="134"/>
                    </a:lnTo>
                    <a:lnTo>
                      <a:pt x="193" y="129"/>
                    </a:lnTo>
                    <a:lnTo>
                      <a:pt x="192" y="128"/>
                    </a:lnTo>
                    <a:lnTo>
                      <a:pt x="191" y="128"/>
                    </a:lnTo>
                    <a:lnTo>
                      <a:pt x="195" y="122"/>
                    </a:lnTo>
                    <a:lnTo>
                      <a:pt x="197" y="122"/>
                    </a:lnTo>
                    <a:lnTo>
                      <a:pt x="199" y="119"/>
                    </a:lnTo>
                    <a:lnTo>
                      <a:pt x="200" y="119"/>
                    </a:lnTo>
                    <a:lnTo>
                      <a:pt x="201" y="122"/>
                    </a:lnTo>
                    <a:lnTo>
                      <a:pt x="202" y="122"/>
                    </a:lnTo>
                    <a:lnTo>
                      <a:pt x="202" y="119"/>
                    </a:lnTo>
                    <a:lnTo>
                      <a:pt x="210" y="112"/>
                    </a:lnTo>
                    <a:lnTo>
                      <a:pt x="216" y="112"/>
                    </a:lnTo>
                    <a:lnTo>
                      <a:pt x="223" y="108"/>
                    </a:lnTo>
                    <a:lnTo>
                      <a:pt x="223" y="109"/>
                    </a:lnTo>
                    <a:lnTo>
                      <a:pt x="216" y="113"/>
                    </a:lnTo>
                    <a:lnTo>
                      <a:pt x="212" y="114"/>
                    </a:lnTo>
                    <a:lnTo>
                      <a:pt x="205" y="119"/>
                    </a:lnTo>
                    <a:lnTo>
                      <a:pt x="204" y="123"/>
                    </a:lnTo>
                    <a:lnTo>
                      <a:pt x="201" y="126"/>
                    </a:lnTo>
                    <a:lnTo>
                      <a:pt x="198" y="127"/>
                    </a:lnTo>
                    <a:lnTo>
                      <a:pt x="196" y="132"/>
                    </a:lnTo>
                    <a:lnTo>
                      <a:pt x="195" y="133"/>
                    </a:lnTo>
                    <a:lnTo>
                      <a:pt x="195" y="135"/>
                    </a:lnTo>
                    <a:lnTo>
                      <a:pt x="202" y="133"/>
                    </a:lnTo>
                    <a:lnTo>
                      <a:pt x="204" y="135"/>
                    </a:lnTo>
                    <a:lnTo>
                      <a:pt x="207" y="135"/>
                    </a:lnTo>
                    <a:lnTo>
                      <a:pt x="210" y="137"/>
                    </a:lnTo>
                    <a:lnTo>
                      <a:pt x="210" y="139"/>
                    </a:lnTo>
                    <a:lnTo>
                      <a:pt x="212" y="140"/>
                    </a:lnTo>
                    <a:lnTo>
                      <a:pt x="214" y="140"/>
                    </a:lnTo>
                    <a:lnTo>
                      <a:pt x="216" y="143"/>
                    </a:lnTo>
                    <a:lnTo>
                      <a:pt x="212" y="143"/>
                    </a:lnTo>
                    <a:lnTo>
                      <a:pt x="209" y="145"/>
                    </a:lnTo>
                    <a:lnTo>
                      <a:pt x="206" y="142"/>
                    </a:lnTo>
                    <a:lnTo>
                      <a:pt x="202" y="139"/>
                    </a:lnTo>
                    <a:lnTo>
                      <a:pt x="195" y="140"/>
                    </a:lnTo>
                    <a:lnTo>
                      <a:pt x="185" y="141"/>
                    </a:lnTo>
                    <a:lnTo>
                      <a:pt x="181" y="143"/>
                    </a:lnTo>
                    <a:lnTo>
                      <a:pt x="179" y="143"/>
                    </a:lnTo>
                    <a:lnTo>
                      <a:pt x="178" y="144"/>
                    </a:lnTo>
                    <a:lnTo>
                      <a:pt x="180" y="146"/>
                    </a:lnTo>
                    <a:lnTo>
                      <a:pt x="184" y="147"/>
                    </a:lnTo>
                    <a:lnTo>
                      <a:pt x="188" y="147"/>
                    </a:lnTo>
                    <a:lnTo>
                      <a:pt x="190" y="150"/>
                    </a:lnTo>
                    <a:lnTo>
                      <a:pt x="190" y="151"/>
                    </a:lnTo>
                    <a:lnTo>
                      <a:pt x="188" y="152"/>
                    </a:lnTo>
                    <a:lnTo>
                      <a:pt x="185" y="150"/>
                    </a:lnTo>
                    <a:lnTo>
                      <a:pt x="179" y="150"/>
                    </a:lnTo>
                    <a:lnTo>
                      <a:pt x="177" y="146"/>
                    </a:lnTo>
                    <a:lnTo>
                      <a:pt x="174" y="146"/>
                    </a:lnTo>
                    <a:lnTo>
                      <a:pt x="170" y="149"/>
                    </a:lnTo>
                    <a:lnTo>
                      <a:pt x="164" y="149"/>
                    </a:lnTo>
                    <a:lnTo>
                      <a:pt x="160" y="147"/>
                    </a:lnTo>
                    <a:lnTo>
                      <a:pt x="156" y="146"/>
                    </a:lnTo>
                    <a:lnTo>
                      <a:pt x="152" y="145"/>
                    </a:lnTo>
                    <a:lnTo>
                      <a:pt x="150" y="144"/>
                    </a:lnTo>
                    <a:lnTo>
                      <a:pt x="145" y="144"/>
                    </a:lnTo>
                    <a:lnTo>
                      <a:pt x="143" y="148"/>
                    </a:lnTo>
                    <a:lnTo>
                      <a:pt x="145" y="151"/>
                    </a:lnTo>
                    <a:lnTo>
                      <a:pt x="145" y="163"/>
                    </a:lnTo>
                    <a:lnTo>
                      <a:pt x="145" y="166"/>
                    </a:lnTo>
                    <a:lnTo>
                      <a:pt x="143" y="169"/>
                    </a:lnTo>
                    <a:lnTo>
                      <a:pt x="143" y="171"/>
                    </a:lnTo>
                    <a:lnTo>
                      <a:pt x="145" y="173"/>
                    </a:lnTo>
                    <a:lnTo>
                      <a:pt x="146" y="176"/>
                    </a:lnTo>
                    <a:lnTo>
                      <a:pt x="150" y="176"/>
                    </a:lnTo>
                    <a:lnTo>
                      <a:pt x="152" y="178"/>
                    </a:lnTo>
                    <a:lnTo>
                      <a:pt x="150" y="177"/>
                    </a:lnTo>
                    <a:lnTo>
                      <a:pt x="147" y="179"/>
                    </a:lnTo>
                    <a:lnTo>
                      <a:pt x="146" y="181"/>
                    </a:lnTo>
                    <a:lnTo>
                      <a:pt x="146" y="178"/>
                    </a:lnTo>
                    <a:lnTo>
                      <a:pt x="143" y="175"/>
                    </a:lnTo>
                    <a:lnTo>
                      <a:pt x="143" y="175"/>
                    </a:lnTo>
                    <a:lnTo>
                      <a:pt x="141" y="177"/>
                    </a:lnTo>
                    <a:lnTo>
                      <a:pt x="139" y="174"/>
                    </a:lnTo>
                    <a:lnTo>
                      <a:pt x="139" y="168"/>
                    </a:lnTo>
                    <a:lnTo>
                      <a:pt x="139" y="162"/>
                    </a:lnTo>
                    <a:lnTo>
                      <a:pt x="138" y="154"/>
                    </a:lnTo>
                    <a:lnTo>
                      <a:pt x="134" y="150"/>
                    </a:lnTo>
                    <a:lnTo>
                      <a:pt x="134" y="146"/>
                    </a:lnTo>
                    <a:lnTo>
                      <a:pt x="128" y="141"/>
                    </a:lnTo>
                    <a:lnTo>
                      <a:pt x="126" y="141"/>
                    </a:lnTo>
                    <a:lnTo>
                      <a:pt x="122" y="138"/>
                    </a:lnTo>
                    <a:lnTo>
                      <a:pt x="122" y="135"/>
                    </a:lnTo>
                    <a:lnTo>
                      <a:pt x="119" y="133"/>
                    </a:lnTo>
                    <a:lnTo>
                      <a:pt x="115" y="134"/>
                    </a:lnTo>
                    <a:lnTo>
                      <a:pt x="106" y="146"/>
                    </a:lnTo>
                    <a:lnTo>
                      <a:pt x="105" y="150"/>
                    </a:lnTo>
                    <a:lnTo>
                      <a:pt x="105" y="153"/>
                    </a:lnTo>
                    <a:lnTo>
                      <a:pt x="107" y="155"/>
                    </a:lnTo>
                    <a:lnTo>
                      <a:pt x="110" y="156"/>
                    </a:lnTo>
                    <a:lnTo>
                      <a:pt x="112" y="160"/>
                    </a:lnTo>
                    <a:lnTo>
                      <a:pt x="112" y="162"/>
                    </a:lnTo>
                    <a:lnTo>
                      <a:pt x="111" y="163"/>
                    </a:lnTo>
                    <a:lnTo>
                      <a:pt x="108" y="159"/>
                    </a:lnTo>
                    <a:lnTo>
                      <a:pt x="107" y="158"/>
                    </a:lnTo>
                    <a:lnTo>
                      <a:pt x="105" y="156"/>
                    </a:lnTo>
                    <a:lnTo>
                      <a:pt x="104" y="157"/>
                    </a:lnTo>
                    <a:lnTo>
                      <a:pt x="102" y="158"/>
                    </a:lnTo>
                    <a:lnTo>
                      <a:pt x="101" y="160"/>
                    </a:lnTo>
                    <a:lnTo>
                      <a:pt x="102" y="164"/>
                    </a:lnTo>
                    <a:lnTo>
                      <a:pt x="104" y="166"/>
                    </a:lnTo>
                    <a:lnTo>
                      <a:pt x="105" y="170"/>
                    </a:lnTo>
                    <a:lnTo>
                      <a:pt x="106" y="180"/>
                    </a:lnTo>
                    <a:lnTo>
                      <a:pt x="105" y="184"/>
                    </a:lnTo>
                    <a:lnTo>
                      <a:pt x="105" y="189"/>
                    </a:lnTo>
                    <a:lnTo>
                      <a:pt x="102" y="194"/>
                    </a:lnTo>
                    <a:lnTo>
                      <a:pt x="102" y="198"/>
                    </a:lnTo>
                    <a:lnTo>
                      <a:pt x="103" y="199"/>
                    </a:lnTo>
                    <a:lnTo>
                      <a:pt x="105" y="198"/>
                    </a:lnTo>
                    <a:lnTo>
                      <a:pt x="105" y="203"/>
                    </a:lnTo>
                    <a:lnTo>
                      <a:pt x="102" y="207"/>
                    </a:lnTo>
                    <a:lnTo>
                      <a:pt x="101" y="205"/>
                    </a:lnTo>
                    <a:lnTo>
                      <a:pt x="101" y="201"/>
                    </a:lnTo>
                    <a:lnTo>
                      <a:pt x="98" y="199"/>
                    </a:lnTo>
                    <a:lnTo>
                      <a:pt x="96" y="201"/>
                    </a:lnTo>
                    <a:lnTo>
                      <a:pt x="96" y="207"/>
                    </a:lnTo>
                    <a:lnTo>
                      <a:pt x="100" y="215"/>
                    </a:lnTo>
                    <a:lnTo>
                      <a:pt x="104" y="214"/>
                    </a:lnTo>
                    <a:lnTo>
                      <a:pt x="106" y="215"/>
                    </a:lnTo>
                    <a:lnTo>
                      <a:pt x="108" y="218"/>
                    </a:lnTo>
                    <a:lnTo>
                      <a:pt x="112" y="218"/>
                    </a:lnTo>
                    <a:lnTo>
                      <a:pt x="117" y="220"/>
                    </a:lnTo>
                    <a:lnTo>
                      <a:pt x="119" y="218"/>
                    </a:lnTo>
                    <a:lnTo>
                      <a:pt x="122" y="215"/>
                    </a:lnTo>
                    <a:lnTo>
                      <a:pt x="122" y="213"/>
                    </a:lnTo>
                    <a:lnTo>
                      <a:pt x="124" y="212"/>
                    </a:lnTo>
                    <a:lnTo>
                      <a:pt x="124" y="215"/>
                    </a:lnTo>
                    <a:lnTo>
                      <a:pt x="123" y="218"/>
                    </a:lnTo>
                    <a:lnTo>
                      <a:pt x="122" y="222"/>
                    </a:lnTo>
                    <a:lnTo>
                      <a:pt x="122" y="223"/>
                    </a:lnTo>
                    <a:lnTo>
                      <a:pt x="119" y="222"/>
                    </a:lnTo>
                    <a:lnTo>
                      <a:pt x="113" y="222"/>
                    </a:lnTo>
                    <a:lnTo>
                      <a:pt x="111" y="222"/>
                    </a:lnTo>
                    <a:lnTo>
                      <a:pt x="111" y="225"/>
                    </a:lnTo>
                    <a:lnTo>
                      <a:pt x="112" y="225"/>
                    </a:lnTo>
                    <a:lnTo>
                      <a:pt x="115" y="226"/>
                    </a:lnTo>
                    <a:lnTo>
                      <a:pt x="115" y="229"/>
                    </a:lnTo>
                    <a:lnTo>
                      <a:pt x="113" y="229"/>
                    </a:lnTo>
                    <a:lnTo>
                      <a:pt x="113" y="233"/>
                    </a:lnTo>
                    <a:lnTo>
                      <a:pt x="109" y="226"/>
                    </a:lnTo>
                    <a:lnTo>
                      <a:pt x="108" y="227"/>
                    </a:lnTo>
                    <a:lnTo>
                      <a:pt x="106" y="224"/>
                    </a:lnTo>
                    <a:lnTo>
                      <a:pt x="105" y="221"/>
                    </a:lnTo>
                    <a:lnTo>
                      <a:pt x="99" y="216"/>
                    </a:lnTo>
                    <a:lnTo>
                      <a:pt x="97" y="216"/>
                    </a:lnTo>
                    <a:lnTo>
                      <a:pt x="94" y="212"/>
                    </a:lnTo>
                    <a:lnTo>
                      <a:pt x="93" y="211"/>
                    </a:lnTo>
                    <a:lnTo>
                      <a:pt x="91" y="211"/>
                    </a:lnTo>
                    <a:lnTo>
                      <a:pt x="88" y="213"/>
                    </a:lnTo>
                    <a:lnTo>
                      <a:pt x="86" y="213"/>
                    </a:lnTo>
                    <a:lnTo>
                      <a:pt x="84" y="215"/>
                    </a:lnTo>
                    <a:lnTo>
                      <a:pt x="80" y="213"/>
                    </a:lnTo>
                    <a:lnTo>
                      <a:pt x="74" y="215"/>
                    </a:lnTo>
                    <a:lnTo>
                      <a:pt x="72" y="214"/>
                    </a:lnTo>
                    <a:lnTo>
                      <a:pt x="68" y="219"/>
                    </a:lnTo>
                    <a:lnTo>
                      <a:pt x="66" y="224"/>
                    </a:lnTo>
                    <a:lnTo>
                      <a:pt x="66" y="228"/>
                    </a:lnTo>
                    <a:lnTo>
                      <a:pt x="63" y="229"/>
                    </a:lnTo>
                    <a:lnTo>
                      <a:pt x="60" y="230"/>
                    </a:lnTo>
                    <a:lnTo>
                      <a:pt x="57" y="232"/>
                    </a:lnTo>
                    <a:lnTo>
                      <a:pt x="57" y="235"/>
                    </a:lnTo>
                    <a:lnTo>
                      <a:pt x="53" y="238"/>
                    </a:lnTo>
                    <a:lnTo>
                      <a:pt x="53" y="242"/>
                    </a:lnTo>
                    <a:lnTo>
                      <a:pt x="55" y="242"/>
                    </a:lnTo>
                    <a:lnTo>
                      <a:pt x="56" y="243"/>
                    </a:lnTo>
                    <a:lnTo>
                      <a:pt x="53" y="243"/>
                    </a:lnTo>
                    <a:lnTo>
                      <a:pt x="51" y="246"/>
                    </a:lnTo>
                    <a:lnTo>
                      <a:pt x="55" y="250"/>
                    </a:lnTo>
                    <a:lnTo>
                      <a:pt x="59" y="250"/>
                    </a:lnTo>
                    <a:lnTo>
                      <a:pt x="61" y="248"/>
                    </a:lnTo>
                    <a:lnTo>
                      <a:pt x="61" y="246"/>
                    </a:lnTo>
                    <a:lnTo>
                      <a:pt x="64" y="246"/>
                    </a:lnTo>
                    <a:lnTo>
                      <a:pt x="69" y="242"/>
                    </a:lnTo>
                    <a:lnTo>
                      <a:pt x="69" y="246"/>
                    </a:lnTo>
                    <a:lnTo>
                      <a:pt x="66" y="247"/>
                    </a:lnTo>
                    <a:lnTo>
                      <a:pt x="63" y="250"/>
                    </a:lnTo>
                    <a:lnTo>
                      <a:pt x="63" y="253"/>
                    </a:lnTo>
                    <a:lnTo>
                      <a:pt x="68" y="253"/>
                    </a:lnTo>
                    <a:lnTo>
                      <a:pt x="70" y="253"/>
                    </a:lnTo>
                    <a:lnTo>
                      <a:pt x="74" y="250"/>
                    </a:lnTo>
                    <a:lnTo>
                      <a:pt x="77" y="246"/>
                    </a:lnTo>
                    <a:lnTo>
                      <a:pt x="81" y="239"/>
                    </a:lnTo>
                    <a:lnTo>
                      <a:pt x="84" y="232"/>
                    </a:lnTo>
                    <a:lnTo>
                      <a:pt x="87" y="232"/>
                    </a:lnTo>
                    <a:lnTo>
                      <a:pt x="87" y="235"/>
                    </a:lnTo>
                    <a:lnTo>
                      <a:pt x="84" y="236"/>
                    </a:lnTo>
                    <a:lnTo>
                      <a:pt x="81" y="243"/>
                    </a:lnTo>
                    <a:lnTo>
                      <a:pt x="82" y="245"/>
                    </a:lnTo>
                    <a:lnTo>
                      <a:pt x="80" y="246"/>
                    </a:lnTo>
                    <a:lnTo>
                      <a:pt x="77" y="249"/>
                    </a:lnTo>
                    <a:lnTo>
                      <a:pt x="77" y="250"/>
                    </a:lnTo>
                    <a:lnTo>
                      <a:pt x="80" y="250"/>
                    </a:lnTo>
                    <a:lnTo>
                      <a:pt x="79" y="252"/>
                    </a:lnTo>
                    <a:lnTo>
                      <a:pt x="77" y="252"/>
                    </a:lnTo>
                    <a:lnTo>
                      <a:pt x="74" y="255"/>
                    </a:lnTo>
                    <a:lnTo>
                      <a:pt x="75" y="257"/>
                    </a:lnTo>
                    <a:lnTo>
                      <a:pt x="78" y="257"/>
                    </a:lnTo>
                    <a:lnTo>
                      <a:pt x="76" y="259"/>
                    </a:lnTo>
                    <a:lnTo>
                      <a:pt x="73" y="257"/>
                    </a:lnTo>
                    <a:lnTo>
                      <a:pt x="70" y="257"/>
                    </a:lnTo>
                    <a:lnTo>
                      <a:pt x="69" y="258"/>
                    </a:lnTo>
                    <a:lnTo>
                      <a:pt x="67" y="259"/>
                    </a:lnTo>
                    <a:lnTo>
                      <a:pt x="65" y="261"/>
                    </a:lnTo>
                    <a:lnTo>
                      <a:pt x="67" y="263"/>
                    </a:lnTo>
                    <a:lnTo>
                      <a:pt x="69" y="263"/>
                    </a:lnTo>
                    <a:lnTo>
                      <a:pt x="70" y="262"/>
                    </a:lnTo>
                    <a:lnTo>
                      <a:pt x="71" y="263"/>
                    </a:lnTo>
                    <a:lnTo>
                      <a:pt x="74" y="263"/>
                    </a:lnTo>
                    <a:lnTo>
                      <a:pt x="74" y="265"/>
                    </a:lnTo>
                    <a:lnTo>
                      <a:pt x="71" y="265"/>
                    </a:lnTo>
                    <a:lnTo>
                      <a:pt x="69" y="264"/>
                    </a:lnTo>
                    <a:lnTo>
                      <a:pt x="68" y="266"/>
                    </a:lnTo>
                    <a:lnTo>
                      <a:pt x="68" y="267"/>
                    </a:lnTo>
                    <a:lnTo>
                      <a:pt x="70" y="267"/>
                    </a:lnTo>
                    <a:lnTo>
                      <a:pt x="70" y="268"/>
                    </a:lnTo>
                    <a:lnTo>
                      <a:pt x="67" y="270"/>
                    </a:lnTo>
                    <a:lnTo>
                      <a:pt x="66" y="270"/>
                    </a:lnTo>
                    <a:lnTo>
                      <a:pt x="66" y="272"/>
                    </a:lnTo>
                    <a:lnTo>
                      <a:pt x="67" y="276"/>
                    </a:lnTo>
                    <a:lnTo>
                      <a:pt x="70" y="276"/>
                    </a:lnTo>
                    <a:lnTo>
                      <a:pt x="71" y="274"/>
                    </a:lnTo>
                    <a:lnTo>
                      <a:pt x="74" y="271"/>
                    </a:lnTo>
                    <a:lnTo>
                      <a:pt x="74" y="274"/>
                    </a:lnTo>
                    <a:lnTo>
                      <a:pt x="71" y="276"/>
                    </a:lnTo>
                    <a:lnTo>
                      <a:pt x="69" y="278"/>
                    </a:lnTo>
                    <a:lnTo>
                      <a:pt x="69" y="281"/>
                    </a:lnTo>
                    <a:lnTo>
                      <a:pt x="72" y="283"/>
                    </a:lnTo>
                    <a:lnTo>
                      <a:pt x="76" y="283"/>
                    </a:lnTo>
                    <a:lnTo>
                      <a:pt x="76" y="282"/>
                    </a:lnTo>
                    <a:lnTo>
                      <a:pt x="77" y="282"/>
                    </a:lnTo>
                    <a:lnTo>
                      <a:pt x="79" y="284"/>
                    </a:lnTo>
                    <a:lnTo>
                      <a:pt x="84" y="281"/>
                    </a:lnTo>
                    <a:lnTo>
                      <a:pt x="88" y="277"/>
                    </a:lnTo>
                    <a:lnTo>
                      <a:pt x="88" y="276"/>
                    </a:lnTo>
                    <a:lnTo>
                      <a:pt x="91" y="274"/>
                    </a:lnTo>
                    <a:lnTo>
                      <a:pt x="95" y="268"/>
                    </a:lnTo>
                    <a:lnTo>
                      <a:pt x="96" y="265"/>
                    </a:lnTo>
                    <a:lnTo>
                      <a:pt x="98" y="263"/>
                    </a:lnTo>
                    <a:lnTo>
                      <a:pt x="100" y="263"/>
                    </a:lnTo>
                    <a:lnTo>
                      <a:pt x="98" y="265"/>
                    </a:lnTo>
                    <a:lnTo>
                      <a:pt x="98" y="268"/>
                    </a:lnTo>
                    <a:lnTo>
                      <a:pt x="93" y="274"/>
                    </a:lnTo>
                    <a:lnTo>
                      <a:pt x="88" y="278"/>
                    </a:lnTo>
                    <a:lnTo>
                      <a:pt x="84" y="283"/>
                    </a:lnTo>
                    <a:lnTo>
                      <a:pt x="81" y="285"/>
                    </a:lnTo>
                    <a:lnTo>
                      <a:pt x="78" y="288"/>
                    </a:lnTo>
                    <a:lnTo>
                      <a:pt x="80" y="290"/>
                    </a:lnTo>
                    <a:lnTo>
                      <a:pt x="79" y="291"/>
                    </a:lnTo>
                    <a:lnTo>
                      <a:pt x="75" y="287"/>
                    </a:lnTo>
                    <a:lnTo>
                      <a:pt x="69" y="287"/>
                    </a:lnTo>
                    <a:lnTo>
                      <a:pt x="69" y="289"/>
                    </a:lnTo>
                    <a:lnTo>
                      <a:pt x="67" y="289"/>
                    </a:lnTo>
                    <a:lnTo>
                      <a:pt x="66" y="284"/>
                    </a:lnTo>
                    <a:lnTo>
                      <a:pt x="60" y="281"/>
                    </a:lnTo>
                    <a:lnTo>
                      <a:pt x="59" y="282"/>
                    </a:lnTo>
                    <a:lnTo>
                      <a:pt x="57" y="281"/>
                    </a:lnTo>
                    <a:lnTo>
                      <a:pt x="59" y="277"/>
                    </a:lnTo>
                    <a:lnTo>
                      <a:pt x="59" y="267"/>
                    </a:lnTo>
                    <a:lnTo>
                      <a:pt x="57" y="260"/>
                    </a:lnTo>
                    <a:lnTo>
                      <a:pt x="54" y="256"/>
                    </a:lnTo>
                    <a:lnTo>
                      <a:pt x="52" y="256"/>
                    </a:lnTo>
                    <a:lnTo>
                      <a:pt x="49" y="255"/>
                    </a:lnTo>
                    <a:lnTo>
                      <a:pt x="47" y="255"/>
                    </a:lnTo>
                    <a:lnTo>
                      <a:pt x="44" y="255"/>
                    </a:lnTo>
                    <a:lnTo>
                      <a:pt x="42" y="257"/>
                    </a:lnTo>
                    <a:lnTo>
                      <a:pt x="39" y="257"/>
                    </a:lnTo>
                    <a:lnTo>
                      <a:pt x="39" y="260"/>
                    </a:lnTo>
                    <a:lnTo>
                      <a:pt x="40" y="263"/>
                    </a:lnTo>
                    <a:lnTo>
                      <a:pt x="39" y="263"/>
                    </a:lnTo>
                    <a:lnTo>
                      <a:pt x="39" y="269"/>
                    </a:lnTo>
                    <a:lnTo>
                      <a:pt x="40" y="272"/>
                    </a:lnTo>
                    <a:lnTo>
                      <a:pt x="42" y="272"/>
                    </a:lnTo>
                    <a:lnTo>
                      <a:pt x="41" y="274"/>
                    </a:lnTo>
                    <a:lnTo>
                      <a:pt x="39" y="276"/>
                    </a:lnTo>
                    <a:lnTo>
                      <a:pt x="39" y="277"/>
                    </a:lnTo>
                    <a:lnTo>
                      <a:pt x="40" y="281"/>
                    </a:lnTo>
                    <a:lnTo>
                      <a:pt x="42" y="281"/>
                    </a:lnTo>
                    <a:lnTo>
                      <a:pt x="43" y="279"/>
                    </a:lnTo>
                    <a:lnTo>
                      <a:pt x="46" y="281"/>
                    </a:lnTo>
                    <a:lnTo>
                      <a:pt x="45" y="281"/>
                    </a:lnTo>
                    <a:lnTo>
                      <a:pt x="43" y="281"/>
                    </a:lnTo>
                    <a:lnTo>
                      <a:pt x="42" y="282"/>
                    </a:lnTo>
                    <a:lnTo>
                      <a:pt x="44" y="284"/>
                    </a:lnTo>
                    <a:lnTo>
                      <a:pt x="44" y="285"/>
                    </a:lnTo>
                    <a:lnTo>
                      <a:pt x="42" y="287"/>
                    </a:lnTo>
                    <a:lnTo>
                      <a:pt x="42" y="288"/>
                    </a:lnTo>
                    <a:lnTo>
                      <a:pt x="43" y="288"/>
                    </a:lnTo>
                    <a:lnTo>
                      <a:pt x="45" y="290"/>
                    </a:lnTo>
                    <a:lnTo>
                      <a:pt x="47" y="290"/>
                    </a:lnTo>
                    <a:lnTo>
                      <a:pt x="48" y="291"/>
                    </a:lnTo>
                    <a:lnTo>
                      <a:pt x="47" y="292"/>
                    </a:lnTo>
                    <a:lnTo>
                      <a:pt x="44" y="292"/>
                    </a:lnTo>
                    <a:lnTo>
                      <a:pt x="43" y="293"/>
                    </a:lnTo>
                    <a:lnTo>
                      <a:pt x="40" y="291"/>
                    </a:lnTo>
                    <a:lnTo>
                      <a:pt x="39" y="291"/>
                    </a:lnTo>
                    <a:lnTo>
                      <a:pt x="39" y="292"/>
                    </a:lnTo>
                    <a:lnTo>
                      <a:pt x="36" y="292"/>
                    </a:lnTo>
                    <a:lnTo>
                      <a:pt x="36" y="289"/>
                    </a:lnTo>
                    <a:lnTo>
                      <a:pt x="33" y="288"/>
                    </a:lnTo>
                    <a:lnTo>
                      <a:pt x="32" y="290"/>
                    </a:lnTo>
                    <a:lnTo>
                      <a:pt x="27" y="290"/>
                    </a:lnTo>
                    <a:lnTo>
                      <a:pt x="23" y="288"/>
                    </a:lnTo>
                    <a:lnTo>
                      <a:pt x="21" y="288"/>
                    </a:lnTo>
                    <a:lnTo>
                      <a:pt x="19" y="289"/>
                    </a:lnTo>
                    <a:lnTo>
                      <a:pt x="19" y="291"/>
                    </a:lnTo>
                    <a:lnTo>
                      <a:pt x="18" y="292"/>
                    </a:lnTo>
                    <a:lnTo>
                      <a:pt x="15" y="293"/>
                    </a:lnTo>
                    <a:lnTo>
                      <a:pt x="14" y="295"/>
                    </a:lnTo>
                    <a:lnTo>
                      <a:pt x="10" y="296"/>
                    </a:lnTo>
                    <a:lnTo>
                      <a:pt x="8" y="297"/>
                    </a:lnTo>
                    <a:lnTo>
                      <a:pt x="7" y="298"/>
                    </a:lnTo>
                    <a:lnTo>
                      <a:pt x="4" y="300"/>
                    </a:lnTo>
                    <a:lnTo>
                      <a:pt x="4" y="302"/>
                    </a:lnTo>
                    <a:lnTo>
                      <a:pt x="4" y="305"/>
                    </a:lnTo>
                    <a:lnTo>
                      <a:pt x="3" y="307"/>
                    </a:lnTo>
                    <a:lnTo>
                      <a:pt x="0" y="309"/>
                    </a:lnTo>
                    <a:lnTo>
                      <a:pt x="0" y="312"/>
                    </a:lnTo>
                    <a:lnTo>
                      <a:pt x="1" y="313"/>
                    </a:lnTo>
                    <a:lnTo>
                      <a:pt x="0" y="317"/>
                    </a:lnTo>
                    <a:lnTo>
                      <a:pt x="1" y="319"/>
                    </a:lnTo>
                    <a:lnTo>
                      <a:pt x="4" y="319"/>
                    </a:lnTo>
                    <a:lnTo>
                      <a:pt x="6" y="315"/>
                    </a:lnTo>
                    <a:lnTo>
                      <a:pt x="7" y="315"/>
                    </a:lnTo>
                    <a:lnTo>
                      <a:pt x="6" y="316"/>
                    </a:lnTo>
                    <a:lnTo>
                      <a:pt x="5" y="319"/>
                    </a:lnTo>
                    <a:lnTo>
                      <a:pt x="6" y="320"/>
                    </a:lnTo>
                    <a:lnTo>
                      <a:pt x="8" y="318"/>
                    </a:lnTo>
                    <a:lnTo>
                      <a:pt x="8" y="313"/>
                    </a:lnTo>
                    <a:lnTo>
                      <a:pt x="9" y="306"/>
                    </a:lnTo>
                    <a:lnTo>
                      <a:pt x="11" y="305"/>
                    </a:lnTo>
                    <a:lnTo>
                      <a:pt x="13" y="304"/>
                    </a:lnTo>
                    <a:lnTo>
                      <a:pt x="10" y="311"/>
                    </a:lnTo>
                    <a:lnTo>
                      <a:pt x="10" y="314"/>
                    </a:lnTo>
                    <a:lnTo>
                      <a:pt x="9" y="315"/>
                    </a:lnTo>
                    <a:lnTo>
                      <a:pt x="9" y="319"/>
                    </a:lnTo>
                    <a:lnTo>
                      <a:pt x="8" y="322"/>
                    </a:lnTo>
                    <a:lnTo>
                      <a:pt x="8" y="323"/>
                    </a:lnTo>
                    <a:lnTo>
                      <a:pt x="10" y="323"/>
                    </a:lnTo>
                    <a:lnTo>
                      <a:pt x="11" y="325"/>
                    </a:lnTo>
                    <a:lnTo>
                      <a:pt x="15" y="326"/>
                    </a:lnTo>
                    <a:lnTo>
                      <a:pt x="15" y="322"/>
                    </a:lnTo>
                    <a:lnTo>
                      <a:pt x="15" y="321"/>
                    </a:lnTo>
                    <a:lnTo>
                      <a:pt x="16" y="319"/>
                    </a:lnTo>
                    <a:lnTo>
                      <a:pt x="17" y="315"/>
                    </a:lnTo>
                    <a:lnTo>
                      <a:pt x="18" y="314"/>
                    </a:lnTo>
                    <a:lnTo>
                      <a:pt x="18" y="316"/>
                    </a:lnTo>
                    <a:lnTo>
                      <a:pt x="18" y="318"/>
                    </a:lnTo>
                    <a:lnTo>
                      <a:pt x="17" y="322"/>
                    </a:lnTo>
                    <a:lnTo>
                      <a:pt x="18" y="324"/>
                    </a:lnTo>
                    <a:lnTo>
                      <a:pt x="18" y="326"/>
                    </a:lnTo>
                    <a:lnTo>
                      <a:pt x="19" y="329"/>
                    </a:lnTo>
                    <a:lnTo>
                      <a:pt x="21" y="329"/>
                    </a:lnTo>
                    <a:lnTo>
                      <a:pt x="22" y="328"/>
                    </a:lnTo>
                    <a:lnTo>
                      <a:pt x="22" y="326"/>
                    </a:lnTo>
                    <a:lnTo>
                      <a:pt x="22" y="325"/>
                    </a:lnTo>
                    <a:lnTo>
                      <a:pt x="22" y="324"/>
                    </a:lnTo>
                    <a:lnTo>
                      <a:pt x="25" y="324"/>
                    </a:lnTo>
                    <a:lnTo>
                      <a:pt x="25" y="322"/>
                    </a:lnTo>
                    <a:lnTo>
                      <a:pt x="25" y="319"/>
                    </a:lnTo>
                    <a:lnTo>
                      <a:pt x="24" y="318"/>
                    </a:lnTo>
                    <a:lnTo>
                      <a:pt x="24" y="315"/>
                    </a:lnTo>
                    <a:lnTo>
                      <a:pt x="25" y="316"/>
                    </a:lnTo>
                    <a:lnTo>
                      <a:pt x="27" y="321"/>
                    </a:lnTo>
                    <a:lnTo>
                      <a:pt x="27" y="323"/>
                    </a:lnTo>
                    <a:lnTo>
                      <a:pt x="25" y="326"/>
                    </a:lnTo>
                    <a:lnTo>
                      <a:pt x="25" y="326"/>
                    </a:lnTo>
                    <a:lnTo>
                      <a:pt x="23" y="329"/>
                    </a:lnTo>
                    <a:lnTo>
                      <a:pt x="23" y="331"/>
                    </a:lnTo>
                    <a:lnTo>
                      <a:pt x="25" y="331"/>
                    </a:lnTo>
                    <a:lnTo>
                      <a:pt x="26" y="332"/>
                    </a:lnTo>
                    <a:lnTo>
                      <a:pt x="26" y="333"/>
                    </a:lnTo>
                    <a:lnTo>
                      <a:pt x="29" y="332"/>
                    </a:lnTo>
                    <a:lnTo>
                      <a:pt x="32" y="336"/>
                    </a:lnTo>
                    <a:lnTo>
                      <a:pt x="33" y="336"/>
                    </a:lnTo>
                    <a:lnTo>
                      <a:pt x="34" y="339"/>
                    </a:lnTo>
                    <a:lnTo>
                      <a:pt x="39" y="339"/>
                    </a:lnTo>
                    <a:lnTo>
                      <a:pt x="41" y="340"/>
                    </a:lnTo>
                    <a:lnTo>
                      <a:pt x="43" y="340"/>
                    </a:lnTo>
                    <a:lnTo>
                      <a:pt x="43" y="338"/>
                    </a:lnTo>
                    <a:lnTo>
                      <a:pt x="41" y="334"/>
                    </a:lnTo>
                    <a:lnTo>
                      <a:pt x="40" y="329"/>
                    </a:lnTo>
                    <a:lnTo>
                      <a:pt x="42" y="325"/>
                    </a:lnTo>
                    <a:lnTo>
                      <a:pt x="43" y="323"/>
                    </a:lnTo>
                    <a:lnTo>
                      <a:pt x="43" y="324"/>
                    </a:lnTo>
                    <a:lnTo>
                      <a:pt x="44" y="329"/>
                    </a:lnTo>
                    <a:lnTo>
                      <a:pt x="44" y="332"/>
                    </a:lnTo>
                    <a:lnTo>
                      <a:pt x="45" y="333"/>
                    </a:lnTo>
                    <a:lnTo>
                      <a:pt x="46" y="332"/>
                    </a:lnTo>
                    <a:lnTo>
                      <a:pt x="47" y="332"/>
                    </a:lnTo>
                    <a:lnTo>
                      <a:pt x="49" y="332"/>
                    </a:lnTo>
                    <a:lnTo>
                      <a:pt x="50" y="330"/>
                    </a:lnTo>
                    <a:lnTo>
                      <a:pt x="50" y="328"/>
                    </a:lnTo>
                    <a:lnTo>
                      <a:pt x="52" y="326"/>
                    </a:lnTo>
                    <a:lnTo>
                      <a:pt x="53" y="322"/>
                    </a:lnTo>
                    <a:lnTo>
                      <a:pt x="53" y="321"/>
                    </a:lnTo>
                    <a:lnTo>
                      <a:pt x="54" y="321"/>
                    </a:lnTo>
                    <a:lnTo>
                      <a:pt x="55" y="325"/>
                    </a:lnTo>
                    <a:lnTo>
                      <a:pt x="54" y="326"/>
                    </a:lnTo>
                    <a:lnTo>
                      <a:pt x="53" y="329"/>
                    </a:lnTo>
                    <a:lnTo>
                      <a:pt x="53" y="332"/>
                    </a:lnTo>
                    <a:lnTo>
                      <a:pt x="53" y="332"/>
                    </a:lnTo>
                    <a:lnTo>
                      <a:pt x="53" y="336"/>
                    </a:lnTo>
                    <a:lnTo>
                      <a:pt x="56" y="337"/>
                    </a:lnTo>
                    <a:lnTo>
                      <a:pt x="59" y="336"/>
                    </a:lnTo>
                    <a:lnTo>
                      <a:pt x="61" y="332"/>
                    </a:lnTo>
                    <a:lnTo>
                      <a:pt x="60" y="328"/>
                    </a:lnTo>
                    <a:lnTo>
                      <a:pt x="60" y="324"/>
                    </a:lnTo>
                    <a:lnTo>
                      <a:pt x="63" y="322"/>
                    </a:lnTo>
                    <a:lnTo>
                      <a:pt x="65" y="321"/>
                    </a:lnTo>
                    <a:lnTo>
                      <a:pt x="63" y="324"/>
                    </a:lnTo>
                    <a:lnTo>
                      <a:pt x="62" y="327"/>
                    </a:lnTo>
                    <a:lnTo>
                      <a:pt x="63" y="330"/>
                    </a:lnTo>
                    <a:lnTo>
                      <a:pt x="61" y="336"/>
                    </a:lnTo>
                    <a:lnTo>
                      <a:pt x="61" y="339"/>
                    </a:lnTo>
                    <a:lnTo>
                      <a:pt x="63" y="341"/>
                    </a:lnTo>
                    <a:lnTo>
                      <a:pt x="66" y="340"/>
                    </a:lnTo>
                    <a:lnTo>
                      <a:pt x="68" y="341"/>
                    </a:lnTo>
                    <a:lnTo>
                      <a:pt x="70" y="339"/>
                    </a:lnTo>
                    <a:lnTo>
                      <a:pt x="70" y="336"/>
                    </a:lnTo>
                    <a:lnTo>
                      <a:pt x="71" y="334"/>
                    </a:lnTo>
                    <a:lnTo>
                      <a:pt x="71" y="332"/>
                    </a:lnTo>
                    <a:lnTo>
                      <a:pt x="69" y="327"/>
                    </a:lnTo>
                    <a:lnTo>
                      <a:pt x="70" y="322"/>
                    </a:lnTo>
                    <a:lnTo>
                      <a:pt x="70" y="318"/>
                    </a:lnTo>
                    <a:lnTo>
                      <a:pt x="72" y="321"/>
                    </a:lnTo>
                    <a:lnTo>
                      <a:pt x="72" y="323"/>
                    </a:lnTo>
                    <a:lnTo>
                      <a:pt x="71" y="326"/>
                    </a:lnTo>
                    <a:lnTo>
                      <a:pt x="73" y="331"/>
                    </a:lnTo>
                    <a:lnTo>
                      <a:pt x="74" y="332"/>
                    </a:lnTo>
                    <a:lnTo>
                      <a:pt x="77" y="332"/>
                    </a:lnTo>
                    <a:lnTo>
                      <a:pt x="74" y="333"/>
                    </a:lnTo>
                    <a:lnTo>
                      <a:pt x="73" y="337"/>
                    </a:lnTo>
                    <a:lnTo>
                      <a:pt x="74" y="339"/>
                    </a:lnTo>
                    <a:lnTo>
                      <a:pt x="77" y="341"/>
                    </a:lnTo>
                    <a:lnTo>
                      <a:pt x="79" y="339"/>
                    </a:lnTo>
                    <a:lnTo>
                      <a:pt x="82" y="344"/>
                    </a:lnTo>
                    <a:lnTo>
                      <a:pt x="82" y="346"/>
                    </a:lnTo>
                    <a:lnTo>
                      <a:pt x="80" y="350"/>
                    </a:lnTo>
                    <a:lnTo>
                      <a:pt x="77" y="352"/>
                    </a:lnTo>
                    <a:lnTo>
                      <a:pt x="79" y="353"/>
                    </a:lnTo>
                    <a:lnTo>
                      <a:pt x="80" y="356"/>
                    </a:lnTo>
                    <a:lnTo>
                      <a:pt x="83" y="356"/>
                    </a:lnTo>
                    <a:lnTo>
                      <a:pt x="85" y="354"/>
                    </a:lnTo>
                    <a:lnTo>
                      <a:pt x="86" y="355"/>
                    </a:lnTo>
                    <a:lnTo>
                      <a:pt x="91" y="351"/>
                    </a:lnTo>
                    <a:lnTo>
                      <a:pt x="94" y="351"/>
                    </a:lnTo>
                    <a:lnTo>
                      <a:pt x="94" y="352"/>
                    </a:lnTo>
                    <a:lnTo>
                      <a:pt x="98" y="348"/>
                    </a:lnTo>
                    <a:lnTo>
                      <a:pt x="101" y="347"/>
                    </a:lnTo>
                    <a:lnTo>
                      <a:pt x="103" y="343"/>
                    </a:lnTo>
                    <a:lnTo>
                      <a:pt x="105" y="341"/>
                    </a:lnTo>
                    <a:lnTo>
                      <a:pt x="105" y="342"/>
                    </a:lnTo>
                    <a:lnTo>
                      <a:pt x="105" y="346"/>
                    </a:lnTo>
                    <a:lnTo>
                      <a:pt x="104" y="350"/>
                    </a:lnTo>
                    <a:lnTo>
                      <a:pt x="105" y="350"/>
                    </a:lnTo>
                    <a:lnTo>
                      <a:pt x="108" y="348"/>
                    </a:lnTo>
                    <a:lnTo>
                      <a:pt x="109" y="345"/>
                    </a:lnTo>
                    <a:lnTo>
                      <a:pt x="112" y="343"/>
                    </a:lnTo>
                    <a:lnTo>
                      <a:pt x="115" y="343"/>
                    </a:lnTo>
                    <a:lnTo>
                      <a:pt x="118" y="336"/>
                    </a:lnTo>
                    <a:lnTo>
                      <a:pt x="119" y="330"/>
                    </a:lnTo>
                    <a:lnTo>
                      <a:pt x="118" y="328"/>
                    </a:lnTo>
                    <a:lnTo>
                      <a:pt x="119" y="325"/>
                    </a:lnTo>
                    <a:lnTo>
                      <a:pt x="117" y="324"/>
                    </a:lnTo>
                    <a:lnTo>
                      <a:pt x="116" y="325"/>
                    </a:lnTo>
                    <a:lnTo>
                      <a:pt x="114" y="325"/>
                    </a:lnTo>
                    <a:lnTo>
                      <a:pt x="111" y="327"/>
                    </a:lnTo>
                    <a:lnTo>
                      <a:pt x="109" y="329"/>
                    </a:lnTo>
                    <a:lnTo>
                      <a:pt x="107" y="329"/>
                    </a:lnTo>
                    <a:lnTo>
                      <a:pt x="109" y="326"/>
                    </a:lnTo>
                    <a:lnTo>
                      <a:pt x="109" y="324"/>
                    </a:lnTo>
                    <a:lnTo>
                      <a:pt x="107" y="324"/>
                    </a:lnTo>
                    <a:lnTo>
                      <a:pt x="106" y="323"/>
                    </a:lnTo>
                    <a:lnTo>
                      <a:pt x="107" y="321"/>
                    </a:lnTo>
                    <a:lnTo>
                      <a:pt x="108" y="321"/>
                    </a:lnTo>
                    <a:lnTo>
                      <a:pt x="110" y="315"/>
                    </a:lnTo>
                    <a:lnTo>
                      <a:pt x="112" y="313"/>
                    </a:lnTo>
                    <a:lnTo>
                      <a:pt x="111" y="310"/>
                    </a:lnTo>
                    <a:lnTo>
                      <a:pt x="108" y="308"/>
                    </a:lnTo>
                    <a:lnTo>
                      <a:pt x="102" y="309"/>
                    </a:lnTo>
                    <a:lnTo>
                      <a:pt x="99" y="312"/>
                    </a:lnTo>
                    <a:lnTo>
                      <a:pt x="101" y="308"/>
                    </a:lnTo>
                    <a:lnTo>
                      <a:pt x="98" y="305"/>
                    </a:lnTo>
                    <a:lnTo>
                      <a:pt x="95" y="302"/>
                    </a:lnTo>
                    <a:lnTo>
                      <a:pt x="93" y="303"/>
                    </a:lnTo>
                    <a:lnTo>
                      <a:pt x="92" y="305"/>
                    </a:lnTo>
                    <a:lnTo>
                      <a:pt x="91" y="305"/>
                    </a:lnTo>
                    <a:lnTo>
                      <a:pt x="88" y="308"/>
                    </a:lnTo>
                    <a:lnTo>
                      <a:pt x="85" y="308"/>
                    </a:lnTo>
                    <a:lnTo>
                      <a:pt x="87" y="304"/>
                    </a:lnTo>
                    <a:lnTo>
                      <a:pt x="84" y="301"/>
                    </a:lnTo>
                    <a:lnTo>
                      <a:pt x="87" y="301"/>
                    </a:lnTo>
                    <a:lnTo>
                      <a:pt x="88" y="301"/>
                    </a:lnTo>
                    <a:lnTo>
                      <a:pt x="91" y="301"/>
                    </a:lnTo>
                    <a:lnTo>
                      <a:pt x="93" y="301"/>
                    </a:lnTo>
                    <a:lnTo>
                      <a:pt x="94" y="299"/>
                    </a:lnTo>
                    <a:lnTo>
                      <a:pt x="91" y="295"/>
                    </a:lnTo>
                    <a:lnTo>
                      <a:pt x="92" y="293"/>
                    </a:lnTo>
                    <a:lnTo>
                      <a:pt x="94" y="288"/>
                    </a:lnTo>
                    <a:lnTo>
                      <a:pt x="94" y="286"/>
                    </a:lnTo>
                    <a:lnTo>
                      <a:pt x="96" y="282"/>
                    </a:lnTo>
                    <a:lnTo>
                      <a:pt x="96" y="284"/>
                    </a:lnTo>
                    <a:lnTo>
                      <a:pt x="97" y="286"/>
                    </a:lnTo>
                    <a:lnTo>
                      <a:pt x="96" y="289"/>
                    </a:lnTo>
                    <a:lnTo>
                      <a:pt x="94" y="291"/>
                    </a:lnTo>
                    <a:lnTo>
                      <a:pt x="96" y="298"/>
                    </a:lnTo>
                    <a:lnTo>
                      <a:pt x="102" y="306"/>
                    </a:lnTo>
                    <a:lnTo>
                      <a:pt x="105" y="307"/>
                    </a:lnTo>
                    <a:lnTo>
                      <a:pt x="106" y="306"/>
                    </a:lnTo>
                    <a:lnTo>
                      <a:pt x="110" y="306"/>
                    </a:lnTo>
                    <a:lnTo>
                      <a:pt x="116" y="310"/>
                    </a:lnTo>
                    <a:lnTo>
                      <a:pt x="118" y="309"/>
                    </a:lnTo>
                    <a:lnTo>
                      <a:pt x="119" y="305"/>
                    </a:lnTo>
                    <a:lnTo>
                      <a:pt x="122" y="302"/>
                    </a:lnTo>
                    <a:lnTo>
                      <a:pt x="122" y="302"/>
                    </a:lnTo>
                    <a:lnTo>
                      <a:pt x="122" y="305"/>
                    </a:lnTo>
                    <a:lnTo>
                      <a:pt x="123" y="305"/>
                    </a:lnTo>
                    <a:lnTo>
                      <a:pt x="126" y="304"/>
                    </a:lnTo>
                    <a:lnTo>
                      <a:pt x="126" y="301"/>
                    </a:lnTo>
                    <a:lnTo>
                      <a:pt x="127" y="300"/>
                    </a:lnTo>
                    <a:lnTo>
                      <a:pt x="129" y="301"/>
                    </a:lnTo>
                    <a:lnTo>
                      <a:pt x="132" y="300"/>
                    </a:lnTo>
                    <a:lnTo>
                      <a:pt x="132" y="296"/>
                    </a:lnTo>
                    <a:lnTo>
                      <a:pt x="136" y="293"/>
                    </a:lnTo>
                    <a:lnTo>
                      <a:pt x="136" y="290"/>
                    </a:lnTo>
                    <a:lnTo>
                      <a:pt x="135" y="289"/>
                    </a:lnTo>
                    <a:lnTo>
                      <a:pt x="133" y="289"/>
                    </a:lnTo>
                    <a:lnTo>
                      <a:pt x="135" y="286"/>
                    </a:lnTo>
                    <a:lnTo>
                      <a:pt x="136" y="280"/>
                    </a:lnTo>
                    <a:lnTo>
                      <a:pt x="139" y="279"/>
                    </a:lnTo>
                    <a:lnTo>
                      <a:pt x="145" y="281"/>
                    </a:lnTo>
                    <a:lnTo>
                      <a:pt x="147" y="283"/>
                    </a:lnTo>
                    <a:lnTo>
                      <a:pt x="151" y="283"/>
                    </a:lnTo>
                    <a:lnTo>
                      <a:pt x="154" y="281"/>
                    </a:lnTo>
                    <a:lnTo>
                      <a:pt x="156" y="281"/>
                    </a:lnTo>
                    <a:lnTo>
                      <a:pt x="158" y="284"/>
                    </a:lnTo>
                    <a:lnTo>
                      <a:pt x="160" y="283"/>
                    </a:lnTo>
                    <a:lnTo>
                      <a:pt x="163" y="280"/>
                    </a:lnTo>
                    <a:lnTo>
                      <a:pt x="165" y="278"/>
                    </a:lnTo>
                    <a:lnTo>
                      <a:pt x="165" y="276"/>
                    </a:lnTo>
                    <a:lnTo>
                      <a:pt x="162" y="276"/>
                    </a:lnTo>
                    <a:lnTo>
                      <a:pt x="153" y="270"/>
                    </a:lnTo>
                    <a:lnTo>
                      <a:pt x="153" y="268"/>
                    </a:lnTo>
                    <a:lnTo>
                      <a:pt x="155" y="267"/>
                    </a:lnTo>
                    <a:lnTo>
                      <a:pt x="157" y="267"/>
                    </a:lnTo>
                    <a:lnTo>
                      <a:pt x="159" y="269"/>
                    </a:lnTo>
                    <a:lnTo>
                      <a:pt x="161" y="268"/>
                    </a:lnTo>
                    <a:lnTo>
                      <a:pt x="166" y="273"/>
                    </a:lnTo>
                    <a:lnTo>
                      <a:pt x="167" y="272"/>
                    </a:lnTo>
                    <a:lnTo>
                      <a:pt x="171" y="269"/>
                    </a:lnTo>
                    <a:lnTo>
                      <a:pt x="173" y="268"/>
                    </a:lnTo>
                    <a:lnTo>
                      <a:pt x="174" y="267"/>
                    </a:lnTo>
                    <a:lnTo>
                      <a:pt x="174" y="262"/>
                    </a:lnTo>
                    <a:lnTo>
                      <a:pt x="170" y="260"/>
                    </a:lnTo>
                    <a:lnTo>
                      <a:pt x="168" y="259"/>
                    </a:lnTo>
                    <a:lnTo>
                      <a:pt x="167" y="257"/>
                    </a:lnTo>
                    <a:lnTo>
                      <a:pt x="164" y="256"/>
                    </a:lnTo>
                    <a:lnTo>
                      <a:pt x="164" y="254"/>
                    </a:lnTo>
                    <a:lnTo>
                      <a:pt x="167" y="254"/>
                    </a:lnTo>
                    <a:lnTo>
                      <a:pt x="170" y="256"/>
                    </a:lnTo>
                    <a:lnTo>
                      <a:pt x="170" y="257"/>
                    </a:lnTo>
                    <a:lnTo>
                      <a:pt x="172" y="259"/>
                    </a:lnTo>
                    <a:lnTo>
                      <a:pt x="174" y="259"/>
                    </a:lnTo>
                    <a:lnTo>
                      <a:pt x="177" y="260"/>
                    </a:lnTo>
                    <a:lnTo>
                      <a:pt x="181" y="257"/>
                    </a:lnTo>
                    <a:lnTo>
                      <a:pt x="181" y="256"/>
                    </a:lnTo>
                    <a:lnTo>
                      <a:pt x="183" y="250"/>
                    </a:lnTo>
                    <a:lnTo>
                      <a:pt x="186" y="244"/>
                    </a:lnTo>
                    <a:lnTo>
                      <a:pt x="186" y="241"/>
                    </a:lnTo>
                    <a:lnTo>
                      <a:pt x="184" y="239"/>
                    </a:lnTo>
                    <a:lnTo>
                      <a:pt x="181" y="236"/>
                    </a:lnTo>
                    <a:lnTo>
                      <a:pt x="178" y="237"/>
                    </a:lnTo>
                    <a:lnTo>
                      <a:pt x="176" y="237"/>
                    </a:lnTo>
                    <a:lnTo>
                      <a:pt x="174" y="238"/>
                    </a:lnTo>
                    <a:lnTo>
                      <a:pt x="174" y="236"/>
                    </a:lnTo>
                    <a:lnTo>
                      <a:pt x="177" y="235"/>
                    </a:lnTo>
                    <a:lnTo>
                      <a:pt x="180" y="235"/>
                    </a:lnTo>
                    <a:lnTo>
                      <a:pt x="181" y="232"/>
                    </a:lnTo>
                    <a:lnTo>
                      <a:pt x="176" y="229"/>
                    </a:lnTo>
                    <a:lnTo>
                      <a:pt x="174" y="227"/>
                    </a:lnTo>
                    <a:lnTo>
                      <a:pt x="171" y="228"/>
                    </a:lnTo>
                    <a:lnTo>
                      <a:pt x="171" y="227"/>
                    </a:lnTo>
                    <a:lnTo>
                      <a:pt x="170" y="228"/>
                    </a:lnTo>
                    <a:lnTo>
                      <a:pt x="167" y="229"/>
                    </a:lnTo>
                    <a:lnTo>
                      <a:pt x="166" y="228"/>
                    </a:lnTo>
                    <a:lnTo>
                      <a:pt x="166" y="229"/>
                    </a:lnTo>
                    <a:lnTo>
                      <a:pt x="164" y="228"/>
                    </a:lnTo>
                    <a:lnTo>
                      <a:pt x="164" y="225"/>
                    </a:lnTo>
                    <a:lnTo>
                      <a:pt x="164" y="224"/>
                    </a:lnTo>
                    <a:lnTo>
                      <a:pt x="159" y="222"/>
                    </a:lnTo>
                    <a:lnTo>
                      <a:pt x="158" y="219"/>
                    </a:lnTo>
                    <a:lnTo>
                      <a:pt x="160" y="221"/>
                    </a:lnTo>
                    <a:lnTo>
                      <a:pt x="165" y="222"/>
                    </a:lnTo>
                    <a:lnTo>
                      <a:pt x="167" y="224"/>
                    </a:lnTo>
                    <a:lnTo>
                      <a:pt x="167" y="225"/>
                    </a:lnTo>
                    <a:lnTo>
                      <a:pt x="171" y="225"/>
                    </a:lnTo>
                    <a:lnTo>
                      <a:pt x="176" y="225"/>
                    </a:lnTo>
                    <a:lnTo>
                      <a:pt x="179" y="227"/>
                    </a:lnTo>
                    <a:lnTo>
                      <a:pt x="181" y="227"/>
                    </a:lnTo>
                    <a:lnTo>
                      <a:pt x="181" y="223"/>
                    </a:lnTo>
                    <a:lnTo>
                      <a:pt x="174" y="221"/>
                    </a:lnTo>
                    <a:lnTo>
                      <a:pt x="169" y="220"/>
                    </a:lnTo>
                    <a:lnTo>
                      <a:pt x="165" y="219"/>
                    </a:lnTo>
                    <a:lnTo>
                      <a:pt x="166" y="217"/>
                    </a:lnTo>
                    <a:lnTo>
                      <a:pt x="168" y="216"/>
                    </a:lnTo>
                    <a:lnTo>
                      <a:pt x="171" y="219"/>
                    </a:lnTo>
                    <a:lnTo>
                      <a:pt x="177" y="219"/>
                    </a:lnTo>
                    <a:lnTo>
                      <a:pt x="181" y="220"/>
                    </a:lnTo>
                    <a:lnTo>
                      <a:pt x="183" y="222"/>
                    </a:lnTo>
                    <a:lnTo>
                      <a:pt x="182" y="227"/>
                    </a:lnTo>
                    <a:lnTo>
                      <a:pt x="183" y="229"/>
                    </a:lnTo>
                    <a:lnTo>
                      <a:pt x="187" y="232"/>
                    </a:lnTo>
                    <a:lnTo>
                      <a:pt x="191" y="234"/>
                    </a:lnTo>
                    <a:lnTo>
                      <a:pt x="192" y="236"/>
                    </a:lnTo>
                    <a:lnTo>
                      <a:pt x="194" y="236"/>
                    </a:lnTo>
                    <a:lnTo>
                      <a:pt x="195" y="234"/>
                    </a:lnTo>
                    <a:lnTo>
                      <a:pt x="195" y="231"/>
                    </a:lnTo>
                    <a:lnTo>
                      <a:pt x="195" y="228"/>
                    </a:lnTo>
                    <a:lnTo>
                      <a:pt x="195" y="226"/>
                    </a:lnTo>
                    <a:lnTo>
                      <a:pt x="197" y="224"/>
                    </a:lnTo>
                    <a:lnTo>
                      <a:pt x="195" y="222"/>
                    </a:lnTo>
                    <a:lnTo>
                      <a:pt x="188" y="220"/>
                    </a:lnTo>
                    <a:lnTo>
                      <a:pt x="185" y="221"/>
                    </a:lnTo>
                    <a:lnTo>
                      <a:pt x="184" y="221"/>
                    </a:lnTo>
                    <a:lnTo>
                      <a:pt x="181" y="218"/>
                    </a:lnTo>
                    <a:lnTo>
                      <a:pt x="178" y="216"/>
                    </a:lnTo>
                    <a:lnTo>
                      <a:pt x="176" y="214"/>
                    </a:lnTo>
                    <a:lnTo>
                      <a:pt x="174" y="214"/>
                    </a:lnTo>
                    <a:lnTo>
                      <a:pt x="173" y="215"/>
                    </a:lnTo>
                    <a:lnTo>
                      <a:pt x="171" y="215"/>
                    </a:lnTo>
                    <a:lnTo>
                      <a:pt x="171" y="212"/>
                    </a:lnTo>
                    <a:lnTo>
                      <a:pt x="167" y="210"/>
                    </a:lnTo>
                    <a:lnTo>
                      <a:pt x="167" y="208"/>
                    </a:lnTo>
                    <a:lnTo>
                      <a:pt x="170" y="208"/>
                    </a:lnTo>
                    <a:lnTo>
                      <a:pt x="171" y="209"/>
                    </a:lnTo>
                    <a:lnTo>
                      <a:pt x="174" y="210"/>
                    </a:lnTo>
                    <a:lnTo>
                      <a:pt x="174" y="208"/>
                    </a:lnTo>
                    <a:lnTo>
                      <a:pt x="174" y="206"/>
                    </a:lnTo>
                    <a:lnTo>
                      <a:pt x="175" y="205"/>
                    </a:lnTo>
                    <a:lnTo>
                      <a:pt x="177" y="207"/>
                    </a:lnTo>
                    <a:lnTo>
                      <a:pt x="177" y="211"/>
                    </a:lnTo>
                    <a:lnTo>
                      <a:pt x="179" y="212"/>
                    </a:lnTo>
                    <a:lnTo>
                      <a:pt x="187" y="215"/>
                    </a:lnTo>
                    <a:lnTo>
                      <a:pt x="188" y="213"/>
                    </a:lnTo>
                    <a:lnTo>
                      <a:pt x="185" y="206"/>
                    </a:lnTo>
                    <a:lnTo>
                      <a:pt x="181" y="205"/>
                    </a:lnTo>
                    <a:lnTo>
                      <a:pt x="179" y="203"/>
                    </a:lnTo>
                    <a:lnTo>
                      <a:pt x="178" y="201"/>
                    </a:lnTo>
                    <a:lnTo>
                      <a:pt x="179" y="200"/>
                    </a:lnTo>
                    <a:lnTo>
                      <a:pt x="181" y="202"/>
                    </a:lnTo>
                    <a:lnTo>
                      <a:pt x="185" y="203"/>
                    </a:lnTo>
                    <a:lnTo>
                      <a:pt x="187" y="205"/>
                    </a:lnTo>
                    <a:lnTo>
                      <a:pt x="188" y="208"/>
                    </a:lnTo>
                    <a:lnTo>
                      <a:pt x="189" y="207"/>
                    </a:lnTo>
                    <a:lnTo>
                      <a:pt x="191" y="210"/>
                    </a:lnTo>
                    <a:lnTo>
                      <a:pt x="194" y="212"/>
                    </a:lnTo>
                    <a:lnTo>
                      <a:pt x="195" y="213"/>
                    </a:lnTo>
                    <a:lnTo>
                      <a:pt x="196" y="214"/>
                    </a:lnTo>
                    <a:lnTo>
                      <a:pt x="198" y="211"/>
                    </a:lnTo>
                    <a:lnTo>
                      <a:pt x="200" y="211"/>
                    </a:lnTo>
                    <a:lnTo>
                      <a:pt x="203" y="214"/>
                    </a:lnTo>
                    <a:lnTo>
                      <a:pt x="204" y="213"/>
                    </a:lnTo>
                    <a:lnTo>
                      <a:pt x="204" y="210"/>
                    </a:lnTo>
                    <a:lnTo>
                      <a:pt x="206" y="210"/>
                    </a:lnTo>
                    <a:lnTo>
                      <a:pt x="209" y="213"/>
                    </a:lnTo>
                    <a:lnTo>
                      <a:pt x="212" y="213"/>
                    </a:lnTo>
                    <a:lnTo>
                      <a:pt x="212" y="212"/>
                    </a:lnTo>
                    <a:lnTo>
                      <a:pt x="212" y="202"/>
                    </a:lnTo>
                    <a:lnTo>
                      <a:pt x="206" y="194"/>
                    </a:lnTo>
                    <a:lnTo>
                      <a:pt x="204" y="194"/>
                    </a:lnTo>
                    <a:lnTo>
                      <a:pt x="203" y="195"/>
                    </a:lnTo>
                    <a:lnTo>
                      <a:pt x="202" y="194"/>
                    </a:lnTo>
                    <a:lnTo>
                      <a:pt x="202" y="193"/>
                    </a:lnTo>
                    <a:lnTo>
                      <a:pt x="206" y="192"/>
                    </a:lnTo>
                    <a:lnTo>
                      <a:pt x="208" y="193"/>
                    </a:lnTo>
                    <a:lnTo>
                      <a:pt x="210" y="192"/>
                    </a:lnTo>
                    <a:lnTo>
                      <a:pt x="212" y="194"/>
                    </a:lnTo>
                    <a:lnTo>
                      <a:pt x="212" y="197"/>
                    </a:lnTo>
                    <a:lnTo>
                      <a:pt x="212" y="198"/>
                    </a:lnTo>
                    <a:lnTo>
                      <a:pt x="216" y="199"/>
                    </a:lnTo>
                    <a:lnTo>
                      <a:pt x="217" y="205"/>
                    </a:lnTo>
                    <a:lnTo>
                      <a:pt x="218" y="207"/>
                    </a:lnTo>
                    <a:lnTo>
                      <a:pt x="221" y="207"/>
                    </a:lnTo>
                    <a:lnTo>
                      <a:pt x="222" y="208"/>
                    </a:lnTo>
                    <a:lnTo>
                      <a:pt x="229" y="209"/>
                    </a:lnTo>
                    <a:lnTo>
                      <a:pt x="233" y="209"/>
                    </a:lnTo>
                    <a:lnTo>
                      <a:pt x="237" y="204"/>
                    </a:lnTo>
                    <a:lnTo>
                      <a:pt x="237" y="201"/>
                    </a:lnTo>
                    <a:lnTo>
                      <a:pt x="236" y="200"/>
                    </a:lnTo>
                    <a:lnTo>
                      <a:pt x="234" y="201"/>
                    </a:lnTo>
                    <a:lnTo>
                      <a:pt x="233" y="199"/>
                    </a:lnTo>
                    <a:lnTo>
                      <a:pt x="234" y="198"/>
                    </a:lnTo>
                    <a:lnTo>
                      <a:pt x="237" y="197"/>
                    </a:lnTo>
                    <a:lnTo>
                      <a:pt x="241" y="198"/>
                    </a:lnTo>
                    <a:lnTo>
                      <a:pt x="244" y="196"/>
                    </a:lnTo>
                    <a:lnTo>
                      <a:pt x="244" y="193"/>
                    </a:lnTo>
                    <a:lnTo>
                      <a:pt x="243" y="190"/>
                    </a:lnTo>
                    <a:lnTo>
                      <a:pt x="236" y="190"/>
                    </a:lnTo>
                    <a:lnTo>
                      <a:pt x="230" y="188"/>
                    </a:lnTo>
                    <a:lnTo>
                      <a:pt x="230" y="187"/>
                    </a:lnTo>
                    <a:lnTo>
                      <a:pt x="233" y="187"/>
                    </a:lnTo>
                    <a:lnTo>
                      <a:pt x="234" y="184"/>
                    </a:lnTo>
                    <a:lnTo>
                      <a:pt x="236" y="184"/>
                    </a:lnTo>
                    <a:lnTo>
                      <a:pt x="236" y="188"/>
                    </a:lnTo>
                    <a:lnTo>
                      <a:pt x="237" y="188"/>
                    </a:lnTo>
                    <a:lnTo>
                      <a:pt x="239" y="186"/>
                    </a:lnTo>
                    <a:lnTo>
                      <a:pt x="244" y="188"/>
                    </a:lnTo>
                    <a:lnTo>
                      <a:pt x="246" y="187"/>
                    </a:lnTo>
                    <a:lnTo>
                      <a:pt x="249" y="189"/>
                    </a:lnTo>
                    <a:lnTo>
                      <a:pt x="250" y="189"/>
                    </a:lnTo>
                    <a:lnTo>
                      <a:pt x="253" y="185"/>
                    </a:lnTo>
                    <a:lnTo>
                      <a:pt x="252" y="183"/>
                    </a:lnTo>
                    <a:lnTo>
                      <a:pt x="249" y="181"/>
                    </a:lnTo>
                    <a:lnTo>
                      <a:pt x="250" y="177"/>
                    </a:lnTo>
                    <a:lnTo>
                      <a:pt x="251" y="176"/>
                    </a:lnTo>
                    <a:lnTo>
                      <a:pt x="250" y="171"/>
                    </a:lnTo>
                    <a:lnTo>
                      <a:pt x="253" y="174"/>
                    </a:lnTo>
                    <a:lnTo>
                      <a:pt x="253" y="176"/>
                    </a:lnTo>
                    <a:lnTo>
                      <a:pt x="251" y="178"/>
                    </a:lnTo>
                    <a:lnTo>
                      <a:pt x="252" y="181"/>
                    </a:lnTo>
                    <a:lnTo>
                      <a:pt x="254" y="181"/>
                    </a:lnTo>
                    <a:lnTo>
                      <a:pt x="256" y="180"/>
                    </a:lnTo>
                    <a:lnTo>
                      <a:pt x="262" y="179"/>
                    </a:lnTo>
                    <a:lnTo>
                      <a:pt x="264" y="177"/>
                    </a:lnTo>
                    <a:lnTo>
                      <a:pt x="267" y="174"/>
                    </a:lnTo>
                    <a:lnTo>
                      <a:pt x="267" y="170"/>
                    </a:lnTo>
                    <a:lnTo>
                      <a:pt x="268" y="169"/>
                    </a:lnTo>
                    <a:lnTo>
                      <a:pt x="270" y="169"/>
                    </a:lnTo>
                    <a:lnTo>
                      <a:pt x="272" y="167"/>
                    </a:lnTo>
                    <a:lnTo>
                      <a:pt x="275" y="167"/>
                    </a:lnTo>
                    <a:lnTo>
                      <a:pt x="277" y="165"/>
                    </a:lnTo>
                    <a:lnTo>
                      <a:pt x="283" y="164"/>
                    </a:lnTo>
                    <a:lnTo>
                      <a:pt x="285" y="160"/>
                    </a:lnTo>
                    <a:lnTo>
                      <a:pt x="289" y="160"/>
                    </a:lnTo>
                    <a:lnTo>
                      <a:pt x="292" y="156"/>
                    </a:lnTo>
                    <a:lnTo>
                      <a:pt x="295" y="157"/>
                    </a:lnTo>
                    <a:lnTo>
                      <a:pt x="297" y="156"/>
                    </a:lnTo>
                    <a:lnTo>
                      <a:pt x="300" y="156"/>
                    </a:lnTo>
                    <a:lnTo>
                      <a:pt x="305" y="153"/>
                    </a:lnTo>
                    <a:lnTo>
                      <a:pt x="308" y="150"/>
                    </a:lnTo>
                    <a:lnTo>
                      <a:pt x="310" y="150"/>
                    </a:lnTo>
                    <a:lnTo>
                      <a:pt x="312" y="146"/>
                    </a:lnTo>
                    <a:lnTo>
                      <a:pt x="317" y="144"/>
                    </a:lnTo>
                    <a:lnTo>
                      <a:pt x="319" y="143"/>
                    </a:lnTo>
                    <a:lnTo>
                      <a:pt x="324" y="140"/>
                    </a:lnTo>
                    <a:lnTo>
                      <a:pt x="326" y="135"/>
                    </a:lnTo>
                    <a:lnTo>
                      <a:pt x="328" y="130"/>
                    </a:lnTo>
                    <a:lnTo>
                      <a:pt x="323" y="130"/>
                    </a:lnTo>
                    <a:lnTo>
                      <a:pt x="320" y="131"/>
                    </a:lnTo>
                    <a:lnTo>
                      <a:pt x="318" y="130"/>
                    </a:lnTo>
                    <a:lnTo>
                      <a:pt x="315" y="130"/>
                    </a:lnTo>
                    <a:lnTo>
                      <a:pt x="310" y="136"/>
                    </a:lnTo>
                    <a:lnTo>
                      <a:pt x="303" y="137"/>
                    </a:lnTo>
                    <a:lnTo>
                      <a:pt x="292" y="138"/>
                    </a:lnTo>
                    <a:lnTo>
                      <a:pt x="288" y="137"/>
                    </a:lnTo>
                    <a:lnTo>
                      <a:pt x="281" y="137"/>
                    </a:lnTo>
                    <a:lnTo>
                      <a:pt x="277" y="140"/>
                    </a:lnTo>
                    <a:lnTo>
                      <a:pt x="277" y="136"/>
                    </a:lnTo>
                    <a:lnTo>
                      <a:pt x="274" y="137"/>
                    </a:lnTo>
                    <a:lnTo>
                      <a:pt x="275" y="134"/>
                    </a:lnTo>
                    <a:lnTo>
                      <a:pt x="278" y="133"/>
                    </a:lnTo>
                    <a:lnTo>
                      <a:pt x="280" y="134"/>
                    </a:lnTo>
                    <a:lnTo>
                      <a:pt x="283" y="132"/>
                    </a:lnTo>
                    <a:lnTo>
                      <a:pt x="283" y="135"/>
                    </a:lnTo>
                    <a:lnTo>
                      <a:pt x="287" y="136"/>
                    </a:lnTo>
                    <a:lnTo>
                      <a:pt x="292" y="134"/>
                    </a:lnTo>
                    <a:lnTo>
                      <a:pt x="295" y="134"/>
                    </a:lnTo>
                    <a:lnTo>
                      <a:pt x="302" y="132"/>
                    </a:lnTo>
                    <a:lnTo>
                      <a:pt x="315" y="127"/>
                    </a:lnTo>
                    <a:lnTo>
                      <a:pt x="316" y="125"/>
                    </a:lnTo>
                    <a:lnTo>
                      <a:pt x="315" y="123"/>
                    </a:lnTo>
                    <a:lnTo>
                      <a:pt x="309" y="122"/>
                    </a:lnTo>
                    <a:lnTo>
                      <a:pt x="300" y="120"/>
                    </a:lnTo>
                    <a:lnTo>
                      <a:pt x="299" y="117"/>
                    </a:lnTo>
                    <a:lnTo>
                      <a:pt x="302" y="119"/>
                    </a:lnTo>
                    <a:lnTo>
                      <a:pt x="306" y="119"/>
                    </a:lnTo>
                    <a:lnTo>
                      <a:pt x="305" y="116"/>
                    </a:lnTo>
                    <a:lnTo>
                      <a:pt x="302" y="113"/>
                    </a:lnTo>
                    <a:lnTo>
                      <a:pt x="301" y="109"/>
                    </a:lnTo>
                    <a:lnTo>
                      <a:pt x="304" y="112"/>
                    </a:lnTo>
                    <a:lnTo>
                      <a:pt x="308" y="119"/>
                    </a:lnTo>
                    <a:lnTo>
                      <a:pt x="309" y="119"/>
                    </a:lnTo>
                    <a:lnTo>
                      <a:pt x="311" y="118"/>
                    </a:lnTo>
                    <a:lnTo>
                      <a:pt x="313" y="119"/>
                    </a:lnTo>
                    <a:lnTo>
                      <a:pt x="318" y="120"/>
                    </a:lnTo>
                    <a:lnTo>
                      <a:pt x="320" y="122"/>
                    </a:lnTo>
                    <a:lnTo>
                      <a:pt x="322" y="122"/>
                    </a:lnTo>
                    <a:lnTo>
                      <a:pt x="326" y="122"/>
                    </a:lnTo>
                    <a:lnTo>
                      <a:pt x="328" y="121"/>
                    </a:lnTo>
                    <a:lnTo>
                      <a:pt x="326" y="120"/>
                    </a:lnTo>
                    <a:lnTo>
                      <a:pt x="323" y="119"/>
                    </a:lnTo>
                    <a:lnTo>
                      <a:pt x="323" y="116"/>
                    </a:lnTo>
                    <a:lnTo>
                      <a:pt x="326" y="118"/>
                    </a:lnTo>
                    <a:lnTo>
                      <a:pt x="330" y="119"/>
                    </a:lnTo>
                    <a:lnTo>
                      <a:pt x="333" y="122"/>
                    </a:lnTo>
                    <a:lnTo>
                      <a:pt x="335" y="121"/>
                    </a:lnTo>
                    <a:lnTo>
                      <a:pt x="336" y="118"/>
                    </a:lnTo>
                    <a:lnTo>
                      <a:pt x="338" y="120"/>
                    </a:lnTo>
                    <a:lnTo>
                      <a:pt x="342" y="120"/>
                    </a:lnTo>
                    <a:lnTo>
                      <a:pt x="346" y="119"/>
                    </a:lnTo>
                    <a:lnTo>
                      <a:pt x="349" y="118"/>
                    </a:lnTo>
                    <a:lnTo>
                      <a:pt x="352" y="115"/>
                    </a:lnTo>
                    <a:lnTo>
                      <a:pt x="361" y="110"/>
                    </a:lnTo>
                    <a:lnTo>
                      <a:pt x="362" y="108"/>
                    </a:lnTo>
                    <a:lnTo>
                      <a:pt x="362" y="106"/>
                    </a:lnTo>
                    <a:lnTo>
                      <a:pt x="365" y="105"/>
                    </a:lnTo>
                    <a:lnTo>
                      <a:pt x="368" y="105"/>
                    </a:lnTo>
                    <a:lnTo>
                      <a:pt x="368" y="104"/>
                    </a:lnTo>
                    <a:lnTo>
                      <a:pt x="374" y="101"/>
                    </a:lnTo>
                    <a:lnTo>
                      <a:pt x="378" y="93"/>
                    </a:lnTo>
                    <a:lnTo>
                      <a:pt x="378" y="85"/>
                    </a:lnTo>
                    <a:lnTo>
                      <a:pt x="378" y="80"/>
                    </a:lnTo>
                    <a:lnTo>
                      <a:pt x="377" y="76"/>
                    </a:lnTo>
                    <a:lnTo>
                      <a:pt x="373" y="74"/>
                    </a:lnTo>
                    <a:lnTo>
                      <a:pt x="372" y="74"/>
                    </a:lnTo>
                    <a:lnTo>
                      <a:pt x="371" y="74"/>
                    </a:lnTo>
                    <a:lnTo>
                      <a:pt x="368" y="74"/>
                    </a:lnTo>
                    <a:lnTo>
                      <a:pt x="366" y="77"/>
                    </a:lnTo>
                    <a:lnTo>
                      <a:pt x="365" y="79"/>
                    </a:lnTo>
                    <a:lnTo>
                      <a:pt x="363" y="77"/>
                    </a:lnTo>
                    <a:lnTo>
                      <a:pt x="367" y="72"/>
                    </a:lnTo>
                    <a:lnTo>
                      <a:pt x="368" y="70"/>
                    </a:lnTo>
                    <a:lnTo>
                      <a:pt x="370" y="67"/>
                    </a:lnTo>
                    <a:lnTo>
                      <a:pt x="370" y="63"/>
                    </a:lnTo>
                    <a:lnTo>
                      <a:pt x="369" y="60"/>
                    </a:lnTo>
                    <a:lnTo>
                      <a:pt x="368" y="59"/>
                    </a:lnTo>
                    <a:lnTo>
                      <a:pt x="370" y="57"/>
                    </a:lnTo>
                    <a:lnTo>
                      <a:pt x="372" y="50"/>
                    </a:lnTo>
                    <a:lnTo>
                      <a:pt x="369" y="49"/>
                    </a:lnTo>
                    <a:lnTo>
                      <a:pt x="366" y="50"/>
                    </a:lnTo>
                    <a:lnTo>
                      <a:pt x="365" y="53"/>
                    </a:lnTo>
                    <a:lnTo>
                      <a:pt x="364" y="55"/>
                    </a:lnTo>
                    <a:lnTo>
                      <a:pt x="362" y="56"/>
                    </a:lnTo>
                    <a:lnTo>
                      <a:pt x="361" y="54"/>
                    </a:lnTo>
                    <a:lnTo>
                      <a:pt x="362" y="52"/>
                    </a:lnTo>
                    <a:lnTo>
                      <a:pt x="362" y="50"/>
                    </a:lnTo>
                    <a:lnTo>
                      <a:pt x="364" y="47"/>
                    </a:lnTo>
                    <a:lnTo>
                      <a:pt x="362" y="46"/>
                    </a:lnTo>
                    <a:lnTo>
                      <a:pt x="360" y="48"/>
                    </a:lnTo>
                    <a:lnTo>
                      <a:pt x="358" y="52"/>
                    </a:lnTo>
                    <a:lnTo>
                      <a:pt x="357" y="53"/>
                    </a:lnTo>
                    <a:lnTo>
                      <a:pt x="356" y="51"/>
                    </a:lnTo>
                    <a:lnTo>
                      <a:pt x="358" y="47"/>
                    </a:lnTo>
                    <a:lnTo>
                      <a:pt x="357" y="45"/>
                    </a:lnTo>
                    <a:lnTo>
                      <a:pt x="354" y="45"/>
                    </a:lnTo>
                    <a:lnTo>
                      <a:pt x="350" y="47"/>
                    </a:lnTo>
                    <a:lnTo>
                      <a:pt x="348" y="51"/>
                    </a:lnTo>
                    <a:lnTo>
                      <a:pt x="345" y="50"/>
                    </a:lnTo>
                    <a:lnTo>
                      <a:pt x="344" y="52"/>
                    </a:lnTo>
                    <a:lnTo>
                      <a:pt x="342" y="55"/>
                    </a:lnTo>
                    <a:lnTo>
                      <a:pt x="340" y="55"/>
                    </a:lnTo>
                    <a:lnTo>
                      <a:pt x="338" y="53"/>
                    </a:lnTo>
                    <a:lnTo>
                      <a:pt x="333" y="53"/>
                    </a:lnTo>
                    <a:lnTo>
                      <a:pt x="326" y="53"/>
                    </a:lnTo>
                    <a:lnTo>
                      <a:pt x="330" y="51"/>
                    </a:lnTo>
                    <a:lnTo>
                      <a:pt x="332" y="49"/>
                    </a:lnTo>
                    <a:lnTo>
                      <a:pt x="334" y="51"/>
                    </a:lnTo>
                    <a:lnTo>
                      <a:pt x="336" y="50"/>
                    </a:lnTo>
                    <a:lnTo>
                      <a:pt x="340" y="48"/>
                    </a:lnTo>
                    <a:lnTo>
                      <a:pt x="344" y="47"/>
                    </a:lnTo>
                    <a:lnTo>
                      <a:pt x="346" y="43"/>
                    </a:lnTo>
                    <a:lnTo>
                      <a:pt x="351" y="41"/>
                    </a:lnTo>
                    <a:lnTo>
                      <a:pt x="353" y="39"/>
                    </a:lnTo>
                    <a:lnTo>
                      <a:pt x="352" y="37"/>
                    </a:lnTo>
                    <a:lnTo>
                      <a:pt x="349" y="37"/>
                    </a:lnTo>
                    <a:lnTo>
                      <a:pt x="344" y="33"/>
                    </a:lnTo>
                    <a:lnTo>
                      <a:pt x="344" y="31"/>
                    </a:lnTo>
                    <a:lnTo>
                      <a:pt x="342" y="31"/>
                    </a:lnTo>
                    <a:lnTo>
                      <a:pt x="340" y="33"/>
                    </a:lnTo>
                    <a:lnTo>
                      <a:pt x="338" y="35"/>
                    </a:lnTo>
                    <a:lnTo>
                      <a:pt x="337" y="34"/>
                    </a:lnTo>
                    <a:lnTo>
                      <a:pt x="336" y="31"/>
                    </a:lnTo>
                    <a:lnTo>
                      <a:pt x="337" y="29"/>
                    </a:lnTo>
                    <a:lnTo>
                      <a:pt x="337" y="26"/>
                    </a:lnTo>
                    <a:lnTo>
                      <a:pt x="333" y="27"/>
                    </a:lnTo>
                    <a:lnTo>
                      <a:pt x="331" y="30"/>
                    </a:lnTo>
                    <a:lnTo>
                      <a:pt x="330" y="29"/>
                    </a:lnTo>
                    <a:lnTo>
                      <a:pt x="329" y="25"/>
                    </a:lnTo>
                    <a:lnTo>
                      <a:pt x="326" y="27"/>
                    </a:lnTo>
                    <a:lnTo>
                      <a:pt x="325" y="29"/>
                    </a:lnTo>
                    <a:lnTo>
                      <a:pt x="323" y="26"/>
                    </a:lnTo>
                    <a:lnTo>
                      <a:pt x="325" y="25"/>
                    </a:lnTo>
                    <a:lnTo>
                      <a:pt x="324" y="22"/>
                    </a:lnTo>
                    <a:lnTo>
                      <a:pt x="326" y="22"/>
                    </a:lnTo>
                    <a:lnTo>
                      <a:pt x="327" y="20"/>
                    </a:lnTo>
                    <a:lnTo>
                      <a:pt x="326" y="18"/>
                    </a:lnTo>
                    <a:lnTo>
                      <a:pt x="320" y="16"/>
                    </a:lnTo>
                    <a:lnTo>
                      <a:pt x="316" y="14"/>
                    </a:lnTo>
                    <a:lnTo>
                      <a:pt x="313" y="15"/>
                    </a:lnTo>
                    <a:lnTo>
                      <a:pt x="310" y="18"/>
                    </a:lnTo>
                    <a:lnTo>
                      <a:pt x="309" y="21"/>
                    </a:lnTo>
                    <a:lnTo>
                      <a:pt x="308" y="22"/>
                    </a:lnTo>
                    <a:lnTo>
                      <a:pt x="306" y="19"/>
                    </a:lnTo>
                    <a:lnTo>
                      <a:pt x="309" y="15"/>
                    </a:lnTo>
                    <a:lnTo>
                      <a:pt x="310" y="13"/>
                    </a:lnTo>
                    <a:lnTo>
                      <a:pt x="306" y="13"/>
                    </a:lnTo>
                    <a:lnTo>
                      <a:pt x="303" y="11"/>
                    </a:lnTo>
                    <a:lnTo>
                      <a:pt x="300" y="11"/>
                    </a:lnTo>
                    <a:lnTo>
                      <a:pt x="299" y="14"/>
                    </a:lnTo>
                    <a:lnTo>
                      <a:pt x="294" y="17"/>
                    </a:lnTo>
                    <a:lnTo>
                      <a:pt x="291" y="22"/>
                    </a:lnTo>
                    <a:lnTo>
                      <a:pt x="289" y="22"/>
                    </a:lnTo>
                    <a:lnTo>
                      <a:pt x="288" y="20"/>
                    </a:lnTo>
                    <a:lnTo>
                      <a:pt x="290" y="16"/>
                    </a:lnTo>
                    <a:lnTo>
                      <a:pt x="289" y="12"/>
                    </a:lnTo>
                    <a:lnTo>
                      <a:pt x="288" y="11"/>
                    </a:lnTo>
                    <a:lnTo>
                      <a:pt x="288" y="8"/>
                    </a:lnTo>
                    <a:lnTo>
                      <a:pt x="284" y="5"/>
                    </a:lnTo>
                    <a:lnTo>
                      <a:pt x="281" y="6"/>
                    </a:lnTo>
                    <a:lnTo>
                      <a:pt x="277" y="5"/>
                    </a:lnTo>
                    <a:lnTo>
                      <a:pt x="276" y="2"/>
                    </a:lnTo>
                    <a:lnTo>
                      <a:pt x="273" y="1"/>
                    </a:lnTo>
                    <a:lnTo>
                      <a:pt x="269" y="3"/>
                    </a:lnTo>
                    <a:lnTo>
                      <a:pt x="267" y="1"/>
                    </a:lnTo>
                    <a:lnTo>
                      <a:pt x="264" y="1"/>
                    </a:lnTo>
                    <a:lnTo>
                      <a:pt x="263" y="0"/>
                    </a:lnTo>
                    <a:lnTo>
                      <a:pt x="261" y="1"/>
                    </a:lnTo>
                    <a:lnTo>
                      <a:pt x="261" y="5"/>
                    </a:lnTo>
                    <a:lnTo>
                      <a:pt x="262" y="13"/>
                    </a:lnTo>
                    <a:lnTo>
                      <a:pt x="261" y="19"/>
                    </a:lnTo>
                    <a:lnTo>
                      <a:pt x="261" y="24"/>
                    </a:lnTo>
                    <a:lnTo>
                      <a:pt x="260" y="25"/>
                    </a:lnTo>
                    <a:lnTo>
                      <a:pt x="257" y="25"/>
                    </a:lnTo>
                    <a:lnTo>
                      <a:pt x="254" y="25"/>
                    </a:lnTo>
                    <a:lnTo>
                      <a:pt x="254" y="24"/>
                    </a:lnTo>
                    <a:lnTo>
                      <a:pt x="255" y="22"/>
                    </a:lnTo>
                    <a:lnTo>
                      <a:pt x="254" y="15"/>
                    </a:lnTo>
                    <a:lnTo>
                      <a:pt x="255" y="13"/>
                    </a:lnTo>
                    <a:lnTo>
                      <a:pt x="255" y="9"/>
                    </a:lnTo>
                    <a:lnTo>
                      <a:pt x="254" y="8"/>
                    </a:lnTo>
                    <a:lnTo>
                      <a:pt x="250" y="12"/>
                    </a:lnTo>
                    <a:lnTo>
                      <a:pt x="250" y="13"/>
                    </a:lnTo>
                    <a:lnTo>
                      <a:pt x="248" y="13"/>
                    </a:lnTo>
                    <a:lnTo>
                      <a:pt x="247" y="12"/>
                    </a:lnTo>
                    <a:lnTo>
                      <a:pt x="248" y="8"/>
                    </a:lnTo>
                    <a:lnTo>
                      <a:pt x="247" y="5"/>
                    </a:lnTo>
                    <a:lnTo>
                      <a:pt x="246" y="7"/>
                    </a:lnTo>
                    <a:lnTo>
                      <a:pt x="244" y="11"/>
                    </a:lnTo>
                    <a:lnTo>
                      <a:pt x="242" y="12"/>
                    </a:lnTo>
                    <a:lnTo>
                      <a:pt x="241" y="9"/>
                    </a:lnTo>
                    <a:lnTo>
                      <a:pt x="243" y="7"/>
                    </a:lnTo>
                    <a:lnTo>
                      <a:pt x="243" y="3"/>
                    </a:lnTo>
                    <a:lnTo>
                      <a:pt x="242" y="1"/>
                    </a:lnTo>
                    <a:lnTo>
                      <a:pt x="236" y="0"/>
                    </a:lnTo>
                    <a:lnTo>
                      <a:pt x="233" y="3"/>
                    </a:lnTo>
                    <a:lnTo>
                      <a:pt x="230" y="3"/>
                    </a:lnTo>
                    <a:lnTo>
                      <a:pt x="229" y="4"/>
                    </a:lnTo>
                    <a:lnTo>
                      <a:pt x="231" y="7"/>
                    </a:lnTo>
                    <a:lnTo>
                      <a:pt x="233" y="7"/>
                    </a:lnTo>
                    <a:lnTo>
                      <a:pt x="234" y="8"/>
                    </a:lnTo>
                    <a:lnTo>
                      <a:pt x="231" y="9"/>
                    </a:lnTo>
                    <a:lnTo>
                      <a:pt x="230" y="11"/>
                    </a:lnTo>
                    <a:lnTo>
                      <a:pt x="231" y="13"/>
                    </a:lnTo>
                    <a:lnTo>
                      <a:pt x="234" y="16"/>
                    </a:lnTo>
                    <a:lnTo>
                      <a:pt x="234" y="18"/>
                    </a:lnTo>
                    <a:lnTo>
                      <a:pt x="233" y="19"/>
                    </a:lnTo>
                    <a:lnTo>
                      <a:pt x="236" y="23"/>
                    </a:lnTo>
                    <a:lnTo>
                      <a:pt x="238" y="24"/>
                    </a:lnTo>
                    <a:lnTo>
                      <a:pt x="237" y="25"/>
                    </a:lnTo>
                    <a:lnTo>
                      <a:pt x="236" y="26"/>
                    </a:lnTo>
                    <a:lnTo>
                      <a:pt x="235" y="27"/>
                    </a:lnTo>
                    <a:lnTo>
                      <a:pt x="230" y="20"/>
                    </a:lnTo>
                    <a:lnTo>
                      <a:pt x="229" y="21"/>
                    </a:lnTo>
                    <a:lnTo>
                      <a:pt x="228" y="23"/>
                    </a:lnTo>
                    <a:lnTo>
                      <a:pt x="228" y="25"/>
                    </a:lnTo>
                    <a:lnTo>
                      <a:pt x="226" y="25"/>
                    </a:lnTo>
                    <a:lnTo>
                      <a:pt x="226" y="19"/>
                    </a:lnTo>
                    <a:lnTo>
                      <a:pt x="226" y="15"/>
                    </a:lnTo>
                    <a:lnTo>
                      <a:pt x="225" y="12"/>
                    </a:lnTo>
                    <a:lnTo>
                      <a:pt x="225" y="8"/>
                    </a:lnTo>
                    <a:lnTo>
                      <a:pt x="224" y="6"/>
                    </a:lnTo>
                    <a:lnTo>
                      <a:pt x="222" y="6"/>
                    </a:lnTo>
                    <a:lnTo>
                      <a:pt x="219" y="3"/>
                    </a:lnTo>
                    <a:lnTo>
                      <a:pt x="218" y="3"/>
                    </a:lnTo>
                    <a:lnTo>
                      <a:pt x="216" y="7"/>
                    </a:lnTo>
                    <a:lnTo>
                      <a:pt x="217" y="13"/>
                    </a:lnTo>
                    <a:lnTo>
                      <a:pt x="216" y="18"/>
                    </a:lnTo>
                    <a:lnTo>
                      <a:pt x="218" y="23"/>
                    </a:lnTo>
                    <a:lnTo>
                      <a:pt x="218" y="28"/>
                    </a:lnTo>
                    <a:lnTo>
                      <a:pt x="219" y="30"/>
                    </a:lnTo>
                    <a:lnTo>
                      <a:pt x="219" y="34"/>
                    </a:lnTo>
                    <a:lnTo>
                      <a:pt x="217" y="36"/>
                    </a:lnTo>
                    <a:lnTo>
                      <a:pt x="216" y="32"/>
                    </a:lnTo>
                    <a:lnTo>
                      <a:pt x="216" y="29"/>
                    </a:lnTo>
                    <a:lnTo>
                      <a:pt x="214" y="26"/>
                    </a:lnTo>
                    <a:lnTo>
                      <a:pt x="214" y="22"/>
                    </a:lnTo>
                    <a:lnTo>
                      <a:pt x="213" y="18"/>
                    </a:lnTo>
                    <a:lnTo>
                      <a:pt x="213" y="13"/>
                    </a:lnTo>
                    <a:lnTo>
                      <a:pt x="208" y="10"/>
                    </a:lnTo>
                    <a:lnTo>
                      <a:pt x="205" y="10"/>
                    </a:lnTo>
                    <a:lnTo>
                      <a:pt x="205" y="13"/>
                    </a:lnTo>
                    <a:lnTo>
                      <a:pt x="204" y="15"/>
                    </a:lnTo>
                    <a:lnTo>
                      <a:pt x="205" y="19"/>
                    </a:lnTo>
                    <a:lnTo>
                      <a:pt x="209" y="23"/>
                    </a:lnTo>
                    <a:lnTo>
                      <a:pt x="209" y="25"/>
                    </a:lnTo>
                    <a:lnTo>
                      <a:pt x="205" y="25"/>
                    </a:lnTo>
                    <a:lnTo>
                      <a:pt x="204" y="24"/>
                    </a:lnTo>
                    <a:lnTo>
                      <a:pt x="202" y="24"/>
                    </a:lnTo>
                    <a:lnTo>
                      <a:pt x="200" y="26"/>
                    </a:lnTo>
                    <a:lnTo>
                      <a:pt x="202" y="32"/>
                    </a:lnTo>
                    <a:lnTo>
                      <a:pt x="201" y="35"/>
                    </a:lnTo>
                    <a:lnTo>
                      <a:pt x="198" y="36"/>
                    </a:lnTo>
                    <a:lnTo>
                      <a:pt x="197" y="39"/>
                    </a:lnTo>
                    <a:lnTo>
                      <a:pt x="195" y="40"/>
                    </a:lnTo>
                    <a:lnTo>
                      <a:pt x="193" y="39"/>
                    </a:lnTo>
                    <a:lnTo>
                      <a:pt x="193" y="36"/>
                    </a:lnTo>
                    <a:lnTo>
                      <a:pt x="192" y="36"/>
                    </a:lnTo>
                    <a:lnTo>
                      <a:pt x="191" y="39"/>
                    </a:lnTo>
                    <a:lnTo>
                      <a:pt x="188" y="40"/>
                    </a:lnTo>
                    <a:lnTo>
                      <a:pt x="188" y="33"/>
                    </a:lnTo>
                    <a:lnTo>
                      <a:pt x="188" y="29"/>
                    </a:lnTo>
                    <a:lnTo>
                      <a:pt x="188" y="26"/>
                    </a:lnTo>
                    <a:lnTo>
                      <a:pt x="183" y="24"/>
                    </a:lnTo>
                    <a:lnTo>
                      <a:pt x="183" y="22"/>
                    </a:lnTo>
                    <a:lnTo>
                      <a:pt x="185" y="20"/>
                    </a:lnTo>
                    <a:lnTo>
                      <a:pt x="185" y="18"/>
                    </a:lnTo>
                    <a:lnTo>
                      <a:pt x="183" y="15"/>
                    </a:lnTo>
                    <a:lnTo>
                      <a:pt x="178" y="15"/>
                    </a:lnTo>
                    <a:lnTo>
                      <a:pt x="177" y="14"/>
                    </a:lnTo>
                    <a:lnTo>
                      <a:pt x="173" y="15"/>
                    </a:lnTo>
                    <a:lnTo>
                      <a:pt x="172" y="18"/>
                    </a:lnTo>
                    <a:lnTo>
                      <a:pt x="174" y="20"/>
                    </a:lnTo>
                    <a:lnTo>
                      <a:pt x="174" y="26"/>
                    </a:lnTo>
                    <a:lnTo>
                      <a:pt x="173" y="29"/>
                    </a:lnTo>
                    <a:lnTo>
                      <a:pt x="171" y="27"/>
                    </a:lnTo>
                    <a:lnTo>
                      <a:pt x="167" y="29"/>
                    </a:lnTo>
                    <a:lnTo>
                      <a:pt x="166" y="26"/>
                    </a:lnTo>
                    <a:lnTo>
                      <a:pt x="163" y="26"/>
                    </a:lnTo>
                    <a:lnTo>
                      <a:pt x="162" y="30"/>
                    </a:lnTo>
                    <a:lnTo>
                      <a:pt x="164" y="32"/>
                    </a:lnTo>
                    <a:lnTo>
                      <a:pt x="165" y="35"/>
                    </a:lnTo>
                    <a:lnTo>
                      <a:pt x="167" y="37"/>
                    </a:lnTo>
                    <a:lnTo>
                      <a:pt x="167" y="40"/>
                    </a:lnTo>
                    <a:lnTo>
                      <a:pt x="168" y="43"/>
                    </a:lnTo>
                    <a:lnTo>
                      <a:pt x="170" y="43"/>
                    </a:lnTo>
                    <a:lnTo>
                      <a:pt x="172" y="48"/>
                    </a:lnTo>
                    <a:lnTo>
                      <a:pt x="172" y="52"/>
                    </a:lnTo>
                    <a:lnTo>
                      <a:pt x="171" y="53"/>
                    </a:lnTo>
                    <a:lnTo>
                      <a:pt x="171" y="49"/>
                    </a:lnTo>
                    <a:lnTo>
                      <a:pt x="170" y="50"/>
                    </a:lnTo>
                    <a:lnTo>
                      <a:pt x="167" y="53"/>
                    </a:lnTo>
                    <a:lnTo>
                      <a:pt x="166" y="51"/>
                    </a:lnTo>
                    <a:lnTo>
                      <a:pt x="166" y="48"/>
                    </a:lnTo>
                    <a:lnTo>
                      <a:pt x="167" y="47"/>
                    </a:lnTo>
                    <a:lnTo>
                      <a:pt x="166" y="45"/>
                    </a:lnTo>
                    <a:lnTo>
                      <a:pt x="164" y="46"/>
                    </a:lnTo>
                    <a:lnTo>
                      <a:pt x="163" y="47"/>
                    </a:lnTo>
                    <a:lnTo>
                      <a:pt x="163" y="51"/>
                    </a:lnTo>
                    <a:lnTo>
                      <a:pt x="162" y="53"/>
                    </a:lnTo>
                    <a:lnTo>
                      <a:pt x="161" y="51"/>
                    </a:lnTo>
                    <a:lnTo>
                      <a:pt x="160" y="49"/>
                    </a:lnTo>
                    <a:lnTo>
                      <a:pt x="160" y="46"/>
                    </a:lnTo>
                    <a:lnTo>
                      <a:pt x="160" y="42"/>
                    </a:lnTo>
                    <a:lnTo>
                      <a:pt x="157" y="37"/>
                    </a:lnTo>
                    <a:lnTo>
                      <a:pt x="156" y="37"/>
                    </a:lnTo>
                    <a:lnTo>
                      <a:pt x="153" y="43"/>
                    </a:lnTo>
                    <a:lnTo>
                      <a:pt x="152" y="43"/>
                    </a:lnTo>
                    <a:lnTo>
                      <a:pt x="152" y="47"/>
                    </a:lnTo>
                    <a:lnTo>
                      <a:pt x="153" y="49"/>
                    </a:lnTo>
                    <a:lnTo>
                      <a:pt x="152" y="51"/>
                    </a:lnTo>
                    <a:lnTo>
                      <a:pt x="150" y="49"/>
                    </a:lnTo>
                    <a:lnTo>
                      <a:pt x="150" y="46"/>
                    </a:lnTo>
                    <a:lnTo>
                      <a:pt x="150" y="44"/>
                    </a:lnTo>
                    <a:lnTo>
                      <a:pt x="150" y="42"/>
                    </a:lnTo>
                    <a:lnTo>
                      <a:pt x="150" y="37"/>
                    </a:lnTo>
                    <a:lnTo>
                      <a:pt x="147" y="36"/>
                    </a:lnTo>
                    <a:lnTo>
                      <a:pt x="147" y="32"/>
                    </a:lnTo>
                    <a:lnTo>
                      <a:pt x="146" y="29"/>
                    </a:lnTo>
                    <a:lnTo>
                      <a:pt x="145" y="28"/>
                    </a:lnTo>
                    <a:lnTo>
                      <a:pt x="142" y="32"/>
                    </a:lnTo>
                    <a:lnTo>
                      <a:pt x="139" y="32"/>
                    </a:lnTo>
                    <a:lnTo>
                      <a:pt x="139" y="36"/>
                    </a:lnTo>
                    <a:lnTo>
                      <a:pt x="139" y="39"/>
                    </a:lnTo>
                    <a:lnTo>
                      <a:pt x="139" y="40"/>
                    </a:lnTo>
                    <a:lnTo>
                      <a:pt x="139" y="43"/>
                    </a:lnTo>
                    <a:lnTo>
                      <a:pt x="137" y="44"/>
                    </a:lnTo>
                    <a:lnTo>
                      <a:pt x="137" y="42"/>
                    </a:lnTo>
                    <a:lnTo>
                      <a:pt x="138" y="40"/>
                    </a:lnTo>
                    <a:lnTo>
                      <a:pt x="137" y="39"/>
                    </a:lnTo>
                    <a:lnTo>
                      <a:pt x="135" y="41"/>
                    </a:lnTo>
                    <a:lnTo>
                      <a:pt x="133" y="46"/>
                    </a:lnTo>
                    <a:lnTo>
                      <a:pt x="132" y="46"/>
                    </a:lnTo>
                    <a:lnTo>
                      <a:pt x="132" y="39"/>
                    </a:lnTo>
                    <a:lnTo>
                      <a:pt x="133" y="37"/>
                    </a:lnTo>
                    <a:lnTo>
                      <a:pt x="133" y="35"/>
                    </a:lnTo>
                    <a:lnTo>
                      <a:pt x="130" y="34"/>
                    </a:lnTo>
                    <a:lnTo>
                      <a:pt x="129" y="35"/>
                    </a:lnTo>
                    <a:lnTo>
                      <a:pt x="123" y="36"/>
                    </a:lnTo>
                    <a:lnTo>
                      <a:pt x="119" y="38"/>
                    </a:lnTo>
                    <a:lnTo>
                      <a:pt x="116" y="38"/>
                    </a:lnTo>
                    <a:lnTo>
                      <a:pt x="113" y="39"/>
                    </a:lnTo>
                    <a:lnTo>
                      <a:pt x="112" y="43"/>
                    </a:lnTo>
                    <a:lnTo>
                      <a:pt x="108" y="43"/>
                    </a:lnTo>
                    <a:lnTo>
                      <a:pt x="106" y="44"/>
                    </a:lnTo>
                    <a:lnTo>
                      <a:pt x="106" y="48"/>
                    </a:lnTo>
                    <a:lnTo>
                      <a:pt x="104" y="46"/>
                    </a:lnTo>
                    <a:lnTo>
                      <a:pt x="103" y="48"/>
                    </a:lnTo>
                    <a:lnTo>
                      <a:pt x="104" y="51"/>
                    </a:lnTo>
                    <a:lnTo>
                      <a:pt x="105" y="5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1" name="Freeform 1175">
                <a:extLst>
                  <a:ext uri="{FF2B5EF4-FFF2-40B4-BE49-F238E27FC236}">
                    <a16:creationId xmlns:a16="http://schemas.microsoft.com/office/drawing/2014/main" id="{6B47E31D-ED88-401B-BCFB-0B0D4DA523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0" y="1916"/>
                <a:ext cx="25" cy="33"/>
              </a:xfrm>
              <a:custGeom>
                <a:avLst/>
                <a:gdLst>
                  <a:gd name="T0" fmla="*/ 1 w 25"/>
                  <a:gd name="T1" fmla="*/ 29 h 33"/>
                  <a:gd name="T2" fmla="*/ 5 w 25"/>
                  <a:gd name="T3" fmla="*/ 31 h 33"/>
                  <a:gd name="T4" fmla="*/ 6 w 25"/>
                  <a:gd name="T5" fmla="*/ 33 h 33"/>
                  <a:gd name="T6" fmla="*/ 7 w 25"/>
                  <a:gd name="T7" fmla="*/ 32 h 33"/>
                  <a:gd name="T8" fmla="*/ 8 w 25"/>
                  <a:gd name="T9" fmla="*/ 29 h 33"/>
                  <a:gd name="T10" fmla="*/ 8 w 25"/>
                  <a:gd name="T11" fmla="*/ 29 h 33"/>
                  <a:gd name="T12" fmla="*/ 10 w 25"/>
                  <a:gd name="T13" fmla="*/ 31 h 33"/>
                  <a:gd name="T14" fmla="*/ 12 w 25"/>
                  <a:gd name="T15" fmla="*/ 31 h 33"/>
                  <a:gd name="T16" fmla="*/ 17 w 25"/>
                  <a:gd name="T17" fmla="*/ 27 h 33"/>
                  <a:gd name="T18" fmla="*/ 21 w 25"/>
                  <a:gd name="T19" fmla="*/ 26 h 33"/>
                  <a:gd name="T20" fmla="*/ 22 w 25"/>
                  <a:gd name="T21" fmla="*/ 25 h 33"/>
                  <a:gd name="T22" fmla="*/ 25 w 25"/>
                  <a:gd name="T23" fmla="*/ 24 h 33"/>
                  <a:gd name="T24" fmla="*/ 24 w 25"/>
                  <a:gd name="T25" fmla="*/ 22 h 33"/>
                  <a:gd name="T26" fmla="*/ 23 w 25"/>
                  <a:gd name="T27" fmla="*/ 18 h 33"/>
                  <a:gd name="T28" fmla="*/ 21 w 25"/>
                  <a:gd name="T29" fmla="*/ 18 h 33"/>
                  <a:gd name="T30" fmla="*/ 19 w 25"/>
                  <a:gd name="T31" fmla="*/ 18 h 33"/>
                  <a:gd name="T32" fmla="*/ 19 w 25"/>
                  <a:gd name="T33" fmla="*/ 21 h 33"/>
                  <a:gd name="T34" fmla="*/ 17 w 25"/>
                  <a:gd name="T35" fmla="*/ 22 h 33"/>
                  <a:gd name="T36" fmla="*/ 16 w 25"/>
                  <a:gd name="T37" fmla="*/ 21 h 33"/>
                  <a:gd name="T38" fmla="*/ 18 w 25"/>
                  <a:gd name="T39" fmla="*/ 18 h 33"/>
                  <a:gd name="T40" fmla="*/ 16 w 25"/>
                  <a:gd name="T41" fmla="*/ 16 h 33"/>
                  <a:gd name="T42" fmla="*/ 14 w 25"/>
                  <a:gd name="T43" fmla="*/ 15 h 33"/>
                  <a:gd name="T44" fmla="*/ 15 w 25"/>
                  <a:gd name="T45" fmla="*/ 12 h 33"/>
                  <a:gd name="T46" fmla="*/ 18 w 25"/>
                  <a:gd name="T47" fmla="*/ 6 h 33"/>
                  <a:gd name="T48" fmla="*/ 18 w 25"/>
                  <a:gd name="T49" fmla="*/ 4 h 33"/>
                  <a:gd name="T50" fmla="*/ 16 w 25"/>
                  <a:gd name="T51" fmla="*/ 4 h 33"/>
                  <a:gd name="T52" fmla="*/ 17 w 25"/>
                  <a:gd name="T53" fmla="*/ 1 h 33"/>
                  <a:gd name="T54" fmla="*/ 17 w 25"/>
                  <a:gd name="T55" fmla="*/ 0 h 33"/>
                  <a:gd name="T56" fmla="*/ 15 w 25"/>
                  <a:gd name="T57" fmla="*/ 1 h 33"/>
                  <a:gd name="T58" fmla="*/ 14 w 25"/>
                  <a:gd name="T59" fmla="*/ 3 h 33"/>
                  <a:gd name="T60" fmla="*/ 11 w 25"/>
                  <a:gd name="T61" fmla="*/ 6 h 33"/>
                  <a:gd name="T62" fmla="*/ 9 w 25"/>
                  <a:gd name="T63" fmla="*/ 10 h 33"/>
                  <a:gd name="T64" fmla="*/ 8 w 25"/>
                  <a:gd name="T65" fmla="*/ 12 h 33"/>
                  <a:gd name="T66" fmla="*/ 5 w 25"/>
                  <a:gd name="T67" fmla="*/ 17 h 33"/>
                  <a:gd name="T68" fmla="*/ 1 w 25"/>
                  <a:gd name="T69" fmla="*/ 19 h 33"/>
                  <a:gd name="T70" fmla="*/ 0 w 25"/>
                  <a:gd name="T71" fmla="*/ 22 h 33"/>
                  <a:gd name="T72" fmla="*/ 1 w 25"/>
                  <a:gd name="T73" fmla="*/ 24 h 33"/>
                  <a:gd name="T74" fmla="*/ 1 w 25"/>
                  <a:gd name="T75" fmla="*/ 2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5" h="33">
                    <a:moveTo>
                      <a:pt x="1" y="29"/>
                    </a:moveTo>
                    <a:lnTo>
                      <a:pt x="5" y="31"/>
                    </a:lnTo>
                    <a:lnTo>
                      <a:pt x="6" y="33"/>
                    </a:lnTo>
                    <a:lnTo>
                      <a:pt x="7" y="32"/>
                    </a:lnTo>
                    <a:lnTo>
                      <a:pt x="8" y="29"/>
                    </a:lnTo>
                    <a:lnTo>
                      <a:pt x="8" y="29"/>
                    </a:lnTo>
                    <a:lnTo>
                      <a:pt x="10" y="31"/>
                    </a:lnTo>
                    <a:lnTo>
                      <a:pt x="12" y="31"/>
                    </a:lnTo>
                    <a:lnTo>
                      <a:pt x="17" y="27"/>
                    </a:lnTo>
                    <a:lnTo>
                      <a:pt x="21" y="26"/>
                    </a:lnTo>
                    <a:lnTo>
                      <a:pt x="22" y="25"/>
                    </a:lnTo>
                    <a:lnTo>
                      <a:pt x="25" y="24"/>
                    </a:lnTo>
                    <a:lnTo>
                      <a:pt x="24" y="22"/>
                    </a:lnTo>
                    <a:lnTo>
                      <a:pt x="23" y="18"/>
                    </a:lnTo>
                    <a:lnTo>
                      <a:pt x="21" y="18"/>
                    </a:lnTo>
                    <a:lnTo>
                      <a:pt x="19" y="18"/>
                    </a:lnTo>
                    <a:lnTo>
                      <a:pt x="19" y="21"/>
                    </a:lnTo>
                    <a:lnTo>
                      <a:pt x="17" y="22"/>
                    </a:lnTo>
                    <a:lnTo>
                      <a:pt x="16" y="21"/>
                    </a:lnTo>
                    <a:lnTo>
                      <a:pt x="18" y="18"/>
                    </a:lnTo>
                    <a:lnTo>
                      <a:pt x="16" y="16"/>
                    </a:lnTo>
                    <a:lnTo>
                      <a:pt x="14" y="15"/>
                    </a:lnTo>
                    <a:lnTo>
                      <a:pt x="15" y="12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6" y="4"/>
                    </a:lnTo>
                    <a:lnTo>
                      <a:pt x="17" y="1"/>
                    </a:lnTo>
                    <a:lnTo>
                      <a:pt x="17" y="0"/>
                    </a:lnTo>
                    <a:lnTo>
                      <a:pt x="15" y="1"/>
                    </a:lnTo>
                    <a:lnTo>
                      <a:pt x="14" y="3"/>
                    </a:lnTo>
                    <a:lnTo>
                      <a:pt x="11" y="6"/>
                    </a:lnTo>
                    <a:lnTo>
                      <a:pt x="9" y="10"/>
                    </a:lnTo>
                    <a:lnTo>
                      <a:pt x="8" y="12"/>
                    </a:lnTo>
                    <a:lnTo>
                      <a:pt x="5" y="17"/>
                    </a:lnTo>
                    <a:lnTo>
                      <a:pt x="1" y="19"/>
                    </a:lnTo>
                    <a:lnTo>
                      <a:pt x="0" y="22"/>
                    </a:lnTo>
                    <a:lnTo>
                      <a:pt x="1" y="24"/>
                    </a:lnTo>
                    <a:lnTo>
                      <a:pt x="1" y="2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2" name="Freeform 1176">
                <a:extLst>
                  <a:ext uri="{FF2B5EF4-FFF2-40B4-BE49-F238E27FC236}">
                    <a16:creationId xmlns:a16="http://schemas.microsoft.com/office/drawing/2014/main" id="{6DD35934-1D71-47B1-B600-16DEBDA35F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4" y="1814"/>
                <a:ext cx="88" cy="116"/>
              </a:xfrm>
              <a:custGeom>
                <a:avLst/>
                <a:gdLst>
                  <a:gd name="T0" fmla="*/ 104 w 114"/>
                  <a:gd name="T1" fmla="*/ 73 h 150"/>
                  <a:gd name="T2" fmla="*/ 93 w 114"/>
                  <a:gd name="T3" fmla="*/ 65 h 150"/>
                  <a:gd name="T4" fmla="*/ 90 w 114"/>
                  <a:gd name="T5" fmla="*/ 69 h 150"/>
                  <a:gd name="T6" fmla="*/ 84 w 114"/>
                  <a:gd name="T7" fmla="*/ 68 h 150"/>
                  <a:gd name="T8" fmla="*/ 76 w 114"/>
                  <a:gd name="T9" fmla="*/ 75 h 150"/>
                  <a:gd name="T10" fmla="*/ 73 w 114"/>
                  <a:gd name="T11" fmla="*/ 69 h 150"/>
                  <a:gd name="T12" fmla="*/ 66 w 114"/>
                  <a:gd name="T13" fmla="*/ 65 h 150"/>
                  <a:gd name="T14" fmla="*/ 67 w 114"/>
                  <a:gd name="T15" fmla="*/ 57 h 150"/>
                  <a:gd name="T16" fmla="*/ 70 w 114"/>
                  <a:gd name="T17" fmla="*/ 53 h 150"/>
                  <a:gd name="T18" fmla="*/ 66 w 114"/>
                  <a:gd name="T19" fmla="*/ 47 h 150"/>
                  <a:gd name="T20" fmla="*/ 61 w 114"/>
                  <a:gd name="T21" fmla="*/ 45 h 150"/>
                  <a:gd name="T22" fmla="*/ 51 w 114"/>
                  <a:gd name="T23" fmla="*/ 56 h 150"/>
                  <a:gd name="T24" fmla="*/ 58 w 114"/>
                  <a:gd name="T25" fmla="*/ 38 h 150"/>
                  <a:gd name="T26" fmla="*/ 67 w 114"/>
                  <a:gd name="T27" fmla="*/ 24 h 150"/>
                  <a:gd name="T28" fmla="*/ 75 w 114"/>
                  <a:gd name="T29" fmla="*/ 17 h 150"/>
                  <a:gd name="T30" fmla="*/ 71 w 114"/>
                  <a:gd name="T31" fmla="*/ 8 h 150"/>
                  <a:gd name="T32" fmla="*/ 78 w 114"/>
                  <a:gd name="T33" fmla="*/ 2 h 150"/>
                  <a:gd name="T34" fmla="*/ 71 w 114"/>
                  <a:gd name="T35" fmla="*/ 4 h 150"/>
                  <a:gd name="T36" fmla="*/ 57 w 114"/>
                  <a:gd name="T37" fmla="*/ 16 h 150"/>
                  <a:gd name="T38" fmla="*/ 49 w 114"/>
                  <a:gd name="T39" fmla="*/ 26 h 150"/>
                  <a:gd name="T40" fmla="*/ 45 w 114"/>
                  <a:gd name="T41" fmla="*/ 34 h 150"/>
                  <a:gd name="T42" fmla="*/ 39 w 114"/>
                  <a:gd name="T43" fmla="*/ 42 h 150"/>
                  <a:gd name="T44" fmla="*/ 33 w 114"/>
                  <a:gd name="T45" fmla="*/ 61 h 150"/>
                  <a:gd name="T46" fmla="*/ 30 w 114"/>
                  <a:gd name="T47" fmla="*/ 69 h 150"/>
                  <a:gd name="T48" fmla="*/ 19 w 114"/>
                  <a:gd name="T49" fmla="*/ 78 h 150"/>
                  <a:gd name="T50" fmla="*/ 12 w 114"/>
                  <a:gd name="T51" fmla="*/ 81 h 150"/>
                  <a:gd name="T52" fmla="*/ 7 w 114"/>
                  <a:gd name="T53" fmla="*/ 89 h 150"/>
                  <a:gd name="T54" fmla="*/ 7 w 114"/>
                  <a:gd name="T55" fmla="*/ 102 h 150"/>
                  <a:gd name="T56" fmla="*/ 3 w 114"/>
                  <a:gd name="T57" fmla="*/ 115 h 150"/>
                  <a:gd name="T58" fmla="*/ 19 w 114"/>
                  <a:gd name="T59" fmla="*/ 110 h 150"/>
                  <a:gd name="T60" fmla="*/ 34 w 114"/>
                  <a:gd name="T61" fmla="*/ 116 h 150"/>
                  <a:gd name="T62" fmla="*/ 44 w 114"/>
                  <a:gd name="T63" fmla="*/ 116 h 150"/>
                  <a:gd name="T64" fmla="*/ 54 w 114"/>
                  <a:gd name="T65" fmla="*/ 114 h 150"/>
                  <a:gd name="T66" fmla="*/ 56 w 114"/>
                  <a:gd name="T67" fmla="*/ 113 h 150"/>
                  <a:gd name="T68" fmla="*/ 59 w 114"/>
                  <a:gd name="T69" fmla="*/ 115 h 150"/>
                  <a:gd name="T70" fmla="*/ 57 w 114"/>
                  <a:gd name="T71" fmla="*/ 120 h 150"/>
                  <a:gd name="T72" fmla="*/ 67 w 114"/>
                  <a:gd name="T73" fmla="*/ 117 h 150"/>
                  <a:gd name="T74" fmla="*/ 78 w 114"/>
                  <a:gd name="T75" fmla="*/ 117 h 150"/>
                  <a:gd name="T76" fmla="*/ 67 w 114"/>
                  <a:gd name="T77" fmla="*/ 127 h 150"/>
                  <a:gd name="T78" fmla="*/ 55 w 114"/>
                  <a:gd name="T79" fmla="*/ 135 h 150"/>
                  <a:gd name="T80" fmla="*/ 62 w 114"/>
                  <a:gd name="T81" fmla="*/ 137 h 150"/>
                  <a:gd name="T82" fmla="*/ 70 w 114"/>
                  <a:gd name="T83" fmla="*/ 132 h 150"/>
                  <a:gd name="T84" fmla="*/ 78 w 114"/>
                  <a:gd name="T85" fmla="*/ 126 h 150"/>
                  <a:gd name="T86" fmla="*/ 87 w 114"/>
                  <a:gd name="T87" fmla="*/ 110 h 150"/>
                  <a:gd name="T88" fmla="*/ 91 w 114"/>
                  <a:gd name="T89" fmla="*/ 125 h 150"/>
                  <a:gd name="T90" fmla="*/ 86 w 114"/>
                  <a:gd name="T91" fmla="*/ 144 h 150"/>
                  <a:gd name="T92" fmla="*/ 100 w 114"/>
                  <a:gd name="T93" fmla="*/ 132 h 150"/>
                  <a:gd name="T94" fmla="*/ 95 w 114"/>
                  <a:gd name="T95" fmla="*/ 148 h 150"/>
                  <a:gd name="T96" fmla="*/ 106 w 114"/>
                  <a:gd name="T97" fmla="*/ 147 h 150"/>
                  <a:gd name="T98" fmla="*/ 108 w 114"/>
                  <a:gd name="T99" fmla="*/ 135 h 150"/>
                  <a:gd name="T100" fmla="*/ 112 w 114"/>
                  <a:gd name="T101" fmla="*/ 116 h 150"/>
                  <a:gd name="T102" fmla="*/ 104 w 114"/>
                  <a:gd name="T103" fmla="*/ 116 h 150"/>
                  <a:gd name="T104" fmla="*/ 110 w 114"/>
                  <a:gd name="T105" fmla="*/ 107 h 150"/>
                  <a:gd name="T106" fmla="*/ 98 w 114"/>
                  <a:gd name="T107" fmla="*/ 119 h 150"/>
                  <a:gd name="T108" fmla="*/ 95 w 114"/>
                  <a:gd name="T109" fmla="*/ 113 h 150"/>
                  <a:gd name="T110" fmla="*/ 93 w 114"/>
                  <a:gd name="T111" fmla="*/ 105 h 150"/>
                  <a:gd name="T112" fmla="*/ 105 w 114"/>
                  <a:gd name="T113" fmla="*/ 95 h 150"/>
                  <a:gd name="T114" fmla="*/ 105 w 114"/>
                  <a:gd name="T115" fmla="*/ 90 h 150"/>
                  <a:gd name="T116" fmla="*/ 97 w 114"/>
                  <a:gd name="T117" fmla="*/ 96 h 150"/>
                  <a:gd name="T118" fmla="*/ 92 w 114"/>
                  <a:gd name="T119" fmla="*/ 97 h 150"/>
                  <a:gd name="T120" fmla="*/ 96 w 114"/>
                  <a:gd name="T121" fmla="*/ 86 h 150"/>
                  <a:gd name="T122" fmla="*/ 92 w 114"/>
                  <a:gd name="T123" fmla="*/ 83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4" h="150">
                    <a:moveTo>
                      <a:pt x="93" y="82"/>
                    </a:moveTo>
                    <a:cubicBezTo>
                      <a:pt x="96" y="81"/>
                      <a:pt x="96" y="81"/>
                      <a:pt x="96" y="81"/>
                    </a:cubicBezTo>
                    <a:cubicBezTo>
                      <a:pt x="99" y="80"/>
                      <a:pt x="99" y="80"/>
                      <a:pt x="99" y="80"/>
                    </a:cubicBezTo>
                    <a:cubicBezTo>
                      <a:pt x="100" y="78"/>
                      <a:pt x="100" y="78"/>
                      <a:pt x="100" y="78"/>
                    </a:cubicBezTo>
                    <a:cubicBezTo>
                      <a:pt x="102" y="78"/>
                      <a:pt x="102" y="78"/>
                      <a:pt x="102" y="78"/>
                    </a:cubicBezTo>
                    <a:cubicBezTo>
                      <a:pt x="103" y="76"/>
                      <a:pt x="103" y="76"/>
                      <a:pt x="103" y="76"/>
                    </a:cubicBezTo>
                    <a:cubicBezTo>
                      <a:pt x="104" y="73"/>
                      <a:pt x="104" y="73"/>
                      <a:pt x="104" y="73"/>
                    </a:cubicBezTo>
                    <a:cubicBezTo>
                      <a:pt x="105" y="72"/>
                      <a:pt x="105" y="72"/>
                      <a:pt x="105" y="72"/>
                    </a:cubicBezTo>
                    <a:cubicBezTo>
                      <a:pt x="105" y="70"/>
                      <a:pt x="105" y="70"/>
                      <a:pt x="105" y="70"/>
                    </a:cubicBezTo>
                    <a:cubicBezTo>
                      <a:pt x="103" y="68"/>
                      <a:pt x="103" y="68"/>
                      <a:pt x="103" y="68"/>
                    </a:cubicBezTo>
                    <a:cubicBezTo>
                      <a:pt x="100" y="65"/>
                      <a:pt x="100" y="65"/>
                      <a:pt x="100" y="65"/>
                    </a:cubicBezTo>
                    <a:cubicBezTo>
                      <a:pt x="97" y="65"/>
                      <a:pt x="97" y="65"/>
                      <a:pt x="97" y="65"/>
                    </a:cubicBezTo>
                    <a:cubicBezTo>
                      <a:pt x="94" y="65"/>
                      <a:pt x="94" y="65"/>
                      <a:pt x="94" y="65"/>
                    </a:cubicBezTo>
                    <a:cubicBezTo>
                      <a:pt x="93" y="65"/>
                      <a:pt x="93" y="65"/>
                      <a:pt x="93" y="65"/>
                    </a:cubicBezTo>
                    <a:cubicBezTo>
                      <a:pt x="93" y="67"/>
                      <a:pt x="93" y="67"/>
                      <a:pt x="93" y="67"/>
                    </a:cubicBezTo>
                    <a:cubicBezTo>
                      <a:pt x="91" y="71"/>
                      <a:pt x="91" y="71"/>
                      <a:pt x="91" y="71"/>
                    </a:cubicBezTo>
                    <a:cubicBezTo>
                      <a:pt x="91" y="74"/>
                      <a:pt x="91" y="74"/>
                      <a:pt x="91" y="74"/>
                    </a:cubicBezTo>
                    <a:cubicBezTo>
                      <a:pt x="89" y="76"/>
                      <a:pt x="89" y="76"/>
                      <a:pt x="89" y="76"/>
                    </a:cubicBezTo>
                    <a:cubicBezTo>
                      <a:pt x="90" y="74"/>
                      <a:pt x="90" y="74"/>
                      <a:pt x="90" y="74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69"/>
                      <a:pt x="90" y="69"/>
                      <a:pt x="90" y="69"/>
                    </a:cubicBezTo>
                    <a:cubicBezTo>
                      <a:pt x="90" y="67"/>
                      <a:pt x="90" y="67"/>
                      <a:pt x="90" y="67"/>
                    </a:cubicBezTo>
                    <a:cubicBezTo>
                      <a:pt x="92" y="64"/>
                      <a:pt x="92" y="64"/>
                      <a:pt x="92" y="64"/>
                    </a:cubicBezTo>
                    <a:cubicBezTo>
                      <a:pt x="90" y="63"/>
                      <a:pt x="90" y="63"/>
                      <a:pt x="90" y="63"/>
                    </a:cubicBezTo>
                    <a:cubicBezTo>
                      <a:pt x="88" y="66"/>
                      <a:pt x="88" y="66"/>
                      <a:pt x="88" y="66"/>
                    </a:cubicBezTo>
                    <a:cubicBezTo>
                      <a:pt x="87" y="68"/>
                      <a:pt x="87" y="68"/>
                      <a:pt x="87" y="68"/>
                    </a:cubicBezTo>
                    <a:cubicBezTo>
                      <a:pt x="85" y="70"/>
                      <a:pt x="85" y="70"/>
                      <a:pt x="85" y="70"/>
                    </a:cubicBezTo>
                    <a:cubicBezTo>
                      <a:pt x="84" y="68"/>
                      <a:pt x="84" y="68"/>
                      <a:pt x="84" y="68"/>
                    </a:cubicBezTo>
                    <a:cubicBezTo>
                      <a:pt x="83" y="70"/>
                      <a:pt x="83" y="70"/>
                      <a:pt x="83" y="70"/>
                    </a:cubicBezTo>
                    <a:cubicBezTo>
                      <a:pt x="81" y="71"/>
                      <a:pt x="81" y="71"/>
                      <a:pt x="81" y="71"/>
                    </a:cubicBezTo>
                    <a:cubicBezTo>
                      <a:pt x="80" y="69"/>
                      <a:pt x="80" y="69"/>
                      <a:pt x="80" y="69"/>
                    </a:cubicBezTo>
                    <a:cubicBezTo>
                      <a:pt x="77" y="71"/>
                      <a:pt x="77" y="71"/>
                      <a:pt x="77" y="71"/>
                    </a:cubicBezTo>
                    <a:cubicBezTo>
                      <a:pt x="77" y="75"/>
                      <a:pt x="77" y="75"/>
                      <a:pt x="77" y="75"/>
                    </a:cubicBezTo>
                    <a:cubicBezTo>
                      <a:pt x="74" y="77"/>
                      <a:pt x="74" y="77"/>
                      <a:pt x="74" y="77"/>
                    </a:cubicBezTo>
                    <a:cubicBezTo>
                      <a:pt x="76" y="75"/>
                      <a:pt x="76" y="75"/>
                      <a:pt x="76" y="75"/>
                    </a:cubicBezTo>
                    <a:cubicBezTo>
                      <a:pt x="77" y="70"/>
                      <a:pt x="77" y="70"/>
                      <a:pt x="77" y="70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78" y="65"/>
                      <a:pt x="78" y="65"/>
                      <a:pt x="78" y="65"/>
                    </a:cubicBezTo>
                    <a:cubicBezTo>
                      <a:pt x="76" y="66"/>
                      <a:pt x="76" y="66"/>
                      <a:pt x="76" y="66"/>
                    </a:cubicBezTo>
                    <a:cubicBezTo>
                      <a:pt x="75" y="68"/>
                      <a:pt x="75" y="68"/>
                      <a:pt x="75" y="68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73" y="69"/>
                      <a:pt x="73" y="69"/>
                      <a:pt x="73" y="69"/>
                    </a:cubicBezTo>
                    <a:cubicBezTo>
                      <a:pt x="74" y="68"/>
                      <a:pt x="74" y="68"/>
                      <a:pt x="74" y="68"/>
                    </a:cubicBezTo>
                    <a:cubicBezTo>
                      <a:pt x="74" y="65"/>
                      <a:pt x="74" y="65"/>
                      <a:pt x="74" y="65"/>
                    </a:cubicBezTo>
                    <a:cubicBezTo>
                      <a:pt x="74" y="65"/>
                      <a:pt x="74" y="65"/>
                      <a:pt x="74" y="65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69" y="68"/>
                      <a:pt x="69" y="68"/>
                      <a:pt x="69" y="68"/>
                    </a:cubicBezTo>
                    <a:cubicBezTo>
                      <a:pt x="67" y="68"/>
                      <a:pt x="67" y="68"/>
                      <a:pt x="67" y="68"/>
                    </a:cubicBezTo>
                    <a:cubicBezTo>
                      <a:pt x="66" y="65"/>
                      <a:pt x="66" y="65"/>
                      <a:pt x="66" y="65"/>
                    </a:cubicBezTo>
                    <a:cubicBezTo>
                      <a:pt x="66" y="64"/>
                      <a:pt x="66" y="64"/>
                      <a:pt x="66" y="64"/>
                    </a:cubicBezTo>
                    <a:cubicBezTo>
                      <a:pt x="63" y="67"/>
                      <a:pt x="63" y="67"/>
                      <a:pt x="63" y="67"/>
                    </a:cubicBezTo>
                    <a:cubicBezTo>
                      <a:pt x="62" y="67"/>
                      <a:pt x="62" y="67"/>
                      <a:pt x="62" y="67"/>
                    </a:cubicBezTo>
                    <a:cubicBezTo>
                      <a:pt x="61" y="66"/>
                      <a:pt x="61" y="66"/>
                      <a:pt x="61" y="66"/>
                    </a:cubicBezTo>
                    <a:cubicBezTo>
                      <a:pt x="64" y="63"/>
                      <a:pt x="64" y="63"/>
                      <a:pt x="64" y="63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67" y="57"/>
                      <a:pt x="67" y="57"/>
                      <a:pt x="67" y="57"/>
                    </a:cubicBezTo>
                    <a:cubicBezTo>
                      <a:pt x="66" y="57"/>
                      <a:pt x="66" y="57"/>
                      <a:pt x="66" y="57"/>
                    </a:cubicBezTo>
                    <a:cubicBezTo>
                      <a:pt x="64" y="57"/>
                      <a:pt x="64" y="57"/>
                      <a:pt x="64" y="57"/>
                    </a:cubicBezTo>
                    <a:cubicBezTo>
                      <a:pt x="62" y="60"/>
                      <a:pt x="62" y="60"/>
                      <a:pt x="62" y="60"/>
                    </a:cubicBezTo>
                    <a:cubicBezTo>
                      <a:pt x="63" y="57"/>
                      <a:pt x="63" y="57"/>
                      <a:pt x="63" y="57"/>
                    </a:cubicBezTo>
                    <a:cubicBezTo>
                      <a:pt x="66" y="54"/>
                      <a:pt x="66" y="54"/>
                      <a:pt x="66" y="54"/>
                    </a:cubicBezTo>
                    <a:cubicBezTo>
                      <a:pt x="69" y="54"/>
                      <a:pt x="69" y="54"/>
                      <a:pt x="69" y="54"/>
                    </a:cubicBezTo>
                    <a:cubicBezTo>
                      <a:pt x="70" y="53"/>
                      <a:pt x="70" y="53"/>
                      <a:pt x="70" y="53"/>
                    </a:cubicBezTo>
                    <a:cubicBezTo>
                      <a:pt x="73" y="52"/>
                      <a:pt x="73" y="52"/>
                      <a:pt x="73" y="52"/>
                    </a:cubicBezTo>
                    <a:cubicBezTo>
                      <a:pt x="75" y="50"/>
                      <a:pt x="75" y="50"/>
                      <a:pt x="75" y="50"/>
                    </a:cubicBezTo>
                    <a:cubicBezTo>
                      <a:pt x="75" y="48"/>
                      <a:pt x="75" y="48"/>
                      <a:pt x="75" y="48"/>
                    </a:cubicBezTo>
                    <a:cubicBezTo>
                      <a:pt x="74" y="49"/>
                      <a:pt x="74" y="49"/>
                      <a:pt x="74" y="49"/>
                    </a:cubicBezTo>
                    <a:cubicBezTo>
                      <a:pt x="71" y="50"/>
                      <a:pt x="71" y="50"/>
                      <a:pt x="71" y="50"/>
                    </a:cubicBezTo>
                    <a:cubicBezTo>
                      <a:pt x="69" y="49"/>
                      <a:pt x="69" y="49"/>
                      <a:pt x="69" y="49"/>
                    </a:cubicBezTo>
                    <a:cubicBezTo>
                      <a:pt x="66" y="47"/>
                      <a:pt x="66" y="47"/>
                      <a:pt x="66" y="47"/>
                    </a:cubicBezTo>
                    <a:cubicBezTo>
                      <a:pt x="65" y="47"/>
                      <a:pt x="65" y="47"/>
                      <a:pt x="65" y="47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5" y="45"/>
                      <a:pt x="65" y="45"/>
                      <a:pt x="65" y="45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5" y="43"/>
                      <a:pt x="65" y="43"/>
                      <a:pt x="65" y="43"/>
                    </a:cubicBezTo>
                    <a:cubicBezTo>
                      <a:pt x="63" y="43"/>
                      <a:pt x="63" y="43"/>
                      <a:pt x="63" y="43"/>
                    </a:cubicBezTo>
                    <a:cubicBezTo>
                      <a:pt x="61" y="45"/>
                      <a:pt x="61" y="45"/>
                      <a:pt x="61" y="45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58" y="51"/>
                      <a:pt x="58" y="51"/>
                      <a:pt x="58" y="51"/>
                    </a:cubicBezTo>
                    <a:cubicBezTo>
                      <a:pt x="56" y="52"/>
                      <a:pt x="56" y="52"/>
                      <a:pt x="56" y="52"/>
                    </a:cubicBezTo>
                    <a:cubicBezTo>
                      <a:pt x="55" y="55"/>
                      <a:pt x="55" y="55"/>
                      <a:pt x="55" y="55"/>
                    </a:cubicBezTo>
                    <a:cubicBezTo>
                      <a:pt x="53" y="57"/>
                      <a:pt x="53" y="57"/>
                      <a:pt x="53" y="57"/>
                    </a:cubicBezTo>
                    <a:cubicBezTo>
                      <a:pt x="51" y="59"/>
                      <a:pt x="51" y="59"/>
                      <a:pt x="51" y="59"/>
                    </a:cubicBezTo>
                    <a:cubicBezTo>
                      <a:pt x="51" y="56"/>
                      <a:pt x="51" y="56"/>
                      <a:pt x="51" y="56"/>
                    </a:cubicBezTo>
                    <a:cubicBezTo>
                      <a:pt x="51" y="53"/>
                      <a:pt x="51" y="53"/>
                      <a:pt x="51" y="53"/>
                    </a:cubicBezTo>
                    <a:cubicBezTo>
                      <a:pt x="53" y="50"/>
                      <a:pt x="53" y="50"/>
                      <a:pt x="53" y="50"/>
                    </a:cubicBezTo>
                    <a:cubicBezTo>
                      <a:pt x="53" y="48"/>
                      <a:pt x="53" y="48"/>
                      <a:pt x="53" y="48"/>
                    </a:cubicBezTo>
                    <a:cubicBezTo>
                      <a:pt x="54" y="44"/>
                      <a:pt x="54" y="44"/>
                      <a:pt x="54" y="44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57" y="39"/>
                      <a:pt x="57" y="39"/>
                      <a:pt x="57" y="39"/>
                    </a:cubicBezTo>
                    <a:cubicBezTo>
                      <a:pt x="58" y="38"/>
                      <a:pt x="58" y="38"/>
                      <a:pt x="58" y="38"/>
                    </a:cubicBezTo>
                    <a:cubicBezTo>
                      <a:pt x="60" y="36"/>
                      <a:pt x="60" y="36"/>
                      <a:pt x="60" y="36"/>
                    </a:cubicBezTo>
                    <a:cubicBezTo>
                      <a:pt x="61" y="32"/>
                      <a:pt x="61" y="32"/>
                      <a:pt x="61" y="32"/>
                    </a:cubicBezTo>
                    <a:cubicBezTo>
                      <a:pt x="63" y="31"/>
                      <a:pt x="63" y="31"/>
                      <a:pt x="63" y="31"/>
                    </a:cubicBezTo>
                    <a:cubicBezTo>
                      <a:pt x="65" y="28"/>
                      <a:pt x="65" y="28"/>
                      <a:pt x="65" y="28"/>
                    </a:cubicBezTo>
                    <a:cubicBezTo>
                      <a:pt x="66" y="28"/>
                      <a:pt x="66" y="28"/>
                      <a:pt x="66" y="28"/>
                    </a:cubicBezTo>
                    <a:cubicBezTo>
                      <a:pt x="67" y="26"/>
                      <a:pt x="67" y="26"/>
                      <a:pt x="67" y="26"/>
                    </a:cubicBezTo>
                    <a:cubicBezTo>
                      <a:pt x="67" y="24"/>
                      <a:pt x="67" y="24"/>
                      <a:pt x="67" y="24"/>
                    </a:cubicBezTo>
                    <a:cubicBezTo>
                      <a:pt x="68" y="22"/>
                      <a:pt x="68" y="22"/>
                      <a:pt x="68" y="22"/>
                    </a:cubicBezTo>
                    <a:cubicBezTo>
                      <a:pt x="69" y="19"/>
                      <a:pt x="69" y="19"/>
                      <a:pt x="69" y="19"/>
                    </a:cubicBezTo>
                    <a:cubicBezTo>
                      <a:pt x="69" y="22"/>
                      <a:pt x="69" y="22"/>
                      <a:pt x="69" y="22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69" y="25"/>
                      <a:pt x="69" y="25"/>
                      <a:pt x="69" y="25"/>
                    </a:cubicBezTo>
                    <a:cubicBezTo>
                      <a:pt x="71" y="21"/>
                      <a:pt x="71" y="21"/>
                      <a:pt x="71" y="21"/>
                    </a:cubicBezTo>
                    <a:cubicBezTo>
                      <a:pt x="75" y="17"/>
                      <a:pt x="75" y="17"/>
                      <a:pt x="75" y="17"/>
                    </a:cubicBezTo>
                    <a:cubicBezTo>
                      <a:pt x="76" y="15"/>
                      <a:pt x="76" y="15"/>
                      <a:pt x="76" y="15"/>
                    </a:cubicBezTo>
                    <a:cubicBezTo>
                      <a:pt x="74" y="13"/>
                      <a:pt x="74" y="13"/>
                      <a:pt x="74" y="13"/>
                    </a:cubicBezTo>
                    <a:cubicBezTo>
                      <a:pt x="73" y="13"/>
                      <a:pt x="73" y="13"/>
                      <a:pt x="73" y="13"/>
                    </a:cubicBezTo>
                    <a:cubicBezTo>
                      <a:pt x="72" y="14"/>
                      <a:pt x="72" y="14"/>
                      <a:pt x="72" y="14"/>
                    </a:cubicBezTo>
                    <a:cubicBezTo>
                      <a:pt x="71" y="11"/>
                      <a:pt x="71" y="11"/>
                      <a:pt x="71" y="11"/>
                    </a:cubicBezTo>
                    <a:cubicBezTo>
                      <a:pt x="70" y="10"/>
                      <a:pt x="70" y="10"/>
                      <a:pt x="70" y="10"/>
                    </a:cubicBezTo>
                    <a:cubicBezTo>
                      <a:pt x="71" y="8"/>
                      <a:pt x="71" y="8"/>
                      <a:pt x="71" y="8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5" y="8"/>
                      <a:pt x="75" y="8"/>
                      <a:pt x="75" y="8"/>
                    </a:cubicBezTo>
                    <a:cubicBezTo>
                      <a:pt x="78" y="10"/>
                      <a:pt x="78" y="10"/>
                      <a:pt x="78" y="10"/>
                    </a:cubicBezTo>
                    <a:cubicBezTo>
                      <a:pt x="79" y="9"/>
                      <a:pt x="79" y="9"/>
                      <a:pt x="79" y="9"/>
                    </a:cubicBezTo>
                    <a:cubicBezTo>
                      <a:pt x="81" y="7"/>
                      <a:pt x="81" y="7"/>
                      <a:pt x="81" y="7"/>
                    </a:cubicBezTo>
                    <a:cubicBezTo>
                      <a:pt x="81" y="1"/>
                      <a:pt x="81" y="1"/>
                      <a:pt x="81" y="1"/>
                    </a:cubicBezTo>
                    <a:cubicBezTo>
                      <a:pt x="78" y="2"/>
                      <a:pt x="78" y="2"/>
                      <a:pt x="78" y="2"/>
                    </a:cubicBezTo>
                    <a:cubicBezTo>
                      <a:pt x="76" y="3"/>
                      <a:pt x="76" y="3"/>
                      <a:pt x="76" y="3"/>
                    </a:cubicBezTo>
                    <a:cubicBezTo>
                      <a:pt x="77" y="4"/>
                      <a:pt x="77" y="4"/>
                      <a:pt x="77" y="4"/>
                    </a:cubicBezTo>
                    <a:cubicBezTo>
                      <a:pt x="75" y="4"/>
                      <a:pt x="75" y="4"/>
                      <a:pt x="75" y="4"/>
                    </a:cubicBezTo>
                    <a:cubicBezTo>
                      <a:pt x="75" y="2"/>
                      <a:pt x="75" y="2"/>
                      <a:pt x="75" y="2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1" y="4"/>
                      <a:pt x="71" y="4"/>
                      <a:pt x="71" y="4"/>
                    </a:cubicBezTo>
                    <a:cubicBezTo>
                      <a:pt x="69" y="4"/>
                      <a:pt x="69" y="4"/>
                      <a:pt x="69" y="4"/>
                    </a:cubicBezTo>
                    <a:cubicBezTo>
                      <a:pt x="68" y="6"/>
                      <a:pt x="68" y="6"/>
                      <a:pt x="68" y="6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60" y="10"/>
                      <a:pt x="60" y="10"/>
                      <a:pt x="60" y="10"/>
                    </a:cubicBezTo>
                    <a:cubicBezTo>
                      <a:pt x="57" y="13"/>
                      <a:pt x="57" y="13"/>
                      <a:pt x="57" y="13"/>
                    </a:cubicBezTo>
                    <a:cubicBezTo>
                      <a:pt x="57" y="16"/>
                      <a:pt x="57" y="16"/>
                      <a:pt x="57" y="16"/>
                    </a:cubicBezTo>
                    <a:cubicBezTo>
                      <a:pt x="55" y="17"/>
                      <a:pt x="55" y="17"/>
                      <a:pt x="55" y="17"/>
                    </a:cubicBezTo>
                    <a:cubicBezTo>
                      <a:pt x="53" y="16"/>
                      <a:pt x="53" y="16"/>
                      <a:pt x="53" y="16"/>
                    </a:cubicBezTo>
                    <a:cubicBezTo>
                      <a:pt x="53" y="17"/>
                      <a:pt x="53" y="17"/>
                      <a:pt x="53" y="17"/>
                    </a:cubicBezTo>
                    <a:cubicBezTo>
                      <a:pt x="54" y="18"/>
                      <a:pt x="54" y="18"/>
                      <a:pt x="54" y="18"/>
                    </a:cubicBezTo>
                    <a:cubicBezTo>
                      <a:pt x="54" y="20"/>
                      <a:pt x="54" y="20"/>
                      <a:pt x="54" y="20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49" y="26"/>
                      <a:pt x="49" y="26"/>
                      <a:pt x="49" y="26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45" y="32"/>
                      <a:pt x="45" y="32"/>
                      <a:pt x="45" y="32"/>
                    </a:cubicBezTo>
                    <a:cubicBezTo>
                      <a:pt x="46" y="33"/>
                      <a:pt x="46" y="33"/>
                      <a:pt x="46" y="33"/>
                    </a:cubicBezTo>
                    <a:cubicBezTo>
                      <a:pt x="45" y="34"/>
                      <a:pt x="45" y="34"/>
                      <a:pt x="45" y="34"/>
                    </a:cubicBezTo>
                    <a:cubicBezTo>
                      <a:pt x="43" y="35"/>
                      <a:pt x="43" y="35"/>
                      <a:pt x="43" y="35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1" y="39"/>
                      <a:pt x="41" y="39"/>
                      <a:pt x="41" y="39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1" y="41"/>
                      <a:pt x="41" y="41"/>
                      <a:pt x="41" y="41"/>
                    </a:cubicBezTo>
                    <a:cubicBezTo>
                      <a:pt x="39" y="42"/>
                      <a:pt x="39" y="42"/>
                      <a:pt x="39" y="42"/>
                    </a:cubicBezTo>
                    <a:cubicBezTo>
                      <a:pt x="37" y="46"/>
                      <a:pt x="37" y="46"/>
                      <a:pt x="37" y="46"/>
                    </a:cubicBezTo>
                    <a:cubicBezTo>
                      <a:pt x="37" y="48"/>
                      <a:pt x="37" y="48"/>
                      <a:pt x="37" y="48"/>
                    </a:cubicBezTo>
                    <a:cubicBezTo>
                      <a:pt x="33" y="55"/>
                      <a:pt x="33" y="55"/>
                      <a:pt x="33" y="55"/>
                    </a:cubicBezTo>
                    <a:cubicBezTo>
                      <a:pt x="33" y="57"/>
                      <a:pt x="33" y="57"/>
                      <a:pt x="33" y="57"/>
                    </a:cubicBezTo>
                    <a:cubicBezTo>
                      <a:pt x="34" y="59"/>
                      <a:pt x="34" y="59"/>
                      <a:pt x="34" y="59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1" y="60"/>
                      <a:pt x="31" y="60"/>
                      <a:pt x="31" y="60"/>
                    </a:cubicBezTo>
                    <a:cubicBezTo>
                      <a:pt x="28" y="62"/>
                      <a:pt x="28" y="62"/>
                      <a:pt x="28" y="62"/>
                    </a:cubicBezTo>
                    <a:cubicBezTo>
                      <a:pt x="26" y="65"/>
                      <a:pt x="26" y="65"/>
                      <a:pt x="26" y="65"/>
                    </a:cubicBezTo>
                    <a:cubicBezTo>
                      <a:pt x="27" y="67"/>
                      <a:pt x="27" y="67"/>
                      <a:pt x="27" y="67"/>
                    </a:cubicBezTo>
                    <a:cubicBezTo>
                      <a:pt x="29" y="67"/>
                      <a:pt x="29" y="67"/>
                      <a:pt x="29" y="67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29" y="70"/>
                      <a:pt x="29" y="70"/>
                      <a:pt x="29" y="70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26" y="74"/>
                      <a:pt x="26" y="74"/>
                      <a:pt x="26" y="74"/>
                    </a:cubicBezTo>
                    <a:cubicBezTo>
                      <a:pt x="22" y="73"/>
                      <a:pt x="22" y="73"/>
                      <a:pt x="22" y="73"/>
                    </a:cubicBezTo>
                    <a:cubicBezTo>
                      <a:pt x="22" y="74"/>
                      <a:pt x="22" y="74"/>
                      <a:pt x="22" y="74"/>
                    </a:cubicBezTo>
                    <a:cubicBezTo>
                      <a:pt x="21" y="76"/>
                      <a:pt x="21" y="76"/>
                      <a:pt x="21" y="76"/>
                    </a:cubicBezTo>
                    <a:cubicBezTo>
                      <a:pt x="19" y="78"/>
                      <a:pt x="19" y="78"/>
                      <a:pt x="19" y="78"/>
                    </a:cubicBezTo>
                    <a:cubicBezTo>
                      <a:pt x="17" y="83"/>
                      <a:pt x="17" y="83"/>
                      <a:pt x="17" y="83"/>
                    </a:cubicBezTo>
                    <a:cubicBezTo>
                      <a:pt x="16" y="86"/>
                      <a:pt x="16" y="86"/>
                      <a:pt x="16" y="86"/>
                    </a:cubicBezTo>
                    <a:cubicBezTo>
                      <a:pt x="15" y="86"/>
                      <a:pt x="15" y="86"/>
                      <a:pt x="15" y="86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5"/>
                      <a:pt x="13" y="85"/>
                      <a:pt x="13" y="85"/>
                    </a:cubicBezTo>
                    <a:cubicBezTo>
                      <a:pt x="12" y="83"/>
                      <a:pt x="12" y="83"/>
                      <a:pt x="12" y="83"/>
                    </a:cubicBezTo>
                    <a:cubicBezTo>
                      <a:pt x="12" y="81"/>
                      <a:pt x="12" y="81"/>
                      <a:pt x="12" y="81"/>
                    </a:cubicBezTo>
                    <a:cubicBezTo>
                      <a:pt x="14" y="79"/>
                      <a:pt x="14" y="79"/>
                      <a:pt x="14" y="79"/>
                    </a:cubicBezTo>
                    <a:cubicBezTo>
                      <a:pt x="15" y="77"/>
                      <a:pt x="15" y="77"/>
                      <a:pt x="15" y="77"/>
                    </a:cubicBezTo>
                    <a:cubicBezTo>
                      <a:pt x="14" y="78"/>
                      <a:pt x="14" y="78"/>
                      <a:pt x="14" y="78"/>
                    </a:cubicBezTo>
                    <a:cubicBezTo>
                      <a:pt x="12" y="80"/>
                      <a:pt x="12" y="80"/>
                      <a:pt x="12" y="80"/>
                    </a:cubicBezTo>
                    <a:cubicBezTo>
                      <a:pt x="7" y="83"/>
                      <a:pt x="7" y="83"/>
                      <a:pt x="7" y="83"/>
                    </a:cubicBezTo>
                    <a:cubicBezTo>
                      <a:pt x="6" y="89"/>
                      <a:pt x="6" y="89"/>
                      <a:pt x="6" y="89"/>
                    </a:cubicBezTo>
                    <a:cubicBezTo>
                      <a:pt x="7" y="89"/>
                      <a:pt x="7" y="89"/>
                      <a:pt x="7" y="89"/>
                    </a:cubicBezTo>
                    <a:cubicBezTo>
                      <a:pt x="10" y="88"/>
                      <a:pt x="10" y="88"/>
                      <a:pt x="10" y="88"/>
                    </a:cubicBezTo>
                    <a:cubicBezTo>
                      <a:pt x="15" y="87"/>
                      <a:pt x="15" y="87"/>
                      <a:pt x="15" y="87"/>
                    </a:cubicBezTo>
                    <a:cubicBezTo>
                      <a:pt x="19" y="87"/>
                      <a:pt x="19" y="87"/>
                      <a:pt x="19" y="87"/>
                    </a:cubicBezTo>
                    <a:cubicBezTo>
                      <a:pt x="16" y="90"/>
                      <a:pt x="16" y="90"/>
                      <a:pt x="16" y="90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1" y="99"/>
                      <a:pt x="11" y="99"/>
                      <a:pt x="11" y="99"/>
                    </a:cubicBezTo>
                    <a:cubicBezTo>
                      <a:pt x="7" y="102"/>
                      <a:pt x="7" y="102"/>
                      <a:pt x="7" y="102"/>
                    </a:cubicBezTo>
                    <a:cubicBezTo>
                      <a:pt x="3" y="105"/>
                      <a:pt x="3" y="105"/>
                      <a:pt x="3" y="105"/>
                    </a:cubicBezTo>
                    <a:cubicBezTo>
                      <a:pt x="1" y="105"/>
                      <a:pt x="1" y="105"/>
                      <a:pt x="1" y="105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1" y="110"/>
                      <a:pt x="1" y="110"/>
                      <a:pt x="1" y="110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1" y="115"/>
                      <a:pt x="1" y="115"/>
                      <a:pt x="1" y="115"/>
                    </a:cubicBezTo>
                    <a:cubicBezTo>
                      <a:pt x="3" y="115"/>
                      <a:pt x="3" y="115"/>
                      <a:pt x="3" y="115"/>
                    </a:cubicBezTo>
                    <a:cubicBezTo>
                      <a:pt x="7" y="116"/>
                      <a:pt x="7" y="116"/>
                      <a:pt x="7" y="116"/>
                    </a:cubicBezTo>
                    <a:cubicBezTo>
                      <a:pt x="11" y="116"/>
                      <a:pt x="11" y="116"/>
                      <a:pt x="11" y="116"/>
                    </a:cubicBezTo>
                    <a:cubicBezTo>
                      <a:pt x="13" y="113"/>
                      <a:pt x="13" y="113"/>
                      <a:pt x="13" y="113"/>
                    </a:cubicBezTo>
                    <a:cubicBezTo>
                      <a:pt x="16" y="113"/>
                      <a:pt x="16" y="113"/>
                      <a:pt x="16" y="113"/>
                    </a:cubicBezTo>
                    <a:cubicBezTo>
                      <a:pt x="18" y="110"/>
                      <a:pt x="18" y="110"/>
                      <a:pt x="18" y="110"/>
                    </a:cubicBezTo>
                    <a:cubicBezTo>
                      <a:pt x="19" y="109"/>
                      <a:pt x="19" y="109"/>
                      <a:pt x="19" y="109"/>
                    </a:cubicBezTo>
                    <a:cubicBezTo>
                      <a:pt x="19" y="110"/>
                      <a:pt x="19" y="110"/>
                      <a:pt x="19" y="110"/>
                    </a:cubicBezTo>
                    <a:cubicBezTo>
                      <a:pt x="18" y="113"/>
                      <a:pt x="18" y="113"/>
                      <a:pt x="18" y="113"/>
                    </a:cubicBezTo>
                    <a:cubicBezTo>
                      <a:pt x="21" y="114"/>
                      <a:pt x="21" y="114"/>
                      <a:pt x="21" y="114"/>
                    </a:cubicBezTo>
                    <a:cubicBezTo>
                      <a:pt x="24" y="113"/>
                      <a:pt x="24" y="113"/>
                      <a:pt x="24" y="113"/>
                    </a:cubicBezTo>
                    <a:cubicBezTo>
                      <a:pt x="25" y="115"/>
                      <a:pt x="25" y="115"/>
                      <a:pt x="25" y="115"/>
                    </a:cubicBezTo>
                    <a:cubicBezTo>
                      <a:pt x="30" y="115"/>
                      <a:pt x="30" y="115"/>
                      <a:pt x="30" y="115"/>
                    </a:cubicBezTo>
                    <a:cubicBezTo>
                      <a:pt x="33" y="114"/>
                      <a:pt x="33" y="114"/>
                      <a:pt x="33" y="114"/>
                    </a:cubicBezTo>
                    <a:cubicBezTo>
                      <a:pt x="34" y="116"/>
                      <a:pt x="34" y="116"/>
                      <a:pt x="34" y="116"/>
                    </a:cubicBezTo>
                    <a:cubicBezTo>
                      <a:pt x="35" y="117"/>
                      <a:pt x="35" y="117"/>
                      <a:pt x="35" y="117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40" y="118"/>
                      <a:pt x="40" y="118"/>
                      <a:pt x="40" y="118"/>
                    </a:cubicBezTo>
                    <a:cubicBezTo>
                      <a:pt x="42" y="118"/>
                      <a:pt x="42" y="118"/>
                      <a:pt x="42" y="118"/>
                    </a:cubicBezTo>
                    <a:cubicBezTo>
                      <a:pt x="44" y="117"/>
                      <a:pt x="44" y="117"/>
                      <a:pt x="44" y="117"/>
                    </a:cubicBezTo>
                    <a:cubicBezTo>
                      <a:pt x="44" y="116"/>
                      <a:pt x="44" y="116"/>
                      <a:pt x="44" y="116"/>
                    </a:cubicBezTo>
                    <a:cubicBezTo>
                      <a:pt x="46" y="116"/>
                      <a:pt x="46" y="116"/>
                      <a:pt x="46" y="116"/>
                    </a:cubicBezTo>
                    <a:cubicBezTo>
                      <a:pt x="47" y="117"/>
                      <a:pt x="47" y="117"/>
                      <a:pt x="47" y="117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50" y="115"/>
                      <a:pt x="50" y="115"/>
                      <a:pt x="50" y="115"/>
                    </a:cubicBezTo>
                    <a:cubicBezTo>
                      <a:pt x="52" y="115"/>
                      <a:pt x="52" y="115"/>
                      <a:pt x="52" y="115"/>
                    </a:cubicBezTo>
                    <a:cubicBezTo>
                      <a:pt x="53" y="116"/>
                      <a:pt x="53" y="116"/>
                      <a:pt x="53" y="116"/>
                    </a:cubicBezTo>
                    <a:cubicBezTo>
                      <a:pt x="54" y="114"/>
                      <a:pt x="54" y="114"/>
                      <a:pt x="54" y="114"/>
                    </a:cubicBezTo>
                    <a:cubicBezTo>
                      <a:pt x="54" y="112"/>
                      <a:pt x="54" y="112"/>
                      <a:pt x="54" y="112"/>
                    </a:cubicBezTo>
                    <a:cubicBezTo>
                      <a:pt x="54" y="109"/>
                      <a:pt x="54" y="109"/>
                      <a:pt x="54" y="109"/>
                    </a:cubicBezTo>
                    <a:cubicBezTo>
                      <a:pt x="55" y="110"/>
                      <a:pt x="55" y="110"/>
                      <a:pt x="55" y="110"/>
                    </a:cubicBezTo>
                    <a:cubicBezTo>
                      <a:pt x="56" y="108"/>
                      <a:pt x="56" y="108"/>
                      <a:pt x="56" y="108"/>
                    </a:cubicBezTo>
                    <a:cubicBezTo>
                      <a:pt x="57" y="108"/>
                      <a:pt x="57" y="108"/>
                      <a:pt x="57" y="108"/>
                    </a:cubicBezTo>
                    <a:cubicBezTo>
                      <a:pt x="57" y="109"/>
                      <a:pt x="57" y="109"/>
                      <a:pt x="57" y="109"/>
                    </a:cubicBezTo>
                    <a:cubicBezTo>
                      <a:pt x="56" y="113"/>
                      <a:pt x="56" y="113"/>
                      <a:pt x="56" y="113"/>
                    </a:cubicBezTo>
                    <a:cubicBezTo>
                      <a:pt x="56" y="114"/>
                      <a:pt x="56" y="114"/>
                      <a:pt x="56" y="114"/>
                    </a:cubicBezTo>
                    <a:cubicBezTo>
                      <a:pt x="57" y="112"/>
                      <a:pt x="57" y="112"/>
                      <a:pt x="57" y="112"/>
                    </a:cubicBezTo>
                    <a:cubicBezTo>
                      <a:pt x="59" y="109"/>
                      <a:pt x="59" y="109"/>
                      <a:pt x="59" y="109"/>
                    </a:cubicBezTo>
                    <a:cubicBezTo>
                      <a:pt x="60" y="109"/>
                      <a:pt x="60" y="109"/>
                      <a:pt x="60" y="109"/>
                    </a:cubicBezTo>
                    <a:cubicBezTo>
                      <a:pt x="60" y="111"/>
                      <a:pt x="60" y="111"/>
                      <a:pt x="60" y="111"/>
                    </a:cubicBezTo>
                    <a:cubicBezTo>
                      <a:pt x="59" y="114"/>
                      <a:pt x="59" y="114"/>
                      <a:pt x="59" y="114"/>
                    </a:cubicBezTo>
                    <a:cubicBezTo>
                      <a:pt x="59" y="115"/>
                      <a:pt x="59" y="115"/>
                      <a:pt x="59" y="115"/>
                    </a:cubicBezTo>
                    <a:cubicBezTo>
                      <a:pt x="61" y="115"/>
                      <a:pt x="61" y="115"/>
                      <a:pt x="61" y="115"/>
                    </a:cubicBezTo>
                    <a:cubicBezTo>
                      <a:pt x="62" y="114"/>
                      <a:pt x="62" y="114"/>
                      <a:pt x="62" y="114"/>
                    </a:cubicBezTo>
                    <a:cubicBezTo>
                      <a:pt x="62" y="115"/>
                      <a:pt x="62" y="115"/>
                      <a:pt x="62" y="115"/>
                    </a:cubicBezTo>
                    <a:cubicBezTo>
                      <a:pt x="58" y="118"/>
                      <a:pt x="58" y="118"/>
                      <a:pt x="58" y="118"/>
                    </a:cubicBezTo>
                    <a:cubicBezTo>
                      <a:pt x="55" y="120"/>
                      <a:pt x="55" y="120"/>
                      <a:pt x="55" y="120"/>
                    </a:cubicBezTo>
                    <a:cubicBezTo>
                      <a:pt x="56" y="121"/>
                      <a:pt x="56" y="121"/>
                      <a:pt x="56" y="121"/>
                    </a:cubicBezTo>
                    <a:cubicBezTo>
                      <a:pt x="57" y="120"/>
                      <a:pt x="57" y="120"/>
                      <a:pt x="57" y="120"/>
                    </a:cubicBezTo>
                    <a:cubicBezTo>
                      <a:pt x="59" y="120"/>
                      <a:pt x="59" y="120"/>
                      <a:pt x="59" y="120"/>
                    </a:cubicBezTo>
                    <a:cubicBezTo>
                      <a:pt x="59" y="121"/>
                      <a:pt x="59" y="121"/>
                      <a:pt x="59" y="121"/>
                    </a:cubicBezTo>
                    <a:cubicBezTo>
                      <a:pt x="62" y="121"/>
                      <a:pt x="62" y="121"/>
                      <a:pt x="62" y="121"/>
                    </a:cubicBezTo>
                    <a:cubicBezTo>
                      <a:pt x="62" y="122"/>
                      <a:pt x="62" y="122"/>
                      <a:pt x="62" y="122"/>
                    </a:cubicBezTo>
                    <a:cubicBezTo>
                      <a:pt x="64" y="121"/>
                      <a:pt x="64" y="121"/>
                      <a:pt x="64" y="121"/>
                    </a:cubicBezTo>
                    <a:cubicBezTo>
                      <a:pt x="66" y="120"/>
                      <a:pt x="66" y="120"/>
                      <a:pt x="66" y="120"/>
                    </a:cubicBezTo>
                    <a:cubicBezTo>
                      <a:pt x="67" y="117"/>
                      <a:pt x="67" y="117"/>
                      <a:pt x="67" y="117"/>
                    </a:cubicBezTo>
                    <a:cubicBezTo>
                      <a:pt x="67" y="115"/>
                      <a:pt x="67" y="115"/>
                      <a:pt x="67" y="115"/>
                    </a:cubicBezTo>
                    <a:cubicBezTo>
                      <a:pt x="68" y="116"/>
                      <a:pt x="68" y="116"/>
                      <a:pt x="68" y="116"/>
                    </a:cubicBezTo>
                    <a:cubicBezTo>
                      <a:pt x="71" y="117"/>
                      <a:pt x="71" y="117"/>
                      <a:pt x="71" y="117"/>
                    </a:cubicBezTo>
                    <a:cubicBezTo>
                      <a:pt x="72" y="119"/>
                      <a:pt x="72" y="119"/>
                      <a:pt x="72" y="119"/>
                    </a:cubicBezTo>
                    <a:cubicBezTo>
                      <a:pt x="74" y="118"/>
                      <a:pt x="74" y="118"/>
                      <a:pt x="74" y="118"/>
                    </a:cubicBezTo>
                    <a:cubicBezTo>
                      <a:pt x="76" y="117"/>
                      <a:pt x="76" y="117"/>
                      <a:pt x="76" y="117"/>
                    </a:cubicBezTo>
                    <a:cubicBezTo>
                      <a:pt x="78" y="117"/>
                      <a:pt x="78" y="117"/>
                      <a:pt x="78" y="117"/>
                    </a:cubicBezTo>
                    <a:cubicBezTo>
                      <a:pt x="76" y="119"/>
                      <a:pt x="76" y="119"/>
                      <a:pt x="76" y="119"/>
                    </a:cubicBezTo>
                    <a:cubicBezTo>
                      <a:pt x="76" y="120"/>
                      <a:pt x="76" y="120"/>
                      <a:pt x="76" y="120"/>
                    </a:cubicBezTo>
                    <a:cubicBezTo>
                      <a:pt x="73" y="122"/>
                      <a:pt x="73" y="122"/>
                      <a:pt x="73" y="122"/>
                    </a:cubicBezTo>
                    <a:cubicBezTo>
                      <a:pt x="70" y="122"/>
                      <a:pt x="70" y="122"/>
                      <a:pt x="70" y="122"/>
                    </a:cubicBezTo>
                    <a:cubicBezTo>
                      <a:pt x="68" y="125"/>
                      <a:pt x="68" y="125"/>
                      <a:pt x="68" y="125"/>
                    </a:cubicBezTo>
                    <a:cubicBezTo>
                      <a:pt x="68" y="126"/>
                      <a:pt x="68" y="126"/>
                      <a:pt x="68" y="126"/>
                    </a:cubicBezTo>
                    <a:cubicBezTo>
                      <a:pt x="67" y="127"/>
                      <a:pt x="67" y="127"/>
                      <a:pt x="67" y="127"/>
                    </a:cubicBezTo>
                    <a:cubicBezTo>
                      <a:pt x="67" y="129"/>
                      <a:pt x="67" y="129"/>
                      <a:pt x="67" y="129"/>
                    </a:cubicBezTo>
                    <a:cubicBezTo>
                      <a:pt x="64" y="129"/>
                      <a:pt x="64" y="129"/>
                      <a:pt x="64" y="129"/>
                    </a:cubicBezTo>
                    <a:cubicBezTo>
                      <a:pt x="63" y="129"/>
                      <a:pt x="63" y="129"/>
                      <a:pt x="63" y="129"/>
                    </a:cubicBezTo>
                    <a:cubicBezTo>
                      <a:pt x="62" y="131"/>
                      <a:pt x="62" y="131"/>
                      <a:pt x="62" y="131"/>
                    </a:cubicBezTo>
                    <a:cubicBezTo>
                      <a:pt x="61" y="132"/>
                      <a:pt x="61" y="132"/>
                      <a:pt x="61" y="132"/>
                    </a:cubicBezTo>
                    <a:cubicBezTo>
                      <a:pt x="58" y="133"/>
                      <a:pt x="58" y="133"/>
                      <a:pt x="58" y="133"/>
                    </a:cubicBezTo>
                    <a:cubicBezTo>
                      <a:pt x="55" y="135"/>
                      <a:pt x="55" y="135"/>
                      <a:pt x="55" y="135"/>
                    </a:cubicBezTo>
                    <a:cubicBezTo>
                      <a:pt x="55" y="137"/>
                      <a:pt x="55" y="137"/>
                      <a:pt x="55" y="137"/>
                    </a:cubicBezTo>
                    <a:cubicBezTo>
                      <a:pt x="56" y="138"/>
                      <a:pt x="56" y="138"/>
                      <a:pt x="56" y="138"/>
                    </a:cubicBezTo>
                    <a:cubicBezTo>
                      <a:pt x="56" y="140"/>
                      <a:pt x="56" y="140"/>
                      <a:pt x="56" y="140"/>
                    </a:cubicBezTo>
                    <a:cubicBezTo>
                      <a:pt x="59" y="140"/>
                      <a:pt x="59" y="140"/>
                      <a:pt x="59" y="140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1" y="137"/>
                      <a:pt x="61" y="137"/>
                      <a:pt x="61" y="137"/>
                    </a:cubicBezTo>
                    <a:cubicBezTo>
                      <a:pt x="62" y="137"/>
                      <a:pt x="62" y="137"/>
                      <a:pt x="62" y="137"/>
                    </a:cubicBezTo>
                    <a:cubicBezTo>
                      <a:pt x="62" y="139"/>
                      <a:pt x="62" y="139"/>
                      <a:pt x="62" y="139"/>
                    </a:cubicBezTo>
                    <a:cubicBezTo>
                      <a:pt x="63" y="140"/>
                      <a:pt x="63" y="140"/>
                      <a:pt x="63" y="140"/>
                    </a:cubicBezTo>
                    <a:cubicBezTo>
                      <a:pt x="66" y="139"/>
                      <a:pt x="66" y="139"/>
                      <a:pt x="66" y="139"/>
                    </a:cubicBezTo>
                    <a:cubicBezTo>
                      <a:pt x="68" y="137"/>
                      <a:pt x="68" y="137"/>
                      <a:pt x="68" y="137"/>
                    </a:cubicBezTo>
                    <a:cubicBezTo>
                      <a:pt x="69" y="135"/>
                      <a:pt x="69" y="135"/>
                      <a:pt x="69" y="135"/>
                    </a:cubicBezTo>
                    <a:cubicBezTo>
                      <a:pt x="70" y="135"/>
                      <a:pt x="70" y="135"/>
                      <a:pt x="70" y="135"/>
                    </a:cubicBezTo>
                    <a:cubicBezTo>
                      <a:pt x="70" y="132"/>
                      <a:pt x="70" y="132"/>
                      <a:pt x="70" y="132"/>
                    </a:cubicBezTo>
                    <a:cubicBezTo>
                      <a:pt x="71" y="129"/>
                      <a:pt x="71" y="129"/>
                      <a:pt x="71" y="129"/>
                    </a:cubicBezTo>
                    <a:cubicBezTo>
                      <a:pt x="72" y="129"/>
                      <a:pt x="72" y="129"/>
                      <a:pt x="72" y="129"/>
                    </a:cubicBezTo>
                    <a:cubicBezTo>
                      <a:pt x="75" y="125"/>
                      <a:pt x="75" y="125"/>
                      <a:pt x="75" y="125"/>
                    </a:cubicBezTo>
                    <a:cubicBezTo>
                      <a:pt x="77" y="124"/>
                      <a:pt x="77" y="124"/>
                      <a:pt x="77" y="124"/>
                    </a:cubicBezTo>
                    <a:cubicBezTo>
                      <a:pt x="78" y="125"/>
                      <a:pt x="78" y="125"/>
                      <a:pt x="78" y="125"/>
                    </a:cubicBezTo>
                    <a:cubicBezTo>
                      <a:pt x="81" y="125"/>
                      <a:pt x="81" y="125"/>
                      <a:pt x="81" y="125"/>
                    </a:cubicBezTo>
                    <a:cubicBezTo>
                      <a:pt x="78" y="126"/>
                      <a:pt x="78" y="126"/>
                      <a:pt x="78" y="126"/>
                    </a:cubicBezTo>
                    <a:cubicBezTo>
                      <a:pt x="80" y="126"/>
                      <a:pt x="80" y="126"/>
                      <a:pt x="80" y="126"/>
                    </a:cubicBezTo>
                    <a:cubicBezTo>
                      <a:pt x="82" y="125"/>
                      <a:pt x="82" y="125"/>
                      <a:pt x="82" y="125"/>
                    </a:cubicBezTo>
                    <a:cubicBezTo>
                      <a:pt x="83" y="120"/>
                      <a:pt x="83" y="120"/>
                      <a:pt x="83" y="120"/>
                    </a:cubicBezTo>
                    <a:cubicBezTo>
                      <a:pt x="85" y="115"/>
                      <a:pt x="85" y="115"/>
                      <a:pt x="85" y="115"/>
                    </a:cubicBezTo>
                    <a:cubicBezTo>
                      <a:pt x="85" y="111"/>
                      <a:pt x="85" y="111"/>
                      <a:pt x="85" y="111"/>
                    </a:cubicBezTo>
                    <a:cubicBezTo>
                      <a:pt x="86" y="110"/>
                      <a:pt x="86" y="110"/>
                      <a:pt x="86" y="110"/>
                    </a:cubicBezTo>
                    <a:cubicBezTo>
                      <a:pt x="87" y="110"/>
                      <a:pt x="87" y="110"/>
                      <a:pt x="87" y="110"/>
                    </a:cubicBezTo>
                    <a:cubicBezTo>
                      <a:pt x="88" y="112"/>
                      <a:pt x="88" y="112"/>
                      <a:pt x="88" y="112"/>
                    </a:cubicBezTo>
                    <a:cubicBezTo>
                      <a:pt x="89" y="112"/>
                      <a:pt x="89" y="112"/>
                      <a:pt x="89" y="112"/>
                    </a:cubicBezTo>
                    <a:cubicBezTo>
                      <a:pt x="91" y="113"/>
                      <a:pt x="91" y="113"/>
                      <a:pt x="91" y="113"/>
                    </a:cubicBezTo>
                    <a:cubicBezTo>
                      <a:pt x="91" y="118"/>
                      <a:pt x="91" y="118"/>
                      <a:pt x="91" y="118"/>
                    </a:cubicBezTo>
                    <a:cubicBezTo>
                      <a:pt x="90" y="120"/>
                      <a:pt x="90" y="120"/>
                      <a:pt x="90" y="120"/>
                    </a:cubicBezTo>
                    <a:cubicBezTo>
                      <a:pt x="90" y="123"/>
                      <a:pt x="90" y="123"/>
                      <a:pt x="90" y="123"/>
                    </a:cubicBezTo>
                    <a:cubicBezTo>
                      <a:pt x="91" y="125"/>
                      <a:pt x="91" y="125"/>
                      <a:pt x="91" y="125"/>
                    </a:cubicBezTo>
                    <a:cubicBezTo>
                      <a:pt x="90" y="128"/>
                      <a:pt x="90" y="128"/>
                      <a:pt x="90" y="128"/>
                    </a:cubicBezTo>
                    <a:cubicBezTo>
                      <a:pt x="87" y="130"/>
                      <a:pt x="87" y="130"/>
                      <a:pt x="87" y="130"/>
                    </a:cubicBezTo>
                    <a:cubicBezTo>
                      <a:pt x="85" y="137"/>
                      <a:pt x="85" y="137"/>
                      <a:pt x="85" y="137"/>
                    </a:cubicBezTo>
                    <a:cubicBezTo>
                      <a:pt x="85" y="139"/>
                      <a:pt x="85" y="139"/>
                      <a:pt x="85" y="139"/>
                    </a:cubicBezTo>
                    <a:cubicBezTo>
                      <a:pt x="84" y="141"/>
                      <a:pt x="84" y="141"/>
                      <a:pt x="84" y="141"/>
                    </a:cubicBezTo>
                    <a:cubicBezTo>
                      <a:pt x="84" y="143"/>
                      <a:pt x="84" y="143"/>
                      <a:pt x="84" y="143"/>
                    </a:cubicBezTo>
                    <a:cubicBezTo>
                      <a:pt x="86" y="144"/>
                      <a:pt x="86" y="144"/>
                      <a:pt x="86" y="144"/>
                    </a:cubicBezTo>
                    <a:cubicBezTo>
                      <a:pt x="89" y="142"/>
                      <a:pt x="89" y="142"/>
                      <a:pt x="89" y="142"/>
                    </a:cubicBezTo>
                    <a:cubicBezTo>
                      <a:pt x="91" y="136"/>
                      <a:pt x="91" y="136"/>
                      <a:pt x="91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5" y="133"/>
                      <a:pt x="95" y="133"/>
                      <a:pt x="95" y="133"/>
                    </a:cubicBezTo>
                    <a:cubicBezTo>
                      <a:pt x="96" y="130"/>
                      <a:pt x="96" y="130"/>
                      <a:pt x="96" y="130"/>
                    </a:cubicBezTo>
                    <a:cubicBezTo>
                      <a:pt x="97" y="132"/>
                      <a:pt x="97" y="132"/>
                      <a:pt x="97" y="132"/>
                    </a:cubicBezTo>
                    <a:cubicBezTo>
                      <a:pt x="100" y="132"/>
                      <a:pt x="100" y="132"/>
                      <a:pt x="100" y="132"/>
                    </a:cubicBezTo>
                    <a:cubicBezTo>
                      <a:pt x="100" y="133"/>
                      <a:pt x="100" y="133"/>
                      <a:pt x="100" y="133"/>
                    </a:cubicBezTo>
                    <a:cubicBezTo>
                      <a:pt x="97" y="134"/>
                      <a:pt x="97" y="134"/>
                      <a:pt x="97" y="134"/>
                    </a:cubicBezTo>
                    <a:cubicBezTo>
                      <a:pt x="94" y="137"/>
                      <a:pt x="94" y="137"/>
                      <a:pt x="94" y="137"/>
                    </a:cubicBezTo>
                    <a:cubicBezTo>
                      <a:pt x="94" y="140"/>
                      <a:pt x="94" y="140"/>
                      <a:pt x="94" y="140"/>
                    </a:cubicBezTo>
                    <a:cubicBezTo>
                      <a:pt x="94" y="143"/>
                      <a:pt x="94" y="143"/>
                      <a:pt x="94" y="143"/>
                    </a:cubicBezTo>
                    <a:cubicBezTo>
                      <a:pt x="95" y="144"/>
                      <a:pt x="95" y="144"/>
                      <a:pt x="95" y="144"/>
                    </a:cubicBezTo>
                    <a:cubicBezTo>
                      <a:pt x="95" y="148"/>
                      <a:pt x="95" y="148"/>
                      <a:pt x="95" y="148"/>
                    </a:cubicBezTo>
                    <a:cubicBezTo>
                      <a:pt x="97" y="150"/>
                      <a:pt x="97" y="150"/>
                      <a:pt x="97" y="150"/>
                    </a:cubicBezTo>
                    <a:cubicBezTo>
                      <a:pt x="97" y="147"/>
                      <a:pt x="97" y="147"/>
                      <a:pt x="97" y="147"/>
                    </a:cubicBezTo>
                    <a:cubicBezTo>
                      <a:pt x="99" y="145"/>
                      <a:pt x="99" y="145"/>
                      <a:pt x="99" y="145"/>
                    </a:cubicBezTo>
                    <a:cubicBezTo>
                      <a:pt x="99" y="145"/>
                      <a:pt x="100" y="145"/>
                      <a:pt x="100" y="145"/>
                    </a:cubicBezTo>
                    <a:cubicBezTo>
                      <a:pt x="101" y="145"/>
                      <a:pt x="102" y="148"/>
                      <a:pt x="102" y="148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6" y="147"/>
                      <a:pt x="106" y="147"/>
                      <a:pt x="106" y="147"/>
                    </a:cubicBezTo>
                    <a:cubicBezTo>
                      <a:pt x="106" y="145"/>
                      <a:pt x="106" y="145"/>
                      <a:pt x="106" y="145"/>
                    </a:cubicBezTo>
                    <a:cubicBezTo>
                      <a:pt x="107" y="144"/>
                      <a:pt x="107" y="144"/>
                      <a:pt x="107" y="144"/>
                    </a:cubicBezTo>
                    <a:cubicBezTo>
                      <a:pt x="108" y="142"/>
                      <a:pt x="108" y="142"/>
                      <a:pt x="108" y="142"/>
                    </a:cubicBezTo>
                    <a:cubicBezTo>
                      <a:pt x="108" y="139"/>
                      <a:pt x="108" y="139"/>
                      <a:pt x="108" y="139"/>
                    </a:cubicBezTo>
                    <a:cubicBezTo>
                      <a:pt x="108" y="139"/>
                      <a:pt x="108" y="139"/>
                      <a:pt x="108" y="139"/>
                    </a:cubicBezTo>
                    <a:cubicBezTo>
                      <a:pt x="109" y="137"/>
                      <a:pt x="109" y="137"/>
                      <a:pt x="109" y="137"/>
                    </a:cubicBezTo>
                    <a:cubicBezTo>
                      <a:pt x="108" y="135"/>
                      <a:pt x="108" y="135"/>
                      <a:pt x="108" y="135"/>
                    </a:cubicBezTo>
                    <a:cubicBezTo>
                      <a:pt x="109" y="132"/>
                      <a:pt x="109" y="132"/>
                      <a:pt x="109" y="132"/>
                    </a:cubicBezTo>
                    <a:cubicBezTo>
                      <a:pt x="112" y="127"/>
                      <a:pt x="112" y="127"/>
                      <a:pt x="112" y="127"/>
                    </a:cubicBezTo>
                    <a:cubicBezTo>
                      <a:pt x="114" y="123"/>
                      <a:pt x="114" y="123"/>
                      <a:pt x="114" y="123"/>
                    </a:cubicBezTo>
                    <a:cubicBezTo>
                      <a:pt x="113" y="117"/>
                      <a:pt x="113" y="117"/>
                      <a:pt x="113" y="117"/>
                    </a:cubicBezTo>
                    <a:cubicBezTo>
                      <a:pt x="113" y="114"/>
                      <a:pt x="113" y="114"/>
                      <a:pt x="113" y="114"/>
                    </a:cubicBezTo>
                    <a:cubicBezTo>
                      <a:pt x="112" y="114"/>
                      <a:pt x="112" y="114"/>
                      <a:pt x="112" y="114"/>
                    </a:cubicBezTo>
                    <a:cubicBezTo>
                      <a:pt x="112" y="116"/>
                      <a:pt x="112" y="116"/>
                      <a:pt x="112" y="116"/>
                    </a:cubicBezTo>
                    <a:cubicBezTo>
                      <a:pt x="111" y="119"/>
                      <a:pt x="111" y="119"/>
                      <a:pt x="111" y="119"/>
                    </a:cubicBezTo>
                    <a:cubicBezTo>
                      <a:pt x="108" y="121"/>
                      <a:pt x="108" y="121"/>
                      <a:pt x="108" y="121"/>
                    </a:cubicBezTo>
                    <a:cubicBezTo>
                      <a:pt x="106" y="124"/>
                      <a:pt x="106" y="124"/>
                      <a:pt x="106" y="124"/>
                    </a:cubicBezTo>
                    <a:cubicBezTo>
                      <a:pt x="105" y="125"/>
                      <a:pt x="105" y="125"/>
                      <a:pt x="105" y="125"/>
                    </a:cubicBezTo>
                    <a:cubicBezTo>
                      <a:pt x="104" y="122"/>
                      <a:pt x="104" y="122"/>
                      <a:pt x="104" y="122"/>
                    </a:cubicBezTo>
                    <a:cubicBezTo>
                      <a:pt x="104" y="119"/>
                      <a:pt x="104" y="119"/>
                      <a:pt x="104" y="119"/>
                    </a:cubicBezTo>
                    <a:cubicBezTo>
                      <a:pt x="104" y="116"/>
                      <a:pt x="104" y="116"/>
                      <a:pt x="104" y="116"/>
                    </a:cubicBezTo>
                    <a:cubicBezTo>
                      <a:pt x="107" y="113"/>
                      <a:pt x="107" y="113"/>
                      <a:pt x="107" y="113"/>
                    </a:cubicBezTo>
                    <a:cubicBezTo>
                      <a:pt x="108" y="111"/>
                      <a:pt x="108" y="111"/>
                      <a:pt x="108" y="111"/>
                    </a:cubicBezTo>
                    <a:cubicBezTo>
                      <a:pt x="110" y="108"/>
                      <a:pt x="110" y="108"/>
                      <a:pt x="110" y="108"/>
                    </a:cubicBezTo>
                    <a:cubicBezTo>
                      <a:pt x="111" y="108"/>
                      <a:pt x="111" y="108"/>
                      <a:pt x="111" y="108"/>
                    </a:cubicBezTo>
                    <a:cubicBezTo>
                      <a:pt x="113" y="107"/>
                      <a:pt x="113" y="107"/>
                      <a:pt x="113" y="107"/>
                    </a:cubicBezTo>
                    <a:cubicBezTo>
                      <a:pt x="112" y="105"/>
                      <a:pt x="112" y="105"/>
                      <a:pt x="112" y="105"/>
                    </a:cubicBezTo>
                    <a:cubicBezTo>
                      <a:pt x="110" y="107"/>
                      <a:pt x="110" y="107"/>
                      <a:pt x="110" y="107"/>
                    </a:cubicBezTo>
                    <a:cubicBezTo>
                      <a:pt x="109" y="107"/>
                      <a:pt x="109" y="107"/>
                      <a:pt x="109" y="107"/>
                    </a:cubicBezTo>
                    <a:cubicBezTo>
                      <a:pt x="107" y="109"/>
                      <a:pt x="107" y="109"/>
                      <a:pt x="107" y="109"/>
                    </a:cubicBezTo>
                    <a:cubicBezTo>
                      <a:pt x="105" y="109"/>
                      <a:pt x="105" y="109"/>
                      <a:pt x="105" y="109"/>
                    </a:cubicBezTo>
                    <a:cubicBezTo>
                      <a:pt x="103" y="112"/>
                      <a:pt x="103" y="112"/>
                      <a:pt x="103" y="112"/>
                    </a:cubicBezTo>
                    <a:cubicBezTo>
                      <a:pt x="102" y="114"/>
                      <a:pt x="102" y="114"/>
                      <a:pt x="102" y="114"/>
                    </a:cubicBezTo>
                    <a:cubicBezTo>
                      <a:pt x="99" y="117"/>
                      <a:pt x="99" y="117"/>
                      <a:pt x="99" y="117"/>
                    </a:cubicBezTo>
                    <a:cubicBezTo>
                      <a:pt x="98" y="119"/>
                      <a:pt x="98" y="119"/>
                      <a:pt x="98" y="119"/>
                    </a:cubicBezTo>
                    <a:cubicBezTo>
                      <a:pt x="96" y="120"/>
                      <a:pt x="96" y="120"/>
                      <a:pt x="96" y="120"/>
                    </a:cubicBezTo>
                    <a:cubicBezTo>
                      <a:pt x="94" y="118"/>
                      <a:pt x="94" y="118"/>
                      <a:pt x="94" y="118"/>
                    </a:cubicBezTo>
                    <a:cubicBezTo>
                      <a:pt x="94" y="115"/>
                      <a:pt x="94" y="115"/>
                      <a:pt x="94" y="115"/>
                    </a:cubicBezTo>
                    <a:cubicBezTo>
                      <a:pt x="93" y="113"/>
                      <a:pt x="93" y="113"/>
                      <a:pt x="93" y="113"/>
                    </a:cubicBezTo>
                    <a:cubicBezTo>
                      <a:pt x="93" y="110"/>
                      <a:pt x="93" y="110"/>
                      <a:pt x="93" y="110"/>
                    </a:cubicBezTo>
                    <a:cubicBezTo>
                      <a:pt x="94" y="113"/>
                      <a:pt x="94" y="113"/>
                      <a:pt x="94" y="113"/>
                    </a:cubicBezTo>
                    <a:cubicBezTo>
                      <a:pt x="95" y="113"/>
                      <a:pt x="95" y="113"/>
                      <a:pt x="95" y="113"/>
                    </a:cubicBezTo>
                    <a:cubicBezTo>
                      <a:pt x="97" y="109"/>
                      <a:pt x="97" y="109"/>
                      <a:pt x="97" y="109"/>
                    </a:cubicBezTo>
                    <a:cubicBezTo>
                      <a:pt x="96" y="109"/>
                      <a:pt x="96" y="109"/>
                      <a:pt x="96" y="109"/>
                    </a:cubicBezTo>
                    <a:cubicBezTo>
                      <a:pt x="93" y="108"/>
                      <a:pt x="93" y="108"/>
                      <a:pt x="93" y="108"/>
                    </a:cubicBezTo>
                    <a:cubicBezTo>
                      <a:pt x="95" y="108"/>
                      <a:pt x="95" y="108"/>
                      <a:pt x="95" y="108"/>
                    </a:cubicBezTo>
                    <a:cubicBezTo>
                      <a:pt x="98" y="108"/>
                      <a:pt x="98" y="108"/>
                      <a:pt x="98" y="108"/>
                    </a:cubicBezTo>
                    <a:cubicBezTo>
                      <a:pt x="95" y="107"/>
                      <a:pt x="95" y="107"/>
                      <a:pt x="95" y="107"/>
                    </a:cubicBezTo>
                    <a:cubicBezTo>
                      <a:pt x="93" y="105"/>
                      <a:pt x="93" y="105"/>
                      <a:pt x="93" y="105"/>
                    </a:cubicBezTo>
                    <a:cubicBezTo>
                      <a:pt x="93" y="103"/>
                      <a:pt x="93" y="103"/>
                      <a:pt x="93" y="103"/>
                    </a:cubicBezTo>
                    <a:cubicBezTo>
                      <a:pt x="94" y="102"/>
                      <a:pt x="94" y="102"/>
                      <a:pt x="94" y="102"/>
                    </a:cubicBezTo>
                    <a:cubicBezTo>
                      <a:pt x="98" y="102"/>
                      <a:pt x="98" y="102"/>
                      <a:pt x="98" y="102"/>
                    </a:cubicBezTo>
                    <a:cubicBezTo>
                      <a:pt x="98" y="102"/>
                      <a:pt x="98" y="102"/>
                      <a:pt x="98" y="102"/>
                    </a:cubicBezTo>
                    <a:cubicBezTo>
                      <a:pt x="101" y="99"/>
                      <a:pt x="101" y="99"/>
                      <a:pt x="101" y="99"/>
                    </a:cubicBezTo>
                    <a:cubicBezTo>
                      <a:pt x="102" y="95"/>
                      <a:pt x="102" y="95"/>
                      <a:pt x="102" y="95"/>
                    </a:cubicBezTo>
                    <a:cubicBezTo>
                      <a:pt x="105" y="95"/>
                      <a:pt x="105" y="95"/>
                      <a:pt x="105" y="95"/>
                    </a:cubicBezTo>
                    <a:cubicBezTo>
                      <a:pt x="106" y="96"/>
                      <a:pt x="106" y="96"/>
                      <a:pt x="106" y="96"/>
                    </a:cubicBezTo>
                    <a:cubicBezTo>
                      <a:pt x="109" y="94"/>
                      <a:pt x="109" y="94"/>
                      <a:pt x="109" y="94"/>
                    </a:cubicBezTo>
                    <a:cubicBezTo>
                      <a:pt x="110" y="91"/>
                      <a:pt x="110" y="91"/>
                      <a:pt x="110" y="91"/>
                    </a:cubicBezTo>
                    <a:cubicBezTo>
                      <a:pt x="110" y="88"/>
                      <a:pt x="110" y="88"/>
                      <a:pt x="110" y="88"/>
                    </a:cubicBezTo>
                    <a:cubicBezTo>
                      <a:pt x="109" y="86"/>
                      <a:pt x="109" y="86"/>
                      <a:pt x="109" y="86"/>
                    </a:cubicBezTo>
                    <a:cubicBezTo>
                      <a:pt x="107" y="89"/>
                      <a:pt x="107" y="89"/>
                      <a:pt x="107" y="89"/>
                    </a:cubicBezTo>
                    <a:cubicBezTo>
                      <a:pt x="105" y="90"/>
                      <a:pt x="105" y="90"/>
                      <a:pt x="105" y="90"/>
                    </a:cubicBezTo>
                    <a:cubicBezTo>
                      <a:pt x="105" y="89"/>
                      <a:pt x="105" y="89"/>
                      <a:pt x="105" y="89"/>
                    </a:cubicBezTo>
                    <a:cubicBezTo>
                      <a:pt x="103" y="88"/>
                      <a:pt x="103" y="88"/>
                      <a:pt x="103" y="88"/>
                    </a:cubicBezTo>
                    <a:cubicBezTo>
                      <a:pt x="103" y="90"/>
                      <a:pt x="103" y="90"/>
                      <a:pt x="103" y="90"/>
                    </a:cubicBezTo>
                    <a:cubicBezTo>
                      <a:pt x="102" y="93"/>
                      <a:pt x="102" y="93"/>
                      <a:pt x="102" y="93"/>
                    </a:cubicBezTo>
                    <a:cubicBezTo>
                      <a:pt x="101" y="94"/>
                      <a:pt x="101" y="94"/>
                      <a:pt x="101" y="94"/>
                    </a:cubicBezTo>
                    <a:cubicBezTo>
                      <a:pt x="99" y="94"/>
                      <a:pt x="99" y="94"/>
                      <a:pt x="99" y="94"/>
                    </a:cubicBezTo>
                    <a:cubicBezTo>
                      <a:pt x="97" y="96"/>
                      <a:pt x="97" y="96"/>
                      <a:pt x="97" y="96"/>
                    </a:cubicBezTo>
                    <a:cubicBezTo>
                      <a:pt x="95" y="97"/>
                      <a:pt x="95" y="97"/>
                      <a:pt x="95" y="97"/>
                    </a:cubicBezTo>
                    <a:cubicBezTo>
                      <a:pt x="95" y="99"/>
                      <a:pt x="95" y="99"/>
                      <a:pt x="95" y="99"/>
                    </a:cubicBezTo>
                    <a:cubicBezTo>
                      <a:pt x="94" y="100"/>
                      <a:pt x="94" y="100"/>
                      <a:pt x="94" y="100"/>
                    </a:cubicBezTo>
                    <a:cubicBezTo>
                      <a:pt x="95" y="98"/>
                      <a:pt x="95" y="98"/>
                      <a:pt x="95" y="98"/>
                    </a:cubicBezTo>
                    <a:cubicBezTo>
                      <a:pt x="95" y="96"/>
                      <a:pt x="95" y="96"/>
                      <a:pt x="95" y="96"/>
                    </a:cubicBezTo>
                    <a:cubicBezTo>
                      <a:pt x="94" y="97"/>
                      <a:pt x="94" y="97"/>
                      <a:pt x="94" y="97"/>
                    </a:cubicBezTo>
                    <a:cubicBezTo>
                      <a:pt x="92" y="97"/>
                      <a:pt x="92" y="97"/>
                      <a:pt x="92" y="97"/>
                    </a:cubicBezTo>
                    <a:cubicBezTo>
                      <a:pt x="94" y="96"/>
                      <a:pt x="94" y="96"/>
                      <a:pt x="94" y="96"/>
                    </a:cubicBezTo>
                    <a:cubicBezTo>
                      <a:pt x="95" y="93"/>
                      <a:pt x="95" y="93"/>
                      <a:pt x="95" y="93"/>
                    </a:cubicBezTo>
                    <a:cubicBezTo>
                      <a:pt x="96" y="92"/>
                      <a:pt x="96" y="92"/>
                      <a:pt x="96" y="92"/>
                    </a:cubicBezTo>
                    <a:cubicBezTo>
                      <a:pt x="95" y="91"/>
                      <a:pt x="95" y="91"/>
                      <a:pt x="95" y="91"/>
                    </a:cubicBezTo>
                    <a:cubicBezTo>
                      <a:pt x="96" y="90"/>
                      <a:pt x="96" y="90"/>
                      <a:pt x="96" y="90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95" y="88"/>
                      <a:pt x="95" y="88"/>
                      <a:pt x="95" y="88"/>
                    </a:cubicBezTo>
                    <a:cubicBezTo>
                      <a:pt x="96" y="85"/>
                      <a:pt x="96" y="85"/>
                      <a:pt x="96" y="85"/>
                    </a:cubicBezTo>
                    <a:cubicBezTo>
                      <a:pt x="96" y="83"/>
                      <a:pt x="96" y="83"/>
                      <a:pt x="96" y="83"/>
                    </a:cubicBezTo>
                    <a:cubicBezTo>
                      <a:pt x="95" y="83"/>
                      <a:pt x="95" y="83"/>
                      <a:pt x="95" y="83"/>
                    </a:cubicBezTo>
                    <a:cubicBezTo>
                      <a:pt x="93" y="84"/>
                      <a:pt x="93" y="84"/>
                      <a:pt x="93" y="84"/>
                    </a:cubicBezTo>
                    <a:cubicBezTo>
                      <a:pt x="89" y="83"/>
                      <a:pt x="89" y="83"/>
                      <a:pt x="89" y="83"/>
                    </a:cubicBezTo>
                    <a:cubicBezTo>
                      <a:pt x="92" y="83"/>
                      <a:pt x="92" y="83"/>
                      <a:pt x="92" y="83"/>
                    </a:cubicBezTo>
                    <a:lnTo>
                      <a:pt x="93" y="8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3" name="Freeform 1177">
                <a:extLst>
                  <a:ext uri="{FF2B5EF4-FFF2-40B4-BE49-F238E27FC236}">
                    <a16:creationId xmlns:a16="http://schemas.microsoft.com/office/drawing/2014/main" id="{522AE46B-B7F3-4A82-9479-F6F4099913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7" y="1894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1 h 2"/>
                  <a:gd name="T4" fmla="*/ 2 w 4"/>
                  <a:gd name="T5" fmla="*/ 2 h 2"/>
                  <a:gd name="T6" fmla="*/ 4 w 4"/>
                  <a:gd name="T7" fmla="*/ 2 h 2"/>
                  <a:gd name="T8" fmla="*/ 4 w 4"/>
                  <a:gd name="T9" fmla="*/ 1 h 2"/>
                  <a:gd name="T10" fmla="*/ 2 w 4"/>
                  <a:gd name="T11" fmla="*/ 0 h 2"/>
                  <a:gd name="T12" fmla="*/ 0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1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4" name="Freeform 1178">
                <a:extLst>
                  <a:ext uri="{FF2B5EF4-FFF2-40B4-BE49-F238E27FC236}">
                    <a16:creationId xmlns:a16="http://schemas.microsoft.com/office/drawing/2014/main" id="{181DDF7F-296B-499B-BAC0-545363AB26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7" y="1903"/>
                <a:ext cx="2" cy="1"/>
              </a:xfrm>
              <a:custGeom>
                <a:avLst/>
                <a:gdLst>
                  <a:gd name="T0" fmla="*/ 1 w 2"/>
                  <a:gd name="T1" fmla="*/ 0 h 1"/>
                  <a:gd name="T2" fmla="*/ 0 w 2"/>
                  <a:gd name="T3" fmla="*/ 1 h 1"/>
                  <a:gd name="T4" fmla="*/ 1 w 2"/>
                  <a:gd name="T5" fmla="*/ 1 h 1"/>
                  <a:gd name="T6" fmla="*/ 2 w 2"/>
                  <a:gd name="T7" fmla="*/ 0 h 1"/>
                  <a:gd name="T8" fmla="*/ 1 w 2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lnTo>
                      <a:pt x="0" y="1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5" name="Freeform 1179">
                <a:extLst>
                  <a:ext uri="{FF2B5EF4-FFF2-40B4-BE49-F238E27FC236}">
                    <a16:creationId xmlns:a16="http://schemas.microsoft.com/office/drawing/2014/main" id="{D970312E-50DB-40C8-8986-7DE91FB679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7" y="1665"/>
                <a:ext cx="9" cy="14"/>
              </a:xfrm>
              <a:custGeom>
                <a:avLst/>
                <a:gdLst>
                  <a:gd name="T0" fmla="*/ 2 w 9"/>
                  <a:gd name="T1" fmla="*/ 4 h 14"/>
                  <a:gd name="T2" fmla="*/ 2 w 9"/>
                  <a:gd name="T3" fmla="*/ 7 h 14"/>
                  <a:gd name="T4" fmla="*/ 2 w 9"/>
                  <a:gd name="T5" fmla="*/ 9 h 14"/>
                  <a:gd name="T6" fmla="*/ 4 w 9"/>
                  <a:gd name="T7" fmla="*/ 10 h 14"/>
                  <a:gd name="T8" fmla="*/ 6 w 9"/>
                  <a:gd name="T9" fmla="*/ 7 h 14"/>
                  <a:gd name="T10" fmla="*/ 5 w 9"/>
                  <a:gd name="T11" fmla="*/ 11 h 14"/>
                  <a:gd name="T12" fmla="*/ 6 w 9"/>
                  <a:gd name="T13" fmla="*/ 14 h 14"/>
                  <a:gd name="T14" fmla="*/ 9 w 9"/>
                  <a:gd name="T15" fmla="*/ 10 h 14"/>
                  <a:gd name="T16" fmla="*/ 9 w 9"/>
                  <a:gd name="T17" fmla="*/ 2 h 14"/>
                  <a:gd name="T18" fmla="*/ 6 w 9"/>
                  <a:gd name="T19" fmla="*/ 0 h 14"/>
                  <a:gd name="T20" fmla="*/ 3 w 9"/>
                  <a:gd name="T21" fmla="*/ 0 h 14"/>
                  <a:gd name="T22" fmla="*/ 0 w 9"/>
                  <a:gd name="T23" fmla="*/ 4 h 14"/>
                  <a:gd name="T24" fmla="*/ 2 w 9"/>
                  <a:gd name="T25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14">
                    <a:moveTo>
                      <a:pt x="2" y="4"/>
                    </a:moveTo>
                    <a:lnTo>
                      <a:pt x="2" y="7"/>
                    </a:lnTo>
                    <a:lnTo>
                      <a:pt x="2" y="9"/>
                    </a:lnTo>
                    <a:lnTo>
                      <a:pt x="4" y="10"/>
                    </a:lnTo>
                    <a:lnTo>
                      <a:pt x="6" y="7"/>
                    </a:lnTo>
                    <a:lnTo>
                      <a:pt x="5" y="11"/>
                    </a:lnTo>
                    <a:lnTo>
                      <a:pt x="6" y="14"/>
                    </a:lnTo>
                    <a:lnTo>
                      <a:pt x="9" y="10"/>
                    </a:lnTo>
                    <a:lnTo>
                      <a:pt x="9" y="2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6" name="Freeform 1180">
                <a:extLst>
                  <a:ext uri="{FF2B5EF4-FFF2-40B4-BE49-F238E27FC236}">
                    <a16:creationId xmlns:a16="http://schemas.microsoft.com/office/drawing/2014/main" id="{AF29FFF3-311F-4AAA-9772-BACB949C34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9" y="1065"/>
                <a:ext cx="8" cy="7"/>
              </a:xfrm>
              <a:custGeom>
                <a:avLst/>
                <a:gdLst>
                  <a:gd name="T0" fmla="*/ 4 w 8"/>
                  <a:gd name="T1" fmla="*/ 6 h 7"/>
                  <a:gd name="T2" fmla="*/ 6 w 8"/>
                  <a:gd name="T3" fmla="*/ 7 h 7"/>
                  <a:gd name="T4" fmla="*/ 8 w 8"/>
                  <a:gd name="T5" fmla="*/ 7 h 7"/>
                  <a:gd name="T6" fmla="*/ 5 w 8"/>
                  <a:gd name="T7" fmla="*/ 2 h 7"/>
                  <a:gd name="T8" fmla="*/ 1 w 8"/>
                  <a:gd name="T9" fmla="*/ 0 h 7"/>
                  <a:gd name="T10" fmla="*/ 0 w 8"/>
                  <a:gd name="T11" fmla="*/ 3 h 7"/>
                  <a:gd name="T12" fmla="*/ 2 w 8"/>
                  <a:gd name="T13" fmla="*/ 7 h 7"/>
                  <a:gd name="T14" fmla="*/ 4 w 8"/>
                  <a:gd name="T15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7">
                    <a:moveTo>
                      <a:pt x="4" y="6"/>
                    </a:moveTo>
                    <a:lnTo>
                      <a:pt x="6" y="7"/>
                    </a:lnTo>
                    <a:lnTo>
                      <a:pt x="8" y="7"/>
                    </a:lnTo>
                    <a:lnTo>
                      <a:pt x="5" y="2"/>
                    </a:lnTo>
                    <a:lnTo>
                      <a:pt x="1" y="0"/>
                    </a:lnTo>
                    <a:lnTo>
                      <a:pt x="0" y="3"/>
                    </a:lnTo>
                    <a:lnTo>
                      <a:pt x="2" y="7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7" name="Freeform 1181">
                <a:extLst>
                  <a:ext uri="{FF2B5EF4-FFF2-40B4-BE49-F238E27FC236}">
                    <a16:creationId xmlns:a16="http://schemas.microsoft.com/office/drawing/2014/main" id="{20421980-EC0A-49F4-AF79-C297A15A5E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5" y="1634"/>
                <a:ext cx="8" cy="6"/>
              </a:xfrm>
              <a:custGeom>
                <a:avLst/>
                <a:gdLst>
                  <a:gd name="T0" fmla="*/ 4 w 8"/>
                  <a:gd name="T1" fmla="*/ 4 h 6"/>
                  <a:gd name="T2" fmla="*/ 5 w 8"/>
                  <a:gd name="T3" fmla="*/ 6 h 6"/>
                  <a:gd name="T4" fmla="*/ 7 w 8"/>
                  <a:gd name="T5" fmla="*/ 6 h 6"/>
                  <a:gd name="T6" fmla="*/ 8 w 8"/>
                  <a:gd name="T7" fmla="*/ 2 h 6"/>
                  <a:gd name="T8" fmla="*/ 6 w 8"/>
                  <a:gd name="T9" fmla="*/ 0 h 6"/>
                  <a:gd name="T10" fmla="*/ 2 w 8"/>
                  <a:gd name="T11" fmla="*/ 1 h 6"/>
                  <a:gd name="T12" fmla="*/ 0 w 8"/>
                  <a:gd name="T13" fmla="*/ 4 h 6"/>
                  <a:gd name="T14" fmla="*/ 4 w 8"/>
                  <a:gd name="T1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6">
                    <a:moveTo>
                      <a:pt x="4" y="4"/>
                    </a:moveTo>
                    <a:lnTo>
                      <a:pt x="5" y="6"/>
                    </a:lnTo>
                    <a:lnTo>
                      <a:pt x="7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2" y="1"/>
                    </a:lnTo>
                    <a:lnTo>
                      <a:pt x="0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8" name="Freeform 1182">
                <a:extLst>
                  <a:ext uri="{FF2B5EF4-FFF2-40B4-BE49-F238E27FC236}">
                    <a16:creationId xmlns:a16="http://schemas.microsoft.com/office/drawing/2014/main" id="{AEC5E460-4141-418C-96BD-1AA6C1365B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7" y="1660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2 h 4"/>
                  <a:gd name="T4" fmla="*/ 2 w 2"/>
                  <a:gd name="T5" fmla="*/ 4 h 4"/>
                  <a:gd name="T6" fmla="*/ 2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9" name="Freeform 1183">
                <a:extLst>
                  <a:ext uri="{FF2B5EF4-FFF2-40B4-BE49-F238E27FC236}">
                    <a16:creationId xmlns:a16="http://schemas.microsoft.com/office/drawing/2014/main" id="{FF39D192-D092-428C-8AB2-39646485C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3" y="1650"/>
                <a:ext cx="5" cy="6"/>
              </a:xfrm>
              <a:custGeom>
                <a:avLst/>
                <a:gdLst>
                  <a:gd name="T0" fmla="*/ 3 w 5"/>
                  <a:gd name="T1" fmla="*/ 3 h 6"/>
                  <a:gd name="T2" fmla="*/ 5 w 5"/>
                  <a:gd name="T3" fmla="*/ 0 h 6"/>
                  <a:gd name="T4" fmla="*/ 3 w 5"/>
                  <a:gd name="T5" fmla="*/ 0 h 6"/>
                  <a:gd name="T6" fmla="*/ 0 w 5"/>
                  <a:gd name="T7" fmla="*/ 2 h 6"/>
                  <a:gd name="T8" fmla="*/ 0 w 5"/>
                  <a:gd name="T9" fmla="*/ 6 h 6"/>
                  <a:gd name="T10" fmla="*/ 1 w 5"/>
                  <a:gd name="T11" fmla="*/ 5 h 6"/>
                  <a:gd name="T12" fmla="*/ 3 w 5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6">
                    <a:moveTo>
                      <a:pt x="3" y="3"/>
                    </a:moveTo>
                    <a:lnTo>
                      <a:pt x="5" y="0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0" name="Freeform 1184">
                <a:extLst>
                  <a:ext uri="{FF2B5EF4-FFF2-40B4-BE49-F238E27FC236}">
                    <a16:creationId xmlns:a16="http://schemas.microsoft.com/office/drawing/2014/main" id="{779A1B0F-64E5-446F-80B0-55656DC5D7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2" y="1099"/>
                <a:ext cx="5" cy="11"/>
              </a:xfrm>
              <a:custGeom>
                <a:avLst/>
                <a:gdLst>
                  <a:gd name="T0" fmla="*/ 4 w 6"/>
                  <a:gd name="T1" fmla="*/ 13 h 13"/>
                  <a:gd name="T2" fmla="*/ 5 w 6"/>
                  <a:gd name="T3" fmla="*/ 9 h 13"/>
                  <a:gd name="T4" fmla="*/ 6 w 6"/>
                  <a:gd name="T5" fmla="*/ 0 h 13"/>
                  <a:gd name="T6" fmla="*/ 2 w 6"/>
                  <a:gd name="T7" fmla="*/ 4 h 13"/>
                  <a:gd name="T8" fmla="*/ 1 w 6"/>
                  <a:gd name="T9" fmla="*/ 8 h 13"/>
                  <a:gd name="T10" fmla="*/ 0 w 6"/>
                  <a:gd name="T11" fmla="*/ 9 h 13"/>
                  <a:gd name="T12" fmla="*/ 1 w 6"/>
                  <a:gd name="T13" fmla="*/ 11 h 13"/>
                  <a:gd name="T14" fmla="*/ 4 w 6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3">
                    <a:moveTo>
                      <a:pt x="4" y="13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1"/>
                      <a:pt x="4" y="13"/>
                      <a:pt x="4" y="13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1" name="Freeform 1185">
                <a:extLst>
                  <a:ext uri="{FF2B5EF4-FFF2-40B4-BE49-F238E27FC236}">
                    <a16:creationId xmlns:a16="http://schemas.microsoft.com/office/drawing/2014/main" id="{8545ECCF-1928-44B8-A426-6DC7D6F42F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" y="1081"/>
                <a:ext cx="3" cy="3"/>
              </a:xfrm>
              <a:custGeom>
                <a:avLst/>
                <a:gdLst>
                  <a:gd name="T0" fmla="*/ 4 w 4"/>
                  <a:gd name="T1" fmla="*/ 0 h 4"/>
                  <a:gd name="T2" fmla="*/ 3 w 4"/>
                  <a:gd name="T3" fmla="*/ 0 h 4"/>
                  <a:gd name="T4" fmla="*/ 0 w 4"/>
                  <a:gd name="T5" fmla="*/ 3 h 4"/>
                  <a:gd name="T6" fmla="*/ 2 w 4"/>
                  <a:gd name="T7" fmla="*/ 4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0" y="3"/>
                      <a:pt x="0" y="3"/>
                    </a:cubicBezTo>
                    <a:cubicBezTo>
                      <a:pt x="2" y="4"/>
                      <a:pt x="2" y="4"/>
                      <a:pt x="2" y="4"/>
                    </a:cubicBezTo>
                    <a:lnTo>
                      <a:pt x="4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2" name="Freeform 1186">
                <a:extLst>
                  <a:ext uri="{FF2B5EF4-FFF2-40B4-BE49-F238E27FC236}">
                    <a16:creationId xmlns:a16="http://schemas.microsoft.com/office/drawing/2014/main" id="{961DF5CC-8EC1-48E1-A128-CF3F380E27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4" y="1085"/>
                <a:ext cx="23" cy="25"/>
              </a:xfrm>
              <a:custGeom>
                <a:avLst/>
                <a:gdLst>
                  <a:gd name="T0" fmla="*/ 1 w 23"/>
                  <a:gd name="T1" fmla="*/ 25 h 25"/>
                  <a:gd name="T2" fmla="*/ 4 w 23"/>
                  <a:gd name="T3" fmla="*/ 25 h 25"/>
                  <a:gd name="T4" fmla="*/ 5 w 23"/>
                  <a:gd name="T5" fmla="*/ 23 h 25"/>
                  <a:gd name="T6" fmla="*/ 8 w 23"/>
                  <a:gd name="T7" fmla="*/ 23 h 25"/>
                  <a:gd name="T8" fmla="*/ 18 w 23"/>
                  <a:gd name="T9" fmla="*/ 14 h 25"/>
                  <a:gd name="T10" fmla="*/ 22 w 23"/>
                  <a:gd name="T11" fmla="*/ 11 h 25"/>
                  <a:gd name="T12" fmla="*/ 23 w 23"/>
                  <a:gd name="T13" fmla="*/ 7 h 25"/>
                  <a:gd name="T14" fmla="*/ 22 w 23"/>
                  <a:gd name="T15" fmla="*/ 7 h 25"/>
                  <a:gd name="T16" fmla="*/ 20 w 23"/>
                  <a:gd name="T17" fmla="*/ 7 h 25"/>
                  <a:gd name="T18" fmla="*/ 19 w 23"/>
                  <a:gd name="T19" fmla="*/ 0 h 25"/>
                  <a:gd name="T20" fmla="*/ 18 w 23"/>
                  <a:gd name="T21" fmla="*/ 0 h 25"/>
                  <a:gd name="T22" fmla="*/ 15 w 23"/>
                  <a:gd name="T23" fmla="*/ 5 h 25"/>
                  <a:gd name="T24" fmla="*/ 13 w 23"/>
                  <a:gd name="T25" fmla="*/ 7 h 25"/>
                  <a:gd name="T26" fmla="*/ 14 w 23"/>
                  <a:gd name="T27" fmla="*/ 9 h 25"/>
                  <a:gd name="T28" fmla="*/ 11 w 23"/>
                  <a:gd name="T29" fmla="*/ 9 h 25"/>
                  <a:gd name="T30" fmla="*/ 10 w 23"/>
                  <a:gd name="T31" fmla="*/ 10 h 25"/>
                  <a:gd name="T32" fmla="*/ 9 w 23"/>
                  <a:gd name="T33" fmla="*/ 13 h 25"/>
                  <a:gd name="T34" fmla="*/ 8 w 23"/>
                  <a:gd name="T35" fmla="*/ 10 h 25"/>
                  <a:gd name="T36" fmla="*/ 9 w 23"/>
                  <a:gd name="T37" fmla="*/ 8 h 25"/>
                  <a:gd name="T38" fmla="*/ 8 w 23"/>
                  <a:gd name="T39" fmla="*/ 6 h 25"/>
                  <a:gd name="T40" fmla="*/ 5 w 23"/>
                  <a:gd name="T41" fmla="*/ 9 h 25"/>
                  <a:gd name="T42" fmla="*/ 4 w 23"/>
                  <a:gd name="T43" fmla="*/ 8 h 25"/>
                  <a:gd name="T44" fmla="*/ 3 w 23"/>
                  <a:gd name="T45" fmla="*/ 12 h 25"/>
                  <a:gd name="T46" fmla="*/ 1 w 23"/>
                  <a:gd name="T47" fmla="*/ 14 h 25"/>
                  <a:gd name="T48" fmla="*/ 2 w 23"/>
                  <a:gd name="T49" fmla="*/ 19 h 25"/>
                  <a:gd name="T50" fmla="*/ 0 w 23"/>
                  <a:gd name="T51" fmla="*/ 22 h 25"/>
                  <a:gd name="T52" fmla="*/ 1 w 23"/>
                  <a:gd name="T5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3" h="25">
                    <a:moveTo>
                      <a:pt x="1" y="25"/>
                    </a:moveTo>
                    <a:lnTo>
                      <a:pt x="4" y="25"/>
                    </a:lnTo>
                    <a:lnTo>
                      <a:pt x="5" y="23"/>
                    </a:lnTo>
                    <a:lnTo>
                      <a:pt x="8" y="23"/>
                    </a:lnTo>
                    <a:lnTo>
                      <a:pt x="18" y="14"/>
                    </a:lnTo>
                    <a:lnTo>
                      <a:pt x="22" y="11"/>
                    </a:lnTo>
                    <a:lnTo>
                      <a:pt x="23" y="7"/>
                    </a:lnTo>
                    <a:lnTo>
                      <a:pt x="22" y="7"/>
                    </a:lnTo>
                    <a:lnTo>
                      <a:pt x="20" y="7"/>
                    </a:lnTo>
                    <a:lnTo>
                      <a:pt x="19" y="0"/>
                    </a:lnTo>
                    <a:lnTo>
                      <a:pt x="18" y="0"/>
                    </a:lnTo>
                    <a:lnTo>
                      <a:pt x="15" y="5"/>
                    </a:lnTo>
                    <a:lnTo>
                      <a:pt x="13" y="7"/>
                    </a:lnTo>
                    <a:lnTo>
                      <a:pt x="14" y="9"/>
                    </a:lnTo>
                    <a:lnTo>
                      <a:pt x="11" y="9"/>
                    </a:lnTo>
                    <a:lnTo>
                      <a:pt x="10" y="10"/>
                    </a:lnTo>
                    <a:lnTo>
                      <a:pt x="9" y="13"/>
                    </a:lnTo>
                    <a:lnTo>
                      <a:pt x="8" y="10"/>
                    </a:lnTo>
                    <a:lnTo>
                      <a:pt x="9" y="8"/>
                    </a:lnTo>
                    <a:lnTo>
                      <a:pt x="8" y="6"/>
                    </a:lnTo>
                    <a:lnTo>
                      <a:pt x="5" y="9"/>
                    </a:lnTo>
                    <a:lnTo>
                      <a:pt x="4" y="8"/>
                    </a:lnTo>
                    <a:lnTo>
                      <a:pt x="3" y="12"/>
                    </a:lnTo>
                    <a:lnTo>
                      <a:pt x="1" y="14"/>
                    </a:lnTo>
                    <a:lnTo>
                      <a:pt x="2" y="19"/>
                    </a:lnTo>
                    <a:lnTo>
                      <a:pt x="0" y="22"/>
                    </a:lnTo>
                    <a:lnTo>
                      <a:pt x="1" y="2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3" name="Freeform 1187">
                <a:extLst>
                  <a:ext uri="{FF2B5EF4-FFF2-40B4-BE49-F238E27FC236}">
                    <a16:creationId xmlns:a16="http://schemas.microsoft.com/office/drawing/2014/main" id="{EDDCCE37-80F9-450B-919F-D7E263E642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1" y="1068"/>
                <a:ext cx="4" cy="6"/>
              </a:xfrm>
              <a:custGeom>
                <a:avLst/>
                <a:gdLst>
                  <a:gd name="T0" fmla="*/ 4 w 4"/>
                  <a:gd name="T1" fmla="*/ 4 h 6"/>
                  <a:gd name="T2" fmla="*/ 4 w 4"/>
                  <a:gd name="T3" fmla="*/ 0 h 6"/>
                  <a:gd name="T4" fmla="*/ 1 w 4"/>
                  <a:gd name="T5" fmla="*/ 2 h 6"/>
                  <a:gd name="T6" fmla="*/ 0 w 4"/>
                  <a:gd name="T7" fmla="*/ 4 h 6"/>
                  <a:gd name="T8" fmla="*/ 1 w 4"/>
                  <a:gd name="T9" fmla="*/ 6 h 6"/>
                  <a:gd name="T10" fmla="*/ 4 w 4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4" y="4"/>
                    </a:moveTo>
                    <a:lnTo>
                      <a:pt x="4" y="0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1" y="6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4" name="Freeform 1188">
                <a:extLst>
                  <a:ext uri="{FF2B5EF4-FFF2-40B4-BE49-F238E27FC236}">
                    <a16:creationId xmlns:a16="http://schemas.microsoft.com/office/drawing/2014/main" id="{90338D65-20E3-4DE0-8275-61366B26F0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2" y="1111"/>
                <a:ext cx="10" cy="18"/>
              </a:xfrm>
              <a:custGeom>
                <a:avLst/>
                <a:gdLst>
                  <a:gd name="T0" fmla="*/ 2 w 10"/>
                  <a:gd name="T1" fmla="*/ 9 h 18"/>
                  <a:gd name="T2" fmla="*/ 5 w 10"/>
                  <a:gd name="T3" fmla="*/ 12 h 18"/>
                  <a:gd name="T4" fmla="*/ 9 w 10"/>
                  <a:gd name="T5" fmla="*/ 18 h 18"/>
                  <a:gd name="T6" fmla="*/ 10 w 10"/>
                  <a:gd name="T7" fmla="*/ 15 h 18"/>
                  <a:gd name="T8" fmla="*/ 8 w 10"/>
                  <a:gd name="T9" fmla="*/ 9 h 18"/>
                  <a:gd name="T10" fmla="*/ 8 w 10"/>
                  <a:gd name="T11" fmla="*/ 4 h 18"/>
                  <a:gd name="T12" fmla="*/ 6 w 10"/>
                  <a:gd name="T13" fmla="*/ 4 h 18"/>
                  <a:gd name="T14" fmla="*/ 2 w 10"/>
                  <a:gd name="T15" fmla="*/ 0 h 18"/>
                  <a:gd name="T16" fmla="*/ 0 w 10"/>
                  <a:gd name="T17" fmla="*/ 0 h 18"/>
                  <a:gd name="T18" fmla="*/ 0 w 10"/>
                  <a:gd name="T19" fmla="*/ 2 h 18"/>
                  <a:gd name="T20" fmla="*/ 5 w 10"/>
                  <a:gd name="T21" fmla="*/ 8 h 18"/>
                  <a:gd name="T22" fmla="*/ 2 w 10"/>
                  <a:gd name="T23" fmla="*/ 7 h 18"/>
                  <a:gd name="T24" fmla="*/ 2 w 10"/>
                  <a:gd name="T25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" h="18">
                    <a:moveTo>
                      <a:pt x="2" y="9"/>
                    </a:moveTo>
                    <a:lnTo>
                      <a:pt x="5" y="12"/>
                    </a:lnTo>
                    <a:lnTo>
                      <a:pt x="9" y="18"/>
                    </a:lnTo>
                    <a:lnTo>
                      <a:pt x="10" y="15"/>
                    </a:lnTo>
                    <a:lnTo>
                      <a:pt x="8" y="9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5" y="8"/>
                    </a:lnTo>
                    <a:lnTo>
                      <a:pt x="2" y="7"/>
                    </a:lnTo>
                    <a:lnTo>
                      <a:pt x="2" y="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5" name="Freeform 1189">
                <a:extLst>
                  <a:ext uri="{FF2B5EF4-FFF2-40B4-BE49-F238E27FC236}">
                    <a16:creationId xmlns:a16="http://schemas.microsoft.com/office/drawing/2014/main" id="{7C372053-55DE-42E4-9888-FBDA738CB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1094"/>
                <a:ext cx="8" cy="19"/>
              </a:xfrm>
              <a:custGeom>
                <a:avLst/>
                <a:gdLst>
                  <a:gd name="T0" fmla="*/ 2 w 8"/>
                  <a:gd name="T1" fmla="*/ 16 h 19"/>
                  <a:gd name="T2" fmla="*/ 0 w 8"/>
                  <a:gd name="T3" fmla="*/ 18 h 19"/>
                  <a:gd name="T4" fmla="*/ 3 w 8"/>
                  <a:gd name="T5" fmla="*/ 19 h 19"/>
                  <a:gd name="T6" fmla="*/ 7 w 8"/>
                  <a:gd name="T7" fmla="*/ 17 h 19"/>
                  <a:gd name="T8" fmla="*/ 6 w 8"/>
                  <a:gd name="T9" fmla="*/ 15 h 19"/>
                  <a:gd name="T10" fmla="*/ 8 w 8"/>
                  <a:gd name="T11" fmla="*/ 12 h 19"/>
                  <a:gd name="T12" fmla="*/ 8 w 8"/>
                  <a:gd name="T13" fmla="*/ 4 h 19"/>
                  <a:gd name="T14" fmla="*/ 7 w 8"/>
                  <a:gd name="T15" fmla="*/ 0 h 19"/>
                  <a:gd name="T16" fmla="*/ 5 w 8"/>
                  <a:gd name="T17" fmla="*/ 1 h 19"/>
                  <a:gd name="T18" fmla="*/ 5 w 8"/>
                  <a:gd name="T19" fmla="*/ 3 h 19"/>
                  <a:gd name="T20" fmla="*/ 3 w 8"/>
                  <a:gd name="T21" fmla="*/ 2 h 19"/>
                  <a:gd name="T22" fmla="*/ 2 w 8"/>
                  <a:gd name="T23" fmla="*/ 4 h 19"/>
                  <a:gd name="T24" fmla="*/ 2 w 8"/>
                  <a:gd name="T25" fmla="*/ 11 h 19"/>
                  <a:gd name="T26" fmla="*/ 3 w 8"/>
                  <a:gd name="T27" fmla="*/ 14 h 19"/>
                  <a:gd name="T28" fmla="*/ 2 w 8"/>
                  <a:gd name="T29" fmla="*/ 1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19">
                    <a:moveTo>
                      <a:pt x="2" y="16"/>
                    </a:moveTo>
                    <a:lnTo>
                      <a:pt x="0" y="18"/>
                    </a:lnTo>
                    <a:lnTo>
                      <a:pt x="3" y="19"/>
                    </a:lnTo>
                    <a:lnTo>
                      <a:pt x="7" y="17"/>
                    </a:lnTo>
                    <a:lnTo>
                      <a:pt x="6" y="15"/>
                    </a:lnTo>
                    <a:lnTo>
                      <a:pt x="8" y="12"/>
                    </a:lnTo>
                    <a:lnTo>
                      <a:pt x="8" y="4"/>
                    </a:lnTo>
                    <a:lnTo>
                      <a:pt x="7" y="0"/>
                    </a:lnTo>
                    <a:lnTo>
                      <a:pt x="5" y="1"/>
                    </a:lnTo>
                    <a:lnTo>
                      <a:pt x="5" y="3"/>
                    </a:lnTo>
                    <a:lnTo>
                      <a:pt x="3" y="2"/>
                    </a:lnTo>
                    <a:lnTo>
                      <a:pt x="2" y="4"/>
                    </a:lnTo>
                    <a:lnTo>
                      <a:pt x="2" y="11"/>
                    </a:lnTo>
                    <a:lnTo>
                      <a:pt x="3" y="14"/>
                    </a:lnTo>
                    <a:lnTo>
                      <a:pt x="2" y="1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6" name="Freeform 1190">
                <a:extLst>
                  <a:ext uri="{FF2B5EF4-FFF2-40B4-BE49-F238E27FC236}">
                    <a16:creationId xmlns:a16="http://schemas.microsoft.com/office/drawing/2014/main" id="{85EB9A22-9DFB-4847-89E6-7B6499DE21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9" y="1460"/>
                <a:ext cx="11" cy="12"/>
              </a:xfrm>
              <a:custGeom>
                <a:avLst/>
                <a:gdLst>
                  <a:gd name="T0" fmla="*/ 1 w 11"/>
                  <a:gd name="T1" fmla="*/ 4 h 12"/>
                  <a:gd name="T2" fmla="*/ 2 w 11"/>
                  <a:gd name="T3" fmla="*/ 5 h 12"/>
                  <a:gd name="T4" fmla="*/ 3 w 11"/>
                  <a:gd name="T5" fmla="*/ 6 h 12"/>
                  <a:gd name="T6" fmla="*/ 5 w 11"/>
                  <a:gd name="T7" fmla="*/ 8 h 12"/>
                  <a:gd name="T8" fmla="*/ 5 w 11"/>
                  <a:gd name="T9" fmla="*/ 10 h 12"/>
                  <a:gd name="T10" fmla="*/ 5 w 11"/>
                  <a:gd name="T11" fmla="*/ 11 h 12"/>
                  <a:gd name="T12" fmla="*/ 7 w 11"/>
                  <a:gd name="T13" fmla="*/ 11 h 12"/>
                  <a:gd name="T14" fmla="*/ 8 w 11"/>
                  <a:gd name="T15" fmla="*/ 12 h 12"/>
                  <a:gd name="T16" fmla="*/ 9 w 11"/>
                  <a:gd name="T17" fmla="*/ 12 h 12"/>
                  <a:gd name="T18" fmla="*/ 9 w 11"/>
                  <a:gd name="T19" fmla="*/ 10 h 12"/>
                  <a:gd name="T20" fmla="*/ 10 w 11"/>
                  <a:gd name="T21" fmla="*/ 10 h 12"/>
                  <a:gd name="T22" fmla="*/ 11 w 11"/>
                  <a:gd name="T23" fmla="*/ 9 h 12"/>
                  <a:gd name="T24" fmla="*/ 9 w 11"/>
                  <a:gd name="T25" fmla="*/ 7 h 12"/>
                  <a:gd name="T26" fmla="*/ 10 w 11"/>
                  <a:gd name="T27" fmla="*/ 6 h 12"/>
                  <a:gd name="T28" fmla="*/ 10 w 11"/>
                  <a:gd name="T29" fmla="*/ 5 h 12"/>
                  <a:gd name="T30" fmla="*/ 8 w 11"/>
                  <a:gd name="T31" fmla="*/ 3 h 12"/>
                  <a:gd name="T32" fmla="*/ 6 w 11"/>
                  <a:gd name="T33" fmla="*/ 3 h 12"/>
                  <a:gd name="T34" fmla="*/ 5 w 11"/>
                  <a:gd name="T35" fmla="*/ 2 h 12"/>
                  <a:gd name="T36" fmla="*/ 5 w 11"/>
                  <a:gd name="T37" fmla="*/ 1 h 12"/>
                  <a:gd name="T38" fmla="*/ 4 w 11"/>
                  <a:gd name="T39" fmla="*/ 1 h 12"/>
                  <a:gd name="T40" fmla="*/ 2 w 11"/>
                  <a:gd name="T41" fmla="*/ 0 h 12"/>
                  <a:gd name="T42" fmla="*/ 1 w 11"/>
                  <a:gd name="T43" fmla="*/ 1 h 12"/>
                  <a:gd name="T44" fmla="*/ 0 w 11"/>
                  <a:gd name="T45" fmla="*/ 2 h 12"/>
                  <a:gd name="T46" fmla="*/ 1 w 11"/>
                  <a:gd name="T47" fmla="*/ 4 h 12"/>
                  <a:gd name="T48" fmla="*/ 1 w 11"/>
                  <a:gd name="T4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" h="12">
                    <a:moveTo>
                      <a:pt x="1" y="4"/>
                    </a:moveTo>
                    <a:lnTo>
                      <a:pt x="2" y="5"/>
                    </a:lnTo>
                    <a:lnTo>
                      <a:pt x="3" y="6"/>
                    </a:lnTo>
                    <a:lnTo>
                      <a:pt x="5" y="8"/>
                    </a:lnTo>
                    <a:lnTo>
                      <a:pt x="5" y="10"/>
                    </a:lnTo>
                    <a:lnTo>
                      <a:pt x="5" y="11"/>
                    </a:lnTo>
                    <a:lnTo>
                      <a:pt x="7" y="11"/>
                    </a:lnTo>
                    <a:lnTo>
                      <a:pt x="8" y="12"/>
                    </a:lnTo>
                    <a:lnTo>
                      <a:pt x="9" y="12"/>
                    </a:lnTo>
                    <a:lnTo>
                      <a:pt x="9" y="10"/>
                    </a:lnTo>
                    <a:lnTo>
                      <a:pt x="10" y="10"/>
                    </a:lnTo>
                    <a:lnTo>
                      <a:pt x="11" y="9"/>
                    </a:lnTo>
                    <a:lnTo>
                      <a:pt x="9" y="7"/>
                    </a:lnTo>
                    <a:lnTo>
                      <a:pt x="10" y="6"/>
                    </a:lnTo>
                    <a:lnTo>
                      <a:pt x="10" y="5"/>
                    </a:lnTo>
                    <a:lnTo>
                      <a:pt x="8" y="3"/>
                    </a:lnTo>
                    <a:lnTo>
                      <a:pt x="6" y="3"/>
                    </a:lnTo>
                    <a:lnTo>
                      <a:pt x="5" y="2"/>
                    </a:lnTo>
                    <a:lnTo>
                      <a:pt x="5" y="1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1" y="4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7" name="Freeform 1191">
                <a:extLst>
                  <a:ext uri="{FF2B5EF4-FFF2-40B4-BE49-F238E27FC236}">
                    <a16:creationId xmlns:a16="http://schemas.microsoft.com/office/drawing/2014/main" id="{70584D38-1F23-4478-947E-679752651D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2" y="1260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1 h 2"/>
                  <a:gd name="T4" fmla="*/ 2 w 2"/>
                  <a:gd name="T5" fmla="*/ 1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1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8" name="Freeform 1192">
                <a:extLst>
                  <a:ext uri="{FF2B5EF4-FFF2-40B4-BE49-F238E27FC236}">
                    <a16:creationId xmlns:a16="http://schemas.microsoft.com/office/drawing/2014/main" id="{92B07ECE-F263-4DAF-B16B-FB85F33D02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1264"/>
                <a:ext cx="5" cy="3"/>
              </a:xfrm>
              <a:custGeom>
                <a:avLst/>
                <a:gdLst>
                  <a:gd name="T0" fmla="*/ 0 w 5"/>
                  <a:gd name="T1" fmla="*/ 1 h 3"/>
                  <a:gd name="T2" fmla="*/ 1 w 5"/>
                  <a:gd name="T3" fmla="*/ 2 h 3"/>
                  <a:gd name="T4" fmla="*/ 3 w 5"/>
                  <a:gd name="T5" fmla="*/ 2 h 3"/>
                  <a:gd name="T6" fmla="*/ 4 w 5"/>
                  <a:gd name="T7" fmla="*/ 3 h 3"/>
                  <a:gd name="T8" fmla="*/ 5 w 5"/>
                  <a:gd name="T9" fmla="*/ 1 h 3"/>
                  <a:gd name="T10" fmla="*/ 3 w 5"/>
                  <a:gd name="T11" fmla="*/ 0 h 3"/>
                  <a:gd name="T12" fmla="*/ 1 w 5"/>
                  <a:gd name="T13" fmla="*/ 0 h 3"/>
                  <a:gd name="T14" fmla="*/ 0 w 5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3">
                    <a:moveTo>
                      <a:pt x="0" y="1"/>
                    </a:moveTo>
                    <a:lnTo>
                      <a:pt x="1" y="2"/>
                    </a:lnTo>
                    <a:lnTo>
                      <a:pt x="3" y="2"/>
                    </a:lnTo>
                    <a:lnTo>
                      <a:pt x="4" y="3"/>
                    </a:lnTo>
                    <a:lnTo>
                      <a:pt x="5" y="1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9" name="Freeform 1193">
                <a:extLst>
                  <a:ext uri="{FF2B5EF4-FFF2-40B4-BE49-F238E27FC236}">
                    <a16:creationId xmlns:a16="http://schemas.microsoft.com/office/drawing/2014/main" id="{48B7219A-F5FE-4151-A848-0F92F34B4F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7" y="1248"/>
                <a:ext cx="4" cy="3"/>
              </a:xfrm>
              <a:custGeom>
                <a:avLst/>
                <a:gdLst>
                  <a:gd name="T0" fmla="*/ 2 w 4"/>
                  <a:gd name="T1" fmla="*/ 0 h 3"/>
                  <a:gd name="T2" fmla="*/ 0 w 4"/>
                  <a:gd name="T3" fmla="*/ 0 h 3"/>
                  <a:gd name="T4" fmla="*/ 0 w 4"/>
                  <a:gd name="T5" fmla="*/ 1 h 3"/>
                  <a:gd name="T6" fmla="*/ 0 w 4"/>
                  <a:gd name="T7" fmla="*/ 2 h 3"/>
                  <a:gd name="T8" fmla="*/ 2 w 4"/>
                  <a:gd name="T9" fmla="*/ 3 h 3"/>
                  <a:gd name="T10" fmla="*/ 3 w 4"/>
                  <a:gd name="T11" fmla="*/ 3 h 3"/>
                  <a:gd name="T12" fmla="*/ 4 w 4"/>
                  <a:gd name="T13" fmla="*/ 3 h 3"/>
                  <a:gd name="T14" fmla="*/ 4 w 4"/>
                  <a:gd name="T15" fmla="*/ 2 h 3"/>
                  <a:gd name="T16" fmla="*/ 2 w 4"/>
                  <a:gd name="T17" fmla="*/ 0 h 3"/>
                  <a:gd name="T18" fmla="*/ 2 w 4"/>
                  <a:gd name="T1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3">
                    <a:moveTo>
                      <a:pt x="2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4" y="3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0" name="Freeform 1194">
                <a:extLst>
                  <a:ext uri="{FF2B5EF4-FFF2-40B4-BE49-F238E27FC236}">
                    <a16:creationId xmlns:a16="http://schemas.microsoft.com/office/drawing/2014/main" id="{EBBFEEAB-5F4A-4961-9D7B-1C8FA1F202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7" y="1261"/>
                <a:ext cx="0" cy="1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1" name="Freeform 1195">
                <a:extLst>
                  <a:ext uri="{FF2B5EF4-FFF2-40B4-BE49-F238E27FC236}">
                    <a16:creationId xmlns:a16="http://schemas.microsoft.com/office/drawing/2014/main" id="{7DAFFA28-2A52-4F42-9101-D1CB3D56F5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7" y="1244"/>
                <a:ext cx="3" cy="4"/>
              </a:xfrm>
              <a:custGeom>
                <a:avLst/>
                <a:gdLst>
                  <a:gd name="T0" fmla="*/ 0 w 3"/>
                  <a:gd name="T1" fmla="*/ 0 h 4"/>
                  <a:gd name="T2" fmla="*/ 0 w 3"/>
                  <a:gd name="T3" fmla="*/ 4 h 4"/>
                  <a:gd name="T4" fmla="*/ 3 w 3"/>
                  <a:gd name="T5" fmla="*/ 4 h 4"/>
                  <a:gd name="T6" fmla="*/ 3 w 3"/>
                  <a:gd name="T7" fmla="*/ 3 h 4"/>
                  <a:gd name="T8" fmla="*/ 3 w 3"/>
                  <a:gd name="T9" fmla="*/ 1 h 4"/>
                  <a:gd name="T10" fmla="*/ 1 w 3"/>
                  <a:gd name="T11" fmla="*/ 1 h 4"/>
                  <a:gd name="T12" fmla="*/ 0 w 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0" y="4"/>
                    </a:lnTo>
                    <a:lnTo>
                      <a:pt x="3" y="4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2" name="Freeform 1196">
                <a:extLst>
                  <a:ext uri="{FF2B5EF4-FFF2-40B4-BE49-F238E27FC236}">
                    <a16:creationId xmlns:a16="http://schemas.microsoft.com/office/drawing/2014/main" id="{D7C195F7-7254-47FD-B52B-58F7E0404B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3" y="1464"/>
                <a:ext cx="12" cy="15"/>
              </a:xfrm>
              <a:custGeom>
                <a:avLst/>
                <a:gdLst>
                  <a:gd name="T0" fmla="*/ 12 w 12"/>
                  <a:gd name="T1" fmla="*/ 5 h 15"/>
                  <a:gd name="T2" fmla="*/ 10 w 12"/>
                  <a:gd name="T3" fmla="*/ 4 h 15"/>
                  <a:gd name="T4" fmla="*/ 8 w 12"/>
                  <a:gd name="T5" fmla="*/ 3 h 15"/>
                  <a:gd name="T6" fmla="*/ 7 w 12"/>
                  <a:gd name="T7" fmla="*/ 1 h 15"/>
                  <a:gd name="T8" fmla="*/ 5 w 12"/>
                  <a:gd name="T9" fmla="*/ 0 h 15"/>
                  <a:gd name="T10" fmla="*/ 4 w 12"/>
                  <a:gd name="T11" fmla="*/ 1 h 15"/>
                  <a:gd name="T12" fmla="*/ 1 w 12"/>
                  <a:gd name="T13" fmla="*/ 1 h 15"/>
                  <a:gd name="T14" fmla="*/ 0 w 12"/>
                  <a:gd name="T15" fmla="*/ 0 h 15"/>
                  <a:gd name="T16" fmla="*/ 0 w 12"/>
                  <a:gd name="T17" fmla="*/ 1 h 15"/>
                  <a:gd name="T18" fmla="*/ 0 w 12"/>
                  <a:gd name="T19" fmla="*/ 5 h 15"/>
                  <a:gd name="T20" fmla="*/ 2 w 12"/>
                  <a:gd name="T21" fmla="*/ 7 h 15"/>
                  <a:gd name="T22" fmla="*/ 4 w 12"/>
                  <a:gd name="T23" fmla="*/ 10 h 15"/>
                  <a:gd name="T24" fmla="*/ 4 w 12"/>
                  <a:gd name="T25" fmla="*/ 11 h 15"/>
                  <a:gd name="T26" fmla="*/ 5 w 12"/>
                  <a:gd name="T27" fmla="*/ 14 h 15"/>
                  <a:gd name="T28" fmla="*/ 6 w 12"/>
                  <a:gd name="T29" fmla="*/ 15 h 15"/>
                  <a:gd name="T30" fmla="*/ 8 w 12"/>
                  <a:gd name="T31" fmla="*/ 14 h 15"/>
                  <a:gd name="T32" fmla="*/ 10 w 12"/>
                  <a:gd name="T33" fmla="*/ 13 h 15"/>
                  <a:gd name="T34" fmla="*/ 11 w 12"/>
                  <a:gd name="T35" fmla="*/ 13 h 15"/>
                  <a:gd name="T36" fmla="*/ 12 w 12"/>
                  <a:gd name="T37" fmla="*/ 11 h 15"/>
                  <a:gd name="T38" fmla="*/ 12 w 12"/>
                  <a:gd name="T39" fmla="*/ 10 h 15"/>
                  <a:gd name="T40" fmla="*/ 12 w 12"/>
                  <a:gd name="T41" fmla="*/ 9 h 15"/>
                  <a:gd name="T42" fmla="*/ 12 w 12"/>
                  <a:gd name="T43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2" h="15">
                    <a:moveTo>
                      <a:pt x="12" y="5"/>
                    </a:moveTo>
                    <a:lnTo>
                      <a:pt x="10" y="4"/>
                    </a:lnTo>
                    <a:lnTo>
                      <a:pt x="8" y="3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5"/>
                    </a:lnTo>
                    <a:lnTo>
                      <a:pt x="2" y="7"/>
                    </a:lnTo>
                    <a:lnTo>
                      <a:pt x="4" y="10"/>
                    </a:lnTo>
                    <a:lnTo>
                      <a:pt x="4" y="11"/>
                    </a:lnTo>
                    <a:lnTo>
                      <a:pt x="5" y="14"/>
                    </a:lnTo>
                    <a:lnTo>
                      <a:pt x="6" y="15"/>
                    </a:lnTo>
                    <a:lnTo>
                      <a:pt x="8" y="14"/>
                    </a:lnTo>
                    <a:lnTo>
                      <a:pt x="10" y="13"/>
                    </a:lnTo>
                    <a:lnTo>
                      <a:pt x="11" y="13"/>
                    </a:lnTo>
                    <a:lnTo>
                      <a:pt x="12" y="11"/>
                    </a:lnTo>
                    <a:lnTo>
                      <a:pt x="12" y="10"/>
                    </a:lnTo>
                    <a:lnTo>
                      <a:pt x="12" y="9"/>
                    </a:lnTo>
                    <a:lnTo>
                      <a:pt x="12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3" name="Freeform 1197">
                <a:extLst>
                  <a:ext uri="{FF2B5EF4-FFF2-40B4-BE49-F238E27FC236}">
                    <a16:creationId xmlns:a16="http://schemas.microsoft.com/office/drawing/2014/main" id="{7D628AD7-302E-4696-BC8F-7C7E3BC542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3" y="1244"/>
                <a:ext cx="3" cy="7"/>
              </a:xfrm>
              <a:custGeom>
                <a:avLst/>
                <a:gdLst>
                  <a:gd name="T0" fmla="*/ 2 w 3"/>
                  <a:gd name="T1" fmla="*/ 7 h 7"/>
                  <a:gd name="T2" fmla="*/ 3 w 3"/>
                  <a:gd name="T3" fmla="*/ 6 h 7"/>
                  <a:gd name="T4" fmla="*/ 3 w 3"/>
                  <a:gd name="T5" fmla="*/ 1 h 7"/>
                  <a:gd name="T6" fmla="*/ 2 w 3"/>
                  <a:gd name="T7" fmla="*/ 0 h 7"/>
                  <a:gd name="T8" fmla="*/ 1 w 3"/>
                  <a:gd name="T9" fmla="*/ 0 h 7"/>
                  <a:gd name="T10" fmla="*/ 0 w 3"/>
                  <a:gd name="T11" fmla="*/ 3 h 7"/>
                  <a:gd name="T12" fmla="*/ 1 w 3"/>
                  <a:gd name="T13" fmla="*/ 4 h 7"/>
                  <a:gd name="T14" fmla="*/ 1 w 3"/>
                  <a:gd name="T15" fmla="*/ 7 h 7"/>
                  <a:gd name="T16" fmla="*/ 2 w 3"/>
                  <a:gd name="T1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7">
                    <a:moveTo>
                      <a:pt x="2" y="7"/>
                    </a:moveTo>
                    <a:lnTo>
                      <a:pt x="3" y="6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7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4" name="Freeform 1198">
                <a:extLst>
                  <a:ext uri="{FF2B5EF4-FFF2-40B4-BE49-F238E27FC236}">
                    <a16:creationId xmlns:a16="http://schemas.microsoft.com/office/drawing/2014/main" id="{96D8CB8D-97EF-4C66-933B-FE50FF1F3A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7" y="1243"/>
                <a:ext cx="2" cy="5"/>
              </a:xfrm>
              <a:custGeom>
                <a:avLst/>
                <a:gdLst>
                  <a:gd name="T0" fmla="*/ 0 w 2"/>
                  <a:gd name="T1" fmla="*/ 1 h 5"/>
                  <a:gd name="T2" fmla="*/ 0 w 2"/>
                  <a:gd name="T3" fmla="*/ 5 h 5"/>
                  <a:gd name="T4" fmla="*/ 1 w 2"/>
                  <a:gd name="T5" fmla="*/ 4 h 5"/>
                  <a:gd name="T6" fmla="*/ 2 w 2"/>
                  <a:gd name="T7" fmla="*/ 4 h 5"/>
                  <a:gd name="T8" fmla="*/ 2 w 2"/>
                  <a:gd name="T9" fmla="*/ 1 h 5"/>
                  <a:gd name="T10" fmla="*/ 1 w 2"/>
                  <a:gd name="T11" fmla="*/ 0 h 5"/>
                  <a:gd name="T12" fmla="*/ 0 w 2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5">
                    <a:moveTo>
                      <a:pt x="0" y="1"/>
                    </a:moveTo>
                    <a:lnTo>
                      <a:pt x="0" y="5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5" name="Freeform 1199">
                <a:extLst>
                  <a:ext uri="{FF2B5EF4-FFF2-40B4-BE49-F238E27FC236}">
                    <a16:creationId xmlns:a16="http://schemas.microsoft.com/office/drawing/2014/main" id="{604B3739-543E-4DCF-AF03-FDC05015F7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7" y="1224"/>
                <a:ext cx="5" cy="3"/>
              </a:xfrm>
              <a:custGeom>
                <a:avLst/>
                <a:gdLst>
                  <a:gd name="T0" fmla="*/ 0 w 5"/>
                  <a:gd name="T1" fmla="*/ 2 h 3"/>
                  <a:gd name="T2" fmla="*/ 1 w 5"/>
                  <a:gd name="T3" fmla="*/ 3 h 3"/>
                  <a:gd name="T4" fmla="*/ 3 w 5"/>
                  <a:gd name="T5" fmla="*/ 3 h 3"/>
                  <a:gd name="T6" fmla="*/ 4 w 5"/>
                  <a:gd name="T7" fmla="*/ 3 h 3"/>
                  <a:gd name="T8" fmla="*/ 5 w 5"/>
                  <a:gd name="T9" fmla="*/ 1 h 3"/>
                  <a:gd name="T10" fmla="*/ 3 w 5"/>
                  <a:gd name="T11" fmla="*/ 0 h 3"/>
                  <a:gd name="T12" fmla="*/ 2 w 5"/>
                  <a:gd name="T13" fmla="*/ 0 h 3"/>
                  <a:gd name="T14" fmla="*/ 0 w 5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3">
                    <a:moveTo>
                      <a:pt x="0" y="2"/>
                    </a:moveTo>
                    <a:lnTo>
                      <a:pt x="1" y="3"/>
                    </a:lnTo>
                    <a:lnTo>
                      <a:pt x="3" y="3"/>
                    </a:lnTo>
                    <a:lnTo>
                      <a:pt x="4" y="3"/>
                    </a:lnTo>
                    <a:lnTo>
                      <a:pt x="5" y="1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6" name="Freeform 1200">
                <a:extLst>
                  <a:ext uri="{FF2B5EF4-FFF2-40B4-BE49-F238E27FC236}">
                    <a16:creationId xmlns:a16="http://schemas.microsoft.com/office/drawing/2014/main" id="{C24F0CCA-33B6-42D7-B0A4-C91A18A290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0" y="1302"/>
                <a:ext cx="4" cy="14"/>
              </a:xfrm>
              <a:custGeom>
                <a:avLst/>
                <a:gdLst>
                  <a:gd name="T0" fmla="*/ 3 w 4"/>
                  <a:gd name="T1" fmla="*/ 0 h 14"/>
                  <a:gd name="T2" fmla="*/ 1 w 4"/>
                  <a:gd name="T3" fmla="*/ 1 h 14"/>
                  <a:gd name="T4" fmla="*/ 1 w 4"/>
                  <a:gd name="T5" fmla="*/ 4 h 14"/>
                  <a:gd name="T6" fmla="*/ 0 w 4"/>
                  <a:gd name="T7" fmla="*/ 7 h 14"/>
                  <a:gd name="T8" fmla="*/ 0 w 4"/>
                  <a:gd name="T9" fmla="*/ 10 h 14"/>
                  <a:gd name="T10" fmla="*/ 1 w 4"/>
                  <a:gd name="T11" fmla="*/ 11 h 14"/>
                  <a:gd name="T12" fmla="*/ 2 w 4"/>
                  <a:gd name="T13" fmla="*/ 14 h 14"/>
                  <a:gd name="T14" fmla="*/ 3 w 4"/>
                  <a:gd name="T15" fmla="*/ 13 h 14"/>
                  <a:gd name="T16" fmla="*/ 4 w 4"/>
                  <a:gd name="T17" fmla="*/ 12 h 14"/>
                  <a:gd name="T18" fmla="*/ 3 w 4"/>
                  <a:gd name="T19" fmla="*/ 8 h 14"/>
                  <a:gd name="T20" fmla="*/ 4 w 4"/>
                  <a:gd name="T21" fmla="*/ 3 h 14"/>
                  <a:gd name="T22" fmla="*/ 3 w 4"/>
                  <a:gd name="T2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" h="14">
                    <a:moveTo>
                      <a:pt x="3" y="0"/>
                    </a:moveTo>
                    <a:lnTo>
                      <a:pt x="1" y="1"/>
                    </a:lnTo>
                    <a:lnTo>
                      <a:pt x="1" y="4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2" y="14"/>
                    </a:lnTo>
                    <a:lnTo>
                      <a:pt x="3" y="13"/>
                    </a:lnTo>
                    <a:lnTo>
                      <a:pt x="4" y="12"/>
                    </a:lnTo>
                    <a:lnTo>
                      <a:pt x="3" y="8"/>
                    </a:lnTo>
                    <a:lnTo>
                      <a:pt x="4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7" name="Freeform 1201">
                <a:extLst>
                  <a:ext uri="{FF2B5EF4-FFF2-40B4-BE49-F238E27FC236}">
                    <a16:creationId xmlns:a16="http://schemas.microsoft.com/office/drawing/2014/main" id="{BC372EB4-B47D-446D-9298-F3646C5097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1" y="1224"/>
                <a:ext cx="10" cy="9"/>
              </a:xfrm>
              <a:custGeom>
                <a:avLst/>
                <a:gdLst>
                  <a:gd name="T0" fmla="*/ 7 w 13"/>
                  <a:gd name="T1" fmla="*/ 1 h 11"/>
                  <a:gd name="T2" fmla="*/ 4 w 13"/>
                  <a:gd name="T3" fmla="*/ 0 h 11"/>
                  <a:gd name="T4" fmla="*/ 3 w 13"/>
                  <a:gd name="T5" fmla="*/ 2 h 11"/>
                  <a:gd name="T6" fmla="*/ 0 w 13"/>
                  <a:gd name="T7" fmla="*/ 3 h 11"/>
                  <a:gd name="T8" fmla="*/ 1 w 13"/>
                  <a:gd name="T9" fmla="*/ 4 h 11"/>
                  <a:gd name="T10" fmla="*/ 1 w 13"/>
                  <a:gd name="T11" fmla="*/ 8 h 11"/>
                  <a:gd name="T12" fmla="*/ 3 w 13"/>
                  <a:gd name="T13" fmla="*/ 9 h 11"/>
                  <a:gd name="T14" fmla="*/ 4 w 13"/>
                  <a:gd name="T15" fmla="*/ 7 h 11"/>
                  <a:gd name="T16" fmla="*/ 6 w 13"/>
                  <a:gd name="T17" fmla="*/ 9 h 11"/>
                  <a:gd name="T18" fmla="*/ 9 w 13"/>
                  <a:gd name="T19" fmla="*/ 9 h 11"/>
                  <a:gd name="T20" fmla="*/ 10 w 13"/>
                  <a:gd name="T21" fmla="*/ 11 h 11"/>
                  <a:gd name="T22" fmla="*/ 12 w 13"/>
                  <a:gd name="T23" fmla="*/ 11 h 11"/>
                  <a:gd name="T24" fmla="*/ 13 w 13"/>
                  <a:gd name="T25" fmla="*/ 8 h 11"/>
                  <a:gd name="T26" fmla="*/ 13 w 13"/>
                  <a:gd name="T27" fmla="*/ 5 h 11"/>
                  <a:gd name="T28" fmla="*/ 9 w 13"/>
                  <a:gd name="T29" fmla="*/ 4 h 11"/>
                  <a:gd name="T30" fmla="*/ 7 w 13"/>
                  <a:gd name="T31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" h="11">
                    <a:moveTo>
                      <a:pt x="7" y="1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11"/>
                      <a:pt x="12" y="11"/>
                      <a:pt x="12" y="11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9" y="4"/>
                      <a:pt x="9" y="4"/>
                      <a:pt x="9" y="4"/>
                    </a:cubicBezTo>
                    <a:lnTo>
                      <a:pt x="7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8" name="Freeform 1202">
                <a:extLst>
                  <a:ext uri="{FF2B5EF4-FFF2-40B4-BE49-F238E27FC236}">
                    <a16:creationId xmlns:a16="http://schemas.microsoft.com/office/drawing/2014/main" id="{05E18ADC-2AE5-4B54-977B-4665B16245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7" y="1691"/>
                <a:ext cx="11" cy="10"/>
              </a:xfrm>
              <a:custGeom>
                <a:avLst/>
                <a:gdLst>
                  <a:gd name="T0" fmla="*/ 6 w 11"/>
                  <a:gd name="T1" fmla="*/ 6 h 10"/>
                  <a:gd name="T2" fmla="*/ 11 w 11"/>
                  <a:gd name="T3" fmla="*/ 2 h 10"/>
                  <a:gd name="T4" fmla="*/ 11 w 11"/>
                  <a:gd name="T5" fmla="*/ 0 h 10"/>
                  <a:gd name="T6" fmla="*/ 7 w 11"/>
                  <a:gd name="T7" fmla="*/ 2 h 10"/>
                  <a:gd name="T8" fmla="*/ 6 w 11"/>
                  <a:gd name="T9" fmla="*/ 5 h 10"/>
                  <a:gd name="T10" fmla="*/ 3 w 11"/>
                  <a:gd name="T11" fmla="*/ 5 h 10"/>
                  <a:gd name="T12" fmla="*/ 0 w 11"/>
                  <a:gd name="T13" fmla="*/ 10 h 10"/>
                  <a:gd name="T14" fmla="*/ 2 w 11"/>
                  <a:gd name="T15" fmla="*/ 10 h 10"/>
                  <a:gd name="T16" fmla="*/ 5 w 11"/>
                  <a:gd name="T17" fmla="*/ 7 h 10"/>
                  <a:gd name="T18" fmla="*/ 6 w 11"/>
                  <a:gd name="T1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10">
                    <a:moveTo>
                      <a:pt x="6" y="6"/>
                    </a:moveTo>
                    <a:lnTo>
                      <a:pt x="11" y="2"/>
                    </a:lnTo>
                    <a:lnTo>
                      <a:pt x="11" y="0"/>
                    </a:lnTo>
                    <a:lnTo>
                      <a:pt x="7" y="2"/>
                    </a:lnTo>
                    <a:lnTo>
                      <a:pt x="6" y="5"/>
                    </a:lnTo>
                    <a:lnTo>
                      <a:pt x="3" y="5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5" y="7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9" name="Freeform 1203">
                <a:extLst>
                  <a:ext uri="{FF2B5EF4-FFF2-40B4-BE49-F238E27FC236}">
                    <a16:creationId xmlns:a16="http://schemas.microsoft.com/office/drawing/2014/main" id="{F29F153F-1A3D-40F0-9ADE-970E93FFC0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9" y="1315"/>
                <a:ext cx="2" cy="4"/>
              </a:xfrm>
              <a:custGeom>
                <a:avLst/>
                <a:gdLst>
                  <a:gd name="T0" fmla="*/ 2 w 2"/>
                  <a:gd name="T1" fmla="*/ 3 h 4"/>
                  <a:gd name="T2" fmla="*/ 2 w 2"/>
                  <a:gd name="T3" fmla="*/ 0 h 4"/>
                  <a:gd name="T4" fmla="*/ 1 w 2"/>
                  <a:gd name="T5" fmla="*/ 0 h 4"/>
                  <a:gd name="T6" fmla="*/ 0 w 2"/>
                  <a:gd name="T7" fmla="*/ 2 h 4"/>
                  <a:gd name="T8" fmla="*/ 1 w 2"/>
                  <a:gd name="T9" fmla="*/ 4 h 4"/>
                  <a:gd name="T10" fmla="*/ 2 w 2"/>
                  <a:gd name="T1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2" y="3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1" y="4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0" name="Freeform 1204">
                <a:extLst>
                  <a:ext uri="{FF2B5EF4-FFF2-40B4-BE49-F238E27FC236}">
                    <a16:creationId xmlns:a16="http://schemas.microsoft.com/office/drawing/2014/main" id="{9A37AF79-6114-4B17-B683-E6EBE33113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3" y="1248"/>
                <a:ext cx="1" cy="1"/>
              </a:xfrm>
              <a:custGeom>
                <a:avLst/>
                <a:gdLst>
                  <a:gd name="T0" fmla="*/ 1 w 1"/>
                  <a:gd name="T1" fmla="*/ 1 h 1"/>
                  <a:gd name="T2" fmla="*/ 0 w 1"/>
                  <a:gd name="T3" fmla="*/ 0 h 1"/>
                  <a:gd name="T4" fmla="*/ 0 w 1"/>
                  <a:gd name="T5" fmla="*/ 0 h 1"/>
                  <a:gd name="T6" fmla="*/ 1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1" name="Freeform 1205">
                <a:extLst>
                  <a:ext uri="{FF2B5EF4-FFF2-40B4-BE49-F238E27FC236}">
                    <a16:creationId xmlns:a16="http://schemas.microsoft.com/office/drawing/2014/main" id="{6EEF0EB9-9D4D-4A08-8C0E-1DFF2A0389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1" y="1204"/>
                <a:ext cx="47" cy="58"/>
              </a:xfrm>
              <a:custGeom>
                <a:avLst/>
                <a:gdLst>
                  <a:gd name="T0" fmla="*/ 16 w 47"/>
                  <a:gd name="T1" fmla="*/ 47 h 58"/>
                  <a:gd name="T2" fmla="*/ 19 w 47"/>
                  <a:gd name="T3" fmla="*/ 48 h 58"/>
                  <a:gd name="T4" fmla="*/ 20 w 47"/>
                  <a:gd name="T5" fmla="*/ 53 h 58"/>
                  <a:gd name="T6" fmla="*/ 22 w 47"/>
                  <a:gd name="T7" fmla="*/ 55 h 58"/>
                  <a:gd name="T8" fmla="*/ 24 w 47"/>
                  <a:gd name="T9" fmla="*/ 51 h 58"/>
                  <a:gd name="T10" fmla="*/ 24 w 47"/>
                  <a:gd name="T11" fmla="*/ 54 h 58"/>
                  <a:gd name="T12" fmla="*/ 28 w 47"/>
                  <a:gd name="T13" fmla="*/ 58 h 58"/>
                  <a:gd name="T14" fmla="*/ 30 w 47"/>
                  <a:gd name="T15" fmla="*/ 57 h 58"/>
                  <a:gd name="T16" fmla="*/ 33 w 47"/>
                  <a:gd name="T17" fmla="*/ 57 h 58"/>
                  <a:gd name="T18" fmla="*/ 36 w 47"/>
                  <a:gd name="T19" fmla="*/ 54 h 58"/>
                  <a:gd name="T20" fmla="*/ 37 w 47"/>
                  <a:gd name="T21" fmla="*/ 54 h 58"/>
                  <a:gd name="T22" fmla="*/ 40 w 47"/>
                  <a:gd name="T23" fmla="*/ 51 h 58"/>
                  <a:gd name="T24" fmla="*/ 42 w 47"/>
                  <a:gd name="T25" fmla="*/ 54 h 58"/>
                  <a:gd name="T26" fmla="*/ 44 w 47"/>
                  <a:gd name="T27" fmla="*/ 52 h 58"/>
                  <a:gd name="T28" fmla="*/ 47 w 47"/>
                  <a:gd name="T29" fmla="*/ 49 h 58"/>
                  <a:gd name="T30" fmla="*/ 47 w 47"/>
                  <a:gd name="T31" fmla="*/ 46 h 58"/>
                  <a:gd name="T32" fmla="*/ 44 w 47"/>
                  <a:gd name="T33" fmla="*/ 47 h 58"/>
                  <a:gd name="T34" fmla="*/ 43 w 47"/>
                  <a:gd name="T35" fmla="*/ 45 h 58"/>
                  <a:gd name="T36" fmla="*/ 45 w 47"/>
                  <a:gd name="T37" fmla="*/ 38 h 58"/>
                  <a:gd name="T38" fmla="*/ 47 w 47"/>
                  <a:gd name="T39" fmla="*/ 35 h 58"/>
                  <a:gd name="T40" fmla="*/ 43 w 47"/>
                  <a:gd name="T41" fmla="*/ 37 h 58"/>
                  <a:gd name="T42" fmla="*/ 41 w 47"/>
                  <a:gd name="T43" fmla="*/ 42 h 58"/>
                  <a:gd name="T44" fmla="*/ 41 w 47"/>
                  <a:gd name="T45" fmla="*/ 39 h 58"/>
                  <a:gd name="T46" fmla="*/ 43 w 47"/>
                  <a:gd name="T47" fmla="*/ 31 h 58"/>
                  <a:gd name="T48" fmla="*/ 41 w 47"/>
                  <a:gd name="T49" fmla="*/ 19 h 58"/>
                  <a:gd name="T50" fmla="*/ 37 w 47"/>
                  <a:gd name="T51" fmla="*/ 16 h 58"/>
                  <a:gd name="T52" fmla="*/ 37 w 47"/>
                  <a:gd name="T53" fmla="*/ 13 h 58"/>
                  <a:gd name="T54" fmla="*/ 36 w 47"/>
                  <a:gd name="T55" fmla="*/ 13 h 58"/>
                  <a:gd name="T56" fmla="*/ 33 w 47"/>
                  <a:gd name="T57" fmla="*/ 16 h 58"/>
                  <a:gd name="T58" fmla="*/ 33 w 47"/>
                  <a:gd name="T59" fmla="*/ 13 h 58"/>
                  <a:gd name="T60" fmla="*/ 36 w 47"/>
                  <a:gd name="T61" fmla="*/ 10 h 58"/>
                  <a:gd name="T62" fmla="*/ 34 w 47"/>
                  <a:gd name="T63" fmla="*/ 6 h 58"/>
                  <a:gd name="T64" fmla="*/ 35 w 47"/>
                  <a:gd name="T65" fmla="*/ 4 h 58"/>
                  <a:gd name="T66" fmla="*/ 35 w 47"/>
                  <a:gd name="T67" fmla="*/ 0 h 58"/>
                  <a:gd name="T68" fmla="*/ 30 w 47"/>
                  <a:gd name="T69" fmla="*/ 2 h 58"/>
                  <a:gd name="T70" fmla="*/ 26 w 47"/>
                  <a:gd name="T71" fmla="*/ 6 h 58"/>
                  <a:gd name="T72" fmla="*/ 25 w 47"/>
                  <a:gd name="T73" fmla="*/ 12 h 58"/>
                  <a:gd name="T74" fmla="*/ 26 w 47"/>
                  <a:gd name="T75" fmla="*/ 17 h 58"/>
                  <a:gd name="T76" fmla="*/ 23 w 47"/>
                  <a:gd name="T77" fmla="*/ 16 h 58"/>
                  <a:gd name="T78" fmla="*/ 23 w 47"/>
                  <a:gd name="T79" fmla="*/ 12 h 58"/>
                  <a:gd name="T80" fmla="*/ 21 w 47"/>
                  <a:gd name="T81" fmla="*/ 11 h 58"/>
                  <a:gd name="T82" fmla="*/ 20 w 47"/>
                  <a:gd name="T83" fmla="*/ 15 h 58"/>
                  <a:gd name="T84" fmla="*/ 19 w 47"/>
                  <a:gd name="T85" fmla="*/ 16 h 58"/>
                  <a:gd name="T86" fmla="*/ 20 w 47"/>
                  <a:gd name="T87" fmla="*/ 19 h 58"/>
                  <a:gd name="T88" fmla="*/ 19 w 47"/>
                  <a:gd name="T89" fmla="*/ 22 h 58"/>
                  <a:gd name="T90" fmla="*/ 16 w 47"/>
                  <a:gd name="T91" fmla="*/ 22 h 58"/>
                  <a:gd name="T92" fmla="*/ 15 w 47"/>
                  <a:gd name="T93" fmla="*/ 24 h 58"/>
                  <a:gd name="T94" fmla="*/ 10 w 47"/>
                  <a:gd name="T95" fmla="*/ 24 h 58"/>
                  <a:gd name="T96" fmla="*/ 9 w 47"/>
                  <a:gd name="T97" fmla="*/ 25 h 58"/>
                  <a:gd name="T98" fmla="*/ 6 w 47"/>
                  <a:gd name="T99" fmla="*/ 24 h 58"/>
                  <a:gd name="T100" fmla="*/ 0 w 47"/>
                  <a:gd name="T101" fmla="*/ 29 h 58"/>
                  <a:gd name="T102" fmla="*/ 1 w 47"/>
                  <a:gd name="T103" fmla="*/ 33 h 58"/>
                  <a:gd name="T104" fmla="*/ 4 w 47"/>
                  <a:gd name="T105" fmla="*/ 37 h 58"/>
                  <a:gd name="T106" fmla="*/ 6 w 47"/>
                  <a:gd name="T107" fmla="*/ 35 h 58"/>
                  <a:gd name="T108" fmla="*/ 5 w 47"/>
                  <a:gd name="T109" fmla="*/ 33 h 58"/>
                  <a:gd name="T110" fmla="*/ 6 w 47"/>
                  <a:gd name="T111" fmla="*/ 31 h 58"/>
                  <a:gd name="T112" fmla="*/ 9 w 47"/>
                  <a:gd name="T113" fmla="*/ 33 h 58"/>
                  <a:gd name="T114" fmla="*/ 8 w 47"/>
                  <a:gd name="T115" fmla="*/ 38 h 58"/>
                  <a:gd name="T116" fmla="*/ 11 w 47"/>
                  <a:gd name="T117" fmla="*/ 41 h 58"/>
                  <a:gd name="T118" fmla="*/ 12 w 47"/>
                  <a:gd name="T119" fmla="*/ 38 h 58"/>
                  <a:gd name="T120" fmla="*/ 13 w 47"/>
                  <a:gd name="T121" fmla="*/ 40 h 58"/>
                  <a:gd name="T122" fmla="*/ 12 w 47"/>
                  <a:gd name="T123" fmla="*/ 43 h 58"/>
                  <a:gd name="T124" fmla="*/ 16 w 47"/>
                  <a:gd name="T125" fmla="*/ 4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7" h="58">
                    <a:moveTo>
                      <a:pt x="16" y="47"/>
                    </a:moveTo>
                    <a:lnTo>
                      <a:pt x="19" y="48"/>
                    </a:lnTo>
                    <a:lnTo>
                      <a:pt x="20" y="53"/>
                    </a:lnTo>
                    <a:lnTo>
                      <a:pt x="22" y="55"/>
                    </a:lnTo>
                    <a:lnTo>
                      <a:pt x="24" y="51"/>
                    </a:lnTo>
                    <a:lnTo>
                      <a:pt x="24" y="54"/>
                    </a:lnTo>
                    <a:lnTo>
                      <a:pt x="28" y="58"/>
                    </a:lnTo>
                    <a:lnTo>
                      <a:pt x="30" y="57"/>
                    </a:lnTo>
                    <a:lnTo>
                      <a:pt x="33" y="57"/>
                    </a:lnTo>
                    <a:lnTo>
                      <a:pt x="36" y="54"/>
                    </a:lnTo>
                    <a:lnTo>
                      <a:pt x="37" y="54"/>
                    </a:lnTo>
                    <a:lnTo>
                      <a:pt x="40" y="51"/>
                    </a:lnTo>
                    <a:lnTo>
                      <a:pt x="42" y="54"/>
                    </a:lnTo>
                    <a:lnTo>
                      <a:pt x="44" y="52"/>
                    </a:lnTo>
                    <a:lnTo>
                      <a:pt x="47" y="49"/>
                    </a:lnTo>
                    <a:lnTo>
                      <a:pt x="47" y="46"/>
                    </a:lnTo>
                    <a:lnTo>
                      <a:pt x="44" y="47"/>
                    </a:lnTo>
                    <a:lnTo>
                      <a:pt x="43" y="45"/>
                    </a:lnTo>
                    <a:lnTo>
                      <a:pt x="45" y="38"/>
                    </a:lnTo>
                    <a:lnTo>
                      <a:pt x="47" y="35"/>
                    </a:lnTo>
                    <a:lnTo>
                      <a:pt x="43" y="37"/>
                    </a:lnTo>
                    <a:lnTo>
                      <a:pt x="41" y="42"/>
                    </a:lnTo>
                    <a:lnTo>
                      <a:pt x="41" y="39"/>
                    </a:lnTo>
                    <a:lnTo>
                      <a:pt x="43" y="31"/>
                    </a:lnTo>
                    <a:lnTo>
                      <a:pt x="41" y="19"/>
                    </a:lnTo>
                    <a:lnTo>
                      <a:pt x="37" y="16"/>
                    </a:lnTo>
                    <a:lnTo>
                      <a:pt x="37" y="13"/>
                    </a:lnTo>
                    <a:lnTo>
                      <a:pt x="36" y="13"/>
                    </a:lnTo>
                    <a:lnTo>
                      <a:pt x="33" y="16"/>
                    </a:lnTo>
                    <a:lnTo>
                      <a:pt x="33" y="13"/>
                    </a:lnTo>
                    <a:lnTo>
                      <a:pt x="36" y="10"/>
                    </a:lnTo>
                    <a:lnTo>
                      <a:pt x="34" y="6"/>
                    </a:lnTo>
                    <a:lnTo>
                      <a:pt x="35" y="4"/>
                    </a:lnTo>
                    <a:lnTo>
                      <a:pt x="35" y="0"/>
                    </a:lnTo>
                    <a:lnTo>
                      <a:pt x="30" y="2"/>
                    </a:lnTo>
                    <a:lnTo>
                      <a:pt x="26" y="6"/>
                    </a:lnTo>
                    <a:lnTo>
                      <a:pt x="25" y="12"/>
                    </a:lnTo>
                    <a:lnTo>
                      <a:pt x="26" y="17"/>
                    </a:lnTo>
                    <a:lnTo>
                      <a:pt x="23" y="16"/>
                    </a:lnTo>
                    <a:lnTo>
                      <a:pt x="23" y="12"/>
                    </a:lnTo>
                    <a:lnTo>
                      <a:pt x="21" y="11"/>
                    </a:lnTo>
                    <a:lnTo>
                      <a:pt x="20" y="15"/>
                    </a:lnTo>
                    <a:lnTo>
                      <a:pt x="19" y="16"/>
                    </a:lnTo>
                    <a:lnTo>
                      <a:pt x="20" y="19"/>
                    </a:lnTo>
                    <a:lnTo>
                      <a:pt x="19" y="22"/>
                    </a:lnTo>
                    <a:lnTo>
                      <a:pt x="16" y="22"/>
                    </a:lnTo>
                    <a:lnTo>
                      <a:pt x="15" y="24"/>
                    </a:lnTo>
                    <a:lnTo>
                      <a:pt x="10" y="24"/>
                    </a:lnTo>
                    <a:lnTo>
                      <a:pt x="9" y="25"/>
                    </a:lnTo>
                    <a:lnTo>
                      <a:pt x="6" y="24"/>
                    </a:lnTo>
                    <a:lnTo>
                      <a:pt x="0" y="29"/>
                    </a:lnTo>
                    <a:lnTo>
                      <a:pt x="1" y="33"/>
                    </a:lnTo>
                    <a:lnTo>
                      <a:pt x="4" y="37"/>
                    </a:lnTo>
                    <a:lnTo>
                      <a:pt x="6" y="35"/>
                    </a:lnTo>
                    <a:lnTo>
                      <a:pt x="5" y="33"/>
                    </a:lnTo>
                    <a:lnTo>
                      <a:pt x="6" y="31"/>
                    </a:lnTo>
                    <a:lnTo>
                      <a:pt x="9" y="33"/>
                    </a:lnTo>
                    <a:lnTo>
                      <a:pt x="8" y="38"/>
                    </a:lnTo>
                    <a:lnTo>
                      <a:pt x="11" y="41"/>
                    </a:lnTo>
                    <a:lnTo>
                      <a:pt x="12" y="38"/>
                    </a:lnTo>
                    <a:lnTo>
                      <a:pt x="13" y="40"/>
                    </a:lnTo>
                    <a:lnTo>
                      <a:pt x="12" y="43"/>
                    </a:lnTo>
                    <a:lnTo>
                      <a:pt x="16" y="4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2" name="Freeform 1206">
                <a:extLst>
                  <a:ext uri="{FF2B5EF4-FFF2-40B4-BE49-F238E27FC236}">
                    <a16:creationId xmlns:a16="http://schemas.microsoft.com/office/drawing/2014/main" id="{3F3370C2-0110-4802-B896-CA15CCB2EC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4" y="1011"/>
                <a:ext cx="186" cy="218"/>
              </a:xfrm>
              <a:custGeom>
                <a:avLst/>
                <a:gdLst>
                  <a:gd name="T0" fmla="*/ 179 w 186"/>
                  <a:gd name="T1" fmla="*/ 166 h 218"/>
                  <a:gd name="T2" fmla="*/ 170 w 186"/>
                  <a:gd name="T3" fmla="*/ 147 h 218"/>
                  <a:gd name="T4" fmla="*/ 164 w 186"/>
                  <a:gd name="T5" fmla="*/ 120 h 218"/>
                  <a:gd name="T6" fmla="*/ 171 w 186"/>
                  <a:gd name="T7" fmla="*/ 95 h 218"/>
                  <a:gd name="T8" fmla="*/ 180 w 186"/>
                  <a:gd name="T9" fmla="*/ 66 h 218"/>
                  <a:gd name="T10" fmla="*/ 182 w 186"/>
                  <a:gd name="T11" fmla="*/ 42 h 218"/>
                  <a:gd name="T12" fmla="*/ 170 w 186"/>
                  <a:gd name="T13" fmla="*/ 26 h 218"/>
                  <a:gd name="T14" fmla="*/ 158 w 186"/>
                  <a:gd name="T15" fmla="*/ 36 h 218"/>
                  <a:gd name="T16" fmla="*/ 149 w 186"/>
                  <a:gd name="T17" fmla="*/ 68 h 218"/>
                  <a:gd name="T18" fmla="*/ 141 w 186"/>
                  <a:gd name="T19" fmla="*/ 89 h 218"/>
                  <a:gd name="T20" fmla="*/ 137 w 186"/>
                  <a:gd name="T21" fmla="*/ 101 h 218"/>
                  <a:gd name="T22" fmla="*/ 137 w 186"/>
                  <a:gd name="T23" fmla="*/ 77 h 218"/>
                  <a:gd name="T24" fmla="*/ 142 w 186"/>
                  <a:gd name="T25" fmla="*/ 53 h 218"/>
                  <a:gd name="T26" fmla="*/ 131 w 186"/>
                  <a:gd name="T27" fmla="*/ 36 h 218"/>
                  <a:gd name="T28" fmla="*/ 130 w 186"/>
                  <a:gd name="T29" fmla="*/ 48 h 218"/>
                  <a:gd name="T30" fmla="*/ 125 w 186"/>
                  <a:gd name="T31" fmla="*/ 53 h 218"/>
                  <a:gd name="T32" fmla="*/ 113 w 186"/>
                  <a:gd name="T33" fmla="*/ 50 h 218"/>
                  <a:gd name="T34" fmla="*/ 113 w 186"/>
                  <a:gd name="T35" fmla="*/ 47 h 218"/>
                  <a:gd name="T36" fmla="*/ 113 w 186"/>
                  <a:gd name="T37" fmla="*/ 28 h 218"/>
                  <a:gd name="T38" fmla="*/ 97 w 186"/>
                  <a:gd name="T39" fmla="*/ 31 h 218"/>
                  <a:gd name="T40" fmla="*/ 82 w 186"/>
                  <a:gd name="T41" fmla="*/ 30 h 218"/>
                  <a:gd name="T42" fmla="*/ 97 w 186"/>
                  <a:gd name="T43" fmla="*/ 16 h 218"/>
                  <a:gd name="T44" fmla="*/ 71 w 186"/>
                  <a:gd name="T45" fmla="*/ 7 h 218"/>
                  <a:gd name="T46" fmla="*/ 34 w 186"/>
                  <a:gd name="T47" fmla="*/ 35 h 218"/>
                  <a:gd name="T48" fmla="*/ 17 w 186"/>
                  <a:gd name="T49" fmla="*/ 54 h 218"/>
                  <a:gd name="T50" fmla="*/ 23 w 186"/>
                  <a:gd name="T51" fmla="*/ 63 h 218"/>
                  <a:gd name="T52" fmla="*/ 27 w 186"/>
                  <a:gd name="T53" fmla="*/ 69 h 218"/>
                  <a:gd name="T54" fmla="*/ 55 w 186"/>
                  <a:gd name="T55" fmla="*/ 74 h 218"/>
                  <a:gd name="T56" fmla="*/ 40 w 186"/>
                  <a:gd name="T57" fmla="*/ 75 h 218"/>
                  <a:gd name="T58" fmla="*/ 11 w 186"/>
                  <a:gd name="T59" fmla="*/ 80 h 218"/>
                  <a:gd name="T60" fmla="*/ 16 w 186"/>
                  <a:gd name="T61" fmla="*/ 102 h 218"/>
                  <a:gd name="T62" fmla="*/ 27 w 186"/>
                  <a:gd name="T63" fmla="*/ 107 h 218"/>
                  <a:gd name="T64" fmla="*/ 45 w 186"/>
                  <a:gd name="T65" fmla="*/ 109 h 218"/>
                  <a:gd name="T66" fmla="*/ 61 w 186"/>
                  <a:gd name="T67" fmla="*/ 119 h 218"/>
                  <a:gd name="T68" fmla="*/ 74 w 186"/>
                  <a:gd name="T69" fmla="*/ 134 h 218"/>
                  <a:gd name="T70" fmla="*/ 59 w 186"/>
                  <a:gd name="T71" fmla="*/ 136 h 218"/>
                  <a:gd name="T72" fmla="*/ 41 w 186"/>
                  <a:gd name="T73" fmla="*/ 126 h 218"/>
                  <a:gd name="T74" fmla="*/ 10 w 186"/>
                  <a:gd name="T75" fmla="*/ 121 h 218"/>
                  <a:gd name="T76" fmla="*/ 3 w 186"/>
                  <a:gd name="T77" fmla="*/ 146 h 218"/>
                  <a:gd name="T78" fmla="*/ 15 w 186"/>
                  <a:gd name="T79" fmla="*/ 164 h 218"/>
                  <a:gd name="T80" fmla="*/ 28 w 186"/>
                  <a:gd name="T81" fmla="*/ 174 h 218"/>
                  <a:gd name="T82" fmla="*/ 23 w 186"/>
                  <a:gd name="T83" fmla="*/ 193 h 218"/>
                  <a:gd name="T84" fmla="*/ 33 w 186"/>
                  <a:gd name="T85" fmla="*/ 202 h 218"/>
                  <a:gd name="T86" fmla="*/ 51 w 186"/>
                  <a:gd name="T87" fmla="*/ 203 h 218"/>
                  <a:gd name="T88" fmla="*/ 61 w 186"/>
                  <a:gd name="T89" fmla="*/ 206 h 218"/>
                  <a:gd name="T90" fmla="*/ 82 w 186"/>
                  <a:gd name="T91" fmla="*/ 195 h 218"/>
                  <a:gd name="T92" fmla="*/ 103 w 186"/>
                  <a:gd name="T93" fmla="*/ 189 h 218"/>
                  <a:gd name="T94" fmla="*/ 113 w 186"/>
                  <a:gd name="T95" fmla="*/ 181 h 218"/>
                  <a:gd name="T96" fmla="*/ 112 w 186"/>
                  <a:gd name="T97" fmla="*/ 195 h 218"/>
                  <a:gd name="T98" fmla="*/ 123 w 186"/>
                  <a:gd name="T99" fmla="*/ 201 h 218"/>
                  <a:gd name="T100" fmla="*/ 126 w 186"/>
                  <a:gd name="T101" fmla="*/ 211 h 218"/>
                  <a:gd name="T102" fmla="*/ 139 w 186"/>
                  <a:gd name="T103" fmla="*/ 216 h 218"/>
                  <a:gd name="T104" fmla="*/ 148 w 186"/>
                  <a:gd name="T105" fmla="*/ 217 h 218"/>
                  <a:gd name="T106" fmla="*/ 158 w 186"/>
                  <a:gd name="T107" fmla="*/ 215 h 218"/>
                  <a:gd name="T108" fmla="*/ 161 w 186"/>
                  <a:gd name="T109" fmla="*/ 204 h 218"/>
                  <a:gd name="T110" fmla="*/ 156 w 186"/>
                  <a:gd name="T111" fmla="*/ 196 h 218"/>
                  <a:gd name="T112" fmla="*/ 148 w 186"/>
                  <a:gd name="T113" fmla="*/ 194 h 218"/>
                  <a:gd name="T114" fmla="*/ 157 w 186"/>
                  <a:gd name="T115" fmla="*/ 191 h 218"/>
                  <a:gd name="T116" fmla="*/ 167 w 186"/>
                  <a:gd name="T117" fmla="*/ 178 h 218"/>
                  <a:gd name="T118" fmla="*/ 172 w 186"/>
                  <a:gd name="T119" fmla="*/ 191 h 218"/>
                  <a:gd name="T120" fmla="*/ 179 w 186"/>
                  <a:gd name="T121" fmla="*/ 194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86" h="218">
                    <a:moveTo>
                      <a:pt x="186" y="173"/>
                    </a:moveTo>
                    <a:lnTo>
                      <a:pt x="185" y="173"/>
                    </a:lnTo>
                    <a:lnTo>
                      <a:pt x="183" y="172"/>
                    </a:lnTo>
                    <a:lnTo>
                      <a:pt x="182" y="174"/>
                    </a:lnTo>
                    <a:lnTo>
                      <a:pt x="182" y="170"/>
                    </a:lnTo>
                    <a:lnTo>
                      <a:pt x="182" y="169"/>
                    </a:lnTo>
                    <a:lnTo>
                      <a:pt x="182" y="168"/>
                    </a:lnTo>
                    <a:lnTo>
                      <a:pt x="179" y="168"/>
                    </a:lnTo>
                    <a:lnTo>
                      <a:pt x="179" y="166"/>
                    </a:lnTo>
                    <a:lnTo>
                      <a:pt x="176" y="164"/>
                    </a:lnTo>
                    <a:lnTo>
                      <a:pt x="176" y="161"/>
                    </a:lnTo>
                    <a:lnTo>
                      <a:pt x="174" y="156"/>
                    </a:lnTo>
                    <a:lnTo>
                      <a:pt x="174" y="152"/>
                    </a:lnTo>
                    <a:lnTo>
                      <a:pt x="175" y="148"/>
                    </a:lnTo>
                    <a:lnTo>
                      <a:pt x="174" y="143"/>
                    </a:lnTo>
                    <a:lnTo>
                      <a:pt x="172" y="147"/>
                    </a:lnTo>
                    <a:lnTo>
                      <a:pt x="172" y="150"/>
                    </a:lnTo>
                    <a:lnTo>
                      <a:pt x="170" y="147"/>
                    </a:lnTo>
                    <a:lnTo>
                      <a:pt x="168" y="145"/>
                    </a:lnTo>
                    <a:lnTo>
                      <a:pt x="167" y="138"/>
                    </a:lnTo>
                    <a:lnTo>
                      <a:pt x="165" y="137"/>
                    </a:lnTo>
                    <a:lnTo>
                      <a:pt x="165" y="132"/>
                    </a:lnTo>
                    <a:lnTo>
                      <a:pt x="162" y="129"/>
                    </a:lnTo>
                    <a:lnTo>
                      <a:pt x="162" y="125"/>
                    </a:lnTo>
                    <a:lnTo>
                      <a:pt x="161" y="123"/>
                    </a:lnTo>
                    <a:lnTo>
                      <a:pt x="161" y="121"/>
                    </a:lnTo>
                    <a:lnTo>
                      <a:pt x="164" y="120"/>
                    </a:lnTo>
                    <a:lnTo>
                      <a:pt x="165" y="116"/>
                    </a:lnTo>
                    <a:lnTo>
                      <a:pt x="167" y="116"/>
                    </a:lnTo>
                    <a:lnTo>
                      <a:pt x="168" y="118"/>
                    </a:lnTo>
                    <a:lnTo>
                      <a:pt x="169" y="116"/>
                    </a:lnTo>
                    <a:lnTo>
                      <a:pt x="169" y="113"/>
                    </a:lnTo>
                    <a:lnTo>
                      <a:pt x="172" y="107"/>
                    </a:lnTo>
                    <a:lnTo>
                      <a:pt x="172" y="102"/>
                    </a:lnTo>
                    <a:lnTo>
                      <a:pt x="172" y="100"/>
                    </a:lnTo>
                    <a:lnTo>
                      <a:pt x="171" y="95"/>
                    </a:lnTo>
                    <a:lnTo>
                      <a:pt x="172" y="91"/>
                    </a:lnTo>
                    <a:lnTo>
                      <a:pt x="173" y="91"/>
                    </a:lnTo>
                    <a:lnTo>
                      <a:pt x="173" y="86"/>
                    </a:lnTo>
                    <a:lnTo>
                      <a:pt x="176" y="81"/>
                    </a:lnTo>
                    <a:lnTo>
                      <a:pt x="176" y="78"/>
                    </a:lnTo>
                    <a:lnTo>
                      <a:pt x="178" y="76"/>
                    </a:lnTo>
                    <a:lnTo>
                      <a:pt x="178" y="70"/>
                    </a:lnTo>
                    <a:lnTo>
                      <a:pt x="180" y="69"/>
                    </a:lnTo>
                    <a:lnTo>
                      <a:pt x="180" y="66"/>
                    </a:lnTo>
                    <a:lnTo>
                      <a:pt x="183" y="61"/>
                    </a:lnTo>
                    <a:lnTo>
                      <a:pt x="182" y="57"/>
                    </a:lnTo>
                    <a:lnTo>
                      <a:pt x="183" y="55"/>
                    </a:lnTo>
                    <a:lnTo>
                      <a:pt x="185" y="55"/>
                    </a:lnTo>
                    <a:lnTo>
                      <a:pt x="185" y="51"/>
                    </a:lnTo>
                    <a:lnTo>
                      <a:pt x="183" y="48"/>
                    </a:lnTo>
                    <a:lnTo>
                      <a:pt x="184" y="46"/>
                    </a:lnTo>
                    <a:lnTo>
                      <a:pt x="184" y="43"/>
                    </a:lnTo>
                    <a:lnTo>
                      <a:pt x="182" y="42"/>
                    </a:lnTo>
                    <a:lnTo>
                      <a:pt x="180" y="37"/>
                    </a:lnTo>
                    <a:lnTo>
                      <a:pt x="181" y="35"/>
                    </a:lnTo>
                    <a:lnTo>
                      <a:pt x="179" y="30"/>
                    </a:lnTo>
                    <a:lnTo>
                      <a:pt x="177" y="29"/>
                    </a:lnTo>
                    <a:lnTo>
                      <a:pt x="175" y="27"/>
                    </a:lnTo>
                    <a:lnTo>
                      <a:pt x="175" y="28"/>
                    </a:lnTo>
                    <a:lnTo>
                      <a:pt x="174" y="32"/>
                    </a:lnTo>
                    <a:lnTo>
                      <a:pt x="172" y="32"/>
                    </a:lnTo>
                    <a:lnTo>
                      <a:pt x="170" y="26"/>
                    </a:lnTo>
                    <a:lnTo>
                      <a:pt x="168" y="25"/>
                    </a:lnTo>
                    <a:lnTo>
                      <a:pt x="166" y="23"/>
                    </a:lnTo>
                    <a:lnTo>
                      <a:pt x="164" y="23"/>
                    </a:lnTo>
                    <a:lnTo>
                      <a:pt x="165" y="28"/>
                    </a:lnTo>
                    <a:lnTo>
                      <a:pt x="164" y="29"/>
                    </a:lnTo>
                    <a:lnTo>
                      <a:pt x="161" y="28"/>
                    </a:lnTo>
                    <a:lnTo>
                      <a:pt x="160" y="33"/>
                    </a:lnTo>
                    <a:lnTo>
                      <a:pt x="160" y="34"/>
                    </a:lnTo>
                    <a:lnTo>
                      <a:pt x="158" y="36"/>
                    </a:lnTo>
                    <a:lnTo>
                      <a:pt x="156" y="43"/>
                    </a:lnTo>
                    <a:lnTo>
                      <a:pt x="156" y="47"/>
                    </a:lnTo>
                    <a:lnTo>
                      <a:pt x="154" y="50"/>
                    </a:lnTo>
                    <a:lnTo>
                      <a:pt x="154" y="54"/>
                    </a:lnTo>
                    <a:lnTo>
                      <a:pt x="154" y="55"/>
                    </a:lnTo>
                    <a:lnTo>
                      <a:pt x="154" y="57"/>
                    </a:lnTo>
                    <a:lnTo>
                      <a:pt x="151" y="59"/>
                    </a:lnTo>
                    <a:lnTo>
                      <a:pt x="151" y="66"/>
                    </a:lnTo>
                    <a:lnTo>
                      <a:pt x="149" y="68"/>
                    </a:lnTo>
                    <a:lnTo>
                      <a:pt x="147" y="68"/>
                    </a:lnTo>
                    <a:lnTo>
                      <a:pt x="146" y="73"/>
                    </a:lnTo>
                    <a:lnTo>
                      <a:pt x="147" y="74"/>
                    </a:lnTo>
                    <a:lnTo>
                      <a:pt x="146" y="78"/>
                    </a:lnTo>
                    <a:lnTo>
                      <a:pt x="145" y="81"/>
                    </a:lnTo>
                    <a:lnTo>
                      <a:pt x="144" y="85"/>
                    </a:lnTo>
                    <a:lnTo>
                      <a:pt x="145" y="87"/>
                    </a:lnTo>
                    <a:lnTo>
                      <a:pt x="144" y="89"/>
                    </a:lnTo>
                    <a:lnTo>
                      <a:pt x="141" y="89"/>
                    </a:lnTo>
                    <a:lnTo>
                      <a:pt x="143" y="91"/>
                    </a:lnTo>
                    <a:lnTo>
                      <a:pt x="145" y="92"/>
                    </a:lnTo>
                    <a:lnTo>
                      <a:pt x="145" y="95"/>
                    </a:lnTo>
                    <a:lnTo>
                      <a:pt x="144" y="95"/>
                    </a:lnTo>
                    <a:lnTo>
                      <a:pt x="141" y="95"/>
                    </a:lnTo>
                    <a:lnTo>
                      <a:pt x="139" y="97"/>
                    </a:lnTo>
                    <a:lnTo>
                      <a:pt x="137" y="96"/>
                    </a:lnTo>
                    <a:lnTo>
                      <a:pt x="137" y="98"/>
                    </a:lnTo>
                    <a:lnTo>
                      <a:pt x="137" y="101"/>
                    </a:lnTo>
                    <a:lnTo>
                      <a:pt x="135" y="102"/>
                    </a:lnTo>
                    <a:lnTo>
                      <a:pt x="134" y="101"/>
                    </a:lnTo>
                    <a:lnTo>
                      <a:pt x="133" y="98"/>
                    </a:lnTo>
                    <a:lnTo>
                      <a:pt x="134" y="95"/>
                    </a:lnTo>
                    <a:lnTo>
                      <a:pt x="133" y="93"/>
                    </a:lnTo>
                    <a:lnTo>
                      <a:pt x="132" y="88"/>
                    </a:lnTo>
                    <a:lnTo>
                      <a:pt x="134" y="83"/>
                    </a:lnTo>
                    <a:lnTo>
                      <a:pt x="135" y="78"/>
                    </a:lnTo>
                    <a:lnTo>
                      <a:pt x="137" y="77"/>
                    </a:lnTo>
                    <a:lnTo>
                      <a:pt x="137" y="74"/>
                    </a:lnTo>
                    <a:lnTo>
                      <a:pt x="137" y="71"/>
                    </a:lnTo>
                    <a:lnTo>
                      <a:pt x="139" y="64"/>
                    </a:lnTo>
                    <a:lnTo>
                      <a:pt x="143" y="62"/>
                    </a:lnTo>
                    <a:lnTo>
                      <a:pt x="143" y="57"/>
                    </a:lnTo>
                    <a:lnTo>
                      <a:pt x="141" y="58"/>
                    </a:lnTo>
                    <a:lnTo>
                      <a:pt x="140" y="57"/>
                    </a:lnTo>
                    <a:lnTo>
                      <a:pt x="140" y="55"/>
                    </a:lnTo>
                    <a:lnTo>
                      <a:pt x="142" y="53"/>
                    </a:lnTo>
                    <a:lnTo>
                      <a:pt x="142" y="46"/>
                    </a:lnTo>
                    <a:lnTo>
                      <a:pt x="141" y="45"/>
                    </a:lnTo>
                    <a:lnTo>
                      <a:pt x="139" y="41"/>
                    </a:lnTo>
                    <a:lnTo>
                      <a:pt x="141" y="40"/>
                    </a:lnTo>
                    <a:lnTo>
                      <a:pt x="141" y="36"/>
                    </a:lnTo>
                    <a:lnTo>
                      <a:pt x="139" y="35"/>
                    </a:lnTo>
                    <a:lnTo>
                      <a:pt x="136" y="31"/>
                    </a:lnTo>
                    <a:lnTo>
                      <a:pt x="132" y="33"/>
                    </a:lnTo>
                    <a:lnTo>
                      <a:pt x="131" y="36"/>
                    </a:lnTo>
                    <a:lnTo>
                      <a:pt x="134" y="39"/>
                    </a:lnTo>
                    <a:lnTo>
                      <a:pt x="134" y="42"/>
                    </a:lnTo>
                    <a:lnTo>
                      <a:pt x="135" y="43"/>
                    </a:lnTo>
                    <a:lnTo>
                      <a:pt x="135" y="47"/>
                    </a:lnTo>
                    <a:lnTo>
                      <a:pt x="134" y="47"/>
                    </a:lnTo>
                    <a:lnTo>
                      <a:pt x="133" y="43"/>
                    </a:lnTo>
                    <a:lnTo>
                      <a:pt x="130" y="43"/>
                    </a:lnTo>
                    <a:lnTo>
                      <a:pt x="130" y="47"/>
                    </a:lnTo>
                    <a:lnTo>
                      <a:pt x="130" y="48"/>
                    </a:lnTo>
                    <a:lnTo>
                      <a:pt x="131" y="50"/>
                    </a:lnTo>
                    <a:lnTo>
                      <a:pt x="133" y="55"/>
                    </a:lnTo>
                    <a:lnTo>
                      <a:pt x="131" y="56"/>
                    </a:lnTo>
                    <a:lnTo>
                      <a:pt x="130" y="54"/>
                    </a:lnTo>
                    <a:lnTo>
                      <a:pt x="130" y="53"/>
                    </a:lnTo>
                    <a:lnTo>
                      <a:pt x="129" y="57"/>
                    </a:lnTo>
                    <a:lnTo>
                      <a:pt x="127" y="55"/>
                    </a:lnTo>
                    <a:lnTo>
                      <a:pt x="127" y="52"/>
                    </a:lnTo>
                    <a:lnTo>
                      <a:pt x="125" y="53"/>
                    </a:lnTo>
                    <a:lnTo>
                      <a:pt x="123" y="56"/>
                    </a:lnTo>
                    <a:lnTo>
                      <a:pt x="122" y="55"/>
                    </a:lnTo>
                    <a:lnTo>
                      <a:pt x="122" y="52"/>
                    </a:lnTo>
                    <a:lnTo>
                      <a:pt x="123" y="50"/>
                    </a:lnTo>
                    <a:lnTo>
                      <a:pt x="123" y="49"/>
                    </a:lnTo>
                    <a:lnTo>
                      <a:pt x="120" y="50"/>
                    </a:lnTo>
                    <a:lnTo>
                      <a:pt x="116" y="54"/>
                    </a:lnTo>
                    <a:lnTo>
                      <a:pt x="114" y="50"/>
                    </a:lnTo>
                    <a:lnTo>
                      <a:pt x="113" y="50"/>
                    </a:lnTo>
                    <a:lnTo>
                      <a:pt x="110" y="53"/>
                    </a:lnTo>
                    <a:lnTo>
                      <a:pt x="107" y="53"/>
                    </a:lnTo>
                    <a:lnTo>
                      <a:pt x="107" y="50"/>
                    </a:lnTo>
                    <a:lnTo>
                      <a:pt x="104" y="51"/>
                    </a:lnTo>
                    <a:lnTo>
                      <a:pt x="102" y="50"/>
                    </a:lnTo>
                    <a:lnTo>
                      <a:pt x="105" y="47"/>
                    </a:lnTo>
                    <a:lnTo>
                      <a:pt x="108" y="47"/>
                    </a:lnTo>
                    <a:lnTo>
                      <a:pt x="110" y="47"/>
                    </a:lnTo>
                    <a:lnTo>
                      <a:pt x="113" y="47"/>
                    </a:lnTo>
                    <a:lnTo>
                      <a:pt x="113" y="44"/>
                    </a:lnTo>
                    <a:lnTo>
                      <a:pt x="115" y="44"/>
                    </a:lnTo>
                    <a:lnTo>
                      <a:pt x="117" y="44"/>
                    </a:lnTo>
                    <a:lnTo>
                      <a:pt x="120" y="42"/>
                    </a:lnTo>
                    <a:lnTo>
                      <a:pt x="120" y="39"/>
                    </a:lnTo>
                    <a:lnTo>
                      <a:pt x="120" y="37"/>
                    </a:lnTo>
                    <a:lnTo>
                      <a:pt x="119" y="35"/>
                    </a:lnTo>
                    <a:lnTo>
                      <a:pt x="116" y="30"/>
                    </a:lnTo>
                    <a:lnTo>
                      <a:pt x="113" y="28"/>
                    </a:lnTo>
                    <a:lnTo>
                      <a:pt x="113" y="26"/>
                    </a:lnTo>
                    <a:lnTo>
                      <a:pt x="109" y="21"/>
                    </a:lnTo>
                    <a:lnTo>
                      <a:pt x="108" y="19"/>
                    </a:lnTo>
                    <a:lnTo>
                      <a:pt x="106" y="19"/>
                    </a:lnTo>
                    <a:lnTo>
                      <a:pt x="102" y="22"/>
                    </a:lnTo>
                    <a:lnTo>
                      <a:pt x="100" y="22"/>
                    </a:lnTo>
                    <a:lnTo>
                      <a:pt x="96" y="28"/>
                    </a:lnTo>
                    <a:lnTo>
                      <a:pt x="97" y="29"/>
                    </a:lnTo>
                    <a:lnTo>
                      <a:pt x="97" y="31"/>
                    </a:lnTo>
                    <a:lnTo>
                      <a:pt x="95" y="32"/>
                    </a:lnTo>
                    <a:lnTo>
                      <a:pt x="93" y="33"/>
                    </a:lnTo>
                    <a:lnTo>
                      <a:pt x="93" y="31"/>
                    </a:lnTo>
                    <a:lnTo>
                      <a:pt x="91" y="32"/>
                    </a:lnTo>
                    <a:lnTo>
                      <a:pt x="89" y="30"/>
                    </a:lnTo>
                    <a:lnTo>
                      <a:pt x="86" y="30"/>
                    </a:lnTo>
                    <a:lnTo>
                      <a:pt x="85" y="32"/>
                    </a:lnTo>
                    <a:lnTo>
                      <a:pt x="82" y="32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6" y="28"/>
                    </a:lnTo>
                    <a:lnTo>
                      <a:pt x="87" y="25"/>
                    </a:lnTo>
                    <a:lnTo>
                      <a:pt x="89" y="24"/>
                    </a:lnTo>
                    <a:lnTo>
                      <a:pt x="92" y="25"/>
                    </a:lnTo>
                    <a:lnTo>
                      <a:pt x="93" y="21"/>
                    </a:lnTo>
                    <a:lnTo>
                      <a:pt x="94" y="17"/>
                    </a:lnTo>
                    <a:lnTo>
                      <a:pt x="95" y="16"/>
                    </a:lnTo>
                    <a:lnTo>
                      <a:pt x="97" y="16"/>
                    </a:lnTo>
                    <a:lnTo>
                      <a:pt x="99" y="11"/>
                    </a:lnTo>
                    <a:lnTo>
                      <a:pt x="99" y="5"/>
                    </a:lnTo>
                    <a:lnTo>
                      <a:pt x="99" y="3"/>
                    </a:lnTo>
                    <a:lnTo>
                      <a:pt x="99" y="0"/>
                    </a:lnTo>
                    <a:lnTo>
                      <a:pt x="96" y="0"/>
                    </a:lnTo>
                    <a:lnTo>
                      <a:pt x="92" y="2"/>
                    </a:lnTo>
                    <a:lnTo>
                      <a:pt x="87" y="3"/>
                    </a:lnTo>
                    <a:lnTo>
                      <a:pt x="82" y="5"/>
                    </a:lnTo>
                    <a:lnTo>
                      <a:pt x="71" y="7"/>
                    </a:lnTo>
                    <a:lnTo>
                      <a:pt x="58" y="13"/>
                    </a:lnTo>
                    <a:lnTo>
                      <a:pt x="55" y="16"/>
                    </a:lnTo>
                    <a:lnTo>
                      <a:pt x="47" y="19"/>
                    </a:lnTo>
                    <a:lnTo>
                      <a:pt x="37" y="25"/>
                    </a:lnTo>
                    <a:lnTo>
                      <a:pt x="33" y="29"/>
                    </a:lnTo>
                    <a:lnTo>
                      <a:pt x="33" y="31"/>
                    </a:lnTo>
                    <a:lnTo>
                      <a:pt x="36" y="31"/>
                    </a:lnTo>
                    <a:lnTo>
                      <a:pt x="37" y="33"/>
                    </a:lnTo>
                    <a:lnTo>
                      <a:pt x="34" y="35"/>
                    </a:lnTo>
                    <a:lnTo>
                      <a:pt x="32" y="35"/>
                    </a:lnTo>
                    <a:lnTo>
                      <a:pt x="27" y="40"/>
                    </a:lnTo>
                    <a:lnTo>
                      <a:pt x="23" y="40"/>
                    </a:lnTo>
                    <a:lnTo>
                      <a:pt x="21" y="42"/>
                    </a:lnTo>
                    <a:lnTo>
                      <a:pt x="21" y="45"/>
                    </a:lnTo>
                    <a:lnTo>
                      <a:pt x="17" y="49"/>
                    </a:lnTo>
                    <a:lnTo>
                      <a:pt x="16" y="51"/>
                    </a:lnTo>
                    <a:lnTo>
                      <a:pt x="15" y="55"/>
                    </a:lnTo>
                    <a:lnTo>
                      <a:pt x="17" y="54"/>
                    </a:lnTo>
                    <a:lnTo>
                      <a:pt x="19" y="56"/>
                    </a:lnTo>
                    <a:lnTo>
                      <a:pt x="18" y="58"/>
                    </a:lnTo>
                    <a:lnTo>
                      <a:pt x="19" y="59"/>
                    </a:lnTo>
                    <a:lnTo>
                      <a:pt x="20" y="59"/>
                    </a:lnTo>
                    <a:lnTo>
                      <a:pt x="23" y="57"/>
                    </a:lnTo>
                    <a:lnTo>
                      <a:pt x="26" y="57"/>
                    </a:lnTo>
                    <a:lnTo>
                      <a:pt x="27" y="59"/>
                    </a:lnTo>
                    <a:lnTo>
                      <a:pt x="26" y="61"/>
                    </a:lnTo>
                    <a:lnTo>
                      <a:pt x="23" y="63"/>
                    </a:lnTo>
                    <a:lnTo>
                      <a:pt x="20" y="61"/>
                    </a:lnTo>
                    <a:lnTo>
                      <a:pt x="19" y="62"/>
                    </a:lnTo>
                    <a:lnTo>
                      <a:pt x="19" y="65"/>
                    </a:lnTo>
                    <a:lnTo>
                      <a:pt x="24" y="68"/>
                    </a:lnTo>
                    <a:lnTo>
                      <a:pt x="26" y="68"/>
                    </a:lnTo>
                    <a:lnTo>
                      <a:pt x="26" y="65"/>
                    </a:lnTo>
                    <a:lnTo>
                      <a:pt x="27" y="64"/>
                    </a:lnTo>
                    <a:lnTo>
                      <a:pt x="29" y="67"/>
                    </a:lnTo>
                    <a:lnTo>
                      <a:pt x="27" y="69"/>
                    </a:lnTo>
                    <a:lnTo>
                      <a:pt x="30" y="68"/>
                    </a:lnTo>
                    <a:lnTo>
                      <a:pt x="34" y="70"/>
                    </a:lnTo>
                    <a:lnTo>
                      <a:pt x="39" y="68"/>
                    </a:lnTo>
                    <a:lnTo>
                      <a:pt x="41" y="68"/>
                    </a:lnTo>
                    <a:lnTo>
                      <a:pt x="45" y="70"/>
                    </a:lnTo>
                    <a:lnTo>
                      <a:pt x="48" y="69"/>
                    </a:lnTo>
                    <a:lnTo>
                      <a:pt x="51" y="71"/>
                    </a:lnTo>
                    <a:lnTo>
                      <a:pt x="53" y="74"/>
                    </a:lnTo>
                    <a:lnTo>
                      <a:pt x="55" y="74"/>
                    </a:lnTo>
                    <a:lnTo>
                      <a:pt x="54" y="76"/>
                    </a:lnTo>
                    <a:lnTo>
                      <a:pt x="52" y="76"/>
                    </a:lnTo>
                    <a:lnTo>
                      <a:pt x="48" y="73"/>
                    </a:lnTo>
                    <a:lnTo>
                      <a:pt x="43" y="72"/>
                    </a:lnTo>
                    <a:lnTo>
                      <a:pt x="42" y="74"/>
                    </a:lnTo>
                    <a:lnTo>
                      <a:pt x="45" y="75"/>
                    </a:lnTo>
                    <a:lnTo>
                      <a:pt x="46" y="77"/>
                    </a:lnTo>
                    <a:lnTo>
                      <a:pt x="41" y="77"/>
                    </a:lnTo>
                    <a:lnTo>
                      <a:pt x="40" y="75"/>
                    </a:lnTo>
                    <a:lnTo>
                      <a:pt x="33" y="76"/>
                    </a:lnTo>
                    <a:lnTo>
                      <a:pt x="31" y="78"/>
                    </a:lnTo>
                    <a:lnTo>
                      <a:pt x="30" y="76"/>
                    </a:lnTo>
                    <a:lnTo>
                      <a:pt x="28" y="76"/>
                    </a:lnTo>
                    <a:lnTo>
                      <a:pt x="26" y="77"/>
                    </a:lnTo>
                    <a:lnTo>
                      <a:pt x="24" y="77"/>
                    </a:lnTo>
                    <a:lnTo>
                      <a:pt x="17" y="78"/>
                    </a:lnTo>
                    <a:lnTo>
                      <a:pt x="16" y="78"/>
                    </a:lnTo>
                    <a:lnTo>
                      <a:pt x="11" y="80"/>
                    </a:lnTo>
                    <a:lnTo>
                      <a:pt x="10" y="83"/>
                    </a:lnTo>
                    <a:lnTo>
                      <a:pt x="11" y="92"/>
                    </a:lnTo>
                    <a:lnTo>
                      <a:pt x="11" y="94"/>
                    </a:lnTo>
                    <a:lnTo>
                      <a:pt x="11" y="98"/>
                    </a:lnTo>
                    <a:lnTo>
                      <a:pt x="10" y="99"/>
                    </a:lnTo>
                    <a:lnTo>
                      <a:pt x="10" y="101"/>
                    </a:lnTo>
                    <a:lnTo>
                      <a:pt x="12" y="102"/>
                    </a:lnTo>
                    <a:lnTo>
                      <a:pt x="14" y="102"/>
                    </a:lnTo>
                    <a:lnTo>
                      <a:pt x="16" y="102"/>
                    </a:lnTo>
                    <a:lnTo>
                      <a:pt x="17" y="103"/>
                    </a:lnTo>
                    <a:lnTo>
                      <a:pt x="19" y="103"/>
                    </a:lnTo>
                    <a:lnTo>
                      <a:pt x="20" y="102"/>
                    </a:lnTo>
                    <a:lnTo>
                      <a:pt x="21" y="102"/>
                    </a:lnTo>
                    <a:lnTo>
                      <a:pt x="23" y="103"/>
                    </a:lnTo>
                    <a:lnTo>
                      <a:pt x="24" y="104"/>
                    </a:lnTo>
                    <a:lnTo>
                      <a:pt x="25" y="103"/>
                    </a:lnTo>
                    <a:lnTo>
                      <a:pt x="26" y="106"/>
                    </a:lnTo>
                    <a:lnTo>
                      <a:pt x="27" y="107"/>
                    </a:lnTo>
                    <a:lnTo>
                      <a:pt x="29" y="108"/>
                    </a:lnTo>
                    <a:lnTo>
                      <a:pt x="31" y="107"/>
                    </a:lnTo>
                    <a:lnTo>
                      <a:pt x="33" y="107"/>
                    </a:lnTo>
                    <a:lnTo>
                      <a:pt x="34" y="109"/>
                    </a:lnTo>
                    <a:lnTo>
                      <a:pt x="37" y="109"/>
                    </a:lnTo>
                    <a:lnTo>
                      <a:pt x="39" y="108"/>
                    </a:lnTo>
                    <a:lnTo>
                      <a:pt x="41" y="109"/>
                    </a:lnTo>
                    <a:lnTo>
                      <a:pt x="44" y="108"/>
                    </a:lnTo>
                    <a:lnTo>
                      <a:pt x="45" y="109"/>
                    </a:lnTo>
                    <a:lnTo>
                      <a:pt x="49" y="109"/>
                    </a:lnTo>
                    <a:lnTo>
                      <a:pt x="51" y="109"/>
                    </a:lnTo>
                    <a:lnTo>
                      <a:pt x="54" y="109"/>
                    </a:lnTo>
                    <a:lnTo>
                      <a:pt x="55" y="112"/>
                    </a:lnTo>
                    <a:lnTo>
                      <a:pt x="57" y="111"/>
                    </a:lnTo>
                    <a:lnTo>
                      <a:pt x="57" y="113"/>
                    </a:lnTo>
                    <a:lnTo>
                      <a:pt x="59" y="116"/>
                    </a:lnTo>
                    <a:lnTo>
                      <a:pt x="59" y="117"/>
                    </a:lnTo>
                    <a:lnTo>
                      <a:pt x="61" y="119"/>
                    </a:lnTo>
                    <a:lnTo>
                      <a:pt x="63" y="119"/>
                    </a:lnTo>
                    <a:lnTo>
                      <a:pt x="64" y="119"/>
                    </a:lnTo>
                    <a:lnTo>
                      <a:pt x="65" y="122"/>
                    </a:lnTo>
                    <a:lnTo>
                      <a:pt x="67" y="123"/>
                    </a:lnTo>
                    <a:lnTo>
                      <a:pt x="68" y="125"/>
                    </a:lnTo>
                    <a:lnTo>
                      <a:pt x="68" y="126"/>
                    </a:lnTo>
                    <a:lnTo>
                      <a:pt x="68" y="128"/>
                    </a:lnTo>
                    <a:lnTo>
                      <a:pt x="71" y="131"/>
                    </a:lnTo>
                    <a:lnTo>
                      <a:pt x="74" y="134"/>
                    </a:lnTo>
                    <a:lnTo>
                      <a:pt x="74" y="136"/>
                    </a:lnTo>
                    <a:lnTo>
                      <a:pt x="73" y="137"/>
                    </a:lnTo>
                    <a:lnTo>
                      <a:pt x="74" y="139"/>
                    </a:lnTo>
                    <a:lnTo>
                      <a:pt x="72" y="138"/>
                    </a:lnTo>
                    <a:lnTo>
                      <a:pt x="68" y="137"/>
                    </a:lnTo>
                    <a:lnTo>
                      <a:pt x="64" y="135"/>
                    </a:lnTo>
                    <a:lnTo>
                      <a:pt x="61" y="136"/>
                    </a:lnTo>
                    <a:lnTo>
                      <a:pt x="59" y="135"/>
                    </a:lnTo>
                    <a:lnTo>
                      <a:pt x="59" y="136"/>
                    </a:lnTo>
                    <a:lnTo>
                      <a:pt x="57" y="136"/>
                    </a:lnTo>
                    <a:lnTo>
                      <a:pt x="54" y="133"/>
                    </a:lnTo>
                    <a:lnTo>
                      <a:pt x="53" y="133"/>
                    </a:lnTo>
                    <a:lnTo>
                      <a:pt x="51" y="130"/>
                    </a:lnTo>
                    <a:lnTo>
                      <a:pt x="50" y="130"/>
                    </a:lnTo>
                    <a:lnTo>
                      <a:pt x="47" y="130"/>
                    </a:lnTo>
                    <a:lnTo>
                      <a:pt x="46" y="130"/>
                    </a:lnTo>
                    <a:lnTo>
                      <a:pt x="44" y="128"/>
                    </a:lnTo>
                    <a:lnTo>
                      <a:pt x="41" y="126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38" y="123"/>
                    </a:lnTo>
                    <a:lnTo>
                      <a:pt x="35" y="123"/>
                    </a:lnTo>
                    <a:lnTo>
                      <a:pt x="33" y="123"/>
                    </a:lnTo>
                    <a:lnTo>
                      <a:pt x="27" y="123"/>
                    </a:lnTo>
                    <a:lnTo>
                      <a:pt x="23" y="123"/>
                    </a:lnTo>
                    <a:lnTo>
                      <a:pt x="21" y="122"/>
                    </a:lnTo>
                    <a:lnTo>
                      <a:pt x="10" y="121"/>
                    </a:lnTo>
                    <a:lnTo>
                      <a:pt x="8" y="122"/>
                    </a:lnTo>
                    <a:lnTo>
                      <a:pt x="5" y="123"/>
                    </a:lnTo>
                    <a:lnTo>
                      <a:pt x="3" y="126"/>
                    </a:lnTo>
                    <a:lnTo>
                      <a:pt x="3" y="131"/>
                    </a:lnTo>
                    <a:lnTo>
                      <a:pt x="1" y="136"/>
                    </a:lnTo>
                    <a:lnTo>
                      <a:pt x="2" y="140"/>
                    </a:lnTo>
                    <a:lnTo>
                      <a:pt x="0" y="143"/>
                    </a:lnTo>
                    <a:lnTo>
                      <a:pt x="1" y="144"/>
                    </a:lnTo>
                    <a:lnTo>
                      <a:pt x="3" y="146"/>
                    </a:lnTo>
                    <a:lnTo>
                      <a:pt x="2" y="147"/>
                    </a:lnTo>
                    <a:lnTo>
                      <a:pt x="2" y="148"/>
                    </a:lnTo>
                    <a:lnTo>
                      <a:pt x="3" y="155"/>
                    </a:lnTo>
                    <a:lnTo>
                      <a:pt x="5" y="157"/>
                    </a:lnTo>
                    <a:lnTo>
                      <a:pt x="6" y="159"/>
                    </a:lnTo>
                    <a:lnTo>
                      <a:pt x="10" y="162"/>
                    </a:lnTo>
                    <a:lnTo>
                      <a:pt x="12" y="164"/>
                    </a:lnTo>
                    <a:lnTo>
                      <a:pt x="13" y="163"/>
                    </a:lnTo>
                    <a:lnTo>
                      <a:pt x="15" y="164"/>
                    </a:lnTo>
                    <a:lnTo>
                      <a:pt x="17" y="165"/>
                    </a:lnTo>
                    <a:lnTo>
                      <a:pt x="20" y="164"/>
                    </a:lnTo>
                    <a:lnTo>
                      <a:pt x="22" y="164"/>
                    </a:lnTo>
                    <a:lnTo>
                      <a:pt x="23" y="166"/>
                    </a:lnTo>
                    <a:lnTo>
                      <a:pt x="26" y="166"/>
                    </a:lnTo>
                    <a:lnTo>
                      <a:pt x="29" y="170"/>
                    </a:lnTo>
                    <a:lnTo>
                      <a:pt x="30" y="171"/>
                    </a:lnTo>
                    <a:lnTo>
                      <a:pt x="30" y="173"/>
                    </a:lnTo>
                    <a:lnTo>
                      <a:pt x="28" y="174"/>
                    </a:lnTo>
                    <a:lnTo>
                      <a:pt x="28" y="176"/>
                    </a:lnTo>
                    <a:lnTo>
                      <a:pt x="26" y="178"/>
                    </a:lnTo>
                    <a:lnTo>
                      <a:pt x="26" y="179"/>
                    </a:lnTo>
                    <a:lnTo>
                      <a:pt x="26" y="181"/>
                    </a:lnTo>
                    <a:lnTo>
                      <a:pt x="23" y="184"/>
                    </a:lnTo>
                    <a:lnTo>
                      <a:pt x="23" y="185"/>
                    </a:lnTo>
                    <a:lnTo>
                      <a:pt x="21" y="187"/>
                    </a:lnTo>
                    <a:lnTo>
                      <a:pt x="23" y="189"/>
                    </a:lnTo>
                    <a:lnTo>
                      <a:pt x="23" y="193"/>
                    </a:lnTo>
                    <a:lnTo>
                      <a:pt x="25" y="197"/>
                    </a:lnTo>
                    <a:lnTo>
                      <a:pt x="25" y="199"/>
                    </a:lnTo>
                    <a:lnTo>
                      <a:pt x="22" y="200"/>
                    </a:lnTo>
                    <a:lnTo>
                      <a:pt x="23" y="202"/>
                    </a:lnTo>
                    <a:lnTo>
                      <a:pt x="27" y="202"/>
                    </a:lnTo>
                    <a:lnTo>
                      <a:pt x="29" y="202"/>
                    </a:lnTo>
                    <a:lnTo>
                      <a:pt x="30" y="202"/>
                    </a:lnTo>
                    <a:lnTo>
                      <a:pt x="31" y="203"/>
                    </a:lnTo>
                    <a:lnTo>
                      <a:pt x="33" y="202"/>
                    </a:lnTo>
                    <a:lnTo>
                      <a:pt x="34" y="201"/>
                    </a:lnTo>
                    <a:lnTo>
                      <a:pt x="35" y="202"/>
                    </a:lnTo>
                    <a:lnTo>
                      <a:pt x="39" y="202"/>
                    </a:lnTo>
                    <a:lnTo>
                      <a:pt x="43" y="204"/>
                    </a:lnTo>
                    <a:lnTo>
                      <a:pt x="45" y="202"/>
                    </a:lnTo>
                    <a:lnTo>
                      <a:pt x="48" y="202"/>
                    </a:lnTo>
                    <a:lnTo>
                      <a:pt x="49" y="204"/>
                    </a:lnTo>
                    <a:lnTo>
                      <a:pt x="50" y="204"/>
                    </a:lnTo>
                    <a:lnTo>
                      <a:pt x="51" y="203"/>
                    </a:lnTo>
                    <a:lnTo>
                      <a:pt x="53" y="202"/>
                    </a:lnTo>
                    <a:lnTo>
                      <a:pt x="54" y="203"/>
                    </a:lnTo>
                    <a:lnTo>
                      <a:pt x="54" y="206"/>
                    </a:lnTo>
                    <a:lnTo>
                      <a:pt x="56" y="205"/>
                    </a:lnTo>
                    <a:lnTo>
                      <a:pt x="57" y="204"/>
                    </a:lnTo>
                    <a:lnTo>
                      <a:pt x="58" y="205"/>
                    </a:lnTo>
                    <a:lnTo>
                      <a:pt x="59" y="208"/>
                    </a:lnTo>
                    <a:lnTo>
                      <a:pt x="61" y="208"/>
                    </a:lnTo>
                    <a:lnTo>
                      <a:pt x="61" y="206"/>
                    </a:lnTo>
                    <a:lnTo>
                      <a:pt x="65" y="206"/>
                    </a:lnTo>
                    <a:lnTo>
                      <a:pt x="67" y="203"/>
                    </a:lnTo>
                    <a:lnTo>
                      <a:pt x="69" y="202"/>
                    </a:lnTo>
                    <a:lnTo>
                      <a:pt x="71" y="202"/>
                    </a:lnTo>
                    <a:lnTo>
                      <a:pt x="74" y="199"/>
                    </a:lnTo>
                    <a:lnTo>
                      <a:pt x="78" y="198"/>
                    </a:lnTo>
                    <a:lnTo>
                      <a:pt x="80" y="197"/>
                    </a:lnTo>
                    <a:lnTo>
                      <a:pt x="80" y="195"/>
                    </a:lnTo>
                    <a:lnTo>
                      <a:pt x="82" y="195"/>
                    </a:lnTo>
                    <a:lnTo>
                      <a:pt x="85" y="196"/>
                    </a:lnTo>
                    <a:lnTo>
                      <a:pt x="87" y="195"/>
                    </a:lnTo>
                    <a:lnTo>
                      <a:pt x="89" y="197"/>
                    </a:lnTo>
                    <a:lnTo>
                      <a:pt x="94" y="197"/>
                    </a:lnTo>
                    <a:lnTo>
                      <a:pt x="100" y="192"/>
                    </a:lnTo>
                    <a:lnTo>
                      <a:pt x="101" y="190"/>
                    </a:lnTo>
                    <a:lnTo>
                      <a:pt x="102" y="190"/>
                    </a:lnTo>
                    <a:lnTo>
                      <a:pt x="102" y="192"/>
                    </a:lnTo>
                    <a:lnTo>
                      <a:pt x="103" y="189"/>
                    </a:lnTo>
                    <a:lnTo>
                      <a:pt x="106" y="188"/>
                    </a:lnTo>
                    <a:lnTo>
                      <a:pt x="106" y="186"/>
                    </a:lnTo>
                    <a:lnTo>
                      <a:pt x="106" y="185"/>
                    </a:lnTo>
                    <a:lnTo>
                      <a:pt x="107" y="185"/>
                    </a:lnTo>
                    <a:lnTo>
                      <a:pt x="109" y="185"/>
                    </a:lnTo>
                    <a:lnTo>
                      <a:pt x="110" y="183"/>
                    </a:lnTo>
                    <a:lnTo>
                      <a:pt x="110" y="181"/>
                    </a:lnTo>
                    <a:lnTo>
                      <a:pt x="111" y="182"/>
                    </a:lnTo>
                    <a:lnTo>
                      <a:pt x="113" y="181"/>
                    </a:lnTo>
                    <a:lnTo>
                      <a:pt x="113" y="184"/>
                    </a:lnTo>
                    <a:lnTo>
                      <a:pt x="113" y="185"/>
                    </a:lnTo>
                    <a:lnTo>
                      <a:pt x="114" y="187"/>
                    </a:lnTo>
                    <a:lnTo>
                      <a:pt x="113" y="188"/>
                    </a:lnTo>
                    <a:lnTo>
                      <a:pt x="113" y="191"/>
                    </a:lnTo>
                    <a:lnTo>
                      <a:pt x="111" y="193"/>
                    </a:lnTo>
                    <a:lnTo>
                      <a:pt x="109" y="194"/>
                    </a:lnTo>
                    <a:lnTo>
                      <a:pt x="110" y="195"/>
                    </a:lnTo>
                    <a:lnTo>
                      <a:pt x="112" y="195"/>
                    </a:lnTo>
                    <a:lnTo>
                      <a:pt x="114" y="198"/>
                    </a:lnTo>
                    <a:lnTo>
                      <a:pt x="115" y="197"/>
                    </a:lnTo>
                    <a:lnTo>
                      <a:pt x="116" y="196"/>
                    </a:lnTo>
                    <a:lnTo>
                      <a:pt x="119" y="198"/>
                    </a:lnTo>
                    <a:lnTo>
                      <a:pt x="120" y="201"/>
                    </a:lnTo>
                    <a:lnTo>
                      <a:pt x="121" y="202"/>
                    </a:lnTo>
                    <a:lnTo>
                      <a:pt x="121" y="201"/>
                    </a:lnTo>
                    <a:lnTo>
                      <a:pt x="122" y="199"/>
                    </a:lnTo>
                    <a:lnTo>
                      <a:pt x="123" y="201"/>
                    </a:lnTo>
                    <a:lnTo>
                      <a:pt x="123" y="203"/>
                    </a:lnTo>
                    <a:lnTo>
                      <a:pt x="122" y="205"/>
                    </a:lnTo>
                    <a:lnTo>
                      <a:pt x="120" y="205"/>
                    </a:lnTo>
                    <a:lnTo>
                      <a:pt x="118" y="207"/>
                    </a:lnTo>
                    <a:lnTo>
                      <a:pt x="119" y="209"/>
                    </a:lnTo>
                    <a:lnTo>
                      <a:pt x="120" y="209"/>
                    </a:lnTo>
                    <a:lnTo>
                      <a:pt x="122" y="209"/>
                    </a:lnTo>
                    <a:lnTo>
                      <a:pt x="123" y="212"/>
                    </a:lnTo>
                    <a:lnTo>
                      <a:pt x="126" y="211"/>
                    </a:lnTo>
                    <a:lnTo>
                      <a:pt x="127" y="207"/>
                    </a:lnTo>
                    <a:lnTo>
                      <a:pt x="128" y="207"/>
                    </a:lnTo>
                    <a:lnTo>
                      <a:pt x="128" y="210"/>
                    </a:lnTo>
                    <a:lnTo>
                      <a:pt x="130" y="213"/>
                    </a:lnTo>
                    <a:lnTo>
                      <a:pt x="131" y="214"/>
                    </a:lnTo>
                    <a:lnTo>
                      <a:pt x="133" y="212"/>
                    </a:lnTo>
                    <a:lnTo>
                      <a:pt x="135" y="213"/>
                    </a:lnTo>
                    <a:lnTo>
                      <a:pt x="137" y="216"/>
                    </a:lnTo>
                    <a:lnTo>
                      <a:pt x="139" y="216"/>
                    </a:lnTo>
                    <a:lnTo>
                      <a:pt x="140" y="217"/>
                    </a:lnTo>
                    <a:lnTo>
                      <a:pt x="141" y="217"/>
                    </a:lnTo>
                    <a:lnTo>
                      <a:pt x="141" y="215"/>
                    </a:lnTo>
                    <a:lnTo>
                      <a:pt x="142" y="215"/>
                    </a:lnTo>
                    <a:lnTo>
                      <a:pt x="144" y="214"/>
                    </a:lnTo>
                    <a:lnTo>
                      <a:pt x="145" y="215"/>
                    </a:lnTo>
                    <a:lnTo>
                      <a:pt x="145" y="217"/>
                    </a:lnTo>
                    <a:lnTo>
                      <a:pt x="146" y="218"/>
                    </a:lnTo>
                    <a:lnTo>
                      <a:pt x="148" y="217"/>
                    </a:lnTo>
                    <a:lnTo>
                      <a:pt x="149" y="215"/>
                    </a:lnTo>
                    <a:lnTo>
                      <a:pt x="151" y="216"/>
                    </a:lnTo>
                    <a:lnTo>
                      <a:pt x="151" y="218"/>
                    </a:lnTo>
                    <a:lnTo>
                      <a:pt x="152" y="218"/>
                    </a:lnTo>
                    <a:lnTo>
                      <a:pt x="153" y="216"/>
                    </a:lnTo>
                    <a:lnTo>
                      <a:pt x="154" y="216"/>
                    </a:lnTo>
                    <a:lnTo>
                      <a:pt x="155" y="214"/>
                    </a:lnTo>
                    <a:lnTo>
                      <a:pt x="157" y="214"/>
                    </a:lnTo>
                    <a:lnTo>
                      <a:pt x="158" y="215"/>
                    </a:lnTo>
                    <a:lnTo>
                      <a:pt x="159" y="216"/>
                    </a:lnTo>
                    <a:lnTo>
                      <a:pt x="160" y="215"/>
                    </a:lnTo>
                    <a:lnTo>
                      <a:pt x="160" y="214"/>
                    </a:lnTo>
                    <a:lnTo>
                      <a:pt x="160" y="212"/>
                    </a:lnTo>
                    <a:lnTo>
                      <a:pt x="161" y="209"/>
                    </a:lnTo>
                    <a:lnTo>
                      <a:pt x="161" y="208"/>
                    </a:lnTo>
                    <a:lnTo>
                      <a:pt x="163" y="206"/>
                    </a:lnTo>
                    <a:lnTo>
                      <a:pt x="163" y="204"/>
                    </a:lnTo>
                    <a:lnTo>
                      <a:pt x="161" y="204"/>
                    </a:lnTo>
                    <a:lnTo>
                      <a:pt x="160" y="202"/>
                    </a:lnTo>
                    <a:lnTo>
                      <a:pt x="161" y="199"/>
                    </a:lnTo>
                    <a:lnTo>
                      <a:pt x="163" y="199"/>
                    </a:lnTo>
                    <a:lnTo>
                      <a:pt x="163" y="195"/>
                    </a:lnTo>
                    <a:lnTo>
                      <a:pt x="161" y="193"/>
                    </a:lnTo>
                    <a:lnTo>
                      <a:pt x="158" y="194"/>
                    </a:lnTo>
                    <a:lnTo>
                      <a:pt x="158" y="196"/>
                    </a:lnTo>
                    <a:lnTo>
                      <a:pt x="158" y="198"/>
                    </a:lnTo>
                    <a:lnTo>
                      <a:pt x="156" y="196"/>
                    </a:lnTo>
                    <a:lnTo>
                      <a:pt x="152" y="196"/>
                    </a:lnTo>
                    <a:lnTo>
                      <a:pt x="149" y="200"/>
                    </a:lnTo>
                    <a:lnTo>
                      <a:pt x="147" y="202"/>
                    </a:lnTo>
                    <a:lnTo>
                      <a:pt x="147" y="201"/>
                    </a:lnTo>
                    <a:lnTo>
                      <a:pt x="149" y="199"/>
                    </a:lnTo>
                    <a:lnTo>
                      <a:pt x="151" y="196"/>
                    </a:lnTo>
                    <a:lnTo>
                      <a:pt x="151" y="192"/>
                    </a:lnTo>
                    <a:lnTo>
                      <a:pt x="150" y="195"/>
                    </a:lnTo>
                    <a:lnTo>
                      <a:pt x="148" y="194"/>
                    </a:lnTo>
                    <a:lnTo>
                      <a:pt x="148" y="192"/>
                    </a:lnTo>
                    <a:lnTo>
                      <a:pt x="151" y="189"/>
                    </a:lnTo>
                    <a:lnTo>
                      <a:pt x="149" y="185"/>
                    </a:lnTo>
                    <a:lnTo>
                      <a:pt x="151" y="182"/>
                    </a:lnTo>
                    <a:lnTo>
                      <a:pt x="152" y="182"/>
                    </a:lnTo>
                    <a:lnTo>
                      <a:pt x="152" y="185"/>
                    </a:lnTo>
                    <a:lnTo>
                      <a:pt x="154" y="189"/>
                    </a:lnTo>
                    <a:lnTo>
                      <a:pt x="155" y="192"/>
                    </a:lnTo>
                    <a:lnTo>
                      <a:pt x="157" y="191"/>
                    </a:lnTo>
                    <a:lnTo>
                      <a:pt x="159" y="191"/>
                    </a:lnTo>
                    <a:lnTo>
                      <a:pt x="161" y="187"/>
                    </a:lnTo>
                    <a:lnTo>
                      <a:pt x="159" y="185"/>
                    </a:lnTo>
                    <a:lnTo>
                      <a:pt x="159" y="184"/>
                    </a:lnTo>
                    <a:lnTo>
                      <a:pt x="161" y="184"/>
                    </a:lnTo>
                    <a:lnTo>
                      <a:pt x="162" y="185"/>
                    </a:lnTo>
                    <a:lnTo>
                      <a:pt x="164" y="185"/>
                    </a:lnTo>
                    <a:lnTo>
                      <a:pt x="166" y="181"/>
                    </a:lnTo>
                    <a:lnTo>
                      <a:pt x="167" y="178"/>
                    </a:lnTo>
                    <a:lnTo>
                      <a:pt x="167" y="181"/>
                    </a:lnTo>
                    <a:lnTo>
                      <a:pt x="168" y="181"/>
                    </a:lnTo>
                    <a:lnTo>
                      <a:pt x="171" y="178"/>
                    </a:lnTo>
                    <a:lnTo>
                      <a:pt x="168" y="184"/>
                    </a:lnTo>
                    <a:lnTo>
                      <a:pt x="168" y="188"/>
                    </a:lnTo>
                    <a:lnTo>
                      <a:pt x="170" y="188"/>
                    </a:lnTo>
                    <a:lnTo>
                      <a:pt x="171" y="188"/>
                    </a:lnTo>
                    <a:lnTo>
                      <a:pt x="170" y="191"/>
                    </a:lnTo>
                    <a:lnTo>
                      <a:pt x="172" y="191"/>
                    </a:lnTo>
                    <a:lnTo>
                      <a:pt x="173" y="188"/>
                    </a:lnTo>
                    <a:lnTo>
                      <a:pt x="174" y="186"/>
                    </a:lnTo>
                    <a:lnTo>
                      <a:pt x="176" y="181"/>
                    </a:lnTo>
                    <a:lnTo>
                      <a:pt x="178" y="181"/>
                    </a:lnTo>
                    <a:lnTo>
                      <a:pt x="178" y="184"/>
                    </a:lnTo>
                    <a:lnTo>
                      <a:pt x="175" y="187"/>
                    </a:lnTo>
                    <a:lnTo>
                      <a:pt x="176" y="192"/>
                    </a:lnTo>
                    <a:lnTo>
                      <a:pt x="178" y="192"/>
                    </a:lnTo>
                    <a:lnTo>
                      <a:pt x="179" y="194"/>
                    </a:lnTo>
                    <a:lnTo>
                      <a:pt x="181" y="192"/>
                    </a:lnTo>
                    <a:lnTo>
                      <a:pt x="184" y="188"/>
                    </a:lnTo>
                    <a:lnTo>
                      <a:pt x="185" y="183"/>
                    </a:lnTo>
                    <a:lnTo>
                      <a:pt x="186" y="180"/>
                    </a:lnTo>
                    <a:lnTo>
                      <a:pt x="186" y="176"/>
                    </a:lnTo>
                    <a:lnTo>
                      <a:pt x="186" y="175"/>
                    </a:lnTo>
                    <a:lnTo>
                      <a:pt x="186" y="17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3" name="Freeform 1207">
                <a:extLst>
                  <a:ext uri="{FF2B5EF4-FFF2-40B4-BE49-F238E27FC236}">
                    <a16:creationId xmlns:a16="http://schemas.microsoft.com/office/drawing/2014/main" id="{E2CE93EA-C86B-437E-93FA-0F87E427A4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6" y="1227"/>
                <a:ext cx="7" cy="14"/>
              </a:xfrm>
              <a:custGeom>
                <a:avLst/>
                <a:gdLst>
                  <a:gd name="T0" fmla="*/ 0 w 7"/>
                  <a:gd name="T1" fmla="*/ 11 h 14"/>
                  <a:gd name="T2" fmla="*/ 1 w 7"/>
                  <a:gd name="T3" fmla="*/ 14 h 14"/>
                  <a:gd name="T4" fmla="*/ 3 w 7"/>
                  <a:gd name="T5" fmla="*/ 13 h 14"/>
                  <a:gd name="T6" fmla="*/ 3 w 7"/>
                  <a:gd name="T7" fmla="*/ 10 h 14"/>
                  <a:gd name="T8" fmla="*/ 6 w 7"/>
                  <a:gd name="T9" fmla="*/ 9 h 14"/>
                  <a:gd name="T10" fmla="*/ 7 w 7"/>
                  <a:gd name="T11" fmla="*/ 5 h 14"/>
                  <a:gd name="T12" fmla="*/ 5 w 7"/>
                  <a:gd name="T13" fmla="*/ 3 h 14"/>
                  <a:gd name="T14" fmla="*/ 5 w 7"/>
                  <a:gd name="T15" fmla="*/ 0 h 14"/>
                  <a:gd name="T16" fmla="*/ 3 w 7"/>
                  <a:gd name="T17" fmla="*/ 0 h 14"/>
                  <a:gd name="T18" fmla="*/ 2 w 7"/>
                  <a:gd name="T19" fmla="*/ 2 h 14"/>
                  <a:gd name="T20" fmla="*/ 3 w 7"/>
                  <a:gd name="T21" fmla="*/ 4 h 14"/>
                  <a:gd name="T22" fmla="*/ 0 w 7"/>
                  <a:gd name="T23" fmla="*/ 9 h 14"/>
                  <a:gd name="T24" fmla="*/ 0 w 7"/>
                  <a:gd name="T25" fmla="*/ 1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" h="14">
                    <a:moveTo>
                      <a:pt x="0" y="11"/>
                    </a:moveTo>
                    <a:lnTo>
                      <a:pt x="1" y="14"/>
                    </a:lnTo>
                    <a:lnTo>
                      <a:pt x="3" y="13"/>
                    </a:lnTo>
                    <a:lnTo>
                      <a:pt x="3" y="10"/>
                    </a:lnTo>
                    <a:lnTo>
                      <a:pt x="6" y="9"/>
                    </a:lnTo>
                    <a:lnTo>
                      <a:pt x="7" y="5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3" y="4"/>
                    </a:lnTo>
                    <a:lnTo>
                      <a:pt x="0" y="9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4" name="Freeform 1208">
                <a:extLst>
                  <a:ext uri="{FF2B5EF4-FFF2-40B4-BE49-F238E27FC236}">
                    <a16:creationId xmlns:a16="http://schemas.microsoft.com/office/drawing/2014/main" id="{6AB67196-FA4A-4721-87B2-D0015FFBFC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7" y="1206"/>
                <a:ext cx="4" cy="10"/>
              </a:xfrm>
              <a:custGeom>
                <a:avLst/>
                <a:gdLst>
                  <a:gd name="T0" fmla="*/ 0 w 4"/>
                  <a:gd name="T1" fmla="*/ 8 h 10"/>
                  <a:gd name="T2" fmla="*/ 0 w 4"/>
                  <a:gd name="T3" fmla="*/ 10 h 10"/>
                  <a:gd name="T4" fmla="*/ 1 w 4"/>
                  <a:gd name="T5" fmla="*/ 10 h 10"/>
                  <a:gd name="T6" fmla="*/ 2 w 4"/>
                  <a:gd name="T7" fmla="*/ 8 h 10"/>
                  <a:gd name="T8" fmla="*/ 3 w 4"/>
                  <a:gd name="T9" fmla="*/ 8 h 10"/>
                  <a:gd name="T10" fmla="*/ 4 w 4"/>
                  <a:gd name="T11" fmla="*/ 6 h 10"/>
                  <a:gd name="T12" fmla="*/ 4 w 4"/>
                  <a:gd name="T13" fmla="*/ 4 h 10"/>
                  <a:gd name="T14" fmla="*/ 3 w 4"/>
                  <a:gd name="T15" fmla="*/ 3 h 10"/>
                  <a:gd name="T16" fmla="*/ 3 w 4"/>
                  <a:gd name="T17" fmla="*/ 0 h 10"/>
                  <a:gd name="T18" fmla="*/ 2 w 4"/>
                  <a:gd name="T19" fmla="*/ 0 h 10"/>
                  <a:gd name="T20" fmla="*/ 1 w 4"/>
                  <a:gd name="T21" fmla="*/ 3 h 10"/>
                  <a:gd name="T22" fmla="*/ 2 w 4"/>
                  <a:gd name="T23" fmla="*/ 5 h 10"/>
                  <a:gd name="T24" fmla="*/ 0 w 4"/>
                  <a:gd name="T25" fmla="*/ 6 h 10"/>
                  <a:gd name="T26" fmla="*/ 0 w 4"/>
                  <a:gd name="T2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" h="10">
                    <a:moveTo>
                      <a:pt x="0" y="8"/>
                    </a:moveTo>
                    <a:lnTo>
                      <a:pt x="0" y="10"/>
                    </a:lnTo>
                    <a:lnTo>
                      <a:pt x="1" y="10"/>
                    </a:lnTo>
                    <a:lnTo>
                      <a:pt x="2" y="8"/>
                    </a:lnTo>
                    <a:lnTo>
                      <a:pt x="3" y="8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3"/>
                    </a:lnTo>
                    <a:lnTo>
                      <a:pt x="2" y="5"/>
                    </a:lnTo>
                    <a:lnTo>
                      <a:pt x="0" y="6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5" name="Freeform 1209">
                <a:extLst>
                  <a:ext uri="{FF2B5EF4-FFF2-40B4-BE49-F238E27FC236}">
                    <a16:creationId xmlns:a16="http://schemas.microsoft.com/office/drawing/2014/main" id="{EC96E874-F88A-4209-980C-DEDC06091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3" y="1223"/>
                <a:ext cx="5" cy="8"/>
              </a:xfrm>
              <a:custGeom>
                <a:avLst/>
                <a:gdLst>
                  <a:gd name="T0" fmla="*/ 4 w 6"/>
                  <a:gd name="T1" fmla="*/ 7 h 11"/>
                  <a:gd name="T2" fmla="*/ 6 w 6"/>
                  <a:gd name="T3" fmla="*/ 4 h 11"/>
                  <a:gd name="T4" fmla="*/ 4 w 6"/>
                  <a:gd name="T5" fmla="*/ 0 h 11"/>
                  <a:gd name="T6" fmla="*/ 3 w 6"/>
                  <a:gd name="T7" fmla="*/ 1 h 11"/>
                  <a:gd name="T8" fmla="*/ 0 w 6"/>
                  <a:gd name="T9" fmla="*/ 7 h 11"/>
                  <a:gd name="T10" fmla="*/ 1 w 6"/>
                  <a:gd name="T11" fmla="*/ 9 h 11"/>
                  <a:gd name="T12" fmla="*/ 2 w 6"/>
                  <a:gd name="T13" fmla="*/ 11 h 11"/>
                  <a:gd name="T14" fmla="*/ 4 w 6"/>
                  <a:gd name="T15" fmla="*/ 11 h 11"/>
                  <a:gd name="T16" fmla="*/ 4 w 6"/>
                  <a:gd name="T17" fmla="*/ 7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1">
                    <a:moveTo>
                      <a:pt x="4" y="7"/>
                    </a:moveTo>
                    <a:cubicBezTo>
                      <a:pt x="6" y="4"/>
                      <a:pt x="6" y="4"/>
                      <a:pt x="6" y="4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1"/>
                      <a:pt x="4" y="11"/>
                      <a:pt x="4" y="11"/>
                    </a:cubicBezTo>
                    <a:lnTo>
                      <a:pt x="4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706" name="Group 1705">
              <a:extLst>
                <a:ext uri="{FF2B5EF4-FFF2-40B4-BE49-F238E27FC236}">
                  <a16:creationId xmlns:a16="http://schemas.microsoft.com/office/drawing/2014/main" id="{8DAEF192-9647-4A61-9DD9-5D773A92244F}"/>
                </a:ext>
              </a:extLst>
            </p:cNvPr>
            <p:cNvGrpSpPr/>
            <p:nvPr/>
          </p:nvGrpSpPr>
          <p:grpSpPr>
            <a:xfrm>
              <a:off x="2425701" y="1103313"/>
              <a:ext cx="7337425" cy="5118100"/>
              <a:chOff x="2425701" y="1103313"/>
              <a:chExt cx="7337425" cy="5118100"/>
            </a:xfrm>
            <a:solidFill>
              <a:schemeClr val="bg2">
                <a:lumMod val="90000"/>
              </a:schemeClr>
            </a:solidFill>
          </p:grpSpPr>
          <p:sp>
            <p:nvSpPr>
              <p:cNvPr id="1506" name="Freeform 5">
                <a:extLst>
                  <a:ext uri="{FF2B5EF4-FFF2-40B4-BE49-F238E27FC236}">
                    <a16:creationId xmlns:a16="http://schemas.microsoft.com/office/drawing/2014/main" id="{47CB445E-DDA0-4A7C-B9D1-05643986A9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1739" y="3243263"/>
                <a:ext cx="1588" cy="7938"/>
              </a:xfrm>
              <a:custGeom>
                <a:avLst/>
                <a:gdLst>
                  <a:gd name="T0" fmla="*/ 1 w 1"/>
                  <a:gd name="T1" fmla="*/ 0 h 5"/>
                  <a:gd name="T2" fmla="*/ 1 w 1"/>
                  <a:gd name="T3" fmla="*/ 0 h 5"/>
                  <a:gd name="T4" fmla="*/ 0 w 1"/>
                  <a:gd name="T5" fmla="*/ 5 h 5"/>
                  <a:gd name="T6" fmla="*/ 1 w 1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5">
                    <a:moveTo>
                      <a:pt x="1" y="0"/>
                    </a:moveTo>
                    <a:lnTo>
                      <a:pt x="1" y="0"/>
                    </a:lnTo>
                    <a:lnTo>
                      <a:pt x="0" y="5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7" name="Freeform 6">
                <a:extLst>
                  <a:ext uri="{FF2B5EF4-FFF2-40B4-BE49-F238E27FC236}">
                    <a16:creationId xmlns:a16="http://schemas.microsoft.com/office/drawing/2014/main" id="{328731C3-4496-4904-A7E8-4CEDA9298D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8226" y="3144838"/>
                <a:ext cx="0" cy="3175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8" name="Freeform 7">
                <a:extLst>
                  <a:ext uri="{FF2B5EF4-FFF2-40B4-BE49-F238E27FC236}">
                    <a16:creationId xmlns:a16="http://schemas.microsoft.com/office/drawing/2014/main" id="{0F0338C8-0F1F-415F-A1EE-9B74C9798F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4901" y="3032125"/>
                <a:ext cx="3175" cy="6350"/>
              </a:xfrm>
              <a:custGeom>
                <a:avLst/>
                <a:gdLst>
                  <a:gd name="T0" fmla="*/ 1 w 2"/>
                  <a:gd name="T1" fmla="*/ 3 h 4"/>
                  <a:gd name="T2" fmla="*/ 0 w 2"/>
                  <a:gd name="T3" fmla="*/ 0 h 4"/>
                  <a:gd name="T4" fmla="*/ 2 w 2"/>
                  <a:gd name="T5" fmla="*/ 4 h 4"/>
                  <a:gd name="T6" fmla="*/ 1 w 2"/>
                  <a:gd name="T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1" y="3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1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9" name="Freeform 8">
                <a:extLst>
                  <a:ext uri="{FF2B5EF4-FFF2-40B4-BE49-F238E27FC236}">
                    <a16:creationId xmlns:a16="http://schemas.microsoft.com/office/drawing/2014/main" id="{244B9977-EB39-49AB-A8E5-5EB0ABAD9A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6164" y="3189288"/>
                <a:ext cx="3175" cy="1588"/>
              </a:xfrm>
              <a:custGeom>
                <a:avLst/>
                <a:gdLst>
                  <a:gd name="T0" fmla="*/ 0 w 2"/>
                  <a:gd name="T1" fmla="*/ 1 h 1"/>
                  <a:gd name="T2" fmla="*/ 1 w 2"/>
                  <a:gd name="T3" fmla="*/ 1 h 1"/>
                  <a:gd name="T4" fmla="*/ 2 w 2"/>
                  <a:gd name="T5" fmla="*/ 0 h 1"/>
                  <a:gd name="T6" fmla="*/ 0 w 2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1" y="1"/>
                    </a:lnTo>
                    <a:lnTo>
                      <a:pt x="2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0" name="Freeform 9">
                <a:extLst>
                  <a:ext uri="{FF2B5EF4-FFF2-40B4-BE49-F238E27FC236}">
                    <a16:creationId xmlns:a16="http://schemas.microsoft.com/office/drawing/2014/main" id="{D6E46A88-5160-4AC1-8969-B4F9D8057A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214" y="3219450"/>
                <a:ext cx="0" cy="1588"/>
              </a:xfrm>
              <a:custGeom>
                <a:avLst/>
                <a:gdLst>
                  <a:gd name="T0" fmla="*/ 1 h 1"/>
                  <a:gd name="T1" fmla="*/ 1 h 1"/>
                  <a:gd name="T2" fmla="*/ 0 h 1"/>
                  <a:gd name="T3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1" name="Freeform 10">
                <a:extLst>
                  <a:ext uri="{FF2B5EF4-FFF2-40B4-BE49-F238E27FC236}">
                    <a16:creationId xmlns:a16="http://schemas.microsoft.com/office/drawing/2014/main" id="{BD74056C-8492-4CEA-9A60-7371D7420A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101" y="3030538"/>
                <a:ext cx="14288" cy="3175"/>
              </a:xfrm>
              <a:custGeom>
                <a:avLst/>
                <a:gdLst>
                  <a:gd name="T0" fmla="*/ 3 w 9"/>
                  <a:gd name="T1" fmla="*/ 1 h 2"/>
                  <a:gd name="T2" fmla="*/ 0 w 9"/>
                  <a:gd name="T3" fmla="*/ 2 h 2"/>
                  <a:gd name="T4" fmla="*/ 9 w 9"/>
                  <a:gd name="T5" fmla="*/ 0 h 2"/>
                  <a:gd name="T6" fmla="*/ 3 w 9"/>
                  <a:gd name="T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2">
                    <a:moveTo>
                      <a:pt x="3" y="1"/>
                    </a:moveTo>
                    <a:lnTo>
                      <a:pt x="0" y="2"/>
                    </a:lnTo>
                    <a:lnTo>
                      <a:pt x="9" y="0"/>
                    </a:lnTo>
                    <a:lnTo>
                      <a:pt x="3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2" name="Freeform 11">
                <a:extLst>
                  <a:ext uri="{FF2B5EF4-FFF2-40B4-BE49-F238E27FC236}">
                    <a16:creationId xmlns:a16="http://schemas.microsoft.com/office/drawing/2014/main" id="{FF3807E3-5963-46E9-B785-8C52E374FC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0126" y="2166938"/>
                <a:ext cx="4763" cy="4763"/>
              </a:xfrm>
              <a:custGeom>
                <a:avLst/>
                <a:gdLst>
                  <a:gd name="T0" fmla="*/ 3 w 3"/>
                  <a:gd name="T1" fmla="*/ 3 h 3"/>
                  <a:gd name="T2" fmla="*/ 0 w 3"/>
                  <a:gd name="T3" fmla="*/ 0 h 3"/>
                  <a:gd name="T4" fmla="*/ 0 w 3"/>
                  <a:gd name="T5" fmla="*/ 0 h 3"/>
                  <a:gd name="T6" fmla="*/ 3 w 3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3" name="Freeform 12">
                <a:extLst>
                  <a:ext uri="{FF2B5EF4-FFF2-40B4-BE49-F238E27FC236}">
                    <a16:creationId xmlns:a16="http://schemas.microsoft.com/office/drawing/2014/main" id="{AB3A006A-73AF-4300-8776-7CC41CFFED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6614" y="3060700"/>
                <a:ext cx="0" cy="4763"/>
              </a:xfrm>
              <a:custGeom>
                <a:avLst/>
                <a:gdLst>
                  <a:gd name="T0" fmla="*/ 3 h 3"/>
                  <a:gd name="T1" fmla="*/ 0 h 3"/>
                  <a:gd name="T2" fmla="*/ 3 h 3"/>
                  <a:gd name="T3" fmla="*/ 3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4" name="Freeform 13">
                <a:extLst>
                  <a:ext uri="{FF2B5EF4-FFF2-40B4-BE49-F238E27FC236}">
                    <a16:creationId xmlns:a16="http://schemas.microsoft.com/office/drawing/2014/main" id="{85071803-33AB-4B1B-97E2-2E5B81B43D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3589" y="2992438"/>
                <a:ext cx="4763" cy="1588"/>
              </a:xfrm>
              <a:custGeom>
                <a:avLst/>
                <a:gdLst>
                  <a:gd name="T0" fmla="*/ 0 w 3"/>
                  <a:gd name="T1" fmla="*/ 1 h 1"/>
                  <a:gd name="T2" fmla="*/ 3 w 3"/>
                  <a:gd name="T3" fmla="*/ 0 h 1"/>
                  <a:gd name="T4" fmla="*/ 3 w 3"/>
                  <a:gd name="T5" fmla="*/ 0 h 1"/>
                  <a:gd name="T6" fmla="*/ 0 w 3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0" y="1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5" name="Freeform 14">
                <a:extLst>
                  <a:ext uri="{FF2B5EF4-FFF2-40B4-BE49-F238E27FC236}">
                    <a16:creationId xmlns:a16="http://schemas.microsoft.com/office/drawing/2014/main" id="{3B2A79A5-BAD1-42EE-AF5F-6516094146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0576" y="3054350"/>
                <a:ext cx="6350" cy="4763"/>
              </a:xfrm>
              <a:custGeom>
                <a:avLst/>
                <a:gdLst>
                  <a:gd name="T0" fmla="*/ 4 w 4"/>
                  <a:gd name="T1" fmla="*/ 0 h 3"/>
                  <a:gd name="T2" fmla="*/ 0 w 4"/>
                  <a:gd name="T3" fmla="*/ 3 h 3"/>
                  <a:gd name="T4" fmla="*/ 4 w 4"/>
                  <a:gd name="T5" fmla="*/ 0 h 3"/>
                  <a:gd name="T6" fmla="*/ 4 w 4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4" y="0"/>
                    </a:moveTo>
                    <a:lnTo>
                      <a:pt x="0" y="3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6" name="Freeform 15">
                <a:extLst>
                  <a:ext uri="{FF2B5EF4-FFF2-40B4-BE49-F238E27FC236}">
                    <a16:creationId xmlns:a16="http://schemas.microsoft.com/office/drawing/2014/main" id="{45CBFE84-EB3E-4581-B510-0CED31C912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4576" y="2992438"/>
                <a:ext cx="1588" cy="7938"/>
              </a:xfrm>
              <a:custGeom>
                <a:avLst/>
                <a:gdLst>
                  <a:gd name="T0" fmla="*/ 1 w 1"/>
                  <a:gd name="T1" fmla="*/ 4 h 5"/>
                  <a:gd name="T2" fmla="*/ 0 w 1"/>
                  <a:gd name="T3" fmla="*/ 0 h 5"/>
                  <a:gd name="T4" fmla="*/ 1 w 1"/>
                  <a:gd name="T5" fmla="*/ 5 h 5"/>
                  <a:gd name="T6" fmla="*/ 1 w 1"/>
                  <a:gd name="T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5">
                    <a:moveTo>
                      <a:pt x="1" y="4"/>
                    </a:moveTo>
                    <a:lnTo>
                      <a:pt x="0" y="0"/>
                    </a:lnTo>
                    <a:lnTo>
                      <a:pt x="1" y="5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7" name="Freeform 16">
                <a:extLst>
                  <a:ext uri="{FF2B5EF4-FFF2-40B4-BE49-F238E27FC236}">
                    <a16:creationId xmlns:a16="http://schemas.microsoft.com/office/drawing/2014/main" id="{B0355909-C442-4E3B-B776-4C16D2B35B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1851" y="3057525"/>
                <a:ext cx="4763" cy="3175"/>
              </a:xfrm>
              <a:custGeom>
                <a:avLst/>
                <a:gdLst>
                  <a:gd name="T0" fmla="*/ 2 w 3"/>
                  <a:gd name="T1" fmla="*/ 1 h 2"/>
                  <a:gd name="T2" fmla="*/ 0 w 3"/>
                  <a:gd name="T3" fmla="*/ 0 h 2"/>
                  <a:gd name="T4" fmla="*/ 3 w 3"/>
                  <a:gd name="T5" fmla="*/ 2 h 2"/>
                  <a:gd name="T6" fmla="*/ 2 w 3"/>
                  <a:gd name="T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2" y="1"/>
                    </a:moveTo>
                    <a:lnTo>
                      <a:pt x="0" y="0"/>
                    </a:lnTo>
                    <a:lnTo>
                      <a:pt x="3" y="2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8" name="Freeform 17">
                <a:extLst>
                  <a:ext uri="{FF2B5EF4-FFF2-40B4-BE49-F238E27FC236}">
                    <a16:creationId xmlns:a16="http://schemas.microsoft.com/office/drawing/2014/main" id="{419BE9B7-E854-4E38-B3A5-7F1CAB4634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85139" y="4048125"/>
                <a:ext cx="6350" cy="3175"/>
              </a:xfrm>
              <a:custGeom>
                <a:avLst/>
                <a:gdLst>
                  <a:gd name="T0" fmla="*/ 0 w 4"/>
                  <a:gd name="T1" fmla="*/ 2 h 2"/>
                  <a:gd name="T2" fmla="*/ 2 w 4"/>
                  <a:gd name="T3" fmla="*/ 1 h 2"/>
                  <a:gd name="T4" fmla="*/ 4 w 4"/>
                  <a:gd name="T5" fmla="*/ 0 h 2"/>
                  <a:gd name="T6" fmla="*/ 0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2" y="1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9" name="Freeform 18">
                <a:extLst>
                  <a:ext uri="{FF2B5EF4-FFF2-40B4-BE49-F238E27FC236}">
                    <a16:creationId xmlns:a16="http://schemas.microsoft.com/office/drawing/2014/main" id="{016F5D26-215B-459C-A94B-3A71348A9E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4251" y="3090863"/>
                <a:ext cx="1588" cy="9525"/>
              </a:xfrm>
              <a:custGeom>
                <a:avLst/>
                <a:gdLst>
                  <a:gd name="T0" fmla="*/ 1 w 1"/>
                  <a:gd name="T1" fmla="*/ 6 h 6"/>
                  <a:gd name="T2" fmla="*/ 1 w 1"/>
                  <a:gd name="T3" fmla="*/ 5 h 6"/>
                  <a:gd name="T4" fmla="*/ 0 w 1"/>
                  <a:gd name="T5" fmla="*/ 0 h 6"/>
                  <a:gd name="T6" fmla="*/ 1 w 1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6">
                    <a:moveTo>
                      <a:pt x="1" y="6"/>
                    </a:moveTo>
                    <a:lnTo>
                      <a:pt x="1" y="5"/>
                    </a:lnTo>
                    <a:lnTo>
                      <a:pt x="0" y="0"/>
                    </a:lnTo>
                    <a:lnTo>
                      <a:pt x="1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0" name="Freeform 19">
                <a:extLst>
                  <a:ext uri="{FF2B5EF4-FFF2-40B4-BE49-F238E27FC236}">
                    <a16:creationId xmlns:a16="http://schemas.microsoft.com/office/drawing/2014/main" id="{632907D3-CFF5-4AA8-9676-6C5445F816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0751" y="3092450"/>
                <a:ext cx="6350" cy="9525"/>
              </a:xfrm>
              <a:custGeom>
                <a:avLst/>
                <a:gdLst>
                  <a:gd name="T0" fmla="*/ 0 w 4"/>
                  <a:gd name="T1" fmla="*/ 6 h 6"/>
                  <a:gd name="T2" fmla="*/ 3 w 4"/>
                  <a:gd name="T3" fmla="*/ 0 h 6"/>
                  <a:gd name="T4" fmla="*/ 4 w 4"/>
                  <a:gd name="T5" fmla="*/ 0 h 6"/>
                  <a:gd name="T6" fmla="*/ 0 w 4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3" y="0"/>
                    </a:lnTo>
                    <a:lnTo>
                      <a:pt x="4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1" name="Freeform 20">
                <a:extLst>
                  <a:ext uri="{FF2B5EF4-FFF2-40B4-BE49-F238E27FC236}">
                    <a16:creationId xmlns:a16="http://schemas.microsoft.com/office/drawing/2014/main" id="{8131AF21-CA25-40E8-8426-451E080DFF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4226" y="3114675"/>
                <a:ext cx="4763" cy="1588"/>
              </a:xfrm>
              <a:custGeom>
                <a:avLst/>
                <a:gdLst>
                  <a:gd name="T0" fmla="*/ 0 w 3"/>
                  <a:gd name="T1" fmla="*/ 0 h 1"/>
                  <a:gd name="T2" fmla="*/ 3 w 3"/>
                  <a:gd name="T3" fmla="*/ 1 h 1"/>
                  <a:gd name="T4" fmla="*/ 0 w 3"/>
                  <a:gd name="T5" fmla="*/ 0 h 1"/>
                  <a:gd name="T6" fmla="*/ 0 w 3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3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2" name="Freeform 21">
                <a:extLst>
                  <a:ext uri="{FF2B5EF4-FFF2-40B4-BE49-F238E27FC236}">
                    <a16:creationId xmlns:a16="http://schemas.microsoft.com/office/drawing/2014/main" id="{3E784858-8199-49C3-911F-0F4D9FDD30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7139" y="3117850"/>
                <a:ext cx="4763" cy="7938"/>
              </a:xfrm>
              <a:custGeom>
                <a:avLst/>
                <a:gdLst>
                  <a:gd name="T0" fmla="*/ 3 w 3"/>
                  <a:gd name="T1" fmla="*/ 5 h 5"/>
                  <a:gd name="T2" fmla="*/ 1 w 3"/>
                  <a:gd name="T3" fmla="*/ 0 h 5"/>
                  <a:gd name="T4" fmla="*/ 0 w 3"/>
                  <a:gd name="T5" fmla="*/ 0 h 5"/>
                  <a:gd name="T6" fmla="*/ 3 w 3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3" y="5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3" name="Freeform 22">
                <a:extLst>
                  <a:ext uri="{FF2B5EF4-FFF2-40B4-BE49-F238E27FC236}">
                    <a16:creationId xmlns:a16="http://schemas.microsoft.com/office/drawing/2014/main" id="{FCD8D6F5-7AAC-471D-96B9-8E104A1849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1201" y="3584575"/>
                <a:ext cx="17463" cy="26988"/>
              </a:xfrm>
              <a:custGeom>
                <a:avLst/>
                <a:gdLst>
                  <a:gd name="T0" fmla="*/ 0 w 11"/>
                  <a:gd name="T1" fmla="*/ 17 h 17"/>
                  <a:gd name="T2" fmla="*/ 0 w 11"/>
                  <a:gd name="T3" fmla="*/ 17 h 17"/>
                  <a:gd name="T4" fmla="*/ 11 w 11"/>
                  <a:gd name="T5" fmla="*/ 0 h 17"/>
                  <a:gd name="T6" fmla="*/ 0 w 11"/>
                  <a:gd name="T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7">
                    <a:moveTo>
                      <a:pt x="0" y="17"/>
                    </a:moveTo>
                    <a:lnTo>
                      <a:pt x="0" y="17"/>
                    </a:lnTo>
                    <a:lnTo>
                      <a:pt x="11" y="0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4" name="Freeform 23">
                <a:extLst>
                  <a:ext uri="{FF2B5EF4-FFF2-40B4-BE49-F238E27FC236}">
                    <a16:creationId xmlns:a16="http://schemas.microsoft.com/office/drawing/2014/main" id="{02A33488-33B4-4FB1-8253-F698129336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0839" y="3046413"/>
                <a:ext cx="190500" cy="357188"/>
              </a:xfrm>
              <a:custGeom>
                <a:avLst/>
                <a:gdLst>
                  <a:gd name="T0" fmla="*/ 144 w 155"/>
                  <a:gd name="T1" fmla="*/ 227 h 290"/>
                  <a:gd name="T2" fmla="*/ 131 w 155"/>
                  <a:gd name="T3" fmla="*/ 218 h 290"/>
                  <a:gd name="T4" fmla="*/ 134 w 155"/>
                  <a:gd name="T5" fmla="*/ 214 h 290"/>
                  <a:gd name="T6" fmla="*/ 136 w 155"/>
                  <a:gd name="T7" fmla="*/ 210 h 290"/>
                  <a:gd name="T8" fmla="*/ 126 w 155"/>
                  <a:gd name="T9" fmla="*/ 201 h 290"/>
                  <a:gd name="T10" fmla="*/ 121 w 155"/>
                  <a:gd name="T11" fmla="*/ 197 h 290"/>
                  <a:gd name="T12" fmla="*/ 117 w 155"/>
                  <a:gd name="T13" fmla="*/ 164 h 290"/>
                  <a:gd name="T14" fmla="*/ 109 w 155"/>
                  <a:gd name="T15" fmla="*/ 149 h 290"/>
                  <a:gd name="T16" fmla="*/ 110 w 155"/>
                  <a:gd name="T17" fmla="*/ 124 h 290"/>
                  <a:gd name="T18" fmla="*/ 99 w 155"/>
                  <a:gd name="T19" fmla="*/ 119 h 290"/>
                  <a:gd name="T20" fmla="*/ 90 w 155"/>
                  <a:gd name="T21" fmla="*/ 111 h 290"/>
                  <a:gd name="T22" fmla="*/ 83 w 155"/>
                  <a:gd name="T23" fmla="*/ 106 h 290"/>
                  <a:gd name="T24" fmla="*/ 74 w 155"/>
                  <a:gd name="T25" fmla="*/ 87 h 290"/>
                  <a:gd name="T26" fmla="*/ 62 w 155"/>
                  <a:gd name="T27" fmla="*/ 77 h 290"/>
                  <a:gd name="T28" fmla="*/ 72 w 155"/>
                  <a:gd name="T29" fmla="*/ 74 h 290"/>
                  <a:gd name="T30" fmla="*/ 83 w 155"/>
                  <a:gd name="T31" fmla="*/ 74 h 290"/>
                  <a:gd name="T32" fmla="*/ 78 w 155"/>
                  <a:gd name="T33" fmla="*/ 67 h 290"/>
                  <a:gd name="T34" fmla="*/ 75 w 155"/>
                  <a:gd name="T35" fmla="*/ 53 h 290"/>
                  <a:gd name="T36" fmla="*/ 91 w 155"/>
                  <a:gd name="T37" fmla="*/ 47 h 290"/>
                  <a:gd name="T38" fmla="*/ 103 w 155"/>
                  <a:gd name="T39" fmla="*/ 51 h 290"/>
                  <a:gd name="T40" fmla="*/ 104 w 155"/>
                  <a:gd name="T41" fmla="*/ 45 h 290"/>
                  <a:gd name="T42" fmla="*/ 105 w 155"/>
                  <a:gd name="T43" fmla="*/ 30 h 290"/>
                  <a:gd name="T44" fmla="*/ 102 w 155"/>
                  <a:gd name="T45" fmla="*/ 15 h 290"/>
                  <a:gd name="T46" fmla="*/ 99 w 155"/>
                  <a:gd name="T47" fmla="*/ 4 h 290"/>
                  <a:gd name="T48" fmla="*/ 87 w 155"/>
                  <a:gd name="T49" fmla="*/ 4 h 290"/>
                  <a:gd name="T50" fmla="*/ 81 w 155"/>
                  <a:gd name="T51" fmla="*/ 6 h 290"/>
                  <a:gd name="T52" fmla="*/ 75 w 155"/>
                  <a:gd name="T53" fmla="*/ 0 h 290"/>
                  <a:gd name="T54" fmla="*/ 62 w 155"/>
                  <a:gd name="T55" fmla="*/ 3 h 290"/>
                  <a:gd name="T56" fmla="*/ 55 w 155"/>
                  <a:gd name="T57" fmla="*/ 9 h 290"/>
                  <a:gd name="T58" fmla="*/ 46 w 155"/>
                  <a:gd name="T59" fmla="*/ 17 h 290"/>
                  <a:gd name="T60" fmla="*/ 39 w 155"/>
                  <a:gd name="T61" fmla="*/ 19 h 290"/>
                  <a:gd name="T62" fmla="*/ 36 w 155"/>
                  <a:gd name="T63" fmla="*/ 17 h 290"/>
                  <a:gd name="T64" fmla="*/ 35 w 155"/>
                  <a:gd name="T65" fmla="*/ 26 h 290"/>
                  <a:gd name="T66" fmla="*/ 30 w 155"/>
                  <a:gd name="T67" fmla="*/ 30 h 290"/>
                  <a:gd name="T68" fmla="*/ 29 w 155"/>
                  <a:gd name="T69" fmla="*/ 37 h 290"/>
                  <a:gd name="T70" fmla="*/ 24 w 155"/>
                  <a:gd name="T71" fmla="*/ 36 h 290"/>
                  <a:gd name="T72" fmla="*/ 16 w 155"/>
                  <a:gd name="T73" fmla="*/ 40 h 290"/>
                  <a:gd name="T74" fmla="*/ 10 w 155"/>
                  <a:gd name="T75" fmla="*/ 44 h 290"/>
                  <a:gd name="T76" fmla="*/ 3 w 155"/>
                  <a:gd name="T77" fmla="*/ 62 h 290"/>
                  <a:gd name="T78" fmla="*/ 5 w 155"/>
                  <a:gd name="T79" fmla="*/ 83 h 290"/>
                  <a:gd name="T80" fmla="*/ 17 w 155"/>
                  <a:gd name="T81" fmla="*/ 98 h 290"/>
                  <a:gd name="T82" fmla="*/ 17 w 155"/>
                  <a:gd name="T83" fmla="*/ 102 h 290"/>
                  <a:gd name="T84" fmla="*/ 21 w 155"/>
                  <a:gd name="T85" fmla="*/ 118 h 290"/>
                  <a:gd name="T86" fmla="*/ 43 w 155"/>
                  <a:gd name="T87" fmla="*/ 149 h 290"/>
                  <a:gd name="T88" fmla="*/ 52 w 155"/>
                  <a:gd name="T89" fmla="*/ 161 h 290"/>
                  <a:gd name="T90" fmla="*/ 66 w 155"/>
                  <a:gd name="T91" fmla="*/ 184 h 290"/>
                  <a:gd name="T92" fmla="*/ 73 w 155"/>
                  <a:gd name="T93" fmla="*/ 192 h 290"/>
                  <a:gd name="T94" fmla="*/ 62 w 155"/>
                  <a:gd name="T95" fmla="*/ 211 h 290"/>
                  <a:gd name="T96" fmla="*/ 61 w 155"/>
                  <a:gd name="T97" fmla="*/ 230 h 290"/>
                  <a:gd name="T98" fmla="*/ 56 w 155"/>
                  <a:gd name="T99" fmla="*/ 224 h 290"/>
                  <a:gd name="T100" fmla="*/ 56 w 155"/>
                  <a:gd name="T101" fmla="*/ 247 h 290"/>
                  <a:gd name="T102" fmla="*/ 60 w 155"/>
                  <a:gd name="T103" fmla="*/ 265 h 290"/>
                  <a:gd name="T104" fmla="*/ 78 w 155"/>
                  <a:gd name="T105" fmla="*/ 269 h 290"/>
                  <a:gd name="T106" fmla="*/ 98 w 155"/>
                  <a:gd name="T107" fmla="*/ 286 h 290"/>
                  <a:gd name="T108" fmla="*/ 139 w 155"/>
                  <a:gd name="T109" fmla="*/ 285 h 290"/>
                  <a:gd name="T110" fmla="*/ 151 w 155"/>
                  <a:gd name="T111" fmla="*/ 270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55" h="290">
                    <a:moveTo>
                      <a:pt x="146" y="252"/>
                    </a:moveTo>
                    <a:cubicBezTo>
                      <a:pt x="146" y="241"/>
                      <a:pt x="146" y="241"/>
                      <a:pt x="146" y="241"/>
                    </a:cubicBezTo>
                    <a:cubicBezTo>
                      <a:pt x="145" y="237"/>
                      <a:pt x="145" y="237"/>
                      <a:pt x="145" y="237"/>
                    </a:cubicBezTo>
                    <a:cubicBezTo>
                      <a:pt x="146" y="231"/>
                      <a:pt x="146" y="231"/>
                      <a:pt x="146" y="231"/>
                    </a:cubicBezTo>
                    <a:cubicBezTo>
                      <a:pt x="144" y="227"/>
                      <a:pt x="144" y="227"/>
                      <a:pt x="144" y="227"/>
                    </a:cubicBezTo>
                    <a:cubicBezTo>
                      <a:pt x="140" y="224"/>
                      <a:pt x="140" y="224"/>
                      <a:pt x="140" y="224"/>
                    </a:cubicBezTo>
                    <a:cubicBezTo>
                      <a:pt x="138" y="219"/>
                      <a:pt x="138" y="219"/>
                      <a:pt x="138" y="219"/>
                    </a:cubicBezTo>
                    <a:cubicBezTo>
                      <a:pt x="135" y="219"/>
                      <a:pt x="135" y="219"/>
                      <a:pt x="135" y="219"/>
                    </a:cubicBezTo>
                    <a:cubicBezTo>
                      <a:pt x="133" y="218"/>
                      <a:pt x="133" y="218"/>
                      <a:pt x="133" y="218"/>
                    </a:cubicBezTo>
                    <a:cubicBezTo>
                      <a:pt x="131" y="218"/>
                      <a:pt x="131" y="218"/>
                      <a:pt x="131" y="218"/>
                    </a:cubicBezTo>
                    <a:cubicBezTo>
                      <a:pt x="132" y="223"/>
                      <a:pt x="132" y="223"/>
                      <a:pt x="132" y="223"/>
                    </a:cubicBezTo>
                    <a:cubicBezTo>
                      <a:pt x="130" y="220"/>
                      <a:pt x="130" y="220"/>
                      <a:pt x="130" y="220"/>
                    </a:cubicBezTo>
                    <a:cubicBezTo>
                      <a:pt x="129" y="216"/>
                      <a:pt x="129" y="216"/>
                      <a:pt x="129" y="216"/>
                    </a:cubicBezTo>
                    <a:cubicBezTo>
                      <a:pt x="133" y="212"/>
                      <a:pt x="133" y="212"/>
                      <a:pt x="133" y="212"/>
                    </a:cubicBezTo>
                    <a:cubicBezTo>
                      <a:pt x="134" y="214"/>
                      <a:pt x="134" y="214"/>
                      <a:pt x="134" y="214"/>
                    </a:cubicBezTo>
                    <a:cubicBezTo>
                      <a:pt x="136" y="213"/>
                      <a:pt x="136" y="213"/>
                      <a:pt x="136" y="213"/>
                    </a:cubicBezTo>
                    <a:cubicBezTo>
                      <a:pt x="139" y="215"/>
                      <a:pt x="139" y="215"/>
                      <a:pt x="139" y="215"/>
                    </a:cubicBezTo>
                    <a:cubicBezTo>
                      <a:pt x="141" y="213"/>
                      <a:pt x="141" y="213"/>
                      <a:pt x="141" y="213"/>
                    </a:cubicBezTo>
                    <a:cubicBezTo>
                      <a:pt x="138" y="209"/>
                      <a:pt x="138" y="209"/>
                      <a:pt x="138" y="209"/>
                    </a:cubicBezTo>
                    <a:cubicBezTo>
                      <a:pt x="136" y="210"/>
                      <a:pt x="136" y="210"/>
                      <a:pt x="136" y="210"/>
                    </a:cubicBezTo>
                    <a:cubicBezTo>
                      <a:pt x="135" y="206"/>
                      <a:pt x="135" y="206"/>
                      <a:pt x="135" y="206"/>
                    </a:cubicBezTo>
                    <a:cubicBezTo>
                      <a:pt x="136" y="201"/>
                      <a:pt x="136" y="201"/>
                      <a:pt x="136" y="201"/>
                    </a:cubicBezTo>
                    <a:cubicBezTo>
                      <a:pt x="134" y="200"/>
                      <a:pt x="134" y="200"/>
                      <a:pt x="134" y="200"/>
                    </a:cubicBezTo>
                    <a:cubicBezTo>
                      <a:pt x="132" y="202"/>
                      <a:pt x="132" y="202"/>
                      <a:pt x="132" y="202"/>
                    </a:cubicBezTo>
                    <a:cubicBezTo>
                      <a:pt x="126" y="201"/>
                      <a:pt x="126" y="201"/>
                      <a:pt x="126" y="201"/>
                    </a:cubicBezTo>
                    <a:cubicBezTo>
                      <a:pt x="125" y="202"/>
                      <a:pt x="125" y="202"/>
                      <a:pt x="125" y="202"/>
                    </a:cubicBezTo>
                    <a:cubicBezTo>
                      <a:pt x="127" y="205"/>
                      <a:pt x="127" y="205"/>
                      <a:pt x="127" y="205"/>
                    </a:cubicBezTo>
                    <a:cubicBezTo>
                      <a:pt x="128" y="207"/>
                      <a:pt x="128" y="207"/>
                      <a:pt x="128" y="207"/>
                    </a:cubicBezTo>
                    <a:cubicBezTo>
                      <a:pt x="121" y="200"/>
                      <a:pt x="121" y="200"/>
                      <a:pt x="121" y="200"/>
                    </a:cubicBezTo>
                    <a:cubicBezTo>
                      <a:pt x="121" y="197"/>
                      <a:pt x="121" y="197"/>
                      <a:pt x="121" y="197"/>
                    </a:cubicBezTo>
                    <a:cubicBezTo>
                      <a:pt x="118" y="194"/>
                      <a:pt x="118" y="194"/>
                      <a:pt x="118" y="194"/>
                    </a:cubicBezTo>
                    <a:cubicBezTo>
                      <a:pt x="118" y="183"/>
                      <a:pt x="118" y="183"/>
                      <a:pt x="118" y="183"/>
                    </a:cubicBezTo>
                    <a:cubicBezTo>
                      <a:pt x="120" y="178"/>
                      <a:pt x="120" y="178"/>
                      <a:pt x="120" y="178"/>
                    </a:cubicBezTo>
                    <a:cubicBezTo>
                      <a:pt x="121" y="172"/>
                      <a:pt x="121" y="172"/>
                      <a:pt x="121" y="172"/>
                    </a:cubicBezTo>
                    <a:cubicBezTo>
                      <a:pt x="117" y="164"/>
                      <a:pt x="117" y="164"/>
                      <a:pt x="117" y="164"/>
                    </a:cubicBezTo>
                    <a:cubicBezTo>
                      <a:pt x="116" y="160"/>
                      <a:pt x="116" y="160"/>
                      <a:pt x="116" y="160"/>
                    </a:cubicBezTo>
                    <a:cubicBezTo>
                      <a:pt x="113" y="158"/>
                      <a:pt x="113" y="158"/>
                      <a:pt x="113" y="158"/>
                    </a:cubicBezTo>
                    <a:cubicBezTo>
                      <a:pt x="112" y="154"/>
                      <a:pt x="112" y="154"/>
                      <a:pt x="112" y="154"/>
                    </a:cubicBezTo>
                    <a:cubicBezTo>
                      <a:pt x="109" y="151"/>
                      <a:pt x="109" y="151"/>
                      <a:pt x="109" y="151"/>
                    </a:cubicBezTo>
                    <a:cubicBezTo>
                      <a:pt x="109" y="149"/>
                      <a:pt x="109" y="149"/>
                      <a:pt x="109" y="149"/>
                    </a:cubicBezTo>
                    <a:cubicBezTo>
                      <a:pt x="108" y="144"/>
                      <a:pt x="108" y="144"/>
                      <a:pt x="108" y="144"/>
                    </a:cubicBezTo>
                    <a:cubicBezTo>
                      <a:pt x="107" y="139"/>
                      <a:pt x="107" y="139"/>
                      <a:pt x="107" y="139"/>
                    </a:cubicBezTo>
                    <a:cubicBezTo>
                      <a:pt x="109" y="133"/>
                      <a:pt x="109" y="133"/>
                      <a:pt x="109" y="133"/>
                    </a:cubicBezTo>
                    <a:cubicBezTo>
                      <a:pt x="110" y="126"/>
                      <a:pt x="110" y="126"/>
                      <a:pt x="110" y="126"/>
                    </a:cubicBezTo>
                    <a:cubicBezTo>
                      <a:pt x="110" y="124"/>
                      <a:pt x="110" y="124"/>
                      <a:pt x="110" y="124"/>
                    </a:cubicBezTo>
                    <a:cubicBezTo>
                      <a:pt x="110" y="123"/>
                      <a:pt x="110" y="123"/>
                      <a:pt x="110" y="123"/>
                    </a:cubicBezTo>
                    <a:cubicBezTo>
                      <a:pt x="109" y="122"/>
                      <a:pt x="109" y="122"/>
                      <a:pt x="109" y="122"/>
                    </a:cubicBezTo>
                    <a:cubicBezTo>
                      <a:pt x="105" y="122"/>
                      <a:pt x="105" y="122"/>
                      <a:pt x="105" y="122"/>
                    </a:cubicBezTo>
                    <a:cubicBezTo>
                      <a:pt x="102" y="120"/>
                      <a:pt x="102" y="120"/>
                      <a:pt x="102" y="120"/>
                    </a:cubicBezTo>
                    <a:cubicBezTo>
                      <a:pt x="99" y="119"/>
                      <a:pt x="99" y="119"/>
                      <a:pt x="99" y="119"/>
                    </a:cubicBezTo>
                    <a:cubicBezTo>
                      <a:pt x="96" y="121"/>
                      <a:pt x="96" y="121"/>
                      <a:pt x="96" y="121"/>
                    </a:cubicBezTo>
                    <a:cubicBezTo>
                      <a:pt x="95" y="120"/>
                      <a:pt x="95" y="120"/>
                      <a:pt x="95" y="120"/>
                    </a:cubicBezTo>
                    <a:cubicBezTo>
                      <a:pt x="93" y="116"/>
                      <a:pt x="93" y="116"/>
                      <a:pt x="93" y="116"/>
                    </a:cubicBezTo>
                    <a:cubicBezTo>
                      <a:pt x="92" y="115"/>
                      <a:pt x="92" y="115"/>
                      <a:pt x="92" y="115"/>
                    </a:cubicBezTo>
                    <a:cubicBezTo>
                      <a:pt x="90" y="111"/>
                      <a:pt x="90" y="111"/>
                      <a:pt x="90" y="111"/>
                    </a:cubicBezTo>
                    <a:cubicBezTo>
                      <a:pt x="88" y="110"/>
                      <a:pt x="88" y="110"/>
                      <a:pt x="88" y="110"/>
                    </a:cubicBezTo>
                    <a:cubicBezTo>
                      <a:pt x="87" y="111"/>
                      <a:pt x="87" y="111"/>
                      <a:pt x="87" y="111"/>
                    </a:cubicBezTo>
                    <a:cubicBezTo>
                      <a:pt x="84" y="112"/>
                      <a:pt x="84" y="112"/>
                      <a:pt x="84" y="112"/>
                    </a:cubicBezTo>
                    <a:cubicBezTo>
                      <a:pt x="82" y="112"/>
                      <a:pt x="82" y="112"/>
                      <a:pt x="82" y="112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2" y="102"/>
                      <a:pt x="82" y="102"/>
                      <a:pt x="82" y="102"/>
                    </a:cubicBezTo>
                    <a:cubicBezTo>
                      <a:pt x="77" y="95"/>
                      <a:pt x="77" y="95"/>
                      <a:pt x="77" y="95"/>
                    </a:cubicBezTo>
                    <a:cubicBezTo>
                      <a:pt x="76" y="92"/>
                      <a:pt x="76" y="92"/>
                      <a:pt x="76" y="92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74" y="87"/>
                      <a:pt x="74" y="87"/>
                      <a:pt x="74" y="87"/>
                    </a:cubicBezTo>
                    <a:cubicBezTo>
                      <a:pt x="71" y="85"/>
                      <a:pt x="71" y="85"/>
                      <a:pt x="71" y="85"/>
                    </a:cubicBezTo>
                    <a:cubicBezTo>
                      <a:pt x="70" y="82"/>
                      <a:pt x="70" y="82"/>
                      <a:pt x="70" y="82"/>
                    </a:cubicBezTo>
                    <a:cubicBezTo>
                      <a:pt x="67" y="81"/>
                      <a:pt x="67" y="81"/>
                      <a:pt x="67" y="81"/>
                    </a:cubicBezTo>
                    <a:cubicBezTo>
                      <a:pt x="64" y="80"/>
                      <a:pt x="64" y="80"/>
                      <a:pt x="64" y="80"/>
                    </a:cubicBezTo>
                    <a:cubicBezTo>
                      <a:pt x="62" y="77"/>
                      <a:pt x="62" y="77"/>
                      <a:pt x="62" y="77"/>
                    </a:cubicBezTo>
                    <a:cubicBezTo>
                      <a:pt x="62" y="75"/>
                      <a:pt x="62" y="75"/>
                      <a:pt x="62" y="75"/>
                    </a:cubicBezTo>
                    <a:cubicBezTo>
                      <a:pt x="64" y="73"/>
                      <a:pt x="64" y="73"/>
                      <a:pt x="64" y="73"/>
                    </a:cubicBezTo>
                    <a:cubicBezTo>
                      <a:pt x="66" y="74"/>
                      <a:pt x="66" y="74"/>
                      <a:pt x="66" y="74"/>
                    </a:cubicBezTo>
                    <a:cubicBezTo>
                      <a:pt x="71" y="73"/>
                      <a:pt x="71" y="73"/>
                      <a:pt x="71" y="73"/>
                    </a:cubicBezTo>
                    <a:cubicBezTo>
                      <a:pt x="72" y="74"/>
                      <a:pt x="72" y="74"/>
                      <a:pt x="72" y="74"/>
                    </a:cubicBezTo>
                    <a:cubicBezTo>
                      <a:pt x="74" y="74"/>
                      <a:pt x="74" y="74"/>
                      <a:pt x="74" y="74"/>
                    </a:cubicBezTo>
                    <a:cubicBezTo>
                      <a:pt x="76" y="75"/>
                      <a:pt x="76" y="75"/>
                      <a:pt x="76" y="75"/>
                    </a:cubicBezTo>
                    <a:cubicBezTo>
                      <a:pt x="78" y="73"/>
                      <a:pt x="78" y="73"/>
                      <a:pt x="78" y="73"/>
                    </a:cubicBezTo>
                    <a:cubicBezTo>
                      <a:pt x="80" y="72"/>
                      <a:pt x="80" y="72"/>
                      <a:pt x="80" y="72"/>
                    </a:cubicBezTo>
                    <a:cubicBezTo>
                      <a:pt x="83" y="74"/>
                      <a:pt x="83" y="74"/>
                      <a:pt x="83" y="74"/>
                    </a:cubicBezTo>
                    <a:cubicBezTo>
                      <a:pt x="84" y="72"/>
                      <a:pt x="84" y="72"/>
                      <a:pt x="84" y="72"/>
                    </a:cubicBezTo>
                    <a:cubicBezTo>
                      <a:pt x="83" y="70"/>
                      <a:pt x="83" y="70"/>
                      <a:pt x="83" y="70"/>
                    </a:cubicBezTo>
                    <a:cubicBezTo>
                      <a:pt x="79" y="71"/>
                      <a:pt x="79" y="71"/>
                      <a:pt x="79" y="71"/>
                    </a:cubicBezTo>
                    <a:cubicBezTo>
                      <a:pt x="78" y="70"/>
                      <a:pt x="78" y="70"/>
                      <a:pt x="78" y="70"/>
                    </a:cubicBezTo>
                    <a:cubicBezTo>
                      <a:pt x="78" y="67"/>
                      <a:pt x="78" y="67"/>
                      <a:pt x="78" y="67"/>
                    </a:cubicBezTo>
                    <a:cubicBezTo>
                      <a:pt x="74" y="62"/>
                      <a:pt x="74" y="62"/>
                      <a:pt x="74" y="62"/>
                    </a:cubicBezTo>
                    <a:cubicBezTo>
                      <a:pt x="74" y="59"/>
                      <a:pt x="74" y="59"/>
                      <a:pt x="74" y="59"/>
                    </a:cubicBezTo>
                    <a:cubicBezTo>
                      <a:pt x="76" y="58"/>
                      <a:pt x="76" y="58"/>
                      <a:pt x="76" y="58"/>
                    </a:cubicBezTo>
                    <a:cubicBezTo>
                      <a:pt x="76" y="54"/>
                      <a:pt x="76" y="54"/>
                      <a:pt x="76" y="54"/>
                    </a:cubicBezTo>
                    <a:cubicBezTo>
                      <a:pt x="75" y="53"/>
                      <a:pt x="75" y="53"/>
                      <a:pt x="75" y="53"/>
                    </a:cubicBezTo>
                    <a:cubicBezTo>
                      <a:pt x="78" y="50"/>
                      <a:pt x="78" y="50"/>
                      <a:pt x="78" y="50"/>
                    </a:cubicBezTo>
                    <a:cubicBezTo>
                      <a:pt x="82" y="48"/>
                      <a:pt x="82" y="48"/>
                      <a:pt x="82" y="48"/>
                    </a:cubicBezTo>
                    <a:cubicBezTo>
                      <a:pt x="85" y="47"/>
                      <a:pt x="85" y="47"/>
                      <a:pt x="85" y="47"/>
                    </a:cubicBezTo>
                    <a:cubicBezTo>
                      <a:pt x="88" y="49"/>
                      <a:pt x="88" y="49"/>
                      <a:pt x="88" y="49"/>
                    </a:cubicBezTo>
                    <a:cubicBezTo>
                      <a:pt x="91" y="47"/>
                      <a:pt x="91" y="47"/>
                      <a:pt x="91" y="47"/>
                    </a:cubicBezTo>
                    <a:cubicBezTo>
                      <a:pt x="94" y="47"/>
                      <a:pt x="94" y="47"/>
                      <a:pt x="94" y="47"/>
                    </a:cubicBezTo>
                    <a:cubicBezTo>
                      <a:pt x="96" y="49"/>
                      <a:pt x="96" y="49"/>
                      <a:pt x="96" y="49"/>
                    </a:cubicBezTo>
                    <a:cubicBezTo>
                      <a:pt x="97" y="47"/>
                      <a:pt x="97" y="47"/>
                      <a:pt x="97" y="47"/>
                    </a:cubicBezTo>
                    <a:cubicBezTo>
                      <a:pt x="100" y="47"/>
                      <a:pt x="100" y="47"/>
                      <a:pt x="100" y="47"/>
                    </a:cubicBezTo>
                    <a:cubicBezTo>
                      <a:pt x="103" y="51"/>
                      <a:pt x="103" y="51"/>
                      <a:pt x="103" y="51"/>
                    </a:cubicBezTo>
                    <a:cubicBezTo>
                      <a:pt x="106" y="51"/>
                      <a:pt x="106" y="51"/>
                      <a:pt x="106" y="51"/>
                    </a:cubicBezTo>
                    <a:cubicBezTo>
                      <a:pt x="109" y="49"/>
                      <a:pt x="109" y="49"/>
                      <a:pt x="109" y="49"/>
                    </a:cubicBezTo>
                    <a:cubicBezTo>
                      <a:pt x="110" y="47"/>
                      <a:pt x="110" y="47"/>
                      <a:pt x="110" y="47"/>
                    </a:cubicBezTo>
                    <a:cubicBezTo>
                      <a:pt x="107" y="46"/>
                      <a:pt x="107" y="46"/>
                      <a:pt x="107" y="46"/>
                    </a:cubicBezTo>
                    <a:cubicBezTo>
                      <a:pt x="104" y="45"/>
                      <a:pt x="104" y="45"/>
                      <a:pt x="104" y="45"/>
                    </a:cubicBezTo>
                    <a:cubicBezTo>
                      <a:pt x="102" y="39"/>
                      <a:pt x="102" y="39"/>
                      <a:pt x="102" y="39"/>
                    </a:cubicBezTo>
                    <a:cubicBezTo>
                      <a:pt x="102" y="34"/>
                      <a:pt x="102" y="34"/>
                      <a:pt x="102" y="34"/>
                    </a:cubicBezTo>
                    <a:cubicBezTo>
                      <a:pt x="104" y="33"/>
                      <a:pt x="104" y="33"/>
                      <a:pt x="104" y="33"/>
                    </a:cubicBezTo>
                    <a:cubicBezTo>
                      <a:pt x="106" y="31"/>
                      <a:pt x="106" y="31"/>
                      <a:pt x="106" y="31"/>
                    </a:cubicBezTo>
                    <a:cubicBezTo>
                      <a:pt x="105" y="30"/>
                      <a:pt x="105" y="30"/>
                      <a:pt x="105" y="30"/>
                    </a:cubicBezTo>
                    <a:cubicBezTo>
                      <a:pt x="104" y="28"/>
                      <a:pt x="104" y="28"/>
                      <a:pt x="104" y="28"/>
                    </a:cubicBezTo>
                    <a:cubicBezTo>
                      <a:pt x="103" y="26"/>
                      <a:pt x="103" y="26"/>
                      <a:pt x="103" y="26"/>
                    </a:cubicBezTo>
                    <a:cubicBezTo>
                      <a:pt x="105" y="21"/>
                      <a:pt x="105" y="21"/>
                      <a:pt x="105" y="21"/>
                    </a:cubicBezTo>
                    <a:cubicBezTo>
                      <a:pt x="105" y="18"/>
                      <a:pt x="105" y="18"/>
                      <a:pt x="105" y="18"/>
                    </a:cubicBezTo>
                    <a:cubicBezTo>
                      <a:pt x="102" y="15"/>
                      <a:pt x="102" y="15"/>
                      <a:pt x="102" y="15"/>
                    </a:cubicBezTo>
                    <a:cubicBezTo>
                      <a:pt x="102" y="12"/>
                      <a:pt x="102" y="12"/>
                      <a:pt x="102" y="12"/>
                    </a:cubicBezTo>
                    <a:cubicBezTo>
                      <a:pt x="103" y="9"/>
                      <a:pt x="103" y="9"/>
                      <a:pt x="103" y="9"/>
                    </a:cubicBezTo>
                    <a:cubicBezTo>
                      <a:pt x="103" y="8"/>
                      <a:pt x="103" y="8"/>
                      <a:pt x="103" y="8"/>
                    </a:cubicBezTo>
                    <a:cubicBezTo>
                      <a:pt x="101" y="7"/>
                      <a:pt x="101" y="7"/>
                      <a:pt x="101" y="7"/>
                    </a:cubicBezTo>
                    <a:cubicBezTo>
                      <a:pt x="99" y="4"/>
                      <a:pt x="99" y="4"/>
                      <a:pt x="99" y="4"/>
                    </a:cubicBezTo>
                    <a:cubicBezTo>
                      <a:pt x="99" y="3"/>
                      <a:pt x="99" y="3"/>
                      <a:pt x="99" y="3"/>
                    </a:cubicBezTo>
                    <a:cubicBezTo>
                      <a:pt x="92" y="2"/>
                      <a:pt x="92" y="2"/>
                      <a:pt x="92" y="2"/>
                    </a:cubicBezTo>
                    <a:cubicBezTo>
                      <a:pt x="90" y="2"/>
                      <a:pt x="90" y="2"/>
                      <a:pt x="90" y="2"/>
                    </a:cubicBezTo>
                    <a:cubicBezTo>
                      <a:pt x="88" y="2"/>
                      <a:pt x="88" y="2"/>
                      <a:pt x="88" y="2"/>
                    </a:cubicBezTo>
                    <a:cubicBezTo>
                      <a:pt x="87" y="4"/>
                      <a:pt x="87" y="4"/>
                      <a:pt x="87" y="4"/>
                    </a:cubicBezTo>
                    <a:cubicBezTo>
                      <a:pt x="85" y="5"/>
                      <a:pt x="85" y="5"/>
                      <a:pt x="85" y="5"/>
                    </a:cubicBezTo>
                    <a:cubicBezTo>
                      <a:pt x="85" y="7"/>
                      <a:pt x="85" y="7"/>
                      <a:pt x="85" y="7"/>
                    </a:cubicBezTo>
                    <a:cubicBezTo>
                      <a:pt x="83" y="9"/>
                      <a:pt x="83" y="9"/>
                      <a:pt x="83" y="9"/>
                    </a:cubicBezTo>
                    <a:cubicBezTo>
                      <a:pt x="81" y="7"/>
                      <a:pt x="81" y="7"/>
                      <a:pt x="81" y="7"/>
                    </a:cubicBezTo>
                    <a:cubicBezTo>
                      <a:pt x="81" y="6"/>
                      <a:pt x="81" y="6"/>
                      <a:pt x="81" y="6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77" y="7"/>
                      <a:pt x="77" y="7"/>
                      <a:pt x="77" y="7"/>
                    </a:cubicBezTo>
                    <a:cubicBezTo>
                      <a:pt x="76" y="5"/>
                      <a:pt x="76" y="5"/>
                      <a:pt x="76" y="5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74" y="2"/>
                      <a:pt x="74" y="2"/>
                      <a:pt x="74" y="2"/>
                    </a:cubicBezTo>
                    <a:cubicBezTo>
                      <a:pt x="71" y="2"/>
                      <a:pt x="71" y="2"/>
                      <a:pt x="71" y="2"/>
                    </a:cubicBezTo>
                    <a:cubicBezTo>
                      <a:pt x="70" y="0"/>
                      <a:pt x="70" y="0"/>
                      <a:pt x="7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2" y="3"/>
                      <a:pt x="62" y="3"/>
                      <a:pt x="62" y="3"/>
                    </a:cubicBezTo>
                    <a:cubicBezTo>
                      <a:pt x="61" y="6"/>
                      <a:pt x="61" y="6"/>
                      <a:pt x="61" y="6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59" y="6"/>
                      <a:pt x="59" y="6"/>
                      <a:pt x="59" y="6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3" y="9"/>
                      <a:pt x="53" y="9"/>
                      <a:pt x="53" y="9"/>
                    </a:cubicBezTo>
                    <a:cubicBezTo>
                      <a:pt x="52" y="12"/>
                      <a:pt x="52" y="12"/>
                      <a:pt x="52" y="12"/>
                    </a:cubicBezTo>
                    <a:cubicBezTo>
                      <a:pt x="49" y="15"/>
                      <a:pt x="49" y="15"/>
                      <a:pt x="49" y="15"/>
                    </a:cubicBezTo>
                    <a:cubicBezTo>
                      <a:pt x="47" y="15"/>
                      <a:pt x="47" y="15"/>
                      <a:pt x="47" y="15"/>
                    </a:cubicBezTo>
                    <a:cubicBezTo>
                      <a:pt x="46" y="17"/>
                      <a:pt x="46" y="17"/>
                      <a:pt x="46" y="17"/>
                    </a:cubicBezTo>
                    <a:cubicBezTo>
                      <a:pt x="45" y="19"/>
                      <a:pt x="45" y="19"/>
                      <a:pt x="45" y="19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1" y="19"/>
                      <a:pt x="41" y="19"/>
                      <a:pt x="41" y="19"/>
                    </a:cubicBezTo>
                    <a:cubicBezTo>
                      <a:pt x="39" y="19"/>
                      <a:pt x="39" y="19"/>
                      <a:pt x="39" y="19"/>
                    </a:cubicBezTo>
                    <a:cubicBezTo>
                      <a:pt x="38" y="17"/>
                      <a:pt x="38" y="17"/>
                      <a:pt x="38" y="17"/>
                    </a:cubicBezTo>
                    <a:cubicBezTo>
                      <a:pt x="36" y="17"/>
                      <a:pt x="36" y="17"/>
                      <a:pt x="36" y="17"/>
                    </a:cubicBezTo>
                    <a:cubicBezTo>
                      <a:pt x="36" y="17"/>
                      <a:pt x="36" y="17"/>
                      <a:pt x="36" y="17"/>
                    </a:cubicBezTo>
                    <a:cubicBezTo>
                      <a:pt x="36" y="17"/>
                      <a:pt x="36" y="17"/>
                      <a:pt x="36" y="17"/>
                    </a:cubicBezTo>
                    <a:cubicBezTo>
                      <a:pt x="36" y="17"/>
                      <a:pt x="36" y="17"/>
                      <a:pt x="36" y="17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3" y="22"/>
                      <a:pt x="33" y="22"/>
                      <a:pt x="33" y="22"/>
                    </a:cubicBezTo>
                    <a:cubicBezTo>
                      <a:pt x="35" y="23"/>
                      <a:pt x="35" y="23"/>
                      <a:pt x="35" y="23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6"/>
                      <a:pt x="33" y="26"/>
                      <a:pt x="33" y="26"/>
                    </a:cubicBezTo>
                    <a:cubicBezTo>
                      <a:pt x="34" y="27"/>
                      <a:pt x="34" y="27"/>
                      <a:pt x="34" y="27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1" y="29"/>
                      <a:pt x="31" y="29"/>
                      <a:pt x="31" y="29"/>
                    </a:cubicBezTo>
                    <a:cubicBezTo>
                      <a:pt x="30" y="30"/>
                      <a:pt x="30" y="30"/>
                      <a:pt x="30" y="30"/>
                    </a:cubicBezTo>
                    <a:cubicBezTo>
                      <a:pt x="27" y="29"/>
                      <a:pt x="27" y="29"/>
                      <a:pt x="27" y="29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30" y="35"/>
                      <a:pt x="30" y="35"/>
                      <a:pt x="30" y="35"/>
                    </a:cubicBezTo>
                    <a:cubicBezTo>
                      <a:pt x="29" y="37"/>
                      <a:pt x="29" y="37"/>
                      <a:pt x="29" y="37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27" y="35"/>
                      <a:pt x="25" y="35"/>
                      <a:pt x="25" y="35"/>
                    </a:cubicBezTo>
                    <a:cubicBezTo>
                      <a:pt x="24" y="35"/>
                      <a:pt x="23" y="35"/>
                      <a:pt x="23" y="35"/>
                    </a:cubicBezTo>
                    <a:cubicBezTo>
                      <a:pt x="21" y="35"/>
                      <a:pt x="21" y="35"/>
                      <a:pt x="21" y="35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19" y="40"/>
                      <a:pt x="19" y="40"/>
                      <a:pt x="19" y="40"/>
                    </a:cubicBezTo>
                    <a:cubicBezTo>
                      <a:pt x="18" y="42"/>
                      <a:pt x="18" y="42"/>
                      <a:pt x="18" y="42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5" y="42"/>
                      <a:pt x="15" y="42"/>
                      <a:pt x="15" y="42"/>
                    </a:cubicBezTo>
                    <a:cubicBezTo>
                      <a:pt x="14" y="43"/>
                      <a:pt x="14" y="43"/>
                      <a:pt x="14" y="43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5" y="58"/>
                      <a:pt x="5" y="58"/>
                      <a:pt x="5" y="58"/>
                    </a:cubicBezTo>
                    <a:cubicBezTo>
                      <a:pt x="3" y="62"/>
                      <a:pt x="3" y="62"/>
                      <a:pt x="3" y="62"/>
                    </a:cubicBezTo>
                    <a:cubicBezTo>
                      <a:pt x="3" y="70"/>
                      <a:pt x="3" y="70"/>
                      <a:pt x="3" y="70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2" y="83"/>
                      <a:pt x="2" y="83"/>
                      <a:pt x="2" y="83"/>
                    </a:cubicBezTo>
                    <a:cubicBezTo>
                      <a:pt x="5" y="83"/>
                      <a:pt x="5" y="83"/>
                      <a:pt x="5" y="83"/>
                    </a:cubicBezTo>
                    <a:cubicBezTo>
                      <a:pt x="7" y="82"/>
                      <a:pt x="7" y="82"/>
                      <a:pt x="7" y="82"/>
                    </a:cubicBezTo>
                    <a:cubicBezTo>
                      <a:pt x="9" y="86"/>
                      <a:pt x="9" y="86"/>
                      <a:pt x="9" y="86"/>
                    </a:cubicBezTo>
                    <a:cubicBezTo>
                      <a:pt x="13" y="87"/>
                      <a:pt x="13" y="87"/>
                      <a:pt x="13" y="87"/>
                    </a:cubicBezTo>
                    <a:cubicBezTo>
                      <a:pt x="13" y="94"/>
                      <a:pt x="13" y="94"/>
                      <a:pt x="13" y="94"/>
                    </a:cubicBezTo>
                    <a:cubicBezTo>
                      <a:pt x="17" y="98"/>
                      <a:pt x="17" y="98"/>
                      <a:pt x="17" y="98"/>
                    </a:cubicBezTo>
                    <a:cubicBezTo>
                      <a:pt x="19" y="96"/>
                      <a:pt x="19" y="96"/>
                      <a:pt x="19" y="96"/>
                    </a:cubicBezTo>
                    <a:cubicBezTo>
                      <a:pt x="21" y="95"/>
                      <a:pt x="21" y="95"/>
                      <a:pt x="21" y="95"/>
                    </a:cubicBezTo>
                    <a:cubicBezTo>
                      <a:pt x="19" y="99"/>
                      <a:pt x="19" y="99"/>
                      <a:pt x="19" y="99"/>
                    </a:cubicBezTo>
                    <a:cubicBezTo>
                      <a:pt x="18" y="103"/>
                      <a:pt x="18" y="103"/>
                      <a:pt x="18" y="103"/>
                    </a:cubicBezTo>
                    <a:cubicBezTo>
                      <a:pt x="17" y="102"/>
                      <a:pt x="17" y="102"/>
                      <a:pt x="17" y="102"/>
                    </a:cubicBezTo>
                    <a:cubicBezTo>
                      <a:pt x="16" y="106"/>
                      <a:pt x="16" y="106"/>
                      <a:pt x="16" y="106"/>
                    </a:cubicBezTo>
                    <a:cubicBezTo>
                      <a:pt x="19" y="106"/>
                      <a:pt x="19" y="106"/>
                      <a:pt x="19" y="106"/>
                    </a:cubicBezTo>
                    <a:cubicBezTo>
                      <a:pt x="19" y="108"/>
                      <a:pt x="19" y="108"/>
                      <a:pt x="19" y="108"/>
                    </a:cubicBezTo>
                    <a:cubicBezTo>
                      <a:pt x="20" y="111"/>
                      <a:pt x="20" y="111"/>
                      <a:pt x="20" y="111"/>
                    </a:cubicBezTo>
                    <a:cubicBezTo>
                      <a:pt x="21" y="118"/>
                      <a:pt x="21" y="118"/>
                      <a:pt x="21" y="118"/>
                    </a:cubicBezTo>
                    <a:cubicBezTo>
                      <a:pt x="23" y="121"/>
                      <a:pt x="23" y="121"/>
                      <a:pt x="23" y="121"/>
                    </a:cubicBezTo>
                    <a:cubicBezTo>
                      <a:pt x="25" y="128"/>
                      <a:pt x="25" y="128"/>
                      <a:pt x="25" y="128"/>
                    </a:cubicBezTo>
                    <a:cubicBezTo>
                      <a:pt x="31" y="138"/>
                      <a:pt x="31" y="138"/>
                      <a:pt x="31" y="138"/>
                    </a:cubicBezTo>
                    <a:cubicBezTo>
                      <a:pt x="41" y="147"/>
                      <a:pt x="41" y="147"/>
                      <a:pt x="41" y="147"/>
                    </a:cubicBezTo>
                    <a:cubicBezTo>
                      <a:pt x="43" y="149"/>
                      <a:pt x="43" y="149"/>
                      <a:pt x="43" y="149"/>
                    </a:cubicBezTo>
                    <a:cubicBezTo>
                      <a:pt x="43" y="149"/>
                      <a:pt x="43" y="149"/>
                      <a:pt x="43" y="149"/>
                    </a:cubicBezTo>
                    <a:cubicBezTo>
                      <a:pt x="37" y="158"/>
                      <a:pt x="37" y="158"/>
                      <a:pt x="37" y="158"/>
                    </a:cubicBezTo>
                    <a:cubicBezTo>
                      <a:pt x="43" y="149"/>
                      <a:pt x="43" y="149"/>
                      <a:pt x="43" y="149"/>
                    </a:cubicBezTo>
                    <a:cubicBezTo>
                      <a:pt x="47" y="152"/>
                      <a:pt x="47" y="152"/>
                      <a:pt x="47" y="152"/>
                    </a:cubicBezTo>
                    <a:cubicBezTo>
                      <a:pt x="52" y="161"/>
                      <a:pt x="52" y="161"/>
                      <a:pt x="52" y="161"/>
                    </a:cubicBezTo>
                    <a:cubicBezTo>
                      <a:pt x="53" y="165"/>
                      <a:pt x="53" y="165"/>
                      <a:pt x="53" y="165"/>
                    </a:cubicBezTo>
                    <a:cubicBezTo>
                      <a:pt x="55" y="171"/>
                      <a:pt x="55" y="171"/>
                      <a:pt x="55" y="171"/>
                    </a:cubicBezTo>
                    <a:cubicBezTo>
                      <a:pt x="61" y="177"/>
                      <a:pt x="61" y="177"/>
                      <a:pt x="61" y="177"/>
                    </a:cubicBezTo>
                    <a:cubicBezTo>
                      <a:pt x="62" y="180"/>
                      <a:pt x="62" y="180"/>
                      <a:pt x="62" y="180"/>
                    </a:cubicBezTo>
                    <a:cubicBezTo>
                      <a:pt x="66" y="184"/>
                      <a:pt x="66" y="184"/>
                      <a:pt x="66" y="184"/>
                    </a:cubicBezTo>
                    <a:cubicBezTo>
                      <a:pt x="71" y="183"/>
                      <a:pt x="71" y="183"/>
                      <a:pt x="71" y="183"/>
                    </a:cubicBezTo>
                    <a:cubicBezTo>
                      <a:pt x="75" y="186"/>
                      <a:pt x="75" y="186"/>
                      <a:pt x="75" y="186"/>
                    </a:cubicBezTo>
                    <a:cubicBezTo>
                      <a:pt x="78" y="190"/>
                      <a:pt x="78" y="190"/>
                      <a:pt x="78" y="190"/>
                    </a:cubicBezTo>
                    <a:cubicBezTo>
                      <a:pt x="75" y="190"/>
                      <a:pt x="75" y="190"/>
                      <a:pt x="75" y="190"/>
                    </a:cubicBezTo>
                    <a:cubicBezTo>
                      <a:pt x="73" y="192"/>
                      <a:pt x="73" y="192"/>
                      <a:pt x="73" y="192"/>
                    </a:cubicBezTo>
                    <a:cubicBezTo>
                      <a:pt x="68" y="192"/>
                      <a:pt x="68" y="192"/>
                      <a:pt x="68" y="19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3" y="204"/>
                      <a:pt x="63" y="204"/>
                      <a:pt x="63" y="204"/>
                    </a:cubicBezTo>
                    <a:cubicBezTo>
                      <a:pt x="63" y="208"/>
                      <a:pt x="63" y="208"/>
                      <a:pt x="63" y="208"/>
                    </a:cubicBezTo>
                    <a:cubicBezTo>
                      <a:pt x="62" y="211"/>
                      <a:pt x="62" y="211"/>
                      <a:pt x="62" y="211"/>
                    </a:cubicBezTo>
                    <a:cubicBezTo>
                      <a:pt x="61" y="215"/>
                      <a:pt x="61" y="215"/>
                      <a:pt x="61" y="215"/>
                    </a:cubicBezTo>
                    <a:cubicBezTo>
                      <a:pt x="62" y="217"/>
                      <a:pt x="62" y="217"/>
                      <a:pt x="62" y="217"/>
                    </a:cubicBezTo>
                    <a:cubicBezTo>
                      <a:pt x="62" y="220"/>
                      <a:pt x="62" y="220"/>
                      <a:pt x="62" y="220"/>
                    </a:cubicBezTo>
                    <a:cubicBezTo>
                      <a:pt x="61" y="222"/>
                      <a:pt x="61" y="222"/>
                      <a:pt x="61" y="222"/>
                    </a:cubicBezTo>
                    <a:cubicBezTo>
                      <a:pt x="61" y="230"/>
                      <a:pt x="61" y="230"/>
                      <a:pt x="61" y="230"/>
                    </a:cubicBezTo>
                    <a:cubicBezTo>
                      <a:pt x="60" y="233"/>
                      <a:pt x="60" y="233"/>
                      <a:pt x="60" y="233"/>
                    </a:cubicBezTo>
                    <a:cubicBezTo>
                      <a:pt x="58" y="230"/>
                      <a:pt x="58" y="230"/>
                      <a:pt x="58" y="230"/>
                    </a:cubicBezTo>
                    <a:cubicBezTo>
                      <a:pt x="60" y="225"/>
                      <a:pt x="60" y="225"/>
                      <a:pt x="60" y="225"/>
                    </a:cubicBezTo>
                    <a:cubicBezTo>
                      <a:pt x="57" y="222"/>
                      <a:pt x="57" y="222"/>
                      <a:pt x="57" y="222"/>
                    </a:cubicBezTo>
                    <a:cubicBezTo>
                      <a:pt x="56" y="224"/>
                      <a:pt x="56" y="224"/>
                      <a:pt x="56" y="224"/>
                    </a:cubicBezTo>
                    <a:cubicBezTo>
                      <a:pt x="55" y="227"/>
                      <a:pt x="55" y="227"/>
                      <a:pt x="55" y="227"/>
                    </a:cubicBezTo>
                    <a:cubicBezTo>
                      <a:pt x="56" y="233"/>
                      <a:pt x="56" y="233"/>
                      <a:pt x="56" y="233"/>
                    </a:cubicBezTo>
                    <a:cubicBezTo>
                      <a:pt x="56" y="236"/>
                      <a:pt x="56" y="236"/>
                      <a:pt x="56" y="236"/>
                    </a:cubicBezTo>
                    <a:cubicBezTo>
                      <a:pt x="57" y="238"/>
                      <a:pt x="57" y="238"/>
                      <a:pt x="57" y="238"/>
                    </a:cubicBezTo>
                    <a:cubicBezTo>
                      <a:pt x="56" y="247"/>
                      <a:pt x="56" y="247"/>
                      <a:pt x="56" y="247"/>
                    </a:cubicBezTo>
                    <a:cubicBezTo>
                      <a:pt x="56" y="248"/>
                      <a:pt x="56" y="248"/>
                      <a:pt x="56" y="248"/>
                    </a:cubicBezTo>
                    <a:cubicBezTo>
                      <a:pt x="59" y="253"/>
                      <a:pt x="59" y="253"/>
                      <a:pt x="59" y="253"/>
                    </a:cubicBezTo>
                    <a:cubicBezTo>
                      <a:pt x="60" y="258"/>
                      <a:pt x="60" y="258"/>
                      <a:pt x="60" y="258"/>
                    </a:cubicBezTo>
                    <a:cubicBezTo>
                      <a:pt x="59" y="263"/>
                      <a:pt x="59" y="263"/>
                      <a:pt x="59" y="263"/>
                    </a:cubicBezTo>
                    <a:cubicBezTo>
                      <a:pt x="60" y="265"/>
                      <a:pt x="60" y="265"/>
                      <a:pt x="60" y="265"/>
                    </a:cubicBezTo>
                    <a:cubicBezTo>
                      <a:pt x="63" y="265"/>
                      <a:pt x="63" y="265"/>
                      <a:pt x="63" y="265"/>
                    </a:cubicBezTo>
                    <a:cubicBezTo>
                      <a:pt x="66" y="270"/>
                      <a:pt x="66" y="270"/>
                      <a:pt x="66" y="270"/>
                    </a:cubicBezTo>
                    <a:cubicBezTo>
                      <a:pt x="71" y="270"/>
                      <a:pt x="71" y="270"/>
                      <a:pt x="71" y="270"/>
                    </a:cubicBezTo>
                    <a:cubicBezTo>
                      <a:pt x="74" y="271"/>
                      <a:pt x="74" y="271"/>
                      <a:pt x="74" y="271"/>
                    </a:cubicBezTo>
                    <a:cubicBezTo>
                      <a:pt x="78" y="269"/>
                      <a:pt x="78" y="269"/>
                      <a:pt x="78" y="269"/>
                    </a:cubicBezTo>
                    <a:cubicBezTo>
                      <a:pt x="82" y="273"/>
                      <a:pt x="82" y="273"/>
                      <a:pt x="82" y="273"/>
                    </a:cubicBezTo>
                    <a:cubicBezTo>
                      <a:pt x="85" y="273"/>
                      <a:pt x="85" y="273"/>
                      <a:pt x="85" y="273"/>
                    </a:cubicBezTo>
                    <a:cubicBezTo>
                      <a:pt x="86" y="277"/>
                      <a:pt x="86" y="277"/>
                      <a:pt x="86" y="277"/>
                    </a:cubicBezTo>
                    <a:cubicBezTo>
                      <a:pt x="89" y="282"/>
                      <a:pt x="89" y="282"/>
                      <a:pt x="89" y="282"/>
                    </a:cubicBezTo>
                    <a:cubicBezTo>
                      <a:pt x="98" y="286"/>
                      <a:pt x="98" y="286"/>
                      <a:pt x="98" y="286"/>
                    </a:cubicBezTo>
                    <a:cubicBezTo>
                      <a:pt x="102" y="286"/>
                      <a:pt x="102" y="286"/>
                      <a:pt x="102" y="286"/>
                    </a:cubicBezTo>
                    <a:cubicBezTo>
                      <a:pt x="113" y="290"/>
                      <a:pt x="113" y="290"/>
                      <a:pt x="113" y="290"/>
                    </a:cubicBezTo>
                    <a:cubicBezTo>
                      <a:pt x="118" y="290"/>
                      <a:pt x="118" y="290"/>
                      <a:pt x="118" y="290"/>
                    </a:cubicBezTo>
                    <a:cubicBezTo>
                      <a:pt x="130" y="286"/>
                      <a:pt x="130" y="286"/>
                      <a:pt x="130" y="286"/>
                    </a:cubicBezTo>
                    <a:cubicBezTo>
                      <a:pt x="139" y="285"/>
                      <a:pt x="139" y="285"/>
                      <a:pt x="139" y="285"/>
                    </a:cubicBezTo>
                    <a:cubicBezTo>
                      <a:pt x="150" y="286"/>
                      <a:pt x="150" y="286"/>
                      <a:pt x="150" y="286"/>
                    </a:cubicBezTo>
                    <a:cubicBezTo>
                      <a:pt x="154" y="287"/>
                      <a:pt x="154" y="287"/>
                      <a:pt x="154" y="287"/>
                    </a:cubicBezTo>
                    <a:cubicBezTo>
                      <a:pt x="155" y="281"/>
                      <a:pt x="155" y="281"/>
                      <a:pt x="155" y="281"/>
                    </a:cubicBezTo>
                    <a:cubicBezTo>
                      <a:pt x="153" y="276"/>
                      <a:pt x="153" y="276"/>
                      <a:pt x="153" y="276"/>
                    </a:cubicBezTo>
                    <a:cubicBezTo>
                      <a:pt x="151" y="270"/>
                      <a:pt x="151" y="270"/>
                      <a:pt x="151" y="270"/>
                    </a:cubicBezTo>
                    <a:cubicBezTo>
                      <a:pt x="147" y="260"/>
                      <a:pt x="147" y="260"/>
                      <a:pt x="147" y="260"/>
                    </a:cubicBezTo>
                    <a:lnTo>
                      <a:pt x="146" y="25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5" name="Freeform 24">
                <a:extLst>
                  <a:ext uri="{FF2B5EF4-FFF2-40B4-BE49-F238E27FC236}">
                    <a16:creationId xmlns:a16="http://schemas.microsoft.com/office/drawing/2014/main" id="{D8F9B06A-460B-44A4-AB5F-18F4E9790A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8601" y="3544888"/>
                <a:ext cx="20638" cy="3175"/>
              </a:xfrm>
              <a:custGeom>
                <a:avLst/>
                <a:gdLst>
                  <a:gd name="T0" fmla="*/ 13 w 13"/>
                  <a:gd name="T1" fmla="*/ 2 h 2"/>
                  <a:gd name="T2" fmla="*/ 1 w 13"/>
                  <a:gd name="T3" fmla="*/ 0 h 2"/>
                  <a:gd name="T4" fmla="*/ 0 w 13"/>
                  <a:gd name="T5" fmla="*/ 0 h 2"/>
                  <a:gd name="T6" fmla="*/ 13 w 13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">
                    <a:moveTo>
                      <a:pt x="13" y="2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3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6" name="Freeform 25">
                <a:extLst>
                  <a:ext uri="{FF2B5EF4-FFF2-40B4-BE49-F238E27FC236}">
                    <a16:creationId xmlns:a16="http://schemas.microsoft.com/office/drawing/2014/main" id="{62F0CFE4-7219-45E1-8F0B-B35165B6C9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4964" y="2652713"/>
                <a:ext cx="6350" cy="11113"/>
              </a:xfrm>
              <a:custGeom>
                <a:avLst/>
                <a:gdLst>
                  <a:gd name="T0" fmla="*/ 0 w 4"/>
                  <a:gd name="T1" fmla="*/ 7 h 7"/>
                  <a:gd name="T2" fmla="*/ 0 w 4"/>
                  <a:gd name="T3" fmla="*/ 6 h 7"/>
                  <a:gd name="T4" fmla="*/ 3 w 4"/>
                  <a:gd name="T5" fmla="*/ 4 h 7"/>
                  <a:gd name="T6" fmla="*/ 4 w 4"/>
                  <a:gd name="T7" fmla="*/ 0 h 7"/>
                  <a:gd name="T8" fmla="*/ 0 w 4"/>
                  <a:gd name="T9" fmla="*/ 5 h 7"/>
                  <a:gd name="T10" fmla="*/ 0 w 4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7">
                    <a:moveTo>
                      <a:pt x="0" y="7"/>
                    </a:moveTo>
                    <a:lnTo>
                      <a:pt x="0" y="6"/>
                    </a:lnTo>
                    <a:lnTo>
                      <a:pt x="3" y="4"/>
                    </a:lnTo>
                    <a:lnTo>
                      <a:pt x="4" y="0"/>
                    </a:lnTo>
                    <a:lnTo>
                      <a:pt x="0" y="5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7" name="Freeform 26">
                <a:extLst>
                  <a:ext uri="{FF2B5EF4-FFF2-40B4-BE49-F238E27FC236}">
                    <a16:creationId xmlns:a16="http://schemas.microsoft.com/office/drawing/2014/main" id="{9300ADED-3111-4B5B-8F2C-BDAFE84EE4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9439" y="4222750"/>
                <a:ext cx="11113" cy="14288"/>
              </a:xfrm>
              <a:custGeom>
                <a:avLst/>
                <a:gdLst>
                  <a:gd name="T0" fmla="*/ 7 w 7"/>
                  <a:gd name="T1" fmla="*/ 0 h 9"/>
                  <a:gd name="T2" fmla="*/ 3 w 7"/>
                  <a:gd name="T3" fmla="*/ 6 h 9"/>
                  <a:gd name="T4" fmla="*/ 0 w 7"/>
                  <a:gd name="T5" fmla="*/ 9 h 9"/>
                  <a:gd name="T6" fmla="*/ 3 w 7"/>
                  <a:gd name="T7" fmla="*/ 6 h 9"/>
                  <a:gd name="T8" fmla="*/ 7 w 7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9">
                    <a:moveTo>
                      <a:pt x="7" y="0"/>
                    </a:moveTo>
                    <a:lnTo>
                      <a:pt x="3" y="6"/>
                    </a:lnTo>
                    <a:lnTo>
                      <a:pt x="0" y="9"/>
                    </a:lnTo>
                    <a:lnTo>
                      <a:pt x="3" y="6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8" name="Rectangle 27">
                <a:extLst>
                  <a:ext uri="{FF2B5EF4-FFF2-40B4-BE49-F238E27FC236}">
                    <a16:creationId xmlns:a16="http://schemas.microsoft.com/office/drawing/2014/main" id="{B5DA7B6D-12E0-497C-A747-40B190AE57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09989" y="3962400"/>
                <a:ext cx="39688" cy="1588"/>
              </a:xfrm>
              <a:prstGeom prst="rect">
                <a:avLst/>
              </a:pr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9" name="Freeform 28">
                <a:extLst>
                  <a:ext uri="{FF2B5EF4-FFF2-40B4-BE49-F238E27FC236}">
                    <a16:creationId xmlns:a16="http://schemas.microsoft.com/office/drawing/2014/main" id="{66E53D47-1683-4EA5-A812-AD5EF19D38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0151" y="4056063"/>
                <a:ext cx="6350" cy="4763"/>
              </a:xfrm>
              <a:custGeom>
                <a:avLst/>
                <a:gdLst>
                  <a:gd name="T0" fmla="*/ 2 w 4"/>
                  <a:gd name="T1" fmla="*/ 1 h 3"/>
                  <a:gd name="T2" fmla="*/ 4 w 4"/>
                  <a:gd name="T3" fmla="*/ 0 h 3"/>
                  <a:gd name="T4" fmla="*/ 0 w 4"/>
                  <a:gd name="T5" fmla="*/ 3 h 3"/>
                  <a:gd name="T6" fmla="*/ 2 w 4"/>
                  <a:gd name="T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2" y="1"/>
                    </a:moveTo>
                    <a:lnTo>
                      <a:pt x="4" y="0"/>
                    </a:lnTo>
                    <a:lnTo>
                      <a:pt x="0" y="3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0" name="Freeform 29">
                <a:extLst>
                  <a:ext uri="{FF2B5EF4-FFF2-40B4-BE49-F238E27FC236}">
                    <a16:creationId xmlns:a16="http://schemas.microsoft.com/office/drawing/2014/main" id="{B6D51F8E-6F44-41C4-AA5D-169AB85B0C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8614" y="3394075"/>
                <a:ext cx="4763" cy="1588"/>
              </a:xfrm>
              <a:custGeom>
                <a:avLst/>
                <a:gdLst>
                  <a:gd name="T0" fmla="*/ 3 w 3"/>
                  <a:gd name="T1" fmla="*/ 0 h 1"/>
                  <a:gd name="T2" fmla="*/ 3 w 3"/>
                  <a:gd name="T3" fmla="*/ 0 h 1"/>
                  <a:gd name="T4" fmla="*/ 0 w 3"/>
                  <a:gd name="T5" fmla="*/ 1 h 1"/>
                  <a:gd name="T6" fmla="*/ 3 w 3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lnTo>
                      <a:pt x="3" y="0"/>
                    </a:lnTo>
                    <a:lnTo>
                      <a:pt x="0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1" name="Freeform 30">
                <a:extLst>
                  <a:ext uri="{FF2B5EF4-FFF2-40B4-BE49-F238E27FC236}">
                    <a16:creationId xmlns:a16="http://schemas.microsoft.com/office/drawing/2014/main" id="{68EEE294-57B9-4CFA-9A5B-6D72F85305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31101" y="2914650"/>
                <a:ext cx="3175" cy="1588"/>
              </a:xfrm>
              <a:custGeom>
                <a:avLst/>
                <a:gdLst>
                  <a:gd name="T0" fmla="*/ 2 w 2"/>
                  <a:gd name="T1" fmla="*/ 1 h 1"/>
                  <a:gd name="T2" fmla="*/ 0 w 2"/>
                  <a:gd name="T3" fmla="*/ 1 h 1"/>
                  <a:gd name="T4" fmla="*/ 0 w 2"/>
                  <a:gd name="T5" fmla="*/ 0 h 1"/>
                  <a:gd name="T6" fmla="*/ 0 w 2"/>
                  <a:gd name="T7" fmla="*/ 1 h 1"/>
                  <a:gd name="T8" fmla="*/ 2 w 2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2" name="Freeform 31">
                <a:extLst>
                  <a:ext uri="{FF2B5EF4-FFF2-40B4-BE49-F238E27FC236}">
                    <a16:creationId xmlns:a16="http://schemas.microsoft.com/office/drawing/2014/main" id="{58EB4052-1EBB-4B83-9FCE-9048097D85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0514" y="3257550"/>
                <a:ext cx="3175" cy="4763"/>
              </a:xfrm>
              <a:custGeom>
                <a:avLst/>
                <a:gdLst>
                  <a:gd name="T0" fmla="*/ 0 w 2"/>
                  <a:gd name="T1" fmla="*/ 0 h 3"/>
                  <a:gd name="T2" fmla="*/ 2 w 2"/>
                  <a:gd name="T3" fmla="*/ 3 h 3"/>
                  <a:gd name="T4" fmla="*/ 0 w 2"/>
                  <a:gd name="T5" fmla="*/ 0 h 3"/>
                  <a:gd name="T6" fmla="*/ 0 w 2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2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3" name="Freeform 32">
                <a:extLst>
                  <a:ext uri="{FF2B5EF4-FFF2-40B4-BE49-F238E27FC236}">
                    <a16:creationId xmlns:a16="http://schemas.microsoft.com/office/drawing/2014/main" id="{1950873B-25E5-41A9-8DB6-734B1BD268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0839" y="3317875"/>
                <a:ext cx="11113" cy="15875"/>
              </a:xfrm>
              <a:custGeom>
                <a:avLst/>
                <a:gdLst>
                  <a:gd name="T0" fmla="*/ 7 w 7"/>
                  <a:gd name="T1" fmla="*/ 10 h 10"/>
                  <a:gd name="T2" fmla="*/ 7 w 7"/>
                  <a:gd name="T3" fmla="*/ 10 h 10"/>
                  <a:gd name="T4" fmla="*/ 0 w 7"/>
                  <a:gd name="T5" fmla="*/ 0 h 10"/>
                  <a:gd name="T6" fmla="*/ 7 w 7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0">
                    <a:moveTo>
                      <a:pt x="7" y="10"/>
                    </a:moveTo>
                    <a:lnTo>
                      <a:pt x="7" y="10"/>
                    </a:lnTo>
                    <a:lnTo>
                      <a:pt x="0" y="0"/>
                    </a:lnTo>
                    <a:lnTo>
                      <a:pt x="7" y="1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4" name="Freeform 33">
                <a:extLst>
                  <a:ext uri="{FF2B5EF4-FFF2-40B4-BE49-F238E27FC236}">
                    <a16:creationId xmlns:a16="http://schemas.microsoft.com/office/drawing/2014/main" id="{78D5D863-7A5A-40E6-A99A-8709785638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7639" y="3560763"/>
                <a:ext cx="0" cy="20638"/>
              </a:xfrm>
              <a:custGeom>
                <a:avLst/>
                <a:gdLst>
                  <a:gd name="T0" fmla="*/ 13 h 13"/>
                  <a:gd name="T1" fmla="*/ 0 h 13"/>
                  <a:gd name="T2" fmla="*/ 6 h 13"/>
                  <a:gd name="T3" fmla="*/ 13 h 1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3">
                    <a:moveTo>
                      <a:pt x="0" y="13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5" name="Freeform 34">
                <a:extLst>
                  <a:ext uri="{FF2B5EF4-FFF2-40B4-BE49-F238E27FC236}">
                    <a16:creationId xmlns:a16="http://schemas.microsoft.com/office/drawing/2014/main" id="{861F4D5E-D8BD-4A96-B122-DC4C637501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3851" y="3305175"/>
                <a:ext cx="0" cy="1588"/>
              </a:xfrm>
              <a:custGeom>
                <a:avLst/>
                <a:gdLst>
                  <a:gd name="T0" fmla="*/ 1 h 1"/>
                  <a:gd name="T1" fmla="*/ 1 h 1"/>
                  <a:gd name="T2" fmla="*/ 0 h 1"/>
                  <a:gd name="T3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6" name="Freeform 35">
                <a:extLst>
                  <a:ext uri="{FF2B5EF4-FFF2-40B4-BE49-F238E27FC236}">
                    <a16:creationId xmlns:a16="http://schemas.microsoft.com/office/drawing/2014/main" id="{48A7C7DF-56C8-4628-9D73-ED4DE1F0ED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9226" y="3538538"/>
                <a:ext cx="1588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7" name="Freeform 36">
                <a:extLst>
                  <a:ext uri="{FF2B5EF4-FFF2-40B4-BE49-F238E27FC236}">
                    <a16:creationId xmlns:a16="http://schemas.microsoft.com/office/drawing/2014/main" id="{9F64C7A7-4078-48FA-AEB5-A57DB02CEF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5576" y="3532188"/>
                <a:ext cx="1588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8" name="Freeform 37">
                <a:extLst>
                  <a:ext uri="{FF2B5EF4-FFF2-40B4-BE49-F238E27FC236}">
                    <a16:creationId xmlns:a16="http://schemas.microsoft.com/office/drawing/2014/main" id="{41357AA4-EF16-4BCD-A623-29D937547A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8851" y="4095750"/>
                <a:ext cx="1588" cy="7938"/>
              </a:xfrm>
              <a:custGeom>
                <a:avLst/>
                <a:gdLst>
                  <a:gd name="T0" fmla="*/ 1 w 1"/>
                  <a:gd name="T1" fmla="*/ 5 h 5"/>
                  <a:gd name="T2" fmla="*/ 0 w 1"/>
                  <a:gd name="T3" fmla="*/ 0 h 5"/>
                  <a:gd name="T4" fmla="*/ 0 w 1"/>
                  <a:gd name="T5" fmla="*/ 0 h 5"/>
                  <a:gd name="T6" fmla="*/ 1 w 1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5">
                    <a:moveTo>
                      <a:pt x="1" y="5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9" name="Freeform 38">
                <a:extLst>
                  <a:ext uri="{FF2B5EF4-FFF2-40B4-BE49-F238E27FC236}">
                    <a16:creationId xmlns:a16="http://schemas.microsoft.com/office/drawing/2014/main" id="{147A3FD6-B37A-4C32-B45F-ADDDB38D12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9926" y="4149725"/>
                <a:ext cx="1588" cy="4763"/>
              </a:xfrm>
              <a:custGeom>
                <a:avLst/>
                <a:gdLst>
                  <a:gd name="T0" fmla="*/ 0 w 1"/>
                  <a:gd name="T1" fmla="*/ 3 h 3"/>
                  <a:gd name="T2" fmla="*/ 1 w 1"/>
                  <a:gd name="T3" fmla="*/ 0 h 3"/>
                  <a:gd name="T4" fmla="*/ 0 w 1"/>
                  <a:gd name="T5" fmla="*/ 1 h 3"/>
                  <a:gd name="T6" fmla="*/ 0 w 1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0" name="Freeform 39">
                <a:extLst>
                  <a:ext uri="{FF2B5EF4-FFF2-40B4-BE49-F238E27FC236}">
                    <a16:creationId xmlns:a16="http://schemas.microsoft.com/office/drawing/2014/main" id="{100DC3BC-CD38-498D-817B-A3D60F2895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5776" y="4371975"/>
                <a:ext cx="1588" cy="12700"/>
              </a:xfrm>
              <a:custGeom>
                <a:avLst/>
                <a:gdLst>
                  <a:gd name="T0" fmla="*/ 0 w 1"/>
                  <a:gd name="T1" fmla="*/ 8 h 8"/>
                  <a:gd name="T2" fmla="*/ 1 w 1"/>
                  <a:gd name="T3" fmla="*/ 2 h 8"/>
                  <a:gd name="T4" fmla="*/ 0 w 1"/>
                  <a:gd name="T5" fmla="*/ 0 h 8"/>
                  <a:gd name="T6" fmla="*/ 1 w 1"/>
                  <a:gd name="T7" fmla="*/ 2 h 8"/>
                  <a:gd name="T8" fmla="*/ 0 w 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8">
                    <a:moveTo>
                      <a:pt x="0" y="8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1" name="Freeform 40">
                <a:extLst>
                  <a:ext uri="{FF2B5EF4-FFF2-40B4-BE49-F238E27FC236}">
                    <a16:creationId xmlns:a16="http://schemas.microsoft.com/office/drawing/2014/main" id="{C7BC0CA1-2A56-44C3-A3EA-DAAA6D6717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7826" y="4046538"/>
                <a:ext cx="4763" cy="1588"/>
              </a:xfrm>
              <a:custGeom>
                <a:avLst/>
                <a:gdLst>
                  <a:gd name="T0" fmla="*/ 0 w 3"/>
                  <a:gd name="T1" fmla="*/ 0 h 1"/>
                  <a:gd name="T2" fmla="*/ 3 w 3"/>
                  <a:gd name="T3" fmla="*/ 1 h 1"/>
                  <a:gd name="T4" fmla="*/ 0 w 3"/>
                  <a:gd name="T5" fmla="*/ 0 h 1"/>
                  <a:gd name="T6" fmla="*/ 0 w 3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3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2" name="Freeform 41">
                <a:extLst>
                  <a:ext uri="{FF2B5EF4-FFF2-40B4-BE49-F238E27FC236}">
                    <a16:creationId xmlns:a16="http://schemas.microsoft.com/office/drawing/2014/main" id="{7241EBDD-A239-44A3-9163-2F0E3F88D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8064" y="4365625"/>
                <a:ext cx="11113" cy="22225"/>
              </a:xfrm>
              <a:custGeom>
                <a:avLst/>
                <a:gdLst>
                  <a:gd name="T0" fmla="*/ 0 w 7"/>
                  <a:gd name="T1" fmla="*/ 14 h 14"/>
                  <a:gd name="T2" fmla="*/ 7 w 7"/>
                  <a:gd name="T3" fmla="*/ 0 h 14"/>
                  <a:gd name="T4" fmla="*/ 1 w 7"/>
                  <a:gd name="T5" fmla="*/ 13 h 14"/>
                  <a:gd name="T6" fmla="*/ 0 w 7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4">
                    <a:moveTo>
                      <a:pt x="0" y="14"/>
                    </a:moveTo>
                    <a:lnTo>
                      <a:pt x="7" y="0"/>
                    </a:lnTo>
                    <a:lnTo>
                      <a:pt x="1" y="13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3" name="Freeform 42">
                <a:extLst>
                  <a:ext uri="{FF2B5EF4-FFF2-40B4-BE49-F238E27FC236}">
                    <a16:creationId xmlns:a16="http://schemas.microsoft.com/office/drawing/2014/main" id="{DAEDEA5C-DB21-42D8-AB8B-E34A43B5F4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5664" y="3076575"/>
                <a:ext cx="4763" cy="6350"/>
              </a:xfrm>
              <a:custGeom>
                <a:avLst/>
                <a:gdLst>
                  <a:gd name="T0" fmla="*/ 0 w 3"/>
                  <a:gd name="T1" fmla="*/ 4 h 4"/>
                  <a:gd name="T2" fmla="*/ 3 w 3"/>
                  <a:gd name="T3" fmla="*/ 0 h 4"/>
                  <a:gd name="T4" fmla="*/ 3 w 3"/>
                  <a:gd name="T5" fmla="*/ 0 h 4"/>
                  <a:gd name="T6" fmla="*/ 0 w 3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0" y="4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4" name="Freeform 43">
                <a:extLst>
                  <a:ext uri="{FF2B5EF4-FFF2-40B4-BE49-F238E27FC236}">
                    <a16:creationId xmlns:a16="http://schemas.microsoft.com/office/drawing/2014/main" id="{451F269A-F1EE-4E09-B9D7-CF5A8A5302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5089" y="4479925"/>
                <a:ext cx="26988" cy="1588"/>
              </a:xfrm>
              <a:custGeom>
                <a:avLst/>
                <a:gdLst>
                  <a:gd name="T0" fmla="*/ 0 w 17"/>
                  <a:gd name="T1" fmla="*/ 1 h 1"/>
                  <a:gd name="T2" fmla="*/ 17 w 17"/>
                  <a:gd name="T3" fmla="*/ 0 h 1"/>
                  <a:gd name="T4" fmla="*/ 12 w 17"/>
                  <a:gd name="T5" fmla="*/ 0 h 1"/>
                  <a:gd name="T6" fmla="*/ 0 w 17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">
                    <a:moveTo>
                      <a:pt x="0" y="1"/>
                    </a:moveTo>
                    <a:lnTo>
                      <a:pt x="17" y="0"/>
                    </a:lnTo>
                    <a:lnTo>
                      <a:pt x="12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5" name="Freeform 44">
                <a:extLst>
                  <a:ext uri="{FF2B5EF4-FFF2-40B4-BE49-F238E27FC236}">
                    <a16:creationId xmlns:a16="http://schemas.microsoft.com/office/drawing/2014/main" id="{862F2823-8974-4D37-90E0-2D51E7FFD6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1864" y="4583113"/>
                <a:ext cx="4763" cy="4763"/>
              </a:xfrm>
              <a:custGeom>
                <a:avLst/>
                <a:gdLst>
                  <a:gd name="T0" fmla="*/ 0 w 3"/>
                  <a:gd name="T1" fmla="*/ 3 h 3"/>
                  <a:gd name="T2" fmla="*/ 3 w 3"/>
                  <a:gd name="T3" fmla="*/ 0 h 3"/>
                  <a:gd name="T4" fmla="*/ 2 w 3"/>
                  <a:gd name="T5" fmla="*/ 0 h 3"/>
                  <a:gd name="T6" fmla="*/ 0 w 3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3" y="0"/>
                    </a:lnTo>
                    <a:lnTo>
                      <a:pt x="2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6" name="Freeform 45">
                <a:extLst>
                  <a:ext uri="{FF2B5EF4-FFF2-40B4-BE49-F238E27FC236}">
                    <a16:creationId xmlns:a16="http://schemas.microsoft.com/office/drawing/2014/main" id="{F2DD72F6-D86C-41AD-8581-C9D7ADEF62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2039" y="4348163"/>
                <a:ext cx="1588" cy="6350"/>
              </a:xfrm>
              <a:custGeom>
                <a:avLst/>
                <a:gdLst>
                  <a:gd name="T0" fmla="*/ 0 w 1"/>
                  <a:gd name="T1" fmla="*/ 4 h 4"/>
                  <a:gd name="T2" fmla="*/ 1 w 1"/>
                  <a:gd name="T3" fmla="*/ 0 h 4"/>
                  <a:gd name="T4" fmla="*/ 1 w 1"/>
                  <a:gd name="T5" fmla="*/ 3 h 4"/>
                  <a:gd name="T6" fmla="*/ 0 w 1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1" y="0"/>
                    </a:lnTo>
                    <a:lnTo>
                      <a:pt x="1" y="3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7" name="Freeform 46">
                <a:extLst>
                  <a:ext uri="{FF2B5EF4-FFF2-40B4-BE49-F238E27FC236}">
                    <a16:creationId xmlns:a16="http://schemas.microsoft.com/office/drawing/2014/main" id="{22FC99AC-C68A-4696-AD15-F06EC6EFE1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9801" y="4397375"/>
                <a:ext cx="26988" cy="0"/>
              </a:xfrm>
              <a:custGeom>
                <a:avLst/>
                <a:gdLst>
                  <a:gd name="T0" fmla="*/ 0 w 17"/>
                  <a:gd name="T1" fmla="*/ 17 w 17"/>
                  <a:gd name="T2" fmla="*/ 0 w 17"/>
                  <a:gd name="T3" fmla="*/ 0 w 1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7">
                    <a:moveTo>
                      <a:pt x="0" y="0"/>
                    </a:moveTo>
                    <a:lnTo>
                      <a:pt x="17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8" name="Freeform 47">
                <a:extLst>
                  <a:ext uri="{FF2B5EF4-FFF2-40B4-BE49-F238E27FC236}">
                    <a16:creationId xmlns:a16="http://schemas.microsoft.com/office/drawing/2014/main" id="{D31C8A54-77C8-4EE1-BD05-6410B0A939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2339" y="4090988"/>
                <a:ext cx="1588" cy="4763"/>
              </a:xfrm>
              <a:custGeom>
                <a:avLst/>
                <a:gdLst>
                  <a:gd name="T0" fmla="*/ 0 w 1"/>
                  <a:gd name="T1" fmla="*/ 3 h 3"/>
                  <a:gd name="T2" fmla="*/ 1 w 1"/>
                  <a:gd name="T3" fmla="*/ 0 h 3"/>
                  <a:gd name="T4" fmla="*/ 1 w 1"/>
                  <a:gd name="T5" fmla="*/ 1 h 3"/>
                  <a:gd name="T6" fmla="*/ 0 w 1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9" name="Freeform 48">
                <a:extLst>
                  <a:ext uri="{FF2B5EF4-FFF2-40B4-BE49-F238E27FC236}">
                    <a16:creationId xmlns:a16="http://schemas.microsoft.com/office/drawing/2014/main" id="{AF8E2125-2233-40F0-B81D-287259B6CD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7201" y="3687763"/>
                <a:ext cx="0" cy="7938"/>
              </a:xfrm>
              <a:custGeom>
                <a:avLst/>
                <a:gdLst>
                  <a:gd name="T0" fmla="*/ 0 h 5"/>
                  <a:gd name="T1" fmla="*/ 5 h 5"/>
                  <a:gd name="T2" fmla="*/ 0 h 5"/>
                  <a:gd name="T3" fmla="*/ 0 h 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5">
                    <a:moveTo>
                      <a:pt x="0" y="0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0" name="Freeform 49">
                <a:extLst>
                  <a:ext uri="{FF2B5EF4-FFF2-40B4-BE49-F238E27FC236}">
                    <a16:creationId xmlns:a16="http://schemas.microsoft.com/office/drawing/2014/main" id="{9B54CE4F-894F-4C49-B864-8061BF9956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8489" y="3746500"/>
                <a:ext cx="19050" cy="71438"/>
              </a:xfrm>
              <a:custGeom>
                <a:avLst/>
                <a:gdLst>
                  <a:gd name="T0" fmla="*/ 0 w 12"/>
                  <a:gd name="T1" fmla="*/ 45 h 45"/>
                  <a:gd name="T2" fmla="*/ 0 w 12"/>
                  <a:gd name="T3" fmla="*/ 45 h 45"/>
                  <a:gd name="T4" fmla="*/ 12 w 12"/>
                  <a:gd name="T5" fmla="*/ 0 h 45"/>
                  <a:gd name="T6" fmla="*/ 0 w 12"/>
                  <a:gd name="T7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45">
                    <a:moveTo>
                      <a:pt x="0" y="45"/>
                    </a:moveTo>
                    <a:lnTo>
                      <a:pt x="0" y="45"/>
                    </a:lnTo>
                    <a:lnTo>
                      <a:pt x="12" y="0"/>
                    </a:lnTo>
                    <a:lnTo>
                      <a:pt x="0" y="4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1" name="Rectangle 50">
                <a:extLst>
                  <a:ext uri="{FF2B5EF4-FFF2-40B4-BE49-F238E27FC236}">
                    <a16:creationId xmlns:a16="http://schemas.microsoft.com/office/drawing/2014/main" id="{23DCCBD3-76EC-450F-B66C-1449ACC880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38851" y="4095750"/>
                <a:ext cx="1588" cy="1588"/>
              </a:xfrm>
              <a:prstGeom prst="rect">
                <a:avLst/>
              </a:pr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2" name="Freeform 51">
                <a:extLst>
                  <a:ext uri="{FF2B5EF4-FFF2-40B4-BE49-F238E27FC236}">
                    <a16:creationId xmlns:a16="http://schemas.microsoft.com/office/drawing/2014/main" id="{BFB4C885-F5E8-4530-AA9A-C5A8AF43C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38814" y="4038600"/>
                <a:ext cx="0" cy="3175"/>
              </a:xfrm>
              <a:custGeom>
                <a:avLst/>
                <a:gdLst>
                  <a:gd name="T0" fmla="*/ 2 h 2"/>
                  <a:gd name="T1" fmla="*/ 0 h 2"/>
                  <a:gd name="T2" fmla="*/ 1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3" name="Freeform 52">
                <a:extLst>
                  <a:ext uri="{FF2B5EF4-FFF2-40B4-BE49-F238E27FC236}">
                    <a16:creationId xmlns:a16="http://schemas.microsoft.com/office/drawing/2014/main" id="{9A9C2BB5-62B9-4173-9294-10D561B637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4401" y="4094163"/>
                <a:ext cx="4763" cy="3175"/>
              </a:xfrm>
              <a:custGeom>
                <a:avLst/>
                <a:gdLst>
                  <a:gd name="T0" fmla="*/ 0 w 3"/>
                  <a:gd name="T1" fmla="*/ 0 h 2"/>
                  <a:gd name="T2" fmla="*/ 3 w 3"/>
                  <a:gd name="T3" fmla="*/ 2 h 2"/>
                  <a:gd name="T4" fmla="*/ 2 w 3"/>
                  <a:gd name="T5" fmla="*/ 1 h 2"/>
                  <a:gd name="T6" fmla="*/ 0 w 3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3" y="2"/>
                    </a:lnTo>
                    <a:lnTo>
                      <a:pt x="2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4" name="Freeform 53">
                <a:extLst>
                  <a:ext uri="{FF2B5EF4-FFF2-40B4-BE49-F238E27FC236}">
                    <a16:creationId xmlns:a16="http://schemas.microsoft.com/office/drawing/2014/main" id="{91EE2891-3030-4938-A506-0552AB4226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1814" y="4159250"/>
                <a:ext cx="3175" cy="1588"/>
              </a:xfrm>
              <a:custGeom>
                <a:avLst/>
                <a:gdLst>
                  <a:gd name="T0" fmla="*/ 0 w 2"/>
                  <a:gd name="T1" fmla="*/ 1 h 1"/>
                  <a:gd name="T2" fmla="*/ 2 w 2"/>
                  <a:gd name="T3" fmla="*/ 0 h 1"/>
                  <a:gd name="T4" fmla="*/ 1 w 2"/>
                  <a:gd name="T5" fmla="*/ 0 h 1"/>
                  <a:gd name="T6" fmla="*/ 0 w 2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5" name="Freeform 54">
                <a:extLst>
                  <a:ext uri="{FF2B5EF4-FFF2-40B4-BE49-F238E27FC236}">
                    <a16:creationId xmlns:a16="http://schemas.microsoft.com/office/drawing/2014/main" id="{3B1FB493-37F0-4E03-83A6-ED76E0449F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7839" y="4162425"/>
                <a:ext cx="9525" cy="6350"/>
              </a:xfrm>
              <a:custGeom>
                <a:avLst/>
                <a:gdLst>
                  <a:gd name="T0" fmla="*/ 0 w 6"/>
                  <a:gd name="T1" fmla="*/ 4 h 4"/>
                  <a:gd name="T2" fmla="*/ 6 w 6"/>
                  <a:gd name="T3" fmla="*/ 0 h 4"/>
                  <a:gd name="T4" fmla="*/ 1 w 6"/>
                  <a:gd name="T5" fmla="*/ 3 h 4"/>
                  <a:gd name="T6" fmla="*/ 0 w 6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4">
                    <a:moveTo>
                      <a:pt x="0" y="4"/>
                    </a:moveTo>
                    <a:lnTo>
                      <a:pt x="6" y="0"/>
                    </a:lnTo>
                    <a:lnTo>
                      <a:pt x="1" y="3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6" name="Freeform 55">
                <a:extLst>
                  <a:ext uri="{FF2B5EF4-FFF2-40B4-BE49-F238E27FC236}">
                    <a16:creationId xmlns:a16="http://schemas.microsoft.com/office/drawing/2014/main" id="{47388827-3670-469F-9DCA-6DEA0FA50F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4901" y="2822575"/>
                <a:ext cx="4763" cy="7938"/>
              </a:xfrm>
              <a:custGeom>
                <a:avLst/>
                <a:gdLst>
                  <a:gd name="T0" fmla="*/ 0 w 3"/>
                  <a:gd name="T1" fmla="*/ 0 h 5"/>
                  <a:gd name="T2" fmla="*/ 3 w 3"/>
                  <a:gd name="T3" fmla="*/ 5 h 5"/>
                  <a:gd name="T4" fmla="*/ 2 w 3"/>
                  <a:gd name="T5" fmla="*/ 4 h 5"/>
                  <a:gd name="T6" fmla="*/ 0 w 3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0" y="0"/>
                    </a:moveTo>
                    <a:lnTo>
                      <a:pt x="3" y="5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7" name="Freeform 56">
                <a:extLst>
                  <a:ext uri="{FF2B5EF4-FFF2-40B4-BE49-F238E27FC236}">
                    <a16:creationId xmlns:a16="http://schemas.microsoft.com/office/drawing/2014/main" id="{4C0B13E6-B90D-42C8-80C1-263847F78C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0139" y="3000375"/>
                <a:ext cx="4763" cy="0"/>
              </a:xfrm>
              <a:custGeom>
                <a:avLst/>
                <a:gdLst>
                  <a:gd name="T0" fmla="*/ 1 w 3"/>
                  <a:gd name="T1" fmla="*/ 3 w 3"/>
                  <a:gd name="T2" fmla="*/ 0 w 3"/>
                  <a:gd name="T3" fmla="*/ 1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3">
                    <a:moveTo>
                      <a:pt x="1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8" name="Freeform 57">
                <a:extLst>
                  <a:ext uri="{FF2B5EF4-FFF2-40B4-BE49-F238E27FC236}">
                    <a16:creationId xmlns:a16="http://schemas.microsoft.com/office/drawing/2014/main" id="{9DE97886-001F-405C-BCF3-5CA17DC1E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8401" y="2689225"/>
                <a:ext cx="11113" cy="3175"/>
              </a:xfrm>
              <a:custGeom>
                <a:avLst/>
                <a:gdLst>
                  <a:gd name="T0" fmla="*/ 7 w 7"/>
                  <a:gd name="T1" fmla="*/ 2 h 2"/>
                  <a:gd name="T2" fmla="*/ 4 w 7"/>
                  <a:gd name="T3" fmla="*/ 1 h 2"/>
                  <a:gd name="T4" fmla="*/ 0 w 7"/>
                  <a:gd name="T5" fmla="*/ 0 h 2"/>
                  <a:gd name="T6" fmla="*/ 7 w 7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2">
                    <a:moveTo>
                      <a:pt x="7" y="2"/>
                    </a:moveTo>
                    <a:lnTo>
                      <a:pt x="4" y="1"/>
                    </a:lnTo>
                    <a:lnTo>
                      <a:pt x="0" y="0"/>
                    </a:lnTo>
                    <a:lnTo>
                      <a:pt x="7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9" name="Freeform 58">
                <a:extLst>
                  <a:ext uri="{FF2B5EF4-FFF2-40B4-BE49-F238E27FC236}">
                    <a16:creationId xmlns:a16="http://schemas.microsoft.com/office/drawing/2014/main" id="{C03364CB-906B-4E57-AAE6-7F56D81A6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9039" y="3635375"/>
                <a:ext cx="9525" cy="265113"/>
              </a:xfrm>
              <a:custGeom>
                <a:avLst/>
                <a:gdLst>
                  <a:gd name="T0" fmla="*/ 5 w 6"/>
                  <a:gd name="T1" fmla="*/ 134 h 167"/>
                  <a:gd name="T2" fmla="*/ 0 w 6"/>
                  <a:gd name="T3" fmla="*/ 0 h 167"/>
                  <a:gd name="T4" fmla="*/ 6 w 6"/>
                  <a:gd name="T5" fmla="*/ 167 h 167"/>
                  <a:gd name="T6" fmla="*/ 5 w 6"/>
                  <a:gd name="T7" fmla="*/ 134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167">
                    <a:moveTo>
                      <a:pt x="5" y="134"/>
                    </a:moveTo>
                    <a:lnTo>
                      <a:pt x="0" y="0"/>
                    </a:lnTo>
                    <a:lnTo>
                      <a:pt x="6" y="167"/>
                    </a:lnTo>
                    <a:lnTo>
                      <a:pt x="5" y="13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0" name="Freeform 59">
                <a:extLst>
                  <a:ext uri="{FF2B5EF4-FFF2-40B4-BE49-F238E27FC236}">
                    <a16:creationId xmlns:a16="http://schemas.microsoft.com/office/drawing/2014/main" id="{82CF2E8D-0909-4785-AF76-A5FA551106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9026" y="3021013"/>
                <a:ext cx="6350" cy="4763"/>
              </a:xfrm>
              <a:custGeom>
                <a:avLst/>
                <a:gdLst>
                  <a:gd name="T0" fmla="*/ 3 w 4"/>
                  <a:gd name="T1" fmla="*/ 0 h 3"/>
                  <a:gd name="T2" fmla="*/ 4 w 4"/>
                  <a:gd name="T3" fmla="*/ 0 h 3"/>
                  <a:gd name="T4" fmla="*/ 0 w 4"/>
                  <a:gd name="T5" fmla="*/ 3 h 3"/>
                  <a:gd name="T6" fmla="*/ 3 w 4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3" y="0"/>
                    </a:moveTo>
                    <a:lnTo>
                      <a:pt x="4" y="0"/>
                    </a:lnTo>
                    <a:lnTo>
                      <a:pt x="0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1" name="Freeform 60">
                <a:extLst>
                  <a:ext uri="{FF2B5EF4-FFF2-40B4-BE49-F238E27FC236}">
                    <a16:creationId xmlns:a16="http://schemas.microsoft.com/office/drawing/2014/main" id="{D344CA22-B4F6-4458-ABDB-A4CA61DB85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0289" y="3116263"/>
                <a:ext cx="1588" cy="3175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2 h 2"/>
                  <a:gd name="T4" fmla="*/ 1 w 1"/>
                  <a:gd name="T5" fmla="*/ 1 h 2"/>
                  <a:gd name="T6" fmla="*/ 0 w 1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2" name="Freeform 61">
                <a:extLst>
                  <a:ext uri="{FF2B5EF4-FFF2-40B4-BE49-F238E27FC236}">
                    <a16:creationId xmlns:a16="http://schemas.microsoft.com/office/drawing/2014/main" id="{71239FEA-97B5-4B41-A328-F87ABAF93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6326" y="3246438"/>
                <a:ext cx="1588" cy="1588"/>
              </a:xfrm>
              <a:custGeom>
                <a:avLst/>
                <a:gdLst>
                  <a:gd name="T0" fmla="*/ 0 w 1"/>
                  <a:gd name="T1" fmla="*/ 0 h 1"/>
                  <a:gd name="T2" fmla="*/ 1 w 1"/>
                  <a:gd name="T3" fmla="*/ 1 h 1"/>
                  <a:gd name="T4" fmla="*/ 1 w 1"/>
                  <a:gd name="T5" fmla="*/ 1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3" name="Freeform 62">
                <a:extLst>
                  <a:ext uri="{FF2B5EF4-FFF2-40B4-BE49-F238E27FC236}">
                    <a16:creationId xmlns:a16="http://schemas.microsoft.com/office/drawing/2014/main" id="{E272F5AE-CAE2-457E-A1FC-571687B2ED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2264" y="4116388"/>
                <a:ext cx="9525" cy="1588"/>
              </a:xfrm>
              <a:custGeom>
                <a:avLst/>
                <a:gdLst>
                  <a:gd name="T0" fmla="*/ 6 w 6"/>
                  <a:gd name="T1" fmla="*/ 0 h 1"/>
                  <a:gd name="T2" fmla="*/ 3 w 6"/>
                  <a:gd name="T3" fmla="*/ 1 h 1"/>
                  <a:gd name="T4" fmla="*/ 0 w 6"/>
                  <a:gd name="T5" fmla="*/ 1 h 1"/>
                  <a:gd name="T6" fmla="*/ 6 w 6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1">
                    <a:moveTo>
                      <a:pt x="6" y="0"/>
                    </a:moveTo>
                    <a:lnTo>
                      <a:pt x="3" y="1"/>
                    </a:lnTo>
                    <a:lnTo>
                      <a:pt x="0" y="1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4" name="Freeform 63">
                <a:extLst>
                  <a:ext uri="{FF2B5EF4-FFF2-40B4-BE49-F238E27FC236}">
                    <a16:creationId xmlns:a16="http://schemas.microsoft.com/office/drawing/2014/main" id="{4A83806A-EAC4-4354-A8FC-E5F7E4328D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1914" y="5068888"/>
                <a:ext cx="3175" cy="3175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1 h 2"/>
                  <a:gd name="T4" fmla="*/ 0 w 2"/>
                  <a:gd name="T5" fmla="*/ 0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1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5" name="Freeform 64">
                <a:extLst>
                  <a:ext uri="{FF2B5EF4-FFF2-40B4-BE49-F238E27FC236}">
                    <a16:creationId xmlns:a16="http://schemas.microsoft.com/office/drawing/2014/main" id="{CF8E9C72-5A41-4A04-9683-1BCC4CB508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8564" y="4933950"/>
                <a:ext cx="3175" cy="4763"/>
              </a:xfrm>
              <a:custGeom>
                <a:avLst/>
                <a:gdLst>
                  <a:gd name="T0" fmla="*/ 0 w 2"/>
                  <a:gd name="T1" fmla="*/ 0 h 3"/>
                  <a:gd name="T2" fmla="*/ 2 w 2"/>
                  <a:gd name="T3" fmla="*/ 3 h 3"/>
                  <a:gd name="T4" fmla="*/ 2 w 2"/>
                  <a:gd name="T5" fmla="*/ 3 h 3"/>
                  <a:gd name="T6" fmla="*/ 0 w 2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2" y="3"/>
                    </a:lnTo>
                    <a:lnTo>
                      <a:pt x="2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6" name="Freeform 65">
                <a:extLst>
                  <a:ext uri="{FF2B5EF4-FFF2-40B4-BE49-F238E27FC236}">
                    <a16:creationId xmlns:a16="http://schemas.microsoft.com/office/drawing/2014/main" id="{EC9C4F87-F027-43FD-A150-711071CA5E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1439" y="5160963"/>
                <a:ext cx="0" cy="7938"/>
              </a:xfrm>
              <a:custGeom>
                <a:avLst/>
                <a:gdLst>
                  <a:gd name="T0" fmla="*/ 5 h 5"/>
                  <a:gd name="T1" fmla="*/ 0 h 5"/>
                  <a:gd name="T2" fmla="*/ 5 h 5"/>
                  <a:gd name="T3" fmla="*/ 5 h 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5">
                    <a:moveTo>
                      <a:pt x="0" y="5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7" name="Freeform 66">
                <a:extLst>
                  <a:ext uri="{FF2B5EF4-FFF2-40B4-BE49-F238E27FC236}">
                    <a16:creationId xmlns:a16="http://schemas.microsoft.com/office/drawing/2014/main" id="{D3A976DA-5B87-4B90-BB0E-2602B8073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8139" y="4151313"/>
                <a:ext cx="1588" cy="4763"/>
              </a:xfrm>
              <a:custGeom>
                <a:avLst/>
                <a:gdLst>
                  <a:gd name="T0" fmla="*/ 1 w 1"/>
                  <a:gd name="T1" fmla="*/ 0 h 3"/>
                  <a:gd name="T2" fmla="*/ 1 w 1"/>
                  <a:gd name="T3" fmla="*/ 1 h 3"/>
                  <a:gd name="T4" fmla="*/ 0 w 1"/>
                  <a:gd name="T5" fmla="*/ 3 h 3"/>
                  <a:gd name="T6" fmla="*/ 1 w 1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1"/>
                    </a:lnTo>
                    <a:lnTo>
                      <a:pt x="0" y="3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8" name="Freeform 67">
                <a:extLst>
                  <a:ext uri="{FF2B5EF4-FFF2-40B4-BE49-F238E27FC236}">
                    <a16:creationId xmlns:a16="http://schemas.microsoft.com/office/drawing/2014/main" id="{AFB4557F-9358-4437-A72C-4F824E759F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1289" y="4767263"/>
                <a:ext cx="6350" cy="23813"/>
              </a:xfrm>
              <a:custGeom>
                <a:avLst/>
                <a:gdLst>
                  <a:gd name="T0" fmla="*/ 4 w 4"/>
                  <a:gd name="T1" fmla="*/ 0 h 15"/>
                  <a:gd name="T2" fmla="*/ 1 w 4"/>
                  <a:gd name="T3" fmla="*/ 12 h 15"/>
                  <a:gd name="T4" fmla="*/ 0 w 4"/>
                  <a:gd name="T5" fmla="*/ 15 h 15"/>
                  <a:gd name="T6" fmla="*/ 4 w 4"/>
                  <a:gd name="T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15">
                    <a:moveTo>
                      <a:pt x="4" y="0"/>
                    </a:moveTo>
                    <a:lnTo>
                      <a:pt x="1" y="12"/>
                    </a:lnTo>
                    <a:lnTo>
                      <a:pt x="0" y="15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9" name="Freeform 68">
                <a:extLst>
                  <a:ext uri="{FF2B5EF4-FFF2-40B4-BE49-F238E27FC236}">
                    <a16:creationId xmlns:a16="http://schemas.microsoft.com/office/drawing/2014/main" id="{FAB74E42-2FC9-41FE-9219-5E4D198B6E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3339" y="4489450"/>
                <a:ext cx="4763" cy="6350"/>
              </a:xfrm>
              <a:custGeom>
                <a:avLst/>
                <a:gdLst>
                  <a:gd name="T0" fmla="*/ 3 w 3"/>
                  <a:gd name="T1" fmla="*/ 0 h 4"/>
                  <a:gd name="T2" fmla="*/ 0 w 3"/>
                  <a:gd name="T3" fmla="*/ 4 h 4"/>
                  <a:gd name="T4" fmla="*/ 3 w 3"/>
                  <a:gd name="T5" fmla="*/ 0 h 4"/>
                  <a:gd name="T6" fmla="*/ 3 w 3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3" y="0"/>
                    </a:moveTo>
                    <a:lnTo>
                      <a:pt x="0" y="4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0" name="Freeform 69">
                <a:extLst>
                  <a:ext uri="{FF2B5EF4-FFF2-40B4-BE49-F238E27FC236}">
                    <a16:creationId xmlns:a16="http://schemas.microsoft.com/office/drawing/2014/main" id="{69AFF744-5FFA-4BB2-B2B8-ADB5C8E3B9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5264" y="4060825"/>
                <a:ext cx="3175" cy="1588"/>
              </a:xfrm>
              <a:custGeom>
                <a:avLst/>
                <a:gdLst>
                  <a:gd name="T0" fmla="*/ 0 w 2"/>
                  <a:gd name="T1" fmla="*/ 0 h 1"/>
                  <a:gd name="T2" fmla="*/ 1 w 2"/>
                  <a:gd name="T3" fmla="*/ 1 h 1"/>
                  <a:gd name="T4" fmla="*/ 2 w 2"/>
                  <a:gd name="T5" fmla="*/ 1 h 1"/>
                  <a:gd name="T6" fmla="*/ 0 w 2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1" y="1"/>
                    </a:lnTo>
                    <a:lnTo>
                      <a:pt x="2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1" name="Freeform 70">
                <a:extLst>
                  <a:ext uri="{FF2B5EF4-FFF2-40B4-BE49-F238E27FC236}">
                    <a16:creationId xmlns:a16="http://schemas.microsoft.com/office/drawing/2014/main" id="{851B9805-29C4-49F0-84CB-3E8D57D803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9039" y="2738438"/>
                <a:ext cx="4763" cy="1588"/>
              </a:xfrm>
              <a:custGeom>
                <a:avLst/>
                <a:gdLst>
                  <a:gd name="T0" fmla="*/ 3 w 3"/>
                  <a:gd name="T1" fmla="*/ 0 h 1"/>
                  <a:gd name="T2" fmla="*/ 2 w 3"/>
                  <a:gd name="T3" fmla="*/ 0 h 1"/>
                  <a:gd name="T4" fmla="*/ 0 w 3"/>
                  <a:gd name="T5" fmla="*/ 1 h 1"/>
                  <a:gd name="T6" fmla="*/ 3 w 3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2" name="Freeform 71">
                <a:extLst>
                  <a:ext uri="{FF2B5EF4-FFF2-40B4-BE49-F238E27FC236}">
                    <a16:creationId xmlns:a16="http://schemas.microsoft.com/office/drawing/2014/main" id="{7A2709F4-5D6F-42F2-B0E9-3FAA1EAA89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7676" y="5094288"/>
                <a:ext cx="1588" cy="7938"/>
              </a:xfrm>
              <a:custGeom>
                <a:avLst/>
                <a:gdLst>
                  <a:gd name="T0" fmla="*/ 1 w 1"/>
                  <a:gd name="T1" fmla="*/ 5 h 5"/>
                  <a:gd name="T2" fmla="*/ 0 w 1"/>
                  <a:gd name="T3" fmla="*/ 0 h 5"/>
                  <a:gd name="T4" fmla="*/ 0 w 1"/>
                  <a:gd name="T5" fmla="*/ 0 h 5"/>
                  <a:gd name="T6" fmla="*/ 1 w 1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5">
                    <a:moveTo>
                      <a:pt x="1" y="5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3" name="Freeform 72">
                <a:extLst>
                  <a:ext uri="{FF2B5EF4-FFF2-40B4-BE49-F238E27FC236}">
                    <a16:creationId xmlns:a16="http://schemas.microsoft.com/office/drawing/2014/main" id="{1879316D-C9E9-46FB-A61C-9692A6E923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9764" y="5005388"/>
                <a:ext cx="3175" cy="4763"/>
              </a:xfrm>
              <a:custGeom>
                <a:avLst/>
                <a:gdLst>
                  <a:gd name="T0" fmla="*/ 2 w 2"/>
                  <a:gd name="T1" fmla="*/ 3 h 3"/>
                  <a:gd name="T2" fmla="*/ 2 w 2"/>
                  <a:gd name="T3" fmla="*/ 1 h 3"/>
                  <a:gd name="T4" fmla="*/ 0 w 2"/>
                  <a:gd name="T5" fmla="*/ 0 h 3"/>
                  <a:gd name="T6" fmla="*/ 2 w 2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2" y="3"/>
                    </a:moveTo>
                    <a:lnTo>
                      <a:pt x="2" y="1"/>
                    </a:lnTo>
                    <a:lnTo>
                      <a:pt x="0" y="0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4" name="Freeform 73">
                <a:extLst>
                  <a:ext uri="{FF2B5EF4-FFF2-40B4-BE49-F238E27FC236}">
                    <a16:creationId xmlns:a16="http://schemas.microsoft.com/office/drawing/2014/main" id="{6A85C8F5-DF80-48BA-BDA7-90A8E68242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8164" y="4337050"/>
                <a:ext cx="4763" cy="0"/>
              </a:xfrm>
              <a:custGeom>
                <a:avLst/>
                <a:gdLst>
                  <a:gd name="T0" fmla="*/ 3 w 3"/>
                  <a:gd name="T1" fmla="*/ 3 w 3"/>
                  <a:gd name="T2" fmla="*/ 0 w 3"/>
                  <a:gd name="T3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5" name="Freeform 74">
                <a:extLst>
                  <a:ext uri="{FF2B5EF4-FFF2-40B4-BE49-F238E27FC236}">
                    <a16:creationId xmlns:a16="http://schemas.microsoft.com/office/drawing/2014/main" id="{D30C95F6-DF0E-4F60-86DF-AE86F9B36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3714" y="4397375"/>
                <a:ext cx="11113" cy="4763"/>
              </a:xfrm>
              <a:custGeom>
                <a:avLst/>
                <a:gdLst>
                  <a:gd name="T0" fmla="*/ 0 w 7"/>
                  <a:gd name="T1" fmla="*/ 3 h 3"/>
                  <a:gd name="T2" fmla="*/ 1 w 7"/>
                  <a:gd name="T3" fmla="*/ 2 h 3"/>
                  <a:gd name="T4" fmla="*/ 7 w 7"/>
                  <a:gd name="T5" fmla="*/ 0 h 3"/>
                  <a:gd name="T6" fmla="*/ 1 w 7"/>
                  <a:gd name="T7" fmla="*/ 2 h 3"/>
                  <a:gd name="T8" fmla="*/ 0 w 7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3">
                    <a:moveTo>
                      <a:pt x="0" y="3"/>
                    </a:moveTo>
                    <a:lnTo>
                      <a:pt x="1" y="2"/>
                    </a:lnTo>
                    <a:lnTo>
                      <a:pt x="7" y="0"/>
                    </a:lnTo>
                    <a:lnTo>
                      <a:pt x="1" y="2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6" name="Freeform 75">
                <a:extLst>
                  <a:ext uri="{FF2B5EF4-FFF2-40B4-BE49-F238E27FC236}">
                    <a16:creationId xmlns:a16="http://schemas.microsoft.com/office/drawing/2014/main" id="{5E40EDFF-69E0-49AF-9247-DBE9DF164A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1951" y="4567238"/>
                <a:ext cx="0" cy="7938"/>
              </a:xfrm>
              <a:custGeom>
                <a:avLst/>
                <a:gdLst>
                  <a:gd name="T0" fmla="*/ 5 h 5"/>
                  <a:gd name="T1" fmla="*/ 3 h 5"/>
                  <a:gd name="T2" fmla="*/ 0 h 5"/>
                  <a:gd name="T3" fmla="*/ 5 h 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5">
                    <a:moveTo>
                      <a:pt x="0" y="5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7" name="Freeform 76">
                <a:extLst>
                  <a:ext uri="{FF2B5EF4-FFF2-40B4-BE49-F238E27FC236}">
                    <a16:creationId xmlns:a16="http://schemas.microsoft.com/office/drawing/2014/main" id="{AF2C5A9A-A957-4E70-9019-0F5F95CFAA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8151" y="4429125"/>
                <a:ext cx="14288" cy="9525"/>
              </a:xfrm>
              <a:custGeom>
                <a:avLst/>
                <a:gdLst>
                  <a:gd name="T0" fmla="*/ 0 w 9"/>
                  <a:gd name="T1" fmla="*/ 0 h 6"/>
                  <a:gd name="T2" fmla="*/ 5 w 9"/>
                  <a:gd name="T3" fmla="*/ 5 h 6"/>
                  <a:gd name="T4" fmla="*/ 9 w 9"/>
                  <a:gd name="T5" fmla="*/ 6 h 6"/>
                  <a:gd name="T6" fmla="*/ 5 w 9"/>
                  <a:gd name="T7" fmla="*/ 5 h 6"/>
                  <a:gd name="T8" fmla="*/ 0 w 9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6">
                    <a:moveTo>
                      <a:pt x="0" y="0"/>
                    </a:moveTo>
                    <a:lnTo>
                      <a:pt x="5" y="5"/>
                    </a:lnTo>
                    <a:lnTo>
                      <a:pt x="9" y="6"/>
                    </a:lnTo>
                    <a:lnTo>
                      <a:pt x="5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8" name="Freeform 77">
                <a:extLst>
                  <a:ext uri="{FF2B5EF4-FFF2-40B4-BE49-F238E27FC236}">
                    <a16:creationId xmlns:a16="http://schemas.microsoft.com/office/drawing/2014/main" id="{69B36281-9A53-408E-9222-DAD2414DA4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7514" y="4281488"/>
                <a:ext cx="4763" cy="12700"/>
              </a:xfrm>
              <a:custGeom>
                <a:avLst/>
                <a:gdLst>
                  <a:gd name="T0" fmla="*/ 0 w 3"/>
                  <a:gd name="T1" fmla="*/ 0 h 8"/>
                  <a:gd name="T2" fmla="*/ 2 w 3"/>
                  <a:gd name="T3" fmla="*/ 1 h 8"/>
                  <a:gd name="T4" fmla="*/ 3 w 3"/>
                  <a:gd name="T5" fmla="*/ 8 h 8"/>
                  <a:gd name="T6" fmla="*/ 2 w 3"/>
                  <a:gd name="T7" fmla="*/ 1 h 8"/>
                  <a:gd name="T8" fmla="*/ 0 w 3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8">
                    <a:moveTo>
                      <a:pt x="0" y="0"/>
                    </a:moveTo>
                    <a:lnTo>
                      <a:pt x="2" y="1"/>
                    </a:lnTo>
                    <a:lnTo>
                      <a:pt x="3" y="8"/>
                    </a:lnTo>
                    <a:lnTo>
                      <a:pt x="2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9" name="Freeform 78">
                <a:extLst>
                  <a:ext uri="{FF2B5EF4-FFF2-40B4-BE49-F238E27FC236}">
                    <a16:creationId xmlns:a16="http://schemas.microsoft.com/office/drawing/2014/main" id="{754AE7A3-9F4E-44A7-9939-0567694BA9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8614" y="4259263"/>
                <a:ext cx="4763" cy="3175"/>
              </a:xfrm>
              <a:custGeom>
                <a:avLst/>
                <a:gdLst>
                  <a:gd name="T0" fmla="*/ 0 w 3"/>
                  <a:gd name="T1" fmla="*/ 2 h 2"/>
                  <a:gd name="T2" fmla="*/ 3 w 3"/>
                  <a:gd name="T3" fmla="*/ 0 h 2"/>
                  <a:gd name="T4" fmla="*/ 3 w 3"/>
                  <a:gd name="T5" fmla="*/ 0 h 2"/>
                  <a:gd name="T6" fmla="*/ 0 w 3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0" name="Freeform 79">
                <a:extLst>
                  <a:ext uri="{FF2B5EF4-FFF2-40B4-BE49-F238E27FC236}">
                    <a16:creationId xmlns:a16="http://schemas.microsoft.com/office/drawing/2014/main" id="{F77BCD07-7382-4F14-BB92-6B7D19435C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1164" y="4325938"/>
                <a:ext cx="1588" cy="6350"/>
              </a:xfrm>
              <a:custGeom>
                <a:avLst/>
                <a:gdLst>
                  <a:gd name="T0" fmla="*/ 0 w 1"/>
                  <a:gd name="T1" fmla="*/ 4 h 4"/>
                  <a:gd name="T2" fmla="*/ 0 w 1"/>
                  <a:gd name="T3" fmla="*/ 4 h 4"/>
                  <a:gd name="T4" fmla="*/ 1 w 1"/>
                  <a:gd name="T5" fmla="*/ 0 h 4"/>
                  <a:gd name="T6" fmla="*/ 0 w 1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1" name="Freeform 80">
                <a:extLst>
                  <a:ext uri="{FF2B5EF4-FFF2-40B4-BE49-F238E27FC236}">
                    <a16:creationId xmlns:a16="http://schemas.microsoft.com/office/drawing/2014/main" id="{22793A53-2E96-414C-8254-EF4F1C0F72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9564" y="4249738"/>
                <a:ext cx="11113" cy="9525"/>
              </a:xfrm>
              <a:custGeom>
                <a:avLst/>
                <a:gdLst>
                  <a:gd name="T0" fmla="*/ 0 w 7"/>
                  <a:gd name="T1" fmla="*/ 0 h 6"/>
                  <a:gd name="T2" fmla="*/ 3 w 7"/>
                  <a:gd name="T3" fmla="*/ 3 h 6"/>
                  <a:gd name="T4" fmla="*/ 7 w 7"/>
                  <a:gd name="T5" fmla="*/ 6 h 6"/>
                  <a:gd name="T6" fmla="*/ 3 w 7"/>
                  <a:gd name="T7" fmla="*/ 3 h 6"/>
                  <a:gd name="T8" fmla="*/ 0 w 7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lnTo>
                      <a:pt x="3" y="3"/>
                    </a:lnTo>
                    <a:lnTo>
                      <a:pt x="7" y="6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2" name="Freeform 81">
                <a:extLst>
                  <a:ext uri="{FF2B5EF4-FFF2-40B4-BE49-F238E27FC236}">
                    <a16:creationId xmlns:a16="http://schemas.microsoft.com/office/drawing/2014/main" id="{15C7DE76-396F-4111-9B1A-5A9DBEC06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1151" y="2166938"/>
                <a:ext cx="4763" cy="9525"/>
              </a:xfrm>
              <a:custGeom>
                <a:avLst/>
                <a:gdLst>
                  <a:gd name="T0" fmla="*/ 1 w 3"/>
                  <a:gd name="T1" fmla="*/ 0 h 6"/>
                  <a:gd name="T2" fmla="*/ 0 w 3"/>
                  <a:gd name="T3" fmla="*/ 2 h 6"/>
                  <a:gd name="T4" fmla="*/ 2 w 3"/>
                  <a:gd name="T5" fmla="*/ 6 h 6"/>
                  <a:gd name="T6" fmla="*/ 3 w 3"/>
                  <a:gd name="T7" fmla="*/ 4 h 6"/>
                  <a:gd name="T8" fmla="*/ 3 w 3"/>
                  <a:gd name="T9" fmla="*/ 3 h 6"/>
                  <a:gd name="T10" fmla="*/ 3 w 3"/>
                  <a:gd name="T11" fmla="*/ 0 h 6"/>
                  <a:gd name="T12" fmla="*/ 1 w 3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6">
                    <a:moveTo>
                      <a:pt x="1" y="0"/>
                    </a:moveTo>
                    <a:lnTo>
                      <a:pt x="0" y="2"/>
                    </a:lnTo>
                    <a:lnTo>
                      <a:pt x="2" y="6"/>
                    </a:lnTo>
                    <a:lnTo>
                      <a:pt x="3" y="4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3" name="Freeform 82">
                <a:extLst>
                  <a:ext uri="{FF2B5EF4-FFF2-40B4-BE49-F238E27FC236}">
                    <a16:creationId xmlns:a16="http://schemas.microsoft.com/office/drawing/2014/main" id="{1C60C9DA-7442-4D8E-AA99-DC11B17947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4626" y="2211388"/>
                <a:ext cx="6350" cy="3175"/>
              </a:xfrm>
              <a:custGeom>
                <a:avLst/>
                <a:gdLst>
                  <a:gd name="T0" fmla="*/ 0 w 4"/>
                  <a:gd name="T1" fmla="*/ 0 h 2"/>
                  <a:gd name="T2" fmla="*/ 2 w 4"/>
                  <a:gd name="T3" fmla="*/ 2 h 2"/>
                  <a:gd name="T4" fmla="*/ 4 w 4"/>
                  <a:gd name="T5" fmla="*/ 0 h 2"/>
                  <a:gd name="T6" fmla="*/ 2 w 4"/>
                  <a:gd name="T7" fmla="*/ 0 h 2"/>
                  <a:gd name="T8" fmla="*/ 0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2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4" name="Freeform 83">
                <a:extLst>
                  <a:ext uri="{FF2B5EF4-FFF2-40B4-BE49-F238E27FC236}">
                    <a16:creationId xmlns:a16="http://schemas.microsoft.com/office/drawing/2014/main" id="{D1E06A1B-0509-4A7B-BDA5-3F8AC6819A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3376" y="2171700"/>
                <a:ext cx="4763" cy="3175"/>
              </a:xfrm>
              <a:custGeom>
                <a:avLst/>
                <a:gdLst>
                  <a:gd name="T0" fmla="*/ 3 w 3"/>
                  <a:gd name="T1" fmla="*/ 0 h 2"/>
                  <a:gd name="T2" fmla="*/ 1 w 3"/>
                  <a:gd name="T3" fmla="*/ 0 h 2"/>
                  <a:gd name="T4" fmla="*/ 0 w 3"/>
                  <a:gd name="T5" fmla="*/ 1 h 2"/>
                  <a:gd name="T6" fmla="*/ 1 w 3"/>
                  <a:gd name="T7" fmla="*/ 2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1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5" name="Freeform 84">
                <a:extLst>
                  <a:ext uri="{FF2B5EF4-FFF2-40B4-BE49-F238E27FC236}">
                    <a16:creationId xmlns:a16="http://schemas.microsoft.com/office/drawing/2014/main" id="{62996258-C164-439C-AF49-094B124A4C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2701" y="2203450"/>
                <a:ext cx="9525" cy="12700"/>
              </a:xfrm>
              <a:custGeom>
                <a:avLst/>
                <a:gdLst>
                  <a:gd name="T0" fmla="*/ 3 w 6"/>
                  <a:gd name="T1" fmla="*/ 6 h 8"/>
                  <a:gd name="T2" fmla="*/ 6 w 6"/>
                  <a:gd name="T3" fmla="*/ 1 h 8"/>
                  <a:gd name="T4" fmla="*/ 6 w 6"/>
                  <a:gd name="T5" fmla="*/ 0 h 8"/>
                  <a:gd name="T6" fmla="*/ 4 w 6"/>
                  <a:gd name="T7" fmla="*/ 1 h 8"/>
                  <a:gd name="T8" fmla="*/ 1 w 6"/>
                  <a:gd name="T9" fmla="*/ 4 h 8"/>
                  <a:gd name="T10" fmla="*/ 0 w 6"/>
                  <a:gd name="T11" fmla="*/ 7 h 8"/>
                  <a:gd name="T12" fmla="*/ 2 w 6"/>
                  <a:gd name="T13" fmla="*/ 8 h 8"/>
                  <a:gd name="T14" fmla="*/ 3 w 6"/>
                  <a:gd name="T1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8">
                    <a:moveTo>
                      <a:pt x="3" y="6"/>
                    </a:moveTo>
                    <a:lnTo>
                      <a:pt x="6" y="1"/>
                    </a:lnTo>
                    <a:lnTo>
                      <a:pt x="6" y="0"/>
                    </a:lnTo>
                    <a:lnTo>
                      <a:pt x="4" y="1"/>
                    </a:lnTo>
                    <a:lnTo>
                      <a:pt x="1" y="4"/>
                    </a:lnTo>
                    <a:lnTo>
                      <a:pt x="0" y="7"/>
                    </a:lnTo>
                    <a:lnTo>
                      <a:pt x="2" y="8"/>
                    </a:lnTo>
                    <a:lnTo>
                      <a:pt x="3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6" name="Freeform 85">
                <a:extLst>
                  <a:ext uri="{FF2B5EF4-FFF2-40B4-BE49-F238E27FC236}">
                    <a16:creationId xmlns:a16="http://schemas.microsoft.com/office/drawing/2014/main" id="{D92C2A74-DB14-4F19-A73D-9CC717146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2226" y="2209800"/>
                <a:ext cx="4763" cy="3175"/>
              </a:xfrm>
              <a:custGeom>
                <a:avLst/>
                <a:gdLst>
                  <a:gd name="T0" fmla="*/ 3 w 3"/>
                  <a:gd name="T1" fmla="*/ 0 h 2"/>
                  <a:gd name="T2" fmla="*/ 0 w 3"/>
                  <a:gd name="T3" fmla="*/ 1 h 2"/>
                  <a:gd name="T4" fmla="*/ 1 w 3"/>
                  <a:gd name="T5" fmla="*/ 2 h 2"/>
                  <a:gd name="T6" fmla="*/ 3 w 3"/>
                  <a:gd name="T7" fmla="*/ 2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0" y="1"/>
                    </a:lnTo>
                    <a:lnTo>
                      <a:pt x="1" y="2"/>
                    </a:lnTo>
                    <a:lnTo>
                      <a:pt x="3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7" name="Freeform 86">
                <a:extLst>
                  <a:ext uri="{FF2B5EF4-FFF2-40B4-BE49-F238E27FC236}">
                    <a16:creationId xmlns:a16="http://schemas.microsoft.com/office/drawing/2014/main" id="{4150BD64-8CAF-4A86-A0E2-56ADD9B9E3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0664" y="2165350"/>
                <a:ext cx="9525" cy="7938"/>
              </a:xfrm>
              <a:custGeom>
                <a:avLst/>
                <a:gdLst>
                  <a:gd name="T0" fmla="*/ 6 w 6"/>
                  <a:gd name="T1" fmla="*/ 0 h 5"/>
                  <a:gd name="T2" fmla="*/ 4 w 6"/>
                  <a:gd name="T3" fmla="*/ 0 h 5"/>
                  <a:gd name="T4" fmla="*/ 0 w 6"/>
                  <a:gd name="T5" fmla="*/ 5 h 5"/>
                  <a:gd name="T6" fmla="*/ 3 w 6"/>
                  <a:gd name="T7" fmla="*/ 5 h 5"/>
                  <a:gd name="T8" fmla="*/ 6 w 6"/>
                  <a:gd name="T9" fmla="*/ 2 h 5"/>
                  <a:gd name="T10" fmla="*/ 6 w 6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5">
                    <a:moveTo>
                      <a:pt x="6" y="0"/>
                    </a:moveTo>
                    <a:lnTo>
                      <a:pt x="4" y="0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6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8" name="Freeform 87">
                <a:extLst>
                  <a:ext uri="{FF2B5EF4-FFF2-40B4-BE49-F238E27FC236}">
                    <a16:creationId xmlns:a16="http://schemas.microsoft.com/office/drawing/2014/main" id="{A46E04FD-21CC-4FC3-9C97-7DDFE6615F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5701" y="1455738"/>
                <a:ext cx="809625" cy="1101725"/>
              </a:xfrm>
              <a:custGeom>
                <a:avLst/>
                <a:gdLst>
                  <a:gd name="T0" fmla="*/ 542 w 657"/>
                  <a:gd name="T1" fmla="*/ 800 h 895"/>
                  <a:gd name="T2" fmla="*/ 511 w 657"/>
                  <a:gd name="T3" fmla="*/ 685 h 895"/>
                  <a:gd name="T4" fmla="*/ 648 w 657"/>
                  <a:gd name="T5" fmla="*/ 171 h 895"/>
                  <a:gd name="T6" fmla="*/ 607 w 657"/>
                  <a:gd name="T7" fmla="*/ 137 h 895"/>
                  <a:gd name="T8" fmla="*/ 578 w 657"/>
                  <a:gd name="T9" fmla="*/ 113 h 895"/>
                  <a:gd name="T10" fmla="*/ 534 w 657"/>
                  <a:gd name="T11" fmla="*/ 102 h 895"/>
                  <a:gd name="T12" fmla="*/ 518 w 657"/>
                  <a:gd name="T13" fmla="*/ 42 h 895"/>
                  <a:gd name="T14" fmla="*/ 497 w 657"/>
                  <a:gd name="T15" fmla="*/ 36 h 895"/>
                  <a:gd name="T16" fmla="*/ 504 w 657"/>
                  <a:gd name="T17" fmla="*/ 19 h 895"/>
                  <a:gd name="T18" fmla="*/ 453 w 657"/>
                  <a:gd name="T19" fmla="*/ 16 h 895"/>
                  <a:gd name="T20" fmla="*/ 409 w 657"/>
                  <a:gd name="T21" fmla="*/ 50 h 895"/>
                  <a:gd name="T22" fmla="*/ 332 w 657"/>
                  <a:gd name="T23" fmla="*/ 77 h 895"/>
                  <a:gd name="T24" fmla="*/ 261 w 657"/>
                  <a:gd name="T25" fmla="*/ 134 h 895"/>
                  <a:gd name="T26" fmla="*/ 280 w 657"/>
                  <a:gd name="T27" fmla="*/ 232 h 895"/>
                  <a:gd name="T28" fmla="*/ 273 w 657"/>
                  <a:gd name="T29" fmla="*/ 209 h 895"/>
                  <a:gd name="T30" fmla="*/ 256 w 657"/>
                  <a:gd name="T31" fmla="*/ 259 h 895"/>
                  <a:gd name="T32" fmla="*/ 234 w 657"/>
                  <a:gd name="T33" fmla="*/ 216 h 895"/>
                  <a:gd name="T34" fmla="*/ 171 w 657"/>
                  <a:gd name="T35" fmla="*/ 230 h 895"/>
                  <a:gd name="T36" fmla="*/ 172 w 657"/>
                  <a:gd name="T37" fmla="*/ 281 h 895"/>
                  <a:gd name="T38" fmla="*/ 170 w 657"/>
                  <a:gd name="T39" fmla="*/ 323 h 895"/>
                  <a:gd name="T40" fmla="*/ 227 w 657"/>
                  <a:gd name="T41" fmla="*/ 321 h 895"/>
                  <a:gd name="T42" fmla="*/ 219 w 657"/>
                  <a:gd name="T43" fmla="*/ 367 h 895"/>
                  <a:gd name="T44" fmla="*/ 137 w 657"/>
                  <a:gd name="T45" fmla="*/ 417 h 895"/>
                  <a:gd name="T46" fmla="*/ 88 w 657"/>
                  <a:gd name="T47" fmla="*/ 452 h 895"/>
                  <a:gd name="T48" fmla="*/ 90 w 657"/>
                  <a:gd name="T49" fmla="*/ 493 h 895"/>
                  <a:gd name="T50" fmla="*/ 92 w 657"/>
                  <a:gd name="T51" fmla="*/ 499 h 895"/>
                  <a:gd name="T52" fmla="*/ 87 w 657"/>
                  <a:gd name="T53" fmla="*/ 552 h 895"/>
                  <a:gd name="T54" fmla="*/ 108 w 657"/>
                  <a:gd name="T55" fmla="*/ 553 h 895"/>
                  <a:gd name="T56" fmla="*/ 100 w 657"/>
                  <a:gd name="T57" fmla="*/ 604 h 895"/>
                  <a:gd name="T58" fmla="*/ 126 w 657"/>
                  <a:gd name="T59" fmla="*/ 612 h 895"/>
                  <a:gd name="T60" fmla="*/ 155 w 657"/>
                  <a:gd name="T61" fmla="*/ 623 h 895"/>
                  <a:gd name="T62" fmla="*/ 136 w 657"/>
                  <a:gd name="T63" fmla="*/ 679 h 895"/>
                  <a:gd name="T64" fmla="*/ 91 w 657"/>
                  <a:gd name="T65" fmla="*/ 713 h 895"/>
                  <a:gd name="T66" fmla="*/ 43 w 657"/>
                  <a:gd name="T67" fmla="*/ 737 h 895"/>
                  <a:gd name="T68" fmla="*/ 4 w 657"/>
                  <a:gd name="T69" fmla="*/ 771 h 895"/>
                  <a:gd name="T70" fmla="*/ 37 w 657"/>
                  <a:gd name="T71" fmla="*/ 753 h 895"/>
                  <a:gd name="T72" fmla="*/ 68 w 657"/>
                  <a:gd name="T73" fmla="*/ 748 h 895"/>
                  <a:gd name="T74" fmla="*/ 96 w 657"/>
                  <a:gd name="T75" fmla="*/ 744 h 895"/>
                  <a:gd name="T76" fmla="*/ 127 w 657"/>
                  <a:gd name="T77" fmla="*/ 716 h 895"/>
                  <a:gd name="T78" fmla="*/ 161 w 657"/>
                  <a:gd name="T79" fmla="*/ 690 h 895"/>
                  <a:gd name="T80" fmla="*/ 201 w 657"/>
                  <a:gd name="T81" fmla="*/ 670 h 895"/>
                  <a:gd name="T82" fmla="*/ 226 w 657"/>
                  <a:gd name="T83" fmla="*/ 627 h 895"/>
                  <a:gd name="T84" fmla="*/ 251 w 657"/>
                  <a:gd name="T85" fmla="*/ 599 h 895"/>
                  <a:gd name="T86" fmla="*/ 309 w 657"/>
                  <a:gd name="T87" fmla="*/ 547 h 895"/>
                  <a:gd name="T88" fmla="*/ 316 w 657"/>
                  <a:gd name="T89" fmla="*/ 570 h 895"/>
                  <a:gd name="T90" fmla="*/ 275 w 657"/>
                  <a:gd name="T91" fmla="*/ 623 h 895"/>
                  <a:gd name="T92" fmla="*/ 283 w 657"/>
                  <a:gd name="T93" fmla="*/ 623 h 895"/>
                  <a:gd name="T94" fmla="*/ 318 w 657"/>
                  <a:gd name="T95" fmla="*/ 614 h 895"/>
                  <a:gd name="T96" fmla="*/ 338 w 657"/>
                  <a:gd name="T97" fmla="*/ 584 h 895"/>
                  <a:gd name="T98" fmla="*/ 363 w 657"/>
                  <a:gd name="T99" fmla="*/ 579 h 895"/>
                  <a:gd name="T100" fmla="*/ 374 w 657"/>
                  <a:gd name="T101" fmla="*/ 591 h 895"/>
                  <a:gd name="T102" fmla="*/ 399 w 657"/>
                  <a:gd name="T103" fmla="*/ 617 h 895"/>
                  <a:gd name="T104" fmla="*/ 430 w 657"/>
                  <a:gd name="T105" fmla="*/ 644 h 895"/>
                  <a:gd name="T106" fmla="*/ 464 w 657"/>
                  <a:gd name="T107" fmla="*/ 668 h 895"/>
                  <a:gd name="T108" fmla="*/ 472 w 657"/>
                  <a:gd name="T109" fmla="*/ 699 h 895"/>
                  <a:gd name="T110" fmla="*/ 492 w 657"/>
                  <a:gd name="T111" fmla="*/ 727 h 895"/>
                  <a:gd name="T112" fmla="*/ 502 w 657"/>
                  <a:gd name="T113" fmla="*/ 728 h 895"/>
                  <a:gd name="T114" fmla="*/ 526 w 657"/>
                  <a:gd name="T115" fmla="*/ 697 h 895"/>
                  <a:gd name="T116" fmla="*/ 535 w 657"/>
                  <a:gd name="T117" fmla="*/ 765 h 895"/>
                  <a:gd name="T118" fmla="*/ 532 w 657"/>
                  <a:gd name="T119" fmla="*/ 804 h 895"/>
                  <a:gd name="T120" fmla="*/ 540 w 657"/>
                  <a:gd name="T121" fmla="*/ 842 h 895"/>
                  <a:gd name="T122" fmla="*/ 550 w 657"/>
                  <a:gd name="T123" fmla="*/ 887 h 8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57" h="895">
                    <a:moveTo>
                      <a:pt x="562" y="848"/>
                    </a:moveTo>
                    <a:cubicBezTo>
                      <a:pt x="560" y="846"/>
                      <a:pt x="560" y="846"/>
                      <a:pt x="560" y="846"/>
                    </a:cubicBezTo>
                    <a:cubicBezTo>
                      <a:pt x="560" y="842"/>
                      <a:pt x="560" y="842"/>
                      <a:pt x="560" y="842"/>
                    </a:cubicBezTo>
                    <a:cubicBezTo>
                      <a:pt x="558" y="838"/>
                      <a:pt x="558" y="838"/>
                      <a:pt x="558" y="838"/>
                    </a:cubicBezTo>
                    <a:cubicBezTo>
                      <a:pt x="554" y="835"/>
                      <a:pt x="554" y="835"/>
                      <a:pt x="554" y="835"/>
                    </a:cubicBezTo>
                    <a:cubicBezTo>
                      <a:pt x="552" y="832"/>
                      <a:pt x="552" y="832"/>
                      <a:pt x="552" y="832"/>
                    </a:cubicBezTo>
                    <a:cubicBezTo>
                      <a:pt x="551" y="830"/>
                      <a:pt x="551" y="830"/>
                      <a:pt x="551" y="830"/>
                    </a:cubicBezTo>
                    <a:cubicBezTo>
                      <a:pt x="547" y="824"/>
                      <a:pt x="547" y="824"/>
                      <a:pt x="547" y="824"/>
                    </a:cubicBezTo>
                    <a:cubicBezTo>
                      <a:pt x="545" y="823"/>
                      <a:pt x="545" y="823"/>
                      <a:pt x="545" y="823"/>
                    </a:cubicBezTo>
                    <a:cubicBezTo>
                      <a:pt x="542" y="823"/>
                      <a:pt x="542" y="823"/>
                      <a:pt x="542" y="823"/>
                    </a:cubicBezTo>
                    <a:cubicBezTo>
                      <a:pt x="542" y="821"/>
                      <a:pt x="542" y="821"/>
                      <a:pt x="542" y="821"/>
                    </a:cubicBezTo>
                    <a:cubicBezTo>
                      <a:pt x="543" y="819"/>
                      <a:pt x="543" y="819"/>
                      <a:pt x="543" y="819"/>
                    </a:cubicBezTo>
                    <a:cubicBezTo>
                      <a:pt x="542" y="816"/>
                      <a:pt x="542" y="816"/>
                      <a:pt x="542" y="816"/>
                    </a:cubicBezTo>
                    <a:cubicBezTo>
                      <a:pt x="541" y="814"/>
                      <a:pt x="541" y="814"/>
                      <a:pt x="541" y="814"/>
                    </a:cubicBezTo>
                    <a:cubicBezTo>
                      <a:pt x="540" y="812"/>
                      <a:pt x="540" y="812"/>
                      <a:pt x="540" y="812"/>
                    </a:cubicBezTo>
                    <a:cubicBezTo>
                      <a:pt x="542" y="809"/>
                      <a:pt x="542" y="809"/>
                      <a:pt x="542" y="809"/>
                    </a:cubicBezTo>
                    <a:cubicBezTo>
                      <a:pt x="543" y="809"/>
                      <a:pt x="543" y="809"/>
                      <a:pt x="543" y="809"/>
                    </a:cubicBezTo>
                    <a:cubicBezTo>
                      <a:pt x="543" y="807"/>
                      <a:pt x="543" y="807"/>
                      <a:pt x="543" y="807"/>
                    </a:cubicBezTo>
                    <a:cubicBezTo>
                      <a:pt x="541" y="805"/>
                      <a:pt x="541" y="805"/>
                      <a:pt x="541" y="805"/>
                    </a:cubicBezTo>
                    <a:cubicBezTo>
                      <a:pt x="539" y="805"/>
                      <a:pt x="539" y="805"/>
                      <a:pt x="539" y="805"/>
                    </a:cubicBezTo>
                    <a:cubicBezTo>
                      <a:pt x="539" y="803"/>
                      <a:pt x="539" y="803"/>
                      <a:pt x="539" y="803"/>
                    </a:cubicBezTo>
                    <a:cubicBezTo>
                      <a:pt x="542" y="800"/>
                      <a:pt x="542" y="800"/>
                      <a:pt x="542" y="800"/>
                    </a:cubicBezTo>
                    <a:cubicBezTo>
                      <a:pt x="541" y="784"/>
                      <a:pt x="541" y="784"/>
                      <a:pt x="541" y="784"/>
                    </a:cubicBezTo>
                    <a:cubicBezTo>
                      <a:pt x="541" y="769"/>
                      <a:pt x="541" y="769"/>
                      <a:pt x="541" y="769"/>
                    </a:cubicBezTo>
                    <a:cubicBezTo>
                      <a:pt x="543" y="756"/>
                      <a:pt x="543" y="756"/>
                      <a:pt x="543" y="756"/>
                    </a:cubicBezTo>
                    <a:cubicBezTo>
                      <a:pt x="541" y="752"/>
                      <a:pt x="541" y="752"/>
                      <a:pt x="541" y="752"/>
                    </a:cubicBezTo>
                    <a:cubicBezTo>
                      <a:pt x="541" y="748"/>
                      <a:pt x="541" y="748"/>
                      <a:pt x="541" y="748"/>
                    </a:cubicBezTo>
                    <a:cubicBezTo>
                      <a:pt x="543" y="744"/>
                      <a:pt x="543" y="744"/>
                      <a:pt x="543" y="744"/>
                    </a:cubicBezTo>
                    <a:cubicBezTo>
                      <a:pt x="542" y="740"/>
                      <a:pt x="542" y="740"/>
                      <a:pt x="542" y="740"/>
                    </a:cubicBezTo>
                    <a:cubicBezTo>
                      <a:pt x="541" y="737"/>
                      <a:pt x="541" y="737"/>
                      <a:pt x="541" y="737"/>
                    </a:cubicBezTo>
                    <a:cubicBezTo>
                      <a:pt x="540" y="729"/>
                      <a:pt x="540" y="729"/>
                      <a:pt x="540" y="729"/>
                    </a:cubicBezTo>
                    <a:cubicBezTo>
                      <a:pt x="536" y="724"/>
                      <a:pt x="536" y="724"/>
                      <a:pt x="536" y="724"/>
                    </a:cubicBezTo>
                    <a:cubicBezTo>
                      <a:pt x="535" y="715"/>
                      <a:pt x="535" y="715"/>
                      <a:pt x="535" y="715"/>
                    </a:cubicBezTo>
                    <a:cubicBezTo>
                      <a:pt x="535" y="712"/>
                      <a:pt x="535" y="712"/>
                      <a:pt x="535" y="712"/>
                    </a:cubicBezTo>
                    <a:cubicBezTo>
                      <a:pt x="532" y="699"/>
                      <a:pt x="532" y="699"/>
                      <a:pt x="532" y="699"/>
                    </a:cubicBezTo>
                    <a:cubicBezTo>
                      <a:pt x="532" y="696"/>
                      <a:pt x="532" y="696"/>
                      <a:pt x="532" y="696"/>
                    </a:cubicBezTo>
                    <a:cubicBezTo>
                      <a:pt x="535" y="690"/>
                      <a:pt x="535" y="690"/>
                      <a:pt x="535" y="690"/>
                    </a:cubicBezTo>
                    <a:cubicBezTo>
                      <a:pt x="534" y="687"/>
                      <a:pt x="534" y="687"/>
                      <a:pt x="534" y="687"/>
                    </a:cubicBezTo>
                    <a:cubicBezTo>
                      <a:pt x="534" y="683"/>
                      <a:pt x="534" y="683"/>
                      <a:pt x="534" y="683"/>
                    </a:cubicBezTo>
                    <a:cubicBezTo>
                      <a:pt x="530" y="679"/>
                      <a:pt x="530" y="679"/>
                      <a:pt x="530" y="679"/>
                    </a:cubicBezTo>
                    <a:cubicBezTo>
                      <a:pt x="525" y="680"/>
                      <a:pt x="525" y="680"/>
                      <a:pt x="525" y="680"/>
                    </a:cubicBezTo>
                    <a:cubicBezTo>
                      <a:pt x="519" y="682"/>
                      <a:pt x="519" y="682"/>
                      <a:pt x="519" y="682"/>
                    </a:cubicBezTo>
                    <a:cubicBezTo>
                      <a:pt x="517" y="683"/>
                      <a:pt x="517" y="683"/>
                      <a:pt x="517" y="683"/>
                    </a:cubicBezTo>
                    <a:cubicBezTo>
                      <a:pt x="511" y="685"/>
                      <a:pt x="511" y="685"/>
                      <a:pt x="511" y="685"/>
                    </a:cubicBezTo>
                    <a:cubicBezTo>
                      <a:pt x="506" y="690"/>
                      <a:pt x="506" y="690"/>
                      <a:pt x="506" y="690"/>
                    </a:cubicBezTo>
                    <a:cubicBezTo>
                      <a:pt x="501" y="700"/>
                      <a:pt x="501" y="700"/>
                      <a:pt x="501" y="700"/>
                    </a:cubicBezTo>
                    <a:cubicBezTo>
                      <a:pt x="497" y="702"/>
                      <a:pt x="497" y="702"/>
                      <a:pt x="497" y="702"/>
                    </a:cubicBezTo>
                    <a:cubicBezTo>
                      <a:pt x="491" y="703"/>
                      <a:pt x="491" y="703"/>
                      <a:pt x="491" y="703"/>
                    </a:cubicBezTo>
                    <a:cubicBezTo>
                      <a:pt x="484" y="705"/>
                      <a:pt x="484" y="705"/>
                      <a:pt x="484" y="705"/>
                    </a:cubicBezTo>
                    <a:cubicBezTo>
                      <a:pt x="483" y="705"/>
                      <a:pt x="483" y="705"/>
                      <a:pt x="483" y="705"/>
                    </a:cubicBezTo>
                    <a:cubicBezTo>
                      <a:pt x="483" y="702"/>
                      <a:pt x="483" y="702"/>
                      <a:pt x="483" y="702"/>
                    </a:cubicBezTo>
                    <a:cubicBezTo>
                      <a:pt x="486" y="696"/>
                      <a:pt x="486" y="696"/>
                      <a:pt x="486" y="696"/>
                    </a:cubicBezTo>
                    <a:cubicBezTo>
                      <a:pt x="484" y="690"/>
                      <a:pt x="484" y="690"/>
                      <a:pt x="484" y="690"/>
                    </a:cubicBezTo>
                    <a:cubicBezTo>
                      <a:pt x="479" y="665"/>
                      <a:pt x="479" y="665"/>
                      <a:pt x="479" y="665"/>
                    </a:cubicBezTo>
                    <a:cubicBezTo>
                      <a:pt x="476" y="654"/>
                      <a:pt x="476" y="654"/>
                      <a:pt x="476" y="654"/>
                    </a:cubicBezTo>
                    <a:cubicBezTo>
                      <a:pt x="474" y="648"/>
                      <a:pt x="474" y="648"/>
                      <a:pt x="474" y="648"/>
                    </a:cubicBezTo>
                    <a:cubicBezTo>
                      <a:pt x="478" y="639"/>
                      <a:pt x="478" y="639"/>
                      <a:pt x="478" y="639"/>
                    </a:cubicBezTo>
                    <a:cubicBezTo>
                      <a:pt x="469" y="637"/>
                      <a:pt x="469" y="637"/>
                      <a:pt x="469" y="637"/>
                    </a:cubicBezTo>
                    <a:cubicBezTo>
                      <a:pt x="462" y="642"/>
                      <a:pt x="462" y="642"/>
                      <a:pt x="462" y="642"/>
                    </a:cubicBezTo>
                    <a:cubicBezTo>
                      <a:pt x="458" y="639"/>
                      <a:pt x="458" y="639"/>
                      <a:pt x="458" y="639"/>
                    </a:cubicBezTo>
                    <a:cubicBezTo>
                      <a:pt x="446" y="639"/>
                      <a:pt x="446" y="639"/>
                      <a:pt x="446" y="639"/>
                    </a:cubicBezTo>
                    <a:cubicBezTo>
                      <a:pt x="657" y="177"/>
                      <a:pt x="657" y="177"/>
                      <a:pt x="657" y="177"/>
                    </a:cubicBezTo>
                    <a:cubicBezTo>
                      <a:pt x="657" y="175"/>
                      <a:pt x="657" y="175"/>
                      <a:pt x="657" y="175"/>
                    </a:cubicBezTo>
                    <a:cubicBezTo>
                      <a:pt x="653" y="173"/>
                      <a:pt x="653" y="173"/>
                      <a:pt x="653" y="173"/>
                    </a:cubicBezTo>
                    <a:cubicBezTo>
                      <a:pt x="650" y="174"/>
                      <a:pt x="650" y="174"/>
                      <a:pt x="650" y="174"/>
                    </a:cubicBezTo>
                    <a:cubicBezTo>
                      <a:pt x="648" y="171"/>
                      <a:pt x="648" y="171"/>
                      <a:pt x="648" y="171"/>
                    </a:cubicBezTo>
                    <a:cubicBezTo>
                      <a:pt x="647" y="163"/>
                      <a:pt x="647" y="163"/>
                      <a:pt x="647" y="163"/>
                    </a:cubicBezTo>
                    <a:cubicBezTo>
                      <a:pt x="645" y="158"/>
                      <a:pt x="645" y="158"/>
                      <a:pt x="645" y="158"/>
                    </a:cubicBezTo>
                    <a:cubicBezTo>
                      <a:pt x="642" y="156"/>
                      <a:pt x="642" y="156"/>
                      <a:pt x="642" y="156"/>
                    </a:cubicBezTo>
                    <a:cubicBezTo>
                      <a:pt x="642" y="152"/>
                      <a:pt x="642" y="152"/>
                      <a:pt x="642" y="152"/>
                    </a:cubicBezTo>
                    <a:cubicBezTo>
                      <a:pt x="639" y="146"/>
                      <a:pt x="639" y="146"/>
                      <a:pt x="639" y="146"/>
                    </a:cubicBezTo>
                    <a:cubicBezTo>
                      <a:pt x="638" y="144"/>
                      <a:pt x="638" y="144"/>
                      <a:pt x="638" y="144"/>
                    </a:cubicBezTo>
                    <a:cubicBezTo>
                      <a:pt x="631" y="144"/>
                      <a:pt x="631" y="144"/>
                      <a:pt x="631" y="144"/>
                    </a:cubicBezTo>
                    <a:cubicBezTo>
                      <a:pt x="630" y="145"/>
                      <a:pt x="630" y="145"/>
                      <a:pt x="630" y="145"/>
                    </a:cubicBezTo>
                    <a:cubicBezTo>
                      <a:pt x="625" y="144"/>
                      <a:pt x="625" y="144"/>
                      <a:pt x="625" y="144"/>
                    </a:cubicBezTo>
                    <a:cubicBezTo>
                      <a:pt x="620" y="146"/>
                      <a:pt x="620" y="146"/>
                      <a:pt x="620" y="146"/>
                    </a:cubicBezTo>
                    <a:cubicBezTo>
                      <a:pt x="618" y="144"/>
                      <a:pt x="618" y="144"/>
                      <a:pt x="618" y="144"/>
                    </a:cubicBezTo>
                    <a:cubicBezTo>
                      <a:pt x="617" y="144"/>
                      <a:pt x="617" y="144"/>
                      <a:pt x="617" y="144"/>
                    </a:cubicBezTo>
                    <a:cubicBezTo>
                      <a:pt x="615" y="143"/>
                      <a:pt x="615" y="143"/>
                      <a:pt x="615" y="143"/>
                    </a:cubicBezTo>
                    <a:cubicBezTo>
                      <a:pt x="614" y="144"/>
                      <a:pt x="614" y="144"/>
                      <a:pt x="614" y="144"/>
                    </a:cubicBezTo>
                    <a:cubicBezTo>
                      <a:pt x="612" y="144"/>
                      <a:pt x="612" y="144"/>
                      <a:pt x="612" y="144"/>
                    </a:cubicBezTo>
                    <a:cubicBezTo>
                      <a:pt x="612" y="143"/>
                      <a:pt x="612" y="143"/>
                      <a:pt x="612" y="143"/>
                    </a:cubicBezTo>
                    <a:cubicBezTo>
                      <a:pt x="613" y="142"/>
                      <a:pt x="613" y="142"/>
                      <a:pt x="613" y="142"/>
                    </a:cubicBezTo>
                    <a:cubicBezTo>
                      <a:pt x="614" y="140"/>
                      <a:pt x="614" y="140"/>
                      <a:pt x="614" y="140"/>
                    </a:cubicBezTo>
                    <a:cubicBezTo>
                      <a:pt x="611" y="138"/>
                      <a:pt x="611" y="138"/>
                      <a:pt x="611" y="138"/>
                    </a:cubicBezTo>
                    <a:cubicBezTo>
                      <a:pt x="609" y="139"/>
                      <a:pt x="609" y="139"/>
                      <a:pt x="609" y="139"/>
                    </a:cubicBezTo>
                    <a:cubicBezTo>
                      <a:pt x="606" y="138"/>
                      <a:pt x="606" y="138"/>
                      <a:pt x="606" y="138"/>
                    </a:cubicBezTo>
                    <a:cubicBezTo>
                      <a:pt x="607" y="137"/>
                      <a:pt x="607" y="137"/>
                      <a:pt x="607" y="137"/>
                    </a:cubicBezTo>
                    <a:cubicBezTo>
                      <a:pt x="608" y="135"/>
                      <a:pt x="608" y="135"/>
                      <a:pt x="608" y="135"/>
                    </a:cubicBezTo>
                    <a:cubicBezTo>
                      <a:pt x="607" y="134"/>
                      <a:pt x="607" y="134"/>
                      <a:pt x="607" y="134"/>
                    </a:cubicBezTo>
                    <a:cubicBezTo>
                      <a:pt x="605" y="134"/>
                      <a:pt x="605" y="134"/>
                      <a:pt x="605" y="134"/>
                    </a:cubicBezTo>
                    <a:cubicBezTo>
                      <a:pt x="602" y="133"/>
                      <a:pt x="602" y="133"/>
                      <a:pt x="602" y="133"/>
                    </a:cubicBezTo>
                    <a:cubicBezTo>
                      <a:pt x="602" y="131"/>
                      <a:pt x="602" y="131"/>
                      <a:pt x="602" y="131"/>
                    </a:cubicBezTo>
                    <a:cubicBezTo>
                      <a:pt x="600" y="128"/>
                      <a:pt x="600" y="128"/>
                      <a:pt x="600" y="128"/>
                    </a:cubicBezTo>
                    <a:cubicBezTo>
                      <a:pt x="594" y="123"/>
                      <a:pt x="594" y="123"/>
                      <a:pt x="594" y="123"/>
                    </a:cubicBezTo>
                    <a:cubicBezTo>
                      <a:pt x="593" y="124"/>
                      <a:pt x="593" y="124"/>
                      <a:pt x="593" y="124"/>
                    </a:cubicBezTo>
                    <a:cubicBezTo>
                      <a:pt x="592" y="122"/>
                      <a:pt x="592" y="122"/>
                      <a:pt x="592" y="122"/>
                    </a:cubicBezTo>
                    <a:cubicBezTo>
                      <a:pt x="590" y="122"/>
                      <a:pt x="590" y="122"/>
                      <a:pt x="590" y="122"/>
                    </a:cubicBezTo>
                    <a:cubicBezTo>
                      <a:pt x="588" y="124"/>
                      <a:pt x="588" y="124"/>
                      <a:pt x="588" y="124"/>
                    </a:cubicBezTo>
                    <a:cubicBezTo>
                      <a:pt x="589" y="123"/>
                      <a:pt x="589" y="123"/>
                      <a:pt x="589" y="123"/>
                    </a:cubicBezTo>
                    <a:cubicBezTo>
                      <a:pt x="588" y="121"/>
                      <a:pt x="588" y="121"/>
                      <a:pt x="588" y="121"/>
                    </a:cubicBezTo>
                    <a:cubicBezTo>
                      <a:pt x="586" y="119"/>
                      <a:pt x="586" y="119"/>
                      <a:pt x="586" y="119"/>
                    </a:cubicBezTo>
                    <a:cubicBezTo>
                      <a:pt x="584" y="123"/>
                      <a:pt x="584" y="123"/>
                      <a:pt x="584" y="123"/>
                    </a:cubicBezTo>
                    <a:cubicBezTo>
                      <a:pt x="582" y="122"/>
                      <a:pt x="582" y="122"/>
                      <a:pt x="582" y="122"/>
                    </a:cubicBezTo>
                    <a:cubicBezTo>
                      <a:pt x="582" y="119"/>
                      <a:pt x="582" y="119"/>
                      <a:pt x="582" y="119"/>
                    </a:cubicBezTo>
                    <a:cubicBezTo>
                      <a:pt x="583" y="118"/>
                      <a:pt x="583" y="118"/>
                      <a:pt x="583" y="118"/>
                    </a:cubicBezTo>
                    <a:cubicBezTo>
                      <a:pt x="582" y="116"/>
                      <a:pt x="582" y="116"/>
                      <a:pt x="582" y="116"/>
                    </a:cubicBezTo>
                    <a:cubicBezTo>
                      <a:pt x="579" y="115"/>
                      <a:pt x="579" y="115"/>
                      <a:pt x="579" y="115"/>
                    </a:cubicBezTo>
                    <a:cubicBezTo>
                      <a:pt x="577" y="115"/>
                      <a:pt x="577" y="115"/>
                      <a:pt x="577" y="115"/>
                    </a:cubicBezTo>
                    <a:cubicBezTo>
                      <a:pt x="578" y="113"/>
                      <a:pt x="578" y="113"/>
                      <a:pt x="578" y="113"/>
                    </a:cubicBezTo>
                    <a:cubicBezTo>
                      <a:pt x="577" y="112"/>
                      <a:pt x="577" y="112"/>
                      <a:pt x="577" y="112"/>
                    </a:cubicBezTo>
                    <a:cubicBezTo>
                      <a:pt x="574" y="109"/>
                      <a:pt x="574" y="109"/>
                      <a:pt x="574" y="109"/>
                    </a:cubicBezTo>
                    <a:cubicBezTo>
                      <a:pt x="572" y="106"/>
                      <a:pt x="572" y="106"/>
                      <a:pt x="572" y="106"/>
                    </a:cubicBezTo>
                    <a:cubicBezTo>
                      <a:pt x="572" y="104"/>
                      <a:pt x="572" y="104"/>
                      <a:pt x="572" y="104"/>
                    </a:cubicBezTo>
                    <a:cubicBezTo>
                      <a:pt x="571" y="103"/>
                      <a:pt x="571" y="103"/>
                      <a:pt x="571" y="103"/>
                    </a:cubicBezTo>
                    <a:cubicBezTo>
                      <a:pt x="569" y="102"/>
                      <a:pt x="569" y="102"/>
                      <a:pt x="569" y="102"/>
                    </a:cubicBezTo>
                    <a:cubicBezTo>
                      <a:pt x="567" y="104"/>
                      <a:pt x="567" y="104"/>
                      <a:pt x="567" y="104"/>
                    </a:cubicBezTo>
                    <a:cubicBezTo>
                      <a:pt x="560" y="112"/>
                      <a:pt x="560" y="112"/>
                      <a:pt x="560" y="112"/>
                    </a:cubicBezTo>
                    <a:cubicBezTo>
                      <a:pt x="553" y="116"/>
                      <a:pt x="553" y="116"/>
                      <a:pt x="553" y="116"/>
                    </a:cubicBezTo>
                    <a:cubicBezTo>
                      <a:pt x="559" y="111"/>
                      <a:pt x="559" y="111"/>
                      <a:pt x="559" y="111"/>
                    </a:cubicBezTo>
                    <a:cubicBezTo>
                      <a:pt x="563" y="103"/>
                      <a:pt x="563" y="103"/>
                      <a:pt x="563" y="103"/>
                    </a:cubicBezTo>
                    <a:cubicBezTo>
                      <a:pt x="567" y="98"/>
                      <a:pt x="567" y="98"/>
                      <a:pt x="567" y="98"/>
                    </a:cubicBezTo>
                    <a:cubicBezTo>
                      <a:pt x="568" y="93"/>
                      <a:pt x="568" y="93"/>
                      <a:pt x="568" y="93"/>
                    </a:cubicBezTo>
                    <a:cubicBezTo>
                      <a:pt x="566" y="91"/>
                      <a:pt x="566" y="91"/>
                      <a:pt x="566" y="91"/>
                    </a:cubicBezTo>
                    <a:cubicBezTo>
                      <a:pt x="561" y="87"/>
                      <a:pt x="561" y="87"/>
                      <a:pt x="561" y="87"/>
                    </a:cubicBezTo>
                    <a:cubicBezTo>
                      <a:pt x="557" y="87"/>
                      <a:pt x="557" y="87"/>
                      <a:pt x="557" y="87"/>
                    </a:cubicBezTo>
                    <a:cubicBezTo>
                      <a:pt x="552" y="89"/>
                      <a:pt x="552" y="89"/>
                      <a:pt x="552" y="89"/>
                    </a:cubicBezTo>
                    <a:cubicBezTo>
                      <a:pt x="549" y="89"/>
                      <a:pt x="549" y="89"/>
                      <a:pt x="549" y="89"/>
                    </a:cubicBezTo>
                    <a:cubicBezTo>
                      <a:pt x="548" y="90"/>
                      <a:pt x="548" y="90"/>
                      <a:pt x="548" y="90"/>
                    </a:cubicBezTo>
                    <a:cubicBezTo>
                      <a:pt x="543" y="91"/>
                      <a:pt x="543" y="91"/>
                      <a:pt x="543" y="91"/>
                    </a:cubicBezTo>
                    <a:cubicBezTo>
                      <a:pt x="538" y="98"/>
                      <a:pt x="538" y="98"/>
                      <a:pt x="538" y="98"/>
                    </a:cubicBezTo>
                    <a:cubicBezTo>
                      <a:pt x="534" y="102"/>
                      <a:pt x="534" y="102"/>
                      <a:pt x="534" y="102"/>
                    </a:cubicBezTo>
                    <a:cubicBezTo>
                      <a:pt x="537" y="97"/>
                      <a:pt x="537" y="97"/>
                      <a:pt x="537" y="97"/>
                    </a:cubicBezTo>
                    <a:cubicBezTo>
                      <a:pt x="536" y="91"/>
                      <a:pt x="536" y="91"/>
                      <a:pt x="536" y="91"/>
                    </a:cubicBezTo>
                    <a:cubicBezTo>
                      <a:pt x="537" y="86"/>
                      <a:pt x="537" y="86"/>
                      <a:pt x="537" y="86"/>
                    </a:cubicBezTo>
                    <a:cubicBezTo>
                      <a:pt x="537" y="82"/>
                      <a:pt x="537" y="82"/>
                      <a:pt x="537" y="82"/>
                    </a:cubicBezTo>
                    <a:cubicBezTo>
                      <a:pt x="531" y="78"/>
                      <a:pt x="531" y="78"/>
                      <a:pt x="531" y="78"/>
                    </a:cubicBezTo>
                    <a:cubicBezTo>
                      <a:pt x="531" y="76"/>
                      <a:pt x="531" y="76"/>
                      <a:pt x="531" y="76"/>
                    </a:cubicBezTo>
                    <a:cubicBezTo>
                      <a:pt x="535" y="75"/>
                      <a:pt x="535" y="75"/>
                      <a:pt x="535" y="75"/>
                    </a:cubicBezTo>
                    <a:cubicBezTo>
                      <a:pt x="538" y="75"/>
                      <a:pt x="538" y="75"/>
                      <a:pt x="538" y="75"/>
                    </a:cubicBezTo>
                    <a:cubicBezTo>
                      <a:pt x="537" y="73"/>
                      <a:pt x="537" y="73"/>
                      <a:pt x="537" y="73"/>
                    </a:cubicBezTo>
                    <a:cubicBezTo>
                      <a:pt x="528" y="67"/>
                      <a:pt x="528" y="67"/>
                      <a:pt x="528" y="67"/>
                    </a:cubicBezTo>
                    <a:cubicBezTo>
                      <a:pt x="528" y="64"/>
                      <a:pt x="528" y="64"/>
                      <a:pt x="528" y="64"/>
                    </a:cubicBezTo>
                    <a:cubicBezTo>
                      <a:pt x="529" y="61"/>
                      <a:pt x="529" y="61"/>
                      <a:pt x="529" y="61"/>
                    </a:cubicBezTo>
                    <a:cubicBezTo>
                      <a:pt x="534" y="58"/>
                      <a:pt x="534" y="58"/>
                      <a:pt x="534" y="58"/>
                    </a:cubicBezTo>
                    <a:cubicBezTo>
                      <a:pt x="537" y="55"/>
                      <a:pt x="537" y="55"/>
                      <a:pt x="537" y="55"/>
                    </a:cubicBezTo>
                    <a:cubicBezTo>
                      <a:pt x="535" y="52"/>
                      <a:pt x="535" y="52"/>
                      <a:pt x="535" y="52"/>
                    </a:cubicBezTo>
                    <a:cubicBezTo>
                      <a:pt x="533" y="48"/>
                      <a:pt x="533" y="48"/>
                      <a:pt x="533" y="48"/>
                    </a:cubicBezTo>
                    <a:cubicBezTo>
                      <a:pt x="531" y="47"/>
                      <a:pt x="531" y="47"/>
                      <a:pt x="531" y="47"/>
                    </a:cubicBezTo>
                    <a:cubicBezTo>
                      <a:pt x="529" y="49"/>
                      <a:pt x="529" y="49"/>
                      <a:pt x="529" y="49"/>
                    </a:cubicBezTo>
                    <a:cubicBezTo>
                      <a:pt x="528" y="46"/>
                      <a:pt x="528" y="46"/>
                      <a:pt x="528" y="46"/>
                    </a:cubicBezTo>
                    <a:cubicBezTo>
                      <a:pt x="525" y="44"/>
                      <a:pt x="525" y="44"/>
                      <a:pt x="525" y="44"/>
                    </a:cubicBezTo>
                    <a:cubicBezTo>
                      <a:pt x="522" y="44"/>
                      <a:pt x="522" y="44"/>
                      <a:pt x="522" y="44"/>
                    </a:cubicBezTo>
                    <a:cubicBezTo>
                      <a:pt x="518" y="42"/>
                      <a:pt x="518" y="42"/>
                      <a:pt x="518" y="42"/>
                    </a:cubicBezTo>
                    <a:cubicBezTo>
                      <a:pt x="516" y="42"/>
                      <a:pt x="516" y="42"/>
                      <a:pt x="516" y="42"/>
                    </a:cubicBezTo>
                    <a:cubicBezTo>
                      <a:pt x="513" y="43"/>
                      <a:pt x="513" y="43"/>
                      <a:pt x="513" y="43"/>
                    </a:cubicBezTo>
                    <a:cubicBezTo>
                      <a:pt x="509" y="43"/>
                      <a:pt x="509" y="43"/>
                      <a:pt x="509" y="43"/>
                    </a:cubicBezTo>
                    <a:cubicBezTo>
                      <a:pt x="507" y="46"/>
                      <a:pt x="507" y="46"/>
                      <a:pt x="507" y="46"/>
                    </a:cubicBezTo>
                    <a:cubicBezTo>
                      <a:pt x="507" y="48"/>
                      <a:pt x="507" y="48"/>
                      <a:pt x="507" y="48"/>
                    </a:cubicBezTo>
                    <a:cubicBezTo>
                      <a:pt x="505" y="44"/>
                      <a:pt x="505" y="44"/>
                      <a:pt x="505" y="44"/>
                    </a:cubicBezTo>
                    <a:cubicBezTo>
                      <a:pt x="506" y="41"/>
                      <a:pt x="506" y="41"/>
                      <a:pt x="506" y="41"/>
                    </a:cubicBezTo>
                    <a:cubicBezTo>
                      <a:pt x="508" y="40"/>
                      <a:pt x="508" y="40"/>
                      <a:pt x="508" y="40"/>
                    </a:cubicBezTo>
                    <a:cubicBezTo>
                      <a:pt x="507" y="36"/>
                      <a:pt x="507" y="36"/>
                      <a:pt x="507" y="36"/>
                    </a:cubicBezTo>
                    <a:cubicBezTo>
                      <a:pt x="509" y="33"/>
                      <a:pt x="509" y="33"/>
                      <a:pt x="509" y="33"/>
                    </a:cubicBezTo>
                    <a:cubicBezTo>
                      <a:pt x="511" y="32"/>
                      <a:pt x="511" y="32"/>
                      <a:pt x="511" y="32"/>
                    </a:cubicBezTo>
                    <a:cubicBezTo>
                      <a:pt x="511" y="28"/>
                      <a:pt x="511" y="28"/>
                      <a:pt x="511" y="28"/>
                    </a:cubicBezTo>
                    <a:cubicBezTo>
                      <a:pt x="512" y="24"/>
                      <a:pt x="512" y="24"/>
                      <a:pt x="512" y="24"/>
                    </a:cubicBezTo>
                    <a:cubicBezTo>
                      <a:pt x="511" y="21"/>
                      <a:pt x="511" y="21"/>
                      <a:pt x="511" y="21"/>
                    </a:cubicBezTo>
                    <a:cubicBezTo>
                      <a:pt x="510" y="21"/>
                      <a:pt x="510" y="21"/>
                      <a:pt x="510" y="21"/>
                    </a:cubicBezTo>
                    <a:cubicBezTo>
                      <a:pt x="505" y="26"/>
                      <a:pt x="505" y="26"/>
                      <a:pt x="505" y="26"/>
                    </a:cubicBezTo>
                    <a:cubicBezTo>
                      <a:pt x="504" y="30"/>
                      <a:pt x="504" y="30"/>
                      <a:pt x="504" y="30"/>
                    </a:cubicBezTo>
                    <a:cubicBezTo>
                      <a:pt x="504" y="30"/>
                      <a:pt x="504" y="30"/>
                      <a:pt x="504" y="30"/>
                    </a:cubicBezTo>
                    <a:cubicBezTo>
                      <a:pt x="501" y="28"/>
                      <a:pt x="501" y="28"/>
                      <a:pt x="501" y="28"/>
                    </a:cubicBezTo>
                    <a:cubicBezTo>
                      <a:pt x="497" y="30"/>
                      <a:pt x="497" y="30"/>
                      <a:pt x="497" y="30"/>
                    </a:cubicBezTo>
                    <a:cubicBezTo>
                      <a:pt x="497" y="32"/>
                      <a:pt x="497" y="32"/>
                      <a:pt x="497" y="32"/>
                    </a:cubicBezTo>
                    <a:cubicBezTo>
                      <a:pt x="497" y="36"/>
                      <a:pt x="497" y="36"/>
                      <a:pt x="497" y="36"/>
                    </a:cubicBezTo>
                    <a:cubicBezTo>
                      <a:pt x="495" y="39"/>
                      <a:pt x="495" y="39"/>
                      <a:pt x="495" y="39"/>
                    </a:cubicBezTo>
                    <a:cubicBezTo>
                      <a:pt x="493" y="40"/>
                      <a:pt x="493" y="40"/>
                      <a:pt x="493" y="40"/>
                    </a:cubicBezTo>
                    <a:cubicBezTo>
                      <a:pt x="492" y="38"/>
                      <a:pt x="492" y="38"/>
                      <a:pt x="492" y="38"/>
                    </a:cubicBezTo>
                    <a:cubicBezTo>
                      <a:pt x="490" y="43"/>
                      <a:pt x="490" y="43"/>
                      <a:pt x="490" y="43"/>
                    </a:cubicBezTo>
                    <a:cubicBezTo>
                      <a:pt x="490" y="48"/>
                      <a:pt x="490" y="48"/>
                      <a:pt x="490" y="48"/>
                    </a:cubicBezTo>
                    <a:cubicBezTo>
                      <a:pt x="489" y="43"/>
                      <a:pt x="489" y="43"/>
                      <a:pt x="489" y="43"/>
                    </a:cubicBezTo>
                    <a:cubicBezTo>
                      <a:pt x="489" y="39"/>
                      <a:pt x="489" y="39"/>
                      <a:pt x="489" y="39"/>
                    </a:cubicBezTo>
                    <a:cubicBezTo>
                      <a:pt x="491" y="35"/>
                      <a:pt x="491" y="35"/>
                      <a:pt x="491" y="35"/>
                    </a:cubicBezTo>
                    <a:cubicBezTo>
                      <a:pt x="489" y="34"/>
                      <a:pt x="489" y="34"/>
                      <a:pt x="489" y="34"/>
                    </a:cubicBezTo>
                    <a:cubicBezTo>
                      <a:pt x="487" y="37"/>
                      <a:pt x="487" y="37"/>
                      <a:pt x="487" y="37"/>
                    </a:cubicBezTo>
                    <a:cubicBezTo>
                      <a:pt x="486" y="40"/>
                      <a:pt x="486" y="40"/>
                      <a:pt x="486" y="40"/>
                    </a:cubicBezTo>
                    <a:cubicBezTo>
                      <a:pt x="483" y="41"/>
                      <a:pt x="483" y="41"/>
                      <a:pt x="483" y="41"/>
                    </a:cubicBezTo>
                    <a:cubicBezTo>
                      <a:pt x="485" y="35"/>
                      <a:pt x="485" y="35"/>
                      <a:pt x="485" y="35"/>
                    </a:cubicBezTo>
                    <a:cubicBezTo>
                      <a:pt x="483" y="30"/>
                      <a:pt x="483" y="30"/>
                      <a:pt x="483" y="30"/>
                    </a:cubicBezTo>
                    <a:cubicBezTo>
                      <a:pt x="480" y="31"/>
                      <a:pt x="480" y="31"/>
                      <a:pt x="480" y="31"/>
                    </a:cubicBezTo>
                    <a:cubicBezTo>
                      <a:pt x="480" y="28"/>
                      <a:pt x="480" y="28"/>
                      <a:pt x="480" y="28"/>
                    </a:cubicBezTo>
                    <a:cubicBezTo>
                      <a:pt x="484" y="24"/>
                      <a:pt x="484" y="24"/>
                      <a:pt x="484" y="24"/>
                    </a:cubicBezTo>
                    <a:cubicBezTo>
                      <a:pt x="488" y="23"/>
                      <a:pt x="488" y="23"/>
                      <a:pt x="488" y="23"/>
                    </a:cubicBezTo>
                    <a:cubicBezTo>
                      <a:pt x="492" y="27"/>
                      <a:pt x="492" y="27"/>
                      <a:pt x="492" y="27"/>
                    </a:cubicBezTo>
                    <a:cubicBezTo>
                      <a:pt x="497" y="24"/>
                      <a:pt x="497" y="24"/>
                      <a:pt x="497" y="24"/>
                    </a:cubicBezTo>
                    <a:cubicBezTo>
                      <a:pt x="500" y="23"/>
                      <a:pt x="500" y="23"/>
                      <a:pt x="500" y="23"/>
                    </a:cubicBezTo>
                    <a:cubicBezTo>
                      <a:pt x="504" y="19"/>
                      <a:pt x="504" y="19"/>
                      <a:pt x="504" y="19"/>
                    </a:cubicBezTo>
                    <a:cubicBezTo>
                      <a:pt x="504" y="17"/>
                      <a:pt x="504" y="17"/>
                      <a:pt x="504" y="17"/>
                    </a:cubicBezTo>
                    <a:cubicBezTo>
                      <a:pt x="505" y="15"/>
                      <a:pt x="505" y="15"/>
                      <a:pt x="505" y="15"/>
                    </a:cubicBezTo>
                    <a:cubicBezTo>
                      <a:pt x="504" y="13"/>
                      <a:pt x="504" y="13"/>
                      <a:pt x="504" y="13"/>
                    </a:cubicBezTo>
                    <a:cubicBezTo>
                      <a:pt x="500" y="11"/>
                      <a:pt x="500" y="11"/>
                      <a:pt x="500" y="11"/>
                    </a:cubicBezTo>
                    <a:cubicBezTo>
                      <a:pt x="499" y="11"/>
                      <a:pt x="499" y="11"/>
                      <a:pt x="499" y="11"/>
                    </a:cubicBezTo>
                    <a:cubicBezTo>
                      <a:pt x="499" y="7"/>
                      <a:pt x="499" y="7"/>
                      <a:pt x="499" y="7"/>
                    </a:cubicBezTo>
                    <a:cubicBezTo>
                      <a:pt x="497" y="6"/>
                      <a:pt x="497" y="6"/>
                      <a:pt x="497" y="6"/>
                    </a:cubicBezTo>
                    <a:cubicBezTo>
                      <a:pt x="496" y="4"/>
                      <a:pt x="496" y="4"/>
                      <a:pt x="496" y="4"/>
                    </a:cubicBezTo>
                    <a:cubicBezTo>
                      <a:pt x="497" y="3"/>
                      <a:pt x="497" y="3"/>
                      <a:pt x="497" y="3"/>
                    </a:cubicBezTo>
                    <a:cubicBezTo>
                      <a:pt x="498" y="2"/>
                      <a:pt x="498" y="2"/>
                      <a:pt x="498" y="2"/>
                    </a:cubicBezTo>
                    <a:cubicBezTo>
                      <a:pt x="499" y="1"/>
                      <a:pt x="499" y="1"/>
                      <a:pt x="499" y="1"/>
                    </a:cubicBezTo>
                    <a:cubicBezTo>
                      <a:pt x="497" y="0"/>
                      <a:pt x="497" y="0"/>
                      <a:pt x="497" y="0"/>
                    </a:cubicBezTo>
                    <a:cubicBezTo>
                      <a:pt x="491" y="4"/>
                      <a:pt x="491" y="4"/>
                      <a:pt x="491" y="4"/>
                    </a:cubicBezTo>
                    <a:cubicBezTo>
                      <a:pt x="489" y="6"/>
                      <a:pt x="489" y="6"/>
                      <a:pt x="489" y="6"/>
                    </a:cubicBezTo>
                    <a:cubicBezTo>
                      <a:pt x="484" y="7"/>
                      <a:pt x="484" y="7"/>
                      <a:pt x="484" y="7"/>
                    </a:cubicBezTo>
                    <a:cubicBezTo>
                      <a:pt x="480" y="9"/>
                      <a:pt x="480" y="9"/>
                      <a:pt x="480" y="9"/>
                    </a:cubicBezTo>
                    <a:cubicBezTo>
                      <a:pt x="473" y="17"/>
                      <a:pt x="473" y="17"/>
                      <a:pt x="473" y="17"/>
                    </a:cubicBezTo>
                    <a:cubicBezTo>
                      <a:pt x="468" y="19"/>
                      <a:pt x="468" y="19"/>
                      <a:pt x="468" y="19"/>
                    </a:cubicBezTo>
                    <a:cubicBezTo>
                      <a:pt x="460" y="19"/>
                      <a:pt x="460" y="19"/>
                      <a:pt x="460" y="19"/>
                    </a:cubicBezTo>
                    <a:cubicBezTo>
                      <a:pt x="455" y="15"/>
                      <a:pt x="455" y="15"/>
                      <a:pt x="455" y="15"/>
                    </a:cubicBezTo>
                    <a:cubicBezTo>
                      <a:pt x="453" y="13"/>
                      <a:pt x="453" y="13"/>
                      <a:pt x="453" y="13"/>
                    </a:cubicBezTo>
                    <a:cubicBezTo>
                      <a:pt x="453" y="16"/>
                      <a:pt x="453" y="16"/>
                      <a:pt x="453" y="16"/>
                    </a:cubicBezTo>
                    <a:cubicBezTo>
                      <a:pt x="450" y="15"/>
                      <a:pt x="450" y="15"/>
                      <a:pt x="450" y="15"/>
                    </a:cubicBezTo>
                    <a:cubicBezTo>
                      <a:pt x="446" y="12"/>
                      <a:pt x="446" y="12"/>
                      <a:pt x="446" y="12"/>
                    </a:cubicBezTo>
                    <a:cubicBezTo>
                      <a:pt x="443" y="13"/>
                      <a:pt x="443" y="13"/>
                      <a:pt x="443" y="13"/>
                    </a:cubicBezTo>
                    <a:cubicBezTo>
                      <a:pt x="442" y="17"/>
                      <a:pt x="442" y="17"/>
                      <a:pt x="442" y="17"/>
                    </a:cubicBezTo>
                    <a:cubicBezTo>
                      <a:pt x="440" y="17"/>
                      <a:pt x="440" y="17"/>
                      <a:pt x="440" y="17"/>
                    </a:cubicBezTo>
                    <a:cubicBezTo>
                      <a:pt x="439" y="14"/>
                      <a:pt x="439" y="14"/>
                      <a:pt x="439" y="14"/>
                    </a:cubicBezTo>
                    <a:cubicBezTo>
                      <a:pt x="440" y="11"/>
                      <a:pt x="440" y="11"/>
                      <a:pt x="440" y="11"/>
                    </a:cubicBezTo>
                    <a:cubicBezTo>
                      <a:pt x="443" y="10"/>
                      <a:pt x="443" y="10"/>
                      <a:pt x="443" y="10"/>
                    </a:cubicBezTo>
                    <a:cubicBezTo>
                      <a:pt x="442" y="8"/>
                      <a:pt x="442" y="8"/>
                      <a:pt x="442" y="8"/>
                    </a:cubicBezTo>
                    <a:cubicBezTo>
                      <a:pt x="437" y="10"/>
                      <a:pt x="437" y="10"/>
                      <a:pt x="437" y="10"/>
                    </a:cubicBezTo>
                    <a:cubicBezTo>
                      <a:pt x="430" y="14"/>
                      <a:pt x="430" y="14"/>
                      <a:pt x="430" y="14"/>
                    </a:cubicBezTo>
                    <a:cubicBezTo>
                      <a:pt x="425" y="17"/>
                      <a:pt x="425" y="17"/>
                      <a:pt x="425" y="17"/>
                    </a:cubicBezTo>
                    <a:cubicBezTo>
                      <a:pt x="424" y="21"/>
                      <a:pt x="424" y="21"/>
                      <a:pt x="424" y="21"/>
                    </a:cubicBezTo>
                    <a:cubicBezTo>
                      <a:pt x="424" y="25"/>
                      <a:pt x="424" y="25"/>
                      <a:pt x="424" y="25"/>
                    </a:cubicBezTo>
                    <a:cubicBezTo>
                      <a:pt x="429" y="27"/>
                      <a:pt x="429" y="27"/>
                      <a:pt x="429" y="27"/>
                    </a:cubicBezTo>
                    <a:cubicBezTo>
                      <a:pt x="426" y="29"/>
                      <a:pt x="426" y="29"/>
                      <a:pt x="426" y="29"/>
                    </a:cubicBezTo>
                    <a:cubicBezTo>
                      <a:pt x="422" y="29"/>
                      <a:pt x="422" y="29"/>
                      <a:pt x="422" y="29"/>
                    </a:cubicBezTo>
                    <a:cubicBezTo>
                      <a:pt x="417" y="34"/>
                      <a:pt x="417" y="34"/>
                      <a:pt x="417" y="34"/>
                    </a:cubicBezTo>
                    <a:cubicBezTo>
                      <a:pt x="413" y="43"/>
                      <a:pt x="413" y="43"/>
                      <a:pt x="413" y="43"/>
                    </a:cubicBezTo>
                    <a:cubicBezTo>
                      <a:pt x="411" y="51"/>
                      <a:pt x="411" y="51"/>
                      <a:pt x="411" y="51"/>
                    </a:cubicBezTo>
                    <a:cubicBezTo>
                      <a:pt x="410" y="51"/>
                      <a:pt x="410" y="51"/>
                      <a:pt x="410" y="51"/>
                    </a:cubicBezTo>
                    <a:cubicBezTo>
                      <a:pt x="409" y="50"/>
                      <a:pt x="409" y="50"/>
                      <a:pt x="409" y="50"/>
                    </a:cubicBezTo>
                    <a:cubicBezTo>
                      <a:pt x="410" y="42"/>
                      <a:pt x="410" y="42"/>
                      <a:pt x="410" y="42"/>
                    </a:cubicBezTo>
                    <a:cubicBezTo>
                      <a:pt x="416" y="32"/>
                      <a:pt x="416" y="32"/>
                      <a:pt x="416" y="32"/>
                    </a:cubicBezTo>
                    <a:cubicBezTo>
                      <a:pt x="416" y="30"/>
                      <a:pt x="416" y="30"/>
                      <a:pt x="416" y="30"/>
                    </a:cubicBezTo>
                    <a:cubicBezTo>
                      <a:pt x="414" y="29"/>
                      <a:pt x="414" y="29"/>
                      <a:pt x="414" y="29"/>
                    </a:cubicBezTo>
                    <a:cubicBezTo>
                      <a:pt x="405" y="34"/>
                      <a:pt x="405" y="34"/>
                      <a:pt x="405" y="34"/>
                    </a:cubicBezTo>
                    <a:cubicBezTo>
                      <a:pt x="401" y="34"/>
                      <a:pt x="401" y="34"/>
                      <a:pt x="401" y="34"/>
                    </a:cubicBezTo>
                    <a:cubicBezTo>
                      <a:pt x="399" y="33"/>
                      <a:pt x="399" y="33"/>
                      <a:pt x="399" y="33"/>
                    </a:cubicBezTo>
                    <a:cubicBezTo>
                      <a:pt x="396" y="28"/>
                      <a:pt x="396" y="28"/>
                      <a:pt x="396" y="28"/>
                    </a:cubicBezTo>
                    <a:cubicBezTo>
                      <a:pt x="391" y="27"/>
                      <a:pt x="391" y="27"/>
                      <a:pt x="391" y="27"/>
                    </a:cubicBezTo>
                    <a:cubicBezTo>
                      <a:pt x="389" y="27"/>
                      <a:pt x="389" y="27"/>
                      <a:pt x="389" y="27"/>
                    </a:cubicBezTo>
                    <a:cubicBezTo>
                      <a:pt x="390" y="29"/>
                      <a:pt x="390" y="29"/>
                      <a:pt x="390" y="29"/>
                    </a:cubicBezTo>
                    <a:cubicBezTo>
                      <a:pt x="395" y="32"/>
                      <a:pt x="395" y="32"/>
                      <a:pt x="395" y="32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5" y="36"/>
                      <a:pt x="395" y="36"/>
                      <a:pt x="395" y="36"/>
                    </a:cubicBezTo>
                    <a:cubicBezTo>
                      <a:pt x="390" y="34"/>
                      <a:pt x="390" y="34"/>
                      <a:pt x="390" y="34"/>
                    </a:cubicBezTo>
                    <a:cubicBezTo>
                      <a:pt x="384" y="33"/>
                      <a:pt x="384" y="33"/>
                      <a:pt x="384" y="33"/>
                    </a:cubicBezTo>
                    <a:cubicBezTo>
                      <a:pt x="376" y="37"/>
                      <a:pt x="376" y="37"/>
                      <a:pt x="376" y="37"/>
                    </a:cubicBezTo>
                    <a:cubicBezTo>
                      <a:pt x="367" y="47"/>
                      <a:pt x="367" y="47"/>
                      <a:pt x="367" y="47"/>
                    </a:cubicBezTo>
                    <a:cubicBezTo>
                      <a:pt x="356" y="53"/>
                      <a:pt x="356" y="53"/>
                      <a:pt x="356" y="53"/>
                    </a:cubicBezTo>
                    <a:cubicBezTo>
                      <a:pt x="349" y="59"/>
                      <a:pt x="349" y="59"/>
                      <a:pt x="349" y="59"/>
                    </a:cubicBezTo>
                    <a:cubicBezTo>
                      <a:pt x="342" y="68"/>
                      <a:pt x="342" y="68"/>
                      <a:pt x="342" y="68"/>
                    </a:cubicBezTo>
                    <a:cubicBezTo>
                      <a:pt x="332" y="77"/>
                      <a:pt x="332" y="77"/>
                      <a:pt x="332" y="77"/>
                    </a:cubicBezTo>
                    <a:cubicBezTo>
                      <a:pt x="326" y="80"/>
                      <a:pt x="326" y="80"/>
                      <a:pt x="326" y="80"/>
                    </a:cubicBezTo>
                    <a:cubicBezTo>
                      <a:pt x="323" y="81"/>
                      <a:pt x="323" y="81"/>
                      <a:pt x="323" y="81"/>
                    </a:cubicBezTo>
                    <a:cubicBezTo>
                      <a:pt x="318" y="85"/>
                      <a:pt x="318" y="85"/>
                      <a:pt x="318" y="85"/>
                    </a:cubicBezTo>
                    <a:cubicBezTo>
                      <a:pt x="314" y="85"/>
                      <a:pt x="314" y="85"/>
                      <a:pt x="314" y="85"/>
                    </a:cubicBezTo>
                    <a:cubicBezTo>
                      <a:pt x="308" y="90"/>
                      <a:pt x="308" y="90"/>
                      <a:pt x="308" y="90"/>
                    </a:cubicBezTo>
                    <a:cubicBezTo>
                      <a:pt x="302" y="90"/>
                      <a:pt x="302" y="90"/>
                      <a:pt x="302" y="90"/>
                    </a:cubicBezTo>
                    <a:cubicBezTo>
                      <a:pt x="300" y="87"/>
                      <a:pt x="300" y="87"/>
                      <a:pt x="300" y="87"/>
                    </a:cubicBezTo>
                    <a:cubicBezTo>
                      <a:pt x="294" y="87"/>
                      <a:pt x="294" y="87"/>
                      <a:pt x="294" y="87"/>
                    </a:cubicBezTo>
                    <a:cubicBezTo>
                      <a:pt x="289" y="83"/>
                      <a:pt x="289" y="83"/>
                      <a:pt x="289" y="83"/>
                    </a:cubicBezTo>
                    <a:cubicBezTo>
                      <a:pt x="286" y="81"/>
                      <a:pt x="286" y="81"/>
                      <a:pt x="286" y="81"/>
                    </a:cubicBezTo>
                    <a:cubicBezTo>
                      <a:pt x="280" y="77"/>
                      <a:pt x="280" y="77"/>
                      <a:pt x="280" y="77"/>
                    </a:cubicBezTo>
                    <a:cubicBezTo>
                      <a:pt x="278" y="78"/>
                      <a:pt x="278" y="78"/>
                      <a:pt x="278" y="78"/>
                    </a:cubicBezTo>
                    <a:cubicBezTo>
                      <a:pt x="274" y="83"/>
                      <a:pt x="274" y="83"/>
                      <a:pt x="274" y="83"/>
                    </a:cubicBezTo>
                    <a:cubicBezTo>
                      <a:pt x="267" y="91"/>
                      <a:pt x="267" y="91"/>
                      <a:pt x="267" y="91"/>
                    </a:cubicBezTo>
                    <a:cubicBezTo>
                      <a:pt x="266" y="96"/>
                      <a:pt x="266" y="96"/>
                      <a:pt x="266" y="96"/>
                    </a:cubicBezTo>
                    <a:cubicBezTo>
                      <a:pt x="262" y="100"/>
                      <a:pt x="262" y="100"/>
                      <a:pt x="262" y="100"/>
                    </a:cubicBezTo>
                    <a:cubicBezTo>
                      <a:pt x="260" y="106"/>
                      <a:pt x="260" y="106"/>
                      <a:pt x="260" y="106"/>
                    </a:cubicBezTo>
                    <a:cubicBezTo>
                      <a:pt x="257" y="105"/>
                      <a:pt x="257" y="105"/>
                      <a:pt x="257" y="105"/>
                    </a:cubicBezTo>
                    <a:cubicBezTo>
                      <a:pt x="255" y="103"/>
                      <a:pt x="255" y="103"/>
                      <a:pt x="255" y="103"/>
                    </a:cubicBezTo>
                    <a:cubicBezTo>
                      <a:pt x="253" y="105"/>
                      <a:pt x="253" y="105"/>
                      <a:pt x="253" y="105"/>
                    </a:cubicBezTo>
                    <a:cubicBezTo>
                      <a:pt x="256" y="114"/>
                      <a:pt x="256" y="114"/>
                      <a:pt x="256" y="114"/>
                    </a:cubicBezTo>
                    <a:cubicBezTo>
                      <a:pt x="261" y="134"/>
                      <a:pt x="261" y="134"/>
                      <a:pt x="261" y="134"/>
                    </a:cubicBezTo>
                    <a:cubicBezTo>
                      <a:pt x="265" y="148"/>
                      <a:pt x="265" y="148"/>
                      <a:pt x="265" y="148"/>
                    </a:cubicBezTo>
                    <a:cubicBezTo>
                      <a:pt x="267" y="162"/>
                      <a:pt x="267" y="162"/>
                      <a:pt x="267" y="162"/>
                    </a:cubicBezTo>
                    <a:cubicBezTo>
                      <a:pt x="266" y="174"/>
                      <a:pt x="266" y="174"/>
                      <a:pt x="266" y="174"/>
                    </a:cubicBezTo>
                    <a:cubicBezTo>
                      <a:pt x="262" y="183"/>
                      <a:pt x="262" y="183"/>
                      <a:pt x="262" y="183"/>
                    </a:cubicBezTo>
                    <a:cubicBezTo>
                      <a:pt x="259" y="188"/>
                      <a:pt x="259" y="188"/>
                      <a:pt x="259" y="188"/>
                    </a:cubicBezTo>
                    <a:cubicBezTo>
                      <a:pt x="259" y="191"/>
                      <a:pt x="259" y="191"/>
                      <a:pt x="259" y="191"/>
                    </a:cubicBezTo>
                    <a:cubicBezTo>
                      <a:pt x="265" y="201"/>
                      <a:pt x="265" y="201"/>
                      <a:pt x="265" y="201"/>
                    </a:cubicBezTo>
                    <a:cubicBezTo>
                      <a:pt x="269" y="203"/>
                      <a:pt x="269" y="203"/>
                      <a:pt x="269" y="203"/>
                    </a:cubicBezTo>
                    <a:cubicBezTo>
                      <a:pt x="269" y="198"/>
                      <a:pt x="269" y="198"/>
                      <a:pt x="269" y="198"/>
                    </a:cubicBezTo>
                    <a:cubicBezTo>
                      <a:pt x="271" y="200"/>
                      <a:pt x="271" y="200"/>
                      <a:pt x="271" y="200"/>
                    </a:cubicBezTo>
                    <a:cubicBezTo>
                      <a:pt x="274" y="198"/>
                      <a:pt x="274" y="198"/>
                      <a:pt x="274" y="198"/>
                    </a:cubicBezTo>
                    <a:cubicBezTo>
                      <a:pt x="276" y="198"/>
                      <a:pt x="276" y="198"/>
                      <a:pt x="276" y="198"/>
                    </a:cubicBezTo>
                    <a:cubicBezTo>
                      <a:pt x="274" y="200"/>
                      <a:pt x="274" y="200"/>
                      <a:pt x="274" y="200"/>
                    </a:cubicBezTo>
                    <a:cubicBezTo>
                      <a:pt x="274" y="203"/>
                      <a:pt x="274" y="203"/>
                      <a:pt x="274" y="203"/>
                    </a:cubicBezTo>
                    <a:cubicBezTo>
                      <a:pt x="282" y="212"/>
                      <a:pt x="282" y="212"/>
                      <a:pt x="282" y="212"/>
                    </a:cubicBezTo>
                    <a:cubicBezTo>
                      <a:pt x="280" y="214"/>
                      <a:pt x="280" y="214"/>
                      <a:pt x="280" y="214"/>
                    </a:cubicBezTo>
                    <a:cubicBezTo>
                      <a:pt x="276" y="213"/>
                      <a:pt x="276" y="213"/>
                      <a:pt x="276" y="213"/>
                    </a:cubicBezTo>
                    <a:cubicBezTo>
                      <a:pt x="275" y="216"/>
                      <a:pt x="275" y="216"/>
                      <a:pt x="275" y="216"/>
                    </a:cubicBezTo>
                    <a:cubicBezTo>
                      <a:pt x="275" y="227"/>
                      <a:pt x="275" y="227"/>
                      <a:pt x="275" y="227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77" y="234"/>
                      <a:pt x="277" y="234"/>
                      <a:pt x="277" y="234"/>
                    </a:cubicBezTo>
                    <a:cubicBezTo>
                      <a:pt x="280" y="232"/>
                      <a:pt x="280" y="232"/>
                      <a:pt x="280" y="232"/>
                    </a:cubicBezTo>
                    <a:cubicBezTo>
                      <a:pt x="284" y="230"/>
                      <a:pt x="284" y="230"/>
                      <a:pt x="284" y="230"/>
                    </a:cubicBezTo>
                    <a:cubicBezTo>
                      <a:pt x="287" y="232"/>
                      <a:pt x="287" y="232"/>
                      <a:pt x="287" y="232"/>
                    </a:cubicBezTo>
                    <a:cubicBezTo>
                      <a:pt x="288" y="235"/>
                      <a:pt x="288" y="235"/>
                      <a:pt x="288" y="235"/>
                    </a:cubicBezTo>
                    <a:cubicBezTo>
                      <a:pt x="293" y="233"/>
                      <a:pt x="293" y="233"/>
                      <a:pt x="293" y="233"/>
                    </a:cubicBezTo>
                    <a:cubicBezTo>
                      <a:pt x="298" y="235"/>
                      <a:pt x="298" y="235"/>
                      <a:pt x="298" y="235"/>
                    </a:cubicBezTo>
                    <a:cubicBezTo>
                      <a:pt x="303" y="238"/>
                      <a:pt x="303" y="238"/>
                      <a:pt x="303" y="238"/>
                    </a:cubicBezTo>
                    <a:cubicBezTo>
                      <a:pt x="299" y="241"/>
                      <a:pt x="299" y="241"/>
                      <a:pt x="299" y="241"/>
                    </a:cubicBezTo>
                    <a:cubicBezTo>
                      <a:pt x="300" y="246"/>
                      <a:pt x="300" y="246"/>
                      <a:pt x="300" y="246"/>
                    </a:cubicBezTo>
                    <a:cubicBezTo>
                      <a:pt x="298" y="250"/>
                      <a:pt x="298" y="250"/>
                      <a:pt x="298" y="250"/>
                    </a:cubicBezTo>
                    <a:cubicBezTo>
                      <a:pt x="292" y="251"/>
                      <a:pt x="292" y="251"/>
                      <a:pt x="292" y="251"/>
                    </a:cubicBezTo>
                    <a:cubicBezTo>
                      <a:pt x="293" y="248"/>
                      <a:pt x="293" y="248"/>
                      <a:pt x="293" y="248"/>
                    </a:cubicBezTo>
                    <a:cubicBezTo>
                      <a:pt x="289" y="246"/>
                      <a:pt x="289" y="246"/>
                      <a:pt x="289" y="246"/>
                    </a:cubicBezTo>
                    <a:cubicBezTo>
                      <a:pt x="287" y="247"/>
                      <a:pt x="287" y="247"/>
                      <a:pt x="287" y="247"/>
                    </a:cubicBezTo>
                    <a:cubicBezTo>
                      <a:pt x="282" y="247"/>
                      <a:pt x="282" y="247"/>
                      <a:pt x="282" y="247"/>
                    </a:cubicBezTo>
                    <a:cubicBezTo>
                      <a:pt x="280" y="244"/>
                      <a:pt x="280" y="244"/>
                      <a:pt x="280" y="244"/>
                    </a:cubicBezTo>
                    <a:cubicBezTo>
                      <a:pt x="279" y="238"/>
                      <a:pt x="279" y="238"/>
                      <a:pt x="279" y="238"/>
                    </a:cubicBezTo>
                    <a:cubicBezTo>
                      <a:pt x="276" y="237"/>
                      <a:pt x="276" y="237"/>
                      <a:pt x="276" y="237"/>
                    </a:cubicBezTo>
                    <a:cubicBezTo>
                      <a:pt x="274" y="237"/>
                      <a:pt x="274" y="237"/>
                      <a:pt x="274" y="237"/>
                    </a:cubicBezTo>
                    <a:cubicBezTo>
                      <a:pt x="269" y="233"/>
                      <a:pt x="269" y="233"/>
                      <a:pt x="269" y="233"/>
                    </a:cubicBezTo>
                    <a:cubicBezTo>
                      <a:pt x="270" y="226"/>
                      <a:pt x="270" y="226"/>
                      <a:pt x="270" y="226"/>
                    </a:cubicBezTo>
                    <a:cubicBezTo>
                      <a:pt x="274" y="213"/>
                      <a:pt x="274" y="213"/>
                      <a:pt x="274" y="213"/>
                    </a:cubicBezTo>
                    <a:cubicBezTo>
                      <a:pt x="273" y="209"/>
                      <a:pt x="273" y="209"/>
                      <a:pt x="273" y="209"/>
                    </a:cubicBezTo>
                    <a:cubicBezTo>
                      <a:pt x="272" y="209"/>
                      <a:pt x="272" y="209"/>
                      <a:pt x="272" y="209"/>
                    </a:cubicBezTo>
                    <a:cubicBezTo>
                      <a:pt x="269" y="213"/>
                      <a:pt x="269" y="213"/>
                      <a:pt x="269" y="213"/>
                    </a:cubicBezTo>
                    <a:cubicBezTo>
                      <a:pt x="268" y="226"/>
                      <a:pt x="268" y="226"/>
                      <a:pt x="268" y="226"/>
                    </a:cubicBezTo>
                    <a:cubicBezTo>
                      <a:pt x="267" y="234"/>
                      <a:pt x="267" y="234"/>
                      <a:pt x="267" y="234"/>
                    </a:cubicBezTo>
                    <a:cubicBezTo>
                      <a:pt x="263" y="239"/>
                      <a:pt x="263" y="239"/>
                      <a:pt x="263" y="239"/>
                    </a:cubicBezTo>
                    <a:cubicBezTo>
                      <a:pt x="263" y="242"/>
                      <a:pt x="263" y="242"/>
                      <a:pt x="263" y="242"/>
                    </a:cubicBezTo>
                    <a:cubicBezTo>
                      <a:pt x="266" y="238"/>
                      <a:pt x="266" y="238"/>
                      <a:pt x="266" y="238"/>
                    </a:cubicBezTo>
                    <a:cubicBezTo>
                      <a:pt x="268" y="238"/>
                      <a:pt x="268" y="238"/>
                      <a:pt x="268" y="238"/>
                    </a:cubicBezTo>
                    <a:cubicBezTo>
                      <a:pt x="270" y="240"/>
                      <a:pt x="270" y="240"/>
                      <a:pt x="270" y="240"/>
                    </a:cubicBezTo>
                    <a:cubicBezTo>
                      <a:pt x="274" y="240"/>
                      <a:pt x="274" y="240"/>
                      <a:pt x="274" y="240"/>
                    </a:cubicBezTo>
                    <a:cubicBezTo>
                      <a:pt x="276" y="245"/>
                      <a:pt x="276" y="245"/>
                      <a:pt x="276" y="245"/>
                    </a:cubicBezTo>
                    <a:cubicBezTo>
                      <a:pt x="276" y="252"/>
                      <a:pt x="276" y="252"/>
                      <a:pt x="276" y="252"/>
                    </a:cubicBezTo>
                    <a:cubicBezTo>
                      <a:pt x="272" y="257"/>
                      <a:pt x="272" y="257"/>
                      <a:pt x="272" y="257"/>
                    </a:cubicBezTo>
                    <a:cubicBezTo>
                      <a:pt x="267" y="260"/>
                      <a:pt x="267" y="260"/>
                      <a:pt x="267" y="260"/>
                    </a:cubicBezTo>
                    <a:cubicBezTo>
                      <a:pt x="272" y="252"/>
                      <a:pt x="272" y="252"/>
                      <a:pt x="272" y="252"/>
                    </a:cubicBezTo>
                    <a:cubicBezTo>
                      <a:pt x="272" y="250"/>
                      <a:pt x="272" y="250"/>
                      <a:pt x="272" y="250"/>
                    </a:cubicBezTo>
                    <a:cubicBezTo>
                      <a:pt x="269" y="248"/>
                      <a:pt x="269" y="248"/>
                      <a:pt x="269" y="248"/>
                    </a:cubicBezTo>
                    <a:cubicBezTo>
                      <a:pt x="268" y="247"/>
                      <a:pt x="268" y="247"/>
                      <a:pt x="268" y="247"/>
                    </a:cubicBezTo>
                    <a:cubicBezTo>
                      <a:pt x="266" y="249"/>
                      <a:pt x="266" y="249"/>
                      <a:pt x="266" y="249"/>
                    </a:cubicBezTo>
                    <a:cubicBezTo>
                      <a:pt x="260" y="254"/>
                      <a:pt x="260" y="254"/>
                      <a:pt x="260" y="254"/>
                    </a:cubicBezTo>
                    <a:cubicBezTo>
                      <a:pt x="260" y="258"/>
                      <a:pt x="260" y="258"/>
                      <a:pt x="260" y="258"/>
                    </a:cubicBezTo>
                    <a:cubicBezTo>
                      <a:pt x="256" y="259"/>
                      <a:pt x="256" y="259"/>
                      <a:pt x="256" y="259"/>
                    </a:cubicBezTo>
                    <a:cubicBezTo>
                      <a:pt x="253" y="261"/>
                      <a:pt x="253" y="261"/>
                      <a:pt x="253" y="261"/>
                    </a:cubicBezTo>
                    <a:cubicBezTo>
                      <a:pt x="252" y="257"/>
                      <a:pt x="252" y="257"/>
                      <a:pt x="252" y="257"/>
                    </a:cubicBezTo>
                    <a:cubicBezTo>
                      <a:pt x="251" y="256"/>
                      <a:pt x="251" y="256"/>
                      <a:pt x="251" y="256"/>
                    </a:cubicBezTo>
                    <a:cubicBezTo>
                      <a:pt x="246" y="257"/>
                      <a:pt x="246" y="257"/>
                      <a:pt x="246" y="257"/>
                    </a:cubicBezTo>
                    <a:cubicBezTo>
                      <a:pt x="244" y="255"/>
                      <a:pt x="244" y="255"/>
                      <a:pt x="244" y="255"/>
                    </a:cubicBezTo>
                    <a:cubicBezTo>
                      <a:pt x="243" y="251"/>
                      <a:pt x="243" y="251"/>
                      <a:pt x="243" y="251"/>
                    </a:cubicBezTo>
                    <a:cubicBezTo>
                      <a:pt x="241" y="250"/>
                      <a:pt x="241" y="250"/>
                      <a:pt x="241" y="250"/>
                    </a:cubicBezTo>
                    <a:cubicBezTo>
                      <a:pt x="239" y="251"/>
                      <a:pt x="239" y="251"/>
                      <a:pt x="239" y="251"/>
                    </a:cubicBezTo>
                    <a:cubicBezTo>
                      <a:pt x="236" y="251"/>
                      <a:pt x="236" y="251"/>
                      <a:pt x="236" y="251"/>
                    </a:cubicBezTo>
                    <a:cubicBezTo>
                      <a:pt x="235" y="247"/>
                      <a:pt x="235" y="247"/>
                      <a:pt x="235" y="247"/>
                    </a:cubicBezTo>
                    <a:cubicBezTo>
                      <a:pt x="233" y="245"/>
                      <a:pt x="233" y="245"/>
                      <a:pt x="233" y="245"/>
                    </a:cubicBezTo>
                    <a:cubicBezTo>
                      <a:pt x="230" y="247"/>
                      <a:pt x="230" y="247"/>
                      <a:pt x="230" y="247"/>
                    </a:cubicBezTo>
                    <a:cubicBezTo>
                      <a:pt x="229" y="247"/>
                      <a:pt x="229" y="247"/>
                      <a:pt x="229" y="247"/>
                    </a:cubicBezTo>
                    <a:cubicBezTo>
                      <a:pt x="229" y="242"/>
                      <a:pt x="229" y="242"/>
                      <a:pt x="229" y="242"/>
                    </a:cubicBezTo>
                    <a:cubicBezTo>
                      <a:pt x="227" y="238"/>
                      <a:pt x="227" y="238"/>
                      <a:pt x="227" y="238"/>
                    </a:cubicBezTo>
                    <a:cubicBezTo>
                      <a:pt x="227" y="236"/>
                      <a:pt x="227" y="236"/>
                      <a:pt x="227" y="236"/>
                    </a:cubicBezTo>
                    <a:cubicBezTo>
                      <a:pt x="230" y="235"/>
                      <a:pt x="230" y="235"/>
                      <a:pt x="230" y="235"/>
                    </a:cubicBezTo>
                    <a:cubicBezTo>
                      <a:pt x="234" y="228"/>
                      <a:pt x="234" y="228"/>
                      <a:pt x="234" y="228"/>
                    </a:cubicBezTo>
                    <a:cubicBezTo>
                      <a:pt x="236" y="227"/>
                      <a:pt x="236" y="227"/>
                      <a:pt x="236" y="227"/>
                    </a:cubicBezTo>
                    <a:cubicBezTo>
                      <a:pt x="239" y="224"/>
                      <a:pt x="239" y="224"/>
                      <a:pt x="239" y="224"/>
                    </a:cubicBezTo>
                    <a:cubicBezTo>
                      <a:pt x="238" y="222"/>
                      <a:pt x="238" y="222"/>
                      <a:pt x="238" y="222"/>
                    </a:cubicBezTo>
                    <a:cubicBezTo>
                      <a:pt x="234" y="216"/>
                      <a:pt x="234" y="216"/>
                      <a:pt x="234" y="216"/>
                    </a:cubicBezTo>
                    <a:cubicBezTo>
                      <a:pt x="231" y="214"/>
                      <a:pt x="231" y="214"/>
                      <a:pt x="231" y="214"/>
                    </a:cubicBezTo>
                    <a:cubicBezTo>
                      <a:pt x="227" y="214"/>
                      <a:pt x="227" y="214"/>
                      <a:pt x="227" y="214"/>
                    </a:cubicBezTo>
                    <a:cubicBezTo>
                      <a:pt x="221" y="218"/>
                      <a:pt x="221" y="218"/>
                      <a:pt x="221" y="218"/>
                    </a:cubicBezTo>
                    <a:cubicBezTo>
                      <a:pt x="218" y="218"/>
                      <a:pt x="218" y="218"/>
                      <a:pt x="218" y="218"/>
                    </a:cubicBezTo>
                    <a:cubicBezTo>
                      <a:pt x="215" y="215"/>
                      <a:pt x="215" y="215"/>
                      <a:pt x="215" y="215"/>
                    </a:cubicBezTo>
                    <a:cubicBezTo>
                      <a:pt x="212" y="215"/>
                      <a:pt x="212" y="215"/>
                      <a:pt x="212" y="215"/>
                    </a:cubicBezTo>
                    <a:cubicBezTo>
                      <a:pt x="201" y="221"/>
                      <a:pt x="201" y="221"/>
                      <a:pt x="201" y="221"/>
                    </a:cubicBezTo>
                    <a:cubicBezTo>
                      <a:pt x="200" y="223"/>
                      <a:pt x="200" y="223"/>
                      <a:pt x="200" y="223"/>
                    </a:cubicBezTo>
                    <a:cubicBezTo>
                      <a:pt x="202" y="225"/>
                      <a:pt x="202" y="225"/>
                      <a:pt x="202" y="225"/>
                    </a:cubicBezTo>
                    <a:cubicBezTo>
                      <a:pt x="206" y="230"/>
                      <a:pt x="206" y="230"/>
                      <a:pt x="206" y="230"/>
                    </a:cubicBezTo>
                    <a:cubicBezTo>
                      <a:pt x="205" y="231"/>
                      <a:pt x="205" y="231"/>
                      <a:pt x="205" y="231"/>
                    </a:cubicBezTo>
                    <a:cubicBezTo>
                      <a:pt x="202" y="230"/>
                      <a:pt x="202" y="230"/>
                      <a:pt x="202" y="230"/>
                    </a:cubicBezTo>
                    <a:cubicBezTo>
                      <a:pt x="199" y="230"/>
                      <a:pt x="199" y="230"/>
                      <a:pt x="199" y="230"/>
                    </a:cubicBezTo>
                    <a:cubicBezTo>
                      <a:pt x="198" y="228"/>
                      <a:pt x="198" y="228"/>
                      <a:pt x="198" y="228"/>
                    </a:cubicBezTo>
                    <a:cubicBezTo>
                      <a:pt x="195" y="227"/>
                      <a:pt x="195" y="227"/>
                      <a:pt x="195" y="227"/>
                    </a:cubicBezTo>
                    <a:cubicBezTo>
                      <a:pt x="188" y="226"/>
                      <a:pt x="188" y="226"/>
                      <a:pt x="188" y="226"/>
                    </a:cubicBezTo>
                    <a:cubicBezTo>
                      <a:pt x="181" y="227"/>
                      <a:pt x="181" y="227"/>
                      <a:pt x="181" y="227"/>
                    </a:cubicBezTo>
                    <a:cubicBezTo>
                      <a:pt x="179" y="229"/>
                      <a:pt x="179" y="229"/>
                      <a:pt x="179" y="229"/>
                    </a:cubicBezTo>
                    <a:cubicBezTo>
                      <a:pt x="179" y="231"/>
                      <a:pt x="179" y="231"/>
                      <a:pt x="179" y="231"/>
                    </a:cubicBezTo>
                    <a:cubicBezTo>
                      <a:pt x="175" y="232"/>
                      <a:pt x="175" y="232"/>
                      <a:pt x="175" y="232"/>
                    </a:cubicBezTo>
                    <a:cubicBezTo>
                      <a:pt x="174" y="230"/>
                      <a:pt x="174" y="230"/>
                      <a:pt x="174" y="230"/>
                    </a:cubicBezTo>
                    <a:cubicBezTo>
                      <a:pt x="171" y="230"/>
                      <a:pt x="171" y="230"/>
                      <a:pt x="171" y="230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6" y="236"/>
                      <a:pt x="166" y="236"/>
                      <a:pt x="166" y="236"/>
                    </a:cubicBezTo>
                    <a:cubicBezTo>
                      <a:pt x="163" y="237"/>
                      <a:pt x="163" y="237"/>
                      <a:pt x="163" y="237"/>
                    </a:cubicBezTo>
                    <a:cubicBezTo>
                      <a:pt x="158" y="240"/>
                      <a:pt x="158" y="240"/>
                      <a:pt x="158" y="240"/>
                    </a:cubicBezTo>
                    <a:cubicBezTo>
                      <a:pt x="154" y="243"/>
                      <a:pt x="154" y="243"/>
                      <a:pt x="154" y="243"/>
                    </a:cubicBezTo>
                    <a:cubicBezTo>
                      <a:pt x="152" y="244"/>
                      <a:pt x="152" y="244"/>
                      <a:pt x="152" y="244"/>
                    </a:cubicBezTo>
                    <a:cubicBezTo>
                      <a:pt x="153" y="242"/>
                      <a:pt x="153" y="242"/>
                      <a:pt x="153" y="242"/>
                    </a:cubicBezTo>
                    <a:cubicBezTo>
                      <a:pt x="154" y="240"/>
                      <a:pt x="154" y="240"/>
                      <a:pt x="154" y="240"/>
                    </a:cubicBezTo>
                    <a:cubicBezTo>
                      <a:pt x="151" y="241"/>
                      <a:pt x="151" y="241"/>
                      <a:pt x="151" y="241"/>
                    </a:cubicBezTo>
                    <a:cubicBezTo>
                      <a:pt x="148" y="246"/>
                      <a:pt x="148" y="246"/>
                      <a:pt x="148" y="246"/>
                    </a:cubicBezTo>
                    <a:cubicBezTo>
                      <a:pt x="148" y="248"/>
                      <a:pt x="148" y="248"/>
                      <a:pt x="148" y="248"/>
                    </a:cubicBezTo>
                    <a:cubicBezTo>
                      <a:pt x="153" y="255"/>
                      <a:pt x="153" y="255"/>
                      <a:pt x="153" y="255"/>
                    </a:cubicBezTo>
                    <a:cubicBezTo>
                      <a:pt x="157" y="264"/>
                      <a:pt x="157" y="264"/>
                      <a:pt x="157" y="264"/>
                    </a:cubicBezTo>
                    <a:cubicBezTo>
                      <a:pt x="163" y="266"/>
                      <a:pt x="163" y="266"/>
                      <a:pt x="163" y="266"/>
                    </a:cubicBezTo>
                    <a:cubicBezTo>
                      <a:pt x="166" y="272"/>
                      <a:pt x="166" y="272"/>
                      <a:pt x="166" y="272"/>
                    </a:cubicBezTo>
                    <a:cubicBezTo>
                      <a:pt x="170" y="275"/>
                      <a:pt x="170" y="275"/>
                      <a:pt x="170" y="275"/>
                    </a:cubicBezTo>
                    <a:cubicBezTo>
                      <a:pt x="172" y="280"/>
                      <a:pt x="172" y="280"/>
                      <a:pt x="172" y="280"/>
                    </a:cubicBezTo>
                    <a:cubicBezTo>
                      <a:pt x="176" y="281"/>
                      <a:pt x="176" y="281"/>
                      <a:pt x="176" y="281"/>
                    </a:cubicBezTo>
                    <a:cubicBezTo>
                      <a:pt x="180" y="284"/>
                      <a:pt x="180" y="284"/>
                      <a:pt x="180" y="284"/>
                    </a:cubicBezTo>
                    <a:cubicBezTo>
                      <a:pt x="178" y="285"/>
                      <a:pt x="178" y="285"/>
                      <a:pt x="178" y="285"/>
                    </a:cubicBezTo>
                    <a:cubicBezTo>
                      <a:pt x="172" y="285"/>
                      <a:pt x="172" y="285"/>
                      <a:pt x="172" y="285"/>
                    </a:cubicBezTo>
                    <a:cubicBezTo>
                      <a:pt x="172" y="281"/>
                      <a:pt x="172" y="281"/>
                      <a:pt x="172" y="281"/>
                    </a:cubicBezTo>
                    <a:cubicBezTo>
                      <a:pt x="167" y="277"/>
                      <a:pt x="167" y="277"/>
                      <a:pt x="167" y="277"/>
                    </a:cubicBezTo>
                    <a:cubicBezTo>
                      <a:pt x="165" y="275"/>
                      <a:pt x="165" y="275"/>
                      <a:pt x="165" y="275"/>
                    </a:cubicBezTo>
                    <a:cubicBezTo>
                      <a:pt x="163" y="275"/>
                      <a:pt x="163" y="275"/>
                      <a:pt x="163" y="275"/>
                    </a:cubicBezTo>
                    <a:cubicBezTo>
                      <a:pt x="159" y="280"/>
                      <a:pt x="159" y="280"/>
                      <a:pt x="159" y="280"/>
                    </a:cubicBezTo>
                    <a:cubicBezTo>
                      <a:pt x="157" y="280"/>
                      <a:pt x="157" y="280"/>
                      <a:pt x="157" y="280"/>
                    </a:cubicBezTo>
                    <a:cubicBezTo>
                      <a:pt x="154" y="276"/>
                      <a:pt x="154" y="276"/>
                      <a:pt x="154" y="276"/>
                    </a:cubicBezTo>
                    <a:cubicBezTo>
                      <a:pt x="158" y="272"/>
                      <a:pt x="158" y="272"/>
                      <a:pt x="158" y="272"/>
                    </a:cubicBezTo>
                    <a:cubicBezTo>
                      <a:pt x="158" y="270"/>
                      <a:pt x="158" y="270"/>
                      <a:pt x="158" y="270"/>
                    </a:cubicBezTo>
                    <a:cubicBezTo>
                      <a:pt x="155" y="270"/>
                      <a:pt x="155" y="270"/>
                      <a:pt x="155" y="270"/>
                    </a:cubicBezTo>
                    <a:cubicBezTo>
                      <a:pt x="152" y="275"/>
                      <a:pt x="152" y="275"/>
                      <a:pt x="152" y="275"/>
                    </a:cubicBezTo>
                    <a:cubicBezTo>
                      <a:pt x="153" y="284"/>
                      <a:pt x="153" y="284"/>
                      <a:pt x="153" y="284"/>
                    </a:cubicBezTo>
                    <a:cubicBezTo>
                      <a:pt x="154" y="285"/>
                      <a:pt x="154" y="285"/>
                      <a:pt x="154" y="285"/>
                    </a:cubicBezTo>
                    <a:cubicBezTo>
                      <a:pt x="154" y="289"/>
                      <a:pt x="154" y="289"/>
                      <a:pt x="154" y="289"/>
                    </a:cubicBezTo>
                    <a:cubicBezTo>
                      <a:pt x="150" y="293"/>
                      <a:pt x="150" y="293"/>
                      <a:pt x="150" y="293"/>
                    </a:cubicBezTo>
                    <a:cubicBezTo>
                      <a:pt x="147" y="299"/>
                      <a:pt x="147" y="299"/>
                      <a:pt x="147" y="299"/>
                    </a:cubicBezTo>
                    <a:cubicBezTo>
                      <a:pt x="146" y="305"/>
                      <a:pt x="146" y="305"/>
                      <a:pt x="146" y="305"/>
                    </a:cubicBezTo>
                    <a:cubicBezTo>
                      <a:pt x="147" y="311"/>
                      <a:pt x="147" y="311"/>
                      <a:pt x="147" y="311"/>
                    </a:cubicBezTo>
                    <a:cubicBezTo>
                      <a:pt x="153" y="319"/>
                      <a:pt x="153" y="319"/>
                      <a:pt x="153" y="319"/>
                    </a:cubicBezTo>
                    <a:cubicBezTo>
                      <a:pt x="159" y="322"/>
                      <a:pt x="159" y="322"/>
                      <a:pt x="159" y="322"/>
                    </a:cubicBezTo>
                    <a:cubicBezTo>
                      <a:pt x="163" y="327"/>
                      <a:pt x="163" y="327"/>
                      <a:pt x="163" y="327"/>
                    </a:cubicBezTo>
                    <a:cubicBezTo>
                      <a:pt x="165" y="327"/>
                      <a:pt x="165" y="327"/>
                      <a:pt x="165" y="327"/>
                    </a:cubicBezTo>
                    <a:cubicBezTo>
                      <a:pt x="170" y="323"/>
                      <a:pt x="170" y="323"/>
                      <a:pt x="170" y="323"/>
                    </a:cubicBezTo>
                    <a:cubicBezTo>
                      <a:pt x="175" y="321"/>
                      <a:pt x="175" y="321"/>
                      <a:pt x="175" y="321"/>
                    </a:cubicBezTo>
                    <a:cubicBezTo>
                      <a:pt x="179" y="324"/>
                      <a:pt x="179" y="324"/>
                      <a:pt x="179" y="324"/>
                    </a:cubicBezTo>
                    <a:cubicBezTo>
                      <a:pt x="187" y="325"/>
                      <a:pt x="187" y="325"/>
                      <a:pt x="187" y="325"/>
                    </a:cubicBezTo>
                    <a:cubicBezTo>
                      <a:pt x="190" y="328"/>
                      <a:pt x="190" y="328"/>
                      <a:pt x="190" y="328"/>
                    </a:cubicBezTo>
                    <a:cubicBezTo>
                      <a:pt x="192" y="333"/>
                      <a:pt x="192" y="333"/>
                      <a:pt x="192" y="333"/>
                    </a:cubicBezTo>
                    <a:cubicBezTo>
                      <a:pt x="194" y="334"/>
                      <a:pt x="194" y="334"/>
                      <a:pt x="194" y="334"/>
                    </a:cubicBezTo>
                    <a:cubicBezTo>
                      <a:pt x="195" y="332"/>
                      <a:pt x="195" y="332"/>
                      <a:pt x="195" y="332"/>
                    </a:cubicBezTo>
                    <a:cubicBezTo>
                      <a:pt x="195" y="326"/>
                      <a:pt x="195" y="326"/>
                      <a:pt x="195" y="326"/>
                    </a:cubicBezTo>
                    <a:cubicBezTo>
                      <a:pt x="196" y="324"/>
                      <a:pt x="196" y="324"/>
                      <a:pt x="196" y="324"/>
                    </a:cubicBezTo>
                    <a:cubicBezTo>
                      <a:pt x="200" y="326"/>
                      <a:pt x="200" y="326"/>
                      <a:pt x="200" y="326"/>
                    </a:cubicBezTo>
                    <a:cubicBezTo>
                      <a:pt x="200" y="328"/>
                      <a:pt x="200" y="328"/>
                      <a:pt x="200" y="328"/>
                    </a:cubicBezTo>
                    <a:cubicBezTo>
                      <a:pt x="196" y="334"/>
                      <a:pt x="196" y="334"/>
                      <a:pt x="196" y="334"/>
                    </a:cubicBezTo>
                    <a:cubicBezTo>
                      <a:pt x="196" y="338"/>
                      <a:pt x="196" y="338"/>
                      <a:pt x="196" y="338"/>
                    </a:cubicBezTo>
                    <a:cubicBezTo>
                      <a:pt x="198" y="338"/>
                      <a:pt x="198" y="338"/>
                      <a:pt x="198" y="338"/>
                    </a:cubicBezTo>
                    <a:cubicBezTo>
                      <a:pt x="203" y="333"/>
                      <a:pt x="203" y="333"/>
                      <a:pt x="203" y="333"/>
                    </a:cubicBezTo>
                    <a:cubicBezTo>
                      <a:pt x="204" y="330"/>
                      <a:pt x="204" y="330"/>
                      <a:pt x="204" y="330"/>
                    </a:cubicBezTo>
                    <a:cubicBezTo>
                      <a:pt x="210" y="329"/>
                      <a:pt x="210" y="329"/>
                      <a:pt x="210" y="329"/>
                    </a:cubicBezTo>
                    <a:cubicBezTo>
                      <a:pt x="217" y="323"/>
                      <a:pt x="217" y="323"/>
                      <a:pt x="217" y="323"/>
                    </a:cubicBezTo>
                    <a:cubicBezTo>
                      <a:pt x="223" y="323"/>
                      <a:pt x="223" y="323"/>
                      <a:pt x="223" y="323"/>
                    </a:cubicBezTo>
                    <a:cubicBezTo>
                      <a:pt x="225" y="318"/>
                      <a:pt x="225" y="318"/>
                      <a:pt x="225" y="318"/>
                    </a:cubicBezTo>
                    <a:cubicBezTo>
                      <a:pt x="226" y="318"/>
                      <a:pt x="226" y="318"/>
                      <a:pt x="226" y="318"/>
                    </a:cubicBezTo>
                    <a:cubicBezTo>
                      <a:pt x="227" y="321"/>
                      <a:pt x="227" y="321"/>
                      <a:pt x="227" y="321"/>
                    </a:cubicBezTo>
                    <a:cubicBezTo>
                      <a:pt x="229" y="322"/>
                      <a:pt x="229" y="322"/>
                      <a:pt x="229" y="322"/>
                    </a:cubicBezTo>
                    <a:cubicBezTo>
                      <a:pt x="235" y="317"/>
                      <a:pt x="235" y="317"/>
                      <a:pt x="235" y="317"/>
                    </a:cubicBezTo>
                    <a:cubicBezTo>
                      <a:pt x="240" y="317"/>
                      <a:pt x="240" y="317"/>
                      <a:pt x="240" y="317"/>
                    </a:cubicBezTo>
                    <a:cubicBezTo>
                      <a:pt x="242" y="315"/>
                      <a:pt x="242" y="315"/>
                      <a:pt x="242" y="315"/>
                    </a:cubicBezTo>
                    <a:cubicBezTo>
                      <a:pt x="240" y="318"/>
                      <a:pt x="240" y="318"/>
                      <a:pt x="240" y="318"/>
                    </a:cubicBezTo>
                    <a:cubicBezTo>
                      <a:pt x="236" y="322"/>
                      <a:pt x="236" y="322"/>
                      <a:pt x="236" y="322"/>
                    </a:cubicBezTo>
                    <a:cubicBezTo>
                      <a:pt x="236" y="324"/>
                      <a:pt x="236" y="324"/>
                      <a:pt x="236" y="324"/>
                    </a:cubicBezTo>
                    <a:cubicBezTo>
                      <a:pt x="238" y="325"/>
                      <a:pt x="238" y="325"/>
                      <a:pt x="238" y="325"/>
                    </a:cubicBezTo>
                    <a:cubicBezTo>
                      <a:pt x="235" y="332"/>
                      <a:pt x="235" y="332"/>
                      <a:pt x="235" y="332"/>
                    </a:cubicBezTo>
                    <a:cubicBezTo>
                      <a:pt x="230" y="333"/>
                      <a:pt x="230" y="333"/>
                      <a:pt x="230" y="333"/>
                    </a:cubicBezTo>
                    <a:cubicBezTo>
                      <a:pt x="228" y="331"/>
                      <a:pt x="228" y="331"/>
                      <a:pt x="228" y="331"/>
                    </a:cubicBezTo>
                    <a:cubicBezTo>
                      <a:pt x="226" y="331"/>
                      <a:pt x="226" y="331"/>
                      <a:pt x="226" y="331"/>
                    </a:cubicBezTo>
                    <a:cubicBezTo>
                      <a:pt x="221" y="335"/>
                      <a:pt x="221" y="335"/>
                      <a:pt x="221" y="335"/>
                    </a:cubicBezTo>
                    <a:cubicBezTo>
                      <a:pt x="221" y="336"/>
                      <a:pt x="221" y="336"/>
                      <a:pt x="221" y="336"/>
                    </a:cubicBezTo>
                    <a:cubicBezTo>
                      <a:pt x="225" y="337"/>
                      <a:pt x="225" y="337"/>
                      <a:pt x="225" y="337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227" y="346"/>
                      <a:pt x="227" y="346"/>
                      <a:pt x="227" y="346"/>
                    </a:cubicBezTo>
                    <a:cubicBezTo>
                      <a:pt x="221" y="354"/>
                      <a:pt x="221" y="354"/>
                      <a:pt x="221" y="354"/>
                    </a:cubicBezTo>
                    <a:cubicBezTo>
                      <a:pt x="220" y="359"/>
                      <a:pt x="220" y="359"/>
                      <a:pt x="220" y="359"/>
                    </a:cubicBezTo>
                    <a:cubicBezTo>
                      <a:pt x="219" y="362"/>
                      <a:pt x="219" y="362"/>
                      <a:pt x="219" y="362"/>
                    </a:cubicBezTo>
                    <a:cubicBezTo>
                      <a:pt x="218" y="365"/>
                      <a:pt x="218" y="365"/>
                      <a:pt x="218" y="365"/>
                    </a:cubicBezTo>
                    <a:cubicBezTo>
                      <a:pt x="219" y="367"/>
                      <a:pt x="219" y="367"/>
                      <a:pt x="219" y="367"/>
                    </a:cubicBezTo>
                    <a:cubicBezTo>
                      <a:pt x="219" y="370"/>
                      <a:pt x="219" y="370"/>
                      <a:pt x="219" y="370"/>
                    </a:cubicBezTo>
                    <a:cubicBezTo>
                      <a:pt x="218" y="374"/>
                      <a:pt x="218" y="374"/>
                      <a:pt x="218" y="374"/>
                    </a:cubicBezTo>
                    <a:cubicBezTo>
                      <a:pt x="215" y="380"/>
                      <a:pt x="215" y="380"/>
                      <a:pt x="215" y="380"/>
                    </a:cubicBezTo>
                    <a:cubicBezTo>
                      <a:pt x="212" y="382"/>
                      <a:pt x="212" y="382"/>
                      <a:pt x="212" y="382"/>
                    </a:cubicBezTo>
                    <a:cubicBezTo>
                      <a:pt x="208" y="382"/>
                      <a:pt x="208" y="382"/>
                      <a:pt x="208" y="382"/>
                    </a:cubicBezTo>
                    <a:cubicBezTo>
                      <a:pt x="206" y="384"/>
                      <a:pt x="206" y="384"/>
                      <a:pt x="206" y="384"/>
                    </a:cubicBezTo>
                    <a:cubicBezTo>
                      <a:pt x="202" y="388"/>
                      <a:pt x="202" y="388"/>
                      <a:pt x="202" y="388"/>
                    </a:cubicBezTo>
                    <a:cubicBezTo>
                      <a:pt x="199" y="389"/>
                      <a:pt x="199" y="389"/>
                      <a:pt x="199" y="389"/>
                    </a:cubicBezTo>
                    <a:cubicBezTo>
                      <a:pt x="195" y="388"/>
                      <a:pt x="195" y="388"/>
                      <a:pt x="195" y="388"/>
                    </a:cubicBezTo>
                    <a:cubicBezTo>
                      <a:pt x="190" y="384"/>
                      <a:pt x="190" y="384"/>
                      <a:pt x="190" y="384"/>
                    </a:cubicBezTo>
                    <a:cubicBezTo>
                      <a:pt x="188" y="385"/>
                      <a:pt x="188" y="385"/>
                      <a:pt x="188" y="385"/>
                    </a:cubicBezTo>
                    <a:cubicBezTo>
                      <a:pt x="187" y="383"/>
                      <a:pt x="187" y="383"/>
                      <a:pt x="187" y="383"/>
                    </a:cubicBezTo>
                    <a:cubicBezTo>
                      <a:pt x="187" y="383"/>
                      <a:pt x="187" y="383"/>
                      <a:pt x="187" y="383"/>
                    </a:cubicBezTo>
                    <a:cubicBezTo>
                      <a:pt x="183" y="386"/>
                      <a:pt x="179" y="388"/>
                      <a:pt x="175" y="390"/>
                    </a:cubicBezTo>
                    <a:cubicBezTo>
                      <a:pt x="173" y="393"/>
                      <a:pt x="173" y="393"/>
                      <a:pt x="173" y="393"/>
                    </a:cubicBezTo>
                    <a:cubicBezTo>
                      <a:pt x="165" y="396"/>
                      <a:pt x="165" y="396"/>
                      <a:pt x="165" y="396"/>
                    </a:cubicBezTo>
                    <a:cubicBezTo>
                      <a:pt x="163" y="398"/>
                      <a:pt x="163" y="398"/>
                      <a:pt x="163" y="398"/>
                    </a:cubicBezTo>
                    <a:cubicBezTo>
                      <a:pt x="160" y="399"/>
                      <a:pt x="160" y="399"/>
                      <a:pt x="160" y="399"/>
                    </a:cubicBezTo>
                    <a:cubicBezTo>
                      <a:pt x="158" y="398"/>
                      <a:pt x="158" y="398"/>
                      <a:pt x="158" y="398"/>
                    </a:cubicBezTo>
                    <a:cubicBezTo>
                      <a:pt x="158" y="399"/>
                      <a:pt x="157" y="399"/>
                      <a:pt x="157" y="400"/>
                    </a:cubicBezTo>
                    <a:cubicBezTo>
                      <a:pt x="151" y="406"/>
                      <a:pt x="145" y="412"/>
                      <a:pt x="138" y="415"/>
                    </a:cubicBezTo>
                    <a:cubicBezTo>
                      <a:pt x="137" y="417"/>
                      <a:pt x="137" y="417"/>
                      <a:pt x="137" y="417"/>
                    </a:cubicBezTo>
                    <a:cubicBezTo>
                      <a:pt x="135" y="420"/>
                      <a:pt x="135" y="420"/>
                      <a:pt x="135" y="420"/>
                    </a:cubicBezTo>
                    <a:cubicBezTo>
                      <a:pt x="134" y="417"/>
                      <a:pt x="134" y="417"/>
                      <a:pt x="134" y="417"/>
                    </a:cubicBezTo>
                    <a:cubicBezTo>
                      <a:pt x="134" y="417"/>
                      <a:pt x="134" y="417"/>
                      <a:pt x="134" y="417"/>
                    </a:cubicBezTo>
                    <a:cubicBezTo>
                      <a:pt x="131" y="417"/>
                      <a:pt x="128" y="418"/>
                      <a:pt x="124" y="417"/>
                    </a:cubicBezTo>
                    <a:cubicBezTo>
                      <a:pt x="125" y="419"/>
                      <a:pt x="125" y="419"/>
                      <a:pt x="125" y="419"/>
                    </a:cubicBezTo>
                    <a:cubicBezTo>
                      <a:pt x="124" y="422"/>
                      <a:pt x="124" y="422"/>
                      <a:pt x="124" y="422"/>
                    </a:cubicBezTo>
                    <a:cubicBezTo>
                      <a:pt x="122" y="422"/>
                      <a:pt x="122" y="422"/>
                      <a:pt x="122" y="422"/>
                    </a:cubicBezTo>
                    <a:cubicBezTo>
                      <a:pt x="121" y="418"/>
                      <a:pt x="121" y="418"/>
                      <a:pt x="121" y="418"/>
                    </a:cubicBezTo>
                    <a:cubicBezTo>
                      <a:pt x="120" y="417"/>
                      <a:pt x="120" y="417"/>
                      <a:pt x="120" y="417"/>
                    </a:cubicBezTo>
                    <a:cubicBezTo>
                      <a:pt x="118" y="416"/>
                      <a:pt x="117" y="415"/>
                      <a:pt x="116" y="414"/>
                    </a:cubicBezTo>
                    <a:cubicBezTo>
                      <a:pt x="111" y="420"/>
                      <a:pt x="111" y="420"/>
                      <a:pt x="111" y="420"/>
                    </a:cubicBezTo>
                    <a:cubicBezTo>
                      <a:pt x="109" y="426"/>
                      <a:pt x="109" y="426"/>
                      <a:pt x="109" y="426"/>
                    </a:cubicBezTo>
                    <a:cubicBezTo>
                      <a:pt x="107" y="427"/>
                      <a:pt x="107" y="427"/>
                      <a:pt x="107" y="427"/>
                    </a:cubicBezTo>
                    <a:cubicBezTo>
                      <a:pt x="104" y="427"/>
                      <a:pt x="104" y="427"/>
                      <a:pt x="104" y="427"/>
                    </a:cubicBezTo>
                    <a:cubicBezTo>
                      <a:pt x="96" y="436"/>
                      <a:pt x="96" y="436"/>
                      <a:pt x="96" y="436"/>
                    </a:cubicBezTo>
                    <a:cubicBezTo>
                      <a:pt x="95" y="442"/>
                      <a:pt x="95" y="442"/>
                      <a:pt x="95" y="442"/>
                    </a:cubicBezTo>
                    <a:cubicBezTo>
                      <a:pt x="93" y="444"/>
                      <a:pt x="93" y="444"/>
                      <a:pt x="93" y="444"/>
                    </a:cubicBezTo>
                    <a:cubicBezTo>
                      <a:pt x="90" y="445"/>
                      <a:pt x="90" y="445"/>
                      <a:pt x="90" y="445"/>
                    </a:cubicBezTo>
                    <a:cubicBezTo>
                      <a:pt x="86" y="443"/>
                      <a:pt x="86" y="443"/>
                      <a:pt x="86" y="443"/>
                    </a:cubicBezTo>
                    <a:cubicBezTo>
                      <a:pt x="85" y="444"/>
                      <a:pt x="85" y="444"/>
                      <a:pt x="85" y="444"/>
                    </a:cubicBezTo>
                    <a:cubicBezTo>
                      <a:pt x="89" y="449"/>
                      <a:pt x="89" y="449"/>
                      <a:pt x="89" y="449"/>
                    </a:cubicBezTo>
                    <a:cubicBezTo>
                      <a:pt x="88" y="452"/>
                      <a:pt x="88" y="452"/>
                      <a:pt x="88" y="452"/>
                    </a:cubicBezTo>
                    <a:cubicBezTo>
                      <a:pt x="86" y="453"/>
                      <a:pt x="86" y="453"/>
                      <a:pt x="86" y="453"/>
                    </a:cubicBezTo>
                    <a:cubicBezTo>
                      <a:pt x="84" y="449"/>
                      <a:pt x="84" y="449"/>
                      <a:pt x="84" y="449"/>
                    </a:cubicBezTo>
                    <a:cubicBezTo>
                      <a:pt x="82" y="449"/>
                      <a:pt x="82" y="449"/>
                      <a:pt x="82" y="449"/>
                    </a:cubicBezTo>
                    <a:cubicBezTo>
                      <a:pt x="81" y="453"/>
                      <a:pt x="81" y="453"/>
                      <a:pt x="81" y="453"/>
                    </a:cubicBezTo>
                    <a:cubicBezTo>
                      <a:pt x="76" y="459"/>
                      <a:pt x="76" y="459"/>
                      <a:pt x="76" y="459"/>
                    </a:cubicBezTo>
                    <a:cubicBezTo>
                      <a:pt x="76" y="462"/>
                      <a:pt x="76" y="462"/>
                      <a:pt x="76" y="462"/>
                    </a:cubicBezTo>
                    <a:cubicBezTo>
                      <a:pt x="80" y="468"/>
                      <a:pt x="80" y="468"/>
                      <a:pt x="80" y="468"/>
                    </a:cubicBezTo>
                    <a:cubicBezTo>
                      <a:pt x="80" y="473"/>
                      <a:pt x="80" y="473"/>
                      <a:pt x="80" y="473"/>
                    </a:cubicBezTo>
                    <a:cubicBezTo>
                      <a:pt x="79" y="477"/>
                      <a:pt x="79" y="477"/>
                      <a:pt x="79" y="477"/>
                    </a:cubicBezTo>
                    <a:cubicBezTo>
                      <a:pt x="78" y="481"/>
                      <a:pt x="78" y="481"/>
                      <a:pt x="78" y="481"/>
                    </a:cubicBezTo>
                    <a:cubicBezTo>
                      <a:pt x="78" y="484"/>
                      <a:pt x="78" y="484"/>
                      <a:pt x="78" y="484"/>
                    </a:cubicBezTo>
                    <a:cubicBezTo>
                      <a:pt x="81" y="484"/>
                      <a:pt x="81" y="484"/>
                      <a:pt x="81" y="484"/>
                    </a:cubicBezTo>
                    <a:cubicBezTo>
                      <a:pt x="83" y="480"/>
                      <a:pt x="83" y="480"/>
                      <a:pt x="83" y="480"/>
                    </a:cubicBezTo>
                    <a:cubicBezTo>
                      <a:pt x="84" y="483"/>
                      <a:pt x="84" y="483"/>
                      <a:pt x="84" y="483"/>
                    </a:cubicBezTo>
                    <a:cubicBezTo>
                      <a:pt x="84" y="489"/>
                      <a:pt x="84" y="489"/>
                      <a:pt x="84" y="489"/>
                    </a:cubicBezTo>
                    <a:cubicBezTo>
                      <a:pt x="82" y="490"/>
                      <a:pt x="82" y="490"/>
                      <a:pt x="82" y="490"/>
                    </a:cubicBezTo>
                    <a:cubicBezTo>
                      <a:pt x="81" y="492"/>
                      <a:pt x="81" y="492"/>
                      <a:pt x="81" y="492"/>
                    </a:cubicBezTo>
                    <a:cubicBezTo>
                      <a:pt x="82" y="494"/>
                      <a:pt x="82" y="494"/>
                      <a:pt x="82" y="494"/>
                    </a:cubicBezTo>
                    <a:cubicBezTo>
                      <a:pt x="85" y="493"/>
                      <a:pt x="85" y="493"/>
                      <a:pt x="85" y="493"/>
                    </a:cubicBezTo>
                    <a:cubicBezTo>
                      <a:pt x="86" y="491"/>
                      <a:pt x="86" y="491"/>
                      <a:pt x="86" y="491"/>
                    </a:cubicBezTo>
                    <a:cubicBezTo>
                      <a:pt x="88" y="491"/>
                      <a:pt x="88" y="491"/>
                      <a:pt x="88" y="491"/>
                    </a:cubicBezTo>
                    <a:cubicBezTo>
                      <a:pt x="90" y="493"/>
                      <a:pt x="90" y="493"/>
                      <a:pt x="90" y="493"/>
                    </a:cubicBezTo>
                    <a:cubicBezTo>
                      <a:pt x="90" y="495"/>
                      <a:pt x="90" y="495"/>
                      <a:pt x="90" y="495"/>
                    </a:cubicBezTo>
                    <a:cubicBezTo>
                      <a:pt x="94" y="496"/>
                      <a:pt x="94" y="496"/>
                      <a:pt x="94" y="496"/>
                    </a:cubicBezTo>
                    <a:cubicBezTo>
                      <a:pt x="97" y="498"/>
                      <a:pt x="97" y="498"/>
                      <a:pt x="97" y="498"/>
                    </a:cubicBezTo>
                    <a:cubicBezTo>
                      <a:pt x="101" y="498"/>
                      <a:pt x="101" y="498"/>
                      <a:pt x="101" y="498"/>
                    </a:cubicBezTo>
                    <a:cubicBezTo>
                      <a:pt x="103" y="495"/>
                      <a:pt x="103" y="495"/>
                      <a:pt x="103" y="495"/>
                    </a:cubicBezTo>
                    <a:cubicBezTo>
                      <a:pt x="105" y="487"/>
                      <a:pt x="105" y="487"/>
                      <a:pt x="105" y="487"/>
                    </a:cubicBezTo>
                    <a:cubicBezTo>
                      <a:pt x="107" y="484"/>
                      <a:pt x="107" y="484"/>
                      <a:pt x="107" y="484"/>
                    </a:cubicBezTo>
                    <a:cubicBezTo>
                      <a:pt x="114" y="484"/>
                      <a:pt x="114" y="484"/>
                      <a:pt x="114" y="484"/>
                    </a:cubicBezTo>
                    <a:cubicBezTo>
                      <a:pt x="117" y="481"/>
                      <a:pt x="117" y="481"/>
                      <a:pt x="117" y="481"/>
                    </a:cubicBezTo>
                    <a:cubicBezTo>
                      <a:pt x="113" y="486"/>
                      <a:pt x="113" y="486"/>
                      <a:pt x="113" y="486"/>
                    </a:cubicBezTo>
                    <a:cubicBezTo>
                      <a:pt x="110" y="486"/>
                      <a:pt x="110" y="486"/>
                      <a:pt x="110" y="486"/>
                    </a:cubicBezTo>
                    <a:cubicBezTo>
                      <a:pt x="105" y="493"/>
                      <a:pt x="105" y="493"/>
                      <a:pt x="105" y="493"/>
                    </a:cubicBezTo>
                    <a:cubicBezTo>
                      <a:pt x="104" y="497"/>
                      <a:pt x="104" y="497"/>
                      <a:pt x="104" y="497"/>
                    </a:cubicBezTo>
                    <a:cubicBezTo>
                      <a:pt x="102" y="500"/>
                      <a:pt x="102" y="500"/>
                      <a:pt x="102" y="500"/>
                    </a:cubicBezTo>
                    <a:cubicBezTo>
                      <a:pt x="105" y="505"/>
                      <a:pt x="105" y="505"/>
                      <a:pt x="105" y="505"/>
                    </a:cubicBezTo>
                    <a:cubicBezTo>
                      <a:pt x="105" y="508"/>
                      <a:pt x="105" y="508"/>
                      <a:pt x="105" y="508"/>
                    </a:cubicBezTo>
                    <a:cubicBezTo>
                      <a:pt x="101" y="509"/>
                      <a:pt x="101" y="509"/>
                      <a:pt x="101" y="509"/>
                    </a:cubicBezTo>
                    <a:cubicBezTo>
                      <a:pt x="99" y="508"/>
                      <a:pt x="99" y="508"/>
                      <a:pt x="99" y="508"/>
                    </a:cubicBezTo>
                    <a:cubicBezTo>
                      <a:pt x="99" y="505"/>
                      <a:pt x="99" y="505"/>
                      <a:pt x="99" y="505"/>
                    </a:cubicBezTo>
                    <a:cubicBezTo>
                      <a:pt x="97" y="503"/>
                      <a:pt x="97" y="503"/>
                      <a:pt x="97" y="503"/>
                    </a:cubicBezTo>
                    <a:cubicBezTo>
                      <a:pt x="94" y="503"/>
                      <a:pt x="94" y="503"/>
                      <a:pt x="94" y="503"/>
                    </a:cubicBezTo>
                    <a:cubicBezTo>
                      <a:pt x="92" y="499"/>
                      <a:pt x="92" y="499"/>
                      <a:pt x="92" y="499"/>
                    </a:cubicBezTo>
                    <a:cubicBezTo>
                      <a:pt x="87" y="498"/>
                      <a:pt x="87" y="498"/>
                      <a:pt x="87" y="498"/>
                    </a:cubicBezTo>
                    <a:cubicBezTo>
                      <a:pt x="86" y="495"/>
                      <a:pt x="86" y="495"/>
                      <a:pt x="86" y="495"/>
                    </a:cubicBezTo>
                    <a:cubicBezTo>
                      <a:pt x="83" y="498"/>
                      <a:pt x="83" y="498"/>
                      <a:pt x="83" y="498"/>
                    </a:cubicBezTo>
                    <a:cubicBezTo>
                      <a:pt x="80" y="499"/>
                      <a:pt x="80" y="499"/>
                      <a:pt x="80" y="499"/>
                    </a:cubicBezTo>
                    <a:cubicBezTo>
                      <a:pt x="79" y="502"/>
                      <a:pt x="79" y="502"/>
                      <a:pt x="79" y="502"/>
                    </a:cubicBezTo>
                    <a:cubicBezTo>
                      <a:pt x="76" y="505"/>
                      <a:pt x="76" y="505"/>
                      <a:pt x="76" y="505"/>
                    </a:cubicBezTo>
                    <a:cubicBezTo>
                      <a:pt x="72" y="504"/>
                      <a:pt x="72" y="504"/>
                      <a:pt x="72" y="504"/>
                    </a:cubicBezTo>
                    <a:cubicBezTo>
                      <a:pt x="72" y="507"/>
                      <a:pt x="72" y="507"/>
                      <a:pt x="72" y="507"/>
                    </a:cubicBezTo>
                    <a:cubicBezTo>
                      <a:pt x="73" y="510"/>
                      <a:pt x="73" y="510"/>
                      <a:pt x="73" y="510"/>
                    </a:cubicBezTo>
                    <a:cubicBezTo>
                      <a:pt x="75" y="510"/>
                      <a:pt x="75" y="510"/>
                      <a:pt x="75" y="510"/>
                    </a:cubicBezTo>
                    <a:cubicBezTo>
                      <a:pt x="73" y="514"/>
                      <a:pt x="73" y="514"/>
                      <a:pt x="73" y="514"/>
                    </a:cubicBezTo>
                    <a:cubicBezTo>
                      <a:pt x="72" y="519"/>
                      <a:pt x="72" y="519"/>
                      <a:pt x="72" y="519"/>
                    </a:cubicBezTo>
                    <a:cubicBezTo>
                      <a:pt x="73" y="523"/>
                      <a:pt x="73" y="523"/>
                      <a:pt x="73" y="523"/>
                    </a:cubicBezTo>
                    <a:cubicBezTo>
                      <a:pt x="76" y="524"/>
                      <a:pt x="76" y="524"/>
                      <a:pt x="76" y="524"/>
                    </a:cubicBezTo>
                    <a:cubicBezTo>
                      <a:pt x="76" y="531"/>
                      <a:pt x="76" y="531"/>
                      <a:pt x="76" y="531"/>
                    </a:cubicBezTo>
                    <a:cubicBezTo>
                      <a:pt x="77" y="533"/>
                      <a:pt x="77" y="533"/>
                      <a:pt x="77" y="533"/>
                    </a:cubicBezTo>
                    <a:cubicBezTo>
                      <a:pt x="77" y="537"/>
                      <a:pt x="77" y="537"/>
                      <a:pt x="77" y="537"/>
                    </a:cubicBezTo>
                    <a:cubicBezTo>
                      <a:pt x="80" y="540"/>
                      <a:pt x="80" y="540"/>
                      <a:pt x="80" y="540"/>
                    </a:cubicBezTo>
                    <a:cubicBezTo>
                      <a:pt x="80" y="542"/>
                      <a:pt x="80" y="542"/>
                      <a:pt x="80" y="542"/>
                    </a:cubicBezTo>
                    <a:cubicBezTo>
                      <a:pt x="76" y="543"/>
                      <a:pt x="76" y="543"/>
                      <a:pt x="76" y="543"/>
                    </a:cubicBezTo>
                    <a:cubicBezTo>
                      <a:pt x="75" y="545"/>
                      <a:pt x="75" y="545"/>
                      <a:pt x="75" y="545"/>
                    </a:cubicBezTo>
                    <a:cubicBezTo>
                      <a:pt x="87" y="552"/>
                      <a:pt x="87" y="552"/>
                      <a:pt x="87" y="552"/>
                    </a:cubicBezTo>
                    <a:cubicBezTo>
                      <a:pt x="92" y="551"/>
                      <a:pt x="92" y="551"/>
                      <a:pt x="92" y="551"/>
                    </a:cubicBezTo>
                    <a:cubicBezTo>
                      <a:pt x="97" y="549"/>
                      <a:pt x="97" y="549"/>
                      <a:pt x="97" y="549"/>
                    </a:cubicBezTo>
                    <a:cubicBezTo>
                      <a:pt x="100" y="547"/>
                      <a:pt x="100" y="547"/>
                      <a:pt x="100" y="547"/>
                    </a:cubicBezTo>
                    <a:cubicBezTo>
                      <a:pt x="102" y="549"/>
                      <a:pt x="102" y="549"/>
                      <a:pt x="102" y="549"/>
                    </a:cubicBezTo>
                    <a:cubicBezTo>
                      <a:pt x="104" y="549"/>
                      <a:pt x="104" y="549"/>
                      <a:pt x="104" y="549"/>
                    </a:cubicBezTo>
                    <a:cubicBezTo>
                      <a:pt x="109" y="541"/>
                      <a:pt x="109" y="541"/>
                      <a:pt x="109" y="541"/>
                    </a:cubicBezTo>
                    <a:cubicBezTo>
                      <a:pt x="109" y="537"/>
                      <a:pt x="109" y="537"/>
                      <a:pt x="109" y="537"/>
                    </a:cubicBezTo>
                    <a:cubicBezTo>
                      <a:pt x="107" y="534"/>
                      <a:pt x="107" y="534"/>
                      <a:pt x="107" y="534"/>
                    </a:cubicBezTo>
                    <a:cubicBezTo>
                      <a:pt x="107" y="532"/>
                      <a:pt x="107" y="532"/>
                      <a:pt x="107" y="532"/>
                    </a:cubicBezTo>
                    <a:cubicBezTo>
                      <a:pt x="112" y="529"/>
                      <a:pt x="112" y="529"/>
                      <a:pt x="112" y="529"/>
                    </a:cubicBezTo>
                    <a:cubicBezTo>
                      <a:pt x="117" y="524"/>
                      <a:pt x="117" y="524"/>
                      <a:pt x="117" y="524"/>
                    </a:cubicBezTo>
                    <a:cubicBezTo>
                      <a:pt x="125" y="518"/>
                      <a:pt x="125" y="518"/>
                      <a:pt x="125" y="518"/>
                    </a:cubicBezTo>
                    <a:cubicBezTo>
                      <a:pt x="129" y="519"/>
                      <a:pt x="129" y="519"/>
                      <a:pt x="129" y="519"/>
                    </a:cubicBezTo>
                    <a:cubicBezTo>
                      <a:pt x="125" y="519"/>
                      <a:pt x="125" y="519"/>
                      <a:pt x="125" y="519"/>
                    </a:cubicBezTo>
                    <a:cubicBezTo>
                      <a:pt x="118" y="528"/>
                      <a:pt x="118" y="528"/>
                      <a:pt x="118" y="528"/>
                    </a:cubicBezTo>
                    <a:cubicBezTo>
                      <a:pt x="113" y="531"/>
                      <a:pt x="113" y="531"/>
                      <a:pt x="113" y="531"/>
                    </a:cubicBezTo>
                    <a:cubicBezTo>
                      <a:pt x="113" y="534"/>
                      <a:pt x="113" y="534"/>
                      <a:pt x="113" y="534"/>
                    </a:cubicBezTo>
                    <a:cubicBezTo>
                      <a:pt x="116" y="537"/>
                      <a:pt x="116" y="537"/>
                      <a:pt x="116" y="537"/>
                    </a:cubicBezTo>
                    <a:cubicBezTo>
                      <a:pt x="116" y="540"/>
                      <a:pt x="116" y="540"/>
                      <a:pt x="116" y="540"/>
                    </a:cubicBezTo>
                    <a:cubicBezTo>
                      <a:pt x="113" y="546"/>
                      <a:pt x="113" y="546"/>
                      <a:pt x="113" y="546"/>
                    </a:cubicBezTo>
                    <a:cubicBezTo>
                      <a:pt x="109" y="549"/>
                      <a:pt x="109" y="549"/>
                      <a:pt x="109" y="549"/>
                    </a:cubicBezTo>
                    <a:cubicBezTo>
                      <a:pt x="108" y="553"/>
                      <a:pt x="108" y="553"/>
                      <a:pt x="108" y="553"/>
                    </a:cubicBezTo>
                    <a:cubicBezTo>
                      <a:pt x="109" y="559"/>
                      <a:pt x="109" y="559"/>
                      <a:pt x="109" y="559"/>
                    </a:cubicBezTo>
                    <a:cubicBezTo>
                      <a:pt x="108" y="563"/>
                      <a:pt x="108" y="563"/>
                      <a:pt x="108" y="563"/>
                    </a:cubicBezTo>
                    <a:cubicBezTo>
                      <a:pt x="108" y="565"/>
                      <a:pt x="108" y="565"/>
                      <a:pt x="108" y="565"/>
                    </a:cubicBezTo>
                    <a:cubicBezTo>
                      <a:pt x="108" y="569"/>
                      <a:pt x="108" y="569"/>
                      <a:pt x="108" y="569"/>
                    </a:cubicBezTo>
                    <a:cubicBezTo>
                      <a:pt x="109" y="574"/>
                      <a:pt x="109" y="574"/>
                      <a:pt x="109" y="574"/>
                    </a:cubicBezTo>
                    <a:cubicBezTo>
                      <a:pt x="104" y="576"/>
                      <a:pt x="104" y="576"/>
                      <a:pt x="104" y="576"/>
                    </a:cubicBezTo>
                    <a:cubicBezTo>
                      <a:pt x="101" y="578"/>
                      <a:pt x="101" y="578"/>
                      <a:pt x="101" y="578"/>
                    </a:cubicBezTo>
                    <a:cubicBezTo>
                      <a:pt x="100" y="581"/>
                      <a:pt x="100" y="581"/>
                      <a:pt x="100" y="581"/>
                    </a:cubicBezTo>
                    <a:cubicBezTo>
                      <a:pt x="99" y="581"/>
                      <a:pt x="99" y="581"/>
                      <a:pt x="99" y="581"/>
                    </a:cubicBezTo>
                    <a:cubicBezTo>
                      <a:pt x="97" y="582"/>
                      <a:pt x="97" y="582"/>
                      <a:pt x="97" y="582"/>
                    </a:cubicBezTo>
                    <a:cubicBezTo>
                      <a:pt x="99" y="586"/>
                      <a:pt x="99" y="586"/>
                      <a:pt x="99" y="586"/>
                    </a:cubicBezTo>
                    <a:cubicBezTo>
                      <a:pt x="99" y="591"/>
                      <a:pt x="99" y="591"/>
                      <a:pt x="99" y="591"/>
                    </a:cubicBezTo>
                    <a:cubicBezTo>
                      <a:pt x="100" y="592"/>
                      <a:pt x="100" y="592"/>
                      <a:pt x="100" y="592"/>
                    </a:cubicBezTo>
                    <a:cubicBezTo>
                      <a:pt x="104" y="590"/>
                      <a:pt x="104" y="590"/>
                      <a:pt x="104" y="590"/>
                    </a:cubicBezTo>
                    <a:cubicBezTo>
                      <a:pt x="106" y="590"/>
                      <a:pt x="106" y="590"/>
                      <a:pt x="106" y="590"/>
                    </a:cubicBezTo>
                    <a:cubicBezTo>
                      <a:pt x="107" y="593"/>
                      <a:pt x="107" y="593"/>
                      <a:pt x="107" y="593"/>
                    </a:cubicBezTo>
                    <a:cubicBezTo>
                      <a:pt x="105" y="595"/>
                      <a:pt x="105" y="595"/>
                      <a:pt x="105" y="595"/>
                    </a:cubicBezTo>
                    <a:cubicBezTo>
                      <a:pt x="101" y="595"/>
                      <a:pt x="101" y="595"/>
                      <a:pt x="101" y="595"/>
                    </a:cubicBezTo>
                    <a:cubicBezTo>
                      <a:pt x="99" y="597"/>
                      <a:pt x="99" y="597"/>
                      <a:pt x="99" y="597"/>
                    </a:cubicBezTo>
                    <a:cubicBezTo>
                      <a:pt x="100" y="599"/>
                      <a:pt x="100" y="599"/>
                      <a:pt x="100" y="599"/>
                    </a:cubicBezTo>
                    <a:cubicBezTo>
                      <a:pt x="100" y="601"/>
                      <a:pt x="100" y="601"/>
                      <a:pt x="100" y="601"/>
                    </a:cubicBezTo>
                    <a:cubicBezTo>
                      <a:pt x="100" y="604"/>
                      <a:pt x="100" y="604"/>
                      <a:pt x="100" y="604"/>
                    </a:cubicBezTo>
                    <a:cubicBezTo>
                      <a:pt x="98" y="606"/>
                      <a:pt x="98" y="606"/>
                      <a:pt x="98" y="606"/>
                    </a:cubicBezTo>
                    <a:cubicBezTo>
                      <a:pt x="95" y="607"/>
                      <a:pt x="95" y="607"/>
                      <a:pt x="95" y="607"/>
                    </a:cubicBezTo>
                    <a:cubicBezTo>
                      <a:pt x="92" y="610"/>
                      <a:pt x="92" y="610"/>
                      <a:pt x="92" y="610"/>
                    </a:cubicBezTo>
                    <a:cubicBezTo>
                      <a:pt x="90" y="609"/>
                      <a:pt x="90" y="609"/>
                      <a:pt x="90" y="609"/>
                    </a:cubicBezTo>
                    <a:cubicBezTo>
                      <a:pt x="88" y="610"/>
                      <a:pt x="88" y="610"/>
                      <a:pt x="88" y="610"/>
                    </a:cubicBezTo>
                    <a:cubicBezTo>
                      <a:pt x="91" y="612"/>
                      <a:pt x="91" y="612"/>
                      <a:pt x="91" y="612"/>
                    </a:cubicBezTo>
                    <a:cubicBezTo>
                      <a:pt x="94" y="612"/>
                      <a:pt x="94" y="612"/>
                      <a:pt x="94" y="612"/>
                    </a:cubicBezTo>
                    <a:cubicBezTo>
                      <a:pt x="96" y="615"/>
                      <a:pt x="96" y="615"/>
                      <a:pt x="96" y="615"/>
                    </a:cubicBezTo>
                    <a:cubicBezTo>
                      <a:pt x="100" y="610"/>
                      <a:pt x="100" y="610"/>
                      <a:pt x="100" y="610"/>
                    </a:cubicBezTo>
                    <a:cubicBezTo>
                      <a:pt x="108" y="604"/>
                      <a:pt x="108" y="604"/>
                      <a:pt x="108" y="604"/>
                    </a:cubicBezTo>
                    <a:cubicBezTo>
                      <a:pt x="109" y="604"/>
                      <a:pt x="109" y="604"/>
                      <a:pt x="109" y="604"/>
                    </a:cubicBezTo>
                    <a:cubicBezTo>
                      <a:pt x="112" y="605"/>
                      <a:pt x="112" y="605"/>
                      <a:pt x="112" y="605"/>
                    </a:cubicBezTo>
                    <a:cubicBezTo>
                      <a:pt x="115" y="602"/>
                      <a:pt x="115" y="602"/>
                      <a:pt x="115" y="602"/>
                    </a:cubicBezTo>
                    <a:cubicBezTo>
                      <a:pt x="120" y="599"/>
                      <a:pt x="120" y="599"/>
                      <a:pt x="120" y="599"/>
                    </a:cubicBezTo>
                    <a:cubicBezTo>
                      <a:pt x="120" y="602"/>
                      <a:pt x="120" y="602"/>
                      <a:pt x="120" y="602"/>
                    </a:cubicBezTo>
                    <a:cubicBezTo>
                      <a:pt x="117" y="604"/>
                      <a:pt x="117" y="604"/>
                      <a:pt x="117" y="604"/>
                    </a:cubicBezTo>
                    <a:cubicBezTo>
                      <a:pt x="117" y="606"/>
                      <a:pt x="117" y="606"/>
                      <a:pt x="117" y="606"/>
                    </a:cubicBezTo>
                    <a:cubicBezTo>
                      <a:pt x="120" y="607"/>
                      <a:pt x="120" y="607"/>
                      <a:pt x="120" y="607"/>
                    </a:cubicBezTo>
                    <a:cubicBezTo>
                      <a:pt x="121" y="611"/>
                      <a:pt x="121" y="611"/>
                      <a:pt x="121" y="611"/>
                    </a:cubicBezTo>
                    <a:cubicBezTo>
                      <a:pt x="120" y="613"/>
                      <a:pt x="120" y="613"/>
                      <a:pt x="120" y="613"/>
                    </a:cubicBezTo>
                    <a:cubicBezTo>
                      <a:pt x="123" y="615"/>
                      <a:pt x="123" y="615"/>
                      <a:pt x="123" y="615"/>
                    </a:cubicBezTo>
                    <a:cubicBezTo>
                      <a:pt x="126" y="612"/>
                      <a:pt x="126" y="612"/>
                      <a:pt x="126" y="612"/>
                    </a:cubicBezTo>
                    <a:cubicBezTo>
                      <a:pt x="127" y="609"/>
                      <a:pt x="127" y="609"/>
                      <a:pt x="127" y="609"/>
                    </a:cubicBezTo>
                    <a:cubicBezTo>
                      <a:pt x="129" y="611"/>
                      <a:pt x="129" y="611"/>
                      <a:pt x="129" y="611"/>
                    </a:cubicBezTo>
                    <a:cubicBezTo>
                      <a:pt x="127" y="613"/>
                      <a:pt x="127" y="613"/>
                      <a:pt x="127" y="613"/>
                    </a:cubicBezTo>
                    <a:cubicBezTo>
                      <a:pt x="130" y="618"/>
                      <a:pt x="130" y="618"/>
                      <a:pt x="130" y="618"/>
                    </a:cubicBezTo>
                    <a:cubicBezTo>
                      <a:pt x="131" y="625"/>
                      <a:pt x="131" y="625"/>
                      <a:pt x="131" y="625"/>
                    </a:cubicBezTo>
                    <a:cubicBezTo>
                      <a:pt x="130" y="629"/>
                      <a:pt x="130" y="629"/>
                      <a:pt x="130" y="629"/>
                    </a:cubicBezTo>
                    <a:cubicBezTo>
                      <a:pt x="132" y="635"/>
                      <a:pt x="132" y="635"/>
                      <a:pt x="132" y="635"/>
                    </a:cubicBezTo>
                    <a:cubicBezTo>
                      <a:pt x="134" y="635"/>
                      <a:pt x="134" y="635"/>
                      <a:pt x="134" y="635"/>
                    </a:cubicBezTo>
                    <a:cubicBezTo>
                      <a:pt x="136" y="630"/>
                      <a:pt x="136" y="630"/>
                      <a:pt x="136" y="630"/>
                    </a:cubicBezTo>
                    <a:cubicBezTo>
                      <a:pt x="135" y="626"/>
                      <a:pt x="135" y="626"/>
                      <a:pt x="135" y="626"/>
                    </a:cubicBezTo>
                    <a:cubicBezTo>
                      <a:pt x="138" y="619"/>
                      <a:pt x="138" y="619"/>
                      <a:pt x="138" y="619"/>
                    </a:cubicBezTo>
                    <a:cubicBezTo>
                      <a:pt x="139" y="616"/>
                      <a:pt x="139" y="616"/>
                      <a:pt x="139" y="616"/>
                    </a:cubicBezTo>
                    <a:cubicBezTo>
                      <a:pt x="143" y="612"/>
                      <a:pt x="143" y="612"/>
                      <a:pt x="143" y="612"/>
                    </a:cubicBezTo>
                    <a:cubicBezTo>
                      <a:pt x="144" y="612"/>
                      <a:pt x="144" y="612"/>
                      <a:pt x="144" y="612"/>
                    </a:cubicBezTo>
                    <a:cubicBezTo>
                      <a:pt x="148" y="608"/>
                      <a:pt x="148" y="608"/>
                      <a:pt x="148" y="608"/>
                    </a:cubicBezTo>
                    <a:cubicBezTo>
                      <a:pt x="153" y="608"/>
                      <a:pt x="153" y="608"/>
                      <a:pt x="153" y="608"/>
                    </a:cubicBezTo>
                    <a:cubicBezTo>
                      <a:pt x="148" y="611"/>
                      <a:pt x="148" y="611"/>
                      <a:pt x="148" y="611"/>
                    </a:cubicBezTo>
                    <a:cubicBezTo>
                      <a:pt x="143" y="617"/>
                      <a:pt x="143" y="617"/>
                      <a:pt x="143" y="617"/>
                    </a:cubicBezTo>
                    <a:cubicBezTo>
                      <a:pt x="143" y="620"/>
                      <a:pt x="143" y="620"/>
                      <a:pt x="143" y="620"/>
                    </a:cubicBezTo>
                    <a:cubicBezTo>
                      <a:pt x="148" y="626"/>
                      <a:pt x="148" y="626"/>
                      <a:pt x="148" y="626"/>
                    </a:cubicBezTo>
                    <a:cubicBezTo>
                      <a:pt x="150" y="627"/>
                      <a:pt x="150" y="627"/>
                      <a:pt x="150" y="627"/>
                    </a:cubicBezTo>
                    <a:cubicBezTo>
                      <a:pt x="155" y="623"/>
                      <a:pt x="155" y="623"/>
                      <a:pt x="155" y="623"/>
                    </a:cubicBezTo>
                    <a:cubicBezTo>
                      <a:pt x="162" y="622"/>
                      <a:pt x="162" y="622"/>
                      <a:pt x="162" y="622"/>
                    </a:cubicBezTo>
                    <a:cubicBezTo>
                      <a:pt x="166" y="619"/>
                      <a:pt x="166" y="619"/>
                      <a:pt x="166" y="619"/>
                    </a:cubicBezTo>
                    <a:cubicBezTo>
                      <a:pt x="168" y="619"/>
                      <a:pt x="168" y="619"/>
                      <a:pt x="168" y="619"/>
                    </a:cubicBezTo>
                    <a:cubicBezTo>
                      <a:pt x="174" y="615"/>
                      <a:pt x="174" y="615"/>
                      <a:pt x="174" y="615"/>
                    </a:cubicBezTo>
                    <a:cubicBezTo>
                      <a:pt x="177" y="615"/>
                      <a:pt x="177" y="615"/>
                      <a:pt x="177" y="615"/>
                    </a:cubicBezTo>
                    <a:cubicBezTo>
                      <a:pt x="174" y="616"/>
                      <a:pt x="174" y="616"/>
                      <a:pt x="174" y="616"/>
                    </a:cubicBezTo>
                    <a:cubicBezTo>
                      <a:pt x="170" y="622"/>
                      <a:pt x="170" y="622"/>
                      <a:pt x="170" y="622"/>
                    </a:cubicBezTo>
                    <a:cubicBezTo>
                      <a:pt x="170" y="624"/>
                      <a:pt x="170" y="624"/>
                      <a:pt x="170" y="624"/>
                    </a:cubicBezTo>
                    <a:cubicBezTo>
                      <a:pt x="168" y="627"/>
                      <a:pt x="168" y="627"/>
                      <a:pt x="168" y="627"/>
                    </a:cubicBezTo>
                    <a:cubicBezTo>
                      <a:pt x="158" y="634"/>
                      <a:pt x="158" y="634"/>
                      <a:pt x="158" y="634"/>
                    </a:cubicBezTo>
                    <a:cubicBezTo>
                      <a:pt x="153" y="638"/>
                      <a:pt x="153" y="638"/>
                      <a:pt x="153" y="638"/>
                    </a:cubicBezTo>
                    <a:cubicBezTo>
                      <a:pt x="150" y="645"/>
                      <a:pt x="150" y="645"/>
                      <a:pt x="150" y="645"/>
                    </a:cubicBezTo>
                    <a:cubicBezTo>
                      <a:pt x="150" y="649"/>
                      <a:pt x="150" y="649"/>
                      <a:pt x="150" y="649"/>
                    </a:cubicBezTo>
                    <a:cubicBezTo>
                      <a:pt x="151" y="653"/>
                      <a:pt x="151" y="653"/>
                      <a:pt x="151" y="653"/>
                    </a:cubicBezTo>
                    <a:cubicBezTo>
                      <a:pt x="155" y="656"/>
                      <a:pt x="155" y="656"/>
                      <a:pt x="155" y="656"/>
                    </a:cubicBezTo>
                    <a:cubicBezTo>
                      <a:pt x="148" y="654"/>
                      <a:pt x="148" y="654"/>
                      <a:pt x="148" y="654"/>
                    </a:cubicBezTo>
                    <a:cubicBezTo>
                      <a:pt x="146" y="655"/>
                      <a:pt x="146" y="655"/>
                      <a:pt x="146" y="655"/>
                    </a:cubicBezTo>
                    <a:cubicBezTo>
                      <a:pt x="143" y="660"/>
                      <a:pt x="143" y="660"/>
                      <a:pt x="143" y="660"/>
                    </a:cubicBezTo>
                    <a:cubicBezTo>
                      <a:pt x="142" y="666"/>
                      <a:pt x="142" y="666"/>
                      <a:pt x="142" y="666"/>
                    </a:cubicBezTo>
                    <a:cubicBezTo>
                      <a:pt x="137" y="672"/>
                      <a:pt x="137" y="672"/>
                      <a:pt x="137" y="672"/>
                    </a:cubicBezTo>
                    <a:cubicBezTo>
                      <a:pt x="135" y="676"/>
                      <a:pt x="135" y="676"/>
                      <a:pt x="135" y="676"/>
                    </a:cubicBezTo>
                    <a:cubicBezTo>
                      <a:pt x="136" y="679"/>
                      <a:pt x="136" y="679"/>
                      <a:pt x="136" y="679"/>
                    </a:cubicBezTo>
                    <a:cubicBezTo>
                      <a:pt x="137" y="680"/>
                      <a:pt x="137" y="680"/>
                      <a:pt x="137" y="680"/>
                    </a:cubicBezTo>
                    <a:cubicBezTo>
                      <a:pt x="137" y="683"/>
                      <a:pt x="137" y="683"/>
                      <a:pt x="137" y="683"/>
                    </a:cubicBezTo>
                    <a:cubicBezTo>
                      <a:pt x="134" y="682"/>
                      <a:pt x="134" y="682"/>
                      <a:pt x="134" y="682"/>
                    </a:cubicBezTo>
                    <a:cubicBezTo>
                      <a:pt x="133" y="680"/>
                      <a:pt x="133" y="680"/>
                      <a:pt x="133" y="680"/>
                    </a:cubicBezTo>
                    <a:cubicBezTo>
                      <a:pt x="131" y="679"/>
                      <a:pt x="131" y="679"/>
                      <a:pt x="131" y="679"/>
                    </a:cubicBezTo>
                    <a:cubicBezTo>
                      <a:pt x="128" y="683"/>
                      <a:pt x="128" y="683"/>
                      <a:pt x="128" y="683"/>
                    </a:cubicBezTo>
                    <a:cubicBezTo>
                      <a:pt x="123" y="687"/>
                      <a:pt x="123" y="687"/>
                      <a:pt x="123" y="687"/>
                    </a:cubicBezTo>
                    <a:cubicBezTo>
                      <a:pt x="125" y="689"/>
                      <a:pt x="125" y="689"/>
                      <a:pt x="125" y="689"/>
                    </a:cubicBezTo>
                    <a:cubicBezTo>
                      <a:pt x="123" y="692"/>
                      <a:pt x="123" y="692"/>
                      <a:pt x="123" y="692"/>
                    </a:cubicBezTo>
                    <a:cubicBezTo>
                      <a:pt x="121" y="692"/>
                      <a:pt x="121" y="692"/>
                      <a:pt x="121" y="692"/>
                    </a:cubicBezTo>
                    <a:cubicBezTo>
                      <a:pt x="120" y="690"/>
                      <a:pt x="120" y="690"/>
                      <a:pt x="120" y="690"/>
                    </a:cubicBezTo>
                    <a:cubicBezTo>
                      <a:pt x="118" y="691"/>
                      <a:pt x="118" y="691"/>
                      <a:pt x="118" y="691"/>
                    </a:cubicBezTo>
                    <a:cubicBezTo>
                      <a:pt x="110" y="699"/>
                      <a:pt x="110" y="699"/>
                      <a:pt x="110" y="699"/>
                    </a:cubicBezTo>
                    <a:cubicBezTo>
                      <a:pt x="108" y="703"/>
                      <a:pt x="108" y="703"/>
                      <a:pt x="108" y="703"/>
                    </a:cubicBezTo>
                    <a:cubicBezTo>
                      <a:pt x="108" y="706"/>
                      <a:pt x="108" y="706"/>
                      <a:pt x="108" y="706"/>
                    </a:cubicBezTo>
                    <a:cubicBezTo>
                      <a:pt x="107" y="708"/>
                      <a:pt x="107" y="708"/>
                      <a:pt x="107" y="708"/>
                    </a:cubicBezTo>
                    <a:cubicBezTo>
                      <a:pt x="104" y="706"/>
                      <a:pt x="104" y="706"/>
                      <a:pt x="104" y="706"/>
                    </a:cubicBezTo>
                    <a:cubicBezTo>
                      <a:pt x="104" y="702"/>
                      <a:pt x="104" y="702"/>
                      <a:pt x="104" y="702"/>
                    </a:cubicBezTo>
                    <a:cubicBezTo>
                      <a:pt x="99" y="705"/>
                      <a:pt x="99" y="705"/>
                      <a:pt x="99" y="705"/>
                    </a:cubicBezTo>
                    <a:cubicBezTo>
                      <a:pt x="95" y="708"/>
                      <a:pt x="95" y="708"/>
                      <a:pt x="95" y="708"/>
                    </a:cubicBezTo>
                    <a:cubicBezTo>
                      <a:pt x="92" y="710"/>
                      <a:pt x="92" y="710"/>
                      <a:pt x="92" y="710"/>
                    </a:cubicBezTo>
                    <a:cubicBezTo>
                      <a:pt x="91" y="713"/>
                      <a:pt x="91" y="713"/>
                      <a:pt x="91" y="713"/>
                    </a:cubicBezTo>
                    <a:cubicBezTo>
                      <a:pt x="88" y="715"/>
                      <a:pt x="88" y="715"/>
                      <a:pt x="88" y="715"/>
                    </a:cubicBezTo>
                    <a:cubicBezTo>
                      <a:pt x="83" y="715"/>
                      <a:pt x="83" y="715"/>
                      <a:pt x="83" y="715"/>
                    </a:cubicBezTo>
                    <a:cubicBezTo>
                      <a:pt x="78" y="720"/>
                      <a:pt x="78" y="720"/>
                      <a:pt x="78" y="720"/>
                    </a:cubicBezTo>
                    <a:cubicBezTo>
                      <a:pt x="70" y="724"/>
                      <a:pt x="70" y="724"/>
                      <a:pt x="70" y="724"/>
                    </a:cubicBezTo>
                    <a:cubicBezTo>
                      <a:pt x="64" y="729"/>
                      <a:pt x="64" y="729"/>
                      <a:pt x="64" y="729"/>
                    </a:cubicBezTo>
                    <a:cubicBezTo>
                      <a:pt x="62" y="735"/>
                      <a:pt x="62" y="735"/>
                      <a:pt x="62" y="735"/>
                    </a:cubicBezTo>
                    <a:cubicBezTo>
                      <a:pt x="61" y="738"/>
                      <a:pt x="61" y="738"/>
                      <a:pt x="61" y="738"/>
                    </a:cubicBezTo>
                    <a:cubicBezTo>
                      <a:pt x="63" y="741"/>
                      <a:pt x="63" y="741"/>
                      <a:pt x="63" y="741"/>
                    </a:cubicBezTo>
                    <a:cubicBezTo>
                      <a:pt x="62" y="744"/>
                      <a:pt x="62" y="744"/>
                      <a:pt x="62" y="744"/>
                    </a:cubicBezTo>
                    <a:cubicBezTo>
                      <a:pt x="61" y="745"/>
                      <a:pt x="61" y="745"/>
                      <a:pt x="61" y="745"/>
                    </a:cubicBezTo>
                    <a:cubicBezTo>
                      <a:pt x="59" y="742"/>
                      <a:pt x="59" y="742"/>
                      <a:pt x="59" y="742"/>
                    </a:cubicBezTo>
                    <a:cubicBezTo>
                      <a:pt x="57" y="742"/>
                      <a:pt x="57" y="742"/>
                      <a:pt x="57" y="742"/>
                    </a:cubicBezTo>
                    <a:cubicBezTo>
                      <a:pt x="57" y="744"/>
                      <a:pt x="57" y="744"/>
                      <a:pt x="57" y="744"/>
                    </a:cubicBezTo>
                    <a:cubicBezTo>
                      <a:pt x="57" y="747"/>
                      <a:pt x="57" y="747"/>
                      <a:pt x="57" y="747"/>
                    </a:cubicBezTo>
                    <a:cubicBezTo>
                      <a:pt x="56" y="748"/>
                      <a:pt x="56" y="748"/>
                      <a:pt x="56" y="748"/>
                    </a:cubicBezTo>
                    <a:cubicBezTo>
                      <a:pt x="54" y="745"/>
                      <a:pt x="54" y="745"/>
                      <a:pt x="54" y="745"/>
                    </a:cubicBezTo>
                    <a:cubicBezTo>
                      <a:pt x="54" y="741"/>
                      <a:pt x="54" y="741"/>
                      <a:pt x="54" y="741"/>
                    </a:cubicBezTo>
                    <a:cubicBezTo>
                      <a:pt x="55" y="738"/>
                      <a:pt x="55" y="738"/>
                      <a:pt x="55" y="738"/>
                    </a:cubicBezTo>
                    <a:cubicBezTo>
                      <a:pt x="52" y="737"/>
                      <a:pt x="52" y="737"/>
                      <a:pt x="52" y="737"/>
                    </a:cubicBezTo>
                    <a:cubicBezTo>
                      <a:pt x="49" y="737"/>
                      <a:pt x="49" y="737"/>
                      <a:pt x="49" y="737"/>
                    </a:cubicBezTo>
                    <a:cubicBezTo>
                      <a:pt x="47" y="736"/>
                      <a:pt x="47" y="736"/>
                      <a:pt x="47" y="736"/>
                    </a:cubicBezTo>
                    <a:cubicBezTo>
                      <a:pt x="43" y="737"/>
                      <a:pt x="43" y="737"/>
                      <a:pt x="43" y="737"/>
                    </a:cubicBezTo>
                    <a:cubicBezTo>
                      <a:pt x="38" y="738"/>
                      <a:pt x="38" y="738"/>
                      <a:pt x="38" y="738"/>
                    </a:cubicBezTo>
                    <a:cubicBezTo>
                      <a:pt x="35" y="740"/>
                      <a:pt x="35" y="740"/>
                      <a:pt x="35" y="740"/>
                    </a:cubicBezTo>
                    <a:cubicBezTo>
                      <a:pt x="33" y="743"/>
                      <a:pt x="33" y="743"/>
                      <a:pt x="33" y="743"/>
                    </a:cubicBezTo>
                    <a:cubicBezTo>
                      <a:pt x="28" y="746"/>
                      <a:pt x="28" y="746"/>
                      <a:pt x="28" y="746"/>
                    </a:cubicBezTo>
                    <a:cubicBezTo>
                      <a:pt x="24" y="749"/>
                      <a:pt x="24" y="749"/>
                      <a:pt x="24" y="749"/>
                    </a:cubicBezTo>
                    <a:cubicBezTo>
                      <a:pt x="19" y="754"/>
                      <a:pt x="19" y="754"/>
                      <a:pt x="19" y="754"/>
                    </a:cubicBezTo>
                    <a:cubicBezTo>
                      <a:pt x="20" y="756"/>
                      <a:pt x="20" y="756"/>
                      <a:pt x="20" y="756"/>
                    </a:cubicBezTo>
                    <a:cubicBezTo>
                      <a:pt x="19" y="758"/>
                      <a:pt x="19" y="758"/>
                      <a:pt x="19" y="758"/>
                    </a:cubicBezTo>
                    <a:cubicBezTo>
                      <a:pt x="17" y="758"/>
                      <a:pt x="17" y="758"/>
                      <a:pt x="17" y="758"/>
                    </a:cubicBezTo>
                    <a:cubicBezTo>
                      <a:pt x="13" y="760"/>
                      <a:pt x="13" y="760"/>
                      <a:pt x="13" y="760"/>
                    </a:cubicBezTo>
                    <a:cubicBezTo>
                      <a:pt x="10" y="762"/>
                      <a:pt x="10" y="762"/>
                      <a:pt x="10" y="762"/>
                    </a:cubicBezTo>
                    <a:cubicBezTo>
                      <a:pt x="10" y="765"/>
                      <a:pt x="10" y="765"/>
                      <a:pt x="10" y="765"/>
                    </a:cubicBezTo>
                    <a:cubicBezTo>
                      <a:pt x="8" y="765"/>
                      <a:pt x="8" y="765"/>
                      <a:pt x="8" y="765"/>
                    </a:cubicBezTo>
                    <a:cubicBezTo>
                      <a:pt x="5" y="764"/>
                      <a:pt x="5" y="764"/>
                      <a:pt x="5" y="764"/>
                    </a:cubicBezTo>
                    <a:cubicBezTo>
                      <a:pt x="2" y="765"/>
                      <a:pt x="2" y="765"/>
                      <a:pt x="2" y="765"/>
                    </a:cubicBezTo>
                    <a:cubicBezTo>
                      <a:pt x="0" y="768"/>
                      <a:pt x="0" y="768"/>
                      <a:pt x="0" y="768"/>
                    </a:cubicBezTo>
                    <a:cubicBezTo>
                      <a:pt x="0" y="772"/>
                      <a:pt x="0" y="772"/>
                      <a:pt x="0" y="772"/>
                    </a:cubicBezTo>
                    <a:cubicBezTo>
                      <a:pt x="0" y="772"/>
                      <a:pt x="0" y="773"/>
                      <a:pt x="1" y="773"/>
                    </a:cubicBezTo>
                    <a:cubicBezTo>
                      <a:pt x="1" y="773"/>
                      <a:pt x="1" y="773"/>
                      <a:pt x="1" y="773"/>
                    </a:cubicBezTo>
                    <a:cubicBezTo>
                      <a:pt x="1" y="774"/>
                      <a:pt x="2" y="774"/>
                      <a:pt x="3" y="774"/>
                    </a:cubicBezTo>
                    <a:cubicBezTo>
                      <a:pt x="3" y="774"/>
                      <a:pt x="3" y="774"/>
                      <a:pt x="3" y="774"/>
                    </a:cubicBezTo>
                    <a:cubicBezTo>
                      <a:pt x="4" y="771"/>
                      <a:pt x="4" y="771"/>
                      <a:pt x="4" y="771"/>
                    </a:cubicBezTo>
                    <a:cubicBezTo>
                      <a:pt x="4" y="769"/>
                      <a:pt x="4" y="769"/>
                      <a:pt x="4" y="769"/>
                    </a:cubicBezTo>
                    <a:cubicBezTo>
                      <a:pt x="6" y="767"/>
                      <a:pt x="6" y="767"/>
                      <a:pt x="6" y="767"/>
                    </a:cubicBezTo>
                    <a:cubicBezTo>
                      <a:pt x="7" y="769"/>
                      <a:pt x="7" y="769"/>
                      <a:pt x="7" y="769"/>
                    </a:cubicBezTo>
                    <a:cubicBezTo>
                      <a:pt x="7" y="772"/>
                      <a:pt x="7" y="772"/>
                      <a:pt x="7" y="772"/>
                    </a:cubicBezTo>
                    <a:cubicBezTo>
                      <a:pt x="7" y="773"/>
                      <a:pt x="7" y="773"/>
                      <a:pt x="7" y="773"/>
                    </a:cubicBezTo>
                    <a:cubicBezTo>
                      <a:pt x="10" y="773"/>
                      <a:pt x="10" y="773"/>
                      <a:pt x="10" y="773"/>
                    </a:cubicBezTo>
                    <a:cubicBezTo>
                      <a:pt x="13" y="766"/>
                      <a:pt x="13" y="766"/>
                      <a:pt x="13" y="766"/>
                    </a:cubicBezTo>
                    <a:cubicBezTo>
                      <a:pt x="15" y="765"/>
                      <a:pt x="15" y="765"/>
                      <a:pt x="15" y="765"/>
                    </a:cubicBezTo>
                    <a:cubicBezTo>
                      <a:pt x="16" y="768"/>
                      <a:pt x="16" y="768"/>
                      <a:pt x="16" y="768"/>
                    </a:cubicBezTo>
                    <a:cubicBezTo>
                      <a:pt x="16" y="770"/>
                      <a:pt x="16" y="770"/>
                      <a:pt x="16" y="770"/>
                    </a:cubicBezTo>
                    <a:cubicBezTo>
                      <a:pt x="16" y="772"/>
                      <a:pt x="16" y="772"/>
                      <a:pt x="16" y="772"/>
                    </a:cubicBezTo>
                    <a:cubicBezTo>
                      <a:pt x="19" y="772"/>
                      <a:pt x="19" y="772"/>
                      <a:pt x="19" y="772"/>
                    </a:cubicBezTo>
                    <a:cubicBezTo>
                      <a:pt x="21" y="768"/>
                      <a:pt x="21" y="768"/>
                      <a:pt x="21" y="768"/>
                    </a:cubicBezTo>
                    <a:cubicBezTo>
                      <a:pt x="22" y="771"/>
                      <a:pt x="22" y="771"/>
                      <a:pt x="22" y="771"/>
                    </a:cubicBezTo>
                    <a:cubicBezTo>
                      <a:pt x="23" y="771"/>
                      <a:pt x="23" y="771"/>
                      <a:pt x="23" y="771"/>
                    </a:cubicBezTo>
                    <a:cubicBezTo>
                      <a:pt x="23" y="768"/>
                      <a:pt x="23" y="768"/>
                      <a:pt x="23" y="768"/>
                    </a:cubicBezTo>
                    <a:cubicBezTo>
                      <a:pt x="26" y="766"/>
                      <a:pt x="26" y="766"/>
                      <a:pt x="26" y="766"/>
                    </a:cubicBezTo>
                    <a:cubicBezTo>
                      <a:pt x="29" y="766"/>
                      <a:pt x="29" y="766"/>
                      <a:pt x="29" y="766"/>
                    </a:cubicBezTo>
                    <a:cubicBezTo>
                      <a:pt x="33" y="764"/>
                      <a:pt x="33" y="764"/>
                      <a:pt x="33" y="764"/>
                    </a:cubicBezTo>
                    <a:cubicBezTo>
                      <a:pt x="35" y="759"/>
                      <a:pt x="35" y="759"/>
                      <a:pt x="35" y="759"/>
                    </a:cubicBezTo>
                    <a:cubicBezTo>
                      <a:pt x="34" y="755"/>
                      <a:pt x="34" y="755"/>
                      <a:pt x="34" y="755"/>
                    </a:cubicBezTo>
                    <a:cubicBezTo>
                      <a:pt x="37" y="753"/>
                      <a:pt x="37" y="753"/>
                      <a:pt x="37" y="753"/>
                    </a:cubicBezTo>
                    <a:cubicBezTo>
                      <a:pt x="40" y="749"/>
                      <a:pt x="40" y="749"/>
                      <a:pt x="40" y="749"/>
                    </a:cubicBezTo>
                    <a:cubicBezTo>
                      <a:pt x="42" y="749"/>
                      <a:pt x="42" y="749"/>
                      <a:pt x="42" y="749"/>
                    </a:cubicBezTo>
                    <a:cubicBezTo>
                      <a:pt x="46" y="752"/>
                      <a:pt x="46" y="752"/>
                      <a:pt x="46" y="752"/>
                    </a:cubicBezTo>
                    <a:cubicBezTo>
                      <a:pt x="44" y="754"/>
                      <a:pt x="44" y="754"/>
                      <a:pt x="44" y="754"/>
                    </a:cubicBezTo>
                    <a:cubicBezTo>
                      <a:pt x="42" y="755"/>
                      <a:pt x="42" y="755"/>
                      <a:pt x="42" y="755"/>
                    </a:cubicBezTo>
                    <a:cubicBezTo>
                      <a:pt x="40" y="759"/>
                      <a:pt x="40" y="759"/>
                      <a:pt x="40" y="759"/>
                    </a:cubicBezTo>
                    <a:cubicBezTo>
                      <a:pt x="40" y="762"/>
                      <a:pt x="40" y="762"/>
                      <a:pt x="40" y="762"/>
                    </a:cubicBezTo>
                    <a:cubicBezTo>
                      <a:pt x="41" y="763"/>
                      <a:pt x="41" y="763"/>
                      <a:pt x="41" y="763"/>
                    </a:cubicBezTo>
                    <a:cubicBezTo>
                      <a:pt x="46" y="759"/>
                      <a:pt x="46" y="759"/>
                      <a:pt x="46" y="759"/>
                    </a:cubicBezTo>
                    <a:cubicBezTo>
                      <a:pt x="47" y="756"/>
                      <a:pt x="47" y="756"/>
                      <a:pt x="47" y="756"/>
                    </a:cubicBezTo>
                    <a:cubicBezTo>
                      <a:pt x="49" y="755"/>
                      <a:pt x="49" y="755"/>
                      <a:pt x="49" y="755"/>
                    </a:cubicBezTo>
                    <a:cubicBezTo>
                      <a:pt x="50" y="757"/>
                      <a:pt x="50" y="757"/>
                      <a:pt x="50" y="757"/>
                    </a:cubicBezTo>
                    <a:cubicBezTo>
                      <a:pt x="51" y="755"/>
                      <a:pt x="51" y="755"/>
                      <a:pt x="51" y="755"/>
                    </a:cubicBezTo>
                    <a:cubicBezTo>
                      <a:pt x="52" y="755"/>
                      <a:pt x="52" y="755"/>
                      <a:pt x="52" y="755"/>
                    </a:cubicBezTo>
                    <a:cubicBezTo>
                      <a:pt x="53" y="757"/>
                      <a:pt x="53" y="757"/>
                      <a:pt x="53" y="757"/>
                    </a:cubicBezTo>
                    <a:cubicBezTo>
                      <a:pt x="52" y="760"/>
                      <a:pt x="52" y="760"/>
                      <a:pt x="52" y="760"/>
                    </a:cubicBezTo>
                    <a:cubicBezTo>
                      <a:pt x="53" y="760"/>
                      <a:pt x="53" y="760"/>
                      <a:pt x="53" y="760"/>
                    </a:cubicBezTo>
                    <a:cubicBezTo>
                      <a:pt x="56" y="756"/>
                      <a:pt x="56" y="756"/>
                      <a:pt x="56" y="756"/>
                    </a:cubicBezTo>
                    <a:cubicBezTo>
                      <a:pt x="59" y="757"/>
                      <a:pt x="59" y="757"/>
                      <a:pt x="59" y="757"/>
                    </a:cubicBezTo>
                    <a:cubicBezTo>
                      <a:pt x="61" y="754"/>
                      <a:pt x="61" y="754"/>
                      <a:pt x="61" y="754"/>
                    </a:cubicBezTo>
                    <a:cubicBezTo>
                      <a:pt x="65" y="754"/>
                      <a:pt x="65" y="754"/>
                      <a:pt x="65" y="754"/>
                    </a:cubicBezTo>
                    <a:cubicBezTo>
                      <a:pt x="68" y="748"/>
                      <a:pt x="68" y="748"/>
                      <a:pt x="68" y="748"/>
                    </a:cubicBezTo>
                    <a:cubicBezTo>
                      <a:pt x="71" y="746"/>
                      <a:pt x="71" y="746"/>
                      <a:pt x="71" y="746"/>
                    </a:cubicBezTo>
                    <a:cubicBezTo>
                      <a:pt x="74" y="747"/>
                      <a:pt x="74" y="747"/>
                      <a:pt x="74" y="747"/>
                    </a:cubicBezTo>
                    <a:cubicBezTo>
                      <a:pt x="74" y="749"/>
                      <a:pt x="74" y="749"/>
                      <a:pt x="74" y="749"/>
                    </a:cubicBezTo>
                    <a:cubicBezTo>
                      <a:pt x="71" y="753"/>
                      <a:pt x="71" y="753"/>
                      <a:pt x="71" y="753"/>
                    </a:cubicBezTo>
                    <a:cubicBezTo>
                      <a:pt x="69" y="758"/>
                      <a:pt x="69" y="758"/>
                      <a:pt x="69" y="758"/>
                    </a:cubicBezTo>
                    <a:cubicBezTo>
                      <a:pt x="69" y="760"/>
                      <a:pt x="69" y="760"/>
                      <a:pt x="69" y="760"/>
                    </a:cubicBezTo>
                    <a:cubicBezTo>
                      <a:pt x="71" y="760"/>
                      <a:pt x="71" y="760"/>
                      <a:pt x="71" y="760"/>
                    </a:cubicBezTo>
                    <a:cubicBezTo>
                      <a:pt x="76" y="754"/>
                      <a:pt x="76" y="754"/>
                      <a:pt x="76" y="754"/>
                    </a:cubicBezTo>
                    <a:cubicBezTo>
                      <a:pt x="76" y="747"/>
                      <a:pt x="76" y="747"/>
                      <a:pt x="76" y="747"/>
                    </a:cubicBezTo>
                    <a:cubicBezTo>
                      <a:pt x="76" y="746"/>
                      <a:pt x="76" y="746"/>
                      <a:pt x="76" y="746"/>
                    </a:cubicBezTo>
                    <a:cubicBezTo>
                      <a:pt x="78" y="748"/>
                      <a:pt x="78" y="748"/>
                      <a:pt x="78" y="748"/>
                    </a:cubicBezTo>
                    <a:cubicBezTo>
                      <a:pt x="81" y="747"/>
                      <a:pt x="81" y="747"/>
                      <a:pt x="81" y="747"/>
                    </a:cubicBezTo>
                    <a:cubicBezTo>
                      <a:pt x="83" y="747"/>
                      <a:pt x="83" y="747"/>
                      <a:pt x="83" y="747"/>
                    </a:cubicBezTo>
                    <a:cubicBezTo>
                      <a:pt x="87" y="747"/>
                      <a:pt x="87" y="747"/>
                      <a:pt x="87" y="747"/>
                    </a:cubicBezTo>
                    <a:cubicBezTo>
                      <a:pt x="90" y="743"/>
                      <a:pt x="90" y="743"/>
                      <a:pt x="90" y="743"/>
                    </a:cubicBezTo>
                    <a:cubicBezTo>
                      <a:pt x="91" y="742"/>
                      <a:pt x="91" y="742"/>
                      <a:pt x="91" y="742"/>
                    </a:cubicBezTo>
                    <a:cubicBezTo>
                      <a:pt x="92" y="743"/>
                      <a:pt x="92" y="743"/>
                      <a:pt x="92" y="743"/>
                    </a:cubicBezTo>
                    <a:cubicBezTo>
                      <a:pt x="94" y="738"/>
                      <a:pt x="94" y="738"/>
                      <a:pt x="94" y="738"/>
                    </a:cubicBezTo>
                    <a:cubicBezTo>
                      <a:pt x="96" y="736"/>
                      <a:pt x="96" y="736"/>
                      <a:pt x="96" y="736"/>
                    </a:cubicBezTo>
                    <a:cubicBezTo>
                      <a:pt x="97" y="738"/>
                      <a:pt x="97" y="738"/>
                      <a:pt x="97" y="738"/>
                    </a:cubicBezTo>
                    <a:cubicBezTo>
                      <a:pt x="96" y="741"/>
                      <a:pt x="96" y="741"/>
                      <a:pt x="96" y="741"/>
                    </a:cubicBezTo>
                    <a:cubicBezTo>
                      <a:pt x="96" y="744"/>
                      <a:pt x="96" y="744"/>
                      <a:pt x="96" y="744"/>
                    </a:cubicBezTo>
                    <a:cubicBezTo>
                      <a:pt x="98" y="743"/>
                      <a:pt x="98" y="743"/>
                      <a:pt x="98" y="743"/>
                    </a:cubicBezTo>
                    <a:cubicBezTo>
                      <a:pt x="101" y="740"/>
                      <a:pt x="101" y="740"/>
                      <a:pt x="101" y="740"/>
                    </a:cubicBezTo>
                    <a:cubicBezTo>
                      <a:pt x="100" y="739"/>
                      <a:pt x="100" y="739"/>
                      <a:pt x="100" y="739"/>
                    </a:cubicBezTo>
                    <a:cubicBezTo>
                      <a:pt x="103" y="736"/>
                      <a:pt x="103" y="736"/>
                      <a:pt x="103" y="736"/>
                    </a:cubicBezTo>
                    <a:cubicBezTo>
                      <a:pt x="102" y="734"/>
                      <a:pt x="102" y="734"/>
                      <a:pt x="102" y="734"/>
                    </a:cubicBezTo>
                    <a:cubicBezTo>
                      <a:pt x="97" y="734"/>
                      <a:pt x="97" y="734"/>
                      <a:pt x="97" y="734"/>
                    </a:cubicBezTo>
                    <a:cubicBezTo>
                      <a:pt x="96" y="733"/>
                      <a:pt x="96" y="733"/>
                      <a:pt x="96" y="733"/>
                    </a:cubicBezTo>
                    <a:cubicBezTo>
                      <a:pt x="100" y="731"/>
                      <a:pt x="100" y="731"/>
                      <a:pt x="100" y="731"/>
                    </a:cubicBezTo>
                    <a:cubicBezTo>
                      <a:pt x="106" y="728"/>
                      <a:pt x="106" y="728"/>
                      <a:pt x="106" y="728"/>
                    </a:cubicBezTo>
                    <a:cubicBezTo>
                      <a:pt x="113" y="728"/>
                      <a:pt x="113" y="728"/>
                      <a:pt x="113" y="728"/>
                    </a:cubicBezTo>
                    <a:cubicBezTo>
                      <a:pt x="115" y="726"/>
                      <a:pt x="115" y="726"/>
                      <a:pt x="115" y="726"/>
                    </a:cubicBezTo>
                    <a:cubicBezTo>
                      <a:pt x="114" y="723"/>
                      <a:pt x="114" y="723"/>
                      <a:pt x="114" y="723"/>
                    </a:cubicBezTo>
                    <a:cubicBezTo>
                      <a:pt x="113" y="722"/>
                      <a:pt x="113" y="722"/>
                      <a:pt x="113" y="722"/>
                    </a:cubicBezTo>
                    <a:cubicBezTo>
                      <a:pt x="114" y="721"/>
                      <a:pt x="114" y="721"/>
                      <a:pt x="114" y="721"/>
                    </a:cubicBezTo>
                    <a:cubicBezTo>
                      <a:pt x="117" y="720"/>
                      <a:pt x="117" y="720"/>
                      <a:pt x="117" y="720"/>
                    </a:cubicBezTo>
                    <a:cubicBezTo>
                      <a:pt x="119" y="719"/>
                      <a:pt x="119" y="719"/>
                      <a:pt x="119" y="719"/>
                    </a:cubicBezTo>
                    <a:cubicBezTo>
                      <a:pt x="121" y="719"/>
                      <a:pt x="121" y="719"/>
                      <a:pt x="121" y="719"/>
                    </a:cubicBezTo>
                    <a:cubicBezTo>
                      <a:pt x="122" y="722"/>
                      <a:pt x="122" y="722"/>
                      <a:pt x="122" y="722"/>
                    </a:cubicBezTo>
                    <a:cubicBezTo>
                      <a:pt x="124" y="722"/>
                      <a:pt x="124" y="722"/>
                      <a:pt x="124" y="722"/>
                    </a:cubicBezTo>
                    <a:cubicBezTo>
                      <a:pt x="125" y="719"/>
                      <a:pt x="125" y="719"/>
                      <a:pt x="125" y="719"/>
                    </a:cubicBezTo>
                    <a:cubicBezTo>
                      <a:pt x="124" y="718"/>
                      <a:pt x="124" y="718"/>
                      <a:pt x="124" y="718"/>
                    </a:cubicBezTo>
                    <a:cubicBezTo>
                      <a:pt x="127" y="716"/>
                      <a:pt x="127" y="716"/>
                      <a:pt x="127" y="716"/>
                    </a:cubicBezTo>
                    <a:cubicBezTo>
                      <a:pt x="127" y="712"/>
                      <a:pt x="127" y="712"/>
                      <a:pt x="127" y="712"/>
                    </a:cubicBezTo>
                    <a:cubicBezTo>
                      <a:pt x="129" y="710"/>
                      <a:pt x="129" y="710"/>
                      <a:pt x="129" y="710"/>
                    </a:cubicBezTo>
                    <a:cubicBezTo>
                      <a:pt x="130" y="712"/>
                      <a:pt x="130" y="712"/>
                      <a:pt x="130" y="712"/>
                    </a:cubicBezTo>
                    <a:cubicBezTo>
                      <a:pt x="130" y="715"/>
                      <a:pt x="130" y="715"/>
                      <a:pt x="130" y="715"/>
                    </a:cubicBezTo>
                    <a:cubicBezTo>
                      <a:pt x="132" y="716"/>
                      <a:pt x="132" y="716"/>
                      <a:pt x="132" y="716"/>
                    </a:cubicBezTo>
                    <a:cubicBezTo>
                      <a:pt x="136" y="713"/>
                      <a:pt x="136" y="713"/>
                      <a:pt x="136" y="713"/>
                    </a:cubicBezTo>
                    <a:cubicBezTo>
                      <a:pt x="138" y="710"/>
                      <a:pt x="138" y="710"/>
                      <a:pt x="138" y="710"/>
                    </a:cubicBezTo>
                    <a:cubicBezTo>
                      <a:pt x="140" y="710"/>
                      <a:pt x="140" y="710"/>
                      <a:pt x="140" y="710"/>
                    </a:cubicBezTo>
                    <a:cubicBezTo>
                      <a:pt x="142" y="706"/>
                      <a:pt x="142" y="706"/>
                      <a:pt x="142" y="706"/>
                    </a:cubicBezTo>
                    <a:cubicBezTo>
                      <a:pt x="144" y="705"/>
                      <a:pt x="144" y="705"/>
                      <a:pt x="144" y="705"/>
                    </a:cubicBezTo>
                    <a:cubicBezTo>
                      <a:pt x="145" y="708"/>
                      <a:pt x="145" y="708"/>
                      <a:pt x="145" y="708"/>
                    </a:cubicBezTo>
                    <a:cubicBezTo>
                      <a:pt x="148" y="707"/>
                      <a:pt x="148" y="707"/>
                      <a:pt x="148" y="707"/>
                    </a:cubicBezTo>
                    <a:cubicBezTo>
                      <a:pt x="152" y="701"/>
                      <a:pt x="152" y="701"/>
                      <a:pt x="152" y="701"/>
                    </a:cubicBezTo>
                    <a:cubicBezTo>
                      <a:pt x="152" y="698"/>
                      <a:pt x="152" y="698"/>
                      <a:pt x="152" y="698"/>
                    </a:cubicBezTo>
                    <a:cubicBezTo>
                      <a:pt x="151" y="698"/>
                      <a:pt x="151" y="698"/>
                      <a:pt x="151" y="698"/>
                    </a:cubicBezTo>
                    <a:cubicBezTo>
                      <a:pt x="149" y="698"/>
                      <a:pt x="149" y="698"/>
                      <a:pt x="149" y="698"/>
                    </a:cubicBezTo>
                    <a:cubicBezTo>
                      <a:pt x="148" y="697"/>
                      <a:pt x="148" y="697"/>
                      <a:pt x="148" y="697"/>
                    </a:cubicBezTo>
                    <a:cubicBezTo>
                      <a:pt x="153" y="693"/>
                      <a:pt x="153" y="693"/>
                      <a:pt x="153" y="693"/>
                    </a:cubicBezTo>
                    <a:cubicBezTo>
                      <a:pt x="156" y="691"/>
                      <a:pt x="156" y="691"/>
                      <a:pt x="156" y="691"/>
                    </a:cubicBezTo>
                    <a:cubicBezTo>
                      <a:pt x="159" y="688"/>
                      <a:pt x="159" y="688"/>
                      <a:pt x="159" y="688"/>
                    </a:cubicBezTo>
                    <a:cubicBezTo>
                      <a:pt x="160" y="688"/>
                      <a:pt x="160" y="688"/>
                      <a:pt x="160" y="688"/>
                    </a:cubicBezTo>
                    <a:cubicBezTo>
                      <a:pt x="161" y="690"/>
                      <a:pt x="161" y="690"/>
                      <a:pt x="161" y="690"/>
                    </a:cubicBezTo>
                    <a:cubicBezTo>
                      <a:pt x="165" y="685"/>
                      <a:pt x="165" y="685"/>
                      <a:pt x="165" y="685"/>
                    </a:cubicBezTo>
                    <a:cubicBezTo>
                      <a:pt x="169" y="683"/>
                      <a:pt x="169" y="683"/>
                      <a:pt x="169" y="683"/>
                    </a:cubicBezTo>
                    <a:cubicBezTo>
                      <a:pt x="170" y="680"/>
                      <a:pt x="170" y="680"/>
                      <a:pt x="170" y="680"/>
                    </a:cubicBezTo>
                    <a:cubicBezTo>
                      <a:pt x="172" y="679"/>
                      <a:pt x="172" y="679"/>
                      <a:pt x="172" y="679"/>
                    </a:cubicBezTo>
                    <a:cubicBezTo>
                      <a:pt x="173" y="677"/>
                      <a:pt x="173" y="677"/>
                      <a:pt x="173" y="677"/>
                    </a:cubicBezTo>
                    <a:cubicBezTo>
                      <a:pt x="175" y="676"/>
                      <a:pt x="175" y="676"/>
                      <a:pt x="175" y="676"/>
                    </a:cubicBezTo>
                    <a:cubicBezTo>
                      <a:pt x="177" y="679"/>
                      <a:pt x="177" y="679"/>
                      <a:pt x="177" y="679"/>
                    </a:cubicBezTo>
                    <a:cubicBezTo>
                      <a:pt x="178" y="680"/>
                      <a:pt x="178" y="680"/>
                      <a:pt x="178" y="680"/>
                    </a:cubicBezTo>
                    <a:cubicBezTo>
                      <a:pt x="179" y="677"/>
                      <a:pt x="179" y="677"/>
                      <a:pt x="179" y="677"/>
                    </a:cubicBezTo>
                    <a:cubicBezTo>
                      <a:pt x="182" y="677"/>
                      <a:pt x="182" y="677"/>
                      <a:pt x="182" y="677"/>
                    </a:cubicBezTo>
                    <a:cubicBezTo>
                      <a:pt x="184" y="676"/>
                      <a:pt x="184" y="676"/>
                      <a:pt x="184" y="676"/>
                    </a:cubicBezTo>
                    <a:cubicBezTo>
                      <a:pt x="183" y="673"/>
                      <a:pt x="183" y="673"/>
                      <a:pt x="183" y="673"/>
                    </a:cubicBezTo>
                    <a:cubicBezTo>
                      <a:pt x="187" y="672"/>
                      <a:pt x="187" y="672"/>
                      <a:pt x="187" y="672"/>
                    </a:cubicBezTo>
                    <a:cubicBezTo>
                      <a:pt x="188" y="670"/>
                      <a:pt x="188" y="670"/>
                      <a:pt x="188" y="670"/>
                    </a:cubicBezTo>
                    <a:cubicBezTo>
                      <a:pt x="189" y="671"/>
                      <a:pt x="189" y="671"/>
                      <a:pt x="189" y="671"/>
                    </a:cubicBezTo>
                    <a:cubicBezTo>
                      <a:pt x="194" y="672"/>
                      <a:pt x="194" y="672"/>
                      <a:pt x="194" y="672"/>
                    </a:cubicBezTo>
                    <a:cubicBezTo>
                      <a:pt x="195" y="668"/>
                      <a:pt x="195" y="668"/>
                      <a:pt x="195" y="668"/>
                    </a:cubicBezTo>
                    <a:cubicBezTo>
                      <a:pt x="196" y="668"/>
                      <a:pt x="196" y="668"/>
                      <a:pt x="196" y="668"/>
                    </a:cubicBezTo>
                    <a:cubicBezTo>
                      <a:pt x="197" y="670"/>
                      <a:pt x="197" y="670"/>
                      <a:pt x="197" y="670"/>
                    </a:cubicBezTo>
                    <a:cubicBezTo>
                      <a:pt x="198" y="670"/>
                      <a:pt x="198" y="670"/>
                      <a:pt x="198" y="670"/>
                    </a:cubicBezTo>
                    <a:cubicBezTo>
                      <a:pt x="200" y="668"/>
                      <a:pt x="200" y="668"/>
                      <a:pt x="200" y="668"/>
                    </a:cubicBezTo>
                    <a:cubicBezTo>
                      <a:pt x="201" y="670"/>
                      <a:pt x="201" y="670"/>
                      <a:pt x="201" y="670"/>
                    </a:cubicBezTo>
                    <a:cubicBezTo>
                      <a:pt x="202" y="669"/>
                      <a:pt x="202" y="668"/>
                      <a:pt x="203" y="668"/>
                    </a:cubicBezTo>
                    <a:cubicBezTo>
                      <a:pt x="204" y="663"/>
                      <a:pt x="204" y="663"/>
                      <a:pt x="204" y="663"/>
                    </a:cubicBezTo>
                    <a:cubicBezTo>
                      <a:pt x="203" y="663"/>
                      <a:pt x="203" y="663"/>
                      <a:pt x="203" y="663"/>
                    </a:cubicBezTo>
                    <a:cubicBezTo>
                      <a:pt x="201" y="664"/>
                      <a:pt x="201" y="664"/>
                      <a:pt x="201" y="664"/>
                    </a:cubicBezTo>
                    <a:cubicBezTo>
                      <a:pt x="202" y="660"/>
                      <a:pt x="202" y="660"/>
                      <a:pt x="202" y="660"/>
                    </a:cubicBezTo>
                    <a:cubicBezTo>
                      <a:pt x="206" y="657"/>
                      <a:pt x="206" y="657"/>
                      <a:pt x="206" y="657"/>
                    </a:cubicBezTo>
                    <a:cubicBezTo>
                      <a:pt x="208" y="657"/>
                      <a:pt x="208" y="657"/>
                      <a:pt x="208" y="657"/>
                    </a:cubicBezTo>
                    <a:cubicBezTo>
                      <a:pt x="209" y="658"/>
                      <a:pt x="209" y="658"/>
                      <a:pt x="209" y="658"/>
                    </a:cubicBezTo>
                    <a:cubicBezTo>
                      <a:pt x="210" y="657"/>
                      <a:pt x="210" y="657"/>
                      <a:pt x="210" y="657"/>
                    </a:cubicBezTo>
                    <a:cubicBezTo>
                      <a:pt x="208" y="654"/>
                      <a:pt x="208" y="654"/>
                      <a:pt x="208" y="654"/>
                    </a:cubicBezTo>
                    <a:cubicBezTo>
                      <a:pt x="206" y="653"/>
                      <a:pt x="206" y="653"/>
                      <a:pt x="206" y="653"/>
                    </a:cubicBezTo>
                    <a:cubicBezTo>
                      <a:pt x="208" y="652"/>
                      <a:pt x="208" y="652"/>
                      <a:pt x="208" y="652"/>
                    </a:cubicBezTo>
                    <a:cubicBezTo>
                      <a:pt x="211" y="653"/>
                      <a:pt x="211" y="653"/>
                      <a:pt x="211" y="653"/>
                    </a:cubicBezTo>
                    <a:cubicBezTo>
                      <a:pt x="215" y="649"/>
                      <a:pt x="215" y="649"/>
                      <a:pt x="215" y="649"/>
                    </a:cubicBezTo>
                    <a:cubicBezTo>
                      <a:pt x="219" y="649"/>
                      <a:pt x="219" y="649"/>
                      <a:pt x="219" y="649"/>
                    </a:cubicBezTo>
                    <a:cubicBezTo>
                      <a:pt x="223" y="645"/>
                      <a:pt x="223" y="645"/>
                      <a:pt x="223" y="645"/>
                    </a:cubicBezTo>
                    <a:cubicBezTo>
                      <a:pt x="226" y="645"/>
                      <a:pt x="226" y="645"/>
                      <a:pt x="226" y="645"/>
                    </a:cubicBezTo>
                    <a:cubicBezTo>
                      <a:pt x="230" y="640"/>
                      <a:pt x="230" y="640"/>
                      <a:pt x="230" y="640"/>
                    </a:cubicBezTo>
                    <a:cubicBezTo>
                      <a:pt x="230" y="633"/>
                      <a:pt x="230" y="633"/>
                      <a:pt x="230" y="633"/>
                    </a:cubicBezTo>
                    <a:cubicBezTo>
                      <a:pt x="229" y="632"/>
                      <a:pt x="229" y="632"/>
                      <a:pt x="229" y="632"/>
                    </a:cubicBezTo>
                    <a:cubicBezTo>
                      <a:pt x="227" y="632"/>
                      <a:pt x="227" y="632"/>
                      <a:pt x="227" y="632"/>
                    </a:cubicBezTo>
                    <a:cubicBezTo>
                      <a:pt x="226" y="627"/>
                      <a:pt x="226" y="627"/>
                      <a:pt x="226" y="627"/>
                    </a:cubicBezTo>
                    <a:cubicBezTo>
                      <a:pt x="224" y="626"/>
                      <a:pt x="224" y="626"/>
                      <a:pt x="224" y="626"/>
                    </a:cubicBezTo>
                    <a:cubicBezTo>
                      <a:pt x="219" y="626"/>
                      <a:pt x="219" y="626"/>
                      <a:pt x="219" y="626"/>
                    </a:cubicBezTo>
                    <a:cubicBezTo>
                      <a:pt x="220" y="622"/>
                      <a:pt x="220" y="622"/>
                      <a:pt x="220" y="622"/>
                    </a:cubicBezTo>
                    <a:cubicBezTo>
                      <a:pt x="220" y="617"/>
                      <a:pt x="220" y="617"/>
                      <a:pt x="220" y="617"/>
                    </a:cubicBezTo>
                    <a:cubicBezTo>
                      <a:pt x="225" y="615"/>
                      <a:pt x="225" y="615"/>
                      <a:pt x="225" y="615"/>
                    </a:cubicBezTo>
                    <a:cubicBezTo>
                      <a:pt x="226" y="613"/>
                      <a:pt x="226" y="613"/>
                      <a:pt x="226" y="613"/>
                    </a:cubicBezTo>
                    <a:cubicBezTo>
                      <a:pt x="228" y="612"/>
                      <a:pt x="228" y="612"/>
                      <a:pt x="228" y="612"/>
                    </a:cubicBezTo>
                    <a:cubicBezTo>
                      <a:pt x="229" y="610"/>
                      <a:pt x="229" y="610"/>
                      <a:pt x="229" y="610"/>
                    </a:cubicBezTo>
                    <a:cubicBezTo>
                      <a:pt x="228" y="609"/>
                      <a:pt x="228" y="609"/>
                      <a:pt x="228" y="609"/>
                    </a:cubicBezTo>
                    <a:cubicBezTo>
                      <a:pt x="230" y="607"/>
                      <a:pt x="230" y="607"/>
                      <a:pt x="230" y="607"/>
                    </a:cubicBezTo>
                    <a:cubicBezTo>
                      <a:pt x="234" y="608"/>
                      <a:pt x="234" y="608"/>
                      <a:pt x="234" y="608"/>
                    </a:cubicBezTo>
                    <a:cubicBezTo>
                      <a:pt x="239" y="604"/>
                      <a:pt x="239" y="604"/>
                      <a:pt x="239" y="604"/>
                    </a:cubicBezTo>
                    <a:cubicBezTo>
                      <a:pt x="242" y="608"/>
                      <a:pt x="242" y="608"/>
                      <a:pt x="242" y="608"/>
                    </a:cubicBezTo>
                    <a:cubicBezTo>
                      <a:pt x="246" y="605"/>
                      <a:pt x="246" y="605"/>
                      <a:pt x="246" y="605"/>
                    </a:cubicBezTo>
                    <a:cubicBezTo>
                      <a:pt x="246" y="608"/>
                      <a:pt x="246" y="608"/>
                      <a:pt x="246" y="608"/>
                    </a:cubicBezTo>
                    <a:cubicBezTo>
                      <a:pt x="247" y="610"/>
                      <a:pt x="247" y="610"/>
                      <a:pt x="247" y="610"/>
                    </a:cubicBezTo>
                    <a:cubicBezTo>
                      <a:pt x="249" y="610"/>
                      <a:pt x="249" y="610"/>
                      <a:pt x="249" y="610"/>
                    </a:cubicBezTo>
                    <a:cubicBezTo>
                      <a:pt x="253" y="605"/>
                      <a:pt x="253" y="605"/>
                      <a:pt x="253" y="605"/>
                    </a:cubicBezTo>
                    <a:cubicBezTo>
                      <a:pt x="252" y="603"/>
                      <a:pt x="252" y="603"/>
                      <a:pt x="252" y="603"/>
                    </a:cubicBezTo>
                    <a:cubicBezTo>
                      <a:pt x="250" y="602"/>
                      <a:pt x="250" y="602"/>
                      <a:pt x="250" y="602"/>
                    </a:cubicBezTo>
                    <a:cubicBezTo>
                      <a:pt x="249" y="600"/>
                      <a:pt x="249" y="600"/>
                      <a:pt x="249" y="600"/>
                    </a:cubicBezTo>
                    <a:cubicBezTo>
                      <a:pt x="251" y="599"/>
                      <a:pt x="251" y="599"/>
                      <a:pt x="251" y="599"/>
                    </a:cubicBezTo>
                    <a:cubicBezTo>
                      <a:pt x="254" y="601"/>
                      <a:pt x="254" y="601"/>
                      <a:pt x="254" y="601"/>
                    </a:cubicBezTo>
                    <a:cubicBezTo>
                      <a:pt x="261" y="599"/>
                      <a:pt x="261" y="599"/>
                      <a:pt x="261" y="599"/>
                    </a:cubicBezTo>
                    <a:cubicBezTo>
                      <a:pt x="262" y="593"/>
                      <a:pt x="262" y="593"/>
                      <a:pt x="262" y="593"/>
                    </a:cubicBezTo>
                    <a:cubicBezTo>
                      <a:pt x="261" y="588"/>
                      <a:pt x="261" y="588"/>
                      <a:pt x="261" y="588"/>
                    </a:cubicBezTo>
                    <a:cubicBezTo>
                      <a:pt x="255" y="584"/>
                      <a:pt x="255" y="584"/>
                      <a:pt x="255" y="584"/>
                    </a:cubicBezTo>
                    <a:cubicBezTo>
                      <a:pt x="253" y="584"/>
                      <a:pt x="253" y="584"/>
                      <a:pt x="253" y="584"/>
                    </a:cubicBezTo>
                    <a:cubicBezTo>
                      <a:pt x="251" y="586"/>
                      <a:pt x="251" y="586"/>
                      <a:pt x="251" y="586"/>
                    </a:cubicBezTo>
                    <a:cubicBezTo>
                      <a:pt x="251" y="585"/>
                      <a:pt x="251" y="585"/>
                      <a:pt x="251" y="585"/>
                    </a:cubicBezTo>
                    <a:cubicBezTo>
                      <a:pt x="254" y="582"/>
                      <a:pt x="254" y="582"/>
                      <a:pt x="254" y="582"/>
                    </a:cubicBezTo>
                    <a:cubicBezTo>
                      <a:pt x="258" y="582"/>
                      <a:pt x="258" y="582"/>
                      <a:pt x="258" y="582"/>
                    </a:cubicBezTo>
                    <a:cubicBezTo>
                      <a:pt x="261" y="585"/>
                      <a:pt x="261" y="585"/>
                      <a:pt x="261" y="585"/>
                    </a:cubicBezTo>
                    <a:cubicBezTo>
                      <a:pt x="266" y="584"/>
                      <a:pt x="266" y="584"/>
                      <a:pt x="266" y="584"/>
                    </a:cubicBezTo>
                    <a:cubicBezTo>
                      <a:pt x="269" y="580"/>
                      <a:pt x="269" y="580"/>
                      <a:pt x="269" y="580"/>
                    </a:cubicBezTo>
                    <a:cubicBezTo>
                      <a:pt x="269" y="578"/>
                      <a:pt x="269" y="578"/>
                      <a:pt x="269" y="578"/>
                    </a:cubicBezTo>
                    <a:cubicBezTo>
                      <a:pt x="277" y="573"/>
                      <a:pt x="277" y="573"/>
                      <a:pt x="277" y="573"/>
                    </a:cubicBezTo>
                    <a:cubicBezTo>
                      <a:pt x="282" y="568"/>
                      <a:pt x="282" y="568"/>
                      <a:pt x="282" y="568"/>
                    </a:cubicBezTo>
                    <a:cubicBezTo>
                      <a:pt x="286" y="568"/>
                      <a:pt x="286" y="568"/>
                      <a:pt x="286" y="568"/>
                    </a:cubicBezTo>
                    <a:cubicBezTo>
                      <a:pt x="287" y="566"/>
                      <a:pt x="287" y="566"/>
                      <a:pt x="287" y="566"/>
                    </a:cubicBezTo>
                    <a:cubicBezTo>
                      <a:pt x="287" y="563"/>
                      <a:pt x="287" y="563"/>
                      <a:pt x="287" y="563"/>
                    </a:cubicBezTo>
                    <a:cubicBezTo>
                      <a:pt x="295" y="556"/>
                      <a:pt x="295" y="556"/>
                      <a:pt x="295" y="556"/>
                    </a:cubicBezTo>
                    <a:cubicBezTo>
                      <a:pt x="301" y="556"/>
                      <a:pt x="301" y="556"/>
                      <a:pt x="301" y="556"/>
                    </a:cubicBezTo>
                    <a:cubicBezTo>
                      <a:pt x="309" y="547"/>
                      <a:pt x="309" y="547"/>
                      <a:pt x="309" y="547"/>
                    </a:cubicBezTo>
                    <a:cubicBezTo>
                      <a:pt x="314" y="547"/>
                      <a:pt x="314" y="547"/>
                      <a:pt x="314" y="547"/>
                    </a:cubicBezTo>
                    <a:cubicBezTo>
                      <a:pt x="321" y="538"/>
                      <a:pt x="321" y="538"/>
                      <a:pt x="321" y="538"/>
                    </a:cubicBezTo>
                    <a:cubicBezTo>
                      <a:pt x="319" y="543"/>
                      <a:pt x="319" y="543"/>
                      <a:pt x="319" y="543"/>
                    </a:cubicBezTo>
                    <a:cubicBezTo>
                      <a:pt x="319" y="548"/>
                      <a:pt x="319" y="548"/>
                      <a:pt x="319" y="548"/>
                    </a:cubicBezTo>
                    <a:cubicBezTo>
                      <a:pt x="321" y="549"/>
                      <a:pt x="321" y="549"/>
                      <a:pt x="321" y="549"/>
                    </a:cubicBezTo>
                    <a:cubicBezTo>
                      <a:pt x="323" y="550"/>
                      <a:pt x="323" y="550"/>
                      <a:pt x="323" y="550"/>
                    </a:cubicBezTo>
                    <a:cubicBezTo>
                      <a:pt x="324" y="552"/>
                      <a:pt x="324" y="552"/>
                      <a:pt x="324" y="552"/>
                    </a:cubicBezTo>
                    <a:cubicBezTo>
                      <a:pt x="329" y="546"/>
                      <a:pt x="329" y="546"/>
                      <a:pt x="329" y="546"/>
                    </a:cubicBezTo>
                    <a:cubicBezTo>
                      <a:pt x="333" y="544"/>
                      <a:pt x="333" y="544"/>
                      <a:pt x="333" y="544"/>
                    </a:cubicBezTo>
                    <a:cubicBezTo>
                      <a:pt x="340" y="541"/>
                      <a:pt x="340" y="541"/>
                      <a:pt x="340" y="541"/>
                    </a:cubicBezTo>
                    <a:cubicBezTo>
                      <a:pt x="342" y="538"/>
                      <a:pt x="342" y="538"/>
                      <a:pt x="342" y="538"/>
                    </a:cubicBezTo>
                    <a:cubicBezTo>
                      <a:pt x="341" y="543"/>
                      <a:pt x="341" y="543"/>
                      <a:pt x="341" y="543"/>
                    </a:cubicBezTo>
                    <a:cubicBezTo>
                      <a:pt x="335" y="547"/>
                      <a:pt x="335" y="547"/>
                      <a:pt x="335" y="547"/>
                    </a:cubicBezTo>
                    <a:cubicBezTo>
                      <a:pt x="331" y="547"/>
                      <a:pt x="331" y="547"/>
                      <a:pt x="331" y="547"/>
                    </a:cubicBezTo>
                    <a:cubicBezTo>
                      <a:pt x="323" y="557"/>
                      <a:pt x="323" y="557"/>
                      <a:pt x="323" y="557"/>
                    </a:cubicBezTo>
                    <a:cubicBezTo>
                      <a:pt x="322" y="561"/>
                      <a:pt x="322" y="561"/>
                      <a:pt x="322" y="561"/>
                    </a:cubicBezTo>
                    <a:cubicBezTo>
                      <a:pt x="326" y="568"/>
                      <a:pt x="326" y="568"/>
                      <a:pt x="326" y="568"/>
                    </a:cubicBezTo>
                    <a:cubicBezTo>
                      <a:pt x="327" y="573"/>
                      <a:pt x="327" y="573"/>
                      <a:pt x="327" y="573"/>
                    </a:cubicBezTo>
                    <a:cubicBezTo>
                      <a:pt x="324" y="569"/>
                      <a:pt x="324" y="569"/>
                      <a:pt x="324" y="569"/>
                    </a:cubicBezTo>
                    <a:cubicBezTo>
                      <a:pt x="321" y="569"/>
                      <a:pt x="321" y="569"/>
                      <a:pt x="321" y="569"/>
                    </a:cubicBezTo>
                    <a:cubicBezTo>
                      <a:pt x="319" y="570"/>
                      <a:pt x="319" y="570"/>
                      <a:pt x="319" y="570"/>
                    </a:cubicBezTo>
                    <a:cubicBezTo>
                      <a:pt x="316" y="570"/>
                      <a:pt x="316" y="570"/>
                      <a:pt x="316" y="570"/>
                    </a:cubicBezTo>
                    <a:cubicBezTo>
                      <a:pt x="313" y="567"/>
                      <a:pt x="313" y="567"/>
                      <a:pt x="313" y="567"/>
                    </a:cubicBezTo>
                    <a:cubicBezTo>
                      <a:pt x="312" y="561"/>
                      <a:pt x="312" y="561"/>
                      <a:pt x="312" y="561"/>
                    </a:cubicBezTo>
                    <a:cubicBezTo>
                      <a:pt x="306" y="565"/>
                      <a:pt x="306" y="565"/>
                      <a:pt x="306" y="565"/>
                    </a:cubicBezTo>
                    <a:cubicBezTo>
                      <a:pt x="303" y="565"/>
                      <a:pt x="303" y="565"/>
                      <a:pt x="303" y="565"/>
                    </a:cubicBezTo>
                    <a:cubicBezTo>
                      <a:pt x="298" y="569"/>
                      <a:pt x="298" y="569"/>
                      <a:pt x="298" y="569"/>
                    </a:cubicBezTo>
                    <a:cubicBezTo>
                      <a:pt x="293" y="569"/>
                      <a:pt x="293" y="569"/>
                      <a:pt x="293" y="569"/>
                    </a:cubicBezTo>
                    <a:cubicBezTo>
                      <a:pt x="289" y="573"/>
                      <a:pt x="289" y="573"/>
                      <a:pt x="289" y="573"/>
                    </a:cubicBezTo>
                    <a:cubicBezTo>
                      <a:pt x="289" y="578"/>
                      <a:pt x="289" y="578"/>
                      <a:pt x="289" y="578"/>
                    </a:cubicBezTo>
                    <a:cubicBezTo>
                      <a:pt x="290" y="580"/>
                      <a:pt x="290" y="580"/>
                      <a:pt x="290" y="580"/>
                    </a:cubicBezTo>
                    <a:cubicBezTo>
                      <a:pt x="287" y="587"/>
                      <a:pt x="287" y="587"/>
                      <a:pt x="287" y="587"/>
                    </a:cubicBezTo>
                    <a:cubicBezTo>
                      <a:pt x="283" y="590"/>
                      <a:pt x="283" y="590"/>
                      <a:pt x="283" y="590"/>
                    </a:cubicBezTo>
                    <a:cubicBezTo>
                      <a:pt x="281" y="596"/>
                      <a:pt x="281" y="596"/>
                      <a:pt x="281" y="596"/>
                    </a:cubicBezTo>
                    <a:cubicBezTo>
                      <a:pt x="270" y="606"/>
                      <a:pt x="270" y="606"/>
                      <a:pt x="270" y="606"/>
                    </a:cubicBezTo>
                    <a:cubicBezTo>
                      <a:pt x="268" y="611"/>
                      <a:pt x="268" y="611"/>
                      <a:pt x="268" y="611"/>
                    </a:cubicBezTo>
                    <a:cubicBezTo>
                      <a:pt x="268" y="614"/>
                      <a:pt x="268" y="614"/>
                      <a:pt x="268" y="614"/>
                    </a:cubicBezTo>
                    <a:cubicBezTo>
                      <a:pt x="272" y="620"/>
                      <a:pt x="272" y="620"/>
                      <a:pt x="272" y="620"/>
                    </a:cubicBezTo>
                    <a:cubicBezTo>
                      <a:pt x="274" y="617"/>
                      <a:pt x="274" y="617"/>
                      <a:pt x="274" y="617"/>
                    </a:cubicBezTo>
                    <a:cubicBezTo>
                      <a:pt x="275" y="617"/>
                      <a:pt x="275" y="617"/>
                      <a:pt x="275" y="617"/>
                    </a:cubicBezTo>
                    <a:cubicBezTo>
                      <a:pt x="279" y="614"/>
                      <a:pt x="279" y="614"/>
                      <a:pt x="279" y="614"/>
                    </a:cubicBezTo>
                    <a:cubicBezTo>
                      <a:pt x="281" y="614"/>
                      <a:pt x="281" y="614"/>
                      <a:pt x="281" y="614"/>
                    </a:cubicBezTo>
                    <a:cubicBezTo>
                      <a:pt x="281" y="617"/>
                      <a:pt x="281" y="617"/>
                      <a:pt x="281" y="617"/>
                    </a:cubicBezTo>
                    <a:cubicBezTo>
                      <a:pt x="275" y="623"/>
                      <a:pt x="275" y="623"/>
                      <a:pt x="275" y="623"/>
                    </a:cubicBezTo>
                    <a:cubicBezTo>
                      <a:pt x="272" y="623"/>
                      <a:pt x="272" y="623"/>
                      <a:pt x="272" y="623"/>
                    </a:cubicBezTo>
                    <a:cubicBezTo>
                      <a:pt x="271" y="627"/>
                      <a:pt x="271" y="627"/>
                      <a:pt x="271" y="627"/>
                    </a:cubicBezTo>
                    <a:cubicBezTo>
                      <a:pt x="267" y="625"/>
                      <a:pt x="267" y="625"/>
                      <a:pt x="267" y="625"/>
                    </a:cubicBezTo>
                    <a:cubicBezTo>
                      <a:pt x="264" y="625"/>
                      <a:pt x="264" y="625"/>
                      <a:pt x="264" y="625"/>
                    </a:cubicBezTo>
                    <a:cubicBezTo>
                      <a:pt x="262" y="626"/>
                      <a:pt x="262" y="626"/>
                      <a:pt x="262" y="626"/>
                    </a:cubicBezTo>
                    <a:cubicBezTo>
                      <a:pt x="262" y="630"/>
                      <a:pt x="262" y="630"/>
                      <a:pt x="262" y="630"/>
                    </a:cubicBezTo>
                    <a:cubicBezTo>
                      <a:pt x="259" y="629"/>
                      <a:pt x="259" y="629"/>
                      <a:pt x="259" y="629"/>
                    </a:cubicBezTo>
                    <a:cubicBezTo>
                      <a:pt x="256" y="630"/>
                      <a:pt x="256" y="630"/>
                      <a:pt x="256" y="630"/>
                    </a:cubicBezTo>
                    <a:cubicBezTo>
                      <a:pt x="256" y="636"/>
                      <a:pt x="256" y="636"/>
                      <a:pt x="256" y="636"/>
                    </a:cubicBezTo>
                    <a:cubicBezTo>
                      <a:pt x="261" y="642"/>
                      <a:pt x="261" y="642"/>
                      <a:pt x="261" y="642"/>
                    </a:cubicBezTo>
                    <a:cubicBezTo>
                      <a:pt x="263" y="641"/>
                      <a:pt x="263" y="641"/>
                      <a:pt x="263" y="641"/>
                    </a:cubicBezTo>
                    <a:cubicBezTo>
                      <a:pt x="265" y="638"/>
                      <a:pt x="265" y="638"/>
                      <a:pt x="265" y="638"/>
                    </a:cubicBezTo>
                    <a:cubicBezTo>
                      <a:pt x="267" y="641"/>
                      <a:pt x="267" y="641"/>
                      <a:pt x="267" y="641"/>
                    </a:cubicBezTo>
                    <a:cubicBezTo>
                      <a:pt x="268" y="636"/>
                      <a:pt x="268" y="636"/>
                      <a:pt x="268" y="636"/>
                    </a:cubicBezTo>
                    <a:cubicBezTo>
                      <a:pt x="271" y="636"/>
                      <a:pt x="271" y="636"/>
                      <a:pt x="271" y="636"/>
                    </a:cubicBezTo>
                    <a:cubicBezTo>
                      <a:pt x="271" y="640"/>
                      <a:pt x="271" y="640"/>
                      <a:pt x="271" y="640"/>
                    </a:cubicBezTo>
                    <a:cubicBezTo>
                      <a:pt x="273" y="638"/>
                      <a:pt x="273" y="638"/>
                      <a:pt x="273" y="638"/>
                    </a:cubicBezTo>
                    <a:cubicBezTo>
                      <a:pt x="273" y="635"/>
                      <a:pt x="273" y="635"/>
                      <a:pt x="273" y="635"/>
                    </a:cubicBezTo>
                    <a:cubicBezTo>
                      <a:pt x="276" y="634"/>
                      <a:pt x="276" y="634"/>
                      <a:pt x="276" y="634"/>
                    </a:cubicBezTo>
                    <a:cubicBezTo>
                      <a:pt x="280" y="631"/>
                      <a:pt x="280" y="631"/>
                      <a:pt x="280" y="631"/>
                    </a:cubicBezTo>
                    <a:cubicBezTo>
                      <a:pt x="280" y="626"/>
                      <a:pt x="280" y="626"/>
                      <a:pt x="280" y="626"/>
                    </a:cubicBezTo>
                    <a:cubicBezTo>
                      <a:pt x="283" y="623"/>
                      <a:pt x="283" y="623"/>
                      <a:pt x="283" y="623"/>
                    </a:cubicBezTo>
                    <a:cubicBezTo>
                      <a:pt x="283" y="625"/>
                      <a:pt x="283" y="625"/>
                      <a:pt x="283" y="625"/>
                    </a:cubicBezTo>
                    <a:cubicBezTo>
                      <a:pt x="282" y="628"/>
                      <a:pt x="282" y="628"/>
                      <a:pt x="282" y="628"/>
                    </a:cubicBezTo>
                    <a:cubicBezTo>
                      <a:pt x="283" y="630"/>
                      <a:pt x="283" y="630"/>
                      <a:pt x="283" y="630"/>
                    </a:cubicBezTo>
                    <a:cubicBezTo>
                      <a:pt x="287" y="630"/>
                      <a:pt x="287" y="630"/>
                      <a:pt x="287" y="630"/>
                    </a:cubicBezTo>
                    <a:cubicBezTo>
                      <a:pt x="293" y="625"/>
                      <a:pt x="293" y="625"/>
                      <a:pt x="293" y="625"/>
                    </a:cubicBezTo>
                    <a:cubicBezTo>
                      <a:pt x="297" y="624"/>
                      <a:pt x="297" y="624"/>
                      <a:pt x="297" y="624"/>
                    </a:cubicBezTo>
                    <a:cubicBezTo>
                      <a:pt x="298" y="627"/>
                      <a:pt x="298" y="627"/>
                      <a:pt x="298" y="627"/>
                    </a:cubicBezTo>
                    <a:cubicBezTo>
                      <a:pt x="300" y="625"/>
                      <a:pt x="300" y="625"/>
                      <a:pt x="300" y="625"/>
                    </a:cubicBezTo>
                    <a:cubicBezTo>
                      <a:pt x="301" y="617"/>
                      <a:pt x="301" y="617"/>
                      <a:pt x="301" y="617"/>
                    </a:cubicBezTo>
                    <a:cubicBezTo>
                      <a:pt x="306" y="614"/>
                      <a:pt x="306" y="614"/>
                      <a:pt x="306" y="614"/>
                    </a:cubicBezTo>
                    <a:cubicBezTo>
                      <a:pt x="307" y="614"/>
                      <a:pt x="307" y="614"/>
                      <a:pt x="307" y="614"/>
                    </a:cubicBezTo>
                    <a:cubicBezTo>
                      <a:pt x="303" y="620"/>
                      <a:pt x="303" y="620"/>
                      <a:pt x="303" y="620"/>
                    </a:cubicBezTo>
                    <a:cubicBezTo>
                      <a:pt x="303" y="623"/>
                      <a:pt x="303" y="623"/>
                      <a:pt x="303" y="623"/>
                    </a:cubicBezTo>
                    <a:cubicBezTo>
                      <a:pt x="305" y="622"/>
                      <a:pt x="305" y="622"/>
                      <a:pt x="305" y="622"/>
                    </a:cubicBezTo>
                    <a:cubicBezTo>
                      <a:pt x="309" y="615"/>
                      <a:pt x="309" y="615"/>
                      <a:pt x="309" y="615"/>
                    </a:cubicBezTo>
                    <a:cubicBezTo>
                      <a:pt x="311" y="608"/>
                      <a:pt x="311" y="608"/>
                      <a:pt x="311" y="608"/>
                    </a:cubicBezTo>
                    <a:cubicBezTo>
                      <a:pt x="314" y="606"/>
                      <a:pt x="314" y="606"/>
                      <a:pt x="314" y="606"/>
                    </a:cubicBezTo>
                    <a:cubicBezTo>
                      <a:pt x="314" y="610"/>
                      <a:pt x="314" y="610"/>
                      <a:pt x="314" y="610"/>
                    </a:cubicBezTo>
                    <a:cubicBezTo>
                      <a:pt x="312" y="615"/>
                      <a:pt x="312" y="615"/>
                      <a:pt x="312" y="615"/>
                    </a:cubicBezTo>
                    <a:cubicBezTo>
                      <a:pt x="312" y="617"/>
                      <a:pt x="312" y="617"/>
                      <a:pt x="312" y="617"/>
                    </a:cubicBezTo>
                    <a:cubicBezTo>
                      <a:pt x="316" y="611"/>
                      <a:pt x="316" y="611"/>
                      <a:pt x="316" y="611"/>
                    </a:cubicBezTo>
                    <a:cubicBezTo>
                      <a:pt x="318" y="614"/>
                      <a:pt x="318" y="614"/>
                      <a:pt x="318" y="614"/>
                    </a:cubicBezTo>
                    <a:cubicBezTo>
                      <a:pt x="317" y="617"/>
                      <a:pt x="317" y="617"/>
                      <a:pt x="317" y="617"/>
                    </a:cubicBezTo>
                    <a:cubicBezTo>
                      <a:pt x="321" y="617"/>
                      <a:pt x="321" y="617"/>
                      <a:pt x="321" y="617"/>
                    </a:cubicBezTo>
                    <a:cubicBezTo>
                      <a:pt x="323" y="619"/>
                      <a:pt x="323" y="619"/>
                      <a:pt x="323" y="619"/>
                    </a:cubicBezTo>
                    <a:cubicBezTo>
                      <a:pt x="326" y="616"/>
                      <a:pt x="326" y="616"/>
                      <a:pt x="326" y="616"/>
                    </a:cubicBezTo>
                    <a:cubicBezTo>
                      <a:pt x="327" y="611"/>
                      <a:pt x="327" y="611"/>
                      <a:pt x="327" y="611"/>
                    </a:cubicBezTo>
                    <a:cubicBezTo>
                      <a:pt x="332" y="611"/>
                      <a:pt x="332" y="611"/>
                      <a:pt x="332" y="611"/>
                    </a:cubicBezTo>
                    <a:cubicBezTo>
                      <a:pt x="334" y="609"/>
                      <a:pt x="334" y="609"/>
                      <a:pt x="334" y="609"/>
                    </a:cubicBezTo>
                    <a:cubicBezTo>
                      <a:pt x="334" y="609"/>
                      <a:pt x="334" y="608"/>
                      <a:pt x="334" y="608"/>
                    </a:cubicBezTo>
                    <a:cubicBezTo>
                      <a:pt x="334" y="608"/>
                      <a:pt x="334" y="608"/>
                      <a:pt x="334" y="607"/>
                    </a:cubicBezTo>
                    <a:cubicBezTo>
                      <a:pt x="333" y="607"/>
                      <a:pt x="333" y="607"/>
                      <a:pt x="333" y="607"/>
                    </a:cubicBezTo>
                    <a:cubicBezTo>
                      <a:pt x="334" y="602"/>
                      <a:pt x="334" y="602"/>
                      <a:pt x="334" y="602"/>
                    </a:cubicBezTo>
                    <a:cubicBezTo>
                      <a:pt x="335" y="602"/>
                      <a:pt x="335" y="602"/>
                      <a:pt x="335" y="602"/>
                    </a:cubicBezTo>
                    <a:cubicBezTo>
                      <a:pt x="335" y="598"/>
                      <a:pt x="337" y="595"/>
                      <a:pt x="339" y="593"/>
                    </a:cubicBezTo>
                    <a:cubicBezTo>
                      <a:pt x="339" y="593"/>
                      <a:pt x="339" y="593"/>
                      <a:pt x="339" y="593"/>
                    </a:cubicBezTo>
                    <a:cubicBezTo>
                      <a:pt x="337" y="591"/>
                      <a:pt x="337" y="591"/>
                      <a:pt x="337" y="591"/>
                    </a:cubicBezTo>
                    <a:cubicBezTo>
                      <a:pt x="332" y="590"/>
                      <a:pt x="332" y="590"/>
                      <a:pt x="332" y="590"/>
                    </a:cubicBezTo>
                    <a:cubicBezTo>
                      <a:pt x="334" y="587"/>
                      <a:pt x="334" y="587"/>
                      <a:pt x="334" y="587"/>
                    </a:cubicBezTo>
                    <a:cubicBezTo>
                      <a:pt x="337" y="587"/>
                      <a:pt x="337" y="587"/>
                      <a:pt x="337" y="587"/>
                    </a:cubicBezTo>
                    <a:cubicBezTo>
                      <a:pt x="340" y="588"/>
                      <a:pt x="340" y="588"/>
                      <a:pt x="340" y="588"/>
                    </a:cubicBezTo>
                    <a:cubicBezTo>
                      <a:pt x="341" y="586"/>
                      <a:pt x="341" y="586"/>
                      <a:pt x="341" y="586"/>
                    </a:cubicBezTo>
                    <a:cubicBezTo>
                      <a:pt x="341" y="582"/>
                      <a:pt x="341" y="582"/>
                      <a:pt x="341" y="582"/>
                    </a:cubicBezTo>
                    <a:cubicBezTo>
                      <a:pt x="338" y="584"/>
                      <a:pt x="338" y="584"/>
                      <a:pt x="338" y="584"/>
                    </a:cubicBezTo>
                    <a:cubicBezTo>
                      <a:pt x="335" y="580"/>
                      <a:pt x="335" y="580"/>
                      <a:pt x="335" y="580"/>
                    </a:cubicBezTo>
                    <a:cubicBezTo>
                      <a:pt x="334" y="577"/>
                      <a:pt x="334" y="577"/>
                      <a:pt x="334" y="577"/>
                    </a:cubicBezTo>
                    <a:cubicBezTo>
                      <a:pt x="339" y="576"/>
                      <a:pt x="339" y="576"/>
                      <a:pt x="339" y="576"/>
                    </a:cubicBezTo>
                    <a:cubicBezTo>
                      <a:pt x="341" y="575"/>
                      <a:pt x="341" y="575"/>
                      <a:pt x="341" y="575"/>
                    </a:cubicBezTo>
                    <a:cubicBezTo>
                      <a:pt x="343" y="576"/>
                      <a:pt x="343" y="576"/>
                      <a:pt x="343" y="576"/>
                    </a:cubicBezTo>
                    <a:cubicBezTo>
                      <a:pt x="343" y="574"/>
                      <a:pt x="343" y="574"/>
                      <a:pt x="343" y="574"/>
                    </a:cubicBezTo>
                    <a:cubicBezTo>
                      <a:pt x="342" y="569"/>
                      <a:pt x="342" y="569"/>
                      <a:pt x="342" y="569"/>
                    </a:cubicBezTo>
                    <a:cubicBezTo>
                      <a:pt x="348" y="566"/>
                      <a:pt x="348" y="566"/>
                      <a:pt x="348" y="566"/>
                    </a:cubicBezTo>
                    <a:cubicBezTo>
                      <a:pt x="351" y="569"/>
                      <a:pt x="351" y="569"/>
                      <a:pt x="351" y="569"/>
                    </a:cubicBezTo>
                    <a:cubicBezTo>
                      <a:pt x="354" y="568"/>
                      <a:pt x="354" y="568"/>
                      <a:pt x="354" y="568"/>
                    </a:cubicBezTo>
                    <a:cubicBezTo>
                      <a:pt x="358" y="568"/>
                      <a:pt x="358" y="568"/>
                      <a:pt x="358" y="568"/>
                    </a:cubicBezTo>
                    <a:cubicBezTo>
                      <a:pt x="352" y="574"/>
                      <a:pt x="352" y="574"/>
                      <a:pt x="352" y="574"/>
                    </a:cubicBezTo>
                    <a:cubicBezTo>
                      <a:pt x="352" y="577"/>
                      <a:pt x="352" y="577"/>
                      <a:pt x="352" y="577"/>
                    </a:cubicBezTo>
                    <a:cubicBezTo>
                      <a:pt x="353" y="585"/>
                      <a:pt x="353" y="585"/>
                      <a:pt x="353" y="585"/>
                    </a:cubicBezTo>
                    <a:cubicBezTo>
                      <a:pt x="355" y="584"/>
                      <a:pt x="355" y="584"/>
                      <a:pt x="355" y="584"/>
                    </a:cubicBezTo>
                    <a:cubicBezTo>
                      <a:pt x="357" y="576"/>
                      <a:pt x="357" y="576"/>
                      <a:pt x="357" y="576"/>
                    </a:cubicBezTo>
                    <a:cubicBezTo>
                      <a:pt x="360" y="574"/>
                      <a:pt x="360" y="574"/>
                      <a:pt x="360" y="574"/>
                    </a:cubicBezTo>
                    <a:cubicBezTo>
                      <a:pt x="361" y="574"/>
                      <a:pt x="361" y="574"/>
                      <a:pt x="361" y="574"/>
                    </a:cubicBezTo>
                    <a:cubicBezTo>
                      <a:pt x="360" y="576"/>
                      <a:pt x="360" y="576"/>
                      <a:pt x="360" y="576"/>
                    </a:cubicBezTo>
                    <a:cubicBezTo>
                      <a:pt x="358" y="580"/>
                      <a:pt x="358" y="580"/>
                      <a:pt x="358" y="580"/>
                    </a:cubicBezTo>
                    <a:cubicBezTo>
                      <a:pt x="359" y="582"/>
                      <a:pt x="359" y="582"/>
                      <a:pt x="359" y="582"/>
                    </a:cubicBezTo>
                    <a:cubicBezTo>
                      <a:pt x="363" y="579"/>
                      <a:pt x="363" y="579"/>
                      <a:pt x="363" y="579"/>
                    </a:cubicBezTo>
                    <a:cubicBezTo>
                      <a:pt x="364" y="576"/>
                      <a:pt x="364" y="576"/>
                      <a:pt x="364" y="576"/>
                    </a:cubicBezTo>
                    <a:cubicBezTo>
                      <a:pt x="367" y="579"/>
                      <a:pt x="367" y="579"/>
                      <a:pt x="367" y="579"/>
                    </a:cubicBezTo>
                    <a:cubicBezTo>
                      <a:pt x="371" y="576"/>
                      <a:pt x="371" y="576"/>
                      <a:pt x="371" y="576"/>
                    </a:cubicBezTo>
                    <a:cubicBezTo>
                      <a:pt x="372" y="575"/>
                      <a:pt x="372" y="575"/>
                      <a:pt x="372" y="575"/>
                    </a:cubicBezTo>
                    <a:cubicBezTo>
                      <a:pt x="376" y="572"/>
                      <a:pt x="376" y="572"/>
                      <a:pt x="376" y="572"/>
                    </a:cubicBezTo>
                    <a:cubicBezTo>
                      <a:pt x="380" y="571"/>
                      <a:pt x="380" y="571"/>
                      <a:pt x="380" y="571"/>
                    </a:cubicBezTo>
                    <a:cubicBezTo>
                      <a:pt x="383" y="573"/>
                      <a:pt x="383" y="573"/>
                      <a:pt x="383" y="573"/>
                    </a:cubicBezTo>
                    <a:cubicBezTo>
                      <a:pt x="382" y="574"/>
                      <a:pt x="382" y="574"/>
                      <a:pt x="382" y="574"/>
                    </a:cubicBezTo>
                    <a:cubicBezTo>
                      <a:pt x="378" y="574"/>
                      <a:pt x="378" y="574"/>
                      <a:pt x="378" y="574"/>
                    </a:cubicBezTo>
                    <a:cubicBezTo>
                      <a:pt x="374" y="579"/>
                      <a:pt x="374" y="579"/>
                      <a:pt x="374" y="579"/>
                    </a:cubicBezTo>
                    <a:cubicBezTo>
                      <a:pt x="372" y="579"/>
                      <a:pt x="372" y="579"/>
                      <a:pt x="372" y="579"/>
                    </a:cubicBezTo>
                    <a:cubicBezTo>
                      <a:pt x="370" y="582"/>
                      <a:pt x="370" y="582"/>
                      <a:pt x="370" y="582"/>
                    </a:cubicBezTo>
                    <a:cubicBezTo>
                      <a:pt x="372" y="585"/>
                      <a:pt x="372" y="585"/>
                      <a:pt x="372" y="585"/>
                    </a:cubicBezTo>
                    <a:cubicBezTo>
                      <a:pt x="378" y="586"/>
                      <a:pt x="378" y="586"/>
                      <a:pt x="378" y="586"/>
                    </a:cubicBezTo>
                    <a:cubicBezTo>
                      <a:pt x="381" y="589"/>
                      <a:pt x="381" y="589"/>
                      <a:pt x="381" y="589"/>
                    </a:cubicBezTo>
                    <a:cubicBezTo>
                      <a:pt x="380" y="591"/>
                      <a:pt x="380" y="591"/>
                      <a:pt x="380" y="591"/>
                    </a:cubicBezTo>
                    <a:cubicBezTo>
                      <a:pt x="376" y="587"/>
                      <a:pt x="376" y="587"/>
                      <a:pt x="376" y="587"/>
                    </a:cubicBezTo>
                    <a:cubicBezTo>
                      <a:pt x="372" y="587"/>
                      <a:pt x="372" y="587"/>
                      <a:pt x="372" y="587"/>
                    </a:cubicBezTo>
                    <a:cubicBezTo>
                      <a:pt x="369" y="588"/>
                      <a:pt x="369" y="588"/>
                      <a:pt x="369" y="588"/>
                    </a:cubicBezTo>
                    <a:cubicBezTo>
                      <a:pt x="368" y="592"/>
                      <a:pt x="368" y="592"/>
                      <a:pt x="368" y="592"/>
                    </a:cubicBezTo>
                    <a:cubicBezTo>
                      <a:pt x="371" y="593"/>
                      <a:pt x="371" y="593"/>
                      <a:pt x="371" y="593"/>
                    </a:cubicBezTo>
                    <a:cubicBezTo>
                      <a:pt x="374" y="591"/>
                      <a:pt x="374" y="591"/>
                      <a:pt x="374" y="591"/>
                    </a:cubicBezTo>
                    <a:cubicBezTo>
                      <a:pt x="377" y="594"/>
                      <a:pt x="377" y="594"/>
                      <a:pt x="377" y="594"/>
                    </a:cubicBezTo>
                    <a:cubicBezTo>
                      <a:pt x="375" y="595"/>
                      <a:pt x="375" y="595"/>
                      <a:pt x="375" y="595"/>
                    </a:cubicBezTo>
                    <a:cubicBezTo>
                      <a:pt x="371" y="595"/>
                      <a:pt x="371" y="595"/>
                      <a:pt x="371" y="595"/>
                    </a:cubicBezTo>
                    <a:cubicBezTo>
                      <a:pt x="372" y="598"/>
                      <a:pt x="372" y="598"/>
                      <a:pt x="372" y="598"/>
                    </a:cubicBezTo>
                    <a:cubicBezTo>
                      <a:pt x="377" y="600"/>
                      <a:pt x="377" y="600"/>
                      <a:pt x="377" y="600"/>
                    </a:cubicBezTo>
                    <a:cubicBezTo>
                      <a:pt x="378" y="603"/>
                      <a:pt x="378" y="603"/>
                      <a:pt x="378" y="603"/>
                    </a:cubicBezTo>
                    <a:cubicBezTo>
                      <a:pt x="375" y="604"/>
                      <a:pt x="375" y="604"/>
                      <a:pt x="375" y="604"/>
                    </a:cubicBezTo>
                    <a:cubicBezTo>
                      <a:pt x="373" y="605"/>
                      <a:pt x="373" y="605"/>
                      <a:pt x="373" y="605"/>
                    </a:cubicBezTo>
                    <a:cubicBezTo>
                      <a:pt x="373" y="606"/>
                      <a:pt x="374" y="606"/>
                      <a:pt x="374" y="607"/>
                    </a:cubicBezTo>
                    <a:cubicBezTo>
                      <a:pt x="377" y="607"/>
                      <a:pt x="377" y="607"/>
                      <a:pt x="377" y="607"/>
                    </a:cubicBezTo>
                    <a:cubicBezTo>
                      <a:pt x="380" y="605"/>
                      <a:pt x="380" y="605"/>
                      <a:pt x="380" y="605"/>
                    </a:cubicBezTo>
                    <a:cubicBezTo>
                      <a:pt x="383" y="609"/>
                      <a:pt x="383" y="609"/>
                      <a:pt x="383" y="609"/>
                    </a:cubicBezTo>
                    <a:cubicBezTo>
                      <a:pt x="387" y="610"/>
                      <a:pt x="387" y="610"/>
                      <a:pt x="387" y="610"/>
                    </a:cubicBezTo>
                    <a:cubicBezTo>
                      <a:pt x="392" y="608"/>
                      <a:pt x="392" y="608"/>
                      <a:pt x="392" y="608"/>
                    </a:cubicBezTo>
                    <a:cubicBezTo>
                      <a:pt x="393" y="611"/>
                      <a:pt x="393" y="611"/>
                      <a:pt x="393" y="611"/>
                    </a:cubicBezTo>
                    <a:cubicBezTo>
                      <a:pt x="393" y="613"/>
                      <a:pt x="393" y="613"/>
                      <a:pt x="393" y="613"/>
                    </a:cubicBezTo>
                    <a:cubicBezTo>
                      <a:pt x="391" y="615"/>
                      <a:pt x="391" y="615"/>
                      <a:pt x="391" y="615"/>
                    </a:cubicBezTo>
                    <a:cubicBezTo>
                      <a:pt x="391" y="617"/>
                      <a:pt x="391" y="617"/>
                      <a:pt x="391" y="617"/>
                    </a:cubicBezTo>
                    <a:cubicBezTo>
                      <a:pt x="393" y="618"/>
                      <a:pt x="393" y="618"/>
                      <a:pt x="393" y="618"/>
                    </a:cubicBezTo>
                    <a:cubicBezTo>
                      <a:pt x="394" y="620"/>
                      <a:pt x="394" y="620"/>
                      <a:pt x="394" y="620"/>
                    </a:cubicBezTo>
                    <a:cubicBezTo>
                      <a:pt x="396" y="622"/>
                      <a:pt x="396" y="622"/>
                      <a:pt x="396" y="622"/>
                    </a:cubicBezTo>
                    <a:cubicBezTo>
                      <a:pt x="399" y="617"/>
                      <a:pt x="399" y="617"/>
                      <a:pt x="399" y="617"/>
                    </a:cubicBezTo>
                    <a:cubicBezTo>
                      <a:pt x="398" y="615"/>
                      <a:pt x="398" y="615"/>
                      <a:pt x="398" y="615"/>
                    </a:cubicBezTo>
                    <a:cubicBezTo>
                      <a:pt x="399" y="614"/>
                      <a:pt x="399" y="614"/>
                      <a:pt x="399" y="614"/>
                    </a:cubicBezTo>
                    <a:cubicBezTo>
                      <a:pt x="403" y="614"/>
                      <a:pt x="403" y="614"/>
                      <a:pt x="403" y="614"/>
                    </a:cubicBezTo>
                    <a:cubicBezTo>
                      <a:pt x="401" y="618"/>
                      <a:pt x="401" y="618"/>
                      <a:pt x="401" y="618"/>
                    </a:cubicBezTo>
                    <a:cubicBezTo>
                      <a:pt x="401" y="620"/>
                      <a:pt x="401" y="620"/>
                      <a:pt x="401" y="620"/>
                    </a:cubicBezTo>
                    <a:cubicBezTo>
                      <a:pt x="396" y="626"/>
                      <a:pt x="396" y="626"/>
                      <a:pt x="396" y="626"/>
                    </a:cubicBezTo>
                    <a:cubicBezTo>
                      <a:pt x="400" y="630"/>
                      <a:pt x="400" y="630"/>
                      <a:pt x="400" y="630"/>
                    </a:cubicBezTo>
                    <a:cubicBezTo>
                      <a:pt x="398" y="631"/>
                      <a:pt x="398" y="631"/>
                      <a:pt x="398" y="631"/>
                    </a:cubicBezTo>
                    <a:cubicBezTo>
                      <a:pt x="396" y="630"/>
                      <a:pt x="396" y="630"/>
                      <a:pt x="396" y="630"/>
                    </a:cubicBezTo>
                    <a:cubicBezTo>
                      <a:pt x="394" y="631"/>
                      <a:pt x="394" y="631"/>
                      <a:pt x="394" y="631"/>
                    </a:cubicBezTo>
                    <a:cubicBezTo>
                      <a:pt x="395" y="634"/>
                      <a:pt x="395" y="634"/>
                      <a:pt x="395" y="634"/>
                    </a:cubicBezTo>
                    <a:cubicBezTo>
                      <a:pt x="404" y="636"/>
                      <a:pt x="404" y="636"/>
                      <a:pt x="404" y="636"/>
                    </a:cubicBezTo>
                    <a:cubicBezTo>
                      <a:pt x="406" y="635"/>
                      <a:pt x="406" y="635"/>
                      <a:pt x="406" y="635"/>
                    </a:cubicBezTo>
                    <a:cubicBezTo>
                      <a:pt x="409" y="635"/>
                      <a:pt x="409" y="635"/>
                      <a:pt x="409" y="635"/>
                    </a:cubicBezTo>
                    <a:cubicBezTo>
                      <a:pt x="413" y="635"/>
                      <a:pt x="413" y="635"/>
                      <a:pt x="413" y="635"/>
                    </a:cubicBezTo>
                    <a:cubicBezTo>
                      <a:pt x="417" y="635"/>
                      <a:pt x="417" y="635"/>
                      <a:pt x="417" y="635"/>
                    </a:cubicBezTo>
                    <a:cubicBezTo>
                      <a:pt x="421" y="634"/>
                      <a:pt x="421" y="634"/>
                      <a:pt x="421" y="634"/>
                    </a:cubicBezTo>
                    <a:cubicBezTo>
                      <a:pt x="423" y="635"/>
                      <a:pt x="423" y="635"/>
                      <a:pt x="423" y="635"/>
                    </a:cubicBezTo>
                    <a:cubicBezTo>
                      <a:pt x="423" y="638"/>
                      <a:pt x="423" y="638"/>
                      <a:pt x="423" y="638"/>
                    </a:cubicBezTo>
                    <a:cubicBezTo>
                      <a:pt x="426" y="639"/>
                      <a:pt x="426" y="639"/>
                      <a:pt x="426" y="639"/>
                    </a:cubicBezTo>
                    <a:cubicBezTo>
                      <a:pt x="428" y="642"/>
                      <a:pt x="428" y="642"/>
                      <a:pt x="428" y="642"/>
                    </a:cubicBezTo>
                    <a:cubicBezTo>
                      <a:pt x="430" y="644"/>
                      <a:pt x="430" y="644"/>
                      <a:pt x="430" y="644"/>
                    </a:cubicBezTo>
                    <a:cubicBezTo>
                      <a:pt x="431" y="647"/>
                      <a:pt x="431" y="647"/>
                      <a:pt x="431" y="647"/>
                    </a:cubicBezTo>
                    <a:cubicBezTo>
                      <a:pt x="434" y="647"/>
                      <a:pt x="434" y="647"/>
                      <a:pt x="434" y="647"/>
                    </a:cubicBezTo>
                    <a:cubicBezTo>
                      <a:pt x="439" y="644"/>
                      <a:pt x="439" y="644"/>
                      <a:pt x="439" y="644"/>
                    </a:cubicBezTo>
                    <a:cubicBezTo>
                      <a:pt x="440" y="643"/>
                      <a:pt x="440" y="643"/>
                      <a:pt x="440" y="643"/>
                    </a:cubicBezTo>
                    <a:cubicBezTo>
                      <a:pt x="442" y="644"/>
                      <a:pt x="442" y="644"/>
                      <a:pt x="442" y="644"/>
                    </a:cubicBezTo>
                    <a:cubicBezTo>
                      <a:pt x="442" y="647"/>
                      <a:pt x="442" y="647"/>
                      <a:pt x="442" y="647"/>
                    </a:cubicBezTo>
                    <a:cubicBezTo>
                      <a:pt x="439" y="650"/>
                      <a:pt x="439" y="650"/>
                      <a:pt x="439" y="650"/>
                    </a:cubicBezTo>
                    <a:cubicBezTo>
                      <a:pt x="436" y="651"/>
                      <a:pt x="436" y="651"/>
                      <a:pt x="436" y="651"/>
                    </a:cubicBezTo>
                    <a:cubicBezTo>
                      <a:pt x="437" y="653"/>
                      <a:pt x="437" y="653"/>
                      <a:pt x="437" y="653"/>
                    </a:cubicBezTo>
                    <a:cubicBezTo>
                      <a:pt x="442" y="654"/>
                      <a:pt x="442" y="654"/>
                      <a:pt x="442" y="654"/>
                    </a:cubicBezTo>
                    <a:cubicBezTo>
                      <a:pt x="443" y="658"/>
                      <a:pt x="443" y="658"/>
                      <a:pt x="443" y="658"/>
                    </a:cubicBezTo>
                    <a:cubicBezTo>
                      <a:pt x="445" y="661"/>
                      <a:pt x="445" y="661"/>
                      <a:pt x="445" y="661"/>
                    </a:cubicBezTo>
                    <a:cubicBezTo>
                      <a:pt x="450" y="663"/>
                      <a:pt x="450" y="663"/>
                      <a:pt x="450" y="663"/>
                    </a:cubicBezTo>
                    <a:cubicBezTo>
                      <a:pt x="457" y="661"/>
                      <a:pt x="457" y="661"/>
                      <a:pt x="457" y="661"/>
                    </a:cubicBezTo>
                    <a:cubicBezTo>
                      <a:pt x="460" y="660"/>
                      <a:pt x="460" y="660"/>
                      <a:pt x="460" y="660"/>
                    </a:cubicBezTo>
                    <a:cubicBezTo>
                      <a:pt x="461" y="662"/>
                      <a:pt x="461" y="662"/>
                      <a:pt x="461" y="662"/>
                    </a:cubicBezTo>
                    <a:cubicBezTo>
                      <a:pt x="463" y="658"/>
                      <a:pt x="463" y="658"/>
                      <a:pt x="463" y="658"/>
                    </a:cubicBezTo>
                    <a:cubicBezTo>
                      <a:pt x="468" y="654"/>
                      <a:pt x="468" y="654"/>
                      <a:pt x="468" y="654"/>
                    </a:cubicBezTo>
                    <a:cubicBezTo>
                      <a:pt x="470" y="655"/>
                      <a:pt x="470" y="655"/>
                      <a:pt x="470" y="655"/>
                    </a:cubicBezTo>
                    <a:cubicBezTo>
                      <a:pt x="468" y="657"/>
                      <a:pt x="468" y="657"/>
                      <a:pt x="468" y="657"/>
                    </a:cubicBezTo>
                    <a:cubicBezTo>
                      <a:pt x="465" y="660"/>
                      <a:pt x="465" y="660"/>
                      <a:pt x="465" y="660"/>
                    </a:cubicBezTo>
                    <a:cubicBezTo>
                      <a:pt x="464" y="668"/>
                      <a:pt x="464" y="668"/>
                      <a:pt x="464" y="668"/>
                    </a:cubicBezTo>
                    <a:cubicBezTo>
                      <a:pt x="462" y="673"/>
                      <a:pt x="462" y="673"/>
                      <a:pt x="462" y="673"/>
                    </a:cubicBezTo>
                    <a:cubicBezTo>
                      <a:pt x="460" y="673"/>
                      <a:pt x="460" y="673"/>
                      <a:pt x="460" y="673"/>
                    </a:cubicBezTo>
                    <a:cubicBezTo>
                      <a:pt x="456" y="670"/>
                      <a:pt x="456" y="670"/>
                      <a:pt x="456" y="670"/>
                    </a:cubicBezTo>
                    <a:cubicBezTo>
                      <a:pt x="455" y="671"/>
                      <a:pt x="455" y="671"/>
                      <a:pt x="455" y="671"/>
                    </a:cubicBezTo>
                    <a:cubicBezTo>
                      <a:pt x="457" y="676"/>
                      <a:pt x="457" y="676"/>
                      <a:pt x="457" y="676"/>
                    </a:cubicBezTo>
                    <a:cubicBezTo>
                      <a:pt x="458" y="680"/>
                      <a:pt x="458" y="680"/>
                      <a:pt x="458" y="680"/>
                    </a:cubicBezTo>
                    <a:cubicBezTo>
                      <a:pt x="461" y="683"/>
                      <a:pt x="461" y="683"/>
                      <a:pt x="461" y="683"/>
                    </a:cubicBezTo>
                    <a:cubicBezTo>
                      <a:pt x="464" y="682"/>
                      <a:pt x="464" y="682"/>
                      <a:pt x="464" y="682"/>
                    </a:cubicBezTo>
                    <a:cubicBezTo>
                      <a:pt x="466" y="683"/>
                      <a:pt x="466" y="683"/>
                      <a:pt x="466" y="683"/>
                    </a:cubicBezTo>
                    <a:cubicBezTo>
                      <a:pt x="465" y="686"/>
                      <a:pt x="465" y="686"/>
                      <a:pt x="465" y="686"/>
                    </a:cubicBezTo>
                    <a:cubicBezTo>
                      <a:pt x="463" y="686"/>
                      <a:pt x="463" y="686"/>
                      <a:pt x="463" y="686"/>
                    </a:cubicBezTo>
                    <a:cubicBezTo>
                      <a:pt x="463" y="687"/>
                      <a:pt x="463" y="687"/>
                      <a:pt x="463" y="687"/>
                    </a:cubicBezTo>
                    <a:cubicBezTo>
                      <a:pt x="468" y="693"/>
                      <a:pt x="468" y="693"/>
                      <a:pt x="468" y="693"/>
                    </a:cubicBezTo>
                    <a:cubicBezTo>
                      <a:pt x="470" y="692"/>
                      <a:pt x="470" y="692"/>
                      <a:pt x="470" y="692"/>
                    </a:cubicBezTo>
                    <a:cubicBezTo>
                      <a:pt x="474" y="693"/>
                      <a:pt x="474" y="693"/>
                      <a:pt x="474" y="693"/>
                    </a:cubicBezTo>
                    <a:cubicBezTo>
                      <a:pt x="475" y="688"/>
                      <a:pt x="475" y="688"/>
                      <a:pt x="475" y="688"/>
                    </a:cubicBezTo>
                    <a:cubicBezTo>
                      <a:pt x="480" y="679"/>
                      <a:pt x="480" y="679"/>
                      <a:pt x="480" y="679"/>
                    </a:cubicBezTo>
                    <a:cubicBezTo>
                      <a:pt x="478" y="686"/>
                      <a:pt x="478" y="686"/>
                      <a:pt x="478" y="686"/>
                    </a:cubicBezTo>
                    <a:cubicBezTo>
                      <a:pt x="478" y="691"/>
                      <a:pt x="478" y="691"/>
                      <a:pt x="478" y="691"/>
                    </a:cubicBezTo>
                    <a:cubicBezTo>
                      <a:pt x="477" y="694"/>
                      <a:pt x="477" y="694"/>
                      <a:pt x="477" y="694"/>
                    </a:cubicBezTo>
                    <a:cubicBezTo>
                      <a:pt x="475" y="696"/>
                      <a:pt x="475" y="696"/>
                      <a:pt x="475" y="696"/>
                    </a:cubicBezTo>
                    <a:cubicBezTo>
                      <a:pt x="472" y="699"/>
                      <a:pt x="472" y="699"/>
                      <a:pt x="472" y="699"/>
                    </a:cubicBezTo>
                    <a:cubicBezTo>
                      <a:pt x="473" y="702"/>
                      <a:pt x="473" y="702"/>
                      <a:pt x="473" y="702"/>
                    </a:cubicBezTo>
                    <a:cubicBezTo>
                      <a:pt x="475" y="704"/>
                      <a:pt x="475" y="704"/>
                      <a:pt x="475" y="704"/>
                    </a:cubicBezTo>
                    <a:cubicBezTo>
                      <a:pt x="474" y="706"/>
                      <a:pt x="474" y="706"/>
                      <a:pt x="474" y="706"/>
                    </a:cubicBezTo>
                    <a:cubicBezTo>
                      <a:pt x="474" y="716"/>
                      <a:pt x="474" y="716"/>
                      <a:pt x="474" y="716"/>
                    </a:cubicBezTo>
                    <a:cubicBezTo>
                      <a:pt x="476" y="719"/>
                      <a:pt x="476" y="719"/>
                      <a:pt x="476" y="719"/>
                    </a:cubicBezTo>
                    <a:cubicBezTo>
                      <a:pt x="478" y="719"/>
                      <a:pt x="478" y="719"/>
                      <a:pt x="478" y="719"/>
                    </a:cubicBezTo>
                    <a:cubicBezTo>
                      <a:pt x="477" y="722"/>
                      <a:pt x="477" y="722"/>
                      <a:pt x="477" y="722"/>
                    </a:cubicBezTo>
                    <a:cubicBezTo>
                      <a:pt x="478" y="726"/>
                      <a:pt x="478" y="726"/>
                      <a:pt x="478" y="726"/>
                    </a:cubicBezTo>
                    <a:cubicBezTo>
                      <a:pt x="484" y="734"/>
                      <a:pt x="484" y="734"/>
                      <a:pt x="484" y="734"/>
                    </a:cubicBezTo>
                    <a:cubicBezTo>
                      <a:pt x="486" y="735"/>
                      <a:pt x="486" y="735"/>
                      <a:pt x="486" y="735"/>
                    </a:cubicBezTo>
                    <a:cubicBezTo>
                      <a:pt x="486" y="737"/>
                      <a:pt x="486" y="737"/>
                      <a:pt x="486" y="737"/>
                    </a:cubicBezTo>
                    <a:cubicBezTo>
                      <a:pt x="488" y="735"/>
                      <a:pt x="488" y="735"/>
                      <a:pt x="488" y="735"/>
                    </a:cubicBezTo>
                    <a:cubicBezTo>
                      <a:pt x="490" y="738"/>
                      <a:pt x="490" y="738"/>
                      <a:pt x="490" y="738"/>
                    </a:cubicBezTo>
                    <a:cubicBezTo>
                      <a:pt x="493" y="737"/>
                      <a:pt x="493" y="737"/>
                      <a:pt x="493" y="737"/>
                    </a:cubicBezTo>
                    <a:cubicBezTo>
                      <a:pt x="492" y="735"/>
                      <a:pt x="492" y="735"/>
                      <a:pt x="492" y="735"/>
                    </a:cubicBezTo>
                    <a:cubicBezTo>
                      <a:pt x="493" y="733"/>
                      <a:pt x="493" y="733"/>
                      <a:pt x="493" y="733"/>
                    </a:cubicBezTo>
                    <a:cubicBezTo>
                      <a:pt x="494" y="735"/>
                      <a:pt x="494" y="735"/>
                      <a:pt x="494" y="735"/>
                    </a:cubicBezTo>
                    <a:cubicBezTo>
                      <a:pt x="496" y="736"/>
                      <a:pt x="496" y="736"/>
                      <a:pt x="496" y="736"/>
                    </a:cubicBezTo>
                    <a:cubicBezTo>
                      <a:pt x="497" y="732"/>
                      <a:pt x="497" y="732"/>
                      <a:pt x="497" y="732"/>
                    </a:cubicBezTo>
                    <a:cubicBezTo>
                      <a:pt x="495" y="726"/>
                      <a:pt x="495" y="726"/>
                      <a:pt x="495" y="726"/>
                    </a:cubicBezTo>
                    <a:cubicBezTo>
                      <a:pt x="493" y="726"/>
                      <a:pt x="493" y="726"/>
                      <a:pt x="493" y="726"/>
                    </a:cubicBezTo>
                    <a:cubicBezTo>
                      <a:pt x="492" y="727"/>
                      <a:pt x="492" y="727"/>
                      <a:pt x="492" y="727"/>
                    </a:cubicBezTo>
                    <a:cubicBezTo>
                      <a:pt x="491" y="726"/>
                      <a:pt x="491" y="726"/>
                      <a:pt x="491" y="726"/>
                    </a:cubicBezTo>
                    <a:cubicBezTo>
                      <a:pt x="493" y="722"/>
                      <a:pt x="493" y="722"/>
                      <a:pt x="493" y="722"/>
                    </a:cubicBezTo>
                    <a:cubicBezTo>
                      <a:pt x="493" y="719"/>
                      <a:pt x="493" y="719"/>
                      <a:pt x="493" y="719"/>
                    </a:cubicBezTo>
                    <a:cubicBezTo>
                      <a:pt x="492" y="716"/>
                      <a:pt x="492" y="716"/>
                      <a:pt x="492" y="716"/>
                    </a:cubicBezTo>
                    <a:cubicBezTo>
                      <a:pt x="490" y="715"/>
                      <a:pt x="490" y="715"/>
                      <a:pt x="490" y="715"/>
                    </a:cubicBezTo>
                    <a:cubicBezTo>
                      <a:pt x="490" y="713"/>
                      <a:pt x="490" y="713"/>
                      <a:pt x="490" y="713"/>
                    </a:cubicBezTo>
                    <a:cubicBezTo>
                      <a:pt x="491" y="711"/>
                      <a:pt x="491" y="711"/>
                      <a:pt x="491" y="711"/>
                    </a:cubicBezTo>
                    <a:cubicBezTo>
                      <a:pt x="491" y="706"/>
                      <a:pt x="491" y="706"/>
                      <a:pt x="491" y="706"/>
                    </a:cubicBezTo>
                    <a:cubicBezTo>
                      <a:pt x="493" y="706"/>
                      <a:pt x="493" y="706"/>
                      <a:pt x="493" y="706"/>
                    </a:cubicBezTo>
                    <a:cubicBezTo>
                      <a:pt x="494" y="711"/>
                      <a:pt x="494" y="711"/>
                      <a:pt x="494" y="711"/>
                    </a:cubicBezTo>
                    <a:cubicBezTo>
                      <a:pt x="495" y="713"/>
                      <a:pt x="495" y="713"/>
                      <a:pt x="495" y="713"/>
                    </a:cubicBezTo>
                    <a:cubicBezTo>
                      <a:pt x="497" y="709"/>
                      <a:pt x="497" y="709"/>
                      <a:pt x="497" y="709"/>
                    </a:cubicBezTo>
                    <a:cubicBezTo>
                      <a:pt x="498" y="712"/>
                      <a:pt x="498" y="712"/>
                      <a:pt x="498" y="712"/>
                    </a:cubicBezTo>
                    <a:cubicBezTo>
                      <a:pt x="499" y="715"/>
                      <a:pt x="499" y="715"/>
                      <a:pt x="499" y="715"/>
                    </a:cubicBezTo>
                    <a:cubicBezTo>
                      <a:pt x="498" y="719"/>
                      <a:pt x="498" y="719"/>
                      <a:pt x="498" y="719"/>
                    </a:cubicBezTo>
                    <a:cubicBezTo>
                      <a:pt x="499" y="722"/>
                      <a:pt x="499" y="722"/>
                      <a:pt x="499" y="722"/>
                    </a:cubicBezTo>
                    <a:cubicBezTo>
                      <a:pt x="501" y="723"/>
                      <a:pt x="501" y="723"/>
                      <a:pt x="501" y="723"/>
                    </a:cubicBezTo>
                    <a:cubicBezTo>
                      <a:pt x="504" y="719"/>
                      <a:pt x="504" y="719"/>
                      <a:pt x="504" y="719"/>
                    </a:cubicBezTo>
                    <a:cubicBezTo>
                      <a:pt x="506" y="719"/>
                      <a:pt x="506" y="719"/>
                      <a:pt x="506" y="719"/>
                    </a:cubicBezTo>
                    <a:cubicBezTo>
                      <a:pt x="504" y="722"/>
                      <a:pt x="504" y="722"/>
                      <a:pt x="504" y="722"/>
                    </a:cubicBezTo>
                    <a:cubicBezTo>
                      <a:pt x="502" y="725"/>
                      <a:pt x="502" y="725"/>
                      <a:pt x="502" y="725"/>
                    </a:cubicBezTo>
                    <a:cubicBezTo>
                      <a:pt x="502" y="728"/>
                      <a:pt x="502" y="728"/>
                      <a:pt x="502" y="728"/>
                    </a:cubicBezTo>
                    <a:cubicBezTo>
                      <a:pt x="503" y="732"/>
                      <a:pt x="503" y="732"/>
                      <a:pt x="503" y="732"/>
                    </a:cubicBezTo>
                    <a:cubicBezTo>
                      <a:pt x="502" y="737"/>
                      <a:pt x="502" y="737"/>
                      <a:pt x="502" y="737"/>
                    </a:cubicBezTo>
                    <a:cubicBezTo>
                      <a:pt x="504" y="737"/>
                      <a:pt x="506" y="737"/>
                      <a:pt x="507" y="738"/>
                    </a:cubicBezTo>
                    <a:cubicBezTo>
                      <a:pt x="509" y="735"/>
                      <a:pt x="509" y="735"/>
                      <a:pt x="509" y="735"/>
                    </a:cubicBezTo>
                    <a:cubicBezTo>
                      <a:pt x="509" y="738"/>
                      <a:pt x="509" y="738"/>
                      <a:pt x="509" y="738"/>
                    </a:cubicBezTo>
                    <a:cubicBezTo>
                      <a:pt x="509" y="738"/>
                      <a:pt x="509" y="738"/>
                      <a:pt x="509" y="738"/>
                    </a:cubicBezTo>
                    <a:cubicBezTo>
                      <a:pt x="511" y="739"/>
                      <a:pt x="513" y="740"/>
                      <a:pt x="514" y="741"/>
                    </a:cubicBezTo>
                    <a:cubicBezTo>
                      <a:pt x="515" y="740"/>
                      <a:pt x="515" y="740"/>
                      <a:pt x="515" y="740"/>
                    </a:cubicBezTo>
                    <a:cubicBezTo>
                      <a:pt x="515" y="735"/>
                      <a:pt x="515" y="735"/>
                      <a:pt x="515" y="735"/>
                    </a:cubicBezTo>
                    <a:cubicBezTo>
                      <a:pt x="517" y="731"/>
                      <a:pt x="517" y="731"/>
                      <a:pt x="517" y="731"/>
                    </a:cubicBezTo>
                    <a:cubicBezTo>
                      <a:pt x="517" y="721"/>
                      <a:pt x="517" y="721"/>
                      <a:pt x="517" y="721"/>
                    </a:cubicBezTo>
                    <a:cubicBezTo>
                      <a:pt x="520" y="712"/>
                      <a:pt x="520" y="712"/>
                      <a:pt x="520" y="712"/>
                    </a:cubicBezTo>
                    <a:cubicBezTo>
                      <a:pt x="520" y="702"/>
                      <a:pt x="520" y="702"/>
                      <a:pt x="520" y="702"/>
                    </a:cubicBezTo>
                    <a:cubicBezTo>
                      <a:pt x="519" y="696"/>
                      <a:pt x="519" y="696"/>
                      <a:pt x="519" y="696"/>
                    </a:cubicBezTo>
                    <a:cubicBezTo>
                      <a:pt x="518" y="693"/>
                      <a:pt x="518" y="693"/>
                      <a:pt x="518" y="693"/>
                    </a:cubicBezTo>
                    <a:cubicBezTo>
                      <a:pt x="518" y="692"/>
                      <a:pt x="518" y="692"/>
                      <a:pt x="518" y="692"/>
                    </a:cubicBezTo>
                    <a:cubicBezTo>
                      <a:pt x="519" y="693"/>
                      <a:pt x="519" y="693"/>
                      <a:pt x="519" y="693"/>
                    </a:cubicBezTo>
                    <a:cubicBezTo>
                      <a:pt x="521" y="698"/>
                      <a:pt x="521" y="698"/>
                      <a:pt x="521" y="698"/>
                    </a:cubicBezTo>
                    <a:cubicBezTo>
                      <a:pt x="523" y="699"/>
                      <a:pt x="523" y="699"/>
                      <a:pt x="523" y="699"/>
                    </a:cubicBezTo>
                    <a:cubicBezTo>
                      <a:pt x="525" y="694"/>
                      <a:pt x="525" y="694"/>
                      <a:pt x="525" y="694"/>
                    </a:cubicBezTo>
                    <a:cubicBezTo>
                      <a:pt x="528" y="691"/>
                      <a:pt x="528" y="691"/>
                      <a:pt x="528" y="691"/>
                    </a:cubicBezTo>
                    <a:cubicBezTo>
                      <a:pt x="526" y="697"/>
                      <a:pt x="526" y="697"/>
                      <a:pt x="526" y="697"/>
                    </a:cubicBezTo>
                    <a:cubicBezTo>
                      <a:pt x="525" y="704"/>
                      <a:pt x="525" y="704"/>
                      <a:pt x="525" y="704"/>
                    </a:cubicBezTo>
                    <a:cubicBezTo>
                      <a:pt x="526" y="710"/>
                      <a:pt x="526" y="710"/>
                      <a:pt x="526" y="710"/>
                    </a:cubicBezTo>
                    <a:cubicBezTo>
                      <a:pt x="522" y="718"/>
                      <a:pt x="522" y="718"/>
                      <a:pt x="522" y="718"/>
                    </a:cubicBezTo>
                    <a:cubicBezTo>
                      <a:pt x="522" y="724"/>
                      <a:pt x="522" y="724"/>
                      <a:pt x="522" y="724"/>
                    </a:cubicBezTo>
                    <a:cubicBezTo>
                      <a:pt x="523" y="726"/>
                      <a:pt x="523" y="726"/>
                      <a:pt x="523" y="726"/>
                    </a:cubicBezTo>
                    <a:cubicBezTo>
                      <a:pt x="521" y="729"/>
                      <a:pt x="521" y="729"/>
                      <a:pt x="521" y="729"/>
                    </a:cubicBezTo>
                    <a:cubicBezTo>
                      <a:pt x="520" y="735"/>
                      <a:pt x="520" y="735"/>
                      <a:pt x="520" y="735"/>
                    </a:cubicBezTo>
                    <a:cubicBezTo>
                      <a:pt x="521" y="739"/>
                      <a:pt x="521" y="739"/>
                      <a:pt x="521" y="739"/>
                    </a:cubicBezTo>
                    <a:cubicBezTo>
                      <a:pt x="522" y="743"/>
                      <a:pt x="522" y="743"/>
                      <a:pt x="522" y="743"/>
                    </a:cubicBezTo>
                    <a:cubicBezTo>
                      <a:pt x="525" y="747"/>
                      <a:pt x="525" y="747"/>
                      <a:pt x="525" y="747"/>
                    </a:cubicBezTo>
                    <a:cubicBezTo>
                      <a:pt x="525" y="752"/>
                      <a:pt x="525" y="752"/>
                      <a:pt x="525" y="752"/>
                    </a:cubicBezTo>
                    <a:cubicBezTo>
                      <a:pt x="527" y="752"/>
                      <a:pt x="527" y="752"/>
                      <a:pt x="527" y="752"/>
                    </a:cubicBezTo>
                    <a:cubicBezTo>
                      <a:pt x="527" y="757"/>
                      <a:pt x="527" y="757"/>
                      <a:pt x="527" y="757"/>
                    </a:cubicBezTo>
                    <a:cubicBezTo>
                      <a:pt x="530" y="759"/>
                      <a:pt x="530" y="759"/>
                      <a:pt x="530" y="759"/>
                    </a:cubicBezTo>
                    <a:cubicBezTo>
                      <a:pt x="532" y="758"/>
                      <a:pt x="532" y="758"/>
                      <a:pt x="532" y="758"/>
                    </a:cubicBezTo>
                    <a:cubicBezTo>
                      <a:pt x="534" y="759"/>
                      <a:pt x="534" y="759"/>
                      <a:pt x="534" y="759"/>
                    </a:cubicBezTo>
                    <a:cubicBezTo>
                      <a:pt x="537" y="758"/>
                      <a:pt x="537" y="758"/>
                      <a:pt x="537" y="758"/>
                    </a:cubicBezTo>
                    <a:cubicBezTo>
                      <a:pt x="541" y="757"/>
                      <a:pt x="541" y="757"/>
                      <a:pt x="541" y="757"/>
                    </a:cubicBezTo>
                    <a:cubicBezTo>
                      <a:pt x="541" y="758"/>
                      <a:pt x="541" y="758"/>
                      <a:pt x="541" y="758"/>
                    </a:cubicBezTo>
                    <a:cubicBezTo>
                      <a:pt x="536" y="762"/>
                      <a:pt x="536" y="762"/>
                      <a:pt x="536" y="762"/>
                    </a:cubicBezTo>
                    <a:cubicBezTo>
                      <a:pt x="535" y="763"/>
                      <a:pt x="535" y="763"/>
                      <a:pt x="535" y="763"/>
                    </a:cubicBezTo>
                    <a:cubicBezTo>
                      <a:pt x="535" y="765"/>
                      <a:pt x="535" y="765"/>
                      <a:pt x="535" y="765"/>
                    </a:cubicBezTo>
                    <a:cubicBezTo>
                      <a:pt x="537" y="767"/>
                      <a:pt x="537" y="767"/>
                      <a:pt x="537" y="767"/>
                    </a:cubicBezTo>
                    <a:cubicBezTo>
                      <a:pt x="535" y="769"/>
                      <a:pt x="535" y="769"/>
                      <a:pt x="535" y="769"/>
                    </a:cubicBezTo>
                    <a:cubicBezTo>
                      <a:pt x="533" y="769"/>
                      <a:pt x="533" y="769"/>
                      <a:pt x="533" y="769"/>
                    </a:cubicBezTo>
                    <a:cubicBezTo>
                      <a:pt x="533" y="772"/>
                      <a:pt x="533" y="772"/>
                      <a:pt x="533" y="772"/>
                    </a:cubicBezTo>
                    <a:cubicBezTo>
                      <a:pt x="535" y="777"/>
                      <a:pt x="535" y="777"/>
                      <a:pt x="535" y="777"/>
                    </a:cubicBezTo>
                    <a:cubicBezTo>
                      <a:pt x="535" y="781"/>
                      <a:pt x="535" y="781"/>
                      <a:pt x="535" y="781"/>
                    </a:cubicBezTo>
                    <a:cubicBezTo>
                      <a:pt x="534" y="782"/>
                      <a:pt x="534" y="782"/>
                      <a:pt x="534" y="782"/>
                    </a:cubicBezTo>
                    <a:cubicBezTo>
                      <a:pt x="531" y="779"/>
                      <a:pt x="531" y="779"/>
                      <a:pt x="531" y="779"/>
                    </a:cubicBezTo>
                    <a:cubicBezTo>
                      <a:pt x="530" y="776"/>
                      <a:pt x="530" y="776"/>
                      <a:pt x="530" y="776"/>
                    </a:cubicBezTo>
                    <a:cubicBezTo>
                      <a:pt x="529" y="777"/>
                      <a:pt x="529" y="777"/>
                      <a:pt x="529" y="777"/>
                    </a:cubicBezTo>
                    <a:cubicBezTo>
                      <a:pt x="530" y="780"/>
                      <a:pt x="530" y="780"/>
                      <a:pt x="530" y="780"/>
                    </a:cubicBezTo>
                    <a:cubicBezTo>
                      <a:pt x="528" y="783"/>
                      <a:pt x="528" y="783"/>
                      <a:pt x="528" y="783"/>
                    </a:cubicBezTo>
                    <a:cubicBezTo>
                      <a:pt x="528" y="788"/>
                      <a:pt x="528" y="788"/>
                      <a:pt x="528" y="788"/>
                    </a:cubicBezTo>
                    <a:cubicBezTo>
                      <a:pt x="529" y="790"/>
                      <a:pt x="529" y="790"/>
                      <a:pt x="529" y="790"/>
                    </a:cubicBezTo>
                    <a:cubicBezTo>
                      <a:pt x="528" y="792"/>
                      <a:pt x="528" y="792"/>
                      <a:pt x="528" y="792"/>
                    </a:cubicBezTo>
                    <a:cubicBezTo>
                      <a:pt x="525" y="792"/>
                      <a:pt x="525" y="792"/>
                      <a:pt x="525" y="792"/>
                    </a:cubicBezTo>
                    <a:cubicBezTo>
                      <a:pt x="524" y="795"/>
                      <a:pt x="524" y="795"/>
                      <a:pt x="524" y="795"/>
                    </a:cubicBezTo>
                    <a:cubicBezTo>
                      <a:pt x="524" y="797"/>
                      <a:pt x="524" y="797"/>
                      <a:pt x="524" y="797"/>
                    </a:cubicBezTo>
                    <a:cubicBezTo>
                      <a:pt x="527" y="798"/>
                      <a:pt x="527" y="798"/>
                      <a:pt x="527" y="798"/>
                    </a:cubicBezTo>
                    <a:cubicBezTo>
                      <a:pt x="529" y="797"/>
                      <a:pt x="529" y="797"/>
                      <a:pt x="529" y="797"/>
                    </a:cubicBezTo>
                    <a:cubicBezTo>
                      <a:pt x="530" y="801"/>
                      <a:pt x="530" y="801"/>
                      <a:pt x="530" y="801"/>
                    </a:cubicBezTo>
                    <a:cubicBezTo>
                      <a:pt x="532" y="804"/>
                      <a:pt x="532" y="804"/>
                      <a:pt x="532" y="804"/>
                    </a:cubicBezTo>
                    <a:cubicBezTo>
                      <a:pt x="534" y="803"/>
                      <a:pt x="534" y="803"/>
                      <a:pt x="534" y="803"/>
                    </a:cubicBezTo>
                    <a:cubicBezTo>
                      <a:pt x="536" y="805"/>
                      <a:pt x="536" y="805"/>
                      <a:pt x="536" y="805"/>
                    </a:cubicBezTo>
                    <a:cubicBezTo>
                      <a:pt x="536" y="806"/>
                      <a:pt x="536" y="806"/>
                      <a:pt x="536" y="806"/>
                    </a:cubicBezTo>
                    <a:cubicBezTo>
                      <a:pt x="533" y="806"/>
                      <a:pt x="533" y="806"/>
                      <a:pt x="533" y="806"/>
                    </a:cubicBezTo>
                    <a:cubicBezTo>
                      <a:pt x="532" y="807"/>
                      <a:pt x="532" y="807"/>
                      <a:pt x="532" y="807"/>
                    </a:cubicBezTo>
                    <a:cubicBezTo>
                      <a:pt x="533" y="810"/>
                      <a:pt x="533" y="810"/>
                      <a:pt x="533" y="810"/>
                    </a:cubicBezTo>
                    <a:cubicBezTo>
                      <a:pt x="535" y="812"/>
                      <a:pt x="535" y="812"/>
                      <a:pt x="535" y="812"/>
                    </a:cubicBezTo>
                    <a:cubicBezTo>
                      <a:pt x="536" y="815"/>
                      <a:pt x="536" y="815"/>
                      <a:pt x="536" y="815"/>
                    </a:cubicBezTo>
                    <a:cubicBezTo>
                      <a:pt x="539" y="819"/>
                      <a:pt x="539" y="819"/>
                      <a:pt x="539" y="819"/>
                    </a:cubicBezTo>
                    <a:cubicBezTo>
                      <a:pt x="541" y="819"/>
                      <a:pt x="541" y="819"/>
                      <a:pt x="541" y="819"/>
                    </a:cubicBezTo>
                    <a:cubicBezTo>
                      <a:pt x="539" y="820"/>
                      <a:pt x="539" y="820"/>
                      <a:pt x="539" y="820"/>
                    </a:cubicBezTo>
                    <a:cubicBezTo>
                      <a:pt x="537" y="820"/>
                      <a:pt x="537" y="820"/>
                      <a:pt x="537" y="820"/>
                    </a:cubicBezTo>
                    <a:cubicBezTo>
                      <a:pt x="535" y="824"/>
                      <a:pt x="535" y="824"/>
                      <a:pt x="535" y="824"/>
                    </a:cubicBezTo>
                    <a:cubicBezTo>
                      <a:pt x="535" y="828"/>
                      <a:pt x="535" y="828"/>
                      <a:pt x="535" y="828"/>
                    </a:cubicBezTo>
                    <a:cubicBezTo>
                      <a:pt x="538" y="835"/>
                      <a:pt x="538" y="835"/>
                      <a:pt x="538" y="835"/>
                    </a:cubicBezTo>
                    <a:cubicBezTo>
                      <a:pt x="541" y="837"/>
                      <a:pt x="541" y="837"/>
                      <a:pt x="541" y="837"/>
                    </a:cubicBezTo>
                    <a:cubicBezTo>
                      <a:pt x="545" y="837"/>
                      <a:pt x="545" y="837"/>
                      <a:pt x="545" y="837"/>
                    </a:cubicBezTo>
                    <a:cubicBezTo>
                      <a:pt x="547" y="838"/>
                      <a:pt x="547" y="838"/>
                      <a:pt x="547" y="838"/>
                    </a:cubicBezTo>
                    <a:cubicBezTo>
                      <a:pt x="543" y="840"/>
                      <a:pt x="543" y="840"/>
                      <a:pt x="543" y="840"/>
                    </a:cubicBezTo>
                    <a:cubicBezTo>
                      <a:pt x="539" y="839"/>
                      <a:pt x="539" y="839"/>
                      <a:pt x="539" y="839"/>
                    </a:cubicBezTo>
                    <a:cubicBezTo>
                      <a:pt x="538" y="840"/>
                      <a:pt x="538" y="840"/>
                      <a:pt x="538" y="840"/>
                    </a:cubicBezTo>
                    <a:cubicBezTo>
                      <a:pt x="538" y="841"/>
                      <a:pt x="539" y="841"/>
                      <a:pt x="540" y="842"/>
                    </a:cubicBezTo>
                    <a:cubicBezTo>
                      <a:pt x="541" y="843"/>
                      <a:pt x="541" y="843"/>
                      <a:pt x="541" y="843"/>
                    </a:cubicBezTo>
                    <a:cubicBezTo>
                      <a:pt x="542" y="845"/>
                      <a:pt x="543" y="847"/>
                      <a:pt x="544" y="849"/>
                    </a:cubicBezTo>
                    <a:cubicBezTo>
                      <a:pt x="548" y="848"/>
                      <a:pt x="548" y="848"/>
                      <a:pt x="548" y="848"/>
                    </a:cubicBezTo>
                    <a:cubicBezTo>
                      <a:pt x="545" y="852"/>
                      <a:pt x="545" y="852"/>
                      <a:pt x="545" y="852"/>
                    </a:cubicBezTo>
                    <a:cubicBezTo>
                      <a:pt x="546" y="852"/>
                      <a:pt x="546" y="853"/>
                      <a:pt x="546" y="854"/>
                    </a:cubicBezTo>
                    <a:cubicBezTo>
                      <a:pt x="550" y="854"/>
                      <a:pt x="550" y="854"/>
                      <a:pt x="550" y="854"/>
                    </a:cubicBezTo>
                    <a:cubicBezTo>
                      <a:pt x="550" y="855"/>
                      <a:pt x="550" y="855"/>
                      <a:pt x="550" y="855"/>
                    </a:cubicBezTo>
                    <a:cubicBezTo>
                      <a:pt x="546" y="859"/>
                      <a:pt x="546" y="859"/>
                      <a:pt x="546" y="859"/>
                    </a:cubicBezTo>
                    <a:cubicBezTo>
                      <a:pt x="546" y="860"/>
                      <a:pt x="546" y="861"/>
                      <a:pt x="546" y="862"/>
                    </a:cubicBezTo>
                    <a:cubicBezTo>
                      <a:pt x="546" y="863"/>
                      <a:pt x="546" y="863"/>
                      <a:pt x="546" y="863"/>
                    </a:cubicBezTo>
                    <a:cubicBezTo>
                      <a:pt x="547" y="866"/>
                      <a:pt x="547" y="866"/>
                      <a:pt x="547" y="866"/>
                    </a:cubicBezTo>
                    <a:cubicBezTo>
                      <a:pt x="546" y="867"/>
                      <a:pt x="546" y="867"/>
                      <a:pt x="546" y="867"/>
                    </a:cubicBezTo>
                    <a:cubicBezTo>
                      <a:pt x="547" y="868"/>
                      <a:pt x="547" y="870"/>
                      <a:pt x="547" y="871"/>
                    </a:cubicBezTo>
                    <a:cubicBezTo>
                      <a:pt x="547" y="875"/>
                      <a:pt x="547" y="875"/>
                      <a:pt x="547" y="875"/>
                    </a:cubicBezTo>
                    <a:cubicBezTo>
                      <a:pt x="547" y="878"/>
                      <a:pt x="546" y="881"/>
                      <a:pt x="545" y="884"/>
                    </a:cubicBezTo>
                    <a:cubicBezTo>
                      <a:pt x="545" y="884"/>
                      <a:pt x="545" y="884"/>
                      <a:pt x="545" y="884"/>
                    </a:cubicBezTo>
                    <a:cubicBezTo>
                      <a:pt x="544" y="885"/>
                      <a:pt x="544" y="885"/>
                      <a:pt x="544" y="885"/>
                    </a:cubicBezTo>
                    <a:cubicBezTo>
                      <a:pt x="544" y="886"/>
                      <a:pt x="543" y="887"/>
                      <a:pt x="543" y="887"/>
                    </a:cubicBezTo>
                    <a:cubicBezTo>
                      <a:pt x="543" y="890"/>
                      <a:pt x="542" y="892"/>
                      <a:pt x="542" y="895"/>
                    </a:cubicBezTo>
                    <a:cubicBezTo>
                      <a:pt x="542" y="895"/>
                      <a:pt x="542" y="895"/>
                      <a:pt x="542" y="895"/>
                    </a:cubicBezTo>
                    <a:cubicBezTo>
                      <a:pt x="545" y="893"/>
                      <a:pt x="545" y="893"/>
                      <a:pt x="545" y="893"/>
                    </a:cubicBezTo>
                    <a:cubicBezTo>
                      <a:pt x="550" y="887"/>
                      <a:pt x="550" y="887"/>
                      <a:pt x="550" y="887"/>
                    </a:cubicBezTo>
                    <a:cubicBezTo>
                      <a:pt x="553" y="880"/>
                      <a:pt x="553" y="880"/>
                      <a:pt x="553" y="880"/>
                    </a:cubicBezTo>
                    <a:cubicBezTo>
                      <a:pt x="555" y="871"/>
                      <a:pt x="555" y="871"/>
                      <a:pt x="555" y="871"/>
                    </a:cubicBezTo>
                    <a:cubicBezTo>
                      <a:pt x="559" y="861"/>
                      <a:pt x="559" y="861"/>
                      <a:pt x="559" y="861"/>
                    </a:cubicBezTo>
                    <a:cubicBezTo>
                      <a:pt x="560" y="859"/>
                      <a:pt x="560" y="859"/>
                      <a:pt x="560" y="859"/>
                    </a:cubicBezTo>
                    <a:cubicBezTo>
                      <a:pt x="560" y="859"/>
                      <a:pt x="560" y="859"/>
                      <a:pt x="560" y="859"/>
                    </a:cubicBezTo>
                    <a:cubicBezTo>
                      <a:pt x="561" y="858"/>
                      <a:pt x="561" y="858"/>
                      <a:pt x="561" y="858"/>
                    </a:cubicBezTo>
                    <a:cubicBezTo>
                      <a:pt x="561" y="854"/>
                      <a:pt x="561" y="854"/>
                      <a:pt x="561" y="854"/>
                    </a:cubicBezTo>
                    <a:cubicBezTo>
                      <a:pt x="562" y="854"/>
                      <a:pt x="562" y="854"/>
                      <a:pt x="562" y="854"/>
                    </a:cubicBezTo>
                    <a:cubicBezTo>
                      <a:pt x="562" y="852"/>
                      <a:pt x="562" y="852"/>
                      <a:pt x="562" y="852"/>
                    </a:cubicBezTo>
                    <a:cubicBezTo>
                      <a:pt x="563" y="850"/>
                      <a:pt x="563" y="850"/>
                      <a:pt x="563" y="850"/>
                    </a:cubicBezTo>
                    <a:lnTo>
                      <a:pt x="562" y="84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9" name="Freeform 88">
                <a:extLst>
                  <a:ext uri="{FF2B5EF4-FFF2-40B4-BE49-F238E27FC236}">
                    <a16:creationId xmlns:a16="http://schemas.microsoft.com/office/drawing/2014/main" id="{507B2B7E-5B07-4D5B-9DE7-2FAD5B646F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2589" y="4799013"/>
                <a:ext cx="6350" cy="12700"/>
              </a:xfrm>
              <a:custGeom>
                <a:avLst/>
                <a:gdLst>
                  <a:gd name="T0" fmla="*/ 1 w 4"/>
                  <a:gd name="T1" fmla="*/ 8 h 8"/>
                  <a:gd name="T2" fmla="*/ 4 w 4"/>
                  <a:gd name="T3" fmla="*/ 2 h 8"/>
                  <a:gd name="T4" fmla="*/ 2 w 4"/>
                  <a:gd name="T5" fmla="*/ 0 h 8"/>
                  <a:gd name="T6" fmla="*/ 1 w 4"/>
                  <a:gd name="T7" fmla="*/ 0 h 8"/>
                  <a:gd name="T8" fmla="*/ 1 w 4"/>
                  <a:gd name="T9" fmla="*/ 3 h 8"/>
                  <a:gd name="T10" fmla="*/ 0 w 4"/>
                  <a:gd name="T11" fmla="*/ 6 h 8"/>
                  <a:gd name="T12" fmla="*/ 1 w 4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1" y="8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1" y="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0" name="Freeform 89">
                <a:extLst>
                  <a:ext uri="{FF2B5EF4-FFF2-40B4-BE49-F238E27FC236}">
                    <a16:creationId xmlns:a16="http://schemas.microsoft.com/office/drawing/2014/main" id="{E8AA2303-9B94-48D4-A425-7D99C61737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5126" y="4784725"/>
                <a:ext cx="7938" cy="6350"/>
              </a:xfrm>
              <a:custGeom>
                <a:avLst/>
                <a:gdLst>
                  <a:gd name="T0" fmla="*/ 4 w 5"/>
                  <a:gd name="T1" fmla="*/ 4 h 4"/>
                  <a:gd name="T2" fmla="*/ 5 w 5"/>
                  <a:gd name="T3" fmla="*/ 3 h 4"/>
                  <a:gd name="T4" fmla="*/ 4 w 5"/>
                  <a:gd name="T5" fmla="*/ 0 h 4"/>
                  <a:gd name="T6" fmla="*/ 2 w 5"/>
                  <a:gd name="T7" fmla="*/ 1 h 4"/>
                  <a:gd name="T8" fmla="*/ 0 w 5"/>
                  <a:gd name="T9" fmla="*/ 1 h 4"/>
                  <a:gd name="T10" fmla="*/ 2 w 5"/>
                  <a:gd name="T11" fmla="*/ 3 h 4"/>
                  <a:gd name="T12" fmla="*/ 4 w 5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4">
                    <a:moveTo>
                      <a:pt x="4" y="4"/>
                    </a:moveTo>
                    <a:lnTo>
                      <a:pt x="5" y="3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2" y="3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1" name="Freeform 90">
                <a:extLst>
                  <a:ext uri="{FF2B5EF4-FFF2-40B4-BE49-F238E27FC236}">
                    <a16:creationId xmlns:a16="http://schemas.microsoft.com/office/drawing/2014/main" id="{1A001415-DF05-48E1-97A5-9E05713339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9726" y="4760913"/>
                <a:ext cx="7938" cy="17463"/>
              </a:xfrm>
              <a:custGeom>
                <a:avLst/>
                <a:gdLst>
                  <a:gd name="T0" fmla="*/ 3 w 5"/>
                  <a:gd name="T1" fmla="*/ 0 h 11"/>
                  <a:gd name="T2" fmla="*/ 2 w 5"/>
                  <a:gd name="T3" fmla="*/ 0 h 11"/>
                  <a:gd name="T4" fmla="*/ 0 w 5"/>
                  <a:gd name="T5" fmla="*/ 5 h 11"/>
                  <a:gd name="T6" fmla="*/ 0 w 5"/>
                  <a:gd name="T7" fmla="*/ 6 h 11"/>
                  <a:gd name="T8" fmla="*/ 1 w 5"/>
                  <a:gd name="T9" fmla="*/ 10 h 11"/>
                  <a:gd name="T10" fmla="*/ 2 w 5"/>
                  <a:gd name="T11" fmla="*/ 11 h 11"/>
                  <a:gd name="T12" fmla="*/ 3 w 5"/>
                  <a:gd name="T13" fmla="*/ 11 h 11"/>
                  <a:gd name="T14" fmla="*/ 4 w 5"/>
                  <a:gd name="T15" fmla="*/ 9 h 11"/>
                  <a:gd name="T16" fmla="*/ 3 w 5"/>
                  <a:gd name="T17" fmla="*/ 5 h 11"/>
                  <a:gd name="T18" fmla="*/ 5 w 5"/>
                  <a:gd name="T19" fmla="*/ 4 h 11"/>
                  <a:gd name="T20" fmla="*/ 3 w 5"/>
                  <a:gd name="T21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11">
                    <a:moveTo>
                      <a:pt x="3" y="0"/>
                    </a:moveTo>
                    <a:lnTo>
                      <a:pt x="2" y="0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1" y="10"/>
                    </a:lnTo>
                    <a:lnTo>
                      <a:pt x="2" y="11"/>
                    </a:lnTo>
                    <a:lnTo>
                      <a:pt x="3" y="11"/>
                    </a:lnTo>
                    <a:lnTo>
                      <a:pt x="4" y="9"/>
                    </a:lnTo>
                    <a:lnTo>
                      <a:pt x="3" y="5"/>
                    </a:lnTo>
                    <a:lnTo>
                      <a:pt x="5" y="4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2" name="Freeform 91">
                <a:extLst>
                  <a:ext uri="{FF2B5EF4-FFF2-40B4-BE49-F238E27FC236}">
                    <a16:creationId xmlns:a16="http://schemas.microsoft.com/office/drawing/2014/main" id="{0EC6976C-C1B3-4E3D-9A7E-53EFB9896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96076" y="4787900"/>
                <a:ext cx="4763" cy="3175"/>
              </a:xfrm>
              <a:custGeom>
                <a:avLst/>
                <a:gdLst>
                  <a:gd name="T0" fmla="*/ 1 w 3"/>
                  <a:gd name="T1" fmla="*/ 2 h 2"/>
                  <a:gd name="T2" fmla="*/ 3 w 3"/>
                  <a:gd name="T3" fmla="*/ 2 h 2"/>
                  <a:gd name="T4" fmla="*/ 3 w 3"/>
                  <a:gd name="T5" fmla="*/ 1 h 2"/>
                  <a:gd name="T6" fmla="*/ 1 w 3"/>
                  <a:gd name="T7" fmla="*/ 0 h 2"/>
                  <a:gd name="T8" fmla="*/ 0 w 3"/>
                  <a:gd name="T9" fmla="*/ 1 h 2"/>
                  <a:gd name="T10" fmla="*/ 1 w 3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1" y="2"/>
                    </a:moveTo>
                    <a:lnTo>
                      <a:pt x="3" y="2"/>
                    </a:lnTo>
                    <a:lnTo>
                      <a:pt x="3" y="1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1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3" name="Freeform 92">
                <a:extLst>
                  <a:ext uri="{FF2B5EF4-FFF2-40B4-BE49-F238E27FC236}">
                    <a16:creationId xmlns:a16="http://schemas.microsoft.com/office/drawing/2014/main" id="{99C59858-847B-48E1-9959-1C867FAA1F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9126" y="4581525"/>
                <a:ext cx="6350" cy="6350"/>
              </a:xfrm>
              <a:custGeom>
                <a:avLst/>
                <a:gdLst>
                  <a:gd name="T0" fmla="*/ 1 w 4"/>
                  <a:gd name="T1" fmla="*/ 0 h 4"/>
                  <a:gd name="T2" fmla="*/ 0 w 4"/>
                  <a:gd name="T3" fmla="*/ 2 h 4"/>
                  <a:gd name="T4" fmla="*/ 1 w 4"/>
                  <a:gd name="T5" fmla="*/ 4 h 4"/>
                  <a:gd name="T6" fmla="*/ 4 w 4"/>
                  <a:gd name="T7" fmla="*/ 3 h 4"/>
                  <a:gd name="T8" fmla="*/ 4 w 4"/>
                  <a:gd name="T9" fmla="*/ 1 h 4"/>
                  <a:gd name="T10" fmla="*/ 1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1" y="0"/>
                    </a:moveTo>
                    <a:lnTo>
                      <a:pt x="0" y="2"/>
                    </a:lnTo>
                    <a:lnTo>
                      <a:pt x="1" y="4"/>
                    </a:lnTo>
                    <a:lnTo>
                      <a:pt x="4" y="3"/>
                    </a:lnTo>
                    <a:lnTo>
                      <a:pt x="4" y="1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4" name="Freeform 93">
                <a:extLst>
                  <a:ext uri="{FF2B5EF4-FFF2-40B4-BE49-F238E27FC236}">
                    <a16:creationId xmlns:a16="http://schemas.microsoft.com/office/drawing/2014/main" id="{E6B235D0-9C1E-4ECA-8414-44AB7C1779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67514" y="4716463"/>
                <a:ext cx="1588" cy="3175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0 h 2"/>
                  <a:gd name="T4" fmla="*/ 0 w 1"/>
                  <a:gd name="T5" fmla="*/ 1 h 2"/>
                  <a:gd name="T6" fmla="*/ 0 w 1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lnTo>
                      <a:pt x="1" y="0"/>
                    </a:lnTo>
                    <a:lnTo>
                      <a:pt x="0" y="1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5" name="Freeform 94">
                <a:extLst>
                  <a:ext uri="{FF2B5EF4-FFF2-40B4-BE49-F238E27FC236}">
                    <a16:creationId xmlns:a16="http://schemas.microsoft.com/office/drawing/2014/main" id="{2AD93C82-45BA-4A65-975D-682622DB4C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61164" y="4705350"/>
                <a:ext cx="9525" cy="4763"/>
              </a:xfrm>
              <a:custGeom>
                <a:avLst/>
                <a:gdLst>
                  <a:gd name="T0" fmla="*/ 4 w 6"/>
                  <a:gd name="T1" fmla="*/ 2 h 3"/>
                  <a:gd name="T2" fmla="*/ 2 w 6"/>
                  <a:gd name="T3" fmla="*/ 0 h 3"/>
                  <a:gd name="T4" fmla="*/ 0 w 6"/>
                  <a:gd name="T5" fmla="*/ 2 h 3"/>
                  <a:gd name="T6" fmla="*/ 2 w 6"/>
                  <a:gd name="T7" fmla="*/ 3 h 3"/>
                  <a:gd name="T8" fmla="*/ 5 w 6"/>
                  <a:gd name="T9" fmla="*/ 2 h 3"/>
                  <a:gd name="T10" fmla="*/ 6 w 6"/>
                  <a:gd name="T11" fmla="*/ 2 h 3"/>
                  <a:gd name="T12" fmla="*/ 4 w 6"/>
                  <a:gd name="T1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4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5" y="2"/>
                    </a:lnTo>
                    <a:lnTo>
                      <a:pt x="6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6" name="Freeform 95">
                <a:extLst>
                  <a:ext uri="{FF2B5EF4-FFF2-40B4-BE49-F238E27FC236}">
                    <a16:creationId xmlns:a16="http://schemas.microsoft.com/office/drawing/2014/main" id="{4529028E-823E-44D4-B876-B30C4DC348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7326" y="4075113"/>
                <a:ext cx="9525" cy="36513"/>
              </a:xfrm>
              <a:custGeom>
                <a:avLst/>
                <a:gdLst>
                  <a:gd name="T0" fmla="*/ 2 w 6"/>
                  <a:gd name="T1" fmla="*/ 23 h 23"/>
                  <a:gd name="T2" fmla="*/ 5 w 6"/>
                  <a:gd name="T3" fmla="*/ 20 h 23"/>
                  <a:gd name="T4" fmla="*/ 5 w 6"/>
                  <a:gd name="T5" fmla="*/ 15 h 23"/>
                  <a:gd name="T6" fmla="*/ 3 w 6"/>
                  <a:gd name="T7" fmla="*/ 13 h 23"/>
                  <a:gd name="T8" fmla="*/ 5 w 6"/>
                  <a:gd name="T9" fmla="*/ 9 h 23"/>
                  <a:gd name="T10" fmla="*/ 6 w 6"/>
                  <a:gd name="T11" fmla="*/ 6 h 23"/>
                  <a:gd name="T12" fmla="*/ 4 w 6"/>
                  <a:gd name="T13" fmla="*/ 5 h 23"/>
                  <a:gd name="T14" fmla="*/ 6 w 6"/>
                  <a:gd name="T15" fmla="*/ 2 h 23"/>
                  <a:gd name="T16" fmla="*/ 5 w 6"/>
                  <a:gd name="T17" fmla="*/ 0 h 23"/>
                  <a:gd name="T18" fmla="*/ 2 w 6"/>
                  <a:gd name="T19" fmla="*/ 4 h 23"/>
                  <a:gd name="T20" fmla="*/ 2 w 6"/>
                  <a:gd name="T21" fmla="*/ 9 h 23"/>
                  <a:gd name="T22" fmla="*/ 2 w 6"/>
                  <a:gd name="T23" fmla="*/ 12 h 23"/>
                  <a:gd name="T24" fmla="*/ 2 w 6"/>
                  <a:gd name="T25" fmla="*/ 14 h 23"/>
                  <a:gd name="T26" fmla="*/ 0 w 6"/>
                  <a:gd name="T27" fmla="*/ 21 h 23"/>
                  <a:gd name="T28" fmla="*/ 2 w 6"/>
                  <a:gd name="T2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" h="23">
                    <a:moveTo>
                      <a:pt x="2" y="23"/>
                    </a:moveTo>
                    <a:lnTo>
                      <a:pt x="5" y="20"/>
                    </a:lnTo>
                    <a:lnTo>
                      <a:pt x="5" y="15"/>
                    </a:lnTo>
                    <a:lnTo>
                      <a:pt x="3" y="13"/>
                    </a:lnTo>
                    <a:lnTo>
                      <a:pt x="5" y="9"/>
                    </a:lnTo>
                    <a:lnTo>
                      <a:pt x="6" y="6"/>
                    </a:lnTo>
                    <a:lnTo>
                      <a:pt x="4" y="5"/>
                    </a:lnTo>
                    <a:lnTo>
                      <a:pt x="6" y="2"/>
                    </a:lnTo>
                    <a:lnTo>
                      <a:pt x="5" y="0"/>
                    </a:lnTo>
                    <a:lnTo>
                      <a:pt x="2" y="4"/>
                    </a:lnTo>
                    <a:lnTo>
                      <a:pt x="2" y="9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0" y="21"/>
                    </a:lnTo>
                    <a:lnTo>
                      <a:pt x="2" y="2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7" name="Freeform 96">
                <a:extLst>
                  <a:ext uri="{FF2B5EF4-FFF2-40B4-BE49-F238E27FC236}">
                    <a16:creationId xmlns:a16="http://schemas.microsoft.com/office/drawing/2014/main" id="{2BF2290E-ECD0-46AD-9CE2-64B7CA094E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7489" y="4254500"/>
                <a:ext cx="6350" cy="15875"/>
              </a:xfrm>
              <a:custGeom>
                <a:avLst/>
                <a:gdLst>
                  <a:gd name="T0" fmla="*/ 4 w 5"/>
                  <a:gd name="T1" fmla="*/ 2 h 13"/>
                  <a:gd name="T2" fmla="*/ 2 w 5"/>
                  <a:gd name="T3" fmla="*/ 0 h 13"/>
                  <a:gd name="T4" fmla="*/ 0 w 5"/>
                  <a:gd name="T5" fmla="*/ 3 h 13"/>
                  <a:gd name="T6" fmla="*/ 0 w 5"/>
                  <a:gd name="T7" fmla="*/ 7 h 13"/>
                  <a:gd name="T8" fmla="*/ 2 w 5"/>
                  <a:gd name="T9" fmla="*/ 8 h 13"/>
                  <a:gd name="T10" fmla="*/ 3 w 5"/>
                  <a:gd name="T11" fmla="*/ 13 h 13"/>
                  <a:gd name="T12" fmla="*/ 5 w 5"/>
                  <a:gd name="T13" fmla="*/ 10 h 13"/>
                  <a:gd name="T14" fmla="*/ 4 w 5"/>
                  <a:gd name="T15" fmla="*/ 6 h 13"/>
                  <a:gd name="T16" fmla="*/ 4 w 5"/>
                  <a:gd name="T17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13">
                    <a:moveTo>
                      <a:pt x="4" y="2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2" y="8"/>
                      <a:pt x="2" y="8"/>
                    </a:cubicBezTo>
                    <a:cubicBezTo>
                      <a:pt x="2" y="9"/>
                      <a:pt x="3" y="13"/>
                      <a:pt x="3" y="13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8" name="Freeform 97">
                <a:extLst>
                  <a:ext uri="{FF2B5EF4-FFF2-40B4-BE49-F238E27FC236}">
                    <a16:creationId xmlns:a16="http://schemas.microsoft.com/office/drawing/2014/main" id="{2C38D3AB-74F7-47B8-93D7-0BD6098BA8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12089" y="4198938"/>
                <a:ext cx="4763" cy="4763"/>
              </a:xfrm>
              <a:custGeom>
                <a:avLst/>
                <a:gdLst>
                  <a:gd name="T0" fmla="*/ 2 w 3"/>
                  <a:gd name="T1" fmla="*/ 3 h 3"/>
                  <a:gd name="T2" fmla="*/ 3 w 3"/>
                  <a:gd name="T3" fmla="*/ 0 h 3"/>
                  <a:gd name="T4" fmla="*/ 0 w 3"/>
                  <a:gd name="T5" fmla="*/ 2 h 3"/>
                  <a:gd name="T6" fmla="*/ 2 w 3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2" y="3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9" name="Freeform 98">
                <a:extLst>
                  <a:ext uri="{FF2B5EF4-FFF2-40B4-BE49-F238E27FC236}">
                    <a16:creationId xmlns:a16="http://schemas.microsoft.com/office/drawing/2014/main" id="{F655EA75-2CB4-4822-B535-CF7289EAA2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4314" y="4248150"/>
                <a:ext cx="4763" cy="6350"/>
              </a:xfrm>
              <a:custGeom>
                <a:avLst/>
                <a:gdLst>
                  <a:gd name="T0" fmla="*/ 2 w 3"/>
                  <a:gd name="T1" fmla="*/ 0 h 4"/>
                  <a:gd name="T2" fmla="*/ 0 w 3"/>
                  <a:gd name="T3" fmla="*/ 2 h 4"/>
                  <a:gd name="T4" fmla="*/ 1 w 3"/>
                  <a:gd name="T5" fmla="*/ 4 h 4"/>
                  <a:gd name="T6" fmla="*/ 3 w 3"/>
                  <a:gd name="T7" fmla="*/ 0 h 4"/>
                  <a:gd name="T8" fmla="*/ 2 w 3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lnTo>
                      <a:pt x="0" y="2"/>
                    </a:lnTo>
                    <a:lnTo>
                      <a:pt x="1" y="4"/>
                    </a:lnTo>
                    <a:lnTo>
                      <a:pt x="3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0" name="Freeform 99">
                <a:extLst>
                  <a:ext uri="{FF2B5EF4-FFF2-40B4-BE49-F238E27FC236}">
                    <a16:creationId xmlns:a16="http://schemas.microsoft.com/office/drawing/2014/main" id="{6DF1185D-BDF3-4ADB-B6AF-C05F44D133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2726" y="4225925"/>
                <a:ext cx="3175" cy="6350"/>
              </a:xfrm>
              <a:custGeom>
                <a:avLst/>
                <a:gdLst>
                  <a:gd name="T0" fmla="*/ 2 w 2"/>
                  <a:gd name="T1" fmla="*/ 1 h 4"/>
                  <a:gd name="T2" fmla="*/ 0 w 2"/>
                  <a:gd name="T3" fmla="*/ 0 h 4"/>
                  <a:gd name="T4" fmla="*/ 0 w 2"/>
                  <a:gd name="T5" fmla="*/ 2 h 4"/>
                  <a:gd name="T6" fmla="*/ 0 w 2"/>
                  <a:gd name="T7" fmla="*/ 4 h 4"/>
                  <a:gd name="T8" fmla="*/ 2 w 2"/>
                  <a:gd name="T9" fmla="*/ 4 h 4"/>
                  <a:gd name="T10" fmla="*/ 2 w 2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2" y="1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1" name="Freeform 100">
                <a:extLst>
                  <a:ext uri="{FF2B5EF4-FFF2-40B4-BE49-F238E27FC236}">
                    <a16:creationId xmlns:a16="http://schemas.microsoft.com/office/drawing/2014/main" id="{0E3851D1-7F3E-4A2C-B836-4DC1AF3CC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94626" y="4133850"/>
                <a:ext cx="4763" cy="4763"/>
              </a:xfrm>
              <a:custGeom>
                <a:avLst/>
                <a:gdLst>
                  <a:gd name="T0" fmla="*/ 0 w 3"/>
                  <a:gd name="T1" fmla="*/ 2 h 3"/>
                  <a:gd name="T2" fmla="*/ 3 w 3"/>
                  <a:gd name="T3" fmla="*/ 3 h 3"/>
                  <a:gd name="T4" fmla="*/ 3 w 3"/>
                  <a:gd name="T5" fmla="*/ 0 h 3"/>
                  <a:gd name="T6" fmla="*/ 0 w 3"/>
                  <a:gd name="T7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0" y="2"/>
                    </a:moveTo>
                    <a:lnTo>
                      <a:pt x="3" y="3"/>
                    </a:lnTo>
                    <a:lnTo>
                      <a:pt x="3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2" name="Freeform 101">
                <a:extLst>
                  <a:ext uri="{FF2B5EF4-FFF2-40B4-BE49-F238E27FC236}">
                    <a16:creationId xmlns:a16="http://schemas.microsoft.com/office/drawing/2014/main" id="{924E520A-83FA-4768-928D-4A6D55475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27964" y="4233863"/>
                <a:ext cx="4763" cy="7938"/>
              </a:xfrm>
              <a:custGeom>
                <a:avLst/>
                <a:gdLst>
                  <a:gd name="T0" fmla="*/ 0 w 3"/>
                  <a:gd name="T1" fmla="*/ 1 h 5"/>
                  <a:gd name="T2" fmla="*/ 0 w 3"/>
                  <a:gd name="T3" fmla="*/ 3 h 5"/>
                  <a:gd name="T4" fmla="*/ 2 w 3"/>
                  <a:gd name="T5" fmla="*/ 5 h 5"/>
                  <a:gd name="T6" fmla="*/ 3 w 3"/>
                  <a:gd name="T7" fmla="*/ 4 h 5"/>
                  <a:gd name="T8" fmla="*/ 2 w 3"/>
                  <a:gd name="T9" fmla="*/ 0 h 5"/>
                  <a:gd name="T10" fmla="*/ 0 w 3"/>
                  <a:gd name="T1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5">
                    <a:moveTo>
                      <a:pt x="0" y="1"/>
                    </a:moveTo>
                    <a:lnTo>
                      <a:pt x="0" y="3"/>
                    </a:lnTo>
                    <a:lnTo>
                      <a:pt x="2" y="5"/>
                    </a:lnTo>
                    <a:lnTo>
                      <a:pt x="3" y="4"/>
                    </a:lnTo>
                    <a:lnTo>
                      <a:pt x="2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3" name="Freeform 102">
                <a:extLst>
                  <a:ext uri="{FF2B5EF4-FFF2-40B4-BE49-F238E27FC236}">
                    <a16:creationId xmlns:a16="http://schemas.microsoft.com/office/drawing/2014/main" id="{82BDA2F1-1BFF-4B38-814F-AAADA26780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21614" y="4221163"/>
                <a:ext cx="6350" cy="9525"/>
              </a:xfrm>
              <a:custGeom>
                <a:avLst/>
                <a:gdLst>
                  <a:gd name="T0" fmla="*/ 0 w 4"/>
                  <a:gd name="T1" fmla="*/ 0 h 7"/>
                  <a:gd name="T2" fmla="*/ 1 w 4"/>
                  <a:gd name="T3" fmla="*/ 3 h 7"/>
                  <a:gd name="T4" fmla="*/ 4 w 4"/>
                  <a:gd name="T5" fmla="*/ 7 h 7"/>
                  <a:gd name="T6" fmla="*/ 2 w 4"/>
                  <a:gd name="T7" fmla="*/ 1 h 7"/>
                  <a:gd name="T8" fmla="*/ 0 w 4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7">
                    <a:moveTo>
                      <a:pt x="0" y="0"/>
                    </a:moveTo>
                    <a:cubicBezTo>
                      <a:pt x="0" y="0"/>
                      <a:pt x="1" y="3"/>
                      <a:pt x="1" y="3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2" y="1"/>
                      <a:pt x="2" y="1"/>
                      <a:pt x="2" y="1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4" name="Freeform 103">
                <a:extLst>
                  <a:ext uri="{FF2B5EF4-FFF2-40B4-BE49-F238E27FC236}">
                    <a16:creationId xmlns:a16="http://schemas.microsoft.com/office/drawing/2014/main" id="{B0AAE6A1-4388-49D0-886C-56329BB89F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5739" y="4114800"/>
                <a:ext cx="6350" cy="28575"/>
              </a:xfrm>
              <a:custGeom>
                <a:avLst/>
                <a:gdLst>
                  <a:gd name="T0" fmla="*/ 2 w 4"/>
                  <a:gd name="T1" fmla="*/ 7 h 18"/>
                  <a:gd name="T2" fmla="*/ 3 w 4"/>
                  <a:gd name="T3" fmla="*/ 3 h 18"/>
                  <a:gd name="T4" fmla="*/ 4 w 4"/>
                  <a:gd name="T5" fmla="*/ 2 h 18"/>
                  <a:gd name="T6" fmla="*/ 4 w 4"/>
                  <a:gd name="T7" fmla="*/ 0 h 18"/>
                  <a:gd name="T8" fmla="*/ 0 w 4"/>
                  <a:gd name="T9" fmla="*/ 2 h 18"/>
                  <a:gd name="T10" fmla="*/ 0 w 4"/>
                  <a:gd name="T11" fmla="*/ 6 h 18"/>
                  <a:gd name="T12" fmla="*/ 0 w 4"/>
                  <a:gd name="T13" fmla="*/ 8 h 18"/>
                  <a:gd name="T14" fmla="*/ 1 w 4"/>
                  <a:gd name="T15" fmla="*/ 12 h 18"/>
                  <a:gd name="T16" fmla="*/ 0 w 4"/>
                  <a:gd name="T17" fmla="*/ 15 h 18"/>
                  <a:gd name="T18" fmla="*/ 1 w 4"/>
                  <a:gd name="T19" fmla="*/ 18 h 18"/>
                  <a:gd name="T20" fmla="*/ 3 w 4"/>
                  <a:gd name="T21" fmla="*/ 12 h 18"/>
                  <a:gd name="T22" fmla="*/ 3 w 4"/>
                  <a:gd name="T23" fmla="*/ 9 h 18"/>
                  <a:gd name="T24" fmla="*/ 2 w 4"/>
                  <a:gd name="T25" fmla="*/ 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18">
                    <a:moveTo>
                      <a:pt x="2" y="7"/>
                    </a:moveTo>
                    <a:lnTo>
                      <a:pt x="3" y="3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1" y="18"/>
                    </a:lnTo>
                    <a:lnTo>
                      <a:pt x="3" y="12"/>
                    </a:lnTo>
                    <a:lnTo>
                      <a:pt x="3" y="9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5" name="Freeform 104">
                <a:extLst>
                  <a:ext uri="{FF2B5EF4-FFF2-40B4-BE49-F238E27FC236}">
                    <a16:creationId xmlns:a16="http://schemas.microsoft.com/office/drawing/2014/main" id="{10C0238A-68C7-4373-BA3A-9A2BC9CDB6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4151" y="4154488"/>
                <a:ext cx="6350" cy="12700"/>
              </a:xfrm>
              <a:custGeom>
                <a:avLst/>
                <a:gdLst>
                  <a:gd name="T0" fmla="*/ 0 w 5"/>
                  <a:gd name="T1" fmla="*/ 2 h 11"/>
                  <a:gd name="T2" fmla="*/ 0 w 5"/>
                  <a:gd name="T3" fmla="*/ 7 h 11"/>
                  <a:gd name="T4" fmla="*/ 0 w 5"/>
                  <a:gd name="T5" fmla="*/ 11 h 11"/>
                  <a:gd name="T6" fmla="*/ 3 w 5"/>
                  <a:gd name="T7" fmla="*/ 11 h 11"/>
                  <a:gd name="T8" fmla="*/ 5 w 5"/>
                  <a:gd name="T9" fmla="*/ 5 h 11"/>
                  <a:gd name="T10" fmla="*/ 4 w 5"/>
                  <a:gd name="T11" fmla="*/ 0 h 11"/>
                  <a:gd name="T12" fmla="*/ 0 w 5"/>
                  <a:gd name="T13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11">
                    <a:moveTo>
                      <a:pt x="0" y="2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11"/>
                      <a:pt x="0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4" y="0"/>
                      <a:pt x="4" y="0"/>
                      <a:pt x="4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6" name="Freeform 105">
                <a:extLst>
                  <a:ext uri="{FF2B5EF4-FFF2-40B4-BE49-F238E27FC236}">
                    <a16:creationId xmlns:a16="http://schemas.microsoft.com/office/drawing/2014/main" id="{37019CDA-F533-444A-A2FC-9347913F04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85251" y="4051300"/>
                <a:ext cx="4763" cy="4763"/>
              </a:xfrm>
              <a:custGeom>
                <a:avLst/>
                <a:gdLst>
                  <a:gd name="T0" fmla="*/ 3 w 3"/>
                  <a:gd name="T1" fmla="*/ 3 h 3"/>
                  <a:gd name="T2" fmla="*/ 2 w 3"/>
                  <a:gd name="T3" fmla="*/ 0 h 3"/>
                  <a:gd name="T4" fmla="*/ 0 w 3"/>
                  <a:gd name="T5" fmla="*/ 3 h 3"/>
                  <a:gd name="T6" fmla="*/ 1 w 3"/>
                  <a:gd name="T7" fmla="*/ 3 h 3"/>
                  <a:gd name="T8" fmla="*/ 3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2" y="0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7" name="Freeform 106">
                <a:extLst>
                  <a:ext uri="{FF2B5EF4-FFF2-40B4-BE49-F238E27FC236}">
                    <a16:creationId xmlns:a16="http://schemas.microsoft.com/office/drawing/2014/main" id="{398AB725-47FC-433A-95D8-C018763D64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93189" y="4017963"/>
                <a:ext cx="4763" cy="11113"/>
              </a:xfrm>
              <a:custGeom>
                <a:avLst/>
                <a:gdLst>
                  <a:gd name="T0" fmla="*/ 3 w 3"/>
                  <a:gd name="T1" fmla="*/ 0 h 7"/>
                  <a:gd name="T2" fmla="*/ 0 w 3"/>
                  <a:gd name="T3" fmla="*/ 2 h 7"/>
                  <a:gd name="T4" fmla="*/ 2 w 3"/>
                  <a:gd name="T5" fmla="*/ 7 h 7"/>
                  <a:gd name="T6" fmla="*/ 2 w 3"/>
                  <a:gd name="T7" fmla="*/ 4 h 7"/>
                  <a:gd name="T8" fmla="*/ 3 w 3"/>
                  <a:gd name="T9" fmla="*/ 1 h 7"/>
                  <a:gd name="T10" fmla="*/ 3 w 3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7">
                    <a:moveTo>
                      <a:pt x="3" y="0"/>
                    </a:moveTo>
                    <a:lnTo>
                      <a:pt x="0" y="2"/>
                    </a:lnTo>
                    <a:lnTo>
                      <a:pt x="2" y="7"/>
                    </a:lnTo>
                    <a:lnTo>
                      <a:pt x="2" y="4"/>
                    </a:lnTo>
                    <a:lnTo>
                      <a:pt x="3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8" name="Freeform 107">
                <a:extLst>
                  <a:ext uri="{FF2B5EF4-FFF2-40B4-BE49-F238E27FC236}">
                    <a16:creationId xmlns:a16="http://schemas.microsoft.com/office/drawing/2014/main" id="{9BC3B02B-B283-487B-B01C-2D7A8571AE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70964" y="4070350"/>
                <a:ext cx="9525" cy="11113"/>
              </a:xfrm>
              <a:custGeom>
                <a:avLst/>
                <a:gdLst>
                  <a:gd name="T0" fmla="*/ 6 w 6"/>
                  <a:gd name="T1" fmla="*/ 1 h 7"/>
                  <a:gd name="T2" fmla="*/ 5 w 6"/>
                  <a:gd name="T3" fmla="*/ 0 h 7"/>
                  <a:gd name="T4" fmla="*/ 2 w 6"/>
                  <a:gd name="T5" fmla="*/ 1 h 7"/>
                  <a:gd name="T6" fmla="*/ 1 w 6"/>
                  <a:gd name="T7" fmla="*/ 4 h 7"/>
                  <a:gd name="T8" fmla="*/ 0 w 6"/>
                  <a:gd name="T9" fmla="*/ 6 h 7"/>
                  <a:gd name="T10" fmla="*/ 2 w 6"/>
                  <a:gd name="T11" fmla="*/ 7 h 7"/>
                  <a:gd name="T12" fmla="*/ 4 w 6"/>
                  <a:gd name="T13" fmla="*/ 6 h 7"/>
                  <a:gd name="T14" fmla="*/ 6 w 6"/>
                  <a:gd name="T1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7">
                    <a:moveTo>
                      <a:pt x="6" y="1"/>
                    </a:moveTo>
                    <a:lnTo>
                      <a:pt x="5" y="0"/>
                    </a:lnTo>
                    <a:lnTo>
                      <a:pt x="2" y="1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2" y="7"/>
                    </a:lnTo>
                    <a:lnTo>
                      <a:pt x="4" y="6"/>
                    </a:lnTo>
                    <a:lnTo>
                      <a:pt x="6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9" name="Freeform 108">
                <a:extLst>
                  <a:ext uri="{FF2B5EF4-FFF2-40B4-BE49-F238E27FC236}">
                    <a16:creationId xmlns:a16="http://schemas.microsoft.com/office/drawing/2014/main" id="{B81EB01E-18B8-480A-99B7-F5D7435B1D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9201" y="2906713"/>
                <a:ext cx="33338" cy="55563"/>
              </a:xfrm>
              <a:custGeom>
                <a:avLst/>
                <a:gdLst>
                  <a:gd name="T0" fmla="*/ 0 w 21"/>
                  <a:gd name="T1" fmla="*/ 31 h 35"/>
                  <a:gd name="T2" fmla="*/ 1 w 21"/>
                  <a:gd name="T3" fmla="*/ 35 h 35"/>
                  <a:gd name="T4" fmla="*/ 3 w 21"/>
                  <a:gd name="T5" fmla="*/ 34 h 35"/>
                  <a:gd name="T6" fmla="*/ 3 w 21"/>
                  <a:gd name="T7" fmla="*/ 31 h 35"/>
                  <a:gd name="T8" fmla="*/ 6 w 21"/>
                  <a:gd name="T9" fmla="*/ 29 h 35"/>
                  <a:gd name="T10" fmla="*/ 5 w 21"/>
                  <a:gd name="T11" fmla="*/ 24 h 35"/>
                  <a:gd name="T12" fmla="*/ 7 w 21"/>
                  <a:gd name="T13" fmla="*/ 23 h 35"/>
                  <a:gd name="T14" fmla="*/ 7 w 21"/>
                  <a:gd name="T15" fmla="*/ 21 h 35"/>
                  <a:gd name="T16" fmla="*/ 8 w 21"/>
                  <a:gd name="T17" fmla="*/ 20 h 35"/>
                  <a:gd name="T18" fmla="*/ 10 w 21"/>
                  <a:gd name="T19" fmla="*/ 21 h 35"/>
                  <a:gd name="T20" fmla="*/ 11 w 21"/>
                  <a:gd name="T21" fmla="*/ 18 h 35"/>
                  <a:gd name="T22" fmla="*/ 14 w 21"/>
                  <a:gd name="T23" fmla="*/ 14 h 35"/>
                  <a:gd name="T24" fmla="*/ 16 w 21"/>
                  <a:gd name="T25" fmla="*/ 9 h 35"/>
                  <a:gd name="T26" fmla="*/ 20 w 21"/>
                  <a:gd name="T27" fmla="*/ 9 h 35"/>
                  <a:gd name="T28" fmla="*/ 21 w 21"/>
                  <a:gd name="T29" fmla="*/ 7 h 35"/>
                  <a:gd name="T30" fmla="*/ 21 w 21"/>
                  <a:gd name="T31" fmla="*/ 3 h 35"/>
                  <a:gd name="T32" fmla="*/ 21 w 21"/>
                  <a:gd name="T33" fmla="*/ 0 h 35"/>
                  <a:gd name="T34" fmla="*/ 19 w 21"/>
                  <a:gd name="T35" fmla="*/ 1 h 35"/>
                  <a:gd name="T36" fmla="*/ 16 w 21"/>
                  <a:gd name="T37" fmla="*/ 5 h 35"/>
                  <a:gd name="T38" fmla="*/ 15 w 21"/>
                  <a:gd name="T39" fmla="*/ 8 h 35"/>
                  <a:gd name="T40" fmla="*/ 14 w 21"/>
                  <a:gd name="T41" fmla="*/ 8 h 35"/>
                  <a:gd name="T42" fmla="*/ 11 w 21"/>
                  <a:gd name="T43" fmla="*/ 10 h 35"/>
                  <a:gd name="T44" fmla="*/ 10 w 21"/>
                  <a:gd name="T45" fmla="*/ 9 h 35"/>
                  <a:gd name="T46" fmla="*/ 9 w 21"/>
                  <a:gd name="T47" fmla="*/ 7 h 35"/>
                  <a:gd name="T48" fmla="*/ 8 w 21"/>
                  <a:gd name="T49" fmla="*/ 7 h 35"/>
                  <a:gd name="T50" fmla="*/ 7 w 21"/>
                  <a:gd name="T51" fmla="*/ 10 h 35"/>
                  <a:gd name="T52" fmla="*/ 8 w 21"/>
                  <a:gd name="T53" fmla="*/ 11 h 35"/>
                  <a:gd name="T54" fmla="*/ 7 w 21"/>
                  <a:gd name="T55" fmla="*/ 14 h 35"/>
                  <a:gd name="T56" fmla="*/ 5 w 21"/>
                  <a:gd name="T57" fmla="*/ 17 h 35"/>
                  <a:gd name="T58" fmla="*/ 4 w 21"/>
                  <a:gd name="T59" fmla="*/ 17 h 35"/>
                  <a:gd name="T60" fmla="*/ 4 w 21"/>
                  <a:gd name="T61" fmla="*/ 19 h 35"/>
                  <a:gd name="T62" fmla="*/ 3 w 21"/>
                  <a:gd name="T63" fmla="*/ 22 h 35"/>
                  <a:gd name="T64" fmla="*/ 1 w 21"/>
                  <a:gd name="T65" fmla="*/ 24 h 35"/>
                  <a:gd name="T66" fmla="*/ 1 w 21"/>
                  <a:gd name="T67" fmla="*/ 26 h 35"/>
                  <a:gd name="T68" fmla="*/ 3 w 21"/>
                  <a:gd name="T69" fmla="*/ 27 h 35"/>
                  <a:gd name="T70" fmla="*/ 1 w 21"/>
                  <a:gd name="T71" fmla="*/ 29 h 35"/>
                  <a:gd name="T72" fmla="*/ 0 w 21"/>
                  <a:gd name="T73" fmla="*/ 3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1" h="35">
                    <a:moveTo>
                      <a:pt x="0" y="31"/>
                    </a:moveTo>
                    <a:lnTo>
                      <a:pt x="1" y="35"/>
                    </a:lnTo>
                    <a:lnTo>
                      <a:pt x="3" y="34"/>
                    </a:lnTo>
                    <a:lnTo>
                      <a:pt x="3" y="31"/>
                    </a:lnTo>
                    <a:lnTo>
                      <a:pt x="6" y="29"/>
                    </a:lnTo>
                    <a:lnTo>
                      <a:pt x="5" y="24"/>
                    </a:lnTo>
                    <a:lnTo>
                      <a:pt x="7" y="23"/>
                    </a:lnTo>
                    <a:lnTo>
                      <a:pt x="7" y="21"/>
                    </a:lnTo>
                    <a:lnTo>
                      <a:pt x="8" y="20"/>
                    </a:lnTo>
                    <a:lnTo>
                      <a:pt x="10" y="21"/>
                    </a:lnTo>
                    <a:lnTo>
                      <a:pt x="11" y="18"/>
                    </a:lnTo>
                    <a:lnTo>
                      <a:pt x="14" y="14"/>
                    </a:lnTo>
                    <a:lnTo>
                      <a:pt x="16" y="9"/>
                    </a:lnTo>
                    <a:lnTo>
                      <a:pt x="20" y="9"/>
                    </a:lnTo>
                    <a:lnTo>
                      <a:pt x="21" y="7"/>
                    </a:lnTo>
                    <a:lnTo>
                      <a:pt x="21" y="3"/>
                    </a:lnTo>
                    <a:lnTo>
                      <a:pt x="21" y="0"/>
                    </a:lnTo>
                    <a:lnTo>
                      <a:pt x="19" y="1"/>
                    </a:lnTo>
                    <a:lnTo>
                      <a:pt x="16" y="5"/>
                    </a:lnTo>
                    <a:lnTo>
                      <a:pt x="15" y="8"/>
                    </a:lnTo>
                    <a:lnTo>
                      <a:pt x="14" y="8"/>
                    </a:lnTo>
                    <a:lnTo>
                      <a:pt x="11" y="10"/>
                    </a:lnTo>
                    <a:lnTo>
                      <a:pt x="10" y="9"/>
                    </a:lnTo>
                    <a:lnTo>
                      <a:pt x="9" y="7"/>
                    </a:lnTo>
                    <a:lnTo>
                      <a:pt x="8" y="7"/>
                    </a:lnTo>
                    <a:lnTo>
                      <a:pt x="7" y="10"/>
                    </a:lnTo>
                    <a:lnTo>
                      <a:pt x="8" y="11"/>
                    </a:lnTo>
                    <a:lnTo>
                      <a:pt x="7" y="14"/>
                    </a:lnTo>
                    <a:lnTo>
                      <a:pt x="5" y="17"/>
                    </a:lnTo>
                    <a:lnTo>
                      <a:pt x="4" y="17"/>
                    </a:lnTo>
                    <a:lnTo>
                      <a:pt x="4" y="19"/>
                    </a:lnTo>
                    <a:lnTo>
                      <a:pt x="3" y="22"/>
                    </a:lnTo>
                    <a:lnTo>
                      <a:pt x="1" y="24"/>
                    </a:lnTo>
                    <a:lnTo>
                      <a:pt x="1" y="26"/>
                    </a:lnTo>
                    <a:lnTo>
                      <a:pt x="3" y="27"/>
                    </a:lnTo>
                    <a:lnTo>
                      <a:pt x="1" y="29"/>
                    </a:lnTo>
                    <a:lnTo>
                      <a:pt x="0" y="3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0" name="Freeform 109">
                <a:extLst>
                  <a:ext uri="{FF2B5EF4-FFF2-40B4-BE49-F238E27FC236}">
                    <a16:creationId xmlns:a16="http://schemas.microsoft.com/office/drawing/2014/main" id="{57FEAB72-F887-46BF-A744-4753515C6D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83651" y="2870200"/>
                <a:ext cx="19050" cy="33338"/>
              </a:xfrm>
              <a:custGeom>
                <a:avLst/>
                <a:gdLst>
                  <a:gd name="T0" fmla="*/ 4 w 12"/>
                  <a:gd name="T1" fmla="*/ 18 h 21"/>
                  <a:gd name="T2" fmla="*/ 7 w 12"/>
                  <a:gd name="T3" fmla="*/ 14 h 21"/>
                  <a:gd name="T4" fmla="*/ 8 w 12"/>
                  <a:gd name="T5" fmla="*/ 13 h 21"/>
                  <a:gd name="T6" fmla="*/ 8 w 12"/>
                  <a:gd name="T7" fmla="*/ 9 h 21"/>
                  <a:gd name="T8" fmla="*/ 9 w 12"/>
                  <a:gd name="T9" fmla="*/ 5 h 21"/>
                  <a:gd name="T10" fmla="*/ 12 w 12"/>
                  <a:gd name="T11" fmla="*/ 0 h 21"/>
                  <a:gd name="T12" fmla="*/ 10 w 12"/>
                  <a:gd name="T13" fmla="*/ 2 h 21"/>
                  <a:gd name="T14" fmla="*/ 8 w 12"/>
                  <a:gd name="T15" fmla="*/ 2 h 21"/>
                  <a:gd name="T16" fmla="*/ 7 w 12"/>
                  <a:gd name="T17" fmla="*/ 6 h 21"/>
                  <a:gd name="T18" fmla="*/ 5 w 12"/>
                  <a:gd name="T19" fmla="*/ 6 h 21"/>
                  <a:gd name="T20" fmla="*/ 4 w 12"/>
                  <a:gd name="T21" fmla="*/ 9 h 21"/>
                  <a:gd name="T22" fmla="*/ 3 w 12"/>
                  <a:gd name="T23" fmla="*/ 11 h 21"/>
                  <a:gd name="T24" fmla="*/ 3 w 12"/>
                  <a:gd name="T25" fmla="*/ 13 h 21"/>
                  <a:gd name="T26" fmla="*/ 1 w 12"/>
                  <a:gd name="T27" fmla="*/ 16 h 21"/>
                  <a:gd name="T28" fmla="*/ 0 w 12"/>
                  <a:gd name="T29" fmla="*/ 21 h 21"/>
                  <a:gd name="T30" fmla="*/ 1 w 12"/>
                  <a:gd name="T31" fmla="*/ 21 h 21"/>
                  <a:gd name="T32" fmla="*/ 4 w 12"/>
                  <a:gd name="T33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21">
                    <a:moveTo>
                      <a:pt x="4" y="18"/>
                    </a:moveTo>
                    <a:lnTo>
                      <a:pt x="7" y="14"/>
                    </a:lnTo>
                    <a:lnTo>
                      <a:pt x="8" y="13"/>
                    </a:lnTo>
                    <a:lnTo>
                      <a:pt x="8" y="9"/>
                    </a:lnTo>
                    <a:lnTo>
                      <a:pt x="9" y="5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7" y="6"/>
                    </a:lnTo>
                    <a:lnTo>
                      <a:pt x="5" y="6"/>
                    </a:lnTo>
                    <a:lnTo>
                      <a:pt x="4" y="9"/>
                    </a:lnTo>
                    <a:lnTo>
                      <a:pt x="3" y="11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21"/>
                    </a:lnTo>
                    <a:lnTo>
                      <a:pt x="1" y="21"/>
                    </a:lnTo>
                    <a:lnTo>
                      <a:pt x="4" y="1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1" name="Freeform 110">
                <a:extLst>
                  <a:ext uri="{FF2B5EF4-FFF2-40B4-BE49-F238E27FC236}">
                    <a16:creationId xmlns:a16="http://schemas.microsoft.com/office/drawing/2014/main" id="{026CE0B5-E113-4924-B664-19FBF2C162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8239" y="1354138"/>
                <a:ext cx="2955925" cy="1906588"/>
              </a:xfrm>
              <a:custGeom>
                <a:avLst/>
                <a:gdLst>
                  <a:gd name="T0" fmla="*/ 2353 w 2400"/>
                  <a:gd name="T1" fmla="*/ 75 h 1549"/>
                  <a:gd name="T2" fmla="*/ 2276 w 2400"/>
                  <a:gd name="T3" fmla="*/ 76 h 1549"/>
                  <a:gd name="T4" fmla="*/ 2098 w 2400"/>
                  <a:gd name="T5" fmla="*/ 47 h 1549"/>
                  <a:gd name="T6" fmla="*/ 1984 w 2400"/>
                  <a:gd name="T7" fmla="*/ 108 h 1549"/>
                  <a:gd name="T8" fmla="*/ 1798 w 2400"/>
                  <a:gd name="T9" fmla="*/ 97 h 1549"/>
                  <a:gd name="T10" fmla="*/ 1597 w 2400"/>
                  <a:gd name="T11" fmla="*/ 141 h 1549"/>
                  <a:gd name="T12" fmla="*/ 1514 w 2400"/>
                  <a:gd name="T13" fmla="*/ 156 h 1549"/>
                  <a:gd name="T14" fmla="*/ 1431 w 2400"/>
                  <a:gd name="T15" fmla="*/ 267 h 1549"/>
                  <a:gd name="T16" fmla="*/ 1333 w 2400"/>
                  <a:gd name="T17" fmla="*/ 153 h 1549"/>
                  <a:gd name="T18" fmla="*/ 1247 w 2400"/>
                  <a:gd name="T19" fmla="*/ 197 h 1549"/>
                  <a:gd name="T20" fmla="*/ 1073 w 2400"/>
                  <a:gd name="T21" fmla="*/ 204 h 1549"/>
                  <a:gd name="T22" fmla="*/ 1053 w 2400"/>
                  <a:gd name="T23" fmla="*/ 151 h 1549"/>
                  <a:gd name="T24" fmla="*/ 989 w 2400"/>
                  <a:gd name="T25" fmla="*/ 35 h 1549"/>
                  <a:gd name="T26" fmla="*/ 892 w 2400"/>
                  <a:gd name="T27" fmla="*/ 4 h 1549"/>
                  <a:gd name="T28" fmla="*/ 846 w 2400"/>
                  <a:gd name="T29" fmla="*/ 131 h 1549"/>
                  <a:gd name="T30" fmla="*/ 739 w 2400"/>
                  <a:gd name="T31" fmla="*/ 219 h 1549"/>
                  <a:gd name="T32" fmla="*/ 687 w 2400"/>
                  <a:gd name="T33" fmla="*/ 363 h 1549"/>
                  <a:gd name="T34" fmla="*/ 761 w 2400"/>
                  <a:gd name="T35" fmla="*/ 467 h 1549"/>
                  <a:gd name="T36" fmla="*/ 695 w 2400"/>
                  <a:gd name="T37" fmla="*/ 474 h 1549"/>
                  <a:gd name="T38" fmla="*/ 684 w 2400"/>
                  <a:gd name="T39" fmla="*/ 557 h 1549"/>
                  <a:gd name="T40" fmla="*/ 665 w 2400"/>
                  <a:gd name="T41" fmla="*/ 690 h 1549"/>
                  <a:gd name="T42" fmla="*/ 618 w 2400"/>
                  <a:gd name="T43" fmla="*/ 524 h 1549"/>
                  <a:gd name="T44" fmla="*/ 534 w 2400"/>
                  <a:gd name="T45" fmla="*/ 517 h 1549"/>
                  <a:gd name="T46" fmla="*/ 457 w 2400"/>
                  <a:gd name="T47" fmla="*/ 577 h 1549"/>
                  <a:gd name="T48" fmla="*/ 376 w 2400"/>
                  <a:gd name="T49" fmla="*/ 652 h 1549"/>
                  <a:gd name="T50" fmla="*/ 292 w 2400"/>
                  <a:gd name="T51" fmla="*/ 710 h 1549"/>
                  <a:gd name="T52" fmla="*/ 228 w 2400"/>
                  <a:gd name="T53" fmla="*/ 746 h 1549"/>
                  <a:gd name="T54" fmla="*/ 118 w 2400"/>
                  <a:gd name="T55" fmla="*/ 831 h 1549"/>
                  <a:gd name="T56" fmla="*/ 121 w 2400"/>
                  <a:gd name="T57" fmla="*/ 757 h 1549"/>
                  <a:gd name="T58" fmla="*/ 72 w 2400"/>
                  <a:gd name="T59" fmla="*/ 638 h 1549"/>
                  <a:gd name="T60" fmla="*/ 10 w 2400"/>
                  <a:gd name="T61" fmla="*/ 648 h 1549"/>
                  <a:gd name="T62" fmla="*/ 56 w 2400"/>
                  <a:gd name="T63" fmla="*/ 989 h 1549"/>
                  <a:gd name="T64" fmla="*/ 122 w 2400"/>
                  <a:gd name="T65" fmla="*/ 1215 h 1549"/>
                  <a:gd name="T66" fmla="*/ 255 w 2400"/>
                  <a:gd name="T67" fmla="*/ 1385 h 1549"/>
                  <a:gd name="T68" fmla="*/ 319 w 2400"/>
                  <a:gd name="T69" fmla="*/ 1538 h 1549"/>
                  <a:gd name="T70" fmla="*/ 409 w 2400"/>
                  <a:gd name="T71" fmla="*/ 1417 h 1549"/>
                  <a:gd name="T72" fmla="*/ 431 w 2400"/>
                  <a:gd name="T73" fmla="*/ 1241 h 1549"/>
                  <a:gd name="T74" fmla="*/ 602 w 2400"/>
                  <a:gd name="T75" fmla="*/ 1264 h 1549"/>
                  <a:gd name="T76" fmla="*/ 661 w 2400"/>
                  <a:gd name="T77" fmla="*/ 1136 h 1549"/>
                  <a:gd name="T78" fmla="*/ 799 w 2400"/>
                  <a:gd name="T79" fmla="*/ 1152 h 1549"/>
                  <a:gd name="T80" fmla="*/ 1027 w 2400"/>
                  <a:gd name="T81" fmla="*/ 1261 h 1549"/>
                  <a:gd name="T82" fmla="*/ 1214 w 2400"/>
                  <a:gd name="T83" fmla="*/ 1233 h 1549"/>
                  <a:gd name="T84" fmla="*/ 1366 w 2400"/>
                  <a:gd name="T85" fmla="*/ 1200 h 1549"/>
                  <a:gd name="T86" fmla="*/ 1601 w 2400"/>
                  <a:gd name="T87" fmla="*/ 1169 h 1549"/>
                  <a:gd name="T88" fmla="*/ 1664 w 2400"/>
                  <a:gd name="T89" fmla="*/ 1056 h 1549"/>
                  <a:gd name="T90" fmla="*/ 1763 w 2400"/>
                  <a:gd name="T91" fmla="*/ 1169 h 1549"/>
                  <a:gd name="T92" fmla="*/ 1862 w 2400"/>
                  <a:gd name="T93" fmla="*/ 1208 h 1549"/>
                  <a:gd name="T94" fmla="*/ 1855 w 2400"/>
                  <a:gd name="T95" fmla="*/ 1324 h 1549"/>
                  <a:gd name="T96" fmla="*/ 1943 w 2400"/>
                  <a:gd name="T97" fmla="*/ 1323 h 1549"/>
                  <a:gd name="T98" fmla="*/ 1944 w 2400"/>
                  <a:gd name="T99" fmla="*/ 1032 h 1549"/>
                  <a:gd name="T100" fmla="*/ 1832 w 2400"/>
                  <a:gd name="T101" fmla="*/ 965 h 1549"/>
                  <a:gd name="T102" fmla="*/ 1919 w 2400"/>
                  <a:gd name="T103" fmla="*/ 733 h 1549"/>
                  <a:gd name="T104" fmla="*/ 2039 w 2400"/>
                  <a:gd name="T105" fmla="*/ 713 h 1549"/>
                  <a:gd name="T106" fmla="*/ 2082 w 2400"/>
                  <a:gd name="T107" fmla="*/ 567 h 1549"/>
                  <a:gd name="T108" fmla="*/ 2129 w 2400"/>
                  <a:gd name="T109" fmla="*/ 516 h 1549"/>
                  <a:gd name="T110" fmla="*/ 2148 w 2400"/>
                  <a:gd name="T111" fmla="*/ 665 h 1549"/>
                  <a:gd name="T112" fmla="*/ 2241 w 2400"/>
                  <a:gd name="T113" fmla="*/ 997 h 1549"/>
                  <a:gd name="T114" fmla="*/ 2257 w 2400"/>
                  <a:gd name="T115" fmla="*/ 800 h 1549"/>
                  <a:gd name="T116" fmla="*/ 2188 w 2400"/>
                  <a:gd name="T117" fmla="*/ 627 h 1549"/>
                  <a:gd name="T118" fmla="*/ 2295 w 2400"/>
                  <a:gd name="T119" fmla="*/ 514 h 1549"/>
                  <a:gd name="T120" fmla="*/ 2327 w 2400"/>
                  <a:gd name="T121" fmla="*/ 364 h 1549"/>
                  <a:gd name="T122" fmla="*/ 2305 w 2400"/>
                  <a:gd name="T123" fmla="*/ 284 h 1549"/>
                  <a:gd name="T124" fmla="*/ 2360 w 2400"/>
                  <a:gd name="T125" fmla="*/ 211 h 1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00" h="1549">
                    <a:moveTo>
                      <a:pt x="2397" y="198"/>
                    </a:moveTo>
                    <a:cubicBezTo>
                      <a:pt x="2394" y="198"/>
                      <a:pt x="2394" y="198"/>
                      <a:pt x="2394" y="198"/>
                    </a:cubicBezTo>
                    <a:cubicBezTo>
                      <a:pt x="2390" y="195"/>
                      <a:pt x="2390" y="195"/>
                      <a:pt x="2390" y="195"/>
                    </a:cubicBezTo>
                    <a:cubicBezTo>
                      <a:pt x="2392" y="191"/>
                      <a:pt x="2392" y="191"/>
                      <a:pt x="2392" y="191"/>
                    </a:cubicBezTo>
                    <a:cubicBezTo>
                      <a:pt x="2396" y="194"/>
                      <a:pt x="2396" y="194"/>
                      <a:pt x="2396" y="194"/>
                    </a:cubicBezTo>
                    <a:cubicBezTo>
                      <a:pt x="2398" y="192"/>
                      <a:pt x="2398" y="192"/>
                      <a:pt x="2398" y="192"/>
                    </a:cubicBezTo>
                    <a:cubicBezTo>
                      <a:pt x="2398" y="187"/>
                      <a:pt x="2398" y="187"/>
                      <a:pt x="2398" y="187"/>
                    </a:cubicBezTo>
                    <a:cubicBezTo>
                      <a:pt x="2395" y="186"/>
                      <a:pt x="2395" y="186"/>
                      <a:pt x="2395" y="186"/>
                    </a:cubicBezTo>
                    <a:cubicBezTo>
                      <a:pt x="2392" y="185"/>
                      <a:pt x="2392" y="185"/>
                      <a:pt x="2392" y="185"/>
                    </a:cubicBezTo>
                    <a:cubicBezTo>
                      <a:pt x="2390" y="187"/>
                      <a:pt x="2390" y="187"/>
                      <a:pt x="2390" y="187"/>
                    </a:cubicBezTo>
                    <a:cubicBezTo>
                      <a:pt x="2390" y="191"/>
                      <a:pt x="2390" y="191"/>
                      <a:pt x="2390" y="191"/>
                    </a:cubicBezTo>
                    <a:cubicBezTo>
                      <a:pt x="2388" y="188"/>
                      <a:pt x="2388" y="188"/>
                      <a:pt x="2388" y="188"/>
                    </a:cubicBezTo>
                    <a:cubicBezTo>
                      <a:pt x="2384" y="189"/>
                      <a:pt x="2384" y="189"/>
                      <a:pt x="2384" y="189"/>
                    </a:cubicBezTo>
                    <a:cubicBezTo>
                      <a:pt x="2385" y="183"/>
                      <a:pt x="2385" y="183"/>
                      <a:pt x="2385" y="183"/>
                    </a:cubicBezTo>
                    <a:cubicBezTo>
                      <a:pt x="2383" y="180"/>
                      <a:pt x="2383" y="180"/>
                      <a:pt x="2383" y="180"/>
                    </a:cubicBezTo>
                    <a:cubicBezTo>
                      <a:pt x="2379" y="181"/>
                      <a:pt x="2379" y="181"/>
                      <a:pt x="2379" y="181"/>
                    </a:cubicBezTo>
                    <a:cubicBezTo>
                      <a:pt x="2379" y="185"/>
                      <a:pt x="2379" y="185"/>
                      <a:pt x="2379" y="185"/>
                    </a:cubicBezTo>
                    <a:cubicBezTo>
                      <a:pt x="2378" y="182"/>
                      <a:pt x="2378" y="182"/>
                      <a:pt x="2378" y="182"/>
                    </a:cubicBezTo>
                    <a:cubicBezTo>
                      <a:pt x="2378" y="179"/>
                      <a:pt x="2378" y="179"/>
                      <a:pt x="2378" y="179"/>
                    </a:cubicBezTo>
                    <a:cubicBezTo>
                      <a:pt x="2382" y="176"/>
                      <a:pt x="2382" y="176"/>
                      <a:pt x="2382" y="176"/>
                    </a:cubicBezTo>
                    <a:cubicBezTo>
                      <a:pt x="2381" y="170"/>
                      <a:pt x="2381" y="170"/>
                      <a:pt x="2381" y="170"/>
                    </a:cubicBezTo>
                    <a:cubicBezTo>
                      <a:pt x="2379" y="168"/>
                      <a:pt x="2379" y="168"/>
                      <a:pt x="2379" y="168"/>
                    </a:cubicBezTo>
                    <a:cubicBezTo>
                      <a:pt x="2383" y="165"/>
                      <a:pt x="2383" y="165"/>
                      <a:pt x="2383" y="165"/>
                    </a:cubicBezTo>
                    <a:cubicBezTo>
                      <a:pt x="2380" y="159"/>
                      <a:pt x="2380" y="159"/>
                      <a:pt x="2380" y="159"/>
                    </a:cubicBezTo>
                    <a:cubicBezTo>
                      <a:pt x="2381" y="156"/>
                      <a:pt x="2381" y="156"/>
                      <a:pt x="2381" y="156"/>
                    </a:cubicBezTo>
                    <a:cubicBezTo>
                      <a:pt x="2376" y="151"/>
                      <a:pt x="2376" y="151"/>
                      <a:pt x="2376" y="151"/>
                    </a:cubicBezTo>
                    <a:cubicBezTo>
                      <a:pt x="2371" y="152"/>
                      <a:pt x="2371" y="152"/>
                      <a:pt x="2371" y="152"/>
                    </a:cubicBezTo>
                    <a:cubicBezTo>
                      <a:pt x="2367" y="157"/>
                      <a:pt x="2367" y="157"/>
                      <a:pt x="2367" y="157"/>
                    </a:cubicBezTo>
                    <a:cubicBezTo>
                      <a:pt x="2368" y="150"/>
                      <a:pt x="2368" y="150"/>
                      <a:pt x="2368" y="150"/>
                    </a:cubicBezTo>
                    <a:cubicBezTo>
                      <a:pt x="2371" y="148"/>
                      <a:pt x="2371" y="148"/>
                      <a:pt x="2371" y="148"/>
                    </a:cubicBezTo>
                    <a:cubicBezTo>
                      <a:pt x="2367" y="142"/>
                      <a:pt x="2367" y="142"/>
                      <a:pt x="2367" y="142"/>
                    </a:cubicBezTo>
                    <a:cubicBezTo>
                      <a:pt x="2367" y="138"/>
                      <a:pt x="2367" y="138"/>
                      <a:pt x="2367" y="138"/>
                    </a:cubicBezTo>
                    <a:cubicBezTo>
                      <a:pt x="2365" y="138"/>
                      <a:pt x="2365" y="138"/>
                      <a:pt x="2365" y="138"/>
                    </a:cubicBezTo>
                    <a:cubicBezTo>
                      <a:pt x="2363" y="142"/>
                      <a:pt x="2363" y="142"/>
                      <a:pt x="2363" y="142"/>
                    </a:cubicBezTo>
                    <a:cubicBezTo>
                      <a:pt x="2361" y="138"/>
                      <a:pt x="2361" y="138"/>
                      <a:pt x="2361" y="138"/>
                    </a:cubicBezTo>
                    <a:cubicBezTo>
                      <a:pt x="2358" y="137"/>
                      <a:pt x="2358" y="137"/>
                      <a:pt x="2358" y="137"/>
                    </a:cubicBezTo>
                    <a:cubicBezTo>
                      <a:pt x="2353" y="138"/>
                      <a:pt x="2353" y="138"/>
                      <a:pt x="2353" y="138"/>
                    </a:cubicBezTo>
                    <a:cubicBezTo>
                      <a:pt x="2357" y="134"/>
                      <a:pt x="2357" y="134"/>
                      <a:pt x="2357" y="134"/>
                    </a:cubicBezTo>
                    <a:cubicBezTo>
                      <a:pt x="2362" y="134"/>
                      <a:pt x="2362" y="134"/>
                      <a:pt x="2362" y="134"/>
                    </a:cubicBezTo>
                    <a:cubicBezTo>
                      <a:pt x="2366" y="130"/>
                      <a:pt x="2366" y="130"/>
                      <a:pt x="2366" y="130"/>
                    </a:cubicBezTo>
                    <a:cubicBezTo>
                      <a:pt x="2367" y="132"/>
                      <a:pt x="2367" y="132"/>
                      <a:pt x="2367" y="132"/>
                    </a:cubicBezTo>
                    <a:cubicBezTo>
                      <a:pt x="2371" y="125"/>
                      <a:pt x="2371" y="125"/>
                      <a:pt x="2371" y="125"/>
                    </a:cubicBezTo>
                    <a:cubicBezTo>
                      <a:pt x="2375" y="123"/>
                      <a:pt x="2375" y="123"/>
                      <a:pt x="2375" y="123"/>
                    </a:cubicBezTo>
                    <a:cubicBezTo>
                      <a:pt x="2376" y="120"/>
                      <a:pt x="2376" y="120"/>
                      <a:pt x="2376" y="120"/>
                    </a:cubicBezTo>
                    <a:cubicBezTo>
                      <a:pt x="2373" y="116"/>
                      <a:pt x="2373" y="116"/>
                      <a:pt x="2373" y="116"/>
                    </a:cubicBezTo>
                    <a:cubicBezTo>
                      <a:pt x="2365" y="114"/>
                      <a:pt x="2365" y="114"/>
                      <a:pt x="2365" y="114"/>
                    </a:cubicBezTo>
                    <a:cubicBezTo>
                      <a:pt x="2371" y="112"/>
                      <a:pt x="2371" y="112"/>
                      <a:pt x="2371" y="112"/>
                    </a:cubicBezTo>
                    <a:cubicBezTo>
                      <a:pt x="2377" y="113"/>
                      <a:pt x="2377" y="113"/>
                      <a:pt x="2377" y="113"/>
                    </a:cubicBezTo>
                    <a:cubicBezTo>
                      <a:pt x="2379" y="110"/>
                      <a:pt x="2379" y="110"/>
                      <a:pt x="2379" y="110"/>
                    </a:cubicBezTo>
                    <a:cubicBezTo>
                      <a:pt x="2378" y="105"/>
                      <a:pt x="2378" y="105"/>
                      <a:pt x="2378" y="105"/>
                    </a:cubicBezTo>
                    <a:cubicBezTo>
                      <a:pt x="2374" y="103"/>
                      <a:pt x="2374" y="103"/>
                      <a:pt x="2374" y="103"/>
                    </a:cubicBezTo>
                    <a:cubicBezTo>
                      <a:pt x="2371" y="99"/>
                      <a:pt x="2371" y="99"/>
                      <a:pt x="2371" y="99"/>
                    </a:cubicBezTo>
                    <a:cubicBezTo>
                      <a:pt x="2368" y="100"/>
                      <a:pt x="2368" y="100"/>
                      <a:pt x="2368" y="100"/>
                    </a:cubicBezTo>
                    <a:cubicBezTo>
                      <a:pt x="2368" y="97"/>
                      <a:pt x="2368" y="97"/>
                      <a:pt x="2368" y="97"/>
                    </a:cubicBezTo>
                    <a:cubicBezTo>
                      <a:pt x="2369" y="91"/>
                      <a:pt x="2369" y="91"/>
                      <a:pt x="2369" y="91"/>
                    </a:cubicBezTo>
                    <a:cubicBezTo>
                      <a:pt x="2366" y="80"/>
                      <a:pt x="2366" y="80"/>
                      <a:pt x="2366" y="80"/>
                    </a:cubicBezTo>
                    <a:cubicBezTo>
                      <a:pt x="2367" y="77"/>
                      <a:pt x="2367" y="77"/>
                      <a:pt x="2367" y="77"/>
                    </a:cubicBezTo>
                    <a:cubicBezTo>
                      <a:pt x="2369" y="74"/>
                      <a:pt x="2369" y="74"/>
                      <a:pt x="2369" y="74"/>
                    </a:cubicBezTo>
                    <a:cubicBezTo>
                      <a:pt x="2369" y="70"/>
                      <a:pt x="2369" y="70"/>
                      <a:pt x="2369" y="70"/>
                    </a:cubicBezTo>
                    <a:cubicBezTo>
                      <a:pt x="2365" y="69"/>
                      <a:pt x="2365" y="69"/>
                      <a:pt x="2365" y="69"/>
                    </a:cubicBezTo>
                    <a:cubicBezTo>
                      <a:pt x="2362" y="74"/>
                      <a:pt x="2362" y="74"/>
                      <a:pt x="2362" y="74"/>
                    </a:cubicBezTo>
                    <a:cubicBezTo>
                      <a:pt x="2359" y="76"/>
                      <a:pt x="2359" y="76"/>
                      <a:pt x="2359" y="76"/>
                    </a:cubicBezTo>
                    <a:cubicBezTo>
                      <a:pt x="2359" y="71"/>
                      <a:pt x="2359" y="71"/>
                      <a:pt x="2359" y="71"/>
                    </a:cubicBezTo>
                    <a:cubicBezTo>
                      <a:pt x="2355" y="70"/>
                      <a:pt x="2355" y="70"/>
                      <a:pt x="2355" y="70"/>
                    </a:cubicBezTo>
                    <a:cubicBezTo>
                      <a:pt x="2355" y="74"/>
                      <a:pt x="2355" y="74"/>
                      <a:pt x="2355" y="74"/>
                    </a:cubicBezTo>
                    <a:cubicBezTo>
                      <a:pt x="2353" y="75"/>
                      <a:pt x="2353" y="75"/>
                      <a:pt x="2353" y="75"/>
                    </a:cubicBezTo>
                    <a:cubicBezTo>
                      <a:pt x="2352" y="73"/>
                      <a:pt x="2352" y="73"/>
                      <a:pt x="2352" y="73"/>
                    </a:cubicBezTo>
                    <a:cubicBezTo>
                      <a:pt x="2353" y="68"/>
                      <a:pt x="2353" y="68"/>
                      <a:pt x="2353" y="68"/>
                    </a:cubicBezTo>
                    <a:cubicBezTo>
                      <a:pt x="2342" y="66"/>
                      <a:pt x="2342" y="66"/>
                      <a:pt x="2342" y="66"/>
                    </a:cubicBezTo>
                    <a:cubicBezTo>
                      <a:pt x="2339" y="67"/>
                      <a:pt x="2339" y="67"/>
                      <a:pt x="2339" y="67"/>
                    </a:cubicBezTo>
                    <a:cubicBezTo>
                      <a:pt x="2334" y="66"/>
                      <a:pt x="2334" y="66"/>
                      <a:pt x="2334" y="66"/>
                    </a:cubicBezTo>
                    <a:cubicBezTo>
                      <a:pt x="2331" y="62"/>
                      <a:pt x="2331" y="62"/>
                      <a:pt x="2331" y="62"/>
                    </a:cubicBezTo>
                    <a:cubicBezTo>
                      <a:pt x="2330" y="60"/>
                      <a:pt x="2330" y="60"/>
                      <a:pt x="2330" y="60"/>
                    </a:cubicBezTo>
                    <a:cubicBezTo>
                      <a:pt x="2327" y="59"/>
                      <a:pt x="2327" y="59"/>
                      <a:pt x="2327" y="59"/>
                    </a:cubicBezTo>
                    <a:cubicBezTo>
                      <a:pt x="2325" y="60"/>
                      <a:pt x="2325" y="60"/>
                      <a:pt x="2325" y="60"/>
                    </a:cubicBezTo>
                    <a:cubicBezTo>
                      <a:pt x="2324" y="58"/>
                      <a:pt x="2324" y="58"/>
                      <a:pt x="2324" y="58"/>
                    </a:cubicBezTo>
                    <a:cubicBezTo>
                      <a:pt x="2321" y="57"/>
                      <a:pt x="2321" y="57"/>
                      <a:pt x="2321" y="57"/>
                    </a:cubicBezTo>
                    <a:cubicBezTo>
                      <a:pt x="2317" y="63"/>
                      <a:pt x="2317" y="63"/>
                      <a:pt x="2317" y="63"/>
                    </a:cubicBezTo>
                    <a:cubicBezTo>
                      <a:pt x="2314" y="64"/>
                      <a:pt x="2314" y="64"/>
                      <a:pt x="2314" y="64"/>
                    </a:cubicBezTo>
                    <a:cubicBezTo>
                      <a:pt x="2312" y="66"/>
                      <a:pt x="2312" y="66"/>
                      <a:pt x="2312" y="66"/>
                    </a:cubicBezTo>
                    <a:cubicBezTo>
                      <a:pt x="2310" y="67"/>
                      <a:pt x="2310" y="67"/>
                      <a:pt x="2310" y="67"/>
                    </a:cubicBezTo>
                    <a:cubicBezTo>
                      <a:pt x="2315" y="67"/>
                      <a:pt x="2315" y="67"/>
                      <a:pt x="2315" y="67"/>
                    </a:cubicBezTo>
                    <a:cubicBezTo>
                      <a:pt x="2313" y="71"/>
                      <a:pt x="2313" y="71"/>
                      <a:pt x="2313" y="71"/>
                    </a:cubicBezTo>
                    <a:cubicBezTo>
                      <a:pt x="2309" y="74"/>
                      <a:pt x="2309" y="74"/>
                      <a:pt x="2309" y="74"/>
                    </a:cubicBezTo>
                    <a:cubicBezTo>
                      <a:pt x="2307" y="74"/>
                      <a:pt x="2307" y="74"/>
                      <a:pt x="2307" y="74"/>
                    </a:cubicBezTo>
                    <a:cubicBezTo>
                      <a:pt x="2309" y="78"/>
                      <a:pt x="2309" y="78"/>
                      <a:pt x="2309" y="78"/>
                    </a:cubicBezTo>
                    <a:cubicBezTo>
                      <a:pt x="2312" y="81"/>
                      <a:pt x="2312" y="81"/>
                      <a:pt x="2312" y="81"/>
                    </a:cubicBezTo>
                    <a:cubicBezTo>
                      <a:pt x="2311" y="83"/>
                      <a:pt x="2311" y="83"/>
                      <a:pt x="2311" y="83"/>
                    </a:cubicBezTo>
                    <a:cubicBezTo>
                      <a:pt x="2307" y="82"/>
                      <a:pt x="2307" y="82"/>
                      <a:pt x="2307" y="82"/>
                    </a:cubicBezTo>
                    <a:cubicBezTo>
                      <a:pt x="2304" y="74"/>
                      <a:pt x="2304" y="74"/>
                      <a:pt x="2304" y="74"/>
                    </a:cubicBezTo>
                    <a:cubicBezTo>
                      <a:pt x="2305" y="71"/>
                      <a:pt x="2305" y="71"/>
                      <a:pt x="2305" y="71"/>
                    </a:cubicBezTo>
                    <a:cubicBezTo>
                      <a:pt x="2302" y="72"/>
                      <a:pt x="2302" y="72"/>
                      <a:pt x="2302" y="72"/>
                    </a:cubicBezTo>
                    <a:cubicBezTo>
                      <a:pt x="2298" y="80"/>
                      <a:pt x="2298" y="80"/>
                      <a:pt x="2298" y="80"/>
                    </a:cubicBezTo>
                    <a:cubicBezTo>
                      <a:pt x="2295" y="86"/>
                      <a:pt x="2295" y="86"/>
                      <a:pt x="2295" y="86"/>
                    </a:cubicBezTo>
                    <a:cubicBezTo>
                      <a:pt x="2291" y="90"/>
                      <a:pt x="2291" y="90"/>
                      <a:pt x="2291" y="90"/>
                    </a:cubicBezTo>
                    <a:cubicBezTo>
                      <a:pt x="2292" y="92"/>
                      <a:pt x="2292" y="92"/>
                      <a:pt x="2292" y="92"/>
                    </a:cubicBezTo>
                    <a:cubicBezTo>
                      <a:pt x="2297" y="88"/>
                      <a:pt x="2297" y="88"/>
                      <a:pt x="2297" y="88"/>
                    </a:cubicBezTo>
                    <a:cubicBezTo>
                      <a:pt x="2299" y="88"/>
                      <a:pt x="2299" y="88"/>
                      <a:pt x="2299" y="88"/>
                    </a:cubicBezTo>
                    <a:cubicBezTo>
                      <a:pt x="2301" y="92"/>
                      <a:pt x="2301" y="92"/>
                      <a:pt x="2301" y="92"/>
                    </a:cubicBezTo>
                    <a:cubicBezTo>
                      <a:pt x="2304" y="96"/>
                      <a:pt x="2304" y="96"/>
                      <a:pt x="2304" y="96"/>
                    </a:cubicBezTo>
                    <a:cubicBezTo>
                      <a:pt x="2311" y="102"/>
                      <a:pt x="2311" y="102"/>
                      <a:pt x="2311" y="102"/>
                    </a:cubicBezTo>
                    <a:cubicBezTo>
                      <a:pt x="2312" y="107"/>
                      <a:pt x="2312" y="107"/>
                      <a:pt x="2312" y="107"/>
                    </a:cubicBezTo>
                    <a:cubicBezTo>
                      <a:pt x="2309" y="110"/>
                      <a:pt x="2309" y="110"/>
                      <a:pt x="2309" y="110"/>
                    </a:cubicBezTo>
                    <a:cubicBezTo>
                      <a:pt x="2310" y="114"/>
                      <a:pt x="2310" y="114"/>
                      <a:pt x="2310" y="114"/>
                    </a:cubicBezTo>
                    <a:cubicBezTo>
                      <a:pt x="2315" y="113"/>
                      <a:pt x="2315" y="113"/>
                      <a:pt x="2315" y="113"/>
                    </a:cubicBezTo>
                    <a:cubicBezTo>
                      <a:pt x="2319" y="110"/>
                      <a:pt x="2319" y="110"/>
                      <a:pt x="2319" y="110"/>
                    </a:cubicBezTo>
                    <a:cubicBezTo>
                      <a:pt x="2322" y="113"/>
                      <a:pt x="2322" y="113"/>
                      <a:pt x="2322" y="113"/>
                    </a:cubicBezTo>
                    <a:cubicBezTo>
                      <a:pt x="2322" y="117"/>
                      <a:pt x="2322" y="117"/>
                      <a:pt x="2322" y="117"/>
                    </a:cubicBezTo>
                    <a:cubicBezTo>
                      <a:pt x="2325" y="124"/>
                      <a:pt x="2325" y="124"/>
                      <a:pt x="2325" y="124"/>
                    </a:cubicBezTo>
                    <a:cubicBezTo>
                      <a:pt x="2325" y="126"/>
                      <a:pt x="2325" y="126"/>
                      <a:pt x="2325" y="126"/>
                    </a:cubicBezTo>
                    <a:cubicBezTo>
                      <a:pt x="2322" y="122"/>
                      <a:pt x="2322" y="122"/>
                      <a:pt x="2322" y="122"/>
                    </a:cubicBezTo>
                    <a:cubicBezTo>
                      <a:pt x="2320" y="116"/>
                      <a:pt x="2320" y="116"/>
                      <a:pt x="2320" y="116"/>
                    </a:cubicBezTo>
                    <a:cubicBezTo>
                      <a:pt x="2317" y="115"/>
                      <a:pt x="2317" y="115"/>
                      <a:pt x="2317" y="115"/>
                    </a:cubicBezTo>
                    <a:cubicBezTo>
                      <a:pt x="2315" y="119"/>
                      <a:pt x="2315" y="119"/>
                      <a:pt x="2315" y="119"/>
                    </a:cubicBezTo>
                    <a:cubicBezTo>
                      <a:pt x="2316" y="123"/>
                      <a:pt x="2316" y="123"/>
                      <a:pt x="2316" y="123"/>
                    </a:cubicBezTo>
                    <a:cubicBezTo>
                      <a:pt x="2318" y="124"/>
                      <a:pt x="2318" y="124"/>
                      <a:pt x="2318" y="124"/>
                    </a:cubicBezTo>
                    <a:cubicBezTo>
                      <a:pt x="2317" y="126"/>
                      <a:pt x="2317" y="126"/>
                      <a:pt x="2317" y="126"/>
                    </a:cubicBezTo>
                    <a:cubicBezTo>
                      <a:pt x="2314" y="125"/>
                      <a:pt x="2314" y="125"/>
                      <a:pt x="2314" y="125"/>
                    </a:cubicBezTo>
                    <a:cubicBezTo>
                      <a:pt x="2311" y="119"/>
                      <a:pt x="2311" y="119"/>
                      <a:pt x="2311" y="119"/>
                    </a:cubicBezTo>
                    <a:cubicBezTo>
                      <a:pt x="2306" y="118"/>
                      <a:pt x="2306" y="118"/>
                      <a:pt x="2306" y="118"/>
                    </a:cubicBezTo>
                    <a:cubicBezTo>
                      <a:pt x="2303" y="122"/>
                      <a:pt x="2303" y="122"/>
                      <a:pt x="2303" y="122"/>
                    </a:cubicBezTo>
                    <a:cubicBezTo>
                      <a:pt x="2300" y="120"/>
                      <a:pt x="2300" y="120"/>
                      <a:pt x="2300" y="120"/>
                    </a:cubicBezTo>
                    <a:cubicBezTo>
                      <a:pt x="2299" y="116"/>
                      <a:pt x="2299" y="116"/>
                      <a:pt x="2299" y="116"/>
                    </a:cubicBezTo>
                    <a:cubicBezTo>
                      <a:pt x="2301" y="114"/>
                      <a:pt x="2301" y="114"/>
                      <a:pt x="2301" y="114"/>
                    </a:cubicBezTo>
                    <a:cubicBezTo>
                      <a:pt x="2298" y="109"/>
                      <a:pt x="2298" y="109"/>
                      <a:pt x="2298" y="109"/>
                    </a:cubicBezTo>
                    <a:cubicBezTo>
                      <a:pt x="2295" y="105"/>
                      <a:pt x="2295" y="105"/>
                      <a:pt x="2295" y="105"/>
                    </a:cubicBezTo>
                    <a:cubicBezTo>
                      <a:pt x="2294" y="101"/>
                      <a:pt x="2294" y="101"/>
                      <a:pt x="2294" y="101"/>
                    </a:cubicBezTo>
                    <a:cubicBezTo>
                      <a:pt x="2288" y="98"/>
                      <a:pt x="2288" y="98"/>
                      <a:pt x="2288" y="98"/>
                    </a:cubicBezTo>
                    <a:cubicBezTo>
                      <a:pt x="2282" y="86"/>
                      <a:pt x="2282" y="86"/>
                      <a:pt x="2282" y="86"/>
                    </a:cubicBezTo>
                    <a:cubicBezTo>
                      <a:pt x="2278" y="81"/>
                      <a:pt x="2278" y="81"/>
                      <a:pt x="2278" y="81"/>
                    </a:cubicBezTo>
                    <a:cubicBezTo>
                      <a:pt x="2279" y="79"/>
                      <a:pt x="2279" y="79"/>
                      <a:pt x="2279" y="79"/>
                    </a:cubicBezTo>
                    <a:cubicBezTo>
                      <a:pt x="2276" y="76"/>
                      <a:pt x="2276" y="76"/>
                      <a:pt x="2276" y="76"/>
                    </a:cubicBezTo>
                    <a:cubicBezTo>
                      <a:pt x="2273" y="75"/>
                      <a:pt x="2273" y="75"/>
                      <a:pt x="2273" y="75"/>
                    </a:cubicBezTo>
                    <a:cubicBezTo>
                      <a:pt x="2274" y="77"/>
                      <a:pt x="2274" y="77"/>
                      <a:pt x="2274" y="77"/>
                    </a:cubicBezTo>
                    <a:cubicBezTo>
                      <a:pt x="2273" y="81"/>
                      <a:pt x="2273" y="81"/>
                      <a:pt x="2273" y="81"/>
                    </a:cubicBezTo>
                    <a:cubicBezTo>
                      <a:pt x="2272" y="79"/>
                      <a:pt x="2272" y="79"/>
                      <a:pt x="2272" y="79"/>
                    </a:cubicBezTo>
                    <a:cubicBezTo>
                      <a:pt x="2270" y="75"/>
                      <a:pt x="2270" y="75"/>
                      <a:pt x="2270" y="75"/>
                    </a:cubicBezTo>
                    <a:cubicBezTo>
                      <a:pt x="2263" y="70"/>
                      <a:pt x="2263" y="70"/>
                      <a:pt x="2263" y="70"/>
                    </a:cubicBezTo>
                    <a:cubicBezTo>
                      <a:pt x="2259" y="69"/>
                      <a:pt x="2259" y="69"/>
                      <a:pt x="2259" y="69"/>
                    </a:cubicBezTo>
                    <a:cubicBezTo>
                      <a:pt x="2255" y="70"/>
                      <a:pt x="2255" y="70"/>
                      <a:pt x="2255" y="70"/>
                    </a:cubicBezTo>
                    <a:cubicBezTo>
                      <a:pt x="2256" y="73"/>
                      <a:pt x="2256" y="73"/>
                      <a:pt x="2256" y="73"/>
                    </a:cubicBezTo>
                    <a:cubicBezTo>
                      <a:pt x="2259" y="75"/>
                      <a:pt x="2259" y="75"/>
                      <a:pt x="2259" y="75"/>
                    </a:cubicBezTo>
                    <a:cubicBezTo>
                      <a:pt x="2266" y="78"/>
                      <a:pt x="2266" y="78"/>
                      <a:pt x="2266" y="78"/>
                    </a:cubicBezTo>
                    <a:cubicBezTo>
                      <a:pt x="2261" y="81"/>
                      <a:pt x="2261" y="81"/>
                      <a:pt x="2261" y="81"/>
                    </a:cubicBezTo>
                    <a:cubicBezTo>
                      <a:pt x="2254" y="77"/>
                      <a:pt x="2254" y="77"/>
                      <a:pt x="2254" y="77"/>
                    </a:cubicBezTo>
                    <a:cubicBezTo>
                      <a:pt x="2251" y="73"/>
                      <a:pt x="2251" y="73"/>
                      <a:pt x="2251" y="73"/>
                    </a:cubicBezTo>
                    <a:cubicBezTo>
                      <a:pt x="2252" y="70"/>
                      <a:pt x="2252" y="70"/>
                      <a:pt x="2252" y="70"/>
                    </a:cubicBezTo>
                    <a:cubicBezTo>
                      <a:pt x="2250" y="69"/>
                      <a:pt x="2250" y="69"/>
                      <a:pt x="2250" y="69"/>
                    </a:cubicBezTo>
                    <a:cubicBezTo>
                      <a:pt x="2244" y="69"/>
                      <a:pt x="2244" y="69"/>
                      <a:pt x="2244" y="69"/>
                    </a:cubicBezTo>
                    <a:cubicBezTo>
                      <a:pt x="2246" y="70"/>
                      <a:pt x="2246" y="70"/>
                      <a:pt x="2246" y="70"/>
                    </a:cubicBezTo>
                    <a:cubicBezTo>
                      <a:pt x="2246" y="72"/>
                      <a:pt x="2246" y="72"/>
                      <a:pt x="2246" y="72"/>
                    </a:cubicBezTo>
                    <a:cubicBezTo>
                      <a:pt x="2241" y="74"/>
                      <a:pt x="2241" y="74"/>
                      <a:pt x="2241" y="74"/>
                    </a:cubicBezTo>
                    <a:cubicBezTo>
                      <a:pt x="2238" y="70"/>
                      <a:pt x="2238" y="70"/>
                      <a:pt x="2238" y="70"/>
                    </a:cubicBezTo>
                    <a:cubicBezTo>
                      <a:pt x="2239" y="68"/>
                      <a:pt x="2239" y="68"/>
                      <a:pt x="2239" y="68"/>
                    </a:cubicBezTo>
                    <a:cubicBezTo>
                      <a:pt x="2234" y="66"/>
                      <a:pt x="2234" y="66"/>
                      <a:pt x="2234" y="66"/>
                    </a:cubicBezTo>
                    <a:cubicBezTo>
                      <a:pt x="2232" y="67"/>
                      <a:pt x="2232" y="67"/>
                      <a:pt x="2232" y="67"/>
                    </a:cubicBezTo>
                    <a:cubicBezTo>
                      <a:pt x="2233" y="71"/>
                      <a:pt x="2233" y="71"/>
                      <a:pt x="2233" y="71"/>
                    </a:cubicBezTo>
                    <a:cubicBezTo>
                      <a:pt x="2230" y="70"/>
                      <a:pt x="2230" y="70"/>
                      <a:pt x="2230" y="70"/>
                    </a:cubicBezTo>
                    <a:cubicBezTo>
                      <a:pt x="2228" y="66"/>
                      <a:pt x="2228" y="66"/>
                      <a:pt x="2228" y="66"/>
                    </a:cubicBezTo>
                    <a:cubicBezTo>
                      <a:pt x="2223" y="66"/>
                      <a:pt x="2223" y="66"/>
                      <a:pt x="2223" y="66"/>
                    </a:cubicBezTo>
                    <a:cubicBezTo>
                      <a:pt x="2225" y="70"/>
                      <a:pt x="2225" y="70"/>
                      <a:pt x="2225" y="70"/>
                    </a:cubicBezTo>
                    <a:cubicBezTo>
                      <a:pt x="2209" y="66"/>
                      <a:pt x="2209" y="66"/>
                      <a:pt x="2209" y="66"/>
                    </a:cubicBezTo>
                    <a:cubicBezTo>
                      <a:pt x="2205" y="68"/>
                      <a:pt x="2205" y="68"/>
                      <a:pt x="2205" y="68"/>
                    </a:cubicBezTo>
                    <a:cubicBezTo>
                      <a:pt x="2199" y="66"/>
                      <a:pt x="2199" y="66"/>
                      <a:pt x="2199" y="66"/>
                    </a:cubicBezTo>
                    <a:cubicBezTo>
                      <a:pt x="2199" y="63"/>
                      <a:pt x="2199" y="63"/>
                      <a:pt x="2199" y="63"/>
                    </a:cubicBezTo>
                    <a:cubicBezTo>
                      <a:pt x="2193" y="61"/>
                      <a:pt x="2193" y="61"/>
                      <a:pt x="2193" y="61"/>
                    </a:cubicBezTo>
                    <a:cubicBezTo>
                      <a:pt x="2193" y="62"/>
                      <a:pt x="2193" y="62"/>
                      <a:pt x="2193" y="62"/>
                    </a:cubicBezTo>
                    <a:cubicBezTo>
                      <a:pt x="2193" y="65"/>
                      <a:pt x="2193" y="65"/>
                      <a:pt x="2193" y="65"/>
                    </a:cubicBezTo>
                    <a:cubicBezTo>
                      <a:pt x="2191" y="63"/>
                      <a:pt x="2191" y="63"/>
                      <a:pt x="2191" y="63"/>
                    </a:cubicBezTo>
                    <a:cubicBezTo>
                      <a:pt x="2187" y="62"/>
                      <a:pt x="2187" y="62"/>
                      <a:pt x="2187" y="62"/>
                    </a:cubicBezTo>
                    <a:cubicBezTo>
                      <a:pt x="2184" y="59"/>
                      <a:pt x="2184" y="59"/>
                      <a:pt x="2184" y="59"/>
                    </a:cubicBezTo>
                    <a:cubicBezTo>
                      <a:pt x="2182" y="60"/>
                      <a:pt x="2182" y="60"/>
                      <a:pt x="2182" y="60"/>
                    </a:cubicBezTo>
                    <a:cubicBezTo>
                      <a:pt x="2183" y="64"/>
                      <a:pt x="2183" y="64"/>
                      <a:pt x="2183" y="64"/>
                    </a:cubicBezTo>
                    <a:cubicBezTo>
                      <a:pt x="2178" y="63"/>
                      <a:pt x="2178" y="63"/>
                      <a:pt x="2178" y="63"/>
                    </a:cubicBezTo>
                    <a:cubicBezTo>
                      <a:pt x="2173" y="64"/>
                      <a:pt x="2173" y="64"/>
                      <a:pt x="2173" y="64"/>
                    </a:cubicBezTo>
                    <a:cubicBezTo>
                      <a:pt x="2172" y="67"/>
                      <a:pt x="2172" y="67"/>
                      <a:pt x="2172" y="67"/>
                    </a:cubicBezTo>
                    <a:cubicBezTo>
                      <a:pt x="2166" y="67"/>
                      <a:pt x="2166" y="67"/>
                      <a:pt x="2166" y="67"/>
                    </a:cubicBezTo>
                    <a:cubicBezTo>
                      <a:pt x="2155" y="62"/>
                      <a:pt x="2155" y="62"/>
                      <a:pt x="2155" y="62"/>
                    </a:cubicBezTo>
                    <a:cubicBezTo>
                      <a:pt x="2156" y="61"/>
                      <a:pt x="2156" y="61"/>
                      <a:pt x="2156" y="61"/>
                    </a:cubicBezTo>
                    <a:cubicBezTo>
                      <a:pt x="2162" y="63"/>
                      <a:pt x="2162" y="63"/>
                      <a:pt x="2162" y="63"/>
                    </a:cubicBezTo>
                    <a:cubicBezTo>
                      <a:pt x="2165" y="65"/>
                      <a:pt x="2165" y="65"/>
                      <a:pt x="2165" y="65"/>
                    </a:cubicBezTo>
                    <a:cubicBezTo>
                      <a:pt x="2166" y="63"/>
                      <a:pt x="2166" y="63"/>
                      <a:pt x="2166" y="63"/>
                    </a:cubicBezTo>
                    <a:cubicBezTo>
                      <a:pt x="2155" y="55"/>
                      <a:pt x="2155" y="55"/>
                      <a:pt x="2155" y="55"/>
                    </a:cubicBezTo>
                    <a:cubicBezTo>
                      <a:pt x="2143" y="53"/>
                      <a:pt x="2143" y="53"/>
                      <a:pt x="2143" y="53"/>
                    </a:cubicBezTo>
                    <a:cubicBezTo>
                      <a:pt x="2137" y="55"/>
                      <a:pt x="2137" y="55"/>
                      <a:pt x="2137" y="55"/>
                    </a:cubicBezTo>
                    <a:cubicBezTo>
                      <a:pt x="2136" y="53"/>
                      <a:pt x="2136" y="53"/>
                      <a:pt x="2136" y="53"/>
                    </a:cubicBezTo>
                    <a:cubicBezTo>
                      <a:pt x="2138" y="51"/>
                      <a:pt x="2138" y="51"/>
                      <a:pt x="2138" y="51"/>
                    </a:cubicBezTo>
                    <a:cubicBezTo>
                      <a:pt x="2135" y="48"/>
                      <a:pt x="2135" y="48"/>
                      <a:pt x="2135" y="48"/>
                    </a:cubicBezTo>
                    <a:cubicBezTo>
                      <a:pt x="2131" y="50"/>
                      <a:pt x="2131" y="50"/>
                      <a:pt x="2131" y="50"/>
                    </a:cubicBezTo>
                    <a:cubicBezTo>
                      <a:pt x="2132" y="51"/>
                      <a:pt x="2132" y="51"/>
                      <a:pt x="2132" y="51"/>
                    </a:cubicBezTo>
                    <a:cubicBezTo>
                      <a:pt x="2130" y="52"/>
                      <a:pt x="2130" y="52"/>
                      <a:pt x="2130" y="52"/>
                    </a:cubicBezTo>
                    <a:cubicBezTo>
                      <a:pt x="2125" y="50"/>
                      <a:pt x="2125" y="50"/>
                      <a:pt x="2125" y="50"/>
                    </a:cubicBezTo>
                    <a:cubicBezTo>
                      <a:pt x="2114" y="45"/>
                      <a:pt x="2114" y="45"/>
                      <a:pt x="2114" y="45"/>
                    </a:cubicBezTo>
                    <a:cubicBezTo>
                      <a:pt x="2108" y="46"/>
                      <a:pt x="2108" y="46"/>
                      <a:pt x="2108" y="46"/>
                    </a:cubicBezTo>
                    <a:cubicBezTo>
                      <a:pt x="2106" y="49"/>
                      <a:pt x="2106" y="49"/>
                      <a:pt x="2106" y="49"/>
                    </a:cubicBezTo>
                    <a:cubicBezTo>
                      <a:pt x="2104" y="48"/>
                      <a:pt x="2104" y="48"/>
                      <a:pt x="2104" y="48"/>
                    </a:cubicBezTo>
                    <a:cubicBezTo>
                      <a:pt x="2102" y="45"/>
                      <a:pt x="2102" y="45"/>
                      <a:pt x="2102" y="45"/>
                    </a:cubicBezTo>
                    <a:cubicBezTo>
                      <a:pt x="2098" y="47"/>
                      <a:pt x="2098" y="47"/>
                      <a:pt x="2098" y="47"/>
                    </a:cubicBezTo>
                    <a:cubicBezTo>
                      <a:pt x="2092" y="47"/>
                      <a:pt x="2092" y="47"/>
                      <a:pt x="2092" y="47"/>
                    </a:cubicBezTo>
                    <a:cubicBezTo>
                      <a:pt x="2088" y="44"/>
                      <a:pt x="2088" y="44"/>
                      <a:pt x="2088" y="44"/>
                    </a:cubicBezTo>
                    <a:cubicBezTo>
                      <a:pt x="2086" y="44"/>
                      <a:pt x="2086" y="44"/>
                      <a:pt x="2086" y="44"/>
                    </a:cubicBezTo>
                    <a:cubicBezTo>
                      <a:pt x="2081" y="45"/>
                      <a:pt x="2081" y="45"/>
                      <a:pt x="2081" y="45"/>
                    </a:cubicBezTo>
                    <a:cubicBezTo>
                      <a:pt x="2079" y="44"/>
                      <a:pt x="2079" y="44"/>
                      <a:pt x="2079" y="44"/>
                    </a:cubicBezTo>
                    <a:cubicBezTo>
                      <a:pt x="2077" y="47"/>
                      <a:pt x="2077" y="47"/>
                      <a:pt x="2077" y="47"/>
                    </a:cubicBezTo>
                    <a:cubicBezTo>
                      <a:pt x="2076" y="51"/>
                      <a:pt x="2076" y="51"/>
                      <a:pt x="2076" y="51"/>
                    </a:cubicBezTo>
                    <a:cubicBezTo>
                      <a:pt x="2074" y="47"/>
                      <a:pt x="2074" y="47"/>
                      <a:pt x="2074" y="47"/>
                    </a:cubicBezTo>
                    <a:cubicBezTo>
                      <a:pt x="2060" y="51"/>
                      <a:pt x="2060" y="51"/>
                      <a:pt x="2060" y="51"/>
                    </a:cubicBezTo>
                    <a:cubicBezTo>
                      <a:pt x="2060" y="56"/>
                      <a:pt x="2060" y="56"/>
                      <a:pt x="2060" y="56"/>
                    </a:cubicBezTo>
                    <a:cubicBezTo>
                      <a:pt x="2056" y="54"/>
                      <a:pt x="2056" y="54"/>
                      <a:pt x="2056" y="54"/>
                    </a:cubicBezTo>
                    <a:cubicBezTo>
                      <a:pt x="2054" y="59"/>
                      <a:pt x="2054" y="59"/>
                      <a:pt x="2054" y="59"/>
                    </a:cubicBezTo>
                    <a:cubicBezTo>
                      <a:pt x="2053" y="59"/>
                      <a:pt x="2053" y="59"/>
                      <a:pt x="2053" y="59"/>
                    </a:cubicBezTo>
                    <a:cubicBezTo>
                      <a:pt x="2051" y="56"/>
                      <a:pt x="2051" y="56"/>
                      <a:pt x="2051" y="56"/>
                    </a:cubicBezTo>
                    <a:cubicBezTo>
                      <a:pt x="2046" y="57"/>
                      <a:pt x="2046" y="57"/>
                      <a:pt x="2046" y="57"/>
                    </a:cubicBezTo>
                    <a:cubicBezTo>
                      <a:pt x="2046" y="61"/>
                      <a:pt x="2046" y="61"/>
                      <a:pt x="2046" y="61"/>
                    </a:cubicBezTo>
                    <a:cubicBezTo>
                      <a:pt x="2044" y="61"/>
                      <a:pt x="2044" y="61"/>
                      <a:pt x="2044" y="61"/>
                    </a:cubicBezTo>
                    <a:cubicBezTo>
                      <a:pt x="2041" y="62"/>
                      <a:pt x="2041" y="62"/>
                      <a:pt x="2041" y="62"/>
                    </a:cubicBezTo>
                    <a:cubicBezTo>
                      <a:pt x="2036" y="59"/>
                      <a:pt x="2036" y="59"/>
                      <a:pt x="2036" y="59"/>
                    </a:cubicBezTo>
                    <a:cubicBezTo>
                      <a:pt x="2032" y="60"/>
                      <a:pt x="2032" y="60"/>
                      <a:pt x="2032" y="60"/>
                    </a:cubicBezTo>
                    <a:cubicBezTo>
                      <a:pt x="2031" y="64"/>
                      <a:pt x="2031" y="64"/>
                      <a:pt x="2031" y="64"/>
                    </a:cubicBezTo>
                    <a:cubicBezTo>
                      <a:pt x="2023" y="63"/>
                      <a:pt x="2023" y="63"/>
                      <a:pt x="2023" y="63"/>
                    </a:cubicBezTo>
                    <a:cubicBezTo>
                      <a:pt x="2013" y="65"/>
                      <a:pt x="2013" y="65"/>
                      <a:pt x="2013" y="65"/>
                    </a:cubicBezTo>
                    <a:cubicBezTo>
                      <a:pt x="2011" y="63"/>
                      <a:pt x="2011" y="63"/>
                      <a:pt x="2011" y="63"/>
                    </a:cubicBezTo>
                    <a:cubicBezTo>
                      <a:pt x="2003" y="64"/>
                      <a:pt x="2003" y="64"/>
                      <a:pt x="2003" y="64"/>
                    </a:cubicBezTo>
                    <a:cubicBezTo>
                      <a:pt x="2002" y="66"/>
                      <a:pt x="2002" y="66"/>
                      <a:pt x="2002" y="66"/>
                    </a:cubicBezTo>
                    <a:cubicBezTo>
                      <a:pt x="2007" y="70"/>
                      <a:pt x="2007" y="70"/>
                      <a:pt x="2007" y="70"/>
                    </a:cubicBezTo>
                    <a:cubicBezTo>
                      <a:pt x="2009" y="77"/>
                      <a:pt x="2009" y="77"/>
                      <a:pt x="2009" y="77"/>
                    </a:cubicBezTo>
                    <a:cubicBezTo>
                      <a:pt x="2011" y="79"/>
                      <a:pt x="2011" y="79"/>
                      <a:pt x="2011" y="79"/>
                    </a:cubicBezTo>
                    <a:cubicBezTo>
                      <a:pt x="2013" y="84"/>
                      <a:pt x="2013" y="84"/>
                      <a:pt x="2013" y="84"/>
                    </a:cubicBezTo>
                    <a:cubicBezTo>
                      <a:pt x="2015" y="90"/>
                      <a:pt x="2015" y="90"/>
                      <a:pt x="2015" y="90"/>
                    </a:cubicBezTo>
                    <a:cubicBezTo>
                      <a:pt x="2014" y="93"/>
                      <a:pt x="2014" y="93"/>
                      <a:pt x="2014" y="93"/>
                    </a:cubicBezTo>
                    <a:cubicBezTo>
                      <a:pt x="2014" y="98"/>
                      <a:pt x="2014" y="98"/>
                      <a:pt x="2014" y="98"/>
                    </a:cubicBezTo>
                    <a:cubicBezTo>
                      <a:pt x="2016" y="99"/>
                      <a:pt x="2016" y="99"/>
                      <a:pt x="2016" y="99"/>
                    </a:cubicBezTo>
                    <a:cubicBezTo>
                      <a:pt x="2019" y="95"/>
                      <a:pt x="2019" y="95"/>
                      <a:pt x="2019" y="95"/>
                    </a:cubicBezTo>
                    <a:cubicBezTo>
                      <a:pt x="2026" y="99"/>
                      <a:pt x="2026" y="99"/>
                      <a:pt x="2026" y="99"/>
                    </a:cubicBezTo>
                    <a:cubicBezTo>
                      <a:pt x="2027" y="102"/>
                      <a:pt x="2027" y="102"/>
                      <a:pt x="2027" y="102"/>
                    </a:cubicBezTo>
                    <a:cubicBezTo>
                      <a:pt x="2030" y="103"/>
                      <a:pt x="2030" y="103"/>
                      <a:pt x="2030" y="103"/>
                    </a:cubicBezTo>
                    <a:cubicBezTo>
                      <a:pt x="2037" y="111"/>
                      <a:pt x="2037" y="111"/>
                      <a:pt x="2037" y="111"/>
                    </a:cubicBezTo>
                    <a:cubicBezTo>
                      <a:pt x="2038" y="118"/>
                      <a:pt x="2038" y="118"/>
                      <a:pt x="2038" y="118"/>
                    </a:cubicBezTo>
                    <a:cubicBezTo>
                      <a:pt x="2043" y="120"/>
                      <a:pt x="2043" y="120"/>
                      <a:pt x="2043" y="120"/>
                    </a:cubicBezTo>
                    <a:cubicBezTo>
                      <a:pt x="2047" y="125"/>
                      <a:pt x="2047" y="125"/>
                      <a:pt x="2047" y="125"/>
                    </a:cubicBezTo>
                    <a:cubicBezTo>
                      <a:pt x="2046" y="128"/>
                      <a:pt x="2046" y="128"/>
                      <a:pt x="2046" y="128"/>
                    </a:cubicBezTo>
                    <a:cubicBezTo>
                      <a:pt x="2047" y="131"/>
                      <a:pt x="2047" y="131"/>
                      <a:pt x="2047" y="131"/>
                    </a:cubicBezTo>
                    <a:cubicBezTo>
                      <a:pt x="2046" y="133"/>
                      <a:pt x="2046" y="133"/>
                      <a:pt x="2046" y="133"/>
                    </a:cubicBezTo>
                    <a:cubicBezTo>
                      <a:pt x="2048" y="137"/>
                      <a:pt x="2048" y="137"/>
                      <a:pt x="2048" y="137"/>
                    </a:cubicBezTo>
                    <a:cubicBezTo>
                      <a:pt x="2047" y="139"/>
                      <a:pt x="2047" y="139"/>
                      <a:pt x="2047" y="139"/>
                    </a:cubicBezTo>
                    <a:cubicBezTo>
                      <a:pt x="2044" y="138"/>
                      <a:pt x="2044" y="138"/>
                      <a:pt x="2044" y="138"/>
                    </a:cubicBezTo>
                    <a:cubicBezTo>
                      <a:pt x="2040" y="141"/>
                      <a:pt x="2040" y="141"/>
                      <a:pt x="2040" y="141"/>
                    </a:cubicBezTo>
                    <a:cubicBezTo>
                      <a:pt x="2041" y="144"/>
                      <a:pt x="2041" y="144"/>
                      <a:pt x="2041" y="144"/>
                    </a:cubicBezTo>
                    <a:cubicBezTo>
                      <a:pt x="2036" y="145"/>
                      <a:pt x="2036" y="145"/>
                      <a:pt x="2036" y="145"/>
                    </a:cubicBezTo>
                    <a:cubicBezTo>
                      <a:pt x="2033" y="148"/>
                      <a:pt x="2033" y="148"/>
                      <a:pt x="2033" y="148"/>
                    </a:cubicBezTo>
                    <a:cubicBezTo>
                      <a:pt x="2027" y="147"/>
                      <a:pt x="2027" y="147"/>
                      <a:pt x="2027" y="147"/>
                    </a:cubicBezTo>
                    <a:cubicBezTo>
                      <a:pt x="2025" y="144"/>
                      <a:pt x="2025" y="144"/>
                      <a:pt x="2025" y="144"/>
                    </a:cubicBezTo>
                    <a:cubicBezTo>
                      <a:pt x="2025" y="139"/>
                      <a:pt x="2025" y="139"/>
                      <a:pt x="2025" y="139"/>
                    </a:cubicBezTo>
                    <a:cubicBezTo>
                      <a:pt x="2019" y="129"/>
                      <a:pt x="2019" y="129"/>
                      <a:pt x="2019" y="129"/>
                    </a:cubicBezTo>
                    <a:cubicBezTo>
                      <a:pt x="2016" y="129"/>
                      <a:pt x="2016" y="129"/>
                      <a:pt x="2016" y="129"/>
                    </a:cubicBezTo>
                    <a:cubicBezTo>
                      <a:pt x="2015" y="130"/>
                      <a:pt x="2015" y="130"/>
                      <a:pt x="2015" y="130"/>
                    </a:cubicBezTo>
                    <a:cubicBezTo>
                      <a:pt x="2006" y="128"/>
                      <a:pt x="2006" y="128"/>
                      <a:pt x="2006" y="128"/>
                    </a:cubicBezTo>
                    <a:cubicBezTo>
                      <a:pt x="2001" y="129"/>
                      <a:pt x="2001" y="129"/>
                      <a:pt x="2001" y="129"/>
                    </a:cubicBezTo>
                    <a:cubicBezTo>
                      <a:pt x="1998" y="127"/>
                      <a:pt x="1998" y="127"/>
                      <a:pt x="1998" y="127"/>
                    </a:cubicBezTo>
                    <a:cubicBezTo>
                      <a:pt x="1993" y="120"/>
                      <a:pt x="1993" y="120"/>
                      <a:pt x="1993" y="120"/>
                    </a:cubicBezTo>
                    <a:cubicBezTo>
                      <a:pt x="1993" y="114"/>
                      <a:pt x="1993" y="114"/>
                      <a:pt x="1993" y="114"/>
                    </a:cubicBezTo>
                    <a:cubicBezTo>
                      <a:pt x="1990" y="111"/>
                      <a:pt x="1990" y="111"/>
                      <a:pt x="1990" y="111"/>
                    </a:cubicBezTo>
                    <a:cubicBezTo>
                      <a:pt x="1985" y="111"/>
                      <a:pt x="1985" y="111"/>
                      <a:pt x="1985" y="111"/>
                    </a:cubicBezTo>
                    <a:cubicBezTo>
                      <a:pt x="1984" y="108"/>
                      <a:pt x="1984" y="108"/>
                      <a:pt x="1984" y="108"/>
                    </a:cubicBezTo>
                    <a:cubicBezTo>
                      <a:pt x="1982" y="103"/>
                      <a:pt x="1982" y="103"/>
                      <a:pt x="1982" y="103"/>
                    </a:cubicBezTo>
                    <a:cubicBezTo>
                      <a:pt x="1976" y="101"/>
                      <a:pt x="1976" y="101"/>
                      <a:pt x="1976" y="101"/>
                    </a:cubicBezTo>
                    <a:cubicBezTo>
                      <a:pt x="1975" y="103"/>
                      <a:pt x="1975" y="103"/>
                      <a:pt x="1975" y="103"/>
                    </a:cubicBezTo>
                    <a:cubicBezTo>
                      <a:pt x="1974" y="108"/>
                      <a:pt x="1974" y="108"/>
                      <a:pt x="1974" y="108"/>
                    </a:cubicBezTo>
                    <a:cubicBezTo>
                      <a:pt x="1974" y="114"/>
                      <a:pt x="1974" y="114"/>
                      <a:pt x="1974" y="114"/>
                    </a:cubicBezTo>
                    <a:cubicBezTo>
                      <a:pt x="1975" y="117"/>
                      <a:pt x="1975" y="117"/>
                      <a:pt x="1975" y="117"/>
                    </a:cubicBezTo>
                    <a:cubicBezTo>
                      <a:pt x="1971" y="124"/>
                      <a:pt x="1971" y="124"/>
                      <a:pt x="1971" y="124"/>
                    </a:cubicBezTo>
                    <a:cubicBezTo>
                      <a:pt x="1969" y="129"/>
                      <a:pt x="1969" y="129"/>
                      <a:pt x="1969" y="129"/>
                    </a:cubicBezTo>
                    <a:cubicBezTo>
                      <a:pt x="1967" y="126"/>
                      <a:pt x="1967" y="126"/>
                      <a:pt x="1967" y="126"/>
                    </a:cubicBezTo>
                    <a:cubicBezTo>
                      <a:pt x="1966" y="123"/>
                      <a:pt x="1966" y="123"/>
                      <a:pt x="1966" y="123"/>
                    </a:cubicBezTo>
                    <a:cubicBezTo>
                      <a:pt x="1964" y="124"/>
                      <a:pt x="1964" y="124"/>
                      <a:pt x="1964" y="124"/>
                    </a:cubicBezTo>
                    <a:cubicBezTo>
                      <a:pt x="1961" y="126"/>
                      <a:pt x="1961" y="126"/>
                      <a:pt x="1961" y="126"/>
                    </a:cubicBezTo>
                    <a:cubicBezTo>
                      <a:pt x="1953" y="126"/>
                      <a:pt x="1953" y="126"/>
                      <a:pt x="1953" y="126"/>
                    </a:cubicBezTo>
                    <a:cubicBezTo>
                      <a:pt x="1947" y="128"/>
                      <a:pt x="1947" y="128"/>
                      <a:pt x="1947" y="128"/>
                    </a:cubicBezTo>
                    <a:cubicBezTo>
                      <a:pt x="1944" y="127"/>
                      <a:pt x="1944" y="127"/>
                      <a:pt x="1944" y="127"/>
                    </a:cubicBezTo>
                    <a:cubicBezTo>
                      <a:pt x="1939" y="132"/>
                      <a:pt x="1939" y="132"/>
                      <a:pt x="1939" y="132"/>
                    </a:cubicBezTo>
                    <a:cubicBezTo>
                      <a:pt x="1934" y="133"/>
                      <a:pt x="1934" y="133"/>
                      <a:pt x="1934" y="133"/>
                    </a:cubicBezTo>
                    <a:cubicBezTo>
                      <a:pt x="1931" y="132"/>
                      <a:pt x="1931" y="132"/>
                      <a:pt x="1931" y="132"/>
                    </a:cubicBezTo>
                    <a:cubicBezTo>
                      <a:pt x="1927" y="128"/>
                      <a:pt x="1927" y="128"/>
                      <a:pt x="1927" y="128"/>
                    </a:cubicBezTo>
                    <a:cubicBezTo>
                      <a:pt x="1925" y="128"/>
                      <a:pt x="1925" y="128"/>
                      <a:pt x="1925" y="128"/>
                    </a:cubicBezTo>
                    <a:cubicBezTo>
                      <a:pt x="1924" y="129"/>
                      <a:pt x="1924" y="129"/>
                      <a:pt x="1924" y="129"/>
                    </a:cubicBezTo>
                    <a:cubicBezTo>
                      <a:pt x="1924" y="133"/>
                      <a:pt x="1924" y="133"/>
                      <a:pt x="1924" y="133"/>
                    </a:cubicBezTo>
                    <a:cubicBezTo>
                      <a:pt x="1918" y="136"/>
                      <a:pt x="1918" y="136"/>
                      <a:pt x="1918" y="136"/>
                    </a:cubicBezTo>
                    <a:cubicBezTo>
                      <a:pt x="1914" y="139"/>
                      <a:pt x="1914" y="139"/>
                      <a:pt x="1914" y="139"/>
                    </a:cubicBezTo>
                    <a:cubicBezTo>
                      <a:pt x="1907" y="140"/>
                      <a:pt x="1907" y="140"/>
                      <a:pt x="1907" y="140"/>
                    </a:cubicBezTo>
                    <a:cubicBezTo>
                      <a:pt x="1903" y="146"/>
                      <a:pt x="1903" y="146"/>
                      <a:pt x="1903" y="146"/>
                    </a:cubicBezTo>
                    <a:cubicBezTo>
                      <a:pt x="1903" y="154"/>
                      <a:pt x="1903" y="154"/>
                      <a:pt x="1903" y="154"/>
                    </a:cubicBezTo>
                    <a:cubicBezTo>
                      <a:pt x="1903" y="165"/>
                      <a:pt x="1903" y="165"/>
                      <a:pt x="1903" y="165"/>
                    </a:cubicBezTo>
                    <a:cubicBezTo>
                      <a:pt x="1909" y="176"/>
                      <a:pt x="1909" y="176"/>
                      <a:pt x="1909" y="176"/>
                    </a:cubicBezTo>
                    <a:cubicBezTo>
                      <a:pt x="1910" y="183"/>
                      <a:pt x="1910" y="183"/>
                      <a:pt x="1910" y="183"/>
                    </a:cubicBezTo>
                    <a:cubicBezTo>
                      <a:pt x="1905" y="174"/>
                      <a:pt x="1905" y="174"/>
                      <a:pt x="1905" y="174"/>
                    </a:cubicBezTo>
                    <a:cubicBezTo>
                      <a:pt x="1902" y="170"/>
                      <a:pt x="1902" y="170"/>
                      <a:pt x="1902" y="170"/>
                    </a:cubicBezTo>
                    <a:cubicBezTo>
                      <a:pt x="1899" y="170"/>
                      <a:pt x="1899" y="170"/>
                      <a:pt x="1899" y="170"/>
                    </a:cubicBezTo>
                    <a:cubicBezTo>
                      <a:pt x="1895" y="168"/>
                      <a:pt x="1895" y="168"/>
                      <a:pt x="1895" y="168"/>
                    </a:cubicBezTo>
                    <a:cubicBezTo>
                      <a:pt x="1895" y="172"/>
                      <a:pt x="1895" y="172"/>
                      <a:pt x="1895" y="172"/>
                    </a:cubicBezTo>
                    <a:cubicBezTo>
                      <a:pt x="1899" y="174"/>
                      <a:pt x="1899" y="174"/>
                      <a:pt x="1899" y="174"/>
                    </a:cubicBezTo>
                    <a:cubicBezTo>
                      <a:pt x="1901" y="181"/>
                      <a:pt x="1901" y="181"/>
                      <a:pt x="1901" y="181"/>
                    </a:cubicBezTo>
                    <a:cubicBezTo>
                      <a:pt x="1901" y="183"/>
                      <a:pt x="1901" y="183"/>
                      <a:pt x="1901" y="183"/>
                    </a:cubicBezTo>
                    <a:cubicBezTo>
                      <a:pt x="1896" y="175"/>
                      <a:pt x="1896" y="175"/>
                      <a:pt x="1896" y="175"/>
                    </a:cubicBezTo>
                    <a:cubicBezTo>
                      <a:pt x="1892" y="175"/>
                      <a:pt x="1892" y="175"/>
                      <a:pt x="1892" y="175"/>
                    </a:cubicBezTo>
                    <a:cubicBezTo>
                      <a:pt x="1891" y="167"/>
                      <a:pt x="1891" y="167"/>
                      <a:pt x="1891" y="167"/>
                    </a:cubicBezTo>
                    <a:cubicBezTo>
                      <a:pt x="1885" y="160"/>
                      <a:pt x="1885" y="160"/>
                      <a:pt x="1885" y="160"/>
                    </a:cubicBezTo>
                    <a:cubicBezTo>
                      <a:pt x="1882" y="154"/>
                      <a:pt x="1882" y="154"/>
                      <a:pt x="1882" y="154"/>
                    </a:cubicBezTo>
                    <a:cubicBezTo>
                      <a:pt x="1879" y="155"/>
                      <a:pt x="1879" y="155"/>
                      <a:pt x="1879" y="155"/>
                    </a:cubicBezTo>
                    <a:cubicBezTo>
                      <a:pt x="1881" y="162"/>
                      <a:pt x="1881" y="162"/>
                      <a:pt x="1881" y="162"/>
                    </a:cubicBezTo>
                    <a:cubicBezTo>
                      <a:pt x="1880" y="166"/>
                      <a:pt x="1880" y="166"/>
                      <a:pt x="1880" y="166"/>
                    </a:cubicBezTo>
                    <a:cubicBezTo>
                      <a:pt x="1878" y="161"/>
                      <a:pt x="1878" y="161"/>
                      <a:pt x="1878" y="161"/>
                    </a:cubicBezTo>
                    <a:cubicBezTo>
                      <a:pt x="1874" y="158"/>
                      <a:pt x="1874" y="158"/>
                      <a:pt x="1874" y="158"/>
                    </a:cubicBezTo>
                    <a:cubicBezTo>
                      <a:pt x="1869" y="159"/>
                      <a:pt x="1869" y="159"/>
                      <a:pt x="1869" y="159"/>
                    </a:cubicBezTo>
                    <a:cubicBezTo>
                      <a:pt x="1869" y="162"/>
                      <a:pt x="1869" y="162"/>
                      <a:pt x="1869" y="162"/>
                    </a:cubicBezTo>
                    <a:cubicBezTo>
                      <a:pt x="1867" y="159"/>
                      <a:pt x="1867" y="159"/>
                      <a:pt x="1867" y="159"/>
                    </a:cubicBezTo>
                    <a:cubicBezTo>
                      <a:pt x="1862" y="159"/>
                      <a:pt x="1862" y="159"/>
                      <a:pt x="1862" y="159"/>
                    </a:cubicBezTo>
                    <a:cubicBezTo>
                      <a:pt x="1857" y="165"/>
                      <a:pt x="1857" y="165"/>
                      <a:pt x="1857" y="165"/>
                    </a:cubicBezTo>
                    <a:cubicBezTo>
                      <a:pt x="1853" y="166"/>
                      <a:pt x="1853" y="166"/>
                      <a:pt x="1853" y="166"/>
                    </a:cubicBezTo>
                    <a:cubicBezTo>
                      <a:pt x="1856" y="162"/>
                      <a:pt x="1856" y="162"/>
                      <a:pt x="1856" y="162"/>
                    </a:cubicBezTo>
                    <a:cubicBezTo>
                      <a:pt x="1855" y="157"/>
                      <a:pt x="1855" y="157"/>
                      <a:pt x="1855" y="157"/>
                    </a:cubicBezTo>
                    <a:cubicBezTo>
                      <a:pt x="1852" y="149"/>
                      <a:pt x="1852" y="149"/>
                      <a:pt x="1852" y="149"/>
                    </a:cubicBezTo>
                    <a:cubicBezTo>
                      <a:pt x="1852" y="142"/>
                      <a:pt x="1852" y="142"/>
                      <a:pt x="1852" y="142"/>
                    </a:cubicBezTo>
                    <a:cubicBezTo>
                      <a:pt x="1850" y="140"/>
                      <a:pt x="1850" y="140"/>
                      <a:pt x="1850" y="140"/>
                    </a:cubicBezTo>
                    <a:cubicBezTo>
                      <a:pt x="1850" y="136"/>
                      <a:pt x="1850" y="136"/>
                      <a:pt x="1850" y="136"/>
                    </a:cubicBezTo>
                    <a:cubicBezTo>
                      <a:pt x="1847" y="128"/>
                      <a:pt x="1847" y="128"/>
                      <a:pt x="1847" y="128"/>
                    </a:cubicBezTo>
                    <a:cubicBezTo>
                      <a:pt x="1840" y="119"/>
                      <a:pt x="1840" y="119"/>
                      <a:pt x="1840" y="119"/>
                    </a:cubicBezTo>
                    <a:cubicBezTo>
                      <a:pt x="1832" y="115"/>
                      <a:pt x="1832" y="115"/>
                      <a:pt x="1832" y="115"/>
                    </a:cubicBezTo>
                    <a:cubicBezTo>
                      <a:pt x="1825" y="105"/>
                      <a:pt x="1825" y="105"/>
                      <a:pt x="1825" y="105"/>
                    </a:cubicBezTo>
                    <a:cubicBezTo>
                      <a:pt x="1807" y="98"/>
                      <a:pt x="1807" y="98"/>
                      <a:pt x="1807" y="98"/>
                    </a:cubicBezTo>
                    <a:cubicBezTo>
                      <a:pt x="1798" y="97"/>
                      <a:pt x="1798" y="97"/>
                      <a:pt x="1798" y="97"/>
                    </a:cubicBezTo>
                    <a:cubicBezTo>
                      <a:pt x="1793" y="98"/>
                      <a:pt x="1793" y="98"/>
                      <a:pt x="1793" y="98"/>
                    </a:cubicBezTo>
                    <a:cubicBezTo>
                      <a:pt x="1786" y="105"/>
                      <a:pt x="1786" y="105"/>
                      <a:pt x="1786" y="105"/>
                    </a:cubicBezTo>
                    <a:cubicBezTo>
                      <a:pt x="1785" y="106"/>
                      <a:pt x="1785" y="106"/>
                      <a:pt x="1785" y="106"/>
                    </a:cubicBezTo>
                    <a:cubicBezTo>
                      <a:pt x="1781" y="105"/>
                      <a:pt x="1781" y="105"/>
                      <a:pt x="1781" y="105"/>
                    </a:cubicBezTo>
                    <a:cubicBezTo>
                      <a:pt x="1774" y="108"/>
                      <a:pt x="1774" y="108"/>
                      <a:pt x="1774" y="108"/>
                    </a:cubicBezTo>
                    <a:cubicBezTo>
                      <a:pt x="1761" y="117"/>
                      <a:pt x="1761" y="117"/>
                      <a:pt x="1761" y="117"/>
                    </a:cubicBezTo>
                    <a:cubicBezTo>
                      <a:pt x="1756" y="118"/>
                      <a:pt x="1756" y="118"/>
                      <a:pt x="1756" y="118"/>
                    </a:cubicBezTo>
                    <a:cubicBezTo>
                      <a:pt x="1750" y="125"/>
                      <a:pt x="1750" y="125"/>
                      <a:pt x="1750" y="125"/>
                    </a:cubicBezTo>
                    <a:cubicBezTo>
                      <a:pt x="1746" y="127"/>
                      <a:pt x="1746" y="127"/>
                      <a:pt x="1746" y="127"/>
                    </a:cubicBezTo>
                    <a:cubicBezTo>
                      <a:pt x="1739" y="134"/>
                      <a:pt x="1739" y="134"/>
                      <a:pt x="1739" y="134"/>
                    </a:cubicBezTo>
                    <a:cubicBezTo>
                      <a:pt x="1735" y="136"/>
                      <a:pt x="1735" y="136"/>
                      <a:pt x="1735" y="136"/>
                    </a:cubicBezTo>
                    <a:cubicBezTo>
                      <a:pt x="1730" y="141"/>
                      <a:pt x="1730" y="141"/>
                      <a:pt x="1730" y="141"/>
                    </a:cubicBezTo>
                    <a:cubicBezTo>
                      <a:pt x="1724" y="143"/>
                      <a:pt x="1724" y="143"/>
                      <a:pt x="1724" y="143"/>
                    </a:cubicBezTo>
                    <a:cubicBezTo>
                      <a:pt x="1719" y="141"/>
                      <a:pt x="1719" y="141"/>
                      <a:pt x="1719" y="141"/>
                    </a:cubicBezTo>
                    <a:cubicBezTo>
                      <a:pt x="1712" y="143"/>
                      <a:pt x="1712" y="143"/>
                      <a:pt x="1712" y="143"/>
                    </a:cubicBezTo>
                    <a:cubicBezTo>
                      <a:pt x="1706" y="146"/>
                      <a:pt x="1706" y="146"/>
                      <a:pt x="1706" y="146"/>
                    </a:cubicBezTo>
                    <a:cubicBezTo>
                      <a:pt x="1710" y="141"/>
                      <a:pt x="1710" y="141"/>
                      <a:pt x="1710" y="141"/>
                    </a:cubicBezTo>
                    <a:cubicBezTo>
                      <a:pt x="1716" y="137"/>
                      <a:pt x="1716" y="137"/>
                      <a:pt x="1716" y="137"/>
                    </a:cubicBezTo>
                    <a:cubicBezTo>
                      <a:pt x="1717" y="133"/>
                      <a:pt x="1717" y="133"/>
                      <a:pt x="1717" y="133"/>
                    </a:cubicBezTo>
                    <a:cubicBezTo>
                      <a:pt x="1712" y="126"/>
                      <a:pt x="1712" y="126"/>
                      <a:pt x="1712" y="126"/>
                    </a:cubicBezTo>
                    <a:cubicBezTo>
                      <a:pt x="1703" y="123"/>
                      <a:pt x="1703" y="123"/>
                      <a:pt x="1703" y="123"/>
                    </a:cubicBezTo>
                    <a:cubicBezTo>
                      <a:pt x="1694" y="116"/>
                      <a:pt x="1694" y="116"/>
                      <a:pt x="1694" y="116"/>
                    </a:cubicBezTo>
                    <a:cubicBezTo>
                      <a:pt x="1691" y="114"/>
                      <a:pt x="1691" y="114"/>
                      <a:pt x="1691" y="114"/>
                    </a:cubicBezTo>
                    <a:cubicBezTo>
                      <a:pt x="1690" y="116"/>
                      <a:pt x="1690" y="116"/>
                      <a:pt x="1690" y="116"/>
                    </a:cubicBezTo>
                    <a:cubicBezTo>
                      <a:pt x="1686" y="125"/>
                      <a:pt x="1686" y="125"/>
                      <a:pt x="1686" y="125"/>
                    </a:cubicBezTo>
                    <a:cubicBezTo>
                      <a:pt x="1686" y="130"/>
                      <a:pt x="1686" y="130"/>
                      <a:pt x="1686" y="130"/>
                    </a:cubicBezTo>
                    <a:cubicBezTo>
                      <a:pt x="1685" y="127"/>
                      <a:pt x="1685" y="127"/>
                      <a:pt x="1685" y="127"/>
                    </a:cubicBezTo>
                    <a:cubicBezTo>
                      <a:pt x="1683" y="128"/>
                      <a:pt x="1683" y="128"/>
                      <a:pt x="1683" y="128"/>
                    </a:cubicBezTo>
                    <a:cubicBezTo>
                      <a:pt x="1681" y="133"/>
                      <a:pt x="1681" y="133"/>
                      <a:pt x="1681" y="133"/>
                    </a:cubicBezTo>
                    <a:cubicBezTo>
                      <a:pt x="1678" y="135"/>
                      <a:pt x="1678" y="135"/>
                      <a:pt x="1678" y="135"/>
                    </a:cubicBezTo>
                    <a:cubicBezTo>
                      <a:pt x="1677" y="133"/>
                      <a:pt x="1677" y="133"/>
                      <a:pt x="1677" y="133"/>
                    </a:cubicBezTo>
                    <a:cubicBezTo>
                      <a:pt x="1679" y="126"/>
                      <a:pt x="1679" y="126"/>
                      <a:pt x="1679" y="126"/>
                    </a:cubicBezTo>
                    <a:cubicBezTo>
                      <a:pt x="1680" y="123"/>
                      <a:pt x="1680" y="123"/>
                      <a:pt x="1680" y="123"/>
                    </a:cubicBezTo>
                    <a:cubicBezTo>
                      <a:pt x="1679" y="118"/>
                      <a:pt x="1679" y="118"/>
                      <a:pt x="1679" y="118"/>
                    </a:cubicBezTo>
                    <a:cubicBezTo>
                      <a:pt x="1674" y="115"/>
                      <a:pt x="1674" y="115"/>
                      <a:pt x="1674" y="115"/>
                    </a:cubicBezTo>
                    <a:cubicBezTo>
                      <a:pt x="1670" y="120"/>
                      <a:pt x="1670" y="120"/>
                      <a:pt x="1670" y="120"/>
                    </a:cubicBezTo>
                    <a:cubicBezTo>
                      <a:pt x="1671" y="123"/>
                      <a:pt x="1671" y="123"/>
                      <a:pt x="1671" y="123"/>
                    </a:cubicBezTo>
                    <a:cubicBezTo>
                      <a:pt x="1668" y="128"/>
                      <a:pt x="1668" y="128"/>
                      <a:pt x="1668" y="128"/>
                    </a:cubicBezTo>
                    <a:cubicBezTo>
                      <a:pt x="1666" y="125"/>
                      <a:pt x="1666" y="125"/>
                      <a:pt x="1666" y="125"/>
                    </a:cubicBezTo>
                    <a:cubicBezTo>
                      <a:pt x="1666" y="120"/>
                      <a:pt x="1666" y="120"/>
                      <a:pt x="1666" y="120"/>
                    </a:cubicBezTo>
                    <a:cubicBezTo>
                      <a:pt x="1663" y="115"/>
                      <a:pt x="1663" y="115"/>
                      <a:pt x="1663" y="115"/>
                    </a:cubicBezTo>
                    <a:cubicBezTo>
                      <a:pt x="1662" y="109"/>
                      <a:pt x="1662" y="109"/>
                      <a:pt x="1662" y="109"/>
                    </a:cubicBezTo>
                    <a:cubicBezTo>
                      <a:pt x="1658" y="113"/>
                      <a:pt x="1658" y="113"/>
                      <a:pt x="1658" y="113"/>
                    </a:cubicBezTo>
                    <a:cubicBezTo>
                      <a:pt x="1652" y="114"/>
                      <a:pt x="1652" y="114"/>
                      <a:pt x="1652" y="114"/>
                    </a:cubicBezTo>
                    <a:cubicBezTo>
                      <a:pt x="1648" y="117"/>
                      <a:pt x="1648" y="117"/>
                      <a:pt x="1648" y="117"/>
                    </a:cubicBezTo>
                    <a:cubicBezTo>
                      <a:pt x="1645" y="115"/>
                      <a:pt x="1645" y="115"/>
                      <a:pt x="1645" y="115"/>
                    </a:cubicBezTo>
                    <a:cubicBezTo>
                      <a:pt x="1648" y="112"/>
                      <a:pt x="1648" y="112"/>
                      <a:pt x="1648" y="112"/>
                    </a:cubicBezTo>
                    <a:cubicBezTo>
                      <a:pt x="1648" y="108"/>
                      <a:pt x="1648" y="108"/>
                      <a:pt x="1648" y="108"/>
                    </a:cubicBezTo>
                    <a:cubicBezTo>
                      <a:pt x="1648" y="104"/>
                      <a:pt x="1648" y="104"/>
                      <a:pt x="1648" y="104"/>
                    </a:cubicBezTo>
                    <a:cubicBezTo>
                      <a:pt x="1647" y="99"/>
                      <a:pt x="1647" y="99"/>
                      <a:pt x="1647" y="99"/>
                    </a:cubicBezTo>
                    <a:cubicBezTo>
                      <a:pt x="1647" y="98"/>
                      <a:pt x="1647" y="98"/>
                      <a:pt x="1647" y="98"/>
                    </a:cubicBezTo>
                    <a:cubicBezTo>
                      <a:pt x="1654" y="104"/>
                      <a:pt x="1654" y="104"/>
                      <a:pt x="1654" y="104"/>
                    </a:cubicBezTo>
                    <a:cubicBezTo>
                      <a:pt x="1657" y="101"/>
                      <a:pt x="1657" y="101"/>
                      <a:pt x="1657" y="101"/>
                    </a:cubicBezTo>
                    <a:cubicBezTo>
                      <a:pt x="1658" y="96"/>
                      <a:pt x="1658" y="96"/>
                      <a:pt x="1658" y="96"/>
                    </a:cubicBezTo>
                    <a:cubicBezTo>
                      <a:pt x="1651" y="87"/>
                      <a:pt x="1651" y="87"/>
                      <a:pt x="1651" y="87"/>
                    </a:cubicBezTo>
                    <a:cubicBezTo>
                      <a:pt x="1639" y="81"/>
                      <a:pt x="1639" y="81"/>
                      <a:pt x="1639" y="81"/>
                    </a:cubicBezTo>
                    <a:cubicBezTo>
                      <a:pt x="1630" y="80"/>
                      <a:pt x="1630" y="80"/>
                      <a:pt x="1630" y="80"/>
                    </a:cubicBezTo>
                    <a:cubicBezTo>
                      <a:pt x="1619" y="83"/>
                      <a:pt x="1619" y="83"/>
                      <a:pt x="1619" y="83"/>
                    </a:cubicBezTo>
                    <a:cubicBezTo>
                      <a:pt x="1609" y="86"/>
                      <a:pt x="1609" y="86"/>
                      <a:pt x="1609" y="86"/>
                    </a:cubicBezTo>
                    <a:cubicBezTo>
                      <a:pt x="1603" y="92"/>
                      <a:pt x="1603" y="92"/>
                      <a:pt x="1603" y="92"/>
                    </a:cubicBezTo>
                    <a:cubicBezTo>
                      <a:pt x="1604" y="114"/>
                      <a:pt x="1604" y="114"/>
                      <a:pt x="1604" y="114"/>
                    </a:cubicBezTo>
                    <a:cubicBezTo>
                      <a:pt x="1604" y="120"/>
                      <a:pt x="1604" y="120"/>
                      <a:pt x="1604" y="120"/>
                    </a:cubicBezTo>
                    <a:cubicBezTo>
                      <a:pt x="1605" y="124"/>
                      <a:pt x="1605" y="124"/>
                      <a:pt x="1605" y="124"/>
                    </a:cubicBezTo>
                    <a:cubicBezTo>
                      <a:pt x="1602" y="131"/>
                      <a:pt x="1602" y="131"/>
                      <a:pt x="1602" y="131"/>
                    </a:cubicBezTo>
                    <a:cubicBezTo>
                      <a:pt x="1602" y="137"/>
                      <a:pt x="1602" y="137"/>
                      <a:pt x="1602" y="137"/>
                    </a:cubicBezTo>
                    <a:cubicBezTo>
                      <a:pt x="1597" y="141"/>
                      <a:pt x="1597" y="141"/>
                      <a:pt x="1597" y="141"/>
                    </a:cubicBezTo>
                    <a:cubicBezTo>
                      <a:pt x="1594" y="141"/>
                      <a:pt x="1594" y="141"/>
                      <a:pt x="1594" y="141"/>
                    </a:cubicBezTo>
                    <a:cubicBezTo>
                      <a:pt x="1592" y="139"/>
                      <a:pt x="1592" y="139"/>
                      <a:pt x="1592" y="139"/>
                    </a:cubicBezTo>
                    <a:cubicBezTo>
                      <a:pt x="1593" y="136"/>
                      <a:pt x="1593" y="136"/>
                      <a:pt x="1593" y="136"/>
                    </a:cubicBezTo>
                    <a:cubicBezTo>
                      <a:pt x="1588" y="132"/>
                      <a:pt x="1588" y="132"/>
                      <a:pt x="1588" y="132"/>
                    </a:cubicBezTo>
                    <a:cubicBezTo>
                      <a:pt x="1591" y="130"/>
                      <a:pt x="1591" y="130"/>
                      <a:pt x="1591" y="130"/>
                    </a:cubicBezTo>
                    <a:cubicBezTo>
                      <a:pt x="1593" y="131"/>
                      <a:pt x="1593" y="131"/>
                      <a:pt x="1593" y="131"/>
                    </a:cubicBezTo>
                    <a:cubicBezTo>
                      <a:pt x="1596" y="124"/>
                      <a:pt x="1596" y="124"/>
                      <a:pt x="1596" y="124"/>
                    </a:cubicBezTo>
                    <a:cubicBezTo>
                      <a:pt x="1595" y="115"/>
                      <a:pt x="1595" y="115"/>
                      <a:pt x="1595" y="115"/>
                    </a:cubicBezTo>
                    <a:cubicBezTo>
                      <a:pt x="1591" y="114"/>
                      <a:pt x="1591" y="114"/>
                      <a:pt x="1591" y="114"/>
                    </a:cubicBezTo>
                    <a:cubicBezTo>
                      <a:pt x="1589" y="106"/>
                      <a:pt x="1589" y="106"/>
                      <a:pt x="1589" y="106"/>
                    </a:cubicBezTo>
                    <a:cubicBezTo>
                      <a:pt x="1591" y="107"/>
                      <a:pt x="1591" y="107"/>
                      <a:pt x="1591" y="107"/>
                    </a:cubicBezTo>
                    <a:cubicBezTo>
                      <a:pt x="1595" y="103"/>
                      <a:pt x="1595" y="103"/>
                      <a:pt x="1595" y="103"/>
                    </a:cubicBezTo>
                    <a:cubicBezTo>
                      <a:pt x="1595" y="108"/>
                      <a:pt x="1595" y="108"/>
                      <a:pt x="1595" y="108"/>
                    </a:cubicBezTo>
                    <a:cubicBezTo>
                      <a:pt x="1599" y="112"/>
                      <a:pt x="1599" y="112"/>
                      <a:pt x="1599" y="112"/>
                    </a:cubicBezTo>
                    <a:cubicBezTo>
                      <a:pt x="1601" y="119"/>
                      <a:pt x="1601" y="119"/>
                      <a:pt x="1601" y="119"/>
                    </a:cubicBezTo>
                    <a:cubicBezTo>
                      <a:pt x="1602" y="116"/>
                      <a:pt x="1602" y="116"/>
                      <a:pt x="1602" y="116"/>
                    </a:cubicBezTo>
                    <a:cubicBezTo>
                      <a:pt x="1601" y="105"/>
                      <a:pt x="1601" y="105"/>
                      <a:pt x="1601" y="105"/>
                    </a:cubicBezTo>
                    <a:cubicBezTo>
                      <a:pt x="1600" y="97"/>
                      <a:pt x="1600" y="97"/>
                      <a:pt x="1600" y="97"/>
                    </a:cubicBezTo>
                    <a:cubicBezTo>
                      <a:pt x="1587" y="103"/>
                      <a:pt x="1587" y="103"/>
                      <a:pt x="1587" y="103"/>
                    </a:cubicBezTo>
                    <a:cubicBezTo>
                      <a:pt x="1578" y="111"/>
                      <a:pt x="1578" y="111"/>
                      <a:pt x="1578" y="111"/>
                    </a:cubicBezTo>
                    <a:cubicBezTo>
                      <a:pt x="1578" y="115"/>
                      <a:pt x="1578" y="115"/>
                      <a:pt x="1578" y="115"/>
                    </a:cubicBezTo>
                    <a:cubicBezTo>
                      <a:pt x="1572" y="120"/>
                      <a:pt x="1572" y="120"/>
                      <a:pt x="1572" y="120"/>
                    </a:cubicBezTo>
                    <a:cubicBezTo>
                      <a:pt x="1569" y="117"/>
                      <a:pt x="1569" y="117"/>
                      <a:pt x="1569" y="117"/>
                    </a:cubicBezTo>
                    <a:cubicBezTo>
                      <a:pt x="1569" y="114"/>
                      <a:pt x="1569" y="114"/>
                      <a:pt x="1569" y="114"/>
                    </a:cubicBezTo>
                    <a:cubicBezTo>
                      <a:pt x="1572" y="113"/>
                      <a:pt x="1572" y="113"/>
                      <a:pt x="1572" y="113"/>
                    </a:cubicBezTo>
                    <a:cubicBezTo>
                      <a:pt x="1569" y="108"/>
                      <a:pt x="1569" y="108"/>
                      <a:pt x="1569" y="108"/>
                    </a:cubicBezTo>
                    <a:cubicBezTo>
                      <a:pt x="1571" y="98"/>
                      <a:pt x="1571" y="98"/>
                      <a:pt x="1571" y="98"/>
                    </a:cubicBezTo>
                    <a:cubicBezTo>
                      <a:pt x="1575" y="100"/>
                      <a:pt x="1575" y="100"/>
                      <a:pt x="1575" y="100"/>
                    </a:cubicBezTo>
                    <a:cubicBezTo>
                      <a:pt x="1577" y="99"/>
                      <a:pt x="1577" y="99"/>
                      <a:pt x="1577" y="99"/>
                    </a:cubicBezTo>
                    <a:cubicBezTo>
                      <a:pt x="1581" y="102"/>
                      <a:pt x="1581" y="102"/>
                      <a:pt x="1581" y="102"/>
                    </a:cubicBezTo>
                    <a:cubicBezTo>
                      <a:pt x="1593" y="95"/>
                      <a:pt x="1593" y="95"/>
                      <a:pt x="1593" y="95"/>
                    </a:cubicBezTo>
                    <a:cubicBezTo>
                      <a:pt x="1598" y="94"/>
                      <a:pt x="1598" y="94"/>
                      <a:pt x="1598" y="94"/>
                    </a:cubicBezTo>
                    <a:cubicBezTo>
                      <a:pt x="1589" y="93"/>
                      <a:pt x="1589" y="93"/>
                      <a:pt x="1589" y="93"/>
                    </a:cubicBezTo>
                    <a:cubicBezTo>
                      <a:pt x="1584" y="94"/>
                      <a:pt x="1584" y="94"/>
                      <a:pt x="1584" y="94"/>
                    </a:cubicBezTo>
                    <a:cubicBezTo>
                      <a:pt x="1577" y="93"/>
                      <a:pt x="1577" y="93"/>
                      <a:pt x="1577" y="93"/>
                    </a:cubicBezTo>
                    <a:cubicBezTo>
                      <a:pt x="1561" y="94"/>
                      <a:pt x="1561" y="94"/>
                      <a:pt x="1561" y="94"/>
                    </a:cubicBezTo>
                    <a:cubicBezTo>
                      <a:pt x="1558" y="96"/>
                      <a:pt x="1558" y="96"/>
                      <a:pt x="1558" y="96"/>
                    </a:cubicBezTo>
                    <a:cubicBezTo>
                      <a:pt x="1536" y="98"/>
                      <a:pt x="1536" y="98"/>
                      <a:pt x="1536" y="98"/>
                    </a:cubicBezTo>
                    <a:cubicBezTo>
                      <a:pt x="1524" y="98"/>
                      <a:pt x="1524" y="98"/>
                      <a:pt x="1524" y="98"/>
                    </a:cubicBezTo>
                    <a:cubicBezTo>
                      <a:pt x="1517" y="100"/>
                      <a:pt x="1517" y="100"/>
                      <a:pt x="1517" y="100"/>
                    </a:cubicBezTo>
                    <a:cubicBezTo>
                      <a:pt x="1508" y="96"/>
                      <a:pt x="1508" y="96"/>
                      <a:pt x="1508" y="96"/>
                    </a:cubicBezTo>
                    <a:cubicBezTo>
                      <a:pt x="1501" y="97"/>
                      <a:pt x="1501" y="97"/>
                      <a:pt x="1501" y="97"/>
                    </a:cubicBezTo>
                    <a:cubicBezTo>
                      <a:pt x="1496" y="100"/>
                      <a:pt x="1496" y="100"/>
                      <a:pt x="1496" y="100"/>
                    </a:cubicBezTo>
                    <a:cubicBezTo>
                      <a:pt x="1500" y="105"/>
                      <a:pt x="1500" y="105"/>
                      <a:pt x="1500" y="105"/>
                    </a:cubicBezTo>
                    <a:cubicBezTo>
                      <a:pt x="1506" y="105"/>
                      <a:pt x="1506" y="105"/>
                      <a:pt x="1506" y="105"/>
                    </a:cubicBezTo>
                    <a:cubicBezTo>
                      <a:pt x="1510" y="107"/>
                      <a:pt x="1510" y="107"/>
                      <a:pt x="1510" y="107"/>
                    </a:cubicBezTo>
                    <a:cubicBezTo>
                      <a:pt x="1513" y="106"/>
                      <a:pt x="1513" y="106"/>
                      <a:pt x="1513" y="106"/>
                    </a:cubicBezTo>
                    <a:cubicBezTo>
                      <a:pt x="1517" y="112"/>
                      <a:pt x="1517" y="112"/>
                      <a:pt x="1517" y="112"/>
                    </a:cubicBezTo>
                    <a:cubicBezTo>
                      <a:pt x="1516" y="115"/>
                      <a:pt x="1516" y="115"/>
                      <a:pt x="1516" y="115"/>
                    </a:cubicBezTo>
                    <a:cubicBezTo>
                      <a:pt x="1510" y="122"/>
                      <a:pt x="1510" y="122"/>
                      <a:pt x="1510" y="122"/>
                    </a:cubicBezTo>
                    <a:cubicBezTo>
                      <a:pt x="1506" y="121"/>
                      <a:pt x="1506" y="121"/>
                      <a:pt x="1506" y="121"/>
                    </a:cubicBezTo>
                    <a:cubicBezTo>
                      <a:pt x="1500" y="124"/>
                      <a:pt x="1500" y="124"/>
                      <a:pt x="1500" y="124"/>
                    </a:cubicBezTo>
                    <a:cubicBezTo>
                      <a:pt x="1499" y="130"/>
                      <a:pt x="1499" y="130"/>
                      <a:pt x="1499" y="130"/>
                    </a:cubicBezTo>
                    <a:cubicBezTo>
                      <a:pt x="1497" y="134"/>
                      <a:pt x="1497" y="134"/>
                      <a:pt x="1497" y="134"/>
                    </a:cubicBezTo>
                    <a:cubicBezTo>
                      <a:pt x="1501" y="143"/>
                      <a:pt x="1501" y="143"/>
                      <a:pt x="1501" y="143"/>
                    </a:cubicBezTo>
                    <a:cubicBezTo>
                      <a:pt x="1508" y="145"/>
                      <a:pt x="1508" y="145"/>
                      <a:pt x="1508" y="145"/>
                    </a:cubicBezTo>
                    <a:cubicBezTo>
                      <a:pt x="1508" y="140"/>
                      <a:pt x="1508" y="140"/>
                      <a:pt x="1508" y="140"/>
                    </a:cubicBezTo>
                    <a:cubicBezTo>
                      <a:pt x="1512" y="136"/>
                      <a:pt x="1512" y="136"/>
                      <a:pt x="1512" y="136"/>
                    </a:cubicBezTo>
                    <a:cubicBezTo>
                      <a:pt x="1519" y="133"/>
                      <a:pt x="1519" y="133"/>
                      <a:pt x="1519" y="133"/>
                    </a:cubicBezTo>
                    <a:cubicBezTo>
                      <a:pt x="1518" y="141"/>
                      <a:pt x="1518" y="141"/>
                      <a:pt x="1518" y="141"/>
                    </a:cubicBezTo>
                    <a:cubicBezTo>
                      <a:pt x="1512" y="141"/>
                      <a:pt x="1512" y="141"/>
                      <a:pt x="1512" y="141"/>
                    </a:cubicBezTo>
                    <a:cubicBezTo>
                      <a:pt x="1514" y="146"/>
                      <a:pt x="1514" y="146"/>
                      <a:pt x="1514" y="146"/>
                    </a:cubicBezTo>
                    <a:cubicBezTo>
                      <a:pt x="1514" y="148"/>
                      <a:pt x="1514" y="148"/>
                      <a:pt x="1514" y="148"/>
                    </a:cubicBezTo>
                    <a:cubicBezTo>
                      <a:pt x="1515" y="151"/>
                      <a:pt x="1515" y="151"/>
                      <a:pt x="1515" y="151"/>
                    </a:cubicBezTo>
                    <a:cubicBezTo>
                      <a:pt x="1511" y="155"/>
                      <a:pt x="1511" y="155"/>
                      <a:pt x="1511" y="155"/>
                    </a:cubicBezTo>
                    <a:cubicBezTo>
                      <a:pt x="1514" y="156"/>
                      <a:pt x="1514" y="156"/>
                      <a:pt x="1514" y="156"/>
                    </a:cubicBezTo>
                    <a:cubicBezTo>
                      <a:pt x="1518" y="154"/>
                      <a:pt x="1518" y="154"/>
                      <a:pt x="1518" y="154"/>
                    </a:cubicBezTo>
                    <a:cubicBezTo>
                      <a:pt x="1520" y="157"/>
                      <a:pt x="1520" y="157"/>
                      <a:pt x="1520" y="157"/>
                    </a:cubicBezTo>
                    <a:cubicBezTo>
                      <a:pt x="1519" y="162"/>
                      <a:pt x="1519" y="162"/>
                      <a:pt x="1519" y="162"/>
                    </a:cubicBezTo>
                    <a:cubicBezTo>
                      <a:pt x="1524" y="168"/>
                      <a:pt x="1524" y="168"/>
                      <a:pt x="1524" y="168"/>
                    </a:cubicBezTo>
                    <a:cubicBezTo>
                      <a:pt x="1528" y="168"/>
                      <a:pt x="1528" y="168"/>
                      <a:pt x="1528" y="168"/>
                    </a:cubicBezTo>
                    <a:cubicBezTo>
                      <a:pt x="1534" y="176"/>
                      <a:pt x="1534" y="176"/>
                      <a:pt x="1534" y="176"/>
                    </a:cubicBezTo>
                    <a:cubicBezTo>
                      <a:pt x="1533" y="180"/>
                      <a:pt x="1533" y="180"/>
                      <a:pt x="1533" y="180"/>
                    </a:cubicBezTo>
                    <a:cubicBezTo>
                      <a:pt x="1530" y="178"/>
                      <a:pt x="1530" y="178"/>
                      <a:pt x="1530" y="178"/>
                    </a:cubicBezTo>
                    <a:cubicBezTo>
                      <a:pt x="1526" y="180"/>
                      <a:pt x="1526" y="180"/>
                      <a:pt x="1526" y="180"/>
                    </a:cubicBezTo>
                    <a:cubicBezTo>
                      <a:pt x="1528" y="185"/>
                      <a:pt x="1528" y="185"/>
                      <a:pt x="1528" y="185"/>
                    </a:cubicBezTo>
                    <a:cubicBezTo>
                      <a:pt x="1525" y="186"/>
                      <a:pt x="1525" y="186"/>
                      <a:pt x="1525" y="186"/>
                    </a:cubicBezTo>
                    <a:cubicBezTo>
                      <a:pt x="1523" y="184"/>
                      <a:pt x="1523" y="184"/>
                      <a:pt x="1523" y="184"/>
                    </a:cubicBezTo>
                    <a:cubicBezTo>
                      <a:pt x="1521" y="185"/>
                      <a:pt x="1521" y="185"/>
                      <a:pt x="1521" y="185"/>
                    </a:cubicBezTo>
                    <a:cubicBezTo>
                      <a:pt x="1519" y="180"/>
                      <a:pt x="1519" y="180"/>
                      <a:pt x="1519" y="180"/>
                    </a:cubicBezTo>
                    <a:cubicBezTo>
                      <a:pt x="1514" y="175"/>
                      <a:pt x="1514" y="175"/>
                      <a:pt x="1514" y="175"/>
                    </a:cubicBezTo>
                    <a:cubicBezTo>
                      <a:pt x="1511" y="176"/>
                      <a:pt x="1511" y="176"/>
                      <a:pt x="1511" y="176"/>
                    </a:cubicBezTo>
                    <a:cubicBezTo>
                      <a:pt x="1513" y="180"/>
                      <a:pt x="1513" y="180"/>
                      <a:pt x="1513" y="180"/>
                    </a:cubicBezTo>
                    <a:cubicBezTo>
                      <a:pt x="1510" y="182"/>
                      <a:pt x="1510" y="182"/>
                      <a:pt x="1510" y="182"/>
                    </a:cubicBezTo>
                    <a:cubicBezTo>
                      <a:pt x="1508" y="180"/>
                      <a:pt x="1508" y="180"/>
                      <a:pt x="1508" y="180"/>
                    </a:cubicBezTo>
                    <a:cubicBezTo>
                      <a:pt x="1505" y="182"/>
                      <a:pt x="1505" y="182"/>
                      <a:pt x="1505" y="182"/>
                    </a:cubicBezTo>
                    <a:cubicBezTo>
                      <a:pt x="1507" y="187"/>
                      <a:pt x="1507" y="187"/>
                      <a:pt x="1507" y="187"/>
                    </a:cubicBezTo>
                    <a:cubicBezTo>
                      <a:pt x="1508" y="194"/>
                      <a:pt x="1508" y="194"/>
                      <a:pt x="1508" y="194"/>
                    </a:cubicBezTo>
                    <a:cubicBezTo>
                      <a:pt x="1512" y="195"/>
                      <a:pt x="1512" y="195"/>
                      <a:pt x="1512" y="195"/>
                    </a:cubicBezTo>
                    <a:cubicBezTo>
                      <a:pt x="1516" y="192"/>
                      <a:pt x="1516" y="192"/>
                      <a:pt x="1516" y="192"/>
                    </a:cubicBezTo>
                    <a:cubicBezTo>
                      <a:pt x="1520" y="196"/>
                      <a:pt x="1520" y="196"/>
                      <a:pt x="1520" y="196"/>
                    </a:cubicBezTo>
                    <a:cubicBezTo>
                      <a:pt x="1517" y="199"/>
                      <a:pt x="1517" y="199"/>
                      <a:pt x="1517" y="199"/>
                    </a:cubicBezTo>
                    <a:cubicBezTo>
                      <a:pt x="1521" y="202"/>
                      <a:pt x="1521" y="202"/>
                      <a:pt x="1521" y="202"/>
                    </a:cubicBezTo>
                    <a:cubicBezTo>
                      <a:pt x="1517" y="205"/>
                      <a:pt x="1517" y="205"/>
                      <a:pt x="1517" y="205"/>
                    </a:cubicBezTo>
                    <a:cubicBezTo>
                      <a:pt x="1512" y="203"/>
                      <a:pt x="1512" y="203"/>
                      <a:pt x="1512" y="203"/>
                    </a:cubicBezTo>
                    <a:cubicBezTo>
                      <a:pt x="1513" y="205"/>
                      <a:pt x="1513" y="205"/>
                      <a:pt x="1513" y="205"/>
                    </a:cubicBezTo>
                    <a:cubicBezTo>
                      <a:pt x="1518" y="209"/>
                      <a:pt x="1518" y="209"/>
                      <a:pt x="1518" y="209"/>
                    </a:cubicBezTo>
                    <a:cubicBezTo>
                      <a:pt x="1510" y="209"/>
                      <a:pt x="1510" y="209"/>
                      <a:pt x="1510" y="209"/>
                    </a:cubicBezTo>
                    <a:cubicBezTo>
                      <a:pt x="1508" y="205"/>
                      <a:pt x="1508" y="205"/>
                      <a:pt x="1508" y="205"/>
                    </a:cubicBezTo>
                    <a:cubicBezTo>
                      <a:pt x="1502" y="204"/>
                      <a:pt x="1502" y="204"/>
                      <a:pt x="1502" y="204"/>
                    </a:cubicBezTo>
                    <a:cubicBezTo>
                      <a:pt x="1499" y="200"/>
                      <a:pt x="1499" y="200"/>
                      <a:pt x="1499" y="200"/>
                    </a:cubicBezTo>
                    <a:cubicBezTo>
                      <a:pt x="1495" y="198"/>
                      <a:pt x="1495" y="198"/>
                      <a:pt x="1495" y="198"/>
                    </a:cubicBezTo>
                    <a:cubicBezTo>
                      <a:pt x="1491" y="193"/>
                      <a:pt x="1491" y="193"/>
                      <a:pt x="1491" y="193"/>
                    </a:cubicBezTo>
                    <a:cubicBezTo>
                      <a:pt x="1485" y="193"/>
                      <a:pt x="1485" y="193"/>
                      <a:pt x="1485" y="193"/>
                    </a:cubicBezTo>
                    <a:cubicBezTo>
                      <a:pt x="1481" y="190"/>
                      <a:pt x="1481" y="190"/>
                      <a:pt x="1481" y="190"/>
                    </a:cubicBezTo>
                    <a:cubicBezTo>
                      <a:pt x="1478" y="191"/>
                      <a:pt x="1478" y="191"/>
                      <a:pt x="1478" y="191"/>
                    </a:cubicBezTo>
                    <a:cubicBezTo>
                      <a:pt x="1476" y="190"/>
                      <a:pt x="1476" y="190"/>
                      <a:pt x="1476" y="190"/>
                    </a:cubicBezTo>
                    <a:cubicBezTo>
                      <a:pt x="1464" y="196"/>
                      <a:pt x="1464" y="196"/>
                      <a:pt x="1464" y="196"/>
                    </a:cubicBezTo>
                    <a:cubicBezTo>
                      <a:pt x="1463" y="200"/>
                      <a:pt x="1463" y="200"/>
                      <a:pt x="1463" y="200"/>
                    </a:cubicBezTo>
                    <a:cubicBezTo>
                      <a:pt x="1462" y="202"/>
                      <a:pt x="1462" y="202"/>
                      <a:pt x="1462" y="202"/>
                    </a:cubicBezTo>
                    <a:cubicBezTo>
                      <a:pt x="1465" y="206"/>
                      <a:pt x="1465" y="206"/>
                      <a:pt x="1465" y="206"/>
                    </a:cubicBezTo>
                    <a:cubicBezTo>
                      <a:pt x="1464" y="208"/>
                      <a:pt x="1464" y="208"/>
                      <a:pt x="1464" y="208"/>
                    </a:cubicBezTo>
                    <a:cubicBezTo>
                      <a:pt x="1467" y="213"/>
                      <a:pt x="1467" y="213"/>
                      <a:pt x="1467" y="213"/>
                    </a:cubicBezTo>
                    <a:cubicBezTo>
                      <a:pt x="1466" y="214"/>
                      <a:pt x="1466" y="214"/>
                      <a:pt x="1466" y="214"/>
                    </a:cubicBezTo>
                    <a:cubicBezTo>
                      <a:pt x="1462" y="211"/>
                      <a:pt x="1462" y="211"/>
                      <a:pt x="1462" y="211"/>
                    </a:cubicBezTo>
                    <a:cubicBezTo>
                      <a:pt x="1460" y="213"/>
                      <a:pt x="1460" y="213"/>
                      <a:pt x="1460" y="213"/>
                    </a:cubicBezTo>
                    <a:cubicBezTo>
                      <a:pt x="1456" y="211"/>
                      <a:pt x="1456" y="211"/>
                      <a:pt x="1456" y="211"/>
                    </a:cubicBezTo>
                    <a:cubicBezTo>
                      <a:pt x="1442" y="213"/>
                      <a:pt x="1442" y="213"/>
                      <a:pt x="1442" y="213"/>
                    </a:cubicBezTo>
                    <a:cubicBezTo>
                      <a:pt x="1435" y="212"/>
                      <a:pt x="1435" y="212"/>
                      <a:pt x="1435" y="212"/>
                    </a:cubicBezTo>
                    <a:cubicBezTo>
                      <a:pt x="1431" y="207"/>
                      <a:pt x="1431" y="207"/>
                      <a:pt x="1431" y="207"/>
                    </a:cubicBezTo>
                    <a:cubicBezTo>
                      <a:pt x="1427" y="206"/>
                      <a:pt x="1427" y="206"/>
                      <a:pt x="1427" y="206"/>
                    </a:cubicBezTo>
                    <a:cubicBezTo>
                      <a:pt x="1423" y="200"/>
                      <a:pt x="1423" y="200"/>
                      <a:pt x="1423" y="200"/>
                    </a:cubicBezTo>
                    <a:cubicBezTo>
                      <a:pt x="1421" y="195"/>
                      <a:pt x="1421" y="195"/>
                      <a:pt x="1421" y="195"/>
                    </a:cubicBezTo>
                    <a:cubicBezTo>
                      <a:pt x="1418" y="193"/>
                      <a:pt x="1418" y="193"/>
                      <a:pt x="1418" y="193"/>
                    </a:cubicBezTo>
                    <a:cubicBezTo>
                      <a:pt x="1418" y="196"/>
                      <a:pt x="1418" y="196"/>
                      <a:pt x="1418" y="196"/>
                    </a:cubicBezTo>
                    <a:cubicBezTo>
                      <a:pt x="1421" y="204"/>
                      <a:pt x="1421" y="204"/>
                      <a:pt x="1421" y="204"/>
                    </a:cubicBezTo>
                    <a:cubicBezTo>
                      <a:pt x="1422" y="215"/>
                      <a:pt x="1422" y="215"/>
                      <a:pt x="1422" y="215"/>
                    </a:cubicBezTo>
                    <a:cubicBezTo>
                      <a:pt x="1427" y="228"/>
                      <a:pt x="1427" y="228"/>
                      <a:pt x="1427" y="228"/>
                    </a:cubicBezTo>
                    <a:cubicBezTo>
                      <a:pt x="1431" y="239"/>
                      <a:pt x="1431" y="239"/>
                      <a:pt x="1431" y="239"/>
                    </a:cubicBezTo>
                    <a:cubicBezTo>
                      <a:pt x="1435" y="262"/>
                      <a:pt x="1435" y="262"/>
                      <a:pt x="1435" y="262"/>
                    </a:cubicBezTo>
                    <a:cubicBezTo>
                      <a:pt x="1434" y="267"/>
                      <a:pt x="1434" y="267"/>
                      <a:pt x="1434" y="267"/>
                    </a:cubicBezTo>
                    <a:cubicBezTo>
                      <a:pt x="1431" y="267"/>
                      <a:pt x="1431" y="267"/>
                      <a:pt x="1431" y="267"/>
                    </a:cubicBezTo>
                    <a:cubicBezTo>
                      <a:pt x="1429" y="263"/>
                      <a:pt x="1429" y="263"/>
                      <a:pt x="1429" y="263"/>
                    </a:cubicBezTo>
                    <a:cubicBezTo>
                      <a:pt x="1428" y="260"/>
                      <a:pt x="1428" y="260"/>
                      <a:pt x="1428" y="260"/>
                    </a:cubicBezTo>
                    <a:cubicBezTo>
                      <a:pt x="1425" y="256"/>
                      <a:pt x="1425" y="256"/>
                      <a:pt x="1425" y="256"/>
                    </a:cubicBezTo>
                    <a:cubicBezTo>
                      <a:pt x="1423" y="257"/>
                      <a:pt x="1423" y="257"/>
                      <a:pt x="1423" y="257"/>
                    </a:cubicBezTo>
                    <a:cubicBezTo>
                      <a:pt x="1425" y="260"/>
                      <a:pt x="1425" y="260"/>
                      <a:pt x="1425" y="260"/>
                    </a:cubicBezTo>
                    <a:cubicBezTo>
                      <a:pt x="1423" y="263"/>
                      <a:pt x="1423" y="263"/>
                      <a:pt x="1423" y="263"/>
                    </a:cubicBezTo>
                    <a:cubicBezTo>
                      <a:pt x="1418" y="261"/>
                      <a:pt x="1418" y="261"/>
                      <a:pt x="1418" y="261"/>
                    </a:cubicBezTo>
                    <a:cubicBezTo>
                      <a:pt x="1413" y="254"/>
                      <a:pt x="1413" y="254"/>
                      <a:pt x="1413" y="254"/>
                    </a:cubicBezTo>
                    <a:cubicBezTo>
                      <a:pt x="1404" y="253"/>
                      <a:pt x="1404" y="253"/>
                      <a:pt x="1404" y="253"/>
                    </a:cubicBezTo>
                    <a:cubicBezTo>
                      <a:pt x="1400" y="247"/>
                      <a:pt x="1400" y="247"/>
                      <a:pt x="1400" y="247"/>
                    </a:cubicBezTo>
                    <a:cubicBezTo>
                      <a:pt x="1397" y="246"/>
                      <a:pt x="1397" y="246"/>
                      <a:pt x="1397" y="246"/>
                    </a:cubicBezTo>
                    <a:cubicBezTo>
                      <a:pt x="1385" y="233"/>
                      <a:pt x="1385" y="233"/>
                      <a:pt x="1385" y="233"/>
                    </a:cubicBezTo>
                    <a:cubicBezTo>
                      <a:pt x="1383" y="233"/>
                      <a:pt x="1383" y="233"/>
                      <a:pt x="1383" y="233"/>
                    </a:cubicBezTo>
                    <a:cubicBezTo>
                      <a:pt x="1381" y="235"/>
                      <a:pt x="1381" y="235"/>
                      <a:pt x="1381" y="235"/>
                    </a:cubicBezTo>
                    <a:cubicBezTo>
                      <a:pt x="1378" y="235"/>
                      <a:pt x="1378" y="235"/>
                      <a:pt x="1378" y="235"/>
                    </a:cubicBezTo>
                    <a:cubicBezTo>
                      <a:pt x="1376" y="232"/>
                      <a:pt x="1376" y="232"/>
                      <a:pt x="1376" y="232"/>
                    </a:cubicBezTo>
                    <a:cubicBezTo>
                      <a:pt x="1383" y="224"/>
                      <a:pt x="1383" y="224"/>
                      <a:pt x="1383" y="224"/>
                    </a:cubicBezTo>
                    <a:cubicBezTo>
                      <a:pt x="1386" y="224"/>
                      <a:pt x="1386" y="224"/>
                      <a:pt x="1386" y="224"/>
                    </a:cubicBezTo>
                    <a:cubicBezTo>
                      <a:pt x="1384" y="222"/>
                      <a:pt x="1384" y="222"/>
                      <a:pt x="1384" y="222"/>
                    </a:cubicBezTo>
                    <a:cubicBezTo>
                      <a:pt x="1380" y="220"/>
                      <a:pt x="1380" y="220"/>
                      <a:pt x="1380" y="220"/>
                    </a:cubicBezTo>
                    <a:cubicBezTo>
                      <a:pt x="1375" y="215"/>
                      <a:pt x="1375" y="215"/>
                      <a:pt x="1375" y="215"/>
                    </a:cubicBezTo>
                    <a:cubicBezTo>
                      <a:pt x="1374" y="215"/>
                      <a:pt x="1374" y="215"/>
                      <a:pt x="1374" y="215"/>
                    </a:cubicBezTo>
                    <a:cubicBezTo>
                      <a:pt x="1375" y="217"/>
                      <a:pt x="1375" y="217"/>
                      <a:pt x="1375" y="217"/>
                    </a:cubicBezTo>
                    <a:cubicBezTo>
                      <a:pt x="1379" y="221"/>
                      <a:pt x="1379" y="221"/>
                      <a:pt x="1379" y="221"/>
                    </a:cubicBezTo>
                    <a:cubicBezTo>
                      <a:pt x="1379" y="226"/>
                      <a:pt x="1379" y="226"/>
                      <a:pt x="1379" y="226"/>
                    </a:cubicBezTo>
                    <a:cubicBezTo>
                      <a:pt x="1374" y="229"/>
                      <a:pt x="1374" y="229"/>
                      <a:pt x="1374" y="229"/>
                    </a:cubicBezTo>
                    <a:cubicBezTo>
                      <a:pt x="1368" y="227"/>
                      <a:pt x="1368" y="227"/>
                      <a:pt x="1368" y="227"/>
                    </a:cubicBezTo>
                    <a:cubicBezTo>
                      <a:pt x="1361" y="221"/>
                      <a:pt x="1361" y="221"/>
                      <a:pt x="1361" y="221"/>
                    </a:cubicBezTo>
                    <a:cubicBezTo>
                      <a:pt x="1359" y="218"/>
                      <a:pt x="1359" y="218"/>
                      <a:pt x="1359" y="218"/>
                    </a:cubicBezTo>
                    <a:cubicBezTo>
                      <a:pt x="1352" y="217"/>
                      <a:pt x="1352" y="217"/>
                      <a:pt x="1352" y="217"/>
                    </a:cubicBezTo>
                    <a:cubicBezTo>
                      <a:pt x="1351" y="212"/>
                      <a:pt x="1351" y="212"/>
                      <a:pt x="1351" y="212"/>
                    </a:cubicBezTo>
                    <a:cubicBezTo>
                      <a:pt x="1348" y="210"/>
                      <a:pt x="1348" y="210"/>
                      <a:pt x="1348" y="210"/>
                    </a:cubicBezTo>
                    <a:cubicBezTo>
                      <a:pt x="1356" y="210"/>
                      <a:pt x="1356" y="210"/>
                      <a:pt x="1356" y="210"/>
                    </a:cubicBezTo>
                    <a:cubicBezTo>
                      <a:pt x="1363" y="212"/>
                      <a:pt x="1363" y="212"/>
                      <a:pt x="1363" y="212"/>
                    </a:cubicBezTo>
                    <a:cubicBezTo>
                      <a:pt x="1366" y="215"/>
                      <a:pt x="1366" y="215"/>
                      <a:pt x="1366" y="215"/>
                    </a:cubicBezTo>
                    <a:cubicBezTo>
                      <a:pt x="1370" y="213"/>
                      <a:pt x="1370" y="213"/>
                      <a:pt x="1370" y="213"/>
                    </a:cubicBezTo>
                    <a:cubicBezTo>
                      <a:pt x="1373" y="206"/>
                      <a:pt x="1373" y="206"/>
                      <a:pt x="1373" y="206"/>
                    </a:cubicBezTo>
                    <a:cubicBezTo>
                      <a:pt x="1373" y="203"/>
                      <a:pt x="1373" y="203"/>
                      <a:pt x="1373" y="203"/>
                    </a:cubicBezTo>
                    <a:cubicBezTo>
                      <a:pt x="1370" y="204"/>
                      <a:pt x="1370" y="204"/>
                      <a:pt x="1370" y="204"/>
                    </a:cubicBezTo>
                    <a:cubicBezTo>
                      <a:pt x="1369" y="201"/>
                      <a:pt x="1369" y="201"/>
                      <a:pt x="1369" y="201"/>
                    </a:cubicBezTo>
                    <a:cubicBezTo>
                      <a:pt x="1366" y="202"/>
                      <a:pt x="1366" y="202"/>
                      <a:pt x="1366" y="202"/>
                    </a:cubicBezTo>
                    <a:cubicBezTo>
                      <a:pt x="1367" y="195"/>
                      <a:pt x="1367" y="195"/>
                      <a:pt x="1367" y="195"/>
                    </a:cubicBezTo>
                    <a:cubicBezTo>
                      <a:pt x="1363" y="190"/>
                      <a:pt x="1363" y="190"/>
                      <a:pt x="1363" y="190"/>
                    </a:cubicBezTo>
                    <a:cubicBezTo>
                      <a:pt x="1360" y="192"/>
                      <a:pt x="1360" y="192"/>
                      <a:pt x="1360" y="192"/>
                    </a:cubicBezTo>
                    <a:cubicBezTo>
                      <a:pt x="1360" y="188"/>
                      <a:pt x="1360" y="188"/>
                      <a:pt x="1360" y="188"/>
                    </a:cubicBezTo>
                    <a:cubicBezTo>
                      <a:pt x="1358" y="187"/>
                      <a:pt x="1358" y="187"/>
                      <a:pt x="1358" y="187"/>
                    </a:cubicBezTo>
                    <a:cubicBezTo>
                      <a:pt x="1355" y="188"/>
                      <a:pt x="1355" y="188"/>
                      <a:pt x="1355" y="188"/>
                    </a:cubicBezTo>
                    <a:cubicBezTo>
                      <a:pt x="1353" y="191"/>
                      <a:pt x="1353" y="191"/>
                      <a:pt x="1353" y="191"/>
                    </a:cubicBezTo>
                    <a:cubicBezTo>
                      <a:pt x="1348" y="190"/>
                      <a:pt x="1348" y="190"/>
                      <a:pt x="1348" y="190"/>
                    </a:cubicBezTo>
                    <a:cubicBezTo>
                      <a:pt x="1347" y="184"/>
                      <a:pt x="1347" y="184"/>
                      <a:pt x="1347" y="184"/>
                    </a:cubicBezTo>
                    <a:cubicBezTo>
                      <a:pt x="1354" y="176"/>
                      <a:pt x="1354" y="176"/>
                      <a:pt x="1354" y="176"/>
                    </a:cubicBezTo>
                    <a:cubicBezTo>
                      <a:pt x="1353" y="173"/>
                      <a:pt x="1353" y="173"/>
                      <a:pt x="1353" y="173"/>
                    </a:cubicBezTo>
                    <a:cubicBezTo>
                      <a:pt x="1350" y="173"/>
                      <a:pt x="1350" y="173"/>
                      <a:pt x="1350" y="173"/>
                    </a:cubicBezTo>
                    <a:cubicBezTo>
                      <a:pt x="1346" y="179"/>
                      <a:pt x="1346" y="179"/>
                      <a:pt x="1346" y="179"/>
                    </a:cubicBezTo>
                    <a:cubicBezTo>
                      <a:pt x="1345" y="174"/>
                      <a:pt x="1345" y="174"/>
                      <a:pt x="1345" y="174"/>
                    </a:cubicBezTo>
                    <a:cubicBezTo>
                      <a:pt x="1348" y="170"/>
                      <a:pt x="1348" y="170"/>
                      <a:pt x="1348" y="170"/>
                    </a:cubicBezTo>
                    <a:cubicBezTo>
                      <a:pt x="1347" y="165"/>
                      <a:pt x="1347" y="165"/>
                      <a:pt x="1347" y="165"/>
                    </a:cubicBezTo>
                    <a:cubicBezTo>
                      <a:pt x="1345" y="166"/>
                      <a:pt x="1345" y="166"/>
                      <a:pt x="1345" y="166"/>
                    </a:cubicBezTo>
                    <a:cubicBezTo>
                      <a:pt x="1344" y="168"/>
                      <a:pt x="1344" y="168"/>
                      <a:pt x="1344" y="168"/>
                    </a:cubicBezTo>
                    <a:cubicBezTo>
                      <a:pt x="1343" y="163"/>
                      <a:pt x="1343" y="163"/>
                      <a:pt x="1343" y="163"/>
                    </a:cubicBezTo>
                    <a:cubicBezTo>
                      <a:pt x="1339" y="163"/>
                      <a:pt x="1339" y="163"/>
                      <a:pt x="1339" y="163"/>
                    </a:cubicBezTo>
                    <a:cubicBezTo>
                      <a:pt x="1338" y="161"/>
                      <a:pt x="1338" y="161"/>
                      <a:pt x="1338" y="161"/>
                    </a:cubicBezTo>
                    <a:cubicBezTo>
                      <a:pt x="1335" y="159"/>
                      <a:pt x="1335" y="159"/>
                      <a:pt x="1335" y="159"/>
                    </a:cubicBezTo>
                    <a:cubicBezTo>
                      <a:pt x="1337" y="153"/>
                      <a:pt x="1337" y="153"/>
                      <a:pt x="1337" y="153"/>
                    </a:cubicBezTo>
                    <a:cubicBezTo>
                      <a:pt x="1336" y="151"/>
                      <a:pt x="1336" y="151"/>
                      <a:pt x="1336" y="151"/>
                    </a:cubicBezTo>
                    <a:cubicBezTo>
                      <a:pt x="1333" y="153"/>
                      <a:pt x="1333" y="153"/>
                      <a:pt x="1333" y="153"/>
                    </a:cubicBezTo>
                    <a:cubicBezTo>
                      <a:pt x="1331" y="159"/>
                      <a:pt x="1331" y="159"/>
                      <a:pt x="1331" y="159"/>
                    </a:cubicBezTo>
                    <a:cubicBezTo>
                      <a:pt x="1330" y="150"/>
                      <a:pt x="1330" y="150"/>
                      <a:pt x="1330" y="150"/>
                    </a:cubicBezTo>
                    <a:cubicBezTo>
                      <a:pt x="1326" y="147"/>
                      <a:pt x="1326" y="147"/>
                      <a:pt x="1326" y="147"/>
                    </a:cubicBezTo>
                    <a:cubicBezTo>
                      <a:pt x="1323" y="150"/>
                      <a:pt x="1323" y="150"/>
                      <a:pt x="1323" y="150"/>
                    </a:cubicBezTo>
                    <a:cubicBezTo>
                      <a:pt x="1321" y="150"/>
                      <a:pt x="1321" y="150"/>
                      <a:pt x="1321" y="150"/>
                    </a:cubicBezTo>
                    <a:cubicBezTo>
                      <a:pt x="1320" y="144"/>
                      <a:pt x="1320" y="144"/>
                      <a:pt x="1320" y="144"/>
                    </a:cubicBezTo>
                    <a:cubicBezTo>
                      <a:pt x="1316" y="147"/>
                      <a:pt x="1316" y="147"/>
                      <a:pt x="1316" y="147"/>
                    </a:cubicBezTo>
                    <a:cubicBezTo>
                      <a:pt x="1315" y="147"/>
                      <a:pt x="1315" y="147"/>
                      <a:pt x="1315" y="147"/>
                    </a:cubicBezTo>
                    <a:cubicBezTo>
                      <a:pt x="1314" y="150"/>
                      <a:pt x="1314" y="150"/>
                      <a:pt x="1314" y="150"/>
                    </a:cubicBezTo>
                    <a:cubicBezTo>
                      <a:pt x="1313" y="144"/>
                      <a:pt x="1313" y="144"/>
                      <a:pt x="1313" y="144"/>
                    </a:cubicBezTo>
                    <a:cubicBezTo>
                      <a:pt x="1313" y="141"/>
                      <a:pt x="1313" y="141"/>
                      <a:pt x="1313" y="141"/>
                    </a:cubicBezTo>
                    <a:cubicBezTo>
                      <a:pt x="1308" y="141"/>
                      <a:pt x="1308" y="141"/>
                      <a:pt x="1308" y="141"/>
                    </a:cubicBezTo>
                    <a:cubicBezTo>
                      <a:pt x="1306" y="143"/>
                      <a:pt x="1306" y="143"/>
                      <a:pt x="1306" y="143"/>
                    </a:cubicBezTo>
                    <a:cubicBezTo>
                      <a:pt x="1304" y="141"/>
                      <a:pt x="1304" y="141"/>
                      <a:pt x="1304" y="141"/>
                    </a:cubicBezTo>
                    <a:cubicBezTo>
                      <a:pt x="1298" y="143"/>
                      <a:pt x="1298" y="143"/>
                      <a:pt x="1298" y="143"/>
                    </a:cubicBezTo>
                    <a:cubicBezTo>
                      <a:pt x="1295" y="143"/>
                      <a:pt x="1295" y="143"/>
                      <a:pt x="1295" y="143"/>
                    </a:cubicBezTo>
                    <a:cubicBezTo>
                      <a:pt x="1294" y="145"/>
                      <a:pt x="1294" y="145"/>
                      <a:pt x="1294" y="145"/>
                    </a:cubicBezTo>
                    <a:cubicBezTo>
                      <a:pt x="1296" y="146"/>
                      <a:pt x="1296" y="146"/>
                      <a:pt x="1296" y="146"/>
                    </a:cubicBezTo>
                    <a:cubicBezTo>
                      <a:pt x="1298" y="151"/>
                      <a:pt x="1298" y="151"/>
                      <a:pt x="1298" y="151"/>
                    </a:cubicBezTo>
                    <a:cubicBezTo>
                      <a:pt x="1295" y="150"/>
                      <a:pt x="1295" y="150"/>
                      <a:pt x="1295" y="150"/>
                    </a:cubicBezTo>
                    <a:cubicBezTo>
                      <a:pt x="1293" y="151"/>
                      <a:pt x="1293" y="151"/>
                      <a:pt x="1293" y="151"/>
                    </a:cubicBezTo>
                    <a:cubicBezTo>
                      <a:pt x="1293" y="155"/>
                      <a:pt x="1293" y="155"/>
                      <a:pt x="1293" y="155"/>
                    </a:cubicBezTo>
                    <a:cubicBezTo>
                      <a:pt x="1292" y="154"/>
                      <a:pt x="1292" y="154"/>
                      <a:pt x="1292" y="154"/>
                    </a:cubicBezTo>
                    <a:cubicBezTo>
                      <a:pt x="1288" y="155"/>
                      <a:pt x="1288" y="155"/>
                      <a:pt x="1288" y="155"/>
                    </a:cubicBezTo>
                    <a:cubicBezTo>
                      <a:pt x="1287" y="154"/>
                      <a:pt x="1287" y="154"/>
                      <a:pt x="1287" y="154"/>
                    </a:cubicBezTo>
                    <a:cubicBezTo>
                      <a:pt x="1289" y="150"/>
                      <a:pt x="1289" y="150"/>
                      <a:pt x="1289" y="150"/>
                    </a:cubicBezTo>
                    <a:cubicBezTo>
                      <a:pt x="1291" y="148"/>
                      <a:pt x="1291" y="148"/>
                      <a:pt x="1291" y="148"/>
                    </a:cubicBezTo>
                    <a:cubicBezTo>
                      <a:pt x="1289" y="144"/>
                      <a:pt x="1289" y="144"/>
                      <a:pt x="1289" y="144"/>
                    </a:cubicBezTo>
                    <a:cubicBezTo>
                      <a:pt x="1286" y="143"/>
                      <a:pt x="1286" y="143"/>
                      <a:pt x="1286" y="143"/>
                    </a:cubicBezTo>
                    <a:cubicBezTo>
                      <a:pt x="1286" y="147"/>
                      <a:pt x="1286" y="147"/>
                      <a:pt x="1286" y="147"/>
                    </a:cubicBezTo>
                    <a:cubicBezTo>
                      <a:pt x="1284" y="149"/>
                      <a:pt x="1284" y="149"/>
                      <a:pt x="1284" y="149"/>
                    </a:cubicBezTo>
                    <a:cubicBezTo>
                      <a:pt x="1281" y="145"/>
                      <a:pt x="1281" y="145"/>
                      <a:pt x="1281" y="145"/>
                    </a:cubicBezTo>
                    <a:cubicBezTo>
                      <a:pt x="1278" y="144"/>
                      <a:pt x="1278" y="144"/>
                      <a:pt x="1278" y="144"/>
                    </a:cubicBezTo>
                    <a:cubicBezTo>
                      <a:pt x="1275" y="140"/>
                      <a:pt x="1275" y="140"/>
                      <a:pt x="1275" y="140"/>
                    </a:cubicBezTo>
                    <a:cubicBezTo>
                      <a:pt x="1274" y="142"/>
                      <a:pt x="1274" y="142"/>
                      <a:pt x="1274" y="142"/>
                    </a:cubicBezTo>
                    <a:cubicBezTo>
                      <a:pt x="1271" y="143"/>
                      <a:pt x="1271" y="143"/>
                      <a:pt x="1271" y="143"/>
                    </a:cubicBezTo>
                    <a:cubicBezTo>
                      <a:pt x="1266" y="143"/>
                      <a:pt x="1266" y="143"/>
                      <a:pt x="1266" y="143"/>
                    </a:cubicBezTo>
                    <a:cubicBezTo>
                      <a:pt x="1265" y="141"/>
                      <a:pt x="1265" y="141"/>
                      <a:pt x="1265" y="141"/>
                    </a:cubicBezTo>
                    <a:cubicBezTo>
                      <a:pt x="1264" y="145"/>
                      <a:pt x="1264" y="145"/>
                      <a:pt x="1264" y="145"/>
                    </a:cubicBezTo>
                    <a:cubicBezTo>
                      <a:pt x="1262" y="146"/>
                      <a:pt x="1262" y="146"/>
                      <a:pt x="1262" y="146"/>
                    </a:cubicBezTo>
                    <a:cubicBezTo>
                      <a:pt x="1258" y="142"/>
                      <a:pt x="1258" y="142"/>
                      <a:pt x="1258" y="142"/>
                    </a:cubicBezTo>
                    <a:cubicBezTo>
                      <a:pt x="1255" y="143"/>
                      <a:pt x="1255" y="143"/>
                      <a:pt x="1255" y="143"/>
                    </a:cubicBezTo>
                    <a:cubicBezTo>
                      <a:pt x="1256" y="147"/>
                      <a:pt x="1256" y="147"/>
                      <a:pt x="1256" y="147"/>
                    </a:cubicBezTo>
                    <a:cubicBezTo>
                      <a:pt x="1256" y="148"/>
                      <a:pt x="1256" y="148"/>
                      <a:pt x="1256" y="148"/>
                    </a:cubicBezTo>
                    <a:cubicBezTo>
                      <a:pt x="1252" y="152"/>
                      <a:pt x="1252" y="152"/>
                      <a:pt x="1252" y="152"/>
                    </a:cubicBezTo>
                    <a:cubicBezTo>
                      <a:pt x="1251" y="151"/>
                      <a:pt x="1251" y="151"/>
                      <a:pt x="1251" y="151"/>
                    </a:cubicBezTo>
                    <a:cubicBezTo>
                      <a:pt x="1250" y="148"/>
                      <a:pt x="1250" y="148"/>
                      <a:pt x="1250" y="148"/>
                    </a:cubicBezTo>
                    <a:cubicBezTo>
                      <a:pt x="1248" y="153"/>
                      <a:pt x="1248" y="153"/>
                      <a:pt x="1248" y="153"/>
                    </a:cubicBezTo>
                    <a:cubicBezTo>
                      <a:pt x="1249" y="158"/>
                      <a:pt x="1249" y="158"/>
                      <a:pt x="1249" y="158"/>
                    </a:cubicBezTo>
                    <a:cubicBezTo>
                      <a:pt x="1251" y="161"/>
                      <a:pt x="1251" y="161"/>
                      <a:pt x="1251" y="161"/>
                    </a:cubicBezTo>
                    <a:cubicBezTo>
                      <a:pt x="1252" y="166"/>
                      <a:pt x="1252" y="166"/>
                      <a:pt x="1252" y="166"/>
                    </a:cubicBezTo>
                    <a:cubicBezTo>
                      <a:pt x="1254" y="167"/>
                      <a:pt x="1254" y="167"/>
                      <a:pt x="1254" y="167"/>
                    </a:cubicBezTo>
                    <a:cubicBezTo>
                      <a:pt x="1255" y="172"/>
                      <a:pt x="1255" y="172"/>
                      <a:pt x="1255" y="172"/>
                    </a:cubicBezTo>
                    <a:cubicBezTo>
                      <a:pt x="1259" y="173"/>
                      <a:pt x="1259" y="173"/>
                      <a:pt x="1259" y="173"/>
                    </a:cubicBezTo>
                    <a:cubicBezTo>
                      <a:pt x="1260" y="177"/>
                      <a:pt x="1260" y="177"/>
                      <a:pt x="1260" y="177"/>
                    </a:cubicBezTo>
                    <a:cubicBezTo>
                      <a:pt x="1260" y="181"/>
                      <a:pt x="1260" y="181"/>
                      <a:pt x="1260" y="181"/>
                    </a:cubicBezTo>
                    <a:cubicBezTo>
                      <a:pt x="1263" y="185"/>
                      <a:pt x="1263" y="185"/>
                      <a:pt x="1263" y="185"/>
                    </a:cubicBezTo>
                    <a:cubicBezTo>
                      <a:pt x="1264" y="188"/>
                      <a:pt x="1264" y="188"/>
                      <a:pt x="1264" y="188"/>
                    </a:cubicBezTo>
                    <a:cubicBezTo>
                      <a:pt x="1262" y="192"/>
                      <a:pt x="1262" y="192"/>
                      <a:pt x="1262" y="192"/>
                    </a:cubicBezTo>
                    <a:cubicBezTo>
                      <a:pt x="1260" y="191"/>
                      <a:pt x="1260" y="191"/>
                      <a:pt x="1260" y="191"/>
                    </a:cubicBezTo>
                    <a:cubicBezTo>
                      <a:pt x="1259" y="188"/>
                      <a:pt x="1259" y="188"/>
                      <a:pt x="1259" y="188"/>
                    </a:cubicBezTo>
                    <a:cubicBezTo>
                      <a:pt x="1254" y="190"/>
                      <a:pt x="1254" y="190"/>
                      <a:pt x="1254" y="190"/>
                    </a:cubicBezTo>
                    <a:cubicBezTo>
                      <a:pt x="1251" y="189"/>
                      <a:pt x="1251" y="189"/>
                      <a:pt x="1251" y="189"/>
                    </a:cubicBezTo>
                    <a:cubicBezTo>
                      <a:pt x="1247" y="190"/>
                      <a:pt x="1247" y="190"/>
                      <a:pt x="1247" y="190"/>
                    </a:cubicBezTo>
                    <a:cubicBezTo>
                      <a:pt x="1249" y="193"/>
                      <a:pt x="1249" y="193"/>
                      <a:pt x="1249" y="193"/>
                    </a:cubicBezTo>
                    <a:cubicBezTo>
                      <a:pt x="1247" y="197"/>
                      <a:pt x="1247" y="197"/>
                      <a:pt x="1247" y="197"/>
                    </a:cubicBezTo>
                    <a:cubicBezTo>
                      <a:pt x="1243" y="197"/>
                      <a:pt x="1243" y="197"/>
                      <a:pt x="1243" y="197"/>
                    </a:cubicBezTo>
                    <a:cubicBezTo>
                      <a:pt x="1240" y="196"/>
                      <a:pt x="1240" y="196"/>
                      <a:pt x="1240" y="196"/>
                    </a:cubicBezTo>
                    <a:cubicBezTo>
                      <a:pt x="1232" y="201"/>
                      <a:pt x="1232" y="201"/>
                      <a:pt x="1232" y="201"/>
                    </a:cubicBezTo>
                    <a:cubicBezTo>
                      <a:pt x="1221" y="204"/>
                      <a:pt x="1221" y="204"/>
                      <a:pt x="1221" y="204"/>
                    </a:cubicBezTo>
                    <a:cubicBezTo>
                      <a:pt x="1216" y="202"/>
                      <a:pt x="1216" y="202"/>
                      <a:pt x="1216" y="202"/>
                    </a:cubicBezTo>
                    <a:cubicBezTo>
                      <a:pt x="1211" y="202"/>
                      <a:pt x="1211" y="202"/>
                      <a:pt x="1211" y="202"/>
                    </a:cubicBezTo>
                    <a:cubicBezTo>
                      <a:pt x="1209" y="203"/>
                      <a:pt x="1209" y="203"/>
                      <a:pt x="1209" y="203"/>
                    </a:cubicBezTo>
                    <a:cubicBezTo>
                      <a:pt x="1206" y="201"/>
                      <a:pt x="1206" y="201"/>
                      <a:pt x="1206" y="201"/>
                    </a:cubicBezTo>
                    <a:cubicBezTo>
                      <a:pt x="1190" y="201"/>
                      <a:pt x="1190" y="201"/>
                      <a:pt x="1190" y="201"/>
                    </a:cubicBezTo>
                    <a:cubicBezTo>
                      <a:pt x="1185" y="196"/>
                      <a:pt x="1185" y="196"/>
                      <a:pt x="1185" y="196"/>
                    </a:cubicBezTo>
                    <a:cubicBezTo>
                      <a:pt x="1183" y="188"/>
                      <a:pt x="1183" y="188"/>
                      <a:pt x="1183" y="188"/>
                    </a:cubicBezTo>
                    <a:cubicBezTo>
                      <a:pt x="1185" y="183"/>
                      <a:pt x="1185" y="183"/>
                      <a:pt x="1185" y="183"/>
                    </a:cubicBezTo>
                    <a:cubicBezTo>
                      <a:pt x="1187" y="182"/>
                      <a:pt x="1187" y="182"/>
                      <a:pt x="1187" y="182"/>
                    </a:cubicBezTo>
                    <a:cubicBezTo>
                      <a:pt x="1187" y="178"/>
                      <a:pt x="1187" y="178"/>
                      <a:pt x="1187" y="178"/>
                    </a:cubicBezTo>
                    <a:cubicBezTo>
                      <a:pt x="1182" y="176"/>
                      <a:pt x="1182" y="176"/>
                      <a:pt x="1182" y="176"/>
                    </a:cubicBezTo>
                    <a:cubicBezTo>
                      <a:pt x="1177" y="176"/>
                      <a:pt x="1177" y="176"/>
                      <a:pt x="1177" y="176"/>
                    </a:cubicBezTo>
                    <a:cubicBezTo>
                      <a:pt x="1165" y="182"/>
                      <a:pt x="1165" y="182"/>
                      <a:pt x="1165" y="182"/>
                    </a:cubicBezTo>
                    <a:cubicBezTo>
                      <a:pt x="1151" y="183"/>
                      <a:pt x="1151" y="183"/>
                      <a:pt x="1151" y="183"/>
                    </a:cubicBezTo>
                    <a:cubicBezTo>
                      <a:pt x="1139" y="187"/>
                      <a:pt x="1139" y="187"/>
                      <a:pt x="1139" y="187"/>
                    </a:cubicBezTo>
                    <a:cubicBezTo>
                      <a:pt x="1131" y="188"/>
                      <a:pt x="1131" y="188"/>
                      <a:pt x="1131" y="188"/>
                    </a:cubicBezTo>
                    <a:cubicBezTo>
                      <a:pt x="1130" y="191"/>
                      <a:pt x="1130" y="191"/>
                      <a:pt x="1130" y="191"/>
                    </a:cubicBezTo>
                    <a:cubicBezTo>
                      <a:pt x="1128" y="191"/>
                      <a:pt x="1128" y="191"/>
                      <a:pt x="1128" y="191"/>
                    </a:cubicBezTo>
                    <a:cubicBezTo>
                      <a:pt x="1126" y="194"/>
                      <a:pt x="1126" y="194"/>
                      <a:pt x="1126" y="194"/>
                    </a:cubicBezTo>
                    <a:cubicBezTo>
                      <a:pt x="1122" y="197"/>
                      <a:pt x="1122" y="197"/>
                      <a:pt x="1122" y="197"/>
                    </a:cubicBezTo>
                    <a:cubicBezTo>
                      <a:pt x="1117" y="202"/>
                      <a:pt x="1117" y="202"/>
                      <a:pt x="1117" y="202"/>
                    </a:cubicBezTo>
                    <a:cubicBezTo>
                      <a:pt x="1120" y="208"/>
                      <a:pt x="1120" y="208"/>
                      <a:pt x="1120" y="208"/>
                    </a:cubicBezTo>
                    <a:cubicBezTo>
                      <a:pt x="1122" y="209"/>
                      <a:pt x="1122" y="209"/>
                      <a:pt x="1122" y="209"/>
                    </a:cubicBezTo>
                    <a:cubicBezTo>
                      <a:pt x="1125" y="207"/>
                      <a:pt x="1125" y="207"/>
                      <a:pt x="1125" y="207"/>
                    </a:cubicBezTo>
                    <a:cubicBezTo>
                      <a:pt x="1127" y="208"/>
                      <a:pt x="1127" y="208"/>
                      <a:pt x="1127" y="208"/>
                    </a:cubicBezTo>
                    <a:cubicBezTo>
                      <a:pt x="1125" y="212"/>
                      <a:pt x="1125" y="212"/>
                      <a:pt x="1125" y="212"/>
                    </a:cubicBezTo>
                    <a:cubicBezTo>
                      <a:pt x="1123" y="212"/>
                      <a:pt x="1123" y="212"/>
                      <a:pt x="1123" y="212"/>
                    </a:cubicBezTo>
                    <a:cubicBezTo>
                      <a:pt x="1120" y="216"/>
                      <a:pt x="1120" y="216"/>
                      <a:pt x="1120" y="216"/>
                    </a:cubicBezTo>
                    <a:cubicBezTo>
                      <a:pt x="1120" y="219"/>
                      <a:pt x="1120" y="219"/>
                      <a:pt x="1120" y="219"/>
                    </a:cubicBezTo>
                    <a:cubicBezTo>
                      <a:pt x="1118" y="217"/>
                      <a:pt x="1118" y="217"/>
                      <a:pt x="1118" y="217"/>
                    </a:cubicBezTo>
                    <a:cubicBezTo>
                      <a:pt x="1118" y="209"/>
                      <a:pt x="1118" y="209"/>
                      <a:pt x="1118" y="209"/>
                    </a:cubicBezTo>
                    <a:cubicBezTo>
                      <a:pt x="1113" y="204"/>
                      <a:pt x="1113" y="204"/>
                      <a:pt x="1113" y="204"/>
                    </a:cubicBezTo>
                    <a:cubicBezTo>
                      <a:pt x="1112" y="201"/>
                      <a:pt x="1112" y="201"/>
                      <a:pt x="1112" y="201"/>
                    </a:cubicBezTo>
                    <a:cubicBezTo>
                      <a:pt x="1113" y="198"/>
                      <a:pt x="1113" y="198"/>
                      <a:pt x="1113" y="198"/>
                    </a:cubicBezTo>
                    <a:cubicBezTo>
                      <a:pt x="1109" y="194"/>
                      <a:pt x="1109" y="194"/>
                      <a:pt x="1109" y="194"/>
                    </a:cubicBezTo>
                    <a:cubicBezTo>
                      <a:pt x="1107" y="193"/>
                      <a:pt x="1107" y="193"/>
                      <a:pt x="1107" y="193"/>
                    </a:cubicBezTo>
                    <a:cubicBezTo>
                      <a:pt x="1100" y="185"/>
                      <a:pt x="1100" y="185"/>
                      <a:pt x="1100" y="185"/>
                    </a:cubicBezTo>
                    <a:cubicBezTo>
                      <a:pt x="1098" y="185"/>
                      <a:pt x="1098" y="185"/>
                      <a:pt x="1098" y="185"/>
                    </a:cubicBezTo>
                    <a:cubicBezTo>
                      <a:pt x="1098" y="187"/>
                      <a:pt x="1098" y="187"/>
                      <a:pt x="1098" y="187"/>
                    </a:cubicBezTo>
                    <a:cubicBezTo>
                      <a:pt x="1103" y="195"/>
                      <a:pt x="1103" y="195"/>
                      <a:pt x="1103" y="195"/>
                    </a:cubicBezTo>
                    <a:cubicBezTo>
                      <a:pt x="1104" y="200"/>
                      <a:pt x="1104" y="200"/>
                      <a:pt x="1104" y="200"/>
                    </a:cubicBezTo>
                    <a:cubicBezTo>
                      <a:pt x="1101" y="204"/>
                      <a:pt x="1101" y="204"/>
                      <a:pt x="1101" y="204"/>
                    </a:cubicBezTo>
                    <a:cubicBezTo>
                      <a:pt x="1094" y="205"/>
                      <a:pt x="1094" y="205"/>
                      <a:pt x="1094" y="205"/>
                    </a:cubicBezTo>
                    <a:cubicBezTo>
                      <a:pt x="1092" y="207"/>
                      <a:pt x="1092" y="207"/>
                      <a:pt x="1092" y="207"/>
                    </a:cubicBezTo>
                    <a:cubicBezTo>
                      <a:pt x="1087" y="206"/>
                      <a:pt x="1087" y="206"/>
                      <a:pt x="1087" y="206"/>
                    </a:cubicBezTo>
                    <a:cubicBezTo>
                      <a:pt x="1077" y="197"/>
                      <a:pt x="1077" y="197"/>
                      <a:pt x="1077" y="197"/>
                    </a:cubicBezTo>
                    <a:cubicBezTo>
                      <a:pt x="1077" y="192"/>
                      <a:pt x="1077" y="192"/>
                      <a:pt x="1077" y="192"/>
                    </a:cubicBezTo>
                    <a:cubicBezTo>
                      <a:pt x="1079" y="190"/>
                      <a:pt x="1079" y="190"/>
                      <a:pt x="1079" y="190"/>
                    </a:cubicBezTo>
                    <a:cubicBezTo>
                      <a:pt x="1078" y="186"/>
                      <a:pt x="1078" y="186"/>
                      <a:pt x="1078" y="186"/>
                    </a:cubicBezTo>
                    <a:cubicBezTo>
                      <a:pt x="1073" y="189"/>
                      <a:pt x="1073" y="189"/>
                      <a:pt x="1073" y="189"/>
                    </a:cubicBezTo>
                    <a:cubicBezTo>
                      <a:pt x="1073" y="194"/>
                      <a:pt x="1073" y="194"/>
                      <a:pt x="1073" y="194"/>
                    </a:cubicBezTo>
                    <a:cubicBezTo>
                      <a:pt x="1071" y="197"/>
                      <a:pt x="1071" y="197"/>
                      <a:pt x="1071" y="197"/>
                    </a:cubicBezTo>
                    <a:cubicBezTo>
                      <a:pt x="1065" y="192"/>
                      <a:pt x="1065" y="192"/>
                      <a:pt x="1065" y="192"/>
                    </a:cubicBezTo>
                    <a:cubicBezTo>
                      <a:pt x="1059" y="192"/>
                      <a:pt x="1059" y="192"/>
                      <a:pt x="1059" y="192"/>
                    </a:cubicBezTo>
                    <a:cubicBezTo>
                      <a:pt x="1056" y="196"/>
                      <a:pt x="1056" y="196"/>
                      <a:pt x="1056" y="196"/>
                    </a:cubicBezTo>
                    <a:cubicBezTo>
                      <a:pt x="1057" y="203"/>
                      <a:pt x="1057" y="203"/>
                      <a:pt x="1057" y="203"/>
                    </a:cubicBezTo>
                    <a:cubicBezTo>
                      <a:pt x="1054" y="208"/>
                      <a:pt x="1054" y="208"/>
                      <a:pt x="1054" y="208"/>
                    </a:cubicBezTo>
                    <a:cubicBezTo>
                      <a:pt x="1056" y="214"/>
                      <a:pt x="1056" y="214"/>
                      <a:pt x="1056" y="214"/>
                    </a:cubicBezTo>
                    <a:cubicBezTo>
                      <a:pt x="1060" y="216"/>
                      <a:pt x="1060" y="216"/>
                      <a:pt x="1060" y="216"/>
                    </a:cubicBezTo>
                    <a:cubicBezTo>
                      <a:pt x="1066" y="212"/>
                      <a:pt x="1066" y="212"/>
                      <a:pt x="1066" y="212"/>
                    </a:cubicBezTo>
                    <a:cubicBezTo>
                      <a:pt x="1066" y="209"/>
                      <a:pt x="1066" y="209"/>
                      <a:pt x="1066" y="209"/>
                    </a:cubicBezTo>
                    <a:cubicBezTo>
                      <a:pt x="1073" y="204"/>
                      <a:pt x="1073" y="204"/>
                      <a:pt x="1073" y="204"/>
                    </a:cubicBezTo>
                    <a:cubicBezTo>
                      <a:pt x="1075" y="207"/>
                      <a:pt x="1075" y="207"/>
                      <a:pt x="1075" y="207"/>
                    </a:cubicBezTo>
                    <a:cubicBezTo>
                      <a:pt x="1074" y="212"/>
                      <a:pt x="1074" y="212"/>
                      <a:pt x="1074" y="212"/>
                    </a:cubicBezTo>
                    <a:cubicBezTo>
                      <a:pt x="1067" y="218"/>
                      <a:pt x="1067" y="218"/>
                      <a:pt x="1067" y="218"/>
                    </a:cubicBezTo>
                    <a:cubicBezTo>
                      <a:pt x="1070" y="221"/>
                      <a:pt x="1070" y="221"/>
                      <a:pt x="1070" y="221"/>
                    </a:cubicBezTo>
                    <a:cubicBezTo>
                      <a:pt x="1067" y="226"/>
                      <a:pt x="1067" y="226"/>
                      <a:pt x="1067" y="226"/>
                    </a:cubicBezTo>
                    <a:cubicBezTo>
                      <a:pt x="1062" y="228"/>
                      <a:pt x="1062" y="228"/>
                      <a:pt x="1062" y="228"/>
                    </a:cubicBezTo>
                    <a:cubicBezTo>
                      <a:pt x="1059" y="225"/>
                      <a:pt x="1059" y="225"/>
                      <a:pt x="1059" y="225"/>
                    </a:cubicBezTo>
                    <a:cubicBezTo>
                      <a:pt x="1059" y="227"/>
                      <a:pt x="1059" y="227"/>
                      <a:pt x="1059" y="227"/>
                    </a:cubicBezTo>
                    <a:cubicBezTo>
                      <a:pt x="1061" y="232"/>
                      <a:pt x="1061" y="232"/>
                      <a:pt x="1061" y="232"/>
                    </a:cubicBezTo>
                    <a:cubicBezTo>
                      <a:pt x="1058" y="237"/>
                      <a:pt x="1058" y="237"/>
                      <a:pt x="1058" y="237"/>
                    </a:cubicBezTo>
                    <a:cubicBezTo>
                      <a:pt x="1053" y="242"/>
                      <a:pt x="1053" y="242"/>
                      <a:pt x="1053" y="242"/>
                    </a:cubicBezTo>
                    <a:cubicBezTo>
                      <a:pt x="1055" y="245"/>
                      <a:pt x="1055" y="245"/>
                      <a:pt x="1055" y="245"/>
                    </a:cubicBezTo>
                    <a:cubicBezTo>
                      <a:pt x="1053" y="248"/>
                      <a:pt x="1053" y="248"/>
                      <a:pt x="1053" y="248"/>
                    </a:cubicBezTo>
                    <a:cubicBezTo>
                      <a:pt x="1050" y="248"/>
                      <a:pt x="1050" y="248"/>
                      <a:pt x="1050" y="248"/>
                    </a:cubicBezTo>
                    <a:cubicBezTo>
                      <a:pt x="1045" y="253"/>
                      <a:pt x="1045" y="253"/>
                      <a:pt x="1045" y="253"/>
                    </a:cubicBezTo>
                    <a:cubicBezTo>
                      <a:pt x="1038" y="254"/>
                      <a:pt x="1038" y="254"/>
                      <a:pt x="1038" y="254"/>
                    </a:cubicBezTo>
                    <a:cubicBezTo>
                      <a:pt x="1032" y="255"/>
                      <a:pt x="1032" y="255"/>
                      <a:pt x="1032" y="255"/>
                    </a:cubicBezTo>
                    <a:cubicBezTo>
                      <a:pt x="1030" y="260"/>
                      <a:pt x="1030" y="260"/>
                      <a:pt x="1030" y="260"/>
                    </a:cubicBezTo>
                    <a:cubicBezTo>
                      <a:pt x="1032" y="266"/>
                      <a:pt x="1032" y="266"/>
                      <a:pt x="1032" y="266"/>
                    </a:cubicBezTo>
                    <a:cubicBezTo>
                      <a:pt x="1038" y="273"/>
                      <a:pt x="1038" y="273"/>
                      <a:pt x="1038" y="273"/>
                    </a:cubicBezTo>
                    <a:cubicBezTo>
                      <a:pt x="1041" y="274"/>
                      <a:pt x="1041" y="274"/>
                      <a:pt x="1041" y="274"/>
                    </a:cubicBezTo>
                    <a:cubicBezTo>
                      <a:pt x="1038" y="275"/>
                      <a:pt x="1038" y="275"/>
                      <a:pt x="1038" y="275"/>
                    </a:cubicBezTo>
                    <a:cubicBezTo>
                      <a:pt x="1033" y="275"/>
                      <a:pt x="1033" y="275"/>
                      <a:pt x="1033" y="275"/>
                    </a:cubicBezTo>
                    <a:cubicBezTo>
                      <a:pt x="1032" y="278"/>
                      <a:pt x="1032" y="278"/>
                      <a:pt x="1032" y="278"/>
                    </a:cubicBezTo>
                    <a:cubicBezTo>
                      <a:pt x="1033" y="280"/>
                      <a:pt x="1033" y="280"/>
                      <a:pt x="1033" y="280"/>
                    </a:cubicBezTo>
                    <a:cubicBezTo>
                      <a:pt x="1031" y="284"/>
                      <a:pt x="1031" y="284"/>
                      <a:pt x="1031" y="284"/>
                    </a:cubicBezTo>
                    <a:cubicBezTo>
                      <a:pt x="1028" y="288"/>
                      <a:pt x="1028" y="288"/>
                      <a:pt x="1028" y="288"/>
                    </a:cubicBezTo>
                    <a:cubicBezTo>
                      <a:pt x="1024" y="289"/>
                      <a:pt x="1024" y="289"/>
                      <a:pt x="1024" y="289"/>
                    </a:cubicBezTo>
                    <a:cubicBezTo>
                      <a:pt x="1023" y="292"/>
                      <a:pt x="1023" y="292"/>
                      <a:pt x="1023" y="292"/>
                    </a:cubicBezTo>
                    <a:cubicBezTo>
                      <a:pt x="1024" y="287"/>
                      <a:pt x="1024" y="287"/>
                      <a:pt x="1024" y="287"/>
                    </a:cubicBezTo>
                    <a:cubicBezTo>
                      <a:pt x="1027" y="285"/>
                      <a:pt x="1027" y="285"/>
                      <a:pt x="1027" y="285"/>
                    </a:cubicBezTo>
                    <a:cubicBezTo>
                      <a:pt x="1029" y="273"/>
                      <a:pt x="1029" y="273"/>
                      <a:pt x="1029" y="273"/>
                    </a:cubicBezTo>
                    <a:cubicBezTo>
                      <a:pt x="1027" y="271"/>
                      <a:pt x="1027" y="271"/>
                      <a:pt x="1027" y="271"/>
                    </a:cubicBezTo>
                    <a:cubicBezTo>
                      <a:pt x="1026" y="267"/>
                      <a:pt x="1026" y="267"/>
                      <a:pt x="1026" y="267"/>
                    </a:cubicBezTo>
                    <a:cubicBezTo>
                      <a:pt x="1028" y="265"/>
                      <a:pt x="1028" y="265"/>
                      <a:pt x="1028" y="265"/>
                    </a:cubicBezTo>
                    <a:cubicBezTo>
                      <a:pt x="1028" y="260"/>
                      <a:pt x="1028" y="260"/>
                      <a:pt x="1028" y="260"/>
                    </a:cubicBezTo>
                    <a:cubicBezTo>
                      <a:pt x="1026" y="254"/>
                      <a:pt x="1026" y="254"/>
                      <a:pt x="1026" y="254"/>
                    </a:cubicBezTo>
                    <a:cubicBezTo>
                      <a:pt x="1028" y="248"/>
                      <a:pt x="1028" y="248"/>
                      <a:pt x="1028" y="248"/>
                    </a:cubicBezTo>
                    <a:cubicBezTo>
                      <a:pt x="1031" y="245"/>
                      <a:pt x="1031" y="245"/>
                      <a:pt x="1031" y="245"/>
                    </a:cubicBezTo>
                    <a:cubicBezTo>
                      <a:pt x="1032" y="241"/>
                      <a:pt x="1032" y="241"/>
                      <a:pt x="1032" y="241"/>
                    </a:cubicBezTo>
                    <a:cubicBezTo>
                      <a:pt x="1030" y="233"/>
                      <a:pt x="1030" y="233"/>
                      <a:pt x="1030" y="233"/>
                    </a:cubicBezTo>
                    <a:cubicBezTo>
                      <a:pt x="1029" y="230"/>
                      <a:pt x="1029" y="230"/>
                      <a:pt x="1029" y="230"/>
                    </a:cubicBezTo>
                    <a:cubicBezTo>
                      <a:pt x="1031" y="228"/>
                      <a:pt x="1031" y="228"/>
                      <a:pt x="1031" y="228"/>
                    </a:cubicBezTo>
                    <a:cubicBezTo>
                      <a:pt x="1033" y="227"/>
                      <a:pt x="1033" y="227"/>
                      <a:pt x="1033" y="227"/>
                    </a:cubicBezTo>
                    <a:cubicBezTo>
                      <a:pt x="1034" y="228"/>
                      <a:pt x="1034" y="228"/>
                      <a:pt x="1034" y="228"/>
                    </a:cubicBezTo>
                    <a:cubicBezTo>
                      <a:pt x="1039" y="226"/>
                      <a:pt x="1039" y="226"/>
                      <a:pt x="1039" y="226"/>
                    </a:cubicBezTo>
                    <a:cubicBezTo>
                      <a:pt x="1043" y="216"/>
                      <a:pt x="1043" y="216"/>
                      <a:pt x="1043" y="216"/>
                    </a:cubicBezTo>
                    <a:cubicBezTo>
                      <a:pt x="1042" y="213"/>
                      <a:pt x="1042" y="213"/>
                      <a:pt x="1042" y="213"/>
                    </a:cubicBezTo>
                    <a:cubicBezTo>
                      <a:pt x="1040" y="208"/>
                      <a:pt x="1040" y="208"/>
                      <a:pt x="1040" y="208"/>
                    </a:cubicBezTo>
                    <a:cubicBezTo>
                      <a:pt x="1042" y="197"/>
                      <a:pt x="1042" y="197"/>
                      <a:pt x="1042" y="197"/>
                    </a:cubicBezTo>
                    <a:cubicBezTo>
                      <a:pt x="1045" y="193"/>
                      <a:pt x="1045" y="193"/>
                      <a:pt x="1045" y="193"/>
                    </a:cubicBezTo>
                    <a:cubicBezTo>
                      <a:pt x="1048" y="185"/>
                      <a:pt x="1048" y="185"/>
                      <a:pt x="1048" y="185"/>
                    </a:cubicBezTo>
                    <a:cubicBezTo>
                      <a:pt x="1046" y="179"/>
                      <a:pt x="1046" y="179"/>
                      <a:pt x="1046" y="179"/>
                    </a:cubicBezTo>
                    <a:cubicBezTo>
                      <a:pt x="1045" y="179"/>
                      <a:pt x="1045" y="179"/>
                      <a:pt x="1045" y="179"/>
                    </a:cubicBezTo>
                    <a:cubicBezTo>
                      <a:pt x="1043" y="182"/>
                      <a:pt x="1043" y="182"/>
                      <a:pt x="1043" y="182"/>
                    </a:cubicBezTo>
                    <a:cubicBezTo>
                      <a:pt x="1040" y="182"/>
                      <a:pt x="1040" y="182"/>
                      <a:pt x="1040" y="182"/>
                    </a:cubicBezTo>
                    <a:cubicBezTo>
                      <a:pt x="1036" y="180"/>
                      <a:pt x="1036" y="180"/>
                      <a:pt x="1036" y="180"/>
                    </a:cubicBezTo>
                    <a:cubicBezTo>
                      <a:pt x="1039" y="180"/>
                      <a:pt x="1039" y="180"/>
                      <a:pt x="1039" y="180"/>
                    </a:cubicBezTo>
                    <a:cubicBezTo>
                      <a:pt x="1044" y="176"/>
                      <a:pt x="1044" y="176"/>
                      <a:pt x="1044" y="176"/>
                    </a:cubicBezTo>
                    <a:cubicBezTo>
                      <a:pt x="1047" y="174"/>
                      <a:pt x="1047" y="174"/>
                      <a:pt x="1047" y="174"/>
                    </a:cubicBezTo>
                    <a:cubicBezTo>
                      <a:pt x="1049" y="170"/>
                      <a:pt x="1049" y="170"/>
                      <a:pt x="1049" y="170"/>
                    </a:cubicBezTo>
                    <a:cubicBezTo>
                      <a:pt x="1048" y="167"/>
                      <a:pt x="1048" y="167"/>
                      <a:pt x="1048" y="167"/>
                    </a:cubicBezTo>
                    <a:cubicBezTo>
                      <a:pt x="1050" y="165"/>
                      <a:pt x="1050" y="165"/>
                      <a:pt x="1050" y="165"/>
                    </a:cubicBezTo>
                    <a:cubicBezTo>
                      <a:pt x="1053" y="158"/>
                      <a:pt x="1053" y="158"/>
                      <a:pt x="1053" y="158"/>
                    </a:cubicBezTo>
                    <a:cubicBezTo>
                      <a:pt x="1052" y="155"/>
                      <a:pt x="1052" y="155"/>
                      <a:pt x="1052" y="155"/>
                    </a:cubicBezTo>
                    <a:cubicBezTo>
                      <a:pt x="1053" y="151"/>
                      <a:pt x="1053" y="151"/>
                      <a:pt x="1053" y="151"/>
                    </a:cubicBezTo>
                    <a:cubicBezTo>
                      <a:pt x="1058" y="148"/>
                      <a:pt x="1058" y="148"/>
                      <a:pt x="1058" y="148"/>
                    </a:cubicBezTo>
                    <a:cubicBezTo>
                      <a:pt x="1058" y="145"/>
                      <a:pt x="1058" y="145"/>
                      <a:pt x="1058" y="145"/>
                    </a:cubicBezTo>
                    <a:cubicBezTo>
                      <a:pt x="1055" y="142"/>
                      <a:pt x="1055" y="142"/>
                      <a:pt x="1055" y="142"/>
                    </a:cubicBezTo>
                    <a:cubicBezTo>
                      <a:pt x="1055" y="140"/>
                      <a:pt x="1055" y="140"/>
                      <a:pt x="1055" y="140"/>
                    </a:cubicBezTo>
                    <a:cubicBezTo>
                      <a:pt x="1058" y="134"/>
                      <a:pt x="1058" y="134"/>
                      <a:pt x="1058" y="134"/>
                    </a:cubicBezTo>
                    <a:cubicBezTo>
                      <a:pt x="1057" y="130"/>
                      <a:pt x="1057" y="130"/>
                      <a:pt x="1057" y="130"/>
                    </a:cubicBezTo>
                    <a:cubicBezTo>
                      <a:pt x="1058" y="127"/>
                      <a:pt x="1058" y="127"/>
                      <a:pt x="1058" y="127"/>
                    </a:cubicBezTo>
                    <a:cubicBezTo>
                      <a:pt x="1060" y="126"/>
                      <a:pt x="1060" y="126"/>
                      <a:pt x="1060" y="126"/>
                    </a:cubicBezTo>
                    <a:cubicBezTo>
                      <a:pt x="1062" y="119"/>
                      <a:pt x="1062" y="119"/>
                      <a:pt x="1062" y="119"/>
                    </a:cubicBezTo>
                    <a:cubicBezTo>
                      <a:pt x="1063" y="111"/>
                      <a:pt x="1063" y="111"/>
                      <a:pt x="1063" y="111"/>
                    </a:cubicBezTo>
                    <a:cubicBezTo>
                      <a:pt x="1061" y="103"/>
                      <a:pt x="1061" y="103"/>
                      <a:pt x="1061" y="103"/>
                    </a:cubicBezTo>
                    <a:cubicBezTo>
                      <a:pt x="1058" y="96"/>
                      <a:pt x="1058" y="96"/>
                      <a:pt x="1058" y="96"/>
                    </a:cubicBezTo>
                    <a:cubicBezTo>
                      <a:pt x="1059" y="94"/>
                      <a:pt x="1059" y="94"/>
                      <a:pt x="1059" y="94"/>
                    </a:cubicBezTo>
                    <a:cubicBezTo>
                      <a:pt x="1058" y="91"/>
                      <a:pt x="1058" y="91"/>
                      <a:pt x="1058" y="91"/>
                    </a:cubicBezTo>
                    <a:cubicBezTo>
                      <a:pt x="1056" y="90"/>
                      <a:pt x="1056" y="90"/>
                      <a:pt x="1056" y="90"/>
                    </a:cubicBezTo>
                    <a:cubicBezTo>
                      <a:pt x="1054" y="91"/>
                      <a:pt x="1054" y="91"/>
                      <a:pt x="1054" y="91"/>
                    </a:cubicBezTo>
                    <a:cubicBezTo>
                      <a:pt x="1052" y="89"/>
                      <a:pt x="1052" y="89"/>
                      <a:pt x="1052" y="89"/>
                    </a:cubicBezTo>
                    <a:cubicBezTo>
                      <a:pt x="1050" y="86"/>
                      <a:pt x="1050" y="86"/>
                      <a:pt x="1050" y="86"/>
                    </a:cubicBezTo>
                    <a:cubicBezTo>
                      <a:pt x="1049" y="86"/>
                      <a:pt x="1049" y="86"/>
                      <a:pt x="1049" y="86"/>
                    </a:cubicBezTo>
                    <a:cubicBezTo>
                      <a:pt x="1047" y="91"/>
                      <a:pt x="1047" y="91"/>
                      <a:pt x="1047" y="91"/>
                    </a:cubicBezTo>
                    <a:cubicBezTo>
                      <a:pt x="1046" y="93"/>
                      <a:pt x="1046" y="93"/>
                      <a:pt x="1046" y="93"/>
                    </a:cubicBezTo>
                    <a:cubicBezTo>
                      <a:pt x="1044" y="91"/>
                      <a:pt x="1044" y="91"/>
                      <a:pt x="1044" y="91"/>
                    </a:cubicBezTo>
                    <a:cubicBezTo>
                      <a:pt x="1041" y="86"/>
                      <a:pt x="1041" y="86"/>
                      <a:pt x="1041" y="86"/>
                    </a:cubicBezTo>
                    <a:cubicBezTo>
                      <a:pt x="1042" y="84"/>
                      <a:pt x="1042" y="84"/>
                      <a:pt x="1042" y="84"/>
                    </a:cubicBezTo>
                    <a:cubicBezTo>
                      <a:pt x="1040" y="83"/>
                      <a:pt x="1040" y="83"/>
                      <a:pt x="1040" y="83"/>
                    </a:cubicBezTo>
                    <a:cubicBezTo>
                      <a:pt x="1036" y="82"/>
                      <a:pt x="1036" y="82"/>
                      <a:pt x="1036" y="82"/>
                    </a:cubicBezTo>
                    <a:cubicBezTo>
                      <a:pt x="1033" y="78"/>
                      <a:pt x="1033" y="78"/>
                      <a:pt x="1033" y="78"/>
                    </a:cubicBezTo>
                    <a:cubicBezTo>
                      <a:pt x="1034" y="77"/>
                      <a:pt x="1034" y="77"/>
                      <a:pt x="1034" y="77"/>
                    </a:cubicBezTo>
                    <a:cubicBezTo>
                      <a:pt x="1039" y="77"/>
                      <a:pt x="1039" y="77"/>
                      <a:pt x="1039" y="77"/>
                    </a:cubicBezTo>
                    <a:cubicBezTo>
                      <a:pt x="1045" y="80"/>
                      <a:pt x="1045" y="80"/>
                      <a:pt x="1045" y="80"/>
                    </a:cubicBezTo>
                    <a:cubicBezTo>
                      <a:pt x="1048" y="83"/>
                      <a:pt x="1048" y="83"/>
                      <a:pt x="1048" y="83"/>
                    </a:cubicBezTo>
                    <a:cubicBezTo>
                      <a:pt x="1050" y="81"/>
                      <a:pt x="1050" y="81"/>
                      <a:pt x="1050" y="81"/>
                    </a:cubicBezTo>
                    <a:cubicBezTo>
                      <a:pt x="1051" y="80"/>
                      <a:pt x="1051" y="80"/>
                      <a:pt x="1051" y="80"/>
                    </a:cubicBezTo>
                    <a:cubicBezTo>
                      <a:pt x="1053" y="83"/>
                      <a:pt x="1053" y="83"/>
                      <a:pt x="1053" y="83"/>
                    </a:cubicBezTo>
                    <a:cubicBezTo>
                      <a:pt x="1053" y="85"/>
                      <a:pt x="1053" y="85"/>
                      <a:pt x="1053" y="85"/>
                    </a:cubicBezTo>
                    <a:cubicBezTo>
                      <a:pt x="1054" y="86"/>
                      <a:pt x="1054" y="86"/>
                      <a:pt x="1054" y="86"/>
                    </a:cubicBezTo>
                    <a:cubicBezTo>
                      <a:pt x="1055" y="82"/>
                      <a:pt x="1055" y="82"/>
                      <a:pt x="1055" y="82"/>
                    </a:cubicBezTo>
                    <a:cubicBezTo>
                      <a:pt x="1052" y="78"/>
                      <a:pt x="1052" y="78"/>
                      <a:pt x="1052" y="78"/>
                    </a:cubicBezTo>
                    <a:cubicBezTo>
                      <a:pt x="1051" y="74"/>
                      <a:pt x="1051" y="74"/>
                      <a:pt x="1051" y="74"/>
                    </a:cubicBezTo>
                    <a:cubicBezTo>
                      <a:pt x="1049" y="69"/>
                      <a:pt x="1049" y="69"/>
                      <a:pt x="1049" y="69"/>
                    </a:cubicBezTo>
                    <a:cubicBezTo>
                      <a:pt x="1047" y="68"/>
                      <a:pt x="1047" y="68"/>
                      <a:pt x="1047" y="68"/>
                    </a:cubicBezTo>
                    <a:cubicBezTo>
                      <a:pt x="1045" y="68"/>
                      <a:pt x="1045" y="68"/>
                      <a:pt x="1045" y="68"/>
                    </a:cubicBezTo>
                    <a:cubicBezTo>
                      <a:pt x="1043" y="69"/>
                      <a:pt x="1043" y="69"/>
                      <a:pt x="1043" y="69"/>
                    </a:cubicBezTo>
                    <a:cubicBezTo>
                      <a:pt x="1041" y="68"/>
                      <a:pt x="1041" y="68"/>
                      <a:pt x="1041" y="68"/>
                    </a:cubicBezTo>
                    <a:cubicBezTo>
                      <a:pt x="1040" y="63"/>
                      <a:pt x="1040" y="63"/>
                      <a:pt x="1040" y="63"/>
                    </a:cubicBezTo>
                    <a:cubicBezTo>
                      <a:pt x="1035" y="58"/>
                      <a:pt x="1035" y="58"/>
                      <a:pt x="1035" y="58"/>
                    </a:cubicBezTo>
                    <a:cubicBezTo>
                      <a:pt x="1035" y="54"/>
                      <a:pt x="1035" y="54"/>
                      <a:pt x="1035" y="54"/>
                    </a:cubicBezTo>
                    <a:cubicBezTo>
                      <a:pt x="1032" y="51"/>
                      <a:pt x="1032" y="51"/>
                      <a:pt x="1032" y="51"/>
                    </a:cubicBezTo>
                    <a:cubicBezTo>
                      <a:pt x="1030" y="48"/>
                      <a:pt x="1030" y="48"/>
                      <a:pt x="1030" y="48"/>
                    </a:cubicBezTo>
                    <a:cubicBezTo>
                      <a:pt x="1028" y="47"/>
                      <a:pt x="1028" y="47"/>
                      <a:pt x="1028" y="47"/>
                    </a:cubicBezTo>
                    <a:cubicBezTo>
                      <a:pt x="1025" y="50"/>
                      <a:pt x="1025" y="50"/>
                      <a:pt x="1025" y="50"/>
                    </a:cubicBezTo>
                    <a:cubicBezTo>
                      <a:pt x="1025" y="54"/>
                      <a:pt x="1025" y="54"/>
                      <a:pt x="1025" y="54"/>
                    </a:cubicBezTo>
                    <a:cubicBezTo>
                      <a:pt x="1028" y="54"/>
                      <a:pt x="1028" y="54"/>
                      <a:pt x="1028" y="54"/>
                    </a:cubicBezTo>
                    <a:cubicBezTo>
                      <a:pt x="1030" y="56"/>
                      <a:pt x="1030" y="56"/>
                      <a:pt x="1030" y="56"/>
                    </a:cubicBezTo>
                    <a:cubicBezTo>
                      <a:pt x="1030" y="59"/>
                      <a:pt x="1030" y="59"/>
                      <a:pt x="1030" y="59"/>
                    </a:cubicBezTo>
                    <a:cubicBezTo>
                      <a:pt x="1028" y="60"/>
                      <a:pt x="1028" y="60"/>
                      <a:pt x="1028" y="60"/>
                    </a:cubicBezTo>
                    <a:cubicBezTo>
                      <a:pt x="1028" y="63"/>
                      <a:pt x="1028" y="63"/>
                      <a:pt x="1028" y="63"/>
                    </a:cubicBezTo>
                    <a:cubicBezTo>
                      <a:pt x="1026" y="64"/>
                      <a:pt x="1026" y="64"/>
                      <a:pt x="1026" y="64"/>
                    </a:cubicBezTo>
                    <a:cubicBezTo>
                      <a:pt x="1020" y="56"/>
                      <a:pt x="1020" y="56"/>
                      <a:pt x="1020" y="56"/>
                    </a:cubicBezTo>
                    <a:cubicBezTo>
                      <a:pt x="1020" y="52"/>
                      <a:pt x="1020" y="52"/>
                      <a:pt x="1020" y="52"/>
                    </a:cubicBezTo>
                    <a:cubicBezTo>
                      <a:pt x="1018" y="48"/>
                      <a:pt x="1018" y="48"/>
                      <a:pt x="1018" y="48"/>
                    </a:cubicBezTo>
                    <a:cubicBezTo>
                      <a:pt x="1015" y="47"/>
                      <a:pt x="1015" y="47"/>
                      <a:pt x="1015" y="47"/>
                    </a:cubicBezTo>
                    <a:cubicBezTo>
                      <a:pt x="1001" y="37"/>
                      <a:pt x="1001" y="37"/>
                      <a:pt x="1001" y="37"/>
                    </a:cubicBezTo>
                    <a:cubicBezTo>
                      <a:pt x="998" y="36"/>
                      <a:pt x="998" y="36"/>
                      <a:pt x="998" y="36"/>
                    </a:cubicBezTo>
                    <a:cubicBezTo>
                      <a:pt x="997" y="35"/>
                      <a:pt x="997" y="35"/>
                      <a:pt x="997" y="35"/>
                    </a:cubicBezTo>
                    <a:cubicBezTo>
                      <a:pt x="989" y="35"/>
                      <a:pt x="989" y="35"/>
                      <a:pt x="989" y="35"/>
                    </a:cubicBezTo>
                    <a:cubicBezTo>
                      <a:pt x="988" y="32"/>
                      <a:pt x="988" y="32"/>
                      <a:pt x="988" y="32"/>
                    </a:cubicBezTo>
                    <a:cubicBezTo>
                      <a:pt x="989" y="29"/>
                      <a:pt x="989" y="29"/>
                      <a:pt x="989" y="29"/>
                    </a:cubicBezTo>
                    <a:cubicBezTo>
                      <a:pt x="989" y="27"/>
                      <a:pt x="989" y="27"/>
                      <a:pt x="989" y="27"/>
                    </a:cubicBezTo>
                    <a:cubicBezTo>
                      <a:pt x="985" y="28"/>
                      <a:pt x="985" y="28"/>
                      <a:pt x="985" y="28"/>
                    </a:cubicBezTo>
                    <a:cubicBezTo>
                      <a:pt x="983" y="26"/>
                      <a:pt x="983" y="26"/>
                      <a:pt x="983" y="26"/>
                    </a:cubicBezTo>
                    <a:cubicBezTo>
                      <a:pt x="980" y="27"/>
                      <a:pt x="980" y="27"/>
                      <a:pt x="980" y="27"/>
                    </a:cubicBezTo>
                    <a:cubicBezTo>
                      <a:pt x="977" y="30"/>
                      <a:pt x="977" y="30"/>
                      <a:pt x="977" y="30"/>
                    </a:cubicBezTo>
                    <a:cubicBezTo>
                      <a:pt x="975" y="29"/>
                      <a:pt x="975" y="29"/>
                      <a:pt x="975" y="29"/>
                    </a:cubicBezTo>
                    <a:cubicBezTo>
                      <a:pt x="972" y="33"/>
                      <a:pt x="972" y="33"/>
                      <a:pt x="972" y="33"/>
                    </a:cubicBezTo>
                    <a:cubicBezTo>
                      <a:pt x="971" y="37"/>
                      <a:pt x="971" y="37"/>
                      <a:pt x="971" y="37"/>
                    </a:cubicBezTo>
                    <a:cubicBezTo>
                      <a:pt x="966" y="37"/>
                      <a:pt x="966" y="37"/>
                      <a:pt x="966" y="37"/>
                    </a:cubicBezTo>
                    <a:cubicBezTo>
                      <a:pt x="963" y="37"/>
                      <a:pt x="963" y="37"/>
                      <a:pt x="963" y="37"/>
                    </a:cubicBezTo>
                    <a:cubicBezTo>
                      <a:pt x="959" y="42"/>
                      <a:pt x="959" y="42"/>
                      <a:pt x="959" y="42"/>
                    </a:cubicBezTo>
                    <a:cubicBezTo>
                      <a:pt x="953" y="44"/>
                      <a:pt x="953" y="44"/>
                      <a:pt x="953" y="44"/>
                    </a:cubicBezTo>
                    <a:cubicBezTo>
                      <a:pt x="950" y="45"/>
                      <a:pt x="950" y="45"/>
                      <a:pt x="950" y="45"/>
                    </a:cubicBezTo>
                    <a:cubicBezTo>
                      <a:pt x="948" y="44"/>
                      <a:pt x="948" y="44"/>
                      <a:pt x="948" y="44"/>
                    </a:cubicBezTo>
                    <a:cubicBezTo>
                      <a:pt x="946" y="44"/>
                      <a:pt x="946" y="44"/>
                      <a:pt x="946" y="44"/>
                    </a:cubicBezTo>
                    <a:cubicBezTo>
                      <a:pt x="944" y="45"/>
                      <a:pt x="944" y="45"/>
                      <a:pt x="944" y="45"/>
                    </a:cubicBezTo>
                    <a:cubicBezTo>
                      <a:pt x="944" y="50"/>
                      <a:pt x="944" y="50"/>
                      <a:pt x="944" y="50"/>
                    </a:cubicBezTo>
                    <a:cubicBezTo>
                      <a:pt x="947" y="51"/>
                      <a:pt x="947" y="51"/>
                      <a:pt x="947" y="51"/>
                    </a:cubicBezTo>
                    <a:cubicBezTo>
                      <a:pt x="949" y="51"/>
                      <a:pt x="949" y="51"/>
                      <a:pt x="949" y="51"/>
                    </a:cubicBezTo>
                    <a:cubicBezTo>
                      <a:pt x="951" y="57"/>
                      <a:pt x="951" y="57"/>
                      <a:pt x="951" y="57"/>
                    </a:cubicBezTo>
                    <a:cubicBezTo>
                      <a:pt x="951" y="65"/>
                      <a:pt x="951" y="65"/>
                      <a:pt x="951" y="65"/>
                    </a:cubicBezTo>
                    <a:cubicBezTo>
                      <a:pt x="949" y="71"/>
                      <a:pt x="949" y="71"/>
                      <a:pt x="949" y="71"/>
                    </a:cubicBezTo>
                    <a:cubicBezTo>
                      <a:pt x="944" y="71"/>
                      <a:pt x="944" y="71"/>
                      <a:pt x="944" y="71"/>
                    </a:cubicBezTo>
                    <a:cubicBezTo>
                      <a:pt x="939" y="76"/>
                      <a:pt x="939" y="76"/>
                      <a:pt x="939" y="76"/>
                    </a:cubicBezTo>
                    <a:cubicBezTo>
                      <a:pt x="932" y="78"/>
                      <a:pt x="932" y="78"/>
                      <a:pt x="932" y="78"/>
                    </a:cubicBezTo>
                    <a:cubicBezTo>
                      <a:pt x="930" y="77"/>
                      <a:pt x="930" y="77"/>
                      <a:pt x="930" y="77"/>
                    </a:cubicBezTo>
                    <a:cubicBezTo>
                      <a:pt x="933" y="74"/>
                      <a:pt x="933" y="74"/>
                      <a:pt x="933" y="74"/>
                    </a:cubicBezTo>
                    <a:cubicBezTo>
                      <a:pt x="936" y="73"/>
                      <a:pt x="936" y="73"/>
                      <a:pt x="936" y="73"/>
                    </a:cubicBezTo>
                    <a:cubicBezTo>
                      <a:pt x="936" y="68"/>
                      <a:pt x="936" y="68"/>
                      <a:pt x="936" y="68"/>
                    </a:cubicBezTo>
                    <a:cubicBezTo>
                      <a:pt x="932" y="59"/>
                      <a:pt x="932" y="59"/>
                      <a:pt x="932" y="59"/>
                    </a:cubicBezTo>
                    <a:cubicBezTo>
                      <a:pt x="934" y="53"/>
                      <a:pt x="934" y="53"/>
                      <a:pt x="934" y="53"/>
                    </a:cubicBezTo>
                    <a:cubicBezTo>
                      <a:pt x="934" y="49"/>
                      <a:pt x="934" y="49"/>
                      <a:pt x="934" y="49"/>
                    </a:cubicBezTo>
                    <a:cubicBezTo>
                      <a:pt x="936" y="46"/>
                      <a:pt x="936" y="46"/>
                      <a:pt x="936" y="46"/>
                    </a:cubicBezTo>
                    <a:cubicBezTo>
                      <a:pt x="933" y="40"/>
                      <a:pt x="933" y="40"/>
                      <a:pt x="933" y="40"/>
                    </a:cubicBezTo>
                    <a:cubicBezTo>
                      <a:pt x="933" y="35"/>
                      <a:pt x="933" y="35"/>
                      <a:pt x="933" y="35"/>
                    </a:cubicBezTo>
                    <a:cubicBezTo>
                      <a:pt x="929" y="30"/>
                      <a:pt x="929" y="30"/>
                      <a:pt x="929" y="30"/>
                    </a:cubicBezTo>
                    <a:cubicBezTo>
                      <a:pt x="926" y="32"/>
                      <a:pt x="926" y="32"/>
                      <a:pt x="926" y="32"/>
                    </a:cubicBezTo>
                    <a:cubicBezTo>
                      <a:pt x="923" y="30"/>
                      <a:pt x="923" y="30"/>
                      <a:pt x="923" y="30"/>
                    </a:cubicBezTo>
                    <a:cubicBezTo>
                      <a:pt x="921" y="30"/>
                      <a:pt x="921" y="30"/>
                      <a:pt x="921" y="30"/>
                    </a:cubicBezTo>
                    <a:cubicBezTo>
                      <a:pt x="920" y="35"/>
                      <a:pt x="920" y="35"/>
                      <a:pt x="920" y="35"/>
                    </a:cubicBezTo>
                    <a:cubicBezTo>
                      <a:pt x="916" y="35"/>
                      <a:pt x="916" y="35"/>
                      <a:pt x="916" y="35"/>
                    </a:cubicBezTo>
                    <a:cubicBezTo>
                      <a:pt x="914" y="33"/>
                      <a:pt x="914" y="33"/>
                      <a:pt x="914" y="33"/>
                    </a:cubicBezTo>
                    <a:cubicBezTo>
                      <a:pt x="910" y="36"/>
                      <a:pt x="910" y="36"/>
                      <a:pt x="910" y="36"/>
                    </a:cubicBezTo>
                    <a:cubicBezTo>
                      <a:pt x="907" y="42"/>
                      <a:pt x="907" y="42"/>
                      <a:pt x="907" y="42"/>
                    </a:cubicBezTo>
                    <a:cubicBezTo>
                      <a:pt x="904" y="42"/>
                      <a:pt x="904" y="42"/>
                      <a:pt x="904" y="42"/>
                    </a:cubicBezTo>
                    <a:cubicBezTo>
                      <a:pt x="904" y="38"/>
                      <a:pt x="904" y="38"/>
                      <a:pt x="904" y="38"/>
                    </a:cubicBezTo>
                    <a:cubicBezTo>
                      <a:pt x="906" y="34"/>
                      <a:pt x="906" y="34"/>
                      <a:pt x="906" y="34"/>
                    </a:cubicBezTo>
                    <a:cubicBezTo>
                      <a:pt x="906" y="31"/>
                      <a:pt x="906" y="31"/>
                      <a:pt x="906" y="31"/>
                    </a:cubicBezTo>
                    <a:cubicBezTo>
                      <a:pt x="903" y="30"/>
                      <a:pt x="903" y="30"/>
                      <a:pt x="903" y="30"/>
                    </a:cubicBezTo>
                    <a:cubicBezTo>
                      <a:pt x="897" y="41"/>
                      <a:pt x="897" y="41"/>
                      <a:pt x="897" y="41"/>
                    </a:cubicBezTo>
                    <a:cubicBezTo>
                      <a:pt x="889" y="45"/>
                      <a:pt x="889" y="45"/>
                      <a:pt x="889" y="45"/>
                    </a:cubicBezTo>
                    <a:cubicBezTo>
                      <a:pt x="886" y="44"/>
                      <a:pt x="886" y="44"/>
                      <a:pt x="886" y="44"/>
                    </a:cubicBezTo>
                    <a:cubicBezTo>
                      <a:pt x="889" y="38"/>
                      <a:pt x="889" y="38"/>
                      <a:pt x="889" y="38"/>
                    </a:cubicBezTo>
                    <a:cubicBezTo>
                      <a:pt x="893" y="37"/>
                      <a:pt x="893" y="37"/>
                      <a:pt x="893" y="37"/>
                    </a:cubicBezTo>
                    <a:cubicBezTo>
                      <a:pt x="897" y="30"/>
                      <a:pt x="897" y="30"/>
                      <a:pt x="897" y="30"/>
                    </a:cubicBezTo>
                    <a:cubicBezTo>
                      <a:pt x="896" y="25"/>
                      <a:pt x="896" y="25"/>
                      <a:pt x="896" y="25"/>
                    </a:cubicBezTo>
                    <a:cubicBezTo>
                      <a:pt x="898" y="21"/>
                      <a:pt x="898" y="21"/>
                      <a:pt x="898" y="21"/>
                    </a:cubicBezTo>
                    <a:cubicBezTo>
                      <a:pt x="898" y="19"/>
                      <a:pt x="898" y="19"/>
                      <a:pt x="898" y="19"/>
                    </a:cubicBezTo>
                    <a:cubicBezTo>
                      <a:pt x="901" y="17"/>
                      <a:pt x="901" y="17"/>
                      <a:pt x="901" y="17"/>
                    </a:cubicBezTo>
                    <a:cubicBezTo>
                      <a:pt x="901" y="15"/>
                      <a:pt x="901" y="15"/>
                      <a:pt x="901" y="15"/>
                    </a:cubicBezTo>
                    <a:cubicBezTo>
                      <a:pt x="895" y="13"/>
                      <a:pt x="895" y="13"/>
                      <a:pt x="895" y="13"/>
                    </a:cubicBezTo>
                    <a:cubicBezTo>
                      <a:pt x="894" y="11"/>
                      <a:pt x="894" y="11"/>
                      <a:pt x="894" y="11"/>
                    </a:cubicBezTo>
                    <a:cubicBezTo>
                      <a:pt x="894" y="5"/>
                      <a:pt x="894" y="5"/>
                      <a:pt x="894" y="5"/>
                    </a:cubicBezTo>
                    <a:cubicBezTo>
                      <a:pt x="892" y="4"/>
                      <a:pt x="892" y="4"/>
                      <a:pt x="892" y="4"/>
                    </a:cubicBezTo>
                    <a:cubicBezTo>
                      <a:pt x="887" y="9"/>
                      <a:pt x="887" y="9"/>
                      <a:pt x="887" y="9"/>
                    </a:cubicBezTo>
                    <a:cubicBezTo>
                      <a:pt x="882" y="8"/>
                      <a:pt x="882" y="8"/>
                      <a:pt x="882" y="8"/>
                    </a:cubicBezTo>
                    <a:cubicBezTo>
                      <a:pt x="880" y="2"/>
                      <a:pt x="880" y="2"/>
                      <a:pt x="880" y="2"/>
                    </a:cubicBezTo>
                    <a:cubicBezTo>
                      <a:pt x="877" y="2"/>
                      <a:pt x="877" y="2"/>
                      <a:pt x="877" y="2"/>
                    </a:cubicBezTo>
                    <a:cubicBezTo>
                      <a:pt x="874" y="6"/>
                      <a:pt x="874" y="6"/>
                      <a:pt x="874" y="6"/>
                    </a:cubicBezTo>
                    <a:cubicBezTo>
                      <a:pt x="869" y="0"/>
                      <a:pt x="869" y="0"/>
                      <a:pt x="869" y="0"/>
                    </a:cubicBezTo>
                    <a:cubicBezTo>
                      <a:pt x="867" y="0"/>
                      <a:pt x="867" y="0"/>
                      <a:pt x="867" y="0"/>
                    </a:cubicBezTo>
                    <a:cubicBezTo>
                      <a:pt x="862" y="5"/>
                      <a:pt x="862" y="5"/>
                      <a:pt x="862" y="5"/>
                    </a:cubicBezTo>
                    <a:cubicBezTo>
                      <a:pt x="861" y="9"/>
                      <a:pt x="861" y="9"/>
                      <a:pt x="861" y="9"/>
                    </a:cubicBezTo>
                    <a:cubicBezTo>
                      <a:pt x="858" y="10"/>
                      <a:pt x="858" y="10"/>
                      <a:pt x="858" y="10"/>
                    </a:cubicBezTo>
                    <a:cubicBezTo>
                      <a:pt x="860" y="15"/>
                      <a:pt x="860" y="15"/>
                      <a:pt x="860" y="15"/>
                    </a:cubicBezTo>
                    <a:cubicBezTo>
                      <a:pt x="856" y="19"/>
                      <a:pt x="856" y="19"/>
                      <a:pt x="856" y="19"/>
                    </a:cubicBezTo>
                    <a:cubicBezTo>
                      <a:pt x="856" y="26"/>
                      <a:pt x="856" y="26"/>
                      <a:pt x="856" y="26"/>
                    </a:cubicBezTo>
                    <a:cubicBezTo>
                      <a:pt x="857" y="31"/>
                      <a:pt x="857" y="31"/>
                      <a:pt x="857" y="31"/>
                    </a:cubicBezTo>
                    <a:cubicBezTo>
                      <a:pt x="853" y="37"/>
                      <a:pt x="853" y="37"/>
                      <a:pt x="853" y="37"/>
                    </a:cubicBezTo>
                    <a:cubicBezTo>
                      <a:pt x="853" y="57"/>
                      <a:pt x="853" y="57"/>
                      <a:pt x="853" y="57"/>
                    </a:cubicBezTo>
                    <a:cubicBezTo>
                      <a:pt x="857" y="62"/>
                      <a:pt x="857" y="62"/>
                      <a:pt x="857" y="62"/>
                    </a:cubicBezTo>
                    <a:cubicBezTo>
                      <a:pt x="857" y="67"/>
                      <a:pt x="857" y="67"/>
                      <a:pt x="857" y="67"/>
                    </a:cubicBezTo>
                    <a:cubicBezTo>
                      <a:pt x="854" y="67"/>
                      <a:pt x="854" y="67"/>
                      <a:pt x="854" y="67"/>
                    </a:cubicBezTo>
                    <a:cubicBezTo>
                      <a:pt x="854" y="72"/>
                      <a:pt x="854" y="72"/>
                      <a:pt x="854" y="72"/>
                    </a:cubicBezTo>
                    <a:cubicBezTo>
                      <a:pt x="858" y="77"/>
                      <a:pt x="858" y="77"/>
                      <a:pt x="858" y="77"/>
                    </a:cubicBezTo>
                    <a:cubicBezTo>
                      <a:pt x="861" y="77"/>
                      <a:pt x="861" y="77"/>
                      <a:pt x="861" y="77"/>
                    </a:cubicBezTo>
                    <a:cubicBezTo>
                      <a:pt x="865" y="84"/>
                      <a:pt x="865" y="84"/>
                      <a:pt x="865" y="84"/>
                    </a:cubicBezTo>
                    <a:cubicBezTo>
                      <a:pt x="870" y="85"/>
                      <a:pt x="870" y="85"/>
                      <a:pt x="870" y="85"/>
                    </a:cubicBezTo>
                    <a:cubicBezTo>
                      <a:pt x="865" y="89"/>
                      <a:pt x="865" y="89"/>
                      <a:pt x="865" y="89"/>
                    </a:cubicBezTo>
                    <a:cubicBezTo>
                      <a:pt x="867" y="94"/>
                      <a:pt x="867" y="94"/>
                      <a:pt x="867" y="94"/>
                    </a:cubicBezTo>
                    <a:cubicBezTo>
                      <a:pt x="867" y="98"/>
                      <a:pt x="867" y="98"/>
                      <a:pt x="867" y="98"/>
                    </a:cubicBezTo>
                    <a:cubicBezTo>
                      <a:pt x="873" y="98"/>
                      <a:pt x="873" y="98"/>
                      <a:pt x="873" y="98"/>
                    </a:cubicBezTo>
                    <a:cubicBezTo>
                      <a:pt x="878" y="96"/>
                      <a:pt x="878" y="96"/>
                      <a:pt x="878" y="96"/>
                    </a:cubicBezTo>
                    <a:cubicBezTo>
                      <a:pt x="884" y="99"/>
                      <a:pt x="884" y="99"/>
                      <a:pt x="884" y="99"/>
                    </a:cubicBezTo>
                    <a:cubicBezTo>
                      <a:pt x="889" y="99"/>
                      <a:pt x="889" y="99"/>
                      <a:pt x="889" y="99"/>
                    </a:cubicBezTo>
                    <a:cubicBezTo>
                      <a:pt x="891" y="102"/>
                      <a:pt x="891" y="102"/>
                      <a:pt x="891" y="102"/>
                    </a:cubicBezTo>
                    <a:cubicBezTo>
                      <a:pt x="888" y="105"/>
                      <a:pt x="888" y="105"/>
                      <a:pt x="888" y="105"/>
                    </a:cubicBezTo>
                    <a:cubicBezTo>
                      <a:pt x="885" y="104"/>
                      <a:pt x="885" y="104"/>
                      <a:pt x="885" y="104"/>
                    </a:cubicBezTo>
                    <a:cubicBezTo>
                      <a:pt x="882" y="104"/>
                      <a:pt x="882" y="104"/>
                      <a:pt x="882" y="104"/>
                    </a:cubicBezTo>
                    <a:cubicBezTo>
                      <a:pt x="877" y="102"/>
                      <a:pt x="877" y="102"/>
                      <a:pt x="877" y="102"/>
                    </a:cubicBezTo>
                    <a:cubicBezTo>
                      <a:pt x="869" y="106"/>
                      <a:pt x="869" y="106"/>
                      <a:pt x="869" y="106"/>
                    </a:cubicBezTo>
                    <a:cubicBezTo>
                      <a:pt x="867" y="104"/>
                      <a:pt x="867" y="104"/>
                      <a:pt x="867" y="104"/>
                    </a:cubicBezTo>
                    <a:cubicBezTo>
                      <a:pt x="863" y="106"/>
                      <a:pt x="863" y="106"/>
                      <a:pt x="863" y="106"/>
                    </a:cubicBezTo>
                    <a:cubicBezTo>
                      <a:pt x="859" y="105"/>
                      <a:pt x="859" y="105"/>
                      <a:pt x="859" y="105"/>
                    </a:cubicBezTo>
                    <a:cubicBezTo>
                      <a:pt x="856" y="105"/>
                      <a:pt x="856" y="105"/>
                      <a:pt x="856" y="105"/>
                    </a:cubicBezTo>
                    <a:cubicBezTo>
                      <a:pt x="854" y="108"/>
                      <a:pt x="854" y="108"/>
                      <a:pt x="854" y="108"/>
                    </a:cubicBezTo>
                    <a:cubicBezTo>
                      <a:pt x="846" y="108"/>
                      <a:pt x="846" y="108"/>
                      <a:pt x="846" y="108"/>
                    </a:cubicBezTo>
                    <a:cubicBezTo>
                      <a:pt x="844" y="111"/>
                      <a:pt x="844" y="111"/>
                      <a:pt x="844" y="111"/>
                    </a:cubicBezTo>
                    <a:cubicBezTo>
                      <a:pt x="844" y="113"/>
                      <a:pt x="844" y="113"/>
                      <a:pt x="844" y="113"/>
                    </a:cubicBezTo>
                    <a:cubicBezTo>
                      <a:pt x="848" y="115"/>
                      <a:pt x="848" y="115"/>
                      <a:pt x="848" y="115"/>
                    </a:cubicBezTo>
                    <a:cubicBezTo>
                      <a:pt x="849" y="118"/>
                      <a:pt x="849" y="118"/>
                      <a:pt x="849" y="118"/>
                    </a:cubicBezTo>
                    <a:cubicBezTo>
                      <a:pt x="853" y="117"/>
                      <a:pt x="853" y="117"/>
                      <a:pt x="853" y="117"/>
                    </a:cubicBezTo>
                    <a:cubicBezTo>
                      <a:pt x="855" y="119"/>
                      <a:pt x="855" y="119"/>
                      <a:pt x="855" y="119"/>
                    </a:cubicBezTo>
                    <a:cubicBezTo>
                      <a:pt x="859" y="116"/>
                      <a:pt x="859" y="116"/>
                      <a:pt x="859" y="116"/>
                    </a:cubicBezTo>
                    <a:cubicBezTo>
                      <a:pt x="863" y="122"/>
                      <a:pt x="863" y="122"/>
                      <a:pt x="863" y="122"/>
                    </a:cubicBezTo>
                    <a:cubicBezTo>
                      <a:pt x="867" y="125"/>
                      <a:pt x="867" y="125"/>
                      <a:pt x="867" y="125"/>
                    </a:cubicBezTo>
                    <a:cubicBezTo>
                      <a:pt x="871" y="134"/>
                      <a:pt x="871" y="134"/>
                      <a:pt x="871" y="134"/>
                    </a:cubicBezTo>
                    <a:cubicBezTo>
                      <a:pt x="868" y="143"/>
                      <a:pt x="868" y="143"/>
                      <a:pt x="868" y="143"/>
                    </a:cubicBezTo>
                    <a:cubicBezTo>
                      <a:pt x="863" y="146"/>
                      <a:pt x="863" y="146"/>
                      <a:pt x="863" y="146"/>
                    </a:cubicBezTo>
                    <a:cubicBezTo>
                      <a:pt x="866" y="136"/>
                      <a:pt x="866" y="136"/>
                      <a:pt x="866" y="136"/>
                    </a:cubicBezTo>
                    <a:cubicBezTo>
                      <a:pt x="864" y="134"/>
                      <a:pt x="864" y="134"/>
                      <a:pt x="864" y="134"/>
                    </a:cubicBezTo>
                    <a:cubicBezTo>
                      <a:pt x="864" y="127"/>
                      <a:pt x="864" y="127"/>
                      <a:pt x="864" y="127"/>
                    </a:cubicBezTo>
                    <a:cubicBezTo>
                      <a:pt x="858" y="127"/>
                      <a:pt x="858" y="127"/>
                      <a:pt x="858" y="127"/>
                    </a:cubicBezTo>
                    <a:cubicBezTo>
                      <a:pt x="857" y="126"/>
                      <a:pt x="857" y="126"/>
                      <a:pt x="857" y="126"/>
                    </a:cubicBezTo>
                    <a:cubicBezTo>
                      <a:pt x="857" y="123"/>
                      <a:pt x="857" y="123"/>
                      <a:pt x="857" y="123"/>
                    </a:cubicBezTo>
                    <a:cubicBezTo>
                      <a:pt x="855" y="122"/>
                      <a:pt x="855" y="122"/>
                      <a:pt x="855" y="122"/>
                    </a:cubicBezTo>
                    <a:cubicBezTo>
                      <a:pt x="851" y="124"/>
                      <a:pt x="851" y="124"/>
                      <a:pt x="851" y="124"/>
                    </a:cubicBezTo>
                    <a:cubicBezTo>
                      <a:pt x="846" y="125"/>
                      <a:pt x="846" y="125"/>
                      <a:pt x="846" y="125"/>
                    </a:cubicBezTo>
                    <a:cubicBezTo>
                      <a:pt x="842" y="130"/>
                      <a:pt x="842" y="130"/>
                      <a:pt x="842" y="130"/>
                    </a:cubicBezTo>
                    <a:cubicBezTo>
                      <a:pt x="846" y="131"/>
                      <a:pt x="846" y="131"/>
                      <a:pt x="846" y="131"/>
                    </a:cubicBezTo>
                    <a:cubicBezTo>
                      <a:pt x="844" y="134"/>
                      <a:pt x="844" y="134"/>
                      <a:pt x="844" y="134"/>
                    </a:cubicBezTo>
                    <a:cubicBezTo>
                      <a:pt x="840" y="134"/>
                      <a:pt x="840" y="134"/>
                      <a:pt x="840" y="134"/>
                    </a:cubicBezTo>
                    <a:cubicBezTo>
                      <a:pt x="843" y="137"/>
                      <a:pt x="843" y="137"/>
                      <a:pt x="843" y="137"/>
                    </a:cubicBezTo>
                    <a:cubicBezTo>
                      <a:pt x="842" y="140"/>
                      <a:pt x="842" y="140"/>
                      <a:pt x="842" y="140"/>
                    </a:cubicBezTo>
                    <a:cubicBezTo>
                      <a:pt x="836" y="145"/>
                      <a:pt x="836" y="145"/>
                      <a:pt x="836" y="145"/>
                    </a:cubicBezTo>
                    <a:cubicBezTo>
                      <a:pt x="836" y="140"/>
                      <a:pt x="836" y="140"/>
                      <a:pt x="836" y="140"/>
                    </a:cubicBezTo>
                    <a:cubicBezTo>
                      <a:pt x="834" y="140"/>
                      <a:pt x="834" y="140"/>
                      <a:pt x="834" y="140"/>
                    </a:cubicBezTo>
                    <a:cubicBezTo>
                      <a:pt x="832" y="142"/>
                      <a:pt x="832" y="142"/>
                      <a:pt x="832" y="142"/>
                    </a:cubicBezTo>
                    <a:cubicBezTo>
                      <a:pt x="833" y="147"/>
                      <a:pt x="833" y="147"/>
                      <a:pt x="833" y="147"/>
                    </a:cubicBezTo>
                    <a:cubicBezTo>
                      <a:pt x="832" y="152"/>
                      <a:pt x="832" y="152"/>
                      <a:pt x="832" y="152"/>
                    </a:cubicBezTo>
                    <a:cubicBezTo>
                      <a:pt x="829" y="152"/>
                      <a:pt x="829" y="152"/>
                      <a:pt x="829" y="152"/>
                    </a:cubicBezTo>
                    <a:cubicBezTo>
                      <a:pt x="828" y="145"/>
                      <a:pt x="828" y="145"/>
                      <a:pt x="828" y="145"/>
                    </a:cubicBezTo>
                    <a:cubicBezTo>
                      <a:pt x="825" y="141"/>
                      <a:pt x="825" y="141"/>
                      <a:pt x="825" y="141"/>
                    </a:cubicBezTo>
                    <a:cubicBezTo>
                      <a:pt x="824" y="142"/>
                      <a:pt x="824" y="142"/>
                      <a:pt x="824" y="142"/>
                    </a:cubicBezTo>
                    <a:cubicBezTo>
                      <a:pt x="825" y="147"/>
                      <a:pt x="825" y="147"/>
                      <a:pt x="825" y="147"/>
                    </a:cubicBezTo>
                    <a:cubicBezTo>
                      <a:pt x="822" y="153"/>
                      <a:pt x="822" y="153"/>
                      <a:pt x="822" y="153"/>
                    </a:cubicBezTo>
                    <a:cubicBezTo>
                      <a:pt x="820" y="160"/>
                      <a:pt x="820" y="160"/>
                      <a:pt x="820" y="160"/>
                    </a:cubicBezTo>
                    <a:cubicBezTo>
                      <a:pt x="817" y="156"/>
                      <a:pt x="817" y="156"/>
                      <a:pt x="817" y="156"/>
                    </a:cubicBezTo>
                    <a:cubicBezTo>
                      <a:pt x="817" y="154"/>
                      <a:pt x="817" y="154"/>
                      <a:pt x="817" y="154"/>
                    </a:cubicBezTo>
                    <a:cubicBezTo>
                      <a:pt x="820" y="143"/>
                      <a:pt x="820" y="143"/>
                      <a:pt x="820" y="143"/>
                    </a:cubicBezTo>
                    <a:cubicBezTo>
                      <a:pt x="819" y="141"/>
                      <a:pt x="819" y="141"/>
                      <a:pt x="819" y="141"/>
                    </a:cubicBezTo>
                    <a:cubicBezTo>
                      <a:pt x="816" y="142"/>
                      <a:pt x="813" y="142"/>
                      <a:pt x="810" y="141"/>
                    </a:cubicBezTo>
                    <a:cubicBezTo>
                      <a:pt x="805" y="143"/>
                      <a:pt x="805" y="143"/>
                      <a:pt x="805" y="143"/>
                    </a:cubicBezTo>
                    <a:cubicBezTo>
                      <a:pt x="801" y="142"/>
                      <a:pt x="801" y="142"/>
                      <a:pt x="801" y="142"/>
                    </a:cubicBezTo>
                    <a:cubicBezTo>
                      <a:pt x="796" y="146"/>
                      <a:pt x="796" y="146"/>
                      <a:pt x="796" y="146"/>
                    </a:cubicBezTo>
                    <a:cubicBezTo>
                      <a:pt x="793" y="145"/>
                      <a:pt x="793" y="145"/>
                      <a:pt x="793" y="145"/>
                    </a:cubicBezTo>
                    <a:cubicBezTo>
                      <a:pt x="790" y="143"/>
                      <a:pt x="790" y="143"/>
                      <a:pt x="790" y="143"/>
                    </a:cubicBezTo>
                    <a:cubicBezTo>
                      <a:pt x="785" y="144"/>
                      <a:pt x="785" y="144"/>
                      <a:pt x="785" y="144"/>
                    </a:cubicBezTo>
                    <a:cubicBezTo>
                      <a:pt x="789" y="148"/>
                      <a:pt x="789" y="148"/>
                      <a:pt x="789" y="148"/>
                    </a:cubicBezTo>
                    <a:cubicBezTo>
                      <a:pt x="787" y="152"/>
                      <a:pt x="787" y="152"/>
                      <a:pt x="787" y="152"/>
                    </a:cubicBezTo>
                    <a:cubicBezTo>
                      <a:pt x="785" y="151"/>
                      <a:pt x="785" y="151"/>
                      <a:pt x="785" y="151"/>
                    </a:cubicBezTo>
                    <a:cubicBezTo>
                      <a:pt x="785" y="149"/>
                      <a:pt x="785" y="149"/>
                      <a:pt x="785" y="149"/>
                    </a:cubicBezTo>
                    <a:cubicBezTo>
                      <a:pt x="783" y="148"/>
                      <a:pt x="783" y="148"/>
                      <a:pt x="783" y="148"/>
                    </a:cubicBezTo>
                    <a:cubicBezTo>
                      <a:pt x="782" y="152"/>
                      <a:pt x="782" y="152"/>
                      <a:pt x="782" y="152"/>
                    </a:cubicBezTo>
                    <a:cubicBezTo>
                      <a:pt x="780" y="154"/>
                      <a:pt x="780" y="154"/>
                      <a:pt x="780" y="154"/>
                    </a:cubicBezTo>
                    <a:cubicBezTo>
                      <a:pt x="780" y="163"/>
                      <a:pt x="780" y="163"/>
                      <a:pt x="780" y="163"/>
                    </a:cubicBezTo>
                    <a:cubicBezTo>
                      <a:pt x="782" y="166"/>
                      <a:pt x="782" y="166"/>
                      <a:pt x="782" y="166"/>
                    </a:cubicBezTo>
                    <a:cubicBezTo>
                      <a:pt x="786" y="161"/>
                      <a:pt x="786" y="161"/>
                      <a:pt x="786" y="161"/>
                    </a:cubicBezTo>
                    <a:cubicBezTo>
                      <a:pt x="788" y="163"/>
                      <a:pt x="788" y="163"/>
                      <a:pt x="788" y="163"/>
                    </a:cubicBezTo>
                    <a:cubicBezTo>
                      <a:pt x="794" y="159"/>
                      <a:pt x="794" y="159"/>
                      <a:pt x="794" y="159"/>
                    </a:cubicBezTo>
                    <a:cubicBezTo>
                      <a:pt x="797" y="160"/>
                      <a:pt x="797" y="160"/>
                      <a:pt x="797" y="160"/>
                    </a:cubicBezTo>
                    <a:cubicBezTo>
                      <a:pt x="796" y="164"/>
                      <a:pt x="796" y="164"/>
                      <a:pt x="796" y="164"/>
                    </a:cubicBezTo>
                    <a:cubicBezTo>
                      <a:pt x="786" y="169"/>
                      <a:pt x="786" y="169"/>
                      <a:pt x="786" y="169"/>
                    </a:cubicBezTo>
                    <a:cubicBezTo>
                      <a:pt x="784" y="174"/>
                      <a:pt x="784" y="174"/>
                      <a:pt x="784" y="174"/>
                    </a:cubicBezTo>
                    <a:cubicBezTo>
                      <a:pt x="779" y="177"/>
                      <a:pt x="779" y="177"/>
                      <a:pt x="779" y="177"/>
                    </a:cubicBezTo>
                    <a:cubicBezTo>
                      <a:pt x="771" y="178"/>
                      <a:pt x="771" y="178"/>
                      <a:pt x="771" y="178"/>
                    </a:cubicBezTo>
                    <a:cubicBezTo>
                      <a:pt x="771" y="182"/>
                      <a:pt x="771" y="182"/>
                      <a:pt x="771" y="182"/>
                    </a:cubicBezTo>
                    <a:cubicBezTo>
                      <a:pt x="772" y="184"/>
                      <a:pt x="772" y="184"/>
                      <a:pt x="772" y="184"/>
                    </a:cubicBezTo>
                    <a:cubicBezTo>
                      <a:pt x="766" y="186"/>
                      <a:pt x="766" y="186"/>
                      <a:pt x="766" y="186"/>
                    </a:cubicBezTo>
                    <a:cubicBezTo>
                      <a:pt x="763" y="184"/>
                      <a:pt x="763" y="184"/>
                      <a:pt x="763" y="184"/>
                    </a:cubicBezTo>
                    <a:cubicBezTo>
                      <a:pt x="761" y="185"/>
                      <a:pt x="761" y="185"/>
                      <a:pt x="761" y="185"/>
                    </a:cubicBezTo>
                    <a:cubicBezTo>
                      <a:pt x="760" y="189"/>
                      <a:pt x="760" y="189"/>
                      <a:pt x="760" y="189"/>
                    </a:cubicBezTo>
                    <a:cubicBezTo>
                      <a:pt x="758" y="190"/>
                      <a:pt x="758" y="190"/>
                      <a:pt x="758" y="190"/>
                    </a:cubicBezTo>
                    <a:cubicBezTo>
                      <a:pt x="753" y="192"/>
                      <a:pt x="753" y="192"/>
                      <a:pt x="753" y="192"/>
                    </a:cubicBezTo>
                    <a:cubicBezTo>
                      <a:pt x="752" y="194"/>
                      <a:pt x="752" y="194"/>
                      <a:pt x="752" y="194"/>
                    </a:cubicBezTo>
                    <a:cubicBezTo>
                      <a:pt x="754" y="198"/>
                      <a:pt x="754" y="198"/>
                      <a:pt x="754" y="198"/>
                    </a:cubicBezTo>
                    <a:cubicBezTo>
                      <a:pt x="752" y="198"/>
                      <a:pt x="752" y="198"/>
                      <a:pt x="752" y="198"/>
                    </a:cubicBezTo>
                    <a:cubicBezTo>
                      <a:pt x="751" y="202"/>
                      <a:pt x="751" y="202"/>
                      <a:pt x="751" y="202"/>
                    </a:cubicBezTo>
                    <a:cubicBezTo>
                      <a:pt x="749" y="203"/>
                      <a:pt x="749" y="203"/>
                      <a:pt x="749" y="203"/>
                    </a:cubicBezTo>
                    <a:cubicBezTo>
                      <a:pt x="748" y="200"/>
                      <a:pt x="748" y="200"/>
                      <a:pt x="748" y="200"/>
                    </a:cubicBezTo>
                    <a:cubicBezTo>
                      <a:pt x="746" y="200"/>
                      <a:pt x="746" y="200"/>
                      <a:pt x="746" y="200"/>
                    </a:cubicBezTo>
                    <a:cubicBezTo>
                      <a:pt x="743" y="206"/>
                      <a:pt x="743" y="206"/>
                      <a:pt x="743" y="206"/>
                    </a:cubicBezTo>
                    <a:cubicBezTo>
                      <a:pt x="743" y="209"/>
                      <a:pt x="743" y="209"/>
                      <a:pt x="743" y="209"/>
                    </a:cubicBezTo>
                    <a:cubicBezTo>
                      <a:pt x="742" y="210"/>
                      <a:pt x="742" y="210"/>
                      <a:pt x="742" y="210"/>
                    </a:cubicBezTo>
                    <a:cubicBezTo>
                      <a:pt x="742" y="214"/>
                      <a:pt x="742" y="214"/>
                      <a:pt x="742" y="214"/>
                    </a:cubicBezTo>
                    <a:cubicBezTo>
                      <a:pt x="739" y="219"/>
                      <a:pt x="739" y="219"/>
                      <a:pt x="739" y="219"/>
                    </a:cubicBezTo>
                    <a:cubicBezTo>
                      <a:pt x="739" y="223"/>
                      <a:pt x="739" y="223"/>
                      <a:pt x="739" y="223"/>
                    </a:cubicBezTo>
                    <a:cubicBezTo>
                      <a:pt x="735" y="225"/>
                      <a:pt x="735" y="225"/>
                      <a:pt x="735" y="225"/>
                    </a:cubicBezTo>
                    <a:cubicBezTo>
                      <a:pt x="729" y="225"/>
                      <a:pt x="729" y="225"/>
                      <a:pt x="729" y="225"/>
                    </a:cubicBezTo>
                    <a:cubicBezTo>
                      <a:pt x="729" y="226"/>
                      <a:pt x="730" y="227"/>
                      <a:pt x="730" y="228"/>
                    </a:cubicBezTo>
                    <a:cubicBezTo>
                      <a:pt x="730" y="229"/>
                      <a:pt x="730" y="230"/>
                      <a:pt x="730" y="231"/>
                    </a:cubicBezTo>
                    <a:cubicBezTo>
                      <a:pt x="738" y="233"/>
                      <a:pt x="738" y="233"/>
                      <a:pt x="738" y="233"/>
                    </a:cubicBezTo>
                    <a:cubicBezTo>
                      <a:pt x="736" y="236"/>
                      <a:pt x="736" y="236"/>
                      <a:pt x="736" y="236"/>
                    </a:cubicBezTo>
                    <a:cubicBezTo>
                      <a:pt x="732" y="235"/>
                      <a:pt x="732" y="235"/>
                      <a:pt x="732" y="235"/>
                    </a:cubicBezTo>
                    <a:cubicBezTo>
                      <a:pt x="732" y="237"/>
                      <a:pt x="732" y="237"/>
                      <a:pt x="732" y="237"/>
                    </a:cubicBezTo>
                    <a:cubicBezTo>
                      <a:pt x="732" y="237"/>
                      <a:pt x="732" y="237"/>
                      <a:pt x="732" y="237"/>
                    </a:cubicBezTo>
                    <a:cubicBezTo>
                      <a:pt x="734" y="239"/>
                      <a:pt x="734" y="239"/>
                      <a:pt x="734" y="239"/>
                    </a:cubicBezTo>
                    <a:cubicBezTo>
                      <a:pt x="733" y="248"/>
                      <a:pt x="733" y="248"/>
                      <a:pt x="733" y="248"/>
                    </a:cubicBezTo>
                    <a:cubicBezTo>
                      <a:pt x="733" y="249"/>
                      <a:pt x="733" y="249"/>
                      <a:pt x="733" y="249"/>
                    </a:cubicBezTo>
                    <a:cubicBezTo>
                      <a:pt x="733" y="254"/>
                      <a:pt x="733" y="258"/>
                      <a:pt x="732" y="263"/>
                    </a:cubicBezTo>
                    <a:cubicBezTo>
                      <a:pt x="733" y="266"/>
                      <a:pt x="733" y="266"/>
                      <a:pt x="733" y="266"/>
                    </a:cubicBezTo>
                    <a:cubicBezTo>
                      <a:pt x="736" y="269"/>
                      <a:pt x="736" y="269"/>
                      <a:pt x="736" y="269"/>
                    </a:cubicBezTo>
                    <a:cubicBezTo>
                      <a:pt x="740" y="268"/>
                      <a:pt x="740" y="268"/>
                      <a:pt x="740" y="268"/>
                    </a:cubicBezTo>
                    <a:cubicBezTo>
                      <a:pt x="742" y="267"/>
                      <a:pt x="742" y="267"/>
                      <a:pt x="742" y="267"/>
                    </a:cubicBezTo>
                    <a:cubicBezTo>
                      <a:pt x="743" y="270"/>
                      <a:pt x="743" y="270"/>
                      <a:pt x="743" y="270"/>
                    </a:cubicBezTo>
                    <a:cubicBezTo>
                      <a:pt x="739" y="272"/>
                      <a:pt x="739" y="272"/>
                      <a:pt x="739" y="272"/>
                    </a:cubicBezTo>
                    <a:cubicBezTo>
                      <a:pt x="738" y="272"/>
                      <a:pt x="738" y="272"/>
                      <a:pt x="738" y="272"/>
                    </a:cubicBezTo>
                    <a:cubicBezTo>
                      <a:pt x="739" y="274"/>
                      <a:pt x="740" y="277"/>
                      <a:pt x="740" y="279"/>
                    </a:cubicBezTo>
                    <a:cubicBezTo>
                      <a:pt x="740" y="279"/>
                      <a:pt x="740" y="279"/>
                      <a:pt x="740" y="279"/>
                    </a:cubicBezTo>
                    <a:cubicBezTo>
                      <a:pt x="742" y="285"/>
                      <a:pt x="742" y="285"/>
                      <a:pt x="742" y="285"/>
                    </a:cubicBezTo>
                    <a:cubicBezTo>
                      <a:pt x="744" y="287"/>
                      <a:pt x="744" y="287"/>
                      <a:pt x="744" y="287"/>
                    </a:cubicBezTo>
                    <a:cubicBezTo>
                      <a:pt x="746" y="285"/>
                      <a:pt x="746" y="285"/>
                      <a:pt x="746" y="285"/>
                    </a:cubicBezTo>
                    <a:cubicBezTo>
                      <a:pt x="752" y="285"/>
                      <a:pt x="752" y="285"/>
                      <a:pt x="752" y="285"/>
                    </a:cubicBezTo>
                    <a:cubicBezTo>
                      <a:pt x="751" y="289"/>
                      <a:pt x="751" y="289"/>
                      <a:pt x="751" y="289"/>
                    </a:cubicBezTo>
                    <a:cubicBezTo>
                      <a:pt x="756" y="293"/>
                      <a:pt x="756" y="293"/>
                      <a:pt x="756" y="293"/>
                    </a:cubicBezTo>
                    <a:cubicBezTo>
                      <a:pt x="760" y="293"/>
                      <a:pt x="760" y="293"/>
                      <a:pt x="760" y="293"/>
                    </a:cubicBezTo>
                    <a:cubicBezTo>
                      <a:pt x="763" y="299"/>
                      <a:pt x="763" y="299"/>
                      <a:pt x="763" y="299"/>
                    </a:cubicBezTo>
                    <a:cubicBezTo>
                      <a:pt x="760" y="307"/>
                      <a:pt x="760" y="307"/>
                      <a:pt x="760" y="307"/>
                    </a:cubicBezTo>
                    <a:cubicBezTo>
                      <a:pt x="753" y="312"/>
                      <a:pt x="753" y="312"/>
                      <a:pt x="753" y="312"/>
                    </a:cubicBezTo>
                    <a:cubicBezTo>
                      <a:pt x="750" y="317"/>
                      <a:pt x="750" y="317"/>
                      <a:pt x="750" y="317"/>
                    </a:cubicBezTo>
                    <a:cubicBezTo>
                      <a:pt x="750" y="320"/>
                      <a:pt x="750" y="320"/>
                      <a:pt x="750" y="320"/>
                    </a:cubicBezTo>
                    <a:cubicBezTo>
                      <a:pt x="757" y="328"/>
                      <a:pt x="757" y="328"/>
                      <a:pt x="757" y="328"/>
                    </a:cubicBezTo>
                    <a:cubicBezTo>
                      <a:pt x="761" y="330"/>
                      <a:pt x="761" y="330"/>
                      <a:pt x="761" y="330"/>
                    </a:cubicBezTo>
                    <a:cubicBezTo>
                      <a:pt x="754" y="330"/>
                      <a:pt x="754" y="330"/>
                      <a:pt x="754" y="330"/>
                    </a:cubicBezTo>
                    <a:cubicBezTo>
                      <a:pt x="746" y="323"/>
                      <a:pt x="746" y="323"/>
                      <a:pt x="746" y="323"/>
                    </a:cubicBezTo>
                    <a:cubicBezTo>
                      <a:pt x="746" y="318"/>
                      <a:pt x="746" y="318"/>
                      <a:pt x="746" y="318"/>
                    </a:cubicBezTo>
                    <a:cubicBezTo>
                      <a:pt x="750" y="309"/>
                      <a:pt x="750" y="309"/>
                      <a:pt x="750" y="309"/>
                    </a:cubicBezTo>
                    <a:cubicBezTo>
                      <a:pt x="752" y="307"/>
                      <a:pt x="752" y="307"/>
                      <a:pt x="752" y="307"/>
                    </a:cubicBezTo>
                    <a:cubicBezTo>
                      <a:pt x="752" y="304"/>
                      <a:pt x="752" y="304"/>
                      <a:pt x="752" y="304"/>
                    </a:cubicBezTo>
                    <a:cubicBezTo>
                      <a:pt x="754" y="299"/>
                      <a:pt x="754" y="299"/>
                      <a:pt x="754" y="299"/>
                    </a:cubicBezTo>
                    <a:cubicBezTo>
                      <a:pt x="753" y="297"/>
                      <a:pt x="753" y="297"/>
                      <a:pt x="753" y="297"/>
                    </a:cubicBezTo>
                    <a:cubicBezTo>
                      <a:pt x="740" y="304"/>
                      <a:pt x="740" y="304"/>
                      <a:pt x="740" y="304"/>
                    </a:cubicBezTo>
                    <a:cubicBezTo>
                      <a:pt x="733" y="306"/>
                      <a:pt x="733" y="306"/>
                      <a:pt x="733" y="306"/>
                    </a:cubicBezTo>
                    <a:cubicBezTo>
                      <a:pt x="732" y="312"/>
                      <a:pt x="732" y="312"/>
                      <a:pt x="732" y="312"/>
                    </a:cubicBezTo>
                    <a:cubicBezTo>
                      <a:pt x="727" y="314"/>
                      <a:pt x="727" y="314"/>
                      <a:pt x="727" y="314"/>
                    </a:cubicBezTo>
                    <a:cubicBezTo>
                      <a:pt x="724" y="312"/>
                      <a:pt x="724" y="312"/>
                      <a:pt x="724" y="312"/>
                    </a:cubicBezTo>
                    <a:cubicBezTo>
                      <a:pt x="719" y="313"/>
                      <a:pt x="719" y="313"/>
                      <a:pt x="719" y="313"/>
                    </a:cubicBezTo>
                    <a:cubicBezTo>
                      <a:pt x="714" y="319"/>
                      <a:pt x="714" y="319"/>
                      <a:pt x="714" y="319"/>
                    </a:cubicBezTo>
                    <a:cubicBezTo>
                      <a:pt x="700" y="325"/>
                      <a:pt x="700" y="325"/>
                      <a:pt x="700" y="325"/>
                    </a:cubicBezTo>
                    <a:cubicBezTo>
                      <a:pt x="690" y="328"/>
                      <a:pt x="690" y="328"/>
                      <a:pt x="690" y="328"/>
                    </a:cubicBezTo>
                    <a:cubicBezTo>
                      <a:pt x="686" y="328"/>
                      <a:pt x="686" y="328"/>
                      <a:pt x="686" y="328"/>
                    </a:cubicBezTo>
                    <a:cubicBezTo>
                      <a:pt x="681" y="333"/>
                      <a:pt x="681" y="333"/>
                      <a:pt x="681" y="333"/>
                    </a:cubicBezTo>
                    <a:cubicBezTo>
                      <a:pt x="676" y="333"/>
                      <a:pt x="676" y="333"/>
                      <a:pt x="676" y="333"/>
                    </a:cubicBezTo>
                    <a:cubicBezTo>
                      <a:pt x="673" y="336"/>
                      <a:pt x="673" y="336"/>
                      <a:pt x="673" y="336"/>
                    </a:cubicBezTo>
                    <a:cubicBezTo>
                      <a:pt x="678" y="340"/>
                      <a:pt x="678" y="340"/>
                      <a:pt x="678" y="340"/>
                    </a:cubicBezTo>
                    <a:cubicBezTo>
                      <a:pt x="677" y="345"/>
                      <a:pt x="677" y="345"/>
                      <a:pt x="677" y="345"/>
                    </a:cubicBezTo>
                    <a:cubicBezTo>
                      <a:pt x="676" y="349"/>
                      <a:pt x="676" y="349"/>
                      <a:pt x="676" y="349"/>
                    </a:cubicBezTo>
                    <a:cubicBezTo>
                      <a:pt x="678" y="352"/>
                      <a:pt x="678" y="352"/>
                      <a:pt x="678" y="352"/>
                    </a:cubicBezTo>
                    <a:cubicBezTo>
                      <a:pt x="681" y="352"/>
                      <a:pt x="681" y="352"/>
                      <a:pt x="681" y="352"/>
                    </a:cubicBezTo>
                    <a:cubicBezTo>
                      <a:pt x="682" y="355"/>
                      <a:pt x="682" y="355"/>
                      <a:pt x="682" y="355"/>
                    </a:cubicBezTo>
                    <a:cubicBezTo>
                      <a:pt x="681" y="358"/>
                      <a:pt x="681" y="358"/>
                      <a:pt x="681" y="358"/>
                    </a:cubicBezTo>
                    <a:cubicBezTo>
                      <a:pt x="687" y="363"/>
                      <a:pt x="687" y="363"/>
                      <a:pt x="687" y="363"/>
                    </a:cubicBezTo>
                    <a:cubicBezTo>
                      <a:pt x="692" y="373"/>
                      <a:pt x="692" y="373"/>
                      <a:pt x="692" y="373"/>
                    </a:cubicBezTo>
                    <a:cubicBezTo>
                      <a:pt x="692" y="381"/>
                      <a:pt x="692" y="381"/>
                      <a:pt x="692" y="381"/>
                    </a:cubicBezTo>
                    <a:cubicBezTo>
                      <a:pt x="693" y="384"/>
                      <a:pt x="693" y="384"/>
                      <a:pt x="693" y="384"/>
                    </a:cubicBezTo>
                    <a:cubicBezTo>
                      <a:pt x="695" y="384"/>
                      <a:pt x="695" y="384"/>
                      <a:pt x="695" y="384"/>
                    </a:cubicBezTo>
                    <a:cubicBezTo>
                      <a:pt x="695" y="390"/>
                      <a:pt x="695" y="390"/>
                      <a:pt x="695" y="390"/>
                    </a:cubicBezTo>
                    <a:cubicBezTo>
                      <a:pt x="701" y="394"/>
                      <a:pt x="701" y="394"/>
                      <a:pt x="701" y="394"/>
                    </a:cubicBezTo>
                    <a:cubicBezTo>
                      <a:pt x="705" y="394"/>
                      <a:pt x="705" y="394"/>
                      <a:pt x="705" y="394"/>
                    </a:cubicBezTo>
                    <a:cubicBezTo>
                      <a:pt x="717" y="394"/>
                      <a:pt x="717" y="394"/>
                      <a:pt x="717" y="394"/>
                    </a:cubicBezTo>
                    <a:cubicBezTo>
                      <a:pt x="722" y="391"/>
                      <a:pt x="722" y="391"/>
                      <a:pt x="722" y="391"/>
                    </a:cubicBezTo>
                    <a:cubicBezTo>
                      <a:pt x="722" y="394"/>
                      <a:pt x="722" y="394"/>
                      <a:pt x="722" y="394"/>
                    </a:cubicBezTo>
                    <a:cubicBezTo>
                      <a:pt x="724" y="398"/>
                      <a:pt x="724" y="398"/>
                      <a:pt x="724" y="398"/>
                    </a:cubicBezTo>
                    <a:cubicBezTo>
                      <a:pt x="723" y="404"/>
                      <a:pt x="723" y="404"/>
                      <a:pt x="723" y="404"/>
                    </a:cubicBezTo>
                    <a:cubicBezTo>
                      <a:pt x="729" y="407"/>
                      <a:pt x="729" y="407"/>
                      <a:pt x="729" y="407"/>
                    </a:cubicBezTo>
                    <a:cubicBezTo>
                      <a:pt x="732" y="413"/>
                      <a:pt x="732" y="413"/>
                      <a:pt x="732" y="413"/>
                    </a:cubicBezTo>
                    <a:cubicBezTo>
                      <a:pt x="741" y="414"/>
                      <a:pt x="741" y="414"/>
                      <a:pt x="741" y="414"/>
                    </a:cubicBezTo>
                    <a:cubicBezTo>
                      <a:pt x="748" y="419"/>
                      <a:pt x="748" y="419"/>
                      <a:pt x="748" y="419"/>
                    </a:cubicBezTo>
                    <a:cubicBezTo>
                      <a:pt x="750" y="419"/>
                      <a:pt x="750" y="419"/>
                      <a:pt x="750" y="419"/>
                    </a:cubicBezTo>
                    <a:cubicBezTo>
                      <a:pt x="754" y="424"/>
                      <a:pt x="754" y="424"/>
                      <a:pt x="754" y="424"/>
                    </a:cubicBezTo>
                    <a:cubicBezTo>
                      <a:pt x="755" y="435"/>
                      <a:pt x="755" y="435"/>
                      <a:pt x="755" y="435"/>
                    </a:cubicBezTo>
                    <a:cubicBezTo>
                      <a:pt x="756" y="440"/>
                      <a:pt x="756" y="440"/>
                      <a:pt x="756" y="440"/>
                    </a:cubicBezTo>
                    <a:cubicBezTo>
                      <a:pt x="755" y="445"/>
                      <a:pt x="755" y="445"/>
                      <a:pt x="755" y="445"/>
                    </a:cubicBezTo>
                    <a:cubicBezTo>
                      <a:pt x="759" y="451"/>
                      <a:pt x="759" y="451"/>
                      <a:pt x="759" y="451"/>
                    </a:cubicBezTo>
                    <a:cubicBezTo>
                      <a:pt x="763" y="454"/>
                      <a:pt x="763" y="454"/>
                      <a:pt x="763" y="454"/>
                    </a:cubicBezTo>
                    <a:cubicBezTo>
                      <a:pt x="768" y="464"/>
                      <a:pt x="768" y="464"/>
                      <a:pt x="768" y="464"/>
                    </a:cubicBezTo>
                    <a:cubicBezTo>
                      <a:pt x="771" y="474"/>
                      <a:pt x="771" y="474"/>
                      <a:pt x="771" y="474"/>
                    </a:cubicBezTo>
                    <a:cubicBezTo>
                      <a:pt x="776" y="479"/>
                      <a:pt x="776" y="479"/>
                      <a:pt x="776" y="479"/>
                    </a:cubicBezTo>
                    <a:cubicBezTo>
                      <a:pt x="777" y="483"/>
                      <a:pt x="777" y="483"/>
                      <a:pt x="777" y="483"/>
                    </a:cubicBezTo>
                    <a:cubicBezTo>
                      <a:pt x="773" y="493"/>
                      <a:pt x="773" y="493"/>
                      <a:pt x="773" y="493"/>
                    </a:cubicBezTo>
                    <a:cubicBezTo>
                      <a:pt x="771" y="494"/>
                      <a:pt x="771" y="494"/>
                      <a:pt x="771" y="494"/>
                    </a:cubicBezTo>
                    <a:cubicBezTo>
                      <a:pt x="768" y="492"/>
                      <a:pt x="768" y="492"/>
                      <a:pt x="768" y="492"/>
                    </a:cubicBezTo>
                    <a:cubicBezTo>
                      <a:pt x="771" y="499"/>
                      <a:pt x="771" y="499"/>
                      <a:pt x="771" y="499"/>
                    </a:cubicBezTo>
                    <a:cubicBezTo>
                      <a:pt x="777" y="499"/>
                      <a:pt x="777" y="499"/>
                      <a:pt x="777" y="499"/>
                    </a:cubicBezTo>
                    <a:cubicBezTo>
                      <a:pt x="781" y="502"/>
                      <a:pt x="781" y="502"/>
                      <a:pt x="781" y="502"/>
                    </a:cubicBezTo>
                    <a:cubicBezTo>
                      <a:pt x="788" y="511"/>
                      <a:pt x="788" y="511"/>
                      <a:pt x="788" y="511"/>
                    </a:cubicBezTo>
                    <a:cubicBezTo>
                      <a:pt x="794" y="514"/>
                      <a:pt x="794" y="514"/>
                      <a:pt x="794" y="514"/>
                    </a:cubicBezTo>
                    <a:cubicBezTo>
                      <a:pt x="795" y="514"/>
                      <a:pt x="795" y="514"/>
                      <a:pt x="795" y="514"/>
                    </a:cubicBezTo>
                    <a:cubicBezTo>
                      <a:pt x="797" y="515"/>
                      <a:pt x="797" y="515"/>
                      <a:pt x="797" y="515"/>
                    </a:cubicBezTo>
                    <a:cubicBezTo>
                      <a:pt x="803" y="509"/>
                      <a:pt x="803" y="509"/>
                      <a:pt x="803" y="509"/>
                    </a:cubicBezTo>
                    <a:cubicBezTo>
                      <a:pt x="809" y="508"/>
                      <a:pt x="809" y="508"/>
                      <a:pt x="809" y="508"/>
                    </a:cubicBezTo>
                    <a:cubicBezTo>
                      <a:pt x="816" y="513"/>
                      <a:pt x="816" y="513"/>
                      <a:pt x="816" y="513"/>
                    </a:cubicBezTo>
                    <a:cubicBezTo>
                      <a:pt x="821" y="515"/>
                      <a:pt x="821" y="515"/>
                      <a:pt x="821" y="515"/>
                    </a:cubicBezTo>
                    <a:cubicBezTo>
                      <a:pt x="824" y="516"/>
                      <a:pt x="824" y="516"/>
                      <a:pt x="824" y="516"/>
                    </a:cubicBezTo>
                    <a:cubicBezTo>
                      <a:pt x="827" y="521"/>
                      <a:pt x="827" y="521"/>
                      <a:pt x="827" y="521"/>
                    </a:cubicBezTo>
                    <a:cubicBezTo>
                      <a:pt x="828" y="530"/>
                      <a:pt x="828" y="530"/>
                      <a:pt x="828" y="530"/>
                    </a:cubicBezTo>
                    <a:cubicBezTo>
                      <a:pt x="826" y="522"/>
                      <a:pt x="826" y="522"/>
                      <a:pt x="826" y="522"/>
                    </a:cubicBezTo>
                    <a:cubicBezTo>
                      <a:pt x="823" y="518"/>
                      <a:pt x="823" y="518"/>
                      <a:pt x="823" y="518"/>
                    </a:cubicBezTo>
                    <a:cubicBezTo>
                      <a:pt x="817" y="518"/>
                      <a:pt x="817" y="518"/>
                      <a:pt x="817" y="518"/>
                    </a:cubicBezTo>
                    <a:cubicBezTo>
                      <a:pt x="809" y="510"/>
                      <a:pt x="809" y="510"/>
                      <a:pt x="809" y="510"/>
                    </a:cubicBezTo>
                    <a:cubicBezTo>
                      <a:pt x="805" y="510"/>
                      <a:pt x="805" y="510"/>
                      <a:pt x="805" y="510"/>
                    </a:cubicBezTo>
                    <a:cubicBezTo>
                      <a:pt x="800" y="517"/>
                      <a:pt x="800" y="517"/>
                      <a:pt x="800" y="517"/>
                    </a:cubicBezTo>
                    <a:cubicBezTo>
                      <a:pt x="800" y="523"/>
                      <a:pt x="800" y="523"/>
                      <a:pt x="800" y="523"/>
                    </a:cubicBezTo>
                    <a:cubicBezTo>
                      <a:pt x="801" y="526"/>
                      <a:pt x="801" y="526"/>
                      <a:pt x="801" y="526"/>
                    </a:cubicBezTo>
                    <a:cubicBezTo>
                      <a:pt x="793" y="517"/>
                      <a:pt x="793" y="517"/>
                      <a:pt x="793" y="517"/>
                    </a:cubicBezTo>
                    <a:cubicBezTo>
                      <a:pt x="786" y="517"/>
                      <a:pt x="786" y="517"/>
                      <a:pt x="786" y="517"/>
                    </a:cubicBezTo>
                    <a:cubicBezTo>
                      <a:pt x="782" y="514"/>
                      <a:pt x="782" y="514"/>
                      <a:pt x="782" y="514"/>
                    </a:cubicBezTo>
                    <a:cubicBezTo>
                      <a:pt x="782" y="509"/>
                      <a:pt x="782" y="509"/>
                      <a:pt x="782" y="509"/>
                    </a:cubicBezTo>
                    <a:cubicBezTo>
                      <a:pt x="779" y="503"/>
                      <a:pt x="779" y="503"/>
                      <a:pt x="779" y="503"/>
                    </a:cubicBezTo>
                    <a:cubicBezTo>
                      <a:pt x="773" y="502"/>
                      <a:pt x="773" y="502"/>
                      <a:pt x="773" y="502"/>
                    </a:cubicBezTo>
                    <a:cubicBezTo>
                      <a:pt x="767" y="502"/>
                      <a:pt x="767" y="502"/>
                      <a:pt x="767" y="502"/>
                    </a:cubicBezTo>
                    <a:cubicBezTo>
                      <a:pt x="761" y="497"/>
                      <a:pt x="761" y="497"/>
                      <a:pt x="761" y="497"/>
                    </a:cubicBezTo>
                    <a:cubicBezTo>
                      <a:pt x="762" y="495"/>
                      <a:pt x="762" y="495"/>
                      <a:pt x="762" y="495"/>
                    </a:cubicBezTo>
                    <a:cubicBezTo>
                      <a:pt x="762" y="490"/>
                      <a:pt x="762" y="490"/>
                      <a:pt x="762" y="490"/>
                    </a:cubicBezTo>
                    <a:cubicBezTo>
                      <a:pt x="765" y="488"/>
                      <a:pt x="765" y="488"/>
                      <a:pt x="765" y="488"/>
                    </a:cubicBezTo>
                    <a:cubicBezTo>
                      <a:pt x="764" y="485"/>
                      <a:pt x="764" y="485"/>
                      <a:pt x="764" y="485"/>
                    </a:cubicBezTo>
                    <a:cubicBezTo>
                      <a:pt x="763" y="474"/>
                      <a:pt x="763" y="474"/>
                      <a:pt x="763" y="474"/>
                    </a:cubicBezTo>
                    <a:cubicBezTo>
                      <a:pt x="761" y="467"/>
                      <a:pt x="761" y="467"/>
                      <a:pt x="761" y="467"/>
                    </a:cubicBezTo>
                    <a:cubicBezTo>
                      <a:pt x="758" y="464"/>
                      <a:pt x="758" y="464"/>
                      <a:pt x="758" y="464"/>
                    </a:cubicBezTo>
                    <a:cubicBezTo>
                      <a:pt x="756" y="471"/>
                      <a:pt x="756" y="471"/>
                      <a:pt x="756" y="471"/>
                    </a:cubicBezTo>
                    <a:cubicBezTo>
                      <a:pt x="753" y="473"/>
                      <a:pt x="753" y="473"/>
                      <a:pt x="753" y="473"/>
                    </a:cubicBezTo>
                    <a:cubicBezTo>
                      <a:pt x="754" y="478"/>
                      <a:pt x="754" y="478"/>
                      <a:pt x="754" y="478"/>
                    </a:cubicBezTo>
                    <a:cubicBezTo>
                      <a:pt x="752" y="481"/>
                      <a:pt x="752" y="481"/>
                      <a:pt x="752" y="481"/>
                    </a:cubicBezTo>
                    <a:cubicBezTo>
                      <a:pt x="753" y="484"/>
                      <a:pt x="753" y="484"/>
                      <a:pt x="753" y="484"/>
                    </a:cubicBezTo>
                    <a:cubicBezTo>
                      <a:pt x="752" y="489"/>
                      <a:pt x="752" y="489"/>
                      <a:pt x="752" y="489"/>
                    </a:cubicBezTo>
                    <a:cubicBezTo>
                      <a:pt x="749" y="489"/>
                      <a:pt x="749" y="489"/>
                      <a:pt x="749" y="489"/>
                    </a:cubicBezTo>
                    <a:cubicBezTo>
                      <a:pt x="748" y="475"/>
                      <a:pt x="748" y="475"/>
                      <a:pt x="748" y="475"/>
                    </a:cubicBezTo>
                    <a:cubicBezTo>
                      <a:pt x="750" y="472"/>
                      <a:pt x="750" y="472"/>
                      <a:pt x="750" y="472"/>
                    </a:cubicBezTo>
                    <a:cubicBezTo>
                      <a:pt x="750" y="467"/>
                      <a:pt x="750" y="467"/>
                      <a:pt x="750" y="467"/>
                    </a:cubicBezTo>
                    <a:cubicBezTo>
                      <a:pt x="744" y="461"/>
                      <a:pt x="744" y="461"/>
                      <a:pt x="744" y="461"/>
                    </a:cubicBezTo>
                    <a:cubicBezTo>
                      <a:pt x="744" y="454"/>
                      <a:pt x="744" y="454"/>
                      <a:pt x="744" y="454"/>
                    </a:cubicBezTo>
                    <a:cubicBezTo>
                      <a:pt x="741" y="449"/>
                      <a:pt x="741" y="449"/>
                      <a:pt x="741" y="449"/>
                    </a:cubicBezTo>
                    <a:cubicBezTo>
                      <a:pt x="741" y="443"/>
                      <a:pt x="741" y="443"/>
                      <a:pt x="741" y="443"/>
                    </a:cubicBezTo>
                    <a:cubicBezTo>
                      <a:pt x="747" y="439"/>
                      <a:pt x="747" y="439"/>
                      <a:pt x="747" y="439"/>
                    </a:cubicBezTo>
                    <a:cubicBezTo>
                      <a:pt x="747" y="436"/>
                      <a:pt x="747" y="436"/>
                      <a:pt x="747" y="436"/>
                    </a:cubicBezTo>
                    <a:cubicBezTo>
                      <a:pt x="746" y="431"/>
                      <a:pt x="746" y="431"/>
                      <a:pt x="746" y="431"/>
                    </a:cubicBezTo>
                    <a:cubicBezTo>
                      <a:pt x="747" y="424"/>
                      <a:pt x="747" y="424"/>
                      <a:pt x="747" y="424"/>
                    </a:cubicBezTo>
                    <a:cubicBezTo>
                      <a:pt x="743" y="423"/>
                      <a:pt x="743" y="423"/>
                      <a:pt x="743" y="423"/>
                    </a:cubicBezTo>
                    <a:cubicBezTo>
                      <a:pt x="741" y="424"/>
                      <a:pt x="741" y="424"/>
                      <a:pt x="741" y="424"/>
                    </a:cubicBezTo>
                    <a:cubicBezTo>
                      <a:pt x="739" y="420"/>
                      <a:pt x="739" y="420"/>
                      <a:pt x="739" y="420"/>
                    </a:cubicBezTo>
                    <a:cubicBezTo>
                      <a:pt x="731" y="426"/>
                      <a:pt x="731" y="426"/>
                      <a:pt x="731" y="426"/>
                    </a:cubicBezTo>
                    <a:cubicBezTo>
                      <a:pt x="721" y="428"/>
                      <a:pt x="721" y="428"/>
                      <a:pt x="721" y="428"/>
                    </a:cubicBezTo>
                    <a:cubicBezTo>
                      <a:pt x="716" y="427"/>
                      <a:pt x="716" y="427"/>
                      <a:pt x="716" y="427"/>
                    </a:cubicBezTo>
                    <a:cubicBezTo>
                      <a:pt x="709" y="418"/>
                      <a:pt x="709" y="418"/>
                      <a:pt x="709" y="418"/>
                    </a:cubicBezTo>
                    <a:cubicBezTo>
                      <a:pt x="704" y="415"/>
                      <a:pt x="704" y="415"/>
                      <a:pt x="704" y="415"/>
                    </a:cubicBezTo>
                    <a:cubicBezTo>
                      <a:pt x="704" y="411"/>
                      <a:pt x="704" y="411"/>
                      <a:pt x="704" y="411"/>
                    </a:cubicBezTo>
                    <a:cubicBezTo>
                      <a:pt x="693" y="410"/>
                      <a:pt x="693" y="410"/>
                      <a:pt x="693" y="410"/>
                    </a:cubicBezTo>
                    <a:cubicBezTo>
                      <a:pt x="688" y="406"/>
                      <a:pt x="688" y="406"/>
                      <a:pt x="688" y="406"/>
                    </a:cubicBezTo>
                    <a:cubicBezTo>
                      <a:pt x="684" y="400"/>
                      <a:pt x="684" y="400"/>
                      <a:pt x="684" y="400"/>
                    </a:cubicBezTo>
                    <a:cubicBezTo>
                      <a:pt x="671" y="401"/>
                      <a:pt x="671" y="401"/>
                      <a:pt x="671" y="401"/>
                    </a:cubicBezTo>
                    <a:cubicBezTo>
                      <a:pt x="669" y="399"/>
                      <a:pt x="669" y="399"/>
                      <a:pt x="669" y="399"/>
                    </a:cubicBezTo>
                    <a:cubicBezTo>
                      <a:pt x="666" y="404"/>
                      <a:pt x="663" y="409"/>
                      <a:pt x="659" y="412"/>
                    </a:cubicBezTo>
                    <a:cubicBezTo>
                      <a:pt x="659" y="415"/>
                      <a:pt x="659" y="415"/>
                      <a:pt x="659" y="415"/>
                    </a:cubicBezTo>
                    <a:cubicBezTo>
                      <a:pt x="657" y="417"/>
                      <a:pt x="657" y="417"/>
                      <a:pt x="657" y="417"/>
                    </a:cubicBezTo>
                    <a:cubicBezTo>
                      <a:pt x="656" y="416"/>
                      <a:pt x="656" y="416"/>
                      <a:pt x="656" y="416"/>
                    </a:cubicBezTo>
                    <a:cubicBezTo>
                      <a:pt x="655" y="416"/>
                      <a:pt x="655" y="416"/>
                      <a:pt x="654" y="417"/>
                    </a:cubicBezTo>
                    <a:cubicBezTo>
                      <a:pt x="654" y="418"/>
                      <a:pt x="654" y="418"/>
                      <a:pt x="654" y="418"/>
                    </a:cubicBezTo>
                    <a:cubicBezTo>
                      <a:pt x="656" y="421"/>
                      <a:pt x="656" y="421"/>
                      <a:pt x="656" y="421"/>
                    </a:cubicBezTo>
                    <a:cubicBezTo>
                      <a:pt x="662" y="416"/>
                      <a:pt x="662" y="416"/>
                      <a:pt x="662" y="416"/>
                    </a:cubicBezTo>
                    <a:cubicBezTo>
                      <a:pt x="669" y="418"/>
                      <a:pt x="669" y="418"/>
                      <a:pt x="669" y="418"/>
                    </a:cubicBezTo>
                    <a:cubicBezTo>
                      <a:pt x="672" y="426"/>
                      <a:pt x="672" y="426"/>
                      <a:pt x="672" y="426"/>
                    </a:cubicBezTo>
                    <a:cubicBezTo>
                      <a:pt x="668" y="435"/>
                      <a:pt x="668" y="435"/>
                      <a:pt x="668" y="435"/>
                    </a:cubicBezTo>
                    <a:cubicBezTo>
                      <a:pt x="663" y="436"/>
                      <a:pt x="663" y="436"/>
                      <a:pt x="663" y="436"/>
                    </a:cubicBezTo>
                    <a:cubicBezTo>
                      <a:pt x="655" y="432"/>
                      <a:pt x="655" y="432"/>
                      <a:pt x="655" y="432"/>
                    </a:cubicBezTo>
                    <a:cubicBezTo>
                      <a:pt x="650" y="425"/>
                      <a:pt x="650" y="425"/>
                      <a:pt x="650" y="425"/>
                    </a:cubicBezTo>
                    <a:cubicBezTo>
                      <a:pt x="647" y="425"/>
                      <a:pt x="647" y="425"/>
                      <a:pt x="647" y="425"/>
                    </a:cubicBezTo>
                    <a:cubicBezTo>
                      <a:pt x="642" y="430"/>
                      <a:pt x="642" y="430"/>
                      <a:pt x="642" y="430"/>
                    </a:cubicBezTo>
                    <a:cubicBezTo>
                      <a:pt x="641" y="432"/>
                      <a:pt x="641" y="432"/>
                      <a:pt x="641" y="432"/>
                    </a:cubicBezTo>
                    <a:cubicBezTo>
                      <a:pt x="638" y="433"/>
                      <a:pt x="638" y="433"/>
                      <a:pt x="638" y="433"/>
                    </a:cubicBezTo>
                    <a:cubicBezTo>
                      <a:pt x="644" y="443"/>
                      <a:pt x="644" y="443"/>
                      <a:pt x="644" y="443"/>
                    </a:cubicBezTo>
                    <a:cubicBezTo>
                      <a:pt x="646" y="444"/>
                      <a:pt x="646" y="444"/>
                      <a:pt x="646" y="444"/>
                    </a:cubicBezTo>
                    <a:cubicBezTo>
                      <a:pt x="647" y="449"/>
                      <a:pt x="647" y="449"/>
                      <a:pt x="647" y="449"/>
                    </a:cubicBezTo>
                    <a:cubicBezTo>
                      <a:pt x="653" y="456"/>
                      <a:pt x="653" y="456"/>
                      <a:pt x="653" y="456"/>
                    </a:cubicBezTo>
                    <a:cubicBezTo>
                      <a:pt x="659" y="456"/>
                      <a:pt x="659" y="456"/>
                      <a:pt x="659" y="456"/>
                    </a:cubicBezTo>
                    <a:cubicBezTo>
                      <a:pt x="663" y="459"/>
                      <a:pt x="663" y="459"/>
                      <a:pt x="663" y="459"/>
                    </a:cubicBezTo>
                    <a:cubicBezTo>
                      <a:pt x="672" y="460"/>
                      <a:pt x="672" y="460"/>
                      <a:pt x="672" y="460"/>
                    </a:cubicBezTo>
                    <a:cubicBezTo>
                      <a:pt x="674" y="457"/>
                      <a:pt x="674" y="457"/>
                      <a:pt x="674" y="457"/>
                    </a:cubicBezTo>
                    <a:cubicBezTo>
                      <a:pt x="676" y="458"/>
                      <a:pt x="676" y="458"/>
                      <a:pt x="676" y="458"/>
                    </a:cubicBezTo>
                    <a:cubicBezTo>
                      <a:pt x="676" y="461"/>
                      <a:pt x="676" y="461"/>
                      <a:pt x="676" y="461"/>
                    </a:cubicBezTo>
                    <a:cubicBezTo>
                      <a:pt x="683" y="461"/>
                      <a:pt x="683" y="461"/>
                      <a:pt x="683" y="461"/>
                    </a:cubicBezTo>
                    <a:cubicBezTo>
                      <a:pt x="685" y="468"/>
                      <a:pt x="685" y="468"/>
                      <a:pt x="685" y="468"/>
                    </a:cubicBezTo>
                    <a:cubicBezTo>
                      <a:pt x="687" y="469"/>
                      <a:pt x="687" y="469"/>
                      <a:pt x="687" y="469"/>
                    </a:cubicBezTo>
                    <a:cubicBezTo>
                      <a:pt x="688" y="473"/>
                      <a:pt x="688" y="473"/>
                      <a:pt x="688" y="473"/>
                    </a:cubicBezTo>
                    <a:cubicBezTo>
                      <a:pt x="695" y="474"/>
                      <a:pt x="695" y="474"/>
                      <a:pt x="695" y="474"/>
                    </a:cubicBezTo>
                    <a:cubicBezTo>
                      <a:pt x="699" y="471"/>
                      <a:pt x="699" y="471"/>
                      <a:pt x="699" y="471"/>
                    </a:cubicBezTo>
                    <a:cubicBezTo>
                      <a:pt x="696" y="475"/>
                      <a:pt x="696" y="475"/>
                      <a:pt x="696" y="475"/>
                    </a:cubicBezTo>
                    <a:cubicBezTo>
                      <a:pt x="688" y="477"/>
                      <a:pt x="688" y="477"/>
                      <a:pt x="688" y="477"/>
                    </a:cubicBezTo>
                    <a:cubicBezTo>
                      <a:pt x="684" y="473"/>
                      <a:pt x="684" y="473"/>
                      <a:pt x="684" y="473"/>
                    </a:cubicBezTo>
                    <a:cubicBezTo>
                      <a:pt x="680" y="473"/>
                      <a:pt x="680" y="473"/>
                      <a:pt x="680" y="473"/>
                    </a:cubicBezTo>
                    <a:cubicBezTo>
                      <a:pt x="675" y="466"/>
                      <a:pt x="675" y="466"/>
                      <a:pt x="675" y="466"/>
                    </a:cubicBezTo>
                    <a:cubicBezTo>
                      <a:pt x="672" y="465"/>
                      <a:pt x="672" y="465"/>
                      <a:pt x="672" y="465"/>
                    </a:cubicBezTo>
                    <a:cubicBezTo>
                      <a:pt x="669" y="467"/>
                      <a:pt x="669" y="467"/>
                      <a:pt x="669" y="467"/>
                    </a:cubicBezTo>
                    <a:cubicBezTo>
                      <a:pt x="664" y="468"/>
                      <a:pt x="664" y="468"/>
                      <a:pt x="664" y="468"/>
                    </a:cubicBezTo>
                    <a:cubicBezTo>
                      <a:pt x="661" y="473"/>
                      <a:pt x="661" y="473"/>
                      <a:pt x="661" y="473"/>
                    </a:cubicBezTo>
                    <a:cubicBezTo>
                      <a:pt x="660" y="469"/>
                      <a:pt x="660" y="469"/>
                      <a:pt x="660" y="469"/>
                    </a:cubicBezTo>
                    <a:cubicBezTo>
                      <a:pt x="657" y="466"/>
                      <a:pt x="657" y="466"/>
                      <a:pt x="657" y="466"/>
                    </a:cubicBezTo>
                    <a:cubicBezTo>
                      <a:pt x="653" y="468"/>
                      <a:pt x="653" y="468"/>
                      <a:pt x="653" y="468"/>
                    </a:cubicBezTo>
                    <a:cubicBezTo>
                      <a:pt x="647" y="468"/>
                      <a:pt x="647" y="468"/>
                      <a:pt x="647" y="468"/>
                    </a:cubicBezTo>
                    <a:cubicBezTo>
                      <a:pt x="642" y="464"/>
                      <a:pt x="642" y="464"/>
                      <a:pt x="642" y="464"/>
                    </a:cubicBezTo>
                    <a:cubicBezTo>
                      <a:pt x="637" y="465"/>
                      <a:pt x="637" y="465"/>
                      <a:pt x="637" y="465"/>
                    </a:cubicBezTo>
                    <a:cubicBezTo>
                      <a:pt x="636" y="462"/>
                      <a:pt x="636" y="462"/>
                      <a:pt x="636" y="462"/>
                    </a:cubicBezTo>
                    <a:cubicBezTo>
                      <a:pt x="639" y="459"/>
                      <a:pt x="639" y="459"/>
                      <a:pt x="639" y="459"/>
                    </a:cubicBezTo>
                    <a:cubicBezTo>
                      <a:pt x="639" y="456"/>
                      <a:pt x="639" y="456"/>
                      <a:pt x="639" y="456"/>
                    </a:cubicBezTo>
                    <a:cubicBezTo>
                      <a:pt x="636" y="453"/>
                      <a:pt x="636" y="453"/>
                      <a:pt x="636" y="453"/>
                    </a:cubicBezTo>
                    <a:cubicBezTo>
                      <a:pt x="636" y="449"/>
                      <a:pt x="636" y="449"/>
                      <a:pt x="636" y="449"/>
                    </a:cubicBezTo>
                    <a:cubicBezTo>
                      <a:pt x="630" y="444"/>
                      <a:pt x="630" y="444"/>
                      <a:pt x="630" y="444"/>
                    </a:cubicBezTo>
                    <a:cubicBezTo>
                      <a:pt x="628" y="439"/>
                      <a:pt x="628" y="439"/>
                      <a:pt x="628" y="439"/>
                    </a:cubicBezTo>
                    <a:cubicBezTo>
                      <a:pt x="629" y="433"/>
                      <a:pt x="629" y="433"/>
                      <a:pt x="629" y="433"/>
                    </a:cubicBezTo>
                    <a:cubicBezTo>
                      <a:pt x="627" y="427"/>
                      <a:pt x="627" y="427"/>
                      <a:pt x="627" y="427"/>
                    </a:cubicBezTo>
                    <a:cubicBezTo>
                      <a:pt x="627" y="418"/>
                      <a:pt x="627" y="418"/>
                      <a:pt x="627" y="418"/>
                    </a:cubicBezTo>
                    <a:cubicBezTo>
                      <a:pt x="623" y="413"/>
                      <a:pt x="623" y="413"/>
                      <a:pt x="623" y="413"/>
                    </a:cubicBezTo>
                    <a:cubicBezTo>
                      <a:pt x="623" y="406"/>
                      <a:pt x="623" y="406"/>
                      <a:pt x="623" y="406"/>
                    </a:cubicBezTo>
                    <a:cubicBezTo>
                      <a:pt x="621" y="404"/>
                      <a:pt x="621" y="404"/>
                      <a:pt x="621" y="404"/>
                    </a:cubicBezTo>
                    <a:cubicBezTo>
                      <a:pt x="618" y="403"/>
                      <a:pt x="618" y="403"/>
                      <a:pt x="618" y="403"/>
                    </a:cubicBezTo>
                    <a:cubicBezTo>
                      <a:pt x="618" y="397"/>
                      <a:pt x="618" y="397"/>
                      <a:pt x="618" y="397"/>
                    </a:cubicBezTo>
                    <a:cubicBezTo>
                      <a:pt x="612" y="393"/>
                      <a:pt x="612" y="393"/>
                      <a:pt x="612" y="393"/>
                    </a:cubicBezTo>
                    <a:cubicBezTo>
                      <a:pt x="610" y="394"/>
                      <a:pt x="610" y="394"/>
                      <a:pt x="610" y="394"/>
                    </a:cubicBezTo>
                    <a:cubicBezTo>
                      <a:pt x="618" y="412"/>
                      <a:pt x="618" y="412"/>
                      <a:pt x="618" y="412"/>
                    </a:cubicBezTo>
                    <a:cubicBezTo>
                      <a:pt x="620" y="424"/>
                      <a:pt x="620" y="424"/>
                      <a:pt x="620" y="424"/>
                    </a:cubicBezTo>
                    <a:cubicBezTo>
                      <a:pt x="618" y="433"/>
                      <a:pt x="618" y="433"/>
                      <a:pt x="618" y="433"/>
                    </a:cubicBezTo>
                    <a:cubicBezTo>
                      <a:pt x="612" y="442"/>
                      <a:pt x="612" y="442"/>
                      <a:pt x="612" y="442"/>
                    </a:cubicBezTo>
                    <a:cubicBezTo>
                      <a:pt x="608" y="447"/>
                      <a:pt x="608" y="447"/>
                      <a:pt x="608" y="447"/>
                    </a:cubicBezTo>
                    <a:cubicBezTo>
                      <a:pt x="608" y="449"/>
                      <a:pt x="608" y="449"/>
                      <a:pt x="608" y="449"/>
                    </a:cubicBezTo>
                    <a:cubicBezTo>
                      <a:pt x="611" y="452"/>
                      <a:pt x="611" y="452"/>
                      <a:pt x="611" y="452"/>
                    </a:cubicBezTo>
                    <a:cubicBezTo>
                      <a:pt x="612" y="459"/>
                      <a:pt x="612" y="459"/>
                      <a:pt x="612" y="459"/>
                    </a:cubicBezTo>
                    <a:cubicBezTo>
                      <a:pt x="610" y="467"/>
                      <a:pt x="610" y="467"/>
                      <a:pt x="610" y="467"/>
                    </a:cubicBezTo>
                    <a:cubicBezTo>
                      <a:pt x="610" y="473"/>
                      <a:pt x="610" y="473"/>
                      <a:pt x="610" y="473"/>
                    </a:cubicBezTo>
                    <a:cubicBezTo>
                      <a:pt x="617" y="477"/>
                      <a:pt x="617" y="477"/>
                      <a:pt x="617" y="477"/>
                    </a:cubicBezTo>
                    <a:cubicBezTo>
                      <a:pt x="625" y="486"/>
                      <a:pt x="625" y="486"/>
                      <a:pt x="625" y="486"/>
                    </a:cubicBezTo>
                    <a:cubicBezTo>
                      <a:pt x="627" y="492"/>
                      <a:pt x="627" y="492"/>
                      <a:pt x="627" y="492"/>
                    </a:cubicBezTo>
                    <a:cubicBezTo>
                      <a:pt x="632" y="492"/>
                      <a:pt x="632" y="492"/>
                      <a:pt x="632" y="492"/>
                    </a:cubicBezTo>
                    <a:cubicBezTo>
                      <a:pt x="636" y="497"/>
                      <a:pt x="636" y="497"/>
                      <a:pt x="636" y="497"/>
                    </a:cubicBezTo>
                    <a:cubicBezTo>
                      <a:pt x="639" y="506"/>
                      <a:pt x="639" y="506"/>
                      <a:pt x="639" y="506"/>
                    </a:cubicBezTo>
                    <a:cubicBezTo>
                      <a:pt x="638" y="521"/>
                      <a:pt x="638" y="521"/>
                      <a:pt x="638" y="521"/>
                    </a:cubicBezTo>
                    <a:cubicBezTo>
                      <a:pt x="637" y="526"/>
                      <a:pt x="637" y="526"/>
                      <a:pt x="637" y="526"/>
                    </a:cubicBezTo>
                    <a:cubicBezTo>
                      <a:pt x="641" y="534"/>
                      <a:pt x="641" y="534"/>
                      <a:pt x="641" y="534"/>
                    </a:cubicBezTo>
                    <a:cubicBezTo>
                      <a:pt x="640" y="544"/>
                      <a:pt x="640" y="544"/>
                      <a:pt x="640" y="544"/>
                    </a:cubicBezTo>
                    <a:cubicBezTo>
                      <a:pt x="643" y="549"/>
                      <a:pt x="643" y="549"/>
                      <a:pt x="643" y="549"/>
                    </a:cubicBezTo>
                    <a:cubicBezTo>
                      <a:pt x="649" y="557"/>
                      <a:pt x="649" y="557"/>
                      <a:pt x="649" y="557"/>
                    </a:cubicBezTo>
                    <a:cubicBezTo>
                      <a:pt x="650" y="562"/>
                      <a:pt x="650" y="562"/>
                      <a:pt x="650" y="562"/>
                    </a:cubicBezTo>
                    <a:cubicBezTo>
                      <a:pt x="649" y="568"/>
                      <a:pt x="649" y="568"/>
                      <a:pt x="649" y="568"/>
                    </a:cubicBezTo>
                    <a:cubicBezTo>
                      <a:pt x="651" y="570"/>
                      <a:pt x="651" y="570"/>
                      <a:pt x="651" y="570"/>
                    </a:cubicBezTo>
                    <a:cubicBezTo>
                      <a:pt x="656" y="572"/>
                      <a:pt x="656" y="572"/>
                      <a:pt x="656" y="572"/>
                    </a:cubicBezTo>
                    <a:cubicBezTo>
                      <a:pt x="662" y="568"/>
                      <a:pt x="662" y="568"/>
                      <a:pt x="662" y="568"/>
                    </a:cubicBezTo>
                    <a:cubicBezTo>
                      <a:pt x="668" y="571"/>
                      <a:pt x="668" y="571"/>
                      <a:pt x="668" y="571"/>
                    </a:cubicBezTo>
                    <a:cubicBezTo>
                      <a:pt x="671" y="568"/>
                      <a:pt x="671" y="568"/>
                      <a:pt x="671" y="568"/>
                    </a:cubicBezTo>
                    <a:cubicBezTo>
                      <a:pt x="672" y="562"/>
                      <a:pt x="672" y="562"/>
                      <a:pt x="672" y="562"/>
                    </a:cubicBezTo>
                    <a:cubicBezTo>
                      <a:pt x="676" y="557"/>
                      <a:pt x="676" y="557"/>
                      <a:pt x="676" y="557"/>
                    </a:cubicBezTo>
                    <a:cubicBezTo>
                      <a:pt x="681" y="559"/>
                      <a:pt x="681" y="559"/>
                      <a:pt x="681" y="559"/>
                    </a:cubicBezTo>
                    <a:cubicBezTo>
                      <a:pt x="684" y="557"/>
                      <a:pt x="684" y="557"/>
                      <a:pt x="684" y="557"/>
                    </a:cubicBezTo>
                    <a:cubicBezTo>
                      <a:pt x="691" y="562"/>
                      <a:pt x="691" y="562"/>
                      <a:pt x="691" y="562"/>
                    </a:cubicBezTo>
                    <a:cubicBezTo>
                      <a:pt x="695" y="560"/>
                      <a:pt x="695" y="560"/>
                      <a:pt x="695" y="560"/>
                    </a:cubicBezTo>
                    <a:cubicBezTo>
                      <a:pt x="697" y="565"/>
                      <a:pt x="697" y="565"/>
                      <a:pt x="697" y="565"/>
                    </a:cubicBezTo>
                    <a:cubicBezTo>
                      <a:pt x="705" y="570"/>
                      <a:pt x="705" y="570"/>
                      <a:pt x="705" y="570"/>
                    </a:cubicBezTo>
                    <a:cubicBezTo>
                      <a:pt x="712" y="569"/>
                      <a:pt x="712" y="569"/>
                      <a:pt x="712" y="569"/>
                    </a:cubicBezTo>
                    <a:cubicBezTo>
                      <a:pt x="716" y="576"/>
                      <a:pt x="716" y="576"/>
                      <a:pt x="716" y="576"/>
                    </a:cubicBezTo>
                    <a:cubicBezTo>
                      <a:pt x="716" y="579"/>
                      <a:pt x="716" y="579"/>
                      <a:pt x="716" y="579"/>
                    </a:cubicBezTo>
                    <a:cubicBezTo>
                      <a:pt x="722" y="583"/>
                      <a:pt x="722" y="583"/>
                      <a:pt x="722" y="583"/>
                    </a:cubicBezTo>
                    <a:cubicBezTo>
                      <a:pt x="723" y="587"/>
                      <a:pt x="723" y="587"/>
                      <a:pt x="723" y="587"/>
                    </a:cubicBezTo>
                    <a:cubicBezTo>
                      <a:pt x="724" y="588"/>
                      <a:pt x="724" y="588"/>
                      <a:pt x="724" y="588"/>
                    </a:cubicBezTo>
                    <a:cubicBezTo>
                      <a:pt x="725" y="591"/>
                      <a:pt x="725" y="591"/>
                      <a:pt x="725" y="591"/>
                    </a:cubicBezTo>
                    <a:cubicBezTo>
                      <a:pt x="727" y="594"/>
                      <a:pt x="727" y="594"/>
                      <a:pt x="727" y="594"/>
                    </a:cubicBezTo>
                    <a:cubicBezTo>
                      <a:pt x="724" y="596"/>
                      <a:pt x="724" y="596"/>
                      <a:pt x="724" y="596"/>
                    </a:cubicBezTo>
                    <a:cubicBezTo>
                      <a:pt x="721" y="598"/>
                      <a:pt x="721" y="598"/>
                      <a:pt x="721" y="598"/>
                    </a:cubicBezTo>
                    <a:cubicBezTo>
                      <a:pt x="720" y="605"/>
                      <a:pt x="720" y="605"/>
                      <a:pt x="720" y="605"/>
                    </a:cubicBezTo>
                    <a:cubicBezTo>
                      <a:pt x="723" y="611"/>
                      <a:pt x="723" y="611"/>
                      <a:pt x="723" y="611"/>
                    </a:cubicBezTo>
                    <a:cubicBezTo>
                      <a:pt x="725" y="613"/>
                      <a:pt x="725" y="613"/>
                      <a:pt x="725" y="613"/>
                    </a:cubicBezTo>
                    <a:cubicBezTo>
                      <a:pt x="724" y="617"/>
                      <a:pt x="724" y="617"/>
                      <a:pt x="724" y="617"/>
                    </a:cubicBezTo>
                    <a:cubicBezTo>
                      <a:pt x="726" y="620"/>
                      <a:pt x="726" y="620"/>
                      <a:pt x="726" y="620"/>
                    </a:cubicBezTo>
                    <a:cubicBezTo>
                      <a:pt x="730" y="620"/>
                      <a:pt x="730" y="620"/>
                      <a:pt x="730" y="620"/>
                    </a:cubicBezTo>
                    <a:cubicBezTo>
                      <a:pt x="733" y="624"/>
                      <a:pt x="733" y="624"/>
                      <a:pt x="733" y="624"/>
                    </a:cubicBezTo>
                    <a:cubicBezTo>
                      <a:pt x="738" y="624"/>
                      <a:pt x="738" y="624"/>
                      <a:pt x="738" y="624"/>
                    </a:cubicBezTo>
                    <a:cubicBezTo>
                      <a:pt x="741" y="619"/>
                      <a:pt x="741" y="619"/>
                      <a:pt x="741" y="619"/>
                    </a:cubicBezTo>
                    <a:cubicBezTo>
                      <a:pt x="742" y="622"/>
                      <a:pt x="742" y="622"/>
                      <a:pt x="742" y="622"/>
                    </a:cubicBezTo>
                    <a:cubicBezTo>
                      <a:pt x="746" y="621"/>
                      <a:pt x="746" y="621"/>
                      <a:pt x="746" y="621"/>
                    </a:cubicBezTo>
                    <a:cubicBezTo>
                      <a:pt x="748" y="622"/>
                      <a:pt x="748" y="622"/>
                      <a:pt x="748" y="622"/>
                    </a:cubicBezTo>
                    <a:cubicBezTo>
                      <a:pt x="746" y="623"/>
                      <a:pt x="746" y="623"/>
                      <a:pt x="746" y="623"/>
                    </a:cubicBezTo>
                    <a:cubicBezTo>
                      <a:pt x="745" y="626"/>
                      <a:pt x="745" y="626"/>
                      <a:pt x="745" y="626"/>
                    </a:cubicBezTo>
                    <a:cubicBezTo>
                      <a:pt x="739" y="627"/>
                      <a:pt x="739" y="627"/>
                      <a:pt x="739" y="627"/>
                    </a:cubicBezTo>
                    <a:cubicBezTo>
                      <a:pt x="736" y="628"/>
                      <a:pt x="736" y="628"/>
                      <a:pt x="736" y="628"/>
                    </a:cubicBezTo>
                    <a:cubicBezTo>
                      <a:pt x="731" y="629"/>
                      <a:pt x="731" y="629"/>
                      <a:pt x="731" y="629"/>
                    </a:cubicBezTo>
                    <a:cubicBezTo>
                      <a:pt x="726" y="625"/>
                      <a:pt x="726" y="625"/>
                      <a:pt x="726" y="625"/>
                    </a:cubicBezTo>
                    <a:cubicBezTo>
                      <a:pt x="722" y="625"/>
                      <a:pt x="722" y="625"/>
                      <a:pt x="722" y="625"/>
                    </a:cubicBezTo>
                    <a:cubicBezTo>
                      <a:pt x="719" y="620"/>
                      <a:pt x="719" y="620"/>
                      <a:pt x="719" y="620"/>
                    </a:cubicBezTo>
                    <a:cubicBezTo>
                      <a:pt x="721" y="618"/>
                      <a:pt x="721" y="618"/>
                      <a:pt x="721" y="618"/>
                    </a:cubicBezTo>
                    <a:cubicBezTo>
                      <a:pt x="720" y="612"/>
                      <a:pt x="720" y="612"/>
                      <a:pt x="720" y="612"/>
                    </a:cubicBezTo>
                    <a:cubicBezTo>
                      <a:pt x="717" y="607"/>
                      <a:pt x="717" y="607"/>
                      <a:pt x="717" y="607"/>
                    </a:cubicBezTo>
                    <a:cubicBezTo>
                      <a:pt x="716" y="602"/>
                      <a:pt x="716" y="602"/>
                      <a:pt x="716" y="602"/>
                    </a:cubicBezTo>
                    <a:cubicBezTo>
                      <a:pt x="713" y="600"/>
                      <a:pt x="713" y="600"/>
                      <a:pt x="713" y="600"/>
                    </a:cubicBezTo>
                    <a:cubicBezTo>
                      <a:pt x="713" y="594"/>
                      <a:pt x="713" y="594"/>
                      <a:pt x="713" y="594"/>
                    </a:cubicBezTo>
                    <a:cubicBezTo>
                      <a:pt x="709" y="588"/>
                      <a:pt x="709" y="588"/>
                      <a:pt x="709" y="588"/>
                    </a:cubicBezTo>
                    <a:cubicBezTo>
                      <a:pt x="707" y="588"/>
                      <a:pt x="707" y="588"/>
                      <a:pt x="707" y="588"/>
                    </a:cubicBezTo>
                    <a:cubicBezTo>
                      <a:pt x="706" y="584"/>
                      <a:pt x="706" y="584"/>
                      <a:pt x="706" y="584"/>
                    </a:cubicBezTo>
                    <a:cubicBezTo>
                      <a:pt x="700" y="581"/>
                      <a:pt x="700" y="581"/>
                      <a:pt x="700" y="581"/>
                    </a:cubicBezTo>
                    <a:cubicBezTo>
                      <a:pt x="700" y="575"/>
                      <a:pt x="700" y="575"/>
                      <a:pt x="700" y="575"/>
                    </a:cubicBezTo>
                    <a:cubicBezTo>
                      <a:pt x="694" y="568"/>
                      <a:pt x="694" y="568"/>
                      <a:pt x="694" y="568"/>
                    </a:cubicBezTo>
                    <a:cubicBezTo>
                      <a:pt x="689" y="568"/>
                      <a:pt x="689" y="568"/>
                      <a:pt x="689" y="568"/>
                    </a:cubicBezTo>
                    <a:cubicBezTo>
                      <a:pt x="682" y="577"/>
                      <a:pt x="682" y="577"/>
                      <a:pt x="682" y="577"/>
                    </a:cubicBezTo>
                    <a:cubicBezTo>
                      <a:pt x="677" y="578"/>
                      <a:pt x="677" y="578"/>
                      <a:pt x="677" y="578"/>
                    </a:cubicBezTo>
                    <a:cubicBezTo>
                      <a:pt x="674" y="583"/>
                      <a:pt x="674" y="583"/>
                      <a:pt x="674" y="583"/>
                    </a:cubicBezTo>
                    <a:cubicBezTo>
                      <a:pt x="668" y="588"/>
                      <a:pt x="668" y="588"/>
                      <a:pt x="668" y="588"/>
                    </a:cubicBezTo>
                    <a:cubicBezTo>
                      <a:pt x="669" y="601"/>
                      <a:pt x="669" y="601"/>
                      <a:pt x="669" y="601"/>
                    </a:cubicBezTo>
                    <a:cubicBezTo>
                      <a:pt x="671" y="605"/>
                      <a:pt x="671" y="605"/>
                      <a:pt x="671" y="605"/>
                    </a:cubicBezTo>
                    <a:cubicBezTo>
                      <a:pt x="679" y="610"/>
                      <a:pt x="679" y="610"/>
                      <a:pt x="679" y="610"/>
                    </a:cubicBezTo>
                    <a:cubicBezTo>
                      <a:pt x="684" y="626"/>
                      <a:pt x="684" y="626"/>
                      <a:pt x="684" y="626"/>
                    </a:cubicBezTo>
                    <a:cubicBezTo>
                      <a:pt x="684" y="630"/>
                      <a:pt x="684" y="630"/>
                      <a:pt x="684" y="630"/>
                    </a:cubicBezTo>
                    <a:cubicBezTo>
                      <a:pt x="678" y="642"/>
                      <a:pt x="678" y="642"/>
                      <a:pt x="678" y="642"/>
                    </a:cubicBezTo>
                    <a:cubicBezTo>
                      <a:pt x="677" y="649"/>
                      <a:pt x="677" y="649"/>
                      <a:pt x="677" y="649"/>
                    </a:cubicBezTo>
                    <a:cubicBezTo>
                      <a:pt x="680" y="656"/>
                      <a:pt x="680" y="656"/>
                      <a:pt x="680" y="656"/>
                    </a:cubicBezTo>
                    <a:cubicBezTo>
                      <a:pt x="677" y="666"/>
                      <a:pt x="677" y="666"/>
                      <a:pt x="677" y="666"/>
                    </a:cubicBezTo>
                    <a:cubicBezTo>
                      <a:pt x="677" y="670"/>
                      <a:pt x="677" y="670"/>
                      <a:pt x="677" y="670"/>
                    </a:cubicBezTo>
                    <a:cubicBezTo>
                      <a:pt x="671" y="676"/>
                      <a:pt x="671" y="676"/>
                      <a:pt x="671" y="676"/>
                    </a:cubicBezTo>
                    <a:cubicBezTo>
                      <a:pt x="671" y="679"/>
                      <a:pt x="671" y="679"/>
                      <a:pt x="671" y="679"/>
                    </a:cubicBezTo>
                    <a:cubicBezTo>
                      <a:pt x="668" y="681"/>
                      <a:pt x="668" y="681"/>
                      <a:pt x="668" y="681"/>
                    </a:cubicBezTo>
                    <a:cubicBezTo>
                      <a:pt x="665" y="685"/>
                      <a:pt x="665" y="685"/>
                      <a:pt x="665" y="685"/>
                    </a:cubicBezTo>
                    <a:cubicBezTo>
                      <a:pt x="665" y="690"/>
                      <a:pt x="665" y="690"/>
                      <a:pt x="665" y="690"/>
                    </a:cubicBezTo>
                    <a:cubicBezTo>
                      <a:pt x="668" y="693"/>
                      <a:pt x="668" y="693"/>
                      <a:pt x="668" y="693"/>
                    </a:cubicBezTo>
                    <a:cubicBezTo>
                      <a:pt x="668" y="698"/>
                      <a:pt x="668" y="698"/>
                      <a:pt x="668" y="698"/>
                    </a:cubicBezTo>
                    <a:cubicBezTo>
                      <a:pt x="662" y="702"/>
                      <a:pt x="662" y="702"/>
                      <a:pt x="662" y="702"/>
                    </a:cubicBezTo>
                    <a:cubicBezTo>
                      <a:pt x="655" y="700"/>
                      <a:pt x="655" y="700"/>
                      <a:pt x="655" y="700"/>
                    </a:cubicBezTo>
                    <a:cubicBezTo>
                      <a:pt x="654" y="697"/>
                      <a:pt x="654" y="697"/>
                      <a:pt x="654" y="697"/>
                    </a:cubicBezTo>
                    <a:cubicBezTo>
                      <a:pt x="648" y="698"/>
                      <a:pt x="648" y="698"/>
                      <a:pt x="648" y="698"/>
                    </a:cubicBezTo>
                    <a:cubicBezTo>
                      <a:pt x="641" y="699"/>
                      <a:pt x="641" y="699"/>
                      <a:pt x="641" y="699"/>
                    </a:cubicBezTo>
                    <a:cubicBezTo>
                      <a:pt x="635" y="697"/>
                      <a:pt x="635" y="697"/>
                      <a:pt x="635" y="697"/>
                    </a:cubicBezTo>
                    <a:cubicBezTo>
                      <a:pt x="622" y="694"/>
                      <a:pt x="622" y="694"/>
                      <a:pt x="622" y="694"/>
                    </a:cubicBezTo>
                    <a:cubicBezTo>
                      <a:pt x="617" y="689"/>
                      <a:pt x="617" y="689"/>
                      <a:pt x="617" y="689"/>
                    </a:cubicBezTo>
                    <a:cubicBezTo>
                      <a:pt x="615" y="685"/>
                      <a:pt x="615" y="685"/>
                      <a:pt x="615" y="685"/>
                    </a:cubicBezTo>
                    <a:cubicBezTo>
                      <a:pt x="609" y="686"/>
                      <a:pt x="609" y="686"/>
                      <a:pt x="609" y="686"/>
                    </a:cubicBezTo>
                    <a:cubicBezTo>
                      <a:pt x="607" y="690"/>
                      <a:pt x="607" y="690"/>
                      <a:pt x="607" y="690"/>
                    </a:cubicBezTo>
                    <a:cubicBezTo>
                      <a:pt x="606" y="688"/>
                      <a:pt x="606" y="688"/>
                      <a:pt x="606" y="688"/>
                    </a:cubicBezTo>
                    <a:cubicBezTo>
                      <a:pt x="604" y="688"/>
                      <a:pt x="604" y="688"/>
                      <a:pt x="604" y="688"/>
                    </a:cubicBezTo>
                    <a:cubicBezTo>
                      <a:pt x="606" y="682"/>
                      <a:pt x="606" y="682"/>
                      <a:pt x="606" y="682"/>
                    </a:cubicBezTo>
                    <a:cubicBezTo>
                      <a:pt x="612" y="682"/>
                      <a:pt x="612" y="682"/>
                      <a:pt x="612" y="682"/>
                    </a:cubicBezTo>
                    <a:cubicBezTo>
                      <a:pt x="622" y="680"/>
                      <a:pt x="622" y="680"/>
                      <a:pt x="622" y="680"/>
                    </a:cubicBezTo>
                    <a:cubicBezTo>
                      <a:pt x="624" y="677"/>
                      <a:pt x="624" y="677"/>
                      <a:pt x="624" y="677"/>
                    </a:cubicBezTo>
                    <a:cubicBezTo>
                      <a:pt x="632" y="683"/>
                      <a:pt x="632" y="683"/>
                      <a:pt x="632" y="683"/>
                    </a:cubicBezTo>
                    <a:cubicBezTo>
                      <a:pt x="635" y="682"/>
                      <a:pt x="635" y="682"/>
                      <a:pt x="635" y="682"/>
                    </a:cubicBezTo>
                    <a:cubicBezTo>
                      <a:pt x="636" y="680"/>
                      <a:pt x="636" y="680"/>
                      <a:pt x="636" y="680"/>
                    </a:cubicBezTo>
                    <a:cubicBezTo>
                      <a:pt x="640" y="680"/>
                      <a:pt x="640" y="680"/>
                      <a:pt x="640" y="680"/>
                    </a:cubicBezTo>
                    <a:cubicBezTo>
                      <a:pt x="639" y="683"/>
                      <a:pt x="639" y="683"/>
                      <a:pt x="639" y="683"/>
                    </a:cubicBezTo>
                    <a:cubicBezTo>
                      <a:pt x="634" y="687"/>
                      <a:pt x="634" y="687"/>
                      <a:pt x="634" y="687"/>
                    </a:cubicBezTo>
                    <a:cubicBezTo>
                      <a:pt x="637" y="690"/>
                      <a:pt x="637" y="690"/>
                      <a:pt x="637" y="690"/>
                    </a:cubicBezTo>
                    <a:cubicBezTo>
                      <a:pt x="644" y="690"/>
                      <a:pt x="644" y="690"/>
                      <a:pt x="644" y="690"/>
                    </a:cubicBezTo>
                    <a:cubicBezTo>
                      <a:pt x="647" y="685"/>
                      <a:pt x="647" y="685"/>
                      <a:pt x="647" y="685"/>
                    </a:cubicBezTo>
                    <a:cubicBezTo>
                      <a:pt x="651" y="683"/>
                      <a:pt x="651" y="683"/>
                      <a:pt x="651" y="683"/>
                    </a:cubicBezTo>
                    <a:cubicBezTo>
                      <a:pt x="650" y="680"/>
                      <a:pt x="650" y="680"/>
                      <a:pt x="650" y="680"/>
                    </a:cubicBezTo>
                    <a:cubicBezTo>
                      <a:pt x="647" y="675"/>
                      <a:pt x="647" y="675"/>
                      <a:pt x="647" y="675"/>
                    </a:cubicBezTo>
                    <a:cubicBezTo>
                      <a:pt x="647" y="672"/>
                      <a:pt x="647" y="672"/>
                      <a:pt x="647" y="672"/>
                    </a:cubicBezTo>
                    <a:cubicBezTo>
                      <a:pt x="651" y="674"/>
                      <a:pt x="651" y="674"/>
                      <a:pt x="651" y="674"/>
                    </a:cubicBezTo>
                    <a:cubicBezTo>
                      <a:pt x="653" y="672"/>
                      <a:pt x="653" y="672"/>
                      <a:pt x="653" y="672"/>
                    </a:cubicBezTo>
                    <a:cubicBezTo>
                      <a:pt x="653" y="663"/>
                      <a:pt x="653" y="663"/>
                      <a:pt x="653" y="663"/>
                    </a:cubicBezTo>
                    <a:cubicBezTo>
                      <a:pt x="657" y="660"/>
                      <a:pt x="657" y="660"/>
                      <a:pt x="657" y="660"/>
                    </a:cubicBezTo>
                    <a:cubicBezTo>
                      <a:pt x="657" y="657"/>
                      <a:pt x="657" y="657"/>
                      <a:pt x="657" y="657"/>
                    </a:cubicBezTo>
                    <a:cubicBezTo>
                      <a:pt x="654" y="658"/>
                      <a:pt x="654" y="658"/>
                      <a:pt x="654" y="658"/>
                    </a:cubicBezTo>
                    <a:cubicBezTo>
                      <a:pt x="653" y="656"/>
                      <a:pt x="653" y="656"/>
                      <a:pt x="653" y="656"/>
                    </a:cubicBezTo>
                    <a:cubicBezTo>
                      <a:pt x="657" y="654"/>
                      <a:pt x="657" y="654"/>
                      <a:pt x="657" y="654"/>
                    </a:cubicBezTo>
                    <a:cubicBezTo>
                      <a:pt x="657" y="644"/>
                      <a:pt x="657" y="644"/>
                      <a:pt x="657" y="644"/>
                    </a:cubicBezTo>
                    <a:cubicBezTo>
                      <a:pt x="656" y="642"/>
                      <a:pt x="656" y="642"/>
                      <a:pt x="656" y="642"/>
                    </a:cubicBezTo>
                    <a:cubicBezTo>
                      <a:pt x="658" y="638"/>
                      <a:pt x="658" y="638"/>
                      <a:pt x="658" y="638"/>
                    </a:cubicBezTo>
                    <a:cubicBezTo>
                      <a:pt x="658" y="636"/>
                      <a:pt x="658" y="636"/>
                      <a:pt x="658" y="636"/>
                    </a:cubicBezTo>
                    <a:cubicBezTo>
                      <a:pt x="661" y="632"/>
                      <a:pt x="661" y="632"/>
                      <a:pt x="661" y="632"/>
                    </a:cubicBezTo>
                    <a:cubicBezTo>
                      <a:pt x="661" y="626"/>
                      <a:pt x="661" y="626"/>
                      <a:pt x="661" y="626"/>
                    </a:cubicBezTo>
                    <a:cubicBezTo>
                      <a:pt x="657" y="621"/>
                      <a:pt x="657" y="621"/>
                      <a:pt x="657" y="621"/>
                    </a:cubicBezTo>
                    <a:cubicBezTo>
                      <a:pt x="654" y="612"/>
                      <a:pt x="654" y="612"/>
                      <a:pt x="654" y="612"/>
                    </a:cubicBezTo>
                    <a:cubicBezTo>
                      <a:pt x="655" y="606"/>
                      <a:pt x="655" y="606"/>
                      <a:pt x="655" y="606"/>
                    </a:cubicBezTo>
                    <a:cubicBezTo>
                      <a:pt x="655" y="602"/>
                      <a:pt x="655" y="602"/>
                      <a:pt x="655" y="602"/>
                    </a:cubicBezTo>
                    <a:cubicBezTo>
                      <a:pt x="657" y="602"/>
                      <a:pt x="657" y="602"/>
                      <a:pt x="657" y="602"/>
                    </a:cubicBezTo>
                    <a:cubicBezTo>
                      <a:pt x="657" y="599"/>
                      <a:pt x="657" y="599"/>
                      <a:pt x="657" y="599"/>
                    </a:cubicBezTo>
                    <a:cubicBezTo>
                      <a:pt x="652" y="593"/>
                      <a:pt x="652" y="593"/>
                      <a:pt x="652" y="593"/>
                    </a:cubicBezTo>
                    <a:cubicBezTo>
                      <a:pt x="649" y="592"/>
                      <a:pt x="649" y="592"/>
                      <a:pt x="649" y="592"/>
                    </a:cubicBezTo>
                    <a:cubicBezTo>
                      <a:pt x="647" y="588"/>
                      <a:pt x="647" y="588"/>
                      <a:pt x="647" y="588"/>
                    </a:cubicBezTo>
                    <a:cubicBezTo>
                      <a:pt x="641" y="586"/>
                      <a:pt x="641" y="586"/>
                      <a:pt x="641" y="586"/>
                    </a:cubicBezTo>
                    <a:cubicBezTo>
                      <a:pt x="633" y="575"/>
                      <a:pt x="633" y="575"/>
                      <a:pt x="633" y="575"/>
                    </a:cubicBezTo>
                    <a:cubicBezTo>
                      <a:pt x="632" y="565"/>
                      <a:pt x="632" y="565"/>
                      <a:pt x="632" y="565"/>
                    </a:cubicBezTo>
                    <a:cubicBezTo>
                      <a:pt x="630" y="563"/>
                      <a:pt x="630" y="563"/>
                      <a:pt x="630" y="563"/>
                    </a:cubicBezTo>
                    <a:cubicBezTo>
                      <a:pt x="632" y="559"/>
                      <a:pt x="632" y="559"/>
                      <a:pt x="632" y="559"/>
                    </a:cubicBezTo>
                    <a:cubicBezTo>
                      <a:pt x="628" y="556"/>
                      <a:pt x="628" y="556"/>
                      <a:pt x="628" y="556"/>
                    </a:cubicBezTo>
                    <a:cubicBezTo>
                      <a:pt x="626" y="552"/>
                      <a:pt x="626" y="552"/>
                      <a:pt x="626" y="552"/>
                    </a:cubicBezTo>
                    <a:cubicBezTo>
                      <a:pt x="627" y="546"/>
                      <a:pt x="627" y="546"/>
                      <a:pt x="627" y="546"/>
                    </a:cubicBezTo>
                    <a:cubicBezTo>
                      <a:pt x="621" y="536"/>
                      <a:pt x="621" y="536"/>
                      <a:pt x="621" y="536"/>
                    </a:cubicBezTo>
                    <a:cubicBezTo>
                      <a:pt x="621" y="529"/>
                      <a:pt x="621" y="529"/>
                      <a:pt x="621" y="529"/>
                    </a:cubicBezTo>
                    <a:cubicBezTo>
                      <a:pt x="618" y="524"/>
                      <a:pt x="618" y="524"/>
                      <a:pt x="618" y="524"/>
                    </a:cubicBezTo>
                    <a:cubicBezTo>
                      <a:pt x="619" y="521"/>
                      <a:pt x="619" y="521"/>
                      <a:pt x="619" y="521"/>
                    </a:cubicBezTo>
                    <a:cubicBezTo>
                      <a:pt x="619" y="518"/>
                      <a:pt x="619" y="518"/>
                      <a:pt x="619" y="518"/>
                    </a:cubicBezTo>
                    <a:cubicBezTo>
                      <a:pt x="616" y="514"/>
                      <a:pt x="616" y="514"/>
                      <a:pt x="616" y="514"/>
                    </a:cubicBezTo>
                    <a:cubicBezTo>
                      <a:pt x="614" y="501"/>
                      <a:pt x="614" y="501"/>
                      <a:pt x="614" y="501"/>
                    </a:cubicBezTo>
                    <a:cubicBezTo>
                      <a:pt x="612" y="496"/>
                      <a:pt x="612" y="496"/>
                      <a:pt x="612" y="496"/>
                    </a:cubicBezTo>
                    <a:cubicBezTo>
                      <a:pt x="608" y="493"/>
                      <a:pt x="608" y="493"/>
                      <a:pt x="608" y="493"/>
                    </a:cubicBezTo>
                    <a:cubicBezTo>
                      <a:pt x="606" y="484"/>
                      <a:pt x="606" y="484"/>
                      <a:pt x="606" y="484"/>
                    </a:cubicBezTo>
                    <a:cubicBezTo>
                      <a:pt x="604" y="483"/>
                      <a:pt x="604" y="483"/>
                      <a:pt x="604" y="483"/>
                    </a:cubicBezTo>
                    <a:cubicBezTo>
                      <a:pt x="601" y="484"/>
                      <a:pt x="601" y="484"/>
                      <a:pt x="601" y="484"/>
                    </a:cubicBezTo>
                    <a:cubicBezTo>
                      <a:pt x="601" y="483"/>
                      <a:pt x="601" y="483"/>
                      <a:pt x="601" y="483"/>
                    </a:cubicBezTo>
                    <a:cubicBezTo>
                      <a:pt x="597" y="481"/>
                      <a:pt x="597" y="481"/>
                      <a:pt x="597" y="481"/>
                    </a:cubicBezTo>
                    <a:cubicBezTo>
                      <a:pt x="595" y="476"/>
                      <a:pt x="595" y="476"/>
                      <a:pt x="595" y="476"/>
                    </a:cubicBezTo>
                    <a:cubicBezTo>
                      <a:pt x="591" y="471"/>
                      <a:pt x="591" y="471"/>
                      <a:pt x="591" y="471"/>
                    </a:cubicBezTo>
                    <a:cubicBezTo>
                      <a:pt x="590" y="466"/>
                      <a:pt x="590" y="466"/>
                      <a:pt x="590" y="466"/>
                    </a:cubicBezTo>
                    <a:cubicBezTo>
                      <a:pt x="592" y="465"/>
                      <a:pt x="592" y="465"/>
                      <a:pt x="592" y="465"/>
                    </a:cubicBezTo>
                    <a:cubicBezTo>
                      <a:pt x="593" y="461"/>
                      <a:pt x="593" y="461"/>
                      <a:pt x="593" y="461"/>
                    </a:cubicBezTo>
                    <a:cubicBezTo>
                      <a:pt x="591" y="457"/>
                      <a:pt x="591" y="457"/>
                      <a:pt x="591" y="457"/>
                    </a:cubicBezTo>
                    <a:cubicBezTo>
                      <a:pt x="592" y="454"/>
                      <a:pt x="592" y="454"/>
                      <a:pt x="592" y="454"/>
                    </a:cubicBezTo>
                    <a:cubicBezTo>
                      <a:pt x="590" y="451"/>
                      <a:pt x="590" y="451"/>
                      <a:pt x="590" y="451"/>
                    </a:cubicBezTo>
                    <a:cubicBezTo>
                      <a:pt x="592" y="439"/>
                      <a:pt x="592" y="439"/>
                      <a:pt x="592" y="439"/>
                    </a:cubicBezTo>
                    <a:cubicBezTo>
                      <a:pt x="589" y="432"/>
                      <a:pt x="589" y="432"/>
                      <a:pt x="589" y="432"/>
                    </a:cubicBezTo>
                    <a:cubicBezTo>
                      <a:pt x="589" y="424"/>
                      <a:pt x="589" y="424"/>
                      <a:pt x="589" y="424"/>
                    </a:cubicBezTo>
                    <a:cubicBezTo>
                      <a:pt x="587" y="422"/>
                      <a:pt x="587" y="422"/>
                      <a:pt x="587" y="422"/>
                    </a:cubicBezTo>
                    <a:cubicBezTo>
                      <a:pt x="587" y="416"/>
                      <a:pt x="587" y="416"/>
                      <a:pt x="587" y="416"/>
                    </a:cubicBezTo>
                    <a:cubicBezTo>
                      <a:pt x="585" y="411"/>
                      <a:pt x="585" y="411"/>
                      <a:pt x="585" y="411"/>
                    </a:cubicBezTo>
                    <a:cubicBezTo>
                      <a:pt x="588" y="410"/>
                      <a:pt x="588" y="410"/>
                      <a:pt x="588" y="410"/>
                    </a:cubicBezTo>
                    <a:cubicBezTo>
                      <a:pt x="586" y="406"/>
                      <a:pt x="586" y="406"/>
                      <a:pt x="586" y="406"/>
                    </a:cubicBezTo>
                    <a:cubicBezTo>
                      <a:pt x="583" y="405"/>
                      <a:pt x="583" y="405"/>
                      <a:pt x="583" y="405"/>
                    </a:cubicBezTo>
                    <a:cubicBezTo>
                      <a:pt x="578" y="405"/>
                      <a:pt x="578" y="405"/>
                      <a:pt x="578" y="405"/>
                    </a:cubicBezTo>
                    <a:cubicBezTo>
                      <a:pt x="567" y="399"/>
                      <a:pt x="567" y="399"/>
                      <a:pt x="567" y="399"/>
                    </a:cubicBezTo>
                    <a:cubicBezTo>
                      <a:pt x="562" y="399"/>
                      <a:pt x="562" y="399"/>
                      <a:pt x="562" y="399"/>
                    </a:cubicBezTo>
                    <a:cubicBezTo>
                      <a:pt x="560" y="401"/>
                      <a:pt x="560" y="401"/>
                      <a:pt x="560" y="401"/>
                    </a:cubicBezTo>
                    <a:cubicBezTo>
                      <a:pt x="557" y="400"/>
                      <a:pt x="557" y="400"/>
                      <a:pt x="557" y="400"/>
                    </a:cubicBezTo>
                    <a:cubicBezTo>
                      <a:pt x="554" y="399"/>
                      <a:pt x="554" y="399"/>
                      <a:pt x="554" y="399"/>
                    </a:cubicBezTo>
                    <a:cubicBezTo>
                      <a:pt x="549" y="402"/>
                      <a:pt x="549" y="402"/>
                      <a:pt x="549" y="402"/>
                    </a:cubicBezTo>
                    <a:cubicBezTo>
                      <a:pt x="544" y="402"/>
                      <a:pt x="544" y="402"/>
                      <a:pt x="544" y="402"/>
                    </a:cubicBezTo>
                    <a:cubicBezTo>
                      <a:pt x="540" y="404"/>
                      <a:pt x="540" y="404"/>
                      <a:pt x="540" y="404"/>
                    </a:cubicBezTo>
                    <a:cubicBezTo>
                      <a:pt x="539" y="403"/>
                      <a:pt x="539" y="403"/>
                      <a:pt x="539" y="403"/>
                    </a:cubicBezTo>
                    <a:cubicBezTo>
                      <a:pt x="540" y="401"/>
                      <a:pt x="540" y="401"/>
                      <a:pt x="540" y="401"/>
                    </a:cubicBezTo>
                    <a:cubicBezTo>
                      <a:pt x="537" y="399"/>
                      <a:pt x="537" y="399"/>
                      <a:pt x="537" y="399"/>
                    </a:cubicBezTo>
                    <a:cubicBezTo>
                      <a:pt x="534" y="400"/>
                      <a:pt x="534" y="400"/>
                      <a:pt x="534" y="400"/>
                    </a:cubicBezTo>
                    <a:cubicBezTo>
                      <a:pt x="535" y="409"/>
                      <a:pt x="535" y="409"/>
                      <a:pt x="535" y="409"/>
                    </a:cubicBezTo>
                    <a:cubicBezTo>
                      <a:pt x="534" y="416"/>
                      <a:pt x="534" y="416"/>
                      <a:pt x="534" y="416"/>
                    </a:cubicBezTo>
                    <a:cubicBezTo>
                      <a:pt x="537" y="421"/>
                      <a:pt x="537" y="421"/>
                      <a:pt x="537" y="421"/>
                    </a:cubicBezTo>
                    <a:cubicBezTo>
                      <a:pt x="536" y="423"/>
                      <a:pt x="536" y="423"/>
                      <a:pt x="536" y="423"/>
                    </a:cubicBezTo>
                    <a:cubicBezTo>
                      <a:pt x="534" y="431"/>
                      <a:pt x="534" y="431"/>
                      <a:pt x="534" y="431"/>
                    </a:cubicBezTo>
                    <a:cubicBezTo>
                      <a:pt x="536" y="434"/>
                      <a:pt x="536" y="434"/>
                      <a:pt x="536" y="434"/>
                    </a:cubicBezTo>
                    <a:cubicBezTo>
                      <a:pt x="536" y="439"/>
                      <a:pt x="536" y="439"/>
                      <a:pt x="536" y="439"/>
                    </a:cubicBezTo>
                    <a:cubicBezTo>
                      <a:pt x="537" y="442"/>
                      <a:pt x="537" y="442"/>
                      <a:pt x="537" y="442"/>
                    </a:cubicBezTo>
                    <a:cubicBezTo>
                      <a:pt x="536" y="446"/>
                      <a:pt x="536" y="446"/>
                      <a:pt x="536" y="446"/>
                    </a:cubicBezTo>
                    <a:cubicBezTo>
                      <a:pt x="536" y="452"/>
                      <a:pt x="536" y="452"/>
                      <a:pt x="536" y="452"/>
                    </a:cubicBezTo>
                    <a:cubicBezTo>
                      <a:pt x="539" y="457"/>
                      <a:pt x="539" y="457"/>
                      <a:pt x="539" y="457"/>
                    </a:cubicBezTo>
                    <a:cubicBezTo>
                      <a:pt x="536" y="463"/>
                      <a:pt x="536" y="463"/>
                      <a:pt x="536" y="463"/>
                    </a:cubicBezTo>
                    <a:cubicBezTo>
                      <a:pt x="537" y="467"/>
                      <a:pt x="537" y="467"/>
                      <a:pt x="537" y="467"/>
                    </a:cubicBezTo>
                    <a:cubicBezTo>
                      <a:pt x="539" y="473"/>
                      <a:pt x="539" y="473"/>
                      <a:pt x="539" y="473"/>
                    </a:cubicBezTo>
                    <a:cubicBezTo>
                      <a:pt x="537" y="475"/>
                      <a:pt x="537" y="475"/>
                      <a:pt x="537" y="475"/>
                    </a:cubicBezTo>
                    <a:cubicBezTo>
                      <a:pt x="533" y="478"/>
                      <a:pt x="533" y="478"/>
                      <a:pt x="533" y="478"/>
                    </a:cubicBezTo>
                    <a:cubicBezTo>
                      <a:pt x="527" y="490"/>
                      <a:pt x="527" y="490"/>
                      <a:pt x="527" y="490"/>
                    </a:cubicBezTo>
                    <a:cubicBezTo>
                      <a:pt x="525" y="492"/>
                      <a:pt x="525" y="492"/>
                      <a:pt x="525" y="492"/>
                    </a:cubicBezTo>
                    <a:cubicBezTo>
                      <a:pt x="525" y="496"/>
                      <a:pt x="525" y="496"/>
                      <a:pt x="525" y="496"/>
                    </a:cubicBezTo>
                    <a:cubicBezTo>
                      <a:pt x="528" y="500"/>
                      <a:pt x="528" y="500"/>
                      <a:pt x="528" y="500"/>
                    </a:cubicBezTo>
                    <a:cubicBezTo>
                      <a:pt x="526" y="504"/>
                      <a:pt x="526" y="504"/>
                      <a:pt x="526" y="504"/>
                    </a:cubicBezTo>
                    <a:cubicBezTo>
                      <a:pt x="525" y="511"/>
                      <a:pt x="525" y="511"/>
                      <a:pt x="525" y="511"/>
                    </a:cubicBezTo>
                    <a:cubicBezTo>
                      <a:pt x="529" y="516"/>
                      <a:pt x="529" y="516"/>
                      <a:pt x="529" y="516"/>
                    </a:cubicBezTo>
                    <a:cubicBezTo>
                      <a:pt x="532" y="515"/>
                      <a:pt x="532" y="515"/>
                      <a:pt x="532" y="515"/>
                    </a:cubicBezTo>
                    <a:cubicBezTo>
                      <a:pt x="534" y="517"/>
                      <a:pt x="534" y="517"/>
                      <a:pt x="534" y="517"/>
                    </a:cubicBezTo>
                    <a:cubicBezTo>
                      <a:pt x="537" y="525"/>
                      <a:pt x="537" y="525"/>
                      <a:pt x="537" y="525"/>
                    </a:cubicBezTo>
                    <a:cubicBezTo>
                      <a:pt x="541" y="526"/>
                      <a:pt x="541" y="526"/>
                      <a:pt x="541" y="526"/>
                    </a:cubicBezTo>
                    <a:cubicBezTo>
                      <a:pt x="544" y="529"/>
                      <a:pt x="544" y="529"/>
                      <a:pt x="544" y="529"/>
                    </a:cubicBezTo>
                    <a:cubicBezTo>
                      <a:pt x="542" y="528"/>
                      <a:pt x="542" y="528"/>
                      <a:pt x="542" y="528"/>
                    </a:cubicBezTo>
                    <a:cubicBezTo>
                      <a:pt x="539" y="533"/>
                      <a:pt x="539" y="533"/>
                      <a:pt x="539" y="533"/>
                    </a:cubicBezTo>
                    <a:cubicBezTo>
                      <a:pt x="540" y="538"/>
                      <a:pt x="540" y="538"/>
                      <a:pt x="540" y="538"/>
                    </a:cubicBezTo>
                    <a:cubicBezTo>
                      <a:pt x="545" y="543"/>
                      <a:pt x="545" y="543"/>
                      <a:pt x="545" y="543"/>
                    </a:cubicBezTo>
                    <a:cubicBezTo>
                      <a:pt x="545" y="548"/>
                      <a:pt x="545" y="548"/>
                      <a:pt x="545" y="548"/>
                    </a:cubicBezTo>
                    <a:cubicBezTo>
                      <a:pt x="542" y="551"/>
                      <a:pt x="542" y="551"/>
                      <a:pt x="542" y="551"/>
                    </a:cubicBezTo>
                    <a:cubicBezTo>
                      <a:pt x="540" y="549"/>
                      <a:pt x="540" y="549"/>
                      <a:pt x="540" y="549"/>
                    </a:cubicBezTo>
                    <a:cubicBezTo>
                      <a:pt x="540" y="552"/>
                      <a:pt x="540" y="552"/>
                      <a:pt x="540" y="552"/>
                    </a:cubicBezTo>
                    <a:cubicBezTo>
                      <a:pt x="543" y="561"/>
                      <a:pt x="543" y="561"/>
                      <a:pt x="543" y="561"/>
                    </a:cubicBezTo>
                    <a:cubicBezTo>
                      <a:pt x="545" y="564"/>
                      <a:pt x="545" y="564"/>
                      <a:pt x="545" y="564"/>
                    </a:cubicBezTo>
                    <a:cubicBezTo>
                      <a:pt x="547" y="572"/>
                      <a:pt x="547" y="572"/>
                      <a:pt x="547" y="572"/>
                    </a:cubicBezTo>
                    <a:cubicBezTo>
                      <a:pt x="548" y="568"/>
                      <a:pt x="548" y="568"/>
                      <a:pt x="548" y="568"/>
                    </a:cubicBezTo>
                    <a:cubicBezTo>
                      <a:pt x="552" y="571"/>
                      <a:pt x="552" y="571"/>
                      <a:pt x="552" y="571"/>
                    </a:cubicBezTo>
                    <a:cubicBezTo>
                      <a:pt x="556" y="571"/>
                      <a:pt x="556" y="571"/>
                      <a:pt x="556" y="571"/>
                    </a:cubicBezTo>
                    <a:cubicBezTo>
                      <a:pt x="560" y="574"/>
                      <a:pt x="560" y="574"/>
                      <a:pt x="560" y="574"/>
                    </a:cubicBezTo>
                    <a:cubicBezTo>
                      <a:pt x="563" y="569"/>
                      <a:pt x="563" y="569"/>
                      <a:pt x="563" y="569"/>
                    </a:cubicBezTo>
                    <a:cubicBezTo>
                      <a:pt x="565" y="571"/>
                      <a:pt x="565" y="571"/>
                      <a:pt x="565" y="571"/>
                    </a:cubicBezTo>
                    <a:cubicBezTo>
                      <a:pt x="565" y="578"/>
                      <a:pt x="565" y="578"/>
                      <a:pt x="565" y="578"/>
                    </a:cubicBezTo>
                    <a:cubicBezTo>
                      <a:pt x="568" y="583"/>
                      <a:pt x="568" y="583"/>
                      <a:pt x="568" y="583"/>
                    </a:cubicBezTo>
                    <a:cubicBezTo>
                      <a:pt x="570" y="583"/>
                      <a:pt x="570" y="583"/>
                      <a:pt x="570" y="583"/>
                    </a:cubicBezTo>
                    <a:cubicBezTo>
                      <a:pt x="578" y="594"/>
                      <a:pt x="578" y="594"/>
                      <a:pt x="578" y="594"/>
                    </a:cubicBezTo>
                    <a:cubicBezTo>
                      <a:pt x="581" y="595"/>
                      <a:pt x="581" y="595"/>
                      <a:pt x="581" y="595"/>
                    </a:cubicBezTo>
                    <a:cubicBezTo>
                      <a:pt x="584" y="593"/>
                      <a:pt x="584" y="593"/>
                      <a:pt x="584" y="593"/>
                    </a:cubicBezTo>
                    <a:cubicBezTo>
                      <a:pt x="587" y="593"/>
                      <a:pt x="587" y="593"/>
                      <a:pt x="587" y="593"/>
                    </a:cubicBezTo>
                    <a:cubicBezTo>
                      <a:pt x="588" y="595"/>
                      <a:pt x="588" y="595"/>
                      <a:pt x="588" y="595"/>
                    </a:cubicBezTo>
                    <a:cubicBezTo>
                      <a:pt x="591" y="594"/>
                      <a:pt x="591" y="594"/>
                      <a:pt x="591" y="594"/>
                    </a:cubicBezTo>
                    <a:cubicBezTo>
                      <a:pt x="588" y="597"/>
                      <a:pt x="588" y="597"/>
                      <a:pt x="588" y="597"/>
                    </a:cubicBezTo>
                    <a:cubicBezTo>
                      <a:pt x="588" y="609"/>
                      <a:pt x="588" y="609"/>
                      <a:pt x="588" y="609"/>
                    </a:cubicBezTo>
                    <a:cubicBezTo>
                      <a:pt x="587" y="612"/>
                      <a:pt x="587" y="612"/>
                      <a:pt x="587" y="612"/>
                    </a:cubicBezTo>
                    <a:cubicBezTo>
                      <a:pt x="590" y="617"/>
                      <a:pt x="590" y="617"/>
                      <a:pt x="590" y="617"/>
                    </a:cubicBezTo>
                    <a:cubicBezTo>
                      <a:pt x="589" y="619"/>
                      <a:pt x="589" y="619"/>
                      <a:pt x="589" y="619"/>
                    </a:cubicBezTo>
                    <a:cubicBezTo>
                      <a:pt x="586" y="619"/>
                      <a:pt x="586" y="619"/>
                      <a:pt x="586" y="619"/>
                    </a:cubicBezTo>
                    <a:cubicBezTo>
                      <a:pt x="587" y="625"/>
                      <a:pt x="587" y="625"/>
                      <a:pt x="587" y="625"/>
                    </a:cubicBezTo>
                    <a:cubicBezTo>
                      <a:pt x="587" y="628"/>
                      <a:pt x="587" y="628"/>
                      <a:pt x="587" y="628"/>
                    </a:cubicBezTo>
                    <a:cubicBezTo>
                      <a:pt x="583" y="627"/>
                      <a:pt x="583" y="627"/>
                      <a:pt x="583" y="627"/>
                    </a:cubicBezTo>
                    <a:cubicBezTo>
                      <a:pt x="579" y="618"/>
                      <a:pt x="579" y="618"/>
                      <a:pt x="579" y="618"/>
                    </a:cubicBezTo>
                    <a:cubicBezTo>
                      <a:pt x="574" y="613"/>
                      <a:pt x="574" y="613"/>
                      <a:pt x="574" y="613"/>
                    </a:cubicBezTo>
                    <a:cubicBezTo>
                      <a:pt x="568" y="612"/>
                      <a:pt x="568" y="612"/>
                      <a:pt x="568" y="612"/>
                    </a:cubicBezTo>
                    <a:cubicBezTo>
                      <a:pt x="566" y="606"/>
                      <a:pt x="566" y="606"/>
                      <a:pt x="566" y="606"/>
                    </a:cubicBezTo>
                    <a:cubicBezTo>
                      <a:pt x="562" y="602"/>
                      <a:pt x="562" y="602"/>
                      <a:pt x="562" y="602"/>
                    </a:cubicBezTo>
                    <a:cubicBezTo>
                      <a:pt x="553" y="601"/>
                      <a:pt x="553" y="601"/>
                      <a:pt x="553" y="601"/>
                    </a:cubicBezTo>
                    <a:cubicBezTo>
                      <a:pt x="543" y="594"/>
                      <a:pt x="543" y="594"/>
                      <a:pt x="543" y="594"/>
                    </a:cubicBezTo>
                    <a:cubicBezTo>
                      <a:pt x="536" y="593"/>
                      <a:pt x="536" y="593"/>
                      <a:pt x="536" y="593"/>
                    </a:cubicBezTo>
                    <a:cubicBezTo>
                      <a:pt x="536" y="589"/>
                      <a:pt x="536" y="589"/>
                      <a:pt x="536" y="589"/>
                    </a:cubicBezTo>
                    <a:cubicBezTo>
                      <a:pt x="533" y="588"/>
                      <a:pt x="533" y="588"/>
                      <a:pt x="533" y="588"/>
                    </a:cubicBezTo>
                    <a:cubicBezTo>
                      <a:pt x="530" y="585"/>
                      <a:pt x="530" y="585"/>
                      <a:pt x="530" y="585"/>
                    </a:cubicBezTo>
                    <a:cubicBezTo>
                      <a:pt x="525" y="587"/>
                      <a:pt x="525" y="587"/>
                      <a:pt x="525" y="587"/>
                    </a:cubicBezTo>
                    <a:cubicBezTo>
                      <a:pt x="521" y="591"/>
                      <a:pt x="521" y="591"/>
                      <a:pt x="521" y="591"/>
                    </a:cubicBezTo>
                    <a:cubicBezTo>
                      <a:pt x="520" y="586"/>
                      <a:pt x="520" y="586"/>
                      <a:pt x="520" y="586"/>
                    </a:cubicBezTo>
                    <a:cubicBezTo>
                      <a:pt x="521" y="584"/>
                      <a:pt x="521" y="584"/>
                      <a:pt x="521" y="584"/>
                    </a:cubicBezTo>
                    <a:cubicBezTo>
                      <a:pt x="520" y="581"/>
                      <a:pt x="520" y="581"/>
                      <a:pt x="520" y="581"/>
                    </a:cubicBezTo>
                    <a:cubicBezTo>
                      <a:pt x="508" y="576"/>
                      <a:pt x="508" y="576"/>
                      <a:pt x="508" y="576"/>
                    </a:cubicBezTo>
                    <a:cubicBezTo>
                      <a:pt x="503" y="572"/>
                      <a:pt x="503" y="572"/>
                      <a:pt x="503" y="572"/>
                    </a:cubicBezTo>
                    <a:cubicBezTo>
                      <a:pt x="486" y="570"/>
                      <a:pt x="486" y="570"/>
                      <a:pt x="486" y="570"/>
                    </a:cubicBezTo>
                    <a:cubicBezTo>
                      <a:pt x="472" y="573"/>
                      <a:pt x="472" y="573"/>
                      <a:pt x="472" y="573"/>
                    </a:cubicBezTo>
                    <a:cubicBezTo>
                      <a:pt x="468" y="571"/>
                      <a:pt x="468" y="571"/>
                      <a:pt x="468" y="571"/>
                    </a:cubicBezTo>
                    <a:cubicBezTo>
                      <a:pt x="465" y="572"/>
                      <a:pt x="465" y="572"/>
                      <a:pt x="465" y="572"/>
                    </a:cubicBezTo>
                    <a:cubicBezTo>
                      <a:pt x="462" y="570"/>
                      <a:pt x="462" y="570"/>
                      <a:pt x="462" y="570"/>
                    </a:cubicBezTo>
                    <a:cubicBezTo>
                      <a:pt x="460" y="570"/>
                      <a:pt x="460" y="570"/>
                      <a:pt x="460" y="570"/>
                    </a:cubicBezTo>
                    <a:cubicBezTo>
                      <a:pt x="457" y="570"/>
                      <a:pt x="457" y="570"/>
                      <a:pt x="457" y="570"/>
                    </a:cubicBezTo>
                    <a:cubicBezTo>
                      <a:pt x="457" y="570"/>
                      <a:pt x="457" y="570"/>
                      <a:pt x="457" y="570"/>
                    </a:cubicBezTo>
                    <a:cubicBezTo>
                      <a:pt x="457" y="572"/>
                      <a:pt x="456" y="573"/>
                      <a:pt x="456" y="575"/>
                    </a:cubicBezTo>
                    <a:cubicBezTo>
                      <a:pt x="457" y="577"/>
                      <a:pt x="457" y="577"/>
                      <a:pt x="457" y="577"/>
                    </a:cubicBezTo>
                    <a:cubicBezTo>
                      <a:pt x="457" y="580"/>
                      <a:pt x="457" y="580"/>
                      <a:pt x="457" y="580"/>
                    </a:cubicBezTo>
                    <a:cubicBezTo>
                      <a:pt x="453" y="582"/>
                      <a:pt x="453" y="582"/>
                      <a:pt x="453" y="582"/>
                    </a:cubicBezTo>
                    <a:cubicBezTo>
                      <a:pt x="453" y="584"/>
                      <a:pt x="453" y="584"/>
                      <a:pt x="453" y="584"/>
                    </a:cubicBezTo>
                    <a:cubicBezTo>
                      <a:pt x="455" y="589"/>
                      <a:pt x="455" y="589"/>
                      <a:pt x="455" y="589"/>
                    </a:cubicBezTo>
                    <a:cubicBezTo>
                      <a:pt x="458" y="591"/>
                      <a:pt x="458" y="591"/>
                      <a:pt x="458" y="591"/>
                    </a:cubicBezTo>
                    <a:cubicBezTo>
                      <a:pt x="460" y="598"/>
                      <a:pt x="460" y="598"/>
                      <a:pt x="460" y="598"/>
                    </a:cubicBezTo>
                    <a:cubicBezTo>
                      <a:pt x="462" y="602"/>
                      <a:pt x="462" y="602"/>
                      <a:pt x="462" y="602"/>
                    </a:cubicBezTo>
                    <a:cubicBezTo>
                      <a:pt x="462" y="598"/>
                      <a:pt x="462" y="598"/>
                      <a:pt x="462" y="598"/>
                    </a:cubicBezTo>
                    <a:cubicBezTo>
                      <a:pt x="465" y="599"/>
                      <a:pt x="465" y="599"/>
                      <a:pt x="465" y="599"/>
                    </a:cubicBezTo>
                    <a:cubicBezTo>
                      <a:pt x="468" y="606"/>
                      <a:pt x="468" y="606"/>
                      <a:pt x="468" y="606"/>
                    </a:cubicBezTo>
                    <a:cubicBezTo>
                      <a:pt x="468" y="610"/>
                      <a:pt x="468" y="610"/>
                      <a:pt x="468" y="610"/>
                    </a:cubicBezTo>
                    <a:cubicBezTo>
                      <a:pt x="472" y="611"/>
                      <a:pt x="472" y="611"/>
                      <a:pt x="472" y="611"/>
                    </a:cubicBezTo>
                    <a:cubicBezTo>
                      <a:pt x="477" y="618"/>
                      <a:pt x="477" y="618"/>
                      <a:pt x="477" y="618"/>
                    </a:cubicBezTo>
                    <a:cubicBezTo>
                      <a:pt x="472" y="617"/>
                      <a:pt x="472" y="617"/>
                      <a:pt x="472" y="617"/>
                    </a:cubicBezTo>
                    <a:cubicBezTo>
                      <a:pt x="471" y="615"/>
                      <a:pt x="471" y="615"/>
                      <a:pt x="471" y="615"/>
                    </a:cubicBezTo>
                    <a:cubicBezTo>
                      <a:pt x="468" y="615"/>
                      <a:pt x="468" y="615"/>
                      <a:pt x="468" y="615"/>
                    </a:cubicBezTo>
                    <a:cubicBezTo>
                      <a:pt x="466" y="622"/>
                      <a:pt x="466" y="622"/>
                      <a:pt x="466" y="622"/>
                    </a:cubicBezTo>
                    <a:cubicBezTo>
                      <a:pt x="463" y="625"/>
                      <a:pt x="463" y="625"/>
                      <a:pt x="463" y="625"/>
                    </a:cubicBezTo>
                    <a:cubicBezTo>
                      <a:pt x="458" y="622"/>
                      <a:pt x="458" y="622"/>
                      <a:pt x="458" y="622"/>
                    </a:cubicBezTo>
                    <a:cubicBezTo>
                      <a:pt x="455" y="625"/>
                      <a:pt x="455" y="625"/>
                      <a:pt x="455" y="625"/>
                    </a:cubicBezTo>
                    <a:cubicBezTo>
                      <a:pt x="455" y="627"/>
                      <a:pt x="455" y="627"/>
                      <a:pt x="455" y="627"/>
                    </a:cubicBezTo>
                    <a:cubicBezTo>
                      <a:pt x="459" y="633"/>
                      <a:pt x="459" y="633"/>
                      <a:pt x="459" y="633"/>
                    </a:cubicBezTo>
                    <a:cubicBezTo>
                      <a:pt x="460" y="634"/>
                      <a:pt x="460" y="634"/>
                      <a:pt x="460" y="634"/>
                    </a:cubicBezTo>
                    <a:cubicBezTo>
                      <a:pt x="460" y="637"/>
                      <a:pt x="460" y="637"/>
                      <a:pt x="460" y="637"/>
                    </a:cubicBezTo>
                    <a:cubicBezTo>
                      <a:pt x="458" y="640"/>
                      <a:pt x="458" y="640"/>
                      <a:pt x="458" y="640"/>
                    </a:cubicBezTo>
                    <a:cubicBezTo>
                      <a:pt x="449" y="639"/>
                      <a:pt x="449" y="639"/>
                      <a:pt x="449" y="639"/>
                    </a:cubicBezTo>
                    <a:cubicBezTo>
                      <a:pt x="447" y="636"/>
                      <a:pt x="447" y="636"/>
                      <a:pt x="447" y="636"/>
                    </a:cubicBezTo>
                    <a:cubicBezTo>
                      <a:pt x="448" y="633"/>
                      <a:pt x="448" y="633"/>
                      <a:pt x="448" y="633"/>
                    </a:cubicBezTo>
                    <a:cubicBezTo>
                      <a:pt x="446" y="628"/>
                      <a:pt x="446" y="628"/>
                      <a:pt x="446" y="628"/>
                    </a:cubicBezTo>
                    <a:cubicBezTo>
                      <a:pt x="449" y="625"/>
                      <a:pt x="449" y="625"/>
                      <a:pt x="449" y="625"/>
                    </a:cubicBezTo>
                    <a:cubicBezTo>
                      <a:pt x="449" y="623"/>
                      <a:pt x="449" y="623"/>
                      <a:pt x="449" y="623"/>
                    </a:cubicBezTo>
                    <a:cubicBezTo>
                      <a:pt x="445" y="618"/>
                      <a:pt x="445" y="618"/>
                      <a:pt x="445" y="618"/>
                    </a:cubicBezTo>
                    <a:cubicBezTo>
                      <a:pt x="442" y="617"/>
                      <a:pt x="442" y="617"/>
                      <a:pt x="442" y="617"/>
                    </a:cubicBezTo>
                    <a:cubicBezTo>
                      <a:pt x="445" y="613"/>
                      <a:pt x="445" y="613"/>
                      <a:pt x="445" y="613"/>
                    </a:cubicBezTo>
                    <a:cubicBezTo>
                      <a:pt x="445" y="612"/>
                      <a:pt x="445" y="612"/>
                      <a:pt x="445" y="612"/>
                    </a:cubicBezTo>
                    <a:cubicBezTo>
                      <a:pt x="442" y="613"/>
                      <a:pt x="442" y="613"/>
                      <a:pt x="442" y="613"/>
                    </a:cubicBezTo>
                    <a:cubicBezTo>
                      <a:pt x="440" y="614"/>
                      <a:pt x="440" y="614"/>
                      <a:pt x="440" y="614"/>
                    </a:cubicBezTo>
                    <a:cubicBezTo>
                      <a:pt x="435" y="619"/>
                      <a:pt x="435" y="619"/>
                      <a:pt x="435" y="619"/>
                    </a:cubicBezTo>
                    <a:cubicBezTo>
                      <a:pt x="432" y="620"/>
                      <a:pt x="432" y="620"/>
                      <a:pt x="432" y="620"/>
                    </a:cubicBezTo>
                    <a:cubicBezTo>
                      <a:pt x="429" y="624"/>
                      <a:pt x="429" y="624"/>
                      <a:pt x="429" y="624"/>
                    </a:cubicBezTo>
                    <a:cubicBezTo>
                      <a:pt x="429" y="626"/>
                      <a:pt x="429" y="626"/>
                      <a:pt x="429" y="626"/>
                    </a:cubicBezTo>
                    <a:cubicBezTo>
                      <a:pt x="424" y="626"/>
                      <a:pt x="424" y="626"/>
                      <a:pt x="424" y="626"/>
                    </a:cubicBezTo>
                    <a:cubicBezTo>
                      <a:pt x="422" y="629"/>
                      <a:pt x="422" y="629"/>
                      <a:pt x="422" y="629"/>
                    </a:cubicBezTo>
                    <a:cubicBezTo>
                      <a:pt x="422" y="632"/>
                      <a:pt x="422" y="632"/>
                      <a:pt x="422" y="632"/>
                    </a:cubicBezTo>
                    <a:cubicBezTo>
                      <a:pt x="419" y="634"/>
                      <a:pt x="419" y="634"/>
                      <a:pt x="419" y="634"/>
                    </a:cubicBezTo>
                    <a:cubicBezTo>
                      <a:pt x="411" y="634"/>
                      <a:pt x="411" y="634"/>
                      <a:pt x="411" y="634"/>
                    </a:cubicBezTo>
                    <a:cubicBezTo>
                      <a:pt x="409" y="633"/>
                      <a:pt x="409" y="633"/>
                      <a:pt x="409" y="633"/>
                    </a:cubicBezTo>
                    <a:cubicBezTo>
                      <a:pt x="407" y="634"/>
                      <a:pt x="407" y="634"/>
                      <a:pt x="407" y="634"/>
                    </a:cubicBezTo>
                    <a:cubicBezTo>
                      <a:pt x="405" y="634"/>
                      <a:pt x="405" y="634"/>
                      <a:pt x="405" y="634"/>
                    </a:cubicBezTo>
                    <a:cubicBezTo>
                      <a:pt x="402" y="632"/>
                      <a:pt x="402" y="632"/>
                      <a:pt x="402" y="632"/>
                    </a:cubicBezTo>
                    <a:cubicBezTo>
                      <a:pt x="398" y="636"/>
                      <a:pt x="398" y="636"/>
                      <a:pt x="398" y="636"/>
                    </a:cubicBezTo>
                    <a:cubicBezTo>
                      <a:pt x="397" y="638"/>
                      <a:pt x="397" y="638"/>
                      <a:pt x="397" y="638"/>
                    </a:cubicBezTo>
                    <a:cubicBezTo>
                      <a:pt x="393" y="639"/>
                      <a:pt x="393" y="639"/>
                      <a:pt x="393" y="639"/>
                    </a:cubicBezTo>
                    <a:cubicBezTo>
                      <a:pt x="390" y="643"/>
                      <a:pt x="390" y="643"/>
                      <a:pt x="390" y="643"/>
                    </a:cubicBezTo>
                    <a:cubicBezTo>
                      <a:pt x="390" y="645"/>
                      <a:pt x="390" y="645"/>
                      <a:pt x="390" y="645"/>
                    </a:cubicBezTo>
                    <a:cubicBezTo>
                      <a:pt x="393" y="647"/>
                      <a:pt x="393" y="647"/>
                      <a:pt x="393" y="647"/>
                    </a:cubicBezTo>
                    <a:cubicBezTo>
                      <a:pt x="392" y="650"/>
                      <a:pt x="392" y="650"/>
                      <a:pt x="392" y="650"/>
                    </a:cubicBezTo>
                    <a:cubicBezTo>
                      <a:pt x="392" y="652"/>
                      <a:pt x="392" y="652"/>
                      <a:pt x="392" y="652"/>
                    </a:cubicBezTo>
                    <a:cubicBezTo>
                      <a:pt x="391" y="654"/>
                      <a:pt x="391" y="654"/>
                      <a:pt x="391" y="654"/>
                    </a:cubicBezTo>
                    <a:cubicBezTo>
                      <a:pt x="388" y="651"/>
                      <a:pt x="388" y="651"/>
                      <a:pt x="388" y="651"/>
                    </a:cubicBezTo>
                    <a:cubicBezTo>
                      <a:pt x="387" y="648"/>
                      <a:pt x="387" y="648"/>
                      <a:pt x="387" y="648"/>
                    </a:cubicBezTo>
                    <a:cubicBezTo>
                      <a:pt x="385" y="649"/>
                      <a:pt x="385" y="649"/>
                      <a:pt x="385" y="649"/>
                    </a:cubicBezTo>
                    <a:cubicBezTo>
                      <a:pt x="381" y="654"/>
                      <a:pt x="381" y="654"/>
                      <a:pt x="381" y="654"/>
                    </a:cubicBezTo>
                    <a:cubicBezTo>
                      <a:pt x="379" y="659"/>
                      <a:pt x="379" y="659"/>
                      <a:pt x="379" y="659"/>
                    </a:cubicBezTo>
                    <a:cubicBezTo>
                      <a:pt x="379" y="654"/>
                      <a:pt x="379" y="654"/>
                      <a:pt x="379" y="654"/>
                    </a:cubicBezTo>
                    <a:cubicBezTo>
                      <a:pt x="376" y="652"/>
                      <a:pt x="376" y="652"/>
                      <a:pt x="376" y="652"/>
                    </a:cubicBezTo>
                    <a:cubicBezTo>
                      <a:pt x="373" y="654"/>
                      <a:pt x="373" y="654"/>
                      <a:pt x="373" y="654"/>
                    </a:cubicBezTo>
                    <a:cubicBezTo>
                      <a:pt x="371" y="654"/>
                      <a:pt x="371" y="654"/>
                      <a:pt x="371" y="654"/>
                    </a:cubicBezTo>
                    <a:cubicBezTo>
                      <a:pt x="368" y="655"/>
                      <a:pt x="368" y="655"/>
                      <a:pt x="368" y="655"/>
                    </a:cubicBezTo>
                    <a:cubicBezTo>
                      <a:pt x="365" y="654"/>
                      <a:pt x="365" y="654"/>
                      <a:pt x="365" y="654"/>
                    </a:cubicBezTo>
                    <a:cubicBezTo>
                      <a:pt x="365" y="651"/>
                      <a:pt x="365" y="651"/>
                      <a:pt x="365" y="651"/>
                    </a:cubicBezTo>
                    <a:cubicBezTo>
                      <a:pt x="368" y="647"/>
                      <a:pt x="368" y="647"/>
                      <a:pt x="368" y="647"/>
                    </a:cubicBezTo>
                    <a:cubicBezTo>
                      <a:pt x="372" y="646"/>
                      <a:pt x="372" y="646"/>
                      <a:pt x="372" y="646"/>
                    </a:cubicBezTo>
                    <a:cubicBezTo>
                      <a:pt x="373" y="643"/>
                      <a:pt x="373" y="643"/>
                      <a:pt x="373" y="643"/>
                    </a:cubicBezTo>
                    <a:cubicBezTo>
                      <a:pt x="371" y="639"/>
                      <a:pt x="371" y="639"/>
                      <a:pt x="371" y="639"/>
                    </a:cubicBezTo>
                    <a:cubicBezTo>
                      <a:pt x="372" y="637"/>
                      <a:pt x="372" y="637"/>
                      <a:pt x="372" y="637"/>
                    </a:cubicBezTo>
                    <a:cubicBezTo>
                      <a:pt x="374" y="635"/>
                      <a:pt x="374" y="635"/>
                      <a:pt x="374" y="635"/>
                    </a:cubicBezTo>
                    <a:cubicBezTo>
                      <a:pt x="370" y="631"/>
                      <a:pt x="370" y="631"/>
                      <a:pt x="370" y="631"/>
                    </a:cubicBezTo>
                    <a:cubicBezTo>
                      <a:pt x="368" y="632"/>
                      <a:pt x="368" y="632"/>
                      <a:pt x="368" y="632"/>
                    </a:cubicBezTo>
                    <a:cubicBezTo>
                      <a:pt x="365" y="631"/>
                      <a:pt x="365" y="631"/>
                      <a:pt x="365" y="631"/>
                    </a:cubicBezTo>
                    <a:cubicBezTo>
                      <a:pt x="364" y="629"/>
                      <a:pt x="364" y="629"/>
                      <a:pt x="364" y="629"/>
                    </a:cubicBezTo>
                    <a:cubicBezTo>
                      <a:pt x="371" y="625"/>
                      <a:pt x="371" y="625"/>
                      <a:pt x="371" y="625"/>
                    </a:cubicBezTo>
                    <a:cubicBezTo>
                      <a:pt x="374" y="625"/>
                      <a:pt x="374" y="625"/>
                      <a:pt x="374" y="625"/>
                    </a:cubicBezTo>
                    <a:cubicBezTo>
                      <a:pt x="377" y="623"/>
                      <a:pt x="377" y="623"/>
                      <a:pt x="377" y="623"/>
                    </a:cubicBezTo>
                    <a:cubicBezTo>
                      <a:pt x="377" y="621"/>
                      <a:pt x="377" y="621"/>
                      <a:pt x="377" y="621"/>
                    </a:cubicBezTo>
                    <a:cubicBezTo>
                      <a:pt x="370" y="622"/>
                      <a:pt x="370" y="622"/>
                      <a:pt x="370" y="622"/>
                    </a:cubicBezTo>
                    <a:cubicBezTo>
                      <a:pt x="360" y="627"/>
                      <a:pt x="360" y="627"/>
                      <a:pt x="360" y="627"/>
                    </a:cubicBezTo>
                    <a:cubicBezTo>
                      <a:pt x="358" y="630"/>
                      <a:pt x="358" y="630"/>
                      <a:pt x="358" y="630"/>
                    </a:cubicBezTo>
                    <a:cubicBezTo>
                      <a:pt x="359" y="632"/>
                      <a:pt x="359" y="632"/>
                      <a:pt x="359" y="632"/>
                    </a:cubicBezTo>
                    <a:cubicBezTo>
                      <a:pt x="360" y="636"/>
                      <a:pt x="360" y="636"/>
                      <a:pt x="360" y="636"/>
                    </a:cubicBezTo>
                    <a:cubicBezTo>
                      <a:pt x="361" y="639"/>
                      <a:pt x="361" y="639"/>
                      <a:pt x="361" y="639"/>
                    </a:cubicBezTo>
                    <a:cubicBezTo>
                      <a:pt x="359" y="642"/>
                      <a:pt x="359" y="642"/>
                      <a:pt x="359" y="642"/>
                    </a:cubicBezTo>
                    <a:cubicBezTo>
                      <a:pt x="357" y="643"/>
                      <a:pt x="357" y="643"/>
                      <a:pt x="357" y="643"/>
                    </a:cubicBezTo>
                    <a:cubicBezTo>
                      <a:pt x="354" y="638"/>
                      <a:pt x="354" y="638"/>
                      <a:pt x="354" y="638"/>
                    </a:cubicBezTo>
                    <a:cubicBezTo>
                      <a:pt x="355" y="636"/>
                      <a:pt x="355" y="636"/>
                      <a:pt x="355" y="636"/>
                    </a:cubicBezTo>
                    <a:cubicBezTo>
                      <a:pt x="356" y="635"/>
                      <a:pt x="356" y="635"/>
                      <a:pt x="356" y="635"/>
                    </a:cubicBezTo>
                    <a:cubicBezTo>
                      <a:pt x="356" y="633"/>
                      <a:pt x="356" y="633"/>
                      <a:pt x="356" y="633"/>
                    </a:cubicBezTo>
                    <a:cubicBezTo>
                      <a:pt x="354" y="633"/>
                      <a:pt x="354" y="633"/>
                      <a:pt x="354" y="633"/>
                    </a:cubicBezTo>
                    <a:cubicBezTo>
                      <a:pt x="348" y="641"/>
                      <a:pt x="348" y="641"/>
                      <a:pt x="348" y="641"/>
                    </a:cubicBezTo>
                    <a:cubicBezTo>
                      <a:pt x="348" y="643"/>
                      <a:pt x="348" y="643"/>
                      <a:pt x="348" y="643"/>
                    </a:cubicBezTo>
                    <a:cubicBezTo>
                      <a:pt x="351" y="646"/>
                      <a:pt x="351" y="646"/>
                      <a:pt x="351" y="646"/>
                    </a:cubicBezTo>
                    <a:cubicBezTo>
                      <a:pt x="353" y="647"/>
                      <a:pt x="353" y="647"/>
                      <a:pt x="353" y="647"/>
                    </a:cubicBezTo>
                    <a:cubicBezTo>
                      <a:pt x="352" y="650"/>
                      <a:pt x="352" y="650"/>
                      <a:pt x="352" y="650"/>
                    </a:cubicBezTo>
                    <a:cubicBezTo>
                      <a:pt x="348" y="655"/>
                      <a:pt x="348" y="655"/>
                      <a:pt x="348" y="655"/>
                    </a:cubicBezTo>
                    <a:cubicBezTo>
                      <a:pt x="346" y="654"/>
                      <a:pt x="346" y="654"/>
                      <a:pt x="346" y="654"/>
                    </a:cubicBezTo>
                    <a:cubicBezTo>
                      <a:pt x="347" y="651"/>
                      <a:pt x="347" y="651"/>
                      <a:pt x="347" y="651"/>
                    </a:cubicBezTo>
                    <a:cubicBezTo>
                      <a:pt x="347" y="648"/>
                      <a:pt x="347" y="648"/>
                      <a:pt x="347" y="648"/>
                    </a:cubicBezTo>
                    <a:cubicBezTo>
                      <a:pt x="346" y="648"/>
                      <a:pt x="346" y="648"/>
                      <a:pt x="346" y="648"/>
                    </a:cubicBezTo>
                    <a:cubicBezTo>
                      <a:pt x="345" y="644"/>
                      <a:pt x="345" y="644"/>
                      <a:pt x="345" y="644"/>
                    </a:cubicBezTo>
                    <a:cubicBezTo>
                      <a:pt x="338" y="647"/>
                      <a:pt x="338" y="647"/>
                      <a:pt x="338" y="647"/>
                    </a:cubicBezTo>
                    <a:cubicBezTo>
                      <a:pt x="337" y="650"/>
                      <a:pt x="337" y="650"/>
                      <a:pt x="337" y="650"/>
                    </a:cubicBezTo>
                    <a:cubicBezTo>
                      <a:pt x="332" y="652"/>
                      <a:pt x="332" y="652"/>
                      <a:pt x="332" y="652"/>
                    </a:cubicBezTo>
                    <a:cubicBezTo>
                      <a:pt x="328" y="652"/>
                      <a:pt x="328" y="652"/>
                      <a:pt x="328" y="652"/>
                    </a:cubicBezTo>
                    <a:cubicBezTo>
                      <a:pt x="326" y="653"/>
                      <a:pt x="326" y="653"/>
                      <a:pt x="326" y="653"/>
                    </a:cubicBezTo>
                    <a:cubicBezTo>
                      <a:pt x="326" y="655"/>
                      <a:pt x="326" y="655"/>
                      <a:pt x="326" y="655"/>
                    </a:cubicBezTo>
                    <a:cubicBezTo>
                      <a:pt x="319" y="666"/>
                      <a:pt x="319" y="666"/>
                      <a:pt x="319" y="666"/>
                    </a:cubicBezTo>
                    <a:cubicBezTo>
                      <a:pt x="317" y="667"/>
                      <a:pt x="317" y="667"/>
                      <a:pt x="317" y="667"/>
                    </a:cubicBezTo>
                    <a:cubicBezTo>
                      <a:pt x="310" y="677"/>
                      <a:pt x="310" y="677"/>
                      <a:pt x="310" y="677"/>
                    </a:cubicBezTo>
                    <a:cubicBezTo>
                      <a:pt x="307" y="679"/>
                      <a:pt x="307" y="679"/>
                      <a:pt x="307" y="679"/>
                    </a:cubicBezTo>
                    <a:cubicBezTo>
                      <a:pt x="304" y="676"/>
                      <a:pt x="304" y="676"/>
                      <a:pt x="304" y="676"/>
                    </a:cubicBezTo>
                    <a:cubicBezTo>
                      <a:pt x="302" y="676"/>
                      <a:pt x="302" y="676"/>
                      <a:pt x="302" y="676"/>
                    </a:cubicBezTo>
                    <a:cubicBezTo>
                      <a:pt x="304" y="680"/>
                      <a:pt x="304" y="680"/>
                      <a:pt x="304" y="680"/>
                    </a:cubicBezTo>
                    <a:cubicBezTo>
                      <a:pt x="309" y="684"/>
                      <a:pt x="309" y="684"/>
                      <a:pt x="309" y="684"/>
                    </a:cubicBezTo>
                    <a:cubicBezTo>
                      <a:pt x="309" y="688"/>
                      <a:pt x="309" y="688"/>
                      <a:pt x="309" y="688"/>
                    </a:cubicBezTo>
                    <a:cubicBezTo>
                      <a:pt x="303" y="685"/>
                      <a:pt x="303" y="685"/>
                      <a:pt x="303" y="685"/>
                    </a:cubicBezTo>
                    <a:cubicBezTo>
                      <a:pt x="302" y="688"/>
                      <a:pt x="302" y="688"/>
                      <a:pt x="302" y="688"/>
                    </a:cubicBezTo>
                    <a:cubicBezTo>
                      <a:pt x="292" y="689"/>
                      <a:pt x="292" y="689"/>
                      <a:pt x="292" y="689"/>
                    </a:cubicBezTo>
                    <a:cubicBezTo>
                      <a:pt x="290" y="691"/>
                      <a:pt x="290" y="691"/>
                      <a:pt x="290" y="691"/>
                    </a:cubicBezTo>
                    <a:cubicBezTo>
                      <a:pt x="293" y="695"/>
                      <a:pt x="293" y="695"/>
                      <a:pt x="293" y="695"/>
                    </a:cubicBezTo>
                    <a:cubicBezTo>
                      <a:pt x="293" y="699"/>
                      <a:pt x="293" y="699"/>
                      <a:pt x="293" y="699"/>
                    </a:cubicBezTo>
                    <a:cubicBezTo>
                      <a:pt x="291" y="704"/>
                      <a:pt x="291" y="704"/>
                      <a:pt x="291" y="704"/>
                    </a:cubicBezTo>
                    <a:cubicBezTo>
                      <a:pt x="292" y="710"/>
                      <a:pt x="292" y="710"/>
                      <a:pt x="292" y="710"/>
                    </a:cubicBezTo>
                    <a:cubicBezTo>
                      <a:pt x="291" y="715"/>
                      <a:pt x="291" y="715"/>
                      <a:pt x="291" y="715"/>
                    </a:cubicBezTo>
                    <a:cubicBezTo>
                      <a:pt x="285" y="718"/>
                      <a:pt x="285" y="718"/>
                      <a:pt x="285" y="718"/>
                    </a:cubicBezTo>
                    <a:cubicBezTo>
                      <a:pt x="284" y="721"/>
                      <a:pt x="284" y="721"/>
                      <a:pt x="284" y="721"/>
                    </a:cubicBezTo>
                    <a:cubicBezTo>
                      <a:pt x="280" y="721"/>
                      <a:pt x="280" y="721"/>
                      <a:pt x="280" y="721"/>
                    </a:cubicBezTo>
                    <a:cubicBezTo>
                      <a:pt x="278" y="723"/>
                      <a:pt x="278" y="723"/>
                      <a:pt x="278" y="723"/>
                    </a:cubicBezTo>
                    <a:cubicBezTo>
                      <a:pt x="276" y="719"/>
                      <a:pt x="276" y="719"/>
                      <a:pt x="276" y="719"/>
                    </a:cubicBezTo>
                    <a:cubicBezTo>
                      <a:pt x="271" y="723"/>
                      <a:pt x="271" y="723"/>
                      <a:pt x="271" y="723"/>
                    </a:cubicBezTo>
                    <a:cubicBezTo>
                      <a:pt x="268" y="723"/>
                      <a:pt x="268" y="723"/>
                      <a:pt x="268" y="723"/>
                    </a:cubicBezTo>
                    <a:cubicBezTo>
                      <a:pt x="261" y="711"/>
                      <a:pt x="261" y="711"/>
                      <a:pt x="261" y="711"/>
                    </a:cubicBezTo>
                    <a:cubicBezTo>
                      <a:pt x="253" y="704"/>
                      <a:pt x="253" y="704"/>
                      <a:pt x="253" y="704"/>
                    </a:cubicBezTo>
                    <a:cubicBezTo>
                      <a:pt x="250" y="702"/>
                      <a:pt x="250" y="702"/>
                      <a:pt x="250" y="702"/>
                    </a:cubicBezTo>
                    <a:cubicBezTo>
                      <a:pt x="251" y="696"/>
                      <a:pt x="251" y="696"/>
                      <a:pt x="251" y="696"/>
                    </a:cubicBezTo>
                    <a:cubicBezTo>
                      <a:pt x="252" y="693"/>
                      <a:pt x="252" y="693"/>
                      <a:pt x="252" y="693"/>
                    </a:cubicBezTo>
                    <a:cubicBezTo>
                      <a:pt x="254" y="694"/>
                      <a:pt x="254" y="694"/>
                      <a:pt x="254" y="694"/>
                    </a:cubicBezTo>
                    <a:cubicBezTo>
                      <a:pt x="255" y="691"/>
                      <a:pt x="255" y="691"/>
                      <a:pt x="255" y="691"/>
                    </a:cubicBezTo>
                    <a:cubicBezTo>
                      <a:pt x="255" y="689"/>
                      <a:pt x="255" y="689"/>
                      <a:pt x="255" y="689"/>
                    </a:cubicBezTo>
                    <a:cubicBezTo>
                      <a:pt x="256" y="687"/>
                      <a:pt x="256" y="687"/>
                      <a:pt x="256" y="687"/>
                    </a:cubicBezTo>
                    <a:cubicBezTo>
                      <a:pt x="262" y="686"/>
                      <a:pt x="262" y="686"/>
                      <a:pt x="262" y="686"/>
                    </a:cubicBezTo>
                    <a:cubicBezTo>
                      <a:pt x="264" y="683"/>
                      <a:pt x="264" y="683"/>
                      <a:pt x="264" y="683"/>
                    </a:cubicBezTo>
                    <a:cubicBezTo>
                      <a:pt x="270" y="684"/>
                      <a:pt x="270" y="684"/>
                      <a:pt x="270" y="684"/>
                    </a:cubicBezTo>
                    <a:cubicBezTo>
                      <a:pt x="271" y="680"/>
                      <a:pt x="271" y="680"/>
                      <a:pt x="271" y="680"/>
                    </a:cubicBezTo>
                    <a:cubicBezTo>
                      <a:pt x="266" y="672"/>
                      <a:pt x="266" y="672"/>
                      <a:pt x="266" y="672"/>
                    </a:cubicBezTo>
                    <a:cubicBezTo>
                      <a:pt x="265" y="669"/>
                      <a:pt x="265" y="669"/>
                      <a:pt x="265" y="669"/>
                    </a:cubicBezTo>
                    <a:cubicBezTo>
                      <a:pt x="261" y="668"/>
                      <a:pt x="261" y="668"/>
                      <a:pt x="261" y="668"/>
                    </a:cubicBezTo>
                    <a:cubicBezTo>
                      <a:pt x="257" y="663"/>
                      <a:pt x="257" y="663"/>
                      <a:pt x="257" y="663"/>
                    </a:cubicBezTo>
                    <a:cubicBezTo>
                      <a:pt x="257" y="659"/>
                      <a:pt x="257" y="659"/>
                      <a:pt x="257" y="659"/>
                    </a:cubicBezTo>
                    <a:cubicBezTo>
                      <a:pt x="253" y="655"/>
                      <a:pt x="253" y="655"/>
                      <a:pt x="253" y="655"/>
                    </a:cubicBezTo>
                    <a:cubicBezTo>
                      <a:pt x="243" y="654"/>
                      <a:pt x="243" y="654"/>
                      <a:pt x="243" y="654"/>
                    </a:cubicBezTo>
                    <a:cubicBezTo>
                      <a:pt x="236" y="655"/>
                      <a:pt x="236" y="655"/>
                      <a:pt x="236" y="655"/>
                    </a:cubicBezTo>
                    <a:cubicBezTo>
                      <a:pt x="233" y="657"/>
                      <a:pt x="233" y="657"/>
                      <a:pt x="233" y="657"/>
                    </a:cubicBezTo>
                    <a:cubicBezTo>
                      <a:pt x="229" y="657"/>
                      <a:pt x="229" y="657"/>
                      <a:pt x="229" y="657"/>
                    </a:cubicBezTo>
                    <a:cubicBezTo>
                      <a:pt x="221" y="651"/>
                      <a:pt x="221" y="651"/>
                      <a:pt x="221" y="651"/>
                    </a:cubicBezTo>
                    <a:cubicBezTo>
                      <a:pt x="217" y="651"/>
                      <a:pt x="217" y="651"/>
                      <a:pt x="217" y="651"/>
                    </a:cubicBezTo>
                    <a:cubicBezTo>
                      <a:pt x="217" y="653"/>
                      <a:pt x="217" y="653"/>
                      <a:pt x="217" y="653"/>
                    </a:cubicBezTo>
                    <a:cubicBezTo>
                      <a:pt x="226" y="662"/>
                      <a:pt x="226" y="662"/>
                      <a:pt x="226" y="662"/>
                    </a:cubicBezTo>
                    <a:cubicBezTo>
                      <a:pt x="232" y="667"/>
                      <a:pt x="232" y="667"/>
                      <a:pt x="232" y="667"/>
                    </a:cubicBezTo>
                    <a:cubicBezTo>
                      <a:pt x="234" y="676"/>
                      <a:pt x="234" y="676"/>
                      <a:pt x="234" y="676"/>
                    </a:cubicBezTo>
                    <a:cubicBezTo>
                      <a:pt x="234" y="681"/>
                      <a:pt x="234" y="681"/>
                      <a:pt x="234" y="681"/>
                    </a:cubicBezTo>
                    <a:cubicBezTo>
                      <a:pt x="236" y="684"/>
                      <a:pt x="236" y="684"/>
                      <a:pt x="236" y="684"/>
                    </a:cubicBezTo>
                    <a:cubicBezTo>
                      <a:pt x="235" y="685"/>
                      <a:pt x="235" y="685"/>
                      <a:pt x="235" y="685"/>
                    </a:cubicBezTo>
                    <a:cubicBezTo>
                      <a:pt x="235" y="689"/>
                      <a:pt x="235" y="689"/>
                      <a:pt x="235" y="689"/>
                    </a:cubicBezTo>
                    <a:cubicBezTo>
                      <a:pt x="235" y="692"/>
                      <a:pt x="235" y="692"/>
                      <a:pt x="235" y="692"/>
                    </a:cubicBezTo>
                    <a:cubicBezTo>
                      <a:pt x="234" y="694"/>
                      <a:pt x="234" y="694"/>
                      <a:pt x="234" y="694"/>
                    </a:cubicBezTo>
                    <a:cubicBezTo>
                      <a:pt x="234" y="704"/>
                      <a:pt x="234" y="704"/>
                      <a:pt x="234" y="704"/>
                    </a:cubicBezTo>
                    <a:cubicBezTo>
                      <a:pt x="233" y="709"/>
                      <a:pt x="233" y="709"/>
                      <a:pt x="233" y="709"/>
                    </a:cubicBezTo>
                    <a:cubicBezTo>
                      <a:pt x="234" y="715"/>
                      <a:pt x="234" y="715"/>
                      <a:pt x="234" y="715"/>
                    </a:cubicBezTo>
                    <a:cubicBezTo>
                      <a:pt x="240" y="714"/>
                      <a:pt x="240" y="714"/>
                      <a:pt x="240" y="714"/>
                    </a:cubicBezTo>
                    <a:cubicBezTo>
                      <a:pt x="244" y="717"/>
                      <a:pt x="244" y="717"/>
                      <a:pt x="244" y="717"/>
                    </a:cubicBezTo>
                    <a:cubicBezTo>
                      <a:pt x="246" y="721"/>
                      <a:pt x="246" y="721"/>
                      <a:pt x="246" y="721"/>
                    </a:cubicBezTo>
                    <a:cubicBezTo>
                      <a:pt x="245" y="723"/>
                      <a:pt x="245" y="723"/>
                      <a:pt x="245" y="723"/>
                    </a:cubicBezTo>
                    <a:cubicBezTo>
                      <a:pt x="246" y="726"/>
                      <a:pt x="246" y="726"/>
                      <a:pt x="246" y="726"/>
                    </a:cubicBezTo>
                    <a:cubicBezTo>
                      <a:pt x="245" y="728"/>
                      <a:pt x="245" y="728"/>
                      <a:pt x="245" y="728"/>
                    </a:cubicBezTo>
                    <a:cubicBezTo>
                      <a:pt x="246" y="731"/>
                      <a:pt x="246" y="731"/>
                      <a:pt x="246" y="731"/>
                    </a:cubicBezTo>
                    <a:cubicBezTo>
                      <a:pt x="247" y="732"/>
                      <a:pt x="247" y="732"/>
                      <a:pt x="247" y="732"/>
                    </a:cubicBezTo>
                    <a:cubicBezTo>
                      <a:pt x="246" y="735"/>
                      <a:pt x="246" y="735"/>
                      <a:pt x="246" y="735"/>
                    </a:cubicBezTo>
                    <a:cubicBezTo>
                      <a:pt x="246" y="745"/>
                      <a:pt x="246" y="745"/>
                      <a:pt x="246" y="745"/>
                    </a:cubicBezTo>
                    <a:cubicBezTo>
                      <a:pt x="245" y="748"/>
                      <a:pt x="245" y="748"/>
                      <a:pt x="245" y="748"/>
                    </a:cubicBezTo>
                    <a:cubicBezTo>
                      <a:pt x="247" y="754"/>
                      <a:pt x="247" y="754"/>
                      <a:pt x="247" y="754"/>
                    </a:cubicBezTo>
                    <a:cubicBezTo>
                      <a:pt x="248" y="762"/>
                      <a:pt x="248" y="762"/>
                      <a:pt x="248" y="762"/>
                    </a:cubicBezTo>
                    <a:cubicBezTo>
                      <a:pt x="245" y="759"/>
                      <a:pt x="245" y="759"/>
                      <a:pt x="245" y="759"/>
                    </a:cubicBezTo>
                    <a:cubicBezTo>
                      <a:pt x="244" y="754"/>
                      <a:pt x="244" y="754"/>
                      <a:pt x="244" y="754"/>
                    </a:cubicBezTo>
                    <a:cubicBezTo>
                      <a:pt x="239" y="749"/>
                      <a:pt x="239" y="749"/>
                      <a:pt x="239" y="749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6" y="750"/>
                      <a:pt x="236" y="750"/>
                      <a:pt x="236" y="750"/>
                    </a:cubicBezTo>
                    <a:cubicBezTo>
                      <a:pt x="234" y="747"/>
                      <a:pt x="234" y="747"/>
                      <a:pt x="234" y="747"/>
                    </a:cubicBezTo>
                    <a:cubicBezTo>
                      <a:pt x="228" y="746"/>
                      <a:pt x="228" y="746"/>
                      <a:pt x="228" y="746"/>
                    </a:cubicBezTo>
                    <a:cubicBezTo>
                      <a:pt x="223" y="747"/>
                      <a:pt x="223" y="747"/>
                      <a:pt x="223" y="747"/>
                    </a:cubicBezTo>
                    <a:cubicBezTo>
                      <a:pt x="219" y="743"/>
                      <a:pt x="219" y="743"/>
                      <a:pt x="219" y="743"/>
                    </a:cubicBezTo>
                    <a:cubicBezTo>
                      <a:pt x="215" y="742"/>
                      <a:pt x="215" y="742"/>
                      <a:pt x="215" y="742"/>
                    </a:cubicBezTo>
                    <a:cubicBezTo>
                      <a:pt x="212" y="745"/>
                      <a:pt x="212" y="745"/>
                      <a:pt x="212" y="745"/>
                    </a:cubicBezTo>
                    <a:cubicBezTo>
                      <a:pt x="208" y="755"/>
                      <a:pt x="208" y="755"/>
                      <a:pt x="208" y="755"/>
                    </a:cubicBezTo>
                    <a:cubicBezTo>
                      <a:pt x="202" y="761"/>
                      <a:pt x="202" y="761"/>
                      <a:pt x="202" y="761"/>
                    </a:cubicBezTo>
                    <a:cubicBezTo>
                      <a:pt x="198" y="762"/>
                      <a:pt x="198" y="762"/>
                      <a:pt x="198" y="762"/>
                    </a:cubicBezTo>
                    <a:cubicBezTo>
                      <a:pt x="195" y="766"/>
                      <a:pt x="195" y="766"/>
                      <a:pt x="195" y="766"/>
                    </a:cubicBezTo>
                    <a:cubicBezTo>
                      <a:pt x="194" y="771"/>
                      <a:pt x="194" y="771"/>
                      <a:pt x="194" y="771"/>
                    </a:cubicBezTo>
                    <a:cubicBezTo>
                      <a:pt x="190" y="778"/>
                      <a:pt x="190" y="778"/>
                      <a:pt x="190" y="778"/>
                    </a:cubicBezTo>
                    <a:cubicBezTo>
                      <a:pt x="185" y="783"/>
                      <a:pt x="185" y="783"/>
                      <a:pt x="185" y="783"/>
                    </a:cubicBezTo>
                    <a:cubicBezTo>
                      <a:pt x="184" y="786"/>
                      <a:pt x="184" y="786"/>
                      <a:pt x="184" y="786"/>
                    </a:cubicBezTo>
                    <a:cubicBezTo>
                      <a:pt x="186" y="793"/>
                      <a:pt x="186" y="793"/>
                      <a:pt x="186" y="793"/>
                    </a:cubicBezTo>
                    <a:cubicBezTo>
                      <a:pt x="194" y="803"/>
                      <a:pt x="194" y="803"/>
                      <a:pt x="194" y="803"/>
                    </a:cubicBezTo>
                    <a:cubicBezTo>
                      <a:pt x="199" y="811"/>
                      <a:pt x="199" y="811"/>
                      <a:pt x="199" y="811"/>
                    </a:cubicBezTo>
                    <a:cubicBezTo>
                      <a:pt x="196" y="815"/>
                      <a:pt x="196" y="815"/>
                      <a:pt x="196" y="815"/>
                    </a:cubicBezTo>
                    <a:cubicBezTo>
                      <a:pt x="194" y="815"/>
                      <a:pt x="194" y="815"/>
                      <a:pt x="194" y="815"/>
                    </a:cubicBezTo>
                    <a:cubicBezTo>
                      <a:pt x="194" y="820"/>
                      <a:pt x="194" y="820"/>
                      <a:pt x="194" y="820"/>
                    </a:cubicBezTo>
                    <a:cubicBezTo>
                      <a:pt x="190" y="823"/>
                      <a:pt x="190" y="823"/>
                      <a:pt x="190" y="823"/>
                    </a:cubicBezTo>
                    <a:cubicBezTo>
                      <a:pt x="189" y="827"/>
                      <a:pt x="189" y="827"/>
                      <a:pt x="189" y="827"/>
                    </a:cubicBezTo>
                    <a:cubicBezTo>
                      <a:pt x="184" y="821"/>
                      <a:pt x="184" y="821"/>
                      <a:pt x="184" y="821"/>
                    </a:cubicBezTo>
                    <a:cubicBezTo>
                      <a:pt x="172" y="814"/>
                      <a:pt x="172" y="814"/>
                      <a:pt x="172" y="814"/>
                    </a:cubicBezTo>
                    <a:cubicBezTo>
                      <a:pt x="168" y="814"/>
                      <a:pt x="168" y="814"/>
                      <a:pt x="168" y="814"/>
                    </a:cubicBezTo>
                    <a:cubicBezTo>
                      <a:pt x="167" y="811"/>
                      <a:pt x="167" y="811"/>
                      <a:pt x="167" y="811"/>
                    </a:cubicBezTo>
                    <a:cubicBezTo>
                      <a:pt x="161" y="811"/>
                      <a:pt x="161" y="811"/>
                      <a:pt x="161" y="811"/>
                    </a:cubicBezTo>
                    <a:cubicBezTo>
                      <a:pt x="157" y="808"/>
                      <a:pt x="157" y="808"/>
                      <a:pt x="157" y="808"/>
                    </a:cubicBezTo>
                    <a:cubicBezTo>
                      <a:pt x="155" y="803"/>
                      <a:pt x="155" y="803"/>
                      <a:pt x="155" y="803"/>
                    </a:cubicBezTo>
                    <a:cubicBezTo>
                      <a:pt x="150" y="802"/>
                      <a:pt x="150" y="802"/>
                      <a:pt x="150" y="802"/>
                    </a:cubicBezTo>
                    <a:cubicBezTo>
                      <a:pt x="146" y="798"/>
                      <a:pt x="146" y="798"/>
                      <a:pt x="146" y="798"/>
                    </a:cubicBezTo>
                    <a:cubicBezTo>
                      <a:pt x="141" y="799"/>
                      <a:pt x="141" y="799"/>
                      <a:pt x="141" y="799"/>
                    </a:cubicBezTo>
                    <a:cubicBezTo>
                      <a:pt x="141" y="801"/>
                      <a:pt x="141" y="801"/>
                      <a:pt x="141" y="801"/>
                    </a:cubicBezTo>
                    <a:cubicBezTo>
                      <a:pt x="142" y="804"/>
                      <a:pt x="142" y="804"/>
                      <a:pt x="142" y="804"/>
                    </a:cubicBezTo>
                    <a:cubicBezTo>
                      <a:pt x="141" y="807"/>
                      <a:pt x="141" y="807"/>
                      <a:pt x="141" y="807"/>
                    </a:cubicBezTo>
                    <a:cubicBezTo>
                      <a:pt x="142" y="809"/>
                      <a:pt x="142" y="809"/>
                      <a:pt x="142" y="809"/>
                    </a:cubicBezTo>
                    <a:cubicBezTo>
                      <a:pt x="140" y="812"/>
                      <a:pt x="140" y="812"/>
                      <a:pt x="140" y="812"/>
                    </a:cubicBezTo>
                    <a:cubicBezTo>
                      <a:pt x="136" y="811"/>
                      <a:pt x="136" y="811"/>
                      <a:pt x="136" y="811"/>
                    </a:cubicBezTo>
                    <a:cubicBezTo>
                      <a:pt x="139" y="817"/>
                      <a:pt x="139" y="817"/>
                      <a:pt x="139" y="817"/>
                    </a:cubicBezTo>
                    <a:cubicBezTo>
                      <a:pt x="140" y="822"/>
                      <a:pt x="140" y="822"/>
                      <a:pt x="140" y="822"/>
                    </a:cubicBezTo>
                    <a:cubicBezTo>
                      <a:pt x="145" y="825"/>
                      <a:pt x="145" y="825"/>
                      <a:pt x="145" y="825"/>
                    </a:cubicBezTo>
                    <a:cubicBezTo>
                      <a:pt x="148" y="830"/>
                      <a:pt x="148" y="830"/>
                      <a:pt x="148" y="830"/>
                    </a:cubicBezTo>
                    <a:cubicBezTo>
                      <a:pt x="152" y="833"/>
                      <a:pt x="152" y="833"/>
                      <a:pt x="152" y="833"/>
                    </a:cubicBezTo>
                    <a:cubicBezTo>
                      <a:pt x="156" y="831"/>
                      <a:pt x="156" y="831"/>
                      <a:pt x="156" y="831"/>
                    </a:cubicBezTo>
                    <a:cubicBezTo>
                      <a:pt x="158" y="831"/>
                      <a:pt x="158" y="831"/>
                      <a:pt x="158" y="831"/>
                    </a:cubicBezTo>
                    <a:cubicBezTo>
                      <a:pt x="161" y="829"/>
                      <a:pt x="161" y="829"/>
                      <a:pt x="161" y="829"/>
                    </a:cubicBezTo>
                    <a:cubicBezTo>
                      <a:pt x="161" y="832"/>
                      <a:pt x="161" y="832"/>
                      <a:pt x="161" y="832"/>
                    </a:cubicBezTo>
                    <a:cubicBezTo>
                      <a:pt x="165" y="834"/>
                      <a:pt x="165" y="834"/>
                      <a:pt x="165" y="834"/>
                    </a:cubicBezTo>
                    <a:cubicBezTo>
                      <a:pt x="165" y="836"/>
                      <a:pt x="165" y="836"/>
                      <a:pt x="165" y="836"/>
                    </a:cubicBezTo>
                    <a:cubicBezTo>
                      <a:pt x="164" y="838"/>
                      <a:pt x="164" y="838"/>
                      <a:pt x="164" y="838"/>
                    </a:cubicBezTo>
                    <a:cubicBezTo>
                      <a:pt x="167" y="841"/>
                      <a:pt x="167" y="841"/>
                      <a:pt x="167" y="841"/>
                    </a:cubicBezTo>
                    <a:cubicBezTo>
                      <a:pt x="167" y="848"/>
                      <a:pt x="167" y="848"/>
                      <a:pt x="167" y="848"/>
                    </a:cubicBezTo>
                    <a:cubicBezTo>
                      <a:pt x="164" y="849"/>
                      <a:pt x="164" y="849"/>
                      <a:pt x="164" y="849"/>
                    </a:cubicBezTo>
                    <a:cubicBezTo>
                      <a:pt x="161" y="849"/>
                      <a:pt x="161" y="849"/>
                      <a:pt x="161" y="849"/>
                    </a:cubicBezTo>
                    <a:cubicBezTo>
                      <a:pt x="157" y="854"/>
                      <a:pt x="157" y="854"/>
                      <a:pt x="157" y="854"/>
                    </a:cubicBezTo>
                    <a:cubicBezTo>
                      <a:pt x="155" y="854"/>
                      <a:pt x="155" y="854"/>
                      <a:pt x="155" y="854"/>
                    </a:cubicBezTo>
                    <a:cubicBezTo>
                      <a:pt x="152" y="850"/>
                      <a:pt x="152" y="850"/>
                      <a:pt x="152" y="850"/>
                    </a:cubicBezTo>
                    <a:cubicBezTo>
                      <a:pt x="147" y="850"/>
                      <a:pt x="147" y="850"/>
                      <a:pt x="147" y="850"/>
                    </a:cubicBezTo>
                    <a:cubicBezTo>
                      <a:pt x="145" y="848"/>
                      <a:pt x="145" y="848"/>
                      <a:pt x="145" y="848"/>
                    </a:cubicBezTo>
                    <a:cubicBezTo>
                      <a:pt x="139" y="848"/>
                      <a:pt x="139" y="848"/>
                      <a:pt x="139" y="848"/>
                    </a:cubicBezTo>
                    <a:cubicBezTo>
                      <a:pt x="137" y="846"/>
                      <a:pt x="137" y="846"/>
                      <a:pt x="137" y="846"/>
                    </a:cubicBezTo>
                    <a:cubicBezTo>
                      <a:pt x="137" y="841"/>
                      <a:pt x="137" y="841"/>
                      <a:pt x="137" y="841"/>
                    </a:cubicBezTo>
                    <a:cubicBezTo>
                      <a:pt x="134" y="838"/>
                      <a:pt x="134" y="838"/>
                      <a:pt x="134" y="838"/>
                    </a:cubicBezTo>
                    <a:cubicBezTo>
                      <a:pt x="131" y="834"/>
                      <a:pt x="131" y="834"/>
                      <a:pt x="131" y="834"/>
                    </a:cubicBezTo>
                    <a:cubicBezTo>
                      <a:pt x="130" y="834"/>
                      <a:pt x="130" y="834"/>
                      <a:pt x="130" y="834"/>
                    </a:cubicBezTo>
                    <a:cubicBezTo>
                      <a:pt x="126" y="837"/>
                      <a:pt x="126" y="837"/>
                      <a:pt x="126" y="837"/>
                    </a:cubicBezTo>
                    <a:cubicBezTo>
                      <a:pt x="119" y="834"/>
                      <a:pt x="119" y="834"/>
                      <a:pt x="119" y="834"/>
                    </a:cubicBezTo>
                    <a:cubicBezTo>
                      <a:pt x="118" y="831"/>
                      <a:pt x="118" y="831"/>
                      <a:pt x="118" y="831"/>
                    </a:cubicBezTo>
                    <a:cubicBezTo>
                      <a:pt x="116" y="828"/>
                      <a:pt x="116" y="828"/>
                      <a:pt x="116" y="828"/>
                    </a:cubicBezTo>
                    <a:cubicBezTo>
                      <a:pt x="117" y="825"/>
                      <a:pt x="117" y="825"/>
                      <a:pt x="117" y="825"/>
                    </a:cubicBezTo>
                    <a:cubicBezTo>
                      <a:pt x="117" y="820"/>
                      <a:pt x="117" y="820"/>
                      <a:pt x="117" y="820"/>
                    </a:cubicBezTo>
                    <a:cubicBezTo>
                      <a:pt x="117" y="816"/>
                      <a:pt x="117" y="816"/>
                      <a:pt x="117" y="816"/>
                    </a:cubicBezTo>
                    <a:cubicBezTo>
                      <a:pt x="113" y="813"/>
                      <a:pt x="113" y="813"/>
                      <a:pt x="113" y="813"/>
                    </a:cubicBezTo>
                    <a:cubicBezTo>
                      <a:pt x="113" y="809"/>
                      <a:pt x="113" y="809"/>
                      <a:pt x="113" y="809"/>
                    </a:cubicBezTo>
                    <a:cubicBezTo>
                      <a:pt x="108" y="803"/>
                      <a:pt x="108" y="803"/>
                      <a:pt x="108" y="803"/>
                    </a:cubicBezTo>
                    <a:cubicBezTo>
                      <a:pt x="108" y="798"/>
                      <a:pt x="108" y="798"/>
                      <a:pt x="108" y="798"/>
                    </a:cubicBezTo>
                    <a:cubicBezTo>
                      <a:pt x="105" y="797"/>
                      <a:pt x="105" y="797"/>
                      <a:pt x="105" y="797"/>
                    </a:cubicBezTo>
                    <a:cubicBezTo>
                      <a:pt x="106" y="793"/>
                      <a:pt x="106" y="793"/>
                      <a:pt x="106" y="793"/>
                    </a:cubicBezTo>
                    <a:cubicBezTo>
                      <a:pt x="109" y="792"/>
                      <a:pt x="109" y="792"/>
                      <a:pt x="109" y="792"/>
                    </a:cubicBezTo>
                    <a:cubicBezTo>
                      <a:pt x="109" y="785"/>
                      <a:pt x="109" y="785"/>
                      <a:pt x="109" y="785"/>
                    </a:cubicBezTo>
                    <a:cubicBezTo>
                      <a:pt x="109" y="781"/>
                      <a:pt x="109" y="781"/>
                      <a:pt x="109" y="781"/>
                    </a:cubicBezTo>
                    <a:cubicBezTo>
                      <a:pt x="108" y="781"/>
                      <a:pt x="108" y="781"/>
                      <a:pt x="108" y="781"/>
                    </a:cubicBezTo>
                    <a:cubicBezTo>
                      <a:pt x="108" y="778"/>
                      <a:pt x="108" y="778"/>
                      <a:pt x="108" y="778"/>
                    </a:cubicBezTo>
                    <a:cubicBezTo>
                      <a:pt x="109" y="775"/>
                      <a:pt x="109" y="775"/>
                      <a:pt x="109" y="775"/>
                    </a:cubicBezTo>
                    <a:cubicBezTo>
                      <a:pt x="107" y="774"/>
                      <a:pt x="107" y="774"/>
                      <a:pt x="107" y="774"/>
                    </a:cubicBezTo>
                    <a:cubicBezTo>
                      <a:pt x="103" y="768"/>
                      <a:pt x="103" y="768"/>
                      <a:pt x="103" y="768"/>
                    </a:cubicBezTo>
                    <a:cubicBezTo>
                      <a:pt x="95" y="764"/>
                      <a:pt x="95" y="764"/>
                      <a:pt x="95" y="764"/>
                    </a:cubicBezTo>
                    <a:cubicBezTo>
                      <a:pt x="93" y="766"/>
                      <a:pt x="93" y="766"/>
                      <a:pt x="93" y="766"/>
                    </a:cubicBezTo>
                    <a:cubicBezTo>
                      <a:pt x="91" y="763"/>
                      <a:pt x="91" y="763"/>
                      <a:pt x="91" y="763"/>
                    </a:cubicBezTo>
                    <a:cubicBezTo>
                      <a:pt x="88" y="763"/>
                      <a:pt x="88" y="763"/>
                      <a:pt x="88" y="763"/>
                    </a:cubicBezTo>
                    <a:cubicBezTo>
                      <a:pt x="86" y="765"/>
                      <a:pt x="86" y="765"/>
                      <a:pt x="86" y="765"/>
                    </a:cubicBezTo>
                    <a:cubicBezTo>
                      <a:pt x="82" y="764"/>
                      <a:pt x="82" y="764"/>
                      <a:pt x="82" y="764"/>
                    </a:cubicBezTo>
                    <a:cubicBezTo>
                      <a:pt x="84" y="761"/>
                      <a:pt x="84" y="761"/>
                      <a:pt x="84" y="761"/>
                    </a:cubicBezTo>
                    <a:cubicBezTo>
                      <a:pt x="87" y="761"/>
                      <a:pt x="87" y="761"/>
                      <a:pt x="87" y="761"/>
                    </a:cubicBezTo>
                    <a:cubicBezTo>
                      <a:pt x="88" y="757"/>
                      <a:pt x="88" y="757"/>
                      <a:pt x="88" y="757"/>
                    </a:cubicBezTo>
                    <a:cubicBezTo>
                      <a:pt x="84" y="757"/>
                      <a:pt x="84" y="757"/>
                      <a:pt x="84" y="757"/>
                    </a:cubicBezTo>
                    <a:cubicBezTo>
                      <a:pt x="84" y="756"/>
                      <a:pt x="84" y="756"/>
                      <a:pt x="84" y="756"/>
                    </a:cubicBezTo>
                    <a:cubicBezTo>
                      <a:pt x="87" y="754"/>
                      <a:pt x="87" y="754"/>
                      <a:pt x="87" y="754"/>
                    </a:cubicBezTo>
                    <a:cubicBezTo>
                      <a:pt x="84" y="752"/>
                      <a:pt x="84" y="752"/>
                      <a:pt x="84" y="752"/>
                    </a:cubicBezTo>
                    <a:cubicBezTo>
                      <a:pt x="82" y="754"/>
                      <a:pt x="82" y="754"/>
                      <a:pt x="82" y="754"/>
                    </a:cubicBezTo>
                    <a:cubicBezTo>
                      <a:pt x="76" y="756"/>
                      <a:pt x="76" y="756"/>
                      <a:pt x="76" y="756"/>
                    </a:cubicBezTo>
                    <a:cubicBezTo>
                      <a:pt x="75" y="755"/>
                      <a:pt x="75" y="755"/>
                      <a:pt x="75" y="755"/>
                    </a:cubicBezTo>
                    <a:cubicBezTo>
                      <a:pt x="77" y="752"/>
                      <a:pt x="77" y="752"/>
                      <a:pt x="77" y="752"/>
                    </a:cubicBezTo>
                    <a:cubicBezTo>
                      <a:pt x="80" y="750"/>
                      <a:pt x="80" y="750"/>
                      <a:pt x="80" y="750"/>
                    </a:cubicBezTo>
                    <a:cubicBezTo>
                      <a:pt x="79" y="748"/>
                      <a:pt x="79" y="748"/>
                      <a:pt x="79" y="748"/>
                    </a:cubicBezTo>
                    <a:cubicBezTo>
                      <a:pt x="74" y="747"/>
                      <a:pt x="74" y="747"/>
                      <a:pt x="74" y="747"/>
                    </a:cubicBezTo>
                    <a:cubicBezTo>
                      <a:pt x="73" y="744"/>
                      <a:pt x="73" y="744"/>
                      <a:pt x="73" y="744"/>
                    </a:cubicBezTo>
                    <a:cubicBezTo>
                      <a:pt x="69" y="740"/>
                      <a:pt x="69" y="740"/>
                      <a:pt x="69" y="740"/>
                    </a:cubicBezTo>
                    <a:cubicBezTo>
                      <a:pt x="68" y="734"/>
                      <a:pt x="68" y="734"/>
                      <a:pt x="68" y="734"/>
                    </a:cubicBezTo>
                    <a:cubicBezTo>
                      <a:pt x="64" y="731"/>
                      <a:pt x="64" y="731"/>
                      <a:pt x="64" y="731"/>
                    </a:cubicBezTo>
                    <a:cubicBezTo>
                      <a:pt x="65" y="730"/>
                      <a:pt x="65" y="730"/>
                      <a:pt x="65" y="730"/>
                    </a:cubicBezTo>
                    <a:cubicBezTo>
                      <a:pt x="68" y="729"/>
                      <a:pt x="68" y="729"/>
                      <a:pt x="68" y="729"/>
                    </a:cubicBezTo>
                    <a:cubicBezTo>
                      <a:pt x="69" y="731"/>
                      <a:pt x="69" y="731"/>
                      <a:pt x="69" y="731"/>
                    </a:cubicBezTo>
                    <a:cubicBezTo>
                      <a:pt x="74" y="731"/>
                      <a:pt x="74" y="731"/>
                      <a:pt x="74" y="731"/>
                    </a:cubicBezTo>
                    <a:cubicBezTo>
                      <a:pt x="75" y="735"/>
                      <a:pt x="75" y="735"/>
                      <a:pt x="75" y="735"/>
                    </a:cubicBezTo>
                    <a:cubicBezTo>
                      <a:pt x="82" y="743"/>
                      <a:pt x="82" y="743"/>
                      <a:pt x="82" y="743"/>
                    </a:cubicBezTo>
                    <a:cubicBezTo>
                      <a:pt x="85" y="743"/>
                      <a:pt x="85" y="743"/>
                      <a:pt x="85" y="743"/>
                    </a:cubicBezTo>
                    <a:cubicBezTo>
                      <a:pt x="86" y="742"/>
                      <a:pt x="86" y="742"/>
                      <a:pt x="86" y="742"/>
                    </a:cubicBezTo>
                    <a:cubicBezTo>
                      <a:pt x="89" y="745"/>
                      <a:pt x="89" y="745"/>
                      <a:pt x="89" y="745"/>
                    </a:cubicBezTo>
                    <a:cubicBezTo>
                      <a:pt x="95" y="745"/>
                      <a:pt x="95" y="745"/>
                      <a:pt x="95" y="745"/>
                    </a:cubicBezTo>
                    <a:cubicBezTo>
                      <a:pt x="96" y="743"/>
                      <a:pt x="96" y="743"/>
                      <a:pt x="96" y="743"/>
                    </a:cubicBezTo>
                    <a:cubicBezTo>
                      <a:pt x="98" y="746"/>
                      <a:pt x="98" y="746"/>
                      <a:pt x="98" y="746"/>
                    </a:cubicBezTo>
                    <a:cubicBezTo>
                      <a:pt x="96" y="748"/>
                      <a:pt x="96" y="748"/>
                      <a:pt x="96" y="748"/>
                    </a:cubicBezTo>
                    <a:cubicBezTo>
                      <a:pt x="97" y="750"/>
                      <a:pt x="97" y="750"/>
                      <a:pt x="97" y="750"/>
                    </a:cubicBezTo>
                    <a:cubicBezTo>
                      <a:pt x="97" y="752"/>
                      <a:pt x="97" y="752"/>
                      <a:pt x="97" y="752"/>
                    </a:cubicBezTo>
                    <a:cubicBezTo>
                      <a:pt x="101" y="752"/>
                      <a:pt x="101" y="752"/>
                      <a:pt x="101" y="752"/>
                    </a:cubicBezTo>
                    <a:cubicBezTo>
                      <a:pt x="103" y="750"/>
                      <a:pt x="103" y="750"/>
                      <a:pt x="103" y="750"/>
                    </a:cubicBezTo>
                    <a:cubicBezTo>
                      <a:pt x="108" y="750"/>
                      <a:pt x="108" y="750"/>
                      <a:pt x="108" y="750"/>
                    </a:cubicBezTo>
                    <a:cubicBezTo>
                      <a:pt x="107" y="751"/>
                      <a:pt x="107" y="751"/>
                      <a:pt x="107" y="751"/>
                    </a:cubicBezTo>
                    <a:cubicBezTo>
                      <a:pt x="110" y="752"/>
                      <a:pt x="110" y="752"/>
                      <a:pt x="110" y="752"/>
                    </a:cubicBezTo>
                    <a:cubicBezTo>
                      <a:pt x="114" y="751"/>
                      <a:pt x="114" y="751"/>
                      <a:pt x="114" y="751"/>
                    </a:cubicBezTo>
                    <a:cubicBezTo>
                      <a:pt x="113" y="754"/>
                      <a:pt x="113" y="754"/>
                      <a:pt x="113" y="754"/>
                    </a:cubicBezTo>
                    <a:cubicBezTo>
                      <a:pt x="118" y="759"/>
                      <a:pt x="118" y="759"/>
                      <a:pt x="118" y="759"/>
                    </a:cubicBezTo>
                    <a:cubicBezTo>
                      <a:pt x="121" y="757"/>
                      <a:pt x="121" y="757"/>
                      <a:pt x="121" y="757"/>
                    </a:cubicBezTo>
                    <a:cubicBezTo>
                      <a:pt x="124" y="758"/>
                      <a:pt x="124" y="758"/>
                      <a:pt x="124" y="758"/>
                    </a:cubicBezTo>
                    <a:cubicBezTo>
                      <a:pt x="125" y="760"/>
                      <a:pt x="125" y="760"/>
                      <a:pt x="125" y="760"/>
                    </a:cubicBezTo>
                    <a:cubicBezTo>
                      <a:pt x="130" y="760"/>
                      <a:pt x="130" y="760"/>
                      <a:pt x="130" y="760"/>
                    </a:cubicBezTo>
                    <a:cubicBezTo>
                      <a:pt x="133" y="761"/>
                      <a:pt x="133" y="761"/>
                      <a:pt x="133" y="761"/>
                    </a:cubicBezTo>
                    <a:cubicBezTo>
                      <a:pt x="135" y="759"/>
                      <a:pt x="135" y="759"/>
                      <a:pt x="135" y="759"/>
                    </a:cubicBezTo>
                    <a:cubicBezTo>
                      <a:pt x="140" y="763"/>
                      <a:pt x="140" y="763"/>
                      <a:pt x="140" y="763"/>
                    </a:cubicBezTo>
                    <a:cubicBezTo>
                      <a:pt x="146" y="765"/>
                      <a:pt x="146" y="765"/>
                      <a:pt x="146" y="765"/>
                    </a:cubicBezTo>
                    <a:cubicBezTo>
                      <a:pt x="156" y="765"/>
                      <a:pt x="156" y="765"/>
                      <a:pt x="156" y="765"/>
                    </a:cubicBezTo>
                    <a:cubicBezTo>
                      <a:pt x="164" y="764"/>
                      <a:pt x="164" y="764"/>
                      <a:pt x="164" y="764"/>
                    </a:cubicBezTo>
                    <a:cubicBezTo>
                      <a:pt x="165" y="762"/>
                      <a:pt x="165" y="762"/>
                      <a:pt x="165" y="762"/>
                    </a:cubicBezTo>
                    <a:cubicBezTo>
                      <a:pt x="171" y="762"/>
                      <a:pt x="171" y="762"/>
                      <a:pt x="171" y="762"/>
                    </a:cubicBezTo>
                    <a:cubicBezTo>
                      <a:pt x="173" y="760"/>
                      <a:pt x="173" y="760"/>
                      <a:pt x="173" y="760"/>
                    </a:cubicBezTo>
                    <a:cubicBezTo>
                      <a:pt x="179" y="759"/>
                      <a:pt x="179" y="759"/>
                      <a:pt x="179" y="759"/>
                    </a:cubicBezTo>
                    <a:cubicBezTo>
                      <a:pt x="184" y="755"/>
                      <a:pt x="184" y="755"/>
                      <a:pt x="184" y="755"/>
                    </a:cubicBezTo>
                    <a:cubicBezTo>
                      <a:pt x="191" y="744"/>
                      <a:pt x="191" y="744"/>
                      <a:pt x="191" y="744"/>
                    </a:cubicBezTo>
                    <a:cubicBezTo>
                      <a:pt x="192" y="741"/>
                      <a:pt x="192" y="741"/>
                      <a:pt x="192" y="741"/>
                    </a:cubicBezTo>
                    <a:cubicBezTo>
                      <a:pt x="196" y="735"/>
                      <a:pt x="196" y="735"/>
                      <a:pt x="196" y="735"/>
                    </a:cubicBezTo>
                    <a:cubicBezTo>
                      <a:pt x="196" y="732"/>
                      <a:pt x="196" y="732"/>
                      <a:pt x="196" y="732"/>
                    </a:cubicBezTo>
                    <a:cubicBezTo>
                      <a:pt x="197" y="729"/>
                      <a:pt x="197" y="729"/>
                      <a:pt x="197" y="729"/>
                    </a:cubicBezTo>
                    <a:cubicBezTo>
                      <a:pt x="198" y="722"/>
                      <a:pt x="198" y="722"/>
                      <a:pt x="198" y="722"/>
                    </a:cubicBezTo>
                    <a:cubicBezTo>
                      <a:pt x="198" y="717"/>
                      <a:pt x="198" y="717"/>
                      <a:pt x="198" y="717"/>
                    </a:cubicBezTo>
                    <a:cubicBezTo>
                      <a:pt x="198" y="712"/>
                      <a:pt x="198" y="712"/>
                      <a:pt x="198" y="712"/>
                    </a:cubicBezTo>
                    <a:cubicBezTo>
                      <a:pt x="196" y="710"/>
                      <a:pt x="196" y="710"/>
                      <a:pt x="196" y="710"/>
                    </a:cubicBezTo>
                    <a:cubicBezTo>
                      <a:pt x="195" y="711"/>
                      <a:pt x="195" y="711"/>
                      <a:pt x="195" y="711"/>
                    </a:cubicBezTo>
                    <a:cubicBezTo>
                      <a:pt x="192" y="705"/>
                      <a:pt x="192" y="705"/>
                      <a:pt x="192" y="705"/>
                    </a:cubicBezTo>
                    <a:cubicBezTo>
                      <a:pt x="190" y="703"/>
                      <a:pt x="190" y="703"/>
                      <a:pt x="190" y="703"/>
                    </a:cubicBezTo>
                    <a:cubicBezTo>
                      <a:pt x="189" y="698"/>
                      <a:pt x="189" y="698"/>
                      <a:pt x="189" y="698"/>
                    </a:cubicBezTo>
                    <a:cubicBezTo>
                      <a:pt x="185" y="693"/>
                      <a:pt x="185" y="693"/>
                      <a:pt x="185" y="693"/>
                    </a:cubicBezTo>
                    <a:cubicBezTo>
                      <a:pt x="182" y="692"/>
                      <a:pt x="182" y="692"/>
                      <a:pt x="182" y="692"/>
                    </a:cubicBezTo>
                    <a:cubicBezTo>
                      <a:pt x="181" y="694"/>
                      <a:pt x="181" y="694"/>
                      <a:pt x="181" y="694"/>
                    </a:cubicBezTo>
                    <a:cubicBezTo>
                      <a:pt x="177" y="692"/>
                      <a:pt x="177" y="692"/>
                      <a:pt x="177" y="692"/>
                    </a:cubicBezTo>
                    <a:cubicBezTo>
                      <a:pt x="177" y="689"/>
                      <a:pt x="177" y="689"/>
                      <a:pt x="177" y="689"/>
                    </a:cubicBezTo>
                    <a:cubicBezTo>
                      <a:pt x="170" y="683"/>
                      <a:pt x="170" y="683"/>
                      <a:pt x="170" y="683"/>
                    </a:cubicBezTo>
                    <a:cubicBezTo>
                      <a:pt x="170" y="679"/>
                      <a:pt x="170" y="679"/>
                      <a:pt x="170" y="679"/>
                    </a:cubicBezTo>
                    <a:cubicBezTo>
                      <a:pt x="166" y="674"/>
                      <a:pt x="166" y="674"/>
                      <a:pt x="166" y="674"/>
                    </a:cubicBezTo>
                    <a:cubicBezTo>
                      <a:pt x="164" y="674"/>
                      <a:pt x="164" y="674"/>
                      <a:pt x="164" y="674"/>
                    </a:cubicBezTo>
                    <a:cubicBezTo>
                      <a:pt x="165" y="676"/>
                      <a:pt x="165" y="676"/>
                      <a:pt x="165" y="676"/>
                    </a:cubicBezTo>
                    <a:cubicBezTo>
                      <a:pt x="168" y="682"/>
                      <a:pt x="168" y="682"/>
                      <a:pt x="168" y="682"/>
                    </a:cubicBezTo>
                    <a:cubicBezTo>
                      <a:pt x="165" y="683"/>
                      <a:pt x="165" y="683"/>
                      <a:pt x="165" y="683"/>
                    </a:cubicBezTo>
                    <a:cubicBezTo>
                      <a:pt x="161" y="678"/>
                      <a:pt x="161" y="678"/>
                      <a:pt x="161" y="678"/>
                    </a:cubicBezTo>
                    <a:cubicBezTo>
                      <a:pt x="158" y="678"/>
                      <a:pt x="158" y="678"/>
                      <a:pt x="158" y="678"/>
                    </a:cubicBezTo>
                    <a:cubicBezTo>
                      <a:pt x="153" y="672"/>
                      <a:pt x="153" y="672"/>
                      <a:pt x="153" y="672"/>
                    </a:cubicBezTo>
                    <a:cubicBezTo>
                      <a:pt x="151" y="672"/>
                      <a:pt x="151" y="672"/>
                      <a:pt x="151" y="672"/>
                    </a:cubicBezTo>
                    <a:cubicBezTo>
                      <a:pt x="151" y="674"/>
                      <a:pt x="151" y="674"/>
                      <a:pt x="151" y="674"/>
                    </a:cubicBezTo>
                    <a:cubicBezTo>
                      <a:pt x="151" y="676"/>
                      <a:pt x="151" y="676"/>
                      <a:pt x="151" y="676"/>
                    </a:cubicBezTo>
                    <a:cubicBezTo>
                      <a:pt x="149" y="675"/>
                      <a:pt x="149" y="675"/>
                      <a:pt x="149" y="675"/>
                    </a:cubicBezTo>
                    <a:cubicBezTo>
                      <a:pt x="144" y="668"/>
                      <a:pt x="144" y="668"/>
                      <a:pt x="144" y="668"/>
                    </a:cubicBezTo>
                    <a:cubicBezTo>
                      <a:pt x="141" y="666"/>
                      <a:pt x="141" y="666"/>
                      <a:pt x="141" y="666"/>
                    </a:cubicBezTo>
                    <a:cubicBezTo>
                      <a:pt x="138" y="663"/>
                      <a:pt x="138" y="663"/>
                      <a:pt x="138" y="663"/>
                    </a:cubicBezTo>
                    <a:cubicBezTo>
                      <a:pt x="126" y="653"/>
                      <a:pt x="126" y="653"/>
                      <a:pt x="126" y="653"/>
                    </a:cubicBezTo>
                    <a:cubicBezTo>
                      <a:pt x="107" y="641"/>
                      <a:pt x="107" y="641"/>
                      <a:pt x="107" y="641"/>
                    </a:cubicBezTo>
                    <a:cubicBezTo>
                      <a:pt x="103" y="639"/>
                      <a:pt x="103" y="639"/>
                      <a:pt x="103" y="639"/>
                    </a:cubicBezTo>
                    <a:cubicBezTo>
                      <a:pt x="102" y="641"/>
                      <a:pt x="102" y="641"/>
                      <a:pt x="102" y="641"/>
                    </a:cubicBezTo>
                    <a:cubicBezTo>
                      <a:pt x="99" y="638"/>
                      <a:pt x="99" y="638"/>
                      <a:pt x="99" y="638"/>
                    </a:cubicBezTo>
                    <a:cubicBezTo>
                      <a:pt x="94" y="637"/>
                      <a:pt x="94" y="637"/>
                      <a:pt x="94" y="637"/>
                    </a:cubicBezTo>
                    <a:cubicBezTo>
                      <a:pt x="95" y="639"/>
                      <a:pt x="95" y="639"/>
                      <a:pt x="95" y="639"/>
                    </a:cubicBezTo>
                    <a:cubicBezTo>
                      <a:pt x="92" y="641"/>
                      <a:pt x="92" y="641"/>
                      <a:pt x="92" y="641"/>
                    </a:cubicBezTo>
                    <a:cubicBezTo>
                      <a:pt x="88" y="639"/>
                      <a:pt x="88" y="639"/>
                      <a:pt x="88" y="639"/>
                    </a:cubicBezTo>
                    <a:cubicBezTo>
                      <a:pt x="83" y="639"/>
                      <a:pt x="83" y="639"/>
                      <a:pt x="83" y="639"/>
                    </a:cubicBezTo>
                    <a:cubicBezTo>
                      <a:pt x="81" y="635"/>
                      <a:pt x="81" y="635"/>
                      <a:pt x="81" y="635"/>
                    </a:cubicBezTo>
                    <a:cubicBezTo>
                      <a:pt x="77" y="633"/>
                      <a:pt x="77" y="633"/>
                      <a:pt x="77" y="633"/>
                    </a:cubicBezTo>
                    <a:cubicBezTo>
                      <a:pt x="77" y="634"/>
                      <a:pt x="77" y="634"/>
                      <a:pt x="77" y="634"/>
                    </a:cubicBezTo>
                    <a:cubicBezTo>
                      <a:pt x="79" y="637"/>
                      <a:pt x="79" y="637"/>
                      <a:pt x="79" y="637"/>
                    </a:cubicBezTo>
                    <a:cubicBezTo>
                      <a:pt x="79" y="639"/>
                      <a:pt x="79" y="639"/>
                      <a:pt x="79" y="639"/>
                    </a:cubicBezTo>
                    <a:cubicBezTo>
                      <a:pt x="76" y="637"/>
                      <a:pt x="76" y="637"/>
                      <a:pt x="76" y="637"/>
                    </a:cubicBezTo>
                    <a:cubicBezTo>
                      <a:pt x="72" y="638"/>
                      <a:pt x="72" y="638"/>
                      <a:pt x="72" y="638"/>
                    </a:cubicBezTo>
                    <a:cubicBezTo>
                      <a:pt x="71" y="639"/>
                      <a:pt x="71" y="639"/>
                      <a:pt x="71" y="639"/>
                    </a:cubicBezTo>
                    <a:cubicBezTo>
                      <a:pt x="72" y="642"/>
                      <a:pt x="72" y="642"/>
                      <a:pt x="72" y="642"/>
                    </a:cubicBezTo>
                    <a:cubicBezTo>
                      <a:pt x="69" y="647"/>
                      <a:pt x="69" y="647"/>
                      <a:pt x="69" y="647"/>
                    </a:cubicBezTo>
                    <a:cubicBezTo>
                      <a:pt x="65" y="648"/>
                      <a:pt x="65" y="648"/>
                      <a:pt x="65" y="648"/>
                    </a:cubicBezTo>
                    <a:cubicBezTo>
                      <a:pt x="68" y="644"/>
                      <a:pt x="68" y="644"/>
                      <a:pt x="68" y="644"/>
                    </a:cubicBezTo>
                    <a:cubicBezTo>
                      <a:pt x="70" y="642"/>
                      <a:pt x="70" y="642"/>
                      <a:pt x="70" y="642"/>
                    </a:cubicBezTo>
                    <a:cubicBezTo>
                      <a:pt x="69" y="640"/>
                      <a:pt x="69" y="640"/>
                      <a:pt x="69" y="640"/>
                    </a:cubicBezTo>
                    <a:cubicBezTo>
                      <a:pt x="66" y="640"/>
                      <a:pt x="66" y="640"/>
                      <a:pt x="66" y="640"/>
                    </a:cubicBezTo>
                    <a:cubicBezTo>
                      <a:pt x="67" y="638"/>
                      <a:pt x="67" y="638"/>
                      <a:pt x="67" y="638"/>
                    </a:cubicBezTo>
                    <a:cubicBezTo>
                      <a:pt x="67" y="636"/>
                      <a:pt x="67" y="636"/>
                      <a:pt x="67" y="636"/>
                    </a:cubicBezTo>
                    <a:cubicBezTo>
                      <a:pt x="66" y="635"/>
                      <a:pt x="66" y="635"/>
                      <a:pt x="66" y="635"/>
                    </a:cubicBezTo>
                    <a:cubicBezTo>
                      <a:pt x="64" y="637"/>
                      <a:pt x="64" y="637"/>
                      <a:pt x="64" y="637"/>
                    </a:cubicBezTo>
                    <a:cubicBezTo>
                      <a:pt x="61" y="642"/>
                      <a:pt x="61" y="642"/>
                      <a:pt x="61" y="642"/>
                    </a:cubicBezTo>
                    <a:cubicBezTo>
                      <a:pt x="61" y="639"/>
                      <a:pt x="61" y="639"/>
                      <a:pt x="61" y="639"/>
                    </a:cubicBezTo>
                    <a:cubicBezTo>
                      <a:pt x="62" y="637"/>
                      <a:pt x="62" y="637"/>
                      <a:pt x="62" y="637"/>
                    </a:cubicBezTo>
                    <a:cubicBezTo>
                      <a:pt x="61" y="636"/>
                      <a:pt x="61" y="636"/>
                      <a:pt x="61" y="636"/>
                    </a:cubicBezTo>
                    <a:cubicBezTo>
                      <a:pt x="59" y="639"/>
                      <a:pt x="59" y="639"/>
                      <a:pt x="59" y="639"/>
                    </a:cubicBezTo>
                    <a:cubicBezTo>
                      <a:pt x="58" y="639"/>
                      <a:pt x="58" y="639"/>
                      <a:pt x="58" y="639"/>
                    </a:cubicBezTo>
                    <a:cubicBezTo>
                      <a:pt x="58" y="636"/>
                      <a:pt x="58" y="636"/>
                      <a:pt x="58" y="636"/>
                    </a:cubicBezTo>
                    <a:cubicBezTo>
                      <a:pt x="55" y="634"/>
                      <a:pt x="55" y="634"/>
                      <a:pt x="55" y="634"/>
                    </a:cubicBezTo>
                    <a:cubicBezTo>
                      <a:pt x="52" y="637"/>
                      <a:pt x="52" y="637"/>
                      <a:pt x="52" y="637"/>
                    </a:cubicBezTo>
                    <a:cubicBezTo>
                      <a:pt x="51" y="633"/>
                      <a:pt x="51" y="633"/>
                      <a:pt x="51" y="633"/>
                    </a:cubicBezTo>
                    <a:cubicBezTo>
                      <a:pt x="50" y="632"/>
                      <a:pt x="50" y="632"/>
                      <a:pt x="50" y="632"/>
                    </a:cubicBezTo>
                    <a:cubicBezTo>
                      <a:pt x="47" y="635"/>
                      <a:pt x="47" y="635"/>
                      <a:pt x="47" y="635"/>
                    </a:cubicBezTo>
                    <a:cubicBezTo>
                      <a:pt x="46" y="631"/>
                      <a:pt x="46" y="631"/>
                      <a:pt x="46" y="631"/>
                    </a:cubicBezTo>
                    <a:cubicBezTo>
                      <a:pt x="46" y="626"/>
                      <a:pt x="46" y="626"/>
                      <a:pt x="46" y="626"/>
                    </a:cubicBezTo>
                    <a:cubicBezTo>
                      <a:pt x="48" y="623"/>
                      <a:pt x="48" y="623"/>
                      <a:pt x="48" y="623"/>
                    </a:cubicBezTo>
                    <a:cubicBezTo>
                      <a:pt x="48" y="626"/>
                      <a:pt x="48" y="626"/>
                      <a:pt x="48" y="626"/>
                    </a:cubicBezTo>
                    <a:cubicBezTo>
                      <a:pt x="51" y="630"/>
                      <a:pt x="51" y="630"/>
                      <a:pt x="51" y="630"/>
                    </a:cubicBezTo>
                    <a:cubicBezTo>
                      <a:pt x="55" y="629"/>
                      <a:pt x="55" y="629"/>
                      <a:pt x="55" y="629"/>
                    </a:cubicBezTo>
                    <a:cubicBezTo>
                      <a:pt x="58" y="630"/>
                      <a:pt x="58" y="630"/>
                      <a:pt x="58" y="630"/>
                    </a:cubicBezTo>
                    <a:cubicBezTo>
                      <a:pt x="61" y="627"/>
                      <a:pt x="61" y="627"/>
                      <a:pt x="61" y="627"/>
                    </a:cubicBezTo>
                    <a:cubicBezTo>
                      <a:pt x="61" y="625"/>
                      <a:pt x="61" y="625"/>
                      <a:pt x="61" y="625"/>
                    </a:cubicBezTo>
                    <a:cubicBezTo>
                      <a:pt x="59" y="623"/>
                      <a:pt x="59" y="623"/>
                      <a:pt x="59" y="623"/>
                    </a:cubicBezTo>
                    <a:cubicBezTo>
                      <a:pt x="58" y="622"/>
                      <a:pt x="58" y="622"/>
                      <a:pt x="58" y="622"/>
                    </a:cubicBezTo>
                    <a:cubicBezTo>
                      <a:pt x="55" y="621"/>
                      <a:pt x="55" y="621"/>
                      <a:pt x="55" y="621"/>
                    </a:cubicBezTo>
                    <a:cubicBezTo>
                      <a:pt x="54" y="622"/>
                      <a:pt x="54" y="622"/>
                      <a:pt x="54" y="622"/>
                    </a:cubicBezTo>
                    <a:cubicBezTo>
                      <a:pt x="52" y="620"/>
                      <a:pt x="52" y="620"/>
                      <a:pt x="52" y="620"/>
                    </a:cubicBezTo>
                    <a:cubicBezTo>
                      <a:pt x="50" y="617"/>
                      <a:pt x="50" y="617"/>
                      <a:pt x="50" y="617"/>
                    </a:cubicBezTo>
                    <a:cubicBezTo>
                      <a:pt x="46" y="615"/>
                      <a:pt x="46" y="615"/>
                      <a:pt x="46" y="615"/>
                    </a:cubicBezTo>
                    <a:cubicBezTo>
                      <a:pt x="43" y="614"/>
                      <a:pt x="43" y="614"/>
                      <a:pt x="43" y="614"/>
                    </a:cubicBezTo>
                    <a:cubicBezTo>
                      <a:pt x="42" y="616"/>
                      <a:pt x="42" y="616"/>
                      <a:pt x="42" y="616"/>
                    </a:cubicBezTo>
                    <a:cubicBezTo>
                      <a:pt x="43" y="618"/>
                      <a:pt x="43" y="618"/>
                      <a:pt x="43" y="618"/>
                    </a:cubicBezTo>
                    <a:cubicBezTo>
                      <a:pt x="44" y="619"/>
                      <a:pt x="44" y="619"/>
                      <a:pt x="44" y="619"/>
                    </a:cubicBezTo>
                    <a:cubicBezTo>
                      <a:pt x="44" y="620"/>
                      <a:pt x="44" y="620"/>
                      <a:pt x="44" y="620"/>
                    </a:cubicBezTo>
                    <a:cubicBezTo>
                      <a:pt x="42" y="621"/>
                      <a:pt x="42" y="621"/>
                      <a:pt x="42" y="621"/>
                    </a:cubicBezTo>
                    <a:cubicBezTo>
                      <a:pt x="40" y="621"/>
                      <a:pt x="40" y="621"/>
                      <a:pt x="40" y="621"/>
                    </a:cubicBezTo>
                    <a:cubicBezTo>
                      <a:pt x="40" y="622"/>
                      <a:pt x="40" y="622"/>
                      <a:pt x="40" y="622"/>
                    </a:cubicBezTo>
                    <a:cubicBezTo>
                      <a:pt x="43" y="625"/>
                      <a:pt x="43" y="625"/>
                      <a:pt x="43" y="625"/>
                    </a:cubicBezTo>
                    <a:cubicBezTo>
                      <a:pt x="41" y="626"/>
                      <a:pt x="41" y="626"/>
                      <a:pt x="41" y="626"/>
                    </a:cubicBezTo>
                    <a:cubicBezTo>
                      <a:pt x="39" y="625"/>
                      <a:pt x="39" y="625"/>
                      <a:pt x="39" y="625"/>
                    </a:cubicBezTo>
                    <a:cubicBezTo>
                      <a:pt x="38" y="628"/>
                      <a:pt x="38" y="628"/>
                      <a:pt x="38" y="628"/>
                    </a:cubicBezTo>
                    <a:cubicBezTo>
                      <a:pt x="37" y="634"/>
                      <a:pt x="37" y="634"/>
                      <a:pt x="37" y="634"/>
                    </a:cubicBezTo>
                    <a:cubicBezTo>
                      <a:pt x="36" y="631"/>
                      <a:pt x="36" y="631"/>
                      <a:pt x="36" y="631"/>
                    </a:cubicBezTo>
                    <a:cubicBezTo>
                      <a:pt x="36" y="627"/>
                      <a:pt x="36" y="627"/>
                      <a:pt x="36" y="627"/>
                    </a:cubicBezTo>
                    <a:cubicBezTo>
                      <a:pt x="34" y="625"/>
                      <a:pt x="34" y="625"/>
                      <a:pt x="34" y="625"/>
                    </a:cubicBezTo>
                    <a:cubicBezTo>
                      <a:pt x="30" y="624"/>
                      <a:pt x="30" y="624"/>
                      <a:pt x="30" y="624"/>
                    </a:cubicBezTo>
                    <a:cubicBezTo>
                      <a:pt x="30" y="625"/>
                      <a:pt x="30" y="625"/>
                      <a:pt x="30" y="625"/>
                    </a:cubicBezTo>
                    <a:cubicBezTo>
                      <a:pt x="30" y="629"/>
                      <a:pt x="30" y="629"/>
                      <a:pt x="30" y="629"/>
                    </a:cubicBezTo>
                    <a:cubicBezTo>
                      <a:pt x="28" y="632"/>
                      <a:pt x="28" y="632"/>
                      <a:pt x="28" y="632"/>
                    </a:cubicBezTo>
                    <a:cubicBezTo>
                      <a:pt x="24" y="631"/>
                      <a:pt x="24" y="631"/>
                      <a:pt x="24" y="631"/>
                    </a:cubicBezTo>
                    <a:cubicBezTo>
                      <a:pt x="21" y="631"/>
                      <a:pt x="21" y="631"/>
                      <a:pt x="21" y="631"/>
                    </a:cubicBezTo>
                    <a:cubicBezTo>
                      <a:pt x="22" y="637"/>
                      <a:pt x="22" y="637"/>
                      <a:pt x="22" y="637"/>
                    </a:cubicBezTo>
                    <a:cubicBezTo>
                      <a:pt x="19" y="642"/>
                      <a:pt x="19" y="642"/>
                      <a:pt x="19" y="642"/>
                    </a:cubicBezTo>
                    <a:cubicBezTo>
                      <a:pt x="15" y="643"/>
                      <a:pt x="15" y="643"/>
                      <a:pt x="15" y="643"/>
                    </a:cubicBezTo>
                    <a:cubicBezTo>
                      <a:pt x="10" y="648"/>
                      <a:pt x="10" y="648"/>
                      <a:pt x="10" y="648"/>
                    </a:cubicBezTo>
                    <a:cubicBezTo>
                      <a:pt x="10" y="656"/>
                      <a:pt x="10" y="656"/>
                      <a:pt x="10" y="656"/>
                    </a:cubicBezTo>
                    <a:cubicBezTo>
                      <a:pt x="7" y="656"/>
                      <a:pt x="7" y="656"/>
                      <a:pt x="7" y="656"/>
                    </a:cubicBezTo>
                    <a:cubicBezTo>
                      <a:pt x="7" y="656"/>
                      <a:pt x="7" y="656"/>
                      <a:pt x="7" y="656"/>
                    </a:cubicBezTo>
                    <a:cubicBezTo>
                      <a:pt x="3" y="659"/>
                      <a:pt x="3" y="659"/>
                      <a:pt x="3" y="659"/>
                    </a:cubicBezTo>
                    <a:cubicBezTo>
                      <a:pt x="0" y="661"/>
                      <a:pt x="0" y="661"/>
                      <a:pt x="0" y="661"/>
                    </a:cubicBezTo>
                    <a:cubicBezTo>
                      <a:pt x="3" y="662"/>
                      <a:pt x="3" y="662"/>
                      <a:pt x="3" y="662"/>
                    </a:cubicBezTo>
                    <a:cubicBezTo>
                      <a:pt x="2" y="668"/>
                      <a:pt x="2" y="668"/>
                      <a:pt x="2" y="668"/>
                    </a:cubicBezTo>
                    <a:cubicBezTo>
                      <a:pt x="0" y="676"/>
                      <a:pt x="0" y="676"/>
                      <a:pt x="0" y="676"/>
                    </a:cubicBezTo>
                    <a:cubicBezTo>
                      <a:pt x="3" y="679"/>
                      <a:pt x="3" y="679"/>
                      <a:pt x="3" y="679"/>
                    </a:cubicBezTo>
                    <a:cubicBezTo>
                      <a:pt x="6" y="689"/>
                      <a:pt x="6" y="689"/>
                      <a:pt x="6" y="689"/>
                    </a:cubicBezTo>
                    <a:cubicBezTo>
                      <a:pt x="9" y="690"/>
                      <a:pt x="9" y="690"/>
                      <a:pt x="9" y="690"/>
                    </a:cubicBezTo>
                    <a:cubicBezTo>
                      <a:pt x="14" y="693"/>
                      <a:pt x="14" y="693"/>
                      <a:pt x="14" y="693"/>
                    </a:cubicBezTo>
                    <a:cubicBezTo>
                      <a:pt x="16" y="698"/>
                      <a:pt x="16" y="698"/>
                      <a:pt x="16" y="698"/>
                    </a:cubicBezTo>
                    <a:cubicBezTo>
                      <a:pt x="18" y="702"/>
                      <a:pt x="18" y="702"/>
                      <a:pt x="18" y="702"/>
                    </a:cubicBezTo>
                    <a:cubicBezTo>
                      <a:pt x="26" y="708"/>
                      <a:pt x="26" y="708"/>
                      <a:pt x="26" y="708"/>
                    </a:cubicBezTo>
                    <a:cubicBezTo>
                      <a:pt x="28" y="711"/>
                      <a:pt x="28" y="711"/>
                      <a:pt x="28" y="711"/>
                    </a:cubicBezTo>
                    <a:cubicBezTo>
                      <a:pt x="27" y="717"/>
                      <a:pt x="27" y="717"/>
                      <a:pt x="27" y="717"/>
                    </a:cubicBezTo>
                    <a:cubicBezTo>
                      <a:pt x="23" y="725"/>
                      <a:pt x="23" y="725"/>
                      <a:pt x="23" y="725"/>
                    </a:cubicBezTo>
                    <a:cubicBezTo>
                      <a:pt x="20" y="735"/>
                      <a:pt x="20" y="735"/>
                      <a:pt x="20" y="735"/>
                    </a:cubicBezTo>
                    <a:cubicBezTo>
                      <a:pt x="24" y="741"/>
                      <a:pt x="24" y="741"/>
                      <a:pt x="24" y="741"/>
                    </a:cubicBezTo>
                    <a:cubicBezTo>
                      <a:pt x="26" y="747"/>
                      <a:pt x="26" y="747"/>
                      <a:pt x="26" y="747"/>
                    </a:cubicBezTo>
                    <a:cubicBezTo>
                      <a:pt x="33" y="763"/>
                      <a:pt x="33" y="763"/>
                      <a:pt x="33" y="763"/>
                    </a:cubicBezTo>
                    <a:cubicBezTo>
                      <a:pt x="41" y="786"/>
                      <a:pt x="41" y="786"/>
                      <a:pt x="41" y="786"/>
                    </a:cubicBezTo>
                    <a:cubicBezTo>
                      <a:pt x="38" y="787"/>
                      <a:pt x="38" y="787"/>
                      <a:pt x="38" y="787"/>
                    </a:cubicBezTo>
                    <a:cubicBezTo>
                      <a:pt x="37" y="801"/>
                      <a:pt x="37" y="801"/>
                      <a:pt x="37" y="801"/>
                    </a:cubicBezTo>
                    <a:cubicBezTo>
                      <a:pt x="37" y="805"/>
                      <a:pt x="37" y="805"/>
                      <a:pt x="37" y="805"/>
                    </a:cubicBezTo>
                    <a:cubicBezTo>
                      <a:pt x="41" y="806"/>
                      <a:pt x="41" y="806"/>
                      <a:pt x="41" y="806"/>
                    </a:cubicBezTo>
                    <a:cubicBezTo>
                      <a:pt x="38" y="810"/>
                      <a:pt x="38" y="810"/>
                      <a:pt x="38" y="810"/>
                    </a:cubicBezTo>
                    <a:cubicBezTo>
                      <a:pt x="38" y="817"/>
                      <a:pt x="38" y="817"/>
                      <a:pt x="38" y="817"/>
                    </a:cubicBezTo>
                    <a:cubicBezTo>
                      <a:pt x="41" y="821"/>
                      <a:pt x="41" y="821"/>
                      <a:pt x="41" y="821"/>
                    </a:cubicBezTo>
                    <a:cubicBezTo>
                      <a:pt x="45" y="822"/>
                      <a:pt x="45" y="822"/>
                      <a:pt x="45" y="822"/>
                    </a:cubicBezTo>
                    <a:cubicBezTo>
                      <a:pt x="47" y="826"/>
                      <a:pt x="47" y="826"/>
                      <a:pt x="47" y="826"/>
                    </a:cubicBezTo>
                    <a:cubicBezTo>
                      <a:pt x="45" y="828"/>
                      <a:pt x="45" y="828"/>
                      <a:pt x="45" y="828"/>
                    </a:cubicBezTo>
                    <a:cubicBezTo>
                      <a:pt x="46" y="836"/>
                      <a:pt x="46" y="836"/>
                      <a:pt x="46" y="836"/>
                    </a:cubicBezTo>
                    <a:cubicBezTo>
                      <a:pt x="48" y="841"/>
                      <a:pt x="48" y="841"/>
                      <a:pt x="48" y="841"/>
                    </a:cubicBezTo>
                    <a:cubicBezTo>
                      <a:pt x="53" y="846"/>
                      <a:pt x="53" y="846"/>
                      <a:pt x="53" y="846"/>
                    </a:cubicBezTo>
                    <a:cubicBezTo>
                      <a:pt x="54" y="852"/>
                      <a:pt x="54" y="852"/>
                      <a:pt x="54" y="852"/>
                    </a:cubicBezTo>
                    <a:cubicBezTo>
                      <a:pt x="50" y="858"/>
                      <a:pt x="50" y="858"/>
                      <a:pt x="50" y="858"/>
                    </a:cubicBezTo>
                    <a:cubicBezTo>
                      <a:pt x="49" y="864"/>
                      <a:pt x="49" y="864"/>
                      <a:pt x="49" y="864"/>
                    </a:cubicBezTo>
                    <a:cubicBezTo>
                      <a:pt x="57" y="878"/>
                      <a:pt x="57" y="878"/>
                      <a:pt x="57" y="878"/>
                    </a:cubicBezTo>
                    <a:cubicBezTo>
                      <a:pt x="62" y="880"/>
                      <a:pt x="62" y="880"/>
                      <a:pt x="62" y="880"/>
                    </a:cubicBezTo>
                    <a:cubicBezTo>
                      <a:pt x="70" y="891"/>
                      <a:pt x="70" y="891"/>
                      <a:pt x="70" y="891"/>
                    </a:cubicBezTo>
                    <a:cubicBezTo>
                      <a:pt x="71" y="898"/>
                      <a:pt x="71" y="898"/>
                      <a:pt x="71" y="898"/>
                    </a:cubicBezTo>
                    <a:cubicBezTo>
                      <a:pt x="66" y="913"/>
                      <a:pt x="66" y="913"/>
                      <a:pt x="66" y="913"/>
                    </a:cubicBezTo>
                    <a:cubicBezTo>
                      <a:pt x="58" y="928"/>
                      <a:pt x="58" y="928"/>
                      <a:pt x="58" y="928"/>
                    </a:cubicBezTo>
                    <a:cubicBezTo>
                      <a:pt x="54" y="939"/>
                      <a:pt x="54" y="939"/>
                      <a:pt x="54" y="939"/>
                    </a:cubicBezTo>
                    <a:cubicBezTo>
                      <a:pt x="49" y="948"/>
                      <a:pt x="49" y="948"/>
                      <a:pt x="49" y="948"/>
                    </a:cubicBezTo>
                    <a:cubicBezTo>
                      <a:pt x="44" y="959"/>
                      <a:pt x="44" y="959"/>
                      <a:pt x="44" y="959"/>
                    </a:cubicBezTo>
                    <a:cubicBezTo>
                      <a:pt x="40" y="961"/>
                      <a:pt x="40" y="961"/>
                      <a:pt x="40" y="961"/>
                    </a:cubicBezTo>
                    <a:cubicBezTo>
                      <a:pt x="32" y="971"/>
                      <a:pt x="32" y="971"/>
                      <a:pt x="32" y="971"/>
                    </a:cubicBezTo>
                    <a:cubicBezTo>
                      <a:pt x="32" y="977"/>
                      <a:pt x="32" y="977"/>
                      <a:pt x="32" y="977"/>
                    </a:cubicBezTo>
                    <a:cubicBezTo>
                      <a:pt x="32" y="977"/>
                      <a:pt x="32" y="977"/>
                      <a:pt x="32" y="977"/>
                    </a:cubicBezTo>
                    <a:cubicBezTo>
                      <a:pt x="33" y="976"/>
                      <a:pt x="33" y="976"/>
                      <a:pt x="33" y="976"/>
                    </a:cubicBezTo>
                    <a:cubicBezTo>
                      <a:pt x="34" y="976"/>
                      <a:pt x="38" y="973"/>
                      <a:pt x="38" y="973"/>
                    </a:cubicBezTo>
                    <a:cubicBezTo>
                      <a:pt x="42" y="972"/>
                      <a:pt x="42" y="972"/>
                      <a:pt x="42" y="972"/>
                    </a:cubicBezTo>
                    <a:cubicBezTo>
                      <a:pt x="40" y="974"/>
                      <a:pt x="40" y="974"/>
                      <a:pt x="40" y="974"/>
                    </a:cubicBezTo>
                    <a:cubicBezTo>
                      <a:pt x="41" y="977"/>
                      <a:pt x="41" y="977"/>
                      <a:pt x="41" y="977"/>
                    </a:cubicBezTo>
                    <a:cubicBezTo>
                      <a:pt x="41" y="981"/>
                      <a:pt x="41" y="981"/>
                      <a:pt x="41" y="981"/>
                    </a:cubicBezTo>
                    <a:cubicBezTo>
                      <a:pt x="37" y="977"/>
                      <a:pt x="37" y="977"/>
                      <a:pt x="37" y="977"/>
                    </a:cubicBezTo>
                    <a:cubicBezTo>
                      <a:pt x="36" y="980"/>
                      <a:pt x="36" y="980"/>
                      <a:pt x="36" y="980"/>
                    </a:cubicBezTo>
                    <a:cubicBezTo>
                      <a:pt x="41" y="985"/>
                      <a:pt x="41" y="985"/>
                      <a:pt x="41" y="985"/>
                    </a:cubicBezTo>
                    <a:cubicBezTo>
                      <a:pt x="45" y="986"/>
                      <a:pt x="45" y="986"/>
                      <a:pt x="45" y="986"/>
                    </a:cubicBezTo>
                    <a:cubicBezTo>
                      <a:pt x="47" y="990"/>
                      <a:pt x="47" y="990"/>
                      <a:pt x="47" y="990"/>
                    </a:cubicBezTo>
                    <a:cubicBezTo>
                      <a:pt x="51" y="990"/>
                      <a:pt x="51" y="990"/>
                      <a:pt x="51" y="990"/>
                    </a:cubicBezTo>
                    <a:cubicBezTo>
                      <a:pt x="53" y="989"/>
                      <a:pt x="53" y="989"/>
                      <a:pt x="53" y="989"/>
                    </a:cubicBezTo>
                    <a:cubicBezTo>
                      <a:pt x="56" y="989"/>
                      <a:pt x="56" y="989"/>
                      <a:pt x="56" y="989"/>
                    </a:cubicBezTo>
                    <a:cubicBezTo>
                      <a:pt x="59" y="995"/>
                      <a:pt x="59" y="995"/>
                      <a:pt x="59" y="995"/>
                    </a:cubicBezTo>
                    <a:cubicBezTo>
                      <a:pt x="57" y="998"/>
                      <a:pt x="57" y="998"/>
                      <a:pt x="57" y="998"/>
                    </a:cubicBezTo>
                    <a:cubicBezTo>
                      <a:pt x="51" y="996"/>
                      <a:pt x="51" y="996"/>
                      <a:pt x="51" y="996"/>
                    </a:cubicBezTo>
                    <a:cubicBezTo>
                      <a:pt x="49" y="997"/>
                      <a:pt x="49" y="997"/>
                      <a:pt x="49" y="997"/>
                    </a:cubicBezTo>
                    <a:cubicBezTo>
                      <a:pt x="48" y="1001"/>
                      <a:pt x="48" y="1001"/>
                      <a:pt x="48" y="1001"/>
                    </a:cubicBezTo>
                    <a:cubicBezTo>
                      <a:pt x="44" y="1005"/>
                      <a:pt x="44" y="1005"/>
                      <a:pt x="44" y="1005"/>
                    </a:cubicBezTo>
                    <a:cubicBezTo>
                      <a:pt x="40" y="1002"/>
                      <a:pt x="40" y="1002"/>
                      <a:pt x="40" y="1002"/>
                    </a:cubicBezTo>
                    <a:cubicBezTo>
                      <a:pt x="38" y="1004"/>
                      <a:pt x="38" y="1004"/>
                      <a:pt x="38" y="1004"/>
                    </a:cubicBezTo>
                    <a:cubicBezTo>
                      <a:pt x="39" y="1008"/>
                      <a:pt x="39" y="1008"/>
                      <a:pt x="39" y="1008"/>
                    </a:cubicBezTo>
                    <a:cubicBezTo>
                      <a:pt x="35" y="1009"/>
                      <a:pt x="35" y="1009"/>
                      <a:pt x="35" y="1009"/>
                    </a:cubicBezTo>
                    <a:cubicBezTo>
                      <a:pt x="34" y="1006"/>
                      <a:pt x="34" y="1006"/>
                      <a:pt x="34" y="1006"/>
                    </a:cubicBezTo>
                    <a:cubicBezTo>
                      <a:pt x="32" y="1006"/>
                      <a:pt x="32" y="1006"/>
                      <a:pt x="32" y="1006"/>
                    </a:cubicBezTo>
                    <a:cubicBezTo>
                      <a:pt x="32" y="1009"/>
                      <a:pt x="32" y="1009"/>
                      <a:pt x="32" y="1009"/>
                    </a:cubicBezTo>
                    <a:cubicBezTo>
                      <a:pt x="34" y="1012"/>
                      <a:pt x="34" y="1012"/>
                      <a:pt x="34" y="1012"/>
                    </a:cubicBezTo>
                    <a:cubicBezTo>
                      <a:pt x="33" y="1017"/>
                      <a:pt x="33" y="1017"/>
                      <a:pt x="33" y="1017"/>
                    </a:cubicBezTo>
                    <a:cubicBezTo>
                      <a:pt x="33" y="1017"/>
                      <a:pt x="33" y="1017"/>
                      <a:pt x="33" y="1017"/>
                    </a:cubicBezTo>
                    <a:cubicBezTo>
                      <a:pt x="34" y="1021"/>
                      <a:pt x="34" y="1021"/>
                      <a:pt x="34" y="1021"/>
                    </a:cubicBezTo>
                    <a:cubicBezTo>
                      <a:pt x="35" y="1022"/>
                      <a:pt x="35" y="1022"/>
                      <a:pt x="35" y="1022"/>
                    </a:cubicBezTo>
                    <a:cubicBezTo>
                      <a:pt x="34" y="1023"/>
                      <a:pt x="34" y="1023"/>
                      <a:pt x="34" y="1023"/>
                    </a:cubicBezTo>
                    <a:cubicBezTo>
                      <a:pt x="31" y="1027"/>
                      <a:pt x="31" y="1027"/>
                      <a:pt x="31" y="1027"/>
                    </a:cubicBezTo>
                    <a:cubicBezTo>
                      <a:pt x="30" y="1034"/>
                      <a:pt x="30" y="1034"/>
                      <a:pt x="30" y="1034"/>
                    </a:cubicBezTo>
                    <a:cubicBezTo>
                      <a:pt x="28" y="1035"/>
                      <a:pt x="28" y="1035"/>
                      <a:pt x="28" y="1035"/>
                    </a:cubicBezTo>
                    <a:cubicBezTo>
                      <a:pt x="27" y="1052"/>
                      <a:pt x="27" y="1052"/>
                      <a:pt x="27" y="1052"/>
                    </a:cubicBezTo>
                    <a:cubicBezTo>
                      <a:pt x="35" y="1070"/>
                      <a:pt x="35" y="1070"/>
                      <a:pt x="35" y="1070"/>
                    </a:cubicBezTo>
                    <a:cubicBezTo>
                      <a:pt x="35" y="1074"/>
                      <a:pt x="35" y="1074"/>
                      <a:pt x="35" y="1074"/>
                    </a:cubicBezTo>
                    <a:cubicBezTo>
                      <a:pt x="32" y="1077"/>
                      <a:pt x="32" y="1077"/>
                      <a:pt x="32" y="1077"/>
                    </a:cubicBezTo>
                    <a:cubicBezTo>
                      <a:pt x="33" y="1082"/>
                      <a:pt x="33" y="1082"/>
                      <a:pt x="33" y="1082"/>
                    </a:cubicBezTo>
                    <a:cubicBezTo>
                      <a:pt x="30" y="1086"/>
                      <a:pt x="30" y="1086"/>
                      <a:pt x="30" y="1086"/>
                    </a:cubicBezTo>
                    <a:cubicBezTo>
                      <a:pt x="33" y="1087"/>
                      <a:pt x="33" y="1087"/>
                      <a:pt x="33" y="1087"/>
                    </a:cubicBezTo>
                    <a:cubicBezTo>
                      <a:pt x="34" y="1091"/>
                      <a:pt x="34" y="1091"/>
                      <a:pt x="34" y="1091"/>
                    </a:cubicBezTo>
                    <a:cubicBezTo>
                      <a:pt x="33" y="1093"/>
                      <a:pt x="33" y="1093"/>
                      <a:pt x="33" y="1093"/>
                    </a:cubicBezTo>
                    <a:cubicBezTo>
                      <a:pt x="35" y="1095"/>
                      <a:pt x="35" y="1095"/>
                      <a:pt x="35" y="1095"/>
                    </a:cubicBezTo>
                    <a:cubicBezTo>
                      <a:pt x="36" y="1098"/>
                      <a:pt x="36" y="1098"/>
                      <a:pt x="36" y="1098"/>
                    </a:cubicBezTo>
                    <a:cubicBezTo>
                      <a:pt x="35" y="1101"/>
                      <a:pt x="35" y="1101"/>
                      <a:pt x="35" y="1101"/>
                    </a:cubicBezTo>
                    <a:cubicBezTo>
                      <a:pt x="38" y="1106"/>
                      <a:pt x="38" y="1106"/>
                      <a:pt x="38" y="1106"/>
                    </a:cubicBezTo>
                    <a:cubicBezTo>
                      <a:pt x="39" y="1109"/>
                      <a:pt x="39" y="1109"/>
                      <a:pt x="39" y="1109"/>
                    </a:cubicBezTo>
                    <a:cubicBezTo>
                      <a:pt x="41" y="1115"/>
                      <a:pt x="41" y="1115"/>
                      <a:pt x="41" y="1115"/>
                    </a:cubicBezTo>
                    <a:cubicBezTo>
                      <a:pt x="43" y="1119"/>
                      <a:pt x="43" y="1119"/>
                      <a:pt x="43" y="1119"/>
                    </a:cubicBezTo>
                    <a:cubicBezTo>
                      <a:pt x="44" y="1125"/>
                      <a:pt x="44" y="1125"/>
                      <a:pt x="44" y="1125"/>
                    </a:cubicBezTo>
                    <a:cubicBezTo>
                      <a:pt x="45" y="1125"/>
                      <a:pt x="45" y="1125"/>
                      <a:pt x="45" y="1125"/>
                    </a:cubicBezTo>
                    <a:cubicBezTo>
                      <a:pt x="49" y="1127"/>
                      <a:pt x="49" y="1127"/>
                      <a:pt x="49" y="1127"/>
                    </a:cubicBezTo>
                    <a:cubicBezTo>
                      <a:pt x="52" y="1124"/>
                      <a:pt x="52" y="1124"/>
                      <a:pt x="52" y="1124"/>
                    </a:cubicBezTo>
                    <a:cubicBezTo>
                      <a:pt x="56" y="1131"/>
                      <a:pt x="56" y="1131"/>
                      <a:pt x="56" y="1131"/>
                    </a:cubicBezTo>
                    <a:cubicBezTo>
                      <a:pt x="61" y="1129"/>
                      <a:pt x="61" y="1129"/>
                      <a:pt x="61" y="1129"/>
                    </a:cubicBezTo>
                    <a:cubicBezTo>
                      <a:pt x="65" y="1129"/>
                      <a:pt x="65" y="1129"/>
                      <a:pt x="65" y="1129"/>
                    </a:cubicBezTo>
                    <a:cubicBezTo>
                      <a:pt x="68" y="1137"/>
                      <a:pt x="68" y="1137"/>
                      <a:pt x="68" y="1137"/>
                    </a:cubicBezTo>
                    <a:cubicBezTo>
                      <a:pt x="73" y="1132"/>
                      <a:pt x="73" y="1132"/>
                      <a:pt x="73" y="1132"/>
                    </a:cubicBezTo>
                    <a:cubicBezTo>
                      <a:pt x="78" y="1130"/>
                      <a:pt x="78" y="1130"/>
                      <a:pt x="78" y="1130"/>
                    </a:cubicBezTo>
                    <a:cubicBezTo>
                      <a:pt x="80" y="1134"/>
                      <a:pt x="80" y="1134"/>
                      <a:pt x="80" y="1134"/>
                    </a:cubicBezTo>
                    <a:cubicBezTo>
                      <a:pt x="83" y="1134"/>
                      <a:pt x="83" y="1134"/>
                      <a:pt x="83" y="1134"/>
                    </a:cubicBezTo>
                    <a:cubicBezTo>
                      <a:pt x="91" y="1137"/>
                      <a:pt x="91" y="1137"/>
                      <a:pt x="91" y="1137"/>
                    </a:cubicBezTo>
                    <a:cubicBezTo>
                      <a:pt x="92" y="1142"/>
                      <a:pt x="92" y="1142"/>
                      <a:pt x="92" y="1142"/>
                    </a:cubicBezTo>
                    <a:cubicBezTo>
                      <a:pt x="90" y="1148"/>
                      <a:pt x="90" y="1148"/>
                      <a:pt x="90" y="1148"/>
                    </a:cubicBezTo>
                    <a:cubicBezTo>
                      <a:pt x="93" y="1152"/>
                      <a:pt x="93" y="1152"/>
                      <a:pt x="93" y="1152"/>
                    </a:cubicBezTo>
                    <a:cubicBezTo>
                      <a:pt x="93" y="1159"/>
                      <a:pt x="93" y="1159"/>
                      <a:pt x="93" y="1159"/>
                    </a:cubicBezTo>
                    <a:cubicBezTo>
                      <a:pt x="98" y="1164"/>
                      <a:pt x="98" y="1164"/>
                      <a:pt x="98" y="1164"/>
                    </a:cubicBezTo>
                    <a:cubicBezTo>
                      <a:pt x="100" y="1170"/>
                      <a:pt x="100" y="1170"/>
                      <a:pt x="100" y="1170"/>
                    </a:cubicBezTo>
                    <a:cubicBezTo>
                      <a:pt x="105" y="1178"/>
                      <a:pt x="105" y="1178"/>
                      <a:pt x="105" y="1178"/>
                    </a:cubicBezTo>
                    <a:cubicBezTo>
                      <a:pt x="108" y="1181"/>
                      <a:pt x="108" y="1181"/>
                      <a:pt x="108" y="1181"/>
                    </a:cubicBezTo>
                    <a:cubicBezTo>
                      <a:pt x="110" y="1188"/>
                      <a:pt x="110" y="1188"/>
                      <a:pt x="110" y="1188"/>
                    </a:cubicBezTo>
                    <a:cubicBezTo>
                      <a:pt x="116" y="1190"/>
                      <a:pt x="116" y="1190"/>
                      <a:pt x="116" y="1190"/>
                    </a:cubicBezTo>
                    <a:cubicBezTo>
                      <a:pt x="123" y="1198"/>
                      <a:pt x="123" y="1198"/>
                      <a:pt x="123" y="1198"/>
                    </a:cubicBezTo>
                    <a:cubicBezTo>
                      <a:pt x="123" y="1202"/>
                      <a:pt x="123" y="1202"/>
                      <a:pt x="123" y="1202"/>
                    </a:cubicBezTo>
                    <a:cubicBezTo>
                      <a:pt x="128" y="1206"/>
                      <a:pt x="128" y="1206"/>
                      <a:pt x="128" y="1206"/>
                    </a:cubicBezTo>
                    <a:cubicBezTo>
                      <a:pt x="126" y="1208"/>
                      <a:pt x="126" y="1208"/>
                      <a:pt x="126" y="1208"/>
                    </a:cubicBezTo>
                    <a:cubicBezTo>
                      <a:pt x="122" y="1215"/>
                      <a:pt x="122" y="1215"/>
                      <a:pt x="122" y="1215"/>
                    </a:cubicBezTo>
                    <a:cubicBezTo>
                      <a:pt x="113" y="1217"/>
                      <a:pt x="113" y="1217"/>
                      <a:pt x="113" y="1217"/>
                    </a:cubicBezTo>
                    <a:cubicBezTo>
                      <a:pt x="109" y="1212"/>
                      <a:pt x="109" y="1212"/>
                      <a:pt x="109" y="1212"/>
                    </a:cubicBezTo>
                    <a:cubicBezTo>
                      <a:pt x="107" y="1216"/>
                      <a:pt x="107" y="1216"/>
                      <a:pt x="107" y="1216"/>
                    </a:cubicBezTo>
                    <a:cubicBezTo>
                      <a:pt x="107" y="1221"/>
                      <a:pt x="107" y="1221"/>
                      <a:pt x="107" y="1221"/>
                    </a:cubicBezTo>
                    <a:cubicBezTo>
                      <a:pt x="111" y="1228"/>
                      <a:pt x="111" y="1228"/>
                      <a:pt x="111" y="1228"/>
                    </a:cubicBezTo>
                    <a:cubicBezTo>
                      <a:pt x="111" y="1234"/>
                      <a:pt x="111" y="1234"/>
                      <a:pt x="111" y="1234"/>
                    </a:cubicBezTo>
                    <a:cubicBezTo>
                      <a:pt x="115" y="1240"/>
                      <a:pt x="115" y="1240"/>
                      <a:pt x="115" y="1240"/>
                    </a:cubicBezTo>
                    <a:cubicBezTo>
                      <a:pt x="115" y="1245"/>
                      <a:pt x="115" y="1245"/>
                      <a:pt x="115" y="1245"/>
                    </a:cubicBezTo>
                    <a:cubicBezTo>
                      <a:pt x="118" y="1246"/>
                      <a:pt x="118" y="1246"/>
                      <a:pt x="118" y="1246"/>
                    </a:cubicBezTo>
                    <a:cubicBezTo>
                      <a:pt x="122" y="1245"/>
                      <a:pt x="122" y="1245"/>
                      <a:pt x="122" y="1245"/>
                    </a:cubicBezTo>
                    <a:cubicBezTo>
                      <a:pt x="122" y="1240"/>
                      <a:pt x="122" y="1240"/>
                      <a:pt x="122" y="1240"/>
                    </a:cubicBezTo>
                    <a:cubicBezTo>
                      <a:pt x="124" y="1237"/>
                      <a:pt x="124" y="1237"/>
                      <a:pt x="124" y="1237"/>
                    </a:cubicBezTo>
                    <a:cubicBezTo>
                      <a:pt x="133" y="1241"/>
                      <a:pt x="133" y="1241"/>
                      <a:pt x="133" y="1241"/>
                    </a:cubicBezTo>
                    <a:cubicBezTo>
                      <a:pt x="143" y="1241"/>
                      <a:pt x="143" y="1241"/>
                      <a:pt x="143" y="1241"/>
                    </a:cubicBezTo>
                    <a:cubicBezTo>
                      <a:pt x="147" y="1238"/>
                      <a:pt x="147" y="1238"/>
                      <a:pt x="147" y="1238"/>
                    </a:cubicBezTo>
                    <a:cubicBezTo>
                      <a:pt x="151" y="1238"/>
                      <a:pt x="151" y="1238"/>
                      <a:pt x="151" y="1238"/>
                    </a:cubicBezTo>
                    <a:cubicBezTo>
                      <a:pt x="154" y="1248"/>
                      <a:pt x="154" y="1248"/>
                      <a:pt x="154" y="1248"/>
                    </a:cubicBezTo>
                    <a:cubicBezTo>
                      <a:pt x="158" y="1252"/>
                      <a:pt x="158" y="1252"/>
                      <a:pt x="158" y="1252"/>
                    </a:cubicBezTo>
                    <a:cubicBezTo>
                      <a:pt x="156" y="1257"/>
                      <a:pt x="156" y="1257"/>
                      <a:pt x="156" y="1257"/>
                    </a:cubicBezTo>
                    <a:cubicBezTo>
                      <a:pt x="161" y="1265"/>
                      <a:pt x="161" y="1265"/>
                      <a:pt x="161" y="1265"/>
                    </a:cubicBezTo>
                    <a:cubicBezTo>
                      <a:pt x="171" y="1263"/>
                      <a:pt x="171" y="1263"/>
                      <a:pt x="171" y="1263"/>
                    </a:cubicBezTo>
                    <a:cubicBezTo>
                      <a:pt x="175" y="1267"/>
                      <a:pt x="175" y="1267"/>
                      <a:pt x="175" y="1267"/>
                    </a:cubicBezTo>
                    <a:cubicBezTo>
                      <a:pt x="175" y="1272"/>
                      <a:pt x="175" y="1272"/>
                      <a:pt x="175" y="1272"/>
                    </a:cubicBezTo>
                    <a:cubicBezTo>
                      <a:pt x="179" y="1272"/>
                      <a:pt x="179" y="1272"/>
                      <a:pt x="179" y="1272"/>
                    </a:cubicBezTo>
                    <a:cubicBezTo>
                      <a:pt x="179" y="1278"/>
                      <a:pt x="179" y="1278"/>
                      <a:pt x="179" y="1278"/>
                    </a:cubicBezTo>
                    <a:cubicBezTo>
                      <a:pt x="181" y="1285"/>
                      <a:pt x="181" y="1285"/>
                      <a:pt x="181" y="1285"/>
                    </a:cubicBezTo>
                    <a:cubicBezTo>
                      <a:pt x="189" y="1295"/>
                      <a:pt x="189" y="1295"/>
                      <a:pt x="189" y="1295"/>
                    </a:cubicBezTo>
                    <a:cubicBezTo>
                      <a:pt x="192" y="1290"/>
                      <a:pt x="192" y="1290"/>
                      <a:pt x="192" y="1290"/>
                    </a:cubicBezTo>
                    <a:cubicBezTo>
                      <a:pt x="197" y="1294"/>
                      <a:pt x="197" y="1294"/>
                      <a:pt x="197" y="1294"/>
                    </a:cubicBezTo>
                    <a:cubicBezTo>
                      <a:pt x="201" y="1292"/>
                      <a:pt x="201" y="1292"/>
                      <a:pt x="201" y="1292"/>
                    </a:cubicBezTo>
                    <a:cubicBezTo>
                      <a:pt x="205" y="1293"/>
                      <a:pt x="205" y="1293"/>
                      <a:pt x="205" y="1293"/>
                    </a:cubicBezTo>
                    <a:cubicBezTo>
                      <a:pt x="212" y="1288"/>
                      <a:pt x="212" y="1288"/>
                      <a:pt x="212" y="1288"/>
                    </a:cubicBezTo>
                    <a:cubicBezTo>
                      <a:pt x="214" y="1287"/>
                      <a:pt x="214" y="1287"/>
                      <a:pt x="214" y="1287"/>
                    </a:cubicBezTo>
                    <a:cubicBezTo>
                      <a:pt x="218" y="1298"/>
                      <a:pt x="218" y="1298"/>
                      <a:pt x="218" y="1298"/>
                    </a:cubicBezTo>
                    <a:cubicBezTo>
                      <a:pt x="224" y="1302"/>
                      <a:pt x="224" y="1302"/>
                      <a:pt x="224" y="1302"/>
                    </a:cubicBezTo>
                    <a:cubicBezTo>
                      <a:pt x="226" y="1306"/>
                      <a:pt x="226" y="1306"/>
                      <a:pt x="226" y="1306"/>
                    </a:cubicBezTo>
                    <a:cubicBezTo>
                      <a:pt x="228" y="1303"/>
                      <a:pt x="228" y="1303"/>
                      <a:pt x="228" y="1303"/>
                    </a:cubicBezTo>
                    <a:cubicBezTo>
                      <a:pt x="235" y="1305"/>
                      <a:pt x="235" y="1305"/>
                      <a:pt x="235" y="1305"/>
                    </a:cubicBezTo>
                    <a:cubicBezTo>
                      <a:pt x="240" y="1305"/>
                      <a:pt x="240" y="1305"/>
                      <a:pt x="240" y="1305"/>
                    </a:cubicBezTo>
                    <a:cubicBezTo>
                      <a:pt x="243" y="1308"/>
                      <a:pt x="243" y="1308"/>
                      <a:pt x="243" y="1308"/>
                    </a:cubicBezTo>
                    <a:cubicBezTo>
                      <a:pt x="247" y="1307"/>
                      <a:pt x="247" y="1307"/>
                      <a:pt x="247" y="1307"/>
                    </a:cubicBezTo>
                    <a:cubicBezTo>
                      <a:pt x="252" y="1310"/>
                      <a:pt x="252" y="1310"/>
                      <a:pt x="252" y="1310"/>
                    </a:cubicBezTo>
                    <a:cubicBezTo>
                      <a:pt x="257" y="1312"/>
                      <a:pt x="257" y="1312"/>
                      <a:pt x="257" y="1312"/>
                    </a:cubicBezTo>
                    <a:cubicBezTo>
                      <a:pt x="260" y="1308"/>
                      <a:pt x="260" y="1308"/>
                      <a:pt x="260" y="1308"/>
                    </a:cubicBezTo>
                    <a:cubicBezTo>
                      <a:pt x="262" y="1313"/>
                      <a:pt x="262" y="1313"/>
                      <a:pt x="262" y="1313"/>
                    </a:cubicBezTo>
                    <a:cubicBezTo>
                      <a:pt x="264" y="1315"/>
                      <a:pt x="264" y="1315"/>
                      <a:pt x="264" y="1315"/>
                    </a:cubicBezTo>
                    <a:cubicBezTo>
                      <a:pt x="264" y="1321"/>
                      <a:pt x="264" y="1321"/>
                      <a:pt x="264" y="1321"/>
                    </a:cubicBezTo>
                    <a:cubicBezTo>
                      <a:pt x="261" y="1326"/>
                      <a:pt x="261" y="1326"/>
                      <a:pt x="261" y="1326"/>
                    </a:cubicBezTo>
                    <a:cubicBezTo>
                      <a:pt x="257" y="1327"/>
                      <a:pt x="257" y="1327"/>
                      <a:pt x="257" y="1327"/>
                    </a:cubicBezTo>
                    <a:cubicBezTo>
                      <a:pt x="256" y="1336"/>
                      <a:pt x="256" y="1336"/>
                      <a:pt x="256" y="1336"/>
                    </a:cubicBezTo>
                    <a:cubicBezTo>
                      <a:pt x="261" y="1341"/>
                      <a:pt x="261" y="1341"/>
                      <a:pt x="261" y="1341"/>
                    </a:cubicBezTo>
                    <a:cubicBezTo>
                      <a:pt x="262" y="1347"/>
                      <a:pt x="262" y="1347"/>
                      <a:pt x="262" y="1347"/>
                    </a:cubicBezTo>
                    <a:cubicBezTo>
                      <a:pt x="260" y="1355"/>
                      <a:pt x="260" y="1355"/>
                      <a:pt x="260" y="1355"/>
                    </a:cubicBezTo>
                    <a:cubicBezTo>
                      <a:pt x="261" y="1361"/>
                      <a:pt x="261" y="1361"/>
                      <a:pt x="261" y="1361"/>
                    </a:cubicBezTo>
                    <a:cubicBezTo>
                      <a:pt x="257" y="1364"/>
                      <a:pt x="257" y="1364"/>
                      <a:pt x="257" y="1364"/>
                    </a:cubicBezTo>
                    <a:cubicBezTo>
                      <a:pt x="249" y="1364"/>
                      <a:pt x="249" y="1364"/>
                      <a:pt x="249" y="1364"/>
                    </a:cubicBezTo>
                    <a:cubicBezTo>
                      <a:pt x="245" y="1372"/>
                      <a:pt x="245" y="1372"/>
                      <a:pt x="245" y="1372"/>
                    </a:cubicBezTo>
                    <a:cubicBezTo>
                      <a:pt x="242" y="1373"/>
                      <a:pt x="242" y="1373"/>
                      <a:pt x="242" y="1373"/>
                    </a:cubicBezTo>
                    <a:cubicBezTo>
                      <a:pt x="241" y="1383"/>
                      <a:pt x="241" y="1383"/>
                      <a:pt x="241" y="1383"/>
                    </a:cubicBezTo>
                    <a:cubicBezTo>
                      <a:pt x="241" y="1383"/>
                      <a:pt x="241" y="1383"/>
                      <a:pt x="241" y="1383"/>
                    </a:cubicBezTo>
                    <a:cubicBezTo>
                      <a:pt x="242" y="1383"/>
                      <a:pt x="242" y="1383"/>
                      <a:pt x="242" y="1383"/>
                    </a:cubicBezTo>
                    <a:cubicBezTo>
                      <a:pt x="246" y="1384"/>
                      <a:pt x="246" y="1384"/>
                      <a:pt x="246" y="1384"/>
                    </a:cubicBezTo>
                    <a:cubicBezTo>
                      <a:pt x="250" y="1380"/>
                      <a:pt x="250" y="1380"/>
                      <a:pt x="250" y="1380"/>
                    </a:cubicBezTo>
                    <a:cubicBezTo>
                      <a:pt x="255" y="1380"/>
                      <a:pt x="255" y="1380"/>
                      <a:pt x="255" y="1380"/>
                    </a:cubicBezTo>
                    <a:cubicBezTo>
                      <a:pt x="256" y="1382"/>
                      <a:pt x="256" y="1382"/>
                      <a:pt x="256" y="1382"/>
                    </a:cubicBezTo>
                    <a:cubicBezTo>
                      <a:pt x="255" y="1385"/>
                      <a:pt x="255" y="1385"/>
                      <a:pt x="255" y="1385"/>
                    </a:cubicBezTo>
                    <a:cubicBezTo>
                      <a:pt x="245" y="1391"/>
                      <a:pt x="245" y="1391"/>
                      <a:pt x="245" y="1391"/>
                    </a:cubicBezTo>
                    <a:cubicBezTo>
                      <a:pt x="241" y="1395"/>
                      <a:pt x="241" y="1395"/>
                      <a:pt x="241" y="1395"/>
                    </a:cubicBezTo>
                    <a:cubicBezTo>
                      <a:pt x="243" y="1397"/>
                      <a:pt x="243" y="1397"/>
                      <a:pt x="243" y="1397"/>
                    </a:cubicBezTo>
                    <a:cubicBezTo>
                      <a:pt x="245" y="1397"/>
                      <a:pt x="245" y="1397"/>
                      <a:pt x="245" y="1397"/>
                    </a:cubicBezTo>
                    <a:cubicBezTo>
                      <a:pt x="243" y="1400"/>
                      <a:pt x="243" y="1400"/>
                      <a:pt x="243" y="1400"/>
                    </a:cubicBezTo>
                    <a:cubicBezTo>
                      <a:pt x="239" y="1399"/>
                      <a:pt x="239" y="1399"/>
                      <a:pt x="239" y="1399"/>
                    </a:cubicBezTo>
                    <a:cubicBezTo>
                      <a:pt x="232" y="1400"/>
                      <a:pt x="232" y="1400"/>
                      <a:pt x="232" y="1400"/>
                    </a:cubicBezTo>
                    <a:cubicBezTo>
                      <a:pt x="235" y="1406"/>
                      <a:pt x="235" y="1406"/>
                      <a:pt x="235" y="1406"/>
                    </a:cubicBezTo>
                    <a:cubicBezTo>
                      <a:pt x="238" y="1410"/>
                      <a:pt x="238" y="1410"/>
                      <a:pt x="238" y="1410"/>
                    </a:cubicBezTo>
                    <a:cubicBezTo>
                      <a:pt x="240" y="1408"/>
                      <a:pt x="240" y="1408"/>
                      <a:pt x="240" y="1408"/>
                    </a:cubicBezTo>
                    <a:cubicBezTo>
                      <a:pt x="240" y="1410"/>
                      <a:pt x="240" y="1410"/>
                      <a:pt x="240" y="1410"/>
                    </a:cubicBezTo>
                    <a:cubicBezTo>
                      <a:pt x="244" y="1411"/>
                      <a:pt x="244" y="1411"/>
                      <a:pt x="244" y="1411"/>
                    </a:cubicBezTo>
                    <a:cubicBezTo>
                      <a:pt x="244" y="1413"/>
                      <a:pt x="244" y="1413"/>
                      <a:pt x="244" y="1413"/>
                    </a:cubicBezTo>
                    <a:cubicBezTo>
                      <a:pt x="242" y="1414"/>
                      <a:pt x="242" y="1414"/>
                      <a:pt x="242" y="1414"/>
                    </a:cubicBezTo>
                    <a:cubicBezTo>
                      <a:pt x="240" y="1416"/>
                      <a:pt x="240" y="1416"/>
                      <a:pt x="240" y="1416"/>
                    </a:cubicBezTo>
                    <a:cubicBezTo>
                      <a:pt x="238" y="1416"/>
                      <a:pt x="238" y="1416"/>
                      <a:pt x="238" y="1416"/>
                    </a:cubicBezTo>
                    <a:cubicBezTo>
                      <a:pt x="236" y="1417"/>
                      <a:pt x="236" y="1417"/>
                      <a:pt x="236" y="1417"/>
                    </a:cubicBezTo>
                    <a:cubicBezTo>
                      <a:pt x="236" y="1419"/>
                      <a:pt x="236" y="1419"/>
                      <a:pt x="236" y="1419"/>
                    </a:cubicBezTo>
                    <a:cubicBezTo>
                      <a:pt x="232" y="1424"/>
                      <a:pt x="232" y="1424"/>
                      <a:pt x="232" y="1424"/>
                    </a:cubicBezTo>
                    <a:cubicBezTo>
                      <a:pt x="232" y="1428"/>
                      <a:pt x="232" y="1428"/>
                      <a:pt x="232" y="1428"/>
                    </a:cubicBezTo>
                    <a:cubicBezTo>
                      <a:pt x="234" y="1430"/>
                      <a:pt x="234" y="1430"/>
                      <a:pt x="234" y="1430"/>
                    </a:cubicBezTo>
                    <a:cubicBezTo>
                      <a:pt x="233" y="1436"/>
                      <a:pt x="233" y="1436"/>
                      <a:pt x="233" y="1436"/>
                    </a:cubicBezTo>
                    <a:cubicBezTo>
                      <a:pt x="230" y="1435"/>
                      <a:pt x="230" y="1435"/>
                      <a:pt x="230" y="1435"/>
                    </a:cubicBezTo>
                    <a:cubicBezTo>
                      <a:pt x="229" y="1436"/>
                      <a:pt x="229" y="1436"/>
                      <a:pt x="229" y="1436"/>
                    </a:cubicBezTo>
                    <a:cubicBezTo>
                      <a:pt x="226" y="1433"/>
                      <a:pt x="226" y="1433"/>
                      <a:pt x="226" y="1433"/>
                    </a:cubicBezTo>
                    <a:cubicBezTo>
                      <a:pt x="222" y="1432"/>
                      <a:pt x="222" y="1432"/>
                      <a:pt x="222" y="1432"/>
                    </a:cubicBezTo>
                    <a:cubicBezTo>
                      <a:pt x="222" y="1434"/>
                      <a:pt x="222" y="1434"/>
                      <a:pt x="222" y="1434"/>
                    </a:cubicBezTo>
                    <a:cubicBezTo>
                      <a:pt x="223" y="1437"/>
                      <a:pt x="223" y="1437"/>
                      <a:pt x="223" y="1437"/>
                    </a:cubicBezTo>
                    <a:cubicBezTo>
                      <a:pt x="221" y="1439"/>
                      <a:pt x="221" y="1439"/>
                      <a:pt x="221" y="1439"/>
                    </a:cubicBezTo>
                    <a:cubicBezTo>
                      <a:pt x="218" y="1441"/>
                      <a:pt x="218" y="1441"/>
                      <a:pt x="218" y="1441"/>
                    </a:cubicBezTo>
                    <a:cubicBezTo>
                      <a:pt x="222" y="1442"/>
                      <a:pt x="222" y="1442"/>
                      <a:pt x="222" y="1442"/>
                    </a:cubicBezTo>
                    <a:cubicBezTo>
                      <a:pt x="224" y="1442"/>
                      <a:pt x="224" y="1442"/>
                      <a:pt x="224" y="1442"/>
                    </a:cubicBezTo>
                    <a:cubicBezTo>
                      <a:pt x="229" y="1447"/>
                      <a:pt x="229" y="1447"/>
                      <a:pt x="229" y="1447"/>
                    </a:cubicBezTo>
                    <a:cubicBezTo>
                      <a:pt x="230" y="1450"/>
                      <a:pt x="230" y="1450"/>
                      <a:pt x="230" y="1450"/>
                    </a:cubicBezTo>
                    <a:cubicBezTo>
                      <a:pt x="234" y="1455"/>
                      <a:pt x="234" y="1455"/>
                      <a:pt x="234" y="1455"/>
                    </a:cubicBezTo>
                    <a:cubicBezTo>
                      <a:pt x="240" y="1454"/>
                      <a:pt x="240" y="1454"/>
                      <a:pt x="240" y="1454"/>
                    </a:cubicBezTo>
                    <a:cubicBezTo>
                      <a:pt x="248" y="1460"/>
                      <a:pt x="248" y="1460"/>
                      <a:pt x="248" y="1460"/>
                    </a:cubicBezTo>
                    <a:cubicBezTo>
                      <a:pt x="252" y="1461"/>
                      <a:pt x="252" y="1461"/>
                      <a:pt x="252" y="1461"/>
                    </a:cubicBezTo>
                    <a:cubicBezTo>
                      <a:pt x="264" y="1471"/>
                      <a:pt x="264" y="1471"/>
                      <a:pt x="264" y="1471"/>
                    </a:cubicBezTo>
                    <a:cubicBezTo>
                      <a:pt x="266" y="1477"/>
                      <a:pt x="266" y="1477"/>
                      <a:pt x="266" y="1477"/>
                    </a:cubicBezTo>
                    <a:cubicBezTo>
                      <a:pt x="270" y="1478"/>
                      <a:pt x="270" y="1478"/>
                      <a:pt x="270" y="1478"/>
                    </a:cubicBezTo>
                    <a:cubicBezTo>
                      <a:pt x="271" y="1481"/>
                      <a:pt x="271" y="1481"/>
                      <a:pt x="271" y="1481"/>
                    </a:cubicBezTo>
                    <a:cubicBezTo>
                      <a:pt x="274" y="1484"/>
                      <a:pt x="274" y="1484"/>
                      <a:pt x="274" y="1484"/>
                    </a:cubicBezTo>
                    <a:cubicBezTo>
                      <a:pt x="277" y="1484"/>
                      <a:pt x="277" y="1484"/>
                      <a:pt x="277" y="1484"/>
                    </a:cubicBezTo>
                    <a:cubicBezTo>
                      <a:pt x="278" y="1487"/>
                      <a:pt x="278" y="1487"/>
                      <a:pt x="278" y="1487"/>
                    </a:cubicBezTo>
                    <a:cubicBezTo>
                      <a:pt x="281" y="1488"/>
                      <a:pt x="281" y="1488"/>
                      <a:pt x="281" y="1488"/>
                    </a:cubicBezTo>
                    <a:cubicBezTo>
                      <a:pt x="283" y="1488"/>
                      <a:pt x="283" y="1488"/>
                      <a:pt x="283" y="1488"/>
                    </a:cubicBezTo>
                    <a:cubicBezTo>
                      <a:pt x="286" y="1493"/>
                      <a:pt x="286" y="1493"/>
                      <a:pt x="286" y="1493"/>
                    </a:cubicBezTo>
                    <a:cubicBezTo>
                      <a:pt x="290" y="1494"/>
                      <a:pt x="290" y="1494"/>
                      <a:pt x="290" y="1494"/>
                    </a:cubicBezTo>
                    <a:cubicBezTo>
                      <a:pt x="291" y="1495"/>
                      <a:pt x="291" y="1495"/>
                      <a:pt x="291" y="1495"/>
                    </a:cubicBezTo>
                    <a:cubicBezTo>
                      <a:pt x="293" y="1494"/>
                      <a:pt x="293" y="1494"/>
                      <a:pt x="293" y="1494"/>
                    </a:cubicBezTo>
                    <a:cubicBezTo>
                      <a:pt x="298" y="1499"/>
                      <a:pt x="298" y="1499"/>
                      <a:pt x="298" y="1499"/>
                    </a:cubicBezTo>
                    <a:cubicBezTo>
                      <a:pt x="298" y="1501"/>
                      <a:pt x="298" y="1501"/>
                      <a:pt x="298" y="1501"/>
                    </a:cubicBezTo>
                    <a:cubicBezTo>
                      <a:pt x="303" y="1502"/>
                      <a:pt x="303" y="1502"/>
                      <a:pt x="303" y="1502"/>
                    </a:cubicBezTo>
                    <a:cubicBezTo>
                      <a:pt x="306" y="1509"/>
                      <a:pt x="306" y="1509"/>
                      <a:pt x="306" y="1509"/>
                    </a:cubicBezTo>
                    <a:cubicBezTo>
                      <a:pt x="309" y="1513"/>
                      <a:pt x="309" y="1513"/>
                      <a:pt x="309" y="1513"/>
                    </a:cubicBezTo>
                    <a:cubicBezTo>
                      <a:pt x="310" y="1522"/>
                      <a:pt x="310" y="1522"/>
                      <a:pt x="310" y="1522"/>
                    </a:cubicBezTo>
                    <a:cubicBezTo>
                      <a:pt x="313" y="1529"/>
                      <a:pt x="313" y="1529"/>
                      <a:pt x="313" y="1529"/>
                    </a:cubicBezTo>
                    <a:cubicBezTo>
                      <a:pt x="312" y="1531"/>
                      <a:pt x="312" y="1531"/>
                      <a:pt x="312" y="1531"/>
                    </a:cubicBezTo>
                    <a:cubicBezTo>
                      <a:pt x="312" y="1535"/>
                      <a:pt x="312" y="1535"/>
                      <a:pt x="312" y="1535"/>
                    </a:cubicBezTo>
                    <a:cubicBezTo>
                      <a:pt x="312" y="1536"/>
                      <a:pt x="312" y="1536"/>
                      <a:pt x="312" y="1536"/>
                    </a:cubicBezTo>
                    <a:cubicBezTo>
                      <a:pt x="312" y="1536"/>
                      <a:pt x="312" y="1536"/>
                      <a:pt x="312" y="1536"/>
                    </a:cubicBezTo>
                    <a:cubicBezTo>
                      <a:pt x="314" y="1536"/>
                      <a:pt x="314" y="1536"/>
                      <a:pt x="314" y="1536"/>
                    </a:cubicBezTo>
                    <a:cubicBezTo>
                      <a:pt x="315" y="1540"/>
                      <a:pt x="315" y="1540"/>
                      <a:pt x="315" y="1540"/>
                    </a:cubicBezTo>
                    <a:cubicBezTo>
                      <a:pt x="317" y="1541"/>
                      <a:pt x="317" y="1541"/>
                      <a:pt x="317" y="1541"/>
                    </a:cubicBezTo>
                    <a:cubicBezTo>
                      <a:pt x="319" y="1538"/>
                      <a:pt x="319" y="1538"/>
                      <a:pt x="319" y="1538"/>
                    </a:cubicBezTo>
                    <a:cubicBezTo>
                      <a:pt x="323" y="1541"/>
                      <a:pt x="323" y="1541"/>
                      <a:pt x="323" y="1541"/>
                    </a:cubicBezTo>
                    <a:cubicBezTo>
                      <a:pt x="326" y="1540"/>
                      <a:pt x="326" y="1540"/>
                      <a:pt x="326" y="1540"/>
                    </a:cubicBezTo>
                    <a:cubicBezTo>
                      <a:pt x="328" y="1537"/>
                      <a:pt x="328" y="1537"/>
                      <a:pt x="328" y="1537"/>
                    </a:cubicBezTo>
                    <a:cubicBezTo>
                      <a:pt x="331" y="1538"/>
                      <a:pt x="331" y="1538"/>
                      <a:pt x="331" y="1538"/>
                    </a:cubicBezTo>
                    <a:cubicBezTo>
                      <a:pt x="339" y="1546"/>
                      <a:pt x="339" y="1546"/>
                      <a:pt x="339" y="1546"/>
                    </a:cubicBezTo>
                    <a:cubicBezTo>
                      <a:pt x="342" y="1547"/>
                      <a:pt x="342" y="1547"/>
                      <a:pt x="342" y="1547"/>
                    </a:cubicBezTo>
                    <a:cubicBezTo>
                      <a:pt x="342" y="1547"/>
                      <a:pt x="342" y="1547"/>
                      <a:pt x="342" y="1547"/>
                    </a:cubicBezTo>
                    <a:cubicBezTo>
                      <a:pt x="348" y="1545"/>
                      <a:pt x="348" y="1545"/>
                      <a:pt x="348" y="1545"/>
                    </a:cubicBezTo>
                    <a:cubicBezTo>
                      <a:pt x="356" y="1543"/>
                      <a:pt x="356" y="1543"/>
                      <a:pt x="356" y="1543"/>
                    </a:cubicBezTo>
                    <a:cubicBezTo>
                      <a:pt x="359" y="1543"/>
                      <a:pt x="359" y="1543"/>
                      <a:pt x="359" y="1543"/>
                    </a:cubicBezTo>
                    <a:cubicBezTo>
                      <a:pt x="369" y="1543"/>
                      <a:pt x="369" y="1543"/>
                      <a:pt x="369" y="1543"/>
                    </a:cubicBezTo>
                    <a:cubicBezTo>
                      <a:pt x="373" y="1548"/>
                      <a:pt x="373" y="1548"/>
                      <a:pt x="373" y="1548"/>
                    </a:cubicBezTo>
                    <a:cubicBezTo>
                      <a:pt x="370" y="1544"/>
                      <a:pt x="370" y="1544"/>
                      <a:pt x="370" y="1544"/>
                    </a:cubicBezTo>
                    <a:cubicBezTo>
                      <a:pt x="370" y="1541"/>
                      <a:pt x="370" y="1541"/>
                      <a:pt x="370" y="1541"/>
                    </a:cubicBezTo>
                    <a:cubicBezTo>
                      <a:pt x="377" y="1537"/>
                      <a:pt x="377" y="1537"/>
                      <a:pt x="377" y="1537"/>
                    </a:cubicBezTo>
                    <a:cubicBezTo>
                      <a:pt x="387" y="1544"/>
                      <a:pt x="387" y="1544"/>
                      <a:pt x="387" y="1544"/>
                    </a:cubicBezTo>
                    <a:cubicBezTo>
                      <a:pt x="394" y="1545"/>
                      <a:pt x="394" y="1545"/>
                      <a:pt x="394" y="1545"/>
                    </a:cubicBezTo>
                    <a:cubicBezTo>
                      <a:pt x="401" y="1549"/>
                      <a:pt x="401" y="1549"/>
                      <a:pt x="401" y="1549"/>
                    </a:cubicBezTo>
                    <a:cubicBezTo>
                      <a:pt x="402" y="1541"/>
                      <a:pt x="402" y="1541"/>
                      <a:pt x="402" y="1541"/>
                    </a:cubicBezTo>
                    <a:cubicBezTo>
                      <a:pt x="399" y="1537"/>
                      <a:pt x="399" y="1537"/>
                      <a:pt x="399" y="1537"/>
                    </a:cubicBezTo>
                    <a:cubicBezTo>
                      <a:pt x="394" y="1533"/>
                      <a:pt x="394" y="1533"/>
                      <a:pt x="394" y="1533"/>
                    </a:cubicBezTo>
                    <a:cubicBezTo>
                      <a:pt x="396" y="1525"/>
                      <a:pt x="396" y="1525"/>
                      <a:pt x="396" y="1525"/>
                    </a:cubicBezTo>
                    <a:cubicBezTo>
                      <a:pt x="401" y="1526"/>
                      <a:pt x="401" y="1526"/>
                      <a:pt x="401" y="1526"/>
                    </a:cubicBezTo>
                    <a:cubicBezTo>
                      <a:pt x="410" y="1534"/>
                      <a:pt x="410" y="1534"/>
                      <a:pt x="410" y="1534"/>
                    </a:cubicBezTo>
                    <a:cubicBezTo>
                      <a:pt x="412" y="1539"/>
                      <a:pt x="412" y="1539"/>
                      <a:pt x="412" y="1539"/>
                    </a:cubicBezTo>
                    <a:cubicBezTo>
                      <a:pt x="421" y="1540"/>
                      <a:pt x="421" y="1540"/>
                      <a:pt x="421" y="1540"/>
                    </a:cubicBezTo>
                    <a:cubicBezTo>
                      <a:pt x="422" y="1537"/>
                      <a:pt x="422" y="1537"/>
                      <a:pt x="422" y="1537"/>
                    </a:cubicBezTo>
                    <a:cubicBezTo>
                      <a:pt x="428" y="1533"/>
                      <a:pt x="428" y="1533"/>
                      <a:pt x="428" y="1533"/>
                    </a:cubicBezTo>
                    <a:cubicBezTo>
                      <a:pt x="434" y="1524"/>
                      <a:pt x="434" y="1524"/>
                      <a:pt x="434" y="1524"/>
                    </a:cubicBezTo>
                    <a:cubicBezTo>
                      <a:pt x="434" y="1524"/>
                      <a:pt x="434" y="1524"/>
                      <a:pt x="434" y="1524"/>
                    </a:cubicBezTo>
                    <a:cubicBezTo>
                      <a:pt x="432" y="1522"/>
                      <a:pt x="432" y="1522"/>
                      <a:pt x="432" y="1522"/>
                    </a:cubicBezTo>
                    <a:cubicBezTo>
                      <a:pt x="422" y="1513"/>
                      <a:pt x="422" y="1513"/>
                      <a:pt x="422" y="1513"/>
                    </a:cubicBezTo>
                    <a:cubicBezTo>
                      <a:pt x="416" y="1503"/>
                      <a:pt x="416" y="1503"/>
                      <a:pt x="416" y="1503"/>
                    </a:cubicBezTo>
                    <a:cubicBezTo>
                      <a:pt x="414" y="1496"/>
                      <a:pt x="414" y="1496"/>
                      <a:pt x="414" y="1496"/>
                    </a:cubicBezTo>
                    <a:cubicBezTo>
                      <a:pt x="412" y="1493"/>
                      <a:pt x="412" y="1493"/>
                      <a:pt x="412" y="1493"/>
                    </a:cubicBezTo>
                    <a:cubicBezTo>
                      <a:pt x="411" y="1486"/>
                      <a:pt x="411" y="1486"/>
                      <a:pt x="411" y="1486"/>
                    </a:cubicBezTo>
                    <a:cubicBezTo>
                      <a:pt x="410" y="1483"/>
                      <a:pt x="410" y="1483"/>
                      <a:pt x="410" y="1483"/>
                    </a:cubicBezTo>
                    <a:cubicBezTo>
                      <a:pt x="410" y="1481"/>
                      <a:pt x="410" y="1481"/>
                      <a:pt x="410" y="1481"/>
                    </a:cubicBezTo>
                    <a:cubicBezTo>
                      <a:pt x="407" y="1481"/>
                      <a:pt x="407" y="1481"/>
                      <a:pt x="407" y="1481"/>
                    </a:cubicBezTo>
                    <a:cubicBezTo>
                      <a:pt x="408" y="1477"/>
                      <a:pt x="408" y="1477"/>
                      <a:pt x="408" y="1477"/>
                    </a:cubicBezTo>
                    <a:cubicBezTo>
                      <a:pt x="409" y="1478"/>
                      <a:pt x="409" y="1478"/>
                      <a:pt x="409" y="1478"/>
                    </a:cubicBezTo>
                    <a:cubicBezTo>
                      <a:pt x="410" y="1474"/>
                      <a:pt x="410" y="1474"/>
                      <a:pt x="410" y="1474"/>
                    </a:cubicBezTo>
                    <a:cubicBezTo>
                      <a:pt x="412" y="1470"/>
                      <a:pt x="412" y="1470"/>
                      <a:pt x="412" y="1470"/>
                    </a:cubicBezTo>
                    <a:cubicBezTo>
                      <a:pt x="410" y="1471"/>
                      <a:pt x="410" y="1471"/>
                      <a:pt x="410" y="1471"/>
                    </a:cubicBezTo>
                    <a:cubicBezTo>
                      <a:pt x="408" y="1473"/>
                      <a:pt x="408" y="1473"/>
                      <a:pt x="408" y="1473"/>
                    </a:cubicBezTo>
                    <a:cubicBezTo>
                      <a:pt x="404" y="1469"/>
                      <a:pt x="404" y="1469"/>
                      <a:pt x="404" y="1469"/>
                    </a:cubicBezTo>
                    <a:cubicBezTo>
                      <a:pt x="404" y="1462"/>
                      <a:pt x="404" y="1462"/>
                      <a:pt x="404" y="1462"/>
                    </a:cubicBezTo>
                    <a:cubicBezTo>
                      <a:pt x="400" y="1461"/>
                      <a:pt x="400" y="1461"/>
                      <a:pt x="400" y="1461"/>
                    </a:cubicBezTo>
                    <a:cubicBezTo>
                      <a:pt x="398" y="1457"/>
                      <a:pt x="398" y="1457"/>
                      <a:pt x="398" y="1457"/>
                    </a:cubicBezTo>
                    <a:cubicBezTo>
                      <a:pt x="396" y="1458"/>
                      <a:pt x="396" y="1458"/>
                      <a:pt x="396" y="1458"/>
                    </a:cubicBezTo>
                    <a:cubicBezTo>
                      <a:pt x="393" y="1458"/>
                      <a:pt x="393" y="1458"/>
                      <a:pt x="393" y="1458"/>
                    </a:cubicBezTo>
                    <a:cubicBezTo>
                      <a:pt x="391" y="1450"/>
                      <a:pt x="391" y="1450"/>
                      <a:pt x="391" y="1450"/>
                    </a:cubicBezTo>
                    <a:cubicBezTo>
                      <a:pt x="392" y="1446"/>
                      <a:pt x="392" y="1446"/>
                      <a:pt x="392" y="1446"/>
                    </a:cubicBezTo>
                    <a:cubicBezTo>
                      <a:pt x="394" y="1445"/>
                      <a:pt x="394" y="1445"/>
                      <a:pt x="394" y="1445"/>
                    </a:cubicBezTo>
                    <a:cubicBezTo>
                      <a:pt x="394" y="1437"/>
                      <a:pt x="394" y="1437"/>
                      <a:pt x="394" y="1437"/>
                    </a:cubicBezTo>
                    <a:cubicBezTo>
                      <a:pt x="396" y="1433"/>
                      <a:pt x="396" y="1433"/>
                      <a:pt x="396" y="1433"/>
                    </a:cubicBezTo>
                    <a:cubicBezTo>
                      <a:pt x="397" y="1428"/>
                      <a:pt x="397" y="1428"/>
                      <a:pt x="397" y="1428"/>
                    </a:cubicBezTo>
                    <a:cubicBezTo>
                      <a:pt x="399" y="1427"/>
                      <a:pt x="399" y="1427"/>
                      <a:pt x="399" y="1427"/>
                    </a:cubicBezTo>
                    <a:cubicBezTo>
                      <a:pt x="400" y="1422"/>
                      <a:pt x="400" y="1422"/>
                      <a:pt x="400" y="1422"/>
                    </a:cubicBezTo>
                    <a:cubicBezTo>
                      <a:pt x="401" y="1419"/>
                      <a:pt x="401" y="1419"/>
                      <a:pt x="401" y="1419"/>
                    </a:cubicBezTo>
                    <a:cubicBezTo>
                      <a:pt x="401" y="1416"/>
                      <a:pt x="401" y="1416"/>
                      <a:pt x="401" y="1416"/>
                    </a:cubicBezTo>
                    <a:cubicBezTo>
                      <a:pt x="403" y="1417"/>
                      <a:pt x="403" y="1417"/>
                      <a:pt x="403" y="1417"/>
                    </a:cubicBezTo>
                    <a:cubicBezTo>
                      <a:pt x="405" y="1418"/>
                      <a:pt x="405" y="1418"/>
                      <a:pt x="405" y="1418"/>
                    </a:cubicBezTo>
                    <a:cubicBezTo>
                      <a:pt x="406" y="1417"/>
                      <a:pt x="406" y="1417"/>
                      <a:pt x="406" y="1417"/>
                    </a:cubicBezTo>
                    <a:cubicBezTo>
                      <a:pt x="407" y="1415"/>
                      <a:pt x="407" y="1415"/>
                      <a:pt x="407" y="1415"/>
                    </a:cubicBezTo>
                    <a:cubicBezTo>
                      <a:pt x="409" y="1417"/>
                      <a:pt x="409" y="1417"/>
                      <a:pt x="409" y="1417"/>
                    </a:cubicBezTo>
                    <a:cubicBezTo>
                      <a:pt x="410" y="1415"/>
                      <a:pt x="410" y="1415"/>
                      <a:pt x="410" y="1415"/>
                    </a:cubicBezTo>
                    <a:cubicBezTo>
                      <a:pt x="413" y="1415"/>
                      <a:pt x="413" y="1415"/>
                      <a:pt x="413" y="1415"/>
                    </a:cubicBezTo>
                    <a:cubicBezTo>
                      <a:pt x="415" y="1413"/>
                      <a:pt x="415" y="1413"/>
                      <a:pt x="415" y="1413"/>
                    </a:cubicBezTo>
                    <a:cubicBezTo>
                      <a:pt x="415" y="1411"/>
                      <a:pt x="415" y="1411"/>
                      <a:pt x="415" y="1411"/>
                    </a:cubicBezTo>
                    <a:cubicBezTo>
                      <a:pt x="412" y="1410"/>
                      <a:pt x="412" y="1410"/>
                      <a:pt x="412" y="1410"/>
                    </a:cubicBezTo>
                    <a:cubicBezTo>
                      <a:pt x="414" y="1410"/>
                      <a:pt x="414" y="1410"/>
                      <a:pt x="414" y="1410"/>
                    </a:cubicBezTo>
                    <a:cubicBezTo>
                      <a:pt x="414" y="1410"/>
                      <a:pt x="415" y="1410"/>
                      <a:pt x="416" y="1410"/>
                    </a:cubicBezTo>
                    <a:cubicBezTo>
                      <a:pt x="416" y="1410"/>
                      <a:pt x="418" y="1410"/>
                      <a:pt x="418" y="1410"/>
                    </a:cubicBezTo>
                    <a:cubicBezTo>
                      <a:pt x="420" y="1412"/>
                      <a:pt x="420" y="1412"/>
                      <a:pt x="420" y="1412"/>
                    </a:cubicBezTo>
                    <a:cubicBezTo>
                      <a:pt x="421" y="1410"/>
                      <a:pt x="421" y="1410"/>
                      <a:pt x="421" y="1410"/>
                    </a:cubicBezTo>
                    <a:cubicBezTo>
                      <a:pt x="421" y="1408"/>
                      <a:pt x="421" y="1408"/>
                      <a:pt x="421" y="1408"/>
                    </a:cubicBezTo>
                    <a:cubicBezTo>
                      <a:pt x="415" y="1404"/>
                      <a:pt x="415" y="1404"/>
                      <a:pt x="415" y="1404"/>
                    </a:cubicBezTo>
                    <a:cubicBezTo>
                      <a:pt x="418" y="1404"/>
                      <a:pt x="418" y="1404"/>
                      <a:pt x="418" y="1404"/>
                    </a:cubicBezTo>
                    <a:cubicBezTo>
                      <a:pt x="421" y="1405"/>
                      <a:pt x="421" y="1405"/>
                      <a:pt x="421" y="1405"/>
                    </a:cubicBezTo>
                    <a:cubicBezTo>
                      <a:pt x="422" y="1404"/>
                      <a:pt x="422" y="1404"/>
                      <a:pt x="422" y="1404"/>
                    </a:cubicBezTo>
                    <a:cubicBezTo>
                      <a:pt x="425" y="1405"/>
                      <a:pt x="425" y="1405"/>
                      <a:pt x="425" y="1405"/>
                    </a:cubicBezTo>
                    <a:cubicBezTo>
                      <a:pt x="425" y="1402"/>
                      <a:pt x="425" y="1402"/>
                      <a:pt x="425" y="1402"/>
                    </a:cubicBezTo>
                    <a:cubicBezTo>
                      <a:pt x="424" y="1401"/>
                      <a:pt x="424" y="1401"/>
                      <a:pt x="424" y="1401"/>
                    </a:cubicBezTo>
                    <a:cubicBezTo>
                      <a:pt x="426" y="1401"/>
                      <a:pt x="426" y="1401"/>
                      <a:pt x="426" y="1401"/>
                    </a:cubicBezTo>
                    <a:cubicBezTo>
                      <a:pt x="426" y="1398"/>
                      <a:pt x="426" y="1398"/>
                      <a:pt x="426" y="1398"/>
                    </a:cubicBezTo>
                    <a:cubicBezTo>
                      <a:pt x="424" y="1397"/>
                      <a:pt x="424" y="1397"/>
                      <a:pt x="424" y="1397"/>
                    </a:cubicBezTo>
                    <a:cubicBezTo>
                      <a:pt x="427" y="1396"/>
                      <a:pt x="427" y="1396"/>
                      <a:pt x="427" y="1396"/>
                    </a:cubicBezTo>
                    <a:cubicBezTo>
                      <a:pt x="427" y="1394"/>
                      <a:pt x="427" y="1394"/>
                      <a:pt x="427" y="1394"/>
                    </a:cubicBezTo>
                    <a:cubicBezTo>
                      <a:pt x="427" y="1392"/>
                      <a:pt x="427" y="1392"/>
                      <a:pt x="427" y="1392"/>
                    </a:cubicBezTo>
                    <a:cubicBezTo>
                      <a:pt x="427" y="1392"/>
                      <a:pt x="427" y="1392"/>
                      <a:pt x="427" y="1392"/>
                    </a:cubicBezTo>
                    <a:cubicBezTo>
                      <a:pt x="427" y="1392"/>
                      <a:pt x="427" y="1392"/>
                      <a:pt x="427" y="1392"/>
                    </a:cubicBezTo>
                    <a:cubicBezTo>
                      <a:pt x="423" y="1389"/>
                      <a:pt x="423" y="1389"/>
                      <a:pt x="423" y="1389"/>
                    </a:cubicBezTo>
                    <a:cubicBezTo>
                      <a:pt x="418" y="1390"/>
                      <a:pt x="418" y="1390"/>
                      <a:pt x="418" y="1390"/>
                    </a:cubicBezTo>
                    <a:cubicBezTo>
                      <a:pt x="411" y="1385"/>
                      <a:pt x="411" y="1385"/>
                      <a:pt x="411" y="1385"/>
                    </a:cubicBezTo>
                    <a:cubicBezTo>
                      <a:pt x="412" y="1381"/>
                      <a:pt x="412" y="1381"/>
                      <a:pt x="412" y="1381"/>
                    </a:cubicBezTo>
                    <a:cubicBezTo>
                      <a:pt x="419" y="1381"/>
                      <a:pt x="419" y="1381"/>
                      <a:pt x="419" y="1381"/>
                    </a:cubicBezTo>
                    <a:cubicBezTo>
                      <a:pt x="411" y="1367"/>
                      <a:pt x="411" y="1367"/>
                      <a:pt x="411" y="1367"/>
                    </a:cubicBezTo>
                    <a:cubicBezTo>
                      <a:pt x="403" y="1357"/>
                      <a:pt x="403" y="1357"/>
                      <a:pt x="403" y="1357"/>
                    </a:cubicBezTo>
                    <a:cubicBezTo>
                      <a:pt x="391" y="1353"/>
                      <a:pt x="391" y="1353"/>
                      <a:pt x="391" y="1353"/>
                    </a:cubicBezTo>
                    <a:cubicBezTo>
                      <a:pt x="390" y="1357"/>
                      <a:pt x="390" y="1357"/>
                      <a:pt x="390" y="1357"/>
                    </a:cubicBezTo>
                    <a:cubicBezTo>
                      <a:pt x="384" y="1351"/>
                      <a:pt x="384" y="1351"/>
                      <a:pt x="384" y="1351"/>
                    </a:cubicBezTo>
                    <a:cubicBezTo>
                      <a:pt x="385" y="1347"/>
                      <a:pt x="385" y="1347"/>
                      <a:pt x="385" y="1347"/>
                    </a:cubicBezTo>
                    <a:cubicBezTo>
                      <a:pt x="382" y="1341"/>
                      <a:pt x="382" y="1341"/>
                      <a:pt x="382" y="1341"/>
                    </a:cubicBezTo>
                    <a:cubicBezTo>
                      <a:pt x="374" y="1338"/>
                      <a:pt x="374" y="1338"/>
                      <a:pt x="374" y="1338"/>
                    </a:cubicBezTo>
                    <a:cubicBezTo>
                      <a:pt x="377" y="1330"/>
                      <a:pt x="377" y="1330"/>
                      <a:pt x="377" y="1330"/>
                    </a:cubicBezTo>
                    <a:cubicBezTo>
                      <a:pt x="379" y="1316"/>
                      <a:pt x="379" y="1316"/>
                      <a:pt x="379" y="1316"/>
                    </a:cubicBezTo>
                    <a:cubicBezTo>
                      <a:pt x="376" y="1313"/>
                      <a:pt x="376" y="1313"/>
                      <a:pt x="376" y="1313"/>
                    </a:cubicBezTo>
                    <a:cubicBezTo>
                      <a:pt x="375" y="1302"/>
                      <a:pt x="375" y="1302"/>
                      <a:pt x="375" y="1302"/>
                    </a:cubicBezTo>
                    <a:cubicBezTo>
                      <a:pt x="379" y="1300"/>
                      <a:pt x="379" y="1300"/>
                      <a:pt x="379" y="1300"/>
                    </a:cubicBezTo>
                    <a:cubicBezTo>
                      <a:pt x="383" y="1293"/>
                      <a:pt x="383" y="1293"/>
                      <a:pt x="383" y="1293"/>
                    </a:cubicBezTo>
                    <a:cubicBezTo>
                      <a:pt x="383" y="1288"/>
                      <a:pt x="383" y="1288"/>
                      <a:pt x="383" y="1288"/>
                    </a:cubicBezTo>
                    <a:cubicBezTo>
                      <a:pt x="386" y="1284"/>
                      <a:pt x="386" y="1284"/>
                      <a:pt x="386" y="1284"/>
                    </a:cubicBezTo>
                    <a:cubicBezTo>
                      <a:pt x="396" y="1294"/>
                      <a:pt x="396" y="1294"/>
                      <a:pt x="396" y="1294"/>
                    </a:cubicBezTo>
                    <a:cubicBezTo>
                      <a:pt x="397" y="1298"/>
                      <a:pt x="397" y="1298"/>
                      <a:pt x="397" y="1298"/>
                    </a:cubicBezTo>
                    <a:cubicBezTo>
                      <a:pt x="402" y="1302"/>
                      <a:pt x="402" y="1302"/>
                      <a:pt x="402" y="1302"/>
                    </a:cubicBezTo>
                    <a:cubicBezTo>
                      <a:pt x="408" y="1302"/>
                      <a:pt x="408" y="1302"/>
                      <a:pt x="408" y="1302"/>
                    </a:cubicBezTo>
                    <a:cubicBezTo>
                      <a:pt x="407" y="1295"/>
                      <a:pt x="407" y="1295"/>
                      <a:pt x="407" y="1295"/>
                    </a:cubicBezTo>
                    <a:cubicBezTo>
                      <a:pt x="410" y="1293"/>
                      <a:pt x="410" y="1293"/>
                      <a:pt x="410" y="1293"/>
                    </a:cubicBezTo>
                    <a:cubicBezTo>
                      <a:pt x="405" y="1275"/>
                      <a:pt x="405" y="1275"/>
                      <a:pt x="405" y="1275"/>
                    </a:cubicBezTo>
                    <a:cubicBezTo>
                      <a:pt x="411" y="1274"/>
                      <a:pt x="411" y="1274"/>
                      <a:pt x="411" y="1274"/>
                    </a:cubicBezTo>
                    <a:cubicBezTo>
                      <a:pt x="417" y="1274"/>
                      <a:pt x="417" y="1274"/>
                      <a:pt x="417" y="1274"/>
                    </a:cubicBezTo>
                    <a:cubicBezTo>
                      <a:pt x="417" y="1269"/>
                      <a:pt x="417" y="1269"/>
                      <a:pt x="417" y="1269"/>
                    </a:cubicBezTo>
                    <a:cubicBezTo>
                      <a:pt x="414" y="1265"/>
                      <a:pt x="414" y="1265"/>
                      <a:pt x="414" y="1265"/>
                    </a:cubicBezTo>
                    <a:cubicBezTo>
                      <a:pt x="416" y="1260"/>
                      <a:pt x="416" y="1260"/>
                      <a:pt x="416" y="1260"/>
                    </a:cubicBezTo>
                    <a:cubicBezTo>
                      <a:pt x="421" y="1256"/>
                      <a:pt x="421" y="1256"/>
                      <a:pt x="421" y="1256"/>
                    </a:cubicBezTo>
                    <a:cubicBezTo>
                      <a:pt x="423" y="1256"/>
                      <a:pt x="423" y="1256"/>
                      <a:pt x="423" y="1256"/>
                    </a:cubicBezTo>
                    <a:cubicBezTo>
                      <a:pt x="425" y="1250"/>
                      <a:pt x="425" y="1250"/>
                      <a:pt x="425" y="1250"/>
                    </a:cubicBezTo>
                    <a:cubicBezTo>
                      <a:pt x="428" y="1248"/>
                      <a:pt x="428" y="1248"/>
                      <a:pt x="428" y="1248"/>
                    </a:cubicBezTo>
                    <a:cubicBezTo>
                      <a:pt x="432" y="1249"/>
                      <a:pt x="432" y="1249"/>
                      <a:pt x="432" y="1249"/>
                    </a:cubicBezTo>
                    <a:cubicBezTo>
                      <a:pt x="432" y="1245"/>
                      <a:pt x="432" y="1245"/>
                      <a:pt x="432" y="1245"/>
                    </a:cubicBezTo>
                    <a:cubicBezTo>
                      <a:pt x="431" y="1241"/>
                      <a:pt x="431" y="1241"/>
                      <a:pt x="431" y="1241"/>
                    </a:cubicBezTo>
                    <a:cubicBezTo>
                      <a:pt x="432" y="1238"/>
                      <a:pt x="432" y="1238"/>
                      <a:pt x="432" y="1238"/>
                    </a:cubicBezTo>
                    <a:cubicBezTo>
                      <a:pt x="438" y="1242"/>
                      <a:pt x="438" y="1242"/>
                      <a:pt x="438" y="1242"/>
                    </a:cubicBezTo>
                    <a:cubicBezTo>
                      <a:pt x="442" y="1244"/>
                      <a:pt x="442" y="1244"/>
                      <a:pt x="442" y="1244"/>
                    </a:cubicBezTo>
                    <a:cubicBezTo>
                      <a:pt x="441" y="1247"/>
                      <a:pt x="441" y="1247"/>
                      <a:pt x="441" y="1247"/>
                    </a:cubicBezTo>
                    <a:cubicBezTo>
                      <a:pt x="439" y="1251"/>
                      <a:pt x="439" y="1251"/>
                      <a:pt x="439" y="1251"/>
                    </a:cubicBezTo>
                    <a:cubicBezTo>
                      <a:pt x="441" y="1253"/>
                      <a:pt x="441" y="1253"/>
                      <a:pt x="441" y="1253"/>
                    </a:cubicBezTo>
                    <a:cubicBezTo>
                      <a:pt x="444" y="1250"/>
                      <a:pt x="444" y="1250"/>
                      <a:pt x="444" y="1250"/>
                    </a:cubicBezTo>
                    <a:cubicBezTo>
                      <a:pt x="445" y="1247"/>
                      <a:pt x="445" y="1247"/>
                      <a:pt x="445" y="1247"/>
                    </a:cubicBezTo>
                    <a:cubicBezTo>
                      <a:pt x="448" y="1245"/>
                      <a:pt x="448" y="1245"/>
                      <a:pt x="448" y="1245"/>
                    </a:cubicBezTo>
                    <a:cubicBezTo>
                      <a:pt x="448" y="1249"/>
                      <a:pt x="448" y="1249"/>
                      <a:pt x="448" y="1249"/>
                    </a:cubicBezTo>
                    <a:cubicBezTo>
                      <a:pt x="450" y="1246"/>
                      <a:pt x="450" y="1246"/>
                      <a:pt x="450" y="1246"/>
                    </a:cubicBezTo>
                    <a:cubicBezTo>
                      <a:pt x="451" y="1243"/>
                      <a:pt x="451" y="1243"/>
                      <a:pt x="451" y="1243"/>
                    </a:cubicBezTo>
                    <a:cubicBezTo>
                      <a:pt x="454" y="1243"/>
                      <a:pt x="454" y="1243"/>
                      <a:pt x="454" y="1243"/>
                    </a:cubicBezTo>
                    <a:cubicBezTo>
                      <a:pt x="458" y="1240"/>
                      <a:pt x="458" y="1240"/>
                      <a:pt x="458" y="1240"/>
                    </a:cubicBezTo>
                    <a:cubicBezTo>
                      <a:pt x="461" y="1240"/>
                      <a:pt x="461" y="1240"/>
                      <a:pt x="461" y="1240"/>
                    </a:cubicBezTo>
                    <a:cubicBezTo>
                      <a:pt x="463" y="1245"/>
                      <a:pt x="463" y="1245"/>
                      <a:pt x="463" y="1245"/>
                    </a:cubicBezTo>
                    <a:cubicBezTo>
                      <a:pt x="467" y="1249"/>
                      <a:pt x="467" y="1249"/>
                      <a:pt x="467" y="1249"/>
                    </a:cubicBezTo>
                    <a:cubicBezTo>
                      <a:pt x="474" y="1246"/>
                      <a:pt x="474" y="1246"/>
                      <a:pt x="474" y="1246"/>
                    </a:cubicBezTo>
                    <a:cubicBezTo>
                      <a:pt x="477" y="1246"/>
                      <a:pt x="477" y="1246"/>
                      <a:pt x="477" y="1246"/>
                    </a:cubicBezTo>
                    <a:cubicBezTo>
                      <a:pt x="479" y="1250"/>
                      <a:pt x="479" y="1250"/>
                      <a:pt x="479" y="1250"/>
                    </a:cubicBezTo>
                    <a:cubicBezTo>
                      <a:pt x="481" y="1250"/>
                      <a:pt x="481" y="1250"/>
                      <a:pt x="481" y="1250"/>
                    </a:cubicBezTo>
                    <a:cubicBezTo>
                      <a:pt x="484" y="1255"/>
                      <a:pt x="484" y="1255"/>
                      <a:pt x="484" y="1255"/>
                    </a:cubicBezTo>
                    <a:cubicBezTo>
                      <a:pt x="488" y="1255"/>
                      <a:pt x="488" y="1255"/>
                      <a:pt x="488" y="1255"/>
                    </a:cubicBezTo>
                    <a:cubicBezTo>
                      <a:pt x="491" y="1260"/>
                      <a:pt x="491" y="1260"/>
                      <a:pt x="491" y="1260"/>
                    </a:cubicBezTo>
                    <a:cubicBezTo>
                      <a:pt x="496" y="1265"/>
                      <a:pt x="496" y="1265"/>
                      <a:pt x="496" y="1265"/>
                    </a:cubicBezTo>
                    <a:cubicBezTo>
                      <a:pt x="499" y="1265"/>
                      <a:pt x="499" y="1265"/>
                      <a:pt x="499" y="1265"/>
                    </a:cubicBezTo>
                    <a:cubicBezTo>
                      <a:pt x="501" y="1268"/>
                      <a:pt x="501" y="1268"/>
                      <a:pt x="501" y="1268"/>
                    </a:cubicBezTo>
                    <a:cubicBezTo>
                      <a:pt x="501" y="1273"/>
                      <a:pt x="501" y="1273"/>
                      <a:pt x="501" y="1273"/>
                    </a:cubicBezTo>
                    <a:cubicBezTo>
                      <a:pt x="503" y="1274"/>
                      <a:pt x="503" y="1274"/>
                      <a:pt x="503" y="1274"/>
                    </a:cubicBezTo>
                    <a:cubicBezTo>
                      <a:pt x="505" y="1270"/>
                      <a:pt x="505" y="1270"/>
                      <a:pt x="505" y="1270"/>
                    </a:cubicBezTo>
                    <a:cubicBezTo>
                      <a:pt x="505" y="1264"/>
                      <a:pt x="505" y="1264"/>
                      <a:pt x="505" y="1264"/>
                    </a:cubicBezTo>
                    <a:cubicBezTo>
                      <a:pt x="509" y="1261"/>
                      <a:pt x="509" y="1261"/>
                      <a:pt x="509" y="1261"/>
                    </a:cubicBezTo>
                    <a:cubicBezTo>
                      <a:pt x="511" y="1266"/>
                      <a:pt x="511" y="1266"/>
                      <a:pt x="511" y="1266"/>
                    </a:cubicBezTo>
                    <a:cubicBezTo>
                      <a:pt x="518" y="1267"/>
                      <a:pt x="518" y="1267"/>
                      <a:pt x="518" y="1267"/>
                    </a:cubicBezTo>
                    <a:cubicBezTo>
                      <a:pt x="520" y="1271"/>
                      <a:pt x="520" y="1271"/>
                      <a:pt x="520" y="1271"/>
                    </a:cubicBezTo>
                    <a:cubicBezTo>
                      <a:pt x="523" y="1272"/>
                      <a:pt x="523" y="1272"/>
                      <a:pt x="523" y="1272"/>
                    </a:cubicBezTo>
                    <a:cubicBezTo>
                      <a:pt x="527" y="1268"/>
                      <a:pt x="527" y="1268"/>
                      <a:pt x="527" y="1268"/>
                    </a:cubicBezTo>
                    <a:cubicBezTo>
                      <a:pt x="528" y="1260"/>
                      <a:pt x="528" y="1260"/>
                      <a:pt x="528" y="1260"/>
                    </a:cubicBezTo>
                    <a:cubicBezTo>
                      <a:pt x="532" y="1260"/>
                      <a:pt x="532" y="1260"/>
                      <a:pt x="532" y="1260"/>
                    </a:cubicBezTo>
                    <a:cubicBezTo>
                      <a:pt x="532" y="1256"/>
                      <a:pt x="532" y="1256"/>
                      <a:pt x="532" y="1256"/>
                    </a:cubicBezTo>
                    <a:cubicBezTo>
                      <a:pt x="535" y="1255"/>
                      <a:pt x="535" y="1255"/>
                      <a:pt x="535" y="1255"/>
                    </a:cubicBezTo>
                    <a:cubicBezTo>
                      <a:pt x="537" y="1258"/>
                      <a:pt x="537" y="1258"/>
                      <a:pt x="537" y="1258"/>
                    </a:cubicBezTo>
                    <a:cubicBezTo>
                      <a:pt x="539" y="1254"/>
                      <a:pt x="539" y="1254"/>
                      <a:pt x="539" y="1254"/>
                    </a:cubicBezTo>
                    <a:cubicBezTo>
                      <a:pt x="543" y="1253"/>
                      <a:pt x="543" y="1253"/>
                      <a:pt x="543" y="1253"/>
                    </a:cubicBezTo>
                    <a:cubicBezTo>
                      <a:pt x="548" y="1259"/>
                      <a:pt x="548" y="1259"/>
                      <a:pt x="548" y="1259"/>
                    </a:cubicBezTo>
                    <a:cubicBezTo>
                      <a:pt x="549" y="1262"/>
                      <a:pt x="549" y="1262"/>
                      <a:pt x="549" y="1262"/>
                    </a:cubicBezTo>
                    <a:cubicBezTo>
                      <a:pt x="554" y="1261"/>
                      <a:pt x="554" y="1261"/>
                      <a:pt x="554" y="1261"/>
                    </a:cubicBezTo>
                    <a:cubicBezTo>
                      <a:pt x="553" y="1256"/>
                      <a:pt x="553" y="1256"/>
                      <a:pt x="553" y="1256"/>
                    </a:cubicBezTo>
                    <a:cubicBezTo>
                      <a:pt x="556" y="1255"/>
                      <a:pt x="556" y="1255"/>
                      <a:pt x="556" y="1255"/>
                    </a:cubicBezTo>
                    <a:cubicBezTo>
                      <a:pt x="560" y="1255"/>
                      <a:pt x="560" y="1255"/>
                      <a:pt x="560" y="1255"/>
                    </a:cubicBezTo>
                    <a:cubicBezTo>
                      <a:pt x="562" y="1252"/>
                      <a:pt x="562" y="1252"/>
                      <a:pt x="562" y="1252"/>
                    </a:cubicBezTo>
                    <a:cubicBezTo>
                      <a:pt x="567" y="1255"/>
                      <a:pt x="567" y="1255"/>
                      <a:pt x="567" y="1255"/>
                    </a:cubicBezTo>
                    <a:cubicBezTo>
                      <a:pt x="569" y="1256"/>
                      <a:pt x="569" y="1256"/>
                      <a:pt x="569" y="1256"/>
                    </a:cubicBezTo>
                    <a:cubicBezTo>
                      <a:pt x="568" y="1259"/>
                      <a:pt x="568" y="1259"/>
                      <a:pt x="568" y="1259"/>
                    </a:cubicBezTo>
                    <a:cubicBezTo>
                      <a:pt x="565" y="1261"/>
                      <a:pt x="565" y="1261"/>
                      <a:pt x="565" y="1261"/>
                    </a:cubicBezTo>
                    <a:cubicBezTo>
                      <a:pt x="569" y="1266"/>
                      <a:pt x="569" y="1266"/>
                      <a:pt x="569" y="1266"/>
                    </a:cubicBezTo>
                    <a:cubicBezTo>
                      <a:pt x="572" y="1267"/>
                      <a:pt x="572" y="1267"/>
                      <a:pt x="572" y="1267"/>
                    </a:cubicBezTo>
                    <a:cubicBezTo>
                      <a:pt x="574" y="1266"/>
                      <a:pt x="574" y="1266"/>
                      <a:pt x="574" y="1266"/>
                    </a:cubicBezTo>
                    <a:cubicBezTo>
                      <a:pt x="576" y="1268"/>
                      <a:pt x="576" y="1268"/>
                      <a:pt x="576" y="1268"/>
                    </a:cubicBezTo>
                    <a:cubicBezTo>
                      <a:pt x="582" y="1268"/>
                      <a:pt x="582" y="1268"/>
                      <a:pt x="582" y="1268"/>
                    </a:cubicBezTo>
                    <a:cubicBezTo>
                      <a:pt x="588" y="1272"/>
                      <a:pt x="588" y="1272"/>
                      <a:pt x="588" y="1272"/>
                    </a:cubicBezTo>
                    <a:cubicBezTo>
                      <a:pt x="592" y="1271"/>
                      <a:pt x="592" y="1271"/>
                      <a:pt x="592" y="1271"/>
                    </a:cubicBezTo>
                    <a:cubicBezTo>
                      <a:pt x="594" y="1266"/>
                      <a:pt x="594" y="1266"/>
                      <a:pt x="594" y="1266"/>
                    </a:cubicBezTo>
                    <a:cubicBezTo>
                      <a:pt x="594" y="1262"/>
                      <a:pt x="594" y="1262"/>
                      <a:pt x="594" y="1262"/>
                    </a:cubicBezTo>
                    <a:cubicBezTo>
                      <a:pt x="596" y="1260"/>
                      <a:pt x="596" y="1260"/>
                      <a:pt x="596" y="1260"/>
                    </a:cubicBezTo>
                    <a:cubicBezTo>
                      <a:pt x="602" y="1264"/>
                      <a:pt x="602" y="1264"/>
                      <a:pt x="602" y="1264"/>
                    </a:cubicBezTo>
                    <a:cubicBezTo>
                      <a:pt x="607" y="1265"/>
                      <a:pt x="607" y="1265"/>
                      <a:pt x="607" y="1265"/>
                    </a:cubicBezTo>
                    <a:cubicBezTo>
                      <a:pt x="613" y="1262"/>
                      <a:pt x="613" y="1262"/>
                      <a:pt x="613" y="1262"/>
                    </a:cubicBezTo>
                    <a:cubicBezTo>
                      <a:pt x="615" y="1259"/>
                      <a:pt x="615" y="1259"/>
                      <a:pt x="615" y="1259"/>
                    </a:cubicBezTo>
                    <a:cubicBezTo>
                      <a:pt x="614" y="1241"/>
                      <a:pt x="614" y="1241"/>
                      <a:pt x="614" y="1241"/>
                    </a:cubicBezTo>
                    <a:cubicBezTo>
                      <a:pt x="612" y="1240"/>
                      <a:pt x="612" y="1240"/>
                      <a:pt x="612" y="1240"/>
                    </a:cubicBezTo>
                    <a:cubicBezTo>
                      <a:pt x="607" y="1240"/>
                      <a:pt x="607" y="1240"/>
                      <a:pt x="607" y="1240"/>
                    </a:cubicBezTo>
                    <a:cubicBezTo>
                      <a:pt x="603" y="1236"/>
                      <a:pt x="603" y="1236"/>
                      <a:pt x="603" y="1236"/>
                    </a:cubicBezTo>
                    <a:cubicBezTo>
                      <a:pt x="603" y="1234"/>
                      <a:pt x="603" y="1234"/>
                      <a:pt x="603" y="1234"/>
                    </a:cubicBezTo>
                    <a:cubicBezTo>
                      <a:pt x="599" y="1233"/>
                      <a:pt x="599" y="1233"/>
                      <a:pt x="599" y="1233"/>
                    </a:cubicBezTo>
                    <a:cubicBezTo>
                      <a:pt x="596" y="1230"/>
                      <a:pt x="596" y="1230"/>
                      <a:pt x="596" y="1230"/>
                    </a:cubicBezTo>
                    <a:cubicBezTo>
                      <a:pt x="592" y="1230"/>
                      <a:pt x="592" y="1230"/>
                      <a:pt x="592" y="1230"/>
                    </a:cubicBezTo>
                    <a:cubicBezTo>
                      <a:pt x="592" y="1227"/>
                      <a:pt x="592" y="1227"/>
                      <a:pt x="592" y="1227"/>
                    </a:cubicBezTo>
                    <a:cubicBezTo>
                      <a:pt x="590" y="1225"/>
                      <a:pt x="590" y="1225"/>
                      <a:pt x="590" y="1225"/>
                    </a:cubicBezTo>
                    <a:cubicBezTo>
                      <a:pt x="591" y="1222"/>
                      <a:pt x="591" y="1222"/>
                      <a:pt x="591" y="1222"/>
                    </a:cubicBezTo>
                    <a:cubicBezTo>
                      <a:pt x="594" y="1222"/>
                      <a:pt x="594" y="1222"/>
                      <a:pt x="594" y="1222"/>
                    </a:cubicBezTo>
                    <a:cubicBezTo>
                      <a:pt x="595" y="1217"/>
                      <a:pt x="595" y="1217"/>
                      <a:pt x="595" y="1217"/>
                    </a:cubicBezTo>
                    <a:cubicBezTo>
                      <a:pt x="598" y="1213"/>
                      <a:pt x="598" y="1213"/>
                      <a:pt x="598" y="1213"/>
                    </a:cubicBezTo>
                    <a:cubicBezTo>
                      <a:pt x="597" y="1208"/>
                      <a:pt x="597" y="1208"/>
                      <a:pt x="597" y="1208"/>
                    </a:cubicBezTo>
                    <a:cubicBezTo>
                      <a:pt x="594" y="1208"/>
                      <a:pt x="594" y="1208"/>
                      <a:pt x="594" y="1208"/>
                    </a:cubicBezTo>
                    <a:cubicBezTo>
                      <a:pt x="594" y="1203"/>
                      <a:pt x="594" y="1203"/>
                      <a:pt x="594" y="1203"/>
                    </a:cubicBezTo>
                    <a:cubicBezTo>
                      <a:pt x="598" y="1196"/>
                      <a:pt x="598" y="1196"/>
                      <a:pt x="598" y="1196"/>
                    </a:cubicBezTo>
                    <a:cubicBezTo>
                      <a:pt x="602" y="1191"/>
                      <a:pt x="602" y="1191"/>
                      <a:pt x="602" y="1191"/>
                    </a:cubicBezTo>
                    <a:cubicBezTo>
                      <a:pt x="610" y="1190"/>
                      <a:pt x="610" y="1190"/>
                      <a:pt x="610" y="1190"/>
                    </a:cubicBezTo>
                    <a:cubicBezTo>
                      <a:pt x="613" y="1192"/>
                      <a:pt x="613" y="1192"/>
                      <a:pt x="613" y="1192"/>
                    </a:cubicBezTo>
                    <a:cubicBezTo>
                      <a:pt x="615" y="1190"/>
                      <a:pt x="615" y="1190"/>
                      <a:pt x="615" y="1190"/>
                    </a:cubicBezTo>
                    <a:cubicBezTo>
                      <a:pt x="615" y="1186"/>
                      <a:pt x="615" y="1186"/>
                      <a:pt x="615" y="1186"/>
                    </a:cubicBezTo>
                    <a:cubicBezTo>
                      <a:pt x="611" y="1184"/>
                      <a:pt x="611" y="1184"/>
                      <a:pt x="611" y="1184"/>
                    </a:cubicBezTo>
                    <a:cubicBezTo>
                      <a:pt x="608" y="1181"/>
                      <a:pt x="608" y="1181"/>
                      <a:pt x="608" y="1181"/>
                    </a:cubicBezTo>
                    <a:cubicBezTo>
                      <a:pt x="606" y="1181"/>
                      <a:pt x="606" y="1181"/>
                      <a:pt x="606" y="1181"/>
                    </a:cubicBezTo>
                    <a:cubicBezTo>
                      <a:pt x="603" y="1183"/>
                      <a:pt x="603" y="1183"/>
                      <a:pt x="603" y="1183"/>
                    </a:cubicBezTo>
                    <a:cubicBezTo>
                      <a:pt x="600" y="1181"/>
                      <a:pt x="600" y="1181"/>
                      <a:pt x="600" y="1181"/>
                    </a:cubicBezTo>
                    <a:cubicBezTo>
                      <a:pt x="595" y="1181"/>
                      <a:pt x="595" y="1181"/>
                      <a:pt x="595" y="1181"/>
                    </a:cubicBezTo>
                    <a:cubicBezTo>
                      <a:pt x="595" y="1178"/>
                      <a:pt x="595" y="1178"/>
                      <a:pt x="595" y="1178"/>
                    </a:cubicBezTo>
                    <a:cubicBezTo>
                      <a:pt x="596" y="1176"/>
                      <a:pt x="596" y="1176"/>
                      <a:pt x="596" y="1176"/>
                    </a:cubicBezTo>
                    <a:cubicBezTo>
                      <a:pt x="601" y="1176"/>
                      <a:pt x="601" y="1176"/>
                      <a:pt x="601" y="1176"/>
                    </a:cubicBezTo>
                    <a:cubicBezTo>
                      <a:pt x="600" y="1172"/>
                      <a:pt x="600" y="1172"/>
                      <a:pt x="600" y="1172"/>
                    </a:cubicBezTo>
                    <a:cubicBezTo>
                      <a:pt x="595" y="1172"/>
                      <a:pt x="595" y="1172"/>
                      <a:pt x="595" y="1172"/>
                    </a:cubicBezTo>
                    <a:cubicBezTo>
                      <a:pt x="592" y="1171"/>
                      <a:pt x="592" y="1171"/>
                      <a:pt x="592" y="1171"/>
                    </a:cubicBezTo>
                    <a:cubicBezTo>
                      <a:pt x="593" y="1169"/>
                      <a:pt x="593" y="1169"/>
                      <a:pt x="593" y="1169"/>
                    </a:cubicBezTo>
                    <a:cubicBezTo>
                      <a:pt x="592" y="1164"/>
                      <a:pt x="592" y="1164"/>
                      <a:pt x="592" y="1164"/>
                    </a:cubicBezTo>
                    <a:cubicBezTo>
                      <a:pt x="593" y="1162"/>
                      <a:pt x="593" y="1162"/>
                      <a:pt x="593" y="1162"/>
                    </a:cubicBezTo>
                    <a:cubicBezTo>
                      <a:pt x="597" y="1162"/>
                      <a:pt x="597" y="1162"/>
                      <a:pt x="597" y="1162"/>
                    </a:cubicBezTo>
                    <a:cubicBezTo>
                      <a:pt x="599" y="1159"/>
                      <a:pt x="599" y="1159"/>
                      <a:pt x="599" y="1159"/>
                    </a:cubicBezTo>
                    <a:cubicBezTo>
                      <a:pt x="601" y="1160"/>
                      <a:pt x="601" y="1160"/>
                      <a:pt x="601" y="1160"/>
                    </a:cubicBezTo>
                    <a:cubicBezTo>
                      <a:pt x="602" y="1162"/>
                      <a:pt x="602" y="1162"/>
                      <a:pt x="602" y="1162"/>
                    </a:cubicBezTo>
                    <a:cubicBezTo>
                      <a:pt x="607" y="1161"/>
                      <a:pt x="607" y="1161"/>
                      <a:pt x="607" y="1161"/>
                    </a:cubicBezTo>
                    <a:cubicBezTo>
                      <a:pt x="610" y="1164"/>
                      <a:pt x="610" y="1164"/>
                      <a:pt x="610" y="1164"/>
                    </a:cubicBezTo>
                    <a:cubicBezTo>
                      <a:pt x="611" y="1162"/>
                      <a:pt x="611" y="1162"/>
                      <a:pt x="611" y="1162"/>
                    </a:cubicBezTo>
                    <a:cubicBezTo>
                      <a:pt x="611" y="1159"/>
                      <a:pt x="611" y="1159"/>
                      <a:pt x="611" y="1159"/>
                    </a:cubicBezTo>
                    <a:cubicBezTo>
                      <a:pt x="614" y="1157"/>
                      <a:pt x="614" y="1157"/>
                      <a:pt x="614" y="1157"/>
                    </a:cubicBezTo>
                    <a:cubicBezTo>
                      <a:pt x="618" y="1157"/>
                      <a:pt x="618" y="1157"/>
                      <a:pt x="618" y="1157"/>
                    </a:cubicBezTo>
                    <a:cubicBezTo>
                      <a:pt x="620" y="1161"/>
                      <a:pt x="620" y="1161"/>
                      <a:pt x="620" y="1161"/>
                    </a:cubicBezTo>
                    <a:cubicBezTo>
                      <a:pt x="622" y="1158"/>
                      <a:pt x="622" y="1158"/>
                      <a:pt x="622" y="1158"/>
                    </a:cubicBezTo>
                    <a:cubicBezTo>
                      <a:pt x="622" y="1155"/>
                      <a:pt x="622" y="1155"/>
                      <a:pt x="622" y="1155"/>
                    </a:cubicBezTo>
                    <a:cubicBezTo>
                      <a:pt x="628" y="1153"/>
                      <a:pt x="628" y="1153"/>
                      <a:pt x="628" y="1153"/>
                    </a:cubicBezTo>
                    <a:cubicBezTo>
                      <a:pt x="632" y="1152"/>
                      <a:pt x="632" y="1152"/>
                      <a:pt x="632" y="1152"/>
                    </a:cubicBezTo>
                    <a:cubicBezTo>
                      <a:pt x="637" y="1150"/>
                      <a:pt x="637" y="1150"/>
                      <a:pt x="637" y="1150"/>
                    </a:cubicBezTo>
                    <a:cubicBezTo>
                      <a:pt x="642" y="1149"/>
                      <a:pt x="642" y="1149"/>
                      <a:pt x="642" y="1149"/>
                    </a:cubicBezTo>
                    <a:cubicBezTo>
                      <a:pt x="643" y="1147"/>
                      <a:pt x="643" y="1147"/>
                      <a:pt x="643" y="1147"/>
                    </a:cubicBezTo>
                    <a:cubicBezTo>
                      <a:pt x="648" y="1144"/>
                      <a:pt x="648" y="1144"/>
                      <a:pt x="648" y="1144"/>
                    </a:cubicBezTo>
                    <a:cubicBezTo>
                      <a:pt x="652" y="1143"/>
                      <a:pt x="652" y="1143"/>
                      <a:pt x="652" y="1143"/>
                    </a:cubicBezTo>
                    <a:cubicBezTo>
                      <a:pt x="655" y="1141"/>
                      <a:pt x="655" y="1141"/>
                      <a:pt x="655" y="1141"/>
                    </a:cubicBezTo>
                    <a:cubicBezTo>
                      <a:pt x="658" y="1141"/>
                      <a:pt x="658" y="1141"/>
                      <a:pt x="658" y="1141"/>
                    </a:cubicBezTo>
                    <a:cubicBezTo>
                      <a:pt x="660" y="1142"/>
                      <a:pt x="660" y="1142"/>
                      <a:pt x="660" y="1142"/>
                    </a:cubicBezTo>
                    <a:cubicBezTo>
                      <a:pt x="662" y="1140"/>
                      <a:pt x="662" y="1140"/>
                      <a:pt x="662" y="1140"/>
                    </a:cubicBezTo>
                    <a:cubicBezTo>
                      <a:pt x="661" y="1136"/>
                      <a:pt x="661" y="1136"/>
                      <a:pt x="661" y="1136"/>
                    </a:cubicBezTo>
                    <a:cubicBezTo>
                      <a:pt x="664" y="1134"/>
                      <a:pt x="664" y="1134"/>
                      <a:pt x="664" y="1134"/>
                    </a:cubicBezTo>
                    <a:cubicBezTo>
                      <a:pt x="668" y="1134"/>
                      <a:pt x="668" y="1134"/>
                      <a:pt x="668" y="1134"/>
                    </a:cubicBezTo>
                    <a:cubicBezTo>
                      <a:pt x="668" y="1131"/>
                      <a:pt x="668" y="1131"/>
                      <a:pt x="668" y="1131"/>
                    </a:cubicBezTo>
                    <a:cubicBezTo>
                      <a:pt x="670" y="1128"/>
                      <a:pt x="670" y="1128"/>
                      <a:pt x="670" y="1128"/>
                    </a:cubicBezTo>
                    <a:cubicBezTo>
                      <a:pt x="672" y="1131"/>
                      <a:pt x="672" y="1131"/>
                      <a:pt x="672" y="1131"/>
                    </a:cubicBezTo>
                    <a:cubicBezTo>
                      <a:pt x="675" y="1131"/>
                      <a:pt x="675" y="1131"/>
                      <a:pt x="675" y="1131"/>
                    </a:cubicBezTo>
                    <a:cubicBezTo>
                      <a:pt x="678" y="1129"/>
                      <a:pt x="678" y="1129"/>
                      <a:pt x="678" y="1129"/>
                    </a:cubicBezTo>
                    <a:cubicBezTo>
                      <a:pt x="682" y="1127"/>
                      <a:pt x="682" y="1127"/>
                      <a:pt x="682" y="1127"/>
                    </a:cubicBezTo>
                    <a:cubicBezTo>
                      <a:pt x="690" y="1121"/>
                      <a:pt x="690" y="1121"/>
                      <a:pt x="690" y="1121"/>
                    </a:cubicBezTo>
                    <a:cubicBezTo>
                      <a:pt x="692" y="1121"/>
                      <a:pt x="692" y="1121"/>
                      <a:pt x="692" y="1121"/>
                    </a:cubicBezTo>
                    <a:cubicBezTo>
                      <a:pt x="694" y="1120"/>
                      <a:pt x="694" y="1120"/>
                      <a:pt x="694" y="1120"/>
                    </a:cubicBezTo>
                    <a:cubicBezTo>
                      <a:pt x="698" y="1119"/>
                      <a:pt x="698" y="1119"/>
                      <a:pt x="698" y="1119"/>
                    </a:cubicBezTo>
                    <a:cubicBezTo>
                      <a:pt x="700" y="1115"/>
                      <a:pt x="700" y="1115"/>
                      <a:pt x="700" y="1115"/>
                    </a:cubicBezTo>
                    <a:cubicBezTo>
                      <a:pt x="703" y="1115"/>
                      <a:pt x="703" y="1115"/>
                      <a:pt x="703" y="1115"/>
                    </a:cubicBezTo>
                    <a:cubicBezTo>
                      <a:pt x="708" y="1114"/>
                      <a:pt x="708" y="1114"/>
                      <a:pt x="708" y="1114"/>
                    </a:cubicBezTo>
                    <a:cubicBezTo>
                      <a:pt x="708" y="1111"/>
                      <a:pt x="708" y="1111"/>
                      <a:pt x="708" y="1111"/>
                    </a:cubicBezTo>
                    <a:cubicBezTo>
                      <a:pt x="706" y="1108"/>
                      <a:pt x="706" y="1108"/>
                      <a:pt x="706" y="1108"/>
                    </a:cubicBezTo>
                    <a:cubicBezTo>
                      <a:pt x="708" y="1106"/>
                      <a:pt x="708" y="1106"/>
                      <a:pt x="708" y="1106"/>
                    </a:cubicBezTo>
                    <a:cubicBezTo>
                      <a:pt x="713" y="1106"/>
                      <a:pt x="713" y="1106"/>
                      <a:pt x="713" y="1106"/>
                    </a:cubicBezTo>
                    <a:cubicBezTo>
                      <a:pt x="714" y="1102"/>
                      <a:pt x="714" y="1102"/>
                      <a:pt x="714" y="1102"/>
                    </a:cubicBezTo>
                    <a:cubicBezTo>
                      <a:pt x="717" y="1100"/>
                      <a:pt x="717" y="1100"/>
                      <a:pt x="717" y="1100"/>
                    </a:cubicBezTo>
                    <a:cubicBezTo>
                      <a:pt x="719" y="1100"/>
                      <a:pt x="719" y="1100"/>
                      <a:pt x="719" y="1100"/>
                    </a:cubicBezTo>
                    <a:cubicBezTo>
                      <a:pt x="722" y="1099"/>
                      <a:pt x="722" y="1099"/>
                      <a:pt x="722" y="1099"/>
                    </a:cubicBezTo>
                    <a:cubicBezTo>
                      <a:pt x="726" y="1101"/>
                      <a:pt x="726" y="1101"/>
                      <a:pt x="726" y="1101"/>
                    </a:cubicBezTo>
                    <a:cubicBezTo>
                      <a:pt x="731" y="1101"/>
                      <a:pt x="731" y="1101"/>
                      <a:pt x="731" y="1101"/>
                    </a:cubicBezTo>
                    <a:cubicBezTo>
                      <a:pt x="736" y="1104"/>
                      <a:pt x="736" y="1104"/>
                      <a:pt x="736" y="1104"/>
                    </a:cubicBezTo>
                    <a:cubicBezTo>
                      <a:pt x="740" y="1104"/>
                      <a:pt x="740" y="1104"/>
                      <a:pt x="740" y="1104"/>
                    </a:cubicBezTo>
                    <a:cubicBezTo>
                      <a:pt x="744" y="1102"/>
                      <a:pt x="744" y="1102"/>
                      <a:pt x="744" y="1102"/>
                    </a:cubicBezTo>
                    <a:cubicBezTo>
                      <a:pt x="748" y="1102"/>
                      <a:pt x="748" y="1102"/>
                      <a:pt x="748" y="1102"/>
                    </a:cubicBezTo>
                    <a:cubicBezTo>
                      <a:pt x="749" y="1108"/>
                      <a:pt x="749" y="1108"/>
                      <a:pt x="749" y="1108"/>
                    </a:cubicBezTo>
                    <a:cubicBezTo>
                      <a:pt x="751" y="1109"/>
                      <a:pt x="751" y="1109"/>
                      <a:pt x="751" y="1109"/>
                    </a:cubicBezTo>
                    <a:cubicBezTo>
                      <a:pt x="752" y="1114"/>
                      <a:pt x="752" y="1114"/>
                      <a:pt x="752" y="1114"/>
                    </a:cubicBezTo>
                    <a:cubicBezTo>
                      <a:pt x="755" y="1117"/>
                      <a:pt x="755" y="1117"/>
                      <a:pt x="755" y="1117"/>
                    </a:cubicBezTo>
                    <a:cubicBezTo>
                      <a:pt x="757" y="1119"/>
                      <a:pt x="757" y="1119"/>
                      <a:pt x="757" y="1119"/>
                    </a:cubicBezTo>
                    <a:cubicBezTo>
                      <a:pt x="757" y="1121"/>
                      <a:pt x="757" y="1121"/>
                      <a:pt x="757" y="1121"/>
                    </a:cubicBezTo>
                    <a:cubicBezTo>
                      <a:pt x="757" y="1125"/>
                      <a:pt x="757" y="1125"/>
                      <a:pt x="757" y="1125"/>
                    </a:cubicBezTo>
                    <a:cubicBezTo>
                      <a:pt x="757" y="1129"/>
                      <a:pt x="757" y="1129"/>
                      <a:pt x="757" y="1129"/>
                    </a:cubicBezTo>
                    <a:cubicBezTo>
                      <a:pt x="757" y="1131"/>
                      <a:pt x="757" y="1131"/>
                      <a:pt x="757" y="1131"/>
                    </a:cubicBezTo>
                    <a:cubicBezTo>
                      <a:pt x="754" y="1132"/>
                      <a:pt x="754" y="1132"/>
                      <a:pt x="754" y="1132"/>
                    </a:cubicBezTo>
                    <a:cubicBezTo>
                      <a:pt x="756" y="1136"/>
                      <a:pt x="756" y="1136"/>
                      <a:pt x="756" y="1136"/>
                    </a:cubicBezTo>
                    <a:cubicBezTo>
                      <a:pt x="758" y="1138"/>
                      <a:pt x="758" y="1138"/>
                      <a:pt x="758" y="1138"/>
                    </a:cubicBezTo>
                    <a:cubicBezTo>
                      <a:pt x="762" y="1135"/>
                      <a:pt x="762" y="1135"/>
                      <a:pt x="762" y="1135"/>
                    </a:cubicBezTo>
                    <a:cubicBezTo>
                      <a:pt x="765" y="1138"/>
                      <a:pt x="765" y="1138"/>
                      <a:pt x="765" y="1138"/>
                    </a:cubicBezTo>
                    <a:cubicBezTo>
                      <a:pt x="767" y="1137"/>
                      <a:pt x="767" y="1137"/>
                      <a:pt x="767" y="1137"/>
                    </a:cubicBezTo>
                    <a:cubicBezTo>
                      <a:pt x="768" y="1133"/>
                      <a:pt x="768" y="1133"/>
                      <a:pt x="768" y="1133"/>
                    </a:cubicBezTo>
                    <a:cubicBezTo>
                      <a:pt x="770" y="1132"/>
                      <a:pt x="770" y="1132"/>
                      <a:pt x="770" y="1132"/>
                    </a:cubicBezTo>
                    <a:cubicBezTo>
                      <a:pt x="771" y="1136"/>
                      <a:pt x="771" y="1136"/>
                      <a:pt x="771" y="1136"/>
                    </a:cubicBezTo>
                    <a:cubicBezTo>
                      <a:pt x="773" y="1136"/>
                      <a:pt x="773" y="1136"/>
                      <a:pt x="773" y="1136"/>
                    </a:cubicBezTo>
                    <a:cubicBezTo>
                      <a:pt x="774" y="1133"/>
                      <a:pt x="774" y="1133"/>
                      <a:pt x="774" y="1133"/>
                    </a:cubicBezTo>
                    <a:cubicBezTo>
                      <a:pt x="772" y="1128"/>
                      <a:pt x="772" y="1128"/>
                      <a:pt x="772" y="1128"/>
                    </a:cubicBezTo>
                    <a:cubicBezTo>
                      <a:pt x="774" y="1127"/>
                      <a:pt x="774" y="1127"/>
                      <a:pt x="774" y="1127"/>
                    </a:cubicBezTo>
                    <a:cubicBezTo>
                      <a:pt x="780" y="1133"/>
                      <a:pt x="780" y="1133"/>
                      <a:pt x="780" y="1133"/>
                    </a:cubicBezTo>
                    <a:cubicBezTo>
                      <a:pt x="781" y="1140"/>
                      <a:pt x="781" y="1140"/>
                      <a:pt x="781" y="1140"/>
                    </a:cubicBezTo>
                    <a:cubicBezTo>
                      <a:pt x="783" y="1145"/>
                      <a:pt x="783" y="1145"/>
                      <a:pt x="783" y="1145"/>
                    </a:cubicBezTo>
                    <a:cubicBezTo>
                      <a:pt x="785" y="1145"/>
                      <a:pt x="785" y="1145"/>
                      <a:pt x="785" y="1145"/>
                    </a:cubicBezTo>
                    <a:cubicBezTo>
                      <a:pt x="788" y="1142"/>
                      <a:pt x="788" y="1142"/>
                      <a:pt x="788" y="1142"/>
                    </a:cubicBezTo>
                    <a:cubicBezTo>
                      <a:pt x="786" y="1140"/>
                      <a:pt x="786" y="1140"/>
                      <a:pt x="786" y="1140"/>
                    </a:cubicBezTo>
                    <a:cubicBezTo>
                      <a:pt x="785" y="1138"/>
                      <a:pt x="785" y="1138"/>
                      <a:pt x="785" y="1138"/>
                    </a:cubicBezTo>
                    <a:cubicBezTo>
                      <a:pt x="789" y="1137"/>
                      <a:pt x="789" y="1137"/>
                      <a:pt x="789" y="1137"/>
                    </a:cubicBezTo>
                    <a:cubicBezTo>
                      <a:pt x="796" y="1141"/>
                      <a:pt x="796" y="1141"/>
                      <a:pt x="796" y="1141"/>
                    </a:cubicBezTo>
                    <a:cubicBezTo>
                      <a:pt x="798" y="1141"/>
                      <a:pt x="798" y="1141"/>
                      <a:pt x="798" y="1141"/>
                    </a:cubicBezTo>
                    <a:cubicBezTo>
                      <a:pt x="801" y="1138"/>
                      <a:pt x="801" y="1138"/>
                      <a:pt x="801" y="1138"/>
                    </a:cubicBezTo>
                    <a:cubicBezTo>
                      <a:pt x="803" y="1140"/>
                      <a:pt x="803" y="1140"/>
                      <a:pt x="803" y="1140"/>
                    </a:cubicBezTo>
                    <a:cubicBezTo>
                      <a:pt x="801" y="1144"/>
                      <a:pt x="801" y="1144"/>
                      <a:pt x="801" y="1144"/>
                    </a:cubicBezTo>
                    <a:cubicBezTo>
                      <a:pt x="799" y="1146"/>
                      <a:pt x="799" y="1146"/>
                      <a:pt x="799" y="1146"/>
                    </a:cubicBezTo>
                    <a:cubicBezTo>
                      <a:pt x="799" y="1152"/>
                      <a:pt x="799" y="1152"/>
                      <a:pt x="799" y="1152"/>
                    </a:cubicBezTo>
                    <a:cubicBezTo>
                      <a:pt x="801" y="1156"/>
                      <a:pt x="801" y="1156"/>
                      <a:pt x="801" y="1156"/>
                    </a:cubicBezTo>
                    <a:cubicBezTo>
                      <a:pt x="804" y="1156"/>
                      <a:pt x="804" y="1156"/>
                      <a:pt x="804" y="1156"/>
                    </a:cubicBezTo>
                    <a:cubicBezTo>
                      <a:pt x="806" y="1153"/>
                      <a:pt x="806" y="1153"/>
                      <a:pt x="806" y="1153"/>
                    </a:cubicBezTo>
                    <a:cubicBezTo>
                      <a:pt x="810" y="1151"/>
                      <a:pt x="810" y="1151"/>
                      <a:pt x="810" y="1151"/>
                    </a:cubicBezTo>
                    <a:cubicBezTo>
                      <a:pt x="817" y="1153"/>
                      <a:pt x="817" y="1153"/>
                      <a:pt x="817" y="1153"/>
                    </a:cubicBezTo>
                    <a:cubicBezTo>
                      <a:pt x="819" y="1155"/>
                      <a:pt x="819" y="1155"/>
                      <a:pt x="819" y="1155"/>
                    </a:cubicBezTo>
                    <a:cubicBezTo>
                      <a:pt x="821" y="1153"/>
                      <a:pt x="821" y="1153"/>
                      <a:pt x="821" y="1153"/>
                    </a:cubicBezTo>
                    <a:cubicBezTo>
                      <a:pt x="821" y="1148"/>
                      <a:pt x="821" y="1148"/>
                      <a:pt x="821" y="1148"/>
                    </a:cubicBezTo>
                    <a:cubicBezTo>
                      <a:pt x="824" y="1146"/>
                      <a:pt x="824" y="1146"/>
                      <a:pt x="824" y="1146"/>
                    </a:cubicBezTo>
                    <a:cubicBezTo>
                      <a:pt x="829" y="1145"/>
                      <a:pt x="829" y="1145"/>
                      <a:pt x="829" y="1145"/>
                    </a:cubicBezTo>
                    <a:cubicBezTo>
                      <a:pt x="833" y="1143"/>
                      <a:pt x="833" y="1143"/>
                      <a:pt x="833" y="1143"/>
                    </a:cubicBezTo>
                    <a:cubicBezTo>
                      <a:pt x="834" y="1139"/>
                      <a:pt x="834" y="1139"/>
                      <a:pt x="834" y="1139"/>
                    </a:cubicBezTo>
                    <a:cubicBezTo>
                      <a:pt x="837" y="1136"/>
                      <a:pt x="837" y="1136"/>
                      <a:pt x="837" y="1136"/>
                    </a:cubicBezTo>
                    <a:cubicBezTo>
                      <a:pt x="837" y="1133"/>
                      <a:pt x="837" y="1133"/>
                      <a:pt x="837" y="1133"/>
                    </a:cubicBezTo>
                    <a:cubicBezTo>
                      <a:pt x="841" y="1128"/>
                      <a:pt x="841" y="1128"/>
                      <a:pt x="841" y="1128"/>
                    </a:cubicBezTo>
                    <a:cubicBezTo>
                      <a:pt x="844" y="1127"/>
                      <a:pt x="844" y="1127"/>
                      <a:pt x="844" y="1127"/>
                    </a:cubicBezTo>
                    <a:cubicBezTo>
                      <a:pt x="847" y="1123"/>
                      <a:pt x="847" y="1123"/>
                      <a:pt x="847" y="1123"/>
                    </a:cubicBezTo>
                    <a:cubicBezTo>
                      <a:pt x="851" y="1122"/>
                      <a:pt x="851" y="1122"/>
                      <a:pt x="851" y="1122"/>
                    </a:cubicBezTo>
                    <a:cubicBezTo>
                      <a:pt x="856" y="1120"/>
                      <a:pt x="856" y="1120"/>
                      <a:pt x="856" y="1120"/>
                    </a:cubicBezTo>
                    <a:cubicBezTo>
                      <a:pt x="858" y="1122"/>
                      <a:pt x="858" y="1122"/>
                      <a:pt x="858" y="1122"/>
                    </a:cubicBezTo>
                    <a:cubicBezTo>
                      <a:pt x="858" y="1126"/>
                      <a:pt x="858" y="1126"/>
                      <a:pt x="858" y="1126"/>
                    </a:cubicBezTo>
                    <a:cubicBezTo>
                      <a:pt x="855" y="1130"/>
                      <a:pt x="855" y="1130"/>
                      <a:pt x="855" y="1130"/>
                    </a:cubicBezTo>
                    <a:cubicBezTo>
                      <a:pt x="852" y="1131"/>
                      <a:pt x="852" y="1131"/>
                      <a:pt x="852" y="1131"/>
                    </a:cubicBezTo>
                    <a:cubicBezTo>
                      <a:pt x="853" y="1134"/>
                      <a:pt x="853" y="1134"/>
                      <a:pt x="853" y="1134"/>
                    </a:cubicBezTo>
                    <a:cubicBezTo>
                      <a:pt x="886" y="1164"/>
                      <a:pt x="886" y="1164"/>
                      <a:pt x="886" y="1164"/>
                    </a:cubicBezTo>
                    <a:cubicBezTo>
                      <a:pt x="931" y="1231"/>
                      <a:pt x="931" y="1231"/>
                      <a:pt x="931" y="1231"/>
                    </a:cubicBezTo>
                    <a:cubicBezTo>
                      <a:pt x="935" y="1230"/>
                      <a:pt x="935" y="1230"/>
                      <a:pt x="935" y="1230"/>
                    </a:cubicBezTo>
                    <a:cubicBezTo>
                      <a:pt x="938" y="1228"/>
                      <a:pt x="938" y="1228"/>
                      <a:pt x="938" y="1228"/>
                    </a:cubicBezTo>
                    <a:cubicBezTo>
                      <a:pt x="939" y="1225"/>
                      <a:pt x="939" y="1225"/>
                      <a:pt x="939" y="1225"/>
                    </a:cubicBezTo>
                    <a:cubicBezTo>
                      <a:pt x="938" y="1224"/>
                      <a:pt x="938" y="1224"/>
                      <a:pt x="938" y="1224"/>
                    </a:cubicBezTo>
                    <a:cubicBezTo>
                      <a:pt x="938" y="1219"/>
                      <a:pt x="938" y="1219"/>
                      <a:pt x="938" y="1219"/>
                    </a:cubicBezTo>
                    <a:cubicBezTo>
                      <a:pt x="941" y="1218"/>
                      <a:pt x="941" y="1218"/>
                      <a:pt x="941" y="1218"/>
                    </a:cubicBezTo>
                    <a:cubicBezTo>
                      <a:pt x="946" y="1221"/>
                      <a:pt x="946" y="1221"/>
                      <a:pt x="946" y="1221"/>
                    </a:cubicBezTo>
                    <a:cubicBezTo>
                      <a:pt x="945" y="1224"/>
                      <a:pt x="945" y="1224"/>
                      <a:pt x="945" y="1224"/>
                    </a:cubicBezTo>
                    <a:cubicBezTo>
                      <a:pt x="946" y="1227"/>
                      <a:pt x="946" y="1227"/>
                      <a:pt x="946" y="1227"/>
                    </a:cubicBezTo>
                    <a:cubicBezTo>
                      <a:pt x="950" y="1228"/>
                      <a:pt x="950" y="1228"/>
                      <a:pt x="950" y="1228"/>
                    </a:cubicBezTo>
                    <a:cubicBezTo>
                      <a:pt x="952" y="1231"/>
                      <a:pt x="952" y="1231"/>
                      <a:pt x="952" y="1231"/>
                    </a:cubicBezTo>
                    <a:cubicBezTo>
                      <a:pt x="956" y="1231"/>
                      <a:pt x="956" y="1231"/>
                      <a:pt x="956" y="1231"/>
                    </a:cubicBezTo>
                    <a:cubicBezTo>
                      <a:pt x="958" y="1229"/>
                      <a:pt x="958" y="1229"/>
                      <a:pt x="958" y="1229"/>
                    </a:cubicBezTo>
                    <a:cubicBezTo>
                      <a:pt x="961" y="1229"/>
                      <a:pt x="961" y="1229"/>
                      <a:pt x="961" y="1229"/>
                    </a:cubicBezTo>
                    <a:cubicBezTo>
                      <a:pt x="966" y="1232"/>
                      <a:pt x="966" y="1232"/>
                      <a:pt x="966" y="1232"/>
                    </a:cubicBezTo>
                    <a:cubicBezTo>
                      <a:pt x="970" y="1230"/>
                      <a:pt x="970" y="1230"/>
                      <a:pt x="970" y="1230"/>
                    </a:cubicBezTo>
                    <a:cubicBezTo>
                      <a:pt x="973" y="1230"/>
                      <a:pt x="973" y="1230"/>
                      <a:pt x="973" y="1230"/>
                    </a:cubicBezTo>
                    <a:cubicBezTo>
                      <a:pt x="976" y="1229"/>
                      <a:pt x="976" y="1229"/>
                      <a:pt x="976" y="1229"/>
                    </a:cubicBezTo>
                    <a:cubicBezTo>
                      <a:pt x="977" y="1227"/>
                      <a:pt x="977" y="1227"/>
                      <a:pt x="977" y="1227"/>
                    </a:cubicBezTo>
                    <a:cubicBezTo>
                      <a:pt x="976" y="1224"/>
                      <a:pt x="976" y="1224"/>
                      <a:pt x="976" y="1224"/>
                    </a:cubicBezTo>
                    <a:cubicBezTo>
                      <a:pt x="977" y="1222"/>
                      <a:pt x="977" y="1222"/>
                      <a:pt x="977" y="1222"/>
                    </a:cubicBezTo>
                    <a:cubicBezTo>
                      <a:pt x="983" y="1221"/>
                      <a:pt x="983" y="1221"/>
                      <a:pt x="983" y="1221"/>
                    </a:cubicBezTo>
                    <a:cubicBezTo>
                      <a:pt x="989" y="1221"/>
                      <a:pt x="989" y="1221"/>
                      <a:pt x="989" y="1221"/>
                    </a:cubicBezTo>
                    <a:cubicBezTo>
                      <a:pt x="995" y="1223"/>
                      <a:pt x="995" y="1223"/>
                      <a:pt x="995" y="1223"/>
                    </a:cubicBezTo>
                    <a:cubicBezTo>
                      <a:pt x="1000" y="1228"/>
                      <a:pt x="1000" y="1228"/>
                      <a:pt x="1000" y="1228"/>
                    </a:cubicBezTo>
                    <a:cubicBezTo>
                      <a:pt x="1003" y="1234"/>
                      <a:pt x="1003" y="1234"/>
                      <a:pt x="1003" y="1234"/>
                    </a:cubicBezTo>
                    <a:cubicBezTo>
                      <a:pt x="1005" y="1239"/>
                      <a:pt x="1005" y="1239"/>
                      <a:pt x="1005" y="1239"/>
                    </a:cubicBezTo>
                    <a:cubicBezTo>
                      <a:pt x="1007" y="1239"/>
                      <a:pt x="1007" y="1239"/>
                      <a:pt x="1007" y="1239"/>
                    </a:cubicBezTo>
                    <a:cubicBezTo>
                      <a:pt x="1011" y="1240"/>
                      <a:pt x="1011" y="1240"/>
                      <a:pt x="1011" y="1240"/>
                    </a:cubicBezTo>
                    <a:cubicBezTo>
                      <a:pt x="1015" y="1244"/>
                      <a:pt x="1015" y="1244"/>
                      <a:pt x="1015" y="1244"/>
                    </a:cubicBezTo>
                    <a:cubicBezTo>
                      <a:pt x="1016" y="1244"/>
                      <a:pt x="1016" y="1244"/>
                      <a:pt x="1016" y="1244"/>
                    </a:cubicBezTo>
                    <a:cubicBezTo>
                      <a:pt x="1019" y="1245"/>
                      <a:pt x="1019" y="1245"/>
                      <a:pt x="1019" y="1245"/>
                    </a:cubicBezTo>
                    <a:cubicBezTo>
                      <a:pt x="1019" y="1248"/>
                      <a:pt x="1019" y="1248"/>
                      <a:pt x="1019" y="1248"/>
                    </a:cubicBezTo>
                    <a:cubicBezTo>
                      <a:pt x="1018" y="1250"/>
                      <a:pt x="1018" y="1250"/>
                      <a:pt x="1018" y="1250"/>
                    </a:cubicBezTo>
                    <a:cubicBezTo>
                      <a:pt x="1018" y="1253"/>
                      <a:pt x="1018" y="1253"/>
                      <a:pt x="1018" y="1253"/>
                    </a:cubicBezTo>
                    <a:cubicBezTo>
                      <a:pt x="1019" y="1256"/>
                      <a:pt x="1019" y="1256"/>
                      <a:pt x="1019" y="1256"/>
                    </a:cubicBezTo>
                    <a:cubicBezTo>
                      <a:pt x="1021" y="1258"/>
                      <a:pt x="1021" y="1258"/>
                      <a:pt x="1021" y="1258"/>
                    </a:cubicBezTo>
                    <a:cubicBezTo>
                      <a:pt x="1022" y="1259"/>
                      <a:pt x="1022" y="1259"/>
                      <a:pt x="1022" y="1259"/>
                    </a:cubicBezTo>
                    <a:cubicBezTo>
                      <a:pt x="1024" y="1259"/>
                      <a:pt x="1024" y="1259"/>
                      <a:pt x="1024" y="1259"/>
                    </a:cubicBezTo>
                    <a:cubicBezTo>
                      <a:pt x="1027" y="1261"/>
                      <a:pt x="1027" y="1261"/>
                      <a:pt x="1027" y="1261"/>
                    </a:cubicBezTo>
                    <a:cubicBezTo>
                      <a:pt x="1030" y="1263"/>
                      <a:pt x="1030" y="1263"/>
                      <a:pt x="1030" y="1263"/>
                    </a:cubicBezTo>
                    <a:cubicBezTo>
                      <a:pt x="1031" y="1261"/>
                      <a:pt x="1031" y="1261"/>
                      <a:pt x="1031" y="1261"/>
                    </a:cubicBezTo>
                    <a:cubicBezTo>
                      <a:pt x="1034" y="1259"/>
                      <a:pt x="1034" y="1259"/>
                      <a:pt x="1034" y="1259"/>
                    </a:cubicBezTo>
                    <a:cubicBezTo>
                      <a:pt x="1043" y="1258"/>
                      <a:pt x="1043" y="1258"/>
                      <a:pt x="1043" y="1258"/>
                    </a:cubicBezTo>
                    <a:cubicBezTo>
                      <a:pt x="1046" y="1257"/>
                      <a:pt x="1046" y="1257"/>
                      <a:pt x="1046" y="1257"/>
                    </a:cubicBezTo>
                    <a:cubicBezTo>
                      <a:pt x="1048" y="1253"/>
                      <a:pt x="1048" y="1253"/>
                      <a:pt x="1048" y="1253"/>
                    </a:cubicBezTo>
                    <a:cubicBezTo>
                      <a:pt x="1052" y="1251"/>
                      <a:pt x="1052" y="1251"/>
                      <a:pt x="1052" y="1251"/>
                    </a:cubicBezTo>
                    <a:cubicBezTo>
                      <a:pt x="1054" y="1252"/>
                      <a:pt x="1054" y="1252"/>
                      <a:pt x="1054" y="1252"/>
                    </a:cubicBezTo>
                    <a:cubicBezTo>
                      <a:pt x="1052" y="1257"/>
                      <a:pt x="1052" y="1257"/>
                      <a:pt x="1052" y="1257"/>
                    </a:cubicBezTo>
                    <a:cubicBezTo>
                      <a:pt x="1053" y="1261"/>
                      <a:pt x="1053" y="1261"/>
                      <a:pt x="1053" y="1261"/>
                    </a:cubicBezTo>
                    <a:cubicBezTo>
                      <a:pt x="1056" y="1261"/>
                      <a:pt x="1056" y="1261"/>
                      <a:pt x="1056" y="1261"/>
                    </a:cubicBezTo>
                    <a:cubicBezTo>
                      <a:pt x="1060" y="1266"/>
                      <a:pt x="1060" y="1266"/>
                      <a:pt x="1060" y="1266"/>
                    </a:cubicBezTo>
                    <a:cubicBezTo>
                      <a:pt x="1065" y="1268"/>
                      <a:pt x="1065" y="1268"/>
                      <a:pt x="1065" y="1268"/>
                    </a:cubicBezTo>
                    <a:cubicBezTo>
                      <a:pt x="1066" y="1269"/>
                      <a:pt x="1066" y="1269"/>
                      <a:pt x="1066" y="1269"/>
                    </a:cubicBezTo>
                    <a:cubicBezTo>
                      <a:pt x="1068" y="1269"/>
                      <a:pt x="1068" y="1269"/>
                      <a:pt x="1068" y="1269"/>
                    </a:cubicBezTo>
                    <a:cubicBezTo>
                      <a:pt x="1072" y="1271"/>
                      <a:pt x="1072" y="1271"/>
                      <a:pt x="1072" y="1271"/>
                    </a:cubicBezTo>
                    <a:cubicBezTo>
                      <a:pt x="1074" y="1271"/>
                      <a:pt x="1074" y="1271"/>
                      <a:pt x="1074" y="1271"/>
                    </a:cubicBezTo>
                    <a:cubicBezTo>
                      <a:pt x="1074" y="1270"/>
                      <a:pt x="1074" y="1270"/>
                      <a:pt x="1074" y="1270"/>
                    </a:cubicBezTo>
                    <a:cubicBezTo>
                      <a:pt x="1076" y="1262"/>
                      <a:pt x="1076" y="1262"/>
                      <a:pt x="1076" y="1262"/>
                    </a:cubicBezTo>
                    <a:cubicBezTo>
                      <a:pt x="1080" y="1260"/>
                      <a:pt x="1080" y="1260"/>
                      <a:pt x="1080" y="1260"/>
                    </a:cubicBezTo>
                    <a:cubicBezTo>
                      <a:pt x="1088" y="1261"/>
                      <a:pt x="1088" y="1261"/>
                      <a:pt x="1088" y="1261"/>
                    </a:cubicBezTo>
                    <a:cubicBezTo>
                      <a:pt x="1089" y="1258"/>
                      <a:pt x="1089" y="1258"/>
                      <a:pt x="1089" y="1258"/>
                    </a:cubicBezTo>
                    <a:cubicBezTo>
                      <a:pt x="1092" y="1254"/>
                      <a:pt x="1092" y="1254"/>
                      <a:pt x="1092" y="1254"/>
                    </a:cubicBezTo>
                    <a:cubicBezTo>
                      <a:pt x="1098" y="1252"/>
                      <a:pt x="1098" y="1252"/>
                      <a:pt x="1098" y="1252"/>
                    </a:cubicBezTo>
                    <a:cubicBezTo>
                      <a:pt x="1099" y="1247"/>
                      <a:pt x="1099" y="1247"/>
                      <a:pt x="1099" y="1247"/>
                    </a:cubicBezTo>
                    <a:cubicBezTo>
                      <a:pt x="1100" y="1243"/>
                      <a:pt x="1100" y="1243"/>
                      <a:pt x="1100" y="1243"/>
                    </a:cubicBezTo>
                    <a:cubicBezTo>
                      <a:pt x="1105" y="1240"/>
                      <a:pt x="1105" y="1240"/>
                      <a:pt x="1105" y="1240"/>
                    </a:cubicBezTo>
                    <a:cubicBezTo>
                      <a:pt x="1105" y="1237"/>
                      <a:pt x="1105" y="1237"/>
                      <a:pt x="1105" y="1237"/>
                    </a:cubicBezTo>
                    <a:cubicBezTo>
                      <a:pt x="1108" y="1234"/>
                      <a:pt x="1108" y="1234"/>
                      <a:pt x="1108" y="1234"/>
                    </a:cubicBezTo>
                    <a:cubicBezTo>
                      <a:pt x="1111" y="1233"/>
                      <a:pt x="1111" y="1233"/>
                      <a:pt x="1111" y="1233"/>
                    </a:cubicBezTo>
                    <a:cubicBezTo>
                      <a:pt x="1113" y="1229"/>
                      <a:pt x="1113" y="1229"/>
                      <a:pt x="1113" y="1229"/>
                    </a:cubicBezTo>
                    <a:cubicBezTo>
                      <a:pt x="1115" y="1227"/>
                      <a:pt x="1115" y="1227"/>
                      <a:pt x="1115" y="1227"/>
                    </a:cubicBezTo>
                    <a:cubicBezTo>
                      <a:pt x="1113" y="1225"/>
                      <a:pt x="1113" y="1225"/>
                      <a:pt x="1113" y="1225"/>
                    </a:cubicBezTo>
                    <a:cubicBezTo>
                      <a:pt x="1113" y="1222"/>
                      <a:pt x="1113" y="1222"/>
                      <a:pt x="1113" y="1222"/>
                    </a:cubicBezTo>
                    <a:cubicBezTo>
                      <a:pt x="1114" y="1220"/>
                      <a:pt x="1114" y="1220"/>
                      <a:pt x="1114" y="1220"/>
                    </a:cubicBezTo>
                    <a:cubicBezTo>
                      <a:pt x="1120" y="1222"/>
                      <a:pt x="1120" y="1222"/>
                      <a:pt x="1120" y="1222"/>
                    </a:cubicBezTo>
                    <a:cubicBezTo>
                      <a:pt x="1122" y="1221"/>
                      <a:pt x="1122" y="1221"/>
                      <a:pt x="1122" y="1221"/>
                    </a:cubicBezTo>
                    <a:cubicBezTo>
                      <a:pt x="1124" y="1215"/>
                      <a:pt x="1124" y="1215"/>
                      <a:pt x="1124" y="1215"/>
                    </a:cubicBezTo>
                    <a:cubicBezTo>
                      <a:pt x="1127" y="1214"/>
                      <a:pt x="1127" y="1214"/>
                      <a:pt x="1127" y="1214"/>
                    </a:cubicBezTo>
                    <a:cubicBezTo>
                      <a:pt x="1134" y="1213"/>
                      <a:pt x="1134" y="1213"/>
                      <a:pt x="1134" y="1213"/>
                    </a:cubicBezTo>
                    <a:cubicBezTo>
                      <a:pt x="1137" y="1211"/>
                      <a:pt x="1137" y="1211"/>
                      <a:pt x="1137" y="1211"/>
                    </a:cubicBezTo>
                    <a:cubicBezTo>
                      <a:pt x="1140" y="1211"/>
                      <a:pt x="1140" y="1211"/>
                      <a:pt x="1140" y="1211"/>
                    </a:cubicBezTo>
                    <a:cubicBezTo>
                      <a:pt x="1144" y="1212"/>
                      <a:pt x="1144" y="1212"/>
                      <a:pt x="1144" y="1212"/>
                    </a:cubicBezTo>
                    <a:cubicBezTo>
                      <a:pt x="1147" y="1210"/>
                      <a:pt x="1147" y="1210"/>
                      <a:pt x="1147" y="1210"/>
                    </a:cubicBezTo>
                    <a:cubicBezTo>
                      <a:pt x="1148" y="1210"/>
                      <a:pt x="1148" y="1210"/>
                      <a:pt x="1148" y="1210"/>
                    </a:cubicBezTo>
                    <a:cubicBezTo>
                      <a:pt x="1150" y="1213"/>
                      <a:pt x="1150" y="1213"/>
                      <a:pt x="1150" y="1213"/>
                    </a:cubicBezTo>
                    <a:cubicBezTo>
                      <a:pt x="1151" y="1216"/>
                      <a:pt x="1151" y="1216"/>
                      <a:pt x="1151" y="1216"/>
                    </a:cubicBezTo>
                    <a:cubicBezTo>
                      <a:pt x="1153" y="1219"/>
                      <a:pt x="1153" y="1219"/>
                      <a:pt x="1153" y="1219"/>
                    </a:cubicBezTo>
                    <a:cubicBezTo>
                      <a:pt x="1157" y="1218"/>
                      <a:pt x="1157" y="1218"/>
                      <a:pt x="1157" y="1218"/>
                    </a:cubicBezTo>
                    <a:cubicBezTo>
                      <a:pt x="1158" y="1217"/>
                      <a:pt x="1158" y="1217"/>
                      <a:pt x="1158" y="1217"/>
                    </a:cubicBezTo>
                    <a:cubicBezTo>
                      <a:pt x="1162" y="1218"/>
                      <a:pt x="1162" y="1218"/>
                      <a:pt x="1162" y="1218"/>
                    </a:cubicBezTo>
                    <a:cubicBezTo>
                      <a:pt x="1165" y="1216"/>
                      <a:pt x="1165" y="1216"/>
                      <a:pt x="1165" y="1216"/>
                    </a:cubicBezTo>
                    <a:cubicBezTo>
                      <a:pt x="1170" y="1215"/>
                      <a:pt x="1170" y="1215"/>
                      <a:pt x="1170" y="1215"/>
                    </a:cubicBezTo>
                    <a:cubicBezTo>
                      <a:pt x="1171" y="1219"/>
                      <a:pt x="1171" y="1219"/>
                      <a:pt x="1171" y="1219"/>
                    </a:cubicBezTo>
                    <a:cubicBezTo>
                      <a:pt x="1172" y="1222"/>
                      <a:pt x="1172" y="1222"/>
                      <a:pt x="1172" y="1222"/>
                    </a:cubicBezTo>
                    <a:cubicBezTo>
                      <a:pt x="1173" y="1225"/>
                      <a:pt x="1173" y="1225"/>
                      <a:pt x="1173" y="1225"/>
                    </a:cubicBezTo>
                    <a:cubicBezTo>
                      <a:pt x="1182" y="1231"/>
                      <a:pt x="1182" y="1231"/>
                      <a:pt x="1182" y="1231"/>
                    </a:cubicBezTo>
                    <a:cubicBezTo>
                      <a:pt x="1186" y="1234"/>
                      <a:pt x="1186" y="1234"/>
                      <a:pt x="1186" y="1234"/>
                    </a:cubicBezTo>
                    <a:cubicBezTo>
                      <a:pt x="1192" y="1238"/>
                      <a:pt x="1192" y="1238"/>
                      <a:pt x="1192" y="1238"/>
                    </a:cubicBezTo>
                    <a:cubicBezTo>
                      <a:pt x="1194" y="1237"/>
                      <a:pt x="1194" y="1237"/>
                      <a:pt x="1194" y="1237"/>
                    </a:cubicBezTo>
                    <a:cubicBezTo>
                      <a:pt x="1198" y="1235"/>
                      <a:pt x="1198" y="1235"/>
                      <a:pt x="1198" y="1235"/>
                    </a:cubicBezTo>
                    <a:cubicBezTo>
                      <a:pt x="1202" y="1232"/>
                      <a:pt x="1202" y="1232"/>
                      <a:pt x="1202" y="1232"/>
                    </a:cubicBezTo>
                    <a:cubicBezTo>
                      <a:pt x="1205" y="1231"/>
                      <a:pt x="1205" y="1231"/>
                      <a:pt x="1205" y="1231"/>
                    </a:cubicBezTo>
                    <a:cubicBezTo>
                      <a:pt x="1209" y="1232"/>
                      <a:pt x="1209" y="1232"/>
                      <a:pt x="1209" y="1232"/>
                    </a:cubicBezTo>
                    <a:cubicBezTo>
                      <a:pt x="1211" y="1234"/>
                      <a:pt x="1211" y="1234"/>
                      <a:pt x="1211" y="1234"/>
                    </a:cubicBezTo>
                    <a:cubicBezTo>
                      <a:pt x="1214" y="1233"/>
                      <a:pt x="1214" y="1233"/>
                      <a:pt x="1214" y="1233"/>
                    </a:cubicBezTo>
                    <a:cubicBezTo>
                      <a:pt x="1222" y="1234"/>
                      <a:pt x="1222" y="1234"/>
                      <a:pt x="1222" y="1234"/>
                    </a:cubicBezTo>
                    <a:cubicBezTo>
                      <a:pt x="1225" y="1235"/>
                      <a:pt x="1225" y="1235"/>
                      <a:pt x="1225" y="1235"/>
                    </a:cubicBezTo>
                    <a:cubicBezTo>
                      <a:pt x="1229" y="1235"/>
                      <a:pt x="1229" y="1235"/>
                      <a:pt x="1229" y="1235"/>
                    </a:cubicBezTo>
                    <a:cubicBezTo>
                      <a:pt x="1229" y="1234"/>
                      <a:pt x="1229" y="1234"/>
                      <a:pt x="1229" y="1234"/>
                    </a:cubicBezTo>
                    <a:cubicBezTo>
                      <a:pt x="1233" y="1234"/>
                      <a:pt x="1233" y="1234"/>
                      <a:pt x="1233" y="1234"/>
                    </a:cubicBezTo>
                    <a:cubicBezTo>
                      <a:pt x="1239" y="1234"/>
                      <a:pt x="1239" y="1234"/>
                      <a:pt x="1239" y="1234"/>
                    </a:cubicBezTo>
                    <a:cubicBezTo>
                      <a:pt x="1242" y="1227"/>
                      <a:pt x="1242" y="1227"/>
                      <a:pt x="1242" y="1227"/>
                    </a:cubicBezTo>
                    <a:cubicBezTo>
                      <a:pt x="1240" y="1224"/>
                      <a:pt x="1240" y="1224"/>
                      <a:pt x="1240" y="1224"/>
                    </a:cubicBezTo>
                    <a:cubicBezTo>
                      <a:pt x="1237" y="1221"/>
                      <a:pt x="1237" y="1221"/>
                      <a:pt x="1237" y="1221"/>
                    </a:cubicBezTo>
                    <a:cubicBezTo>
                      <a:pt x="1237" y="1215"/>
                      <a:pt x="1237" y="1215"/>
                      <a:pt x="1237" y="1215"/>
                    </a:cubicBezTo>
                    <a:cubicBezTo>
                      <a:pt x="1238" y="1208"/>
                      <a:pt x="1238" y="1208"/>
                      <a:pt x="1238" y="1208"/>
                    </a:cubicBezTo>
                    <a:cubicBezTo>
                      <a:pt x="1237" y="1205"/>
                      <a:pt x="1237" y="1205"/>
                      <a:pt x="1237" y="1205"/>
                    </a:cubicBezTo>
                    <a:cubicBezTo>
                      <a:pt x="1234" y="1203"/>
                      <a:pt x="1234" y="1203"/>
                      <a:pt x="1234" y="1203"/>
                    </a:cubicBezTo>
                    <a:cubicBezTo>
                      <a:pt x="1232" y="1200"/>
                      <a:pt x="1232" y="1200"/>
                      <a:pt x="1232" y="1200"/>
                    </a:cubicBezTo>
                    <a:cubicBezTo>
                      <a:pt x="1227" y="1199"/>
                      <a:pt x="1227" y="1199"/>
                      <a:pt x="1227" y="1199"/>
                    </a:cubicBezTo>
                    <a:cubicBezTo>
                      <a:pt x="1225" y="1193"/>
                      <a:pt x="1225" y="1193"/>
                      <a:pt x="1225" y="1193"/>
                    </a:cubicBezTo>
                    <a:cubicBezTo>
                      <a:pt x="1225" y="1183"/>
                      <a:pt x="1225" y="1183"/>
                      <a:pt x="1225" y="1183"/>
                    </a:cubicBezTo>
                    <a:cubicBezTo>
                      <a:pt x="1229" y="1178"/>
                      <a:pt x="1229" y="1178"/>
                      <a:pt x="1229" y="1178"/>
                    </a:cubicBezTo>
                    <a:cubicBezTo>
                      <a:pt x="1229" y="1174"/>
                      <a:pt x="1229" y="1174"/>
                      <a:pt x="1229" y="1174"/>
                    </a:cubicBezTo>
                    <a:cubicBezTo>
                      <a:pt x="1231" y="1171"/>
                      <a:pt x="1231" y="1171"/>
                      <a:pt x="1231" y="1171"/>
                    </a:cubicBezTo>
                    <a:cubicBezTo>
                      <a:pt x="1234" y="1169"/>
                      <a:pt x="1234" y="1169"/>
                      <a:pt x="1234" y="1169"/>
                    </a:cubicBezTo>
                    <a:cubicBezTo>
                      <a:pt x="1236" y="1170"/>
                      <a:pt x="1236" y="1170"/>
                      <a:pt x="1236" y="1170"/>
                    </a:cubicBezTo>
                    <a:cubicBezTo>
                      <a:pt x="1237" y="1167"/>
                      <a:pt x="1237" y="1167"/>
                      <a:pt x="1237" y="1167"/>
                    </a:cubicBezTo>
                    <a:cubicBezTo>
                      <a:pt x="1236" y="1163"/>
                      <a:pt x="1236" y="1163"/>
                      <a:pt x="1236" y="1163"/>
                    </a:cubicBezTo>
                    <a:cubicBezTo>
                      <a:pt x="1237" y="1159"/>
                      <a:pt x="1237" y="1159"/>
                      <a:pt x="1237" y="1159"/>
                    </a:cubicBezTo>
                    <a:cubicBezTo>
                      <a:pt x="1239" y="1157"/>
                      <a:pt x="1239" y="1157"/>
                      <a:pt x="1239" y="1157"/>
                    </a:cubicBezTo>
                    <a:cubicBezTo>
                      <a:pt x="1242" y="1157"/>
                      <a:pt x="1242" y="1157"/>
                      <a:pt x="1242" y="1157"/>
                    </a:cubicBezTo>
                    <a:cubicBezTo>
                      <a:pt x="1245" y="1159"/>
                      <a:pt x="1245" y="1159"/>
                      <a:pt x="1245" y="1159"/>
                    </a:cubicBezTo>
                    <a:cubicBezTo>
                      <a:pt x="1250" y="1161"/>
                      <a:pt x="1250" y="1161"/>
                      <a:pt x="1250" y="1161"/>
                    </a:cubicBezTo>
                    <a:cubicBezTo>
                      <a:pt x="1254" y="1164"/>
                      <a:pt x="1254" y="1164"/>
                      <a:pt x="1254" y="1164"/>
                    </a:cubicBezTo>
                    <a:cubicBezTo>
                      <a:pt x="1255" y="1165"/>
                      <a:pt x="1255" y="1165"/>
                      <a:pt x="1255" y="1165"/>
                    </a:cubicBezTo>
                    <a:cubicBezTo>
                      <a:pt x="1259" y="1167"/>
                      <a:pt x="1259" y="1167"/>
                      <a:pt x="1259" y="1167"/>
                    </a:cubicBezTo>
                    <a:cubicBezTo>
                      <a:pt x="1264" y="1167"/>
                      <a:pt x="1264" y="1167"/>
                      <a:pt x="1264" y="1167"/>
                    </a:cubicBezTo>
                    <a:cubicBezTo>
                      <a:pt x="1270" y="1167"/>
                      <a:pt x="1270" y="1167"/>
                      <a:pt x="1270" y="1167"/>
                    </a:cubicBezTo>
                    <a:cubicBezTo>
                      <a:pt x="1273" y="1169"/>
                      <a:pt x="1273" y="1169"/>
                      <a:pt x="1273" y="1169"/>
                    </a:cubicBezTo>
                    <a:cubicBezTo>
                      <a:pt x="1275" y="1171"/>
                      <a:pt x="1275" y="1171"/>
                      <a:pt x="1275" y="1171"/>
                    </a:cubicBezTo>
                    <a:cubicBezTo>
                      <a:pt x="1279" y="1172"/>
                      <a:pt x="1279" y="1172"/>
                      <a:pt x="1279" y="1172"/>
                    </a:cubicBezTo>
                    <a:cubicBezTo>
                      <a:pt x="1282" y="1173"/>
                      <a:pt x="1282" y="1173"/>
                      <a:pt x="1282" y="1173"/>
                    </a:cubicBezTo>
                    <a:cubicBezTo>
                      <a:pt x="1285" y="1174"/>
                      <a:pt x="1285" y="1174"/>
                      <a:pt x="1285" y="1174"/>
                    </a:cubicBezTo>
                    <a:cubicBezTo>
                      <a:pt x="1293" y="1173"/>
                      <a:pt x="1293" y="1173"/>
                      <a:pt x="1293" y="1173"/>
                    </a:cubicBezTo>
                    <a:cubicBezTo>
                      <a:pt x="1296" y="1175"/>
                      <a:pt x="1296" y="1175"/>
                      <a:pt x="1296" y="1175"/>
                    </a:cubicBezTo>
                    <a:cubicBezTo>
                      <a:pt x="1297" y="1178"/>
                      <a:pt x="1297" y="1178"/>
                      <a:pt x="1297" y="1178"/>
                    </a:cubicBezTo>
                    <a:cubicBezTo>
                      <a:pt x="1297" y="1181"/>
                      <a:pt x="1297" y="1181"/>
                      <a:pt x="1297" y="1181"/>
                    </a:cubicBezTo>
                    <a:cubicBezTo>
                      <a:pt x="1299" y="1184"/>
                      <a:pt x="1299" y="1184"/>
                      <a:pt x="1299" y="1184"/>
                    </a:cubicBezTo>
                    <a:cubicBezTo>
                      <a:pt x="1299" y="1187"/>
                      <a:pt x="1299" y="1187"/>
                      <a:pt x="1299" y="1187"/>
                    </a:cubicBezTo>
                    <a:cubicBezTo>
                      <a:pt x="1300" y="1190"/>
                      <a:pt x="1300" y="1190"/>
                      <a:pt x="1300" y="1190"/>
                    </a:cubicBezTo>
                    <a:cubicBezTo>
                      <a:pt x="1302" y="1194"/>
                      <a:pt x="1302" y="1194"/>
                      <a:pt x="1302" y="1194"/>
                    </a:cubicBezTo>
                    <a:cubicBezTo>
                      <a:pt x="1302" y="1198"/>
                      <a:pt x="1302" y="1198"/>
                      <a:pt x="1302" y="1198"/>
                    </a:cubicBezTo>
                    <a:cubicBezTo>
                      <a:pt x="1304" y="1201"/>
                      <a:pt x="1304" y="1201"/>
                      <a:pt x="1304" y="1201"/>
                    </a:cubicBezTo>
                    <a:cubicBezTo>
                      <a:pt x="1307" y="1201"/>
                      <a:pt x="1307" y="1201"/>
                      <a:pt x="1307" y="1201"/>
                    </a:cubicBezTo>
                    <a:cubicBezTo>
                      <a:pt x="1310" y="1205"/>
                      <a:pt x="1310" y="1205"/>
                      <a:pt x="1310" y="1205"/>
                    </a:cubicBezTo>
                    <a:cubicBezTo>
                      <a:pt x="1311" y="1207"/>
                      <a:pt x="1311" y="1207"/>
                      <a:pt x="1311" y="1207"/>
                    </a:cubicBezTo>
                    <a:cubicBezTo>
                      <a:pt x="1317" y="1209"/>
                      <a:pt x="1317" y="1209"/>
                      <a:pt x="1317" y="1209"/>
                    </a:cubicBezTo>
                    <a:cubicBezTo>
                      <a:pt x="1322" y="1212"/>
                      <a:pt x="1322" y="1212"/>
                      <a:pt x="1322" y="1212"/>
                    </a:cubicBezTo>
                    <a:cubicBezTo>
                      <a:pt x="1325" y="1213"/>
                      <a:pt x="1325" y="1213"/>
                      <a:pt x="1325" y="1213"/>
                    </a:cubicBezTo>
                    <a:cubicBezTo>
                      <a:pt x="1326" y="1211"/>
                      <a:pt x="1326" y="1211"/>
                      <a:pt x="1326" y="1211"/>
                    </a:cubicBezTo>
                    <a:cubicBezTo>
                      <a:pt x="1332" y="1211"/>
                      <a:pt x="1332" y="1211"/>
                      <a:pt x="1332" y="1211"/>
                    </a:cubicBezTo>
                    <a:cubicBezTo>
                      <a:pt x="1334" y="1209"/>
                      <a:pt x="1334" y="1209"/>
                      <a:pt x="1334" y="1209"/>
                    </a:cubicBezTo>
                    <a:cubicBezTo>
                      <a:pt x="1337" y="1209"/>
                      <a:pt x="1337" y="1209"/>
                      <a:pt x="1337" y="1209"/>
                    </a:cubicBezTo>
                    <a:cubicBezTo>
                      <a:pt x="1339" y="1210"/>
                      <a:pt x="1339" y="1210"/>
                      <a:pt x="1339" y="1210"/>
                    </a:cubicBezTo>
                    <a:cubicBezTo>
                      <a:pt x="1342" y="1210"/>
                      <a:pt x="1342" y="1210"/>
                      <a:pt x="1342" y="1210"/>
                    </a:cubicBezTo>
                    <a:cubicBezTo>
                      <a:pt x="1345" y="1205"/>
                      <a:pt x="1345" y="1205"/>
                      <a:pt x="1345" y="1205"/>
                    </a:cubicBezTo>
                    <a:cubicBezTo>
                      <a:pt x="1350" y="1203"/>
                      <a:pt x="1350" y="1203"/>
                      <a:pt x="1350" y="1203"/>
                    </a:cubicBezTo>
                    <a:cubicBezTo>
                      <a:pt x="1357" y="1203"/>
                      <a:pt x="1357" y="1203"/>
                      <a:pt x="1357" y="1203"/>
                    </a:cubicBezTo>
                    <a:cubicBezTo>
                      <a:pt x="1361" y="1200"/>
                      <a:pt x="1361" y="1200"/>
                      <a:pt x="1361" y="1200"/>
                    </a:cubicBezTo>
                    <a:cubicBezTo>
                      <a:pt x="1366" y="1200"/>
                      <a:pt x="1366" y="1200"/>
                      <a:pt x="1366" y="1200"/>
                    </a:cubicBezTo>
                    <a:cubicBezTo>
                      <a:pt x="1370" y="1198"/>
                      <a:pt x="1370" y="1198"/>
                      <a:pt x="1370" y="1198"/>
                    </a:cubicBezTo>
                    <a:cubicBezTo>
                      <a:pt x="1374" y="1201"/>
                      <a:pt x="1374" y="1201"/>
                      <a:pt x="1374" y="1201"/>
                    </a:cubicBezTo>
                    <a:cubicBezTo>
                      <a:pt x="1380" y="1202"/>
                      <a:pt x="1380" y="1202"/>
                      <a:pt x="1380" y="1202"/>
                    </a:cubicBezTo>
                    <a:cubicBezTo>
                      <a:pt x="1387" y="1202"/>
                      <a:pt x="1387" y="1202"/>
                      <a:pt x="1387" y="1202"/>
                    </a:cubicBezTo>
                    <a:cubicBezTo>
                      <a:pt x="1390" y="1208"/>
                      <a:pt x="1390" y="1208"/>
                      <a:pt x="1390" y="1208"/>
                    </a:cubicBezTo>
                    <a:cubicBezTo>
                      <a:pt x="1397" y="1211"/>
                      <a:pt x="1397" y="1211"/>
                      <a:pt x="1397" y="1211"/>
                    </a:cubicBezTo>
                    <a:cubicBezTo>
                      <a:pt x="1402" y="1211"/>
                      <a:pt x="1402" y="1211"/>
                      <a:pt x="1402" y="1211"/>
                    </a:cubicBezTo>
                    <a:cubicBezTo>
                      <a:pt x="1406" y="1210"/>
                      <a:pt x="1406" y="1210"/>
                      <a:pt x="1406" y="1210"/>
                    </a:cubicBezTo>
                    <a:cubicBezTo>
                      <a:pt x="1408" y="1212"/>
                      <a:pt x="1408" y="1212"/>
                      <a:pt x="1408" y="1212"/>
                    </a:cubicBezTo>
                    <a:cubicBezTo>
                      <a:pt x="1410" y="1219"/>
                      <a:pt x="1410" y="1219"/>
                      <a:pt x="1410" y="1219"/>
                    </a:cubicBezTo>
                    <a:cubicBezTo>
                      <a:pt x="1413" y="1222"/>
                      <a:pt x="1413" y="1222"/>
                      <a:pt x="1413" y="1222"/>
                    </a:cubicBezTo>
                    <a:cubicBezTo>
                      <a:pt x="1416" y="1223"/>
                      <a:pt x="1416" y="1223"/>
                      <a:pt x="1416" y="1223"/>
                    </a:cubicBezTo>
                    <a:cubicBezTo>
                      <a:pt x="1418" y="1224"/>
                      <a:pt x="1418" y="1224"/>
                      <a:pt x="1418" y="1224"/>
                    </a:cubicBezTo>
                    <a:cubicBezTo>
                      <a:pt x="1421" y="1228"/>
                      <a:pt x="1421" y="1228"/>
                      <a:pt x="1421" y="1228"/>
                    </a:cubicBezTo>
                    <a:cubicBezTo>
                      <a:pt x="1424" y="1228"/>
                      <a:pt x="1424" y="1228"/>
                      <a:pt x="1424" y="1228"/>
                    </a:cubicBezTo>
                    <a:cubicBezTo>
                      <a:pt x="1432" y="1227"/>
                      <a:pt x="1432" y="1227"/>
                      <a:pt x="1432" y="1227"/>
                    </a:cubicBezTo>
                    <a:cubicBezTo>
                      <a:pt x="1439" y="1230"/>
                      <a:pt x="1439" y="1230"/>
                      <a:pt x="1439" y="1230"/>
                    </a:cubicBezTo>
                    <a:cubicBezTo>
                      <a:pt x="1450" y="1229"/>
                      <a:pt x="1450" y="1229"/>
                      <a:pt x="1450" y="1229"/>
                    </a:cubicBezTo>
                    <a:cubicBezTo>
                      <a:pt x="1455" y="1229"/>
                      <a:pt x="1455" y="1229"/>
                      <a:pt x="1455" y="1229"/>
                    </a:cubicBezTo>
                    <a:cubicBezTo>
                      <a:pt x="1457" y="1227"/>
                      <a:pt x="1457" y="1227"/>
                      <a:pt x="1457" y="1227"/>
                    </a:cubicBezTo>
                    <a:cubicBezTo>
                      <a:pt x="1461" y="1227"/>
                      <a:pt x="1461" y="1227"/>
                      <a:pt x="1461" y="1227"/>
                    </a:cubicBezTo>
                    <a:cubicBezTo>
                      <a:pt x="1464" y="1229"/>
                      <a:pt x="1464" y="1229"/>
                      <a:pt x="1464" y="1229"/>
                    </a:cubicBezTo>
                    <a:cubicBezTo>
                      <a:pt x="1466" y="1229"/>
                      <a:pt x="1466" y="1229"/>
                      <a:pt x="1466" y="1229"/>
                    </a:cubicBezTo>
                    <a:cubicBezTo>
                      <a:pt x="1469" y="1223"/>
                      <a:pt x="1469" y="1223"/>
                      <a:pt x="1469" y="1223"/>
                    </a:cubicBezTo>
                    <a:cubicBezTo>
                      <a:pt x="1476" y="1219"/>
                      <a:pt x="1476" y="1219"/>
                      <a:pt x="1476" y="1219"/>
                    </a:cubicBezTo>
                    <a:cubicBezTo>
                      <a:pt x="1480" y="1219"/>
                      <a:pt x="1480" y="1219"/>
                      <a:pt x="1480" y="1219"/>
                    </a:cubicBezTo>
                    <a:cubicBezTo>
                      <a:pt x="1483" y="1215"/>
                      <a:pt x="1483" y="1215"/>
                      <a:pt x="1483" y="1215"/>
                    </a:cubicBezTo>
                    <a:cubicBezTo>
                      <a:pt x="1486" y="1214"/>
                      <a:pt x="1486" y="1214"/>
                      <a:pt x="1486" y="1214"/>
                    </a:cubicBezTo>
                    <a:cubicBezTo>
                      <a:pt x="1494" y="1214"/>
                      <a:pt x="1494" y="1214"/>
                      <a:pt x="1494" y="1214"/>
                    </a:cubicBezTo>
                    <a:cubicBezTo>
                      <a:pt x="1498" y="1211"/>
                      <a:pt x="1498" y="1211"/>
                      <a:pt x="1498" y="1211"/>
                    </a:cubicBezTo>
                    <a:cubicBezTo>
                      <a:pt x="1499" y="1206"/>
                      <a:pt x="1499" y="1206"/>
                      <a:pt x="1499" y="1206"/>
                    </a:cubicBezTo>
                    <a:cubicBezTo>
                      <a:pt x="1499" y="1204"/>
                      <a:pt x="1499" y="1204"/>
                      <a:pt x="1499" y="1204"/>
                    </a:cubicBezTo>
                    <a:cubicBezTo>
                      <a:pt x="1501" y="1200"/>
                      <a:pt x="1501" y="1200"/>
                      <a:pt x="1501" y="1200"/>
                    </a:cubicBezTo>
                    <a:cubicBezTo>
                      <a:pt x="1505" y="1198"/>
                      <a:pt x="1505" y="1198"/>
                      <a:pt x="1505" y="1198"/>
                    </a:cubicBezTo>
                    <a:cubicBezTo>
                      <a:pt x="1508" y="1195"/>
                      <a:pt x="1508" y="1195"/>
                      <a:pt x="1508" y="1195"/>
                    </a:cubicBezTo>
                    <a:cubicBezTo>
                      <a:pt x="1509" y="1190"/>
                      <a:pt x="1509" y="1190"/>
                      <a:pt x="1509" y="1190"/>
                    </a:cubicBezTo>
                    <a:cubicBezTo>
                      <a:pt x="1512" y="1187"/>
                      <a:pt x="1512" y="1187"/>
                      <a:pt x="1512" y="1187"/>
                    </a:cubicBezTo>
                    <a:cubicBezTo>
                      <a:pt x="1515" y="1187"/>
                      <a:pt x="1515" y="1187"/>
                      <a:pt x="1515" y="1187"/>
                    </a:cubicBezTo>
                    <a:cubicBezTo>
                      <a:pt x="1516" y="1188"/>
                      <a:pt x="1516" y="1188"/>
                      <a:pt x="1516" y="1188"/>
                    </a:cubicBezTo>
                    <a:cubicBezTo>
                      <a:pt x="1522" y="1186"/>
                      <a:pt x="1522" y="1186"/>
                      <a:pt x="1522" y="1186"/>
                    </a:cubicBezTo>
                    <a:cubicBezTo>
                      <a:pt x="1525" y="1187"/>
                      <a:pt x="1525" y="1187"/>
                      <a:pt x="1525" y="1187"/>
                    </a:cubicBezTo>
                    <a:cubicBezTo>
                      <a:pt x="1529" y="1190"/>
                      <a:pt x="1529" y="1190"/>
                      <a:pt x="1529" y="1190"/>
                    </a:cubicBezTo>
                    <a:cubicBezTo>
                      <a:pt x="1532" y="1194"/>
                      <a:pt x="1532" y="1194"/>
                      <a:pt x="1532" y="1194"/>
                    </a:cubicBezTo>
                    <a:cubicBezTo>
                      <a:pt x="1534" y="1195"/>
                      <a:pt x="1534" y="1195"/>
                      <a:pt x="1534" y="1195"/>
                    </a:cubicBezTo>
                    <a:cubicBezTo>
                      <a:pt x="1538" y="1193"/>
                      <a:pt x="1538" y="1193"/>
                      <a:pt x="1538" y="1193"/>
                    </a:cubicBezTo>
                    <a:cubicBezTo>
                      <a:pt x="1540" y="1195"/>
                      <a:pt x="1540" y="1195"/>
                      <a:pt x="1540" y="1195"/>
                    </a:cubicBezTo>
                    <a:cubicBezTo>
                      <a:pt x="1543" y="1195"/>
                      <a:pt x="1543" y="1195"/>
                      <a:pt x="1543" y="1195"/>
                    </a:cubicBezTo>
                    <a:cubicBezTo>
                      <a:pt x="1547" y="1192"/>
                      <a:pt x="1547" y="1192"/>
                      <a:pt x="1547" y="1192"/>
                    </a:cubicBezTo>
                    <a:cubicBezTo>
                      <a:pt x="1547" y="1190"/>
                      <a:pt x="1547" y="1190"/>
                      <a:pt x="1547" y="1190"/>
                    </a:cubicBezTo>
                    <a:cubicBezTo>
                      <a:pt x="1553" y="1188"/>
                      <a:pt x="1553" y="1188"/>
                      <a:pt x="1553" y="1188"/>
                    </a:cubicBezTo>
                    <a:cubicBezTo>
                      <a:pt x="1560" y="1191"/>
                      <a:pt x="1560" y="1191"/>
                      <a:pt x="1560" y="1191"/>
                    </a:cubicBezTo>
                    <a:cubicBezTo>
                      <a:pt x="1562" y="1193"/>
                      <a:pt x="1562" y="1193"/>
                      <a:pt x="1562" y="1193"/>
                    </a:cubicBezTo>
                    <a:cubicBezTo>
                      <a:pt x="1564" y="1192"/>
                      <a:pt x="1564" y="1192"/>
                      <a:pt x="1564" y="1192"/>
                    </a:cubicBezTo>
                    <a:cubicBezTo>
                      <a:pt x="1566" y="1193"/>
                      <a:pt x="1566" y="1193"/>
                      <a:pt x="1566" y="1193"/>
                    </a:cubicBezTo>
                    <a:cubicBezTo>
                      <a:pt x="1567" y="1194"/>
                      <a:pt x="1567" y="1194"/>
                      <a:pt x="1567" y="1194"/>
                    </a:cubicBezTo>
                    <a:cubicBezTo>
                      <a:pt x="1570" y="1194"/>
                      <a:pt x="1570" y="1194"/>
                      <a:pt x="1570" y="1194"/>
                    </a:cubicBezTo>
                    <a:cubicBezTo>
                      <a:pt x="1575" y="1194"/>
                      <a:pt x="1575" y="1194"/>
                      <a:pt x="1575" y="1194"/>
                    </a:cubicBezTo>
                    <a:cubicBezTo>
                      <a:pt x="1578" y="1197"/>
                      <a:pt x="1578" y="1197"/>
                      <a:pt x="1578" y="1197"/>
                    </a:cubicBezTo>
                    <a:cubicBezTo>
                      <a:pt x="1580" y="1197"/>
                      <a:pt x="1580" y="1197"/>
                      <a:pt x="1580" y="1197"/>
                    </a:cubicBezTo>
                    <a:cubicBezTo>
                      <a:pt x="1589" y="1187"/>
                      <a:pt x="1589" y="1187"/>
                      <a:pt x="1589" y="1187"/>
                    </a:cubicBezTo>
                    <a:cubicBezTo>
                      <a:pt x="1593" y="1183"/>
                      <a:pt x="1593" y="1183"/>
                      <a:pt x="1593" y="1183"/>
                    </a:cubicBezTo>
                    <a:cubicBezTo>
                      <a:pt x="1599" y="1182"/>
                      <a:pt x="1599" y="1182"/>
                      <a:pt x="1599" y="1182"/>
                    </a:cubicBezTo>
                    <a:cubicBezTo>
                      <a:pt x="1602" y="1179"/>
                      <a:pt x="1602" y="1179"/>
                      <a:pt x="1602" y="1179"/>
                    </a:cubicBezTo>
                    <a:cubicBezTo>
                      <a:pt x="1603" y="1174"/>
                      <a:pt x="1603" y="1174"/>
                      <a:pt x="1603" y="1174"/>
                    </a:cubicBezTo>
                    <a:cubicBezTo>
                      <a:pt x="1603" y="1170"/>
                      <a:pt x="1603" y="1170"/>
                      <a:pt x="1603" y="1170"/>
                    </a:cubicBezTo>
                    <a:cubicBezTo>
                      <a:pt x="1601" y="1169"/>
                      <a:pt x="1601" y="1169"/>
                      <a:pt x="1601" y="1169"/>
                    </a:cubicBezTo>
                    <a:cubicBezTo>
                      <a:pt x="1600" y="1170"/>
                      <a:pt x="1600" y="1170"/>
                      <a:pt x="1600" y="1170"/>
                    </a:cubicBezTo>
                    <a:cubicBezTo>
                      <a:pt x="1598" y="1169"/>
                      <a:pt x="1598" y="1169"/>
                      <a:pt x="1598" y="1169"/>
                    </a:cubicBezTo>
                    <a:cubicBezTo>
                      <a:pt x="1597" y="1168"/>
                      <a:pt x="1597" y="1168"/>
                      <a:pt x="1597" y="1168"/>
                    </a:cubicBezTo>
                    <a:cubicBezTo>
                      <a:pt x="1596" y="1162"/>
                      <a:pt x="1596" y="1162"/>
                      <a:pt x="1596" y="1162"/>
                    </a:cubicBezTo>
                    <a:cubicBezTo>
                      <a:pt x="1597" y="1161"/>
                      <a:pt x="1597" y="1161"/>
                      <a:pt x="1597" y="1161"/>
                    </a:cubicBezTo>
                    <a:cubicBezTo>
                      <a:pt x="1597" y="1154"/>
                      <a:pt x="1597" y="1154"/>
                      <a:pt x="1597" y="1154"/>
                    </a:cubicBezTo>
                    <a:cubicBezTo>
                      <a:pt x="1596" y="1150"/>
                      <a:pt x="1596" y="1150"/>
                      <a:pt x="1596" y="1150"/>
                    </a:cubicBezTo>
                    <a:cubicBezTo>
                      <a:pt x="1597" y="1148"/>
                      <a:pt x="1597" y="1148"/>
                      <a:pt x="1597" y="1148"/>
                    </a:cubicBezTo>
                    <a:cubicBezTo>
                      <a:pt x="1599" y="1146"/>
                      <a:pt x="1599" y="1146"/>
                      <a:pt x="1599" y="1146"/>
                    </a:cubicBezTo>
                    <a:cubicBezTo>
                      <a:pt x="1599" y="1142"/>
                      <a:pt x="1599" y="1142"/>
                      <a:pt x="1599" y="1142"/>
                    </a:cubicBezTo>
                    <a:cubicBezTo>
                      <a:pt x="1597" y="1140"/>
                      <a:pt x="1597" y="1140"/>
                      <a:pt x="1597" y="1140"/>
                    </a:cubicBezTo>
                    <a:cubicBezTo>
                      <a:pt x="1596" y="1135"/>
                      <a:pt x="1596" y="1135"/>
                      <a:pt x="1596" y="1135"/>
                    </a:cubicBezTo>
                    <a:cubicBezTo>
                      <a:pt x="1597" y="1132"/>
                      <a:pt x="1597" y="1132"/>
                      <a:pt x="1597" y="1132"/>
                    </a:cubicBezTo>
                    <a:cubicBezTo>
                      <a:pt x="1595" y="1129"/>
                      <a:pt x="1595" y="1129"/>
                      <a:pt x="1595" y="1129"/>
                    </a:cubicBezTo>
                    <a:cubicBezTo>
                      <a:pt x="1595" y="1125"/>
                      <a:pt x="1595" y="1125"/>
                      <a:pt x="1595" y="1125"/>
                    </a:cubicBezTo>
                    <a:cubicBezTo>
                      <a:pt x="1598" y="1121"/>
                      <a:pt x="1598" y="1121"/>
                      <a:pt x="1598" y="1121"/>
                    </a:cubicBezTo>
                    <a:cubicBezTo>
                      <a:pt x="1600" y="1119"/>
                      <a:pt x="1600" y="1119"/>
                      <a:pt x="1600" y="1119"/>
                    </a:cubicBezTo>
                    <a:cubicBezTo>
                      <a:pt x="1601" y="1114"/>
                      <a:pt x="1601" y="1114"/>
                      <a:pt x="1601" y="1114"/>
                    </a:cubicBezTo>
                    <a:cubicBezTo>
                      <a:pt x="1603" y="1109"/>
                      <a:pt x="1603" y="1109"/>
                      <a:pt x="1603" y="1109"/>
                    </a:cubicBezTo>
                    <a:cubicBezTo>
                      <a:pt x="1605" y="1107"/>
                      <a:pt x="1605" y="1107"/>
                      <a:pt x="1605" y="1107"/>
                    </a:cubicBezTo>
                    <a:cubicBezTo>
                      <a:pt x="1605" y="1102"/>
                      <a:pt x="1605" y="1102"/>
                      <a:pt x="1605" y="1102"/>
                    </a:cubicBezTo>
                    <a:cubicBezTo>
                      <a:pt x="1605" y="1099"/>
                      <a:pt x="1605" y="1099"/>
                      <a:pt x="1605" y="1099"/>
                    </a:cubicBezTo>
                    <a:cubicBezTo>
                      <a:pt x="1605" y="1096"/>
                      <a:pt x="1605" y="1096"/>
                      <a:pt x="1605" y="1096"/>
                    </a:cubicBezTo>
                    <a:cubicBezTo>
                      <a:pt x="1602" y="1094"/>
                      <a:pt x="1602" y="1094"/>
                      <a:pt x="1602" y="1094"/>
                    </a:cubicBezTo>
                    <a:cubicBezTo>
                      <a:pt x="1601" y="1090"/>
                      <a:pt x="1601" y="1090"/>
                      <a:pt x="1601" y="1090"/>
                    </a:cubicBezTo>
                    <a:cubicBezTo>
                      <a:pt x="1598" y="1084"/>
                      <a:pt x="1598" y="1084"/>
                      <a:pt x="1598" y="1084"/>
                    </a:cubicBezTo>
                    <a:cubicBezTo>
                      <a:pt x="1596" y="1084"/>
                      <a:pt x="1596" y="1084"/>
                      <a:pt x="1596" y="1084"/>
                    </a:cubicBezTo>
                    <a:cubicBezTo>
                      <a:pt x="1593" y="1085"/>
                      <a:pt x="1593" y="1085"/>
                      <a:pt x="1593" y="1085"/>
                    </a:cubicBezTo>
                    <a:cubicBezTo>
                      <a:pt x="1589" y="1088"/>
                      <a:pt x="1589" y="1088"/>
                      <a:pt x="1589" y="1088"/>
                    </a:cubicBezTo>
                    <a:cubicBezTo>
                      <a:pt x="1587" y="1088"/>
                      <a:pt x="1587" y="1088"/>
                      <a:pt x="1587" y="1088"/>
                    </a:cubicBezTo>
                    <a:cubicBezTo>
                      <a:pt x="1586" y="1086"/>
                      <a:pt x="1586" y="1086"/>
                      <a:pt x="1586" y="1086"/>
                    </a:cubicBezTo>
                    <a:cubicBezTo>
                      <a:pt x="1586" y="1081"/>
                      <a:pt x="1586" y="1081"/>
                      <a:pt x="1586" y="1081"/>
                    </a:cubicBezTo>
                    <a:cubicBezTo>
                      <a:pt x="1587" y="1079"/>
                      <a:pt x="1587" y="1079"/>
                      <a:pt x="1587" y="1079"/>
                    </a:cubicBezTo>
                    <a:cubicBezTo>
                      <a:pt x="1587" y="1077"/>
                      <a:pt x="1587" y="1077"/>
                      <a:pt x="1587" y="1077"/>
                    </a:cubicBezTo>
                    <a:cubicBezTo>
                      <a:pt x="1589" y="1074"/>
                      <a:pt x="1589" y="1074"/>
                      <a:pt x="1589" y="1074"/>
                    </a:cubicBezTo>
                    <a:cubicBezTo>
                      <a:pt x="1590" y="1070"/>
                      <a:pt x="1590" y="1070"/>
                      <a:pt x="1590" y="1070"/>
                    </a:cubicBezTo>
                    <a:cubicBezTo>
                      <a:pt x="1592" y="1066"/>
                      <a:pt x="1592" y="1066"/>
                      <a:pt x="1592" y="1066"/>
                    </a:cubicBezTo>
                    <a:cubicBezTo>
                      <a:pt x="1592" y="1064"/>
                      <a:pt x="1592" y="1064"/>
                      <a:pt x="1592" y="1064"/>
                    </a:cubicBezTo>
                    <a:cubicBezTo>
                      <a:pt x="1594" y="1062"/>
                      <a:pt x="1594" y="1062"/>
                      <a:pt x="1594" y="1062"/>
                    </a:cubicBezTo>
                    <a:cubicBezTo>
                      <a:pt x="1599" y="1061"/>
                      <a:pt x="1599" y="1061"/>
                      <a:pt x="1599" y="1061"/>
                    </a:cubicBezTo>
                    <a:cubicBezTo>
                      <a:pt x="1601" y="1060"/>
                      <a:pt x="1601" y="1060"/>
                      <a:pt x="1601" y="1060"/>
                    </a:cubicBezTo>
                    <a:cubicBezTo>
                      <a:pt x="1604" y="1060"/>
                      <a:pt x="1604" y="1060"/>
                      <a:pt x="1604" y="1060"/>
                    </a:cubicBezTo>
                    <a:cubicBezTo>
                      <a:pt x="1604" y="1059"/>
                      <a:pt x="1604" y="1059"/>
                      <a:pt x="1604" y="1059"/>
                    </a:cubicBezTo>
                    <a:cubicBezTo>
                      <a:pt x="1607" y="1059"/>
                      <a:pt x="1607" y="1059"/>
                      <a:pt x="1607" y="1059"/>
                    </a:cubicBezTo>
                    <a:cubicBezTo>
                      <a:pt x="1610" y="1058"/>
                      <a:pt x="1610" y="1058"/>
                      <a:pt x="1610" y="1058"/>
                    </a:cubicBezTo>
                    <a:cubicBezTo>
                      <a:pt x="1611" y="1055"/>
                      <a:pt x="1611" y="1055"/>
                      <a:pt x="1611" y="1055"/>
                    </a:cubicBezTo>
                    <a:cubicBezTo>
                      <a:pt x="1614" y="1055"/>
                      <a:pt x="1614" y="1055"/>
                      <a:pt x="1614" y="1055"/>
                    </a:cubicBezTo>
                    <a:cubicBezTo>
                      <a:pt x="1616" y="1052"/>
                      <a:pt x="1616" y="1052"/>
                      <a:pt x="1616" y="1052"/>
                    </a:cubicBezTo>
                    <a:cubicBezTo>
                      <a:pt x="1620" y="1053"/>
                      <a:pt x="1620" y="1053"/>
                      <a:pt x="1620" y="1053"/>
                    </a:cubicBezTo>
                    <a:cubicBezTo>
                      <a:pt x="1623" y="1052"/>
                      <a:pt x="1623" y="1052"/>
                      <a:pt x="1623" y="1052"/>
                    </a:cubicBezTo>
                    <a:cubicBezTo>
                      <a:pt x="1626" y="1052"/>
                      <a:pt x="1626" y="1052"/>
                      <a:pt x="1626" y="1052"/>
                    </a:cubicBezTo>
                    <a:cubicBezTo>
                      <a:pt x="1628" y="1051"/>
                      <a:pt x="1628" y="1051"/>
                      <a:pt x="1628" y="1051"/>
                    </a:cubicBezTo>
                    <a:cubicBezTo>
                      <a:pt x="1629" y="1051"/>
                      <a:pt x="1629" y="1051"/>
                      <a:pt x="1629" y="1051"/>
                    </a:cubicBezTo>
                    <a:cubicBezTo>
                      <a:pt x="1630" y="1047"/>
                      <a:pt x="1630" y="1047"/>
                      <a:pt x="1630" y="1047"/>
                    </a:cubicBezTo>
                    <a:cubicBezTo>
                      <a:pt x="1636" y="1047"/>
                      <a:pt x="1636" y="1047"/>
                      <a:pt x="1636" y="1047"/>
                    </a:cubicBezTo>
                    <a:cubicBezTo>
                      <a:pt x="1637" y="1046"/>
                      <a:pt x="1637" y="1046"/>
                      <a:pt x="1637" y="1046"/>
                    </a:cubicBezTo>
                    <a:cubicBezTo>
                      <a:pt x="1639" y="1047"/>
                      <a:pt x="1639" y="1047"/>
                      <a:pt x="1639" y="1047"/>
                    </a:cubicBezTo>
                    <a:cubicBezTo>
                      <a:pt x="1642" y="1047"/>
                      <a:pt x="1642" y="1047"/>
                      <a:pt x="1642" y="1047"/>
                    </a:cubicBezTo>
                    <a:cubicBezTo>
                      <a:pt x="1644" y="1049"/>
                      <a:pt x="1644" y="1049"/>
                      <a:pt x="1644" y="1049"/>
                    </a:cubicBezTo>
                    <a:cubicBezTo>
                      <a:pt x="1650" y="1050"/>
                      <a:pt x="1650" y="1050"/>
                      <a:pt x="1650" y="1050"/>
                    </a:cubicBezTo>
                    <a:cubicBezTo>
                      <a:pt x="1652" y="1052"/>
                      <a:pt x="1652" y="1052"/>
                      <a:pt x="1652" y="1052"/>
                    </a:cubicBezTo>
                    <a:cubicBezTo>
                      <a:pt x="1653" y="1054"/>
                      <a:pt x="1653" y="1054"/>
                      <a:pt x="1653" y="1054"/>
                    </a:cubicBezTo>
                    <a:cubicBezTo>
                      <a:pt x="1657" y="1054"/>
                      <a:pt x="1657" y="1054"/>
                      <a:pt x="1657" y="1054"/>
                    </a:cubicBezTo>
                    <a:cubicBezTo>
                      <a:pt x="1659" y="1053"/>
                      <a:pt x="1659" y="1053"/>
                      <a:pt x="1659" y="1053"/>
                    </a:cubicBezTo>
                    <a:cubicBezTo>
                      <a:pt x="1661" y="1054"/>
                      <a:pt x="1661" y="1054"/>
                      <a:pt x="1661" y="1054"/>
                    </a:cubicBezTo>
                    <a:cubicBezTo>
                      <a:pt x="1664" y="1056"/>
                      <a:pt x="1664" y="1056"/>
                      <a:pt x="1664" y="1056"/>
                    </a:cubicBezTo>
                    <a:cubicBezTo>
                      <a:pt x="1665" y="1056"/>
                      <a:pt x="1665" y="1056"/>
                      <a:pt x="1665" y="1056"/>
                    </a:cubicBezTo>
                    <a:cubicBezTo>
                      <a:pt x="1665" y="1053"/>
                      <a:pt x="1665" y="1053"/>
                      <a:pt x="1665" y="1053"/>
                    </a:cubicBezTo>
                    <a:cubicBezTo>
                      <a:pt x="1667" y="1052"/>
                      <a:pt x="1667" y="1052"/>
                      <a:pt x="1667" y="1052"/>
                    </a:cubicBezTo>
                    <a:cubicBezTo>
                      <a:pt x="1668" y="1052"/>
                      <a:pt x="1668" y="1052"/>
                      <a:pt x="1668" y="1052"/>
                    </a:cubicBezTo>
                    <a:cubicBezTo>
                      <a:pt x="1671" y="1052"/>
                      <a:pt x="1671" y="1052"/>
                      <a:pt x="1671" y="1052"/>
                    </a:cubicBezTo>
                    <a:cubicBezTo>
                      <a:pt x="1672" y="1052"/>
                      <a:pt x="1672" y="1052"/>
                      <a:pt x="1672" y="1052"/>
                    </a:cubicBezTo>
                    <a:cubicBezTo>
                      <a:pt x="1674" y="1054"/>
                      <a:pt x="1674" y="1054"/>
                      <a:pt x="1674" y="1054"/>
                    </a:cubicBezTo>
                    <a:cubicBezTo>
                      <a:pt x="1676" y="1054"/>
                      <a:pt x="1676" y="1054"/>
                      <a:pt x="1676" y="1054"/>
                    </a:cubicBezTo>
                    <a:cubicBezTo>
                      <a:pt x="1678" y="1055"/>
                      <a:pt x="1678" y="1055"/>
                      <a:pt x="1678" y="1055"/>
                    </a:cubicBezTo>
                    <a:cubicBezTo>
                      <a:pt x="1680" y="1057"/>
                      <a:pt x="1680" y="1057"/>
                      <a:pt x="1680" y="1057"/>
                    </a:cubicBezTo>
                    <a:cubicBezTo>
                      <a:pt x="1679" y="1059"/>
                      <a:pt x="1679" y="1059"/>
                      <a:pt x="1679" y="1059"/>
                    </a:cubicBezTo>
                    <a:cubicBezTo>
                      <a:pt x="1680" y="1061"/>
                      <a:pt x="1680" y="1061"/>
                      <a:pt x="1680" y="1061"/>
                    </a:cubicBezTo>
                    <a:cubicBezTo>
                      <a:pt x="1682" y="1062"/>
                      <a:pt x="1682" y="1062"/>
                      <a:pt x="1682" y="1062"/>
                    </a:cubicBezTo>
                    <a:cubicBezTo>
                      <a:pt x="1683" y="1063"/>
                      <a:pt x="1683" y="1063"/>
                      <a:pt x="1683" y="1063"/>
                    </a:cubicBezTo>
                    <a:cubicBezTo>
                      <a:pt x="1684" y="1061"/>
                      <a:pt x="1684" y="1061"/>
                      <a:pt x="1684" y="1061"/>
                    </a:cubicBezTo>
                    <a:cubicBezTo>
                      <a:pt x="1687" y="1062"/>
                      <a:pt x="1687" y="1062"/>
                      <a:pt x="1687" y="1062"/>
                    </a:cubicBezTo>
                    <a:cubicBezTo>
                      <a:pt x="1687" y="1064"/>
                      <a:pt x="1687" y="1064"/>
                      <a:pt x="1687" y="1064"/>
                    </a:cubicBezTo>
                    <a:cubicBezTo>
                      <a:pt x="1687" y="1066"/>
                      <a:pt x="1687" y="1066"/>
                      <a:pt x="1687" y="1066"/>
                    </a:cubicBezTo>
                    <a:cubicBezTo>
                      <a:pt x="1687" y="1068"/>
                      <a:pt x="1687" y="1068"/>
                      <a:pt x="1687" y="1068"/>
                    </a:cubicBezTo>
                    <a:cubicBezTo>
                      <a:pt x="1690" y="1069"/>
                      <a:pt x="1690" y="1069"/>
                      <a:pt x="1690" y="1069"/>
                    </a:cubicBezTo>
                    <a:cubicBezTo>
                      <a:pt x="1692" y="1069"/>
                      <a:pt x="1692" y="1069"/>
                      <a:pt x="1692" y="1069"/>
                    </a:cubicBezTo>
                    <a:cubicBezTo>
                      <a:pt x="1693" y="1070"/>
                      <a:pt x="1693" y="1070"/>
                      <a:pt x="1693" y="1070"/>
                    </a:cubicBezTo>
                    <a:cubicBezTo>
                      <a:pt x="1693" y="1072"/>
                      <a:pt x="1693" y="1072"/>
                      <a:pt x="1693" y="1072"/>
                    </a:cubicBezTo>
                    <a:cubicBezTo>
                      <a:pt x="1695" y="1073"/>
                      <a:pt x="1695" y="1073"/>
                      <a:pt x="1695" y="1073"/>
                    </a:cubicBezTo>
                    <a:cubicBezTo>
                      <a:pt x="1696" y="1076"/>
                      <a:pt x="1696" y="1076"/>
                      <a:pt x="1696" y="1076"/>
                    </a:cubicBezTo>
                    <a:cubicBezTo>
                      <a:pt x="1697" y="1079"/>
                      <a:pt x="1697" y="1079"/>
                      <a:pt x="1697" y="1079"/>
                    </a:cubicBezTo>
                    <a:cubicBezTo>
                      <a:pt x="1698" y="1082"/>
                      <a:pt x="1698" y="1082"/>
                      <a:pt x="1698" y="1082"/>
                    </a:cubicBezTo>
                    <a:cubicBezTo>
                      <a:pt x="1698" y="1084"/>
                      <a:pt x="1698" y="1084"/>
                      <a:pt x="1698" y="1084"/>
                    </a:cubicBezTo>
                    <a:cubicBezTo>
                      <a:pt x="1698" y="1085"/>
                      <a:pt x="1698" y="1085"/>
                      <a:pt x="1698" y="1085"/>
                    </a:cubicBezTo>
                    <a:cubicBezTo>
                      <a:pt x="1703" y="1086"/>
                      <a:pt x="1703" y="1086"/>
                      <a:pt x="1703" y="1086"/>
                    </a:cubicBezTo>
                    <a:cubicBezTo>
                      <a:pt x="1704" y="1088"/>
                      <a:pt x="1704" y="1088"/>
                      <a:pt x="1704" y="1088"/>
                    </a:cubicBezTo>
                    <a:cubicBezTo>
                      <a:pt x="1702" y="1091"/>
                      <a:pt x="1702" y="1091"/>
                      <a:pt x="1702" y="1091"/>
                    </a:cubicBezTo>
                    <a:cubicBezTo>
                      <a:pt x="1703" y="1093"/>
                      <a:pt x="1703" y="1093"/>
                      <a:pt x="1703" y="1093"/>
                    </a:cubicBezTo>
                    <a:cubicBezTo>
                      <a:pt x="1707" y="1096"/>
                      <a:pt x="1707" y="1096"/>
                      <a:pt x="1707" y="1096"/>
                    </a:cubicBezTo>
                    <a:cubicBezTo>
                      <a:pt x="1709" y="1100"/>
                      <a:pt x="1709" y="1100"/>
                      <a:pt x="1709" y="1100"/>
                    </a:cubicBezTo>
                    <a:cubicBezTo>
                      <a:pt x="1711" y="1103"/>
                      <a:pt x="1711" y="1103"/>
                      <a:pt x="1711" y="1103"/>
                    </a:cubicBezTo>
                    <a:cubicBezTo>
                      <a:pt x="1711" y="1106"/>
                      <a:pt x="1711" y="1106"/>
                      <a:pt x="1711" y="1106"/>
                    </a:cubicBezTo>
                    <a:cubicBezTo>
                      <a:pt x="1713" y="1108"/>
                      <a:pt x="1713" y="1108"/>
                      <a:pt x="1713" y="1108"/>
                    </a:cubicBezTo>
                    <a:cubicBezTo>
                      <a:pt x="1714" y="1111"/>
                      <a:pt x="1714" y="1111"/>
                      <a:pt x="1714" y="1111"/>
                    </a:cubicBezTo>
                    <a:cubicBezTo>
                      <a:pt x="1717" y="1113"/>
                      <a:pt x="1717" y="1113"/>
                      <a:pt x="1717" y="1113"/>
                    </a:cubicBezTo>
                    <a:cubicBezTo>
                      <a:pt x="1717" y="1115"/>
                      <a:pt x="1717" y="1115"/>
                      <a:pt x="1717" y="1115"/>
                    </a:cubicBezTo>
                    <a:cubicBezTo>
                      <a:pt x="1716" y="1118"/>
                      <a:pt x="1716" y="1118"/>
                      <a:pt x="1716" y="1118"/>
                    </a:cubicBezTo>
                    <a:cubicBezTo>
                      <a:pt x="1717" y="1118"/>
                      <a:pt x="1717" y="1118"/>
                      <a:pt x="1717" y="1118"/>
                    </a:cubicBezTo>
                    <a:cubicBezTo>
                      <a:pt x="1719" y="1117"/>
                      <a:pt x="1719" y="1117"/>
                      <a:pt x="1719" y="1117"/>
                    </a:cubicBezTo>
                    <a:cubicBezTo>
                      <a:pt x="1721" y="1121"/>
                      <a:pt x="1721" y="1121"/>
                      <a:pt x="1721" y="1121"/>
                    </a:cubicBezTo>
                    <a:cubicBezTo>
                      <a:pt x="1721" y="1123"/>
                      <a:pt x="1721" y="1123"/>
                      <a:pt x="1721" y="1123"/>
                    </a:cubicBezTo>
                    <a:cubicBezTo>
                      <a:pt x="1725" y="1129"/>
                      <a:pt x="1725" y="1129"/>
                      <a:pt x="1725" y="1129"/>
                    </a:cubicBezTo>
                    <a:cubicBezTo>
                      <a:pt x="1731" y="1134"/>
                      <a:pt x="1731" y="1134"/>
                      <a:pt x="1731" y="1134"/>
                    </a:cubicBezTo>
                    <a:cubicBezTo>
                      <a:pt x="1732" y="1138"/>
                      <a:pt x="1732" y="1138"/>
                      <a:pt x="1732" y="1138"/>
                    </a:cubicBezTo>
                    <a:cubicBezTo>
                      <a:pt x="1733" y="1143"/>
                      <a:pt x="1733" y="1143"/>
                      <a:pt x="1733" y="1143"/>
                    </a:cubicBezTo>
                    <a:cubicBezTo>
                      <a:pt x="1734" y="1144"/>
                      <a:pt x="1734" y="1144"/>
                      <a:pt x="1734" y="1144"/>
                    </a:cubicBezTo>
                    <a:cubicBezTo>
                      <a:pt x="1735" y="1148"/>
                      <a:pt x="1735" y="1148"/>
                      <a:pt x="1735" y="1148"/>
                    </a:cubicBezTo>
                    <a:cubicBezTo>
                      <a:pt x="1737" y="1150"/>
                      <a:pt x="1737" y="1150"/>
                      <a:pt x="1737" y="1150"/>
                    </a:cubicBezTo>
                    <a:cubicBezTo>
                      <a:pt x="1739" y="1150"/>
                      <a:pt x="1739" y="1150"/>
                      <a:pt x="1739" y="1150"/>
                    </a:cubicBezTo>
                    <a:cubicBezTo>
                      <a:pt x="1739" y="1154"/>
                      <a:pt x="1739" y="1154"/>
                      <a:pt x="1739" y="1154"/>
                    </a:cubicBezTo>
                    <a:cubicBezTo>
                      <a:pt x="1739" y="1157"/>
                      <a:pt x="1739" y="1157"/>
                      <a:pt x="1739" y="1157"/>
                    </a:cubicBezTo>
                    <a:cubicBezTo>
                      <a:pt x="1741" y="1161"/>
                      <a:pt x="1741" y="1161"/>
                      <a:pt x="1741" y="1161"/>
                    </a:cubicBezTo>
                    <a:cubicBezTo>
                      <a:pt x="1745" y="1166"/>
                      <a:pt x="1745" y="1166"/>
                      <a:pt x="1745" y="1166"/>
                    </a:cubicBezTo>
                    <a:cubicBezTo>
                      <a:pt x="1748" y="1168"/>
                      <a:pt x="1748" y="1168"/>
                      <a:pt x="1748" y="1168"/>
                    </a:cubicBezTo>
                    <a:cubicBezTo>
                      <a:pt x="1749" y="1170"/>
                      <a:pt x="1749" y="1170"/>
                      <a:pt x="1749" y="1170"/>
                    </a:cubicBezTo>
                    <a:cubicBezTo>
                      <a:pt x="1752" y="1171"/>
                      <a:pt x="1752" y="1171"/>
                      <a:pt x="1752" y="1171"/>
                    </a:cubicBezTo>
                    <a:cubicBezTo>
                      <a:pt x="1754" y="1170"/>
                      <a:pt x="1754" y="1170"/>
                      <a:pt x="1754" y="1170"/>
                    </a:cubicBezTo>
                    <a:cubicBezTo>
                      <a:pt x="1755" y="1171"/>
                      <a:pt x="1755" y="1171"/>
                      <a:pt x="1755" y="1171"/>
                    </a:cubicBezTo>
                    <a:cubicBezTo>
                      <a:pt x="1757" y="1170"/>
                      <a:pt x="1757" y="1170"/>
                      <a:pt x="1757" y="1170"/>
                    </a:cubicBezTo>
                    <a:cubicBezTo>
                      <a:pt x="1761" y="1171"/>
                      <a:pt x="1761" y="1171"/>
                      <a:pt x="1761" y="1171"/>
                    </a:cubicBezTo>
                    <a:cubicBezTo>
                      <a:pt x="1763" y="1169"/>
                      <a:pt x="1763" y="1169"/>
                      <a:pt x="1763" y="1169"/>
                    </a:cubicBezTo>
                    <a:cubicBezTo>
                      <a:pt x="1765" y="1169"/>
                      <a:pt x="1765" y="1169"/>
                      <a:pt x="1765" y="1169"/>
                    </a:cubicBezTo>
                    <a:cubicBezTo>
                      <a:pt x="1765" y="1170"/>
                      <a:pt x="1765" y="1170"/>
                      <a:pt x="1765" y="1170"/>
                    </a:cubicBezTo>
                    <a:cubicBezTo>
                      <a:pt x="1764" y="1172"/>
                      <a:pt x="1764" y="1172"/>
                      <a:pt x="1764" y="1172"/>
                    </a:cubicBezTo>
                    <a:cubicBezTo>
                      <a:pt x="1765" y="1173"/>
                      <a:pt x="1765" y="1173"/>
                      <a:pt x="1765" y="1173"/>
                    </a:cubicBezTo>
                    <a:cubicBezTo>
                      <a:pt x="1769" y="1174"/>
                      <a:pt x="1769" y="1174"/>
                      <a:pt x="1769" y="1174"/>
                    </a:cubicBezTo>
                    <a:cubicBezTo>
                      <a:pt x="1771" y="1175"/>
                      <a:pt x="1771" y="1175"/>
                      <a:pt x="1771" y="1175"/>
                    </a:cubicBezTo>
                    <a:cubicBezTo>
                      <a:pt x="1772" y="1177"/>
                      <a:pt x="1772" y="1177"/>
                      <a:pt x="1772" y="1177"/>
                    </a:cubicBezTo>
                    <a:cubicBezTo>
                      <a:pt x="1774" y="1179"/>
                      <a:pt x="1774" y="1179"/>
                      <a:pt x="1774" y="1179"/>
                    </a:cubicBezTo>
                    <a:cubicBezTo>
                      <a:pt x="1775" y="1177"/>
                      <a:pt x="1775" y="1177"/>
                      <a:pt x="1775" y="1177"/>
                    </a:cubicBezTo>
                    <a:cubicBezTo>
                      <a:pt x="1776" y="1176"/>
                      <a:pt x="1776" y="1176"/>
                      <a:pt x="1776" y="1176"/>
                    </a:cubicBezTo>
                    <a:cubicBezTo>
                      <a:pt x="1778" y="1177"/>
                      <a:pt x="1778" y="1177"/>
                      <a:pt x="1778" y="1177"/>
                    </a:cubicBezTo>
                    <a:cubicBezTo>
                      <a:pt x="1779" y="1174"/>
                      <a:pt x="1779" y="1174"/>
                      <a:pt x="1779" y="1174"/>
                    </a:cubicBezTo>
                    <a:cubicBezTo>
                      <a:pt x="1781" y="1174"/>
                      <a:pt x="1781" y="1174"/>
                      <a:pt x="1781" y="1174"/>
                    </a:cubicBezTo>
                    <a:cubicBezTo>
                      <a:pt x="1782" y="1175"/>
                      <a:pt x="1782" y="1175"/>
                      <a:pt x="1782" y="1175"/>
                    </a:cubicBezTo>
                    <a:cubicBezTo>
                      <a:pt x="1783" y="1178"/>
                      <a:pt x="1783" y="1178"/>
                      <a:pt x="1783" y="1178"/>
                    </a:cubicBezTo>
                    <a:cubicBezTo>
                      <a:pt x="1785" y="1180"/>
                      <a:pt x="1785" y="1180"/>
                      <a:pt x="1785" y="1180"/>
                    </a:cubicBezTo>
                    <a:cubicBezTo>
                      <a:pt x="1787" y="1181"/>
                      <a:pt x="1787" y="1181"/>
                      <a:pt x="1787" y="1181"/>
                    </a:cubicBezTo>
                    <a:cubicBezTo>
                      <a:pt x="1787" y="1183"/>
                      <a:pt x="1787" y="1183"/>
                      <a:pt x="1787" y="1183"/>
                    </a:cubicBezTo>
                    <a:cubicBezTo>
                      <a:pt x="1789" y="1185"/>
                      <a:pt x="1789" y="1185"/>
                      <a:pt x="1789" y="1185"/>
                    </a:cubicBezTo>
                    <a:cubicBezTo>
                      <a:pt x="1790" y="1185"/>
                      <a:pt x="1790" y="1185"/>
                      <a:pt x="1790" y="1185"/>
                    </a:cubicBezTo>
                    <a:cubicBezTo>
                      <a:pt x="1792" y="1187"/>
                      <a:pt x="1792" y="1187"/>
                      <a:pt x="1792" y="1187"/>
                    </a:cubicBezTo>
                    <a:cubicBezTo>
                      <a:pt x="1792" y="1189"/>
                      <a:pt x="1792" y="1189"/>
                      <a:pt x="1792" y="1189"/>
                    </a:cubicBezTo>
                    <a:cubicBezTo>
                      <a:pt x="1796" y="1191"/>
                      <a:pt x="1796" y="1191"/>
                      <a:pt x="1796" y="1191"/>
                    </a:cubicBezTo>
                    <a:cubicBezTo>
                      <a:pt x="1797" y="1192"/>
                      <a:pt x="1797" y="1192"/>
                      <a:pt x="1797" y="1192"/>
                    </a:cubicBezTo>
                    <a:cubicBezTo>
                      <a:pt x="1799" y="1192"/>
                      <a:pt x="1799" y="1192"/>
                      <a:pt x="1799" y="1192"/>
                    </a:cubicBezTo>
                    <a:cubicBezTo>
                      <a:pt x="1801" y="1194"/>
                      <a:pt x="1801" y="1194"/>
                      <a:pt x="1801" y="1194"/>
                    </a:cubicBezTo>
                    <a:cubicBezTo>
                      <a:pt x="1803" y="1194"/>
                      <a:pt x="1803" y="1194"/>
                      <a:pt x="1803" y="1194"/>
                    </a:cubicBezTo>
                    <a:cubicBezTo>
                      <a:pt x="1805" y="1194"/>
                      <a:pt x="1805" y="1194"/>
                      <a:pt x="1805" y="1194"/>
                    </a:cubicBezTo>
                    <a:cubicBezTo>
                      <a:pt x="1808" y="1194"/>
                      <a:pt x="1808" y="1194"/>
                      <a:pt x="1808" y="1194"/>
                    </a:cubicBezTo>
                    <a:cubicBezTo>
                      <a:pt x="1809" y="1192"/>
                      <a:pt x="1809" y="1192"/>
                      <a:pt x="1809" y="1192"/>
                    </a:cubicBezTo>
                    <a:cubicBezTo>
                      <a:pt x="1811" y="1191"/>
                      <a:pt x="1811" y="1191"/>
                      <a:pt x="1811" y="1191"/>
                    </a:cubicBezTo>
                    <a:cubicBezTo>
                      <a:pt x="1812" y="1192"/>
                      <a:pt x="1812" y="1192"/>
                      <a:pt x="1812" y="1192"/>
                    </a:cubicBezTo>
                    <a:cubicBezTo>
                      <a:pt x="1812" y="1195"/>
                      <a:pt x="1812" y="1195"/>
                      <a:pt x="1812" y="1195"/>
                    </a:cubicBezTo>
                    <a:cubicBezTo>
                      <a:pt x="1810" y="1198"/>
                      <a:pt x="1810" y="1198"/>
                      <a:pt x="1810" y="1198"/>
                    </a:cubicBezTo>
                    <a:cubicBezTo>
                      <a:pt x="1810" y="1201"/>
                      <a:pt x="1810" y="1201"/>
                      <a:pt x="1810" y="1201"/>
                    </a:cubicBezTo>
                    <a:cubicBezTo>
                      <a:pt x="1811" y="1203"/>
                      <a:pt x="1811" y="1203"/>
                      <a:pt x="1811" y="1203"/>
                    </a:cubicBezTo>
                    <a:cubicBezTo>
                      <a:pt x="1814" y="1203"/>
                      <a:pt x="1814" y="1203"/>
                      <a:pt x="1814" y="1203"/>
                    </a:cubicBezTo>
                    <a:cubicBezTo>
                      <a:pt x="1814" y="1207"/>
                      <a:pt x="1814" y="1207"/>
                      <a:pt x="1814" y="1207"/>
                    </a:cubicBezTo>
                    <a:cubicBezTo>
                      <a:pt x="1816" y="1210"/>
                      <a:pt x="1816" y="1210"/>
                      <a:pt x="1816" y="1210"/>
                    </a:cubicBezTo>
                    <a:cubicBezTo>
                      <a:pt x="1815" y="1215"/>
                      <a:pt x="1815" y="1215"/>
                      <a:pt x="1815" y="1215"/>
                    </a:cubicBezTo>
                    <a:cubicBezTo>
                      <a:pt x="1814" y="1216"/>
                      <a:pt x="1814" y="1216"/>
                      <a:pt x="1814" y="1216"/>
                    </a:cubicBezTo>
                    <a:cubicBezTo>
                      <a:pt x="1814" y="1219"/>
                      <a:pt x="1814" y="1219"/>
                      <a:pt x="1814" y="1219"/>
                    </a:cubicBezTo>
                    <a:cubicBezTo>
                      <a:pt x="1818" y="1224"/>
                      <a:pt x="1818" y="1224"/>
                      <a:pt x="1818" y="1224"/>
                    </a:cubicBezTo>
                    <a:cubicBezTo>
                      <a:pt x="1819" y="1225"/>
                      <a:pt x="1819" y="1225"/>
                      <a:pt x="1819" y="1225"/>
                    </a:cubicBezTo>
                    <a:cubicBezTo>
                      <a:pt x="1822" y="1230"/>
                      <a:pt x="1822" y="1230"/>
                      <a:pt x="1822" y="1230"/>
                    </a:cubicBezTo>
                    <a:cubicBezTo>
                      <a:pt x="1823" y="1232"/>
                      <a:pt x="1823" y="1232"/>
                      <a:pt x="1823" y="1232"/>
                    </a:cubicBezTo>
                    <a:cubicBezTo>
                      <a:pt x="1826" y="1231"/>
                      <a:pt x="1826" y="1231"/>
                      <a:pt x="1826" y="1231"/>
                    </a:cubicBezTo>
                    <a:cubicBezTo>
                      <a:pt x="1828" y="1229"/>
                      <a:pt x="1828" y="1229"/>
                      <a:pt x="1828" y="1229"/>
                    </a:cubicBezTo>
                    <a:cubicBezTo>
                      <a:pt x="1831" y="1229"/>
                      <a:pt x="1831" y="1229"/>
                      <a:pt x="1831" y="1229"/>
                    </a:cubicBezTo>
                    <a:cubicBezTo>
                      <a:pt x="1832" y="1232"/>
                      <a:pt x="1832" y="1232"/>
                      <a:pt x="1832" y="1232"/>
                    </a:cubicBezTo>
                    <a:cubicBezTo>
                      <a:pt x="1833" y="1235"/>
                      <a:pt x="1833" y="1235"/>
                      <a:pt x="1833" y="1235"/>
                    </a:cubicBezTo>
                    <a:cubicBezTo>
                      <a:pt x="1836" y="1234"/>
                      <a:pt x="1836" y="1234"/>
                      <a:pt x="1836" y="1234"/>
                    </a:cubicBezTo>
                    <a:cubicBezTo>
                      <a:pt x="1837" y="1232"/>
                      <a:pt x="1837" y="1232"/>
                      <a:pt x="1837" y="1232"/>
                    </a:cubicBezTo>
                    <a:cubicBezTo>
                      <a:pt x="1840" y="1233"/>
                      <a:pt x="1840" y="1233"/>
                      <a:pt x="1840" y="1233"/>
                    </a:cubicBezTo>
                    <a:cubicBezTo>
                      <a:pt x="1842" y="1232"/>
                      <a:pt x="1842" y="1232"/>
                      <a:pt x="1842" y="1232"/>
                    </a:cubicBezTo>
                    <a:cubicBezTo>
                      <a:pt x="1847" y="1231"/>
                      <a:pt x="1847" y="1231"/>
                      <a:pt x="1847" y="1231"/>
                    </a:cubicBezTo>
                    <a:cubicBezTo>
                      <a:pt x="1849" y="1228"/>
                      <a:pt x="1849" y="1228"/>
                      <a:pt x="1849" y="1228"/>
                    </a:cubicBezTo>
                    <a:cubicBezTo>
                      <a:pt x="1851" y="1227"/>
                      <a:pt x="1851" y="1227"/>
                      <a:pt x="1851" y="1227"/>
                    </a:cubicBezTo>
                    <a:cubicBezTo>
                      <a:pt x="1851" y="1225"/>
                      <a:pt x="1851" y="1225"/>
                      <a:pt x="1851" y="1225"/>
                    </a:cubicBezTo>
                    <a:cubicBezTo>
                      <a:pt x="1851" y="1221"/>
                      <a:pt x="1851" y="1221"/>
                      <a:pt x="1851" y="1221"/>
                    </a:cubicBezTo>
                    <a:cubicBezTo>
                      <a:pt x="1854" y="1219"/>
                      <a:pt x="1854" y="1219"/>
                      <a:pt x="1854" y="1219"/>
                    </a:cubicBezTo>
                    <a:cubicBezTo>
                      <a:pt x="1854" y="1216"/>
                      <a:pt x="1854" y="1216"/>
                      <a:pt x="1854" y="1216"/>
                    </a:cubicBezTo>
                    <a:cubicBezTo>
                      <a:pt x="1855" y="1213"/>
                      <a:pt x="1855" y="1213"/>
                      <a:pt x="1855" y="1213"/>
                    </a:cubicBezTo>
                    <a:cubicBezTo>
                      <a:pt x="1857" y="1212"/>
                      <a:pt x="1857" y="1212"/>
                      <a:pt x="1857" y="1212"/>
                    </a:cubicBezTo>
                    <a:cubicBezTo>
                      <a:pt x="1861" y="1212"/>
                      <a:pt x="1861" y="1212"/>
                      <a:pt x="1861" y="1212"/>
                    </a:cubicBezTo>
                    <a:cubicBezTo>
                      <a:pt x="1862" y="1208"/>
                      <a:pt x="1862" y="1208"/>
                      <a:pt x="1862" y="1208"/>
                    </a:cubicBezTo>
                    <a:cubicBezTo>
                      <a:pt x="1864" y="1207"/>
                      <a:pt x="1864" y="1207"/>
                      <a:pt x="1864" y="1207"/>
                    </a:cubicBezTo>
                    <a:cubicBezTo>
                      <a:pt x="1866" y="1207"/>
                      <a:pt x="1866" y="1207"/>
                      <a:pt x="1866" y="1207"/>
                    </a:cubicBezTo>
                    <a:cubicBezTo>
                      <a:pt x="1866" y="1203"/>
                      <a:pt x="1866" y="1203"/>
                      <a:pt x="1866" y="1203"/>
                    </a:cubicBezTo>
                    <a:cubicBezTo>
                      <a:pt x="1868" y="1201"/>
                      <a:pt x="1868" y="1201"/>
                      <a:pt x="1868" y="1201"/>
                    </a:cubicBezTo>
                    <a:cubicBezTo>
                      <a:pt x="1871" y="1201"/>
                      <a:pt x="1871" y="1201"/>
                      <a:pt x="1871" y="1201"/>
                    </a:cubicBezTo>
                    <a:cubicBezTo>
                      <a:pt x="1873" y="1199"/>
                      <a:pt x="1873" y="1199"/>
                      <a:pt x="1873" y="1199"/>
                    </a:cubicBezTo>
                    <a:cubicBezTo>
                      <a:pt x="1876" y="1200"/>
                      <a:pt x="1876" y="1200"/>
                      <a:pt x="1876" y="1200"/>
                    </a:cubicBezTo>
                    <a:cubicBezTo>
                      <a:pt x="1878" y="1202"/>
                      <a:pt x="1878" y="1202"/>
                      <a:pt x="1878" y="1202"/>
                    </a:cubicBezTo>
                    <a:cubicBezTo>
                      <a:pt x="1881" y="1202"/>
                      <a:pt x="1881" y="1202"/>
                      <a:pt x="1881" y="1202"/>
                    </a:cubicBezTo>
                    <a:cubicBezTo>
                      <a:pt x="1882" y="1205"/>
                      <a:pt x="1882" y="1205"/>
                      <a:pt x="1882" y="1205"/>
                    </a:cubicBezTo>
                    <a:cubicBezTo>
                      <a:pt x="1884" y="1208"/>
                      <a:pt x="1884" y="1208"/>
                      <a:pt x="1884" y="1208"/>
                    </a:cubicBezTo>
                    <a:cubicBezTo>
                      <a:pt x="1882" y="1211"/>
                      <a:pt x="1882" y="1211"/>
                      <a:pt x="1882" y="1211"/>
                    </a:cubicBezTo>
                    <a:cubicBezTo>
                      <a:pt x="1883" y="1213"/>
                      <a:pt x="1883" y="1213"/>
                      <a:pt x="1883" y="1213"/>
                    </a:cubicBezTo>
                    <a:cubicBezTo>
                      <a:pt x="1886" y="1217"/>
                      <a:pt x="1886" y="1217"/>
                      <a:pt x="1886" y="1217"/>
                    </a:cubicBezTo>
                    <a:cubicBezTo>
                      <a:pt x="1886" y="1220"/>
                      <a:pt x="1886" y="1220"/>
                      <a:pt x="1886" y="1220"/>
                    </a:cubicBezTo>
                    <a:cubicBezTo>
                      <a:pt x="1888" y="1222"/>
                      <a:pt x="1888" y="1222"/>
                      <a:pt x="1888" y="1222"/>
                    </a:cubicBezTo>
                    <a:cubicBezTo>
                      <a:pt x="1890" y="1224"/>
                      <a:pt x="1890" y="1224"/>
                      <a:pt x="1890" y="1224"/>
                    </a:cubicBezTo>
                    <a:cubicBezTo>
                      <a:pt x="1890" y="1228"/>
                      <a:pt x="1890" y="1228"/>
                      <a:pt x="1890" y="1228"/>
                    </a:cubicBezTo>
                    <a:cubicBezTo>
                      <a:pt x="1889" y="1232"/>
                      <a:pt x="1889" y="1232"/>
                      <a:pt x="1889" y="1232"/>
                    </a:cubicBezTo>
                    <a:cubicBezTo>
                      <a:pt x="1889" y="1234"/>
                      <a:pt x="1889" y="1234"/>
                      <a:pt x="1889" y="1234"/>
                    </a:cubicBezTo>
                    <a:cubicBezTo>
                      <a:pt x="1886" y="1234"/>
                      <a:pt x="1886" y="1234"/>
                      <a:pt x="1886" y="1234"/>
                    </a:cubicBezTo>
                    <a:cubicBezTo>
                      <a:pt x="1884" y="1238"/>
                      <a:pt x="1884" y="1238"/>
                      <a:pt x="1884" y="1238"/>
                    </a:cubicBezTo>
                    <a:cubicBezTo>
                      <a:pt x="1884" y="1240"/>
                      <a:pt x="1884" y="1240"/>
                      <a:pt x="1884" y="1240"/>
                    </a:cubicBezTo>
                    <a:cubicBezTo>
                      <a:pt x="1885" y="1243"/>
                      <a:pt x="1885" y="1243"/>
                      <a:pt x="1885" y="1243"/>
                    </a:cubicBezTo>
                    <a:cubicBezTo>
                      <a:pt x="1886" y="1244"/>
                      <a:pt x="1886" y="1244"/>
                      <a:pt x="1886" y="1244"/>
                    </a:cubicBezTo>
                    <a:cubicBezTo>
                      <a:pt x="1886" y="1247"/>
                      <a:pt x="1886" y="1247"/>
                      <a:pt x="1886" y="1247"/>
                    </a:cubicBezTo>
                    <a:cubicBezTo>
                      <a:pt x="1885" y="1251"/>
                      <a:pt x="1885" y="1251"/>
                      <a:pt x="1885" y="1251"/>
                    </a:cubicBezTo>
                    <a:cubicBezTo>
                      <a:pt x="1886" y="1253"/>
                      <a:pt x="1886" y="1253"/>
                      <a:pt x="1886" y="1253"/>
                    </a:cubicBezTo>
                    <a:cubicBezTo>
                      <a:pt x="1887" y="1254"/>
                      <a:pt x="1887" y="1254"/>
                      <a:pt x="1887" y="1254"/>
                    </a:cubicBezTo>
                    <a:cubicBezTo>
                      <a:pt x="1887" y="1256"/>
                      <a:pt x="1887" y="1256"/>
                      <a:pt x="1887" y="1256"/>
                    </a:cubicBezTo>
                    <a:cubicBezTo>
                      <a:pt x="1888" y="1258"/>
                      <a:pt x="1888" y="1258"/>
                      <a:pt x="1888" y="1258"/>
                    </a:cubicBezTo>
                    <a:cubicBezTo>
                      <a:pt x="1888" y="1259"/>
                      <a:pt x="1888" y="1259"/>
                      <a:pt x="1888" y="1259"/>
                    </a:cubicBezTo>
                    <a:cubicBezTo>
                      <a:pt x="1887" y="1260"/>
                      <a:pt x="1887" y="1260"/>
                      <a:pt x="1887" y="1260"/>
                    </a:cubicBezTo>
                    <a:cubicBezTo>
                      <a:pt x="1886" y="1261"/>
                      <a:pt x="1886" y="1261"/>
                      <a:pt x="1886" y="1261"/>
                    </a:cubicBezTo>
                    <a:cubicBezTo>
                      <a:pt x="1886" y="1266"/>
                      <a:pt x="1886" y="1266"/>
                      <a:pt x="1886" y="1266"/>
                    </a:cubicBezTo>
                    <a:cubicBezTo>
                      <a:pt x="1888" y="1271"/>
                      <a:pt x="1888" y="1271"/>
                      <a:pt x="1888" y="1271"/>
                    </a:cubicBezTo>
                    <a:cubicBezTo>
                      <a:pt x="1889" y="1273"/>
                      <a:pt x="1889" y="1273"/>
                      <a:pt x="1889" y="1273"/>
                    </a:cubicBezTo>
                    <a:cubicBezTo>
                      <a:pt x="1889" y="1275"/>
                      <a:pt x="1889" y="1275"/>
                      <a:pt x="1889" y="1275"/>
                    </a:cubicBezTo>
                    <a:cubicBezTo>
                      <a:pt x="1887" y="1276"/>
                      <a:pt x="1887" y="1276"/>
                      <a:pt x="1887" y="1276"/>
                    </a:cubicBezTo>
                    <a:cubicBezTo>
                      <a:pt x="1886" y="1279"/>
                      <a:pt x="1886" y="1279"/>
                      <a:pt x="1886" y="1279"/>
                    </a:cubicBezTo>
                    <a:cubicBezTo>
                      <a:pt x="1887" y="1281"/>
                      <a:pt x="1887" y="1281"/>
                      <a:pt x="1887" y="1281"/>
                    </a:cubicBezTo>
                    <a:cubicBezTo>
                      <a:pt x="1887" y="1284"/>
                      <a:pt x="1887" y="1284"/>
                      <a:pt x="1887" y="1284"/>
                    </a:cubicBezTo>
                    <a:cubicBezTo>
                      <a:pt x="1888" y="1286"/>
                      <a:pt x="1888" y="1286"/>
                      <a:pt x="1888" y="1286"/>
                    </a:cubicBezTo>
                    <a:cubicBezTo>
                      <a:pt x="1886" y="1287"/>
                      <a:pt x="1886" y="1287"/>
                      <a:pt x="1886" y="1287"/>
                    </a:cubicBezTo>
                    <a:cubicBezTo>
                      <a:pt x="1885" y="1289"/>
                      <a:pt x="1885" y="1289"/>
                      <a:pt x="1885" y="1289"/>
                    </a:cubicBezTo>
                    <a:cubicBezTo>
                      <a:pt x="1886" y="1291"/>
                      <a:pt x="1886" y="1291"/>
                      <a:pt x="1886" y="1291"/>
                    </a:cubicBezTo>
                    <a:cubicBezTo>
                      <a:pt x="1887" y="1294"/>
                      <a:pt x="1887" y="1294"/>
                      <a:pt x="1887" y="1294"/>
                    </a:cubicBezTo>
                    <a:cubicBezTo>
                      <a:pt x="1886" y="1296"/>
                      <a:pt x="1886" y="1296"/>
                      <a:pt x="1886" y="1296"/>
                    </a:cubicBezTo>
                    <a:cubicBezTo>
                      <a:pt x="1884" y="1300"/>
                      <a:pt x="1884" y="1300"/>
                      <a:pt x="1884" y="1300"/>
                    </a:cubicBezTo>
                    <a:cubicBezTo>
                      <a:pt x="1885" y="1303"/>
                      <a:pt x="1885" y="1303"/>
                      <a:pt x="1885" y="1303"/>
                    </a:cubicBezTo>
                    <a:cubicBezTo>
                      <a:pt x="1885" y="1305"/>
                      <a:pt x="1885" y="1305"/>
                      <a:pt x="1885" y="1305"/>
                    </a:cubicBezTo>
                    <a:cubicBezTo>
                      <a:pt x="1885" y="1307"/>
                      <a:pt x="1885" y="1307"/>
                      <a:pt x="1885" y="1307"/>
                    </a:cubicBezTo>
                    <a:cubicBezTo>
                      <a:pt x="1885" y="1309"/>
                      <a:pt x="1885" y="1309"/>
                      <a:pt x="1885" y="1309"/>
                    </a:cubicBezTo>
                    <a:cubicBezTo>
                      <a:pt x="1886" y="1311"/>
                      <a:pt x="1886" y="1311"/>
                      <a:pt x="1886" y="1311"/>
                    </a:cubicBezTo>
                    <a:cubicBezTo>
                      <a:pt x="1887" y="1315"/>
                      <a:pt x="1887" y="1315"/>
                      <a:pt x="1887" y="1315"/>
                    </a:cubicBezTo>
                    <a:cubicBezTo>
                      <a:pt x="1885" y="1317"/>
                      <a:pt x="1885" y="1317"/>
                      <a:pt x="1885" y="1317"/>
                    </a:cubicBezTo>
                    <a:cubicBezTo>
                      <a:pt x="1883" y="1317"/>
                      <a:pt x="1883" y="1317"/>
                      <a:pt x="1883" y="1317"/>
                    </a:cubicBezTo>
                    <a:cubicBezTo>
                      <a:pt x="1881" y="1316"/>
                      <a:pt x="1881" y="1316"/>
                      <a:pt x="1881" y="1316"/>
                    </a:cubicBezTo>
                    <a:cubicBezTo>
                      <a:pt x="1870" y="1314"/>
                      <a:pt x="1870" y="1314"/>
                      <a:pt x="1870" y="1314"/>
                    </a:cubicBezTo>
                    <a:cubicBezTo>
                      <a:pt x="1867" y="1313"/>
                      <a:pt x="1867" y="1313"/>
                      <a:pt x="1867" y="1313"/>
                    </a:cubicBezTo>
                    <a:cubicBezTo>
                      <a:pt x="1864" y="1312"/>
                      <a:pt x="1864" y="1312"/>
                      <a:pt x="1864" y="1312"/>
                    </a:cubicBezTo>
                    <a:cubicBezTo>
                      <a:pt x="1863" y="1312"/>
                      <a:pt x="1863" y="1312"/>
                      <a:pt x="1863" y="1312"/>
                    </a:cubicBezTo>
                    <a:cubicBezTo>
                      <a:pt x="1860" y="1318"/>
                      <a:pt x="1860" y="1318"/>
                      <a:pt x="1860" y="1318"/>
                    </a:cubicBezTo>
                    <a:cubicBezTo>
                      <a:pt x="1859" y="1321"/>
                      <a:pt x="1859" y="1321"/>
                      <a:pt x="1859" y="1321"/>
                    </a:cubicBezTo>
                    <a:cubicBezTo>
                      <a:pt x="1857" y="1324"/>
                      <a:pt x="1857" y="1324"/>
                      <a:pt x="1857" y="1324"/>
                    </a:cubicBezTo>
                    <a:cubicBezTo>
                      <a:pt x="1855" y="1324"/>
                      <a:pt x="1855" y="1324"/>
                      <a:pt x="1855" y="1324"/>
                    </a:cubicBezTo>
                    <a:cubicBezTo>
                      <a:pt x="1853" y="1326"/>
                      <a:pt x="1853" y="1326"/>
                      <a:pt x="1853" y="1326"/>
                    </a:cubicBezTo>
                    <a:cubicBezTo>
                      <a:pt x="1852" y="1328"/>
                      <a:pt x="1852" y="1328"/>
                      <a:pt x="1852" y="1328"/>
                    </a:cubicBezTo>
                    <a:cubicBezTo>
                      <a:pt x="1853" y="1332"/>
                      <a:pt x="1853" y="1332"/>
                      <a:pt x="1853" y="1332"/>
                    </a:cubicBezTo>
                    <a:cubicBezTo>
                      <a:pt x="1858" y="1340"/>
                      <a:pt x="1858" y="1340"/>
                      <a:pt x="1858" y="1340"/>
                    </a:cubicBezTo>
                    <a:cubicBezTo>
                      <a:pt x="1859" y="1343"/>
                      <a:pt x="1859" y="1343"/>
                      <a:pt x="1859" y="1343"/>
                    </a:cubicBezTo>
                    <a:cubicBezTo>
                      <a:pt x="1860" y="1346"/>
                      <a:pt x="1860" y="1346"/>
                      <a:pt x="1860" y="1346"/>
                    </a:cubicBezTo>
                    <a:cubicBezTo>
                      <a:pt x="1862" y="1349"/>
                      <a:pt x="1862" y="1349"/>
                      <a:pt x="1862" y="1349"/>
                    </a:cubicBezTo>
                    <a:cubicBezTo>
                      <a:pt x="1862" y="1353"/>
                      <a:pt x="1862" y="1353"/>
                      <a:pt x="1862" y="1353"/>
                    </a:cubicBezTo>
                    <a:cubicBezTo>
                      <a:pt x="1862" y="1359"/>
                      <a:pt x="1862" y="1359"/>
                      <a:pt x="1862" y="1359"/>
                    </a:cubicBezTo>
                    <a:cubicBezTo>
                      <a:pt x="1863" y="1362"/>
                      <a:pt x="1863" y="1362"/>
                      <a:pt x="1863" y="1362"/>
                    </a:cubicBezTo>
                    <a:cubicBezTo>
                      <a:pt x="1863" y="1370"/>
                      <a:pt x="1863" y="1370"/>
                      <a:pt x="1863" y="1370"/>
                    </a:cubicBezTo>
                    <a:cubicBezTo>
                      <a:pt x="1865" y="1372"/>
                      <a:pt x="1865" y="1372"/>
                      <a:pt x="1865" y="1372"/>
                    </a:cubicBezTo>
                    <a:cubicBezTo>
                      <a:pt x="1865" y="1375"/>
                      <a:pt x="1865" y="1375"/>
                      <a:pt x="1865" y="1375"/>
                    </a:cubicBezTo>
                    <a:cubicBezTo>
                      <a:pt x="1865" y="1379"/>
                      <a:pt x="1865" y="1379"/>
                      <a:pt x="1865" y="1379"/>
                    </a:cubicBezTo>
                    <a:cubicBezTo>
                      <a:pt x="1864" y="1381"/>
                      <a:pt x="1864" y="1381"/>
                      <a:pt x="1864" y="1381"/>
                    </a:cubicBezTo>
                    <a:cubicBezTo>
                      <a:pt x="1864" y="1384"/>
                      <a:pt x="1864" y="1384"/>
                      <a:pt x="1864" y="1384"/>
                    </a:cubicBezTo>
                    <a:cubicBezTo>
                      <a:pt x="1865" y="1387"/>
                      <a:pt x="1865" y="1387"/>
                      <a:pt x="1865" y="1387"/>
                    </a:cubicBezTo>
                    <a:cubicBezTo>
                      <a:pt x="1865" y="1390"/>
                      <a:pt x="1865" y="1390"/>
                      <a:pt x="1865" y="1390"/>
                    </a:cubicBezTo>
                    <a:cubicBezTo>
                      <a:pt x="1863" y="1391"/>
                      <a:pt x="1863" y="1391"/>
                      <a:pt x="1863" y="1391"/>
                    </a:cubicBezTo>
                    <a:cubicBezTo>
                      <a:pt x="1859" y="1390"/>
                      <a:pt x="1859" y="1390"/>
                      <a:pt x="1859" y="1390"/>
                    </a:cubicBezTo>
                    <a:cubicBezTo>
                      <a:pt x="1857" y="1392"/>
                      <a:pt x="1857" y="1392"/>
                      <a:pt x="1857" y="1392"/>
                    </a:cubicBezTo>
                    <a:cubicBezTo>
                      <a:pt x="1857" y="1393"/>
                      <a:pt x="1857" y="1393"/>
                      <a:pt x="1857" y="1393"/>
                    </a:cubicBezTo>
                    <a:cubicBezTo>
                      <a:pt x="1857" y="1397"/>
                      <a:pt x="1857" y="1397"/>
                      <a:pt x="1857" y="1397"/>
                    </a:cubicBezTo>
                    <a:cubicBezTo>
                      <a:pt x="1859" y="1398"/>
                      <a:pt x="1859" y="1398"/>
                      <a:pt x="1859" y="1398"/>
                    </a:cubicBezTo>
                    <a:cubicBezTo>
                      <a:pt x="1859" y="1401"/>
                      <a:pt x="1859" y="1401"/>
                      <a:pt x="1859" y="1401"/>
                    </a:cubicBezTo>
                    <a:cubicBezTo>
                      <a:pt x="1858" y="1402"/>
                      <a:pt x="1858" y="1402"/>
                      <a:pt x="1858" y="1402"/>
                    </a:cubicBezTo>
                    <a:cubicBezTo>
                      <a:pt x="1861" y="1407"/>
                      <a:pt x="1861" y="1407"/>
                      <a:pt x="1861" y="1407"/>
                    </a:cubicBezTo>
                    <a:cubicBezTo>
                      <a:pt x="1863" y="1407"/>
                      <a:pt x="1863" y="1407"/>
                      <a:pt x="1863" y="1407"/>
                    </a:cubicBezTo>
                    <a:cubicBezTo>
                      <a:pt x="1864" y="1401"/>
                      <a:pt x="1864" y="1401"/>
                      <a:pt x="1864" y="1401"/>
                    </a:cubicBezTo>
                    <a:cubicBezTo>
                      <a:pt x="1869" y="1400"/>
                      <a:pt x="1869" y="1400"/>
                      <a:pt x="1869" y="1400"/>
                    </a:cubicBezTo>
                    <a:cubicBezTo>
                      <a:pt x="1870" y="1402"/>
                      <a:pt x="1870" y="1402"/>
                      <a:pt x="1870" y="1402"/>
                    </a:cubicBezTo>
                    <a:cubicBezTo>
                      <a:pt x="1872" y="1395"/>
                      <a:pt x="1872" y="1395"/>
                      <a:pt x="1872" y="1395"/>
                    </a:cubicBezTo>
                    <a:cubicBezTo>
                      <a:pt x="1874" y="1393"/>
                      <a:pt x="1874" y="1393"/>
                      <a:pt x="1874" y="1393"/>
                    </a:cubicBezTo>
                    <a:cubicBezTo>
                      <a:pt x="1874" y="1385"/>
                      <a:pt x="1874" y="1385"/>
                      <a:pt x="1874" y="1385"/>
                    </a:cubicBezTo>
                    <a:cubicBezTo>
                      <a:pt x="1878" y="1382"/>
                      <a:pt x="1878" y="1382"/>
                      <a:pt x="1878" y="1382"/>
                    </a:cubicBezTo>
                    <a:cubicBezTo>
                      <a:pt x="1877" y="1378"/>
                      <a:pt x="1877" y="1378"/>
                      <a:pt x="1877" y="1378"/>
                    </a:cubicBezTo>
                    <a:cubicBezTo>
                      <a:pt x="1879" y="1375"/>
                      <a:pt x="1879" y="1375"/>
                      <a:pt x="1879" y="1375"/>
                    </a:cubicBezTo>
                    <a:cubicBezTo>
                      <a:pt x="1882" y="1378"/>
                      <a:pt x="1882" y="1378"/>
                      <a:pt x="1882" y="1378"/>
                    </a:cubicBezTo>
                    <a:cubicBezTo>
                      <a:pt x="1887" y="1376"/>
                      <a:pt x="1887" y="1376"/>
                      <a:pt x="1887" y="1376"/>
                    </a:cubicBezTo>
                    <a:cubicBezTo>
                      <a:pt x="1889" y="1378"/>
                      <a:pt x="1889" y="1378"/>
                      <a:pt x="1889" y="1378"/>
                    </a:cubicBezTo>
                    <a:cubicBezTo>
                      <a:pt x="1889" y="1386"/>
                      <a:pt x="1889" y="1386"/>
                      <a:pt x="1889" y="1386"/>
                    </a:cubicBezTo>
                    <a:cubicBezTo>
                      <a:pt x="1895" y="1388"/>
                      <a:pt x="1895" y="1388"/>
                      <a:pt x="1895" y="1388"/>
                    </a:cubicBezTo>
                    <a:cubicBezTo>
                      <a:pt x="1901" y="1392"/>
                      <a:pt x="1901" y="1392"/>
                      <a:pt x="1901" y="1392"/>
                    </a:cubicBezTo>
                    <a:cubicBezTo>
                      <a:pt x="1903" y="1389"/>
                      <a:pt x="1903" y="1389"/>
                      <a:pt x="1903" y="1389"/>
                    </a:cubicBezTo>
                    <a:cubicBezTo>
                      <a:pt x="1905" y="1392"/>
                      <a:pt x="1905" y="1392"/>
                      <a:pt x="1905" y="1392"/>
                    </a:cubicBezTo>
                    <a:cubicBezTo>
                      <a:pt x="1909" y="1387"/>
                      <a:pt x="1909" y="1387"/>
                      <a:pt x="1909" y="1387"/>
                    </a:cubicBezTo>
                    <a:cubicBezTo>
                      <a:pt x="1914" y="1386"/>
                      <a:pt x="1914" y="1386"/>
                      <a:pt x="1914" y="1386"/>
                    </a:cubicBezTo>
                    <a:cubicBezTo>
                      <a:pt x="1915" y="1383"/>
                      <a:pt x="1915" y="1383"/>
                      <a:pt x="1915" y="1383"/>
                    </a:cubicBezTo>
                    <a:cubicBezTo>
                      <a:pt x="1917" y="1383"/>
                      <a:pt x="1917" y="1383"/>
                      <a:pt x="1917" y="1383"/>
                    </a:cubicBezTo>
                    <a:cubicBezTo>
                      <a:pt x="1920" y="1377"/>
                      <a:pt x="1920" y="1377"/>
                      <a:pt x="1920" y="1377"/>
                    </a:cubicBezTo>
                    <a:cubicBezTo>
                      <a:pt x="1926" y="1368"/>
                      <a:pt x="1926" y="1368"/>
                      <a:pt x="1926" y="1368"/>
                    </a:cubicBezTo>
                    <a:cubicBezTo>
                      <a:pt x="1925" y="1366"/>
                      <a:pt x="1925" y="1366"/>
                      <a:pt x="1925" y="1366"/>
                    </a:cubicBezTo>
                    <a:cubicBezTo>
                      <a:pt x="1929" y="1364"/>
                      <a:pt x="1929" y="1364"/>
                      <a:pt x="1929" y="1364"/>
                    </a:cubicBezTo>
                    <a:cubicBezTo>
                      <a:pt x="1929" y="1359"/>
                      <a:pt x="1929" y="1359"/>
                      <a:pt x="1929" y="1359"/>
                    </a:cubicBezTo>
                    <a:cubicBezTo>
                      <a:pt x="1928" y="1354"/>
                      <a:pt x="1928" y="1354"/>
                      <a:pt x="1928" y="1354"/>
                    </a:cubicBezTo>
                    <a:cubicBezTo>
                      <a:pt x="1931" y="1355"/>
                      <a:pt x="1931" y="1355"/>
                      <a:pt x="1931" y="1355"/>
                    </a:cubicBezTo>
                    <a:cubicBezTo>
                      <a:pt x="1931" y="1356"/>
                      <a:pt x="1931" y="1356"/>
                      <a:pt x="1931" y="1356"/>
                    </a:cubicBezTo>
                    <a:cubicBezTo>
                      <a:pt x="1935" y="1349"/>
                      <a:pt x="1935" y="1349"/>
                      <a:pt x="1935" y="1349"/>
                    </a:cubicBezTo>
                    <a:cubicBezTo>
                      <a:pt x="1934" y="1345"/>
                      <a:pt x="1934" y="1345"/>
                      <a:pt x="1934" y="1345"/>
                    </a:cubicBezTo>
                    <a:cubicBezTo>
                      <a:pt x="1935" y="1344"/>
                      <a:pt x="1935" y="1344"/>
                      <a:pt x="1935" y="1344"/>
                    </a:cubicBezTo>
                    <a:cubicBezTo>
                      <a:pt x="1935" y="1337"/>
                      <a:pt x="1935" y="1337"/>
                      <a:pt x="1935" y="1337"/>
                    </a:cubicBezTo>
                    <a:cubicBezTo>
                      <a:pt x="1938" y="1335"/>
                      <a:pt x="1938" y="1335"/>
                      <a:pt x="1938" y="1335"/>
                    </a:cubicBezTo>
                    <a:cubicBezTo>
                      <a:pt x="1938" y="1331"/>
                      <a:pt x="1938" y="1331"/>
                      <a:pt x="1938" y="1331"/>
                    </a:cubicBezTo>
                    <a:cubicBezTo>
                      <a:pt x="1943" y="1327"/>
                      <a:pt x="1943" y="1327"/>
                      <a:pt x="1943" y="1327"/>
                    </a:cubicBezTo>
                    <a:cubicBezTo>
                      <a:pt x="1944" y="1325"/>
                      <a:pt x="1944" y="1325"/>
                      <a:pt x="1944" y="1325"/>
                    </a:cubicBezTo>
                    <a:cubicBezTo>
                      <a:pt x="1943" y="1323"/>
                      <a:pt x="1943" y="1323"/>
                      <a:pt x="1943" y="1323"/>
                    </a:cubicBezTo>
                    <a:cubicBezTo>
                      <a:pt x="1943" y="1318"/>
                      <a:pt x="1943" y="1318"/>
                      <a:pt x="1943" y="1318"/>
                    </a:cubicBezTo>
                    <a:cubicBezTo>
                      <a:pt x="1945" y="1316"/>
                      <a:pt x="1945" y="1316"/>
                      <a:pt x="1945" y="1316"/>
                    </a:cubicBezTo>
                    <a:cubicBezTo>
                      <a:pt x="1949" y="1298"/>
                      <a:pt x="1949" y="1298"/>
                      <a:pt x="1949" y="1298"/>
                    </a:cubicBezTo>
                    <a:cubicBezTo>
                      <a:pt x="1953" y="1292"/>
                      <a:pt x="1953" y="1292"/>
                      <a:pt x="1953" y="1292"/>
                    </a:cubicBezTo>
                    <a:cubicBezTo>
                      <a:pt x="1953" y="1288"/>
                      <a:pt x="1953" y="1288"/>
                      <a:pt x="1953" y="1288"/>
                    </a:cubicBezTo>
                    <a:cubicBezTo>
                      <a:pt x="1957" y="1284"/>
                      <a:pt x="1957" y="1284"/>
                      <a:pt x="1957" y="1284"/>
                    </a:cubicBezTo>
                    <a:cubicBezTo>
                      <a:pt x="1957" y="1279"/>
                      <a:pt x="1957" y="1279"/>
                      <a:pt x="1957" y="1279"/>
                    </a:cubicBezTo>
                    <a:cubicBezTo>
                      <a:pt x="1962" y="1272"/>
                      <a:pt x="1962" y="1272"/>
                      <a:pt x="1962" y="1272"/>
                    </a:cubicBezTo>
                    <a:cubicBezTo>
                      <a:pt x="1962" y="1268"/>
                      <a:pt x="1962" y="1268"/>
                      <a:pt x="1962" y="1268"/>
                    </a:cubicBezTo>
                    <a:cubicBezTo>
                      <a:pt x="1960" y="1267"/>
                      <a:pt x="1960" y="1267"/>
                      <a:pt x="1960" y="1267"/>
                    </a:cubicBezTo>
                    <a:cubicBezTo>
                      <a:pt x="1959" y="1261"/>
                      <a:pt x="1959" y="1261"/>
                      <a:pt x="1959" y="1261"/>
                    </a:cubicBezTo>
                    <a:cubicBezTo>
                      <a:pt x="1963" y="1257"/>
                      <a:pt x="1963" y="1257"/>
                      <a:pt x="1963" y="1257"/>
                    </a:cubicBezTo>
                    <a:cubicBezTo>
                      <a:pt x="1961" y="1247"/>
                      <a:pt x="1961" y="1247"/>
                      <a:pt x="1961" y="1247"/>
                    </a:cubicBezTo>
                    <a:cubicBezTo>
                      <a:pt x="1964" y="1242"/>
                      <a:pt x="1964" y="1242"/>
                      <a:pt x="1964" y="1242"/>
                    </a:cubicBezTo>
                    <a:cubicBezTo>
                      <a:pt x="1964" y="1239"/>
                      <a:pt x="1964" y="1239"/>
                      <a:pt x="1964" y="1239"/>
                    </a:cubicBezTo>
                    <a:cubicBezTo>
                      <a:pt x="1962" y="1239"/>
                      <a:pt x="1962" y="1239"/>
                      <a:pt x="1962" y="1239"/>
                    </a:cubicBezTo>
                    <a:cubicBezTo>
                      <a:pt x="1965" y="1232"/>
                      <a:pt x="1965" y="1232"/>
                      <a:pt x="1965" y="1232"/>
                    </a:cubicBezTo>
                    <a:cubicBezTo>
                      <a:pt x="1965" y="1226"/>
                      <a:pt x="1965" y="1226"/>
                      <a:pt x="1965" y="1226"/>
                    </a:cubicBezTo>
                    <a:cubicBezTo>
                      <a:pt x="1968" y="1222"/>
                      <a:pt x="1968" y="1222"/>
                      <a:pt x="1968" y="1222"/>
                    </a:cubicBezTo>
                    <a:cubicBezTo>
                      <a:pt x="1969" y="1216"/>
                      <a:pt x="1969" y="1216"/>
                      <a:pt x="1969" y="1216"/>
                    </a:cubicBezTo>
                    <a:cubicBezTo>
                      <a:pt x="1968" y="1215"/>
                      <a:pt x="1968" y="1215"/>
                      <a:pt x="1968" y="1215"/>
                    </a:cubicBezTo>
                    <a:cubicBezTo>
                      <a:pt x="1967" y="1208"/>
                      <a:pt x="1967" y="1208"/>
                      <a:pt x="1967" y="1208"/>
                    </a:cubicBezTo>
                    <a:cubicBezTo>
                      <a:pt x="1969" y="1201"/>
                      <a:pt x="1969" y="1201"/>
                      <a:pt x="1969" y="1201"/>
                    </a:cubicBezTo>
                    <a:cubicBezTo>
                      <a:pt x="1970" y="1194"/>
                      <a:pt x="1970" y="1194"/>
                      <a:pt x="1970" y="1194"/>
                    </a:cubicBezTo>
                    <a:cubicBezTo>
                      <a:pt x="1975" y="1188"/>
                      <a:pt x="1975" y="1188"/>
                      <a:pt x="1975" y="1188"/>
                    </a:cubicBezTo>
                    <a:cubicBezTo>
                      <a:pt x="1975" y="1182"/>
                      <a:pt x="1975" y="1182"/>
                      <a:pt x="1975" y="1182"/>
                    </a:cubicBezTo>
                    <a:cubicBezTo>
                      <a:pt x="1973" y="1178"/>
                      <a:pt x="1973" y="1178"/>
                      <a:pt x="1973" y="1178"/>
                    </a:cubicBezTo>
                    <a:cubicBezTo>
                      <a:pt x="1973" y="1171"/>
                      <a:pt x="1973" y="1171"/>
                      <a:pt x="1973" y="1171"/>
                    </a:cubicBezTo>
                    <a:cubicBezTo>
                      <a:pt x="1974" y="1169"/>
                      <a:pt x="1974" y="1169"/>
                      <a:pt x="1974" y="1169"/>
                    </a:cubicBezTo>
                    <a:cubicBezTo>
                      <a:pt x="1974" y="1164"/>
                      <a:pt x="1974" y="1164"/>
                      <a:pt x="1974" y="1164"/>
                    </a:cubicBezTo>
                    <a:cubicBezTo>
                      <a:pt x="1971" y="1165"/>
                      <a:pt x="1971" y="1165"/>
                      <a:pt x="1971" y="1165"/>
                    </a:cubicBezTo>
                    <a:cubicBezTo>
                      <a:pt x="1970" y="1154"/>
                      <a:pt x="1970" y="1154"/>
                      <a:pt x="1970" y="1154"/>
                    </a:cubicBezTo>
                    <a:cubicBezTo>
                      <a:pt x="1970" y="1151"/>
                      <a:pt x="1970" y="1151"/>
                      <a:pt x="1970" y="1151"/>
                    </a:cubicBezTo>
                    <a:cubicBezTo>
                      <a:pt x="1969" y="1148"/>
                      <a:pt x="1969" y="1148"/>
                      <a:pt x="1969" y="1148"/>
                    </a:cubicBezTo>
                    <a:cubicBezTo>
                      <a:pt x="1970" y="1140"/>
                      <a:pt x="1970" y="1140"/>
                      <a:pt x="1970" y="1140"/>
                    </a:cubicBezTo>
                    <a:cubicBezTo>
                      <a:pt x="1965" y="1133"/>
                      <a:pt x="1965" y="1133"/>
                      <a:pt x="1965" y="1133"/>
                    </a:cubicBezTo>
                    <a:cubicBezTo>
                      <a:pt x="1963" y="1133"/>
                      <a:pt x="1963" y="1133"/>
                      <a:pt x="1963" y="1133"/>
                    </a:cubicBezTo>
                    <a:cubicBezTo>
                      <a:pt x="1961" y="1129"/>
                      <a:pt x="1961" y="1129"/>
                      <a:pt x="1961" y="1129"/>
                    </a:cubicBezTo>
                    <a:cubicBezTo>
                      <a:pt x="1963" y="1127"/>
                      <a:pt x="1963" y="1127"/>
                      <a:pt x="1963" y="1127"/>
                    </a:cubicBezTo>
                    <a:cubicBezTo>
                      <a:pt x="1965" y="1122"/>
                      <a:pt x="1965" y="1122"/>
                      <a:pt x="1965" y="1122"/>
                    </a:cubicBezTo>
                    <a:cubicBezTo>
                      <a:pt x="1965" y="1120"/>
                      <a:pt x="1965" y="1120"/>
                      <a:pt x="1965" y="1120"/>
                    </a:cubicBezTo>
                    <a:cubicBezTo>
                      <a:pt x="1962" y="1123"/>
                      <a:pt x="1962" y="1123"/>
                      <a:pt x="1962" y="1123"/>
                    </a:cubicBezTo>
                    <a:cubicBezTo>
                      <a:pt x="1959" y="1122"/>
                      <a:pt x="1959" y="1122"/>
                      <a:pt x="1959" y="1122"/>
                    </a:cubicBezTo>
                    <a:cubicBezTo>
                      <a:pt x="1955" y="1108"/>
                      <a:pt x="1955" y="1108"/>
                      <a:pt x="1955" y="1108"/>
                    </a:cubicBezTo>
                    <a:cubicBezTo>
                      <a:pt x="1955" y="1104"/>
                      <a:pt x="1955" y="1104"/>
                      <a:pt x="1955" y="1104"/>
                    </a:cubicBezTo>
                    <a:cubicBezTo>
                      <a:pt x="1955" y="1101"/>
                      <a:pt x="1955" y="1101"/>
                      <a:pt x="1955" y="1101"/>
                    </a:cubicBezTo>
                    <a:cubicBezTo>
                      <a:pt x="1954" y="1093"/>
                      <a:pt x="1954" y="1093"/>
                      <a:pt x="1954" y="1093"/>
                    </a:cubicBezTo>
                    <a:cubicBezTo>
                      <a:pt x="1955" y="1090"/>
                      <a:pt x="1955" y="1090"/>
                      <a:pt x="1955" y="1090"/>
                    </a:cubicBezTo>
                    <a:cubicBezTo>
                      <a:pt x="1952" y="1079"/>
                      <a:pt x="1952" y="1079"/>
                      <a:pt x="1952" y="1079"/>
                    </a:cubicBezTo>
                    <a:cubicBezTo>
                      <a:pt x="1954" y="1076"/>
                      <a:pt x="1954" y="1076"/>
                      <a:pt x="1954" y="1076"/>
                    </a:cubicBezTo>
                    <a:cubicBezTo>
                      <a:pt x="1953" y="1075"/>
                      <a:pt x="1953" y="1075"/>
                      <a:pt x="1953" y="1075"/>
                    </a:cubicBezTo>
                    <a:cubicBezTo>
                      <a:pt x="1953" y="1072"/>
                      <a:pt x="1953" y="1072"/>
                      <a:pt x="1953" y="1072"/>
                    </a:cubicBezTo>
                    <a:cubicBezTo>
                      <a:pt x="1954" y="1070"/>
                      <a:pt x="1954" y="1070"/>
                      <a:pt x="1954" y="1070"/>
                    </a:cubicBezTo>
                    <a:cubicBezTo>
                      <a:pt x="1952" y="1068"/>
                      <a:pt x="1952" y="1068"/>
                      <a:pt x="1952" y="1068"/>
                    </a:cubicBezTo>
                    <a:cubicBezTo>
                      <a:pt x="1954" y="1064"/>
                      <a:pt x="1954" y="1064"/>
                      <a:pt x="1954" y="1064"/>
                    </a:cubicBezTo>
                    <a:cubicBezTo>
                      <a:pt x="1953" y="1060"/>
                      <a:pt x="1953" y="1060"/>
                      <a:pt x="1953" y="1060"/>
                    </a:cubicBezTo>
                    <a:cubicBezTo>
                      <a:pt x="1953" y="1057"/>
                      <a:pt x="1953" y="1057"/>
                      <a:pt x="1953" y="1057"/>
                    </a:cubicBezTo>
                    <a:cubicBezTo>
                      <a:pt x="1955" y="1054"/>
                      <a:pt x="1955" y="1054"/>
                      <a:pt x="1955" y="1054"/>
                    </a:cubicBezTo>
                    <a:cubicBezTo>
                      <a:pt x="1952" y="1051"/>
                      <a:pt x="1952" y="1051"/>
                      <a:pt x="1952" y="1051"/>
                    </a:cubicBezTo>
                    <a:cubicBezTo>
                      <a:pt x="1952" y="1046"/>
                      <a:pt x="1952" y="1046"/>
                      <a:pt x="1952" y="1046"/>
                    </a:cubicBezTo>
                    <a:cubicBezTo>
                      <a:pt x="1953" y="1043"/>
                      <a:pt x="1953" y="1043"/>
                      <a:pt x="1953" y="1043"/>
                    </a:cubicBezTo>
                    <a:cubicBezTo>
                      <a:pt x="1953" y="1040"/>
                      <a:pt x="1953" y="1040"/>
                      <a:pt x="1953" y="1040"/>
                    </a:cubicBezTo>
                    <a:cubicBezTo>
                      <a:pt x="1950" y="1042"/>
                      <a:pt x="1950" y="1042"/>
                      <a:pt x="1950" y="1042"/>
                    </a:cubicBezTo>
                    <a:cubicBezTo>
                      <a:pt x="1947" y="1041"/>
                      <a:pt x="1947" y="1041"/>
                      <a:pt x="1947" y="1041"/>
                    </a:cubicBezTo>
                    <a:cubicBezTo>
                      <a:pt x="1943" y="1037"/>
                      <a:pt x="1943" y="1037"/>
                      <a:pt x="1943" y="1037"/>
                    </a:cubicBezTo>
                    <a:cubicBezTo>
                      <a:pt x="1944" y="1032"/>
                      <a:pt x="1944" y="1032"/>
                      <a:pt x="1944" y="1032"/>
                    </a:cubicBezTo>
                    <a:cubicBezTo>
                      <a:pt x="1946" y="1029"/>
                      <a:pt x="1946" y="1029"/>
                      <a:pt x="1946" y="1029"/>
                    </a:cubicBezTo>
                    <a:cubicBezTo>
                      <a:pt x="1945" y="1025"/>
                      <a:pt x="1945" y="1025"/>
                      <a:pt x="1945" y="1025"/>
                    </a:cubicBezTo>
                    <a:cubicBezTo>
                      <a:pt x="1941" y="1018"/>
                      <a:pt x="1941" y="1018"/>
                      <a:pt x="1941" y="1018"/>
                    </a:cubicBezTo>
                    <a:cubicBezTo>
                      <a:pt x="1938" y="1018"/>
                      <a:pt x="1938" y="1018"/>
                      <a:pt x="1938" y="1018"/>
                    </a:cubicBezTo>
                    <a:cubicBezTo>
                      <a:pt x="1934" y="1013"/>
                      <a:pt x="1934" y="1013"/>
                      <a:pt x="1934" y="1013"/>
                    </a:cubicBezTo>
                    <a:cubicBezTo>
                      <a:pt x="1937" y="1012"/>
                      <a:pt x="1937" y="1012"/>
                      <a:pt x="1937" y="1012"/>
                    </a:cubicBezTo>
                    <a:cubicBezTo>
                      <a:pt x="1937" y="1008"/>
                      <a:pt x="1937" y="1008"/>
                      <a:pt x="1937" y="1008"/>
                    </a:cubicBezTo>
                    <a:cubicBezTo>
                      <a:pt x="1939" y="1004"/>
                      <a:pt x="1939" y="1004"/>
                      <a:pt x="1939" y="1004"/>
                    </a:cubicBezTo>
                    <a:cubicBezTo>
                      <a:pt x="1936" y="997"/>
                      <a:pt x="1936" y="997"/>
                      <a:pt x="1936" y="997"/>
                    </a:cubicBezTo>
                    <a:cubicBezTo>
                      <a:pt x="1934" y="997"/>
                      <a:pt x="1934" y="997"/>
                      <a:pt x="1934" y="997"/>
                    </a:cubicBezTo>
                    <a:cubicBezTo>
                      <a:pt x="1932" y="994"/>
                      <a:pt x="1932" y="994"/>
                      <a:pt x="1932" y="994"/>
                    </a:cubicBezTo>
                    <a:cubicBezTo>
                      <a:pt x="1929" y="993"/>
                      <a:pt x="1929" y="993"/>
                      <a:pt x="1929" y="993"/>
                    </a:cubicBezTo>
                    <a:cubicBezTo>
                      <a:pt x="1928" y="991"/>
                      <a:pt x="1928" y="991"/>
                      <a:pt x="1928" y="991"/>
                    </a:cubicBezTo>
                    <a:cubicBezTo>
                      <a:pt x="1920" y="987"/>
                      <a:pt x="1920" y="987"/>
                      <a:pt x="1920" y="987"/>
                    </a:cubicBezTo>
                    <a:cubicBezTo>
                      <a:pt x="1918" y="984"/>
                      <a:pt x="1918" y="984"/>
                      <a:pt x="1918" y="984"/>
                    </a:cubicBezTo>
                    <a:cubicBezTo>
                      <a:pt x="1913" y="983"/>
                      <a:pt x="1913" y="983"/>
                      <a:pt x="1913" y="983"/>
                    </a:cubicBezTo>
                    <a:cubicBezTo>
                      <a:pt x="1911" y="981"/>
                      <a:pt x="1911" y="981"/>
                      <a:pt x="1911" y="981"/>
                    </a:cubicBezTo>
                    <a:cubicBezTo>
                      <a:pt x="1909" y="976"/>
                      <a:pt x="1909" y="976"/>
                      <a:pt x="1909" y="976"/>
                    </a:cubicBezTo>
                    <a:cubicBezTo>
                      <a:pt x="1906" y="973"/>
                      <a:pt x="1906" y="973"/>
                      <a:pt x="1906" y="973"/>
                    </a:cubicBezTo>
                    <a:cubicBezTo>
                      <a:pt x="1902" y="973"/>
                      <a:pt x="1902" y="973"/>
                      <a:pt x="1902" y="973"/>
                    </a:cubicBezTo>
                    <a:cubicBezTo>
                      <a:pt x="1898" y="969"/>
                      <a:pt x="1898" y="969"/>
                      <a:pt x="1898" y="969"/>
                    </a:cubicBezTo>
                    <a:cubicBezTo>
                      <a:pt x="1893" y="973"/>
                      <a:pt x="1893" y="973"/>
                      <a:pt x="1893" y="973"/>
                    </a:cubicBezTo>
                    <a:cubicBezTo>
                      <a:pt x="1890" y="973"/>
                      <a:pt x="1890" y="973"/>
                      <a:pt x="1890" y="973"/>
                    </a:cubicBezTo>
                    <a:cubicBezTo>
                      <a:pt x="1888" y="976"/>
                      <a:pt x="1888" y="976"/>
                      <a:pt x="1888" y="976"/>
                    </a:cubicBezTo>
                    <a:cubicBezTo>
                      <a:pt x="1886" y="976"/>
                      <a:pt x="1886" y="976"/>
                      <a:pt x="1886" y="976"/>
                    </a:cubicBezTo>
                    <a:cubicBezTo>
                      <a:pt x="1885" y="974"/>
                      <a:pt x="1885" y="974"/>
                      <a:pt x="1885" y="974"/>
                    </a:cubicBezTo>
                    <a:cubicBezTo>
                      <a:pt x="1885" y="972"/>
                      <a:pt x="1885" y="972"/>
                      <a:pt x="1885" y="972"/>
                    </a:cubicBezTo>
                    <a:cubicBezTo>
                      <a:pt x="1882" y="970"/>
                      <a:pt x="1882" y="970"/>
                      <a:pt x="1882" y="970"/>
                    </a:cubicBezTo>
                    <a:cubicBezTo>
                      <a:pt x="1878" y="970"/>
                      <a:pt x="1878" y="970"/>
                      <a:pt x="1878" y="970"/>
                    </a:cubicBezTo>
                    <a:cubicBezTo>
                      <a:pt x="1880" y="977"/>
                      <a:pt x="1880" y="977"/>
                      <a:pt x="1880" y="977"/>
                    </a:cubicBezTo>
                    <a:cubicBezTo>
                      <a:pt x="1883" y="981"/>
                      <a:pt x="1883" y="981"/>
                      <a:pt x="1883" y="981"/>
                    </a:cubicBezTo>
                    <a:cubicBezTo>
                      <a:pt x="1882" y="985"/>
                      <a:pt x="1882" y="985"/>
                      <a:pt x="1882" y="985"/>
                    </a:cubicBezTo>
                    <a:cubicBezTo>
                      <a:pt x="1884" y="992"/>
                      <a:pt x="1884" y="992"/>
                      <a:pt x="1884" y="992"/>
                    </a:cubicBezTo>
                    <a:cubicBezTo>
                      <a:pt x="1882" y="998"/>
                      <a:pt x="1882" y="998"/>
                      <a:pt x="1882" y="998"/>
                    </a:cubicBezTo>
                    <a:cubicBezTo>
                      <a:pt x="1880" y="1000"/>
                      <a:pt x="1880" y="1000"/>
                      <a:pt x="1880" y="1000"/>
                    </a:cubicBezTo>
                    <a:cubicBezTo>
                      <a:pt x="1880" y="995"/>
                      <a:pt x="1880" y="995"/>
                      <a:pt x="1880" y="995"/>
                    </a:cubicBezTo>
                    <a:cubicBezTo>
                      <a:pt x="1880" y="989"/>
                      <a:pt x="1880" y="989"/>
                      <a:pt x="1880" y="989"/>
                    </a:cubicBezTo>
                    <a:cubicBezTo>
                      <a:pt x="1878" y="983"/>
                      <a:pt x="1878" y="983"/>
                      <a:pt x="1878" y="983"/>
                    </a:cubicBezTo>
                    <a:cubicBezTo>
                      <a:pt x="1877" y="986"/>
                      <a:pt x="1877" y="986"/>
                      <a:pt x="1877" y="986"/>
                    </a:cubicBezTo>
                    <a:cubicBezTo>
                      <a:pt x="1877" y="991"/>
                      <a:pt x="1877" y="991"/>
                      <a:pt x="1877" y="991"/>
                    </a:cubicBezTo>
                    <a:cubicBezTo>
                      <a:pt x="1876" y="997"/>
                      <a:pt x="1876" y="997"/>
                      <a:pt x="1876" y="997"/>
                    </a:cubicBezTo>
                    <a:cubicBezTo>
                      <a:pt x="1872" y="1000"/>
                      <a:pt x="1872" y="1000"/>
                      <a:pt x="1872" y="1000"/>
                    </a:cubicBezTo>
                    <a:cubicBezTo>
                      <a:pt x="1863" y="1002"/>
                      <a:pt x="1863" y="1002"/>
                      <a:pt x="1863" y="1002"/>
                    </a:cubicBezTo>
                    <a:cubicBezTo>
                      <a:pt x="1862" y="1000"/>
                      <a:pt x="1862" y="1000"/>
                      <a:pt x="1862" y="1000"/>
                    </a:cubicBezTo>
                    <a:cubicBezTo>
                      <a:pt x="1865" y="997"/>
                      <a:pt x="1865" y="997"/>
                      <a:pt x="1865" y="997"/>
                    </a:cubicBezTo>
                    <a:cubicBezTo>
                      <a:pt x="1867" y="997"/>
                      <a:pt x="1867" y="997"/>
                      <a:pt x="1867" y="997"/>
                    </a:cubicBezTo>
                    <a:cubicBezTo>
                      <a:pt x="1867" y="990"/>
                      <a:pt x="1867" y="990"/>
                      <a:pt x="1867" y="990"/>
                    </a:cubicBezTo>
                    <a:cubicBezTo>
                      <a:pt x="1869" y="987"/>
                      <a:pt x="1869" y="987"/>
                      <a:pt x="1869" y="987"/>
                    </a:cubicBezTo>
                    <a:cubicBezTo>
                      <a:pt x="1870" y="985"/>
                      <a:pt x="1870" y="985"/>
                      <a:pt x="1870" y="985"/>
                    </a:cubicBezTo>
                    <a:cubicBezTo>
                      <a:pt x="1866" y="985"/>
                      <a:pt x="1866" y="985"/>
                      <a:pt x="1866" y="985"/>
                    </a:cubicBezTo>
                    <a:cubicBezTo>
                      <a:pt x="1864" y="987"/>
                      <a:pt x="1864" y="987"/>
                      <a:pt x="1864" y="987"/>
                    </a:cubicBezTo>
                    <a:cubicBezTo>
                      <a:pt x="1863" y="985"/>
                      <a:pt x="1863" y="985"/>
                      <a:pt x="1863" y="985"/>
                    </a:cubicBezTo>
                    <a:cubicBezTo>
                      <a:pt x="1860" y="986"/>
                      <a:pt x="1860" y="986"/>
                      <a:pt x="1860" y="986"/>
                    </a:cubicBezTo>
                    <a:cubicBezTo>
                      <a:pt x="1858" y="990"/>
                      <a:pt x="1858" y="990"/>
                      <a:pt x="1858" y="990"/>
                    </a:cubicBezTo>
                    <a:cubicBezTo>
                      <a:pt x="1856" y="992"/>
                      <a:pt x="1856" y="992"/>
                      <a:pt x="1856" y="992"/>
                    </a:cubicBezTo>
                    <a:cubicBezTo>
                      <a:pt x="1855" y="992"/>
                      <a:pt x="1855" y="992"/>
                      <a:pt x="1855" y="992"/>
                    </a:cubicBezTo>
                    <a:cubicBezTo>
                      <a:pt x="1853" y="995"/>
                      <a:pt x="1853" y="995"/>
                      <a:pt x="1853" y="995"/>
                    </a:cubicBezTo>
                    <a:cubicBezTo>
                      <a:pt x="1848" y="990"/>
                      <a:pt x="1848" y="990"/>
                      <a:pt x="1848" y="990"/>
                    </a:cubicBezTo>
                    <a:cubicBezTo>
                      <a:pt x="1849" y="985"/>
                      <a:pt x="1849" y="985"/>
                      <a:pt x="1849" y="985"/>
                    </a:cubicBezTo>
                    <a:cubicBezTo>
                      <a:pt x="1847" y="978"/>
                      <a:pt x="1847" y="978"/>
                      <a:pt x="1847" y="978"/>
                    </a:cubicBezTo>
                    <a:cubicBezTo>
                      <a:pt x="1843" y="971"/>
                      <a:pt x="1843" y="971"/>
                      <a:pt x="1843" y="971"/>
                    </a:cubicBezTo>
                    <a:cubicBezTo>
                      <a:pt x="1843" y="960"/>
                      <a:pt x="1843" y="960"/>
                      <a:pt x="1843" y="960"/>
                    </a:cubicBezTo>
                    <a:cubicBezTo>
                      <a:pt x="1839" y="961"/>
                      <a:pt x="1839" y="961"/>
                      <a:pt x="1839" y="961"/>
                    </a:cubicBezTo>
                    <a:cubicBezTo>
                      <a:pt x="1838" y="961"/>
                      <a:pt x="1838" y="961"/>
                      <a:pt x="1838" y="961"/>
                    </a:cubicBezTo>
                    <a:cubicBezTo>
                      <a:pt x="1834" y="963"/>
                      <a:pt x="1834" y="963"/>
                      <a:pt x="1834" y="963"/>
                    </a:cubicBezTo>
                    <a:cubicBezTo>
                      <a:pt x="1832" y="965"/>
                      <a:pt x="1832" y="965"/>
                      <a:pt x="1832" y="965"/>
                    </a:cubicBezTo>
                    <a:cubicBezTo>
                      <a:pt x="1827" y="969"/>
                      <a:pt x="1827" y="969"/>
                      <a:pt x="1827" y="969"/>
                    </a:cubicBezTo>
                    <a:cubicBezTo>
                      <a:pt x="1824" y="968"/>
                      <a:pt x="1824" y="968"/>
                      <a:pt x="1824" y="968"/>
                    </a:cubicBezTo>
                    <a:cubicBezTo>
                      <a:pt x="1821" y="965"/>
                      <a:pt x="1821" y="965"/>
                      <a:pt x="1821" y="965"/>
                    </a:cubicBezTo>
                    <a:cubicBezTo>
                      <a:pt x="1817" y="966"/>
                      <a:pt x="1817" y="966"/>
                      <a:pt x="1817" y="966"/>
                    </a:cubicBezTo>
                    <a:cubicBezTo>
                      <a:pt x="1814" y="964"/>
                      <a:pt x="1814" y="964"/>
                      <a:pt x="1814" y="964"/>
                    </a:cubicBezTo>
                    <a:cubicBezTo>
                      <a:pt x="1812" y="960"/>
                      <a:pt x="1812" y="960"/>
                      <a:pt x="1812" y="960"/>
                    </a:cubicBezTo>
                    <a:cubicBezTo>
                      <a:pt x="1814" y="956"/>
                      <a:pt x="1814" y="956"/>
                      <a:pt x="1814" y="956"/>
                    </a:cubicBezTo>
                    <a:cubicBezTo>
                      <a:pt x="1815" y="951"/>
                      <a:pt x="1815" y="951"/>
                      <a:pt x="1815" y="951"/>
                    </a:cubicBezTo>
                    <a:cubicBezTo>
                      <a:pt x="1818" y="945"/>
                      <a:pt x="1818" y="945"/>
                      <a:pt x="1818" y="945"/>
                    </a:cubicBezTo>
                    <a:cubicBezTo>
                      <a:pt x="1818" y="941"/>
                      <a:pt x="1818" y="941"/>
                      <a:pt x="1818" y="941"/>
                    </a:cubicBezTo>
                    <a:cubicBezTo>
                      <a:pt x="1823" y="936"/>
                      <a:pt x="1823" y="936"/>
                      <a:pt x="1823" y="936"/>
                    </a:cubicBezTo>
                    <a:cubicBezTo>
                      <a:pt x="1823" y="928"/>
                      <a:pt x="1823" y="928"/>
                      <a:pt x="1823" y="928"/>
                    </a:cubicBezTo>
                    <a:cubicBezTo>
                      <a:pt x="1829" y="923"/>
                      <a:pt x="1829" y="923"/>
                      <a:pt x="1829" y="923"/>
                    </a:cubicBezTo>
                    <a:cubicBezTo>
                      <a:pt x="1829" y="917"/>
                      <a:pt x="1829" y="917"/>
                      <a:pt x="1829" y="917"/>
                    </a:cubicBezTo>
                    <a:cubicBezTo>
                      <a:pt x="1831" y="916"/>
                      <a:pt x="1831" y="916"/>
                      <a:pt x="1831" y="916"/>
                    </a:cubicBezTo>
                    <a:cubicBezTo>
                      <a:pt x="1831" y="914"/>
                      <a:pt x="1831" y="914"/>
                      <a:pt x="1831" y="914"/>
                    </a:cubicBezTo>
                    <a:cubicBezTo>
                      <a:pt x="1834" y="908"/>
                      <a:pt x="1834" y="908"/>
                      <a:pt x="1834" y="908"/>
                    </a:cubicBezTo>
                    <a:cubicBezTo>
                      <a:pt x="1835" y="903"/>
                      <a:pt x="1835" y="903"/>
                      <a:pt x="1835" y="903"/>
                    </a:cubicBezTo>
                    <a:cubicBezTo>
                      <a:pt x="1837" y="898"/>
                      <a:pt x="1837" y="898"/>
                      <a:pt x="1837" y="898"/>
                    </a:cubicBezTo>
                    <a:cubicBezTo>
                      <a:pt x="1836" y="893"/>
                      <a:pt x="1836" y="893"/>
                      <a:pt x="1836" y="893"/>
                    </a:cubicBezTo>
                    <a:cubicBezTo>
                      <a:pt x="1837" y="890"/>
                      <a:pt x="1837" y="890"/>
                      <a:pt x="1837" y="890"/>
                    </a:cubicBezTo>
                    <a:cubicBezTo>
                      <a:pt x="1837" y="882"/>
                      <a:pt x="1837" y="882"/>
                      <a:pt x="1837" y="882"/>
                    </a:cubicBezTo>
                    <a:cubicBezTo>
                      <a:pt x="1839" y="872"/>
                      <a:pt x="1839" y="872"/>
                      <a:pt x="1839" y="872"/>
                    </a:cubicBezTo>
                    <a:cubicBezTo>
                      <a:pt x="1840" y="872"/>
                      <a:pt x="1840" y="872"/>
                      <a:pt x="1840" y="872"/>
                    </a:cubicBezTo>
                    <a:cubicBezTo>
                      <a:pt x="1841" y="864"/>
                      <a:pt x="1841" y="864"/>
                      <a:pt x="1841" y="864"/>
                    </a:cubicBezTo>
                    <a:cubicBezTo>
                      <a:pt x="1844" y="862"/>
                      <a:pt x="1844" y="862"/>
                      <a:pt x="1844" y="862"/>
                    </a:cubicBezTo>
                    <a:cubicBezTo>
                      <a:pt x="1843" y="857"/>
                      <a:pt x="1843" y="857"/>
                      <a:pt x="1843" y="857"/>
                    </a:cubicBezTo>
                    <a:cubicBezTo>
                      <a:pt x="1848" y="850"/>
                      <a:pt x="1848" y="850"/>
                      <a:pt x="1848" y="850"/>
                    </a:cubicBezTo>
                    <a:cubicBezTo>
                      <a:pt x="1849" y="844"/>
                      <a:pt x="1849" y="844"/>
                      <a:pt x="1849" y="844"/>
                    </a:cubicBezTo>
                    <a:cubicBezTo>
                      <a:pt x="1852" y="841"/>
                      <a:pt x="1852" y="841"/>
                      <a:pt x="1852" y="841"/>
                    </a:cubicBezTo>
                    <a:cubicBezTo>
                      <a:pt x="1850" y="833"/>
                      <a:pt x="1850" y="833"/>
                      <a:pt x="1850" y="833"/>
                    </a:cubicBezTo>
                    <a:cubicBezTo>
                      <a:pt x="1852" y="832"/>
                      <a:pt x="1852" y="832"/>
                      <a:pt x="1852" y="832"/>
                    </a:cubicBezTo>
                    <a:cubicBezTo>
                      <a:pt x="1852" y="827"/>
                      <a:pt x="1852" y="827"/>
                      <a:pt x="1852" y="827"/>
                    </a:cubicBezTo>
                    <a:cubicBezTo>
                      <a:pt x="1855" y="825"/>
                      <a:pt x="1855" y="825"/>
                      <a:pt x="1855" y="825"/>
                    </a:cubicBezTo>
                    <a:cubicBezTo>
                      <a:pt x="1856" y="825"/>
                      <a:pt x="1856" y="825"/>
                      <a:pt x="1856" y="825"/>
                    </a:cubicBezTo>
                    <a:cubicBezTo>
                      <a:pt x="1856" y="820"/>
                      <a:pt x="1856" y="820"/>
                      <a:pt x="1856" y="820"/>
                    </a:cubicBezTo>
                    <a:cubicBezTo>
                      <a:pt x="1854" y="817"/>
                      <a:pt x="1854" y="817"/>
                      <a:pt x="1854" y="817"/>
                    </a:cubicBezTo>
                    <a:cubicBezTo>
                      <a:pt x="1855" y="808"/>
                      <a:pt x="1855" y="808"/>
                      <a:pt x="1855" y="808"/>
                    </a:cubicBezTo>
                    <a:cubicBezTo>
                      <a:pt x="1854" y="803"/>
                      <a:pt x="1854" y="803"/>
                      <a:pt x="1854" y="803"/>
                    </a:cubicBezTo>
                    <a:cubicBezTo>
                      <a:pt x="1856" y="796"/>
                      <a:pt x="1856" y="796"/>
                      <a:pt x="1856" y="796"/>
                    </a:cubicBezTo>
                    <a:cubicBezTo>
                      <a:pt x="1862" y="789"/>
                      <a:pt x="1862" y="789"/>
                      <a:pt x="1862" y="789"/>
                    </a:cubicBezTo>
                    <a:cubicBezTo>
                      <a:pt x="1863" y="780"/>
                      <a:pt x="1863" y="780"/>
                      <a:pt x="1863" y="780"/>
                    </a:cubicBezTo>
                    <a:cubicBezTo>
                      <a:pt x="1858" y="772"/>
                      <a:pt x="1858" y="772"/>
                      <a:pt x="1858" y="772"/>
                    </a:cubicBezTo>
                    <a:cubicBezTo>
                      <a:pt x="1859" y="767"/>
                      <a:pt x="1859" y="767"/>
                      <a:pt x="1859" y="767"/>
                    </a:cubicBezTo>
                    <a:cubicBezTo>
                      <a:pt x="1862" y="763"/>
                      <a:pt x="1862" y="763"/>
                      <a:pt x="1862" y="763"/>
                    </a:cubicBezTo>
                    <a:cubicBezTo>
                      <a:pt x="1863" y="758"/>
                      <a:pt x="1863" y="758"/>
                      <a:pt x="1863" y="758"/>
                    </a:cubicBezTo>
                    <a:cubicBezTo>
                      <a:pt x="1870" y="752"/>
                      <a:pt x="1870" y="752"/>
                      <a:pt x="1870" y="752"/>
                    </a:cubicBezTo>
                    <a:cubicBezTo>
                      <a:pt x="1871" y="748"/>
                      <a:pt x="1871" y="748"/>
                      <a:pt x="1871" y="748"/>
                    </a:cubicBezTo>
                    <a:cubicBezTo>
                      <a:pt x="1873" y="748"/>
                      <a:pt x="1873" y="748"/>
                      <a:pt x="1873" y="748"/>
                    </a:cubicBezTo>
                    <a:cubicBezTo>
                      <a:pt x="1876" y="751"/>
                      <a:pt x="1876" y="751"/>
                      <a:pt x="1876" y="751"/>
                    </a:cubicBezTo>
                    <a:cubicBezTo>
                      <a:pt x="1880" y="750"/>
                      <a:pt x="1880" y="750"/>
                      <a:pt x="1880" y="750"/>
                    </a:cubicBezTo>
                    <a:cubicBezTo>
                      <a:pt x="1886" y="744"/>
                      <a:pt x="1886" y="744"/>
                      <a:pt x="1886" y="744"/>
                    </a:cubicBezTo>
                    <a:cubicBezTo>
                      <a:pt x="1891" y="743"/>
                      <a:pt x="1891" y="743"/>
                      <a:pt x="1891" y="743"/>
                    </a:cubicBezTo>
                    <a:cubicBezTo>
                      <a:pt x="1897" y="739"/>
                      <a:pt x="1897" y="739"/>
                      <a:pt x="1897" y="739"/>
                    </a:cubicBezTo>
                    <a:cubicBezTo>
                      <a:pt x="1900" y="740"/>
                      <a:pt x="1900" y="740"/>
                      <a:pt x="1900" y="740"/>
                    </a:cubicBezTo>
                    <a:cubicBezTo>
                      <a:pt x="1904" y="737"/>
                      <a:pt x="1904" y="737"/>
                      <a:pt x="1904" y="737"/>
                    </a:cubicBezTo>
                    <a:cubicBezTo>
                      <a:pt x="1907" y="737"/>
                      <a:pt x="1907" y="737"/>
                      <a:pt x="1907" y="737"/>
                    </a:cubicBezTo>
                    <a:cubicBezTo>
                      <a:pt x="1910" y="736"/>
                      <a:pt x="1910" y="736"/>
                      <a:pt x="1910" y="736"/>
                    </a:cubicBezTo>
                    <a:cubicBezTo>
                      <a:pt x="1912" y="733"/>
                      <a:pt x="1912" y="733"/>
                      <a:pt x="1912" y="733"/>
                    </a:cubicBezTo>
                    <a:cubicBezTo>
                      <a:pt x="1915" y="736"/>
                      <a:pt x="1915" y="736"/>
                      <a:pt x="1915" y="736"/>
                    </a:cubicBezTo>
                    <a:cubicBezTo>
                      <a:pt x="1914" y="740"/>
                      <a:pt x="1914" y="740"/>
                      <a:pt x="1914" y="740"/>
                    </a:cubicBezTo>
                    <a:cubicBezTo>
                      <a:pt x="1916" y="741"/>
                      <a:pt x="1916" y="741"/>
                      <a:pt x="1916" y="741"/>
                    </a:cubicBezTo>
                    <a:cubicBezTo>
                      <a:pt x="1920" y="745"/>
                      <a:pt x="1920" y="745"/>
                      <a:pt x="1920" y="745"/>
                    </a:cubicBezTo>
                    <a:cubicBezTo>
                      <a:pt x="1921" y="741"/>
                      <a:pt x="1921" y="741"/>
                      <a:pt x="1921" y="741"/>
                    </a:cubicBezTo>
                    <a:cubicBezTo>
                      <a:pt x="1924" y="738"/>
                      <a:pt x="1924" y="738"/>
                      <a:pt x="1924" y="738"/>
                    </a:cubicBezTo>
                    <a:cubicBezTo>
                      <a:pt x="1919" y="733"/>
                      <a:pt x="1919" y="733"/>
                      <a:pt x="1919" y="733"/>
                    </a:cubicBezTo>
                    <a:cubicBezTo>
                      <a:pt x="1919" y="731"/>
                      <a:pt x="1919" y="731"/>
                      <a:pt x="1919" y="731"/>
                    </a:cubicBezTo>
                    <a:cubicBezTo>
                      <a:pt x="1923" y="728"/>
                      <a:pt x="1923" y="728"/>
                      <a:pt x="1923" y="728"/>
                    </a:cubicBezTo>
                    <a:cubicBezTo>
                      <a:pt x="1930" y="730"/>
                      <a:pt x="1930" y="730"/>
                      <a:pt x="1930" y="730"/>
                    </a:cubicBezTo>
                    <a:cubicBezTo>
                      <a:pt x="1933" y="727"/>
                      <a:pt x="1933" y="727"/>
                      <a:pt x="1933" y="727"/>
                    </a:cubicBezTo>
                    <a:cubicBezTo>
                      <a:pt x="1941" y="728"/>
                      <a:pt x="1941" y="728"/>
                      <a:pt x="1941" y="728"/>
                    </a:cubicBezTo>
                    <a:cubicBezTo>
                      <a:pt x="1942" y="731"/>
                      <a:pt x="1942" y="731"/>
                      <a:pt x="1942" y="731"/>
                    </a:cubicBezTo>
                    <a:cubicBezTo>
                      <a:pt x="1944" y="731"/>
                      <a:pt x="1944" y="731"/>
                      <a:pt x="1944" y="731"/>
                    </a:cubicBezTo>
                    <a:cubicBezTo>
                      <a:pt x="1946" y="728"/>
                      <a:pt x="1946" y="728"/>
                      <a:pt x="1946" y="728"/>
                    </a:cubicBezTo>
                    <a:cubicBezTo>
                      <a:pt x="1949" y="729"/>
                      <a:pt x="1949" y="729"/>
                      <a:pt x="1949" y="729"/>
                    </a:cubicBezTo>
                    <a:cubicBezTo>
                      <a:pt x="1948" y="725"/>
                      <a:pt x="1948" y="725"/>
                      <a:pt x="1948" y="725"/>
                    </a:cubicBezTo>
                    <a:cubicBezTo>
                      <a:pt x="1950" y="723"/>
                      <a:pt x="1950" y="723"/>
                      <a:pt x="1950" y="723"/>
                    </a:cubicBezTo>
                    <a:cubicBezTo>
                      <a:pt x="1956" y="724"/>
                      <a:pt x="1956" y="724"/>
                      <a:pt x="1956" y="724"/>
                    </a:cubicBezTo>
                    <a:cubicBezTo>
                      <a:pt x="1958" y="727"/>
                      <a:pt x="1958" y="727"/>
                      <a:pt x="1958" y="727"/>
                    </a:cubicBezTo>
                    <a:cubicBezTo>
                      <a:pt x="1965" y="724"/>
                      <a:pt x="1965" y="724"/>
                      <a:pt x="1965" y="724"/>
                    </a:cubicBezTo>
                    <a:cubicBezTo>
                      <a:pt x="1965" y="721"/>
                      <a:pt x="1965" y="721"/>
                      <a:pt x="1965" y="721"/>
                    </a:cubicBezTo>
                    <a:cubicBezTo>
                      <a:pt x="1963" y="719"/>
                      <a:pt x="1963" y="719"/>
                      <a:pt x="1963" y="719"/>
                    </a:cubicBezTo>
                    <a:cubicBezTo>
                      <a:pt x="1961" y="721"/>
                      <a:pt x="1961" y="721"/>
                      <a:pt x="1961" y="721"/>
                    </a:cubicBezTo>
                    <a:cubicBezTo>
                      <a:pt x="1957" y="718"/>
                      <a:pt x="1957" y="718"/>
                      <a:pt x="1957" y="718"/>
                    </a:cubicBezTo>
                    <a:cubicBezTo>
                      <a:pt x="1960" y="713"/>
                      <a:pt x="1960" y="713"/>
                      <a:pt x="1960" y="713"/>
                    </a:cubicBezTo>
                    <a:cubicBezTo>
                      <a:pt x="1961" y="716"/>
                      <a:pt x="1961" y="716"/>
                      <a:pt x="1961" y="716"/>
                    </a:cubicBezTo>
                    <a:cubicBezTo>
                      <a:pt x="1966" y="713"/>
                      <a:pt x="1966" y="713"/>
                      <a:pt x="1966" y="713"/>
                    </a:cubicBezTo>
                    <a:cubicBezTo>
                      <a:pt x="1961" y="710"/>
                      <a:pt x="1961" y="710"/>
                      <a:pt x="1961" y="710"/>
                    </a:cubicBezTo>
                    <a:cubicBezTo>
                      <a:pt x="1961" y="707"/>
                      <a:pt x="1961" y="707"/>
                      <a:pt x="1961" y="707"/>
                    </a:cubicBezTo>
                    <a:cubicBezTo>
                      <a:pt x="1964" y="707"/>
                      <a:pt x="1964" y="707"/>
                      <a:pt x="1964" y="707"/>
                    </a:cubicBezTo>
                    <a:cubicBezTo>
                      <a:pt x="1968" y="700"/>
                      <a:pt x="1968" y="700"/>
                      <a:pt x="1968" y="700"/>
                    </a:cubicBezTo>
                    <a:cubicBezTo>
                      <a:pt x="1974" y="700"/>
                      <a:pt x="1974" y="700"/>
                      <a:pt x="1974" y="700"/>
                    </a:cubicBezTo>
                    <a:cubicBezTo>
                      <a:pt x="1976" y="703"/>
                      <a:pt x="1976" y="703"/>
                      <a:pt x="1976" y="703"/>
                    </a:cubicBezTo>
                    <a:cubicBezTo>
                      <a:pt x="1979" y="701"/>
                      <a:pt x="1979" y="701"/>
                      <a:pt x="1979" y="701"/>
                    </a:cubicBezTo>
                    <a:cubicBezTo>
                      <a:pt x="1986" y="703"/>
                      <a:pt x="1986" y="703"/>
                      <a:pt x="1986" y="703"/>
                    </a:cubicBezTo>
                    <a:cubicBezTo>
                      <a:pt x="1991" y="702"/>
                      <a:pt x="1991" y="702"/>
                      <a:pt x="1991" y="702"/>
                    </a:cubicBezTo>
                    <a:cubicBezTo>
                      <a:pt x="1990" y="704"/>
                      <a:pt x="1990" y="704"/>
                      <a:pt x="1990" y="704"/>
                    </a:cubicBezTo>
                    <a:cubicBezTo>
                      <a:pt x="1993" y="706"/>
                      <a:pt x="1993" y="706"/>
                      <a:pt x="1993" y="706"/>
                    </a:cubicBezTo>
                    <a:cubicBezTo>
                      <a:pt x="1995" y="706"/>
                      <a:pt x="1995" y="706"/>
                      <a:pt x="1995" y="706"/>
                    </a:cubicBezTo>
                    <a:cubicBezTo>
                      <a:pt x="1993" y="702"/>
                      <a:pt x="1993" y="702"/>
                      <a:pt x="1993" y="702"/>
                    </a:cubicBezTo>
                    <a:cubicBezTo>
                      <a:pt x="1999" y="702"/>
                      <a:pt x="1999" y="702"/>
                      <a:pt x="1999" y="702"/>
                    </a:cubicBezTo>
                    <a:cubicBezTo>
                      <a:pt x="2004" y="703"/>
                      <a:pt x="2004" y="703"/>
                      <a:pt x="2004" y="703"/>
                    </a:cubicBezTo>
                    <a:cubicBezTo>
                      <a:pt x="2007" y="704"/>
                      <a:pt x="2007" y="704"/>
                      <a:pt x="2007" y="704"/>
                    </a:cubicBezTo>
                    <a:cubicBezTo>
                      <a:pt x="2011" y="707"/>
                      <a:pt x="2011" y="707"/>
                      <a:pt x="2011" y="707"/>
                    </a:cubicBezTo>
                    <a:cubicBezTo>
                      <a:pt x="2011" y="709"/>
                      <a:pt x="2011" y="709"/>
                      <a:pt x="2011" y="709"/>
                    </a:cubicBezTo>
                    <a:cubicBezTo>
                      <a:pt x="2016" y="710"/>
                      <a:pt x="2016" y="710"/>
                      <a:pt x="2016" y="710"/>
                    </a:cubicBezTo>
                    <a:cubicBezTo>
                      <a:pt x="2019" y="706"/>
                      <a:pt x="2019" y="706"/>
                      <a:pt x="2019" y="706"/>
                    </a:cubicBezTo>
                    <a:cubicBezTo>
                      <a:pt x="2022" y="707"/>
                      <a:pt x="2022" y="707"/>
                      <a:pt x="2022" y="707"/>
                    </a:cubicBezTo>
                    <a:cubicBezTo>
                      <a:pt x="2022" y="710"/>
                      <a:pt x="2022" y="710"/>
                      <a:pt x="2022" y="710"/>
                    </a:cubicBezTo>
                    <a:cubicBezTo>
                      <a:pt x="2016" y="715"/>
                      <a:pt x="2016" y="715"/>
                      <a:pt x="2016" y="715"/>
                    </a:cubicBezTo>
                    <a:cubicBezTo>
                      <a:pt x="2011" y="715"/>
                      <a:pt x="2011" y="715"/>
                      <a:pt x="2011" y="715"/>
                    </a:cubicBezTo>
                    <a:cubicBezTo>
                      <a:pt x="2009" y="717"/>
                      <a:pt x="2009" y="717"/>
                      <a:pt x="2009" y="717"/>
                    </a:cubicBezTo>
                    <a:cubicBezTo>
                      <a:pt x="2010" y="722"/>
                      <a:pt x="2010" y="722"/>
                      <a:pt x="2010" y="722"/>
                    </a:cubicBezTo>
                    <a:cubicBezTo>
                      <a:pt x="2007" y="722"/>
                      <a:pt x="2007" y="722"/>
                      <a:pt x="2007" y="722"/>
                    </a:cubicBezTo>
                    <a:cubicBezTo>
                      <a:pt x="2006" y="724"/>
                      <a:pt x="2006" y="724"/>
                      <a:pt x="2006" y="724"/>
                    </a:cubicBezTo>
                    <a:cubicBezTo>
                      <a:pt x="2007" y="725"/>
                      <a:pt x="2007" y="725"/>
                      <a:pt x="2007" y="725"/>
                    </a:cubicBezTo>
                    <a:cubicBezTo>
                      <a:pt x="2010" y="725"/>
                      <a:pt x="2010" y="725"/>
                      <a:pt x="2010" y="725"/>
                    </a:cubicBezTo>
                    <a:cubicBezTo>
                      <a:pt x="2015" y="733"/>
                      <a:pt x="2015" y="733"/>
                      <a:pt x="2015" y="733"/>
                    </a:cubicBezTo>
                    <a:cubicBezTo>
                      <a:pt x="2016" y="731"/>
                      <a:pt x="2016" y="731"/>
                      <a:pt x="2016" y="731"/>
                    </a:cubicBezTo>
                    <a:cubicBezTo>
                      <a:pt x="2022" y="729"/>
                      <a:pt x="2022" y="729"/>
                      <a:pt x="2022" y="729"/>
                    </a:cubicBezTo>
                    <a:cubicBezTo>
                      <a:pt x="2024" y="725"/>
                      <a:pt x="2024" y="725"/>
                      <a:pt x="2024" y="725"/>
                    </a:cubicBezTo>
                    <a:cubicBezTo>
                      <a:pt x="2023" y="724"/>
                      <a:pt x="2023" y="724"/>
                      <a:pt x="2023" y="724"/>
                    </a:cubicBezTo>
                    <a:cubicBezTo>
                      <a:pt x="2027" y="722"/>
                      <a:pt x="2027" y="722"/>
                      <a:pt x="2027" y="722"/>
                    </a:cubicBezTo>
                    <a:cubicBezTo>
                      <a:pt x="2024" y="717"/>
                      <a:pt x="2024" y="717"/>
                      <a:pt x="2024" y="717"/>
                    </a:cubicBezTo>
                    <a:cubicBezTo>
                      <a:pt x="2026" y="717"/>
                      <a:pt x="2026" y="717"/>
                      <a:pt x="2026" y="717"/>
                    </a:cubicBezTo>
                    <a:cubicBezTo>
                      <a:pt x="2031" y="723"/>
                      <a:pt x="2031" y="723"/>
                      <a:pt x="2031" y="723"/>
                    </a:cubicBezTo>
                    <a:cubicBezTo>
                      <a:pt x="2034" y="723"/>
                      <a:pt x="2034" y="723"/>
                      <a:pt x="2034" y="723"/>
                    </a:cubicBezTo>
                    <a:cubicBezTo>
                      <a:pt x="2035" y="720"/>
                      <a:pt x="2035" y="720"/>
                      <a:pt x="2035" y="720"/>
                    </a:cubicBezTo>
                    <a:cubicBezTo>
                      <a:pt x="2034" y="718"/>
                      <a:pt x="2034" y="718"/>
                      <a:pt x="2034" y="718"/>
                    </a:cubicBezTo>
                    <a:cubicBezTo>
                      <a:pt x="2036" y="716"/>
                      <a:pt x="2036" y="716"/>
                      <a:pt x="2036" y="716"/>
                    </a:cubicBezTo>
                    <a:cubicBezTo>
                      <a:pt x="2038" y="713"/>
                      <a:pt x="2038" y="713"/>
                      <a:pt x="2038" y="713"/>
                    </a:cubicBezTo>
                    <a:cubicBezTo>
                      <a:pt x="2039" y="713"/>
                      <a:pt x="2039" y="713"/>
                      <a:pt x="2039" y="713"/>
                    </a:cubicBezTo>
                    <a:cubicBezTo>
                      <a:pt x="2039" y="709"/>
                      <a:pt x="2039" y="709"/>
                      <a:pt x="2039" y="709"/>
                    </a:cubicBezTo>
                    <a:cubicBezTo>
                      <a:pt x="2039" y="707"/>
                      <a:pt x="2039" y="707"/>
                      <a:pt x="2039" y="707"/>
                    </a:cubicBezTo>
                    <a:cubicBezTo>
                      <a:pt x="2041" y="705"/>
                      <a:pt x="2041" y="705"/>
                      <a:pt x="2041" y="705"/>
                    </a:cubicBezTo>
                    <a:cubicBezTo>
                      <a:pt x="2043" y="707"/>
                      <a:pt x="2043" y="707"/>
                      <a:pt x="2043" y="707"/>
                    </a:cubicBezTo>
                    <a:cubicBezTo>
                      <a:pt x="2046" y="705"/>
                      <a:pt x="2046" y="705"/>
                      <a:pt x="2046" y="705"/>
                    </a:cubicBezTo>
                    <a:cubicBezTo>
                      <a:pt x="2048" y="708"/>
                      <a:pt x="2048" y="708"/>
                      <a:pt x="2048" y="708"/>
                    </a:cubicBezTo>
                    <a:cubicBezTo>
                      <a:pt x="2048" y="711"/>
                      <a:pt x="2048" y="711"/>
                      <a:pt x="2048" y="711"/>
                    </a:cubicBezTo>
                    <a:cubicBezTo>
                      <a:pt x="2051" y="713"/>
                      <a:pt x="2051" y="713"/>
                      <a:pt x="2051" y="713"/>
                    </a:cubicBezTo>
                    <a:cubicBezTo>
                      <a:pt x="2055" y="707"/>
                      <a:pt x="2055" y="707"/>
                      <a:pt x="2055" y="707"/>
                    </a:cubicBezTo>
                    <a:cubicBezTo>
                      <a:pt x="2053" y="705"/>
                      <a:pt x="2053" y="705"/>
                      <a:pt x="2053" y="705"/>
                    </a:cubicBezTo>
                    <a:cubicBezTo>
                      <a:pt x="2054" y="703"/>
                      <a:pt x="2054" y="703"/>
                      <a:pt x="2054" y="703"/>
                    </a:cubicBezTo>
                    <a:cubicBezTo>
                      <a:pt x="2056" y="701"/>
                      <a:pt x="2056" y="701"/>
                      <a:pt x="2056" y="701"/>
                    </a:cubicBezTo>
                    <a:cubicBezTo>
                      <a:pt x="2059" y="702"/>
                      <a:pt x="2059" y="702"/>
                      <a:pt x="2059" y="702"/>
                    </a:cubicBezTo>
                    <a:cubicBezTo>
                      <a:pt x="2061" y="700"/>
                      <a:pt x="2061" y="700"/>
                      <a:pt x="2061" y="700"/>
                    </a:cubicBezTo>
                    <a:cubicBezTo>
                      <a:pt x="2064" y="701"/>
                      <a:pt x="2064" y="701"/>
                      <a:pt x="2064" y="701"/>
                    </a:cubicBezTo>
                    <a:cubicBezTo>
                      <a:pt x="2064" y="699"/>
                      <a:pt x="2064" y="699"/>
                      <a:pt x="2064" y="699"/>
                    </a:cubicBezTo>
                    <a:cubicBezTo>
                      <a:pt x="2061" y="695"/>
                      <a:pt x="2061" y="695"/>
                      <a:pt x="2061" y="695"/>
                    </a:cubicBezTo>
                    <a:cubicBezTo>
                      <a:pt x="2062" y="693"/>
                      <a:pt x="2062" y="693"/>
                      <a:pt x="2062" y="693"/>
                    </a:cubicBezTo>
                    <a:cubicBezTo>
                      <a:pt x="2061" y="691"/>
                      <a:pt x="2061" y="691"/>
                      <a:pt x="2061" y="691"/>
                    </a:cubicBezTo>
                    <a:cubicBezTo>
                      <a:pt x="2058" y="689"/>
                      <a:pt x="2058" y="689"/>
                      <a:pt x="2058" y="689"/>
                    </a:cubicBezTo>
                    <a:cubicBezTo>
                      <a:pt x="2056" y="687"/>
                      <a:pt x="2056" y="687"/>
                      <a:pt x="2056" y="687"/>
                    </a:cubicBezTo>
                    <a:cubicBezTo>
                      <a:pt x="2055" y="688"/>
                      <a:pt x="2055" y="688"/>
                      <a:pt x="2055" y="688"/>
                    </a:cubicBezTo>
                    <a:cubicBezTo>
                      <a:pt x="2056" y="690"/>
                      <a:pt x="2056" y="690"/>
                      <a:pt x="2056" y="690"/>
                    </a:cubicBezTo>
                    <a:cubicBezTo>
                      <a:pt x="2054" y="690"/>
                      <a:pt x="2054" y="690"/>
                      <a:pt x="2054" y="690"/>
                    </a:cubicBezTo>
                    <a:cubicBezTo>
                      <a:pt x="2050" y="688"/>
                      <a:pt x="2050" y="688"/>
                      <a:pt x="2050" y="688"/>
                    </a:cubicBezTo>
                    <a:cubicBezTo>
                      <a:pt x="2049" y="689"/>
                      <a:pt x="2049" y="689"/>
                      <a:pt x="2049" y="689"/>
                    </a:cubicBezTo>
                    <a:cubicBezTo>
                      <a:pt x="2050" y="691"/>
                      <a:pt x="2050" y="691"/>
                      <a:pt x="2050" y="691"/>
                    </a:cubicBezTo>
                    <a:cubicBezTo>
                      <a:pt x="2046" y="691"/>
                      <a:pt x="2046" y="691"/>
                      <a:pt x="2046" y="691"/>
                    </a:cubicBezTo>
                    <a:cubicBezTo>
                      <a:pt x="2045" y="692"/>
                      <a:pt x="2045" y="692"/>
                      <a:pt x="2045" y="692"/>
                    </a:cubicBezTo>
                    <a:cubicBezTo>
                      <a:pt x="2042" y="690"/>
                      <a:pt x="2042" y="690"/>
                      <a:pt x="2042" y="690"/>
                    </a:cubicBezTo>
                    <a:cubicBezTo>
                      <a:pt x="2043" y="687"/>
                      <a:pt x="2043" y="687"/>
                      <a:pt x="2043" y="687"/>
                    </a:cubicBezTo>
                    <a:cubicBezTo>
                      <a:pt x="2045" y="685"/>
                      <a:pt x="2045" y="685"/>
                      <a:pt x="2045" y="685"/>
                    </a:cubicBezTo>
                    <a:cubicBezTo>
                      <a:pt x="2040" y="677"/>
                      <a:pt x="2040" y="677"/>
                      <a:pt x="2040" y="677"/>
                    </a:cubicBezTo>
                    <a:cubicBezTo>
                      <a:pt x="2043" y="675"/>
                      <a:pt x="2043" y="675"/>
                      <a:pt x="2043" y="675"/>
                    </a:cubicBezTo>
                    <a:cubicBezTo>
                      <a:pt x="2039" y="669"/>
                      <a:pt x="2039" y="669"/>
                      <a:pt x="2039" y="669"/>
                    </a:cubicBezTo>
                    <a:cubicBezTo>
                      <a:pt x="2041" y="662"/>
                      <a:pt x="2041" y="662"/>
                      <a:pt x="2041" y="662"/>
                    </a:cubicBezTo>
                    <a:cubicBezTo>
                      <a:pt x="2041" y="657"/>
                      <a:pt x="2041" y="657"/>
                      <a:pt x="2041" y="657"/>
                    </a:cubicBezTo>
                    <a:cubicBezTo>
                      <a:pt x="2044" y="653"/>
                      <a:pt x="2044" y="653"/>
                      <a:pt x="2044" y="653"/>
                    </a:cubicBezTo>
                    <a:cubicBezTo>
                      <a:pt x="2044" y="646"/>
                      <a:pt x="2044" y="646"/>
                      <a:pt x="2044" y="646"/>
                    </a:cubicBezTo>
                    <a:cubicBezTo>
                      <a:pt x="2048" y="642"/>
                      <a:pt x="2048" y="642"/>
                      <a:pt x="2048" y="642"/>
                    </a:cubicBezTo>
                    <a:cubicBezTo>
                      <a:pt x="2048" y="637"/>
                      <a:pt x="2048" y="637"/>
                      <a:pt x="2048" y="637"/>
                    </a:cubicBezTo>
                    <a:cubicBezTo>
                      <a:pt x="2046" y="636"/>
                      <a:pt x="2046" y="636"/>
                      <a:pt x="2046" y="636"/>
                    </a:cubicBezTo>
                    <a:cubicBezTo>
                      <a:pt x="2050" y="634"/>
                      <a:pt x="2050" y="634"/>
                      <a:pt x="2050" y="634"/>
                    </a:cubicBezTo>
                    <a:cubicBezTo>
                      <a:pt x="2046" y="628"/>
                      <a:pt x="2046" y="628"/>
                      <a:pt x="2046" y="628"/>
                    </a:cubicBezTo>
                    <a:cubicBezTo>
                      <a:pt x="2048" y="613"/>
                      <a:pt x="2048" y="613"/>
                      <a:pt x="2048" y="613"/>
                    </a:cubicBezTo>
                    <a:cubicBezTo>
                      <a:pt x="2050" y="610"/>
                      <a:pt x="2050" y="610"/>
                      <a:pt x="2050" y="610"/>
                    </a:cubicBezTo>
                    <a:cubicBezTo>
                      <a:pt x="2047" y="603"/>
                      <a:pt x="2047" y="603"/>
                      <a:pt x="2047" y="603"/>
                    </a:cubicBezTo>
                    <a:cubicBezTo>
                      <a:pt x="2046" y="598"/>
                      <a:pt x="2046" y="598"/>
                      <a:pt x="2046" y="598"/>
                    </a:cubicBezTo>
                    <a:cubicBezTo>
                      <a:pt x="2044" y="596"/>
                      <a:pt x="2044" y="596"/>
                      <a:pt x="2044" y="596"/>
                    </a:cubicBezTo>
                    <a:cubicBezTo>
                      <a:pt x="2044" y="594"/>
                      <a:pt x="2044" y="594"/>
                      <a:pt x="2044" y="594"/>
                    </a:cubicBezTo>
                    <a:cubicBezTo>
                      <a:pt x="2047" y="591"/>
                      <a:pt x="2047" y="591"/>
                      <a:pt x="2047" y="591"/>
                    </a:cubicBezTo>
                    <a:cubicBezTo>
                      <a:pt x="2047" y="585"/>
                      <a:pt x="2047" y="585"/>
                      <a:pt x="2047" y="585"/>
                    </a:cubicBezTo>
                    <a:cubicBezTo>
                      <a:pt x="2049" y="583"/>
                      <a:pt x="2049" y="583"/>
                      <a:pt x="2049" y="583"/>
                    </a:cubicBezTo>
                    <a:cubicBezTo>
                      <a:pt x="2053" y="575"/>
                      <a:pt x="2053" y="575"/>
                      <a:pt x="2053" y="575"/>
                    </a:cubicBezTo>
                    <a:cubicBezTo>
                      <a:pt x="2057" y="576"/>
                      <a:pt x="2057" y="576"/>
                      <a:pt x="2057" y="576"/>
                    </a:cubicBezTo>
                    <a:cubicBezTo>
                      <a:pt x="2059" y="574"/>
                      <a:pt x="2059" y="574"/>
                      <a:pt x="2059" y="574"/>
                    </a:cubicBezTo>
                    <a:cubicBezTo>
                      <a:pt x="2062" y="575"/>
                      <a:pt x="2062" y="575"/>
                      <a:pt x="2062" y="575"/>
                    </a:cubicBezTo>
                    <a:cubicBezTo>
                      <a:pt x="2064" y="572"/>
                      <a:pt x="2064" y="572"/>
                      <a:pt x="2064" y="572"/>
                    </a:cubicBezTo>
                    <a:cubicBezTo>
                      <a:pt x="2070" y="571"/>
                      <a:pt x="2070" y="571"/>
                      <a:pt x="2070" y="571"/>
                    </a:cubicBezTo>
                    <a:cubicBezTo>
                      <a:pt x="2071" y="569"/>
                      <a:pt x="2071" y="569"/>
                      <a:pt x="2071" y="569"/>
                    </a:cubicBezTo>
                    <a:cubicBezTo>
                      <a:pt x="2074" y="569"/>
                      <a:pt x="2074" y="569"/>
                      <a:pt x="2074" y="569"/>
                    </a:cubicBezTo>
                    <a:cubicBezTo>
                      <a:pt x="2074" y="564"/>
                      <a:pt x="2074" y="564"/>
                      <a:pt x="2074" y="564"/>
                    </a:cubicBezTo>
                    <a:cubicBezTo>
                      <a:pt x="2076" y="564"/>
                      <a:pt x="2076" y="564"/>
                      <a:pt x="2076" y="564"/>
                    </a:cubicBezTo>
                    <a:cubicBezTo>
                      <a:pt x="2077" y="563"/>
                      <a:pt x="2077" y="563"/>
                      <a:pt x="2077" y="563"/>
                    </a:cubicBezTo>
                    <a:cubicBezTo>
                      <a:pt x="2082" y="563"/>
                      <a:pt x="2082" y="563"/>
                      <a:pt x="2082" y="563"/>
                    </a:cubicBezTo>
                    <a:cubicBezTo>
                      <a:pt x="2082" y="567"/>
                      <a:pt x="2082" y="567"/>
                      <a:pt x="2082" y="567"/>
                    </a:cubicBezTo>
                    <a:cubicBezTo>
                      <a:pt x="2084" y="566"/>
                      <a:pt x="2084" y="566"/>
                      <a:pt x="2084" y="566"/>
                    </a:cubicBezTo>
                    <a:cubicBezTo>
                      <a:pt x="2085" y="566"/>
                      <a:pt x="2085" y="566"/>
                      <a:pt x="2085" y="566"/>
                    </a:cubicBezTo>
                    <a:cubicBezTo>
                      <a:pt x="2087" y="571"/>
                      <a:pt x="2087" y="571"/>
                      <a:pt x="2087" y="571"/>
                    </a:cubicBezTo>
                    <a:cubicBezTo>
                      <a:pt x="2089" y="571"/>
                      <a:pt x="2089" y="571"/>
                      <a:pt x="2089" y="571"/>
                    </a:cubicBezTo>
                    <a:cubicBezTo>
                      <a:pt x="2092" y="567"/>
                      <a:pt x="2092" y="567"/>
                      <a:pt x="2092" y="567"/>
                    </a:cubicBezTo>
                    <a:cubicBezTo>
                      <a:pt x="2091" y="561"/>
                      <a:pt x="2091" y="561"/>
                      <a:pt x="2091" y="561"/>
                    </a:cubicBezTo>
                    <a:cubicBezTo>
                      <a:pt x="2094" y="561"/>
                      <a:pt x="2094" y="561"/>
                      <a:pt x="2094" y="561"/>
                    </a:cubicBezTo>
                    <a:cubicBezTo>
                      <a:pt x="2095" y="555"/>
                      <a:pt x="2095" y="555"/>
                      <a:pt x="2095" y="555"/>
                    </a:cubicBezTo>
                    <a:cubicBezTo>
                      <a:pt x="2096" y="555"/>
                      <a:pt x="2096" y="555"/>
                      <a:pt x="2096" y="555"/>
                    </a:cubicBezTo>
                    <a:cubicBezTo>
                      <a:pt x="2097" y="559"/>
                      <a:pt x="2097" y="559"/>
                      <a:pt x="2097" y="559"/>
                    </a:cubicBezTo>
                    <a:cubicBezTo>
                      <a:pt x="2101" y="562"/>
                      <a:pt x="2101" y="562"/>
                      <a:pt x="2101" y="562"/>
                    </a:cubicBezTo>
                    <a:cubicBezTo>
                      <a:pt x="2101" y="567"/>
                      <a:pt x="2101" y="567"/>
                      <a:pt x="2101" y="567"/>
                    </a:cubicBezTo>
                    <a:cubicBezTo>
                      <a:pt x="2100" y="569"/>
                      <a:pt x="2100" y="569"/>
                      <a:pt x="2100" y="569"/>
                    </a:cubicBezTo>
                    <a:cubicBezTo>
                      <a:pt x="2102" y="571"/>
                      <a:pt x="2102" y="571"/>
                      <a:pt x="2102" y="571"/>
                    </a:cubicBezTo>
                    <a:cubicBezTo>
                      <a:pt x="2103" y="575"/>
                      <a:pt x="2103" y="575"/>
                      <a:pt x="2103" y="575"/>
                    </a:cubicBezTo>
                    <a:cubicBezTo>
                      <a:pt x="2101" y="578"/>
                      <a:pt x="2101" y="578"/>
                      <a:pt x="2101" y="578"/>
                    </a:cubicBezTo>
                    <a:cubicBezTo>
                      <a:pt x="2102" y="579"/>
                      <a:pt x="2102" y="579"/>
                      <a:pt x="2102" y="579"/>
                    </a:cubicBezTo>
                    <a:cubicBezTo>
                      <a:pt x="2103" y="584"/>
                      <a:pt x="2103" y="584"/>
                      <a:pt x="2103" y="584"/>
                    </a:cubicBezTo>
                    <a:cubicBezTo>
                      <a:pt x="2102" y="584"/>
                      <a:pt x="2102" y="584"/>
                      <a:pt x="2102" y="584"/>
                    </a:cubicBezTo>
                    <a:cubicBezTo>
                      <a:pt x="2102" y="588"/>
                      <a:pt x="2102" y="588"/>
                      <a:pt x="2102" y="588"/>
                    </a:cubicBezTo>
                    <a:cubicBezTo>
                      <a:pt x="2103" y="590"/>
                      <a:pt x="2103" y="590"/>
                      <a:pt x="2103" y="590"/>
                    </a:cubicBezTo>
                    <a:cubicBezTo>
                      <a:pt x="2102" y="592"/>
                      <a:pt x="2102" y="592"/>
                      <a:pt x="2102" y="592"/>
                    </a:cubicBezTo>
                    <a:cubicBezTo>
                      <a:pt x="2101" y="594"/>
                      <a:pt x="2101" y="594"/>
                      <a:pt x="2101" y="594"/>
                    </a:cubicBezTo>
                    <a:cubicBezTo>
                      <a:pt x="2102" y="596"/>
                      <a:pt x="2102" y="596"/>
                      <a:pt x="2102" y="596"/>
                    </a:cubicBezTo>
                    <a:cubicBezTo>
                      <a:pt x="2105" y="593"/>
                      <a:pt x="2105" y="593"/>
                      <a:pt x="2105" y="593"/>
                    </a:cubicBezTo>
                    <a:cubicBezTo>
                      <a:pt x="2106" y="596"/>
                      <a:pt x="2106" y="596"/>
                      <a:pt x="2106" y="596"/>
                    </a:cubicBezTo>
                    <a:cubicBezTo>
                      <a:pt x="2110" y="597"/>
                      <a:pt x="2110" y="597"/>
                      <a:pt x="2110" y="597"/>
                    </a:cubicBezTo>
                    <a:cubicBezTo>
                      <a:pt x="2111" y="605"/>
                      <a:pt x="2111" y="605"/>
                      <a:pt x="2111" y="605"/>
                    </a:cubicBezTo>
                    <a:cubicBezTo>
                      <a:pt x="2112" y="603"/>
                      <a:pt x="2112" y="603"/>
                      <a:pt x="2112" y="603"/>
                    </a:cubicBezTo>
                    <a:cubicBezTo>
                      <a:pt x="2113" y="600"/>
                      <a:pt x="2113" y="600"/>
                      <a:pt x="2113" y="600"/>
                    </a:cubicBezTo>
                    <a:cubicBezTo>
                      <a:pt x="2116" y="596"/>
                      <a:pt x="2116" y="596"/>
                      <a:pt x="2116" y="596"/>
                    </a:cubicBezTo>
                    <a:cubicBezTo>
                      <a:pt x="2118" y="596"/>
                      <a:pt x="2118" y="596"/>
                      <a:pt x="2118" y="596"/>
                    </a:cubicBezTo>
                    <a:cubicBezTo>
                      <a:pt x="2120" y="599"/>
                      <a:pt x="2120" y="599"/>
                      <a:pt x="2120" y="599"/>
                    </a:cubicBezTo>
                    <a:cubicBezTo>
                      <a:pt x="2117" y="605"/>
                      <a:pt x="2117" y="605"/>
                      <a:pt x="2117" y="605"/>
                    </a:cubicBezTo>
                    <a:cubicBezTo>
                      <a:pt x="2120" y="609"/>
                      <a:pt x="2120" y="609"/>
                      <a:pt x="2120" y="609"/>
                    </a:cubicBezTo>
                    <a:cubicBezTo>
                      <a:pt x="2121" y="613"/>
                      <a:pt x="2121" y="613"/>
                      <a:pt x="2121" y="613"/>
                    </a:cubicBezTo>
                    <a:cubicBezTo>
                      <a:pt x="2123" y="607"/>
                      <a:pt x="2123" y="607"/>
                      <a:pt x="2123" y="607"/>
                    </a:cubicBezTo>
                    <a:cubicBezTo>
                      <a:pt x="2126" y="605"/>
                      <a:pt x="2126" y="605"/>
                      <a:pt x="2126" y="605"/>
                    </a:cubicBezTo>
                    <a:cubicBezTo>
                      <a:pt x="2126" y="602"/>
                      <a:pt x="2126" y="602"/>
                      <a:pt x="2126" y="602"/>
                    </a:cubicBezTo>
                    <a:cubicBezTo>
                      <a:pt x="2127" y="600"/>
                      <a:pt x="2127" y="600"/>
                      <a:pt x="2127" y="600"/>
                    </a:cubicBezTo>
                    <a:cubicBezTo>
                      <a:pt x="2128" y="589"/>
                      <a:pt x="2128" y="589"/>
                      <a:pt x="2128" y="589"/>
                    </a:cubicBezTo>
                    <a:cubicBezTo>
                      <a:pt x="2130" y="586"/>
                      <a:pt x="2130" y="586"/>
                      <a:pt x="2130" y="586"/>
                    </a:cubicBezTo>
                    <a:cubicBezTo>
                      <a:pt x="2127" y="583"/>
                      <a:pt x="2127" y="583"/>
                      <a:pt x="2127" y="583"/>
                    </a:cubicBezTo>
                    <a:cubicBezTo>
                      <a:pt x="2130" y="579"/>
                      <a:pt x="2130" y="579"/>
                      <a:pt x="2130" y="579"/>
                    </a:cubicBezTo>
                    <a:cubicBezTo>
                      <a:pt x="2131" y="576"/>
                      <a:pt x="2131" y="576"/>
                      <a:pt x="2131" y="576"/>
                    </a:cubicBezTo>
                    <a:cubicBezTo>
                      <a:pt x="2129" y="575"/>
                      <a:pt x="2129" y="575"/>
                      <a:pt x="2129" y="575"/>
                    </a:cubicBezTo>
                    <a:cubicBezTo>
                      <a:pt x="2130" y="573"/>
                      <a:pt x="2130" y="573"/>
                      <a:pt x="2130" y="573"/>
                    </a:cubicBezTo>
                    <a:cubicBezTo>
                      <a:pt x="2131" y="572"/>
                      <a:pt x="2131" y="572"/>
                      <a:pt x="2131" y="572"/>
                    </a:cubicBezTo>
                    <a:cubicBezTo>
                      <a:pt x="2132" y="566"/>
                      <a:pt x="2132" y="566"/>
                      <a:pt x="2132" y="566"/>
                    </a:cubicBezTo>
                    <a:cubicBezTo>
                      <a:pt x="2130" y="563"/>
                      <a:pt x="2130" y="563"/>
                      <a:pt x="2130" y="563"/>
                    </a:cubicBezTo>
                    <a:cubicBezTo>
                      <a:pt x="2132" y="556"/>
                      <a:pt x="2132" y="556"/>
                      <a:pt x="2132" y="556"/>
                    </a:cubicBezTo>
                    <a:cubicBezTo>
                      <a:pt x="2134" y="554"/>
                      <a:pt x="2134" y="554"/>
                      <a:pt x="2134" y="554"/>
                    </a:cubicBezTo>
                    <a:cubicBezTo>
                      <a:pt x="2139" y="552"/>
                      <a:pt x="2139" y="552"/>
                      <a:pt x="2139" y="552"/>
                    </a:cubicBezTo>
                    <a:cubicBezTo>
                      <a:pt x="2141" y="556"/>
                      <a:pt x="2141" y="556"/>
                      <a:pt x="2141" y="556"/>
                    </a:cubicBezTo>
                    <a:cubicBezTo>
                      <a:pt x="2143" y="559"/>
                      <a:pt x="2143" y="559"/>
                      <a:pt x="2143" y="559"/>
                    </a:cubicBezTo>
                    <a:cubicBezTo>
                      <a:pt x="2145" y="556"/>
                      <a:pt x="2145" y="556"/>
                      <a:pt x="2145" y="556"/>
                    </a:cubicBezTo>
                    <a:cubicBezTo>
                      <a:pt x="2142" y="553"/>
                      <a:pt x="2142" y="553"/>
                      <a:pt x="2142" y="553"/>
                    </a:cubicBezTo>
                    <a:cubicBezTo>
                      <a:pt x="2143" y="548"/>
                      <a:pt x="2143" y="548"/>
                      <a:pt x="2143" y="548"/>
                    </a:cubicBezTo>
                    <a:cubicBezTo>
                      <a:pt x="2138" y="545"/>
                      <a:pt x="2138" y="545"/>
                      <a:pt x="2138" y="545"/>
                    </a:cubicBezTo>
                    <a:cubicBezTo>
                      <a:pt x="2136" y="536"/>
                      <a:pt x="2136" y="536"/>
                      <a:pt x="2136" y="536"/>
                    </a:cubicBezTo>
                    <a:cubicBezTo>
                      <a:pt x="2134" y="534"/>
                      <a:pt x="2134" y="534"/>
                      <a:pt x="2134" y="534"/>
                    </a:cubicBezTo>
                    <a:cubicBezTo>
                      <a:pt x="2133" y="532"/>
                      <a:pt x="2133" y="532"/>
                      <a:pt x="2133" y="532"/>
                    </a:cubicBezTo>
                    <a:cubicBezTo>
                      <a:pt x="2130" y="529"/>
                      <a:pt x="2130" y="529"/>
                      <a:pt x="2130" y="529"/>
                    </a:cubicBezTo>
                    <a:cubicBezTo>
                      <a:pt x="2129" y="523"/>
                      <a:pt x="2129" y="523"/>
                      <a:pt x="2129" y="523"/>
                    </a:cubicBezTo>
                    <a:cubicBezTo>
                      <a:pt x="2130" y="521"/>
                      <a:pt x="2130" y="521"/>
                      <a:pt x="2130" y="521"/>
                    </a:cubicBezTo>
                    <a:cubicBezTo>
                      <a:pt x="2129" y="516"/>
                      <a:pt x="2129" y="516"/>
                      <a:pt x="2129" y="516"/>
                    </a:cubicBezTo>
                    <a:cubicBezTo>
                      <a:pt x="2125" y="512"/>
                      <a:pt x="2125" y="512"/>
                      <a:pt x="2125" y="512"/>
                    </a:cubicBezTo>
                    <a:cubicBezTo>
                      <a:pt x="2126" y="509"/>
                      <a:pt x="2126" y="509"/>
                      <a:pt x="2126" y="509"/>
                    </a:cubicBezTo>
                    <a:cubicBezTo>
                      <a:pt x="2124" y="506"/>
                      <a:pt x="2124" y="506"/>
                      <a:pt x="2124" y="506"/>
                    </a:cubicBezTo>
                    <a:cubicBezTo>
                      <a:pt x="2129" y="501"/>
                      <a:pt x="2129" y="501"/>
                      <a:pt x="2129" y="501"/>
                    </a:cubicBezTo>
                    <a:cubicBezTo>
                      <a:pt x="2133" y="501"/>
                      <a:pt x="2133" y="501"/>
                      <a:pt x="2133" y="501"/>
                    </a:cubicBezTo>
                    <a:cubicBezTo>
                      <a:pt x="2136" y="496"/>
                      <a:pt x="2136" y="496"/>
                      <a:pt x="2136" y="496"/>
                    </a:cubicBezTo>
                    <a:cubicBezTo>
                      <a:pt x="2141" y="496"/>
                      <a:pt x="2141" y="496"/>
                      <a:pt x="2141" y="496"/>
                    </a:cubicBezTo>
                    <a:cubicBezTo>
                      <a:pt x="2142" y="495"/>
                      <a:pt x="2142" y="495"/>
                      <a:pt x="2142" y="495"/>
                    </a:cubicBezTo>
                    <a:cubicBezTo>
                      <a:pt x="2147" y="500"/>
                      <a:pt x="2147" y="500"/>
                      <a:pt x="2147" y="500"/>
                    </a:cubicBezTo>
                    <a:cubicBezTo>
                      <a:pt x="2152" y="500"/>
                      <a:pt x="2152" y="500"/>
                      <a:pt x="2152" y="500"/>
                    </a:cubicBezTo>
                    <a:cubicBezTo>
                      <a:pt x="2154" y="501"/>
                      <a:pt x="2154" y="501"/>
                      <a:pt x="2154" y="501"/>
                    </a:cubicBezTo>
                    <a:cubicBezTo>
                      <a:pt x="2158" y="501"/>
                      <a:pt x="2158" y="501"/>
                      <a:pt x="2158" y="501"/>
                    </a:cubicBezTo>
                    <a:cubicBezTo>
                      <a:pt x="2160" y="501"/>
                      <a:pt x="2160" y="501"/>
                      <a:pt x="2160" y="501"/>
                    </a:cubicBezTo>
                    <a:cubicBezTo>
                      <a:pt x="2156" y="504"/>
                      <a:pt x="2156" y="504"/>
                      <a:pt x="2156" y="504"/>
                    </a:cubicBezTo>
                    <a:cubicBezTo>
                      <a:pt x="2158" y="506"/>
                      <a:pt x="2158" y="506"/>
                      <a:pt x="2158" y="506"/>
                    </a:cubicBezTo>
                    <a:cubicBezTo>
                      <a:pt x="2154" y="508"/>
                      <a:pt x="2154" y="508"/>
                      <a:pt x="2154" y="508"/>
                    </a:cubicBezTo>
                    <a:cubicBezTo>
                      <a:pt x="2150" y="506"/>
                      <a:pt x="2150" y="506"/>
                      <a:pt x="2150" y="506"/>
                    </a:cubicBezTo>
                    <a:cubicBezTo>
                      <a:pt x="2145" y="513"/>
                      <a:pt x="2145" y="513"/>
                      <a:pt x="2145" y="513"/>
                    </a:cubicBezTo>
                    <a:cubicBezTo>
                      <a:pt x="2145" y="516"/>
                      <a:pt x="2145" y="516"/>
                      <a:pt x="2145" y="516"/>
                    </a:cubicBezTo>
                    <a:cubicBezTo>
                      <a:pt x="2147" y="521"/>
                      <a:pt x="2147" y="521"/>
                      <a:pt x="2147" y="521"/>
                    </a:cubicBezTo>
                    <a:cubicBezTo>
                      <a:pt x="2147" y="526"/>
                      <a:pt x="2147" y="526"/>
                      <a:pt x="2147" y="526"/>
                    </a:cubicBezTo>
                    <a:cubicBezTo>
                      <a:pt x="2149" y="528"/>
                      <a:pt x="2149" y="528"/>
                      <a:pt x="2149" y="528"/>
                    </a:cubicBezTo>
                    <a:cubicBezTo>
                      <a:pt x="2150" y="532"/>
                      <a:pt x="2150" y="532"/>
                      <a:pt x="2150" y="532"/>
                    </a:cubicBezTo>
                    <a:cubicBezTo>
                      <a:pt x="2154" y="537"/>
                      <a:pt x="2154" y="537"/>
                      <a:pt x="2154" y="537"/>
                    </a:cubicBezTo>
                    <a:cubicBezTo>
                      <a:pt x="2154" y="540"/>
                      <a:pt x="2154" y="540"/>
                      <a:pt x="2154" y="540"/>
                    </a:cubicBezTo>
                    <a:cubicBezTo>
                      <a:pt x="2155" y="540"/>
                      <a:pt x="2155" y="540"/>
                      <a:pt x="2155" y="540"/>
                    </a:cubicBezTo>
                    <a:cubicBezTo>
                      <a:pt x="2154" y="542"/>
                      <a:pt x="2154" y="542"/>
                      <a:pt x="2154" y="542"/>
                    </a:cubicBezTo>
                    <a:cubicBezTo>
                      <a:pt x="2157" y="544"/>
                      <a:pt x="2157" y="544"/>
                      <a:pt x="2157" y="544"/>
                    </a:cubicBezTo>
                    <a:cubicBezTo>
                      <a:pt x="2158" y="549"/>
                      <a:pt x="2158" y="549"/>
                      <a:pt x="2158" y="549"/>
                    </a:cubicBezTo>
                    <a:cubicBezTo>
                      <a:pt x="2158" y="551"/>
                      <a:pt x="2158" y="551"/>
                      <a:pt x="2158" y="551"/>
                    </a:cubicBezTo>
                    <a:cubicBezTo>
                      <a:pt x="2157" y="554"/>
                      <a:pt x="2157" y="554"/>
                      <a:pt x="2157" y="554"/>
                    </a:cubicBezTo>
                    <a:cubicBezTo>
                      <a:pt x="2158" y="564"/>
                      <a:pt x="2158" y="564"/>
                      <a:pt x="2158" y="564"/>
                    </a:cubicBezTo>
                    <a:cubicBezTo>
                      <a:pt x="2159" y="565"/>
                      <a:pt x="2159" y="565"/>
                      <a:pt x="2159" y="565"/>
                    </a:cubicBezTo>
                    <a:cubicBezTo>
                      <a:pt x="2160" y="562"/>
                      <a:pt x="2160" y="562"/>
                      <a:pt x="2160" y="562"/>
                    </a:cubicBezTo>
                    <a:cubicBezTo>
                      <a:pt x="2162" y="562"/>
                      <a:pt x="2162" y="562"/>
                      <a:pt x="2162" y="562"/>
                    </a:cubicBezTo>
                    <a:cubicBezTo>
                      <a:pt x="2164" y="566"/>
                      <a:pt x="2164" y="566"/>
                      <a:pt x="2164" y="566"/>
                    </a:cubicBezTo>
                    <a:cubicBezTo>
                      <a:pt x="2165" y="569"/>
                      <a:pt x="2165" y="569"/>
                      <a:pt x="2165" y="569"/>
                    </a:cubicBezTo>
                    <a:cubicBezTo>
                      <a:pt x="2163" y="576"/>
                      <a:pt x="2163" y="576"/>
                      <a:pt x="2163" y="576"/>
                    </a:cubicBezTo>
                    <a:cubicBezTo>
                      <a:pt x="2163" y="584"/>
                      <a:pt x="2163" y="584"/>
                      <a:pt x="2163" y="584"/>
                    </a:cubicBezTo>
                    <a:cubicBezTo>
                      <a:pt x="2166" y="587"/>
                      <a:pt x="2166" y="587"/>
                      <a:pt x="2166" y="587"/>
                    </a:cubicBezTo>
                    <a:cubicBezTo>
                      <a:pt x="2168" y="585"/>
                      <a:pt x="2168" y="585"/>
                      <a:pt x="2168" y="585"/>
                    </a:cubicBezTo>
                    <a:cubicBezTo>
                      <a:pt x="2171" y="586"/>
                      <a:pt x="2171" y="586"/>
                      <a:pt x="2171" y="586"/>
                    </a:cubicBezTo>
                    <a:cubicBezTo>
                      <a:pt x="2172" y="587"/>
                      <a:pt x="2172" y="587"/>
                      <a:pt x="2172" y="587"/>
                    </a:cubicBezTo>
                    <a:cubicBezTo>
                      <a:pt x="2171" y="590"/>
                      <a:pt x="2171" y="590"/>
                      <a:pt x="2171" y="590"/>
                    </a:cubicBezTo>
                    <a:cubicBezTo>
                      <a:pt x="2169" y="590"/>
                      <a:pt x="2169" y="590"/>
                      <a:pt x="2169" y="590"/>
                    </a:cubicBezTo>
                    <a:cubicBezTo>
                      <a:pt x="2166" y="593"/>
                      <a:pt x="2166" y="593"/>
                      <a:pt x="2166" y="593"/>
                    </a:cubicBezTo>
                    <a:cubicBezTo>
                      <a:pt x="2165" y="593"/>
                      <a:pt x="2165" y="593"/>
                      <a:pt x="2165" y="593"/>
                    </a:cubicBezTo>
                    <a:cubicBezTo>
                      <a:pt x="2160" y="598"/>
                      <a:pt x="2160" y="598"/>
                      <a:pt x="2160" y="598"/>
                    </a:cubicBezTo>
                    <a:cubicBezTo>
                      <a:pt x="2160" y="602"/>
                      <a:pt x="2160" y="602"/>
                      <a:pt x="2160" y="602"/>
                    </a:cubicBezTo>
                    <a:cubicBezTo>
                      <a:pt x="2156" y="605"/>
                      <a:pt x="2156" y="605"/>
                      <a:pt x="2156" y="605"/>
                    </a:cubicBezTo>
                    <a:cubicBezTo>
                      <a:pt x="2155" y="608"/>
                      <a:pt x="2155" y="608"/>
                      <a:pt x="2155" y="608"/>
                    </a:cubicBezTo>
                    <a:cubicBezTo>
                      <a:pt x="2152" y="609"/>
                      <a:pt x="2152" y="609"/>
                      <a:pt x="2152" y="609"/>
                    </a:cubicBezTo>
                    <a:cubicBezTo>
                      <a:pt x="2152" y="613"/>
                      <a:pt x="2152" y="613"/>
                      <a:pt x="2152" y="613"/>
                    </a:cubicBezTo>
                    <a:cubicBezTo>
                      <a:pt x="2150" y="616"/>
                      <a:pt x="2150" y="616"/>
                      <a:pt x="2150" y="616"/>
                    </a:cubicBezTo>
                    <a:cubicBezTo>
                      <a:pt x="2151" y="622"/>
                      <a:pt x="2151" y="622"/>
                      <a:pt x="2151" y="622"/>
                    </a:cubicBezTo>
                    <a:cubicBezTo>
                      <a:pt x="2154" y="621"/>
                      <a:pt x="2154" y="621"/>
                      <a:pt x="2154" y="621"/>
                    </a:cubicBezTo>
                    <a:cubicBezTo>
                      <a:pt x="2153" y="627"/>
                      <a:pt x="2153" y="627"/>
                      <a:pt x="2153" y="627"/>
                    </a:cubicBezTo>
                    <a:cubicBezTo>
                      <a:pt x="2150" y="634"/>
                      <a:pt x="2150" y="634"/>
                      <a:pt x="2150" y="634"/>
                    </a:cubicBezTo>
                    <a:cubicBezTo>
                      <a:pt x="2151" y="637"/>
                      <a:pt x="2151" y="637"/>
                      <a:pt x="2151" y="637"/>
                    </a:cubicBezTo>
                    <a:cubicBezTo>
                      <a:pt x="2153" y="638"/>
                      <a:pt x="2153" y="638"/>
                      <a:pt x="2153" y="638"/>
                    </a:cubicBezTo>
                    <a:cubicBezTo>
                      <a:pt x="2152" y="647"/>
                      <a:pt x="2152" y="647"/>
                      <a:pt x="2152" y="647"/>
                    </a:cubicBezTo>
                    <a:cubicBezTo>
                      <a:pt x="2153" y="654"/>
                      <a:pt x="2153" y="654"/>
                      <a:pt x="2153" y="654"/>
                    </a:cubicBezTo>
                    <a:cubicBezTo>
                      <a:pt x="2151" y="657"/>
                      <a:pt x="2151" y="657"/>
                      <a:pt x="2151" y="657"/>
                    </a:cubicBezTo>
                    <a:cubicBezTo>
                      <a:pt x="2147" y="659"/>
                      <a:pt x="2147" y="659"/>
                      <a:pt x="2147" y="659"/>
                    </a:cubicBezTo>
                    <a:cubicBezTo>
                      <a:pt x="2146" y="664"/>
                      <a:pt x="2146" y="664"/>
                      <a:pt x="2146" y="664"/>
                    </a:cubicBezTo>
                    <a:cubicBezTo>
                      <a:pt x="2148" y="665"/>
                      <a:pt x="2148" y="665"/>
                      <a:pt x="2148" y="665"/>
                    </a:cubicBezTo>
                    <a:cubicBezTo>
                      <a:pt x="2147" y="674"/>
                      <a:pt x="2147" y="674"/>
                      <a:pt x="2147" y="674"/>
                    </a:cubicBezTo>
                    <a:cubicBezTo>
                      <a:pt x="2146" y="676"/>
                      <a:pt x="2146" y="676"/>
                      <a:pt x="2146" y="676"/>
                    </a:cubicBezTo>
                    <a:cubicBezTo>
                      <a:pt x="2147" y="679"/>
                      <a:pt x="2147" y="679"/>
                      <a:pt x="2147" y="679"/>
                    </a:cubicBezTo>
                    <a:cubicBezTo>
                      <a:pt x="2150" y="683"/>
                      <a:pt x="2150" y="683"/>
                      <a:pt x="2150" y="683"/>
                    </a:cubicBezTo>
                    <a:cubicBezTo>
                      <a:pt x="2147" y="683"/>
                      <a:pt x="2147" y="683"/>
                      <a:pt x="2147" y="683"/>
                    </a:cubicBezTo>
                    <a:cubicBezTo>
                      <a:pt x="2146" y="690"/>
                      <a:pt x="2146" y="690"/>
                      <a:pt x="2146" y="690"/>
                    </a:cubicBezTo>
                    <a:cubicBezTo>
                      <a:pt x="2147" y="693"/>
                      <a:pt x="2147" y="693"/>
                      <a:pt x="2147" y="693"/>
                    </a:cubicBezTo>
                    <a:cubicBezTo>
                      <a:pt x="2147" y="698"/>
                      <a:pt x="2147" y="698"/>
                      <a:pt x="2147" y="698"/>
                    </a:cubicBezTo>
                    <a:cubicBezTo>
                      <a:pt x="2144" y="702"/>
                      <a:pt x="2144" y="702"/>
                      <a:pt x="2144" y="702"/>
                    </a:cubicBezTo>
                    <a:cubicBezTo>
                      <a:pt x="2146" y="707"/>
                      <a:pt x="2146" y="707"/>
                      <a:pt x="2146" y="707"/>
                    </a:cubicBezTo>
                    <a:cubicBezTo>
                      <a:pt x="2146" y="716"/>
                      <a:pt x="2146" y="716"/>
                      <a:pt x="2146" y="716"/>
                    </a:cubicBezTo>
                    <a:cubicBezTo>
                      <a:pt x="2149" y="724"/>
                      <a:pt x="2149" y="724"/>
                      <a:pt x="2149" y="724"/>
                    </a:cubicBezTo>
                    <a:cubicBezTo>
                      <a:pt x="2143" y="737"/>
                      <a:pt x="2143" y="737"/>
                      <a:pt x="2143" y="737"/>
                    </a:cubicBezTo>
                    <a:cubicBezTo>
                      <a:pt x="2146" y="742"/>
                      <a:pt x="2146" y="742"/>
                      <a:pt x="2146" y="742"/>
                    </a:cubicBezTo>
                    <a:cubicBezTo>
                      <a:pt x="2143" y="741"/>
                      <a:pt x="2143" y="741"/>
                      <a:pt x="2143" y="741"/>
                    </a:cubicBezTo>
                    <a:cubicBezTo>
                      <a:pt x="2136" y="742"/>
                      <a:pt x="2136" y="742"/>
                      <a:pt x="2136" y="742"/>
                    </a:cubicBezTo>
                    <a:cubicBezTo>
                      <a:pt x="2136" y="750"/>
                      <a:pt x="2136" y="750"/>
                      <a:pt x="2136" y="750"/>
                    </a:cubicBezTo>
                    <a:cubicBezTo>
                      <a:pt x="2137" y="754"/>
                      <a:pt x="2137" y="754"/>
                      <a:pt x="2137" y="754"/>
                    </a:cubicBezTo>
                    <a:cubicBezTo>
                      <a:pt x="2133" y="759"/>
                      <a:pt x="2133" y="759"/>
                      <a:pt x="2133" y="759"/>
                    </a:cubicBezTo>
                    <a:cubicBezTo>
                      <a:pt x="2126" y="755"/>
                      <a:pt x="2126" y="755"/>
                      <a:pt x="2126" y="755"/>
                    </a:cubicBezTo>
                    <a:cubicBezTo>
                      <a:pt x="2123" y="759"/>
                      <a:pt x="2123" y="759"/>
                      <a:pt x="2123" y="759"/>
                    </a:cubicBezTo>
                    <a:cubicBezTo>
                      <a:pt x="2123" y="762"/>
                      <a:pt x="2123" y="762"/>
                      <a:pt x="2123" y="762"/>
                    </a:cubicBezTo>
                    <a:cubicBezTo>
                      <a:pt x="2128" y="762"/>
                      <a:pt x="2128" y="762"/>
                      <a:pt x="2128" y="762"/>
                    </a:cubicBezTo>
                    <a:cubicBezTo>
                      <a:pt x="2134" y="773"/>
                      <a:pt x="2134" y="773"/>
                      <a:pt x="2134" y="773"/>
                    </a:cubicBezTo>
                    <a:cubicBezTo>
                      <a:pt x="2134" y="784"/>
                      <a:pt x="2134" y="784"/>
                      <a:pt x="2134" y="784"/>
                    </a:cubicBezTo>
                    <a:cubicBezTo>
                      <a:pt x="2133" y="787"/>
                      <a:pt x="2133" y="787"/>
                      <a:pt x="2133" y="787"/>
                    </a:cubicBezTo>
                    <a:cubicBezTo>
                      <a:pt x="2135" y="790"/>
                      <a:pt x="2135" y="790"/>
                      <a:pt x="2135" y="790"/>
                    </a:cubicBezTo>
                    <a:cubicBezTo>
                      <a:pt x="2132" y="791"/>
                      <a:pt x="2132" y="791"/>
                      <a:pt x="2132" y="791"/>
                    </a:cubicBezTo>
                    <a:cubicBezTo>
                      <a:pt x="2131" y="799"/>
                      <a:pt x="2131" y="799"/>
                      <a:pt x="2131" y="799"/>
                    </a:cubicBezTo>
                    <a:cubicBezTo>
                      <a:pt x="2127" y="804"/>
                      <a:pt x="2127" y="804"/>
                      <a:pt x="2127" y="804"/>
                    </a:cubicBezTo>
                    <a:cubicBezTo>
                      <a:pt x="2126" y="813"/>
                      <a:pt x="2126" y="813"/>
                      <a:pt x="2126" y="813"/>
                    </a:cubicBezTo>
                    <a:cubicBezTo>
                      <a:pt x="2129" y="821"/>
                      <a:pt x="2129" y="821"/>
                      <a:pt x="2129" y="821"/>
                    </a:cubicBezTo>
                    <a:cubicBezTo>
                      <a:pt x="2131" y="836"/>
                      <a:pt x="2131" y="836"/>
                      <a:pt x="2131" y="836"/>
                    </a:cubicBezTo>
                    <a:cubicBezTo>
                      <a:pt x="2136" y="846"/>
                      <a:pt x="2136" y="846"/>
                      <a:pt x="2136" y="846"/>
                    </a:cubicBezTo>
                    <a:cubicBezTo>
                      <a:pt x="2136" y="854"/>
                      <a:pt x="2136" y="854"/>
                      <a:pt x="2136" y="854"/>
                    </a:cubicBezTo>
                    <a:cubicBezTo>
                      <a:pt x="2144" y="875"/>
                      <a:pt x="2144" y="875"/>
                      <a:pt x="2144" y="875"/>
                    </a:cubicBezTo>
                    <a:cubicBezTo>
                      <a:pt x="2153" y="899"/>
                      <a:pt x="2153" y="899"/>
                      <a:pt x="2153" y="899"/>
                    </a:cubicBezTo>
                    <a:cubicBezTo>
                      <a:pt x="2163" y="918"/>
                      <a:pt x="2163" y="918"/>
                      <a:pt x="2163" y="918"/>
                    </a:cubicBezTo>
                    <a:cubicBezTo>
                      <a:pt x="2168" y="924"/>
                      <a:pt x="2168" y="924"/>
                      <a:pt x="2168" y="924"/>
                    </a:cubicBezTo>
                    <a:cubicBezTo>
                      <a:pt x="2168" y="931"/>
                      <a:pt x="2168" y="931"/>
                      <a:pt x="2168" y="931"/>
                    </a:cubicBezTo>
                    <a:cubicBezTo>
                      <a:pt x="2181" y="949"/>
                      <a:pt x="2181" y="949"/>
                      <a:pt x="2181" y="949"/>
                    </a:cubicBezTo>
                    <a:cubicBezTo>
                      <a:pt x="2195" y="979"/>
                      <a:pt x="2195" y="979"/>
                      <a:pt x="2195" y="979"/>
                    </a:cubicBezTo>
                    <a:cubicBezTo>
                      <a:pt x="2202" y="983"/>
                      <a:pt x="2202" y="983"/>
                      <a:pt x="2202" y="983"/>
                    </a:cubicBezTo>
                    <a:cubicBezTo>
                      <a:pt x="2206" y="983"/>
                      <a:pt x="2206" y="983"/>
                      <a:pt x="2206" y="983"/>
                    </a:cubicBezTo>
                    <a:cubicBezTo>
                      <a:pt x="2209" y="982"/>
                      <a:pt x="2209" y="982"/>
                      <a:pt x="2209" y="982"/>
                    </a:cubicBezTo>
                    <a:cubicBezTo>
                      <a:pt x="2208" y="985"/>
                      <a:pt x="2208" y="985"/>
                      <a:pt x="2208" y="985"/>
                    </a:cubicBezTo>
                    <a:cubicBezTo>
                      <a:pt x="2205" y="987"/>
                      <a:pt x="2205" y="987"/>
                      <a:pt x="2205" y="987"/>
                    </a:cubicBezTo>
                    <a:cubicBezTo>
                      <a:pt x="2202" y="987"/>
                      <a:pt x="2202" y="987"/>
                      <a:pt x="2202" y="987"/>
                    </a:cubicBezTo>
                    <a:cubicBezTo>
                      <a:pt x="2207" y="996"/>
                      <a:pt x="2207" y="996"/>
                      <a:pt x="2207" y="996"/>
                    </a:cubicBezTo>
                    <a:cubicBezTo>
                      <a:pt x="2214" y="1015"/>
                      <a:pt x="2214" y="1015"/>
                      <a:pt x="2214" y="1015"/>
                    </a:cubicBezTo>
                    <a:cubicBezTo>
                      <a:pt x="2215" y="1023"/>
                      <a:pt x="2215" y="1023"/>
                      <a:pt x="2215" y="1023"/>
                    </a:cubicBezTo>
                    <a:cubicBezTo>
                      <a:pt x="2219" y="1029"/>
                      <a:pt x="2219" y="1029"/>
                      <a:pt x="2219" y="1029"/>
                    </a:cubicBezTo>
                    <a:cubicBezTo>
                      <a:pt x="2226" y="1030"/>
                      <a:pt x="2226" y="1030"/>
                      <a:pt x="2226" y="1030"/>
                    </a:cubicBezTo>
                    <a:cubicBezTo>
                      <a:pt x="2227" y="1033"/>
                      <a:pt x="2227" y="1033"/>
                      <a:pt x="2227" y="1033"/>
                    </a:cubicBezTo>
                    <a:cubicBezTo>
                      <a:pt x="2227" y="1038"/>
                      <a:pt x="2227" y="1038"/>
                      <a:pt x="2227" y="1038"/>
                    </a:cubicBezTo>
                    <a:cubicBezTo>
                      <a:pt x="2228" y="1041"/>
                      <a:pt x="2228" y="1041"/>
                      <a:pt x="2228" y="1041"/>
                    </a:cubicBezTo>
                    <a:cubicBezTo>
                      <a:pt x="2227" y="1046"/>
                      <a:pt x="2227" y="1046"/>
                      <a:pt x="2227" y="1046"/>
                    </a:cubicBezTo>
                    <a:cubicBezTo>
                      <a:pt x="2231" y="1036"/>
                      <a:pt x="2231" y="1036"/>
                      <a:pt x="2231" y="1036"/>
                    </a:cubicBezTo>
                    <a:cubicBezTo>
                      <a:pt x="2233" y="1026"/>
                      <a:pt x="2233" y="1026"/>
                      <a:pt x="2233" y="1026"/>
                    </a:cubicBezTo>
                    <a:cubicBezTo>
                      <a:pt x="2234" y="1025"/>
                      <a:pt x="2234" y="1025"/>
                      <a:pt x="2234" y="1025"/>
                    </a:cubicBezTo>
                    <a:cubicBezTo>
                      <a:pt x="2234" y="1021"/>
                      <a:pt x="2234" y="1021"/>
                      <a:pt x="2234" y="1021"/>
                    </a:cubicBezTo>
                    <a:cubicBezTo>
                      <a:pt x="2239" y="1016"/>
                      <a:pt x="2239" y="1016"/>
                      <a:pt x="2239" y="1016"/>
                    </a:cubicBezTo>
                    <a:cubicBezTo>
                      <a:pt x="2240" y="1012"/>
                      <a:pt x="2240" y="1012"/>
                      <a:pt x="2240" y="1012"/>
                    </a:cubicBezTo>
                    <a:cubicBezTo>
                      <a:pt x="2239" y="1010"/>
                      <a:pt x="2239" y="1010"/>
                      <a:pt x="2239" y="1010"/>
                    </a:cubicBezTo>
                    <a:cubicBezTo>
                      <a:pt x="2240" y="1006"/>
                      <a:pt x="2240" y="1006"/>
                      <a:pt x="2240" y="1006"/>
                    </a:cubicBezTo>
                    <a:cubicBezTo>
                      <a:pt x="2241" y="997"/>
                      <a:pt x="2241" y="997"/>
                      <a:pt x="2241" y="997"/>
                    </a:cubicBezTo>
                    <a:cubicBezTo>
                      <a:pt x="2239" y="993"/>
                      <a:pt x="2239" y="993"/>
                      <a:pt x="2239" y="993"/>
                    </a:cubicBezTo>
                    <a:cubicBezTo>
                      <a:pt x="2240" y="987"/>
                      <a:pt x="2240" y="987"/>
                      <a:pt x="2240" y="987"/>
                    </a:cubicBezTo>
                    <a:cubicBezTo>
                      <a:pt x="2243" y="983"/>
                      <a:pt x="2243" y="983"/>
                      <a:pt x="2243" y="983"/>
                    </a:cubicBezTo>
                    <a:cubicBezTo>
                      <a:pt x="2240" y="979"/>
                      <a:pt x="2240" y="979"/>
                      <a:pt x="2240" y="979"/>
                    </a:cubicBezTo>
                    <a:cubicBezTo>
                      <a:pt x="2238" y="980"/>
                      <a:pt x="2238" y="980"/>
                      <a:pt x="2238" y="980"/>
                    </a:cubicBezTo>
                    <a:cubicBezTo>
                      <a:pt x="2235" y="980"/>
                      <a:pt x="2235" y="980"/>
                      <a:pt x="2235" y="980"/>
                    </a:cubicBezTo>
                    <a:cubicBezTo>
                      <a:pt x="2236" y="976"/>
                      <a:pt x="2236" y="976"/>
                      <a:pt x="2236" y="976"/>
                    </a:cubicBezTo>
                    <a:cubicBezTo>
                      <a:pt x="2234" y="970"/>
                      <a:pt x="2234" y="970"/>
                      <a:pt x="2234" y="970"/>
                    </a:cubicBezTo>
                    <a:cubicBezTo>
                      <a:pt x="2236" y="971"/>
                      <a:pt x="2236" y="971"/>
                      <a:pt x="2236" y="971"/>
                    </a:cubicBezTo>
                    <a:cubicBezTo>
                      <a:pt x="2237" y="969"/>
                      <a:pt x="2237" y="969"/>
                      <a:pt x="2237" y="969"/>
                    </a:cubicBezTo>
                    <a:cubicBezTo>
                      <a:pt x="2234" y="965"/>
                      <a:pt x="2234" y="965"/>
                      <a:pt x="2234" y="965"/>
                    </a:cubicBezTo>
                    <a:cubicBezTo>
                      <a:pt x="2235" y="962"/>
                      <a:pt x="2235" y="962"/>
                      <a:pt x="2235" y="962"/>
                    </a:cubicBezTo>
                    <a:cubicBezTo>
                      <a:pt x="2236" y="957"/>
                      <a:pt x="2236" y="957"/>
                      <a:pt x="2236" y="957"/>
                    </a:cubicBezTo>
                    <a:cubicBezTo>
                      <a:pt x="2232" y="957"/>
                      <a:pt x="2232" y="957"/>
                      <a:pt x="2232" y="957"/>
                    </a:cubicBezTo>
                    <a:cubicBezTo>
                      <a:pt x="2230" y="955"/>
                      <a:pt x="2230" y="955"/>
                      <a:pt x="2230" y="955"/>
                    </a:cubicBezTo>
                    <a:cubicBezTo>
                      <a:pt x="2231" y="951"/>
                      <a:pt x="2231" y="951"/>
                      <a:pt x="2231" y="951"/>
                    </a:cubicBezTo>
                    <a:cubicBezTo>
                      <a:pt x="2235" y="954"/>
                      <a:pt x="2235" y="954"/>
                      <a:pt x="2235" y="954"/>
                    </a:cubicBezTo>
                    <a:cubicBezTo>
                      <a:pt x="2240" y="948"/>
                      <a:pt x="2240" y="948"/>
                      <a:pt x="2240" y="948"/>
                    </a:cubicBezTo>
                    <a:cubicBezTo>
                      <a:pt x="2243" y="949"/>
                      <a:pt x="2243" y="949"/>
                      <a:pt x="2243" y="949"/>
                    </a:cubicBezTo>
                    <a:cubicBezTo>
                      <a:pt x="2246" y="945"/>
                      <a:pt x="2246" y="945"/>
                      <a:pt x="2246" y="945"/>
                    </a:cubicBezTo>
                    <a:cubicBezTo>
                      <a:pt x="2250" y="943"/>
                      <a:pt x="2250" y="943"/>
                      <a:pt x="2250" y="943"/>
                    </a:cubicBezTo>
                    <a:cubicBezTo>
                      <a:pt x="2251" y="944"/>
                      <a:pt x="2251" y="944"/>
                      <a:pt x="2251" y="944"/>
                    </a:cubicBezTo>
                    <a:cubicBezTo>
                      <a:pt x="2255" y="945"/>
                      <a:pt x="2255" y="945"/>
                      <a:pt x="2255" y="945"/>
                    </a:cubicBezTo>
                    <a:cubicBezTo>
                      <a:pt x="2252" y="940"/>
                      <a:pt x="2252" y="940"/>
                      <a:pt x="2252" y="940"/>
                    </a:cubicBezTo>
                    <a:cubicBezTo>
                      <a:pt x="2247" y="937"/>
                      <a:pt x="2247" y="937"/>
                      <a:pt x="2247" y="937"/>
                    </a:cubicBezTo>
                    <a:cubicBezTo>
                      <a:pt x="2247" y="932"/>
                      <a:pt x="2247" y="932"/>
                      <a:pt x="2247" y="932"/>
                    </a:cubicBezTo>
                    <a:cubicBezTo>
                      <a:pt x="2242" y="928"/>
                      <a:pt x="2242" y="928"/>
                      <a:pt x="2242" y="928"/>
                    </a:cubicBezTo>
                    <a:cubicBezTo>
                      <a:pt x="2239" y="916"/>
                      <a:pt x="2239" y="916"/>
                      <a:pt x="2239" y="916"/>
                    </a:cubicBezTo>
                    <a:cubicBezTo>
                      <a:pt x="2241" y="905"/>
                      <a:pt x="2241" y="905"/>
                      <a:pt x="2241" y="905"/>
                    </a:cubicBezTo>
                    <a:cubicBezTo>
                      <a:pt x="2238" y="901"/>
                      <a:pt x="2238" y="901"/>
                      <a:pt x="2238" y="901"/>
                    </a:cubicBezTo>
                    <a:cubicBezTo>
                      <a:pt x="2241" y="898"/>
                      <a:pt x="2241" y="898"/>
                      <a:pt x="2241" y="898"/>
                    </a:cubicBezTo>
                    <a:cubicBezTo>
                      <a:pt x="2241" y="893"/>
                      <a:pt x="2241" y="893"/>
                      <a:pt x="2241" y="893"/>
                    </a:cubicBezTo>
                    <a:cubicBezTo>
                      <a:pt x="2245" y="884"/>
                      <a:pt x="2245" y="884"/>
                      <a:pt x="2245" y="884"/>
                    </a:cubicBezTo>
                    <a:cubicBezTo>
                      <a:pt x="2243" y="882"/>
                      <a:pt x="2243" y="882"/>
                      <a:pt x="2243" y="882"/>
                    </a:cubicBezTo>
                    <a:cubicBezTo>
                      <a:pt x="2246" y="883"/>
                      <a:pt x="2246" y="883"/>
                      <a:pt x="2246" y="883"/>
                    </a:cubicBezTo>
                    <a:cubicBezTo>
                      <a:pt x="2252" y="878"/>
                      <a:pt x="2252" y="878"/>
                      <a:pt x="2252" y="878"/>
                    </a:cubicBezTo>
                    <a:cubicBezTo>
                      <a:pt x="2253" y="881"/>
                      <a:pt x="2253" y="881"/>
                      <a:pt x="2253" y="881"/>
                    </a:cubicBezTo>
                    <a:cubicBezTo>
                      <a:pt x="2263" y="876"/>
                      <a:pt x="2263" y="876"/>
                      <a:pt x="2263" y="876"/>
                    </a:cubicBezTo>
                    <a:cubicBezTo>
                      <a:pt x="2263" y="870"/>
                      <a:pt x="2263" y="870"/>
                      <a:pt x="2263" y="870"/>
                    </a:cubicBezTo>
                    <a:cubicBezTo>
                      <a:pt x="2265" y="867"/>
                      <a:pt x="2265" y="867"/>
                      <a:pt x="2265" y="867"/>
                    </a:cubicBezTo>
                    <a:cubicBezTo>
                      <a:pt x="2261" y="864"/>
                      <a:pt x="2261" y="864"/>
                      <a:pt x="2261" y="864"/>
                    </a:cubicBezTo>
                    <a:cubicBezTo>
                      <a:pt x="2255" y="853"/>
                      <a:pt x="2255" y="853"/>
                      <a:pt x="2255" y="853"/>
                    </a:cubicBezTo>
                    <a:cubicBezTo>
                      <a:pt x="2252" y="853"/>
                      <a:pt x="2252" y="853"/>
                      <a:pt x="2252" y="853"/>
                    </a:cubicBezTo>
                    <a:cubicBezTo>
                      <a:pt x="2243" y="837"/>
                      <a:pt x="2243" y="837"/>
                      <a:pt x="2243" y="837"/>
                    </a:cubicBezTo>
                    <a:cubicBezTo>
                      <a:pt x="2243" y="833"/>
                      <a:pt x="2243" y="833"/>
                      <a:pt x="2243" y="833"/>
                    </a:cubicBezTo>
                    <a:cubicBezTo>
                      <a:pt x="2241" y="830"/>
                      <a:pt x="2241" y="830"/>
                      <a:pt x="2241" y="830"/>
                    </a:cubicBezTo>
                    <a:cubicBezTo>
                      <a:pt x="2240" y="814"/>
                      <a:pt x="2240" y="814"/>
                      <a:pt x="2240" y="814"/>
                    </a:cubicBezTo>
                    <a:cubicBezTo>
                      <a:pt x="2241" y="812"/>
                      <a:pt x="2241" y="812"/>
                      <a:pt x="2241" y="812"/>
                    </a:cubicBezTo>
                    <a:cubicBezTo>
                      <a:pt x="2239" y="806"/>
                      <a:pt x="2239" y="806"/>
                      <a:pt x="2239" y="806"/>
                    </a:cubicBezTo>
                    <a:cubicBezTo>
                      <a:pt x="2242" y="801"/>
                      <a:pt x="2242" y="801"/>
                      <a:pt x="2242" y="801"/>
                    </a:cubicBezTo>
                    <a:cubicBezTo>
                      <a:pt x="2242" y="796"/>
                      <a:pt x="2242" y="796"/>
                      <a:pt x="2242" y="796"/>
                    </a:cubicBezTo>
                    <a:cubicBezTo>
                      <a:pt x="2238" y="797"/>
                      <a:pt x="2238" y="797"/>
                      <a:pt x="2238" y="797"/>
                    </a:cubicBezTo>
                    <a:cubicBezTo>
                      <a:pt x="2237" y="795"/>
                      <a:pt x="2237" y="795"/>
                      <a:pt x="2237" y="795"/>
                    </a:cubicBezTo>
                    <a:cubicBezTo>
                      <a:pt x="2240" y="788"/>
                      <a:pt x="2240" y="788"/>
                      <a:pt x="2240" y="788"/>
                    </a:cubicBezTo>
                    <a:cubicBezTo>
                      <a:pt x="2244" y="788"/>
                      <a:pt x="2244" y="788"/>
                      <a:pt x="2244" y="788"/>
                    </a:cubicBezTo>
                    <a:cubicBezTo>
                      <a:pt x="2244" y="784"/>
                      <a:pt x="2244" y="784"/>
                      <a:pt x="2244" y="784"/>
                    </a:cubicBezTo>
                    <a:cubicBezTo>
                      <a:pt x="2243" y="783"/>
                      <a:pt x="2243" y="783"/>
                      <a:pt x="2243" y="783"/>
                    </a:cubicBezTo>
                    <a:cubicBezTo>
                      <a:pt x="2245" y="780"/>
                      <a:pt x="2245" y="780"/>
                      <a:pt x="2245" y="780"/>
                    </a:cubicBezTo>
                    <a:cubicBezTo>
                      <a:pt x="2246" y="784"/>
                      <a:pt x="2246" y="784"/>
                      <a:pt x="2246" y="784"/>
                    </a:cubicBezTo>
                    <a:cubicBezTo>
                      <a:pt x="2245" y="790"/>
                      <a:pt x="2245" y="790"/>
                      <a:pt x="2245" y="790"/>
                    </a:cubicBezTo>
                    <a:cubicBezTo>
                      <a:pt x="2244" y="794"/>
                      <a:pt x="2244" y="794"/>
                      <a:pt x="2244" y="794"/>
                    </a:cubicBezTo>
                    <a:cubicBezTo>
                      <a:pt x="2244" y="800"/>
                      <a:pt x="2244" y="800"/>
                      <a:pt x="2244" y="800"/>
                    </a:cubicBezTo>
                    <a:cubicBezTo>
                      <a:pt x="2250" y="803"/>
                      <a:pt x="2250" y="803"/>
                      <a:pt x="2250" y="803"/>
                    </a:cubicBezTo>
                    <a:cubicBezTo>
                      <a:pt x="2254" y="807"/>
                      <a:pt x="2254" y="807"/>
                      <a:pt x="2254" y="807"/>
                    </a:cubicBezTo>
                    <a:cubicBezTo>
                      <a:pt x="2257" y="806"/>
                      <a:pt x="2257" y="806"/>
                      <a:pt x="2257" y="806"/>
                    </a:cubicBezTo>
                    <a:cubicBezTo>
                      <a:pt x="2257" y="800"/>
                      <a:pt x="2257" y="800"/>
                      <a:pt x="2257" y="800"/>
                    </a:cubicBezTo>
                    <a:cubicBezTo>
                      <a:pt x="2259" y="797"/>
                      <a:pt x="2259" y="797"/>
                      <a:pt x="2259" y="797"/>
                    </a:cubicBezTo>
                    <a:cubicBezTo>
                      <a:pt x="2256" y="790"/>
                      <a:pt x="2256" y="790"/>
                      <a:pt x="2256" y="790"/>
                    </a:cubicBezTo>
                    <a:cubicBezTo>
                      <a:pt x="2248" y="782"/>
                      <a:pt x="2248" y="782"/>
                      <a:pt x="2248" y="782"/>
                    </a:cubicBezTo>
                    <a:cubicBezTo>
                      <a:pt x="2248" y="771"/>
                      <a:pt x="2248" y="771"/>
                      <a:pt x="2248" y="771"/>
                    </a:cubicBezTo>
                    <a:cubicBezTo>
                      <a:pt x="2244" y="769"/>
                      <a:pt x="2244" y="769"/>
                      <a:pt x="2244" y="769"/>
                    </a:cubicBezTo>
                    <a:cubicBezTo>
                      <a:pt x="2243" y="768"/>
                      <a:pt x="2243" y="768"/>
                      <a:pt x="2243" y="768"/>
                    </a:cubicBezTo>
                    <a:cubicBezTo>
                      <a:pt x="2242" y="770"/>
                      <a:pt x="2242" y="770"/>
                      <a:pt x="2242" y="770"/>
                    </a:cubicBezTo>
                    <a:cubicBezTo>
                      <a:pt x="2239" y="772"/>
                      <a:pt x="2239" y="772"/>
                      <a:pt x="2239" y="772"/>
                    </a:cubicBezTo>
                    <a:cubicBezTo>
                      <a:pt x="2239" y="775"/>
                      <a:pt x="2239" y="775"/>
                      <a:pt x="2239" y="775"/>
                    </a:cubicBezTo>
                    <a:cubicBezTo>
                      <a:pt x="2237" y="776"/>
                      <a:pt x="2237" y="776"/>
                      <a:pt x="2237" y="776"/>
                    </a:cubicBezTo>
                    <a:cubicBezTo>
                      <a:pt x="2234" y="773"/>
                      <a:pt x="2234" y="773"/>
                      <a:pt x="2234" y="773"/>
                    </a:cubicBezTo>
                    <a:cubicBezTo>
                      <a:pt x="2234" y="765"/>
                      <a:pt x="2234" y="765"/>
                      <a:pt x="2234" y="765"/>
                    </a:cubicBezTo>
                    <a:cubicBezTo>
                      <a:pt x="2231" y="760"/>
                      <a:pt x="2231" y="760"/>
                      <a:pt x="2231" y="760"/>
                    </a:cubicBezTo>
                    <a:cubicBezTo>
                      <a:pt x="2228" y="752"/>
                      <a:pt x="2228" y="752"/>
                      <a:pt x="2228" y="752"/>
                    </a:cubicBezTo>
                    <a:cubicBezTo>
                      <a:pt x="2230" y="749"/>
                      <a:pt x="2230" y="749"/>
                      <a:pt x="2230" y="749"/>
                    </a:cubicBezTo>
                    <a:cubicBezTo>
                      <a:pt x="2232" y="747"/>
                      <a:pt x="2232" y="747"/>
                      <a:pt x="2232" y="747"/>
                    </a:cubicBezTo>
                    <a:cubicBezTo>
                      <a:pt x="2231" y="744"/>
                      <a:pt x="2231" y="744"/>
                      <a:pt x="2231" y="744"/>
                    </a:cubicBezTo>
                    <a:cubicBezTo>
                      <a:pt x="2233" y="740"/>
                      <a:pt x="2233" y="740"/>
                      <a:pt x="2233" y="740"/>
                    </a:cubicBezTo>
                    <a:cubicBezTo>
                      <a:pt x="2231" y="736"/>
                      <a:pt x="2231" y="736"/>
                      <a:pt x="2231" y="736"/>
                    </a:cubicBezTo>
                    <a:cubicBezTo>
                      <a:pt x="2232" y="734"/>
                      <a:pt x="2232" y="734"/>
                      <a:pt x="2232" y="734"/>
                    </a:cubicBezTo>
                    <a:cubicBezTo>
                      <a:pt x="2231" y="730"/>
                      <a:pt x="2231" y="730"/>
                      <a:pt x="2231" y="730"/>
                    </a:cubicBezTo>
                    <a:cubicBezTo>
                      <a:pt x="2229" y="728"/>
                      <a:pt x="2229" y="728"/>
                      <a:pt x="2229" y="728"/>
                    </a:cubicBezTo>
                    <a:cubicBezTo>
                      <a:pt x="2226" y="729"/>
                      <a:pt x="2226" y="729"/>
                      <a:pt x="2226" y="729"/>
                    </a:cubicBezTo>
                    <a:cubicBezTo>
                      <a:pt x="2220" y="723"/>
                      <a:pt x="2220" y="723"/>
                      <a:pt x="2220" y="723"/>
                    </a:cubicBezTo>
                    <a:cubicBezTo>
                      <a:pt x="2216" y="723"/>
                      <a:pt x="2216" y="723"/>
                      <a:pt x="2216" y="723"/>
                    </a:cubicBezTo>
                    <a:cubicBezTo>
                      <a:pt x="2213" y="726"/>
                      <a:pt x="2213" y="726"/>
                      <a:pt x="2213" y="726"/>
                    </a:cubicBezTo>
                    <a:cubicBezTo>
                      <a:pt x="2213" y="729"/>
                      <a:pt x="2213" y="729"/>
                      <a:pt x="2213" y="729"/>
                    </a:cubicBezTo>
                    <a:cubicBezTo>
                      <a:pt x="2218" y="735"/>
                      <a:pt x="2218" y="735"/>
                      <a:pt x="2218" y="735"/>
                    </a:cubicBezTo>
                    <a:cubicBezTo>
                      <a:pt x="2217" y="739"/>
                      <a:pt x="2217" y="739"/>
                      <a:pt x="2217" y="739"/>
                    </a:cubicBezTo>
                    <a:cubicBezTo>
                      <a:pt x="2216" y="740"/>
                      <a:pt x="2216" y="740"/>
                      <a:pt x="2216" y="740"/>
                    </a:cubicBezTo>
                    <a:cubicBezTo>
                      <a:pt x="2211" y="738"/>
                      <a:pt x="2211" y="738"/>
                      <a:pt x="2211" y="738"/>
                    </a:cubicBezTo>
                    <a:cubicBezTo>
                      <a:pt x="2207" y="730"/>
                      <a:pt x="2207" y="730"/>
                      <a:pt x="2207" y="730"/>
                    </a:cubicBezTo>
                    <a:cubicBezTo>
                      <a:pt x="2203" y="726"/>
                      <a:pt x="2203" y="726"/>
                      <a:pt x="2203" y="726"/>
                    </a:cubicBezTo>
                    <a:cubicBezTo>
                      <a:pt x="2200" y="724"/>
                      <a:pt x="2200" y="724"/>
                      <a:pt x="2200" y="724"/>
                    </a:cubicBezTo>
                    <a:cubicBezTo>
                      <a:pt x="2202" y="722"/>
                      <a:pt x="2202" y="722"/>
                      <a:pt x="2202" y="722"/>
                    </a:cubicBezTo>
                    <a:cubicBezTo>
                      <a:pt x="2199" y="714"/>
                      <a:pt x="2199" y="714"/>
                      <a:pt x="2199" y="714"/>
                    </a:cubicBezTo>
                    <a:cubicBezTo>
                      <a:pt x="2199" y="709"/>
                      <a:pt x="2199" y="709"/>
                      <a:pt x="2199" y="709"/>
                    </a:cubicBezTo>
                    <a:cubicBezTo>
                      <a:pt x="2199" y="706"/>
                      <a:pt x="2199" y="706"/>
                      <a:pt x="2199" y="706"/>
                    </a:cubicBezTo>
                    <a:cubicBezTo>
                      <a:pt x="2197" y="702"/>
                      <a:pt x="2197" y="702"/>
                      <a:pt x="2197" y="702"/>
                    </a:cubicBezTo>
                    <a:cubicBezTo>
                      <a:pt x="2198" y="699"/>
                      <a:pt x="2198" y="699"/>
                      <a:pt x="2198" y="699"/>
                    </a:cubicBezTo>
                    <a:cubicBezTo>
                      <a:pt x="2197" y="692"/>
                      <a:pt x="2197" y="692"/>
                      <a:pt x="2197" y="692"/>
                    </a:cubicBezTo>
                    <a:cubicBezTo>
                      <a:pt x="2199" y="689"/>
                      <a:pt x="2199" y="689"/>
                      <a:pt x="2199" y="689"/>
                    </a:cubicBezTo>
                    <a:cubicBezTo>
                      <a:pt x="2198" y="685"/>
                      <a:pt x="2198" y="685"/>
                      <a:pt x="2198" y="685"/>
                    </a:cubicBezTo>
                    <a:cubicBezTo>
                      <a:pt x="2200" y="680"/>
                      <a:pt x="2200" y="680"/>
                      <a:pt x="2200" y="680"/>
                    </a:cubicBezTo>
                    <a:cubicBezTo>
                      <a:pt x="2200" y="675"/>
                      <a:pt x="2200" y="675"/>
                      <a:pt x="2200" y="675"/>
                    </a:cubicBezTo>
                    <a:cubicBezTo>
                      <a:pt x="2198" y="677"/>
                      <a:pt x="2198" y="677"/>
                      <a:pt x="2198" y="677"/>
                    </a:cubicBezTo>
                    <a:cubicBezTo>
                      <a:pt x="2194" y="672"/>
                      <a:pt x="2194" y="672"/>
                      <a:pt x="2194" y="672"/>
                    </a:cubicBezTo>
                    <a:cubicBezTo>
                      <a:pt x="2194" y="670"/>
                      <a:pt x="2194" y="670"/>
                      <a:pt x="2194" y="670"/>
                    </a:cubicBezTo>
                    <a:cubicBezTo>
                      <a:pt x="2197" y="669"/>
                      <a:pt x="2197" y="669"/>
                      <a:pt x="2197" y="669"/>
                    </a:cubicBezTo>
                    <a:cubicBezTo>
                      <a:pt x="2200" y="672"/>
                      <a:pt x="2200" y="672"/>
                      <a:pt x="2200" y="672"/>
                    </a:cubicBezTo>
                    <a:cubicBezTo>
                      <a:pt x="2201" y="670"/>
                      <a:pt x="2201" y="670"/>
                      <a:pt x="2201" y="670"/>
                    </a:cubicBezTo>
                    <a:cubicBezTo>
                      <a:pt x="2198" y="667"/>
                      <a:pt x="2198" y="667"/>
                      <a:pt x="2198" y="667"/>
                    </a:cubicBezTo>
                    <a:cubicBezTo>
                      <a:pt x="2195" y="664"/>
                      <a:pt x="2195" y="664"/>
                      <a:pt x="2195" y="664"/>
                    </a:cubicBezTo>
                    <a:cubicBezTo>
                      <a:pt x="2196" y="661"/>
                      <a:pt x="2196" y="661"/>
                      <a:pt x="2196" y="661"/>
                    </a:cubicBezTo>
                    <a:cubicBezTo>
                      <a:pt x="2198" y="661"/>
                      <a:pt x="2198" y="661"/>
                      <a:pt x="2198" y="661"/>
                    </a:cubicBezTo>
                    <a:cubicBezTo>
                      <a:pt x="2197" y="659"/>
                      <a:pt x="2197" y="659"/>
                      <a:pt x="2197" y="659"/>
                    </a:cubicBezTo>
                    <a:cubicBezTo>
                      <a:pt x="2194" y="655"/>
                      <a:pt x="2194" y="655"/>
                      <a:pt x="2194" y="655"/>
                    </a:cubicBezTo>
                    <a:cubicBezTo>
                      <a:pt x="2190" y="654"/>
                      <a:pt x="2190" y="654"/>
                      <a:pt x="2190" y="654"/>
                    </a:cubicBezTo>
                    <a:cubicBezTo>
                      <a:pt x="2189" y="651"/>
                      <a:pt x="2189" y="651"/>
                      <a:pt x="2189" y="651"/>
                    </a:cubicBezTo>
                    <a:cubicBezTo>
                      <a:pt x="2191" y="650"/>
                      <a:pt x="2191" y="650"/>
                      <a:pt x="2191" y="650"/>
                    </a:cubicBezTo>
                    <a:cubicBezTo>
                      <a:pt x="2190" y="645"/>
                      <a:pt x="2190" y="645"/>
                      <a:pt x="2190" y="645"/>
                    </a:cubicBezTo>
                    <a:cubicBezTo>
                      <a:pt x="2187" y="640"/>
                      <a:pt x="2187" y="640"/>
                      <a:pt x="2187" y="640"/>
                    </a:cubicBezTo>
                    <a:cubicBezTo>
                      <a:pt x="2188" y="637"/>
                      <a:pt x="2188" y="637"/>
                      <a:pt x="2188" y="637"/>
                    </a:cubicBezTo>
                    <a:cubicBezTo>
                      <a:pt x="2189" y="633"/>
                      <a:pt x="2189" y="633"/>
                      <a:pt x="2189" y="633"/>
                    </a:cubicBezTo>
                    <a:cubicBezTo>
                      <a:pt x="2191" y="631"/>
                      <a:pt x="2191" y="631"/>
                      <a:pt x="2191" y="631"/>
                    </a:cubicBezTo>
                    <a:cubicBezTo>
                      <a:pt x="2188" y="627"/>
                      <a:pt x="2188" y="627"/>
                      <a:pt x="2188" y="627"/>
                    </a:cubicBezTo>
                    <a:cubicBezTo>
                      <a:pt x="2189" y="624"/>
                      <a:pt x="2189" y="624"/>
                      <a:pt x="2189" y="624"/>
                    </a:cubicBezTo>
                    <a:cubicBezTo>
                      <a:pt x="2191" y="624"/>
                      <a:pt x="2191" y="624"/>
                      <a:pt x="2191" y="624"/>
                    </a:cubicBezTo>
                    <a:cubicBezTo>
                      <a:pt x="2195" y="626"/>
                      <a:pt x="2195" y="626"/>
                      <a:pt x="2195" y="626"/>
                    </a:cubicBezTo>
                    <a:cubicBezTo>
                      <a:pt x="2197" y="626"/>
                      <a:pt x="2197" y="626"/>
                      <a:pt x="2197" y="626"/>
                    </a:cubicBezTo>
                    <a:cubicBezTo>
                      <a:pt x="2199" y="619"/>
                      <a:pt x="2199" y="619"/>
                      <a:pt x="2199" y="619"/>
                    </a:cubicBezTo>
                    <a:cubicBezTo>
                      <a:pt x="2201" y="619"/>
                      <a:pt x="2201" y="619"/>
                      <a:pt x="2201" y="619"/>
                    </a:cubicBezTo>
                    <a:cubicBezTo>
                      <a:pt x="2203" y="622"/>
                      <a:pt x="2203" y="622"/>
                      <a:pt x="2203" y="622"/>
                    </a:cubicBezTo>
                    <a:cubicBezTo>
                      <a:pt x="2205" y="622"/>
                      <a:pt x="2205" y="622"/>
                      <a:pt x="2205" y="622"/>
                    </a:cubicBezTo>
                    <a:cubicBezTo>
                      <a:pt x="2208" y="627"/>
                      <a:pt x="2208" y="627"/>
                      <a:pt x="2208" y="627"/>
                    </a:cubicBezTo>
                    <a:cubicBezTo>
                      <a:pt x="2212" y="617"/>
                      <a:pt x="2212" y="617"/>
                      <a:pt x="2212" y="617"/>
                    </a:cubicBezTo>
                    <a:cubicBezTo>
                      <a:pt x="2208" y="615"/>
                      <a:pt x="2208" y="615"/>
                      <a:pt x="2208" y="615"/>
                    </a:cubicBezTo>
                    <a:cubicBezTo>
                      <a:pt x="2208" y="611"/>
                      <a:pt x="2208" y="611"/>
                      <a:pt x="2208" y="611"/>
                    </a:cubicBezTo>
                    <a:cubicBezTo>
                      <a:pt x="2211" y="609"/>
                      <a:pt x="2211" y="609"/>
                      <a:pt x="2211" y="609"/>
                    </a:cubicBezTo>
                    <a:cubicBezTo>
                      <a:pt x="2216" y="600"/>
                      <a:pt x="2216" y="600"/>
                      <a:pt x="2216" y="600"/>
                    </a:cubicBezTo>
                    <a:cubicBezTo>
                      <a:pt x="2216" y="595"/>
                      <a:pt x="2216" y="595"/>
                      <a:pt x="2216" y="595"/>
                    </a:cubicBezTo>
                    <a:cubicBezTo>
                      <a:pt x="2219" y="599"/>
                      <a:pt x="2219" y="599"/>
                      <a:pt x="2219" y="599"/>
                    </a:cubicBezTo>
                    <a:cubicBezTo>
                      <a:pt x="2222" y="601"/>
                      <a:pt x="2222" y="601"/>
                      <a:pt x="2222" y="601"/>
                    </a:cubicBezTo>
                    <a:cubicBezTo>
                      <a:pt x="2222" y="606"/>
                      <a:pt x="2222" y="606"/>
                      <a:pt x="2222" y="606"/>
                    </a:cubicBezTo>
                    <a:cubicBezTo>
                      <a:pt x="2227" y="620"/>
                      <a:pt x="2227" y="620"/>
                      <a:pt x="2227" y="620"/>
                    </a:cubicBezTo>
                    <a:cubicBezTo>
                      <a:pt x="2229" y="623"/>
                      <a:pt x="2229" y="623"/>
                      <a:pt x="2229" y="623"/>
                    </a:cubicBezTo>
                    <a:cubicBezTo>
                      <a:pt x="2231" y="622"/>
                      <a:pt x="2231" y="622"/>
                      <a:pt x="2231" y="622"/>
                    </a:cubicBezTo>
                    <a:cubicBezTo>
                      <a:pt x="2232" y="610"/>
                      <a:pt x="2232" y="610"/>
                      <a:pt x="2232" y="610"/>
                    </a:cubicBezTo>
                    <a:cubicBezTo>
                      <a:pt x="2233" y="606"/>
                      <a:pt x="2233" y="606"/>
                      <a:pt x="2233" y="606"/>
                    </a:cubicBezTo>
                    <a:cubicBezTo>
                      <a:pt x="2233" y="601"/>
                      <a:pt x="2233" y="601"/>
                      <a:pt x="2233" y="601"/>
                    </a:cubicBezTo>
                    <a:cubicBezTo>
                      <a:pt x="2235" y="598"/>
                      <a:pt x="2235" y="598"/>
                      <a:pt x="2235" y="598"/>
                    </a:cubicBezTo>
                    <a:cubicBezTo>
                      <a:pt x="2232" y="592"/>
                      <a:pt x="2232" y="592"/>
                      <a:pt x="2232" y="592"/>
                    </a:cubicBezTo>
                    <a:cubicBezTo>
                      <a:pt x="2235" y="594"/>
                      <a:pt x="2235" y="594"/>
                      <a:pt x="2235" y="594"/>
                    </a:cubicBezTo>
                    <a:cubicBezTo>
                      <a:pt x="2238" y="591"/>
                      <a:pt x="2238" y="591"/>
                      <a:pt x="2238" y="591"/>
                    </a:cubicBezTo>
                    <a:cubicBezTo>
                      <a:pt x="2240" y="583"/>
                      <a:pt x="2240" y="583"/>
                      <a:pt x="2240" y="583"/>
                    </a:cubicBezTo>
                    <a:cubicBezTo>
                      <a:pt x="2243" y="583"/>
                      <a:pt x="2243" y="583"/>
                      <a:pt x="2243" y="583"/>
                    </a:cubicBezTo>
                    <a:cubicBezTo>
                      <a:pt x="2247" y="577"/>
                      <a:pt x="2247" y="577"/>
                      <a:pt x="2247" y="577"/>
                    </a:cubicBezTo>
                    <a:cubicBezTo>
                      <a:pt x="2251" y="576"/>
                      <a:pt x="2251" y="576"/>
                      <a:pt x="2251" y="576"/>
                    </a:cubicBezTo>
                    <a:cubicBezTo>
                      <a:pt x="2253" y="577"/>
                      <a:pt x="2253" y="577"/>
                      <a:pt x="2253" y="577"/>
                    </a:cubicBezTo>
                    <a:cubicBezTo>
                      <a:pt x="2259" y="573"/>
                      <a:pt x="2259" y="573"/>
                      <a:pt x="2259" y="573"/>
                    </a:cubicBezTo>
                    <a:cubicBezTo>
                      <a:pt x="2264" y="574"/>
                      <a:pt x="2264" y="574"/>
                      <a:pt x="2264" y="574"/>
                    </a:cubicBezTo>
                    <a:cubicBezTo>
                      <a:pt x="2274" y="581"/>
                      <a:pt x="2274" y="581"/>
                      <a:pt x="2274" y="581"/>
                    </a:cubicBezTo>
                    <a:cubicBezTo>
                      <a:pt x="2274" y="585"/>
                      <a:pt x="2274" y="585"/>
                      <a:pt x="2274" y="585"/>
                    </a:cubicBezTo>
                    <a:cubicBezTo>
                      <a:pt x="2277" y="585"/>
                      <a:pt x="2277" y="585"/>
                      <a:pt x="2277" y="585"/>
                    </a:cubicBezTo>
                    <a:cubicBezTo>
                      <a:pt x="2280" y="584"/>
                      <a:pt x="2280" y="584"/>
                      <a:pt x="2280" y="584"/>
                    </a:cubicBezTo>
                    <a:cubicBezTo>
                      <a:pt x="2282" y="585"/>
                      <a:pt x="2282" y="585"/>
                      <a:pt x="2282" y="585"/>
                    </a:cubicBezTo>
                    <a:cubicBezTo>
                      <a:pt x="2280" y="587"/>
                      <a:pt x="2280" y="587"/>
                      <a:pt x="2280" y="587"/>
                    </a:cubicBezTo>
                    <a:cubicBezTo>
                      <a:pt x="2286" y="594"/>
                      <a:pt x="2286" y="594"/>
                      <a:pt x="2286" y="594"/>
                    </a:cubicBezTo>
                    <a:cubicBezTo>
                      <a:pt x="2288" y="592"/>
                      <a:pt x="2288" y="592"/>
                      <a:pt x="2288" y="592"/>
                    </a:cubicBezTo>
                    <a:cubicBezTo>
                      <a:pt x="2291" y="596"/>
                      <a:pt x="2291" y="596"/>
                      <a:pt x="2291" y="596"/>
                    </a:cubicBezTo>
                    <a:cubicBezTo>
                      <a:pt x="2295" y="595"/>
                      <a:pt x="2295" y="595"/>
                      <a:pt x="2295" y="595"/>
                    </a:cubicBezTo>
                    <a:cubicBezTo>
                      <a:pt x="2298" y="596"/>
                      <a:pt x="2298" y="596"/>
                      <a:pt x="2298" y="596"/>
                    </a:cubicBezTo>
                    <a:cubicBezTo>
                      <a:pt x="2298" y="592"/>
                      <a:pt x="2298" y="592"/>
                      <a:pt x="2298" y="592"/>
                    </a:cubicBezTo>
                    <a:cubicBezTo>
                      <a:pt x="2292" y="584"/>
                      <a:pt x="2292" y="584"/>
                      <a:pt x="2292" y="584"/>
                    </a:cubicBezTo>
                    <a:cubicBezTo>
                      <a:pt x="2294" y="581"/>
                      <a:pt x="2294" y="581"/>
                      <a:pt x="2294" y="581"/>
                    </a:cubicBezTo>
                    <a:cubicBezTo>
                      <a:pt x="2293" y="579"/>
                      <a:pt x="2293" y="579"/>
                      <a:pt x="2293" y="579"/>
                    </a:cubicBezTo>
                    <a:cubicBezTo>
                      <a:pt x="2290" y="578"/>
                      <a:pt x="2290" y="578"/>
                      <a:pt x="2290" y="578"/>
                    </a:cubicBezTo>
                    <a:cubicBezTo>
                      <a:pt x="2291" y="574"/>
                      <a:pt x="2291" y="574"/>
                      <a:pt x="2291" y="574"/>
                    </a:cubicBezTo>
                    <a:cubicBezTo>
                      <a:pt x="2293" y="570"/>
                      <a:pt x="2293" y="570"/>
                      <a:pt x="2293" y="570"/>
                    </a:cubicBezTo>
                    <a:cubicBezTo>
                      <a:pt x="2294" y="560"/>
                      <a:pt x="2294" y="560"/>
                      <a:pt x="2294" y="560"/>
                    </a:cubicBezTo>
                    <a:cubicBezTo>
                      <a:pt x="2297" y="552"/>
                      <a:pt x="2297" y="552"/>
                      <a:pt x="2297" y="552"/>
                    </a:cubicBezTo>
                    <a:cubicBezTo>
                      <a:pt x="2296" y="548"/>
                      <a:pt x="2296" y="548"/>
                      <a:pt x="2296" y="548"/>
                    </a:cubicBezTo>
                    <a:cubicBezTo>
                      <a:pt x="2300" y="542"/>
                      <a:pt x="2300" y="542"/>
                      <a:pt x="2300" y="542"/>
                    </a:cubicBezTo>
                    <a:cubicBezTo>
                      <a:pt x="2298" y="539"/>
                      <a:pt x="2298" y="539"/>
                      <a:pt x="2298" y="539"/>
                    </a:cubicBezTo>
                    <a:cubicBezTo>
                      <a:pt x="2300" y="537"/>
                      <a:pt x="2300" y="537"/>
                      <a:pt x="2300" y="537"/>
                    </a:cubicBezTo>
                    <a:cubicBezTo>
                      <a:pt x="2298" y="530"/>
                      <a:pt x="2298" y="530"/>
                      <a:pt x="2298" y="530"/>
                    </a:cubicBezTo>
                    <a:cubicBezTo>
                      <a:pt x="2295" y="528"/>
                      <a:pt x="2295" y="528"/>
                      <a:pt x="2295" y="528"/>
                    </a:cubicBezTo>
                    <a:cubicBezTo>
                      <a:pt x="2295" y="526"/>
                      <a:pt x="2295" y="526"/>
                      <a:pt x="2295" y="526"/>
                    </a:cubicBezTo>
                    <a:cubicBezTo>
                      <a:pt x="2300" y="525"/>
                      <a:pt x="2300" y="525"/>
                      <a:pt x="2300" y="525"/>
                    </a:cubicBezTo>
                    <a:cubicBezTo>
                      <a:pt x="2302" y="520"/>
                      <a:pt x="2302" y="520"/>
                      <a:pt x="2302" y="520"/>
                    </a:cubicBezTo>
                    <a:cubicBezTo>
                      <a:pt x="2297" y="517"/>
                      <a:pt x="2297" y="517"/>
                      <a:pt x="2297" y="517"/>
                    </a:cubicBezTo>
                    <a:cubicBezTo>
                      <a:pt x="2295" y="514"/>
                      <a:pt x="2295" y="514"/>
                      <a:pt x="2295" y="514"/>
                    </a:cubicBezTo>
                    <a:cubicBezTo>
                      <a:pt x="2297" y="513"/>
                      <a:pt x="2297" y="513"/>
                      <a:pt x="2297" y="513"/>
                    </a:cubicBezTo>
                    <a:cubicBezTo>
                      <a:pt x="2299" y="515"/>
                      <a:pt x="2299" y="515"/>
                      <a:pt x="2299" y="515"/>
                    </a:cubicBezTo>
                    <a:cubicBezTo>
                      <a:pt x="2302" y="515"/>
                      <a:pt x="2302" y="515"/>
                      <a:pt x="2302" y="515"/>
                    </a:cubicBezTo>
                    <a:cubicBezTo>
                      <a:pt x="2303" y="511"/>
                      <a:pt x="2303" y="511"/>
                      <a:pt x="2303" y="511"/>
                    </a:cubicBezTo>
                    <a:cubicBezTo>
                      <a:pt x="2301" y="508"/>
                      <a:pt x="2301" y="508"/>
                      <a:pt x="2301" y="508"/>
                    </a:cubicBezTo>
                    <a:cubicBezTo>
                      <a:pt x="2304" y="504"/>
                      <a:pt x="2304" y="504"/>
                      <a:pt x="2304" y="504"/>
                    </a:cubicBezTo>
                    <a:cubicBezTo>
                      <a:pt x="2304" y="501"/>
                      <a:pt x="2304" y="501"/>
                      <a:pt x="2304" y="501"/>
                    </a:cubicBezTo>
                    <a:cubicBezTo>
                      <a:pt x="2302" y="498"/>
                      <a:pt x="2302" y="498"/>
                      <a:pt x="2302" y="498"/>
                    </a:cubicBezTo>
                    <a:cubicBezTo>
                      <a:pt x="2305" y="496"/>
                      <a:pt x="2305" y="496"/>
                      <a:pt x="2305" y="496"/>
                    </a:cubicBezTo>
                    <a:cubicBezTo>
                      <a:pt x="2307" y="497"/>
                      <a:pt x="2307" y="497"/>
                      <a:pt x="2307" y="497"/>
                    </a:cubicBezTo>
                    <a:cubicBezTo>
                      <a:pt x="2308" y="494"/>
                      <a:pt x="2308" y="494"/>
                      <a:pt x="2308" y="494"/>
                    </a:cubicBezTo>
                    <a:cubicBezTo>
                      <a:pt x="2309" y="491"/>
                      <a:pt x="2309" y="491"/>
                      <a:pt x="2309" y="491"/>
                    </a:cubicBezTo>
                    <a:cubicBezTo>
                      <a:pt x="2307" y="489"/>
                      <a:pt x="2307" y="489"/>
                      <a:pt x="2307" y="489"/>
                    </a:cubicBezTo>
                    <a:cubicBezTo>
                      <a:pt x="2310" y="488"/>
                      <a:pt x="2310" y="488"/>
                      <a:pt x="2310" y="488"/>
                    </a:cubicBezTo>
                    <a:cubicBezTo>
                      <a:pt x="2314" y="483"/>
                      <a:pt x="2314" y="483"/>
                      <a:pt x="2314" y="483"/>
                    </a:cubicBezTo>
                    <a:cubicBezTo>
                      <a:pt x="2313" y="480"/>
                      <a:pt x="2313" y="480"/>
                      <a:pt x="2313" y="480"/>
                    </a:cubicBezTo>
                    <a:cubicBezTo>
                      <a:pt x="2314" y="475"/>
                      <a:pt x="2314" y="475"/>
                      <a:pt x="2314" y="475"/>
                    </a:cubicBezTo>
                    <a:cubicBezTo>
                      <a:pt x="2316" y="478"/>
                      <a:pt x="2316" y="478"/>
                      <a:pt x="2316" y="478"/>
                    </a:cubicBezTo>
                    <a:cubicBezTo>
                      <a:pt x="2319" y="474"/>
                      <a:pt x="2319" y="474"/>
                      <a:pt x="2319" y="474"/>
                    </a:cubicBezTo>
                    <a:cubicBezTo>
                      <a:pt x="2317" y="468"/>
                      <a:pt x="2317" y="468"/>
                      <a:pt x="2317" y="468"/>
                    </a:cubicBezTo>
                    <a:cubicBezTo>
                      <a:pt x="2317" y="461"/>
                      <a:pt x="2317" y="461"/>
                      <a:pt x="2317" y="461"/>
                    </a:cubicBezTo>
                    <a:cubicBezTo>
                      <a:pt x="2320" y="461"/>
                      <a:pt x="2320" y="461"/>
                      <a:pt x="2320" y="461"/>
                    </a:cubicBezTo>
                    <a:cubicBezTo>
                      <a:pt x="2321" y="463"/>
                      <a:pt x="2321" y="463"/>
                      <a:pt x="2321" y="463"/>
                    </a:cubicBezTo>
                    <a:cubicBezTo>
                      <a:pt x="2323" y="460"/>
                      <a:pt x="2323" y="460"/>
                      <a:pt x="2323" y="460"/>
                    </a:cubicBezTo>
                    <a:cubicBezTo>
                      <a:pt x="2328" y="452"/>
                      <a:pt x="2328" y="452"/>
                      <a:pt x="2328" y="452"/>
                    </a:cubicBezTo>
                    <a:cubicBezTo>
                      <a:pt x="2326" y="451"/>
                      <a:pt x="2326" y="451"/>
                      <a:pt x="2326" y="451"/>
                    </a:cubicBezTo>
                    <a:cubicBezTo>
                      <a:pt x="2326" y="447"/>
                      <a:pt x="2326" y="447"/>
                      <a:pt x="2326" y="447"/>
                    </a:cubicBezTo>
                    <a:cubicBezTo>
                      <a:pt x="2329" y="447"/>
                      <a:pt x="2329" y="447"/>
                      <a:pt x="2329" y="447"/>
                    </a:cubicBezTo>
                    <a:cubicBezTo>
                      <a:pt x="2335" y="440"/>
                      <a:pt x="2335" y="440"/>
                      <a:pt x="2335" y="440"/>
                    </a:cubicBezTo>
                    <a:cubicBezTo>
                      <a:pt x="2333" y="438"/>
                      <a:pt x="2333" y="438"/>
                      <a:pt x="2333" y="438"/>
                    </a:cubicBezTo>
                    <a:cubicBezTo>
                      <a:pt x="2334" y="436"/>
                      <a:pt x="2334" y="436"/>
                      <a:pt x="2334" y="436"/>
                    </a:cubicBezTo>
                    <a:cubicBezTo>
                      <a:pt x="2339" y="436"/>
                      <a:pt x="2339" y="436"/>
                      <a:pt x="2339" y="436"/>
                    </a:cubicBezTo>
                    <a:cubicBezTo>
                      <a:pt x="2345" y="432"/>
                      <a:pt x="2345" y="432"/>
                      <a:pt x="2345" y="432"/>
                    </a:cubicBezTo>
                    <a:cubicBezTo>
                      <a:pt x="2343" y="428"/>
                      <a:pt x="2343" y="428"/>
                      <a:pt x="2343" y="428"/>
                    </a:cubicBezTo>
                    <a:cubicBezTo>
                      <a:pt x="2344" y="427"/>
                      <a:pt x="2344" y="427"/>
                      <a:pt x="2344" y="427"/>
                    </a:cubicBezTo>
                    <a:cubicBezTo>
                      <a:pt x="2346" y="428"/>
                      <a:pt x="2346" y="428"/>
                      <a:pt x="2346" y="428"/>
                    </a:cubicBezTo>
                    <a:cubicBezTo>
                      <a:pt x="2347" y="432"/>
                      <a:pt x="2347" y="432"/>
                      <a:pt x="2347" y="432"/>
                    </a:cubicBezTo>
                    <a:cubicBezTo>
                      <a:pt x="2350" y="433"/>
                      <a:pt x="2350" y="433"/>
                      <a:pt x="2350" y="433"/>
                    </a:cubicBezTo>
                    <a:cubicBezTo>
                      <a:pt x="2353" y="431"/>
                      <a:pt x="2353" y="431"/>
                      <a:pt x="2353" y="431"/>
                    </a:cubicBezTo>
                    <a:cubicBezTo>
                      <a:pt x="2357" y="434"/>
                      <a:pt x="2357" y="434"/>
                      <a:pt x="2357" y="434"/>
                    </a:cubicBezTo>
                    <a:cubicBezTo>
                      <a:pt x="2370" y="434"/>
                      <a:pt x="2370" y="434"/>
                      <a:pt x="2370" y="434"/>
                    </a:cubicBezTo>
                    <a:cubicBezTo>
                      <a:pt x="2372" y="437"/>
                      <a:pt x="2372" y="437"/>
                      <a:pt x="2372" y="437"/>
                    </a:cubicBezTo>
                    <a:cubicBezTo>
                      <a:pt x="2374" y="436"/>
                      <a:pt x="2374" y="436"/>
                      <a:pt x="2374" y="436"/>
                    </a:cubicBezTo>
                    <a:cubicBezTo>
                      <a:pt x="2372" y="430"/>
                      <a:pt x="2372" y="430"/>
                      <a:pt x="2372" y="430"/>
                    </a:cubicBezTo>
                    <a:cubicBezTo>
                      <a:pt x="2368" y="428"/>
                      <a:pt x="2368" y="428"/>
                      <a:pt x="2368" y="428"/>
                    </a:cubicBezTo>
                    <a:cubicBezTo>
                      <a:pt x="2368" y="425"/>
                      <a:pt x="2368" y="425"/>
                      <a:pt x="2368" y="425"/>
                    </a:cubicBezTo>
                    <a:cubicBezTo>
                      <a:pt x="2371" y="425"/>
                      <a:pt x="2371" y="425"/>
                      <a:pt x="2371" y="425"/>
                    </a:cubicBezTo>
                    <a:cubicBezTo>
                      <a:pt x="2371" y="411"/>
                      <a:pt x="2371" y="411"/>
                      <a:pt x="2371" y="411"/>
                    </a:cubicBezTo>
                    <a:cubicBezTo>
                      <a:pt x="2366" y="402"/>
                      <a:pt x="2366" y="402"/>
                      <a:pt x="2366" y="402"/>
                    </a:cubicBezTo>
                    <a:cubicBezTo>
                      <a:pt x="2362" y="401"/>
                      <a:pt x="2362" y="401"/>
                      <a:pt x="2362" y="401"/>
                    </a:cubicBezTo>
                    <a:cubicBezTo>
                      <a:pt x="2357" y="393"/>
                      <a:pt x="2357" y="393"/>
                      <a:pt x="2357" y="393"/>
                    </a:cubicBezTo>
                    <a:cubicBezTo>
                      <a:pt x="2360" y="390"/>
                      <a:pt x="2360" y="390"/>
                      <a:pt x="2360" y="390"/>
                    </a:cubicBezTo>
                    <a:cubicBezTo>
                      <a:pt x="2355" y="385"/>
                      <a:pt x="2355" y="385"/>
                      <a:pt x="2355" y="385"/>
                    </a:cubicBezTo>
                    <a:cubicBezTo>
                      <a:pt x="2347" y="383"/>
                      <a:pt x="2347" y="383"/>
                      <a:pt x="2347" y="383"/>
                    </a:cubicBezTo>
                    <a:cubicBezTo>
                      <a:pt x="2338" y="376"/>
                      <a:pt x="2338" y="376"/>
                      <a:pt x="2338" y="376"/>
                    </a:cubicBezTo>
                    <a:cubicBezTo>
                      <a:pt x="2335" y="370"/>
                      <a:pt x="2335" y="370"/>
                      <a:pt x="2335" y="370"/>
                    </a:cubicBezTo>
                    <a:cubicBezTo>
                      <a:pt x="2334" y="374"/>
                      <a:pt x="2334" y="374"/>
                      <a:pt x="2334" y="374"/>
                    </a:cubicBezTo>
                    <a:cubicBezTo>
                      <a:pt x="2332" y="373"/>
                      <a:pt x="2332" y="373"/>
                      <a:pt x="2332" y="373"/>
                    </a:cubicBezTo>
                    <a:cubicBezTo>
                      <a:pt x="2330" y="374"/>
                      <a:pt x="2330" y="374"/>
                      <a:pt x="2330" y="374"/>
                    </a:cubicBezTo>
                    <a:cubicBezTo>
                      <a:pt x="2330" y="379"/>
                      <a:pt x="2330" y="379"/>
                      <a:pt x="2330" y="379"/>
                    </a:cubicBezTo>
                    <a:cubicBezTo>
                      <a:pt x="2326" y="380"/>
                      <a:pt x="2326" y="380"/>
                      <a:pt x="2326" y="380"/>
                    </a:cubicBezTo>
                    <a:cubicBezTo>
                      <a:pt x="2325" y="377"/>
                      <a:pt x="2325" y="377"/>
                      <a:pt x="2325" y="377"/>
                    </a:cubicBezTo>
                    <a:cubicBezTo>
                      <a:pt x="2325" y="373"/>
                      <a:pt x="2325" y="373"/>
                      <a:pt x="2325" y="373"/>
                    </a:cubicBezTo>
                    <a:cubicBezTo>
                      <a:pt x="2329" y="370"/>
                      <a:pt x="2329" y="370"/>
                      <a:pt x="2329" y="370"/>
                    </a:cubicBezTo>
                    <a:cubicBezTo>
                      <a:pt x="2326" y="365"/>
                      <a:pt x="2326" y="365"/>
                      <a:pt x="2326" y="365"/>
                    </a:cubicBezTo>
                    <a:cubicBezTo>
                      <a:pt x="2327" y="364"/>
                      <a:pt x="2327" y="364"/>
                      <a:pt x="2327" y="364"/>
                    </a:cubicBezTo>
                    <a:cubicBezTo>
                      <a:pt x="2329" y="364"/>
                      <a:pt x="2329" y="364"/>
                      <a:pt x="2329" y="364"/>
                    </a:cubicBezTo>
                    <a:cubicBezTo>
                      <a:pt x="2332" y="367"/>
                      <a:pt x="2332" y="367"/>
                      <a:pt x="2332" y="367"/>
                    </a:cubicBezTo>
                    <a:cubicBezTo>
                      <a:pt x="2325" y="353"/>
                      <a:pt x="2325" y="353"/>
                      <a:pt x="2325" y="353"/>
                    </a:cubicBezTo>
                    <a:cubicBezTo>
                      <a:pt x="2319" y="348"/>
                      <a:pt x="2319" y="348"/>
                      <a:pt x="2319" y="348"/>
                    </a:cubicBezTo>
                    <a:cubicBezTo>
                      <a:pt x="2319" y="354"/>
                      <a:pt x="2319" y="354"/>
                      <a:pt x="2319" y="354"/>
                    </a:cubicBezTo>
                    <a:cubicBezTo>
                      <a:pt x="2319" y="356"/>
                      <a:pt x="2319" y="356"/>
                      <a:pt x="2319" y="356"/>
                    </a:cubicBezTo>
                    <a:cubicBezTo>
                      <a:pt x="2317" y="357"/>
                      <a:pt x="2317" y="357"/>
                      <a:pt x="2317" y="357"/>
                    </a:cubicBezTo>
                    <a:cubicBezTo>
                      <a:pt x="2310" y="349"/>
                      <a:pt x="2310" y="349"/>
                      <a:pt x="2310" y="349"/>
                    </a:cubicBezTo>
                    <a:cubicBezTo>
                      <a:pt x="2311" y="345"/>
                      <a:pt x="2311" y="345"/>
                      <a:pt x="2311" y="345"/>
                    </a:cubicBezTo>
                    <a:cubicBezTo>
                      <a:pt x="2314" y="345"/>
                      <a:pt x="2314" y="345"/>
                      <a:pt x="2314" y="345"/>
                    </a:cubicBezTo>
                    <a:cubicBezTo>
                      <a:pt x="2313" y="342"/>
                      <a:pt x="2313" y="342"/>
                      <a:pt x="2313" y="342"/>
                    </a:cubicBezTo>
                    <a:cubicBezTo>
                      <a:pt x="2303" y="332"/>
                      <a:pt x="2303" y="332"/>
                      <a:pt x="2303" y="332"/>
                    </a:cubicBezTo>
                    <a:cubicBezTo>
                      <a:pt x="2301" y="332"/>
                      <a:pt x="2301" y="332"/>
                      <a:pt x="2301" y="332"/>
                    </a:cubicBezTo>
                    <a:cubicBezTo>
                      <a:pt x="2302" y="335"/>
                      <a:pt x="2302" y="335"/>
                      <a:pt x="2302" y="335"/>
                    </a:cubicBezTo>
                    <a:cubicBezTo>
                      <a:pt x="2301" y="339"/>
                      <a:pt x="2301" y="339"/>
                      <a:pt x="2301" y="339"/>
                    </a:cubicBezTo>
                    <a:cubicBezTo>
                      <a:pt x="2296" y="340"/>
                      <a:pt x="2296" y="340"/>
                      <a:pt x="2296" y="340"/>
                    </a:cubicBezTo>
                    <a:cubicBezTo>
                      <a:pt x="2291" y="334"/>
                      <a:pt x="2291" y="334"/>
                      <a:pt x="2291" y="334"/>
                    </a:cubicBezTo>
                    <a:cubicBezTo>
                      <a:pt x="2287" y="333"/>
                      <a:pt x="2287" y="333"/>
                      <a:pt x="2287" y="333"/>
                    </a:cubicBezTo>
                    <a:cubicBezTo>
                      <a:pt x="2282" y="325"/>
                      <a:pt x="2282" y="325"/>
                      <a:pt x="2282" y="325"/>
                    </a:cubicBezTo>
                    <a:cubicBezTo>
                      <a:pt x="2282" y="322"/>
                      <a:pt x="2282" y="322"/>
                      <a:pt x="2282" y="322"/>
                    </a:cubicBezTo>
                    <a:cubicBezTo>
                      <a:pt x="2280" y="319"/>
                      <a:pt x="2280" y="319"/>
                      <a:pt x="2280" y="319"/>
                    </a:cubicBezTo>
                    <a:cubicBezTo>
                      <a:pt x="2277" y="320"/>
                      <a:pt x="2277" y="320"/>
                      <a:pt x="2277" y="320"/>
                    </a:cubicBezTo>
                    <a:cubicBezTo>
                      <a:pt x="2271" y="327"/>
                      <a:pt x="2271" y="327"/>
                      <a:pt x="2271" y="327"/>
                    </a:cubicBezTo>
                    <a:cubicBezTo>
                      <a:pt x="2271" y="329"/>
                      <a:pt x="2271" y="329"/>
                      <a:pt x="2271" y="329"/>
                    </a:cubicBezTo>
                    <a:cubicBezTo>
                      <a:pt x="2268" y="328"/>
                      <a:pt x="2268" y="328"/>
                      <a:pt x="2268" y="328"/>
                    </a:cubicBezTo>
                    <a:cubicBezTo>
                      <a:pt x="2266" y="330"/>
                      <a:pt x="2266" y="330"/>
                      <a:pt x="2266" y="330"/>
                    </a:cubicBezTo>
                    <a:cubicBezTo>
                      <a:pt x="2265" y="339"/>
                      <a:pt x="2265" y="339"/>
                      <a:pt x="2265" y="339"/>
                    </a:cubicBezTo>
                    <a:cubicBezTo>
                      <a:pt x="2267" y="341"/>
                      <a:pt x="2267" y="341"/>
                      <a:pt x="2267" y="341"/>
                    </a:cubicBezTo>
                    <a:cubicBezTo>
                      <a:pt x="2264" y="339"/>
                      <a:pt x="2264" y="339"/>
                      <a:pt x="2264" y="339"/>
                    </a:cubicBezTo>
                    <a:cubicBezTo>
                      <a:pt x="2262" y="332"/>
                      <a:pt x="2262" y="332"/>
                      <a:pt x="2262" y="332"/>
                    </a:cubicBezTo>
                    <a:cubicBezTo>
                      <a:pt x="2263" y="325"/>
                      <a:pt x="2263" y="325"/>
                      <a:pt x="2263" y="325"/>
                    </a:cubicBezTo>
                    <a:cubicBezTo>
                      <a:pt x="2257" y="322"/>
                      <a:pt x="2257" y="322"/>
                      <a:pt x="2257" y="322"/>
                    </a:cubicBezTo>
                    <a:cubicBezTo>
                      <a:pt x="2256" y="316"/>
                      <a:pt x="2256" y="316"/>
                      <a:pt x="2256" y="316"/>
                    </a:cubicBezTo>
                    <a:cubicBezTo>
                      <a:pt x="2254" y="316"/>
                      <a:pt x="2254" y="316"/>
                      <a:pt x="2254" y="316"/>
                    </a:cubicBezTo>
                    <a:cubicBezTo>
                      <a:pt x="2257" y="315"/>
                      <a:pt x="2257" y="315"/>
                      <a:pt x="2257" y="315"/>
                    </a:cubicBezTo>
                    <a:cubicBezTo>
                      <a:pt x="2261" y="320"/>
                      <a:pt x="2261" y="320"/>
                      <a:pt x="2261" y="320"/>
                    </a:cubicBezTo>
                    <a:cubicBezTo>
                      <a:pt x="2261" y="316"/>
                      <a:pt x="2261" y="316"/>
                      <a:pt x="2261" y="316"/>
                    </a:cubicBezTo>
                    <a:cubicBezTo>
                      <a:pt x="2265" y="315"/>
                      <a:pt x="2265" y="315"/>
                      <a:pt x="2265" y="315"/>
                    </a:cubicBezTo>
                    <a:cubicBezTo>
                      <a:pt x="2268" y="318"/>
                      <a:pt x="2268" y="318"/>
                      <a:pt x="2268" y="318"/>
                    </a:cubicBezTo>
                    <a:cubicBezTo>
                      <a:pt x="2273" y="314"/>
                      <a:pt x="2273" y="314"/>
                      <a:pt x="2273" y="314"/>
                    </a:cubicBezTo>
                    <a:cubicBezTo>
                      <a:pt x="2271" y="310"/>
                      <a:pt x="2271" y="310"/>
                      <a:pt x="2271" y="310"/>
                    </a:cubicBezTo>
                    <a:cubicBezTo>
                      <a:pt x="2262" y="305"/>
                      <a:pt x="2262" y="305"/>
                      <a:pt x="2262" y="305"/>
                    </a:cubicBezTo>
                    <a:cubicBezTo>
                      <a:pt x="2259" y="310"/>
                      <a:pt x="2259" y="310"/>
                      <a:pt x="2259" y="310"/>
                    </a:cubicBezTo>
                    <a:cubicBezTo>
                      <a:pt x="2254" y="309"/>
                      <a:pt x="2254" y="309"/>
                      <a:pt x="2254" y="309"/>
                    </a:cubicBezTo>
                    <a:cubicBezTo>
                      <a:pt x="2250" y="307"/>
                      <a:pt x="2250" y="307"/>
                      <a:pt x="2250" y="307"/>
                    </a:cubicBezTo>
                    <a:cubicBezTo>
                      <a:pt x="2254" y="307"/>
                      <a:pt x="2254" y="307"/>
                      <a:pt x="2254" y="307"/>
                    </a:cubicBezTo>
                    <a:cubicBezTo>
                      <a:pt x="2257" y="302"/>
                      <a:pt x="2257" y="302"/>
                      <a:pt x="2257" y="302"/>
                    </a:cubicBezTo>
                    <a:cubicBezTo>
                      <a:pt x="2261" y="301"/>
                      <a:pt x="2261" y="301"/>
                      <a:pt x="2261" y="301"/>
                    </a:cubicBezTo>
                    <a:cubicBezTo>
                      <a:pt x="2264" y="303"/>
                      <a:pt x="2264" y="303"/>
                      <a:pt x="2264" y="303"/>
                    </a:cubicBezTo>
                    <a:cubicBezTo>
                      <a:pt x="2268" y="304"/>
                      <a:pt x="2268" y="304"/>
                      <a:pt x="2268" y="304"/>
                    </a:cubicBezTo>
                    <a:cubicBezTo>
                      <a:pt x="2272" y="308"/>
                      <a:pt x="2272" y="308"/>
                      <a:pt x="2272" y="308"/>
                    </a:cubicBezTo>
                    <a:cubicBezTo>
                      <a:pt x="2278" y="314"/>
                      <a:pt x="2278" y="314"/>
                      <a:pt x="2278" y="314"/>
                    </a:cubicBezTo>
                    <a:cubicBezTo>
                      <a:pt x="2282" y="315"/>
                      <a:pt x="2282" y="315"/>
                      <a:pt x="2282" y="315"/>
                    </a:cubicBezTo>
                    <a:cubicBezTo>
                      <a:pt x="2284" y="319"/>
                      <a:pt x="2284" y="319"/>
                      <a:pt x="2284" y="319"/>
                    </a:cubicBezTo>
                    <a:cubicBezTo>
                      <a:pt x="2286" y="320"/>
                      <a:pt x="2286" y="320"/>
                      <a:pt x="2286" y="320"/>
                    </a:cubicBezTo>
                    <a:cubicBezTo>
                      <a:pt x="2290" y="316"/>
                      <a:pt x="2290" y="316"/>
                      <a:pt x="2290" y="316"/>
                    </a:cubicBezTo>
                    <a:cubicBezTo>
                      <a:pt x="2292" y="319"/>
                      <a:pt x="2292" y="319"/>
                      <a:pt x="2292" y="319"/>
                    </a:cubicBezTo>
                    <a:cubicBezTo>
                      <a:pt x="2301" y="312"/>
                      <a:pt x="2301" y="312"/>
                      <a:pt x="2301" y="312"/>
                    </a:cubicBezTo>
                    <a:cubicBezTo>
                      <a:pt x="2302" y="313"/>
                      <a:pt x="2302" y="313"/>
                      <a:pt x="2302" y="313"/>
                    </a:cubicBezTo>
                    <a:cubicBezTo>
                      <a:pt x="2301" y="318"/>
                      <a:pt x="2301" y="318"/>
                      <a:pt x="2301" y="318"/>
                    </a:cubicBezTo>
                    <a:cubicBezTo>
                      <a:pt x="2304" y="315"/>
                      <a:pt x="2304" y="315"/>
                      <a:pt x="2304" y="315"/>
                    </a:cubicBezTo>
                    <a:cubicBezTo>
                      <a:pt x="2304" y="309"/>
                      <a:pt x="2304" y="309"/>
                      <a:pt x="2304" y="309"/>
                    </a:cubicBezTo>
                    <a:cubicBezTo>
                      <a:pt x="2308" y="301"/>
                      <a:pt x="2308" y="301"/>
                      <a:pt x="2308" y="301"/>
                    </a:cubicBezTo>
                    <a:cubicBezTo>
                      <a:pt x="2307" y="298"/>
                      <a:pt x="2307" y="298"/>
                      <a:pt x="2307" y="298"/>
                    </a:cubicBezTo>
                    <a:cubicBezTo>
                      <a:pt x="2307" y="292"/>
                      <a:pt x="2307" y="292"/>
                      <a:pt x="2307" y="292"/>
                    </a:cubicBezTo>
                    <a:cubicBezTo>
                      <a:pt x="2305" y="284"/>
                      <a:pt x="2305" y="284"/>
                      <a:pt x="2305" y="284"/>
                    </a:cubicBezTo>
                    <a:cubicBezTo>
                      <a:pt x="2308" y="270"/>
                      <a:pt x="2308" y="270"/>
                      <a:pt x="2308" y="270"/>
                    </a:cubicBezTo>
                    <a:cubicBezTo>
                      <a:pt x="2308" y="260"/>
                      <a:pt x="2308" y="260"/>
                      <a:pt x="2308" y="260"/>
                    </a:cubicBezTo>
                    <a:cubicBezTo>
                      <a:pt x="2305" y="255"/>
                      <a:pt x="2305" y="255"/>
                      <a:pt x="2305" y="255"/>
                    </a:cubicBezTo>
                    <a:cubicBezTo>
                      <a:pt x="2304" y="250"/>
                      <a:pt x="2304" y="250"/>
                      <a:pt x="2304" y="250"/>
                    </a:cubicBezTo>
                    <a:cubicBezTo>
                      <a:pt x="2298" y="245"/>
                      <a:pt x="2298" y="245"/>
                      <a:pt x="2298" y="245"/>
                    </a:cubicBezTo>
                    <a:cubicBezTo>
                      <a:pt x="2296" y="239"/>
                      <a:pt x="2296" y="239"/>
                      <a:pt x="2296" y="239"/>
                    </a:cubicBezTo>
                    <a:cubicBezTo>
                      <a:pt x="2298" y="239"/>
                      <a:pt x="2298" y="239"/>
                      <a:pt x="2298" y="239"/>
                    </a:cubicBezTo>
                    <a:cubicBezTo>
                      <a:pt x="2301" y="244"/>
                      <a:pt x="2301" y="244"/>
                      <a:pt x="2301" y="244"/>
                    </a:cubicBezTo>
                    <a:cubicBezTo>
                      <a:pt x="2302" y="244"/>
                      <a:pt x="2302" y="244"/>
                      <a:pt x="2302" y="244"/>
                    </a:cubicBezTo>
                    <a:cubicBezTo>
                      <a:pt x="2301" y="238"/>
                      <a:pt x="2301" y="238"/>
                      <a:pt x="2301" y="238"/>
                    </a:cubicBezTo>
                    <a:cubicBezTo>
                      <a:pt x="2296" y="235"/>
                      <a:pt x="2296" y="235"/>
                      <a:pt x="2296" y="235"/>
                    </a:cubicBezTo>
                    <a:cubicBezTo>
                      <a:pt x="2292" y="237"/>
                      <a:pt x="2292" y="237"/>
                      <a:pt x="2292" y="237"/>
                    </a:cubicBezTo>
                    <a:cubicBezTo>
                      <a:pt x="2284" y="235"/>
                      <a:pt x="2284" y="235"/>
                      <a:pt x="2284" y="235"/>
                    </a:cubicBezTo>
                    <a:cubicBezTo>
                      <a:pt x="2274" y="220"/>
                      <a:pt x="2274" y="220"/>
                      <a:pt x="2274" y="220"/>
                    </a:cubicBezTo>
                    <a:cubicBezTo>
                      <a:pt x="2272" y="219"/>
                      <a:pt x="2272" y="219"/>
                      <a:pt x="2272" y="219"/>
                    </a:cubicBezTo>
                    <a:cubicBezTo>
                      <a:pt x="2272" y="216"/>
                      <a:pt x="2272" y="216"/>
                      <a:pt x="2272" y="216"/>
                    </a:cubicBezTo>
                    <a:cubicBezTo>
                      <a:pt x="2278" y="216"/>
                      <a:pt x="2278" y="216"/>
                      <a:pt x="2278" y="216"/>
                    </a:cubicBezTo>
                    <a:cubicBezTo>
                      <a:pt x="2279" y="211"/>
                      <a:pt x="2279" y="211"/>
                      <a:pt x="2279" y="211"/>
                    </a:cubicBezTo>
                    <a:cubicBezTo>
                      <a:pt x="2277" y="207"/>
                      <a:pt x="2277" y="207"/>
                      <a:pt x="2277" y="207"/>
                    </a:cubicBezTo>
                    <a:cubicBezTo>
                      <a:pt x="2272" y="207"/>
                      <a:pt x="2272" y="207"/>
                      <a:pt x="2272" y="207"/>
                    </a:cubicBezTo>
                    <a:cubicBezTo>
                      <a:pt x="2271" y="206"/>
                      <a:pt x="2271" y="206"/>
                      <a:pt x="2271" y="206"/>
                    </a:cubicBezTo>
                    <a:cubicBezTo>
                      <a:pt x="2273" y="203"/>
                      <a:pt x="2273" y="203"/>
                      <a:pt x="2273" y="203"/>
                    </a:cubicBezTo>
                    <a:cubicBezTo>
                      <a:pt x="2271" y="198"/>
                      <a:pt x="2271" y="198"/>
                      <a:pt x="2271" y="198"/>
                    </a:cubicBezTo>
                    <a:cubicBezTo>
                      <a:pt x="2272" y="197"/>
                      <a:pt x="2272" y="197"/>
                      <a:pt x="2272" y="197"/>
                    </a:cubicBezTo>
                    <a:cubicBezTo>
                      <a:pt x="2276" y="203"/>
                      <a:pt x="2276" y="203"/>
                      <a:pt x="2276" y="203"/>
                    </a:cubicBezTo>
                    <a:cubicBezTo>
                      <a:pt x="2282" y="207"/>
                      <a:pt x="2282" y="207"/>
                      <a:pt x="2282" y="207"/>
                    </a:cubicBezTo>
                    <a:cubicBezTo>
                      <a:pt x="2283" y="204"/>
                      <a:pt x="2283" y="204"/>
                      <a:pt x="2283" y="204"/>
                    </a:cubicBezTo>
                    <a:cubicBezTo>
                      <a:pt x="2280" y="201"/>
                      <a:pt x="2280" y="201"/>
                      <a:pt x="2280" y="201"/>
                    </a:cubicBezTo>
                    <a:cubicBezTo>
                      <a:pt x="2281" y="197"/>
                      <a:pt x="2281" y="197"/>
                      <a:pt x="2281" y="197"/>
                    </a:cubicBezTo>
                    <a:cubicBezTo>
                      <a:pt x="2279" y="194"/>
                      <a:pt x="2279" y="194"/>
                      <a:pt x="2279" y="194"/>
                    </a:cubicBezTo>
                    <a:cubicBezTo>
                      <a:pt x="2281" y="192"/>
                      <a:pt x="2281" y="192"/>
                      <a:pt x="2281" y="192"/>
                    </a:cubicBezTo>
                    <a:cubicBezTo>
                      <a:pt x="2283" y="194"/>
                      <a:pt x="2283" y="194"/>
                      <a:pt x="2283" y="194"/>
                    </a:cubicBezTo>
                    <a:cubicBezTo>
                      <a:pt x="2285" y="197"/>
                      <a:pt x="2285" y="197"/>
                      <a:pt x="2285" y="197"/>
                    </a:cubicBezTo>
                    <a:cubicBezTo>
                      <a:pt x="2288" y="199"/>
                      <a:pt x="2288" y="199"/>
                      <a:pt x="2288" y="199"/>
                    </a:cubicBezTo>
                    <a:cubicBezTo>
                      <a:pt x="2289" y="209"/>
                      <a:pt x="2289" y="209"/>
                      <a:pt x="2289" y="209"/>
                    </a:cubicBezTo>
                    <a:cubicBezTo>
                      <a:pt x="2289" y="213"/>
                      <a:pt x="2289" y="213"/>
                      <a:pt x="2289" y="213"/>
                    </a:cubicBezTo>
                    <a:cubicBezTo>
                      <a:pt x="2298" y="221"/>
                      <a:pt x="2298" y="221"/>
                      <a:pt x="2298" y="221"/>
                    </a:cubicBezTo>
                    <a:cubicBezTo>
                      <a:pt x="2301" y="219"/>
                      <a:pt x="2301" y="219"/>
                      <a:pt x="2301" y="219"/>
                    </a:cubicBezTo>
                    <a:cubicBezTo>
                      <a:pt x="2305" y="221"/>
                      <a:pt x="2305" y="221"/>
                      <a:pt x="2305" y="221"/>
                    </a:cubicBezTo>
                    <a:cubicBezTo>
                      <a:pt x="2305" y="228"/>
                      <a:pt x="2305" y="228"/>
                      <a:pt x="2305" y="228"/>
                    </a:cubicBezTo>
                    <a:cubicBezTo>
                      <a:pt x="2308" y="228"/>
                      <a:pt x="2308" y="228"/>
                      <a:pt x="2308" y="228"/>
                    </a:cubicBezTo>
                    <a:cubicBezTo>
                      <a:pt x="2315" y="217"/>
                      <a:pt x="2315" y="217"/>
                      <a:pt x="2315" y="217"/>
                    </a:cubicBezTo>
                    <a:cubicBezTo>
                      <a:pt x="2316" y="212"/>
                      <a:pt x="2316" y="212"/>
                      <a:pt x="2316" y="212"/>
                    </a:cubicBezTo>
                    <a:cubicBezTo>
                      <a:pt x="2315" y="207"/>
                      <a:pt x="2315" y="207"/>
                      <a:pt x="2315" y="207"/>
                    </a:cubicBezTo>
                    <a:cubicBezTo>
                      <a:pt x="2315" y="198"/>
                      <a:pt x="2315" y="198"/>
                      <a:pt x="2315" y="198"/>
                    </a:cubicBezTo>
                    <a:cubicBezTo>
                      <a:pt x="2314" y="194"/>
                      <a:pt x="2314" y="194"/>
                      <a:pt x="2314" y="194"/>
                    </a:cubicBezTo>
                    <a:cubicBezTo>
                      <a:pt x="2316" y="199"/>
                      <a:pt x="2316" y="199"/>
                      <a:pt x="2316" y="199"/>
                    </a:cubicBezTo>
                    <a:cubicBezTo>
                      <a:pt x="2317" y="204"/>
                      <a:pt x="2317" y="204"/>
                      <a:pt x="2317" y="204"/>
                    </a:cubicBezTo>
                    <a:cubicBezTo>
                      <a:pt x="2319" y="204"/>
                      <a:pt x="2319" y="204"/>
                      <a:pt x="2319" y="204"/>
                    </a:cubicBezTo>
                    <a:cubicBezTo>
                      <a:pt x="2322" y="200"/>
                      <a:pt x="2322" y="200"/>
                      <a:pt x="2322" y="200"/>
                    </a:cubicBezTo>
                    <a:cubicBezTo>
                      <a:pt x="2328" y="198"/>
                      <a:pt x="2328" y="198"/>
                      <a:pt x="2328" y="198"/>
                    </a:cubicBezTo>
                    <a:cubicBezTo>
                      <a:pt x="2329" y="193"/>
                      <a:pt x="2329" y="193"/>
                      <a:pt x="2329" y="193"/>
                    </a:cubicBezTo>
                    <a:cubicBezTo>
                      <a:pt x="2335" y="196"/>
                      <a:pt x="2335" y="196"/>
                      <a:pt x="2335" y="196"/>
                    </a:cubicBezTo>
                    <a:cubicBezTo>
                      <a:pt x="2334" y="197"/>
                      <a:pt x="2334" y="197"/>
                      <a:pt x="2334" y="197"/>
                    </a:cubicBezTo>
                    <a:cubicBezTo>
                      <a:pt x="2335" y="199"/>
                      <a:pt x="2335" y="199"/>
                      <a:pt x="2335" y="199"/>
                    </a:cubicBezTo>
                    <a:cubicBezTo>
                      <a:pt x="2344" y="207"/>
                      <a:pt x="2344" y="207"/>
                      <a:pt x="2344" y="207"/>
                    </a:cubicBezTo>
                    <a:cubicBezTo>
                      <a:pt x="2346" y="208"/>
                      <a:pt x="2346" y="208"/>
                      <a:pt x="2346" y="208"/>
                    </a:cubicBezTo>
                    <a:cubicBezTo>
                      <a:pt x="2347" y="213"/>
                      <a:pt x="2347" y="213"/>
                      <a:pt x="2347" y="213"/>
                    </a:cubicBezTo>
                    <a:cubicBezTo>
                      <a:pt x="2347" y="216"/>
                      <a:pt x="2347" y="216"/>
                      <a:pt x="2347" y="216"/>
                    </a:cubicBezTo>
                    <a:cubicBezTo>
                      <a:pt x="2349" y="217"/>
                      <a:pt x="2349" y="217"/>
                      <a:pt x="2349" y="217"/>
                    </a:cubicBezTo>
                    <a:cubicBezTo>
                      <a:pt x="2356" y="215"/>
                      <a:pt x="2356" y="215"/>
                      <a:pt x="2356" y="215"/>
                    </a:cubicBezTo>
                    <a:cubicBezTo>
                      <a:pt x="2358" y="216"/>
                      <a:pt x="2358" y="216"/>
                      <a:pt x="2358" y="216"/>
                    </a:cubicBezTo>
                    <a:cubicBezTo>
                      <a:pt x="2358" y="218"/>
                      <a:pt x="2358" y="218"/>
                      <a:pt x="2358" y="218"/>
                    </a:cubicBezTo>
                    <a:cubicBezTo>
                      <a:pt x="2359" y="218"/>
                      <a:pt x="2359" y="218"/>
                      <a:pt x="2359" y="218"/>
                    </a:cubicBezTo>
                    <a:cubicBezTo>
                      <a:pt x="2362" y="214"/>
                      <a:pt x="2362" y="214"/>
                      <a:pt x="2362" y="214"/>
                    </a:cubicBezTo>
                    <a:cubicBezTo>
                      <a:pt x="2360" y="211"/>
                      <a:pt x="2360" y="211"/>
                      <a:pt x="2360" y="211"/>
                    </a:cubicBezTo>
                    <a:cubicBezTo>
                      <a:pt x="2361" y="209"/>
                      <a:pt x="2361" y="209"/>
                      <a:pt x="2361" y="209"/>
                    </a:cubicBezTo>
                    <a:cubicBezTo>
                      <a:pt x="2363" y="209"/>
                      <a:pt x="2363" y="209"/>
                      <a:pt x="2363" y="209"/>
                    </a:cubicBezTo>
                    <a:cubicBezTo>
                      <a:pt x="2362" y="204"/>
                      <a:pt x="2362" y="204"/>
                      <a:pt x="2362" y="204"/>
                    </a:cubicBezTo>
                    <a:cubicBezTo>
                      <a:pt x="2365" y="204"/>
                      <a:pt x="2365" y="204"/>
                      <a:pt x="2365" y="204"/>
                    </a:cubicBezTo>
                    <a:cubicBezTo>
                      <a:pt x="2366" y="207"/>
                      <a:pt x="2366" y="207"/>
                      <a:pt x="2366" y="207"/>
                    </a:cubicBezTo>
                    <a:cubicBezTo>
                      <a:pt x="2365" y="210"/>
                      <a:pt x="2365" y="210"/>
                      <a:pt x="2365" y="210"/>
                    </a:cubicBezTo>
                    <a:cubicBezTo>
                      <a:pt x="2369" y="210"/>
                      <a:pt x="2369" y="210"/>
                      <a:pt x="2369" y="210"/>
                    </a:cubicBezTo>
                    <a:cubicBezTo>
                      <a:pt x="2372" y="208"/>
                      <a:pt x="2372" y="208"/>
                      <a:pt x="2372" y="208"/>
                    </a:cubicBezTo>
                    <a:cubicBezTo>
                      <a:pt x="2380" y="209"/>
                      <a:pt x="2380" y="209"/>
                      <a:pt x="2380" y="209"/>
                    </a:cubicBezTo>
                    <a:cubicBezTo>
                      <a:pt x="2383" y="211"/>
                      <a:pt x="2383" y="211"/>
                      <a:pt x="2383" y="211"/>
                    </a:cubicBezTo>
                    <a:cubicBezTo>
                      <a:pt x="2386" y="210"/>
                      <a:pt x="2386" y="210"/>
                      <a:pt x="2386" y="210"/>
                    </a:cubicBezTo>
                    <a:cubicBezTo>
                      <a:pt x="2387" y="212"/>
                      <a:pt x="2387" y="212"/>
                      <a:pt x="2387" y="212"/>
                    </a:cubicBezTo>
                    <a:cubicBezTo>
                      <a:pt x="2388" y="213"/>
                      <a:pt x="2388" y="213"/>
                      <a:pt x="2388" y="213"/>
                    </a:cubicBezTo>
                    <a:cubicBezTo>
                      <a:pt x="2391" y="209"/>
                      <a:pt x="2391" y="209"/>
                      <a:pt x="2391" y="209"/>
                    </a:cubicBezTo>
                    <a:cubicBezTo>
                      <a:pt x="2389" y="201"/>
                      <a:pt x="2389" y="201"/>
                      <a:pt x="2389" y="201"/>
                    </a:cubicBezTo>
                    <a:cubicBezTo>
                      <a:pt x="2390" y="202"/>
                      <a:pt x="2390" y="202"/>
                      <a:pt x="2390" y="202"/>
                    </a:cubicBezTo>
                    <a:cubicBezTo>
                      <a:pt x="2394" y="209"/>
                      <a:pt x="2394" y="209"/>
                      <a:pt x="2394" y="209"/>
                    </a:cubicBezTo>
                    <a:cubicBezTo>
                      <a:pt x="2400" y="207"/>
                      <a:pt x="2400" y="207"/>
                      <a:pt x="2400" y="207"/>
                    </a:cubicBezTo>
                    <a:cubicBezTo>
                      <a:pt x="2400" y="204"/>
                      <a:pt x="2400" y="204"/>
                      <a:pt x="2400" y="204"/>
                    </a:cubicBezTo>
                    <a:lnTo>
                      <a:pt x="2397" y="198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2" name="Freeform 111">
                <a:extLst>
                  <a:ext uri="{FF2B5EF4-FFF2-40B4-BE49-F238E27FC236}">
                    <a16:creationId xmlns:a16="http://schemas.microsoft.com/office/drawing/2014/main" id="{D57FDE70-908D-40F8-A5E1-AB02505EAF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42376" y="2984500"/>
                <a:ext cx="6350" cy="7938"/>
              </a:xfrm>
              <a:custGeom>
                <a:avLst/>
                <a:gdLst>
                  <a:gd name="T0" fmla="*/ 0 w 4"/>
                  <a:gd name="T1" fmla="*/ 4 h 5"/>
                  <a:gd name="T2" fmla="*/ 1 w 4"/>
                  <a:gd name="T3" fmla="*/ 5 h 5"/>
                  <a:gd name="T4" fmla="*/ 4 w 4"/>
                  <a:gd name="T5" fmla="*/ 3 h 5"/>
                  <a:gd name="T6" fmla="*/ 4 w 4"/>
                  <a:gd name="T7" fmla="*/ 0 h 5"/>
                  <a:gd name="T8" fmla="*/ 2 w 4"/>
                  <a:gd name="T9" fmla="*/ 1 h 5"/>
                  <a:gd name="T10" fmla="*/ 0 w 4"/>
                  <a:gd name="T11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0" y="4"/>
                    </a:moveTo>
                    <a:lnTo>
                      <a:pt x="1" y="5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3" name="Freeform 112">
                <a:extLst>
                  <a:ext uri="{FF2B5EF4-FFF2-40B4-BE49-F238E27FC236}">
                    <a16:creationId xmlns:a16="http://schemas.microsoft.com/office/drawing/2014/main" id="{5C10A4F8-21FF-48D1-8914-836430F47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29689" y="2809875"/>
                <a:ext cx="3175" cy="3175"/>
              </a:xfrm>
              <a:custGeom>
                <a:avLst/>
                <a:gdLst>
                  <a:gd name="T0" fmla="*/ 1 w 2"/>
                  <a:gd name="T1" fmla="*/ 2 h 2"/>
                  <a:gd name="T2" fmla="*/ 2 w 2"/>
                  <a:gd name="T3" fmla="*/ 0 h 2"/>
                  <a:gd name="T4" fmla="*/ 0 w 2"/>
                  <a:gd name="T5" fmla="*/ 0 h 2"/>
                  <a:gd name="T6" fmla="*/ 1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1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4" name="Freeform 113">
                <a:extLst>
                  <a:ext uri="{FF2B5EF4-FFF2-40B4-BE49-F238E27FC236}">
                    <a16:creationId xmlns:a16="http://schemas.microsoft.com/office/drawing/2014/main" id="{1E21EA10-B221-4104-B9F5-7432C053FE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31276" y="2782888"/>
                <a:ext cx="3175" cy="3175"/>
              </a:xfrm>
              <a:custGeom>
                <a:avLst/>
                <a:gdLst>
                  <a:gd name="T0" fmla="*/ 0 w 2"/>
                  <a:gd name="T1" fmla="*/ 1 h 2"/>
                  <a:gd name="T2" fmla="*/ 1 w 2"/>
                  <a:gd name="T3" fmla="*/ 2 h 2"/>
                  <a:gd name="T4" fmla="*/ 2 w 2"/>
                  <a:gd name="T5" fmla="*/ 2 h 2"/>
                  <a:gd name="T6" fmla="*/ 1 w 2"/>
                  <a:gd name="T7" fmla="*/ 0 h 2"/>
                  <a:gd name="T8" fmla="*/ 0 w 2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lnTo>
                      <a:pt x="1" y="2"/>
                    </a:lnTo>
                    <a:lnTo>
                      <a:pt x="2" y="2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5" name="Freeform 114">
                <a:extLst>
                  <a:ext uri="{FF2B5EF4-FFF2-40B4-BE49-F238E27FC236}">
                    <a16:creationId xmlns:a16="http://schemas.microsoft.com/office/drawing/2014/main" id="{D23C8E48-E035-46E5-9E4B-0D411F66E4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91539" y="2511425"/>
                <a:ext cx="20638" cy="22225"/>
              </a:xfrm>
              <a:custGeom>
                <a:avLst/>
                <a:gdLst>
                  <a:gd name="T0" fmla="*/ 9 w 13"/>
                  <a:gd name="T1" fmla="*/ 2 h 14"/>
                  <a:gd name="T2" fmla="*/ 8 w 13"/>
                  <a:gd name="T3" fmla="*/ 1 h 14"/>
                  <a:gd name="T4" fmla="*/ 6 w 13"/>
                  <a:gd name="T5" fmla="*/ 2 h 14"/>
                  <a:gd name="T6" fmla="*/ 4 w 13"/>
                  <a:gd name="T7" fmla="*/ 0 h 14"/>
                  <a:gd name="T8" fmla="*/ 2 w 13"/>
                  <a:gd name="T9" fmla="*/ 2 h 14"/>
                  <a:gd name="T10" fmla="*/ 1 w 13"/>
                  <a:gd name="T11" fmla="*/ 5 h 14"/>
                  <a:gd name="T12" fmla="*/ 0 w 13"/>
                  <a:gd name="T13" fmla="*/ 7 h 14"/>
                  <a:gd name="T14" fmla="*/ 0 w 13"/>
                  <a:gd name="T15" fmla="*/ 10 h 14"/>
                  <a:gd name="T16" fmla="*/ 2 w 13"/>
                  <a:gd name="T17" fmla="*/ 14 h 14"/>
                  <a:gd name="T18" fmla="*/ 3 w 13"/>
                  <a:gd name="T19" fmla="*/ 14 h 14"/>
                  <a:gd name="T20" fmla="*/ 3 w 13"/>
                  <a:gd name="T21" fmla="*/ 12 h 14"/>
                  <a:gd name="T22" fmla="*/ 4 w 13"/>
                  <a:gd name="T23" fmla="*/ 11 h 14"/>
                  <a:gd name="T24" fmla="*/ 5 w 13"/>
                  <a:gd name="T25" fmla="*/ 11 h 14"/>
                  <a:gd name="T26" fmla="*/ 7 w 13"/>
                  <a:gd name="T27" fmla="*/ 14 h 14"/>
                  <a:gd name="T28" fmla="*/ 9 w 13"/>
                  <a:gd name="T29" fmla="*/ 14 h 14"/>
                  <a:gd name="T30" fmla="*/ 11 w 13"/>
                  <a:gd name="T31" fmla="*/ 13 h 14"/>
                  <a:gd name="T32" fmla="*/ 11 w 13"/>
                  <a:gd name="T33" fmla="*/ 11 h 14"/>
                  <a:gd name="T34" fmla="*/ 11 w 13"/>
                  <a:gd name="T35" fmla="*/ 9 h 14"/>
                  <a:gd name="T36" fmla="*/ 11 w 13"/>
                  <a:gd name="T37" fmla="*/ 7 h 14"/>
                  <a:gd name="T38" fmla="*/ 12 w 13"/>
                  <a:gd name="T39" fmla="*/ 5 h 14"/>
                  <a:gd name="T40" fmla="*/ 13 w 13"/>
                  <a:gd name="T41" fmla="*/ 4 h 14"/>
                  <a:gd name="T42" fmla="*/ 11 w 13"/>
                  <a:gd name="T43" fmla="*/ 4 h 14"/>
                  <a:gd name="T44" fmla="*/ 10 w 13"/>
                  <a:gd name="T45" fmla="*/ 5 h 14"/>
                  <a:gd name="T46" fmla="*/ 8 w 13"/>
                  <a:gd name="T47" fmla="*/ 6 h 14"/>
                  <a:gd name="T48" fmla="*/ 8 w 13"/>
                  <a:gd name="T49" fmla="*/ 5 h 14"/>
                  <a:gd name="T50" fmla="*/ 9 w 13"/>
                  <a:gd name="T51" fmla="*/ 3 h 14"/>
                  <a:gd name="T52" fmla="*/ 9 w 13"/>
                  <a:gd name="T53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3" h="14">
                    <a:moveTo>
                      <a:pt x="9" y="2"/>
                    </a:moveTo>
                    <a:lnTo>
                      <a:pt x="8" y="1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3" y="14"/>
                    </a:lnTo>
                    <a:lnTo>
                      <a:pt x="3" y="12"/>
                    </a:lnTo>
                    <a:lnTo>
                      <a:pt x="4" y="11"/>
                    </a:lnTo>
                    <a:lnTo>
                      <a:pt x="5" y="11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11" y="13"/>
                    </a:lnTo>
                    <a:lnTo>
                      <a:pt x="11" y="11"/>
                    </a:lnTo>
                    <a:lnTo>
                      <a:pt x="11" y="9"/>
                    </a:lnTo>
                    <a:lnTo>
                      <a:pt x="11" y="7"/>
                    </a:lnTo>
                    <a:lnTo>
                      <a:pt x="12" y="5"/>
                    </a:lnTo>
                    <a:lnTo>
                      <a:pt x="13" y="4"/>
                    </a:lnTo>
                    <a:lnTo>
                      <a:pt x="11" y="4"/>
                    </a:lnTo>
                    <a:lnTo>
                      <a:pt x="10" y="5"/>
                    </a:lnTo>
                    <a:lnTo>
                      <a:pt x="8" y="6"/>
                    </a:lnTo>
                    <a:lnTo>
                      <a:pt x="8" y="5"/>
                    </a:lnTo>
                    <a:lnTo>
                      <a:pt x="9" y="3"/>
                    </a:lnTo>
                    <a:lnTo>
                      <a:pt x="9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6" name="Freeform 115">
                <a:extLst>
                  <a:ext uri="{FF2B5EF4-FFF2-40B4-BE49-F238E27FC236}">
                    <a16:creationId xmlns:a16="http://schemas.microsoft.com/office/drawing/2014/main" id="{E5F3C9EC-89DA-4ACB-95EB-17899806A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21751" y="2830513"/>
                <a:ext cx="3175" cy="11113"/>
              </a:xfrm>
              <a:custGeom>
                <a:avLst/>
                <a:gdLst>
                  <a:gd name="T0" fmla="*/ 1 w 2"/>
                  <a:gd name="T1" fmla="*/ 6 h 7"/>
                  <a:gd name="T2" fmla="*/ 2 w 2"/>
                  <a:gd name="T3" fmla="*/ 0 h 7"/>
                  <a:gd name="T4" fmla="*/ 1 w 2"/>
                  <a:gd name="T5" fmla="*/ 0 h 7"/>
                  <a:gd name="T6" fmla="*/ 0 w 2"/>
                  <a:gd name="T7" fmla="*/ 3 h 7"/>
                  <a:gd name="T8" fmla="*/ 0 w 2"/>
                  <a:gd name="T9" fmla="*/ 6 h 7"/>
                  <a:gd name="T10" fmla="*/ 0 w 2"/>
                  <a:gd name="T11" fmla="*/ 7 h 7"/>
                  <a:gd name="T12" fmla="*/ 1 w 2"/>
                  <a:gd name="T1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7">
                    <a:moveTo>
                      <a:pt x="1" y="6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1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7" name="Freeform 116">
                <a:extLst>
                  <a:ext uri="{FF2B5EF4-FFF2-40B4-BE49-F238E27FC236}">
                    <a16:creationId xmlns:a16="http://schemas.microsoft.com/office/drawing/2014/main" id="{77C38089-CC2A-4720-B538-F4F657A935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29689" y="2798763"/>
                <a:ext cx="3175" cy="7938"/>
              </a:xfrm>
              <a:custGeom>
                <a:avLst/>
                <a:gdLst>
                  <a:gd name="T0" fmla="*/ 1 w 2"/>
                  <a:gd name="T1" fmla="*/ 5 h 5"/>
                  <a:gd name="T2" fmla="*/ 2 w 2"/>
                  <a:gd name="T3" fmla="*/ 2 h 5"/>
                  <a:gd name="T4" fmla="*/ 1 w 2"/>
                  <a:gd name="T5" fmla="*/ 0 h 5"/>
                  <a:gd name="T6" fmla="*/ 0 w 2"/>
                  <a:gd name="T7" fmla="*/ 2 h 5"/>
                  <a:gd name="T8" fmla="*/ 1 w 2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5">
                    <a:moveTo>
                      <a:pt x="1" y="5"/>
                    </a:moveTo>
                    <a:lnTo>
                      <a:pt x="2" y="2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1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8" name="Freeform 117">
                <a:extLst>
                  <a:ext uri="{FF2B5EF4-FFF2-40B4-BE49-F238E27FC236}">
                    <a16:creationId xmlns:a16="http://schemas.microsoft.com/office/drawing/2014/main" id="{9003D769-9C7F-40F2-82EC-8847F76518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04239" y="2551113"/>
                <a:ext cx="9525" cy="15875"/>
              </a:xfrm>
              <a:custGeom>
                <a:avLst/>
                <a:gdLst>
                  <a:gd name="T0" fmla="*/ 2 w 6"/>
                  <a:gd name="T1" fmla="*/ 1 h 10"/>
                  <a:gd name="T2" fmla="*/ 0 w 6"/>
                  <a:gd name="T3" fmla="*/ 5 h 10"/>
                  <a:gd name="T4" fmla="*/ 0 w 6"/>
                  <a:gd name="T5" fmla="*/ 8 h 10"/>
                  <a:gd name="T6" fmla="*/ 2 w 6"/>
                  <a:gd name="T7" fmla="*/ 10 h 10"/>
                  <a:gd name="T8" fmla="*/ 3 w 6"/>
                  <a:gd name="T9" fmla="*/ 6 h 10"/>
                  <a:gd name="T10" fmla="*/ 5 w 6"/>
                  <a:gd name="T11" fmla="*/ 6 h 10"/>
                  <a:gd name="T12" fmla="*/ 6 w 6"/>
                  <a:gd name="T13" fmla="*/ 3 h 10"/>
                  <a:gd name="T14" fmla="*/ 5 w 6"/>
                  <a:gd name="T15" fmla="*/ 2 h 10"/>
                  <a:gd name="T16" fmla="*/ 6 w 6"/>
                  <a:gd name="T17" fmla="*/ 0 h 10"/>
                  <a:gd name="T18" fmla="*/ 2 w 6"/>
                  <a:gd name="T1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10">
                    <a:moveTo>
                      <a:pt x="2" y="1"/>
                    </a:moveTo>
                    <a:lnTo>
                      <a:pt x="0" y="5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3" y="6"/>
                    </a:lnTo>
                    <a:lnTo>
                      <a:pt x="5" y="6"/>
                    </a:lnTo>
                    <a:lnTo>
                      <a:pt x="6" y="3"/>
                    </a:lnTo>
                    <a:lnTo>
                      <a:pt x="5" y="2"/>
                    </a:lnTo>
                    <a:lnTo>
                      <a:pt x="6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9" name="Freeform 118">
                <a:extLst>
                  <a:ext uri="{FF2B5EF4-FFF2-40B4-BE49-F238E27FC236}">
                    <a16:creationId xmlns:a16="http://schemas.microsoft.com/office/drawing/2014/main" id="{AC703889-E636-463A-B396-284B48828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32864" y="2643188"/>
                <a:ext cx="7938" cy="7938"/>
              </a:xfrm>
              <a:custGeom>
                <a:avLst/>
                <a:gdLst>
                  <a:gd name="T0" fmla="*/ 0 w 5"/>
                  <a:gd name="T1" fmla="*/ 1 h 5"/>
                  <a:gd name="T2" fmla="*/ 0 w 5"/>
                  <a:gd name="T3" fmla="*/ 4 h 5"/>
                  <a:gd name="T4" fmla="*/ 2 w 5"/>
                  <a:gd name="T5" fmla="*/ 5 h 5"/>
                  <a:gd name="T6" fmla="*/ 4 w 5"/>
                  <a:gd name="T7" fmla="*/ 5 h 5"/>
                  <a:gd name="T8" fmla="*/ 5 w 5"/>
                  <a:gd name="T9" fmla="*/ 3 h 5"/>
                  <a:gd name="T10" fmla="*/ 3 w 5"/>
                  <a:gd name="T11" fmla="*/ 0 h 5"/>
                  <a:gd name="T12" fmla="*/ 0 w 5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5">
                    <a:moveTo>
                      <a:pt x="0" y="1"/>
                    </a:moveTo>
                    <a:lnTo>
                      <a:pt x="0" y="4"/>
                    </a:lnTo>
                    <a:lnTo>
                      <a:pt x="2" y="5"/>
                    </a:lnTo>
                    <a:lnTo>
                      <a:pt x="4" y="5"/>
                    </a:lnTo>
                    <a:lnTo>
                      <a:pt x="5" y="3"/>
                    </a:lnTo>
                    <a:lnTo>
                      <a:pt x="3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0" name="Freeform 119">
                <a:extLst>
                  <a:ext uri="{FF2B5EF4-FFF2-40B4-BE49-F238E27FC236}">
                    <a16:creationId xmlns:a16="http://schemas.microsoft.com/office/drawing/2014/main" id="{1F82574C-01B0-459A-9C5A-7231E7F97C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63014" y="2030413"/>
                <a:ext cx="3175" cy="7938"/>
              </a:xfrm>
              <a:custGeom>
                <a:avLst/>
                <a:gdLst>
                  <a:gd name="T0" fmla="*/ 0 w 2"/>
                  <a:gd name="T1" fmla="*/ 2 h 5"/>
                  <a:gd name="T2" fmla="*/ 2 w 2"/>
                  <a:gd name="T3" fmla="*/ 5 h 5"/>
                  <a:gd name="T4" fmla="*/ 2 w 2"/>
                  <a:gd name="T5" fmla="*/ 3 h 5"/>
                  <a:gd name="T6" fmla="*/ 2 w 2"/>
                  <a:gd name="T7" fmla="*/ 1 h 5"/>
                  <a:gd name="T8" fmla="*/ 2 w 2"/>
                  <a:gd name="T9" fmla="*/ 0 h 5"/>
                  <a:gd name="T10" fmla="*/ 2 w 2"/>
                  <a:gd name="T11" fmla="*/ 1 h 5"/>
                  <a:gd name="T12" fmla="*/ 0 w 2"/>
                  <a:gd name="T13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5">
                    <a:moveTo>
                      <a:pt x="0" y="2"/>
                    </a:moveTo>
                    <a:lnTo>
                      <a:pt x="2" y="5"/>
                    </a:lnTo>
                    <a:lnTo>
                      <a:pt x="2" y="3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1" name="Freeform 120">
                <a:extLst>
                  <a:ext uri="{FF2B5EF4-FFF2-40B4-BE49-F238E27FC236}">
                    <a16:creationId xmlns:a16="http://schemas.microsoft.com/office/drawing/2014/main" id="{FC8CC68F-CA94-4616-8634-7FF0CD048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59839" y="2019300"/>
                <a:ext cx="6350" cy="7938"/>
              </a:xfrm>
              <a:custGeom>
                <a:avLst/>
                <a:gdLst>
                  <a:gd name="T0" fmla="*/ 0 w 4"/>
                  <a:gd name="T1" fmla="*/ 0 h 5"/>
                  <a:gd name="T2" fmla="*/ 0 w 4"/>
                  <a:gd name="T3" fmla="*/ 2 h 5"/>
                  <a:gd name="T4" fmla="*/ 2 w 4"/>
                  <a:gd name="T5" fmla="*/ 5 h 5"/>
                  <a:gd name="T6" fmla="*/ 4 w 4"/>
                  <a:gd name="T7" fmla="*/ 4 h 5"/>
                  <a:gd name="T8" fmla="*/ 4 w 4"/>
                  <a:gd name="T9" fmla="*/ 3 h 5"/>
                  <a:gd name="T10" fmla="*/ 2 w 4"/>
                  <a:gd name="T11" fmla="*/ 0 h 5"/>
                  <a:gd name="T12" fmla="*/ 0 w 4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5">
                    <a:moveTo>
                      <a:pt x="0" y="0"/>
                    </a:moveTo>
                    <a:lnTo>
                      <a:pt x="0" y="2"/>
                    </a:lnTo>
                    <a:lnTo>
                      <a:pt x="2" y="5"/>
                    </a:lnTo>
                    <a:lnTo>
                      <a:pt x="4" y="4"/>
                    </a:lnTo>
                    <a:lnTo>
                      <a:pt x="4" y="3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2" name="Freeform 121">
                <a:extLst>
                  <a:ext uri="{FF2B5EF4-FFF2-40B4-BE49-F238E27FC236}">
                    <a16:creationId xmlns:a16="http://schemas.microsoft.com/office/drawing/2014/main" id="{073BA497-7566-471D-AD0F-BF43E68CD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32864" y="2738438"/>
                <a:ext cx="4763" cy="3175"/>
              </a:xfrm>
              <a:custGeom>
                <a:avLst/>
                <a:gdLst>
                  <a:gd name="T0" fmla="*/ 2 w 3"/>
                  <a:gd name="T1" fmla="*/ 2 h 2"/>
                  <a:gd name="T2" fmla="*/ 3 w 3"/>
                  <a:gd name="T3" fmla="*/ 2 h 2"/>
                  <a:gd name="T4" fmla="*/ 2 w 3"/>
                  <a:gd name="T5" fmla="*/ 0 h 2"/>
                  <a:gd name="T6" fmla="*/ 0 w 3"/>
                  <a:gd name="T7" fmla="*/ 0 h 2"/>
                  <a:gd name="T8" fmla="*/ 0 w 3"/>
                  <a:gd name="T9" fmla="*/ 1 h 2"/>
                  <a:gd name="T10" fmla="*/ 2 w 3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lnTo>
                      <a:pt x="3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3" name="Freeform 122">
                <a:extLst>
                  <a:ext uri="{FF2B5EF4-FFF2-40B4-BE49-F238E27FC236}">
                    <a16:creationId xmlns:a16="http://schemas.microsoft.com/office/drawing/2014/main" id="{0780F781-2765-4D78-A901-3D91C61CF7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77251" y="2516188"/>
                <a:ext cx="9525" cy="12700"/>
              </a:xfrm>
              <a:custGeom>
                <a:avLst/>
                <a:gdLst>
                  <a:gd name="T0" fmla="*/ 6 w 6"/>
                  <a:gd name="T1" fmla="*/ 0 h 8"/>
                  <a:gd name="T2" fmla="*/ 5 w 6"/>
                  <a:gd name="T3" fmla="*/ 0 h 8"/>
                  <a:gd name="T4" fmla="*/ 3 w 6"/>
                  <a:gd name="T5" fmla="*/ 2 h 8"/>
                  <a:gd name="T6" fmla="*/ 0 w 6"/>
                  <a:gd name="T7" fmla="*/ 4 h 8"/>
                  <a:gd name="T8" fmla="*/ 0 w 6"/>
                  <a:gd name="T9" fmla="*/ 6 h 8"/>
                  <a:gd name="T10" fmla="*/ 2 w 6"/>
                  <a:gd name="T11" fmla="*/ 8 h 8"/>
                  <a:gd name="T12" fmla="*/ 3 w 6"/>
                  <a:gd name="T13" fmla="*/ 8 h 8"/>
                  <a:gd name="T14" fmla="*/ 3 w 6"/>
                  <a:gd name="T15" fmla="*/ 8 h 8"/>
                  <a:gd name="T16" fmla="*/ 3 w 6"/>
                  <a:gd name="T17" fmla="*/ 6 h 8"/>
                  <a:gd name="T18" fmla="*/ 5 w 6"/>
                  <a:gd name="T19" fmla="*/ 8 h 8"/>
                  <a:gd name="T20" fmla="*/ 6 w 6"/>
                  <a:gd name="T21" fmla="*/ 7 h 8"/>
                  <a:gd name="T22" fmla="*/ 5 w 6"/>
                  <a:gd name="T23" fmla="*/ 4 h 8"/>
                  <a:gd name="T24" fmla="*/ 6 w 6"/>
                  <a:gd name="T25" fmla="*/ 2 h 8"/>
                  <a:gd name="T26" fmla="*/ 6 w 6"/>
                  <a:gd name="T2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8">
                    <a:moveTo>
                      <a:pt x="6" y="0"/>
                    </a:moveTo>
                    <a:lnTo>
                      <a:pt x="5" y="0"/>
                    </a:lnTo>
                    <a:lnTo>
                      <a:pt x="3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3" y="6"/>
                    </a:lnTo>
                    <a:lnTo>
                      <a:pt x="5" y="8"/>
                    </a:lnTo>
                    <a:lnTo>
                      <a:pt x="6" y="7"/>
                    </a:lnTo>
                    <a:lnTo>
                      <a:pt x="5" y="4"/>
                    </a:lnTo>
                    <a:lnTo>
                      <a:pt x="6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4" name="Freeform 123">
                <a:extLst>
                  <a:ext uri="{FF2B5EF4-FFF2-40B4-BE49-F238E27FC236}">
                    <a16:creationId xmlns:a16="http://schemas.microsoft.com/office/drawing/2014/main" id="{B81E7E6A-51C6-4EC0-8928-6CF796B623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39214" y="2647950"/>
                <a:ext cx="19050" cy="42863"/>
              </a:xfrm>
              <a:custGeom>
                <a:avLst/>
                <a:gdLst>
                  <a:gd name="T0" fmla="*/ 3 w 12"/>
                  <a:gd name="T1" fmla="*/ 13 h 27"/>
                  <a:gd name="T2" fmla="*/ 2 w 12"/>
                  <a:gd name="T3" fmla="*/ 16 h 27"/>
                  <a:gd name="T4" fmla="*/ 0 w 12"/>
                  <a:gd name="T5" fmla="*/ 16 h 27"/>
                  <a:gd name="T6" fmla="*/ 0 w 12"/>
                  <a:gd name="T7" fmla="*/ 17 h 27"/>
                  <a:gd name="T8" fmla="*/ 2 w 12"/>
                  <a:gd name="T9" fmla="*/ 20 h 27"/>
                  <a:gd name="T10" fmla="*/ 2 w 12"/>
                  <a:gd name="T11" fmla="*/ 23 h 27"/>
                  <a:gd name="T12" fmla="*/ 0 w 12"/>
                  <a:gd name="T13" fmla="*/ 24 h 27"/>
                  <a:gd name="T14" fmla="*/ 1 w 12"/>
                  <a:gd name="T15" fmla="*/ 25 h 27"/>
                  <a:gd name="T16" fmla="*/ 3 w 12"/>
                  <a:gd name="T17" fmla="*/ 25 h 27"/>
                  <a:gd name="T18" fmla="*/ 5 w 12"/>
                  <a:gd name="T19" fmla="*/ 26 h 27"/>
                  <a:gd name="T20" fmla="*/ 6 w 12"/>
                  <a:gd name="T21" fmla="*/ 27 h 27"/>
                  <a:gd name="T22" fmla="*/ 6 w 12"/>
                  <a:gd name="T23" fmla="*/ 23 h 27"/>
                  <a:gd name="T24" fmla="*/ 6 w 12"/>
                  <a:gd name="T25" fmla="*/ 20 h 27"/>
                  <a:gd name="T26" fmla="*/ 8 w 12"/>
                  <a:gd name="T27" fmla="*/ 19 h 27"/>
                  <a:gd name="T28" fmla="*/ 10 w 12"/>
                  <a:gd name="T29" fmla="*/ 16 h 27"/>
                  <a:gd name="T30" fmla="*/ 10 w 12"/>
                  <a:gd name="T31" fmla="*/ 12 h 27"/>
                  <a:gd name="T32" fmla="*/ 10 w 12"/>
                  <a:gd name="T33" fmla="*/ 9 h 27"/>
                  <a:gd name="T34" fmla="*/ 12 w 12"/>
                  <a:gd name="T35" fmla="*/ 8 h 27"/>
                  <a:gd name="T36" fmla="*/ 11 w 12"/>
                  <a:gd name="T37" fmla="*/ 4 h 27"/>
                  <a:gd name="T38" fmla="*/ 6 w 12"/>
                  <a:gd name="T39" fmla="*/ 0 h 27"/>
                  <a:gd name="T40" fmla="*/ 6 w 12"/>
                  <a:gd name="T41" fmla="*/ 2 h 27"/>
                  <a:gd name="T42" fmla="*/ 6 w 12"/>
                  <a:gd name="T43" fmla="*/ 8 h 27"/>
                  <a:gd name="T44" fmla="*/ 6 w 12"/>
                  <a:gd name="T45" fmla="*/ 12 h 27"/>
                  <a:gd name="T46" fmla="*/ 3 w 12"/>
                  <a:gd name="T47" fmla="*/ 1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" h="27">
                    <a:moveTo>
                      <a:pt x="3" y="13"/>
                    </a:moveTo>
                    <a:lnTo>
                      <a:pt x="2" y="16"/>
                    </a:lnTo>
                    <a:lnTo>
                      <a:pt x="0" y="16"/>
                    </a:lnTo>
                    <a:lnTo>
                      <a:pt x="0" y="17"/>
                    </a:lnTo>
                    <a:lnTo>
                      <a:pt x="2" y="20"/>
                    </a:lnTo>
                    <a:lnTo>
                      <a:pt x="2" y="23"/>
                    </a:lnTo>
                    <a:lnTo>
                      <a:pt x="0" y="24"/>
                    </a:lnTo>
                    <a:lnTo>
                      <a:pt x="1" y="25"/>
                    </a:lnTo>
                    <a:lnTo>
                      <a:pt x="3" y="25"/>
                    </a:lnTo>
                    <a:lnTo>
                      <a:pt x="5" y="26"/>
                    </a:lnTo>
                    <a:lnTo>
                      <a:pt x="6" y="27"/>
                    </a:lnTo>
                    <a:lnTo>
                      <a:pt x="6" y="23"/>
                    </a:lnTo>
                    <a:lnTo>
                      <a:pt x="6" y="20"/>
                    </a:lnTo>
                    <a:lnTo>
                      <a:pt x="8" y="19"/>
                    </a:lnTo>
                    <a:lnTo>
                      <a:pt x="10" y="16"/>
                    </a:lnTo>
                    <a:lnTo>
                      <a:pt x="10" y="12"/>
                    </a:lnTo>
                    <a:lnTo>
                      <a:pt x="10" y="9"/>
                    </a:lnTo>
                    <a:lnTo>
                      <a:pt x="12" y="8"/>
                    </a:lnTo>
                    <a:lnTo>
                      <a:pt x="11" y="4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8"/>
                    </a:lnTo>
                    <a:lnTo>
                      <a:pt x="6" y="12"/>
                    </a:lnTo>
                    <a:lnTo>
                      <a:pt x="3" y="1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5" name="Freeform 124">
                <a:extLst>
                  <a:ext uri="{FF2B5EF4-FFF2-40B4-BE49-F238E27FC236}">
                    <a16:creationId xmlns:a16="http://schemas.microsoft.com/office/drawing/2014/main" id="{56DF0948-0C49-4D77-B8A9-169DF58EA6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55089" y="2641600"/>
                <a:ext cx="6350" cy="11113"/>
              </a:xfrm>
              <a:custGeom>
                <a:avLst/>
                <a:gdLst>
                  <a:gd name="T0" fmla="*/ 3 w 4"/>
                  <a:gd name="T1" fmla="*/ 7 h 7"/>
                  <a:gd name="T2" fmla="*/ 4 w 4"/>
                  <a:gd name="T3" fmla="*/ 5 h 7"/>
                  <a:gd name="T4" fmla="*/ 3 w 4"/>
                  <a:gd name="T5" fmla="*/ 2 h 7"/>
                  <a:gd name="T6" fmla="*/ 2 w 4"/>
                  <a:gd name="T7" fmla="*/ 0 h 7"/>
                  <a:gd name="T8" fmla="*/ 0 w 4"/>
                  <a:gd name="T9" fmla="*/ 2 h 7"/>
                  <a:gd name="T10" fmla="*/ 0 w 4"/>
                  <a:gd name="T11" fmla="*/ 4 h 7"/>
                  <a:gd name="T12" fmla="*/ 2 w 4"/>
                  <a:gd name="T13" fmla="*/ 7 h 7"/>
                  <a:gd name="T14" fmla="*/ 3 w 4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7">
                    <a:moveTo>
                      <a:pt x="3" y="7"/>
                    </a:moveTo>
                    <a:lnTo>
                      <a:pt x="4" y="5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7"/>
                    </a:lnTo>
                    <a:lnTo>
                      <a:pt x="3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6" name="Freeform 125">
                <a:extLst>
                  <a:ext uri="{FF2B5EF4-FFF2-40B4-BE49-F238E27FC236}">
                    <a16:creationId xmlns:a16="http://schemas.microsoft.com/office/drawing/2014/main" id="{7B877978-C520-4442-A74E-5F829411AB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26514" y="2817813"/>
                <a:ext cx="1588" cy="4763"/>
              </a:xfrm>
              <a:custGeom>
                <a:avLst/>
                <a:gdLst>
                  <a:gd name="T0" fmla="*/ 1 w 1"/>
                  <a:gd name="T1" fmla="*/ 1 h 3"/>
                  <a:gd name="T2" fmla="*/ 0 w 1"/>
                  <a:gd name="T3" fmla="*/ 0 h 3"/>
                  <a:gd name="T4" fmla="*/ 0 w 1"/>
                  <a:gd name="T5" fmla="*/ 1 h 3"/>
                  <a:gd name="T6" fmla="*/ 0 w 1"/>
                  <a:gd name="T7" fmla="*/ 2 h 3"/>
                  <a:gd name="T8" fmla="*/ 1 w 1"/>
                  <a:gd name="T9" fmla="*/ 3 h 3"/>
                  <a:gd name="T10" fmla="*/ 1 w 1"/>
                  <a:gd name="T11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3">
                    <a:moveTo>
                      <a:pt x="1" y="1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7" name="Freeform 126">
                <a:extLst>
                  <a:ext uri="{FF2B5EF4-FFF2-40B4-BE49-F238E27FC236}">
                    <a16:creationId xmlns:a16="http://schemas.microsoft.com/office/drawing/2014/main" id="{DDFEE2EF-8674-4683-A808-82AB58296E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10589" y="2541588"/>
                <a:ext cx="4763" cy="7938"/>
              </a:xfrm>
              <a:custGeom>
                <a:avLst/>
                <a:gdLst>
                  <a:gd name="T0" fmla="*/ 3 w 3"/>
                  <a:gd name="T1" fmla="*/ 1 h 5"/>
                  <a:gd name="T2" fmla="*/ 1 w 3"/>
                  <a:gd name="T3" fmla="*/ 0 h 5"/>
                  <a:gd name="T4" fmla="*/ 1 w 3"/>
                  <a:gd name="T5" fmla="*/ 1 h 5"/>
                  <a:gd name="T6" fmla="*/ 1 w 3"/>
                  <a:gd name="T7" fmla="*/ 2 h 5"/>
                  <a:gd name="T8" fmla="*/ 0 w 3"/>
                  <a:gd name="T9" fmla="*/ 4 h 5"/>
                  <a:gd name="T10" fmla="*/ 0 w 3"/>
                  <a:gd name="T11" fmla="*/ 5 h 5"/>
                  <a:gd name="T12" fmla="*/ 2 w 3"/>
                  <a:gd name="T13" fmla="*/ 3 h 5"/>
                  <a:gd name="T14" fmla="*/ 3 w 3"/>
                  <a:gd name="T1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5">
                    <a:moveTo>
                      <a:pt x="3" y="1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3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8" name="Freeform 127">
                <a:extLst>
                  <a:ext uri="{FF2B5EF4-FFF2-40B4-BE49-F238E27FC236}">
                    <a16:creationId xmlns:a16="http://schemas.microsoft.com/office/drawing/2014/main" id="{EB9BA69C-0450-4C72-83E0-D25B94BA75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39214" y="2709863"/>
                <a:ext cx="4763" cy="12700"/>
              </a:xfrm>
              <a:custGeom>
                <a:avLst/>
                <a:gdLst>
                  <a:gd name="T0" fmla="*/ 4 w 4"/>
                  <a:gd name="T1" fmla="*/ 9 h 11"/>
                  <a:gd name="T2" fmla="*/ 2 w 4"/>
                  <a:gd name="T3" fmla="*/ 4 h 11"/>
                  <a:gd name="T4" fmla="*/ 2 w 4"/>
                  <a:gd name="T5" fmla="*/ 1 h 11"/>
                  <a:gd name="T6" fmla="*/ 1 w 4"/>
                  <a:gd name="T7" fmla="*/ 0 h 11"/>
                  <a:gd name="T8" fmla="*/ 1 w 4"/>
                  <a:gd name="T9" fmla="*/ 4 h 11"/>
                  <a:gd name="T10" fmla="*/ 0 w 4"/>
                  <a:gd name="T11" fmla="*/ 8 h 11"/>
                  <a:gd name="T12" fmla="*/ 2 w 4"/>
                  <a:gd name="T13" fmla="*/ 11 h 11"/>
                  <a:gd name="T14" fmla="*/ 4 w 4"/>
                  <a:gd name="T15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11">
                    <a:moveTo>
                      <a:pt x="4" y="9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1"/>
                      <a:pt x="4" y="9"/>
                      <a:pt x="4" y="9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9" name="Freeform 128">
                <a:extLst>
                  <a:ext uri="{FF2B5EF4-FFF2-40B4-BE49-F238E27FC236}">
                    <a16:creationId xmlns:a16="http://schemas.microsoft.com/office/drawing/2014/main" id="{87F5C843-F201-4E6E-98C5-2DFE484E0B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37626" y="2743200"/>
                <a:ext cx="4763" cy="9525"/>
              </a:xfrm>
              <a:custGeom>
                <a:avLst/>
                <a:gdLst>
                  <a:gd name="T0" fmla="*/ 1 w 3"/>
                  <a:gd name="T1" fmla="*/ 3 h 6"/>
                  <a:gd name="T2" fmla="*/ 0 w 3"/>
                  <a:gd name="T3" fmla="*/ 6 h 6"/>
                  <a:gd name="T4" fmla="*/ 1 w 3"/>
                  <a:gd name="T5" fmla="*/ 6 h 6"/>
                  <a:gd name="T6" fmla="*/ 3 w 3"/>
                  <a:gd name="T7" fmla="*/ 4 h 6"/>
                  <a:gd name="T8" fmla="*/ 3 w 3"/>
                  <a:gd name="T9" fmla="*/ 1 h 6"/>
                  <a:gd name="T10" fmla="*/ 2 w 3"/>
                  <a:gd name="T11" fmla="*/ 0 h 6"/>
                  <a:gd name="T12" fmla="*/ 1 w 3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6">
                    <a:moveTo>
                      <a:pt x="1" y="3"/>
                    </a:moveTo>
                    <a:lnTo>
                      <a:pt x="0" y="6"/>
                    </a:lnTo>
                    <a:lnTo>
                      <a:pt x="1" y="6"/>
                    </a:lnTo>
                    <a:lnTo>
                      <a:pt x="3" y="4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1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0" name="Freeform 129">
                <a:extLst>
                  <a:ext uri="{FF2B5EF4-FFF2-40B4-BE49-F238E27FC236}">
                    <a16:creationId xmlns:a16="http://schemas.microsoft.com/office/drawing/2014/main" id="{6693DDC5-F49B-4992-85F1-ACBD80EBAE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39214" y="2727325"/>
                <a:ext cx="6350" cy="6350"/>
              </a:xfrm>
              <a:custGeom>
                <a:avLst/>
                <a:gdLst>
                  <a:gd name="T0" fmla="*/ 4 w 4"/>
                  <a:gd name="T1" fmla="*/ 3 h 4"/>
                  <a:gd name="T2" fmla="*/ 3 w 4"/>
                  <a:gd name="T3" fmla="*/ 1 h 4"/>
                  <a:gd name="T4" fmla="*/ 2 w 4"/>
                  <a:gd name="T5" fmla="*/ 0 h 4"/>
                  <a:gd name="T6" fmla="*/ 0 w 4"/>
                  <a:gd name="T7" fmla="*/ 1 h 4"/>
                  <a:gd name="T8" fmla="*/ 1 w 4"/>
                  <a:gd name="T9" fmla="*/ 2 h 4"/>
                  <a:gd name="T10" fmla="*/ 3 w 4"/>
                  <a:gd name="T11" fmla="*/ 4 h 4"/>
                  <a:gd name="T12" fmla="*/ 4 w 4"/>
                  <a:gd name="T13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4">
                    <a:moveTo>
                      <a:pt x="4" y="3"/>
                    </a:moveTo>
                    <a:lnTo>
                      <a:pt x="3" y="1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3" y="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1" name="Freeform 130">
                <a:extLst>
                  <a:ext uri="{FF2B5EF4-FFF2-40B4-BE49-F238E27FC236}">
                    <a16:creationId xmlns:a16="http://schemas.microsoft.com/office/drawing/2014/main" id="{AC14E1CC-8B2F-46A5-85BE-3DBCD05802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05826" y="2540000"/>
                <a:ext cx="3175" cy="7938"/>
              </a:xfrm>
              <a:custGeom>
                <a:avLst/>
                <a:gdLst>
                  <a:gd name="T0" fmla="*/ 0 w 2"/>
                  <a:gd name="T1" fmla="*/ 1 h 5"/>
                  <a:gd name="T2" fmla="*/ 0 w 2"/>
                  <a:gd name="T3" fmla="*/ 3 h 5"/>
                  <a:gd name="T4" fmla="*/ 1 w 2"/>
                  <a:gd name="T5" fmla="*/ 5 h 5"/>
                  <a:gd name="T6" fmla="*/ 2 w 2"/>
                  <a:gd name="T7" fmla="*/ 3 h 5"/>
                  <a:gd name="T8" fmla="*/ 2 w 2"/>
                  <a:gd name="T9" fmla="*/ 1 h 5"/>
                  <a:gd name="T10" fmla="*/ 1 w 2"/>
                  <a:gd name="T11" fmla="*/ 0 h 5"/>
                  <a:gd name="T12" fmla="*/ 0 w 2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5">
                    <a:moveTo>
                      <a:pt x="0" y="1"/>
                    </a:moveTo>
                    <a:lnTo>
                      <a:pt x="0" y="3"/>
                    </a:lnTo>
                    <a:lnTo>
                      <a:pt x="1" y="5"/>
                    </a:lnTo>
                    <a:lnTo>
                      <a:pt x="2" y="3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2" name="Freeform 131">
                <a:extLst>
                  <a:ext uri="{FF2B5EF4-FFF2-40B4-BE49-F238E27FC236}">
                    <a16:creationId xmlns:a16="http://schemas.microsoft.com/office/drawing/2014/main" id="{191A22E2-CB65-4870-A911-41C3D3DB12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4301" y="1355725"/>
                <a:ext cx="6350" cy="14288"/>
              </a:xfrm>
              <a:custGeom>
                <a:avLst/>
                <a:gdLst>
                  <a:gd name="T0" fmla="*/ 1 w 4"/>
                  <a:gd name="T1" fmla="*/ 0 h 9"/>
                  <a:gd name="T2" fmla="*/ 0 w 4"/>
                  <a:gd name="T3" fmla="*/ 1 h 9"/>
                  <a:gd name="T4" fmla="*/ 0 w 4"/>
                  <a:gd name="T5" fmla="*/ 4 h 9"/>
                  <a:gd name="T6" fmla="*/ 3 w 4"/>
                  <a:gd name="T7" fmla="*/ 9 h 9"/>
                  <a:gd name="T8" fmla="*/ 3 w 4"/>
                  <a:gd name="T9" fmla="*/ 9 h 9"/>
                  <a:gd name="T10" fmla="*/ 4 w 4"/>
                  <a:gd name="T11" fmla="*/ 7 h 9"/>
                  <a:gd name="T12" fmla="*/ 3 w 4"/>
                  <a:gd name="T13" fmla="*/ 4 h 9"/>
                  <a:gd name="T14" fmla="*/ 1 w 4"/>
                  <a:gd name="T1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9">
                    <a:moveTo>
                      <a:pt x="1" y="0"/>
                    </a:moveTo>
                    <a:lnTo>
                      <a:pt x="0" y="1"/>
                    </a:lnTo>
                    <a:lnTo>
                      <a:pt x="0" y="4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4" y="7"/>
                    </a:lnTo>
                    <a:lnTo>
                      <a:pt x="3" y="4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3" name="Freeform 132">
                <a:extLst>
                  <a:ext uri="{FF2B5EF4-FFF2-40B4-BE49-F238E27FC236}">
                    <a16:creationId xmlns:a16="http://schemas.microsoft.com/office/drawing/2014/main" id="{54F72444-CADD-4F1B-BDB3-BEF5DECAE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0239" y="2193925"/>
                <a:ext cx="14288" cy="11113"/>
              </a:xfrm>
              <a:custGeom>
                <a:avLst/>
                <a:gdLst>
                  <a:gd name="T0" fmla="*/ 4 w 9"/>
                  <a:gd name="T1" fmla="*/ 1 h 7"/>
                  <a:gd name="T2" fmla="*/ 1 w 9"/>
                  <a:gd name="T3" fmla="*/ 0 h 7"/>
                  <a:gd name="T4" fmla="*/ 0 w 9"/>
                  <a:gd name="T5" fmla="*/ 0 h 7"/>
                  <a:gd name="T6" fmla="*/ 0 w 9"/>
                  <a:gd name="T7" fmla="*/ 2 h 7"/>
                  <a:gd name="T8" fmla="*/ 1 w 9"/>
                  <a:gd name="T9" fmla="*/ 3 h 7"/>
                  <a:gd name="T10" fmla="*/ 2 w 9"/>
                  <a:gd name="T11" fmla="*/ 4 h 7"/>
                  <a:gd name="T12" fmla="*/ 5 w 9"/>
                  <a:gd name="T13" fmla="*/ 7 h 7"/>
                  <a:gd name="T14" fmla="*/ 7 w 9"/>
                  <a:gd name="T15" fmla="*/ 6 h 7"/>
                  <a:gd name="T16" fmla="*/ 9 w 9"/>
                  <a:gd name="T17" fmla="*/ 4 h 7"/>
                  <a:gd name="T18" fmla="*/ 7 w 9"/>
                  <a:gd name="T19" fmla="*/ 1 h 7"/>
                  <a:gd name="T20" fmla="*/ 6 w 9"/>
                  <a:gd name="T21" fmla="*/ 0 h 7"/>
                  <a:gd name="T22" fmla="*/ 4 w 9"/>
                  <a:gd name="T23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7">
                    <a:moveTo>
                      <a:pt x="4" y="1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2" y="4"/>
                    </a:lnTo>
                    <a:lnTo>
                      <a:pt x="5" y="7"/>
                    </a:lnTo>
                    <a:lnTo>
                      <a:pt x="7" y="6"/>
                    </a:lnTo>
                    <a:lnTo>
                      <a:pt x="9" y="4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4" name="Freeform 133">
                <a:extLst>
                  <a:ext uri="{FF2B5EF4-FFF2-40B4-BE49-F238E27FC236}">
                    <a16:creationId xmlns:a16="http://schemas.microsoft.com/office/drawing/2014/main" id="{EC8755F0-DAB4-4816-A767-24FEA6BAE7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9151" y="1944688"/>
                <a:ext cx="3175" cy="9525"/>
              </a:xfrm>
              <a:custGeom>
                <a:avLst/>
                <a:gdLst>
                  <a:gd name="T0" fmla="*/ 2 w 2"/>
                  <a:gd name="T1" fmla="*/ 3 h 6"/>
                  <a:gd name="T2" fmla="*/ 1 w 2"/>
                  <a:gd name="T3" fmla="*/ 1 h 6"/>
                  <a:gd name="T4" fmla="*/ 0 w 2"/>
                  <a:gd name="T5" fmla="*/ 0 h 6"/>
                  <a:gd name="T6" fmla="*/ 0 w 2"/>
                  <a:gd name="T7" fmla="*/ 4 h 6"/>
                  <a:gd name="T8" fmla="*/ 1 w 2"/>
                  <a:gd name="T9" fmla="*/ 6 h 6"/>
                  <a:gd name="T10" fmla="*/ 2 w 2"/>
                  <a:gd name="T11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6">
                    <a:moveTo>
                      <a:pt x="2" y="3"/>
                    </a:moveTo>
                    <a:lnTo>
                      <a:pt x="1" y="1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1" y="6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5" name="Freeform 134">
                <a:extLst>
                  <a:ext uri="{FF2B5EF4-FFF2-40B4-BE49-F238E27FC236}">
                    <a16:creationId xmlns:a16="http://schemas.microsoft.com/office/drawing/2014/main" id="{CABA5ED4-5ACB-4B58-BEC3-768ED500EB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9976" y="1463675"/>
                <a:ext cx="6350" cy="7938"/>
              </a:xfrm>
              <a:custGeom>
                <a:avLst/>
                <a:gdLst>
                  <a:gd name="T0" fmla="*/ 4 w 4"/>
                  <a:gd name="T1" fmla="*/ 0 h 5"/>
                  <a:gd name="T2" fmla="*/ 1 w 4"/>
                  <a:gd name="T3" fmla="*/ 1 h 5"/>
                  <a:gd name="T4" fmla="*/ 0 w 4"/>
                  <a:gd name="T5" fmla="*/ 2 h 5"/>
                  <a:gd name="T6" fmla="*/ 2 w 4"/>
                  <a:gd name="T7" fmla="*/ 5 h 5"/>
                  <a:gd name="T8" fmla="*/ 4 w 4"/>
                  <a:gd name="T9" fmla="*/ 2 h 5"/>
                  <a:gd name="T10" fmla="*/ 4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4" y="0"/>
                    </a:moveTo>
                    <a:lnTo>
                      <a:pt x="1" y="1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6" name="Freeform 135">
                <a:extLst>
                  <a:ext uri="{FF2B5EF4-FFF2-40B4-BE49-F238E27FC236}">
                    <a16:creationId xmlns:a16="http://schemas.microsoft.com/office/drawing/2014/main" id="{EA1D9808-1689-4741-8A0A-23FFD17E92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3276" y="1917700"/>
                <a:ext cx="4763" cy="7938"/>
              </a:xfrm>
              <a:custGeom>
                <a:avLst/>
                <a:gdLst>
                  <a:gd name="T0" fmla="*/ 3 w 3"/>
                  <a:gd name="T1" fmla="*/ 5 h 5"/>
                  <a:gd name="T2" fmla="*/ 3 w 3"/>
                  <a:gd name="T3" fmla="*/ 2 h 5"/>
                  <a:gd name="T4" fmla="*/ 2 w 3"/>
                  <a:gd name="T5" fmla="*/ 0 h 5"/>
                  <a:gd name="T6" fmla="*/ 0 w 3"/>
                  <a:gd name="T7" fmla="*/ 1 h 5"/>
                  <a:gd name="T8" fmla="*/ 2 w 3"/>
                  <a:gd name="T9" fmla="*/ 4 h 5"/>
                  <a:gd name="T10" fmla="*/ 3 w 3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5">
                    <a:moveTo>
                      <a:pt x="3" y="5"/>
                    </a:moveTo>
                    <a:lnTo>
                      <a:pt x="3" y="2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2" y="4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7" name="Freeform 136">
                <a:extLst>
                  <a:ext uri="{FF2B5EF4-FFF2-40B4-BE49-F238E27FC236}">
                    <a16:creationId xmlns:a16="http://schemas.microsoft.com/office/drawing/2014/main" id="{E84019DD-B91D-4012-9398-6710CF4F4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9626" y="1928813"/>
                <a:ext cx="6350" cy="25400"/>
              </a:xfrm>
              <a:custGeom>
                <a:avLst/>
                <a:gdLst>
                  <a:gd name="T0" fmla="*/ 2 w 4"/>
                  <a:gd name="T1" fmla="*/ 16 h 16"/>
                  <a:gd name="T2" fmla="*/ 4 w 4"/>
                  <a:gd name="T3" fmla="*/ 13 h 16"/>
                  <a:gd name="T4" fmla="*/ 3 w 4"/>
                  <a:gd name="T5" fmla="*/ 4 h 16"/>
                  <a:gd name="T6" fmla="*/ 2 w 4"/>
                  <a:gd name="T7" fmla="*/ 0 h 16"/>
                  <a:gd name="T8" fmla="*/ 0 w 4"/>
                  <a:gd name="T9" fmla="*/ 0 h 16"/>
                  <a:gd name="T10" fmla="*/ 1 w 4"/>
                  <a:gd name="T11" fmla="*/ 6 h 16"/>
                  <a:gd name="T12" fmla="*/ 2 w 4"/>
                  <a:gd name="T13" fmla="*/ 9 h 16"/>
                  <a:gd name="T14" fmla="*/ 2 w 4"/>
                  <a:gd name="T15" fmla="*/ 15 h 16"/>
                  <a:gd name="T16" fmla="*/ 2 w 4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6">
                    <a:moveTo>
                      <a:pt x="2" y="16"/>
                    </a:moveTo>
                    <a:lnTo>
                      <a:pt x="4" y="13"/>
                    </a:lnTo>
                    <a:lnTo>
                      <a:pt x="3" y="4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1" y="6"/>
                    </a:lnTo>
                    <a:lnTo>
                      <a:pt x="2" y="9"/>
                    </a:lnTo>
                    <a:lnTo>
                      <a:pt x="2" y="15"/>
                    </a:lnTo>
                    <a:lnTo>
                      <a:pt x="2" y="1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8" name="Freeform 137">
                <a:extLst>
                  <a:ext uri="{FF2B5EF4-FFF2-40B4-BE49-F238E27FC236}">
                    <a16:creationId xmlns:a16="http://schemas.microsoft.com/office/drawing/2014/main" id="{47D448B3-67D4-4C7C-A685-B96B118E90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6914" y="1201738"/>
                <a:ext cx="120650" cy="114300"/>
              </a:xfrm>
              <a:custGeom>
                <a:avLst/>
                <a:gdLst>
                  <a:gd name="T0" fmla="*/ 8 w 76"/>
                  <a:gd name="T1" fmla="*/ 12 h 72"/>
                  <a:gd name="T2" fmla="*/ 4 w 76"/>
                  <a:gd name="T3" fmla="*/ 16 h 72"/>
                  <a:gd name="T4" fmla="*/ 0 w 76"/>
                  <a:gd name="T5" fmla="*/ 24 h 72"/>
                  <a:gd name="T6" fmla="*/ 4 w 76"/>
                  <a:gd name="T7" fmla="*/ 29 h 72"/>
                  <a:gd name="T8" fmla="*/ 7 w 76"/>
                  <a:gd name="T9" fmla="*/ 31 h 72"/>
                  <a:gd name="T10" fmla="*/ 3 w 76"/>
                  <a:gd name="T11" fmla="*/ 38 h 72"/>
                  <a:gd name="T12" fmla="*/ 4 w 76"/>
                  <a:gd name="T13" fmla="*/ 45 h 72"/>
                  <a:gd name="T14" fmla="*/ 0 w 76"/>
                  <a:gd name="T15" fmla="*/ 49 h 72"/>
                  <a:gd name="T16" fmla="*/ 4 w 76"/>
                  <a:gd name="T17" fmla="*/ 53 h 72"/>
                  <a:gd name="T18" fmla="*/ 4 w 76"/>
                  <a:gd name="T19" fmla="*/ 50 h 72"/>
                  <a:gd name="T20" fmla="*/ 7 w 76"/>
                  <a:gd name="T21" fmla="*/ 49 h 72"/>
                  <a:gd name="T22" fmla="*/ 12 w 76"/>
                  <a:gd name="T23" fmla="*/ 50 h 72"/>
                  <a:gd name="T24" fmla="*/ 16 w 76"/>
                  <a:gd name="T25" fmla="*/ 54 h 72"/>
                  <a:gd name="T26" fmla="*/ 20 w 76"/>
                  <a:gd name="T27" fmla="*/ 63 h 72"/>
                  <a:gd name="T28" fmla="*/ 26 w 76"/>
                  <a:gd name="T29" fmla="*/ 66 h 72"/>
                  <a:gd name="T30" fmla="*/ 32 w 76"/>
                  <a:gd name="T31" fmla="*/ 64 h 72"/>
                  <a:gd name="T32" fmla="*/ 38 w 76"/>
                  <a:gd name="T33" fmla="*/ 64 h 72"/>
                  <a:gd name="T34" fmla="*/ 49 w 76"/>
                  <a:gd name="T35" fmla="*/ 67 h 72"/>
                  <a:gd name="T36" fmla="*/ 53 w 76"/>
                  <a:gd name="T37" fmla="*/ 67 h 72"/>
                  <a:gd name="T38" fmla="*/ 58 w 76"/>
                  <a:gd name="T39" fmla="*/ 69 h 72"/>
                  <a:gd name="T40" fmla="*/ 63 w 76"/>
                  <a:gd name="T41" fmla="*/ 71 h 72"/>
                  <a:gd name="T42" fmla="*/ 69 w 76"/>
                  <a:gd name="T43" fmla="*/ 65 h 72"/>
                  <a:gd name="T44" fmla="*/ 76 w 76"/>
                  <a:gd name="T45" fmla="*/ 59 h 72"/>
                  <a:gd name="T46" fmla="*/ 73 w 76"/>
                  <a:gd name="T47" fmla="*/ 51 h 72"/>
                  <a:gd name="T48" fmla="*/ 68 w 76"/>
                  <a:gd name="T49" fmla="*/ 45 h 72"/>
                  <a:gd name="T50" fmla="*/ 61 w 76"/>
                  <a:gd name="T51" fmla="*/ 42 h 72"/>
                  <a:gd name="T52" fmla="*/ 62 w 76"/>
                  <a:gd name="T53" fmla="*/ 39 h 72"/>
                  <a:gd name="T54" fmla="*/ 66 w 76"/>
                  <a:gd name="T55" fmla="*/ 40 h 72"/>
                  <a:gd name="T56" fmla="*/ 63 w 76"/>
                  <a:gd name="T57" fmla="*/ 33 h 72"/>
                  <a:gd name="T58" fmla="*/ 59 w 76"/>
                  <a:gd name="T59" fmla="*/ 23 h 72"/>
                  <a:gd name="T60" fmla="*/ 56 w 76"/>
                  <a:gd name="T61" fmla="*/ 17 h 72"/>
                  <a:gd name="T62" fmla="*/ 55 w 76"/>
                  <a:gd name="T63" fmla="*/ 11 h 72"/>
                  <a:gd name="T64" fmla="*/ 45 w 76"/>
                  <a:gd name="T65" fmla="*/ 2 h 72"/>
                  <a:gd name="T66" fmla="*/ 35 w 76"/>
                  <a:gd name="T67" fmla="*/ 2 h 72"/>
                  <a:gd name="T68" fmla="*/ 35 w 76"/>
                  <a:gd name="T69" fmla="*/ 7 h 72"/>
                  <a:gd name="T70" fmla="*/ 38 w 76"/>
                  <a:gd name="T71" fmla="*/ 14 h 72"/>
                  <a:gd name="T72" fmla="*/ 37 w 76"/>
                  <a:gd name="T73" fmla="*/ 20 h 72"/>
                  <a:gd name="T74" fmla="*/ 35 w 76"/>
                  <a:gd name="T75" fmla="*/ 28 h 72"/>
                  <a:gd name="T76" fmla="*/ 33 w 76"/>
                  <a:gd name="T77" fmla="*/ 27 h 72"/>
                  <a:gd name="T78" fmla="*/ 35 w 76"/>
                  <a:gd name="T79" fmla="*/ 21 h 72"/>
                  <a:gd name="T80" fmla="*/ 35 w 76"/>
                  <a:gd name="T81" fmla="*/ 14 h 72"/>
                  <a:gd name="T82" fmla="*/ 29 w 76"/>
                  <a:gd name="T83" fmla="*/ 4 h 72"/>
                  <a:gd name="T84" fmla="*/ 20 w 76"/>
                  <a:gd name="T85" fmla="*/ 0 h 72"/>
                  <a:gd name="T86" fmla="*/ 18 w 76"/>
                  <a:gd name="T87" fmla="*/ 4 h 72"/>
                  <a:gd name="T88" fmla="*/ 10 w 76"/>
                  <a:gd name="T89" fmla="*/ 1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6" h="72">
                    <a:moveTo>
                      <a:pt x="10" y="10"/>
                    </a:moveTo>
                    <a:lnTo>
                      <a:pt x="8" y="12"/>
                    </a:lnTo>
                    <a:lnTo>
                      <a:pt x="8" y="15"/>
                    </a:lnTo>
                    <a:lnTo>
                      <a:pt x="4" y="16"/>
                    </a:lnTo>
                    <a:lnTo>
                      <a:pt x="2" y="19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4" y="29"/>
                    </a:lnTo>
                    <a:lnTo>
                      <a:pt x="6" y="29"/>
                    </a:lnTo>
                    <a:lnTo>
                      <a:pt x="7" y="31"/>
                    </a:lnTo>
                    <a:lnTo>
                      <a:pt x="4" y="35"/>
                    </a:lnTo>
                    <a:lnTo>
                      <a:pt x="3" y="38"/>
                    </a:lnTo>
                    <a:lnTo>
                      <a:pt x="4" y="43"/>
                    </a:lnTo>
                    <a:lnTo>
                      <a:pt x="4" y="45"/>
                    </a:lnTo>
                    <a:lnTo>
                      <a:pt x="0" y="48"/>
                    </a:lnTo>
                    <a:lnTo>
                      <a:pt x="0" y="49"/>
                    </a:lnTo>
                    <a:lnTo>
                      <a:pt x="3" y="52"/>
                    </a:lnTo>
                    <a:lnTo>
                      <a:pt x="4" y="53"/>
                    </a:lnTo>
                    <a:lnTo>
                      <a:pt x="5" y="52"/>
                    </a:lnTo>
                    <a:lnTo>
                      <a:pt x="4" y="50"/>
                    </a:lnTo>
                    <a:lnTo>
                      <a:pt x="5" y="48"/>
                    </a:lnTo>
                    <a:lnTo>
                      <a:pt x="7" y="49"/>
                    </a:lnTo>
                    <a:lnTo>
                      <a:pt x="10" y="52"/>
                    </a:lnTo>
                    <a:lnTo>
                      <a:pt x="12" y="50"/>
                    </a:lnTo>
                    <a:lnTo>
                      <a:pt x="14" y="51"/>
                    </a:lnTo>
                    <a:lnTo>
                      <a:pt x="16" y="54"/>
                    </a:lnTo>
                    <a:lnTo>
                      <a:pt x="18" y="60"/>
                    </a:lnTo>
                    <a:lnTo>
                      <a:pt x="20" y="63"/>
                    </a:lnTo>
                    <a:lnTo>
                      <a:pt x="23" y="63"/>
                    </a:lnTo>
                    <a:lnTo>
                      <a:pt x="26" y="66"/>
                    </a:lnTo>
                    <a:lnTo>
                      <a:pt x="29" y="66"/>
                    </a:lnTo>
                    <a:lnTo>
                      <a:pt x="32" y="64"/>
                    </a:lnTo>
                    <a:lnTo>
                      <a:pt x="36" y="63"/>
                    </a:lnTo>
                    <a:lnTo>
                      <a:pt x="38" y="64"/>
                    </a:lnTo>
                    <a:lnTo>
                      <a:pt x="42" y="67"/>
                    </a:lnTo>
                    <a:lnTo>
                      <a:pt x="49" y="67"/>
                    </a:lnTo>
                    <a:lnTo>
                      <a:pt x="51" y="66"/>
                    </a:lnTo>
                    <a:lnTo>
                      <a:pt x="53" y="67"/>
                    </a:lnTo>
                    <a:lnTo>
                      <a:pt x="56" y="67"/>
                    </a:lnTo>
                    <a:lnTo>
                      <a:pt x="58" y="69"/>
                    </a:lnTo>
                    <a:lnTo>
                      <a:pt x="61" y="72"/>
                    </a:lnTo>
                    <a:lnTo>
                      <a:pt x="63" y="71"/>
                    </a:lnTo>
                    <a:lnTo>
                      <a:pt x="66" y="69"/>
                    </a:lnTo>
                    <a:lnTo>
                      <a:pt x="69" y="65"/>
                    </a:lnTo>
                    <a:lnTo>
                      <a:pt x="73" y="64"/>
                    </a:lnTo>
                    <a:lnTo>
                      <a:pt x="76" y="59"/>
                    </a:lnTo>
                    <a:lnTo>
                      <a:pt x="76" y="56"/>
                    </a:lnTo>
                    <a:lnTo>
                      <a:pt x="73" y="51"/>
                    </a:lnTo>
                    <a:lnTo>
                      <a:pt x="71" y="50"/>
                    </a:lnTo>
                    <a:lnTo>
                      <a:pt x="68" y="45"/>
                    </a:lnTo>
                    <a:lnTo>
                      <a:pt x="64" y="45"/>
                    </a:lnTo>
                    <a:lnTo>
                      <a:pt x="61" y="42"/>
                    </a:lnTo>
                    <a:lnTo>
                      <a:pt x="60" y="39"/>
                    </a:lnTo>
                    <a:lnTo>
                      <a:pt x="62" y="39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3" y="33"/>
                    </a:lnTo>
                    <a:lnTo>
                      <a:pt x="59" y="28"/>
                    </a:lnTo>
                    <a:lnTo>
                      <a:pt x="59" y="23"/>
                    </a:lnTo>
                    <a:lnTo>
                      <a:pt x="59" y="18"/>
                    </a:lnTo>
                    <a:lnTo>
                      <a:pt x="56" y="17"/>
                    </a:lnTo>
                    <a:lnTo>
                      <a:pt x="56" y="13"/>
                    </a:lnTo>
                    <a:lnTo>
                      <a:pt x="55" y="11"/>
                    </a:lnTo>
                    <a:lnTo>
                      <a:pt x="53" y="11"/>
                    </a:lnTo>
                    <a:lnTo>
                      <a:pt x="45" y="2"/>
                    </a:lnTo>
                    <a:lnTo>
                      <a:pt x="39" y="1"/>
                    </a:lnTo>
                    <a:lnTo>
                      <a:pt x="35" y="2"/>
                    </a:lnTo>
                    <a:lnTo>
                      <a:pt x="34" y="4"/>
                    </a:lnTo>
                    <a:lnTo>
                      <a:pt x="35" y="7"/>
                    </a:lnTo>
                    <a:lnTo>
                      <a:pt x="38" y="12"/>
                    </a:lnTo>
                    <a:lnTo>
                      <a:pt x="38" y="14"/>
                    </a:lnTo>
                    <a:lnTo>
                      <a:pt x="37" y="17"/>
                    </a:lnTo>
                    <a:lnTo>
                      <a:pt x="37" y="20"/>
                    </a:lnTo>
                    <a:lnTo>
                      <a:pt x="37" y="24"/>
                    </a:lnTo>
                    <a:lnTo>
                      <a:pt x="35" y="28"/>
                    </a:lnTo>
                    <a:lnTo>
                      <a:pt x="33" y="30"/>
                    </a:lnTo>
                    <a:lnTo>
                      <a:pt x="33" y="27"/>
                    </a:lnTo>
                    <a:lnTo>
                      <a:pt x="35" y="25"/>
                    </a:lnTo>
                    <a:lnTo>
                      <a:pt x="35" y="21"/>
                    </a:lnTo>
                    <a:lnTo>
                      <a:pt x="34" y="20"/>
                    </a:lnTo>
                    <a:lnTo>
                      <a:pt x="35" y="14"/>
                    </a:lnTo>
                    <a:lnTo>
                      <a:pt x="34" y="11"/>
                    </a:lnTo>
                    <a:lnTo>
                      <a:pt x="29" y="4"/>
                    </a:lnTo>
                    <a:lnTo>
                      <a:pt x="25" y="1"/>
                    </a:lnTo>
                    <a:lnTo>
                      <a:pt x="20" y="0"/>
                    </a:lnTo>
                    <a:lnTo>
                      <a:pt x="19" y="1"/>
                    </a:lnTo>
                    <a:lnTo>
                      <a:pt x="18" y="4"/>
                    </a:lnTo>
                    <a:lnTo>
                      <a:pt x="14" y="8"/>
                    </a:lnTo>
                    <a:lnTo>
                      <a:pt x="10" y="1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9" name="Freeform 138">
                <a:extLst>
                  <a:ext uri="{FF2B5EF4-FFF2-40B4-BE49-F238E27FC236}">
                    <a16:creationId xmlns:a16="http://schemas.microsoft.com/office/drawing/2014/main" id="{5102673B-671E-4924-B55D-FF12363322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9464" y="1714500"/>
                <a:ext cx="4763" cy="7938"/>
              </a:xfrm>
              <a:custGeom>
                <a:avLst/>
                <a:gdLst>
                  <a:gd name="T0" fmla="*/ 3 w 3"/>
                  <a:gd name="T1" fmla="*/ 4 h 5"/>
                  <a:gd name="T2" fmla="*/ 1 w 3"/>
                  <a:gd name="T3" fmla="*/ 2 h 5"/>
                  <a:gd name="T4" fmla="*/ 0 w 3"/>
                  <a:gd name="T5" fmla="*/ 0 h 5"/>
                  <a:gd name="T6" fmla="*/ 0 w 3"/>
                  <a:gd name="T7" fmla="*/ 5 h 5"/>
                  <a:gd name="T8" fmla="*/ 2 w 3"/>
                  <a:gd name="T9" fmla="*/ 5 h 5"/>
                  <a:gd name="T10" fmla="*/ 3 w 3"/>
                  <a:gd name="T11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5">
                    <a:moveTo>
                      <a:pt x="3" y="4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0" name="Freeform 139">
                <a:extLst>
                  <a:ext uri="{FF2B5EF4-FFF2-40B4-BE49-F238E27FC236}">
                    <a16:creationId xmlns:a16="http://schemas.microsoft.com/office/drawing/2014/main" id="{EA3DC64C-4A4C-4306-A2FF-22331D5E7D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6114" y="1241425"/>
                <a:ext cx="46038" cy="38100"/>
              </a:xfrm>
              <a:custGeom>
                <a:avLst/>
                <a:gdLst>
                  <a:gd name="T0" fmla="*/ 15 w 29"/>
                  <a:gd name="T1" fmla="*/ 17 h 24"/>
                  <a:gd name="T2" fmla="*/ 19 w 29"/>
                  <a:gd name="T3" fmla="*/ 17 h 24"/>
                  <a:gd name="T4" fmla="*/ 22 w 29"/>
                  <a:gd name="T5" fmla="*/ 18 h 24"/>
                  <a:gd name="T6" fmla="*/ 20 w 29"/>
                  <a:gd name="T7" fmla="*/ 19 h 24"/>
                  <a:gd name="T8" fmla="*/ 16 w 29"/>
                  <a:gd name="T9" fmla="*/ 20 h 24"/>
                  <a:gd name="T10" fmla="*/ 13 w 29"/>
                  <a:gd name="T11" fmla="*/ 20 h 24"/>
                  <a:gd name="T12" fmla="*/ 13 w 29"/>
                  <a:gd name="T13" fmla="*/ 22 h 24"/>
                  <a:gd name="T14" fmla="*/ 15 w 29"/>
                  <a:gd name="T15" fmla="*/ 24 h 24"/>
                  <a:gd name="T16" fmla="*/ 18 w 29"/>
                  <a:gd name="T17" fmla="*/ 24 h 24"/>
                  <a:gd name="T18" fmla="*/ 22 w 29"/>
                  <a:gd name="T19" fmla="*/ 21 h 24"/>
                  <a:gd name="T20" fmla="*/ 25 w 29"/>
                  <a:gd name="T21" fmla="*/ 18 h 24"/>
                  <a:gd name="T22" fmla="*/ 26 w 29"/>
                  <a:gd name="T23" fmla="*/ 17 h 24"/>
                  <a:gd name="T24" fmla="*/ 28 w 29"/>
                  <a:gd name="T25" fmla="*/ 12 h 24"/>
                  <a:gd name="T26" fmla="*/ 29 w 29"/>
                  <a:gd name="T27" fmla="*/ 7 h 24"/>
                  <a:gd name="T28" fmla="*/ 29 w 29"/>
                  <a:gd name="T29" fmla="*/ 5 h 24"/>
                  <a:gd name="T30" fmla="*/ 23 w 29"/>
                  <a:gd name="T31" fmla="*/ 1 h 24"/>
                  <a:gd name="T32" fmla="*/ 18 w 29"/>
                  <a:gd name="T33" fmla="*/ 0 h 24"/>
                  <a:gd name="T34" fmla="*/ 14 w 29"/>
                  <a:gd name="T35" fmla="*/ 1 h 24"/>
                  <a:gd name="T36" fmla="*/ 11 w 29"/>
                  <a:gd name="T37" fmla="*/ 3 h 24"/>
                  <a:gd name="T38" fmla="*/ 8 w 29"/>
                  <a:gd name="T39" fmla="*/ 1 h 24"/>
                  <a:gd name="T40" fmla="*/ 7 w 29"/>
                  <a:gd name="T41" fmla="*/ 1 h 24"/>
                  <a:gd name="T42" fmla="*/ 4 w 29"/>
                  <a:gd name="T43" fmla="*/ 3 h 24"/>
                  <a:gd name="T44" fmla="*/ 1 w 29"/>
                  <a:gd name="T45" fmla="*/ 3 h 24"/>
                  <a:gd name="T46" fmla="*/ 0 w 29"/>
                  <a:gd name="T47" fmla="*/ 5 h 24"/>
                  <a:gd name="T48" fmla="*/ 1 w 29"/>
                  <a:gd name="T49" fmla="*/ 7 h 24"/>
                  <a:gd name="T50" fmla="*/ 4 w 29"/>
                  <a:gd name="T51" fmla="*/ 8 h 24"/>
                  <a:gd name="T52" fmla="*/ 6 w 29"/>
                  <a:gd name="T53" fmla="*/ 10 h 24"/>
                  <a:gd name="T54" fmla="*/ 9 w 29"/>
                  <a:gd name="T55" fmla="*/ 13 h 24"/>
                  <a:gd name="T56" fmla="*/ 11 w 29"/>
                  <a:gd name="T57" fmla="*/ 16 h 24"/>
                  <a:gd name="T58" fmla="*/ 15 w 29"/>
                  <a:gd name="T59" fmla="*/ 1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9" h="24">
                    <a:moveTo>
                      <a:pt x="15" y="17"/>
                    </a:moveTo>
                    <a:lnTo>
                      <a:pt x="19" y="17"/>
                    </a:lnTo>
                    <a:lnTo>
                      <a:pt x="22" y="18"/>
                    </a:lnTo>
                    <a:lnTo>
                      <a:pt x="20" y="19"/>
                    </a:lnTo>
                    <a:lnTo>
                      <a:pt x="16" y="20"/>
                    </a:lnTo>
                    <a:lnTo>
                      <a:pt x="13" y="20"/>
                    </a:lnTo>
                    <a:lnTo>
                      <a:pt x="13" y="22"/>
                    </a:lnTo>
                    <a:lnTo>
                      <a:pt x="15" y="24"/>
                    </a:lnTo>
                    <a:lnTo>
                      <a:pt x="18" y="24"/>
                    </a:lnTo>
                    <a:lnTo>
                      <a:pt x="22" y="21"/>
                    </a:lnTo>
                    <a:lnTo>
                      <a:pt x="25" y="18"/>
                    </a:lnTo>
                    <a:lnTo>
                      <a:pt x="26" y="17"/>
                    </a:lnTo>
                    <a:lnTo>
                      <a:pt x="28" y="12"/>
                    </a:lnTo>
                    <a:lnTo>
                      <a:pt x="29" y="7"/>
                    </a:lnTo>
                    <a:lnTo>
                      <a:pt x="29" y="5"/>
                    </a:lnTo>
                    <a:lnTo>
                      <a:pt x="23" y="1"/>
                    </a:lnTo>
                    <a:lnTo>
                      <a:pt x="18" y="0"/>
                    </a:lnTo>
                    <a:lnTo>
                      <a:pt x="14" y="1"/>
                    </a:lnTo>
                    <a:lnTo>
                      <a:pt x="11" y="3"/>
                    </a:lnTo>
                    <a:lnTo>
                      <a:pt x="8" y="1"/>
                    </a:lnTo>
                    <a:lnTo>
                      <a:pt x="7" y="1"/>
                    </a:lnTo>
                    <a:lnTo>
                      <a:pt x="4" y="3"/>
                    </a:lnTo>
                    <a:lnTo>
                      <a:pt x="1" y="3"/>
                    </a:lnTo>
                    <a:lnTo>
                      <a:pt x="0" y="5"/>
                    </a:lnTo>
                    <a:lnTo>
                      <a:pt x="1" y="7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9" y="13"/>
                    </a:lnTo>
                    <a:lnTo>
                      <a:pt x="11" y="16"/>
                    </a:lnTo>
                    <a:lnTo>
                      <a:pt x="15" y="1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1" name="Freeform 140">
                <a:extLst>
                  <a:ext uri="{FF2B5EF4-FFF2-40B4-BE49-F238E27FC236}">
                    <a16:creationId xmlns:a16="http://schemas.microsoft.com/office/drawing/2014/main" id="{E7564BDA-1860-4634-A237-D6213FD3F8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47114" y="1457325"/>
                <a:ext cx="30163" cy="28575"/>
              </a:xfrm>
              <a:custGeom>
                <a:avLst/>
                <a:gdLst>
                  <a:gd name="T0" fmla="*/ 2 w 19"/>
                  <a:gd name="T1" fmla="*/ 12 h 18"/>
                  <a:gd name="T2" fmla="*/ 4 w 19"/>
                  <a:gd name="T3" fmla="*/ 12 h 18"/>
                  <a:gd name="T4" fmla="*/ 7 w 19"/>
                  <a:gd name="T5" fmla="*/ 13 h 18"/>
                  <a:gd name="T6" fmla="*/ 11 w 19"/>
                  <a:gd name="T7" fmla="*/ 16 h 18"/>
                  <a:gd name="T8" fmla="*/ 14 w 19"/>
                  <a:gd name="T9" fmla="*/ 18 h 18"/>
                  <a:gd name="T10" fmla="*/ 17 w 19"/>
                  <a:gd name="T11" fmla="*/ 17 h 18"/>
                  <a:gd name="T12" fmla="*/ 19 w 19"/>
                  <a:gd name="T13" fmla="*/ 14 h 18"/>
                  <a:gd name="T14" fmla="*/ 18 w 19"/>
                  <a:gd name="T15" fmla="*/ 10 h 18"/>
                  <a:gd name="T16" fmla="*/ 17 w 19"/>
                  <a:gd name="T17" fmla="*/ 7 h 18"/>
                  <a:gd name="T18" fmla="*/ 17 w 19"/>
                  <a:gd name="T19" fmla="*/ 6 h 18"/>
                  <a:gd name="T20" fmla="*/ 16 w 19"/>
                  <a:gd name="T21" fmla="*/ 2 h 18"/>
                  <a:gd name="T22" fmla="*/ 14 w 19"/>
                  <a:gd name="T23" fmla="*/ 0 h 18"/>
                  <a:gd name="T24" fmla="*/ 13 w 19"/>
                  <a:gd name="T25" fmla="*/ 2 h 18"/>
                  <a:gd name="T26" fmla="*/ 10 w 19"/>
                  <a:gd name="T27" fmla="*/ 2 h 18"/>
                  <a:gd name="T28" fmla="*/ 7 w 19"/>
                  <a:gd name="T29" fmla="*/ 0 h 18"/>
                  <a:gd name="T30" fmla="*/ 5 w 19"/>
                  <a:gd name="T31" fmla="*/ 0 h 18"/>
                  <a:gd name="T32" fmla="*/ 4 w 19"/>
                  <a:gd name="T33" fmla="*/ 2 h 18"/>
                  <a:gd name="T34" fmla="*/ 3 w 19"/>
                  <a:gd name="T35" fmla="*/ 2 h 18"/>
                  <a:gd name="T36" fmla="*/ 3 w 19"/>
                  <a:gd name="T37" fmla="*/ 3 h 18"/>
                  <a:gd name="T38" fmla="*/ 1 w 19"/>
                  <a:gd name="T39" fmla="*/ 3 h 18"/>
                  <a:gd name="T40" fmla="*/ 0 w 19"/>
                  <a:gd name="T41" fmla="*/ 6 h 18"/>
                  <a:gd name="T42" fmla="*/ 0 w 19"/>
                  <a:gd name="T43" fmla="*/ 12 h 18"/>
                  <a:gd name="T44" fmla="*/ 2 w 19"/>
                  <a:gd name="T45" fmla="*/ 1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9" h="18">
                    <a:moveTo>
                      <a:pt x="2" y="12"/>
                    </a:moveTo>
                    <a:lnTo>
                      <a:pt x="4" y="12"/>
                    </a:lnTo>
                    <a:lnTo>
                      <a:pt x="7" y="13"/>
                    </a:lnTo>
                    <a:lnTo>
                      <a:pt x="11" y="16"/>
                    </a:lnTo>
                    <a:lnTo>
                      <a:pt x="14" y="18"/>
                    </a:lnTo>
                    <a:lnTo>
                      <a:pt x="17" y="17"/>
                    </a:lnTo>
                    <a:lnTo>
                      <a:pt x="19" y="14"/>
                    </a:lnTo>
                    <a:lnTo>
                      <a:pt x="18" y="10"/>
                    </a:lnTo>
                    <a:lnTo>
                      <a:pt x="17" y="7"/>
                    </a:lnTo>
                    <a:lnTo>
                      <a:pt x="17" y="6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3" y="2"/>
                    </a:lnTo>
                    <a:lnTo>
                      <a:pt x="10" y="2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3" y="3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" name="Freeform 141">
                <a:extLst>
                  <a:ext uri="{FF2B5EF4-FFF2-40B4-BE49-F238E27FC236}">
                    <a16:creationId xmlns:a16="http://schemas.microsoft.com/office/drawing/2014/main" id="{76CC8511-BDFE-4DD1-8C83-07C3CD8152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88301" y="1120775"/>
                <a:ext cx="11113" cy="19050"/>
              </a:xfrm>
              <a:custGeom>
                <a:avLst/>
                <a:gdLst>
                  <a:gd name="T0" fmla="*/ 6 w 7"/>
                  <a:gd name="T1" fmla="*/ 8 h 12"/>
                  <a:gd name="T2" fmla="*/ 7 w 7"/>
                  <a:gd name="T3" fmla="*/ 6 h 12"/>
                  <a:gd name="T4" fmla="*/ 6 w 7"/>
                  <a:gd name="T5" fmla="*/ 5 h 12"/>
                  <a:gd name="T6" fmla="*/ 6 w 7"/>
                  <a:gd name="T7" fmla="*/ 2 h 12"/>
                  <a:gd name="T8" fmla="*/ 6 w 7"/>
                  <a:gd name="T9" fmla="*/ 0 h 12"/>
                  <a:gd name="T10" fmla="*/ 2 w 7"/>
                  <a:gd name="T11" fmla="*/ 5 h 12"/>
                  <a:gd name="T12" fmla="*/ 0 w 7"/>
                  <a:gd name="T13" fmla="*/ 12 h 12"/>
                  <a:gd name="T14" fmla="*/ 3 w 7"/>
                  <a:gd name="T15" fmla="*/ 10 h 12"/>
                  <a:gd name="T16" fmla="*/ 6 w 7"/>
                  <a:gd name="T17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12">
                    <a:moveTo>
                      <a:pt x="6" y="8"/>
                    </a:moveTo>
                    <a:lnTo>
                      <a:pt x="7" y="6"/>
                    </a:lnTo>
                    <a:lnTo>
                      <a:pt x="6" y="5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2" y="5"/>
                    </a:lnTo>
                    <a:lnTo>
                      <a:pt x="0" y="12"/>
                    </a:lnTo>
                    <a:lnTo>
                      <a:pt x="3" y="10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3" name="Freeform 142">
                <a:extLst>
                  <a:ext uri="{FF2B5EF4-FFF2-40B4-BE49-F238E27FC236}">
                    <a16:creationId xmlns:a16="http://schemas.microsoft.com/office/drawing/2014/main" id="{E52C3FB8-0917-4B6B-82DB-A3F4E01F4E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1301" y="1223963"/>
                <a:ext cx="146050" cy="133350"/>
              </a:xfrm>
              <a:custGeom>
                <a:avLst/>
                <a:gdLst>
                  <a:gd name="T0" fmla="*/ 7 w 92"/>
                  <a:gd name="T1" fmla="*/ 38 h 84"/>
                  <a:gd name="T2" fmla="*/ 4 w 92"/>
                  <a:gd name="T3" fmla="*/ 40 h 84"/>
                  <a:gd name="T4" fmla="*/ 7 w 92"/>
                  <a:gd name="T5" fmla="*/ 44 h 84"/>
                  <a:gd name="T6" fmla="*/ 8 w 92"/>
                  <a:gd name="T7" fmla="*/ 49 h 84"/>
                  <a:gd name="T8" fmla="*/ 13 w 92"/>
                  <a:gd name="T9" fmla="*/ 52 h 84"/>
                  <a:gd name="T10" fmla="*/ 13 w 92"/>
                  <a:gd name="T11" fmla="*/ 56 h 84"/>
                  <a:gd name="T12" fmla="*/ 16 w 92"/>
                  <a:gd name="T13" fmla="*/ 56 h 84"/>
                  <a:gd name="T14" fmla="*/ 19 w 92"/>
                  <a:gd name="T15" fmla="*/ 59 h 84"/>
                  <a:gd name="T16" fmla="*/ 17 w 92"/>
                  <a:gd name="T17" fmla="*/ 59 h 84"/>
                  <a:gd name="T18" fmla="*/ 13 w 92"/>
                  <a:gd name="T19" fmla="*/ 62 h 84"/>
                  <a:gd name="T20" fmla="*/ 23 w 92"/>
                  <a:gd name="T21" fmla="*/ 71 h 84"/>
                  <a:gd name="T22" fmla="*/ 31 w 92"/>
                  <a:gd name="T23" fmla="*/ 73 h 84"/>
                  <a:gd name="T24" fmla="*/ 37 w 92"/>
                  <a:gd name="T25" fmla="*/ 77 h 84"/>
                  <a:gd name="T26" fmla="*/ 40 w 92"/>
                  <a:gd name="T27" fmla="*/ 83 h 84"/>
                  <a:gd name="T28" fmla="*/ 48 w 92"/>
                  <a:gd name="T29" fmla="*/ 82 h 84"/>
                  <a:gd name="T30" fmla="*/ 55 w 92"/>
                  <a:gd name="T31" fmla="*/ 84 h 84"/>
                  <a:gd name="T32" fmla="*/ 58 w 92"/>
                  <a:gd name="T33" fmla="*/ 80 h 84"/>
                  <a:gd name="T34" fmla="*/ 57 w 92"/>
                  <a:gd name="T35" fmla="*/ 73 h 84"/>
                  <a:gd name="T36" fmla="*/ 55 w 92"/>
                  <a:gd name="T37" fmla="*/ 71 h 84"/>
                  <a:gd name="T38" fmla="*/ 53 w 92"/>
                  <a:gd name="T39" fmla="*/ 67 h 84"/>
                  <a:gd name="T40" fmla="*/ 55 w 92"/>
                  <a:gd name="T41" fmla="*/ 66 h 84"/>
                  <a:gd name="T42" fmla="*/ 59 w 92"/>
                  <a:gd name="T43" fmla="*/ 69 h 84"/>
                  <a:gd name="T44" fmla="*/ 60 w 92"/>
                  <a:gd name="T45" fmla="*/ 73 h 84"/>
                  <a:gd name="T46" fmla="*/ 65 w 92"/>
                  <a:gd name="T47" fmla="*/ 69 h 84"/>
                  <a:gd name="T48" fmla="*/ 72 w 92"/>
                  <a:gd name="T49" fmla="*/ 56 h 84"/>
                  <a:gd name="T50" fmla="*/ 78 w 92"/>
                  <a:gd name="T51" fmla="*/ 53 h 84"/>
                  <a:gd name="T52" fmla="*/ 79 w 92"/>
                  <a:gd name="T53" fmla="*/ 57 h 84"/>
                  <a:gd name="T54" fmla="*/ 83 w 92"/>
                  <a:gd name="T55" fmla="*/ 59 h 84"/>
                  <a:gd name="T56" fmla="*/ 86 w 92"/>
                  <a:gd name="T57" fmla="*/ 54 h 84"/>
                  <a:gd name="T58" fmla="*/ 92 w 92"/>
                  <a:gd name="T59" fmla="*/ 49 h 84"/>
                  <a:gd name="T60" fmla="*/ 87 w 92"/>
                  <a:gd name="T61" fmla="*/ 48 h 84"/>
                  <a:gd name="T62" fmla="*/ 79 w 92"/>
                  <a:gd name="T63" fmla="*/ 47 h 84"/>
                  <a:gd name="T64" fmla="*/ 72 w 92"/>
                  <a:gd name="T65" fmla="*/ 43 h 84"/>
                  <a:gd name="T66" fmla="*/ 69 w 92"/>
                  <a:gd name="T67" fmla="*/ 42 h 84"/>
                  <a:gd name="T68" fmla="*/ 62 w 92"/>
                  <a:gd name="T69" fmla="*/ 35 h 84"/>
                  <a:gd name="T70" fmla="*/ 61 w 92"/>
                  <a:gd name="T71" fmla="*/ 26 h 84"/>
                  <a:gd name="T72" fmla="*/ 58 w 92"/>
                  <a:gd name="T73" fmla="*/ 20 h 84"/>
                  <a:gd name="T74" fmla="*/ 55 w 92"/>
                  <a:gd name="T75" fmla="*/ 16 h 84"/>
                  <a:gd name="T76" fmla="*/ 55 w 92"/>
                  <a:gd name="T77" fmla="*/ 13 h 84"/>
                  <a:gd name="T78" fmla="*/ 57 w 92"/>
                  <a:gd name="T79" fmla="*/ 11 h 84"/>
                  <a:gd name="T80" fmla="*/ 56 w 92"/>
                  <a:gd name="T81" fmla="*/ 7 h 84"/>
                  <a:gd name="T82" fmla="*/ 48 w 92"/>
                  <a:gd name="T83" fmla="*/ 5 h 84"/>
                  <a:gd name="T84" fmla="*/ 42 w 92"/>
                  <a:gd name="T85" fmla="*/ 2 h 84"/>
                  <a:gd name="T86" fmla="*/ 36 w 92"/>
                  <a:gd name="T87" fmla="*/ 0 h 84"/>
                  <a:gd name="T88" fmla="*/ 40 w 92"/>
                  <a:gd name="T89" fmla="*/ 6 h 84"/>
                  <a:gd name="T90" fmla="*/ 43 w 92"/>
                  <a:gd name="T91" fmla="*/ 8 h 84"/>
                  <a:gd name="T92" fmla="*/ 39 w 92"/>
                  <a:gd name="T93" fmla="*/ 7 h 84"/>
                  <a:gd name="T94" fmla="*/ 35 w 92"/>
                  <a:gd name="T95" fmla="*/ 11 h 84"/>
                  <a:gd name="T96" fmla="*/ 38 w 92"/>
                  <a:gd name="T97" fmla="*/ 18 h 84"/>
                  <a:gd name="T98" fmla="*/ 43 w 92"/>
                  <a:gd name="T99" fmla="*/ 28 h 84"/>
                  <a:gd name="T100" fmla="*/ 42 w 92"/>
                  <a:gd name="T101" fmla="*/ 31 h 84"/>
                  <a:gd name="T102" fmla="*/ 36 w 92"/>
                  <a:gd name="T103" fmla="*/ 28 h 84"/>
                  <a:gd name="T104" fmla="*/ 32 w 92"/>
                  <a:gd name="T105" fmla="*/ 21 h 84"/>
                  <a:gd name="T106" fmla="*/ 28 w 92"/>
                  <a:gd name="T107" fmla="*/ 24 h 84"/>
                  <a:gd name="T108" fmla="*/ 24 w 92"/>
                  <a:gd name="T109" fmla="*/ 21 h 84"/>
                  <a:gd name="T110" fmla="*/ 23 w 92"/>
                  <a:gd name="T111" fmla="*/ 15 h 84"/>
                  <a:gd name="T112" fmla="*/ 17 w 92"/>
                  <a:gd name="T113" fmla="*/ 11 h 84"/>
                  <a:gd name="T114" fmla="*/ 12 w 92"/>
                  <a:gd name="T115" fmla="*/ 10 h 84"/>
                  <a:gd name="T116" fmla="*/ 7 w 92"/>
                  <a:gd name="T117" fmla="*/ 8 h 84"/>
                  <a:gd name="T118" fmla="*/ 5 w 92"/>
                  <a:gd name="T119" fmla="*/ 15 h 84"/>
                  <a:gd name="T120" fmla="*/ 5 w 92"/>
                  <a:gd name="T121" fmla="*/ 21 h 84"/>
                  <a:gd name="T122" fmla="*/ 0 w 92"/>
                  <a:gd name="T123" fmla="*/ 28 h 84"/>
                  <a:gd name="T124" fmla="*/ 3 w 92"/>
                  <a:gd name="T125" fmla="*/ 3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2" h="84">
                    <a:moveTo>
                      <a:pt x="6" y="36"/>
                    </a:moveTo>
                    <a:lnTo>
                      <a:pt x="7" y="38"/>
                    </a:lnTo>
                    <a:lnTo>
                      <a:pt x="6" y="39"/>
                    </a:lnTo>
                    <a:lnTo>
                      <a:pt x="4" y="40"/>
                    </a:lnTo>
                    <a:lnTo>
                      <a:pt x="5" y="43"/>
                    </a:lnTo>
                    <a:lnTo>
                      <a:pt x="7" y="44"/>
                    </a:lnTo>
                    <a:lnTo>
                      <a:pt x="8" y="47"/>
                    </a:lnTo>
                    <a:lnTo>
                      <a:pt x="8" y="49"/>
                    </a:lnTo>
                    <a:lnTo>
                      <a:pt x="10" y="51"/>
                    </a:lnTo>
                    <a:lnTo>
                      <a:pt x="13" y="52"/>
                    </a:lnTo>
                    <a:lnTo>
                      <a:pt x="14" y="54"/>
                    </a:lnTo>
                    <a:lnTo>
                      <a:pt x="13" y="56"/>
                    </a:lnTo>
                    <a:lnTo>
                      <a:pt x="15" y="57"/>
                    </a:lnTo>
                    <a:lnTo>
                      <a:pt x="16" y="56"/>
                    </a:lnTo>
                    <a:lnTo>
                      <a:pt x="18" y="57"/>
                    </a:lnTo>
                    <a:lnTo>
                      <a:pt x="19" y="59"/>
                    </a:lnTo>
                    <a:lnTo>
                      <a:pt x="17" y="60"/>
                    </a:lnTo>
                    <a:lnTo>
                      <a:pt x="17" y="59"/>
                    </a:lnTo>
                    <a:lnTo>
                      <a:pt x="14" y="59"/>
                    </a:lnTo>
                    <a:lnTo>
                      <a:pt x="13" y="62"/>
                    </a:lnTo>
                    <a:lnTo>
                      <a:pt x="14" y="65"/>
                    </a:lnTo>
                    <a:lnTo>
                      <a:pt x="23" y="71"/>
                    </a:lnTo>
                    <a:lnTo>
                      <a:pt x="27" y="73"/>
                    </a:lnTo>
                    <a:lnTo>
                      <a:pt x="31" y="73"/>
                    </a:lnTo>
                    <a:lnTo>
                      <a:pt x="34" y="76"/>
                    </a:lnTo>
                    <a:lnTo>
                      <a:pt x="37" y="77"/>
                    </a:lnTo>
                    <a:lnTo>
                      <a:pt x="38" y="80"/>
                    </a:lnTo>
                    <a:lnTo>
                      <a:pt x="40" y="83"/>
                    </a:lnTo>
                    <a:lnTo>
                      <a:pt x="44" y="83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5" y="84"/>
                    </a:lnTo>
                    <a:lnTo>
                      <a:pt x="57" y="83"/>
                    </a:lnTo>
                    <a:lnTo>
                      <a:pt x="58" y="80"/>
                    </a:lnTo>
                    <a:lnTo>
                      <a:pt x="58" y="77"/>
                    </a:lnTo>
                    <a:lnTo>
                      <a:pt x="57" y="73"/>
                    </a:lnTo>
                    <a:lnTo>
                      <a:pt x="57" y="71"/>
                    </a:lnTo>
                    <a:lnTo>
                      <a:pt x="55" y="71"/>
                    </a:lnTo>
                    <a:lnTo>
                      <a:pt x="54" y="69"/>
                    </a:lnTo>
                    <a:lnTo>
                      <a:pt x="53" y="67"/>
                    </a:lnTo>
                    <a:lnTo>
                      <a:pt x="54" y="65"/>
                    </a:lnTo>
                    <a:lnTo>
                      <a:pt x="55" y="66"/>
                    </a:lnTo>
                    <a:lnTo>
                      <a:pt x="57" y="69"/>
                    </a:lnTo>
                    <a:lnTo>
                      <a:pt x="59" y="69"/>
                    </a:lnTo>
                    <a:lnTo>
                      <a:pt x="61" y="72"/>
                    </a:lnTo>
                    <a:lnTo>
                      <a:pt x="60" y="73"/>
                    </a:lnTo>
                    <a:lnTo>
                      <a:pt x="62" y="73"/>
                    </a:lnTo>
                    <a:lnTo>
                      <a:pt x="65" y="69"/>
                    </a:lnTo>
                    <a:lnTo>
                      <a:pt x="68" y="63"/>
                    </a:lnTo>
                    <a:lnTo>
                      <a:pt x="72" y="56"/>
                    </a:lnTo>
                    <a:lnTo>
                      <a:pt x="76" y="56"/>
                    </a:lnTo>
                    <a:lnTo>
                      <a:pt x="78" y="53"/>
                    </a:lnTo>
                    <a:lnTo>
                      <a:pt x="79" y="54"/>
                    </a:lnTo>
                    <a:lnTo>
                      <a:pt x="79" y="57"/>
                    </a:lnTo>
                    <a:lnTo>
                      <a:pt x="81" y="57"/>
                    </a:lnTo>
                    <a:lnTo>
                      <a:pt x="83" y="59"/>
                    </a:lnTo>
                    <a:lnTo>
                      <a:pt x="86" y="57"/>
                    </a:lnTo>
                    <a:lnTo>
                      <a:pt x="86" y="54"/>
                    </a:lnTo>
                    <a:lnTo>
                      <a:pt x="90" y="52"/>
                    </a:lnTo>
                    <a:lnTo>
                      <a:pt x="92" y="49"/>
                    </a:lnTo>
                    <a:lnTo>
                      <a:pt x="91" y="47"/>
                    </a:lnTo>
                    <a:lnTo>
                      <a:pt x="87" y="48"/>
                    </a:lnTo>
                    <a:lnTo>
                      <a:pt x="83" y="50"/>
                    </a:lnTo>
                    <a:lnTo>
                      <a:pt x="79" y="47"/>
                    </a:lnTo>
                    <a:lnTo>
                      <a:pt x="74" y="45"/>
                    </a:lnTo>
                    <a:lnTo>
                      <a:pt x="72" y="43"/>
                    </a:lnTo>
                    <a:lnTo>
                      <a:pt x="69" y="43"/>
                    </a:lnTo>
                    <a:lnTo>
                      <a:pt x="69" y="42"/>
                    </a:lnTo>
                    <a:lnTo>
                      <a:pt x="65" y="36"/>
                    </a:lnTo>
                    <a:lnTo>
                      <a:pt x="62" y="35"/>
                    </a:lnTo>
                    <a:lnTo>
                      <a:pt x="61" y="29"/>
                    </a:lnTo>
                    <a:lnTo>
                      <a:pt x="61" y="26"/>
                    </a:lnTo>
                    <a:lnTo>
                      <a:pt x="58" y="23"/>
                    </a:lnTo>
                    <a:lnTo>
                      <a:pt x="58" y="20"/>
                    </a:lnTo>
                    <a:lnTo>
                      <a:pt x="55" y="18"/>
                    </a:lnTo>
                    <a:lnTo>
                      <a:pt x="55" y="16"/>
                    </a:lnTo>
                    <a:lnTo>
                      <a:pt x="56" y="15"/>
                    </a:lnTo>
                    <a:lnTo>
                      <a:pt x="55" y="13"/>
                    </a:lnTo>
                    <a:lnTo>
                      <a:pt x="56" y="11"/>
                    </a:lnTo>
                    <a:lnTo>
                      <a:pt x="57" y="11"/>
                    </a:lnTo>
                    <a:lnTo>
                      <a:pt x="57" y="8"/>
                    </a:lnTo>
                    <a:lnTo>
                      <a:pt x="56" y="7"/>
                    </a:lnTo>
                    <a:lnTo>
                      <a:pt x="54" y="5"/>
                    </a:lnTo>
                    <a:lnTo>
                      <a:pt x="48" y="5"/>
                    </a:lnTo>
                    <a:lnTo>
                      <a:pt x="45" y="4"/>
                    </a:lnTo>
                    <a:lnTo>
                      <a:pt x="42" y="2"/>
                    </a:lnTo>
                    <a:lnTo>
                      <a:pt x="39" y="2"/>
                    </a:lnTo>
                    <a:lnTo>
                      <a:pt x="36" y="0"/>
                    </a:lnTo>
                    <a:lnTo>
                      <a:pt x="35" y="1"/>
                    </a:lnTo>
                    <a:lnTo>
                      <a:pt x="40" y="6"/>
                    </a:lnTo>
                    <a:lnTo>
                      <a:pt x="42" y="7"/>
                    </a:lnTo>
                    <a:lnTo>
                      <a:pt x="43" y="8"/>
                    </a:lnTo>
                    <a:lnTo>
                      <a:pt x="40" y="8"/>
                    </a:lnTo>
                    <a:lnTo>
                      <a:pt x="39" y="7"/>
                    </a:lnTo>
                    <a:lnTo>
                      <a:pt x="37" y="7"/>
                    </a:lnTo>
                    <a:lnTo>
                      <a:pt x="35" y="11"/>
                    </a:lnTo>
                    <a:lnTo>
                      <a:pt x="36" y="14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43" y="28"/>
                    </a:lnTo>
                    <a:lnTo>
                      <a:pt x="44" y="30"/>
                    </a:lnTo>
                    <a:lnTo>
                      <a:pt x="42" y="31"/>
                    </a:lnTo>
                    <a:lnTo>
                      <a:pt x="39" y="31"/>
                    </a:lnTo>
                    <a:lnTo>
                      <a:pt x="36" y="28"/>
                    </a:lnTo>
                    <a:lnTo>
                      <a:pt x="34" y="23"/>
                    </a:lnTo>
                    <a:lnTo>
                      <a:pt x="32" y="21"/>
                    </a:lnTo>
                    <a:lnTo>
                      <a:pt x="30" y="22"/>
                    </a:lnTo>
                    <a:lnTo>
                      <a:pt x="28" y="24"/>
                    </a:lnTo>
                    <a:lnTo>
                      <a:pt x="27" y="22"/>
                    </a:lnTo>
                    <a:lnTo>
                      <a:pt x="24" y="21"/>
                    </a:lnTo>
                    <a:lnTo>
                      <a:pt x="24" y="18"/>
                    </a:lnTo>
                    <a:lnTo>
                      <a:pt x="23" y="15"/>
                    </a:lnTo>
                    <a:lnTo>
                      <a:pt x="20" y="14"/>
                    </a:lnTo>
                    <a:lnTo>
                      <a:pt x="17" y="11"/>
                    </a:lnTo>
                    <a:lnTo>
                      <a:pt x="13" y="11"/>
                    </a:lnTo>
                    <a:lnTo>
                      <a:pt x="12" y="10"/>
                    </a:lnTo>
                    <a:lnTo>
                      <a:pt x="10" y="7"/>
                    </a:lnTo>
                    <a:lnTo>
                      <a:pt x="7" y="8"/>
                    </a:lnTo>
                    <a:lnTo>
                      <a:pt x="5" y="11"/>
                    </a:lnTo>
                    <a:lnTo>
                      <a:pt x="5" y="15"/>
                    </a:lnTo>
                    <a:lnTo>
                      <a:pt x="4" y="17"/>
                    </a:lnTo>
                    <a:lnTo>
                      <a:pt x="5" y="21"/>
                    </a:lnTo>
                    <a:lnTo>
                      <a:pt x="3" y="25"/>
                    </a:lnTo>
                    <a:lnTo>
                      <a:pt x="0" y="28"/>
                    </a:lnTo>
                    <a:lnTo>
                      <a:pt x="0" y="31"/>
                    </a:lnTo>
                    <a:lnTo>
                      <a:pt x="3" y="36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4" name="Freeform 143">
                <a:extLst>
                  <a:ext uri="{FF2B5EF4-FFF2-40B4-BE49-F238E27FC236}">
                    <a16:creationId xmlns:a16="http://schemas.microsoft.com/office/drawing/2014/main" id="{DAB599D0-0F1B-4922-87EC-B103D06473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18464" y="1389063"/>
                <a:ext cx="68263" cy="53975"/>
              </a:xfrm>
              <a:custGeom>
                <a:avLst/>
                <a:gdLst>
                  <a:gd name="T0" fmla="*/ 4 w 43"/>
                  <a:gd name="T1" fmla="*/ 33 h 34"/>
                  <a:gd name="T2" fmla="*/ 6 w 43"/>
                  <a:gd name="T3" fmla="*/ 29 h 34"/>
                  <a:gd name="T4" fmla="*/ 10 w 43"/>
                  <a:gd name="T5" fmla="*/ 27 h 34"/>
                  <a:gd name="T6" fmla="*/ 15 w 43"/>
                  <a:gd name="T7" fmla="*/ 28 h 34"/>
                  <a:gd name="T8" fmla="*/ 20 w 43"/>
                  <a:gd name="T9" fmla="*/ 28 h 34"/>
                  <a:gd name="T10" fmla="*/ 24 w 43"/>
                  <a:gd name="T11" fmla="*/ 27 h 34"/>
                  <a:gd name="T12" fmla="*/ 31 w 43"/>
                  <a:gd name="T13" fmla="*/ 27 h 34"/>
                  <a:gd name="T14" fmla="*/ 33 w 43"/>
                  <a:gd name="T15" fmla="*/ 24 h 34"/>
                  <a:gd name="T16" fmla="*/ 38 w 43"/>
                  <a:gd name="T17" fmla="*/ 24 h 34"/>
                  <a:gd name="T18" fmla="*/ 41 w 43"/>
                  <a:gd name="T19" fmla="*/ 25 h 34"/>
                  <a:gd name="T20" fmla="*/ 43 w 43"/>
                  <a:gd name="T21" fmla="*/ 22 h 34"/>
                  <a:gd name="T22" fmla="*/ 41 w 43"/>
                  <a:gd name="T23" fmla="*/ 20 h 34"/>
                  <a:gd name="T24" fmla="*/ 39 w 43"/>
                  <a:gd name="T25" fmla="*/ 17 h 34"/>
                  <a:gd name="T26" fmla="*/ 36 w 43"/>
                  <a:gd name="T27" fmla="*/ 11 h 34"/>
                  <a:gd name="T28" fmla="*/ 30 w 43"/>
                  <a:gd name="T29" fmla="*/ 6 h 34"/>
                  <a:gd name="T30" fmla="*/ 26 w 43"/>
                  <a:gd name="T31" fmla="*/ 6 h 34"/>
                  <a:gd name="T32" fmla="*/ 22 w 43"/>
                  <a:gd name="T33" fmla="*/ 4 h 34"/>
                  <a:gd name="T34" fmla="*/ 20 w 43"/>
                  <a:gd name="T35" fmla="*/ 1 h 34"/>
                  <a:gd name="T36" fmla="*/ 18 w 43"/>
                  <a:gd name="T37" fmla="*/ 1 h 34"/>
                  <a:gd name="T38" fmla="*/ 15 w 43"/>
                  <a:gd name="T39" fmla="*/ 3 h 34"/>
                  <a:gd name="T40" fmla="*/ 11 w 43"/>
                  <a:gd name="T41" fmla="*/ 0 h 34"/>
                  <a:gd name="T42" fmla="*/ 9 w 43"/>
                  <a:gd name="T43" fmla="*/ 0 h 34"/>
                  <a:gd name="T44" fmla="*/ 7 w 43"/>
                  <a:gd name="T45" fmla="*/ 4 h 34"/>
                  <a:gd name="T46" fmla="*/ 4 w 43"/>
                  <a:gd name="T47" fmla="*/ 10 h 34"/>
                  <a:gd name="T48" fmla="*/ 5 w 43"/>
                  <a:gd name="T49" fmla="*/ 13 h 34"/>
                  <a:gd name="T50" fmla="*/ 4 w 43"/>
                  <a:gd name="T51" fmla="*/ 21 h 34"/>
                  <a:gd name="T52" fmla="*/ 3 w 43"/>
                  <a:gd name="T53" fmla="*/ 28 h 34"/>
                  <a:gd name="T54" fmla="*/ 0 w 43"/>
                  <a:gd name="T55" fmla="*/ 31 h 34"/>
                  <a:gd name="T56" fmla="*/ 0 w 43"/>
                  <a:gd name="T57" fmla="*/ 34 h 34"/>
                  <a:gd name="T58" fmla="*/ 2 w 43"/>
                  <a:gd name="T59" fmla="*/ 34 h 34"/>
                  <a:gd name="T60" fmla="*/ 4 w 43"/>
                  <a:gd name="T61" fmla="*/ 3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3" h="34">
                    <a:moveTo>
                      <a:pt x="4" y="33"/>
                    </a:moveTo>
                    <a:lnTo>
                      <a:pt x="6" y="29"/>
                    </a:lnTo>
                    <a:lnTo>
                      <a:pt x="10" y="27"/>
                    </a:lnTo>
                    <a:lnTo>
                      <a:pt x="15" y="28"/>
                    </a:lnTo>
                    <a:lnTo>
                      <a:pt x="20" y="28"/>
                    </a:lnTo>
                    <a:lnTo>
                      <a:pt x="24" y="27"/>
                    </a:lnTo>
                    <a:lnTo>
                      <a:pt x="31" y="27"/>
                    </a:lnTo>
                    <a:lnTo>
                      <a:pt x="33" y="24"/>
                    </a:lnTo>
                    <a:lnTo>
                      <a:pt x="38" y="24"/>
                    </a:lnTo>
                    <a:lnTo>
                      <a:pt x="41" y="25"/>
                    </a:lnTo>
                    <a:lnTo>
                      <a:pt x="43" y="22"/>
                    </a:lnTo>
                    <a:lnTo>
                      <a:pt x="41" y="20"/>
                    </a:lnTo>
                    <a:lnTo>
                      <a:pt x="39" y="17"/>
                    </a:lnTo>
                    <a:lnTo>
                      <a:pt x="36" y="11"/>
                    </a:lnTo>
                    <a:lnTo>
                      <a:pt x="30" y="6"/>
                    </a:lnTo>
                    <a:lnTo>
                      <a:pt x="26" y="6"/>
                    </a:lnTo>
                    <a:lnTo>
                      <a:pt x="22" y="4"/>
                    </a:lnTo>
                    <a:lnTo>
                      <a:pt x="20" y="1"/>
                    </a:lnTo>
                    <a:lnTo>
                      <a:pt x="18" y="1"/>
                    </a:lnTo>
                    <a:lnTo>
                      <a:pt x="15" y="3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7" y="4"/>
                    </a:lnTo>
                    <a:lnTo>
                      <a:pt x="4" y="10"/>
                    </a:lnTo>
                    <a:lnTo>
                      <a:pt x="5" y="13"/>
                    </a:lnTo>
                    <a:lnTo>
                      <a:pt x="4" y="21"/>
                    </a:lnTo>
                    <a:lnTo>
                      <a:pt x="3" y="28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2" y="34"/>
                    </a:lnTo>
                    <a:lnTo>
                      <a:pt x="4" y="3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5" name="Freeform 144">
                <a:extLst>
                  <a:ext uri="{FF2B5EF4-FFF2-40B4-BE49-F238E27FC236}">
                    <a16:creationId xmlns:a16="http://schemas.microsoft.com/office/drawing/2014/main" id="{DA66F793-285D-4290-85C9-864D32B2D1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35926" y="1230313"/>
                <a:ext cx="85725" cy="41275"/>
              </a:xfrm>
              <a:custGeom>
                <a:avLst/>
                <a:gdLst>
                  <a:gd name="T0" fmla="*/ 7 w 54"/>
                  <a:gd name="T1" fmla="*/ 15 h 26"/>
                  <a:gd name="T2" fmla="*/ 8 w 54"/>
                  <a:gd name="T3" fmla="*/ 18 h 26"/>
                  <a:gd name="T4" fmla="*/ 18 w 54"/>
                  <a:gd name="T5" fmla="*/ 22 h 26"/>
                  <a:gd name="T6" fmla="*/ 25 w 54"/>
                  <a:gd name="T7" fmla="*/ 23 h 26"/>
                  <a:gd name="T8" fmla="*/ 30 w 54"/>
                  <a:gd name="T9" fmla="*/ 26 h 26"/>
                  <a:gd name="T10" fmla="*/ 35 w 54"/>
                  <a:gd name="T11" fmla="*/ 26 h 26"/>
                  <a:gd name="T12" fmla="*/ 38 w 54"/>
                  <a:gd name="T13" fmla="*/ 24 h 26"/>
                  <a:gd name="T14" fmla="*/ 43 w 54"/>
                  <a:gd name="T15" fmla="*/ 26 h 26"/>
                  <a:gd name="T16" fmla="*/ 45 w 54"/>
                  <a:gd name="T17" fmla="*/ 25 h 26"/>
                  <a:gd name="T18" fmla="*/ 51 w 54"/>
                  <a:gd name="T19" fmla="*/ 21 h 26"/>
                  <a:gd name="T20" fmla="*/ 52 w 54"/>
                  <a:gd name="T21" fmla="*/ 17 h 26"/>
                  <a:gd name="T22" fmla="*/ 54 w 54"/>
                  <a:gd name="T23" fmla="*/ 13 h 26"/>
                  <a:gd name="T24" fmla="*/ 53 w 54"/>
                  <a:gd name="T25" fmla="*/ 8 h 26"/>
                  <a:gd name="T26" fmla="*/ 51 w 54"/>
                  <a:gd name="T27" fmla="*/ 7 h 26"/>
                  <a:gd name="T28" fmla="*/ 49 w 54"/>
                  <a:gd name="T29" fmla="*/ 7 h 26"/>
                  <a:gd name="T30" fmla="*/ 48 w 54"/>
                  <a:gd name="T31" fmla="*/ 4 h 26"/>
                  <a:gd name="T32" fmla="*/ 48 w 54"/>
                  <a:gd name="T33" fmla="*/ 3 h 26"/>
                  <a:gd name="T34" fmla="*/ 46 w 54"/>
                  <a:gd name="T35" fmla="*/ 0 h 26"/>
                  <a:gd name="T36" fmla="*/ 44 w 54"/>
                  <a:gd name="T37" fmla="*/ 2 h 26"/>
                  <a:gd name="T38" fmla="*/ 40 w 54"/>
                  <a:gd name="T39" fmla="*/ 1 h 26"/>
                  <a:gd name="T40" fmla="*/ 33 w 54"/>
                  <a:gd name="T41" fmla="*/ 3 h 26"/>
                  <a:gd name="T42" fmla="*/ 29 w 54"/>
                  <a:gd name="T43" fmla="*/ 6 h 26"/>
                  <a:gd name="T44" fmla="*/ 26 w 54"/>
                  <a:gd name="T45" fmla="*/ 7 h 26"/>
                  <a:gd name="T46" fmla="*/ 25 w 54"/>
                  <a:gd name="T47" fmla="*/ 5 h 26"/>
                  <a:gd name="T48" fmla="*/ 25 w 54"/>
                  <a:gd name="T49" fmla="*/ 2 h 26"/>
                  <a:gd name="T50" fmla="*/ 22 w 54"/>
                  <a:gd name="T51" fmla="*/ 3 h 26"/>
                  <a:gd name="T52" fmla="*/ 19 w 54"/>
                  <a:gd name="T53" fmla="*/ 3 h 26"/>
                  <a:gd name="T54" fmla="*/ 14 w 54"/>
                  <a:gd name="T55" fmla="*/ 3 h 26"/>
                  <a:gd name="T56" fmla="*/ 12 w 54"/>
                  <a:gd name="T57" fmla="*/ 2 h 26"/>
                  <a:gd name="T58" fmla="*/ 12 w 54"/>
                  <a:gd name="T59" fmla="*/ 5 h 26"/>
                  <a:gd name="T60" fmla="*/ 11 w 54"/>
                  <a:gd name="T61" fmla="*/ 7 h 26"/>
                  <a:gd name="T62" fmla="*/ 5 w 54"/>
                  <a:gd name="T63" fmla="*/ 6 h 26"/>
                  <a:gd name="T64" fmla="*/ 4 w 54"/>
                  <a:gd name="T65" fmla="*/ 3 h 26"/>
                  <a:gd name="T66" fmla="*/ 3 w 54"/>
                  <a:gd name="T67" fmla="*/ 1 h 26"/>
                  <a:gd name="T68" fmla="*/ 0 w 54"/>
                  <a:gd name="T69" fmla="*/ 1 h 26"/>
                  <a:gd name="T70" fmla="*/ 2 w 54"/>
                  <a:gd name="T71" fmla="*/ 7 h 26"/>
                  <a:gd name="T72" fmla="*/ 7 w 54"/>
                  <a:gd name="T73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4" h="26">
                    <a:moveTo>
                      <a:pt x="7" y="15"/>
                    </a:moveTo>
                    <a:lnTo>
                      <a:pt x="8" y="18"/>
                    </a:lnTo>
                    <a:lnTo>
                      <a:pt x="18" y="22"/>
                    </a:lnTo>
                    <a:lnTo>
                      <a:pt x="25" y="23"/>
                    </a:lnTo>
                    <a:lnTo>
                      <a:pt x="30" y="26"/>
                    </a:lnTo>
                    <a:lnTo>
                      <a:pt x="35" y="26"/>
                    </a:lnTo>
                    <a:lnTo>
                      <a:pt x="38" y="24"/>
                    </a:lnTo>
                    <a:lnTo>
                      <a:pt x="43" y="26"/>
                    </a:lnTo>
                    <a:lnTo>
                      <a:pt x="45" y="25"/>
                    </a:lnTo>
                    <a:lnTo>
                      <a:pt x="51" y="21"/>
                    </a:lnTo>
                    <a:lnTo>
                      <a:pt x="52" y="17"/>
                    </a:lnTo>
                    <a:lnTo>
                      <a:pt x="54" y="13"/>
                    </a:lnTo>
                    <a:lnTo>
                      <a:pt x="53" y="8"/>
                    </a:lnTo>
                    <a:lnTo>
                      <a:pt x="51" y="7"/>
                    </a:lnTo>
                    <a:lnTo>
                      <a:pt x="49" y="7"/>
                    </a:lnTo>
                    <a:lnTo>
                      <a:pt x="48" y="4"/>
                    </a:lnTo>
                    <a:lnTo>
                      <a:pt x="48" y="3"/>
                    </a:lnTo>
                    <a:lnTo>
                      <a:pt x="46" y="0"/>
                    </a:lnTo>
                    <a:lnTo>
                      <a:pt x="44" y="2"/>
                    </a:lnTo>
                    <a:lnTo>
                      <a:pt x="40" y="1"/>
                    </a:lnTo>
                    <a:lnTo>
                      <a:pt x="33" y="3"/>
                    </a:lnTo>
                    <a:lnTo>
                      <a:pt x="29" y="6"/>
                    </a:lnTo>
                    <a:lnTo>
                      <a:pt x="26" y="7"/>
                    </a:lnTo>
                    <a:lnTo>
                      <a:pt x="25" y="5"/>
                    </a:lnTo>
                    <a:lnTo>
                      <a:pt x="25" y="2"/>
                    </a:lnTo>
                    <a:lnTo>
                      <a:pt x="22" y="3"/>
                    </a:lnTo>
                    <a:lnTo>
                      <a:pt x="19" y="3"/>
                    </a:lnTo>
                    <a:lnTo>
                      <a:pt x="14" y="3"/>
                    </a:lnTo>
                    <a:lnTo>
                      <a:pt x="12" y="2"/>
                    </a:lnTo>
                    <a:lnTo>
                      <a:pt x="12" y="5"/>
                    </a:lnTo>
                    <a:lnTo>
                      <a:pt x="11" y="7"/>
                    </a:lnTo>
                    <a:lnTo>
                      <a:pt x="5" y="6"/>
                    </a:lnTo>
                    <a:lnTo>
                      <a:pt x="4" y="3"/>
                    </a:lnTo>
                    <a:lnTo>
                      <a:pt x="3" y="1"/>
                    </a:lnTo>
                    <a:lnTo>
                      <a:pt x="0" y="1"/>
                    </a:lnTo>
                    <a:lnTo>
                      <a:pt x="2" y="7"/>
                    </a:lnTo>
                    <a:lnTo>
                      <a:pt x="7" y="1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6" name="Freeform 145">
                <a:extLst>
                  <a:ext uri="{FF2B5EF4-FFF2-40B4-BE49-F238E27FC236}">
                    <a16:creationId xmlns:a16="http://schemas.microsoft.com/office/drawing/2014/main" id="{1D9A0D48-3666-4059-9216-385BA097D4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93064" y="1370013"/>
                <a:ext cx="20638" cy="33338"/>
              </a:xfrm>
              <a:custGeom>
                <a:avLst/>
                <a:gdLst>
                  <a:gd name="T0" fmla="*/ 13 w 13"/>
                  <a:gd name="T1" fmla="*/ 12 h 21"/>
                  <a:gd name="T2" fmla="*/ 13 w 13"/>
                  <a:gd name="T3" fmla="*/ 9 h 21"/>
                  <a:gd name="T4" fmla="*/ 9 w 13"/>
                  <a:gd name="T5" fmla="*/ 5 h 21"/>
                  <a:gd name="T6" fmla="*/ 7 w 13"/>
                  <a:gd name="T7" fmla="*/ 1 h 21"/>
                  <a:gd name="T8" fmla="*/ 5 w 13"/>
                  <a:gd name="T9" fmla="*/ 0 h 21"/>
                  <a:gd name="T10" fmla="*/ 2 w 13"/>
                  <a:gd name="T11" fmla="*/ 1 h 21"/>
                  <a:gd name="T12" fmla="*/ 0 w 13"/>
                  <a:gd name="T13" fmla="*/ 5 h 21"/>
                  <a:gd name="T14" fmla="*/ 0 w 13"/>
                  <a:gd name="T15" fmla="*/ 7 h 21"/>
                  <a:gd name="T16" fmla="*/ 2 w 13"/>
                  <a:gd name="T17" fmla="*/ 11 h 21"/>
                  <a:gd name="T18" fmla="*/ 1 w 13"/>
                  <a:gd name="T19" fmla="*/ 12 h 21"/>
                  <a:gd name="T20" fmla="*/ 2 w 13"/>
                  <a:gd name="T21" fmla="*/ 15 h 21"/>
                  <a:gd name="T22" fmla="*/ 4 w 13"/>
                  <a:gd name="T23" fmla="*/ 15 h 21"/>
                  <a:gd name="T24" fmla="*/ 7 w 13"/>
                  <a:gd name="T25" fmla="*/ 20 h 21"/>
                  <a:gd name="T26" fmla="*/ 10 w 13"/>
                  <a:gd name="T27" fmla="*/ 21 h 21"/>
                  <a:gd name="T28" fmla="*/ 11 w 13"/>
                  <a:gd name="T29" fmla="*/ 20 h 21"/>
                  <a:gd name="T30" fmla="*/ 10 w 13"/>
                  <a:gd name="T31" fmla="*/ 19 h 21"/>
                  <a:gd name="T32" fmla="*/ 11 w 13"/>
                  <a:gd name="T33" fmla="*/ 15 h 21"/>
                  <a:gd name="T34" fmla="*/ 13 w 13"/>
                  <a:gd name="T35" fmla="*/ 1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" h="21">
                    <a:moveTo>
                      <a:pt x="13" y="12"/>
                    </a:moveTo>
                    <a:lnTo>
                      <a:pt x="13" y="9"/>
                    </a:lnTo>
                    <a:lnTo>
                      <a:pt x="9" y="5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2" y="1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1" y="12"/>
                    </a:lnTo>
                    <a:lnTo>
                      <a:pt x="2" y="15"/>
                    </a:lnTo>
                    <a:lnTo>
                      <a:pt x="4" y="15"/>
                    </a:lnTo>
                    <a:lnTo>
                      <a:pt x="7" y="20"/>
                    </a:lnTo>
                    <a:lnTo>
                      <a:pt x="10" y="21"/>
                    </a:lnTo>
                    <a:lnTo>
                      <a:pt x="11" y="20"/>
                    </a:lnTo>
                    <a:lnTo>
                      <a:pt x="10" y="19"/>
                    </a:lnTo>
                    <a:lnTo>
                      <a:pt x="11" y="15"/>
                    </a:lnTo>
                    <a:lnTo>
                      <a:pt x="13" y="1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7" name="Freeform 146">
                <a:extLst>
                  <a:ext uri="{FF2B5EF4-FFF2-40B4-BE49-F238E27FC236}">
                    <a16:creationId xmlns:a16="http://schemas.microsoft.com/office/drawing/2014/main" id="{8491FB85-3762-4FD5-89B7-2D867EADB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72489" y="1452563"/>
                <a:ext cx="6350" cy="7938"/>
              </a:xfrm>
              <a:custGeom>
                <a:avLst/>
                <a:gdLst>
                  <a:gd name="T0" fmla="*/ 3 w 4"/>
                  <a:gd name="T1" fmla="*/ 5 h 5"/>
                  <a:gd name="T2" fmla="*/ 4 w 4"/>
                  <a:gd name="T3" fmla="*/ 4 h 5"/>
                  <a:gd name="T4" fmla="*/ 4 w 4"/>
                  <a:gd name="T5" fmla="*/ 1 h 5"/>
                  <a:gd name="T6" fmla="*/ 2 w 4"/>
                  <a:gd name="T7" fmla="*/ 0 h 5"/>
                  <a:gd name="T8" fmla="*/ 0 w 4"/>
                  <a:gd name="T9" fmla="*/ 2 h 5"/>
                  <a:gd name="T10" fmla="*/ 2 w 4"/>
                  <a:gd name="T11" fmla="*/ 5 h 5"/>
                  <a:gd name="T12" fmla="*/ 3 w 4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5">
                    <a:moveTo>
                      <a:pt x="3" y="5"/>
                    </a:moveTo>
                    <a:lnTo>
                      <a:pt x="4" y="4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8" name="Freeform 147">
                <a:extLst>
                  <a:ext uri="{FF2B5EF4-FFF2-40B4-BE49-F238E27FC236}">
                    <a16:creationId xmlns:a16="http://schemas.microsoft.com/office/drawing/2014/main" id="{E1F3CA26-9005-40D4-9757-2F4BF64AD3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3376" y="1230313"/>
                <a:ext cx="63500" cy="65088"/>
              </a:xfrm>
              <a:custGeom>
                <a:avLst/>
                <a:gdLst>
                  <a:gd name="T0" fmla="*/ 4 w 40"/>
                  <a:gd name="T1" fmla="*/ 7 h 41"/>
                  <a:gd name="T2" fmla="*/ 6 w 40"/>
                  <a:gd name="T3" fmla="*/ 8 h 41"/>
                  <a:gd name="T4" fmla="*/ 7 w 40"/>
                  <a:gd name="T5" fmla="*/ 11 h 41"/>
                  <a:gd name="T6" fmla="*/ 8 w 40"/>
                  <a:gd name="T7" fmla="*/ 13 h 41"/>
                  <a:gd name="T8" fmla="*/ 10 w 40"/>
                  <a:gd name="T9" fmla="*/ 16 h 41"/>
                  <a:gd name="T10" fmla="*/ 9 w 40"/>
                  <a:gd name="T11" fmla="*/ 17 h 41"/>
                  <a:gd name="T12" fmla="*/ 8 w 40"/>
                  <a:gd name="T13" fmla="*/ 21 h 41"/>
                  <a:gd name="T14" fmla="*/ 7 w 40"/>
                  <a:gd name="T15" fmla="*/ 24 h 41"/>
                  <a:gd name="T16" fmla="*/ 8 w 40"/>
                  <a:gd name="T17" fmla="*/ 28 h 41"/>
                  <a:gd name="T18" fmla="*/ 15 w 40"/>
                  <a:gd name="T19" fmla="*/ 34 h 41"/>
                  <a:gd name="T20" fmla="*/ 18 w 40"/>
                  <a:gd name="T21" fmla="*/ 38 h 41"/>
                  <a:gd name="T22" fmla="*/ 25 w 40"/>
                  <a:gd name="T23" fmla="*/ 41 h 41"/>
                  <a:gd name="T24" fmla="*/ 28 w 40"/>
                  <a:gd name="T25" fmla="*/ 41 h 41"/>
                  <a:gd name="T26" fmla="*/ 31 w 40"/>
                  <a:gd name="T27" fmla="*/ 39 h 41"/>
                  <a:gd name="T28" fmla="*/ 32 w 40"/>
                  <a:gd name="T29" fmla="*/ 38 h 41"/>
                  <a:gd name="T30" fmla="*/ 35 w 40"/>
                  <a:gd name="T31" fmla="*/ 41 h 41"/>
                  <a:gd name="T32" fmla="*/ 36 w 40"/>
                  <a:gd name="T33" fmla="*/ 39 h 41"/>
                  <a:gd name="T34" fmla="*/ 39 w 40"/>
                  <a:gd name="T35" fmla="*/ 36 h 41"/>
                  <a:gd name="T36" fmla="*/ 39 w 40"/>
                  <a:gd name="T37" fmla="*/ 31 h 41"/>
                  <a:gd name="T38" fmla="*/ 40 w 40"/>
                  <a:gd name="T39" fmla="*/ 28 h 41"/>
                  <a:gd name="T40" fmla="*/ 40 w 40"/>
                  <a:gd name="T41" fmla="*/ 26 h 41"/>
                  <a:gd name="T42" fmla="*/ 39 w 40"/>
                  <a:gd name="T43" fmla="*/ 22 h 41"/>
                  <a:gd name="T44" fmla="*/ 36 w 40"/>
                  <a:gd name="T45" fmla="*/ 21 h 41"/>
                  <a:gd name="T46" fmla="*/ 33 w 40"/>
                  <a:gd name="T47" fmla="*/ 17 h 41"/>
                  <a:gd name="T48" fmla="*/ 33 w 40"/>
                  <a:gd name="T49" fmla="*/ 14 h 41"/>
                  <a:gd name="T50" fmla="*/ 35 w 40"/>
                  <a:gd name="T51" fmla="*/ 11 h 41"/>
                  <a:gd name="T52" fmla="*/ 39 w 40"/>
                  <a:gd name="T53" fmla="*/ 10 h 41"/>
                  <a:gd name="T54" fmla="*/ 39 w 40"/>
                  <a:gd name="T55" fmla="*/ 8 h 41"/>
                  <a:gd name="T56" fmla="*/ 32 w 40"/>
                  <a:gd name="T57" fmla="*/ 6 h 41"/>
                  <a:gd name="T58" fmla="*/ 25 w 40"/>
                  <a:gd name="T59" fmla="*/ 5 h 41"/>
                  <a:gd name="T60" fmla="*/ 22 w 40"/>
                  <a:gd name="T61" fmla="*/ 6 h 41"/>
                  <a:gd name="T62" fmla="*/ 19 w 40"/>
                  <a:gd name="T63" fmla="*/ 5 h 41"/>
                  <a:gd name="T64" fmla="*/ 12 w 40"/>
                  <a:gd name="T65" fmla="*/ 1 h 41"/>
                  <a:gd name="T66" fmla="*/ 9 w 40"/>
                  <a:gd name="T67" fmla="*/ 0 h 41"/>
                  <a:gd name="T68" fmla="*/ 4 w 40"/>
                  <a:gd name="T69" fmla="*/ 0 h 41"/>
                  <a:gd name="T70" fmla="*/ 0 w 40"/>
                  <a:gd name="T71" fmla="*/ 0 h 41"/>
                  <a:gd name="T72" fmla="*/ 2 w 40"/>
                  <a:gd name="T73" fmla="*/ 4 h 41"/>
                  <a:gd name="T74" fmla="*/ 4 w 40"/>
                  <a:gd name="T75" fmla="*/ 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0" h="41">
                    <a:moveTo>
                      <a:pt x="4" y="7"/>
                    </a:moveTo>
                    <a:lnTo>
                      <a:pt x="6" y="8"/>
                    </a:lnTo>
                    <a:lnTo>
                      <a:pt x="7" y="11"/>
                    </a:lnTo>
                    <a:lnTo>
                      <a:pt x="8" y="13"/>
                    </a:lnTo>
                    <a:lnTo>
                      <a:pt x="10" y="16"/>
                    </a:lnTo>
                    <a:lnTo>
                      <a:pt x="9" y="17"/>
                    </a:lnTo>
                    <a:lnTo>
                      <a:pt x="8" y="21"/>
                    </a:lnTo>
                    <a:lnTo>
                      <a:pt x="7" y="24"/>
                    </a:lnTo>
                    <a:lnTo>
                      <a:pt x="8" y="28"/>
                    </a:lnTo>
                    <a:lnTo>
                      <a:pt x="15" y="34"/>
                    </a:lnTo>
                    <a:lnTo>
                      <a:pt x="18" y="38"/>
                    </a:lnTo>
                    <a:lnTo>
                      <a:pt x="25" y="41"/>
                    </a:lnTo>
                    <a:lnTo>
                      <a:pt x="28" y="41"/>
                    </a:lnTo>
                    <a:lnTo>
                      <a:pt x="31" y="39"/>
                    </a:lnTo>
                    <a:lnTo>
                      <a:pt x="32" y="38"/>
                    </a:lnTo>
                    <a:lnTo>
                      <a:pt x="35" y="41"/>
                    </a:lnTo>
                    <a:lnTo>
                      <a:pt x="36" y="39"/>
                    </a:lnTo>
                    <a:lnTo>
                      <a:pt x="39" y="36"/>
                    </a:lnTo>
                    <a:lnTo>
                      <a:pt x="39" y="31"/>
                    </a:lnTo>
                    <a:lnTo>
                      <a:pt x="40" y="28"/>
                    </a:lnTo>
                    <a:lnTo>
                      <a:pt x="40" y="26"/>
                    </a:lnTo>
                    <a:lnTo>
                      <a:pt x="39" y="22"/>
                    </a:lnTo>
                    <a:lnTo>
                      <a:pt x="36" y="21"/>
                    </a:lnTo>
                    <a:lnTo>
                      <a:pt x="33" y="17"/>
                    </a:lnTo>
                    <a:lnTo>
                      <a:pt x="33" y="14"/>
                    </a:lnTo>
                    <a:lnTo>
                      <a:pt x="35" y="11"/>
                    </a:lnTo>
                    <a:lnTo>
                      <a:pt x="39" y="10"/>
                    </a:lnTo>
                    <a:lnTo>
                      <a:pt x="39" y="8"/>
                    </a:lnTo>
                    <a:lnTo>
                      <a:pt x="32" y="6"/>
                    </a:lnTo>
                    <a:lnTo>
                      <a:pt x="25" y="5"/>
                    </a:lnTo>
                    <a:lnTo>
                      <a:pt x="22" y="6"/>
                    </a:lnTo>
                    <a:lnTo>
                      <a:pt x="19" y="5"/>
                    </a:lnTo>
                    <a:lnTo>
                      <a:pt x="12" y="1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9" name="Freeform 148">
                <a:extLst>
                  <a:ext uri="{FF2B5EF4-FFF2-40B4-BE49-F238E27FC236}">
                    <a16:creationId xmlns:a16="http://schemas.microsoft.com/office/drawing/2014/main" id="{D39BF917-6EDD-417F-AD1E-B4638E104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58151" y="1577975"/>
                <a:ext cx="14288" cy="17463"/>
              </a:xfrm>
              <a:custGeom>
                <a:avLst/>
                <a:gdLst>
                  <a:gd name="T0" fmla="*/ 6 w 12"/>
                  <a:gd name="T1" fmla="*/ 14 h 14"/>
                  <a:gd name="T2" fmla="*/ 6 w 12"/>
                  <a:gd name="T3" fmla="*/ 12 h 14"/>
                  <a:gd name="T4" fmla="*/ 11 w 12"/>
                  <a:gd name="T5" fmla="*/ 10 h 14"/>
                  <a:gd name="T6" fmla="*/ 12 w 12"/>
                  <a:gd name="T7" fmla="*/ 8 h 14"/>
                  <a:gd name="T8" fmla="*/ 11 w 12"/>
                  <a:gd name="T9" fmla="*/ 5 h 14"/>
                  <a:gd name="T10" fmla="*/ 10 w 12"/>
                  <a:gd name="T11" fmla="*/ 0 h 14"/>
                  <a:gd name="T12" fmla="*/ 8 w 12"/>
                  <a:gd name="T13" fmla="*/ 1 h 14"/>
                  <a:gd name="T14" fmla="*/ 7 w 12"/>
                  <a:gd name="T15" fmla="*/ 5 h 14"/>
                  <a:gd name="T16" fmla="*/ 4 w 12"/>
                  <a:gd name="T17" fmla="*/ 8 h 14"/>
                  <a:gd name="T18" fmla="*/ 0 w 12"/>
                  <a:gd name="T19" fmla="*/ 8 h 14"/>
                  <a:gd name="T20" fmla="*/ 3 w 12"/>
                  <a:gd name="T21" fmla="*/ 13 h 14"/>
                  <a:gd name="T22" fmla="*/ 6 w 12"/>
                  <a:gd name="T2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" h="14">
                    <a:moveTo>
                      <a:pt x="6" y="14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0" y="8"/>
                      <a:pt x="0" y="8"/>
                    </a:cubicBezTo>
                    <a:cubicBezTo>
                      <a:pt x="3" y="13"/>
                      <a:pt x="3" y="13"/>
                      <a:pt x="3" y="13"/>
                    </a:cubicBezTo>
                    <a:lnTo>
                      <a:pt x="6" y="1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0" name="Freeform 149">
                <a:extLst>
                  <a:ext uri="{FF2B5EF4-FFF2-40B4-BE49-F238E27FC236}">
                    <a16:creationId xmlns:a16="http://schemas.microsoft.com/office/drawing/2014/main" id="{E77460D0-FFD9-4D43-B028-5E16E0E377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1864" y="1546225"/>
                <a:ext cx="6350" cy="12700"/>
              </a:xfrm>
              <a:custGeom>
                <a:avLst/>
                <a:gdLst>
                  <a:gd name="T0" fmla="*/ 2 w 4"/>
                  <a:gd name="T1" fmla="*/ 4 h 8"/>
                  <a:gd name="T2" fmla="*/ 4 w 4"/>
                  <a:gd name="T3" fmla="*/ 8 h 8"/>
                  <a:gd name="T4" fmla="*/ 4 w 4"/>
                  <a:gd name="T5" fmla="*/ 7 h 8"/>
                  <a:gd name="T6" fmla="*/ 3 w 4"/>
                  <a:gd name="T7" fmla="*/ 2 h 8"/>
                  <a:gd name="T8" fmla="*/ 1 w 4"/>
                  <a:gd name="T9" fmla="*/ 0 h 8"/>
                  <a:gd name="T10" fmla="*/ 0 w 4"/>
                  <a:gd name="T11" fmla="*/ 0 h 8"/>
                  <a:gd name="T12" fmla="*/ 0 w 4"/>
                  <a:gd name="T13" fmla="*/ 1 h 8"/>
                  <a:gd name="T14" fmla="*/ 2 w 4"/>
                  <a:gd name="T15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8">
                    <a:moveTo>
                      <a:pt x="2" y="4"/>
                    </a:moveTo>
                    <a:lnTo>
                      <a:pt x="4" y="8"/>
                    </a:lnTo>
                    <a:lnTo>
                      <a:pt x="4" y="7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1" name="Freeform 150">
                <a:extLst>
                  <a:ext uri="{FF2B5EF4-FFF2-40B4-BE49-F238E27FC236}">
                    <a16:creationId xmlns:a16="http://schemas.microsoft.com/office/drawing/2014/main" id="{88148B53-98A5-483E-B9D0-5D75CB06BB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1864" y="1538288"/>
                <a:ext cx="6350" cy="9525"/>
              </a:xfrm>
              <a:custGeom>
                <a:avLst/>
                <a:gdLst>
                  <a:gd name="T0" fmla="*/ 4 w 4"/>
                  <a:gd name="T1" fmla="*/ 6 h 6"/>
                  <a:gd name="T2" fmla="*/ 3 w 4"/>
                  <a:gd name="T3" fmla="*/ 3 h 6"/>
                  <a:gd name="T4" fmla="*/ 2 w 4"/>
                  <a:gd name="T5" fmla="*/ 0 h 6"/>
                  <a:gd name="T6" fmla="*/ 1 w 4"/>
                  <a:gd name="T7" fmla="*/ 0 h 6"/>
                  <a:gd name="T8" fmla="*/ 0 w 4"/>
                  <a:gd name="T9" fmla="*/ 2 h 6"/>
                  <a:gd name="T10" fmla="*/ 2 w 4"/>
                  <a:gd name="T11" fmla="*/ 5 h 6"/>
                  <a:gd name="T12" fmla="*/ 4 w 4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3" y="3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2" name="Freeform 151">
                <a:extLst>
                  <a:ext uri="{FF2B5EF4-FFF2-40B4-BE49-F238E27FC236}">
                    <a16:creationId xmlns:a16="http://schemas.microsoft.com/office/drawing/2014/main" id="{F82CA43E-AAA2-444D-A61B-CD7F2444A1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6626" y="1531938"/>
                <a:ext cx="4763" cy="9525"/>
              </a:xfrm>
              <a:custGeom>
                <a:avLst/>
                <a:gdLst>
                  <a:gd name="T0" fmla="*/ 2 w 3"/>
                  <a:gd name="T1" fmla="*/ 6 h 6"/>
                  <a:gd name="T2" fmla="*/ 3 w 3"/>
                  <a:gd name="T3" fmla="*/ 3 h 6"/>
                  <a:gd name="T4" fmla="*/ 1 w 3"/>
                  <a:gd name="T5" fmla="*/ 0 h 6"/>
                  <a:gd name="T6" fmla="*/ 1 w 3"/>
                  <a:gd name="T7" fmla="*/ 0 h 6"/>
                  <a:gd name="T8" fmla="*/ 0 w 3"/>
                  <a:gd name="T9" fmla="*/ 1 h 6"/>
                  <a:gd name="T10" fmla="*/ 1 w 3"/>
                  <a:gd name="T11" fmla="*/ 6 h 6"/>
                  <a:gd name="T12" fmla="*/ 2 w 3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6">
                    <a:moveTo>
                      <a:pt x="2" y="6"/>
                    </a:moveTo>
                    <a:lnTo>
                      <a:pt x="3" y="3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1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3" name="Freeform 152">
                <a:extLst>
                  <a:ext uri="{FF2B5EF4-FFF2-40B4-BE49-F238E27FC236}">
                    <a16:creationId xmlns:a16="http://schemas.microsoft.com/office/drawing/2014/main" id="{1084B31E-027C-4218-84F9-D6B3FD42CE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09001" y="1450975"/>
                <a:ext cx="3175" cy="6350"/>
              </a:xfrm>
              <a:custGeom>
                <a:avLst/>
                <a:gdLst>
                  <a:gd name="T0" fmla="*/ 1 w 2"/>
                  <a:gd name="T1" fmla="*/ 3 h 4"/>
                  <a:gd name="T2" fmla="*/ 2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0 w 2"/>
                  <a:gd name="T9" fmla="*/ 4 h 4"/>
                  <a:gd name="T10" fmla="*/ 1 w 2"/>
                  <a:gd name="T1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1" y="3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1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4" name="Freeform 153">
                <a:extLst>
                  <a:ext uri="{FF2B5EF4-FFF2-40B4-BE49-F238E27FC236}">
                    <a16:creationId xmlns:a16="http://schemas.microsoft.com/office/drawing/2014/main" id="{CE7CE6BD-80F0-47B1-ACB6-9537414FCD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0751" y="1543050"/>
                <a:ext cx="6350" cy="9525"/>
              </a:xfrm>
              <a:custGeom>
                <a:avLst/>
                <a:gdLst>
                  <a:gd name="T0" fmla="*/ 3 w 4"/>
                  <a:gd name="T1" fmla="*/ 6 h 6"/>
                  <a:gd name="T2" fmla="*/ 4 w 4"/>
                  <a:gd name="T3" fmla="*/ 4 h 6"/>
                  <a:gd name="T4" fmla="*/ 4 w 4"/>
                  <a:gd name="T5" fmla="*/ 4 h 6"/>
                  <a:gd name="T6" fmla="*/ 4 w 4"/>
                  <a:gd name="T7" fmla="*/ 0 h 6"/>
                  <a:gd name="T8" fmla="*/ 2 w 4"/>
                  <a:gd name="T9" fmla="*/ 0 h 6"/>
                  <a:gd name="T10" fmla="*/ 1 w 4"/>
                  <a:gd name="T11" fmla="*/ 0 h 6"/>
                  <a:gd name="T12" fmla="*/ 0 w 4"/>
                  <a:gd name="T13" fmla="*/ 1 h 6"/>
                  <a:gd name="T14" fmla="*/ 1 w 4"/>
                  <a:gd name="T15" fmla="*/ 5 h 6"/>
                  <a:gd name="T16" fmla="*/ 3 w 4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6">
                    <a:moveTo>
                      <a:pt x="3" y="6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1" y="5"/>
                    </a:lnTo>
                    <a:lnTo>
                      <a:pt x="3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5" name="Freeform 154">
                <a:extLst>
                  <a:ext uri="{FF2B5EF4-FFF2-40B4-BE49-F238E27FC236}">
                    <a16:creationId xmlns:a16="http://schemas.microsoft.com/office/drawing/2014/main" id="{173DD3D4-5F93-4D2E-8ECD-96216764BD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94514" y="2058988"/>
                <a:ext cx="7938" cy="11113"/>
              </a:xfrm>
              <a:custGeom>
                <a:avLst/>
                <a:gdLst>
                  <a:gd name="T0" fmla="*/ 6 w 6"/>
                  <a:gd name="T1" fmla="*/ 6 h 9"/>
                  <a:gd name="T2" fmla="*/ 5 w 6"/>
                  <a:gd name="T3" fmla="*/ 2 h 9"/>
                  <a:gd name="T4" fmla="*/ 4 w 6"/>
                  <a:gd name="T5" fmla="*/ 0 h 9"/>
                  <a:gd name="T6" fmla="*/ 1 w 6"/>
                  <a:gd name="T7" fmla="*/ 2 h 9"/>
                  <a:gd name="T8" fmla="*/ 1 w 6"/>
                  <a:gd name="T9" fmla="*/ 4 h 9"/>
                  <a:gd name="T10" fmla="*/ 0 w 6"/>
                  <a:gd name="T11" fmla="*/ 6 h 9"/>
                  <a:gd name="T12" fmla="*/ 1 w 6"/>
                  <a:gd name="T13" fmla="*/ 8 h 9"/>
                  <a:gd name="T14" fmla="*/ 4 w 6"/>
                  <a:gd name="T15" fmla="*/ 9 h 9"/>
                  <a:gd name="T16" fmla="*/ 6 w 6"/>
                  <a:gd name="T17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9">
                    <a:moveTo>
                      <a:pt x="6" y="6"/>
                    </a:moveTo>
                    <a:cubicBezTo>
                      <a:pt x="5" y="2"/>
                      <a:pt x="5" y="2"/>
                      <a:pt x="5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1" y="8"/>
                      <a:pt x="1" y="8"/>
                    </a:cubicBezTo>
                    <a:cubicBezTo>
                      <a:pt x="4" y="9"/>
                      <a:pt x="4" y="9"/>
                      <a:pt x="4" y="9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6" name="Freeform 155">
                <a:extLst>
                  <a:ext uri="{FF2B5EF4-FFF2-40B4-BE49-F238E27FC236}">
                    <a16:creationId xmlns:a16="http://schemas.microsoft.com/office/drawing/2014/main" id="{C75AD350-C453-449B-AF2F-98C7D7E19E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89951" y="1447800"/>
                <a:ext cx="7938" cy="6350"/>
              </a:xfrm>
              <a:custGeom>
                <a:avLst/>
                <a:gdLst>
                  <a:gd name="T0" fmla="*/ 3 w 5"/>
                  <a:gd name="T1" fmla="*/ 3 h 4"/>
                  <a:gd name="T2" fmla="*/ 5 w 5"/>
                  <a:gd name="T3" fmla="*/ 1 h 4"/>
                  <a:gd name="T4" fmla="*/ 1 w 5"/>
                  <a:gd name="T5" fmla="*/ 0 h 4"/>
                  <a:gd name="T6" fmla="*/ 0 w 5"/>
                  <a:gd name="T7" fmla="*/ 1 h 4"/>
                  <a:gd name="T8" fmla="*/ 2 w 5"/>
                  <a:gd name="T9" fmla="*/ 4 h 4"/>
                  <a:gd name="T10" fmla="*/ 3 w 5"/>
                  <a:gd name="T1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3" y="3"/>
                    </a:moveTo>
                    <a:lnTo>
                      <a:pt x="5" y="1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2" y="4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7" name="Freeform 156">
                <a:extLst>
                  <a:ext uri="{FF2B5EF4-FFF2-40B4-BE49-F238E27FC236}">
                    <a16:creationId xmlns:a16="http://schemas.microsoft.com/office/drawing/2014/main" id="{428495EF-67CE-426D-9741-78D1B93F62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2689" y="2566988"/>
                <a:ext cx="6350" cy="6350"/>
              </a:xfrm>
              <a:custGeom>
                <a:avLst/>
                <a:gdLst>
                  <a:gd name="T0" fmla="*/ 5 w 5"/>
                  <a:gd name="T1" fmla="*/ 4 h 6"/>
                  <a:gd name="T2" fmla="*/ 1 w 5"/>
                  <a:gd name="T3" fmla="*/ 0 h 6"/>
                  <a:gd name="T4" fmla="*/ 0 w 5"/>
                  <a:gd name="T5" fmla="*/ 4 h 6"/>
                  <a:gd name="T6" fmla="*/ 3 w 5"/>
                  <a:gd name="T7" fmla="*/ 6 h 6"/>
                  <a:gd name="T8" fmla="*/ 5 w 5"/>
                  <a:gd name="T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6">
                    <a:moveTo>
                      <a:pt x="5" y="4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4"/>
                      <a:pt x="0" y="4"/>
                    </a:cubicBezTo>
                    <a:cubicBezTo>
                      <a:pt x="3" y="6"/>
                      <a:pt x="3" y="6"/>
                      <a:pt x="3" y="6"/>
                    </a:cubicBezTo>
                    <a:lnTo>
                      <a:pt x="5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8" name="Freeform 157">
                <a:extLst>
                  <a:ext uri="{FF2B5EF4-FFF2-40B4-BE49-F238E27FC236}">
                    <a16:creationId xmlns:a16="http://schemas.microsoft.com/office/drawing/2014/main" id="{35CC551D-C34E-4814-8368-046A10C82E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8676" y="1236663"/>
                <a:ext cx="88900" cy="134938"/>
              </a:xfrm>
              <a:custGeom>
                <a:avLst/>
                <a:gdLst>
                  <a:gd name="T0" fmla="*/ 0 w 72"/>
                  <a:gd name="T1" fmla="*/ 19 h 109"/>
                  <a:gd name="T2" fmla="*/ 2 w 72"/>
                  <a:gd name="T3" fmla="*/ 26 h 109"/>
                  <a:gd name="T4" fmla="*/ 6 w 72"/>
                  <a:gd name="T5" fmla="*/ 29 h 109"/>
                  <a:gd name="T6" fmla="*/ 10 w 72"/>
                  <a:gd name="T7" fmla="*/ 44 h 109"/>
                  <a:gd name="T8" fmla="*/ 16 w 72"/>
                  <a:gd name="T9" fmla="*/ 47 h 109"/>
                  <a:gd name="T10" fmla="*/ 10 w 72"/>
                  <a:gd name="T11" fmla="*/ 51 h 109"/>
                  <a:gd name="T12" fmla="*/ 11 w 72"/>
                  <a:gd name="T13" fmla="*/ 66 h 109"/>
                  <a:gd name="T14" fmla="*/ 12 w 72"/>
                  <a:gd name="T15" fmla="*/ 77 h 109"/>
                  <a:gd name="T16" fmla="*/ 15 w 72"/>
                  <a:gd name="T17" fmla="*/ 83 h 109"/>
                  <a:gd name="T18" fmla="*/ 16 w 72"/>
                  <a:gd name="T19" fmla="*/ 92 h 109"/>
                  <a:gd name="T20" fmla="*/ 21 w 72"/>
                  <a:gd name="T21" fmla="*/ 102 h 109"/>
                  <a:gd name="T22" fmla="*/ 23 w 72"/>
                  <a:gd name="T23" fmla="*/ 109 h 109"/>
                  <a:gd name="T24" fmla="*/ 30 w 72"/>
                  <a:gd name="T25" fmla="*/ 101 h 109"/>
                  <a:gd name="T26" fmla="*/ 37 w 72"/>
                  <a:gd name="T27" fmla="*/ 93 h 109"/>
                  <a:gd name="T28" fmla="*/ 37 w 72"/>
                  <a:gd name="T29" fmla="*/ 86 h 109"/>
                  <a:gd name="T30" fmla="*/ 48 w 72"/>
                  <a:gd name="T31" fmla="*/ 79 h 109"/>
                  <a:gd name="T32" fmla="*/ 53 w 72"/>
                  <a:gd name="T33" fmla="*/ 81 h 109"/>
                  <a:gd name="T34" fmla="*/ 56 w 72"/>
                  <a:gd name="T35" fmla="*/ 73 h 109"/>
                  <a:gd name="T36" fmla="*/ 66 w 72"/>
                  <a:gd name="T37" fmla="*/ 66 h 109"/>
                  <a:gd name="T38" fmla="*/ 69 w 72"/>
                  <a:gd name="T39" fmla="*/ 60 h 109"/>
                  <a:gd name="T40" fmla="*/ 71 w 72"/>
                  <a:gd name="T41" fmla="*/ 47 h 109"/>
                  <a:gd name="T42" fmla="*/ 64 w 72"/>
                  <a:gd name="T43" fmla="*/ 35 h 109"/>
                  <a:gd name="T44" fmla="*/ 58 w 72"/>
                  <a:gd name="T45" fmla="*/ 27 h 109"/>
                  <a:gd name="T46" fmla="*/ 53 w 72"/>
                  <a:gd name="T47" fmla="*/ 27 h 109"/>
                  <a:gd name="T48" fmla="*/ 46 w 72"/>
                  <a:gd name="T49" fmla="*/ 23 h 109"/>
                  <a:gd name="T50" fmla="*/ 40 w 72"/>
                  <a:gd name="T51" fmla="*/ 17 h 109"/>
                  <a:gd name="T52" fmla="*/ 36 w 72"/>
                  <a:gd name="T53" fmla="*/ 18 h 109"/>
                  <a:gd name="T54" fmla="*/ 33 w 72"/>
                  <a:gd name="T55" fmla="*/ 11 h 109"/>
                  <a:gd name="T56" fmla="*/ 30 w 72"/>
                  <a:gd name="T57" fmla="*/ 15 h 109"/>
                  <a:gd name="T58" fmla="*/ 24 w 72"/>
                  <a:gd name="T59" fmla="*/ 10 h 109"/>
                  <a:gd name="T60" fmla="*/ 22 w 72"/>
                  <a:gd name="T61" fmla="*/ 10 h 109"/>
                  <a:gd name="T62" fmla="*/ 25 w 72"/>
                  <a:gd name="T63" fmla="*/ 17 h 109"/>
                  <a:gd name="T64" fmla="*/ 23 w 72"/>
                  <a:gd name="T65" fmla="*/ 23 h 109"/>
                  <a:gd name="T66" fmla="*/ 19 w 72"/>
                  <a:gd name="T67" fmla="*/ 20 h 109"/>
                  <a:gd name="T68" fmla="*/ 15 w 72"/>
                  <a:gd name="T69" fmla="*/ 4 h 109"/>
                  <a:gd name="T70" fmla="*/ 7 w 72"/>
                  <a:gd name="T71" fmla="*/ 0 h 109"/>
                  <a:gd name="T72" fmla="*/ 2 w 72"/>
                  <a:gd name="T73" fmla="*/ 3 h 109"/>
                  <a:gd name="T74" fmla="*/ 7 w 72"/>
                  <a:gd name="T75" fmla="*/ 10 h 109"/>
                  <a:gd name="T76" fmla="*/ 8 w 72"/>
                  <a:gd name="T77" fmla="*/ 16 h 109"/>
                  <a:gd name="T78" fmla="*/ 3 w 72"/>
                  <a:gd name="T79" fmla="*/ 13 h 109"/>
                  <a:gd name="T80" fmla="*/ 0 w 72"/>
                  <a:gd name="T81" fmla="*/ 11 h 109"/>
                  <a:gd name="T82" fmla="*/ 1 w 72"/>
                  <a:gd name="T83" fmla="*/ 1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72" h="109">
                    <a:moveTo>
                      <a:pt x="1" y="18"/>
                    </a:moveTo>
                    <a:cubicBezTo>
                      <a:pt x="0" y="19"/>
                      <a:pt x="0" y="19"/>
                      <a:pt x="0" y="19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5" y="27"/>
                      <a:pt x="5" y="27"/>
                      <a:pt x="5" y="27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6" y="47"/>
                      <a:pt x="16" y="47"/>
                      <a:pt x="16" y="47"/>
                    </a:cubicBezTo>
                    <a:cubicBezTo>
                      <a:pt x="13" y="50"/>
                      <a:pt x="13" y="50"/>
                      <a:pt x="13" y="50"/>
                    </a:cubicBezTo>
                    <a:cubicBezTo>
                      <a:pt x="10" y="51"/>
                      <a:pt x="10" y="51"/>
                      <a:pt x="10" y="51"/>
                    </a:cubicBezTo>
                    <a:cubicBezTo>
                      <a:pt x="8" y="58"/>
                      <a:pt x="8" y="58"/>
                      <a:pt x="8" y="58"/>
                    </a:cubicBezTo>
                    <a:cubicBezTo>
                      <a:pt x="11" y="66"/>
                      <a:pt x="11" y="66"/>
                      <a:pt x="11" y="66"/>
                    </a:cubicBezTo>
                    <a:cubicBezTo>
                      <a:pt x="13" y="72"/>
                      <a:pt x="13" y="72"/>
                      <a:pt x="13" y="72"/>
                    </a:cubicBezTo>
                    <a:cubicBezTo>
                      <a:pt x="12" y="77"/>
                      <a:pt x="12" y="77"/>
                      <a:pt x="12" y="77"/>
                    </a:cubicBezTo>
                    <a:cubicBezTo>
                      <a:pt x="14" y="79"/>
                      <a:pt x="14" y="79"/>
                      <a:pt x="14" y="79"/>
                    </a:cubicBezTo>
                    <a:cubicBezTo>
                      <a:pt x="15" y="83"/>
                      <a:pt x="15" y="83"/>
                      <a:pt x="15" y="83"/>
                    </a:cubicBezTo>
                    <a:cubicBezTo>
                      <a:pt x="14" y="85"/>
                      <a:pt x="14" y="85"/>
                      <a:pt x="14" y="85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8" y="99"/>
                      <a:pt x="18" y="99"/>
                      <a:pt x="18" y="99"/>
                    </a:cubicBezTo>
                    <a:cubicBezTo>
                      <a:pt x="21" y="102"/>
                      <a:pt x="21" y="102"/>
                      <a:pt x="21" y="102"/>
                    </a:cubicBezTo>
                    <a:cubicBezTo>
                      <a:pt x="21" y="106"/>
                      <a:pt x="21" y="106"/>
                      <a:pt x="21" y="106"/>
                    </a:cubicBezTo>
                    <a:cubicBezTo>
                      <a:pt x="23" y="109"/>
                      <a:pt x="23" y="109"/>
                      <a:pt x="23" y="109"/>
                    </a:cubicBezTo>
                    <a:cubicBezTo>
                      <a:pt x="23" y="109"/>
                      <a:pt x="28" y="107"/>
                      <a:pt x="28" y="107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4" y="94"/>
                      <a:pt x="34" y="94"/>
                      <a:pt x="34" y="94"/>
                    </a:cubicBezTo>
                    <a:cubicBezTo>
                      <a:pt x="37" y="93"/>
                      <a:pt x="37" y="93"/>
                      <a:pt x="37" y="93"/>
                    </a:cubicBezTo>
                    <a:cubicBezTo>
                      <a:pt x="36" y="90"/>
                      <a:pt x="36" y="90"/>
                      <a:pt x="36" y="90"/>
                    </a:cubicBezTo>
                    <a:cubicBezTo>
                      <a:pt x="37" y="86"/>
                      <a:pt x="37" y="86"/>
                      <a:pt x="37" y="86"/>
                    </a:cubicBezTo>
                    <a:cubicBezTo>
                      <a:pt x="45" y="80"/>
                      <a:pt x="45" y="80"/>
                      <a:pt x="45" y="80"/>
                    </a:cubicBezTo>
                    <a:cubicBezTo>
                      <a:pt x="48" y="79"/>
                      <a:pt x="48" y="79"/>
                      <a:pt x="48" y="79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3" y="81"/>
                      <a:pt x="53" y="81"/>
                      <a:pt x="53" y="81"/>
                    </a:cubicBezTo>
                    <a:cubicBezTo>
                      <a:pt x="54" y="77"/>
                      <a:pt x="54" y="77"/>
                      <a:pt x="54" y="77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60" y="72"/>
                      <a:pt x="60" y="72"/>
                      <a:pt x="60" y="72"/>
                    </a:cubicBezTo>
                    <a:cubicBezTo>
                      <a:pt x="66" y="66"/>
                      <a:pt x="66" y="66"/>
                      <a:pt x="66" y="66"/>
                    </a:cubicBezTo>
                    <a:cubicBezTo>
                      <a:pt x="67" y="62"/>
                      <a:pt x="67" y="62"/>
                      <a:pt x="67" y="62"/>
                    </a:cubicBezTo>
                    <a:cubicBezTo>
                      <a:pt x="69" y="60"/>
                      <a:pt x="69" y="60"/>
                      <a:pt x="69" y="60"/>
                    </a:cubicBezTo>
                    <a:cubicBezTo>
                      <a:pt x="72" y="52"/>
                      <a:pt x="72" y="52"/>
                      <a:pt x="72" y="52"/>
                    </a:cubicBezTo>
                    <a:cubicBezTo>
                      <a:pt x="71" y="47"/>
                      <a:pt x="71" y="47"/>
                      <a:pt x="71" y="47"/>
                    </a:cubicBezTo>
                    <a:cubicBezTo>
                      <a:pt x="67" y="40"/>
                      <a:pt x="67" y="40"/>
                      <a:pt x="67" y="40"/>
                    </a:cubicBezTo>
                    <a:cubicBezTo>
                      <a:pt x="64" y="35"/>
                      <a:pt x="64" y="35"/>
                      <a:pt x="64" y="35"/>
                    </a:cubicBezTo>
                    <a:cubicBezTo>
                      <a:pt x="64" y="31"/>
                      <a:pt x="64" y="31"/>
                      <a:pt x="64" y="31"/>
                    </a:cubicBezTo>
                    <a:cubicBezTo>
                      <a:pt x="58" y="27"/>
                      <a:pt x="58" y="27"/>
                      <a:pt x="58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3" y="27"/>
                      <a:pt x="53" y="27"/>
                      <a:pt x="53" y="27"/>
                    </a:cubicBezTo>
                    <a:cubicBezTo>
                      <a:pt x="51" y="25"/>
                      <a:pt x="51" y="25"/>
                      <a:pt x="51" y="25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2" y="18"/>
                      <a:pt x="42" y="18"/>
                      <a:pt x="42" y="18"/>
                    </a:cubicBezTo>
                    <a:cubicBezTo>
                      <a:pt x="40" y="17"/>
                      <a:pt x="40" y="17"/>
                      <a:pt x="40" y="17"/>
                    </a:cubicBezTo>
                    <a:cubicBezTo>
                      <a:pt x="39" y="19"/>
                      <a:pt x="39" y="19"/>
                      <a:pt x="39" y="19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5"/>
                      <a:pt x="30" y="15"/>
                      <a:pt x="30" y="15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4" y="10"/>
                      <a:pt x="24" y="10"/>
                      <a:pt x="24" y="10"/>
                    </a:cubicBezTo>
                    <a:cubicBezTo>
                      <a:pt x="22" y="8"/>
                      <a:pt x="22" y="8"/>
                      <a:pt x="22" y="8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5" y="17"/>
                      <a:pt x="25" y="17"/>
                      <a:pt x="25" y="17"/>
                    </a:cubicBezTo>
                    <a:cubicBezTo>
                      <a:pt x="22" y="19"/>
                      <a:pt x="22" y="19"/>
                      <a:pt x="22" y="19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1" y="23"/>
                      <a:pt x="21" y="23"/>
                      <a:pt x="21" y="23"/>
                    </a:cubicBezTo>
                    <a:cubicBezTo>
                      <a:pt x="19" y="20"/>
                      <a:pt x="19" y="20"/>
                      <a:pt x="19" y="20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4"/>
                      <a:pt x="0" y="14"/>
                      <a:pt x="0" y="14"/>
                    </a:cubicBezTo>
                    <a:lnTo>
                      <a:pt x="1" y="1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9" name="Freeform 158">
                <a:extLst>
                  <a:ext uri="{FF2B5EF4-FFF2-40B4-BE49-F238E27FC236}">
                    <a16:creationId xmlns:a16="http://schemas.microsoft.com/office/drawing/2014/main" id="{7C4E2906-3ADF-4079-A349-D72C17E899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8114" y="2254250"/>
                <a:ext cx="4763" cy="6350"/>
              </a:xfrm>
              <a:custGeom>
                <a:avLst/>
                <a:gdLst>
                  <a:gd name="T0" fmla="*/ 3 w 3"/>
                  <a:gd name="T1" fmla="*/ 4 h 4"/>
                  <a:gd name="T2" fmla="*/ 3 w 3"/>
                  <a:gd name="T3" fmla="*/ 2 h 4"/>
                  <a:gd name="T4" fmla="*/ 2 w 3"/>
                  <a:gd name="T5" fmla="*/ 0 h 4"/>
                  <a:gd name="T6" fmla="*/ 0 w 3"/>
                  <a:gd name="T7" fmla="*/ 0 h 4"/>
                  <a:gd name="T8" fmla="*/ 0 w 3"/>
                  <a:gd name="T9" fmla="*/ 2 h 4"/>
                  <a:gd name="T10" fmla="*/ 2 w 3"/>
                  <a:gd name="T11" fmla="*/ 4 h 4"/>
                  <a:gd name="T12" fmla="*/ 3 w 3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3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0" name="Freeform 159">
                <a:extLst>
                  <a:ext uri="{FF2B5EF4-FFF2-40B4-BE49-F238E27FC236}">
                    <a16:creationId xmlns:a16="http://schemas.microsoft.com/office/drawing/2014/main" id="{281BDA83-5716-4C20-BF42-E1D26EA8F7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8614" y="2147888"/>
                <a:ext cx="4763" cy="6350"/>
              </a:xfrm>
              <a:custGeom>
                <a:avLst/>
                <a:gdLst>
                  <a:gd name="T0" fmla="*/ 0 w 3"/>
                  <a:gd name="T1" fmla="*/ 4 h 4"/>
                  <a:gd name="T2" fmla="*/ 2 w 3"/>
                  <a:gd name="T3" fmla="*/ 4 h 4"/>
                  <a:gd name="T4" fmla="*/ 3 w 3"/>
                  <a:gd name="T5" fmla="*/ 2 h 4"/>
                  <a:gd name="T6" fmla="*/ 2 w 3"/>
                  <a:gd name="T7" fmla="*/ 0 h 4"/>
                  <a:gd name="T8" fmla="*/ 0 w 3"/>
                  <a:gd name="T9" fmla="*/ 1 h 4"/>
                  <a:gd name="T10" fmla="*/ 0 w 3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4">
                    <a:moveTo>
                      <a:pt x="0" y="4"/>
                    </a:moveTo>
                    <a:lnTo>
                      <a:pt x="2" y="4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1" name="Freeform 160">
                <a:extLst>
                  <a:ext uri="{FF2B5EF4-FFF2-40B4-BE49-F238E27FC236}">
                    <a16:creationId xmlns:a16="http://schemas.microsoft.com/office/drawing/2014/main" id="{15091128-6121-49B1-BD9F-063C43DD12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7464" y="2338388"/>
                <a:ext cx="7938" cy="14288"/>
              </a:xfrm>
              <a:custGeom>
                <a:avLst/>
                <a:gdLst>
                  <a:gd name="T0" fmla="*/ 4 w 5"/>
                  <a:gd name="T1" fmla="*/ 1 h 9"/>
                  <a:gd name="T2" fmla="*/ 2 w 5"/>
                  <a:gd name="T3" fmla="*/ 0 h 9"/>
                  <a:gd name="T4" fmla="*/ 0 w 5"/>
                  <a:gd name="T5" fmla="*/ 2 h 9"/>
                  <a:gd name="T6" fmla="*/ 1 w 5"/>
                  <a:gd name="T7" fmla="*/ 5 h 9"/>
                  <a:gd name="T8" fmla="*/ 2 w 5"/>
                  <a:gd name="T9" fmla="*/ 7 h 9"/>
                  <a:gd name="T10" fmla="*/ 3 w 5"/>
                  <a:gd name="T11" fmla="*/ 9 h 9"/>
                  <a:gd name="T12" fmla="*/ 5 w 5"/>
                  <a:gd name="T13" fmla="*/ 9 h 9"/>
                  <a:gd name="T14" fmla="*/ 5 w 5"/>
                  <a:gd name="T15" fmla="*/ 7 h 9"/>
                  <a:gd name="T16" fmla="*/ 3 w 5"/>
                  <a:gd name="T17" fmla="*/ 4 h 9"/>
                  <a:gd name="T18" fmla="*/ 5 w 5"/>
                  <a:gd name="T19" fmla="*/ 2 h 9"/>
                  <a:gd name="T20" fmla="*/ 4 w 5"/>
                  <a:gd name="T21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9">
                    <a:moveTo>
                      <a:pt x="4" y="1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1" y="5"/>
                    </a:lnTo>
                    <a:lnTo>
                      <a:pt x="2" y="7"/>
                    </a:lnTo>
                    <a:lnTo>
                      <a:pt x="3" y="9"/>
                    </a:lnTo>
                    <a:lnTo>
                      <a:pt x="5" y="9"/>
                    </a:lnTo>
                    <a:lnTo>
                      <a:pt x="5" y="7"/>
                    </a:lnTo>
                    <a:lnTo>
                      <a:pt x="3" y="4"/>
                    </a:lnTo>
                    <a:lnTo>
                      <a:pt x="5" y="2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2" name="Freeform 161">
                <a:extLst>
                  <a:ext uri="{FF2B5EF4-FFF2-40B4-BE49-F238E27FC236}">
                    <a16:creationId xmlns:a16="http://schemas.microsoft.com/office/drawing/2014/main" id="{CEC3D929-49F1-4BDC-A78A-DFF68339DA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58114" y="1514475"/>
                <a:ext cx="9525" cy="11113"/>
              </a:xfrm>
              <a:custGeom>
                <a:avLst/>
                <a:gdLst>
                  <a:gd name="T0" fmla="*/ 2 w 6"/>
                  <a:gd name="T1" fmla="*/ 6 h 7"/>
                  <a:gd name="T2" fmla="*/ 3 w 6"/>
                  <a:gd name="T3" fmla="*/ 7 h 7"/>
                  <a:gd name="T4" fmla="*/ 5 w 6"/>
                  <a:gd name="T5" fmla="*/ 6 h 7"/>
                  <a:gd name="T6" fmla="*/ 6 w 6"/>
                  <a:gd name="T7" fmla="*/ 2 h 7"/>
                  <a:gd name="T8" fmla="*/ 5 w 6"/>
                  <a:gd name="T9" fmla="*/ 0 h 7"/>
                  <a:gd name="T10" fmla="*/ 1 w 6"/>
                  <a:gd name="T11" fmla="*/ 1 h 7"/>
                  <a:gd name="T12" fmla="*/ 0 w 6"/>
                  <a:gd name="T13" fmla="*/ 3 h 7"/>
                  <a:gd name="T14" fmla="*/ 1 w 6"/>
                  <a:gd name="T15" fmla="*/ 6 h 7"/>
                  <a:gd name="T16" fmla="*/ 2 w 6"/>
                  <a:gd name="T17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7">
                    <a:moveTo>
                      <a:pt x="2" y="6"/>
                    </a:moveTo>
                    <a:lnTo>
                      <a:pt x="3" y="7"/>
                    </a:lnTo>
                    <a:lnTo>
                      <a:pt x="5" y="6"/>
                    </a:lnTo>
                    <a:lnTo>
                      <a:pt x="6" y="2"/>
                    </a:lnTo>
                    <a:lnTo>
                      <a:pt x="5" y="0"/>
                    </a:lnTo>
                    <a:lnTo>
                      <a:pt x="1" y="1"/>
                    </a:lnTo>
                    <a:lnTo>
                      <a:pt x="0" y="3"/>
                    </a:lnTo>
                    <a:lnTo>
                      <a:pt x="1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3" name="Freeform 162">
                <a:extLst>
                  <a:ext uri="{FF2B5EF4-FFF2-40B4-BE49-F238E27FC236}">
                    <a16:creationId xmlns:a16="http://schemas.microsoft.com/office/drawing/2014/main" id="{44488157-EB02-4A9D-BABC-5BB1C8D1BB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5276" y="1416050"/>
                <a:ext cx="25400" cy="19050"/>
              </a:xfrm>
              <a:custGeom>
                <a:avLst/>
                <a:gdLst>
                  <a:gd name="T0" fmla="*/ 9 w 16"/>
                  <a:gd name="T1" fmla="*/ 4 h 12"/>
                  <a:gd name="T2" fmla="*/ 6 w 16"/>
                  <a:gd name="T3" fmla="*/ 4 h 12"/>
                  <a:gd name="T4" fmla="*/ 2 w 16"/>
                  <a:gd name="T5" fmla="*/ 0 h 12"/>
                  <a:gd name="T6" fmla="*/ 0 w 16"/>
                  <a:gd name="T7" fmla="*/ 0 h 12"/>
                  <a:gd name="T8" fmla="*/ 0 w 16"/>
                  <a:gd name="T9" fmla="*/ 0 h 12"/>
                  <a:gd name="T10" fmla="*/ 0 w 16"/>
                  <a:gd name="T11" fmla="*/ 4 h 12"/>
                  <a:gd name="T12" fmla="*/ 2 w 16"/>
                  <a:gd name="T13" fmla="*/ 7 h 12"/>
                  <a:gd name="T14" fmla="*/ 5 w 16"/>
                  <a:gd name="T15" fmla="*/ 7 h 12"/>
                  <a:gd name="T16" fmla="*/ 8 w 16"/>
                  <a:gd name="T17" fmla="*/ 9 h 12"/>
                  <a:gd name="T18" fmla="*/ 11 w 16"/>
                  <a:gd name="T19" fmla="*/ 9 h 12"/>
                  <a:gd name="T20" fmla="*/ 14 w 16"/>
                  <a:gd name="T21" fmla="*/ 12 h 12"/>
                  <a:gd name="T22" fmla="*/ 16 w 16"/>
                  <a:gd name="T23" fmla="*/ 12 h 12"/>
                  <a:gd name="T24" fmla="*/ 16 w 16"/>
                  <a:gd name="T25" fmla="*/ 10 h 12"/>
                  <a:gd name="T26" fmla="*/ 12 w 16"/>
                  <a:gd name="T27" fmla="*/ 5 h 12"/>
                  <a:gd name="T28" fmla="*/ 9 w 16"/>
                  <a:gd name="T2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" h="12">
                    <a:moveTo>
                      <a:pt x="9" y="4"/>
                    </a:moveTo>
                    <a:lnTo>
                      <a:pt x="6" y="4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7"/>
                    </a:lnTo>
                    <a:lnTo>
                      <a:pt x="5" y="7"/>
                    </a:lnTo>
                    <a:lnTo>
                      <a:pt x="8" y="9"/>
                    </a:lnTo>
                    <a:lnTo>
                      <a:pt x="11" y="9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6" y="10"/>
                    </a:lnTo>
                    <a:lnTo>
                      <a:pt x="12" y="5"/>
                    </a:lnTo>
                    <a:lnTo>
                      <a:pt x="9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4" name="Freeform 163">
                <a:extLst>
                  <a:ext uri="{FF2B5EF4-FFF2-40B4-BE49-F238E27FC236}">
                    <a16:creationId xmlns:a16="http://schemas.microsoft.com/office/drawing/2014/main" id="{01FF9A2B-962B-4388-BE6D-DC91BE4817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4139" y="1589088"/>
                <a:ext cx="14288" cy="11113"/>
              </a:xfrm>
              <a:custGeom>
                <a:avLst/>
                <a:gdLst>
                  <a:gd name="T0" fmla="*/ 3 w 11"/>
                  <a:gd name="T1" fmla="*/ 6 h 9"/>
                  <a:gd name="T2" fmla="*/ 3 w 11"/>
                  <a:gd name="T3" fmla="*/ 9 h 9"/>
                  <a:gd name="T4" fmla="*/ 8 w 11"/>
                  <a:gd name="T5" fmla="*/ 9 h 9"/>
                  <a:gd name="T6" fmla="*/ 9 w 11"/>
                  <a:gd name="T7" fmla="*/ 8 h 9"/>
                  <a:gd name="T8" fmla="*/ 10 w 11"/>
                  <a:gd name="T9" fmla="*/ 8 h 9"/>
                  <a:gd name="T10" fmla="*/ 11 w 11"/>
                  <a:gd name="T11" fmla="*/ 6 h 9"/>
                  <a:gd name="T12" fmla="*/ 8 w 11"/>
                  <a:gd name="T13" fmla="*/ 4 h 9"/>
                  <a:gd name="T14" fmla="*/ 5 w 11"/>
                  <a:gd name="T15" fmla="*/ 0 h 9"/>
                  <a:gd name="T16" fmla="*/ 2 w 11"/>
                  <a:gd name="T17" fmla="*/ 0 h 9"/>
                  <a:gd name="T18" fmla="*/ 0 w 11"/>
                  <a:gd name="T19" fmla="*/ 2 h 9"/>
                  <a:gd name="T20" fmla="*/ 0 w 11"/>
                  <a:gd name="T21" fmla="*/ 4 h 9"/>
                  <a:gd name="T22" fmla="*/ 3 w 11"/>
                  <a:gd name="T23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9">
                    <a:moveTo>
                      <a:pt x="3" y="6"/>
                    </a:moveTo>
                    <a:cubicBezTo>
                      <a:pt x="3" y="6"/>
                      <a:pt x="3" y="9"/>
                      <a:pt x="3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4"/>
                      <a:pt x="0" y="4"/>
                      <a:pt x="0" y="4"/>
                    </a:cubicBezTo>
                    <a:lnTo>
                      <a:pt x="3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5" name="Freeform 164">
                <a:extLst>
                  <a:ext uri="{FF2B5EF4-FFF2-40B4-BE49-F238E27FC236}">
                    <a16:creationId xmlns:a16="http://schemas.microsoft.com/office/drawing/2014/main" id="{CF7345E2-8C8F-4D10-AFBB-D7C51C858D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5901" y="1289050"/>
                <a:ext cx="28575" cy="44450"/>
              </a:xfrm>
              <a:custGeom>
                <a:avLst/>
                <a:gdLst>
                  <a:gd name="T0" fmla="*/ 4 w 18"/>
                  <a:gd name="T1" fmla="*/ 8 h 28"/>
                  <a:gd name="T2" fmla="*/ 8 w 18"/>
                  <a:gd name="T3" fmla="*/ 12 h 28"/>
                  <a:gd name="T4" fmla="*/ 12 w 18"/>
                  <a:gd name="T5" fmla="*/ 19 h 28"/>
                  <a:gd name="T6" fmla="*/ 14 w 18"/>
                  <a:gd name="T7" fmla="*/ 26 h 28"/>
                  <a:gd name="T8" fmla="*/ 16 w 18"/>
                  <a:gd name="T9" fmla="*/ 28 h 28"/>
                  <a:gd name="T10" fmla="*/ 18 w 18"/>
                  <a:gd name="T11" fmla="*/ 26 h 28"/>
                  <a:gd name="T12" fmla="*/ 18 w 18"/>
                  <a:gd name="T13" fmla="*/ 22 h 28"/>
                  <a:gd name="T14" fmla="*/ 15 w 18"/>
                  <a:gd name="T15" fmla="*/ 14 h 28"/>
                  <a:gd name="T16" fmla="*/ 14 w 18"/>
                  <a:gd name="T17" fmla="*/ 10 h 28"/>
                  <a:gd name="T18" fmla="*/ 12 w 18"/>
                  <a:gd name="T19" fmla="*/ 8 h 28"/>
                  <a:gd name="T20" fmla="*/ 7 w 18"/>
                  <a:gd name="T21" fmla="*/ 8 h 28"/>
                  <a:gd name="T22" fmla="*/ 5 w 18"/>
                  <a:gd name="T23" fmla="*/ 3 h 28"/>
                  <a:gd name="T24" fmla="*/ 2 w 18"/>
                  <a:gd name="T25" fmla="*/ 1 h 28"/>
                  <a:gd name="T26" fmla="*/ 0 w 18"/>
                  <a:gd name="T27" fmla="*/ 0 h 28"/>
                  <a:gd name="T28" fmla="*/ 1 w 18"/>
                  <a:gd name="T29" fmla="*/ 2 h 28"/>
                  <a:gd name="T30" fmla="*/ 4 w 18"/>
                  <a:gd name="T31" fmla="*/ 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28">
                    <a:moveTo>
                      <a:pt x="4" y="8"/>
                    </a:moveTo>
                    <a:lnTo>
                      <a:pt x="8" y="12"/>
                    </a:lnTo>
                    <a:lnTo>
                      <a:pt x="12" y="19"/>
                    </a:lnTo>
                    <a:lnTo>
                      <a:pt x="14" y="26"/>
                    </a:lnTo>
                    <a:lnTo>
                      <a:pt x="16" y="28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5" y="14"/>
                    </a:lnTo>
                    <a:lnTo>
                      <a:pt x="14" y="10"/>
                    </a:lnTo>
                    <a:lnTo>
                      <a:pt x="12" y="8"/>
                    </a:lnTo>
                    <a:lnTo>
                      <a:pt x="7" y="8"/>
                    </a:lnTo>
                    <a:lnTo>
                      <a:pt x="5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6" name="Freeform 165">
                <a:extLst>
                  <a:ext uri="{FF2B5EF4-FFF2-40B4-BE49-F238E27FC236}">
                    <a16:creationId xmlns:a16="http://schemas.microsoft.com/office/drawing/2014/main" id="{A1B4DAF1-91F5-4DC9-963B-5AD89D6453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31101" y="1531938"/>
                <a:ext cx="34925" cy="38100"/>
              </a:xfrm>
              <a:custGeom>
                <a:avLst/>
                <a:gdLst>
                  <a:gd name="T0" fmla="*/ 6 w 22"/>
                  <a:gd name="T1" fmla="*/ 20 h 24"/>
                  <a:gd name="T2" fmla="*/ 13 w 22"/>
                  <a:gd name="T3" fmla="*/ 22 h 24"/>
                  <a:gd name="T4" fmla="*/ 16 w 22"/>
                  <a:gd name="T5" fmla="*/ 23 h 24"/>
                  <a:gd name="T6" fmla="*/ 17 w 22"/>
                  <a:gd name="T7" fmla="*/ 24 h 24"/>
                  <a:gd name="T8" fmla="*/ 20 w 22"/>
                  <a:gd name="T9" fmla="*/ 23 h 24"/>
                  <a:gd name="T10" fmla="*/ 21 w 22"/>
                  <a:gd name="T11" fmla="*/ 20 h 24"/>
                  <a:gd name="T12" fmla="*/ 22 w 22"/>
                  <a:gd name="T13" fmla="*/ 19 h 24"/>
                  <a:gd name="T14" fmla="*/ 22 w 22"/>
                  <a:gd name="T15" fmla="*/ 17 h 24"/>
                  <a:gd name="T16" fmla="*/ 21 w 22"/>
                  <a:gd name="T17" fmla="*/ 14 h 24"/>
                  <a:gd name="T18" fmla="*/ 20 w 22"/>
                  <a:gd name="T19" fmla="*/ 9 h 24"/>
                  <a:gd name="T20" fmla="*/ 18 w 22"/>
                  <a:gd name="T21" fmla="*/ 7 h 24"/>
                  <a:gd name="T22" fmla="*/ 17 w 22"/>
                  <a:gd name="T23" fmla="*/ 3 h 24"/>
                  <a:gd name="T24" fmla="*/ 17 w 22"/>
                  <a:gd name="T25" fmla="*/ 1 h 24"/>
                  <a:gd name="T26" fmla="*/ 15 w 22"/>
                  <a:gd name="T27" fmla="*/ 0 h 24"/>
                  <a:gd name="T28" fmla="*/ 10 w 22"/>
                  <a:gd name="T29" fmla="*/ 2 h 24"/>
                  <a:gd name="T30" fmla="*/ 4 w 22"/>
                  <a:gd name="T31" fmla="*/ 6 h 24"/>
                  <a:gd name="T32" fmla="*/ 2 w 22"/>
                  <a:gd name="T33" fmla="*/ 6 h 24"/>
                  <a:gd name="T34" fmla="*/ 1 w 22"/>
                  <a:gd name="T35" fmla="*/ 7 h 24"/>
                  <a:gd name="T36" fmla="*/ 2 w 22"/>
                  <a:gd name="T37" fmla="*/ 11 h 24"/>
                  <a:gd name="T38" fmla="*/ 4 w 22"/>
                  <a:gd name="T39" fmla="*/ 13 h 24"/>
                  <a:gd name="T40" fmla="*/ 5 w 22"/>
                  <a:gd name="T41" fmla="*/ 16 h 24"/>
                  <a:gd name="T42" fmla="*/ 3 w 22"/>
                  <a:gd name="T43" fmla="*/ 17 h 24"/>
                  <a:gd name="T44" fmla="*/ 1 w 22"/>
                  <a:gd name="T45" fmla="*/ 17 h 24"/>
                  <a:gd name="T46" fmla="*/ 0 w 22"/>
                  <a:gd name="T47" fmla="*/ 18 h 24"/>
                  <a:gd name="T48" fmla="*/ 2 w 22"/>
                  <a:gd name="T49" fmla="*/ 20 h 24"/>
                  <a:gd name="T50" fmla="*/ 6 w 22"/>
                  <a:gd name="T51" fmla="*/ 2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2" h="24">
                    <a:moveTo>
                      <a:pt x="6" y="20"/>
                    </a:moveTo>
                    <a:lnTo>
                      <a:pt x="13" y="22"/>
                    </a:lnTo>
                    <a:lnTo>
                      <a:pt x="16" y="23"/>
                    </a:lnTo>
                    <a:lnTo>
                      <a:pt x="17" y="24"/>
                    </a:lnTo>
                    <a:lnTo>
                      <a:pt x="20" y="23"/>
                    </a:lnTo>
                    <a:lnTo>
                      <a:pt x="21" y="20"/>
                    </a:lnTo>
                    <a:lnTo>
                      <a:pt x="22" y="19"/>
                    </a:lnTo>
                    <a:lnTo>
                      <a:pt x="22" y="17"/>
                    </a:lnTo>
                    <a:lnTo>
                      <a:pt x="21" y="14"/>
                    </a:lnTo>
                    <a:lnTo>
                      <a:pt x="20" y="9"/>
                    </a:lnTo>
                    <a:lnTo>
                      <a:pt x="18" y="7"/>
                    </a:lnTo>
                    <a:lnTo>
                      <a:pt x="17" y="3"/>
                    </a:lnTo>
                    <a:lnTo>
                      <a:pt x="17" y="1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1" y="7"/>
                    </a:lnTo>
                    <a:lnTo>
                      <a:pt x="2" y="11"/>
                    </a:lnTo>
                    <a:lnTo>
                      <a:pt x="4" y="13"/>
                    </a:lnTo>
                    <a:lnTo>
                      <a:pt x="5" y="16"/>
                    </a:lnTo>
                    <a:lnTo>
                      <a:pt x="3" y="17"/>
                    </a:lnTo>
                    <a:lnTo>
                      <a:pt x="1" y="17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6" y="2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7" name="Freeform 166">
                <a:extLst>
                  <a:ext uri="{FF2B5EF4-FFF2-40B4-BE49-F238E27FC236}">
                    <a16:creationId xmlns:a16="http://schemas.microsoft.com/office/drawing/2014/main" id="{06842007-B610-4211-BD2A-773B59B7FD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1289" y="1363663"/>
                <a:ext cx="7938" cy="6350"/>
              </a:xfrm>
              <a:custGeom>
                <a:avLst/>
                <a:gdLst>
                  <a:gd name="T0" fmla="*/ 4 w 5"/>
                  <a:gd name="T1" fmla="*/ 3 h 4"/>
                  <a:gd name="T2" fmla="*/ 5 w 5"/>
                  <a:gd name="T3" fmla="*/ 1 h 4"/>
                  <a:gd name="T4" fmla="*/ 4 w 5"/>
                  <a:gd name="T5" fmla="*/ 0 h 4"/>
                  <a:gd name="T6" fmla="*/ 2 w 5"/>
                  <a:gd name="T7" fmla="*/ 0 h 4"/>
                  <a:gd name="T8" fmla="*/ 2 w 5"/>
                  <a:gd name="T9" fmla="*/ 1 h 4"/>
                  <a:gd name="T10" fmla="*/ 0 w 5"/>
                  <a:gd name="T11" fmla="*/ 2 h 4"/>
                  <a:gd name="T12" fmla="*/ 0 w 5"/>
                  <a:gd name="T13" fmla="*/ 3 h 4"/>
                  <a:gd name="T14" fmla="*/ 2 w 5"/>
                  <a:gd name="T15" fmla="*/ 4 h 4"/>
                  <a:gd name="T16" fmla="*/ 4 w 5"/>
                  <a:gd name="T1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4">
                    <a:moveTo>
                      <a:pt x="4" y="3"/>
                    </a:moveTo>
                    <a:lnTo>
                      <a:pt x="5" y="1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2" y="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8" name="Freeform 167">
                <a:extLst>
                  <a:ext uri="{FF2B5EF4-FFF2-40B4-BE49-F238E27FC236}">
                    <a16:creationId xmlns:a16="http://schemas.microsoft.com/office/drawing/2014/main" id="{006F2FCF-33EF-4AA5-BF01-3E82AD63EA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1764" y="1374775"/>
                <a:ext cx="11113" cy="11113"/>
              </a:xfrm>
              <a:custGeom>
                <a:avLst/>
                <a:gdLst>
                  <a:gd name="T0" fmla="*/ 4 w 7"/>
                  <a:gd name="T1" fmla="*/ 7 h 7"/>
                  <a:gd name="T2" fmla="*/ 6 w 7"/>
                  <a:gd name="T3" fmla="*/ 6 h 7"/>
                  <a:gd name="T4" fmla="*/ 7 w 7"/>
                  <a:gd name="T5" fmla="*/ 5 h 7"/>
                  <a:gd name="T6" fmla="*/ 6 w 7"/>
                  <a:gd name="T7" fmla="*/ 2 h 7"/>
                  <a:gd name="T8" fmla="*/ 6 w 7"/>
                  <a:gd name="T9" fmla="*/ 0 h 7"/>
                  <a:gd name="T10" fmla="*/ 4 w 7"/>
                  <a:gd name="T11" fmla="*/ 1 h 7"/>
                  <a:gd name="T12" fmla="*/ 3 w 7"/>
                  <a:gd name="T13" fmla="*/ 3 h 7"/>
                  <a:gd name="T14" fmla="*/ 0 w 7"/>
                  <a:gd name="T15" fmla="*/ 4 h 7"/>
                  <a:gd name="T16" fmla="*/ 1 w 7"/>
                  <a:gd name="T17" fmla="*/ 6 h 7"/>
                  <a:gd name="T18" fmla="*/ 4 w 7"/>
                  <a:gd name="T1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7">
                    <a:moveTo>
                      <a:pt x="4" y="7"/>
                    </a:moveTo>
                    <a:lnTo>
                      <a:pt x="6" y="6"/>
                    </a:lnTo>
                    <a:lnTo>
                      <a:pt x="7" y="5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0" y="4"/>
                    </a:lnTo>
                    <a:lnTo>
                      <a:pt x="1" y="6"/>
                    </a:lnTo>
                    <a:lnTo>
                      <a:pt x="4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9" name="Freeform 168">
                <a:extLst>
                  <a:ext uri="{FF2B5EF4-FFF2-40B4-BE49-F238E27FC236}">
                    <a16:creationId xmlns:a16="http://schemas.microsoft.com/office/drawing/2014/main" id="{390667E2-B0A6-48A4-B4D3-C6DED26F3F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4939" y="1363663"/>
                <a:ext cx="3175" cy="7938"/>
              </a:xfrm>
              <a:custGeom>
                <a:avLst/>
                <a:gdLst>
                  <a:gd name="T0" fmla="*/ 0 w 2"/>
                  <a:gd name="T1" fmla="*/ 5 h 5"/>
                  <a:gd name="T2" fmla="*/ 1 w 2"/>
                  <a:gd name="T3" fmla="*/ 5 h 5"/>
                  <a:gd name="T4" fmla="*/ 2 w 2"/>
                  <a:gd name="T5" fmla="*/ 2 h 5"/>
                  <a:gd name="T6" fmla="*/ 2 w 2"/>
                  <a:gd name="T7" fmla="*/ 0 h 5"/>
                  <a:gd name="T8" fmla="*/ 1 w 2"/>
                  <a:gd name="T9" fmla="*/ 2 h 5"/>
                  <a:gd name="T10" fmla="*/ 0 w 2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1" y="5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1" y="2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0" name="Freeform 169">
                <a:extLst>
                  <a:ext uri="{FF2B5EF4-FFF2-40B4-BE49-F238E27FC236}">
                    <a16:creationId xmlns:a16="http://schemas.microsoft.com/office/drawing/2014/main" id="{AED6C12C-5357-431F-82B3-D7B4CFBE3E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0814" y="1290638"/>
                <a:ext cx="12700" cy="12700"/>
              </a:xfrm>
              <a:custGeom>
                <a:avLst/>
                <a:gdLst>
                  <a:gd name="T0" fmla="*/ 2 w 8"/>
                  <a:gd name="T1" fmla="*/ 0 h 8"/>
                  <a:gd name="T2" fmla="*/ 1 w 8"/>
                  <a:gd name="T3" fmla="*/ 0 h 8"/>
                  <a:gd name="T4" fmla="*/ 0 w 8"/>
                  <a:gd name="T5" fmla="*/ 2 h 8"/>
                  <a:gd name="T6" fmla="*/ 1 w 8"/>
                  <a:gd name="T7" fmla="*/ 5 h 8"/>
                  <a:gd name="T8" fmla="*/ 5 w 8"/>
                  <a:gd name="T9" fmla="*/ 8 h 8"/>
                  <a:gd name="T10" fmla="*/ 8 w 8"/>
                  <a:gd name="T11" fmla="*/ 7 h 8"/>
                  <a:gd name="T12" fmla="*/ 8 w 8"/>
                  <a:gd name="T13" fmla="*/ 4 h 8"/>
                  <a:gd name="T14" fmla="*/ 6 w 8"/>
                  <a:gd name="T15" fmla="*/ 2 h 8"/>
                  <a:gd name="T16" fmla="*/ 3 w 8"/>
                  <a:gd name="T17" fmla="*/ 2 h 8"/>
                  <a:gd name="T18" fmla="*/ 2 w 8"/>
                  <a:gd name="T1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8">
                    <a:moveTo>
                      <a:pt x="2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1" y="5"/>
                    </a:lnTo>
                    <a:lnTo>
                      <a:pt x="5" y="8"/>
                    </a:lnTo>
                    <a:lnTo>
                      <a:pt x="8" y="7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3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1" name="Freeform 170">
                <a:extLst>
                  <a:ext uri="{FF2B5EF4-FFF2-40B4-BE49-F238E27FC236}">
                    <a16:creationId xmlns:a16="http://schemas.microsoft.com/office/drawing/2014/main" id="{86B83834-159D-4CBF-90C6-8276D80869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8751" y="1308100"/>
                <a:ext cx="11113" cy="15875"/>
              </a:xfrm>
              <a:custGeom>
                <a:avLst/>
                <a:gdLst>
                  <a:gd name="T0" fmla="*/ 2 w 7"/>
                  <a:gd name="T1" fmla="*/ 6 h 10"/>
                  <a:gd name="T2" fmla="*/ 0 w 7"/>
                  <a:gd name="T3" fmla="*/ 7 h 10"/>
                  <a:gd name="T4" fmla="*/ 0 w 7"/>
                  <a:gd name="T5" fmla="*/ 10 h 10"/>
                  <a:gd name="T6" fmla="*/ 1 w 7"/>
                  <a:gd name="T7" fmla="*/ 10 h 10"/>
                  <a:gd name="T8" fmla="*/ 4 w 7"/>
                  <a:gd name="T9" fmla="*/ 10 h 10"/>
                  <a:gd name="T10" fmla="*/ 6 w 7"/>
                  <a:gd name="T11" fmla="*/ 9 h 10"/>
                  <a:gd name="T12" fmla="*/ 6 w 7"/>
                  <a:gd name="T13" fmla="*/ 6 h 10"/>
                  <a:gd name="T14" fmla="*/ 7 w 7"/>
                  <a:gd name="T15" fmla="*/ 6 h 10"/>
                  <a:gd name="T16" fmla="*/ 7 w 7"/>
                  <a:gd name="T17" fmla="*/ 3 h 10"/>
                  <a:gd name="T18" fmla="*/ 5 w 7"/>
                  <a:gd name="T19" fmla="*/ 0 h 10"/>
                  <a:gd name="T20" fmla="*/ 4 w 7"/>
                  <a:gd name="T21" fmla="*/ 0 h 10"/>
                  <a:gd name="T22" fmla="*/ 3 w 7"/>
                  <a:gd name="T23" fmla="*/ 2 h 10"/>
                  <a:gd name="T24" fmla="*/ 2 w 7"/>
                  <a:gd name="T2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" h="10">
                    <a:moveTo>
                      <a:pt x="2" y="6"/>
                    </a:moveTo>
                    <a:lnTo>
                      <a:pt x="0" y="7"/>
                    </a:lnTo>
                    <a:lnTo>
                      <a:pt x="0" y="10"/>
                    </a:lnTo>
                    <a:lnTo>
                      <a:pt x="1" y="10"/>
                    </a:lnTo>
                    <a:lnTo>
                      <a:pt x="4" y="10"/>
                    </a:lnTo>
                    <a:lnTo>
                      <a:pt x="6" y="9"/>
                    </a:lnTo>
                    <a:lnTo>
                      <a:pt x="6" y="6"/>
                    </a:lnTo>
                    <a:lnTo>
                      <a:pt x="7" y="6"/>
                    </a:lnTo>
                    <a:lnTo>
                      <a:pt x="7" y="3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2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2" name="Freeform 171">
                <a:extLst>
                  <a:ext uri="{FF2B5EF4-FFF2-40B4-BE49-F238E27FC236}">
                    <a16:creationId xmlns:a16="http://schemas.microsoft.com/office/drawing/2014/main" id="{766199FB-3AB0-40CE-84A6-40243F049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8751" y="1339850"/>
                <a:ext cx="11113" cy="7938"/>
              </a:xfrm>
              <a:custGeom>
                <a:avLst/>
                <a:gdLst>
                  <a:gd name="T0" fmla="*/ 4 w 7"/>
                  <a:gd name="T1" fmla="*/ 0 h 5"/>
                  <a:gd name="T2" fmla="*/ 3 w 7"/>
                  <a:gd name="T3" fmla="*/ 2 h 5"/>
                  <a:gd name="T4" fmla="*/ 0 w 7"/>
                  <a:gd name="T5" fmla="*/ 2 h 5"/>
                  <a:gd name="T6" fmla="*/ 3 w 7"/>
                  <a:gd name="T7" fmla="*/ 4 h 5"/>
                  <a:gd name="T8" fmla="*/ 4 w 7"/>
                  <a:gd name="T9" fmla="*/ 5 h 5"/>
                  <a:gd name="T10" fmla="*/ 7 w 7"/>
                  <a:gd name="T11" fmla="*/ 3 h 5"/>
                  <a:gd name="T12" fmla="*/ 7 w 7"/>
                  <a:gd name="T13" fmla="*/ 1 h 5"/>
                  <a:gd name="T14" fmla="*/ 6 w 7"/>
                  <a:gd name="T15" fmla="*/ 0 h 5"/>
                  <a:gd name="T16" fmla="*/ 4 w 7"/>
                  <a:gd name="T1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5">
                    <a:moveTo>
                      <a:pt x="4" y="0"/>
                    </a:moveTo>
                    <a:lnTo>
                      <a:pt x="3" y="2"/>
                    </a:lnTo>
                    <a:lnTo>
                      <a:pt x="0" y="2"/>
                    </a:lnTo>
                    <a:lnTo>
                      <a:pt x="3" y="4"/>
                    </a:lnTo>
                    <a:lnTo>
                      <a:pt x="4" y="5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3" name="Freeform 172">
                <a:extLst>
                  <a:ext uri="{FF2B5EF4-FFF2-40B4-BE49-F238E27FC236}">
                    <a16:creationId xmlns:a16="http://schemas.microsoft.com/office/drawing/2014/main" id="{35E3A4DA-8C9D-4FBB-8987-413D6E270F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7001" y="1296988"/>
                <a:ext cx="31750" cy="22225"/>
              </a:xfrm>
              <a:custGeom>
                <a:avLst/>
                <a:gdLst>
                  <a:gd name="T0" fmla="*/ 20 w 20"/>
                  <a:gd name="T1" fmla="*/ 6 h 14"/>
                  <a:gd name="T2" fmla="*/ 17 w 20"/>
                  <a:gd name="T3" fmla="*/ 7 h 14"/>
                  <a:gd name="T4" fmla="*/ 16 w 20"/>
                  <a:gd name="T5" fmla="*/ 7 h 14"/>
                  <a:gd name="T6" fmla="*/ 12 w 20"/>
                  <a:gd name="T7" fmla="*/ 3 h 14"/>
                  <a:gd name="T8" fmla="*/ 7 w 20"/>
                  <a:gd name="T9" fmla="*/ 0 h 14"/>
                  <a:gd name="T10" fmla="*/ 3 w 20"/>
                  <a:gd name="T11" fmla="*/ 0 h 14"/>
                  <a:gd name="T12" fmla="*/ 1 w 20"/>
                  <a:gd name="T13" fmla="*/ 1 h 14"/>
                  <a:gd name="T14" fmla="*/ 0 w 20"/>
                  <a:gd name="T15" fmla="*/ 3 h 14"/>
                  <a:gd name="T16" fmla="*/ 2 w 20"/>
                  <a:gd name="T17" fmla="*/ 4 h 14"/>
                  <a:gd name="T18" fmla="*/ 4 w 20"/>
                  <a:gd name="T19" fmla="*/ 4 h 14"/>
                  <a:gd name="T20" fmla="*/ 9 w 20"/>
                  <a:gd name="T21" fmla="*/ 6 h 14"/>
                  <a:gd name="T22" fmla="*/ 14 w 20"/>
                  <a:gd name="T23" fmla="*/ 11 h 14"/>
                  <a:gd name="T24" fmla="*/ 16 w 20"/>
                  <a:gd name="T25" fmla="*/ 14 h 14"/>
                  <a:gd name="T26" fmla="*/ 19 w 20"/>
                  <a:gd name="T27" fmla="*/ 13 h 14"/>
                  <a:gd name="T28" fmla="*/ 20 w 20"/>
                  <a:gd name="T29" fmla="*/ 10 h 14"/>
                  <a:gd name="T30" fmla="*/ 20 w 20"/>
                  <a:gd name="T31" fmla="*/ 6 h 14"/>
                  <a:gd name="T32" fmla="*/ 20 w 20"/>
                  <a:gd name="T33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0" h="14">
                    <a:moveTo>
                      <a:pt x="20" y="6"/>
                    </a:moveTo>
                    <a:lnTo>
                      <a:pt x="17" y="7"/>
                    </a:lnTo>
                    <a:lnTo>
                      <a:pt x="16" y="7"/>
                    </a:lnTo>
                    <a:lnTo>
                      <a:pt x="12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1" y="1"/>
                    </a:lnTo>
                    <a:lnTo>
                      <a:pt x="0" y="3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9" y="6"/>
                    </a:lnTo>
                    <a:lnTo>
                      <a:pt x="14" y="11"/>
                    </a:lnTo>
                    <a:lnTo>
                      <a:pt x="16" y="14"/>
                    </a:lnTo>
                    <a:lnTo>
                      <a:pt x="19" y="13"/>
                    </a:lnTo>
                    <a:lnTo>
                      <a:pt x="20" y="10"/>
                    </a:lnTo>
                    <a:lnTo>
                      <a:pt x="20" y="6"/>
                    </a:lnTo>
                    <a:lnTo>
                      <a:pt x="20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4" name="Freeform 173">
                <a:extLst>
                  <a:ext uri="{FF2B5EF4-FFF2-40B4-BE49-F238E27FC236}">
                    <a16:creationId xmlns:a16="http://schemas.microsoft.com/office/drawing/2014/main" id="{0980C006-254A-46BD-A15D-3D1BAD624E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7639" y="1365250"/>
                <a:ext cx="22225" cy="31750"/>
              </a:xfrm>
              <a:custGeom>
                <a:avLst/>
                <a:gdLst>
                  <a:gd name="T0" fmla="*/ 3 w 14"/>
                  <a:gd name="T1" fmla="*/ 17 h 20"/>
                  <a:gd name="T2" fmla="*/ 4 w 14"/>
                  <a:gd name="T3" fmla="*/ 19 h 20"/>
                  <a:gd name="T4" fmla="*/ 7 w 14"/>
                  <a:gd name="T5" fmla="*/ 20 h 20"/>
                  <a:gd name="T6" fmla="*/ 10 w 14"/>
                  <a:gd name="T7" fmla="*/ 18 h 20"/>
                  <a:gd name="T8" fmla="*/ 14 w 14"/>
                  <a:gd name="T9" fmla="*/ 18 h 20"/>
                  <a:gd name="T10" fmla="*/ 14 w 14"/>
                  <a:gd name="T11" fmla="*/ 16 h 20"/>
                  <a:gd name="T12" fmla="*/ 12 w 14"/>
                  <a:gd name="T13" fmla="*/ 13 h 20"/>
                  <a:gd name="T14" fmla="*/ 12 w 14"/>
                  <a:gd name="T15" fmla="*/ 9 h 20"/>
                  <a:gd name="T16" fmla="*/ 12 w 14"/>
                  <a:gd name="T17" fmla="*/ 6 h 20"/>
                  <a:gd name="T18" fmla="*/ 10 w 14"/>
                  <a:gd name="T19" fmla="*/ 2 h 20"/>
                  <a:gd name="T20" fmla="*/ 8 w 14"/>
                  <a:gd name="T21" fmla="*/ 0 h 20"/>
                  <a:gd name="T22" fmla="*/ 7 w 14"/>
                  <a:gd name="T23" fmla="*/ 1 h 20"/>
                  <a:gd name="T24" fmla="*/ 3 w 14"/>
                  <a:gd name="T25" fmla="*/ 2 h 20"/>
                  <a:gd name="T26" fmla="*/ 0 w 14"/>
                  <a:gd name="T27" fmla="*/ 5 h 20"/>
                  <a:gd name="T28" fmla="*/ 0 w 14"/>
                  <a:gd name="T29" fmla="*/ 7 h 20"/>
                  <a:gd name="T30" fmla="*/ 2 w 14"/>
                  <a:gd name="T31" fmla="*/ 11 h 20"/>
                  <a:gd name="T32" fmla="*/ 3 w 14"/>
                  <a:gd name="T33" fmla="*/ 1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20">
                    <a:moveTo>
                      <a:pt x="3" y="17"/>
                    </a:moveTo>
                    <a:lnTo>
                      <a:pt x="4" y="19"/>
                    </a:lnTo>
                    <a:lnTo>
                      <a:pt x="7" y="20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6"/>
                    </a:lnTo>
                    <a:lnTo>
                      <a:pt x="12" y="13"/>
                    </a:lnTo>
                    <a:lnTo>
                      <a:pt x="12" y="9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7" y="1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3" y="1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5" name="Freeform 174">
                <a:extLst>
                  <a:ext uri="{FF2B5EF4-FFF2-40B4-BE49-F238E27FC236}">
                    <a16:creationId xmlns:a16="http://schemas.microsoft.com/office/drawing/2014/main" id="{8CF96C6C-A9AA-47E0-8AAF-83F87F3BC4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16976" y="2960688"/>
                <a:ext cx="15875" cy="38100"/>
              </a:xfrm>
              <a:custGeom>
                <a:avLst/>
                <a:gdLst>
                  <a:gd name="T0" fmla="*/ 6 w 13"/>
                  <a:gd name="T1" fmla="*/ 13 h 30"/>
                  <a:gd name="T2" fmla="*/ 8 w 13"/>
                  <a:gd name="T3" fmla="*/ 12 h 30"/>
                  <a:gd name="T4" fmla="*/ 12 w 13"/>
                  <a:gd name="T5" fmla="*/ 7 h 30"/>
                  <a:gd name="T6" fmla="*/ 13 w 13"/>
                  <a:gd name="T7" fmla="*/ 2 h 30"/>
                  <a:gd name="T8" fmla="*/ 12 w 13"/>
                  <a:gd name="T9" fmla="*/ 2 h 30"/>
                  <a:gd name="T10" fmla="*/ 9 w 13"/>
                  <a:gd name="T11" fmla="*/ 3 h 30"/>
                  <a:gd name="T12" fmla="*/ 7 w 13"/>
                  <a:gd name="T13" fmla="*/ 2 h 30"/>
                  <a:gd name="T14" fmla="*/ 5 w 13"/>
                  <a:gd name="T15" fmla="*/ 0 h 30"/>
                  <a:gd name="T16" fmla="*/ 4 w 13"/>
                  <a:gd name="T17" fmla="*/ 2 h 30"/>
                  <a:gd name="T18" fmla="*/ 4 w 13"/>
                  <a:gd name="T19" fmla="*/ 7 h 30"/>
                  <a:gd name="T20" fmla="*/ 3 w 13"/>
                  <a:gd name="T21" fmla="*/ 12 h 30"/>
                  <a:gd name="T22" fmla="*/ 2 w 13"/>
                  <a:gd name="T23" fmla="*/ 18 h 30"/>
                  <a:gd name="T24" fmla="*/ 0 w 13"/>
                  <a:gd name="T25" fmla="*/ 23 h 30"/>
                  <a:gd name="T26" fmla="*/ 1 w 13"/>
                  <a:gd name="T27" fmla="*/ 25 h 30"/>
                  <a:gd name="T28" fmla="*/ 4 w 13"/>
                  <a:gd name="T29" fmla="*/ 30 h 30"/>
                  <a:gd name="T30" fmla="*/ 4 w 13"/>
                  <a:gd name="T31" fmla="*/ 24 h 30"/>
                  <a:gd name="T32" fmla="*/ 6 w 13"/>
                  <a:gd name="T33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" h="30">
                    <a:moveTo>
                      <a:pt x="6" y="13"/>
                    </a:moveTo>
                    <a:cubicBezTo>
                      <a:pt x="8" y="12"/>
                      <a:pt x="8" y="12"/>
                      <a:pt x="8" y="12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4" y="30"/>
                      <a:pt x="4" y="30"/>
                      <a:pt x="4" y="30"/>
                    </a:cubicBezTo>
                    <a:cubicBezTo>
                      <a:pt x="4" y="29"/>
                      <a:pt x="4" y="24"/>
                      <a:pt x="4" y="24"/>
                    </a:cubicBezTo>
                    <a:lnTo>
                      <a:pt x="6" y="1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6" name="Freeform 175">
                <a:extLst>
                  <a:ext uri="{FF2B5EF4-FFF2-40B4-BE49-F238E27FC236}">
                    <a16:creationId xmlns:a16="http://schemas.microsoft.com/office/drawing/2014/main" id="{FBAEE54B-0BA8-47B3-A27A-ABD4556F08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3826" y="1366838"/>
                <a:ext cx="4763" cy="11113"/>
              </a:xfrm>
              <a:custGeom>
                <a:avLst/>
                <a:gdLst>
                  <a:gd name="T0" fmla="*/ 3 w 3"/>
                  <a:gd name="T1" fmla="*/ 0 h 7"/>
                  <a:gd name="T2" fmla="*/ 1 w 3"/>
                  <a:gd name="T3" fmla="*/ 0 h 7"/>
                  <a:gd name="T4" fmla="*/ 0 w 3"/>
                  <a:gd name="T5" fmla="*/ 1 h 7"/>
                  <a:gd name="T6" fmla="*/ 1 w 3"/>
                  <a:gd name="T7" fmla="*/ 3 h 7"/>
                  <a:gd name="T8" fmla="*/ 0 w 3"/>
                  <a:gd name="T9" fmla="*/ 5 h 7"/>
                  <a:gd name="T10" fmla="*/ 1 w 3"/>
                  <a:gd name="T11" fmla="*/ 7 h 7"/>
                  <a:gd name="T12" fmla="*/ 2 w 3"/>
                  <a:gd name="T13" fmla="*/ 6 h 7"/>
                  <a:gd name="T14" fmla="*/ 3 w 3"/>
                  <a:gd name="T15" fmla="*/ 3 h 7"/>
                  <a:gd name="T16" fmla="*/ 3 w 3"/>
                  <a:gd name="T1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7">
                    <a:moveTo>
                      <a:pt x="3" y="0"/>
                    </a:moveTo>
                    <a:lnTo>
                      <a:pt x="1" y="0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0" y="5"/>
                    </a:lnTo>
                    <a:lnTo>
                      <a:pt x="1" y="7"/>
                    </a:lnTo>
                    <a:lnTo>
                      <a:pt x="2" y="6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7" name="Freeform 176">
                <a:extLst>
                  <a:ext uri="{FF2B5EF4-FFF2-40B4-BE49-F238E27FC236}">
                    <a16:creationId xmlns:a16="http://schemas.microsoft.com/office/drawing/2014/main" id="{0368A532-395A-4394-B6F3-6397639C83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3351" y="1333500"/>
                <a:ext cx="19050" cy="15875"/>
              </a:xfrm>
              <a:custGeom>
                <a:avLst/>
                <a:gdLst>
                  <a:gd name="T0" fmla="*/ 5 w 12"/>
                  <a:gd name="T1" fmla="*/ 7 h 10"/>
                  <a:gd name="T2" fmla="*/ 8 w 12"/>
                  <a:gd name="T3" fmla="*/ 8 h 10"/>
                  <a:gd name="T4" fmla="*/ 10 w 12"/>
                  <a:gd name="T5" fmla="*/ 8 h 10"/>
                  <a:gd name="T6" fmla="*/ 12 w 12"/>
                  <a:gd name="T7" fmla="*/ 7 h 10"/>
                  <a:gd name="T8" fmla="*/ 12 w 12"/>
                  <a:gd name="T9" fmla="*/ 4 h 10"/>
                  <a:gd name="T10" fmla="*/ 9 w 12"/>
                  <a:gd name="T11" fmla="*/ 3 h 10"/>
                  <a:gd name="T12" fmla="*/ 8 w 12"/>
                  <a:gd name="T13" fmla="*/ 1 h 10"/>
                  <a:gd name="T14" fmla="*/ 5 w 12"/>
                  <a:gd name="T15" fmla="*/ 0 h 10"/>
                  <a:gd name="T16" fmla="*/ 2 w 12"/>
                  <a:gd name="T17" fmla="*/ 1 h 10"/>
                  <a:gd name="T18" fmla="*/ 0 w 12"/>
                  <a:gd name="T19" fmla="*/ 5 h 10"/>
                  <a:gd name="T20" fmla="*/ 1 w 12"/>
                  <a:gd name="T21" fmla="*/ 8 h 10"/>
                  <a:gd name="T22" fmla="*/ 2 w 12"/>
                  <a:gd name="T23" fmla="*/ 10 h 10"/>
                  <a:gd name="T24" fmla="*/ 4 w 12"/>
                  <a:gd name="T25" fmla="*/ 10 h 10"/>
                  <a:gd name="T26" fmla="*/ 5 w 12"/>
                  <a:gd name="T27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0">
                    <a:moveTo>
                      <a:pt x="5" y="7"/>
                    </a:moveTo>
                    <a:lnTo>
                      <a:pt x="8" y="8"/>
                    </a:lnTo>
                    <a:lnTo>
                      <a:pt x="10" y="8"/>
                    </a:lnTo>
                    <a:lnTo>
                      <a:pt x="12" y="7"/>
                    </a:lnTo>
                    <a:lnTo>
                      <a:pt x="12" y="4"/>
                    </a:lnTo>
                    <a:lnTo>
                      <a:pt x="9" y="3"/>
                    </a:lnTo>
                    <a:lnTo>
                      <a:pt x="8" y="1"/>
                    </a:lnTo>
                    <a:lnTo>
                      <a:pt x="5" y="0"/>
                    </a:lnTo>
                    <a:lnTo>
                      <a:pt x="2" y="1"/>
                    </a:lnTo>
                    <a:lnTo>
                      <a:pt x="0" y="5"/>
                    </a:lnTo>
                    <a:lnTo>
                      <a:pt x="1" y="8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5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8" name="Freeform 177">
                <a:extLst>
                  <a:ext uri="{FF2B5EF4-FFF2-40B4-BE49-F238E27FC236}">
                    <a16:creationId xmlns:a16="http://schemas.microsoft.com/office/drawing/2014/main" id="{256652FD-6AF5-4B7A-BB3F-6B9BF19F65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78864" y="2243138"/>
                <a:ext cx="6350" cy="7938"/>
              </a:xfrm>
              <a:custGeom>
                <a:avLst/>
                <a:gdLst>
                  <a:gd name="T0" fmla="*/ 3 w 4"/>
                  <a:gd name="T1" fmla="*/ 2 h 5"/>
                  <a:gd name="T2" fmla="*/ 4 w 4"/>
                  <a:gd name="T3" fmla="*/ 0 h 5"/>
                  <a:gd name="T4" fmla="*/ 1 w 4"/>
                  <a:gd name="T5" fmla="*/ 0 h 5"/>
                  <a:gd name="T6" fmla="*/ 0 w 4"/>
                  <a:gd name="T7" fmla="*/ 3 h 5"/>
                  <a:gd name="T8" fmla="*/ 0 w 4"/>
                  <a:gd name="T9" fmla="*/ 5 h 5"/>
                  <a:gd name="T10" fmla="*/ 1 w 4"/>
                  <a:gd name="T11" fmla="*/ 5 h 5"/>
                  <a:gd name="T12" fmla="*/ 3 w 4"/>
                  <a:gd name="T13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5">
                    <a:moveTo>
                      <a:pt x="3" y="2"/>
                    </a:moveTo>
                    <a:lnTo>
                      <a:pt x="4" y="0"/>
                    </a:lnTo>
                    <a:lnTo>
                      <a:pt x="1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1" y="5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9" name="Freeform 178">
                <a:extLst>
                  <a:ext uri="{FF2B5EF4-FFF2-40B4-BE49-F238E27FC236}">
                    <a16:creationId xmlns:a16="http://schemas.microsoft.com/office/drawing/2014/main" id="{759061BD-8D92-4901-8515-DC073A9761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9539" y="1328738"/>
                <a:ext cx="23813" cy="14288"/>
              </a:xfrm>
              <a:custGeom>
                <a:avLst/>
                <a:gdLst>
                  <a:gd name="T0" fmla="*/ 19 w 19"/>
                  <a:gd name="T1" fmla="*/ 6 h 12"/>
                  <a:gd name="T2" fmla="*/ 19 w 19"/>
                  <a:gd name="T3" fmla="*/ 4 h 12"/>
                  <a:gd name="T4" fmla="*/ 17 w 19"/>
                  <a:gd name="T5" fmla="*/ 3 h 12"/>
                  <a:gd name="T6" fmla="*/ 16 w 19"/>
                  <a:gd name="T7" fmla="*/ 4 h 12"/>
                  <a:gd name="T8" fmla="*/ 13 w 19"/>
                  <a:gd name="T9" fmla="*/ 4 h 12"/>
                  <a:gd name="T10" fmla="*/ 12 w 19"/>
                  <a:gd name="T11" fmla="*/ 0 h 12"/>
                  <a:gd name="T12" fmla="*/ 10 w 19"/>
                  <a:gd name="T13" fmla="*/ 2 h 12"/>
                  <a:gd name="T14" fmla="*/ 6 w 19"/>
                  <a:gd name="T15" fmla="*/ 1 h 12"/>
                  <a:gd name="T16" fmla="*/ 2 w 19"/>
                  <a:gd name="T17" fmla="*/ 2 h 12"/>
                  <a:gd name="T18" fmla="*/ 0 w 19"/>
                  <a:gd name="T19" fmla="*/ 4 h 12"/>
                  <a:gd name="T20" fmla="*/ 0 w 19"/>
                  <a:gd name="T21" fmla="*/ 6 h 12"/>
                  <a:gd name="T22" fmla="*/ 3 w 19"/>
                  <a:gd name="T23" fmla="*/ 9 h 12"/>
                  <a:gd name="T24" fmla="*/ 7 w 19"/>
                  <a:gd name="T25" fmla="*/ 9 h 12"/>
                  <a:gd name="T26" fmla="*/ 9 w 19"/>
                  <a:gd name="T27" fmla="*/ 11 h 12"/>
                  <a:gd name="T28" fmla="*/ 11 w 19"/>
                  <a:gd name="T29" fmla="*/ 12 h 12"/>
                  <a:gd name="T30" fmla="*/ 19 w 19"/>
                  <a:gd name="T31" fmla="*/ 8 h 12"/>
                  <a:gd name="T32" fmla="*/ 19 w 19"/>
                  <a:gd name="T33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12">
                    <a:moveTo>
                      <a:pt x="19" y="6"/>
                    </a:moveTo>
                    <a:cubicBezTo>
                      <a:pt x="19" y="4"/>
                      <a:pt x="19" y="4"/>
                      <a:pt x="19" y="4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9" y="11"/>
                      <a:pt x="11" y="12"/>
                      <a:pt x="11" y="12"/>
                    </a:cubicBezTo>
                    <a:cubicBezTo>
                      <a:pt x="19" y="8"/>
                      <a:pt x="19" y="8"/>
                      <a:pt x="19" y="8"/>
                    </a:cubicBezTo>
                    <a:lnTo>
                      <a:pt x="19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0" name="Freeform 179">
                <a:extLst>
                  <a:ext uri="{FF2B5EF4-FFF2-40B4-BE49-F238E27FC236}">
                    <a16:creationId xmlns:a16="http://schemas.microsoft.com/office/drawing/2014/main" id="{D67F2CC0-0174-40FD-B28C-CFBBF3F41A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3826" y="1357313"/>
                <a:ext cx="7938" cy="9525"/>
              </a:xfrm>
              <a:custGeom>
                <a:avLst/>
                <a:gdLst>
                  <a:gd name="T0" fmla="*/ 7 w 7"/>
                  <a:gd name="T1" fmla="*/ 5 h 7"/>
                  <a:gd name="T2" fmla="*/ 4 w 7"/>
                  <a:gd name="T3" fmla="*/ 1 h 7"/>
                  <a:gd name="T4" fmla="*/ 1 w 7"/>
                  <a:gd name="T5" fmla="*/ 0 h 7"/>
                  <a:gd name="T6" fmla="*/ 0 w 7"/>
                  <a:gd name="T7" fmla="*/ 2 h 7"/>
                  <a:gd name="T8" fmla="*/ 3 w 7"/>
                  <a:gd name="T9" fmla="*/ 6 h 7"/>
                  <a:gd name="T10" fmla="*/ 6 w 7"/>
                  <a:gd name="T11" fmla="*/ 7 h 7"/>
                  <a:gd name="T12" fmla="*/ 7 w 7"/>
                  <a:gd name="T13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7">
                    <a:moveTo>
                      <a:pt x="7" y="5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6" y="7"/>
                      <a:pt x="6" y="7"/>
                    </a:cubicBezTo>
                    <a:lnTo>
                      <a:pt x="7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1" name="Freeform 180">
                <a:extLst>
                  <a:ext uri="{FF2B5EF4-FFF2-40B4-BE49-F238E27FC236}">
                    <a16:creationId xmlns:a16="http://schemas.microsoft.com/office/drawing/2014/main" id="{41716412-2DBD-43B3-9A0C-A12A9EA05F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3826" y="1382713"/>
                <a:ext cx="4763" cy="11113"/>
              </a:xfrm>
              <a:custGeom>
                <a:avLst/>
                <a:gdLst>
                  <a:gd name="T0" fmla="*/ 0 w 3"/>
                  <a:gd name="T1" fmla="*/ 0 h 7"/>
                  <a:gd name="T2" fmla="*/ 0 w 3"/>
                  <a:gd name="T3" fmla="*/ 3 h 7"/>
                  <a:gd name="T4" fmla="*/ 1 w 3"/>
                  <a:gd name="T5" fmla="*/ 6 h 7"/>
                  <a:gd name="T6" fmla="*/ 3 w 3"/>
                  <a:gd name="T7" fmla="*/ 7 h 7"/>
                  <a:gd name="T8" fmla="*/ 3 w 3"/>
                  <a:gd name="T9" fmla="*/ 4 h 7"/>
                  <a:gd name="T10" fmla="*/ 1 w 3"/>
                  <a:gd name="T11" fmla="*/ 0 h 7"/>
                  <a:gd name="T12" fmla="*/ 0 w 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7">
                    <a:moveTo>
                      <a:pt x="0" y="0"/>
                    </a:moveTo>
                    <a:lnTo>
                      <a:pt x="0" y="3"/>
                    </a:lnTo>
                    <a:lnTo>
                      <a:pt x="1" y="6"/>
                    </a:lnTo>
                    <a:lnTo>
                      <a:pt x="3" y="7"/>
                    </a:lnTo>
                    <a:lnTo>
                      <a:pt x="3" y="4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2" name="Freeform 181">
                <a:extLst>
                  <a:ext uri="{FF2B5EF4-FFF2-40B4-BE49-F238E27FC236}">
                    <a16:creationId xmlns:a16="http://schemas.microsoft.com/office/drawing/2014/main" id="{25C73B1E-7D79-4C53-8040-B467DBE28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02664" y="2525713"/>
                <a:ext cx="147638" cy="390525"/>
              </a:xfrm>
              <a:custGeom>
                <a:avLst/>
                <a:gdLst>
                  <a:gd name="T0" fmla="*/ 34 w 93"/>
                  <a:gd name="T1" fmla="*/ 98 h 246"/>
                  <a:gd name="T2" fmla="*/ 37 w 93"/>
                  <a:gd name="T3" fmla="*/ 112 h 246"/>
                  <a:gd name="T4" fmla="*/ 42 w 93"/>
                  <a:gd name="T5" fmla="*/ 121 h 246"/>
                  <a:gd name="T6" fmla="*/ 44 w 93"/>
                  <a:gd name="T7" fmla="*/ 130 h 246"/>
                  <a:gd name="T8" fmla="*/ 47 w 93"/>
                  <a:gd name="T9" fmla="*/ 145 h 246"/>
                  <a:gd name="T10" fmla="*/ 48 w 93"/>
                  <a:gd name="T11" fmla="*/ 156 h 246"/>
                  <a:gd name="T12" fmla="*/ 50 w 93"/>
                  <a:gd name="T13" fmla="*/ 170 h 246"/>
                  <a:gd name="T14" fmla="*/ 58 w 93"/>
                  <a:gd name="T15" fmla="*/ 184 h 246"/>
                  <a:gd name="T16" fmla="*/ 60 w 93"/>
                  <a:gd name="T17" fmla="*/ 202 h 246"/>
                  <a:gd name="T18" fmla="*/ 67 w 93"/>
                  <a:gd name="T19" fmla="*/ 216 h 246"/>
                  <a:gd name="T20" fmla="*/ 66 w 93"/>
                  <a:gd name="T21" fmla="*/ 231 h 246"/>
                  <a:gd name="T22" fmla="*/ 73 w 93"/>
                  <a:gd name="T23" fmla="*/ 243 h 246"/>
                  <a:gd name="T24" fmla="*/ 76 w 93"/>
                  <a:gd name="T25" fmla="*/ 238 h 246"/>
                  <a:gd name="T26" fmla="*/ 75 w 93"/>
                  <a:gd name="T27" fmla="*/ 226 h 246"/>
                  <a:gd name="T28" fmla="*/ 79 w 93"/>
                  <a:gd name="T29" fmla="*/ 226 h 246"/>
                  <a:gd name="T30" fmla="*/ 87 w 93"/>
                  <a:gd name="T31" fmla="*/ 225 h 246"/>
                  <a:gd name="T32" fmla="*/ 88 w 93"/>
                  <a:gd name="T33" fmla="*/ 228 h 246"/>
                  <a:gd name="T34" fmla="*/ 91 w 93"/>
                  <a:gd name="T35" fmla="*/ 237 h 246"/>
                  <a:gd name="T36" fmla="*/ 93 w 93"/>
                  <a:gd name="T37" fmla="*/ 235 h 246"/>
                  <a:gd name="T38" fmla="*/ 90 w 93"/>
                  <a:gd name="T39" fmla="*/ 225 h 246"/>
                  <a:gd name="T40" fmla="*/ 87 w 93"/>
                  <a:gd name="T41" fmla="*/ 219 h 246"/>
                  <a:gd name="T42" fmla="*/ 80 w 93"/>
                  <a:gd name="T43" fmla="*/ 211 h 246"/>
                  <a:gd name="T44" fmla="*/ 73 w 93"/>
                  <a:gd name="T45" fmla="*/ 202 h 246"/>
                  <a:gd name="T46" fmla="*/ 67 w 93"/>
                  <a:gd name="T47" fmla="*/ 189 h 246"/>
                  <a:gd name="T48" fmla="*/ 66 w 93"/>
                  <a:gd name="T49" fmla="*/ 173 h 246"/>
                  <a:gd name="T50" fmla="*/ 64 w 93"/>
                  <a:gd name="T51" fmla="*/ 161 h 246"/>
                  <a:gd name="T52" fmla="*/ 64 w 93"/>
                  <a:gd name="T53" fmla="*/ 151 h 246"/>
                  <a:gd name="T54" fmla="*/ 67 w 93"/>
                  <a:gd name="T55" fmla="*/ 150 h 246"/>
                  <a:gd name="T56" fmla="*/ 76 w 93"/>
                  <a:gd name="T57" fmla="*/ 151 h 246"/>
                  <a:gd name="T58" fmla="*/ 84 w 93"/>
                  <a:gd name="T59" fmla="*/ 160 h 246"/>
                  <a:gd name="T60" fmla="*/ 87 w 93"/>
                  <a:gd name="T61" fmla="*/ 161 h 246"/>
                  <a:gd name="T62" fmla="*/ 77 w 93"/>
                  <a:gd name="T63" fmla="*/ 148 h 246"/>
                  <a:gd name="T64" fmla="*/ 73 w 93"/>
                  <a:gd name="T65" fmla="*/ 140 h 246"/>
                  <a:gd name="T66" fmla="*/ 68 w 93"/>
                  <a:gd name="T67" fmla="*/ 129 h 246"/>
                  <a:gd name="T68" fmla="*/ 59 w 93"/>
                  <a:gd name="T69" fmla="*/ 112 h 246"/>
                  <a:gd name="T70" fmla="*/ 51 w 93"/>
                  <a:gd name="T71" fmla="*/ 94 h 246"/>
                  <a:gd name="T72" fmla="*/ 47 w 93"/>
                  <a:gd name="T73" fmla="*/ 85 h 246"/>
                  <a:gd name="T74" fmla="*/ 44 w 93"/>
                  <a:gd name="T75" fmla="*/ 85 h 246"/>
                  <a:gd name="T76" fmla="*/ 42 w 93"/>
                  <a:gd name="T77" fmla="*/ 79 h 246"/>
                  <a:gd name="T78" fmla="*/ 36 w 93"/>
                  <a:gd name="T79" fmla="*/ 69 h 246"/>
                  <a:gd name="T80" fmla="*/ 35 w 93"/>
                  <a:gd name="T81" fmla="*/ 60 h 246"/>
                  <a:gd name="T82" fmla="*/ 35 w 93"/>
                  <a:gd name="T83" fmla="*/ 50 h 246"/>
                  <a:gd name="T84" fmla="*/ 28 w 93"/>
                  <a:gd name="T85" fmla="*/ 41 h 246"/>
                  <a:gd name="T86" fmla="*/ 26 w 93"/>
                  <a:gd name="T87" fmla="*/ 35 h 246"/>
                  <a:gd name="T88" fmla="*/ 32 w 93"/>
                  <a:gd name="T89" fmla="*/ 43 h 246"/>
                  <a:gd name="T90" fmla="*/ 24 w 93"/>
                  <a:gd name="T91" fmla="*/ 28 h 246"/>
                  <a:gd name="T92" fmla="*/ 17 w 93"/>
                  <a:gd name="T93" fmla="*/ 20 h 246"/>
                  <a:gd name="T94" fmla="*/ 14 w 93"/>
                  <a:gd name="T95" fmla="*/ 9 h 246"/>
                  <a:gd name="T96" fmla="*/ 7 w 93"/>
                  <a:gd name="T97" fmla="*/ 0 h 246"/>
                  <a:gd name="T98" fmla="*/ 7 w 93"/>
                  <a:gd name="T99" fmla="*/ 5 h 246"/>
                  <a:gd name="T100" fmla="*/ 0 w 93"/>
                  <a:gd name="T101" fmla="*/ 5 h 246"/>
                  <a:gd name="T102" fmla="*/ 10 w 93"/>
                  <a:gd name="T103" fmla="*/ 16 h 246"/>
                  <a:gd name="T104" fmla="*/ 13 w 93"/>
                  <a:gd name="T105" fmla="*/ 18 h 246"/>
                  <a:gd name="T106" fmla="*/ 10 w 93"/>
                  <a:gd name="T107" fmla="*/ 22 h 246"/>
                  <a:gd name="T108" fmla="*/ 14 w 93"/>
                  <a:gd name="T109" fmla="*/ 29 h 246"/>
                  <a:gd name="T110" fmla="*/ 8 w 93"/>
                  <a:gd name="T111" fmla="*/ 26 h 246"/>
                  <a:gd name="T112" fmla="*/ 7 w 93"/>
                  <a:gd name="T113" fmla="*/ 36 h 246"/>
                  <a:gd name="T114" fmla="*/ 13 w 93"/>
                  <a:gd name="T115" fmla="*/ 50 h 246"/>
                  <a:gd name="T116" fmla="*/ 15 w 93"/>
                  <a:gd name="T117" fmla="*/ 64 h 246"/>
                  <a:gd name="T118" fmla="*/ 22 w 93"/>
                  <a:gd name="T119" fmla="*/ 80 h 246"/>
                  <a:gd name="T120" fmla="*/ 28 w 93"/>
                  <a:gd name="T121" fmla="*/ 91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3" h="246">
                    <a:moveTo>
                      <a:pt x="28" y="91"/>
                    </a:moveTo>
                    <a:lnTo>
                      <a:pt x="31" y="91"/>
                    </a:lnTo>
                    <a:lnTo>
                      <a:pt x="34" y="98"/>
                    </a:lnTo>
                    <a:lnTo>
                      <a:pt x="35" y="103"/>
                    </a:lnTo>
                    <a:lnTo>
                      <a:pt x="35" y="108"/>
                    </a:lnTo>
                    <a:lnTo>
                      <a:pt x="37" y="112"/>
                    </a:lnTo>
                    <a:lnTo>
                      <a:pt x="37" y="116"/>
                    </a:lnTo>
                    <a:lnTo>
                      <a:pt x="39" y="117"/>
                    </a:lnTo>
                    <a:lnTo>
                      <a:pt x="42" y="121"/>
                    </a:lnTo>
                    <a:lnTo>
                      <a:pt x="41" y="122"/>
                    </a:lnTo>
                    <a:lnTo>
                      <a:pt x="41" y="125"/>
                    </a:lnTo>
                    <a:lnTo>
                      <a:pt x="44" y="130"/>
                    </a:lnTo>
                    <a:lnTo>
                      <a:pt x="45" y="134"/>
                    </a:lnTo>
                    <a:lnTo>
                      <a:pt x="46" y="139"/>
                    </a:lnTo>
                    <a:lnTo>
                      <a:pt x="47" y="145"/>
                    </a:lnTo>
                    <a:lnTo>
                      <a:pt x="48" y="147"/>
                    </a:lnTo>
                    <a:lnTo>
                      <a:pt x="48" y="150"/>
                    </a:lnTo>
                    <a:lnTo>
                      <a:pt x="48" y="156"/>
                    </a:lnTo>
                    <a:lnTo>
                      <a:pt x="50" y="163"/>
                    </a:lnTo>
                    <a:lnTo>
                      <a:pt x="49" y="165"/>
                    </a:lnTo>
                    <a:lnTo>
                      <a:pt x="50" y="170"/>
                    </a:lnTo>
                    <a:lnTo>
                      <a:pt x="52" y="173"/>
                    </a:lnTo>
                    <a:lnTo>
                      <a:pt x="58" y="181"/>
                    </a:lnTo>
                    <a:lnTo>
                      <a:pt x="58" y="184"/>
                    </a:lnTo>
                    <a:lnTo>
                      <a:pt x="60" y="188"/>
                    </a:lnTo>
                    <a:lnTo>
                      <a:pt x="59" y="195"/>
                    </a:lnTo>
                    <a:lnTo>
                      <a:pt x="60" y="202"/>
                    </a:lnTo>
                    <a:lnTo>
                      <a:pt x="62" y="206"/>
                    </a:lnTo>
                    <a:lnTo>
                      <a:pt x="63" y="210"/>
                    </a:lnTo>
                    <a:lnTo>
                      <a:pt x="67" y="216"/>
                    </a:lnTo>
                    <a:lnTo>
                      <a:pt x="67" y="219"/>
                    </a:lnTo>
                    <a:lnTo>
                      <a:pt x="66" y="224"/>
                    </a:lnTo>
                    <a:lnTo>
                      <a:pt x="66" y="231"/>
                    </a:lnTo>
                    <a:lnTo>
                      <a:pt x="67" y="235"/>
                    </a:lnTo>
                    <a:lnTo>
                      <a:pt x="70" y="238"/>
                    </a:lnTo>
                    <a:lnTo>
                      <a:pt x="73" y="243"/>
                    </a:lnTo>
                    <a:lnTo>
                      <a:pt x="76" y="246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75" y="235"/>
                    </a:lnTo>
                    <a:lnTo>
                      <a:pt x="74" y="231"/>
                    </a:lnTo>
                    <a:lnTo>
                      <a:pt x="75" y="226"/>
                    </a:lnTo>
                    <a:lnTo>
                      <a:pt x="77" y="223"/>
                    </a:lnTo>
                    <a:lnTo>
                      <a:pt x="79" y="223"/>
                    </a:lnTo>
                    <a:lnTo>
                      <a:pt x="79" y="226"/>
                    </a:lnTo>
                    <a:lnTo>
                      <a:pt x="80" y="227"/>
                    </a:lnTo>
                    <a:lnTo>
                      <a:pt x="86" y="226"/>
                    </a:lnTo>
                    <a:lnTo>
                      <a:pt x="87" y="225"/>
                    </a:lnTo>
                    <a:lnTo>
                      <a:pt x="87" y="225"/>
                    </a:lnTo>
                    <a:lnTo>
                      <a:pt x="89" y="226"/>
                    </a:lnTo>
                    <a:lnTo>
                      <a:pt x="88" y="228"/>
                    </a:lnTo>
                    <a:lnTo>
                      <a:pt x="88" y="230"/>
                    </a:lnTo>
                    <a:lnTo>
                      <a:pt x="91" y="234"/>
                    </a:lnTo>
                    <a:lnTo>
                      <a:pt x="91" y="237"/>
                    </a:lnTo>
                    <a:lnTo>
                      <a:pt x="93" y="239"/>
                    </a:lnTo>
                    <a:lnTo>
                      <a:pt x="93" y="236"/>
                    </a:lnTo>
                    <a:lnTo>
                      <a:pt x="93" y="235"/>
                    </a:lnTo>
                    <a:lnTo>
                      <a:pt x="93" y="231"/>
                    </a:lnTo>
                    <a:lnTo>
                      <a:pt x="93" y="227"/>
                    </a:lnTo>
                    <a:lnTo>
                      <a:pt x="90" y="225"/>
                    </a:lnTo>
                    <a:lnTo>
                      <a:pt x="90" y="220"/>
                    </a:lnTo>
                    <a:lnTo>
                      <a:pt x="88" y="217"/>
                    </a:lnTo>
                    <a:lnTo>
                      <a:pt x="87" y="219"/>
                    </a:lnTo>
                    <a:lnTo>
                      <a:pt x="84" y="219"/>
                    </a:lnTo>
                    <a:lnTo>
                      <a:pt x="80" y="216"/>
                    </a:lnTo>
                    <a:lnTo>
                      <a:pt x="80" y="211"/>
                    </a:lnTo>
                    <a:lnTo>
                      <a:pt x="78" y="207"/>
                    </a:lnTo>
                    <a:lnTo>
                      <a:pt x="75" y="203"/>
                    </a:lnTo>
                    <a:lnTo>
                      <a:pt x="73" y="202"/>
                    </a:lnTo>
                    <a:lnTo>
                      <a:pt x="70" y="199"/>
                    </a:lnTo>
                    <a:lnTo>
                      <a:pt x="69" y="193"/>
                    </a:lnTo>
                    <a:lnTo>
                      <a:pt x="67" y="189"/>
                    </a:lnTo>
                    <a:lnTo>
                      <a:pt x="66" y="185"/>
                    </a:lnTo>
                    <a:lnTo>
                      <a:pt x="66" y="179"/>
                    </a:lnTo>
                    <a:lnTo>
                      <a:pt x="66" y="173"/>
                    </a:lnTo>
                    <a:lnTo>
                      <a:pt x="64" y="169"/>
                    </a:lnTo>
                    <a:lnTo>
                      <a:pt x="65" y="164"/>
                    </a:lnTo>
                    <a:lnTo>
                      <a:pt x="64" y="161"/>
                    </a:lnTo>
                    <a:lnTo>
                      <a:pt x="62" y="156"/>
                    </a:lnTo>
                    <a:lnTo>
                      <a:pt x="63" y="154"/>
                    </a:lnTo>
                    <a:lnTo>
                      <a:pt x="64" y="151"/>
                    </a:lnTo>
                    <a:lnTo>
                      <a:pt x="64" y="150"/>
                    </a:lnTo>
                    <a:lnTo>
                      <a:pt x="66" y="149"/>
                    </a:lnTo>
                    <a:lnTo>
                      <a:pt x="67" y="150"/>
                    </a:lnTo>
                    <a:lnTo>
                      <a:pt x="70" y="149"/>
                    </a:lnTo>
                    <a:lnTo>
                      <a:pt x="73" y="149"/>
                    </a:lnTo>
                    <a:lnTo>
                      <a:pt x="76" y="151"/>
                    </a:lnTo>
                    <a:lnTo>
                      <a:pt x="79" y="157"/>
                    </a:lnTo>
                    <a:lnTo>
                      <a:pt x="81" y="157"/>
                    </a:lnTo>
                    <a:lnTo>
                      <a:pt x="84" y="160"/>
                    </a:lnTo>
                    <a:lnTo>
                      <a:pt x="87" y="164"/>
                    </a:lnTo>
                    <a:lnTo>
                      <a:pt x="88" y="165"/>
                    </a:lnTo>
                    <a:lnTo>
                      <a:pt x="87" y="161"/>
                    </a:lnTo>
                    <a:lnTo>
                      <a:pt x="84" y="157"/>
                    </a:lnTo>
                    <a:lnTo>
                      <a:pt x="80" y="153"/>
                    </a:lnTo>
                    <a:lnTo>
                      <a:pt x="77" y="148"/>
                    </a:lnTo>
                    <a:lnTo>
                      <a:pt x="75" y="144"/>
                    </a:lnTo>
                    <a:lnTo>
                      <a:pt x="75" y="142"/>
                    </a:lnTo>
                    <a:lnTo>
                      <a:pt x="73" y="140"/>
                    </a:lnTo>
                    <a:lnTo>
                      <a:pt x="71" y="134"/>
                    </a:lnTo>
                    <a:lnTo>
                      <a:pt x="69" y="130"/>
                    </a:lnTo>
                    <a:lnTo>
                      <a:pt x="68" y="129"/>
                    </a:lnTo>
                    <a:lnTo>
                      <a:pt x="67" y="126"/>
                    </a:lnTo>
                    <a:lnTo>
                      <a:pt x="63" y="120"/>
                    </a:lnTo>
                    <a:lnTo>
                      <a:pt x="59" y="112"/>
                    </a:lnTo>
                    <a:lnTo>
                      <a:pt x="59" y="108"/>
                    </a:lnTo>
                    <a:lnTo>
                      <a:pt x="53" y="99"/>
                    </a:lnTo>
                    <a:lnTo>
                      <a:pt x="51" y="94"/>
                    </a:lnTo>
                    <a:lnTo>
                      <a:pt x="49" y="92"/>
                    </a:lnTo>
                    <a:lnTo>
                      <a:pt x="49" y="88"/>
                    </a:lnTo>
                    <a:lnTo>
                      <a:pt x="47" y="85"/>
                    </a:lnTo>
                    <a:lnTo>
                      <a:pt x="45" y="85"/>
                    </a:lnTo>
                    <a:lnTo>
                      <a:pt x="45" y="86"/>
                    </a:lnTo>
                    <a:lnTo>
                      <a:pt x="44" y="85"/>
                    </a:lnTo>
                    <a:lnTo>
                      <a:pt x="43" y="85"/>
                    </a:lnTo>
                    <a:lnTo>
                      <a:pt x="44" y="81"/>
                    </a:lnTo>
                    <a:lnTo>
                      <a:pt x="42" y="79"/>
                    </a:lnTo>
                    <a:lnTo>
                      <a:pt x="40" y="77"/>
                    </a:lnTo>
                    <a:lnTo>
                      <a:pt x="38" y="74"/>
                    </a:lnTo>
                    <a:lnTo>
                      <a:pt x="36" y="69"/>
                    </a:lnTo>
                    <a:lnTo>
                      <a:pt x="35" y="66"/>
                    </a:lnTo>
                    <a:lnTo>
                      <a:pt x="35" y="63"/>
                    </a:lnTo>
                    <a:lnTo>
                      <a:pt x="35" y="60"/>
                    </a:lnTo>
                    <a:lnTo>
                      <a:pt x="35" y="60"/>
                    </a:lnTo>
                    <a:lnTo>
                      <a:pt x="35" y="56"/>
                    </a:lnTo>
                    <a:lnTo>
                      <a:pt x="35" y="50"/>
                    </a:lnTo>
                    <a:lnTo>
                      <a:pt x="34" y="47"/>
                    </a:lnTo>
                    <a:lnTo>
                      <a:pt x="31" y="45"/>
                    </a:lnTo>
                    <a:lnTo>
                      <a:pt x="28" y="41"/>
                    </a:lnTo>
                    <a:lnTo>
                      <a:pt x="28" y="39"/>
                    </a:lnTo>
                    <a:lnTo>
                      <a:pt x="26" y="36"/>
                    </a:lnTo>
                    <a:lnTo>
                      <a:pt x="26" y="35"/>
                    </a:lnTo>
                    <a:lnTo>
                      <a:pt x="27" y="35"/>
                    </a:lnTo>
                    <a:lnTo>
                      <a:pt x="30" y="38"/>
                    </a:lnTo>
                    <a:lnTo>
                      <a:pt x="32" y="43"/>
                    </a:lnTo>
                    <a:lnTo>
                      <a:pt x="31" y="38"/>
                    </a:lnTo>
                    <a:lnTo>
                      <a:pt x="28" y="33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3" y="26"/>
                    </a:lnTo>
                    <a:lnTo>
                      <a:pt x="17" y="20"/>
                    </a:lnTo>
                    <a:lnTo>
                      <a:pt x="15" y="16"/>
                    </a:lnTo>
                    <a:lnTo>
                      <a:pt x="15" y="10"/>
                    </a:lnTo>
                    <a:lnTo>
                      <a:pt x="14" y="9"/>
                    </a:lnTo>
                    <a:lnTo>
                      <a:pt x="9" y="6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7" y="3"/>
                    </a:lnTo>
                    <a:lnTo>
                      <a:pt x="7" y="5"/>
                    </a:lnTo>
                    <a:lnTo>
                      <a:pt x="5" y="6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4" y="9"/>
                    </a:lnTo>
                    <a:lnTo>
                      <a:pt x="9" y="13"/>
                    </a:lnTo>
                    <a:lnTo>
                      <a:pt x="10" y="16"/>
                    </a:lnTo>
                    <a:lnTo>
                      <a:pt x="10" y="19"/>
                    </a:lnTo>
                    <a:lnTo>
                      <a:pt x="11" y="18"/>
                    </a:lnTo>
                    <a:lnTo>
                      <a:pt x="13" y="18"/>
                    </a:lnTo>
                    <a:lnTo>
                      <a:pt x="14" y="20"/>
                    </a:lnTo>
                    <a:lnTo>
                      <a:pt x="13" y="22"/>
                    </a:lnTo>
                    <a:lnTo>
                      <a:pt x="10" y="22"/>
                    </a:lnTo>
                    <a:lnTo>
                      <a:pt x="11" y="25"/>
                    </a:lnTo>
                    <a:lnTo>
                      <a:pt x="14" y="25"/>
                    </a:lnTo>
                    <a:lnTo>
                      <a:pt x="14" y="29"/>
                    </a:lnTo>
                    <a:lnTo>
                      <a:pt x="12" y="30"/>
                    </a:lnTo>
                    <a:lnTo>
                      <a:pt x="10" y="29"/>
                    </a:lnTo>
                    <a:lnTo>
                      <a:pt x="8" y="26"/>
                    </a:lnTo>
                    <a:lnTo>
                      <a:pt x="6" y="29"/>
                    </a:lnTo>
                    <a:lnTo>
                      <a:pt x="4" y="33"/>
                    </a:lnTo>
                    <a:lnTo>
                      <a:pt x="7" y="36"/>
                    </a:lnTo>
                    <a:lnTo>
                      <a:pt x="8" y="40"/>
                    </a:lnTo>
                    <a:lnTo>
                      <a:pt x="10" y="45"/>
                    </a:lnTo>
                    <a:lnTo>
                      <a:pt x="13" y="50"/>
                    </a:lnTo>
                    <a:lnTo>
                      <a:pt x="14" y="57"/>
                    </a:lnTo>
                    <a:lnTo>
                      <a:pt x="14" y="59"/>
                    </a:lnTo>
                    <a:lnTo>
                      <a:pt x="15" y="64"/>
                    </a:lnTo>
                    <a:lnTo>
                      <a:pt x="17" y="72"/>
                    </a:lnTo>
                    <a:lnTo>
                      <a:pt x="19" y="78"/>
                    </a:lnTo>
                    <a:lnTo>
                      <a:pt x="22" y="80"/>
                    </a:lnTo>
                    <a:lnTo>
                      <a:pt x="23" y="81"/>
                    </a:lnTo>
                    <a:lnTo>
                      <a:pt x="21" y="82"/>
                    </a:lnTo>
                    <a:lnTo>
                      <a:pt x="28" y="9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3" name="Freeform 182">
                <a:extLst>
                  <a:ext uri="{FF2B5EF4-FFF2-40B4-BE49-F238E27FC236}">
                    <a16:creationId xmlns:a16="http://schemas.microsoft.com/office/drawing/2014/main" id="{4D3347AE-F461-43D6-90B7-3023C89AD7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1439" y="1403350"/>
                <a:ext cx="20638" cy="23813"/>
              </a:xfrm>
              <a:custGeom>
                <a:avLst/>
                <a:gdLst>
                  <a:gd name="T0" fmla="*/ 0 w 17"/>
                  <a:gd name="T1" fmla="*/ 13 h 20"/>
                  <a:gd name="T2" fmla="*/ 4 w 17"/>
                  <a:gd name="T3" fmla="*/ 16 h 20"/>
                  <a:gd name="T4" fmla="*/ 5 w 17"/>
                  <a:gd name="T5" fmla="*/ 20 h 20"/>
                  <a:gd name="T6" fmla="*/ 8 w 17"/>
                  <a:gd name="T7" fmla="*/ 20 h 20"/>
                  <a:gd name="T8" fmla="*/ 11 w 17"/>
                  <a:gd name="T9" fmla="*/ 18 h 20"/>
                  <a:gd name="T10" fmla="*/ 16 w 17"/>
                  <a:gd name="T11" fmla="*/ 18 h 20"/>
                  <a:gd name="T12" fmla="*/ 17 w 17"/>
                  <a:gd name="T13" fmla="*/ 15 h 20"/>
                  <a:gd name="T14" fmla="*/ 16 w 17"/>
                  <a:gd name="T15" fmla="*/ 12 h 20"/>
                  <a:gd name="T16" fmla="*/ 12 w 17"/>
                  <a:gd name="T17" fmla="*/ 11 h 20"/>
                  <a:gd name="T18" fmla="*/ 12 w 17"/>
                  <a:gd name="T19" fmla="*/ 7 h 20"/>
                  <a:gd name="T20" fmla="*/ 8 w 17"/>
                  <a:gd name="T21" fmla="*/ 0 h 20"/>
                  <a:gd name="T22" fmla="*/ 7 w 17"/>
                  <a:gd name="T23" fmla="*/ 2 h 20"/>
                  <a:gd name="T24" fmla="*/ 7 w 17"/>
                  <a:gd name="T25" fmla="*/ 9 h 20"/>
                  <a:gd name="T26" fmla="*/ 6 w 17"/>
                  <a:gd name="T27" fmla="*/ 12 h 20"/>
                  <a:gd name="T28" fmla="*/ 1 w 17"/>
                  <a:gd name="T29" fmla="*/ 12 h 20"/>
                  <a:gd name="T30" fmla="*/ 0 w 17"/>
                  <a:gd name="T31" fmla="*/ 13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" h="20">
                    <a:moveTo>
                      <a:pt x="0" y="13"/>
                    </a:moveTo>
                    <a:cubicBezTo>
                      <a:pt x="4" y="16"/>
                      <a:pt x="4" y="16"/>
                      <a:pt x="4" y="16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5" y="20"/>
                      <a:pt x="8" y="20"/>
                      <a:pt x="8" y="20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1" y="12"/>
                      <a:pt x="1" y="12"/>
                      <a:pt x="1" y="12"/>
                    </a:cubicBezTo>
                    <a:lnTo>
                      <a:pt x="0" y="1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4" name="Freeform 183">
                <a:extLst>
                  <a:ext uri="{FF2B5EF4-FFF2-40B4-BE49-F238E27FC236}">
                    <a16:creationId xmlns:a16="http://schemas.microsoft.com/office/drawing/2014/main" id="{4F175883-1D34-4623-A3BA-B490DF3384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4776" y="1382713"/>
                <a:ext cx="14288" cy="19050"/>
              </a:xfrm>
              <a:custGeom>
                <a:avLst/>
                <a:gdLst>
                  <a:gd name="T0" fmla="*/ 6 w 9"/>
                  <a:gd name="T1" fmla="*/ 12 h 12"/>
                  <a:gd name="T2" fmla="*/ 9 w 9"/>
                  <a:gd name="T3" fmla="*/ 10 h 12"/>
                  <a:gd name="T4" fmla="*/ 9 w 9"/>
                  <a:gd name="T5" fmla="*/ 6 h 12"/>
                  <a:gd name="T6" fmla="*/ 9 w 9"/>
                  <a:gd name="T7" fmla="*/ 3 h 12"/>
                  <a:gd name="T8" fmla="*/ 7 w 9"/>
                  <a:gd name="T9" fmla="*/ 3 h 12"/>
                  <a:gd name="T10" fmla="*/ 5 w 9"/>
                  <a:gd name="T11" fmla="*/ 0 h 12"/>
                  <a:gd name="T12" fmla="*/ 3 w 9"/>
                  <a:gd name="T13" fmla="*/ 0 h 12"/>
                  <a:gd name="T14" fmla="*/ 1 w 9"/>
                  <a:gd name="T15" fmla="*/ 1 h 12"/>
                  <a:gd name="T16" fmla="*/ 3 w 9"/>
                  <a:gd name="T17" fmla="*/ 4 h 12"/>
                  <a:gd name="T18" fmla="*/ 3 w 9"/>
                  <a:gd name="T19" fmla="*/ 7 h 12"/>
                  <a:gd name="T20" fmla="*/ 0 w 9"/>
                  <a:gd name="T21" fmla="*/ 9 h 12"/>
                  <a:gd name="T22" fmla="*/ 2 w 9"/>
                  <a:gd name="T23" fmla="*/ 11 h 12"/>
                  <a:gd name="T24" fmla="*/ 6 w 9"/>
                  <a:gd name="T2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12">
                    <a:moveTo>
                      <a:pt x="6" y="12"/>
                    </a:moveTo>
                    <a:lnTo>
                      <a:pt x="9" y="10"/>
                    </a:lnTo>
                    <a:lnTo>
                      <a:pt x="9" y="6"/>
                    </a:lnTo>
                    <a:lnTo>
                      <a:pt x="9" y="3"/>
                    </a:lnTo>
                    <a:lnTo>
                      <a:pt x="7" y="3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1" y="1"/>
                    </a:lnTo>
                    <a:lnTo>
                      <a:pt x="3" y="4"/>
                    </a:lnTo>
                    <a:lnTo>
                      <a:pt x="3" y="7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5" name="Freeform 184">
                <a:extLst>
                  <a:ext uri="{FF2B5EF4-FFF2-40B4-BE49-F238E27FC236}">
                    <a16:creationId xmlns:a16="http://schemas.microsoft.com/office/drawing/2014/main" id="{F0D1F9C5-ACAD-4B5D-A783-1F8F057A07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3501" y="1393825"/>
                <a:ext cx="11113" cy="20638"/>
              </a:xfrm>
              <a:custGeom>
                <a:avLst/>
                <a:gdLst>
                  <a:gd name="T0" fmla="*/ 7 w 7"/>
                  <a:gd name="T1" fmla="*/ 4 h 13"/>
                  <a:gd name="T2" fmla="*/ 4 w 7"/>
                  <a:gd name="T3" fmla="*/ 3 h 13"/>
                  <a:gd name="T4" fmla="*/ 1 w 7"/>
                  <a:gd name="T5" fmla="*/ 0 h 13"/>
                  <a:gd name="T6" fmla="*/ 1 w 7"/>
                  <a:gd name="T7" fmla="*/ 5 h 13"/>
                  <a:gd name="T8" fmla="*/ 0 w 7"/>
                  <a:gd name="T9" fmla="*/ 7 h 13"/>
                  <a:gd name="T10" fmla="*/ 1 w 7"/>
                  <a:gd name="T11" fmla="*/ 10 h 13"/>
                  <a:gd name="T12" fmla="*/ 4 w 7"/>
                  <a:gd name="T13" fmla="*/ 13 h 13"/>
                  <a:gd name="T14" fmla="*/ 5 w 7"/>
                  <a:gd name="T15" fmla="*/ 10 h 13"/>
                  <a:gd name="T16" fmla="*/ 7 w 7"/>
                  <a:gd name="T17" fmla="*/ 7 h 13"/>
                  <a:gd name="T18" fmla="*/ 7 w 7"/>
                  <a:gd name="T1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13">
                    <a:moveTo>
                      <a:pt x="7" y="4"/>
                    </a:moveTo>
                    <a:lnTo>
                      <a:pt x="4" y="3"/>
                    </a:lnTo>
                    <a:lnTo>
                      <a:pt x="1" y="0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1" y="10"/>
                    </a:lnTo>
                    <a:lnTo>
                      <a:pt x="4" y="13"/>
                    </a:lnTo>
                    <a:lnTo>
                      <a:pt x="5" y="10"/>
                    </a:lnTo>
                    <a:lnTo>
                      <a:pt x="7" y="7"/>
                    </a:lnTo>
                    <a:lnTo>
                      <a:pt x="7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6" name="Freeform 185">
                <a:extLst>
                  <a:ext uri="{FF2B5EF4-FFF2-40B4-BE49-F238E27FC236}">
                    <a16:creationId xmlns:a16="http://schemas.microsoft.com/office/drawing/2014/main" id="{BBA9CB6C-9E54-4A13-AE64-4D0A423D03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6364" y="1358900"/>
                <a:ext cx="7938" cy="14288"/>
              </a:xfrm>
              <a:custGeom>
                <a:avLst/>
                <a:gdLst>
                  <a:gd name="T0" fmla="*/ 4 w 5"/>
                  <a:gd name="T1" fmla="*/ 9 h 9"/>
                  <a:gd name="T2" fmla="*/ 5 w 5"/>
                  <a:gd name="T3" fmla="*/ 9 h 9"/>
                  <a:gd name="T4" fmla="*/ 3 w 5"/>
                  <a:gd name="T5" fmla="*/ 5 h 9"/>
                  <a:gd name="T6" fmla="*/ 3 w 5"/>
                  <a:gd name="T7" fmla="*/ 1 h 9"/>
                  <a:gd name="T8" fmla="*/ 2 w 5"/>
                  <a:gd name="T9" fmla="*/ 0 h 9"/>
                  <a:gd name="T10" fmla="*/ 1 w 5"/>
                  <a:gd name="T11" fmla="*/ 5 h 9"/>
                  <a:gd name="T12" fmla="*/ 0 w 5"/>
                  <a:gd name="T13" fmla="*/ 6 h 9"/>
                  <a:gd name="T14" fmla="*/ 1 w 5"/>
                  <a:gd name="T15" fmla="*/ 8 h 9"/>
                  <a:gd name="T16" fmla="*/ 4 w 5"/>
                  <a:gd name="T1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9">
                    <a:moveTo>
                      <a:pt x="4" y="9"/>
                    </a:moveTo>
                    <a:lnTo>
                      <a:pt x="5" y="9"/>
                    </a:lnTo>
                    <a:lnTo>
                      <a:pt x="3" y="5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1" y="5"/>
                    </a:lnTo>
                    <a:lnTo>
                      <a:pt x="0" y="6"/>
                    </a:lnTo>
                    <a:lnTo>
                      <a:pt x="1" y="8"/>
                    </a:lnTo>
                    <a:lnTo>
                      <a:pt x="4" y="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7" name="Freeform 186">
                <a:extLst>
                  <a:ext uri="{FF2B5EF4-FFF2-40B4-BE49-F238E27FC236}">
                    <a16:creationId xmlns:a16="http://schemas.microsoft.com/office/drawing/2014/main" id="{CDE8E0D6-634A-4D02-BB92-96912CC906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0814" y="1254125"/>
                <a:ext cx="7938" cy="11113"/>
              </a:xfrm>
              <a:custGeom>
                <a:avLst/>
                <a:gdLst>
                  <a:gd name="T0" fmla="*/ 2 w 5"/>
                  <a:gd name="T1" fmla="*/ 7 h 7"/>
                  <a:gd name="T2" fmla="*/ 5 w 5"/>
                  <a:gd name="T3" fmla="*/ 6 h 7"/>
                  <a:gd name="T4" fmla="*/ 5 w 5"/>
                  <a:gd name="T5" fmla="*/ 4 h 7"/>
                  <a:gd name="T6" fmla="*/ 5 w 5"/>
                  <a:gd name="T7" fmla="*/ 2 h 7"/>
                  <a:gd name="T8" fmla="*/ 3 w 5"/>
                  <a:gd name="T9" fmla="*/ 0 h 7"/>
                  <a:gd name="T10" fmla="*/ 1 w 5"/>
                  <a:gd name="T11" fmla="*/ 1 h 7"/>
                  <a:gd name="T12" fmla="*/ 0 w 5"/>
                  <a:gd name="T13" fmla="*/ 2 h 7"/>
                  <a:gd name="T14" fmla="*/ 1 w 5"/>
                  <a:gd name="T15" fmla="*/ 7 h 7"/>
                  <a:gd name="T16" fmla="*/ 2 w 5"/>
                  <a:gd name="T1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7">
                    <a:moveTo>
                      <a:pt x="2" y="7"/>
                    </a:moveTo>
                    <a:lnTo>
                      <a:pt x="5" y="6"/>
                    </a:lnTo>
                    <a:lnTo>
                      <a:pt x="5" y="4"/>
                    </a:lnTo>
                    <a:lnTo>
                      <a:pt x="5" y="2"/>
                    </a:lnTo>
                    <a:lnTo>
                      <a:pt x="3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1" y="7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8" name="Freeform 187">
                <a:extLst>
                  <a:ext uri="{FF2B5EF4-FFF2-40B4-BE49-F238E27FC236}">
                    <a16:creationId xmlns:a16="http://schemas.microsoft.com/office/drawing/2014/main" id="{481CE582-24B6-4646-8A5B-DE1CDB10C5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0801" y="1306513"/>
                <a:ext cx="7938" cy="11113"/>
              </a:xfrm>
              <a:custGeom>
                <a:avLst/>
                <a:gdLst>
                  <a:gd name="T0" fmla="*/ 1 w 7"/>
                  <a:gd name="T1" fmla="*/ 9 h 9"/>
                  <a:gd name="T2" fmla="*/ 6 w 7"/>
                  <a:gd name="T3" fmla="*/ 9 h 9"/>
                  <a:gd name="T4" fmla="*/ 7 w 7"/>
                  <a:gd name="T5" fmla="*/ 6 h 9"/>
                  <a:gd name="T6" fmla="*/ 5 w 7"/>
                  <a:gd name="T7" fmla="*/ 4 h 9"/>
                  <a:gd name="T8" fmla="*/ 5 w 7"/>
                  <a:gd name="T9" fmla="*/ 0 h 9"/>
                  <a:gd name="T10" fmla="*/ 3 w 7"/>
                  <a:gd name="T11" fmla="*/ 0 h 9"/>
                  <a:gd name="T12" fmla="*/ 1 w 7"/>
                  <a:gd name="T13" fmla="*/ 3 h 9"/>
                  <a:gd name="T14" fmla="*/ 0 w 7"/>
                  <a:gd name="T15" fmla="*/ 8 h 9"/>
                  <a:gd name="T16" fmla="*/ 1 w 7"/>
                  <a:gd name="T1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9">
                    <a:moveTo>
                      <a:pt x="1" y="9"/>
                    </a:moveTo>
                    <a:cubicBezTo>
                      <a:pt x="6" y="9"/>
                      <a:pt x="6" y="9"/>
                      <a:pt x="6" y="9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1" y="9"/>
                      <a:pt x="1" y="9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9" name="Freeform 188">
                <a:extLst>
                  <a:ext uri="{FF2B5EF4-FFF2-40B4-BE49-F238E27FC236}">
                    <a16:creationId xmlns:a16="http://schemas.microsoft.com/office/drawing/2014/main" id="{5B9C1F16-9EBC-41F2-8EE3-9B81B8D35B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7464" y="1327150"/>
                <a:ext cx="60325" cy="96838"/>
              </a:xfrm>
              <a:custGeom>
                <a:avLst/>
                <a:gdLst>
                  <a:gd name="T0" fmla="*/ 9 w 38"/>
                  <a:gd name="T1" fmla="*/ 29 h 61"/>
                  <a:gd name="T2" fmla="*/ 4 w 38"/>
                  <a:gd name="T3" fmla="*/ 28 h 61"/>
                  <a:gd name="T4" fmla="*/ 1 w 38"/>
                  <a:gd name="T5" fmla="*/ 28 h 61"/>
                  <a:gd name="T6" fmla="*/ 0 w 38"/>
                  <a:gd name="T7" fmla="*/ 32 h 61"/>
                  <a:gd name="T8" fmla="*/ 2 w 38"/>
                  <a:gd name="T9" fmla="*/ 35 h 61"/>
                  <a:gd name="T10" fmla="*/ 6 w 38"/>
                  <a:gd name="T11" fmla="*/ 35 h 61"/>
                  <a:gd name="T12" fmla="*/ 9 w 38"/>
                  <a:gd name="T13" fmla="*/ 39 h 61"/>
                  <a:gd name="T14" fmla="*/ 9 w 38"/>
                  <a:gd name="T15" fmla="*/ 41 h 61"/>
                  <a:gd name="T16" fmla="*/ 3 w 38"/>
                  <a:gd name="T17" fmla="*/ 44 h 61"/>
                  <a:gd name="T18" fmla="*/ 6 w 38"/>
                  <a:gd name="T19" fmla="*/ 55 h 61"/>
                  <a:gd name="T20" fmla="*/ 6 w 38"/>
                  <a:gd name="T21" fmla="*/ 59 h 61"/>
                  <a:gd name="T22" fmla="*/ 10 w 38"/>
                  <a:gd name="T23" fmla="*/ 57 h 61"/>
                  <a:gd name="T24" fmla="*/ 12 w 38"/>
                  <a:gd name="T25" fmla="*/ 52 h 61"/>
                  <a:gd name="T26" fmla="*/ 15 w 38"/>
                  <a:gd name="T27" fmla="*/ 54 h 61"/>
                  <a:gd name="T28" fmla="*/ 16 w 38"/>
                  <a:gd name="T29" fmla="*/ 61 h 61"/>
                  <a:gd name="T30" fmla="*/ 19 w 38"/>
                  <a:gd name="T31" fmla="*/ 57 h 61"/>
                  <a:gd name="T32" fmla="*/ 19 w 38"/>
                  <a:gd name="T33" fmla="*/ 53 h 61"/>
                  <a:gd name="T34" fmla="*/ 23 w 38"/>
                  <a:gd name="T35" fmla="*/ 53 h 61"/>
                  <a:gd name="T36" fmla="*/ 23 w 38"/>
                  <a:gd name="T37" fmla="*/ 43 h 61"/>
                  <a:gd name="T38" fmla="*/ 20 w 38"/>
                  <a:gd name="T39" fmla="*/ 39 h 61"/>
                  <a:gd name="T40" fmla="*/ 26 w 38"/>
                  <a:gd name="T41" fmla="*/ 38 h 61"/>
                  <a:gd name="T42" fmla="*/ 31 w 38"/>
                  <a:gd name="T43" fmla="*/ 36 h 61"/>
                  <a:gd name="T44" fmla="*/ 30 w 38"/>
                  <a:gd name="T45" fmla="*/ 34 h 61"/>
                  <a:gd name="T46" fmla="*/ 27 w 38"/>
                  <a:gd name="T47" fmla="*/ 32 h 61"/>
                  <a:gd name="T48" fmla="*/ 27 w 38"/>
                  <a:gd name="T49" fmla="*/ 27 h 61"/>
                  <a:gd name="T50" fmla="*/ 30 w 38"/>
                  <a:gd name="T51" fmla="*/ 26 h 61"/>
                  <a:gd name="T52" fmla="*/ 32 w 38"/>
                  <a:gd name="T53" fmla="*/ 28 h 61"/>
                  <a:gd name="T54" fmla="*/ 36 w 38"/>
                  <a:gd name="T55" fmla="*/ 24 h 61"/>
                  <a:gd name="T56" fmla="*/ 38 w 38"/>
                  <a:gd name="T57" fmla="*/ 21 h 61"/>
                  <a:gd name="T58" fmla="*/ 37 w 38"/>
                  <a:gd name="T59" fmla="*/ 15 h 61"/>
                  <a:gd name="T60" fmla="*/ 33 w 38"/>
                  <a:gd name="T61" fmla="*/ 11 h 61"/>
                  <a:gd name="T62" fmla="*/ 29 w 38"/>
                  <a:gd name="T63" fmla="*/ 12 h 61"/>
                  <a:gd name="T64" fmla="*/ 26 w 38"/>
                  <a:gd name="T65" fmla="*/ 17 h 61"/>
                  <a:gd name="T66" fmla="*/ 26 w 38"/>
                  <a:gd name="T67" fmla="*/ 11 h 61"/>
                  <a:gd name="T68" fmla="*/ 30 w 38"/>
                  <a:gd name="T69" fmla="*/ 5 h 61"/>
                  <a:gd name="T70" fmla="*/ 30 w 38"/>
                  <a:gd name="T71" fmla="*/ 0 h 61"/>
                  <a:gd name="T72" fmla="*/ 24 w 38"/>
                  <a:gd name="T73" fmla="*/ 9 h 61"/>
                  <a:gd name="T74" fmla="*/ 23 w 38"/>
                  <a:gd name="T75" fmla="*/ 8 h 61"/>
                  <a:gd name="T76" fmla="*/ 23 w 38"/>
                  <a:gd name="T77" fmla="*/ 3 h 61"/>
                  <a:gd name="T78" fmla="*/ 21 w 38"/>
                  <a:gd name="T79" fmla="*/ 8 h 61"/>
                  <a:gd name="T80" fmla="*/ 19 w 38"/>
                  <a:gd name="T81" fmla="*/ 12 h 61"/>
                  <a:gd name="T82" fmla="*/ 22 w 38"/>
                  <a:gd name="T83" fmla="*/ 13 h 61"/>
                  <a:gd name="T84" fmla="*/ 23 w 38"/>
                  <a:gd name="T85" fmla="*/ 15 h 61"/>
                  <a:gd name="T86" fmla="*/ 19 w 38"/>
                  <a:gd name="T87" fmla="*/ 18 h 61"/>
                  <a:gd name="T88" fmla="*/ 18 w 38"/>
                  <a:gd name="T89" fmla="*/ 25 h 61"/>
                  <a:gd name="T90" fmla="*/ 14 w 38"/>
                  <a:gd name="T91" fmla="*/ 2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8" h="61">
                    <a:moveTo>
                      <a:pt x="12" y="31"/>
                    </a:moveTo>
                    <a:lnTo>
                      <a:pt x="9" y="29"/>
                    </a:lnTo>
                    <a:lnTo>
                      <a:pt x="7" y="29"/>
                    </a:lnTo>
                    <a:lnTo>
                      <a:pt x="4" y="28"/>
                    </a:lnTo>
                    <a:lnTo>
                      <a:pt x="2" y="26"/>
                    </a:lnTo>
                    <a:lnTo>
                      <a:pt x="1" y="28"/>
                    </a:lnTo>
                    <a:lnTo>
                      <a:pt x="1" y="30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2" y="35"/>
                    </a:lnTo>
                    <a:lnTo>
                      <a:pt x="5" y="32"/>
                    </a:lnTo>
                    <a:lnTo>
                      <a:pt x="6" y="35"/>
                    </a:lnTo>
                    <a:lnTo>
                      <a:pt x="7" y="39"/>
                    </a:lnTo>
                    <a:lnTo>
                      <a:pt x="9" y="39"/>
                    </a:lnTo>
                    <a:lnTo>
                      <a:pt x="11" y="40"/>
                    </a:lnTo>
                    <a:lnTo>
                      <a:pt x="9" y="41"/>
                    </a:lnTo>
                    <a:lnTo>
                      <a:pt x="6" y="41"/>
                    </a:lnTo>
                    <a:lnTo>
                      <a:pt x="3" y="44"/>
                    </a:lnTo>
                    <a:lnTo>
                      <a:pt x="4" y="52"/>
                    </a:lnTo>
                    <a:lnTo>
                      <a:pt x="6" y="55"/>
                    </a:lnTo>
                    <a:lnTo>
                      <a:pt x="5" y="56"/>
                    </a:lnTo>
                    <a:lnTo>
                      <a:pt x="6" y="59"/>
                    </a:lnTo>
                    <a:lnTo>
                      <a:pt x="8" y="57"/>
                    </a:lnTo>
                    <a:lnTo>
                      <a:pt x="10" y="57"/>
                    </a:lnTo>
                    <a:lnTo>
                      <a:pt x="11" y="55"/>
                    </a:lnTo>
                    <a:lnTo>
                      <a:pt x="12" y="52"/>
                    </a:lnTo>
                    <a:lnTo>
                      <a:pt x="13" y="52"/>
                    </a:lnTo>
                    <a:lnTo>
                      <a:pt x="15" y="54"/>
                    </a:lnTo>
                    <a:lnTo>
                      <a:pt x="16" y="61"/>
                    </a:lnTo>
                    <a:lnTo>
                      <a:pt x="16" y="61"/>
                    </a:lnTo>
                    <a:lnTo>
                      <a:pt x="18" y="60"/>
                    </a:lnTo>
                    <a:lnTo>
                      <a:pt x="19" y="57"/>
                    </a:lnTo>
                    <a:lnTo>
                      <a:pt x="19" y="54"/>
                    </a:lnTo>
                    <a:lnTo>
                      <a:pt x="19" y="53"/>
                    </a:lnTo>
                    <a:lnTo>
                      <a:pt x="21" y="54"/>
                    </a:lnTo>
                    <a:lnTo>
                      <a:pt x="23" y="53"/>
                    </a:lnTo>
                    <a:lnTo>
                      <a:pt x="23" y="48"/>
                    </a:lnTo>
                    <a:lnTo>
                      <a:pt x="23" y="43"/>
                    </a:lnTo>
                    <a:lnTo>
                      <a:pt x="21" y="41"/>
                    </a:lnTo>
                    <a:lnTo>
                      <a:pt x="20" y="39"/>
                    </a:lnTo>
                    <a:lnTo>
                      <a:pt x="23" y="38"/>
                    </a:lnTo>
                    <a:lnTo>
                      <a:pt x="26" y="38"/>
                    </a:lnTo>
                    <a:lnTo>
                      <a:pt x="30" y="37"/>
                    </a:lnTo>
                    <a:lnTo>
                      <a:pt x="31" y="36"/>
                    </a:lnTo>
                    <a:lnTo>
                      <a:pt x="31" y="35"/>
                    </a:lnTo>
                    <a:lnTo>
                      <a:pt x="30" y="34"/>
                    </a:lnTo>
                    <a:lnTo>
                      <a:pt x="30" y="32"/>
                    </a:lnTo>
                    <a:lnTo>
                      <a:pt x="27" y="32"/>
                    </a:lnTo>
                    <a:lnTo>
                      <a:pt x="27" y="30"/>
                    </a:lnTo>
                    <a:lnTo>
                      <a:pt x="27" y="27"/>
                    </a:lnTo>
                    <a:lnTo>
                      <a:pt x="28" y="25"/>
                    </a:lnTo>
                    <a:lnTo>
                      <a:pt x="30" y="26"/>
                    </a:lnTo>
                    <a:lnTo>
                      <a:pt x="30" y="27"/>
                    </a:lnTo>
                    <a:lnTo>
                      <a:pt x="32" y="28"/>
                    </a:lnTo>
                    <a:lnTo>
                      <a:pt x="33" y="27"/>
                    </a:lnTo>
                    <a:lnTo>
                      <a:pt x="36" y="24"/>
                    </a:lnTo>
                    <a:lnTo>
                      <a:pt x="38" y="22"/>
                    </a:lnTo>
                    <a:lnTo>
                      <a:pt x="38" y="21"/>
                    </a:lnTo>
                    <a:lnTo>
                      <a:pt x="37" y="18"/>
                    </a:lnTo>
                    <a:lnTo>
                      <a:pt x="37" y="15"/>
                    </a:lnTo>
                    <a:lnTo>
                      <a:pt x="33" y="14"/>
                    </a:lnTo>
                    <a:lnTo>
                      <a:pt x="33" y="11"/>
                    </a:lnTo>
                    <a:lnTo>
                      <a:pt x="32" y="10"/>
                    </a:lnTo>
                    <a:lnTo>
                      <a:pt x="29" y="12"/>
                    </a:lnTo>
                    <a:lnTo>
                      <a:pt x="27" y="15"/>
                    </a:lnTo>
                    <a:lnTo>
                      <a:pt x="26" y="17"/>
                    </a:lnTo>
                    <a:lnTo>
                      <a:pt x="26" y="15"/>
                    </a:lnTo>
                    <a:lnTo>
                      <a:pt x="26" y="11"/>
                    </a:lnTo>
                    <a:lnTo>
                      <a:pt x="28" y="10"/>
                    </a:lnTo>
                    <a:lnTo>
                      <a:pt x="30" y="5"/>
                    </a:lnTo>
                    <a:lnTo>
                      <a:pt x="30" y="1"/>
                    </a:lnTo>
                    <a:lnTo>
                      <a:pt x="30" y="0"/>
                    </a:lnTo>
                    <a:lnTo>
                      <a:pt x="26" y="4"/>
                    </a:lnTo>
                    <a:lnTo>
                      <a:pt x="24" y="9"/>
                    </a:lnTo>
                    <a:lnTo>
                      <a:pt x="23" y="9"/>
                    </a:lnTo>
                    <a:lnTo>
                      <a:pt x="23" y="8"/>
                    </a:lnTo>
                    <a:lnTo>
                      <a:pt x="23" y="4"/>
                    </a:lnTo>
                    <a:lnTo>
                      <a:pt x="23" y="3"/>
                    </a:lnTo>
                    <a:lnTo>
                      <a:pt x="22" y="4"/>
                    </a:lnTo>
                    <a:lnTo>
                      <a:pt x="21" y="8"/>
                    </a:lnTo>
                    <a:lnTo>
                      <a:pt x="19" y="9"/>
                    </a:lnTo>
                    <a:lnTo>
                      <a:pt x="19" y="12"/>
                    </a:lnTo>
                    <a:lnTo>
                      <a:pt x="19" y="13"/>
                    </a:lnTo>
                    <a:lnTo>
                      <a:pt x="22" y="13"/>
                    </a:lnTo>
                    <a:lnTo>
                      <a:pt x="23" y="13"/>
                    </a:lnTo>
                    <a:lnTo>
                      <a:pt x="23" y="15"/>
                    </a:lnTo>
                    <a:lnTo>
                      <a:pt x="21" y="16"/>
                    </a:lnTo>
                    <a:lnTo>
                      <a:pt x="19" y="18"/>
                    </a:lnTo>
                    <a:lnTo>
                      <a:pt x="19" y="22"/>
                    </a:lnTo>
                    <a:lnTo>
                      <a:pt x="18" y="25"/>
                    </a:lnTo>
                    <a:lnTo>
                      <a:pt x="16" y="25"/>
                    </a:lnTo>
                    <a:lnTo>
                      <a:pt x="14" y="29"/>
                    </a:lnTo>
                    <a:lnTo>
                      <a:pt x="12" y="3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0" name="Freeform 189">
                <a:extLst>
                  <a:ext uri="{FF2B5EF4-FFF2-40B4-BE49-F238E27FC236}">
                    <a16:creationId xmlns:a16="http://schemas.microsoft.com/office/drawing/2014/main" id="{4B24F8B9-B5A5-4CD7-B32A-C112EE704A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2539" y="1347788"/>
                <a:ext cx="58738" cy="50800"/>
              </a:xfrm>
              <a:custGeom>
                <a:avLst/>
                <a:gdLst>
                  <a:gd name="T0" fmla="*/ 3 w 37"/>
                  <a:gd name="T1" fmla="*/ 26 h 32"/>
                  <a:gd name="T2" fmla="*/ 7 w 37"/>
                  <a:gd name="T3" fmla="*/ 23 h 32"/>
                  <a:gd name="T4" fmla="*/ 9 w 37"/>
                  <a:gd name="T5" fmla="*/ 26 h 32"/>
                  <a:gd name="T6" fmla="*/ 10 w 37"/>
                  <a:gd name="T7" fmla="*/ 28 h 32"/>
                  <a:gd name="T8" fmla="*/ 12 w 37"/>
                  <a:gd name="T9" fmla="*/ 29 h 32"/>
                  <a:gd name="T10" fmla="*/ 14 w 37"/>
                  <a:gd name="T11" fmla="*/ 26 h 32"/>
                  <a:gd name="T12" fmla="*/ 14 w 37"/>
                  <a:gd name="T13" fmla="*/ 25 h 32"/>
                  <a:gd name="T14" fmla="*/ 15 w 37"/>
                  <a:gd name="T15" fmla="*/ 23 h 32"/>
                  <a:gd name="T16" fmla="*/ 17 w 37"/>
                  <a:gd name="T17" fmla="*/ 26 h 32"/>
                  <a:gd name="T18" fmla="*/ 18 w 37"/>
                  <a:gd name="T19" fmla="*/ 30 h 32"/>
                  <a:gd name="T20" fmla="*/ 21 w 37"/>
                  <a:gd name="T21" fmla="*/ 32 h 32"/>
                  <a:gd name="T22" fmla="*/ 21 w 37"/>
                  <a:gd name="T23" fmla="*/ 29 h 32"/>
                  <a:gd name="T24" fmla="*/ 19 w 37"/>
                  <a:gd name="T25" fmla="*/ 26 h 32"/>
                  <a:gd name="T26" fmla="*/ 19 w 37"/>
                  <a:gd name="T27" fmla="*/ 21 h 32"/>
                  <a:gd name="T28" fmla="*/ 17 w 37"/>
                  <a:gd name="T29" fmla="*/ 19 h 32"/>
                  <a:gd name="T30" fmla="*/ 16 w 37"/>
                  <a:gd name="T31" fmla="*/ 19 h 32"/>
                  <a:gd name="T32" fmla="*/ 14 w 37"/>
                  <a:gd name="T33" fmla="*/ 15 h 32"/>
                  <a:gd name="T34" fmla="*/ 17 w 37"/>
                  <a:gd name="T35" fmla="*/ 12 h 32"/>
                  <a:gd name="T36" fmla="*/ 20 w 37"/>
                  <a:gd name="T37" fmla="*/ 9 h 32"/>
                  <a:gd name="T38" fmla="*/ 24 w 37"/>
                  <a:gd name="T39" fmla="*/ 8 h 32"/>
                  <a:gd name="T40" fmla="*/ 25 w 37"/>
                  <a:gd name="T41" fmla="*/ 6 h 32"/>
                  <a:gd name="T42" fmla="*/ 27 w 37"/>
                  <a:gd name="T43" fmla="*/ 7 h 32"/>
                  <a:gd name="T44" fmla="*/ 28 w 37"/>
                  <a:gd name="T45" fmla="*/ 11 h 32"/>
                  <a:gd name="T46" fmla="*/ 31 w 37"/>
                  <a:gd name="T47" fmla="*/ 12 h 32"/>
                  <a:gd name="T48" fmla="*/ 35 w 37"/>
                  <a:gd name="T49" fmla="*/ 12 h 32"/>
                  <a:gd name="T50" fmla="*/ 35 w 37"/>
                  <a:gd name="T51" fmla="*/ 11 h 32"/>
                  <a:gd name="T52" fmla="*/ 37 w 37"/>
                  <a:gd name="T53" fmla="*/ 9 h 32"/>
                  <a:gd name="T54" fmla="*/ 35 w 37"/>
                  <a:gd name="T55" fmla="*/ 7 h 32"/>
                  <a:gd name="T56" fmla="*/ 32 w 37"/>
                  <a:gd name="T57" fmla="*/ 6 h 32"/>
                  <a:gd name="T58" fmla="*/ 24 w 37"/>
                  <a:gd name="T59" fmla="*/ 1 h 32"/>
                  <a:gd name="T60" fmla="*/ 18 w 37"/>
                  <a:gd name="T61" fmla="*/ 0 h 32"/>
                  <a:gd name="T62" fmla="*/ 14 w 37"/>
                  <a:gd name="T63" fmla="*/ 0 h 32"/>
                  <a:gd name="T64" fmla="*/ 9 w 37"/>
                  <a:gd name="T65" fmla="*/ 6 h 32"/>
                  <a:gd name="T66" fmla="*/ 7 w 37"/>
                  <a:gd name="T67" fmla="*/ 11 h 32"/>
                  <a:gd name="T68" fmla="*/ 4 w 37"/>
                  <a:gd name="T69" fmla="*/ 12 h 32"/>
                  <a:gd name="T70" fmla="*/ 0 w 37"/>
                  <a:gd name="T71" fmla="*/ 16 h 32"/>
                  <a:gd name="T72" fmla="*/ 1 w 37"/>
                  <a:gd name="T73" fmla="*/ 24 h 32"/>
                  <a:gd name="T74" fmla="*/ 3 w 37"/>
                  <a:gd name="T75" fmla="*/ 2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7" h="32">
                    <a:moveTo>
                      <a:pt x="3" y="26"/>
                    </a:moveTo>
                    <a:lnTo>
                      <a:pt x="7" y="23"/>
                    </a:lnTo>
                    <a:lnTo>
                      <a:pt x="9" y="26"/>
                    </a:lnTo>
                    <a:lnTo>
                      <a:pt x="10" y="28"/>
                    </a:lnTo>
                    <a:lnTo>
                      <a:pt x="12" y="29"/>
                    </a:lnTo>
                    <a:lnTo>
                      <a:pt x="14" y="26"/>
                    </a:lnTo>
                    <a:lnTo>
                      <a:pt x="14" y="25"/>
                    </a:lnTo>
                    <a:lnTo>
                      <a:pt x="15" y="23"/>
                    </a:lnTo>
                    <a:lnTo>
                      <a:pt x="17" y="26"/>
                    </a:lnTo>
                    <a:lnTo>
                      <a:pt x="18" y="30"/>
                    </a:lnTo>
                    <a:lnTo>
                      <a:pt x="21" y="32"/>
                    </a:lnTo>
                    <a:lnTo>
                      <a:pt x="21" y="29"/>
                    </a:lnTo>
                    <a:lnTo>
                      <a:pt x="19" y="26"/>
                    </a:lnTo>
                    <a:lnTo>
                      <a:pt x="19" y="21"/>
                    </a:lnTo>
                    <a:lnTo>
                      <a:pt x="17" y="19"/>
                    </a:lnTo>
                    <a:lnTo>
                      <a:pt x="16" y="19"/>
                    </a:lnTo>
                    <a:lnTo>
                      <a:pt x="14" y="15"/>
                    </a:lnTo>
                    <a:lnTo>
                      <a:pt x="17" y="12"/>
                    </a:lnTo>
                    <a:lnTo>
                      <a:pt x="20" y="9"/>
                    </a:lnTo>
                    <a:lnTo>
                      <a:pt x="24" y="8"/>
                    </a:lnTo>
                    <a:lnTo>
                      <a:pt x="25" y="6"/>
                    </a:lnTo>
                    <a:lnTo>
                      <a:pt x="27" y="7"/>
                    </a:lnTo>
                    <a:lnTo>
                      <a:pt x="28" y="11"/>
                    </a:lnTo>
                    <a:lnTo>
                      <a:pt x="31" y="12"/>
                    </a:lnTo>
                    <a:lnTo>
                      <a:pt x="35" y="12"/>
                    </a:lnTo>
                    <a:lnTo>
                      <a:pt x="35" y="11"/>
                    </a:lnTo>
                    <a:lnTo>
                      <a:pt x="37" y="9"/>
                    </a:lnTo>
                    <a:lnTo>
                      <a:pt x="35" y="7"/>
                    </a:lnTo>
                    <a:lnTo>
                      <a:pt x="32" y="6"/>
                    </a:lnTo>
                    <a:lnTo>
                      <a:pt x="24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9" y="6"/>
                    </a:lnTo>
                    <a:lnTo>
                      <a:pt x="7" y="11"/>
                    </a:lnTo>
                    <a:lnTo>
                      <a:pt x="4" y="12"/>
                    </a:lnTo>
                    <a:lnTo>
                      <a:pt x="0" y="16"/>
                    </a:lnTo>
                    <a:lnTo>
                      <a:pt x="1" y="24"/>
                    </a:lnTo>
                    <a:lnTo>
                      <a:pt x="3" y="2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1" name="Freeform 190">
                <a:extLst>
                  <a:ext uri="{FF2B5EF4-FFF2-40B4-BE49-F238E27FC236}">
                    <a16:creationId xmlns:a16="http://schemas.microsoft.com/office/drawing/2014/main" id="{A722A35A-D2D3-4DC1-BD99-5D9CA1A6D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9701" y="1241425"/>
                <a:ext cx="1588" cy="4763"/>
              </a:xfrm>
              <a:custGeom>
                <a:avLst/>
                <a:gdLst>
                  <a:gd name="T0" fmla="*/ 0 w 1"/>
                  <a:gd name="T1" fmla="*/ 3 h 3"/>
                  <a:gd name="T2" fmla="*/ 1 w 1"/>
                  <a:gd name="T3" fmla="*/ 2 h 3"/>
                  <a:gd name="T4" fmla="*/ 1 w 1"/>
                  <a:gd name="T5" fmla="*/ 0 h 3"/>
                  <a:gd name="T6" fmla="*/ 0 w 1"/>
                  <a:gd name="T7" fmla="*/ 1 h 3"/>
                  <a:gd name="T8" fmla="*/ 0 w 1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1" y="2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2" name="Freeform 191">
                <a:extLst>
                  <a:ext uri="{FF2B5EF4-FFF2-40B4-BE49-F238E27FC236}">
                    <a16:creationId xmlns:a16="http://schemas.microsoft.com/office/drawing/2014/main" id="{B5392EE0-0687-45F1-A677-2E06CBA33E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0176" y="1219200"/>
                <a:ext cx="17463" cy="17463"/>
              </a:xfrm>
              <a:custGeom>
                <a:avLst/>
                <a:gdLst>
                  <a:gd name="T0" fmla="*/ 3 w 14"/>
                  <a:gd name="T1" fmla="*/ 12 h 15"/>
                  <a:gd name="T2" fmla="*/ 5 w 14"/>
                  <a:gd name="T3" fmla="*/ 15 h 15"/>
                  <a:gd name="T4" fmla="*/ 8 w 14"/>
                  <a:gd name="T5" fmla="*/ 12 h 15"/>
                  <a:gd name="T6" fmla="*/ 12 w 14"/>
                  <a:gd name="T7" fmla="*/ 12 h 15"/>
                  <a:gd name="T8" fmla="*/ 13 w 14"/>
                  <a:gd name="T9" fmla="*/ 10 h 15"/>
                  <a:gd name="T10" fmla="*/ 14 w 14"/>
                  <a:gd name="T11" fmla="*/ 9 h 15"/>
                  <a:gd name="T12" fmla="*/ 13 w 14"/>
                  <a:gd name="T13" fmla="*/ 6 h 15"/>
                  <a:gd name="T14" fmla="*/ 12 w 14"/>
                  <a:gd name="T15" fmla="*/ 1 h 15"/>
                  <a:gd name="T16" fmla="*/ 10 w 14"/>
                  <a:gd name="T17" fmla="*/ 0 h 15"/>
                  <a:gd name="T18" fmla="*/ 7 w 14"/>
                  <a:gd name="T19" fmla="*/ 2 h 15"/>
                  <a:gd name="T20" fmla="*/ 3 w 14"/>
                  <a:gd name="T21" fmla="*/ 3 h 15"/>
                  <a:gd name="T22" fmla="*/ 0 w 14"/>
                  <a:gd name="T23" fmla="*/ 5 h 15"/>
                  <a:gd name="T24" fmla="*/ 0 w 14"/>
                  <a:gd name="T25" fmla="*/ 7 h 15"/>
                  <a:gd name="T26" fmla="*/ 1 w 14"/>
                  <a:gd name="T27" fmla="*/ 9 h 15"/>
                  <a:gd name="T28" fmla="*/ 3 w 14"/>
                  <a:gd name="T29" fmla="*/ 1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5">
                    <a:moveTo>
                      <a:pt x="3" y="12"/>
                    </a:moveTo>
                    <a:cubicBezTo>
                      <a:pt x="3" y="12"/>
                      <a:pt x="5" y="15"/>
                      <a:pt x="5" y="15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" y="9"/>
                      <a:pt x="1" y="9"/>
                      <a:pt x="1" y="9"/>
                    </a:cubicBezTo>
                    <a:lnTo>
                      <a:pt x="3" y="1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3" name="Freeform 192">
                <a:extLst>
                  <a:ext uri="{FF2B5EF4-FFF2-40B4-BE49-F238E27FC236}">
                    <a16:creationId xmlns:a16="http://schemas.microsoft.com/office/drawing/2014/main" id="{B517545D-5605-43FC-9275-717F705E63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6526" y="1281113"/>
                <a:ext cx="11113" cy="14288"/>
              </a:xfrm>
              <a:custGeom>
                <a:avLst/>
                <a:gdLst>
                  <a:gd name="T0" fmla="*/ 4 w 7"/>
                  <a:gd name="T1" fmla="*/ 2 h 9"/>
                  <a:gd name="T2" fmla="*/ 2 w 7"/>
                  <a:gd name="T3" fmla="*/ 5 h 9"/>
                  <a:gd name="T4" fmla="*/ 0 w 7"/>
                  <a:gd name="T5" fmla="*/ 8 h 9"/>
                  <a:gd name="T6" fmla="*/ 2 w 7"/>
                  <a:gd name="T7" fmla="*/ 9 h 9"/>
                  <a:gd name="T8" fmla="*/ 3 w 7"/>
                  <a:gd name="T9" fmla="*/ 8 h 9"/>
                  <a:gd name="T10" fmla="*/ 6 w 7"/>
                  <a:gd name="T11" fmla="*/ 8 h 9"/>
                  <a:gd name="T12" fmla="*/ 7 w 7"/>
                  <a:gd name="T13" fmla="*/ 5 h 9"/>
                  <a:gd name="T14" fmla="*/ 7 w 7"/>
                  <a:gd name="T15" fmla="*/ 3 h 9"/>
                  <a:gd name="T16" fmla="*/ 5 w 7"/>
                  <a:gd name="T17" fmla="*/ 0 h 9"/>
                  <a:gd name="T18" fmla="*/ 4 w 7"/>
                  <a:gd name="T1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9">
                    <a:moveTo>
                      <a:pt x="4" y="2"/>
                    </a:moveTo>
                    <a:lnTo>
                      <a:pt x="2" y="5"/>
                    </a:lnTo>
                    <a:lnTo>
                      <a:pt x="0" y="8"/>
                    </a:lnTo>
                    <a:lnTo>
                      <a:pt x="2" y="9"/>
                    </a:lnTo>
                    <a:lnTo>
                      <a:pt x="3" y="8"/>
                    </a:lnTo>
                    <a:lnTo>
                      <a:pt x="6" y="8"/>
                    </a:lnTo>
                    <a:lnTo>
                      <a:pt x="7" y="5"/>
                    </a:lnTo>
                    <a:lnTo>
                      <a:pt x="7" y="3"/>
                    </a:lnTo>
                    <a:lnTo>
                      <a:pt x="5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4" name="Freeform 193">
                <a:extLst>
                  <a:ext uri="{FF2B5EF4-FFF2-40B4-BE49-F238E27FC236}">
                    <a16:creationId xmlns:a16="http://schemas.microsoft.com/office/drawing/2014/main" id="{4D254A22-A1F2-48C6-899A-45A952A6B5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5414" y="1250950"/>
                <a:ext cx="22225" cy="15875"/>
              </a:xfrm>
              <a:custGeom>
                <a:avLst/>
                <a:gdLst>
                  <a:gd name="T0" fmla="*/ 3 w 14"/>
                  <a:gd name="T1" fmla="*/ 9 h 10"/>
                  <a:gd name="T2" fmla="*/ 5 w 14"/>
                  <a:gd name="T3" fmla="*/ 8 h 10"/>
                  <a:gd name="T4" fmla="*/ 7 w 14"/>
                  <a:gd name="T5" fmla="*/ 10 h 10"/>
                  <a:gd name="T6" fmla="*/ 8 w 14"/>
                  <a:gd name="T7" fmla="*/ 10 h 10"/>
                  <a:gd name="T8" fmla="*/ 10 w 14"/>
                  <a:gd name="T9" fmla="*/ 8 h 10"/>
                  <a:gd name="T10" fmla="*/ 11 w 14"/>
                  <a:gd name="T11" fmla="*/ 5 h 10"/>
                  <a:gd name="T12" fmla="*/ 13 w 14"/>
                  <a:gd name="T13" fmla="*/ 4 h 10"/>
                  <a:gd name="T14" fmla="*/ 14 w 14"/>
                  <a:gd name="T15" fmla="*/ 2 h 10"/>
                  <a:gd name="T16" fmla="*/ 12 w 14"/>
                  <a:gd name="T17" fmla="*/ 1 h 10"/>
                  <a:gd name="T18" fmla="*/ 11 w 14"/>
                  <a:gd name="T19" fmla="*/ 1 h 10"/>
                  <a:gd name="T20" fmla="*/ 8 w 14"/>
                  <a:gd name="T21" fmla="*/ 1 h 10"/>
                  <a:gd name="T22" fmla="*/ 7 w 14"/>
                  <a:gd name="T23" fmla="*/ 0 h 10"/>
                  <a:gd name="T24" fmla="*/ 4 w 14"/>
                  <a:gd name="T25" fmla="*/ 0 h 10"/>
                  <a:gd name="T26" fmla="*/ 2 w 14"/>
                  <a:gd name="T27" fmla="*/ 1 h 10"/>
                  <a:gd name="T28" fmla="*/ 0 w 14"/>
                  <a:gd name="T29" fmla="*/ 4 h 10"/>
                  <a:gd name="T30" fmla="*/ 0 w 14"/>
                  <a:gd name="T31" fmla="*/ 6 h 10"/>
                  <a:gd name="T32" fmla="*/ 0 w 14"/>
                  <a:gd name="T33" fmla="*/ 8 h 10"/>
                  <a:gd name="T34" fmla="*/ 3 w 14"/>
                  <a:gd name="T3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" h="10">
                    <a:moveTo>
                      <a:pt x="3" y="9"/>
                    </a:moveTo>
                    <a:lnTo>
                      <a:pt x="5" y="8"/>
                    </a:lnTo>
                    <a:lnTo>
                      <a:pt x="7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1" y="5"/>
                    </a:lnTo>
                    <a:lnTo>
                      <a:pt x="13" y="4"/>
                    </a:lnTo>
                    <a:lnTo>
                      <a:pt x="14" y="2"/>
                    </a:lnTo>
                    <a:lnTo>
                      <a:pt x="12" y="1"/>
                    </a:lnTo>
                    <a:lnTo>
                      <a:pt x="11" y="1"/>
                    </a:lnTo>
                    <a:lnTo>
                      <a:pt x="8" y="1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3" y="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5" name="Freeform 194">
                <a:extLst>
                  <a:ext uri="{FF2B5EF4-FFF2-40B4-BE49-F238E27FC236}">
                    <a16:creationId xmlns:a16="http://schemas.microsoft.com/office/drawing/2014/main" id="{C1914BE8-BCD8-4C66-8F4D-1D0E3ECDF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6364" y="1306513"/>
                <a:ext cx="50800" cy="28575"/>
              </a:xfrm>
              <a:custGeom>
                <a:avLst/>
                <a:gdLst>
                  <a:gd name="T0" fmla="*/ 1 w 32"/>
                  <a:gd name="T1" fmla="*/ 6 h 18"/>
                  <a:gd name="T2" fmla="*/ 2 w 32"/>
                  <a:gd name="T3" fmla="*/ 7 h 18"/>
                  <a:gd name="T4" fmla="*/ 6 w 32"/>
                  <a:gd name="T5" fmla="*/ 9 h 18"/>
                  <a:gd name="T6" fmla="*/ 8 w 32"/>
                  <a:gd name="T7" fmla="*/ 7 h 18"/>
                  <a:gd name="T8" fmla="*/ 9 w 32"/>
                  <a:gd name="T9" fmla="*/ 7 h 18"/>
                  <a:gd name="T10" fmla="*/ 12 w 32"/>
                  <a:gd name="T11" fmla="*/ 9 h 18"/>
                  <a:gd name="T12" fmla="*/ 12 w 32"/>
                  <a:gd name="T13" fmla="*/ 12 h 18"/>
                  <a:gd name="T14" fmla="*/ 14 w 32"/>
                  <a:gd name="T15" fmla="*/ 12 h 18"/>
                  <a:gd name="T16" fmla="*/ 15 w 32"/>
                  <a:gd name="T17" fmla="*/ 11 h 18"/>
                  <a:gd name="T18" fmla="*/ 17 w 32"/>
                  <a:gd name="T19" fmla="*/ 14 h 18"/>
                  <a:gd name="T20" fmla="*/ 21 w 32"/>
                  <a:gd name="T21" fmla="*/ 16 h 18"/>
                  <a:gd name="T22" fmla="*/ 24 w 32"/>
                  <a:gd name="T23" fmla="*/ 15 h 18"/>
                  <a:gd name="T24" fmla="*/ 27 w 32"/>
                  <a:gd name="T25" fmla="*/ 17 h 18"/>
                  <a:gd name="T26" fmla="*/ 30 w 32"/>
                  <a:gd name="T27" fmla="*/ 18 h 18"/>
                  <a:gd name="T28" fmla="*/ 32 w 32"/>
                  <a:gd name="T29" fmla="*/ 17 h 18"/>
                  <a:gd name="T30" fmla="*/ 32 w 32"/>
                  <a:gd name="T31" fmla="*/ 12 h 18"/>
                  <a:gd name="T32" fmla="*/ 30 w 32"/>
                  <a:gd name="T33" fmla="*/ 9 h 18"/>
                  <a:gd name="T34" fmla="*/ 28 w 32"/>
                  <a:gd name="T35" fmla="*/ 9 h 18"/>
                  <a:gd name="T36" fmla="*/ 23 w 32"/>
                  <a:gd name="T37" fmla="*/ 7 h 18"/>
                  <a:gd name="T38" fmla="*/ 19 w 32"/>
                  <a:gd name="T39" fmla="*/ 4 h 18"/>
                  <a:gd name="T40" fmla="*/ 18 w 32"/>
                  <a:gd name="T41" fmla="*/ 4 h 18"/>
                  <a:gd name="T42" fmla="*/ 15 w 32"/>
                  <a:gd name="T43" fmla="*/ 2 h 18"/>
                  <a:gd name="T44" fmla="*/ 12 w 32"/>
                  <a:gd name="T45" fmla="*/ 2 h 18"/>
                  <a:gd name="T46" fmla="*/ 10 w 32"/>
                  <a:gd name="T47" fmla="*/ 0 h 18"/>
                  <a:gd name="T48" fmla="*/ 3 w 32"/>
                  <a:gd name="T49" fmla="*/ 0 h 18"/>
                  <a:gd name="T50" fmla="*/ 0 w 32"/>
                  <a:gd name="T51" fmla="*/ 1 h 18"/>
                  <a:gd name="T52" fmla="*/ 1 w 32"/>
                  <a:gd name="T53" fmla="*/ 4 h 18"/>
                  <a:gd name="T54" fmla="*/ 1 w 32"/>
                  <a:gd name="T55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2" h="18">
                    <a:moveTo>
                      <a:pt x="1" y="6"/>
                    </a:moveTo>
                    <a:lnTo>
                      <a:pt x="2" y="7"/>
                    </a:lnTo>
                    <a:lnTo>
                      <a:pt x="6" y="9"/>
                    </a:lnTo>
                    <a:lnTo>
                      <a:pt x="8" y="7"/>
                    </a:lnTo>
                    <a:lnTo>
                      <a:pt x="9" y="7"/>
                    </a:lnTo>
                    <a:lnTo>
                      <a:pt x="12" y="9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5" y="11"/>
                    </a:lnTo>
                    <a:lnTo>
                      <a:pt x="17" y="14"/>
                    </a:lnTo>
                    <a:lnTo>
                      <a:pt x="21" y="16"/>
                    </a:lnTo>
                    <a:lnTo>
                      <a:pt x="24" y="15"/>
                    </a:lnTo>
                    <a:lnTo>
                      <a:pt x="27" y="17"/>
                    </a:lnTo>
                    <a:lnTo>
                      <a:pt x="30" y="18"/>
                    </a:lnTo>
                    <a:lnTo>
                      <a:pt x="32" y="17"/>
                    </a:lnTo>
                    <a:lnTo>
                      <a:pt x="32" y="12"/>
                    </a:lnTo>
                    <a:lnTo>
                      <a:pt x="30" y="9"/>
                    </a:lnTo>
                    <a:lnTo>
                      <a:pt x="28" y="9"/>
                    </a:lnTo>
                    <a:lnTo>
                      <a:pt x="23" y="7"/>
                    </a:lnTo>
                    <a:lnTo>
                      <a:pt x="19" y="4"/>
                    </a:lnTo>
                    <a:lnTo>
                      <a:pt x="18" y="4"/>
                    </a:lnTo>
                    <a:lnTo>
                      <a:pt x="15" y="2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1" y="4"/>
                    </a:lnTo>
                    <a:lnTo>
                      <a:pt x="1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6" name="Freeform 195">
                <a:extLst>
                  <a:ext uri="{FF2B5EF4-FFF2-40B4-BE49-F238E27FC236}">
                    <a16:creationId xmlns:a16="http://schemas.microsoft.com/office/drawing/2014/main" id="{BE37F81E-A0D3-4F2F-B5D9-F2695F198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889" y="1268413"/>
                <a:ext cx="28575" cy="31750"/>
              </a:xfrm>
              <a:custGeom>
                <a:avLst/>
                <a:gdLst>
                  <a:gd name="T0" fmla="*/ 6 w 23"/>
                  <a:gd name="T1" fmla="*/ 25 h 25"/>
                  <a:gd name="T2" fmla="*/ 9 w 23"/>
                  <a:gd name="T3" fmla="*/ 21 h 25"/>
                  <a:gd name="T4" fmla="*/ 14 w 23"/>
                  <a:gd name="T5" fmla="*/ 19 h 25"/>
                  <a:gd name="T6" fmla="*/ 18 w 23"/>
                  <a:gd name="T7" fmla="*/ 13 h 25"/>
                  <a:gd name="T8" fmla="*/ 20 w 23"/>
                  <a:gd name="T9" fmla="*/ 7 h 25"/>
                  <a:gd name="T10" fmla="*/ 23 w 23"/>
                  <a:gd name="T11" fmla="*/ 4 h 25"/>
                  <a:gd name="T12" fmla="*/ 23 w 23"/>
                  <a:gd name="T13" fmla="*/ 2 h 25"/>
                  <a:gd name="T14" fmla="*/ 20 w 23"/>
                  <a:gd name="T15" fmla="*/ 0 h 25"/>
                  <a:gd name="T16" fmla="*/ 16 w 23"/>
                  <a:gd name="T17" fmla="*/ 3 h 25"/>
                  <a:gd name="T18" fmla="*/ 12 w 23"/>
                  <a:gd name="T19" fmla="*/ 1 h 25"/>
                  <a:gd name="T20" fmla="*/ 8 w 23"/>
                  <a:gd name="T21" fmla="*/ 1 h 25"/>
                  <a:gd name="T22" fmla="*/ 7 w 23"/>
                  <a:gd name="T23" fmla="*/ 5 h 25"/>
                  <a:gd name="T24" fmla="*/ 6 w 23"/>
                  <a:gd name="T25" fmla="*/ 8 h 25"/>
                  <a:gd name="T26" fmla="*/ 7 w 23"/>
                  <a:gd name="T27" fmla="*/ 9 h 25"/>
                  <a:gd name="T28" fmla="*/ 9 w 23"/>
                  <a:gd name="T29" fmla="*/ 8 h 25"/>
                  <a:gd name="T30" fmla="*/ 11 w 23"/>
                  <a:gd name="T31" fmla="*/ 14 h 25"/>
                  <a:gd name="T32" fmla="*/ 12 w 23"/>
                  <a:gd name="T33" fmla="*/ 15 h 25"/>
                  <a:gd name="T34" fmla="*/ 7 w 23"/>
                  <a:gd name="T35" fmla="*/ 16 h 25"/>
                  <a:gd name="T36" fmla="*/ 1 w 23"/>
                  <a:gd name="T37" fmla="*/ 19 h 25"/>
                  <a:gd name="T38" fmla="*/ 0 w 23"/>
                  <a:gd name="T39" fmla="*/ 21 h 25"/>
                  <a:gd name="T40" fmla="*/ 2 w 23"/>
                  <a:gd name="T41" fmla="*/ 24 h 25"/>
                  <a:gd name="T42" fmla="*/ 6 w 23"/>
                  <a:gd name="T4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3" h="25">
                    <a:moveTo>
                      <a:pt x="6" y="25"/>
                    </a:moveTo>
                    <a:cubicBezTo>
                      <a:pt x="9" y="21"/>
                      <a:pt x="9" y="21"/>
                      <a:pt x="9" y="21"/>
                    </a:cubicBezTo>
                    <a:cubicBezTo>
                      <a:pt x="9" y="21"/>
                      <a:pt x="14" y="20"/>
                      <a:pt x="14" y="19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6" y="3"/>
                      <a:pt x="16" y="3"/>
                      <a:pt x="16" y="3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24"/>
                      <a:pt x="2" y="24"/>
                      <a:pt x="2" y="24"/>
                    </a:cubicBezTo>
                    <a:lnTo>
                      <a:pt x="6" y="2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7" name="Freeform 196">
                <a:extLst>
                  <a:ext uri="{FF2B5EF4-FFF2-40B4-BE49-F238E27FC236}">
                    <a16:creationId xmlns:a16="http://schemas.microsoft.com/office/drawing/2014/main" id="{1DF8D224-E14B-40A3-8584-509FE8A4E6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7201" y="1355725"/>
                <a:ext cx="17463" cy="9525"/>
              </a:xfrm>
              <a:custGeom>
                <a:avLst/>
                <a:gdLst>
                  <a:gd name="T0" fmla="*/ 4 w 11"/>
                  <a:gd name="T1" fmla="*/ 1 h 6"/>
                  <a:gd name="T2" fmla="*/ 2 w 11"/>
                  <a:gd name="T3" fmla="*/ 0 h 6"/>
                  <a:gd name="T4" fmla="*/ 0 w 11"/>
                  <a:gd name="T5" fmla="*/ 0 h 6"/>
                  <a:gd name="T6" fmla="*/ 0 w 11"/>
                  <a:gd name="T7" fmla="*/ 3 h 6"/>
                  <a:gd name="T8" fmla="*/ 1 w 11"/>
                  <a:gd name="T9" fmla="*/ 4 h 6"/>
                  <a:gd name="T10" fmla="*/ 3 w 11"/>
                  <a:gd name="T11" fmla="*/ 4 h 6"/>
                  <a:gd name="T12" fmla="*/ 6 w 11"/>
                  <a:gd name="T13" fmla="*/ 6 h 6"/>
                  <a:gd name="T14" fmla="*/ 7 w 11"/>
                  <a:gd name="T15" fmla="*/ 6 h 6"/>
                  <a:gd name="T16" fmla="*/ 11 w 11"/>
                  <a:gd name="T17" fmla="*/ 4 h 6"/>
                  <a:gd name="T18" fmla="*/ 11 w 11"/>
                  <a:gd name="T19" fmla="*/ 2 h 6"/>
                  <a:gd name="T20" fmla="*/ 9 w 11"/>
                  <a:gd name="T21" fmla="*/ 1 h 6"/>
                  <a:gd name="T22" fmla="*/ 6 w 11"/>
                  <a:gd name="T23" fmla="*/ 3 h 6"/>
                  <a:gd name="T24" fmla="*/ 4 w 11"/>
                  <a:gd name="T2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6">
                    <a:moveTo>
                      <a:pt x="4" y="1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3" y="4"/>
                    </a:lnTo>
                    <a:lnTo>
                      <a:pt x="6" y="6"/>
                    </a:lnTo>
                    <a:lnTo>
                      <a:pt x="7" y="6"/>
                    </a:lnTo>
                    <a:lnTo>
                      <a:pt x="11" y="4"/>
                    </a:lnTo>
                    <a:lnTo>
                      <a:pt x="11" y="2"/>
                    </a:lnTo>
                    <a:lnTo>
                      <a:pt x="9" y="1"/>
                    </a:lnTo>
                    <a:lnTo>
                      <a:pt x="6" y="3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8" name="Freeform 197">
                <a:extLst>
                  <a:ext uri="{FF2B5EF4-FFF2-40B4-BE49-F238E27FC236}">
                    <a16:creationId xmlns:a16="http://schemas.microsoft.com/office/drawing/2014/main" id="{33BA6863-7122-466D-B8CD-565A4EAACE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7339" y="1682750"/>
                <a:ext cx="11113" cy="12700"/>
              </a:xfrm>
              <a:custGeom>
                <a:avLst/>
                <a:gdLst>
                  <a:gd name="T0" fmla="*/ 2 w 7"/>
                  <a:gd name="T1" fmla="*/ 7 h 8"/>
                  <a:gd name="T2" fmla="*/ 3 w 7"/>
                  <a:gd name="T3" fmla="*/ 5 h 8"/>
                  <a:gd name="T4" fmla="*/ 7 w 7"/>
                  <a:gd name="T5" fmla="*/ 2 h 8"/>
                  <a:gd name="T6" fmla="*/ 7 w 7"/>
                  <a:gd name="T7" fmla="*/ 0 h 8"/>
                  <a:gd name="T8" fmla="*/ 6 w 7"/>
                  <a:gd name="T9" fmla="*/ 0 h 8"/>
                  <a:gd name="T10" fmla="*/ 3 w 7"/>
                  <a:gd name="T11" fmla="*/ 2 h 8"/>
                  <a:gd name="T12" fmla="*/ 2 w 7"/>
                  <a:gd name="T13" fmla="*/ 3 h 8"/>
                  <a:gd name="T14" fmla="*/ 0 w 7"/>
                  <a:gd name="T15" fmla="*/ 5 h 8"/>
                  <a:gd name="T16" fmla="*/ 1 w 7"/>
                  <a:gd name="T17" fmla="*/ 8 h 8"/>
                  <a:gd name="T18" fmla="*/ 2 w 7"/>
                  <a:gd name="T1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8">
                    <a:moveTo>
                      <a:pt x="2" y="7"/>
                    </a:moveTo>
                    <a:lnTo>
                      <a:pt x="3" y="5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1" y="8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9" name="Freeform 198">
                <a:extLst>
                  <a:ext uri="{FF2B5EF4-FFF2-40B4-BE49-F238E27FC236}">
                    <a16:creationId xmlns:a16="http://schemas.microsoft.com/office/drawing/2014/main" id="{F9328FD1-E5F2-482A-BC38-BA99BAFAF2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6089" y="1235075"/>
                <a:ext cx="20638" cy="12700"/>
              </a:xfrm>
              <a:custGeom>
                <a:avLst/>
                <a:gdLst>
                  <a:gd name="T0" fmla="*/ 4 w 17"/>
                  <a:gd name="T1" fmla="*/ 11 h 11"/>
                  <a:gd name="T2" fmla="*/ 10 w 17"/>
                  <a:gd name="T3" fmla="*/ 11 h 11"/>
                  <a:gd name="T4" fmla="*/ 15 w 17"/>
                  <a:gd name="T5" fmla="*/ 9 h 11"/>
                  <a:gd name="T6" fmla="*/ 17 w 17"/>
                  <a:gd name="T7" fmla="*/ 6 h 11"/>
                  <a:gd name="T8" fmla="*/ 15 w 17"/>
                  <a:gd name="T9" fmla="*/ 1 h 11"/>
                  <a:gd name="T10" fmla="*/ 10 w 17"/>
                  <a:gd name="T11" fmla="*/ 0 h 11"/>
                  <a:gd name="T12" fmla="*/ 4 w 17"/>
                  <a:gd name="T13" fmla="*/ 0 h 11"/>
                  <a:gd name="T14" fmla="*/ 0 w 17"/>
                  <a:gd name="T15" fmla="*/ 5 h 11"/>
                  <a:gd name="T16" fmla="*/ 0 w 17"/>
                  <a:gd name="T17" fmla="*/ 8 h 11"/>
                  <a:gd name="T18" fmla="*/ 1 w 17"/>
                  <a:gd name="T19" fmla="*/ 10 h 11"/>
                  <a:gd name="T20" fmla="*/ 4 w 17"/>
                  <a:gd name="T2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" h="11">
                    <a:moveTo>
                      <a:pt x="4" y="11"/>
                    </a:moveTo>
                    <a:cubicBezTo>
                      <a:pt x="10" y="11"/>
                      <a:pt x="10" y="11"/>
                      <a:pt x="10" y="11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4" y="11"/>
                      <a:pt x="4" y="11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" name="Freeform 199">
                <a:extLst>
                  <a:ext uri="{FF2B5EF4-FFF2-40B4-BE49-F238E27FC236}">
                    <a16:creationId xmlns:a16="http://schemas.microsoft.com/office/drawing/2014/main" id="{DCFB80E2-C78C-4CD3-8F92-1585F43F59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7651" y="1581150"/>
                <a:ext cx="190500" cy="285750"/>
              </a:xfrm>
              <a:custGeom>
                <a:avLst/>
                <a:gdLst>
                  <a:gd name="T0" fmla="*/ 4 w 155"/>
                  <a:gd name="T1" fmla="*/ 210 h 233"/>
                  <a:gd name="T2" fmla="*/ 7 w 155"/>
                  <a:gd name="T3" fmla="*/ 221 h 233"/>
                  <a:gd name="T4" fmla="*/ 20 w 155"/>
                  <a:gd name="T5" fmla="*/ 210 h 233"/>
                  <a:gd name="T6" fmla="*/ 22 w 155"/>
                  <a:gd name="T7" fmla="*/ 212 h 233"/>
                  <a:gd name="T8" fmla="*/ 11 w 155"/>
                  <a:gd name="T9" fmla="*/ 226 h 233"/>
                  <a:gd name="T10" fmla="*/ 22 w 155"/>
                  <a:gd name="T11" fmla="*/ 230 h 233"/>
                  <a:gd name="T12" fmla="*/ 38 w 155"/>
                  <a:gd name="T13" fmla="*/ 231 h 233"/>
                  <a:gd name="T14" fmla="*/ 43 w 155"/>
                  <a:gd name="T15" fmla="*/ 232 h 233"/>
                  <a:gd name="T16" fmla="*/ 53 w 155"/>
                  <a:gd name="T17" fmla="*/ 219 h 233"/>
                  <a:gd name="T18" fmla="*/ 48 w 155"/>
                  <a:gd name="T19" fmla="*/ 201 h 233"/>
                  <a:gd name="T20" fmla="*/ 52 w 155"/>
                  <a:gd name="T21" fmla="*/ 198 h 233"/>
                  <a:gd name="T22" fmla="*/ 56 w 155"/>
                  <a:gd name="T23" fmla="*/ 196 h 233"/>
                  <a:gd name="T24" fmla="*/ 53 w 155"/>
                  <a:gd name="T25" fmla="*/ 188 h 233"/>
                  <a:gd name="T26" fmla="*/ 58 w 155"/>
                  <a:gd name="T27" fmla="*/ 184 h 233"/>
                  <a:gd name="T28" fmla="*/ 54 w 155"/>
                  <a:gd name="T29" fmla="*/ 163 h 233"/>
                  <a:gd name="T30" fmla="*/ 62 w 155"/>
                  <a:gd name="T31" fmla="*/ 159 h 233"/>
                  <a:gd name="T32" fmla="*/ 70 w 155"/>
                  <a:gd name="T33" fmla="*/ 157 h 233"/>
                  <a:gd name="T34" fmla="*/ 74 w 155"/>
                  <a:gd name="T35" fmla="*/ 152 h 233"/>
                  <a:gd name="T36" fmla="*/ 81 w 155"/>
                  <a:gd name="T37" fmla="*/ 138 h 233"/>
                  <a:gd name="T38" fmla="*/ 81 w 155"/>
                  <a:gd name="T39" fmla="*/ 130 h 233"/>
                  <a:gd name="T40" fmla="*/ 92 w 155"/>
                  <a:gd name="T41" fmla="*/ 107 h 233"/>
                  <a:gd name="T42" fmla="*/ 112 w 155"/>
                  <a:gd name="T43" fmla="*/ 83 h 233"/>
                  <a:gd name="T44" fmla="*/ 138 w 155"/>
                  <a:gd name="T45" fmla="*/ 59 h 233"/>
                  <a:gd name="T46" fmla="*/ 154 w 155"/>
                  <a:gd name="T47" fmla="*/ 45 h 233"/>
                  <a:gd name="T48" fmla="*/ 155 w 155"/>
                  <a:gd name="T49" fmla="*/ 27 h 233"/>
                  <a:gd name="T50" fmla="*/ 151 w 155"/>
                  <a:gd name="T51" fmla="*/ 12 h 233"/>
                  <a:gd name="T52" fmla="*/ 140 w 155"/>
                  <a:gd name="T53" fmla="*/ 2 h 233"/>
                  <a:gd name="T54" fmla="*/ 129 w 155"/>
                  <a:gd name="T55" fmla="*/ 3 h 233"/>
                  <a:gd name="T56" fmla="*/ 116 w 155"/>
                  <a:gd name="T57" fmla="*/ 14 h 233"/>
                  <a:gd name="T58" fmla="*/ 112 w 155"/>
                  <a:gd name="T59" fmla="*/ 29 h 233"/>
                  <a:gd name="T60" fmla="*/ 106 w 155"/>
                  <a:gd name="T61" fmla="*/ 39 h 233"/>
                  <a:gd name="T62" fmla="*/ 91 w 155"/>
                  <a:gd name="T63" fmla="*/ 49 h 233"/>
                  <a:gd name="T64" fmla="*/ 80 w 155"/>
                  <a:gd name="T65" fmla="*/ 55 h 233"/>
                  <a:gd name="T66" fmla="*/ 76 w 155"/>
                  <a:gd name="T67" fmla="*/ 60 h 233"/>
                  <a:gd name="T68" fmla="*/ 58 w 155"/>
                  <a:gd name="T69" fmla="*/ 61 h 233"/>
                  <a:gd name="T70" fmla="*/ 58 w 155"/>
                  <a:gd name="T71" fmla="*/ 74 h 233"/>
                  <a:gd name="T72" fmla="*/ 56 w 155"/>
                  <a:gd name="T73" fmla="*/ 70 h 233"/>
                  <a:gd name="T74" fmla="*/ 51 w 155"/>
                  <a:gd name="T75" fmla="*/ 81 h 233"/>
                  <a:gd name="T76" fmla="*/ 41 w 155"/>
                  <a:gd name="T77" fmla="*/ 91 h 233"/>
                  <a:gd name="T78" fmla="*/ 38 w 155"/>
                  <a:gd name="T79" fmla="*/ 103 h 233"/>
                  <a:gd name="T80" fmla="*/ 28 w 155"/>
                  <a:gd name="T81" fmla="*/ 117 h 233"/>
                  <a:gd name="T82" fmla="*/ 33 w 155"/>
                  <a:gd name="T83" fmla="*/ 125 h 233"/>
                  <a:gd name="T84" fmla="*/ 19 w 155"/>
                  <a:gd name="T85" fmla="*/ 130 h 233"/>
                  <a:gd name="T86" fmla="*/ 10 w 155"/>
                  <a:gd name="T87" fmla="*/ 136 h 233"/>
                  <a:gd name="T88" fmla="*/ 11 w 155"/>
                  <a:gd name="T89" fmla="*/ 147 h 233"/>
                  <a:gd name="T90" fmla="*/ 13 w 155"/>
                  <a:gd name="T91" fmla="*/ 156 h 233"/>
                  <a:gd name="T92" fmla="*/ 24 w 155"/>
                  <a:gd name="T93" fmla="*/ 156 h 233"/>
                  <a:gd name="T94" fmla="*/ 19 w 155"/>
                  <a:gd name="T95" fmla="*/ 159 h 233"/>
                  <a:gd name="T96" fmla="*/ 18 w 155"/>
                  <a:gd name="T97" fmla="*/ 170 h 233"/>
                  <a:gd name="T98" fmla="*/ 19 w 155"/>
                  <a:gd name="T99" fmla="*/ 175 h 233"/>
                  <a:gd name="T100" fmla="*/ 17 w 155"/>
                  <a:gd name="T101" fmla="*/ 180 h 233"/>
                  <a:gd name="T102" fmla="*/ 15 w 155"/>
                  <a:gd name="T103" fmla="*/ 186 h 233"/>
                  <a:gd name="T104" fmla="*/ 28 w 155"/>
                  <a:gd name="T105" fmla="*/ 194 h 233"/>
                  <a:gd name="T106" fmla="*/ 16 w 155"/>
                  <a:gd name="T107" fmla="*/ 189 h 233"/>
                  <a:gd name="T108" fmla="*/ 9 w 155"/>
                  <a:gd name="T109" fmla="*/ 198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55" h="233">
                    <a:moveTo>
                      <a:pt x="8" y="203"/>
                    </a:moveTo>
                    <a:cubicBezTo>
                      <a:pt x="7" y="202"/>
                      <a:pt x="7" y="202"/>
                      <a:pt x="7" y="202"/>
                    </a:cubicBezTo>
                    <a:cubicBezTo>
                      <a:pt x="5" y="205"/>
                      <a:pt x="5" y="205"/>
                      <a:pt x="5" y="205"/>
                    </a:cubicBezTo>
                    <a:cubicBezTo>
                      <a:pt x="4" y="209"/>
                      <a:pt x="4" y="209"/>
                      <a:pt x="4" y="209"/>
                    </a:cubicBezTo>
                    <a:cubicBezTo>
                      <a:pt x="4" y="210"/>
                      <a:pt x="4" y="210"/>
                      <a:pt x="4" y="210"/>
                    </a:cubicBezTo>
                    <a:cubicBezTo>
                      <a:pt x="3" y="212"/>
                      <a:pt x="3" y="212"/>
                      <a:pt x="3" y="212"/>
                    </a:cubicBezTo>
                    <a:cubicBezTo>
                      <a:pt x="0" y="213"/>
                      <a:pt x="0" y="213"/>
                      <a:pt x="0" y="213"/>
                    </a:cubicBezTo>
                    <a:cubicBezTo>
                      <a:pt x="0" y="215"/>
                      <a:pt x="0" y="215"/>
                      <a:pt x="0" y="215"/>
                    </a:cubicBezTo>
                    <a:cubicBezTo>
                      <a:pt x="4" y="219"/>
                      <a:pt x="4" y="219"/>
                      <a:pt x="4" y="219"/>
                    </a:cubicBezTo>
                    <a:cubicBezTo>
                      <a:pt x="7" y="221"/>
                      <a:pt x="7" y="221"/>
                      <a:pt x="7" y="221"/>
                    </a:cubicBezTo>
                    <a:cubicBezTo>
                      <a:pt x="9" y="220"/>
                      <a:pt x="9" y="220"/>
                      <a:pt x="9" y="220"/>
                    </a:cubicBezTo>
                    <a:cubicBezTo>
                      <a:pt x="10" y="218"/>
                      <a:pt x="10" y="218"/>
                      <a:pt x="10" y="218"/>
                    </a:cubicBezTo>
                    <a:cubicBezTo>
                      <a:pt x="12" y="216"/>
                      <a:pt x="12" y="216"/>
                      <a:pt x="12" y="216"/>
                    </a:cubicBezTo>
                    <a:cubicBezTo>
                      <a:pt x="17" y="212"/>
                      <a:pt x="17" y="212"/>
                      <a:pt x="17" y="212"/>
                    </a:cubicBezTo>
                    <a:cubicBezTo>
                      <a:pt x="20" y="210"/>
                      <a:pt x="20" y="210"/>
                      <a:pt x="20" y="210"/>
                    </a:cubicBezTo>
                    <a:cubicBezTo>
                      <a:pt x="24" y="210"/>
                      <a:pt x="24" y="210"/>
                      <a:pt x="24" y="210"/>
                    </a:cubicBezTo>
                    <a:cubicBezTo>
                      <a:pt x="26" y="212"/>
                      <a:pt x="26" y="212"/>
                      <a:pt x="26" y="212"/>
                    </a:cubicBezTo>
                    <a:cubicBezTo>
                      <a:pt x="26" y="214"/>
                      <a:pt x="26" y="214"/>
                      <a:pt x="26" y="214"/>
                    </a:cubicBezTo>
                    <a:cubicBezTo>
                      <a:pt x="24" y="215"/>
                      <a:pt x="24" y="215"/>
                      <a:pt x="24" y="215"/>
                    </a:cubicBezTo>
                    <a:cubicBezTo>
                      <a:pt x="22" y="212"/>
                      <a:pt x="22" y="212"/>
                      <a:pt x="22" y="212"/>
                    </a:cubicBezTo>
                    <a:cubicBezTo>
                      <a:pt x="20" y="212"/>
                      <a:pt x="20" y="212"/>
                      <a:pt x="20" y="212"/>
                    </a:cubicBezTo>
                    <a:cubicBezTo>
                      <a:pt x="19" y="215"/>
                      <a:pt x="19" y="215"/>
                      <a:pt x="19" y="215"/>
                    </a:cubicBezTo>
                    <a:cubicBezTo>
                      <a:pt x="14" y="218"/>
                      <a:pt x="14" y="218"/>
                      <a:pt x="14" y="218"/>
                    </a:cubicBezTo>
                    <a:cubicBezTo>
                      <a:pt x="12" y="222"/>
                      <a:pt x="12" y="222"/>
                      <a:pt x="12" y="222"/>
                    </a:cubicBezTo>
                    <a:cubicBezTo>
                      <a:pt x="11" y="226"/>
                      <a:pt x="11" y="226"/>
                      <a:pt x="11" y="226"/>
                    </a:cubicBezTo>
                    <a:cubicBezTo>
                      <a:pt x="12" y="229"/>
                      <a:pt x="12" y="229"/>
                      <a:pt x="12" y="229"/>
                    </a:cubicBezTo>
                    <a:cubicBezTo>
                      <a:pt x="11" y="231"/>
                      <a:pt x="11" y="231"/>
                      <a:pt x="11" y="231"/>
                    </a:cubicBezTo>
                    <a:cubicBezTo>
                      <a:pt x="11" y="231"/>
                      <a:pt x="11" y="233"/>
                      <a:pt x="11" y="233"/>
                    </a:cubicBezTo>
                    <a:cubicBezTo>
                      <a:pt x="16" y="233"/>
                      <a:pt x="16" y="233"/>
                      <a:pt x="16" y="233"/>
                    </a:cubicBezTo>
                    <a:cubicBezTo>
                      <a:pt x="22" y="230"/>
                      <a:pt x="22" y="230"/>
                      <a:pt x="22" y="230"/>
                    </a:cubicBezTo>
                    <a:cubicBezTo>
                      <a:pt x="26" y="228"/>
                      <a:pt x="26" y="228"/>
                      <a:pt x="26" y="228"/>
                    </a:cubicBezTo>
                    <a:cubicBezTo>
                      <a:pt x="29" y="229"/>
                      <a:pt x="29" y="229"/>
                      <a:pt x="29" y="229"/>
                    </a:cubicBezTo>
                    <a:cubicBezTo>
                      <a:pt x="31" y="231"/>
                      <a:pt x="31" y="231"/>
                      <a:pt x="31" y="231"/>
                    </a:cubicBezTo>
                    <a:cubicBezTo>
                      <a:pt x="35" y="232"/>
                      <a:pt x="35" y="232"/>
                      <a:pt x="35" y="232"/>
                    </a:cubicBezTo>
                    <a:cubicBezTo>
                      <a:pt x="38" y="231"/>
                      <a:pt x="38" y="231"/>
                      <a:pt x="38" y="231"/>
                    </a:cubicBezTo>
                    <a:cubicBezTo>
                      <a:pt x="36" y="228"/>
                      <a:pt x="36" y="228"/>
                      <a:pt x="36" y="228"/>
                    </a:cubicBezTo>
                    <a:cubicBezTo>
                      <a:pt x="37" y="225"/>
                      <a:pt x="37" y="225"/>
                      <a:pt x="37" y="225"/>
                    </a:cubicBezTo>
                    <a:cubicBezTo>
                      <a:pt x="38" y="226"/>
                      <a:pt x="38" y="226"/>
                      <a:pt x="38" y="226"/>
                    </a:cubicBezTo>
                    <a:cubicBezTo>
                      <a:pt x="40" y="230"/>
                      <a:pt x="40" y="230"/>
                      <a:pt x="40" y="230"/>
                    </a:cubicBezTo>
                    <a:cubicBezTo>
                      <a:pt x="43" y="232"/>
                      <a:pt x="43" y="232"/>
                      <a:pt x="43" y="232"/>
                    </a:cubicBezTo>
                    <a:cubicBezTo>
                      <a:pt x="48" y="232"/>
                      <a:pt x="48" y="232"/>
                      <a:pt x="48" y="232"/>
                    </a:cubicBezTo>
                    <a:cubicBezTo>
                      <a:pt x="49" y="229"/>
                      <a:pt x="49" y="229"/>
                      <a:pt x="49" y="229"/>
                    </a:cubicBezTo>
                    <a:cubicBezTo>
                      <a:pt x="52" y="229"/>
                      <a:pt x="52" y="229"/>
                      <a:pt x="52" y="229"/>
                    </a:cubicBezTo>
                    <a:cubicBezTo>
                      <a:pt x="54" y="223"/>
                      <a:pt x="54" y="223"/>
                      <a:pt x="54" y="223"/>
                    </a:cubicBezTo>
                    <a:cubicBezTo>
                      <a:pt x="53" y="219"/>
                      <a:pt x="53" y="219"/>
                      <a:pt x="53" y="219"/>
                    </a:cubicBezTo>
                    <a:cubicBezTo>
                      <a:pt x="56" y="214"/>
                      <a:pt x="56" y="214"/>
                      <a:pt x="56" y="214"/>
                    </a:cubicBezTo>
                    <a:cubicBezTo>
                      <a:pt x="56" y="210"/>
                      <a:pt x="56" y="210"/>
                      <a:pt x="56" y="210"/>
                    </a:cubicBezTo>
                    <a:cubicBezTo>
                      <a:pt x="54" y="207"/>
                      <a:pt x="54" y="207"/>
                      <a:pt x="54" y="207"/>
                    </a:cubicBezTo>
                    <a:cubicBezTo>
                      <a:pt x="52" y="202"/>
                      <a:pt x="52" y="202"/>
                      <a:pt x="52" y="202"/>
                    </a:cubicBezTo>
                    <a:cubicBezTo>
                      <a:pt x="48" y="201"/>
                      <a:pt x="48" y="201"/>
                      <a:pt x="48" y="201"/>
                    </a:cubicBezTo>
                    <a:cubicBezTo>
                      <a:pt x="46" y="201"/>
                      <a:pt x="46" y="201"/>
                      <a:pt x="46" y="201"/>
                    </a:cubicBezTo>
                    <a:cubicBezTo>
                      <a:pt x="45" y="199"/>
                      <a:pt x="45" y="199"/>
                      <a:pt x="45" y="199"/>
                    </a:cubicBezTo>
                    <a:cubicBezTo>
                      <a:pt x="47" y="198"/>
                      <a:pt x="47" y="198"/>
                      <a:pt x="47" y="198"/>
                    </a:cubicBezTo>
                    <a:cubicBezTo>
                      <a:pt x="50" y="199"/>
                      <a:pt x="50" y="199"/>
                      <a:pt x="50" y="199"/>
                    </a:cubicBezTo>
                    <a:cubicBezTo>
                      <a:pt x="52" y="198"/>
                      <a:pt x="52" y="198"/>
                      <a:pt x="52" y="198"/>
                    </a:cubicBezTo>
                    <a:cubicBezTo>
                      <a:pt x="54" y="201"/>
                      <a:pt x="54" y="201"/>
                      <a:pt x="54" y="201"/>
                    </a:cubicBezTo>
                    <a:cubicBezTo>
                      <a:pt x="54" y="204"/>
                      <a:pt x="54" y="204"/>
                      <a:pt x="54" y="204"/>
                    </a:cubicBezTo>
                    <a:cubicBezTo>
                      <a:pt x="56" y="205"/>
                      <a:pt x="56" y="205"/>
                      <a:pt x="56" y="205"/>
                    </a:cubicBezTo>
                    <a:cubicBezTo>
                      <a:pt x="58" y="202"/>
                      <a:pt x="58" y="202"/>
                      <a:pt x="58" y="202"/>
                    </a:cubicBezTo>
                    <a:cubicBezTo>
                      <a:pt x="56" y="196"/>
                      <a:pt x="56" y="196"/>
                      <a:pt x="56" y="196"/>
                    </a:cubicBezTo>
                    <a:cubicBezTo>
                      <a:pt x="52" y="190"/>
                      <a:pt x="52" y="190"/>
                      <a:pt x="52" y="190"/>
                    </a:cubicBezTo>
                    <a:cubicBezTo>
                      <a:pt x="49" y="184"/>
                      <a:pt x="49" y="184"/>
                      <a:pt x="49" y="184"/>
                    </a:cubicBezTo>
                    <a:cubicBezTo>
                      <a:pt x="50" y="181"/>
                      <a:pt x="50" y="181"/>
                      <a:pt x="50" y="181"/>
                    </a:cubicBezTo>
                    <a:cubicBezTo>
                      <a:pt x="52" y="185"/>
                      <a:pt x="52" y="185"/>
                      <a:pt x="52" y="185"/>
                    </a:cubicBezTo>
                    <a:cubicBezTo>
                      <a:pt x="53" y="188"/>
                      <a:pt x="53" y="188"/>
                      <a:pt x="53" y="188"/>
                    </a:cubicBezTo>
                    <a:cubicBezTo>
                      <a:pt x="56" y="190"/>
                      <a:pt x="56" y="190"/>
                      <a:pt x="56" y="190"/>
                    </a:cubicBezTo>
                    <a:cubicBezTo>
                      <a:pt x="59" y="191"/>
                      <a:pt x="59" y="191"/>
                      <a:pt x="59" y="191"/>
                    </a:cubicBezTo>
                    <a:cubicBezTo>
                      <a:pt x="60" y="188"/>
                      <a:pt x="60" y="188"/>
                      <a:pt x="60" y="188"/>
                    </a:cubicBezTo>
                    <a:cubicBezTo>
                      <a:pt x="60" y="185"/>
                      <a:pt x="60" y="185"/>
                      <a:pt x="60" y="185"/>
                    </a:cubicBezTo>
                    <a:cubicBezTo>
                      <a:pt x="58" y="184"/>
                      <a:pt x="58" y="184"/>
                      <a:pt x="58" y="184"/>
                    </a:cubicBezTo>
                    <a:cubicBezTo>
                      <a:pt x="59" y="181"/>
                      <a:pt x="59" y="181"/>
                      <a:pt x="59" y="181"/>
                    </a:cubicBezTo>
                    <a:cubicBezTo>
                      <a:pt x="61" y="177"/>
                      <a:pt x="61" y="177"/>
                      <a:pt x="61" y="177"/>
                    </a:cubicBezTo>
                    <a:cubicBezTo>
                      <a:pt x="60" y="173"/>
                      <a:pt x="60" y="173"/>
                      <a:pt x="60" y="173"/>
                    </a:cubicBezTo>
                    <a:cubicBezTo>
                      <a:pt x="58" y="168"/>
                      <a:pt x="58" y="168"/>
                      <a:pt x="58" y="168"/>
                    </a:cubicBezTo>
                    <a:cubicBezTo>
                      <a:pt x="54" y="163"/>
                      <a:pt x="54" y="163"/>
                      <a:pt x="54" y="163"/>
                    </a:cubicBezTo>
                    <a:cubicBezTo>
                      <a:pt x="56" y="162"/>
                      <a:pt x="56" y="162"/>
                      <a:pt x="56" y="162"/>
                    </a:cubicBezTo>
                    <a:cubicBezTo>
                      <a:pt x="59" y="165"/>
                      <a:pt x="59" y="165"/>
                      <a:pt x="59" y="165"/>
                    </a:cubicBezTo>
                    <a:cubicBezTo>
                      <a:pt x="62" y="165"/>
                      <a:pt x="62" y="165"/>
                      <a:pt x="62" y="165"/>
                    </a:cubicBezTo>
                    <a:cubicBezTo>
                      <a:pt x="63" y="160"/>
                      <a:pt x="63" y="160"/>
                      <a:pt x="63" y="160"/>
                    </a:cubicBezTo>
                    <a:cubicBezTo>
                      <a:pt x="62" y="159"/>
                      <a:pt x="62" y="159"/>
                      <a:pt x="62" y="159"/>
                    </a:cubicBezTo>
                    <a:cubicBezTo>
                      <a:pt x="60" y="159"/>
                      <a:pt x="60" y="159"/>
                      <a:pt x="60" y="159"/>
                    </a:cubicBezTo>
                    <a:cubicBezTo>
                      <a:pt x="60" y="153"/>
                      <a:pt x="60" y="153"/>
                      <a:pt x="60" y="153"/>
                    </a:cubicBezTo>
                    <a:cubicBezTo>
                      <a:pt x="63" y="152"/>
                      <a:pt x="63" y="152"/>
                      <a:pt x="63" y="152"/>
                    </a:cubicBezTo>
                    <a:cubicBezTo>
                      <a:pt x="66" y="155"/>
                      <a:pt x="66" y="155"/>
                      <a:pt x="66" y="155"/>
                    </a:cubicBezTo>
                    <a:cubicBezTo>
                      <a:pt x="70" y="157"/>
                      <a:pt x="70" y="157"/>
                      <a:pt x="70" y="157"/>
                    </a:cubicBezTo>
                    <a:cubicBezTo>
                      <a:pt x="72" y="155"/>
                      <a:pt x="72" y="155"/>
                      <a:pt x="72" y="155"/>
                    </a:cubicBezTo>
                    <a:cubicBezTo>
                      <a:pt x="69" y="153"/>
                      <a:pt x="69" y="153"/>
                      <a:pt x="69" y="153"/>
                    </a:cubicBezTo>
                    <a:cubicBezTo>
                      <a:pt x="69" y="150"/>
                      <a:pt x="69" y="150"/>
                      <a:pt x="69" y="150"/>
                    </a:cubicBezTo>
                    <a:cubicBezTo>
                      <a:pt x="72" y="150"/>
                      <a:pt x="72" y="150"/>
                      <a:pt x="72" y="150"/>
                    </a:cubicBezTo>
                    <a:cubicBezTo>
                      <a:pt x="74" y="152"/>
                      <a:pt x="74" y="152"/>
                      <a:pt x="74" y="152"/>
                    </a:cubicBezTo>
                    <a:cubicBezTo>
                      <a:pt x="76" y="149"/>
                      <a:pt x="76" y="149"/>
                      <a:pt x="76" y="149"/>
                    </a:cubicBezTo>
                    <a:cubicBezTo>
                      <a:pt x="77" y="144"/>
                      <a:pt x="77" y="144"/>
                      <a:pt x="77" y="144"/>
                    </a:cubicBezTo>
                    <a:cubicBezTo>
                      <a:pt x="76" y="143"/>
                      <a:pt x="76" y="143"/>
                      <a:pt x="76" y="143"/>
                    </a:cubicBezTo>
                    <a:cubicBezTo>
                      <a:pt x="76" y="141"/>
                      <a:pt x="76" y="141"/>
                      <a:pt x="76" y="141"/>
                    </a:cubicBezTo>
                    <a:cubicBezTo>
                      <a:pt x="81" y="138"/>
                      <a:pt x="81" y="138"/>
                      <a:pt x="81" y="138"/>
                    </a:cubicBezTo>
                    <a:cubicBezTo>
                      <a:pt x="82" y="135"/>
                      <a:pt x="82" y="135"/>
                      <a:pt x="82" y="135"/>
                    </a:cubicBezTo>
                    <a:cubicBezTo>
                      <a:pt x="79" y="133"/>
                      <a:pt x="79" y="133"/>
                      <a:pt x="79" y="133"/>
                    </a:cubicBezTo>
                    <a:cubicBezTo>
                      <a:pt x="77" y="130"/>
                      <a:pt x="77" y="130"/>
                      <a:pt x="77" y="130"/>
                    </a:cubicBezTo>
                    <a:cubicBezTo>
                      <a:pt x="79" y="126"/>
                      <a:pt x="79" y="126"/>
                      <a:pt x="79" y="126"/>
                    </a:cubicBezTo>
                    <a:cubicBezTo>
                      <a:pt x="81" y="130"/>
                      <a:pt x="81" y="130"/>
                      <a:pt x="81" y="130"/>
                    </a:cubicBezTo>
                    <a:cubicBezTo>
                      <a:pt x="83" y="127"/>
                      <a:pt x="83" y="127"/>
                      <a:pt x="83" y="127"/>
                    </a:cubicBezTo>
                    <a:cubicBezTo>
                      <a:pt x="88" y="120"/>
                      <a:pt x="88" y="120"/>
                      <a:pt x="88" y="120"/>
                    </a:cubicBezTo>
                    <a:cubicBezTo>
                      <a:pt x="90" y="115"/>
                      <a:pt x="90" y="115"/>
                      <a:pt x="90" y="115"/>
                    </a:cubicBezTo>
                    <a:cubicBezTo>
                      <a:pt x="92" y="112"/>
                      <a:pt x="92" y="112"/>
                      <a:pt x="92" y="112"/>
                    </a:cubicBezTo>
                    <a:cubicBezTo>
                      <a:pt x="92" y="107"/>
                      <a:pt x="92" y="107"/>
                      <a:pt x="92" y="107"/>
                    </a:cubicBezTo>
                    <a:cubicBezTo>
                      <a:pt x="97" y="103"/>
                      <a:pt x="97" y="103"/>
                      <a:pt x="97" y="103"/>
                    </a:cubicBezTo>
                    <a:cubicBezTo>
                      <a:pt x="100" y="97"/>
                      <a:pt x="100" y="97"/>
                      <a:pt x="100" y="97"/>
                    </a:cubicBezTo>
                    <a:cubicBezTo>
                      <a:pt x="102" y="89"/>
                      <a:pt x="102" y="89"/>
                      <a:pt x="102" y="89"/>
                    </a:cubicBezTo>
                    <a:cubicBezTo>
                      <a:pt x="105" y="89"/>
                      <a:pt x="105" y="89"/>
                      <a:pt x="105" y="89"/>
                    </a:cubicBezTo>
                    <a:cubicBezTo>
                      <a:pt x="112" y="83"/>
                      <a:pt x="112" y="83"/>
                      <a:pt x="112" y="83"/>
                    </a:cubicBezTo>
                    <a:cubicBezTo>
                      <a:pt x="119" y="73"/>
                      <a:pt x="119" y="73"/>
                      <a:pt x="119" y="73"/>
                    </a:cubicBezTo>
                    <a:cubicBezTo>
                      <a:pt x="125" y="67"/>
                      <a:pt x="125" y="67"/>
                      <a:pt x="125" y="67"/>
                    </a:cubicBezTo>
                    <a:cubicBezTo>
                      <a:pt x="127" y="66"/>
                      <a:pt x="127" y="66"/>
                      <a:pt x="127" y="66"/>
                    </a:cubicBezTo>
                    <a:cubicBezTo>
                      <a:pt x="132" y="61"/>
                      <a:pt x="132" y="61"/>
                      <a:pt x="132" y="61"/>
                    </a:cubicBezTo>
                    <a:cubicBezTo>
                      <a:pt x="138" y="59"/>
                      <a:pt x="138" y="59"/>
                      <a:pt x="138" y="59"/>
                    </a:cubicBezTo>
                    <a:cubicBezTo>
                      <a:pt x="141" y="56"/>
                      <a:pt x="141" y="56"/>
                      <a:pt x="141" y="56"/>
                    </a:cubicBezTo>
                    <a:cubicBezTo>
                      <a:pt x="146" y="48"/>
                      <a:pt x="146" y="48"/>
                      <a:pt x="146" y="48"/>
                    </a:cubicBezTo>
                    <a:cubicBezTo>
                      <a:pt x="149" y="46"/>
                      <a:pt x="149" y="46"/>
                      <a:pt x="149" y="46"/>
                    </a:cubicBezTo>
                    <a:cubicBezTo>
                      <a:pt x="151" y="47"/>
                      <a:pt x="151" y="47"/>
                      <a:pt x="151" y="47"/>
                    </a:cubicBezTo>
                    <a:cubicBezTo>
                      <a:pt x="154" y="45"/>
                      <a:pt x="154" y="45"/>
                      <a:pt x="154" y="45"/>
                    </a:cubicBezTo>
                    <a:cubicBezTo>
                      <a:pt x="154" y="42"/>
                      <a:pt x="154" y="42"/>
                      <a:pt x="154" y="42"/>
                    </a:cubicBezTo>
                    <a:cubicBezTo>
                      <a:pt x="153" y="40"/>
                      <a:pt x="153" y="40"/>
                      <a:pt x="153" y="40"/>
                    </a:cubicBezTo>
                    <a:cubicBezTo>
                      <a:pt x="155" y="36"/>
                      <a:pt x="155" y="36"/>
                      <a:pt x="155" y="36"/>
                    </a:cubicBezTo>
                    <a:cubicBezTo>
                      <a:pt x="155" y="33"/>
                      <a:pt x="155" y="33"/>
                      <a:pt x="155" y="33"/>
                    </a:cubicBezTo>
                    <a:cubicBezTo>
                      <a:pt x="155" y="27"/>
                      <a:pt x="155" y="27"/>
                      <a:pt x="155" y="27"/>
                    </a:cubicBezTo>
                    <a:cubicBezTo>
                      <a:pt x="153" y="26"/>
                      <a:pt x="153" y="26"/>
                      <a:pt x="153" y="26"/>
                    </a:cubicBezTo>
                    <a:cubicBezTo>
                      <a:pt x="151" y="25"/>
                      <a:pt x="151" y="25"/>
                      <a:pt x="151" y="25"/>
                    </a:cubicBezTo>
                    <a:cubicBezTo>
                      <a:pt x="151" y="20"/>
                      <a:pt x="151" y="20"/>
                      <a:pt x="151" y="20"/>
                    </a:cubicBezTo>
                    <a:cubicBezTo>
                      <a:pt x="152" y="14"/>
                      <a:pt x="152" y="14"/>
                      <a:pt x="152" y="14"/>
                    </a:cubicBezTo>
                    <a:cubicBezTo>
                      <a:pt x="151" y="12"/>
                      <a:pt x="151" y="12"/>
                      <a:pt x="151" y="12"/>
                    </a:cubicBezTo>
                    <a:cubicBezTo>
                      <a:pt x="148" y="12"/>
                      <a:pt x="148" y="12"/>
                      <a:pt x="148" y="12"/>
                    </a:cubicBezTo>
                    <a:cubicBezTo>
                      <a:pt x="146" y="9"/>
                      <a:pt x="146" y="9"/>
                      <a:pt x="146" y="9"/>
                    </a:cubicBezTo>
                    <a:cubicBezTo>
                      <a:pt x="142" y="9"/>
                      <a:pt x="142" y="9"/>
                      <a:pt x="142" y="9"/>
                    </a:cubicBezTo>
                    <a:cubicBezTo>
                      <a:pt x="140" y="6"/>
                      <a:pt x="140" y="6"/>
                      <a:pt x="140" y="6"/>
                    </a:cubicBezTo>
                    <a:cubicBezTo>
                      <a:pt x="140" y="2"/>
                      <a:pt x="140" y="2"/>
                      <a:pt x="140" y="2"/>
                    </a:cubicBezTo>
                    <a:cubicBezTo>
                      <a:pt x="139" y="0"/>
                      <a:pt x="139" y="0"/>
                      <a:pt x="139" y="0"/>
                    </a:cubicBezTo>
                    <a:cubicBezTo>
                      <a:pt x="135" y="3"/>
                      <a:pt x="135" y="3"/>
                      <a:pt x="135" y="3"/>
                    </a:cubicBezTo>
                    <a:cubicBezTo>
                      <a:pt x="134" y="5"/>
                      <a:pt x="134" y="5"/>
                      <a:pt x="134" y="5"/>
                    </a:cubicBezTo>
                    <a:cubicBezTo>
                      <a:pt x="132" y="4"/>
                      <a:pt x="132" y="4"/>
                      <a:pt x="132" y="4"/>
                    </a:cubicBezTo>
                    <a:cubicBezTo>
                      <a:pt x="129" y="3"/>
                      <a:pt x="129" y="3"/>
                      <a:pt x="129" y="3"/>
                    </a:cubicBezTo>
                    <a:cubicBezTo>
                      <a:pt x="126" y="4"/>
                      <a:pt x="126" y="4"/>
                      <a:pt x="126" y="4"/>
                    </a:cubicBezTo>
                    <a:cubicBezTo>
                      <a:pt x="121" y="7"/>
                      <a:pt x="121" y="7"/>
                      <a:pt x="121" y="7"/>
                    </a:cubicBezTo>
                    <a:cubicBezTo>
                      <a:pt x="120" y="11"/>
                      <a:pt x="120" y="11"/>
                      <a:pt x="120" y="11"/>
                    </a:cubicBezTo>
                    <a:cubicBezTo>
                      <a:pt x="118" y="13"/>
                      <a:pt x="118" y="13"/>
                      <a:pt x="118" y="13"/>
                    </a:cubicBezTo>
                    <a:cubicBezTo>
                      <a:pt x="116" y="14"/>
                      <a:pt x="116" y="14"/>
                      <a:pt x="116" y="14"/>
                    </a:cubicBezTo>
                    <a:cubicBezTo>
                      <a:pt x="114" y="16"/>
                      <a:pt x="114" y="16"/>
                      <a:pt x="114" y="16"/>
                    </a:cubicBezTo>
                    <a:cubicBezTo>
                      <a:pt x="113" y="19"/>
                      <a:pt x="113" y="19"/>
                      <a:pt x="113" y="19"/>
                    </a:cubicBezTo>
                    <a:cubicBezTo>
                      <a:pt x="110" y="23"/>
                      <a:pt x="110" y="23"/>
                      <a:pt x="110" y="23"/>
                    </a:cubicBezTo>
                    <a:cubicBezTo>
                      <a:pt x="110" y="25"/>
                      <a:pt x="110" y="25"/>
                      <a:pt x="110" y="25"/>
                    </a:cubicBezTo>
                    <a:cubicBezTo>
                      <a:pt x="112" y="29"/>
                      <a:pt x="112" y="29"/>
                      <a:pt x="112" y="29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09" y="32"/>
                      <a:pt x="109" y="32"/>
                      <a:pt x="109" y="32"/>
                    </a:cubicBezTo>
                    <a:cubicBezTo>
                      <a:pt x="108" y="35"/>
                      <a:pt x="108" y="35"/>
                      <a:pt x="108" y="35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06" y="39"/>
                      <a:pt x="106" y="39"/>
                      <a:pt x="106" y="39"/>
                    </a:cubicBezTo>
                    <a:cubicBezTo>
                      <a:pt x="104" y="43"/>
                      <a:pt x="104" y="43"/>
                      <a:pt x="104" y="43"/>
                    </a:cubicBezTo>
                    <a:cubicBezTo>
                      <a:pt x="98" y="48"/>
                      <a:pt x="98" y="48"/>
                      <a:pt x="98" y="48"/>
                    </a:cubicBezTo>
                    <a:cubicBezTo>
                      <a:pt x="95" y="50"/>
                      <a:pt x="95" y="50"/>
                      <a:pt x="95" y="50"/>
                    </a:cubicBezTo>
                    <a:cubicBezTo>
                      <a:pt x="94" y="49"/>
                      <a:pt x="94" y="49"/>
                      <a:pt x="94" y="49"/>
                    </a:cubicBezTo>
                    <a:cubicBezTo>
                      <a:pt x="91" y="49"/>
                      <a:pt x="91" y="49"/>
                      <a:pt x="91" y="49"/>
                    </a:cubicBezTo>
                    <a:cubicBezTo>
                      <a:pt x="88" y="51"/>
                      <a:pt x="88" y="51"/>
                      <a:pt x="88" y="51"/>
                    </a:cubicBezTo>
                    <a:cubicBezTo>
                      <a:pt x="85" y="57"/>
                      <a:pt x="85" y="57"/>
                      <a:pt x="85" y="57"/>
                    </a:cubicBezTo>
                    <a:cubicBezTo>
                      <a:pt x="83" y="59"/>
                      <a:pt x="83" y="59"/>
                      <a:pt x="83" y="59"/>
                    </a:cubicBezTo>
                    <a:cubicBezTo>
                      <a:pt x="81" y="58"/>
                      <a:pt x="81" y="58"/>
                      <a:pt x="81" y="58"/>
                    </a:cubicBezTo>
                    <a:cubicBezTo>
                      <a:pt x="80" y="55"/>
                      <a:pt x="80" y="55"/>
                      <a:pt x="80" y="55"/>
                    </a:cubicBezTo>
                    <a:cubicBezTo>
                      <a:pt x="78" y="55"/>
                      <a:pt x="78" y="55"/>
                      <a:pt x="78" y="55"/>
                    </a:cubicBezTo>
                    <a:cubicBezTo>
                      <a:pt x="78" y="57"/>
                      <a:pt x="78" y="57"/>
                      <a:pt x="78" y="57"/>
                    </a:cubicBezTo>
                    <a:cubicBezTo>
                      <a:pt x="78" y="62"/>
                      <a:pt x="78" y="62"/>
                      <a:pt x="78" y="62"/>
                    </a:cubicBezTo>
                    <a:cubicBezTo>
                      <a:pt x="77" y="64"/>
                      <a:pt x="77" y="64"/>
                      <a:pt x="77" y="64"/>
                    </a:cubicBezTo>
                    <a:cubicBezTo>
                      <a:pt x="76" y="60"/>
                      <a:pt x="76" y="60"/>
                      <a:pt x="76" y="60"/>
                    </a:cubicBezTo>
                    <a:cubicBezTo>
                      <a:pt x="74" y="56"/>
                      <a:pt x="74" y="56"/>
                      <a:pt x="74" y="56"/>
                    </a:cubicBezTo>
                    <a:cubicBezTo>
                      <a:pt x="69" y="57"/>
                      <a:pt x="69" y="57"/>
                      <a:pt x="69" y="57"/>
                    </a:cubicBezTo>
                    <a:cubicBezTo>
                      <a:pt x="62" y="59"/>
                      <a:pt x="62" y="59"/>
                      <a:pt x="62" y="59"/>
                    </a:cubicBezTo>
                    <a:cubicBezTo>
                      <a:pt x="61" y="61"/>
                      <a:pt x="61" y="61"/>
                      <a:pt x="61" y="61"/>
                    </a:cubicBezTo>
                    <a:cubicBezTo>
                      <a:pt x="58" y="61"/>
                      <a:pt x="58" y="61"/>
                      <a:pt x="58" y="61"/>
                    </a:cubicBezTo>
                    <a:cubicBezTo>
                      <a:pt x="57" y="64"/>
                      <a:pt x="57" y="64"/>
                      <a:pt x="57" y="64"/>
                    </a:cubicBezTo>
                    <a:cubicBezTo>
                      <a:pt x="59" y="69"/>
                      <a:pt x="59" y="69"/>
                      <a:pt x="59" y="69"/>
                    </a:cubicBezTo>
                    <a:cubicBezTo>
                      <a:pt x="61" y="71"/>
                      <a:pt x="61" y="71"/>
                      <a:pt x="61" y="71"/>
                    </a:cubicBezTo>
                    <a:cubicBezTo>
                      <a:pt x="60" y="73"/>
                      <a:pt x="60" y="73"/>
                      <a:pt x="60" y="73"/>
                    </a:cubicBezTo>
                    <a:cubicBezTo>
                      <a:pt x="58" y="74"/>
                      <a:pt x="58" y="74"/>
                      <a:pt x="58" y="74"/>
                    </a:cubicBezTo>
                    <a:cubicBezTo>
                      <a:pt x="56" y="77"/>
                      <a:pt x="56" y="77"/>
                      <a:pt x="56" y="77"/>
                    </a:cubicBezTo>
                    <a:cubicBezTo>
                      <a:pt x="55" y="77"/>
                      <a:pt x="55" y="77"/>
                      <a:pt x="55" y="77"/>
                    </a:cubicBezTo>
                    <a:cubicBezTo>
                      <a:pt x="55" y="74"/>
                      <a:pt x="55" y="74"/>
                      <a:pt x="55" y="74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56" y="70"/>
                      <a:pt x="56" y="70"/>
                      <a:pt x="56" y="70"/>
                    </a:cubicBezTo>
                    <a:cubicBezTo>
                      <a:pt x="54" y="70"/>
                      <a:pt x="54" y="70"/>
                      <a:pt x="54" y="70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48" y="77"/>
                      <a:pt x="48" y="77"/>
                      <a:pt x="48" y="77"/>
                    </a:cubicBezTo>
                    <a:cubicBezTo>
                      <a:pt x="49" y="80"/>
                      <a:pt x="49" y="80"/>
                      <a:pt x="49" y="80"/>
                    </a:cubicBezTo>
                    <a:cubicBezTo>
                      <a:pt x="51" y="81"/>
                      <a:pt x="51" y="81"/>
                      <a:pt x="51" y="81"/>
                    </a:cubicBezTo>
                    <a:cubicBezTo>
                      <a:pt x="49" y="83"/>
                      <a:pt x="49" y="83"/>
                      <a:pt x="49" y="83"/>
                    </a:cubicBezTo>
                    <a:cubicBezTo>
                      <a:pt x="48" y="87"/>
                      <a:pt x="48" y="87"/>
                      <a:pt x="48" y="87"/>
                    </a:cubicBezTo>
                    <a:cubicBezTo>
                      <a:pt x="44" y="87"/>
                      <a:pt x="44" y="87"/>
                      <a:pt x="44" y="87"/>
                    </a:cubicBezTo>
                    <a:cubicBezTo>
                      <a:pt x="41" y="89"/>
                      <a:pt x="41" y="89"/>
                      <a:pt x="41" y="89"/>
                    </a:cubicBezTo>
                    <a:cubicBezTo>
                      <a:pt x="41" y="91"/>
                      <a:pt x="41" y="91"/>
                      <a:pt x="41" y="91"/>
                    </a:cubicBezTo>
                    <a:cubicBezTo>
                      <a:pt x="38" y="93"/>
                      <a:pt x="38" y="93"/>
                      <a:pt x="38" y="93"/>
                    </a:cubicBezTo>
                    <a:cubicBezTo>
                      <a:pt x="35" y="95"/>
                      <a:pt x="35" y="95"/>
                      <a:pt x="35" y="95"/>
                    </a:cubicBezTo>
                    <a:cubicBezTo>
                      <a:pt x="35" y="101"/>
                      <a:pt x="35" y="101"/>
                      <a:pt x="35" y="101"/>
                    </a:cubicBezTo>
                    <a:cubicBezTo>
                      <a:pt x="36" y="103"/>
                      <a:pt x="36" y="103"/>
                      <a:pt x="36" y="103"/>
                    </a:cubicBezTo>
                    <a:cubicBezTo>
                      <a:pt x="38" y="103"/>
                      <a:pt x="38" y="103"/>
                      <a:pt x="38" y="103"/>
                    </a:cubicBezTo>
                    <a:cubicBezTo>
                      <a:pt x="35" y="106"/>
                      <a:pt x="35" y="106"/>
                      <a:pt x="35" y="106"/>
                    </a:cubicBezTo>
                    <a:cubicBezTo>
                      <a:pt x="30" y="106"/>
                      <a:pt x="30" y="106"/>
                      <a:pt x="30" y="106"/>
                    </a:cubicBezTo>
                    <a:cubicBezTo>
                      <a:pt x="28" y="108"/>
                      <a:pt x="28" y="108"/>
                      <a:pt x="28" y="108"/>
                    </a:cubicBezTo>
                    <a:cubicBezTo>
                      <a:pt x="27" y="114"/>
                      <a:pt x="27" y="114"/>
                      <a:pt x="27" y="114"/>
                    </a:cubicBezTo>
                    <a:cubicBezTo>
                      <a:pt x="28" y="117"/>
                      <a:pt x="28" y="117"/>
                      <a:pt x="28" y="117"/>
                    </a:cubicBezTo>
                    <a:cubicBezTo>
                      <a:pt x="29" y="117"/>
                      <a:pt x="29" y="117"/>
                      <a:pt x="29" y="117"/>
                    </a:cubicBezTo>
                    <a:cubicBezTo>
                      <a:pt x="32" y="117"/>
                      <a:pt x="32" y="117"/>
                      <a:pt x="32" y="117"/>
                    </a:cubicBezTo>
                    <a:cubicBezTo>
                      <a:pt x="33" y="119"/>
                      <a:pt x="33" y="119"/>
                      <a:pt x="33" y="119"/>
                    </a:cubicBezTo>
                    <a:cubicBezTo>
                      <a:pt x="33" y="121"/>
                      <a:pt x="33" y="121"/>
                      <a:pt x="33" y="121"/>
                    </a:cubicBezTo>
                    <a:cubicBezTo>
                      <a:pt x="33" y="125"/>
                      <a:pt x="33" y="125"/>
                      <a:pt x="33" y="125"/>
                    </a:cubicBezTo>
                    <a:cubicBezTo>
                      <a:pt x="31" y="127"/>
                      <a:pt x="31" y="127"/>
                      <a:pt x="31" y="127"/>
                    </a:cubicBezTo>
                    <a:cubicBezTo>
                      <a:pt x="28" y="126"/>
                      <a:pt x="28" y="126"/>
                      <a:pt x="28" y="126"/>
                    </a:cubicBezTo>
                    <a:cubicBezTo>
                      <a:pt x="24" y="125"/>
                      <a:pt x="24" y="125"/>
                      <a:pt x="24" y="125"/>
                    </a:cubicBezTo>
                    <a:cubicBezTo>
                      <a:pt x="20" y="127"/>
                      <a:pt x="20" y="127"/>
                      <a:pt x="20" y="127"/>
                    </a:cubicBezTo>
                    <a:cubicBezTo>
                      <a:pt x="19" y="130"/>
                      <a:pt x="19" y="130"/>
                      <a:pt x="19" y="130"/>
                    </a:cubicBezTo>
                    <a:cubicBezTo>
                      <a:pt x="19" y="133"/>
                      <a:pt x="19" y="133"/>
                      <a:pt x="19" y="133"/>
                    </a:cubicBezTo>
                    <a:cubicBezTo>
                      <a:pt x="18" y="137"/>
                      <a:pt x="18" y="137"/>
                      <a:pt x="18" y="137"/>
                    </a:cubicBezTo>
                    <a:cubicBezTo>
                      <a:pt x="14" y="140"/>
                      <a:pt x="14" y="140"/>
                      <a:pt x="14" y="140"/>
                    </a:cubicBezTo>
                    <a:cubicBezTo>
                      <a:pt x="12" y="139"/>
                      <a:pt x="12" y="139"/>
                      <a:pt x="12" y="139"/>
                    </a:cubicBezTo>
                    <a:cubicBezTo>
                      <a:pt x="10" y="136"/>
                      <a:pt x="10" y="136"/>
                      <a:pt x="10" y="136"/>
                    </a:cubicBezTo>
                    <a:cubicBezTo>
                      <a:pt x="9" y="133"/>
                      <a:pt x="9" y="133"/>
                      <a:pt x="9" y="133"/>
                    </a:cubicBezTo>
                    <a:cubicBezTo>
                      <a:pt x="8" y="134"/>
                      <a:pt x="8" y="134"/>
                      <a:pt x="8" y="134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7" y="144"/>
                      <a:pt x="7" y="144"/>
                      <a:pt x="7" y="144"/>
                    </a:cubicBezTo>
                    <a:cubicBezTo>
                      <a:pt x="11" y="147"/>
                      <a:pt x="11" y="147"/>
                      <a:pt x="11" y="147"/>
                    </a:cubicBezTo>
                    <a:cubicBezTo>
                      <a:pt x="13" y="146"/>
                      <a:pt x="13" y="146"/>
                      <a:pt x="13" y="146"/>
                    </a:cubicBezTo>
                    <a:cubicBezTo>
                      <a:pt x="14" y="147"/>
                      <a:pt x="14" y="147"/>
                      <a:pt x="14" y="147"/>
                    </a:cubicBezTo>
                    <a:cubicBezTo>
                      <a:pt x="14" y="150"/>
                      <a:pt x="14" y="150"/>
                      <a:pt x="14" y="150"/>
                    </a:cubicBezTo>
                    <a:cubicBezTo>
                      <a:pt x="12" y="154"/>
                      <a:pt x="12" y="154"/>
                      <a:pt x="12" y="154"/>
                    </a:cubicBezTo>
                    <a:cubicBezTo>
                      <a:pt x="13" y="156"/>
                      <a:pt x="13" y="156"/>
                      <a:pt x="13" y="156"/>
                    </a:cubicBezTo>
                    <a:cubicBezTo>
                      <a:pt x="15" y="158"/>
                      <a:pt x="15" y="158"/>
                      <a:pt x="15" y="158"/>
                    </a:cubicBezTo>
                    <a:cubicBezTo>
                      <a:pt x="17" y="155"/>
                      <a:pt x="17" y="155"/>
                      <a:pt x="17" y="155"/>
                    </a:cubicBezTo>
                    <a:cubicBezTo>
                      <a:pt x="19" y="155"/>
                      <a:pt x="19" y="155"/>
                      <a:pt x="19" y="155"/>
                    </a:cubicBezTo>
                    <a:cubicBezTo>
                      <a:pt x="20" y="156"/>
                      <a:pt x="20" y="156"/>
                      <a:pt x="20" y="156"/>
                    </a:cubicBezTo>
                    <a:cubicBezTo>
                      <a:pt x="24" y="156"/>
                      <a:pt x="24" y="156"/>
                      <a:pt x="24" y="156"/>
                    </a:cubicBezTo>
                    <a:cubicBezTo>
                      <a:pt x="26" y="155"/>
                      <a:pt x="26" y="155"/>
                      <a:pt x="26" y="155"/>
                    </a:cubicBezTo>
                    <a:cubicBezTo>
                      <a:pt x="27" y="156"/>
                      <a:pt x="27" y="156"/>
                      <a:pt x="27" y="156"/>
                    </a:cubicBezTo>
                    <a:cubicBezTo>
                      <a:pt x="26" y="159"/>
                      <a:pt x="26" y="159"/>
                      <a:pt x="26" y="159"/>
                    </a:cubicBezTo>
                    <a:cubicBezTo>
                      <a:pt x="23" y="159"/>
                      <a:pt x="23" y="159"/>
                      <a:pt x="23" y="159"/>
                    </a:cubicBezTo>
                    <a:cubicBezTo>
                      <a:pt x="19" y="159"/>
                      <a:pt x="19" y="159"/>
                      <a:pt x="19" y="159"/>
                    </a:cubicBezTo>
                    <a:cubicBezTo>
                      <a:pt x="17" y="162"/>
                      <a:pt x="17" y="162"/>
                      <a:pt x="17" y="162"/>
                    </a:cubicBezTo>
                    <a:cubicBezTo>
                      <a:pt x="15" y="161"/>
                      <a:pt x="15" y="161"/>
                      <a:pt x="15" y="161"/>
                    </a:cubicBezTo>
                    <a:cubicBezTo>
                      <a:pt x="14" y="164"/>
                      <a:pt x="14" y="164"/>
                      <a:pt x="14" y="164"/>
                    </a:cubicBezTo>
                    <a:cubicBezTo>
                      <a:pt x="15" y="168"/>
                      <a:pt x="15" y="168"/>
                      <a:pt x="15" y="168"/>
                    </a:cubicBezTo>
                    <a:cubicBezTo>
                      <a:pt x="18" y="170"/>
                      <a:pt x="18" y="170"/>
                      <a:pt x="18" y="170"/>
                    </a:cubicBezTo>
                    <a:cubicBezTo>
                      <a:pt x="20" y="171"/>
                      <a:pt x="20" y="171"/>
                      <a:pt x="20" y="171"/>
                    </a:cubicBezTo>
                    <a:cubicBezTo>
                      <a:pt x="22" y="170"/>
                      <a:pt x="22" y="170"/>
                      <a:pt x="22" y="170"/>
                    </a:cubicBezTo>
                    <a:cubicBezTo>
                      <a:pt x="24" y="171"/>
                      <a:pt x="24" y="171"/>
                      <a:pt x="24" y="171"/>
                    </a:cubicBezTo>
                    <a:cubicBezTo>
                      <a:pt x="23" y="173"/>
                      <a:pt x="23" y="173"/>
                      <a:pt x="23" y="173"/>
                    </a:cubicBezTo>
                    <a:cubicBezTo>
                      <a:pt x="19" y="175"/>
                      <a:pt x="19" y="175"/>
                      <a:pt x="19" y="175"/>
                    </a:cubicBezTo>
                    <a:cubicBezTo>
                      <a:pt x="14" y="175"/>
                      <a:pt x="14" y="175"/>
                      <a:pt x="14" y="175"/>
                    </a:cubicBezTo>
                    <a:cubicBezTo>
                      <a:pt x="12" y="176"/>
                      <a:pt x="12" y="176"/>
                      <a:pt x="12" y="176"/>
                    </a:cubicBezTo>
                    <a:cubicBezTo>
                      <a:pt x="12" y="179"/>
                      <a:pt x="12" y="179"/>
                      <a:pt x="12" y="179"/>
                    </a:cubicBezTo>
                    <a:cubicBezTo>
                      <a:pt x="14" y="180"/>
                      <a:pt x="14" y="180"/>
                      <a:pt x="14" y="180"/>
                    </a:cubicBezTo>
                    <a:cubicBezTo>
                      <a:pt x="17" y="180"/>
                      <a:pt x="17" y="180"/>
                      <a:pt x="17" y="180"/>
                    </a:cubicBezTo>
                    <a:cubicBezTo>
                      <a:pt x="20" y="180"/>
                      <a:pt x="20" y="180"/>
                      <a:pt x="20" y="180"/>
                    </a:cubicBezTo>
                    <a:cubicBezTo>
                      <a:pt x="20" y="182"/>
                      <a:pt x="20" y="182"/>
                      <a:pt x="20" y="182"/>
                    </a:cubicBezTo>
                    <a:cubicBezTo>
                      <a:pt x="18" y="183"/>
                      <a:pt x="18" y="183"/>
                      <a:pt x="18" y="183"/>
                    </a:cubicBezTo>
                    <a:cubicBezTo>
                      <a:pt x="15" y="183"/>
                      <a:pt x="15" y="183"/>
                      <a:pt x="15" y="183"/>
                    </a:cubicBezTo>
                    <a:cubicBezTo>
                      <a:pt x="15" y="186"/>
                      <a:pt x="15" y="186"/>
                      <a:pt x="15" y="186"/>
                    </a:cubicBezTo>
                    <a:cubicBezTo>
                      <a:pt x="16" y="186"/>
                      <a:pt x="16" y="186"/>
                      <a:pt x="16" y="186"/>
                    </a:cubicBezTo>
                    <a:cubicBezTo>
                      <a:pt x="20" y="187"/>
                      <a:pt x="20" y="187"/>
                      <a:pt x="20" y="187"/>
                    </a:cubicBezTo>
                    <a:cubicBezTo>
                      <a:pt x="25" y="191"/>
                      <a:pt x="25" y="191"/>
                      <a:pt x="25" y="191"/>
                    </a:cubicBezTo>
                    <a:cubicBezTo>
                      <a:pt x="28" y="192"/>
                      <a:pt x="28" y="192"/>
                      <a:pt x="28" y="192"/>
                    </a:cubicBezTo>
                    <a:cubicBezTo>
                      <a:pt x="28" y="194"/>
                      <a:pt x="28" y="194"/>
                      <a:pt x="28" y="194"/>
                    </a:cubicBezTo>
                    <a:cubicBezTo>
                      <a:pt x="29" y="196"/>
                      <a:pt x="29" y="196"/>
                      <a:pt x="29" y="196"/>
                    </a:cubicBezTo>
                    <a:cubicBezTo>
                      <a:pt x="26" y="193"/>
                      <a:pt x="26" y="193"/>
                      <a:pt x="26" y="193"/>
                    </a:cubicBezTo>
                    <a:cubicBezTo>
                      <a:pt x="23" y="191"/>
                      <a:pt x="23" y="191"/>
                      <a:pt x="23" y="191"/>
                    </a:cubicBezTo>
                    <a:cubicBezTo>
                      <a:pt x="19" y="191"/>
                      <a:pt x="19" y="191"/>
                      <a:pt x="19" y="191"/>
                    </a:cubicBezTo>
                    <a:cubicBezTo>
                      <a:pt x="16" y="189"/>
                      <a:pt x="16" y="189"/>
                      <a:pt x="16" y="189"/>
                    </a:cubicBezTo>
                    <a:cubicBezTo>
                      <a:pt x="13" y="189"/>
                      <a:pt x="13" y="189"/>
                      <a:pt x="13" y="189"/>
                    </a:cubicBezTo>
                    <a:cubicBezTo>
                      <a:pt x="11" y="191"/>
                      <a:pt x="11" y="191"/>
                      <a:pt x="11" y="191"/>
                    </a:cubicBezTo>
                    <a:cubicBezTo>
                      <a:pt x="11" y="194"/>
                      <a:pt x="11" y="194"/>
                      <a:pt x="11" y="194"/>
                    </a:cubicBezTo>
                    <a:cubicBezTo>
                      <a:pt x="9" y="196"/>
                      <a:pt x="9" y="196"/>
                      <a:pt x="9" y="196"/>
                    </a:cubicBezTo>
                    <a:cubicBezTo>
                      <a:pt x="9" y="198"/>
                      <a:pt x="9" y="198"/>
                      <a:pt x="9" y="198"/>
                    </a:cubicBezTo>
                    <a:cubicBezTo>
                      <a:pt x="11" y="200"/>
                      <a:pt x="11" y="200"/>
                      <a:pt x="11" y="200"/>
                    </a:cubicBezTo>
                    <a:cubicBezTo>
                      <a:pt x="10" y="202"/>
                      <a:pt x="10" y="202"/>
                      <a:pt x="10" y="202"/>
                    </a:cubicBezTo>
                    <a:lnTo>
                      <a:pt x="8" y="20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" name="Freeform 200">
                <a:extLst>
                  <a:ext uri="{FF2B5EF4-FFF2-40B4-BE49-F238E27FC236}">
                    <a16:creationId xmlns:a16="http://schemas.microsoft.com/office/drawing/2014/main" id="{A4CCED8F-3D48-4FAA-93AE-35F7CE07A6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65926" y="2098675"/>
                <a:ext cx="4763" cy="3175"/>
              </a:xfrm>
              <a:custGeom>
                <a:avLst/>
                <a:gdLst>
                  <a:gd name="T0" fmla="*/ 1 w 3"/>
                  <a:gd name="T1" fmla="*/ 3 h 3"/>
                  <a:gd name="T2" fmla="*/ 3 w 3"/>
                  <a:gd name="T3" fmla="*/ 0 h 3"/>
                  <a:gd name="T4" fmla="*/ 0 w 3"/>
                  <a:gd name="T5" fmla="*/ 1 h 3"/>
                  <a:gd name="T6" fmla="*/ 1 w 3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cubicBezTo>
                      <a:pt x="1" y="3"/>
                      <a:pt x="3" y="0"/>
                      <a:pt x="3" y="0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1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" name="Freeform 201">
                <a:extLst>
                  <a:ext uri="{FF2B5EF4-FFF2-40B4-BE49-F238E27FC236}">
                    <a16:creationId xmlns:a16="http://schemas.microsoft.com/office/drawing/2014/main" id="{8C58D982-52B4-4641-98FC-9C8DD0BDA2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5739" y="1284288"/>
                <a:ext cx="22225" cy="22225"/>
              </a:xfrm>
              <a:custGeom>
                <a:avLst/>
                <a:gdLst>
                  <a:gd name="T0" fmla="*/ 5 w 14"/>
                  <a:gd name="T1" fmla="*/ 13 h 14"/>
                  <a:gd name="T2" fmla="*/ 8 w 14"/>
                  <a:gd name="T3" fmla="*/ 14 h 14"/>
                  <a:gd name="T4" fmla="*/ 11 w 14"/>
                  <a:gd name="T5" fmla="*/ 12 h 14"/>
                  <a:gd name="T6" fmla="*/ 12 w 14"/>
                  <a:gd name="T7" fmla="*/ 8 h 14"/>
                  <a:gd name="T8" fmla="*/ 14 w 14"/>
                  <a:gd name="T9" fmla="*/ 7 h 14"/>
                  <a:gd name="T10" fmla="*/ 14 w 14"/>
                  <a:gd name="T11" fmla="*/ 5 h 14"/>
                  <a:gd name="T12" fmla="*/ 12 w 14"/>
                  <a:gd name="T13" fmla="*/ 4 h 14"/>
                  <a:gd name="T14" fmla="*/ 10 w 14"/>
                  <a:gd name="T15" fmla="*/ 0 h 14"/>
                  <a:gd name="T16" fmla="*/ 8 w 14"/>
                  <a:gd name="T17" fmla="*/ 0 h 14"/>
                  <a:gd name="T18" fmla="*/ 4 w 14"/>
                  <a:gd name="T19" fmla="*/ 2 h 14"/>
                  <a:gd name="T20" fmla="*/ 0 w 14"/>
                  <a:gd name="T21" fmla="*/ 4 h 14"/>
                  <a:gd name="T22" fmla="*/ 0 w 14"/>
                  <a:gd name="T23" fmla="*/ 7 h 14"/>
                  <a:gd name="T24" fmla="*/ 0 w 14"/>
                  <a:gd name="T25" fmla="*/ 9 h 14"/>
                  <a:gd name="T26" fmla="*/ 5 w 14"/>
                  <a:gd name="T27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" h="14">
                    <a:moveTo>
                      <a:pt x="5" y="13"/>
                    </a:moveTo>
                    <a:lnTo>
                      <a:pt x="8" y="14"/>
                    </a:lnTo>
                    <a:lnTo>
                      <a:pt x="11" y="12"/>
                    </a:lnTo>
                    <a:lnTo>
                      <a:pt x="12" y="8"/>
                    </a:lnTo>
                    <a:lnTo>
                      <a:pt x="14" y="7"/>
                    </a:lnTo>
                    <a:lnTo>
                      <a:pt x="14" y="5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5" y="1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3" name="Freeform 202">
                <a:extLst>
                  <a:ext uri="{FF2B5EF4-FFF2-40B4-BE49-F238E27FC236}">
                    <a16:creationId xmlns:a16="http://schemas.microsoft.com/office/drawing/2014/main" id="{909702A6-85FB-42BC-B591-AC2759D3F8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7376" y="1149350"/>
                <a:ext cx="17463" cy="14288"/>
              </a:xfrm>
              <a:custGeom>
                <a:avLst/>
                <a:gdLst>
                  <a:gd name="T0" fmla="*/ 4 w 11"/>
                  <a:gd name="T1" fmla="*/ 9 h 9"/>
                  <a:gd name="T2" fmla="*/ 7 w 11"/>
                  <a:gd name="T3" fmla="*/ 9 h 9"/>
                  <a:gd name="T4" fmla="*/ 10 w 11"/>
                  <a:gd name="T5" fmla="*/ 6 h 9"/>
                  <a:gd name="T6" fmla="*/ 10 w 11"/>
                  <a:gd name="T7" fmla="*/ 3 h 9"/>
                  <a:gd name="T8" fmla="*/ 11 w 11"/>
                  <a:gd name="T9" fmla="*/ 1 h 9"/>
                  <a:gd name="T10" fmla="*/ 8 w 11"/>
                  <a:gd name="T11" fmla="*/ 0 h 9"/>
                  <a:gd name="T12" fmla="*/ 4 w 11"/>
                  <a:gd name="T13" fmla="*/ 1 h 9"/>
                  <a:gd name="T14" fmla="*/ 3 w 11"/>
                  <a:gd name="T15" fmla="*/ 3 h 9"/>
                  <a:gd name="T16" fmla="*/ 0 w 11"/>
                  <a:gd name="T17" fmla="*/ 7 h 9"/>
                  <a:gd name="T18" fmla="*/ 1 w 11"/>
                  <a:gd name="T19" fmla="*/ 9 h 9"/>
                  <a:gd name="T20" fmla="*/ 4 w 11"/>
                  <a:gd name="T21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9">
                    <a:moveTo>
                      <a:pt x="4" y="9"/>
                    </a:moveTo>
                    <a:lnTo>
                      <a:pt x="7" y="9"/>
                    </a:lnTo>
                    <a:lnTo>
                      <a:pt x="10" y="6"/>
                    </a:lnTo>
                    <a:lnTo>
                      <a:pt x="10" y="3"/>
                    </a:lnTo>
                    <a:lnTo>
                      <a:pt x="11" y="1"/>
                    </a:lnTo>
                    <a:lnTo>
                      <a:pt x="8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1" y="9"/>
                    </a:lnTo>
                    <a:lnTo>
                      <a:pt x="4" y="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4" name="Freeform 203">
                <a:extLst>
                  <a:ext uri="{FF2B5EF4-FFF2-40B4-BE49-F238E27FC236}">
                    <a16:creationId xmlns:a16="http://schemas.microsoft.com/office/drawing/2014/main" id="{1994ABA2-3210-4254-87BE-6C37A16176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6589" y="1120775"/>
                <a:ext cx="84138" cy="115888"/>
              </a:xfrm>
              <a:custGeom>
                <a:avLst/>
                <a:gdLst>
                  <a:gd name="T0" fmla="*/ 2 w 53"/>
                  <a:gd name="T1" fmla="*/ 45 h 73"/>
                  <a:gd name="T2" fmla="*/ 5 w 53"/>
                  <a:gd name="T3" fmla="*/ 47 h 73"/>
                  <a:gd name="T4" fmla="*/ 5 w 53"/>
                  <a:gd name="T5" fmla="*/ 51 h 73"/>
                  <a:gd name="T6" fmla="*/ 4 w 53"/>
                  <a:gd name="T7" fmla="*/ 60 h 73"/>
                  <a:gd name="T8" fmla="*/ 3 w 53"/>
                  <a:gd name="T9" fmla="*/ 63 h 73"/>
                  <a:gd name="T10" fmla="*/ 2 w 53"/>
                  <a:gd name="T11" fmla="*/ 66 h 73"/>
                  <a:gd name="T12" fmla="*/ 3 w 53"/>
                  <a:gd name="T13" fmla="*/ 69 h 73"/>
                  <a:gd name="T14" fmla="*/ 4 w 53"/>
                  <a:gd name="T15" fmla="*/ 68 h 73"/>
                  <a:gd name="T16" fmla="*/ 6 w 53"/>
                  <a:gd name="T17" fmla="*/ 65 h 73"/>
                  <a:gd name="T18" fmla="*/ 10 w 53"/>
                  <a:gd name="T19" fmla="*/ 63 h 73"/>
                  <a:gd name="T20" fmla="*/ 10 w 53"/>
                  <a:gd name="T21" fmla="*/ 64 h 73"/>
                  <a:gd name="T22" fmla="*/ 11 w 53"/>
                  <a:gd name="T23" fmla="*/ 68 h 73"/>
                  <a:gd name="T24" fmla="*/ 16 w 53"/>
                  <a:gd name="T25" fmla="*/ 71 h 73"/>
                  <a:gd name="T26" fmla="*/ 17 w 53"/>
                  <a:gd name="T27" fmla="*/ 71 h 73"/>
                  <a:gd name="T28" fmla="*/ 19 w 53"/>
                  <a:gd name="T29" fmla="*/ 69 h 73"/>
                  <a:gd name="T30" fmla="*/ 21 w 53"/>
                  <a:gd name="T31" fmla="*/ 70 h 73"/>
                  <a:gd name="T32" fmla="*/ 25 w 53"/>
                  <a:gd name="T33" fmla="*/ 72 h 73"/>
                  <a:gd name="T34" fmla="*/ 28 w 53"/>
                  <a:gd name="T35" fmla="*/ 73 h 73"/>
                  <a:gd name="T36" fmla="*/ 32 w 53"/>
                  <a:gd name="T37" fmla="*/ 72 h 73"/>
                  <a:gd name="T38" fmla="*/ 37 w 53"/>
                  <a:gd name="T39" fmla="*/ 69 h 73"/>
                  <a:gd name="T40" fmla="*/ 38 w 53"/>
                  <a:gd name="T41" fmla="*/ 66 h 73"/>
                  <a:gd name="T42" fmla="*/ 39 w 53"/>
                  <a:gd name="T43" fmla="*/ 62 h 73"/>
                  <a:gd name="T44" fmla="*/ 42 w 53"/>
                  <a:gd name="T45" fmla="*/ 59 h 73"/>
                  <a:gd name="T46" fmla="*/ 48 w 53"/>
                  <a:gd name="T47" fmla="*/ 54 h 73"/>
                  <a:gd name="T48" fmla="*/ 52 w 53"/>
                  <a:gd name="T49" fmla="*/ 52 h 73"/>
                  <a:gd name="T50" fmla="*/ 53 w 53"/>
                  <a:gd name="T51" fmla="*/ 48 h 73"/>
                  <a:gd name="T52" fmla="*/ 52 w 53"/>
                  <a:gd name="T53" fmla="*/ 45 h 73"/>
                  <a:gd name="T54" fmla="*/ 48 w 53"/>
                  <a:gd name="T55" fmla="*/ 41 h 73"/>
                  <a:gd name="T56" fmla="*/ 44 w 53"/>
                  <a:gd name="T57" fmla="*/ 37 h 73"/>
                  <a:gd name="T58" fmla="*/ 41 w 53"/>
                  <a:gd name="T59" fmla="*/ 31 h 73"/>
                  <a:gd name="T60" fmla="*/ 42 w 53"/>
                  <a:gd name="T61" fmla="*/ 27 h 73"/>
                  <a:gd name="T62" fmla="*/ 43 w 53"/>
                  <a:gd name="T63" fmla="*/ 24 h 73"/>
                  <a:gd name="T64" fmla="*/ 43 w 53"/>
                  <a:gd name="T65" fmla="*/ 21 h 73"/>
                  <a:gd name="T66" fmla="*/ 42 w 53"/>
                  <a:gd name="T67" fmla="*/ 21 h 73"/>
                  <a:gd name="T68" fmla="*/ 35 w 53"/>
                  <a:gd name="T69" fmla="*/ 21 h 73"/>
                  <a:gd name="T70" fmla="*/ 29 w 53"/>
                  <a:gd name="T71" fmla="*/ 18 h 73"/>
                  <a:gd name="T72" fmla="*/ 25 w 53"/>
                  <a:gd name="T73" fmla="*/ 15 h 73"/>
                  <a:gd name="T74" fmla="*/ 20 w 53"/>
                  <a:gd name="T75" fmla="*/ 7 h 73"/>
                  <a:gd name="T76" fmla="*/ 16 w 53"/>
                  <a:gd name="T77" fmla="*/ 3 h 73"/>
                  <a:gd name="T78" fmla="*/ 11 w 53"/>
                  <a:gd name="T79" fmla="*/ 0 h 73"/>
                  <a:gd name="T80" fmla="*/ 9 w 53"/>
                  <a:gd name="T81" fmla="*/ 0 h 73"/>
                  <a:gd name="T82" fmla="*/ 8 w 53"/>
                  <a:gd name="T83" fmla="*/ 1 h 73"/>
                  <a:gd name="T84" fmla="*/ 7 w 53"/>
                  <a:gd name="T85" fmla="*/ 4 h 73"/>
                  <a:gd name="T86" fmla="*/ 8 w 53"/>
                  <a:gd name="T87" fmla="*/ 7 h 73"/>
                  <a:gd name="T88" fmla="*/ 8 w 53"/>
                  <a:gd name="T89" fmla="*/ 11 h 73"/>
                  <a:gd name="T90" fmla="*/ 6 w 53"/>
                  <a:gd name="T91" fmla="*/ 16 h 73"/>
                  <a:gd name="T92" fmla="*/ 3 w 53"/>
                  <a:gd name="T93" fmla="*/ 21 h 73"/>
                  <a:gd name="T94" fmla="*/ 0 w 53"/>
                  <a:gd name="T95" fmla="*/ 25 h 73"/>
                  <a:gd name="T96" fmla="*/ 0 w 53"/>
                  <a:gd name="T97" fmla="*/ 28 h 73"/>
                  <a:gd name="T98" fmla="*/ 0 w 53"/>
                  <a:gd name="T99" fmla="*/ 42 h 73"/>
                  <a:gd name="T100" fmla="*/ 2 w 53"/>
                  <a:gd name="T101" fmla="*/ 4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3" h="73">
                    <a:moveTo>
                      <a:pt x="2" y="45"/>
                    </a:moveTo>
                    <a:lnTo>
                      <a:pt x="5" y="47"/>
                    </a:lnTo>
                    <a:lnTo>
                      <a:pt x="5" y="51"/>
                    </a:lnTo>
                    <a:lnTo>
                      <a:pt x="4" y="60"/>
                    </a:lnTo>
                    <a:lnTo>
                      <a:pt x="3" y="63"/>
                    </a:lnTo>
                    <a:lnTo>
                      <a:pt x="2" y="66"/>
                    </a:lnTo>
                    <a:lnTo>
                      <a:pt x="3" y="69"/>
                    </a:lnTo>
                    <a:lnTo>
                      <a:pt x="4" y="68"/>
                    </a:lnTo>
                    <a:lnTo>
                      <a:pt x="6" y="65"/>
                    </a:lnTo>
                    <a:lnTo>
                      <a:pt x="10" y="63"/>
                    </a:lnTo>
                    <a:lnTo>
                      <a:pt x="10" y="64"/>
                    </a:lnTo>
                    <a:lnTo>
                      <a:pt x="11" y="68"/>
                    </a:lnTo>
                    <a:lnTo>
                      <a:pt x="16" y="71"/>
                    </a:lnTo>
                    <a:lnTo>
                      <a:pt x="17" y="71"/>
                    </a:lnTo>
                    <a:lnTo>
                      <a:pt x="19" y="69"/>
                    </a:lnTo>
                    <a:lnTo>
                      <a:pt x="21" y="70"/>
                    </a:lnTo>
                    <a:lnTo>
                      <a:pt x="25" y="72"/>
                    </a:lnTo>
                    <a:lnTo>
                      <a:pt x="28" y="73"/>
                    </a:lnTo>
                    <a:lnTo>
                      <a:pt x="32" y="72"/>
                    </a:lnTo>
                    <a:lnTo>
                      <a:pt x="37" y="69"/>
                    </a:lnTo>
                    <a:lnTo>
                      <a:pt x="38" y="66"/>
                    </a:lnTo>
                    <a:lnTo>
                      <a:pt x="39" y="62"/>
                    </a:lnTo>
                    <a:lnTo>
                      <a:pt x="42" y="59"/>
                    </a:lnTo>
                    <a:lnTo>
                      <a:pt x="48" y="54"/>
                    </a:lnTo>
                    <a:lnTo>
                      <a:pt x="52" y="52"/>
                    </a:lnTo>
                    <a:lnTo>
                      <a:pt x="53" y="48"/>
                    </a:lnTo>
                    <a:lnTo>
                      <a:pt x="52" y="45"/>
                    </a:lnTo>
                    <a:lnTo>
                      <a:pt x="48" y="41"/>
                    </a:lnTo>
                    <a:lnTo>
                      <a:pt x="44" y="37"/>
                    </a:lnTo>
                    <a:lnTo>
                      <a:pt x="41" y="31"/>
                    </a:lnTo>
                    <a:lnTo>
                      <a:pt x="42" y="27"/>
                    </a:lnTo>
                    <a:lnTo>
                      <a:pt x="43" y="24"/>
                    </a:lnTo>
                    <a:lnTo>
                      <a:pt x="43" y="21"/>
                    </a:lnTo>
                    <a:lnTo>
                      <a:pt x="42" y="21"/>
                    </a:lnTo>
                    <a:lnTo>
                      <a:pt x="35" y="21"/>
                    </a:lnTo>
                    <a:lnTo>
                      <a:pt x="29" y="18"/>
                    </a:lnTo>
                    <a:lnTo>
                      <a:pt x="25" y="15"/>
                    </a:lnTo>
                    <a:lnTo>
                      <a:pt x="20" y="7"/>
                    </a:lnTo>
                    <a:lnTo>
                      <a:pt x="16" y="3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8" y="1"/>
                    </a:lnTo>
                    <a:lnTo>
                      <a:pt x="7" y="4"/>
                    </a:lnTo>
                    <a:lnTo>
                      <a:pt x="8" y="7"/>
                    </a:lnTo>
                    <a:lnTo>
                      <a:pt x="8" y="11"/>
                    </a:lnTo>
                    <a:lnTo>
                      <a:pt x="6" y="16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28"/>
                    </a:lnTo>
                    <a:lnTo>
                      <a:pt x="0" y="42"/>
                    </a:lnTo>
                    <a:lnTo>
                      <a:pt x="2" y="4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5" name="Freeform 204">
                <a:extLst>
                  <a:ext uri="{FF2B5EF4-FFF2-40B4-BE49-F238E27FC236}">
                    <a16:creationId xmlns:a16="http://schemas.microsoft.com/office/drawing/2014/main" id="{E0E0CBD2-B5D3-47B9-B3F1-E0665E253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8914" y="1295400"/>
                <a:ext cx="36513" cy="60325"/>
              </a:xfrm>
              <a:custGeom>
                <a:avLst/>
                <a:gdLst>
                  <a:gd name="T0" fmla="*/ 12 w 23"/>
                  <a:gd name="T1" fmla="*/ 7 h 38"/>
                  <a:gd name="T2" fmla="*/ 10 w 23"/>
                  <a:gd name="T3" fmla="*/ 7 h 38"/>
                  <a:gd name="T4" fmla="*/ 6 w 23"/>
                  <a:gd name="T5" fmla="*/ 11 h 38"/>
                  <a:gd name="T6" fmla="*/ 3 w 23"/>
                  <a:gd name="T7" fmla="*/ 11 h 38"/>
                  <a:gd name="T8" fmla="*/ 1 w 23"/>
                  <a:gd name="T9" fmla="*/ 10 h 38"/>
                  <a:gd name="T10" fmla="*/ 0 w 23"/>
                  <a:gd name="T11" fmla="*/ 11 h 38"/>
                  <a:gd name="T12" fmla="*/ 0 w 23"/>
                  <a:gd name="T13" fmla="*/ 14 h 38"/>
                  <a:gd name="T14" fmla="*/ 1 w 23"/>
                  <a:gd name="T15" fmla="*/ 18 h 38"/>
                  <a:gd name="T16" fmla="*/ 1 w 23"/>
                  <a:gd name="T17" fmla="*/ 27 h 38"/>
                  <a:gd name="T18" fmla="*/ 2 w 23"/>
                  <a:gd name="T19" fmla="*/ 31 h 38"/>
                  <a:gd name="T20" fmla="*/ 5 w 23"/>
                  <a:gd name="T21" fmla="*/ 38 h 38"/>
                  <a:gd name="T22" fmla="*/ 8 w 23"/>
                  <a:gd name="T23" fmla="*/ 38 h 38"/>
                  <a:gd name="T24" fmla="*/ 12 w 23"/>
                  <a:gd name="T25" fmla="*/ 35 h 38"/>
                  <a:gd name="T26" fmla="*/ 16 w 23"/>
                  <a:gd name="T27" fmla="*/ 35 h 38"/>
                  <a:gd name="T28" fmla="*/ 19 w 23"/>
                  <a:gd name="T29" fmla="*/ 33 h 38"/>
                  <a:gd name="T30" fmla="*/ 23 w 23"/>
                  <a:gd name="T31" fmla="*/ 31 h 38"/>
                  <a:gd name="T32" fmla="*/ 22 w 23"/>
                  <a:gd name="T33" fmla="*/ 29 h 38"/>
                  <a:gd name="T34" fmla="*/ 21 w 23"/>
                  <a:gd name="T35" fmla="*/ 27 h 38"/>
                  <a:gd name="T36" fmla="*/ 19 w 23"/>
                  <a:gd name="T37" fmla="*/ 24 h 38"/>
                  <a:gd name="T38" fmla="*/ 15 w 23"/>
                  <a:gd name="T39" fmla="*/ 22 h 38"/>
                  <a:gd name="T40" fmla="*/ 14 w 23"/>
                  <a:gd name="T41" fmla="*/ 18 h 38"/>
                  <a:gd name="T42" fmla="*/ 15 w 23"/>
                  <a:gd name="T43" fmla="*/ 16 h 38"/>
                  <a:gd name="T44" fmla="*/ 17 w 23"/>
                  <a:gd name="T45" fmla="*/ 14 h 38"/>
                  <a:gd name="T46" fmla="*/ 20 w 23"/>
                  <a:gd name="T47" fmla="*/ 14 h 38"/>
                  <a:gd name="T48" fmla="*/ 22 w 23"/>
                  <a:gd name="T49" fmla="*/ 12 h 38"/>
                  <a:gd name="T50" fmla="*/ 22 w 23"/>
                  <a:gd name="T51" fmla="*/ 10 h 38"/>
                  <a:gd name="T52" fmla="*/ 20 w 23"/>
                  <a:gd name="T53" fmla="*/ 6 h 38"/>
                  <a:gd name="T54" fmla="*/ 17 w 23"/>
                  <a:gd name="T55" fmla="*/ 4 h 38"/>
                  <a:gd name="T56" fmla="*/ 16 w 23"/>
                  <a:gd name="T57" fmla="*/ 0 h 38"/>
                  <a:gd name="T58" fmla="*/ 15 w 23"/>
                  <a:gd name="T59" fmla="*/ 2 h 38"/>
                  <a:gd name="T60" fmla="*/ 15 w 23"/>
                  <a:gd name="T61" fmla="*/ 6 h 38"/>
                  <a:gd name="T62" fmla="*/ 12 w 23"/>
                  <a:gd name="T63" fmla="*/ 8 h 38"/>
                  <a:gd name="T64" fmla="*/ 12 w 23"/>
                  <a:gd name="T65" fmla="*/ 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38">
                    <a:moveTo>
                      <a:pt x="12" y="7"/>
                    </a:moveTo>
                    <a:lnTo>
                      <a:pt x="10" y="7"/>
                    </a:lnTo>
                    <a:lnTo>
                      <a:pt x="6" y="11"/>
                    </a:lnTo>
                    <a:lnTo>
                      <a:pt x="3" y="11"/>
                    </a:lnTo>
                    <a:lnTo>
                      <a:pt x="1" y="10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1" y="18"/>
                    </a:lnTo>
                    <a:lnTo>
                      <a:pt x="1" y="27"/>
                    </a:lnTo>
                    <a:lnTo>
                      <a:pt x="2" y="31"/>
                    </a:lnTo>
                    <a:lnTo>
                      <a:pt x="5" y="38"/>
                    </a:lnTo>
                    <a:lnTo>
                      <a:pt x="8" y="38"/>
                    </a:lnTo>
                    <a:lnTo>
                      <a:pt x="12" y="35"/>
                    </a:lnTo>
                    <a:lnTo>
                      <a:pt x="16" y="35"/>
                    </a:lnTo>
                    <a:lnTo>
                      <a:pt x="19" y="33"/>
                    </a:lnTo>
                    <a:lnTo>
                      <a:pt x="23" y="31"/>
                    </a:lnTo>
                    <a:lnTo>
                      <a:pt x="22" y="29"/>
                    </a:lnTo>
                    <a:lnTo>
                      <a:pt x="21" y="27"/>
                    </a:lnTo>
                    <a:lnTo>
                      <a:pt x="19" y="24"/>
                    </a:lnTo>
                    <a:lnTo>
                      <a:pt x="15" y="22"/>
                    </a:lnTo>
                    <a:lnTo>
                      <a:pt x="14" y="18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20" y="14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7" y="4"/>
                    </a:lnTo>
                    <a:lnTo>
                      <a:pt x="16" y="0"/>
                    </a:lnTo>
                    <a:lnTo>
                      <a:pt x="15" y="2"/>
                    </a:lnTo>
                    <a:lnTo>
                      <a:pt x="15" y="6"/>
                    </a:lnTo>
                    <a:lnTo>
                      <a:pt x="12" y="8"/>
                    </a:lnTo>
                    <a:lnTo>
                      <a:pt x="12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21" name="Group 406">
                <a:extLst>
                  <a:ext uri="{FF2B5EF4-FFF2-40B4-BE49-F238E27FC236}">
                    <a16:creationId xmlns:a16="http://schemas.microsoft.com/office/drawing/2014/main" id="{90F1CBAF-EDFC-4C98-A046-B2CEF013109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867401" y="1222375"/>
                <a:ext cx="3895725" cy="3819525"/>
                <a:chOff x="3696" y="770"/>
                <a:chExt cx="2454" cy="2406"/>
              </a:xfrm>
              <a:grpFill/>
            </p:grpSpPr>
            <p:sp>
              <p:nvSpPr>
                <p:cNvPr id="1306" name="Freeform 206">
                  <a:extLst>
                    <a:ext uri="{FF2B5EF4-FFF2-40B4-BE49-F238E27FC236}">
                      <a16:creationId xmlns:a16="http://schemas.microsoft.com/office/drawing/2014/main" id="{5CA5E85D-85F3-45BD-9F36-7BB494A27E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38" y="785"/>
                  <a:ext cx="21" cy="38"/>
                </a:xfrm>
                <a:custGeom>
                  <a:avLst/>
                  <a:gdLst>
                    <a:gd name="T0" fmla="*/ 1 w 21"/>
                    <a:gd name="T1" fmla="*/ 23 h 38"/>
                    <a:gd name="T2" fmla="*/ 0 w 21"/>
                    <a:gd name="T3" fmla="*/ 26 h 38"/>
                    <a:gd name="T4" fmla="*/ 0 w 21"/>
                    <a:gd name="T5" fmla="*/ 28 h 38"/>
                    <a:gd name="T6" fmla="*/ 3 w 21"/>
                    <a:gd name="T7" fmla="*/ 31 h 38"/>
                    <a:gd name="T8" fmla="*/ 6 w 21"/>
                    <a:gd name="T9" fmla="*/ 31 h 38"/>
                    <a:gd name="T10" fmla="*/ 7 w 21"/>
                    <a:gd name="T11" fmla="*/ 33 h 38"/>
                    <a:gd name="T12" fmla="*/ 8 w 21"/>
                    <a:gd name="T13" fmla="*/ 35 h 38"/>
                    <a:gd name="T14" fmla="*/ 10 w 21"/>
                    <a:gd name="T15" fmla="*/ 38 h 38"/>
                    <a:gd name="T16" fmla="*/ 12 w 21"/>
                    <a:gd name="T17" fmla="*/ 34 h 38"/>
                    <a:gd name="T18" fmla="*/ 13 w 21"/>
                    <a:gd name="T19" fmla="*/ 30 h 38"/>
                    <a:gd name="T20" fmla="*/ 12 w 21"/>
                    <a:gd name="T21" fmla="*/ 27 h 38"/>
                    <a:gd name="T22" fmla="*/ 13 w 21"/>
                    <a:gd name="T23" fmla="*/ 24 h 38"/>
                    <a:gd name="T24" fmla="*/ 17 w 21"/>
                    <a:gd name="T25" fmla="*/ 22 h 38"/>
                    <a:gd name="T26" fmla="*/ 21 w 21"/>
                    <a:gd name="T27" fmla="*/ 19 h 38"/>
                    <a:gd name="T28" fmla="*/ 21 w 21"/>
                    <a:gd name="T29" fmla="*/ 17 h 38"/>
                    <a:gd name="T30" fmla="*/ 20 w 21"/>
                    <a:gd name="T31" fmla="*/ 17 h 38"/>
                    <a:gd name="T32" fmla="*/ 17 w 21"/>
                    <a:gd name="T33" fmla="*/ 13 h 38"/>
                    <a:gd name="T34" fmla="*/ 14 w 21"/>
                    <a:gd name="T35" fmla="*/ 12 h 38"/>
                    <a:gd name="T36" fmla="*/ 14 w 21"/>
                    <a:gd name="T37" fmla="*/ 11 h 38"/>
                    <a:gd name="T38" fmla="*/ 14 w 21"/>
                    <a:gd name="T39" fmla="*/ 5 h 38"/>
                    <a:gd name="T40" fmla="*/ 12 w 21"/>
                    <a:gd name="T41" fmla="*/ 1 h 38"/>
                    <a:gd name="T42" fmla="*/ 10 w 21"/>
                    <a:gd name="T43" fmla="*/ 0 h 38"/>
                    <a:gd name="T44" fmla="*/ 8 w 21"/>
                    <a:gd name="T45" fmla="*/ 0 h 38"/>
                    <a:gd name="T46" fmla="*/ 6 w 21"/>
                    <a:gd name="T47" fmla="*/ 0 h 38"/>
                    <a:gd name="T48" fmla="*/ 5 w 21"/>
                    <a:gd name="T49" fmla="*/ 2 h 38"/>
                    <a:gd name="T50" fmla="*/ 5 w 21"/>
                    <a:gd name="T51" fmla="*/ 4 h 38"/>
                    <a:gd name="T52" fmla="*/ 3 w 21"/>
                    <a:gd name="T53" fmla="*/ 8 h 38"/>
                    <a:gd name="T54" fmla="*/ 0 w 21"/>
                    <a:gd name="T55" fmla="*/ 11 h 38"/>
                    <a:gd name="T56" fmla="*/ 0 w 21"/>
                    <a:gd name="T57" fmla="*/ 14 h 38"/>
                    <a:gd name="T58" fmla="*/ 0 w 21"/>
                    <a:gd name="T59" fmla="*/ 19 h 38"/>
                    <a:gd name="T60" fmla="*/ 1 w 21"/>
                    <a:gd name="T61" fmla="*/ 23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1" h="38">
                      <a:moveTo>
                        <a:pt x="1" y="23"/>
                      </a:moveTo>
                      <a:lnTo>
                        <a:pt x="0" y="26"/>
                      </a:lnTo>
                      <a:lnTo>
                        <a:pt x="0" y="28"/>
                      </a:lnTo>
                      <a:lnTo>
                        <a:pt x="3" y="31"/>
                      </a:lnTo>
                      <a:lnTo>
                        <a:pt x="6" y="31"/>
                      </a:lnTo>
                      <a:lnTo>
                        <a:pt x="7" y="33"/>
                      </a:lnTo>
                      <a:lnTo>
                        <a:pt x="8" y="35"/>
                      </a:lnTo>
                      <a:lnTo>
                        <a:pt x="10" y="38"/>
                      </a:lnTo>
                      <a:lnTo>
                        <a:pt x="12" y="34"/>
                      </a:lnTo>
                      <a:lnTo>
                        <a:pt x="13" y="30"/>
                      </a:lnTo>
                      <a:lnTo>
                        <a:pt x="12" y="27"/>
                      </a:lnTo>
                      <a:lnTo>
                        <a:pt x="13" y="24"/>
                      </a:lnTo>
                      <a:lnTo>
                        <a:pt x="17" y="22"/>
                      </a:lnTo>
                      <a:lnTo>
                        <a:pt x="21" y="19"/>
                      </a:lnTo>
                      <a:lnTo>
                        <a:pt x="21" y="17"/>
                      </a:lnTo>
                      <a:lnTo>
                        <a:pt x="20" y="17"/>
                      </a:lnTo>
                      <a:lnTo>
                        <a:pt x="17" y="13"/>
                      </a:lnTo>
                      <a:lnTo>
                        <a:pt x="14" y="12"/>
                      </a:lnTo>
                      <a:lnTo>
                        <a:pt x="14" y="11"/>
                      </a:lnTo>
                      <a:lnTo>
                        <a:pt x="14" y="5"/>
                      </a:lnTo>
                      <a:lnTo>
                        <a:pt x="12" y="1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5" y="2"/>
                      </a:lnTo>
                      <a:lnTo>
                        <a:pt x="5" y="4"/>
                      </a:lnTo>
                      <a:lnTo>
                        <a:pt x="3" y="8"/>
                      </a:lnTo>
                      <a:lnTo>
                        <a:pt x="0" y="11"/>
                      </a:lnTo>
                      <a:lnTo>
                        <a:pt x="0" y="14"/>
                      </a:lnTo>
                      <a:lnTo>
                        <a:pt x="0" y="19"/>
                      </a:lnTo>
                      <a:lnTo>
                        <a:pt x="1" y="2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07" name="Freeform 207">
                  <a:extLst>
                    <a:ext uri="{FF2B5EF4-FFF2-40B4-BE49-F238E27FC236}">
                      <a16:creationId xmlns:a16="http://schemas.microsoft.com/office/drawing/2014/main" id="{0F690931-4B68-48F7-A8CC-4DDDECFA1F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27" y="1335"/>
                  <a:ext cx="3" cy="3"/>
                </a:xfrm>
                <a:custGeom>
                  <a:avLst/>
                  <a:gdLst>
                    <a:gd name="T0" fmla="*/ 3 w 3"/>
                    <a:gd name="T1" fmla="*/ 3 h 3"/>
                    <a:gd name="T2" fmla="*/ 3 w 3"/>
                    <a:gd name="T3" fmla="*/ 1 h 3"/>
                    <a:gd name="T4" fmla="*/ 1 w 3"/>
                    <a:gd name="T5" fmla="*/ 0 h 3"/>
                    <a:gd name="T6" fmla="*/ 0 w 3"/>
                    <a:gd name="T7" fmla="*/ 1 h 3"/>
                    <a:gd name="T8" fmla="*/ 1 w 3"/>
                    <a:gd name="T9" fmla="*/ 3 h 3"/>
                    <a:gd name="T10" fmla="*/ 3 w 3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3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08" name="Freeform 208">
                  <a:extLst>
                    <a:ext uri="{FF2B5EF4-FFF2-40B4-BE49-F238E27FC236}">
                      <a16:creationId xmlns:a16="http://schemas.microsoft.com/office/drawing/2014/main" id="{040FCC4A-D732-48EB-8A34-1300807B81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23" y="770"/>
                  <a:ext cx="11" cy="7"/>
                </a:xfrm>
                <a:custGeom>
                  <a:avLst/>
                  <a:gdLst>
                    <a:gd name="T0" fmla="*/ 4 w 11"/>
                    <a:gd name="T1" fmla="*/ 5 h 7"/>
                    <a:gd name="T2" fmla="*/ 6 w 11"/>
                    <a:gd name="T3" fmla="*/ 7 h 7"/>
                    <a:gd name="T4" fmla="*/ 8 w 11"/>
                    <a:gd name="T5" fmla="*/ 7 h 7"/>
                    <a:gd name="T6" fmla="*/ 11 w 11"/>
                    <a:gd name="T7" fmla="*/ 4 h 7"/>
                    <a:gd name="T8" fmla="*/ 10 w 11"/>
                    <a:gd name="T9" fmla="*/ 1 h 7"/>
                    <a:gd name="T10" fmla="*/ 8 w 11"/>
                    <a:gd name="T11" fmla="*/ 1 h 7"/>
                    <a:gd name="T12" fmla="*/ 7 w 11"/>
                    <a:gd name="T13" fmla="*/ 0 h 7"/>
                    <a:gd name="T14" fmla="*/ 5 w 11"/>
                    <a:gd name="T15" fmla="*/ 0 h 7"/>
                    <a:gd name="T16" fmla="*/ 3 w 11"/>
                    <a:gd name="T17" fmla="*/ 3 h 7"/>
                    <a:gd name="T18" fmla="*/ 1 w 11"/>
                    <a:gd name="T19" fmla="*/ 3 h 7"/>
                    <a:gd name="T20" fmla="*/ 0 w 11"/>
                    <a:gd name="T21" fmla="*/ 4 h 7"/>
                    <a:gd name="T22" fmla="*/ 1 w 11"/>
                    <a:gd name="T23" fmla="*/ 5 h 7"/>
                    <a:gd name="T24" fmla="*/ 4 w 11"/>
                    <a:gd name="T25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" h="7">
                      <a:moveTo>
                        <a:pt x="4" y="5"/>
                      </a:moveTo>
                      <a:lnTo>
                        <a:pt x="6" y="7"/>
                      </a:lnTo>
                      <a:lnTo>
                        <a:pt x="8" y="7"/>
                      </a:lnTo>
                      <a:lnTo>
                        <a:pt x="11" y="4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7" y="0"/>
                      </a:lnTo>
                      <a:lnTo>
                        <a:pt x="5" y="0"/>
                      </a:lnTo>
                      <a:lnTo>
                        <a:pt x="3" y="3"/>
                      </a:lnTo>
                      <a:lnTo>
                        <a:pt x="1" y="3"/>
                      </a:lnTo>
                      <a:lnTo>
                        <a:pt x="0" y="4"/>
                      </a:lnTo>
                      <a:lnTo>
                        <a:pt x="1" y="5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09" name="Freeform 209">
                  <a:extLst>
                    <a:ext uri="{FF2B5EF4-FFF2-40B4-BE49-F238E27FC236}">
                      <a16:creationId xmlns:a16="http://schemas.microsoft.com/office/drawing/2014/main" id="{D071887B-B1BF-4D7E-8F6A-E7F082AB70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23" y="871"/>
                  <a:ext cx="11" cy="12"/>
                </a:xfrm>
                <a:custGeom>
                  <a:avLst/>
                  <a:gdLst>
                    <a:gd name="T0" fmla="*/ 8 w 11"/>
                    <a:gd name="T1" fmla="*/ 12 h 12"/>
                    <a:gd name="T2" fmla="*/ 11 w 11"/>
                    <a:gd name="T3" fmla="*/ 7 h 12"/>
                    <a:gd name="T4" fmla="*/ 10 w 11"/>
                    <a:gd name="T5" fmla="*/ 2 h 12"/>
                    <a:gd name="T6" fmla="*/ 8 w 11"/>
                    <a:gd name="T7" fmla="*/ 0 h 12"/>
                    <a:gd name="T8" fmla="*/ 4 w 11"/>
                    <a:gd name="T9" fmla="*/ 1 h 12"/>
                    <a:gd name="T10" fmla="*/ 0 w 11"/>
                    <a:gd name="T11" fmla="*/ 4 h 12"/>
                    <a:gd name="T12" fmla="*/ 0 w 11"/>
                    <a:gd name="T13" fmla="*/ 7 h 12"/>
                    <a:gd name="T14" fmla="*/ 3 w 11"/>
                    <a:gd name="T15" fmla="*/ 8 h 12"/>
                    <a:gd name="T16" fmla="*/ 5 w 11"/>
                    <a:gd name="T17" fmla="*/ 11 h 12"/>
                    <a:gd name="T18" fmla="*/ 8 w 11"/>
                    <a:gd name="T19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" h="12">
                      <a:moveTo>
                        <a:pt x="8" y="12"/>
                      </a:moveTo>
                      <a:lnTo>
                        <a:pt x="11" y="7"/>
                      </a:lnTo>
                      <a:lnTo>
                        <a:pt x="10" y="2"/>
                      </a:lnTo>
                      <a:lnTo>
                        <a:pt x="8" y="0"/>
                      </a:lnTo>
                      <a:lnTo>
                        <a:pt x="4" y="1"/>
                      </a:ln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3" y="8"/>
                      </a:lnTo>
                      <a:lnTo>
                        <a:pt x="5" y="11"/>
                      </a:lnTo>
                      <a:lnTo>
                        <a:pt x="8" y="1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10" name="Freeform 210">
                  <a:extLst>
                    <a:ext uri="{FF2B5EF4-FFF2-40B4-BE49-F238E27FC236}">
                      <a16:creationId xmlns:a16="http://schemas.microsoft.com/office/drawing/2014/main" id="{798AB824-BD22-49A0-AFFB-2CB75DE97C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37" y="1324"/>
                  <a:ext cx="22" cy="29"/>
                </a:xfrm>
                <a:custGeom>
                  <a:avLst/>
                  <a:gdLst>
                    <a:gd name="T0" fmla="*/ 22 w 22"/>
                    <a:gd name="T1" fmla="*/ 14 h 29"/>
                    <a:gd name="T2" fmla="*/ 22 w 22"/>
                    <a:gd name="T3" fmla="*/ 10 h 29"/>
                    <a:gd name="T4" fmla="*/ 19 w 22"/>
                    <a:gd name="T5" fmla="*/ 6 h 29"/>
                    <a:gd name="T6" fmla="*/ 9 w 22"/>
                    <a:gd name="T7" fmla="*/ 1 h 29"/>
                    <a:gd name="T8" fmla="*/ 4 w 22"/>
                    <a:gd name="T9" fmla="*/ 0 h 29"/>
                    <a:gd name="T10" fmla="*/ 1 w 22"/>
                    <a:gd name="T11" fmla="*/ 3 h 29"/>
                    <a:gd name="T12" fmla="*/ 0 w 22"/>
                    <a:gd name="T13" fmla="*/ 10 h 29"/>
                    <a:gd name="T14" fmla="*/ 0 w 22"/>
                    <a:gd name="T15" fmla="*/ 18 h 29"/>
                    <a:gd name="T16" fmla="*/ 1 w 22"/>
                    <a:gd name="T17" fmla="*/ 22 h 29"/>
                    <a:gd name="T18" fmla="*/ 2 w 22"/>
                    <a:gd name="T19" fmla="*/ 26 h 29"/>
                    <a:gd name="T20" fmla="*/ 3 w 22"/>
                    <a:gd name="T21" fmla="*/ 25 h 29"/>
                    <a:gd name="T22" fmla="*/ 5 w 22"/>
                    <a:gd name="T23" fmla="*/ 27 h 29"/>
                    <a:gd name="T24" fmla="*/ 4 w 22"/>
                    <a:gd name="T25" fmla="*/ 29 h 29"/>
                    <a:gd name="T26" fmla="*/ 7 w 22"/>
                    <a:gd name="T27" fmla="*/ 29 h 29"/>
                    <a:gd name="T28" fmla="*/ 9 w 22"/>
                    <a:gd name="T29" fmla="*/ 27 h 29"/>
                    <a:gd name="T30" fmla="*/ 11 w 22"/>
                    <a:gd name="T31" fmla="*/ 27 h 29"/>
                    <a:gd name="T32" fmla="*/ 15 w 22"/>
                    <a:gd name="T33" fmla="*/ 23 h 29"/>
                    <a:gd name="T34" fmla="*/ 18 w 22"/>
                    <a:gd name="T35" fmla="*/ 19 h 29"/>
                    <a:gd name="T36" fmla="*/ 18 w 22"/>
                    <a:gd name="T37" fmla="*/ 13 h 29"/>
                    <a:gd name="T38" fmla="*/ 20 w 22"/>
                    <a:gd name="T39" fmla="*/ 10 h 29"/>
                    <a:gd name="T40" fmla="*/ 21 w 22"/>
                    <a:gd name="T41" fmla="*/ 13 h 29"/>
                    <a:gd name="T42" fmla="*/ 20 w 22"/>
                    <a:gd name="T43" fmla="*/ 18 h 29"/>
                    <a:gd name="T44" fmla="*/ 22 w 22"/>
                    <a:gd name="T45" fmla="*/ 14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2" h="29">
                      <a:moveTo>
                        <a:pt x="22" y="14"/>
                      </a:moveTo>
                      <a:lnTo>
                        <a:pt x="22" y="10"/>
                      </a:lnTo>
                      <a:lnTo>
                        <a:pt x="19" y="6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1" y="3"/>
                      </a:lnTo>
                      <a:lnTo>
                        <a:pt x="0" y="10"/>
                      </a:lnTo>
                      <a:lnTo>
                        <a:pt x="0" y="18"/>
                      </a:lnTo>
                      <a:lnTo>
                        <a:pt x="1" y="22"/>
                      </a:lnTo>
                      <a:lnTo>
                        <a:pt x="2" y="26"/>
                      </a:lnTo>
                      <a:lnTo>
                        <a:pt x="3" y="25"/>
                      </a:lnTo>
                      <a:lnTo>
                        <a:pt x="5" y="27"/>
                      </a:lnTo>
                      <a:lnTo>
                        <a:pt x="4" y="29"/>
                      </a:lnTo>
                      <a:lnTo>
                        <a:pt x="7" y="29"/>
                      </a:lnTo>
                      <a:lnTo>
                        <a:pt x="9" y="27"/>
                      </a:lnTo>
                      <a:lnTo>
                        <a:pt x="11" y="27"/>
                      </a:lnTo>
                      <a:lnTo>
                        <a:pt x="15" y="23"/>
                      </a:lnTo>
                      <a:lnTo>
                        <a:pt x="18" y="19"/>
                      </a:lnTo>
                      <a:lnTo>
                        <a:pt x="18" y="13"/>
                      </a:lnTo>
                      <a:lnTo>
                        <a:pt x="20" y="10"/>
                      </a:lnTo>
                      <a:lnTo>
                        <a:pt x="21" y="13"/>
                      </a:lnTo>
                      <a:lnTo>
                        <a:pt x="20" y="18"/>
                      </a:lnTo>
                      <a:lnTo>
                        <a:pt x="22" y="1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11" name="Freeform 211">
                  <a:extLst>
                    <a:ext uri="{FF2B5EF4-FFF2-40B4-BE49-F238E27FC236}">
                      <a16:creationId xmlns:a16="http://schemas.microsoft.com/office/drawing/2014/main" id="{E59EB454-82B9-4925-BB35-23B71CDA7E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21" y="882"/>
                  <a:ext cx="6" cy="5"/>
                </a:xfrm>
                <a:custGeom>
                  <a:avLst/>
                  <a:gdLst>
                    <a:gd name="T0" fmla="*/ 1 w 6"/>
                    <a:gd name="T1" fmla="*/ 0 h 5"/>
                    <a:gd name="T2" fmla="*/ 0 w 6"/>
                    <a:gd name="T3" fmla="*/ 3 h 5"/>
                    <a:gd name="T4" fmla="*/ 3 w 6"/>
                    <a:gd name="T5" fmla="*/ 4 h 5"/>
                    <a:gd name="T6" fmla="*/ 5 w 6"/>
                    <a:gd name="T7" fmla="*/ 5 h 5"/>
                    <a:gd name="T8" fmla="*/ 6 w 6"/>
                    <a:gd name="T9" fmla="*/ 3 h 5"/>
                    <a:gd name="T10" fmla="*/ 3 w 6"/>
                    <a:gd name="T11" fmla="*/ 0 h 5"/>
                    <a:gd name="T12" fmla="*/ 1 w 6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5">
                      <a:moveTo>
                        <a:pt x="1" y="0"/>
                      </a:moveTo>
                      <a:lnTo>
                        <a:pt x="0" y="3"/>
                      </a:lnTo>
                      <a:lnTo>
                        <a:pt x="3" y="4"/>
                      </a:lnTo>
                      <a:lnTo>
                        <a:pt x="5" y="5"/>
                      </a:lnTo>
                      <a:lnTo>
                        <a:pt x="6" y="3"/>
                      </a:lnTo>
                      <a:lnTo>
                        <a:pt x="3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12" name="Freeform 212">
                  <a:extLst>
                    <a:ext uri="{FF2B5EF4-FFF2-40B4-BE49-F238E27FC236}">
                      <a16:creationId xmlns:a16="http://schemas.microsoft.com/office/drawing/2014/main" id="{7C3EEFD5-5A09-4C57-8EB4-EA6DFCFBCD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12" y="1351"/>
                  <a:ext cx="3" cy="7"/>
                </a:xfrm>
                <a:custGeom>
                  <a:avLst/>
                  <a:gdLst>
                    <a:gd name="T0" fmla="*/ 0 w 3"/>
                    <a:gd name="T1" fmla="*/ 4 h 7"/>
                    <a:gd name="T2" fmla="*/ 0 w 3"/>
                    <a:gd name="T3" fmla="*/ 5 h 7"/>
                    <a:gd name="T4" fmla="*/ 1 w 3"/>
                    <a:gd name="T5" fmla="*/ 7 h 7"/>
                    <a:gd name="T6" fmla="*/ 3 w 3"/>
                    <a:gd name="T7" fmla="*/ 3 h 7"/>
                    <a:gd name="T8" fmla="*/ 3 w 3"/>
                    <a:gd name="T9" fmla="*/ 0 h 7"/>
                    <a:gd name="T10" fmla="*/ 1 w 3"/>
                    <a:gd name="T11" fmla="*/ 1 h 7"/>
                    <a:gd name="T12" fmla="*/ 0 w 3"/>
                    <a:gd name="T13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7">
                      <a:moveTo>
                        <a:pt x="0" y="4"/>
                      </a:moveTo>
                      <a:lnTo>
                        <a:pt x="0" y="5"/>
                      </a:lnTo>
                      <a:lnTo>
                        <a:pt x="1" y="7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13" name="Freeform 213">
                  <a:extLst>
                    <a:ext uri="{FF2B5EF4-FFF2-40B4-BE49-F238E27FC236}">
                      <a16:creationId xmlns:a16="http://schemas.microsoft.com/office/drawing/2014/main" id="{1DD6605E-3D3A-4A1B-9AFB-31FB14DFFD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18" y="1334"/>
                  <a:ext cx="6" cy="4"/>
                </a:xfrm>
                <a:custGeom>
                  <a:avLst/>
                  <a:gdLst>
                    <a:gd name="T0" fmla="*/ 2 w 6"/>
                    <a:gd name="T1" fmla="*/ 0 h 4"/>
                    <a:gd name="T2" fmla="*/ 0 w 6"/>
                    <a:gd name="T3" fmla="*/ 1 h 4"/>
                    <a:gd name="T4" fmla="*/ 2 w 6"/>
                    <a:gd name="T5" fmla="*/ 2 h 4"/>
                    <a:gd name="T6" fmla="*/ 3 w 6"/>
                    <a:gd name="T7" fmla="*/ 3 h 4"/>
                    <a:gd name="T8" fmla="*/ 6 w 6"/>
                    <a:gd name="T9" fmla="*/ 4 h 4"/>
                    <a:gd name="T10" fmla="*/ 5 w 6"/>
                    <a:gd name="T11" fmla="*/ 1 h 4"/>
                    <a:gd name="T12" fmla="*/ 2 w 6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2" y="2"/>
                      </a:lnTo>
                      <a:lnTo>
                        <a:pt x="3" y="3"/>
                      </a:lnTo>
                      <a:lnTo>
                        <a:pt x="6" y="4"/>
                      </a:lnTo>
                      <a:lnTo>
                        <a:pt x="5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14" name="Freeform 214">
                  <a:extLst>
                    <a:ext uri="{FF2B5EF4-FFF2-40B4-BE49-F238E27FC236}">
                      <a16:creationId xmlns:a16="http://schemas.microsoft.com/office/drawing/2014/main" id="{8B04642F-B909-4C6F-8F1E-4C0AC5D653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71" y="1354"/>
                  <a:ext cx="7" cy="3"/>
                </a:xfrm>
                <a:custGeom>
                  <a:avLst/>
                  <a:gdLst>
                    <a:gd name="T0" fmla="*/ 1 w 7"/>
                    <a:gd name="T1" fmla="*/ 1 h 3"/>
                    <a:gd name="T2" fmla="*/ 0 w 7"/>
                    <a:gd name="T3" fmla="*/ 3 h 3"/>
                    <a:gd name="T4" fmla="*/ 1 w 7"/>
                    <a:gd name="T5" fmla="*/ 3 h 3"/>
                    <a:gd name="T6" fmla="*/ 2 w 7"/>
                    <a:gd name="T7" fmla="*/ 2 h 3"/>
                    <a:gd name="T8" fmla="*/ 5 w 7"/>
                    <a:gd name="T9" fmla="*/ 1 h 3"/>
                    <a:gd name="T10" fmla="*/ 7 w 7"/>
                    <a:gd name="T11" fmla="*/ 0 h 3"/>
                    <a:gd name="T12" fmla="*/ 3 w 7"/>
                    <a:gd name="T13" fmla="*/ 0 h 3"/>
                    <a:gd name="T14" fmla="*/ 1 w 7"/>
                    <a:gd name="T15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3">
                      <a:moveTo>
                        <a:pt x="1" y="1"/>
                      </a:move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2" y="2"/>
                      </a:lnTo>
                      <a:lnTo>
                        <a:pt x="5" y="1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15" name="Freeform 215">
                  <a:extLst>
                    <a:ext uri="{FF2B5EF4-FFF2-40B4-BE49-F238E27FC236}">
                      <a16:creationId xmlns:a16="http://schemas.microsoft.com/office/drawing/2014/main" id="{057FC118-63E1-4022-961B-8845E2D6A3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14" y="1334"/>
                  <a:ext cx="3" cy="3"/>
                </a:xfrm>
                <a:custGeom>
                  <a:avLst/>
                  <a:gdLst>
                    <a:gd name="T0" fmla="*/ 3 w 3"/>
                    <a:gd name="T1" fmla="*/ 1 h 3"/>
                    <a:gd name="T2" fmla="*/ 2 w 3"/>
                    <a:gd name="T3" fmla="*/ 0 h 3"/>
                    <a:gd name="T4" fmla="*/ 0 w 3"/>
                    <a:gd name="T5" fmla="*/ 2 h 3"/>
                    <a:gd name="T6" fmla="*/ 0 w 3"/>
                    <a:gd name="T7" fmla="*/ 3 h 3"/>
                    <a:gd name="T8" fmla="*/ 2 w 3"/>
                    <a:gd name="T9" fmla="*/ 3 h 3"/>
                    <a:gd name="T10" fmla="*/ 3 w 3"/>
                    <a:gd name="T11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3">
                      <a:moveTo>
                        <a:pt x="3" y="1"/>
                      </a:move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16" name="Freeform 216">
                  <a:extLst>
                    <a:ext uri="{FF2B5EF4-FFF2-40B4-BE49-F238E27FC236}">
                      <a16:creationId xmlns:a16="http://schemas.microsoft.com/office/drawing/2014/main" id="{7739D44A-A995-4C85-8910-15B15AE168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52" y="1175"/>
                  <a:ext cx="76" cy="107"/>
                </a:xfrm>
                <a:custGeom>
                  <a:avLst/>
                  <a:gdLst>
                    <a:gd name="T0" fmla="*/ 98 w 99"/>
                    <a:gd name="T1" fmla="*/ 125 h 139"/>
                    <a:gd name="T2" fmla="*/ 95 w 99"/>
                    <a:gd name="T3" fmla="*/ 117 h 139"/>
                    <a:gd name="T4" fmla="*/ 87 w 99"/>
                    <a:gd name="T5" fmla="*/ 111 h 139"/>
                    <a:gd name="T6" fmla="*/ 75 w 99"/>
                    <a:gd name="T7" fmla="*/ 101 h 139"/>
                    <a:gd name="T8" fmla="*/ 61 w 99"/>
                    <a:gd name="T9" fmla="*/ 83 h 139"/>
                    <a:gd name="T10" fmla="*/ 55 w 99"/>
                    <a:gd name="T11" fmla="*/ 55 h 139"/>
                    <a:gd name="T12" fmla="*/ 50 w 99"/>
                    <a:gd name="T13" fmla="*/ 34 h 139"/>
                    <a:gd name="T14" fmla="*/ 48 w 99"/>
                    <a:gd name="T15" fmla="*/ 27 h 139"/>
                    <a:gd name="T16" fmla="*/ 44 w 99"/>
                    <a:gd name="T17" fmla="*/ 25 h 139"/>
                    <a:gd name="T18" fmla="*/ 53 w 99"/>
                    <a:gd name="T19" fmla="*/ 14 h 139"/>
                    <a:gd name="T20" fmla="*/ 46 w 99"/>
                    <a:gd name="T21" fmla="*/ 12 h 139"/>
                    <a:gd name="T22" fmla="*/ 53 w 99"/>
                    <a:gd name="T23" fmla="*/ 6 h 139"/>
                    <a:gd name="T24" fmla="*/ 36 w 99"/>
                    <a:gd name="T25" fmla="*/ 2 h 139"/>
                    <a:gd name="T26" fmla="*/ 24 w 99"/>
                    <a:gd name="T27" fmla="*/ 5 h 139"/>
                    <a:gd name="T28" fmla="*/ 10 w 99"/>
                    <a:gd name="T29" fmla="*/ 11 h 139"/>
                    <a:gd name="T30" fmla="*/ 10 w 99"/>
                    <a:gd name="T31" fmla="*/ 23 h 139"/>
                    <a:gd name="T32" fmla="*/ 13 w 99"/>
                    <a:gd name="T33" fmla="*/ 27 h 139"/>
                    <a:gd name="T34" fmla="*/ 3 w 99"/>
                    <a:gd name="T35" fmla="*/ 35 h 139"/>
                    <a:gd name="T36" fmla="*/ 8 w 99"/>
                    <a:gd name="T37" fmla="*/ 41 h 139"/>
                    <a:gd name="T38" fmla="*/ 10 w 99"/>
                    <a:gd name="T39" fmla="*/ 43 h 139"/>
                    <a:gd name="T40" fmla="*/ 13 w 99"/>
                    <a:gd name="T41" fmla="*/ 44 h 139"/>
                    <a:gd name="T42" fmla="*/ 14 w 99"/>
                    <a:gd name="T43" fmla="*/ 48 h 139"/>
                    <a:gd name="T44" fmla="*/ 19 w 99"/>
                    <a:gd name="T45" fmla="*/ 54 h 139"/>
                    <a:gd name="T46" fmla="*/ 12 w 99"/>
                    <a:gd name="T47" fmla="*/ 59 h 139"/>
                    <a:gd name="T48" fmla="*/ 13 w 99"/>
                    <a:gd name="T49" fmla="*/ 68 h 139"/>
                    <a:gd name="T50" fmla="*/ 5 w 99"/>
                    <a:gd name="T51" fmla="*/ 66 h 139"/>
                    <a:gd name="T52" fmla="*/ 0 w 99"/>
                    <a:gd name="T53" fmla="*/ 75 h 139"/>
                    <a:gd name="T54" fmla="*/ 1 w 99"/>
                    <a:gd name="T55" fmla="*/ 90 h 139"/>
                    <a:gd name="T56" fmla="*/ 11 w 99"/>
                    <a:gd name="T57" fmla="*/ 102 h 139"/>
                    <a:gd name="T58" fmla="*/ 19 w 99"/>
                    <a:gd name="T59" fmla="*/ 101 h 139"/>
                    <a:gd name="T60" fmla="*/ 21 w 99"/>
                    <a:gd name="T61" fmla="*/ 86 h 139"/>
                    <a:gd name="T62" fmla="*/ 22 w 99"/>
                    <a:gd name="T63" fmla="*/ 90 h 139"/>
                    <a:gd name="T64" fmla="*/ 27 w 99"/>
                    <a:gd name="T65" fmla="*/ 99 h 139"/>
                    <a:gd name="T66" fmla="*/ 31 w 99"/>
                    <a:gd name="T67" fmla="*/ 90 h 139"/>
                    <a:gd name="T68" fmla="*/ 32 w 99"/>
                    <a:gd name="T69" fmla="*/ 98 h 139"/>
                    <a:gd name="T70" fmla="*/ 42 w 99"/>
                    <a:gd name="T71" fmla="*/ 107 h 139"/>
                    <a:gd name="T72" fmla="*/ 46 w 99"/>
                    <a:gd name="T73" fmla="*/ 108 h 139"/>
                    <a:gd name="T74" fmla="*/ 41 w 99"/>
                    <a:gd name="T75" fmla="*/ 112 h 139"/>
                    <a:gd name="T76" fmla="*/ 46 w 99"/>
                    <a:gd name="T77" fmla="*/ 127 h 139"/>
                    <a:gd name="T78" fmla="*/ 58 w 99"/>
                    <a:gd name="T79" fmla="*/ 130 h 139"/>
                    <a:gd name="T80" fmla="*/ 61 w 99"/>
                    <a:gd name="T81" fmla="*/ 130 h 139"/>
                    <a:gd name="T82" fmla="*/ 68 w 99"/>
                    <a:gd name="T83" fmla="*/ 138 h 139"/>
                    <a:gd name="T84" fmla="*/ 65 w 99"/>
                    <a:gd name="T85" fmla="*/ 128 h 139"/>
                    <a:gd name="T86" fmla="*/ 67 w 99"/>
                    <a:gd name="T87" fmla="*/ 126 h 139"/>
                    <a:gd name="T88" fmla="*/ 74 w 99"/>
                    <a:gd name="T89" fmla="*/ 136 h 139"/>
                    <a:gd name="T90" fmla="*/ 78 w 99"/>
                    <a:gd name="T91" fmla="*/ 131 h 139"/>
                    <a:gd name="T92" fmla="*/ 86 w 99"/>
                    <a:gd name="T93" fmla="*/ 137 h 139"/>
                    <a:gd name="T94" fmla="*/ 83 w 99"/>
                    <a:gd name="T95" fmla="*/ 130 h 139"/>
                    <a:gd name="T96" fmla="*/ 90 w 99"/>
                    <a:gd name="T97" fmla="*/ 133 h 139"/>
                    <a:gd name="T98" fmla="*/ 94 w 99"/>
                    <a:gd name="T99" fmla="*/ 139 h 139"/>
                    <a:gd name="T100" fmla="*/ 95 w 99"/>
                    <a:gd name="T101" fmla="*/ 131 h 139"/>
                    <a:gd name="T102" fmla="*/ 92 w 99"/>
                    <a:gd name="T103" fmla="*/ 128 h 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99" h="139">
                      <a:moveTo>
                        <a:pt x="94" y="129"/>
                      </a:moveTo>
                      <a:cubicBezTo>
                        <a:pt x="96" y="129"/>
                        <a:pt x="96" y="129"/>
                        <a:pt x="96" y="129"/>
                      </a:cubicBezTo>
                      <a:cubicBezTo>
                        <a:pt x="98" y="125"/>
                        <a:pt x="98" y="125"/>
                        <a:pt x="98" y="125"/>
                      </a:cubicBezTo>
                      <a:cubicBezTo>
                        <a:pt x="99" y="123"/>
                        <a:pt x="99" y="123"/>
                        <a:pt x="99" y="123"/>
                      </a:cubicBezTo>
                      <a:cubicBezTo>
                        <a:pt x="99" y="120"/>
                        <a:pt x="99" y="120"/>
                        <a:pt x="99" y="120"/>
                      </a:cubicBezTo>
                      <a:cubicBezTo>
                        <a:pt x="95" y="117"/>
                        <a:pt x="95" y="117"/>
                        <a:pt x="95" y="117"/>
                      </a:cubicBezTo>
                      <a:cubicBezTo>
                        <a:pt x="93" y="118"/>
                        <a:pt x="93" y="118"/>
                        <a:pt x="93" y="118"/>
                      </a:cubicBezTo>
                      <a:cubicBezTo>
                        <a:pt x="90" y="117"/>
                        <a:pt x="90" y="117"/>
                        <a:pt x="90" y="117"/>
                      </a:cubicBezTo>
                      <a:cubicBezTo>
                        <a:pt x="87" y="111"/>
                        <a:pt x="87" y="111"/>
                        <a:pt x="87" y="111"/>
                      </a:cubicBezTo>
                      <a:cubicBezTo>
                        <a:pt x="84" y="111"/>
                        <a:pt x="84" y="111"/>
                        <a:pt x="84" y="111"/>
                      </a:cubicBezTo>
                      <a:cubicBezTo>
                        <a:pt x="78" y="106"/>
                        <a:pt x="78" y="106"/>
                        <a:pt x="78" y="106"/>
                      </a:cubicBezTo>
                      <a:cubicBezTo>
                        <a:pt x="75" y="101"/>
                        <a:pt x="75" y="101"/>
                        <a:pt x="75" y="101"/>
                      </a:cubicBezTo>
                      <a:cubicBezTo>
                        <a:pt x="71" y="101"/>
                        <a:pt x="71" y="101"/>
                        <a:pt x="71" y="101"/>
                      </a:cubicBezTo>
                      <a:cubicBezTo>
                        <a:pt x="67" y="92"/>
                        <a:pt x="67" y="92"/>
                        <a:pt x="67" y="92"/>
                      </a:cubicBezTo>
                      <a:cubicBezTo>
                        <a:pt x="61" y="83"/>
                        <a:pt x="61" y="83"/>
                        <a:pt x="61" y="83"/>
                      </a:cubicBezTo>
                      <a:cubicBezTo>
                        <a:pt x="58" y="73"/>
                        <a:pt x="58" y="73"/>
                        <a:pt x="58" y="73"/>
                      </a:cubicBezTo>
                      <a:cubicBezTo>
                        <a:pt x="55" y="66"/>
                        <a:pt x="55" y="66"/>
                        <a:pt x="55" y="66"/>
                      </a:cubicBezTo>
                      <a:cubicBezTo>
                        <a:pt x="55" y="55"/>
                        <a:pt x="55" y="55"/>
                        <a:pt x="55" y="55"/>
                      </a:cubicBezTo>
                      <a:cubicBezTo>
                        <a:pt x="52" y="49"/>
                        <a:pt x="52" y="49"/>
                        <a:pt x="52" y="49"/>
                      </a:cubicBezTo>
                      <a:cubicBezTo>
                        <a:pt x="50" y="37"/>
                        <a:pt x="50" y="37"/>
                        <a:pt x="50" y="37"/>
                      </a:cubicBezTo>
                      <a:cubicBezTo>
                        <a:pt x="50" y="34"/>
                        <a:pt x="50" y="34"/>
                        <a:pt x="50" y="34"/>
                      </a:cubicBezTo>
                      <a:cubicBezTo>
                        <a:pt x="51" y="31"/>
                        <a:pt x="51" y="31"/>
                        <a:pt x="51" y="31"/>
                      </a:cubicBez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3" y="27"/>
                        <a:pt x="43" y="27"/>
                        <a:pt x="43" y="27"/>
                      </a:cubicBez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9" y="26"/>
                        <a:pt x="49" y="26"/>
                        <a:pt x="49" y="26"/>
                      </a:cubicBezTo>
                      <a:cubicBezTo>
                        <a:pt x="53" y="23"/>
                        <a:pt x="53" y="23"/>
                        <a:pt x="53" y="23"/>
                      </a:cubicBezTo>
                      <a:cubicBezTo>
                        <a:pt x="53" y="14"/>
                        <a:pt x="53" y="14"/>
                        <a:pt x="53" y="14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6" y="12"/>
                        <a:pt x="46" y="12"/>
                        <a:pt x="46" y="12"/>
                      </a:cubicBezTo>
                      <a:cubicBezTo>
                        <a:pt x="47" y="10"/>
                        <a:pt x="47" y="10"/>
                        <a:pt x="47" y="10"/>
                      </a:cubicBezTo>
                      <a:cubicBezTo>
                        <a:pt x="52" y="8"/>
                        <a:pt x="52" y="8"/>
                        <a:pt x="52" y="8"/>
                      </a:cubicBezTo>
                      <a:cubicBezTo>
                        <a:pt x="53" y="6"/>
                        <a:pt x="53" y="6"/>
                        <a:pt x="53" y="6"/>
                      </a:cubicBezTo>
                      <a:cubicBezTo>
                        <a:pt x="52" y="4"/>
                        <a:pt x="52" y="4"/>
                        <a:pt x="52" y="4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36" y="2"/>
                        <a:pt x="36" y="2"/>
                        <a:pt x="36" y="2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4" y="5"/>
                        <a:pt x="24" y="5"/>
                        <a:pt x="24" y="5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0" y="11"/>
                        <a:pt x="10" y="11"/>
                        <a:pt x="10" y="11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9" y="19"/>
                        <a:pt x="9" y="19"/>
                        <a:pt x="9" y="19"/>
                      </a:cubicBezTo>
                      <a:cubicBezTo>
                        <a:pt x="10" y="23"/>
                        <a:pt x="10" y="23"/>
                        <a:pt x="10" y="23"/>
                      </a:cubicBezTo>
                      <a:cubicBezTo>
                        <a:pt x="13" y="23"/>
                        <a:pt x="13" y="23"/>
                        <a:pt x="13" y="23"/>
                      </a:cubicBezTo>
                      <a:cubicBezTo>
                        <a:pt x="14" y="25"/>
                        <a:pt x="14" y="25"/>
                        <a:pt x="14" y="25"/>
                      </a:cubicBezTo>
                      <a:cubicBezTo>
                        <a:pt x="13" y="27"/>
                        <a:pt x="13" y="27"/>
                        <a:pt x="13" y="27"/>
                      </a:cubicBezTo>
                      <a:cubicBezTo>
                        <a:pt x="10" y="27"/>
                        <a:pt x="10" y="27"/>
                        <a:pt x="10" y="27"/>
                      </a:cubicBezTo>
                      <a:cubicBezTo>
                        <a:pt x="6" y="29"/>
                        <a:pt x="6" y="29"/>
                        <a:pt x="6" y="29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3" y="40"/>
                        <a:pt x="3" y="40"/>
                        <a:pt x="3" y="40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3" y="40"/>
                        <a:pt x="13" y="40"/>
                        <a:pt x="13" y="40"/>
                      </a:cubicBezTo>
                      <a:cubicBezTo>
                        <a:pt x="10" y="43"/>
                        <a:pt x="10" y="43"/>
                        <a:pt x="10" y="43"/>
                      </a:cubicBezTo>
                      <a:cubicBezTo>
                        <a:pt x="9" y="47"/>
                        <a:pt x="9" y="47"/>
                        <a:pt x="9" y="47"/>
                      </a:cubicBezTo>
                      <a:cubicBezTo>
                        <a:pt x="11" y="47"/>
                        <a:pt x="11" y="47"/>
                        <a:pt x="11" y="47"/>
                      </a:cubicBezTo>
                      <a:cubicBezTo>
                        <a:pt x="13" y="44"/>
                        <a:pt x="13" y="44"/>
                        <a:pt x="13" y="44"/>
                      </a:cubicBezTo>
                      <a:cubicBezTo>
                        <a:pt x="16" y="43"/>
                        <a:pt x="16" y="43"/>
                        <a:pt x="16" y="43"/>
                      </a:cubicBezTo>
                      <a:cubicBezTo>
                        <a:pt x="17" y="45"/>
                        <a:pt x="17" y="45"/>
                        <a:pt x="17" y="45"/>
                      </a:cubicBezTo>
                      <a:cubicBezTo>
                        <a:pt x="14" y="48"/>
                        <a:pt x="14" y="48"/>
                        <a:pt x="14" y="48"/>
                      </a:cubicBezTo>
                      <a:cubicBezTo>
                        <a:pt x="13" y="51"/>
                        <a:pt x="13" y="51"/>
                        <a:pt x="13" y="51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54"/>
                        <a:pt x="19" y="54"/>
                        <a:pt x="19" y="54"/>
                      </a:cubicBezTo>
                      <a:cubicBezTo>
                        <a:pt x="17" y="56"/>
                        <a:pt x="17" y="56"/>
                        <a:pt x="17" y="56"/>
                      </a:cubicBez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2" y="59"/>
                        <a:pt x="12" y="59"/>
                        <a:pt x="12" y="59"/>
                      </a:cubicBezTo>
                      <a:cubicBezTo>
                        <a:pt x="12" y="62"/>
                        <a:pt x="12" y="62"/>
                        <a:pt x="12" y="62"/>
                      </a:cubicBezTo>
                      <a:cubicBezTo>
                        <a:pt x="14" y="66"/>
                        <a:pt x="14" y="66"/>
                        <a:pt x="14" y="66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1" y="67"/>
                        <a:pt x="11" y="67"/>
                        <a:pt x="11" y="67"/>
                      </a:cubicBezTo>
                      <a:cubicBezTo>
                        <a:pt x="8" y="68"/>
                        <a:pt x="8" y="68"/>
                        <a:pt x="8" y="68"/>
                      </a:cubicBezTo>
                      <a:cubicBezTo>
                        <a:pt x="5" y="66"/>
                        <a:pt x="5" y="66"/>
                        <a:pt x="5" y="66"/>
                      </a:cubicBezTo>
                      <a:cubicBezTo>
                        <a:pt x="3" y="66"/>
                        <a:pt x="3" y="66"/>
                        <a:pt x="3" y="66"/>
                      </a:cubicBezTo>
                      <a:cubicBezTo>
                        <a:pt x="0" y="71"/>
                        <a:pt x="0" y="71"/>
                        <a:pt x="0" y="71"/>
                      </a:cubicBezTo>
                      <a:cubicBezTo>
                        <a:pt x="0" y="75"/>
                        <a:pt x="0" y="75"/>
                        <a:pt x="0" y="75"/>
                      </a:cubicBezTo>
                      <a:cubicBezTo>
                        <a:pt x="1" y="81"/>
                        <a:pt x="1" y="81"/>
                        <a:pt x="1" y="81"/>
                      </a:cubicBezTo>
                      <a:cubicBezTo>
                        <a:pt x="0" y="86"/>
                        <a:pt x="0" y="86"/>
                        <a:pt x="0" y="86"/>
                      </a:cubicBezTo>
                      <a:cubicBezTo>
                        <a:pt x="1" y="90"/>
                        <a:pt x="1" y="90"/>
                        <a:pt x="1" y="90"/>
                      </a:cubicBezTo>
                      <a:cubicBezTo>
                        <a:pt x="6" y="95"/>
                        <a:pt x="6" y="95"/>
                        <a:pt x="6" y="95"/>
                      </a:cubicBezTo>
                      <a:cubicBezTo>
                        <a:pt x="6" y="97"/>
                        <a:pt x="6" y="97"/>
                        <a:pt x="6" y="97"/>
                      </a:cubicBezTo>
                      <a:cubicBezTo>
                        <a:pt x="11" y="102"/>
                        <a:pt x="11" y="102"/>
                        <a:pt x="11" y="102"/>
                      </a:cubicBezTo>
                      <a:cubicBezTo>
                        <a:pt x="14" y="103"/>
                        <a:pt x="14" y="103"/>
                        <a:pt x="14" y="103"/>
                      </a:cubicBezTo>
                      <a:cubicBezTo>
                        <a:pt x="16" y="102"/>
                        <a:pt x="16" y="102"/>
                        <a:pt x="16" y="102"/>
                      </a:cubicBezTo>
                      <a:cubicBezTo>
                        <a:pt x="19" y="101"/>
                        <a:pt x="19" y="101"/>
                        <a:pt x="19" y="101"/>
                      </a:cubicBezTo>
                      <a:cubicBezTo>
                        <a:pt x="22" y="96"/>
                        <a:pt x="22" y="96"/>
                        <a:pt x="22" y="96"/>
                      </a:cubicBezTo>
                      <a:cubicBezTo>
                        <a:pt x="21" y="90"/>
                        <a:pt x="21" y="90"/>
                        <a:pt x="21" y="90"/>
                      </a:cubicBezTo>
                      <a:cubicBezTo>
                        <a:pt x="21" y="86"/>
                        <a:pt x="21" y="86"/>
                        <a:pt x="21" y="86"/>
                      </a:cubicBezTo>
                      <a:cubicBezTo>
                        <a:pt x="24" y="82"/>
                        <a:pt x="24" y="82"/>
                        <a:pt x="24" y="82"/>
                      </a:cubicBezTo>
                      <a:cubicBezTo>
                        <a:pt x="22" y="87"/>
                        <a:pt x="22" y="87"/>
                        <a:pt x="22" y="87"/>
                      </a:cubicBezTo>
                      <a:cubicBezTo>
                        <a:pt x="22" y="90"/>
                        <a:pt x="22" y="90"/>
                        <a:pt x="22" y="90"/>
                      </a:cubicBezTo>
                      <a:cubicBezTo>
                        <a:pt x="23" y="93"/>
                        <a:pt x="23" y="93"/>
                        <a:pt x="23" y="93"/>
                      </a:cubicBezTo>
                      <a:cubicBezTo>
                        <a:pt x="25" y="99"/>
                        <a:pt x="25" y="99"/>
                        <a:pt x="25" y="99"/>
                      </a:cubicBezTo>
                      <a:cubicBezTo>
                        <a:pt x="27" y="99"/>
                        <a:pt x="27" y="99"/>
                        <a:pt x="27" y="99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29" y="94"/>
                        <a:pt x="29" y="94"/>
                        <a:pt x="29" y="94"/>
                      </a:cubicBezTo>
                      <a:cubicBezTo>
                        <a:pt x="31" y="90"/>
                        <a:pt x="31" y="90"/>
                        <a:pt x="31" y="90"/>
                      </a:cubicBezTo>
                      <a:cubicBezTo>
                        <a:pt x="32" y="92"/>
                        <a:pt x="32" y="92"/>
                        <a:pt x="32" y="92"/>
                      </a:cubicBezTo>
                      <a:cubicBezTo>
                        <a:pt x="32" y="94"/>
                        <a:pt x="32" y="94"/>
                        <a:pt x="32" y="94"/>
                      </a:cubicBezTo>
                      <a:cubicBezTo>
                        <a:pt x="32" y="98"/>
                        <a:pt x="32" y="98"/>
                        <a:pt x="32" y="98"/>
                      </a:cubicBezTo>
                      <a:cubicBezTo>
                        <a:pt x="35" y="105"/>
                        <a:pt x="35" y="105"/>
                        <a:pt x="35" y="105"/>
                      </a:cubicBezTo>
                      <a:cubicBezTo>
                        <a:pt x="40" y="108"/>
                        <a:pt x="40" y="108"/>
                        <a:pt x="40" y="108"/>
                      </a:cubicBezTo>
                      <a:cubicBezTo>
                        <a:pt x="42" y="107"/>
                        <a:pt x="42" y="107"/>
                        <a:pt x="42" y="107"/>
                      </a:cubicBezTo>
                      <a:cubicBezTo>
                        <a:pt x="45" y="105"/>
                        <a:pt x="45" y="105"/>
                        <a:pt x="45" y="105"/>
                      </a:cubicBezTo>
                      <a:cubicBezTo>
                        <a:pt x="47" y="106"/>
                        <a:pt x="47" y="106"/>
                        <a:pt x="47" y="106"/>
                      </a:cubicBezTo>
                      <a:cubicBezTo>
                        <a:pt x="46" y="108"/>
                        <a:pt x="46" y="108"/>
                        <a:pt x="46" y="108"/>
                      </a:cubicBezTo>
                      <a:cubicBezTo>
                        <a:pt x="44" y="108"/>
                        <a:pt x="44" y="108"/>
                        <a:pt x="44" y="108"/>
                      </a:cubicBezTo>
                      <a:cubicBezTo>
                        <a:pt x="43" y="111"/>
                        <a:pt x="43" y="111"/>
                        <a:pt x="43" y="111"/>
                      </a:cubicBezTo>
                      <a:cubicBezTo>
                        <a:pt x="41" y="112"/>
                        <a:pt x="41" y="112"/>
                        <a:pt x="41" y="112"/>
                      </a:cubicBezTo>
                      <a:cubicBezTo>
                        <a:pt x="42" y="113"/>
                        <a:pt x="43" y="115"/>
                        <a:pt x="44" y="117"/>
                      </a:cubicBezTo>
                      <a:cubicBezTo>
                        <a:pt x="44" y="120"/>
                        <a:pt x="45" y="123"/>
                        <a:pt x="44" y="127"/>
                      </a:cubicBezTo>
                      <a:cubicBezTo>
                        <a:pt x="46" y="127"/>
                        <a:pt x="46" y="127"/>
                        <a:pt x="46" y="127"/>
                      </a:cubicBezTo>
                      <a:cubicBezTo>
                        <a:pt x="50" y="129"/>
                        <a:pt x="50" y="129"/>
                        <a:pt x="50" y="129"/>
                      </a:cubicBezTo>
                      <a:cubicBezTo>
                        <a:pt x="54" y="128"/>
                        <a:pt x="54" y="128"/>
                        <a:pt x="54" y="128"/>
                      </a:cubicBezTo>
                      <a:cubicBezTo>
                        <a:pt x="58" y="130"/>
                        <a:pt x="58" y="130"/>
                        <a:pt x="58" y="130"/>
                      </a:cubicBezTo>
                      <a:cubicBezTo>
                        <a:pt x="58" y="126"/>
                        <a:pt x="58" y="126"/>
                        <a:pt x="58" y="126"/>
                      </a:cubicBezTo>
                      <a:cubicBezTo>
                        <a:pt x="60" y="127"/>
                        <a:pt x="60" y="127"/>
                        <a:pt x="60" y="127"/>
                      </a:cubicBezTo>
                      <a:cubicBezTo>
                        <a:pt x="61" y="130"/>
                        <a:pt x="61" y="130"/>
                        <a:pt x="61" y="130"/>
                      </a:cubicBezTo>
                      <a:cubicBezTo>
                        <a:pt x="63" y="136"/>
                        <a:pt x="63" y="136"/>
                        <a:pt x="63" y="136"/>
                      </a:cubicBezTo>
                      <a:cubicBezTo>
                        <a:pt x="65" y="138"/>
                        <a:pt x="65" y="138"/>
                        <a:pt x="65" y="138"/>
                      </a:cubicBezTo>
                      <a:cubicBezTo>
                        <a:pt x="68" y="138"/>
                        <a:pt x="68" y="138"/>
                        <a:pt x="68" y="138"/>
                      </a:cubicBezTo>
                      <a:cubicBezTo>
                        <a:pt x="70" y="135"/>
                        <a:pt x="70" y="135"/>
                        <a:pt x="70" y="135"/>
                      </a:cubicBezTo>
                      <a:cubicBezTo>
                        <a:pt x="70" y="130"/>
                        <a:pt x="70" y="130"/>
                        <a:pt x="70" y="130"/>
                      </a:cubicBez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3" y="126"/>
                        <a:pt x="63" y="126"/>
                        <a:pt x="63" y="126"/>
                      </a:cubicBezTo>
                      <a:cubicBezTo>
                        <a:pt x="65" y="125"/>
                        <a:pt x="65" y="125"/>
                        <a:pt x="65" y="125"/>
                      </a:cubicBezTo>
                      <a:cubicBezTo>
                        <a:pt x="67" y="126"/>
                        <a:pt x="67" y="126"/>
                        <a:pt x="67" y="126"/>
                      </a:cubicBezTo>
                      <a:cubicBezTo>
                        <a:pt x="71" y="129"/>
                        <a:pt x="71" y="129"/>
                        <a:pt x="71" y="129"/>
                      </a:cubicBezTo>
                      <a:cubicBezTo>
                        <a:pt x="73" y="132"/>
                        <a:pt x="73" y="132"/>
                        <a:pt x="73" y="132"/>
                      </a:cubicBezTo>
                      <a:cubicBezTo>
                        <a:pt x="74" y="136"/>
                        <a:pt x="74" y="136"/>
                        <a:pt x="74" y="136"/>
                      </a:cubicBezTo>
                      <a:cubicBezTo>
                        <a:pt x="75" y="136"/>
                        <a:pt x="75" y="136"/>
                        <a:pt x="75" y="136"/>
                      </a:cubicBezTo>
                      <a:cubicBezTo>
                        <a:pt x="76" y="132"/>
                        <a:pt x="76" y="132"/>
                        <a:pt x="76" y="132"/>
                      </a:cubicBezTo>
                      <a:cubicBezTo>
                        <a:pt x="78" y="131"/>
                        <a:pt x="78" y="131"/>
                        <a:pt x="78" y="131"/>
                      </a:cubicBezTo>
                      <a:cubicBezTo>
                        <a:pt x="80" y="135"/>
                        <a:pt x="80" y="135"/>
                        <a:pt x="80" y="135"/>
                      </a:cubicBezTo>
                      <a:cubicBezTo>
                        <a:pt x="84" y="137"/>
                        <a:pt x="84" y="137"/>
                        <a:pt x="84" y="137"/>
                      </a:cubicBezTo>
                      <a:cubicBezTo>
                        <a:pt x="86" y="137"/>
                        <a:pt x="86" y="137"/>
                        <a:pt x="86" y="137"/>
                      </a:cubicBezTo>
                      <a:cubicBezTo>
                        <a:pt x="86" y="134"/>
                        <a:pt x="86" y="134"/>
                        <a:pt x="86" y="134"/>
                      </a:cubicBezTo>
                      <a:cubicBezTo>
                        <a:pt x="83" y="131"/>
                        <a:pt x="83" y="131"/>
                        <a:pt x="83" y="131"/>
                      </a:cubicBezTo>
                      <a:cubicBezTo>
                        <a:pt x="83" y="130"/>
                        <a:pt x="83" y="130"/>
                        <a:pt x="83" y="130"/>
                      </a:cubicBezTo>
                      <a:cubicBezTo>
                        <a:pt x="85" y="129"/>
                        <a:pt x="85" y="129"/>
                        <a:pt x="85" y="129"/>
                      </a:cubicBezTo>
                      <a:cubicBezTo>
                        <a:pt x="89" y="131"/>
                        <a:pt x="89" y="131"/>
                        <a:pt x="89" y="131"/>
                      </a:cubicBezTo>
                      <a:cubicBezTo>
                        <a:pt x="90" y="133"/>
                        <a:pt x="90" y="133"/>
                        <a:pt x="90" y="133"/>
                      </a:cubicBezTo>
                      <a:cubicBezTo>
                        <a:pt x="91" y="133"/>
                        <a:pt x="91" y="133"/>
                        <a:pt x="91" y="133"/>
                      </a:cubicBezTo>
                      <a:cubicBezTo>
                        <a:pt x="92" y="137"/>
                        <a:pt x="92" y="137"/>
                        <a:pt x="92" y="137"/>
                      </a:cubicBezTo>
                      <a:cubicBezTo>
                        <a:pt x="94" y="139"/>
                        <a:pt x="94" y="139"/>
                        <a:pt x="94" y="139"/>
                      </a:cubicBezTo>
                      <a:cubicBezTo>
                        <a:pt x="96" y="138"/>
                        <a:pt x="96" y="138"/>
                        <a:pt x="96" y="138"/>
                      </a:cubicBezTo>
                      <a:cubicBezTo>
                        <a:pt x="97" y="135"/>
                        <a:pt x="97" y="135"/>
                        <a:pt x="97" y="135"/>
                      </a:cubicBezTo>
                      <a:cubicBezTo>
                        <a:pt x="95" y="131"/>
                        <a:pt x="95" y="131"/>
                        <a:pt x="95" y="131"/>
                      </a:cubicBezTo>
                      <a:cubicBezTo>
                        <a:pt x="93" y="131"/>
                        <a:pt x="93" y="131"/>
                        <a:pt x="93" y="131"/>
                      </a:cubicBezTo>
                      <a:cubicBezTo>
                        <a:pt x="91" y="129"/>
                        <a:pt x="91" y="129"/>
                        <a:pt x="91" y="129"/>
                      </a:cubicBezTo>
                      <a:cubicBezTo>
                        <a:pt x="92" y="128"/>
                        <a:pt x="92" y="128"/>
                        <a:pt x="92" y="128"/>
                      </a:cubicBezTo>
                      <a:lnTo>
                        <a:pt x="94" y="12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17" name="Freeform 217">
                  <a:extLst>
                    <a:ext uri="{FF2B5EF4-FFF2-40B4-BE49-F238E27FC236}">
                      <a16:creationId xmlns:a16="http://schemas.microsoft.com/office/drawing/2014/main" id="{43F794B3-FED9-4599-9213-1817D3BA43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40" y="1334"/>
                  <a:ext cx="8" cy="6"/>
                </a:xfrm>
                <a:custGeom>
                  <a:avLst/>
                  <a:gdLst>
                    <a:gd name="T0" fmla="*/ 2 w 8"/>
                    <a:gd name="T1" fmla="*/ 3 h 6"/>
                    <a:gd name="T2" fmla="*/ 0 w 8"/>
                    <a:gd name="T3" fmla="*/ 6 h 6"/>
                    <a:gd name="T4" fmla="*/ 2 w 8"/>
                    <a:gd name="T5" fmla="*/ 6 h 6"/>
                    <a:gd name="T6" fmla="*/ 3 w 8"/>
                    <a:gd name="T7" fmla="*/ 4 h 6"/>
                    <a:gd name="T8" fmla="*/ 7 w 8"/>
                    <a:gd name="T9" fmla="*/ 3 h 6"/>
                    <a:gd name="T10" fmla="*/ 8 w 8"/>
                    <a:gd name="T11" fmla="*/ 1 h 6"/>
                    <a:gd name="T12" fmla="*/ 5 w 8"/>
                    <a:gd name="T13" fmla="*/ 0 h 6"/>
                    <a:gd name="T14" fmla="*/ 2 w 8"/>
                    <a:gd name="T1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" h="6">
                      <a:moveTo>
                        <a:pt x="2" y="3"/>
                      </a:move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3" y="4"/>
                      </a:lnTo>
                      <a:lnTo>
                        <a:pt x="7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18" name="Freeform 218">
                  <a:extLst>
                    <a:ext uri="{FF2B5EF4-FFF2-40B4-BE49-F238E27FC236}">
                      <a16:creationId xmlns:a16="http://schemas.microsoft.com/office/drawing/2014/main" id="{9FF28F0B-01FA-48BD-9E89-6945F45BF3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03" y="851"/>
                  <a:ext cx="19" cy="24"/>
                </a:xfrm>
                <a:custGeom>
                  <a:avLst/>
                  <a:gdLst>
                    <a:gd name="T0" fmla="*/ 0 w 19"/>
                    <a:gd name="T1" fmla="*/ 3 h 24"/>
                    <a:gd name="T2" fmla="*/ 0 w 19"/>
                    <a:gd name="T3" fmla="*/ 5 h 24"/>
                    <a:gd name="T4" fmla="*/ 4 w 19"/>
                    <a:gd name="T5" fmla="*/ 12 h 24"/>
                    <a:gd name="T6" fmla="*/ 4 w 19"/>
                    <a:gd name="T7" fmla="*/ 17 h 24"/>
                    <a:gd name="T8" fmla="*/ 6 w 19"/>
                    <a:gd name="T9" fmla="*/ 23 h 24"/>
                    <a:gd name="T10" fmla="*/ 9 w 19"/>
                    <a:gd name="T11" fmla="*/ 24 h 24"/>
                    <a:gd name="T12" fmla="*/ 11 w 19"/>
                    <a:gd name="T13" fmla="*/ 24 h 24"/>
                    <a:gd name="T14" fmla="*/ 11 w 19"/>
                    <a:gd name="T15" fmla="*/ 23 h 24"/>
                    <a:gd name="T16" fmla="*/ 9 w 19"/>
                    <a:gd name="T17" fmla="*/ 20 h 24"/>
                    <a:gd name="T18" fmla="*/ 9 w 19"/>
                    <a:gd name="T19" fmla="*/ 19 h 24"/>
                    <a:gd name="T20" fmla="*/ 11 w 19"/>
                    <a:gd name="T21" fmla="*/ 17 h 24"/>
                    <a:gd name="T22" fmla="*/ 12 w 19"/>
                    <a:gd name="T23" fmla="*/ 14 h 24"/>
                    <a:gd name="T24" fmla="*/ 13 w 19"/>
                    <a:gd name="T25" fmla="*/ 12 h 24"/>
                    <a:gd name="T26" fmla="*/ 17 w 19"/>
                    <a:gd name="T27" fmla="*/ 9 h 24"/>
                    <a:gd name="T28" fmla="*/ 18 w 19"/>
                    <a:gd name="T29" fmla="*/ 9 h 24"/>
                    <a:gd name="T30" fmla="*/ 19 w 19"/>
                    <a:gd name="T31" fmla="*/ 7 h 24"/>
                    <a:gd name="T32" fmla="*/ 17 w 19"/>
                    <a:gd name="T33" fmla="*/ 7 h 24"/>
                    <a:gd name="T34" fmla="*/ 14 w 19"/>
                    <a:gd name="T35" fmla="*/ 7 h 24"/>
                    <a:gd name="T36" fmla="*/ 9 w 19"/>
                    <a:gd name="T37" fmla="*/ 3 h 24"/>
                    <a:gd name="T38" fmla="*/ 6 w 19"/>
                    <a:gd name="T39" fmla="*/ 0 h 24"/>
                    <a:gd name="T40" fmla="*/ 4 w 19"/>
                    <a:gd name="T41" fmla="*/ 2 h 24"/>
                    <a:gd name="T42" fmla="*/ 2 w 19"/>
                    <a:gd name="T43" fmla="*/ 3 h 24"/>
                    <a:gd name="T44" fmla="*/ 0 w 19"/>
                    <a:gd name="T45" fmla="*/ 3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9" h="24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4" y="12"/>
                      </a:lnTo>
                      <a:lnTo>
                        <a:pt x="4" y="17"/>
                      </a:lnTo>
                      <a:lnTo>
                        <a:pt x="6" y="23"/>
                      </a:lnTo>
                      <a:lnTo>
                        <a:pt x="9" y="24"/>
                      </a:lnTo>
                      <a:lnTo>
                        <a:pt x="11" y="24"/>
                      </a:lnTo>
                      <a:lnTo>
                        <a:pt x="11" y="23"/>
                      </a:lnTo>
                      <a:lnTo>
                        <a:pt x="9" y="20"/>
                      </a:lnTo>
                      <a:lnTo>
                        <a:pt x="9" y="19"/>
                      </a:lnTo>
                      <a:lnTo>
                        <a:pt x="11" y="17"/>
                      </a:lnTo>
                      <a:lnTo>
                        <a:pt x="12" y="14"/>
                      </a:lnTo>
                      <a:lnTo>
                        <a:pt x="13" y="12"/>
                      </a:lnTo>
                      <a:lnTo>
                        <a:pt x="17" y="9"/>
                      </a:lnTo>
                      <a:lnTo>
                        <a:pt x="18" y="9"/>
                      </a:lnTo>
                      <a:lnTo>
                        <a:pt x="19" y="7"/>
                      </a:lnTo>
                      <a:lnTo>
                        <a:pt x="17" y="7"/>
                      </a:lnTo>
                      <a:lnTo>
                        <a:pt x="14" y="7"/>
                      </a:lnTo>
                      <a:lnTo>
                        <a:pt x="9" y="3"/>
                      </a:lnTo>
                      <a:lnTo>
                        <a:pt x="6" y="0"/>
                      </a:lnTo>
                      <a:lnTo>
                        <a:pt x="4" y="2"/>
                      </a:lnTo>
                      <a:lnTo>
                        <a:pt x="2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19" name="Freeform 219">
                  <a:extLst>
                    <a:ext uri="{FF2B5EF4-FFF2-40B4-BE49-F238E27FC236}">
                      <a16:creationId xmlns:a16="http://schemas.microsoft.com/office/drawing/2014/main" id="{85716169-6CC6-4784-82AE-B12CBF4F60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98" y="2238"/>
                  <a:ext cx="6" cy="4"/>
                </a:xfrm>
                <a:custGeom>
                  <a:avLst/>
                  <a:gdLst>
                    <a:gd name="T0" fmla="*/ 6 w 6"/>
                    <a:gd name="T1" fmla="*/ 2 h 4"/>
                    <a:gd name="T2" fmla="*/ 3 w 6"/>
                    <a:gd name="T3" fmla="*/ 0 h 4"/>
                    <a:gd name="T4" fmla="*/ 2 w 6"/>
                    <a:gd name="T5" fmla="*/ 0 h 4"/>
                    <a:gd name="T6" fmla="*/ 0 w 6"/>
                    <a:gd name="T7" fmla="*/ 0 h 4"/>
                    <a:gd name="T8" fmla="*/ 1 w 6"/>
                    <a:gd name="T9" fmla="*/ 2 h 4"/>
                    <a:gd name="T10" fmla="*/ 4 w 6"/>
                    <a:gd name="T11" fmla="*/ 3 h 4"/>
                    <a:gd name="T12" fmla="*/ 6 w 6"/>
                    <a:gd name="T13" fmla="*/ 4 h 4"/>
                    <a:gd name="T14" fmla="*/ 6 w 6"/>
                    <a:gd name="T15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4">
                      <a:moveTo>
                        <a:pt x="6" y="2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4" y="3"/>
                      </a:lnTo>
                      <a:lnTo>
                        <a:pt x="6" y="4"/>
                      </a:lnTo>
                      <a:lnTo>
                        <a:pt x="6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20" name="Freeform 220">
                  <a:extLst>
                    <a:ext uri="{FF2B5EF4-FFF2-40B4-BE49-F238E27FC236}">
                      <a16:creationId xmlns:a16="http://schemas.microsoft.com/office/drawing/2014/main" id="{93158B39-B1ED-4186-B8DA-579AB8D541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88" y="2338"/>
                  <a:ext cx="25" cy="72"/>
                </a:xfrm>
                <a:custGeom>
                  <a:avLst/>
                  <a:gdLst>
                    <a:gd name="T0" fmla="*/ 6 w 25"/>
                    <a:gd name="T1" fmla="*/ 19 h 72"/>
                    <a:gd name="T2" fmla="*/ 3 w 25"/>
                    <a:gd name="T3" fmla="*/ 26 h 72"/>
                    <a:gd name="T4" fmla="*/ 1 w 25"/>
                    <a:gd name="T5" fmla="*/ 32 h 72"/>
                    <a:gd name="T6" fmla="*/ 0 w 25"/>
                    <a:gd name="T7" fmla="*/ 34 h 72"/>
                    <a:gd name="T8" fmla="*/ 1 w 25"/>
                    <a:gd name="T9" fmla="*/ 35 h 72"/>
                    <a:gd name="T10" fmla="*/ 1 w 25"/>
                    <a:gd name="T11" fmla="*/ 42 h 72"/>
                    <a:gd name="T12" fmla="*/ 2 w 25"/>
                    <a:gd name="T13" fmla="*/ 48 h 72"/>
                    <a:gd name="T14" fmla="*/ 3 w 25"/>
                    <a:gd name="T15" fmla="*/ 49 h 72"/>
                    <a:gd name="T16" fmla="*/ 3 w 25"/>
                    <a:gd name="T17" fmla="*/ 52 h 72"/>
                    <a:gd name="T18" fmla="*/ 3 w 25"/>
                    <a:gd name="T19" fmla="*/ 52 h 72"/>
                    <a:gd name="T20" fmla="*/ 3 w 25"/>
                    <a:gd name="T21" fmla="*/ 54 h 72"/>
                    <a:gd name="T22" fmla="*/ 4 w 25"/>
                    <a:gd name="T23" fmla="*/ 57 h 72"/>
                    <a:gd name="T24" fmla="*/ 6 w 25"/>
                    <a:gd name="T25" fmla="*/ 57 h 72"/>
                    <a:gd name="T26" fmla="*/ 6 w 25"/>
                    <a:gd name="T27" fmla="*/ 59 h 72"/>
                    <a:gd name="T28" fmla="*/ 10 w 25"/>
                    <a:gd name="T29" fmla="*/ 61 h 72"/>
                    <a:gd name="T30" fmla="*/ 13 w 25"/>
                    <a:gd name="T31" fmla="*/ 65 h 72"/>
                    <a:gd name="T32" fmla="*/ 12 w 25"/>
                    <a:gd name="T33" fmla="*/ 69 h 72"/>
                    <a:gd name="T34" fmla="*/ 13 w 25"/>
                    <a:gd name="T35" fmla="*/ 72 h 72"/>
                    <a:gd name="T36" fmla="*/ 14 w 25"/>
                    <a:gd name="T37" fmla="*/ 70 h 72"/>
                    <a:gd name="T38" fmla="*/ 17 w 25"/>
                    <a:gd name="T39" fmla="*/ 72 h 72"/>
                    <a:gd name="T40" fmla="*/ 16 w 25"/>
                    <a:gd name="T41" fmla="*/ 68 h 72"/>
                    <a:gd name="T42" fmla="*/ 17 w 25"/>
                    <a:gd name="T43" fmla="*/ 64 h 72"/>
                    <a:gd name="T44" fmla="*/ 15 w 25"/>
                    <a:gd name="T45" fmla="*/ 59 h 72"/>
                    <a:gd name="T46" fmla="*/ 17 w 25"/>
                    <a:gd name="T47" fmla="*/ 55 h 72"/>
                    <a:gd name="T48" fmla="*/ 21 w 25"/>
                    <a:gd name="T49" fmla="*/ 48 h 72"/>
                    <a:gd name="T50" fmla="*/ 21 w 25"/>
                    <a:gd name="T51" fmla="*/ 45 h 72"/>
                    <a:gd name="T52" fmla="*/ 22 w 25"/>
                    <a:gd name="T53" fmla="*/ 43 h 72"/>
                    <a:gd name="T54" fmla="*/ 20 w 25"/>
                    <a:gd name="T55" fmla="*/ 42 h 72"/>
                    <a:gd name="T56" fmla="*/ 21 w 25"/>
                    <a:gd name="T57" fmla="*/ 36 h 72"/>
                    <a:gd name="T58" fmla="*/ 22 w 25"/>
                    <a:gd name="T59" fmla="*/ 31 h 72"/>
                    <a:gd name="T60" fmla="*/ 21 w 25"/>
                    <a:gd name="T61" fmla="*/ 27 h 72"/>
                    <a:gd name="T62" fmla="*/ 23 w 25"/>
                    <a:gd name="T63" fmla="*/ 23 h 72"/>
                    <a:gd name="T64" fmla="*/ 24 w 25"/>
                    <a:gd name="T65" fmla="*/ 14 h 72"/>
                    <a:gd name="T66" fmla="*/ 24 w 25"/>
                    <a:gd name="T67" fmla="*/ 10 h 72"/>
                    <a:gd name="T68" fmla="*/ 25 w 25"/>
                    <a:gd name="T69" fmla="*/ 10 h 72"/>
                    <a:gd name="T70" fmla="*/ 25 w 25"/>
                    <a:gd name="T71" fmla="*/ 7 h 72"/>
                    <a:gd name="T72" fmla="*/ 23 w 25"/>
                    <a:gd name="T73" fmla="*/ 4 h 72"/>
                    <a:gd name="T74" fmla="*/ 21 w 25"/>
                    <a:gd name="T75" fmla="*/ 4 h 72"/>
                    <a:gd name="T76" fmla="*/ 20 w 25"/>
                    <a:gd name="T77" fmla="*/ 0 h 72"/>
                    <a:gd name="T78" fmla="*/ 17 w 25"/>
                    <a:gd name="T79" fmla="*/ 0 h 72"/>
                    <a:gd name="T80" fmla="*/ 15 w 25"/>
                    <a:gd name="T81" fmla="*/ 0 h 72"/>
                    <a:gd name="T82" fmla="*/ 15 w 25"/>
                    <a:gd name="T83" fmla="*/ 3 h 72"/>
                    <a:gd name="T84" fmla="*/ 13 w 25"/>
                    <a:gd name="T85" fmla="*/ 4 h 72"/>
                    <a:gd name="T86" fmla="*/ 10 w 25"/>
                    <a:gd name="T87" fmla="*/ 8 h 72"/>
                    <a:gd name="T88" fmla="*/ 7 w 25"/>
                    <a:gd name="T89" fmla="*/ 14 h 72"/>
                    <a:gd name="T90" fmla="*/ 8 w 25"/>
                    <a:gd name="T91" fmla="*/ 16 h 72"/>
                    <a:gd name="T92" fmla="*/ 7 w 25"/>
                    <a:gd name="T93" fmla="*/ 18 h 72"/>
                    <a:gd name="T94" fmla="*/ 6 w 25"/>
                    <a:gd name="T95" fmla="*/ 19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5" h="72">
                      <a:moveTo>
                        <a:pt x="6" y="19"/>
                      </a:moveTo>
                      <a:lnTo>
                        <a:pt x="3" y="26"/>
                      </a:lnTo>
                      <a:lnTo>
                        <a:pt x="1" y="32"/>
                      </a:lnTo>
                      <a:lnTo>
                        <a:pt x="0" y="34"/>
                      </a:lnTo>
                      <a:lnTo>
                        <a:pt x="1" y="35"/>
                      </a:lnTo>
                      <a:lnTo>
                        <a:pt x="1" y="42"/>
                      </a:lnTo>
                      <a:lnTo>
                        <a:pt x="2" y="48"/>
                      </a:lnTo>
                      <a:lnTo>
                        <a:pt x="3" y="49"/>
                      </a:lnTo>
                      <a:lnTo>
                        <a:pt x="3" y="52"/>
                      </a:lnTo>
                      <a:lnTo>
                        <a:pt x="3" y="52"/>
                      </a:lnTo>
                      <a:lnTo>
                        <a:pt x="3" y="54"/>
                      </a:lnTo>
                      <a:lnTo>
                        <a:pt x="4" y="57"/>
                      </a:lnTo>
                      <a:lnTo>
                        <a:pt x="6" y="57"/>
                      </a:lnTo>
                      <a:lnTo>
                        <a:pt x="6" y="59"/>
                      </a:lnTo>
                      <a:lnTo>
                        <a:pt x="10" y="61"/>
                      </a:lnTo>
                      <a:lnTo>
                        <a:pt x="13" y="65"/>
                      </a:lnTo>
                      <a:lnTo>
                        <a:pt x="12" y="69"/>
                      </a:lnTo>
                      <a:lnTo>
                        <a:pt x="13" y="72"/>
                      </a:lnTo>
                      <a:lnTo>
                        <a:pt x="14" y="70"/>
                      </a:lnTo>
                      <a:lnTo>
                        <a:pt x="17" y="72"/>
                      </a:lnTo>
                      <a:lnTo>
                        <a:pt x="16" y="68"/>
                      </a:lnTo>
                      <a:lnTo>
                        <a:pt x="17" y="64"/>
                      </a:lnTo>
                      <a:lnTo>
                        <a:pt x="15" y="59"/>
                      </a:lnTo>
                      <a:lnTo>
                        <a:pt x="17" y="55"/>
                      </a:lnTo>
                      <a:lnTo>
                        <a:pt x="21" y="48"/>
                      </a:lnTo>
                      <a:lnTo>
                        <a:pt x="21" y="45"/>
                      </a:lnTo>
                      <a:lnTo>
                        <a:pt x="22" y="43"/>
                      </a:lnTo>
                      <a:lnTo>
                        <a:pt x="20" y="42"/>
                      </a:lnTo>
                      <a:lnTo>
                        <a:pt x="21" y="36"/>
                      </a:lnTo>
                      <a:lnTo>
                        <a:pt x="22" y="31"/>
                      </a:lnTo>
                      <a:lnTo>
                        <a:pt x="21" y="27"/>
                      </a:lnTo>
                      <a:lnTo>
                        <a:pt x="23" y="23"/>
                      </a:lnTo>
                      <a:lnTo>
                        <a:pt x="24" y="14"/>
                      </a:lnTo>
                      <a:lnTo>
                        <a:pt x="24" y="10"/>
                      </a:lnTo>
                      <a:lnTo>
                        <a:pt x="25" y="10"/>
                      </a:lnTo>
                      <a:lnTo>
                        <a:pt x="25" y="7"/>
                      </a:lnTo>
                      <a:lnTo>
                        <a:pt x="23" y="4"/>
                      </a:lnTo>
                      <a:lnTo>
                        <a:pt x="21" y="4"/>
                      </a:lnTo>
                      <a:lnTo>
                        <a:pt x="20" y="0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5" y="3"/>
                      </a:lnTo>
                      <a:lnTo>
                        <a:pt x="13" y="4"/>
                      </a:lnTo>
                      <a:lnTo>
                        <a:pt x="10" y="8"/>
                      </a:lnTo>
                      <a:lnTo>
                        <a:pt x="7" y="14"/>
                      </a:lnTo>
                      <a:lnTo>
                        <a:pt x="8" y="16"/>
                      </a:lnTo>
                      <a:lnTo>
                        <a:pt x="7" y="18"/>
                      </a:lnTo>
                      <a:lnTo>
                        <a:pt x="6" y="1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21" name="Freeform 221">
                  <a:extLst>
                    <a:ext uri="{FF2B5EF4-FFF2-40B4-BE49-F238E27FC236}">
                      <a16:creationId xmlns:a16="http://schemas.microsoft.com/office/drawing/2014/main" id="{C22B8E88-8E23-464C-82A8-AA8DB77C0A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16" y="1664"/>
                  <a:ext cx="868" cy="778"/>
                </a:xfrm>
                <a:custGeom>
                  <a:avLst/>
                  <a:gdLst>
                    <a:gd name="T0" fmla="*/ 822 w 868"/>
                    <a:gd name="T1" fmla="*/ 293 h 778"/>
                    <a:gd name="T2" fmla="*/ 848 w 868"/>
                    <a:gd name="T3" fmla="*/ 262 h 778"/>
                    <a:gd name="T4" fmla="*/ 861 w 868"/>
                    <a:gd name="T5" fmla="*/ 209 h 778"/>
                    <a:gd name="T6" fmla="*/ 865 w 868"/>
                    <a:gd name="T7" fmla="*/ 167 h 778"/>
                    <a:gd name="T8" fmla="*/ 861 w 868"/>
                    <a:gd name="T9" fmla="*/ 123 h 778"/>
                    <a:gd name="T10" fmla="*/ 826 w 868"/>
                    <a:gd name="T11" fmla="*/ 146 h 778"/>
                    <a:gd name="T12" fmla="*/ 802 w 868"/>
                    <a:gd name="T13" fmla="*/ 115 h 778"/>
                    <a:gd name="T14" fmla="*/ 771 w 868"/>
                    <a:gd name="T15" fmla="*/ 98 h 778"/>
                    <a:gd name="T16" fmla="*/ 737 w 868"/>
                    <a:gd name="T17" fmla="*/ 60 h 778"/>
                    <a:gd name="T18" fmla="*/ 715 w 868"/>
                    <a:gd name="T19" fmla="*/ 18 h 778"/>
                    <a:gd name="T20" fmla="*/ 688 w 868"/>
                    <a:gd name="T21" fmla="*/ 5 h 778"/>
                    <a:gd name="T22" fmla="*/ 642 w 868"/>
                    <a:gd name="T23" fmla="*/ 12 h 778"/>
                    <a:gd name="T24" fmla="*/ 641 w 868"/>
                    <a:gd name="T25" fmla="*/ 58 h 778"/>
                    <a:gd name="T26" fmla="*/ 626 w 868"/>
                    <a:gd name="T27" fmla="*/ 117 h 778"/>
                    <a:gd name="T28" fmla="*/ 651 w 868"/>
                    <a:gd name="T29" fmla="*/ 157 h 778"/>
                    <a:gd name="T30" fmla="*/ 638 w 868"/>
                    <a:gd name="T31" fmla="*/ 205 h 778"/>
                    <a:gd name="T32" fmla="*/ 574 w 868"/>
                    <a:gd name="T33" fmla="*/ 243 h 778"/>
                    <a:gd name="T34" fmla="*/ 511 w 868"/>
                    <a:gd name="T35" fmla="*/ 324 h 778"/>
                    <a:gd name="T36" fmla="*/ 387 w 868"/>
                    <a:gd name="T37" fmla="*/ 315 h 778"/>
                    <a:gd name="T38" fmla="*/ 332 w 868"/>
                    <a:gd name="T39" fmla="*/ 266 h 778"/>
                    <a:gd name="T40" fmla="*/ 280 w 868"/>
                    <a:gd name="T41" fmla="*/ 212 h 778"/>
                    <a:gd name="T42" fmla="*/ 241 w 868"/>
                    <a:gd name="T43" fmla="*/ 189 h 778"/>
                    <a:gd name="T44" fmla="*/ 212 w 868"/>
                    <a:gd name="T45" fmla="*/ 199 h 778"/>
                    <a:gd name="T46" fmla="*/ 183 w 868"/>
                    <a:gd name="T47" fmla="*/ 266 h 778"/>
                    <a:gd name="T48" fmla="*/ 160 w 868"/>
                    <a:gd name="T49" fmla="*/ 301 h 778"/>
                    <a:gd name="T50" fmla="*/ 100 w 868"/>
                    <a:gd name="T51" fmla="*/ 331 h 778"/>
                    <a:gd name="T52" fmla="*/ 33 w 868"/>
                    <a:gd name="T53" fmla="*/ 357 h 778"/>
                    <a:gd name="T54" fmla="*/ 16 w 868"/>
                    <a:gd name="T55" fmla="*/ 397 h 778"/>
                    <a:gd name="T56" fmla="*/ 21 w 868"/>
                    <a:gd name="T57" fmla="*/ 459 h 778"/>
                    <a:gd name="T58" fmla="*/ 56 w 868"/>
                    <a:gd name="T59" fmla="*/ 436 h 778"/>
                    <a:gd name="T60" fmla="*/ 106 w 868"/>
                    <a:gd name="T61" fmla="*/ 450 h 778"/>
                    <a:gd name="T62" fmla="*/ 162 w 868"/>
                    <a:gd name="T63" fmla="*/ 503 h 778"/>
                    <a:gd name="T64" fmla="*/ 186 w 868"/>
                    <a:gd name="T65" fmla="*/ 583 h 778"/>
                    <a:gd name="T66" fmla="*/ 244 w 868"/>
                    <a:gd name="T67" fmla="*/ 608 h 778"/>
                    <a:gd name="T68" fmla="*/ 300 w 868"/>
                    <a:gd name="T69" fmla="*/ 636 h 778"/>
                    <a:gd name="T70" fmla="*/ 366 w 868"/>
                    <a:gd name="T71" fmla="*/ 638 h 778"/>
                    <a:gd name="T72" fmla="*/ 426 w 868"/>
                    <a:gd name="T73" fmla="*/ 607 h 778"/>
                    <a:gd name="T74" fmla="*/ 463 w 868"/>
                    <a:gd name="T75" fmla="*/ 646 h 778"/>
                    <a:gd name="T76" fmla="*/ 464 w 868"/>
                    <a:gd name="T77" fmla="*/ 710 h 778"/>
                    <a:gd name="T78" fmla="*/ 491 w 868"/>
                    <a:gd name="T79" fmla="*/ 745 h 778"/>
                    <a:gd name="T80" fmla="*/ 524 w 868"/>
                    <a:gd name="T81" fmla="*/ 740 h 778"/>
                    <a:gd name="T82" fmla="*/ 568 w 868"/>
                    <a:gd name="T83" fmla="*/ 721 h 778"/>
                    <a:gd name="T84" fmla="*/ 612 w 868"/>
                    <a:gd name="T85" fmla="*/ 754 h 778"/>
                    <a:gd name="T86" fmla="*/ 637 w 868"/>
                    <a:gd name="T87" fmla="*/ 775 h 778"/>
                    <a:gd name="T88" fmla="*/ 645 w 868"/>
                    <a:gd name="T89" fmla="*/ 760 h 778"/>
                    <a:gd name="T90" fmla="*/ 680 w 868"/>
                    <a:gd name="T91" fmla="*/ 726 h 778"/>
                    <a:gd name="T92" fmla="*/ 713 w 868"/>
                    <a:gd name="T93" fmla="*/ 729 h 778"/>
                    <a:gd name="T94" fmla="*/ 740 w 868"/>
                    <a:gd name="T95" fmla="*/ 702 h 778"/>
                    <a:gd name="T96" fmla="*/ 751 w 868"/>
                    <a:gd name="T97" fmla="*/ 681 h 778"/>
                    <a:gd name="T98" fmla="*/ 758 w 868"/>
                    <a:gd name="T99" fmla="*/ 660 h 778"/>
                    <a:gd name="T100" fmla="*/ 769 w 868"/>
                    <a:gd name="T101" fmla="*/ 633 h 778"/>
                    <a:gd name="T102" fmla="*/ 779 w 868"/>
                    <a:gd name="T103" fmla="*/ 602 h 778"/>
                    <a:gd name="T104" fmla="*/ 782 w 868"/>
                    <a:gd name="T105" fmla="*/ 581 h 778"/>
                    <a:gd name="T106" fmla="*/ 777 w 868"/>
                    <a:gd name="T107" fmla="*/ 557 h 778"/>
                    <a:gd name="T108" fmla="*/ 750 w 868"/>
                    <a:gd name="T109" fmla="*/ 536 h 778"/>
                    <a:gd name="T110" fmla="*/ 737 w 868"/>
                    <a:gd name="T111" fmla="*/ 483 h 778"/>
                    <a:gd name="T112" fmla="*/ 746 w 868"/>
                    <a:gd name="T113" fmla="*/ 430 h 778"/>
                    <a:gd name="T114" fmla="*/ 745 w 868"/>
                    <a:gd name="T115" fmla="*/ 412 h 778"/>
                    <a:gd name="T116" fmla="*/ 703 w 868"/>
                    <a:gd name="T117" fmla="*/ 405 h 778"/>
                    <a:gd name="T118" fmla="*/ 706 w 868"/>
                    <a:gd name="T119" fmla="*/ 367 h 778"/>
                    <a:gd name="T120" fmla="*/ 738 w 868"/>
                    <a:gd name="T121" fmla="*/ 354 h 778"/>
                    <a:gd name="T122" fmla="*/ 745 w 868"/>
                    <a:gd name="T123" fmla="*/ 377 h 7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868" h="778">
                      <a:moveTo>
                        <a:pt x="782" y="339"/>
                      </a:moveTo>
                      <a:lnTo>
                        <a:pt x="784" y="335"/>
                      </a:lnTo>
                      <a:lnTo>
                        <a:pt x="784" y="333"/>
                      </a:lnTo>
                      <a:lnTo>
                        <a:pt x="788" y="329"/>
                      </a:lnTo>
                      <a:lnTo>
                        <a:pt x="790" y="324"/>
                      </a:lnTo>
                      <a:lnTo>
                        <a:pt x="792" y="322"/>
                      </a:lnTo>
                      <a:lnTo>
                        <a:pt x="795" y="314"/>
                      </a:lnTo>
                      <a:lnTo>
                        <a:pt x="796" y="311"/>
                      </a:lnTo>
                      <a:lnTo>
                        <a:pt x="796" y="309"/>
                      </a:lnTo>
                      <a:lnTo>
                        <a:pt x="796" y="304"/>
                      </a:lnTo>
                      <a:lnTo>
                        <a:pt x="799" y="300"/>
                      </a:lnTo>
                      <a:lnTo>
                        <a:pt x="801" y="305"/>
                      </a:lnTo>
                      <a:lnTo>
                        <a:pt x="803" y="306"/>
                      </a:lnTo>
                      <a:lnTo>
                        <a:pt x="806" y="308"/>
                      </a:lnTo>
                      <a:lnTo>
                        <a:pt x="808" y="307"/>
                      </a:lnTo>
                      <a:lnTo>
                        <a:pt x="811" y="308"/>
                      </a:lnTo>
                      <a:lnTo>
                        <a:pt x="816" y="308"/>
                      </a:lnTo>
                      <a:lnTo>
                        <a:pt x="820" y="308"/>
                      </a:lnTo>
                      <a:lnTo>
                        <a:pt x="822" y="304"/>
                      </a:lnTo>
                      <a:lnTo>
                        <a:pt x="822" y="301"/>
                      </a:lnTo>
                      <a:lnTo>
                        <a:pt x="819" y="298"/>
                      </a:lnTo>
                      <a:lnTo>
                        <a:pt x="816" y="295"/>
                      </a:lnTo>
                      <a:lnTo>
                        <a:pt x="818" y="293"/>
                      </a:lnTo>
                      <a:lnTo>
                        <a:pt x="822" y="293"/>
                      </a:lnTo>
                      <a:lnTo>
                        <a:pt x="827" y="288"/>
                      </a:lnTo>
                      <a:lnTo>
                        <a:pt x="827" y="284"/>
                      </a:lnTo>
                      <a:lnTo>
                        <a:pt x="830" y="280"/>
                      </a:lnTo>
                      <a:lnTo>
                        <a:pt x="832" y="280"/>
                      </a:lnTo>
                      <a:lnTo>
                        <a:pt x="834" y="277"/>
                      </a:lnTo>
                      <a:lnTo>
                        <a:pt x="832" y="274"/>
                      </a:lnTo>
                      <a:lnTo>
                        <a:pt x="833" y="270"/>
                      </a:lnTo>
                      <a:lnTo>
                        <a:pt x="833" y="267"/>
                      </a:lnTo>
                      <a:lnTo>
                        <a:pt x="834" y="266"/>
                      </a:lnTo>
                      <a:lnTo>
                        <a:pt x="837" y="268"/>
                      </a:lnTo>
                      <a:lnTo>
                        <a:pt x="837" y="272"/>
                      </a:lnTo>
                      <a:lnTo>
                        <a:pt x="838" y="274"/>
                      </a:lnTo>
                      <a:lnTo>
                        <a:pt x="842" y="274"/>
                      </a:lnTo>
                      <a:lnTo>
                        <a:pt x="843" y="276"/>
                      </a:lnTo>
                      <a:lnTo>
                        <a:pt x="844" y="275"/>
                      </a:lnTo>
                      <a:lnTo>
                        <a:pt x="844" y="273"/>
                      </a:lnTo>
                      <a:lnTo>
                        <a:pt x="842" y="272"/>
                      </a:lnTo>
                      <a:lnTo>
                        <a:pt x="842" y="269"/>
                      </a:lnTo>
                      <a:lnTo>
                        <a:pt x="842" y="268"/>
                      </a:lnTo>
                      <a:lnTo>
                        <a:pt x="844" y="267"/>
                      </a:lnTo>
                      <a:lnTo>
                        <a:pt x="847" y="267"/>
                      </a:lnTo>
                      <a:lnTo>
                        <a:pt x="848" y="267"/>
                      </a:lnTo>
                      <a:lnTo>
                        <a:pt x="848" y="264"/>
                      </a:lnTo>
                      <a:lnTo>
                        <a:pt x="848" y="262"/>
                      </a:lnTo>
                      <a:lnTo>
                        <a:pt x="848" y="260"/>
                      </a:lnTo>
                      <a:lnTo>
                        <a:pt x="848" y="258"/>
                      </a:lnTo>
                      <a:lnTo>
                        <a:pt x="848" y="255"/>
                      </a:lnTo>
                      <a:lnTo>
                        <a:pt x="848" y="253"/>
                      </a:lnTo>
                      <a:lnTo>
                        <a:pt x="847" y="251"/>
                      </a:lnTo>
                      <a:lnTo>
                        <a:pt x="847" y="245"/>
                      </a:lnTo>
                      <a:lnTo>
                        <a:pt x="846" y="243"/>
                      </a:lnTo>
                      <a:lnTo>
                        <a:pt x="846" y="238"/>
                      </a:lnTo>
                      <a:lnTo>
                        <a:pt x="846" y="235"/>
                      </a:lnTo>
                      <a:lnTo>
                        <a:pt x="844" y="232"/>
                      </a:lnTo>
                      <a:lnTo>
                        <a:pt x="844" y="230"/>
                      </a:lnTo>
                      <a:lnTo>
                        <a:pt x="843" y="228"/>
                      </a:lnTo>
                      <a:lnTo>
                        <a:pt x="839" y="222"/>
                      </a:lnTo>
                      <a:lnTo>
                        <a:pt x="838" y="219"/>
                      </a:lnTo>
                      <a:lnTo>
                        <a:pt x="839" y="217"/>
                      </a:lnTo>
                      <a:lnTo>
                        <a:pt x="841" y="215"/>
                      </a:lnTo>
                      <a:lnTo>
                        <a:pt x="842" y="215"/>
                      </a:lnTo>
                      <a:lnTo>
                        <a:pt x="844" y="213"/>
                      </a:lnTo>
                      <a:lnTo>
                        <a:pt x="844" y="211"/>
                      </a:lnTo>
                      <a:lnTo>
                        <a:pt x="847" y="206"/>
                      </a:lnTo>
                      <a:lnTo>
                        <a:pt x="848" y="206"/>
                      </a:lnTo>
                      <a:lnTo>
                        <a:pt x="850" y="207"/>
                      </a:lnTo>
                      <a:lnTo>
                        <a:pt x="852" y="208"/>
                      </a:lnTo>
                      <a:lnTo>
                        <a:pt x="861" y="209"/>
                      </a:lnTo>
                      <a:lnTo>
                        <a:pt x="862" y="210"/>
                      </a:lnTo>
                      <a:lnTo>
                        <a:pt x="864" y="210"/>
                      </a:lnTo>
                      <a:lnTo>
                        <a:pt x="865" y="208"/>
                      </a:lnTo>
                      <a:lnTo>
                        <a:pt x="865" y="205"/>
                      </a:lnTo>
                      <a:lnTo>
                        <a:pt x="864" y="204"/>
                      </a:lnTo>
                      <a:lnTo>
                        <a:pt x="864" y="202"/>
                      </a:lnTo>
                      <a:lnTo>
                        <a:pt x="864" y="201"/>
                      </a:lnTo>
                      <a:lnTo>
                        <a:pt x="864" y="199"/>
                      </a:lnTo>
                      <a:lnTo>
                        <a:pt x="863" y="197"/>
                      </a:lnTo>
                      <a:lnTo>
                        <a:pt x="865" y="194"/>
                      </a:lnTo>
                      <a:lnTo>
                        <a:pt x="865" y="192"/>
                      </a:lnTo>
                      <a:lnTo>
                        <a:pt x="865" y="190"/>
                      </a:lnTo>
                      <a:lnTo>
                        <a:pt x="864" y="188"/>
                      </a:lnTo>
                      <a:lnTo>
                        <a:pt x="865" y="187"/>
                      </a:lnTo>
                      <a:lnTo>
                        <a:pt x="866" y="186"/>
                      </a:lnTo>
                      <a:lnTo>
                        <a:pt x="865" y="184"/>
                      </a:lnTo>
                      <a:lnTo>
                        <a:pt x="865" y="182"/>
                      </a:lnTo>
                      <a:lnTo>
                        <a:pt x="865" y="181"/>
                      </a:lnTo>
                      <a:lnTo>
                        <a:pt x="865" y="178"/>
                      </a:lnTo>
                      <a:lnTo>
                        <a:pt x="867" y="177"/>
                      </a:lnTo>
                      <a:lnTo>
                        <a:pt x="867" y="176"/>
                      </a:lnTo>
                      <a:lnTo>
                        <a:pt x="866" y="174"/>
                      </a:lnTo>
                      <a:lnTo>
                        <a:pt x="865" y="170"/>
                      </a:lnTo>
                      <a:lnTo>
                        <a:pt x="865" y="167"/>
                      </a:lnTo>
                      <a:lnTo>
                        <a:pt x="865" y="166"/>
                      </a:lnTo>
                      <a:lnTo>
                        <a:pt x="866" y="165"/>
                      </a:lnTo>
                      <a:lnTo>
                        <a:pt x="866" y="164"/>
                      </a:lnTo>
                      <a:lnTo>
                        <a:pt x="865" y="163"/>
                      </a:lnTo>
                      <a:lnTo>
                        <a:pt x="865" y="161"/>
                      </a:lnTo>
                      <a:lnTo>
                        <a:pt x="865" y="160"/>
                      </a:lnTo>
                      <a:lnTo>
                        <a:pt x="864" y="159"/>
                      </a:lnTo>
                      <a:lnTo>
                        <a:pt x="865" y="156"/>
                      </a:lnTo>
                      <a:lnTo>
                        <a:pt x="865" y="153"/>
                      </a:lnTo>
                      <a:lnTo>
                        <a:pt x="864" y="153"/>
                      </a:lnTo>
                      <a:lnTo>
                        <a:pt x="863" y="150"/>
                      </a:lnTo>
                      <a:lnTo>
                        <a:pt x="863" y="149"/>
                      </a:lnTo>
                      <a:lnTo>
                        <a:pt x="865" y="146"/>
                      </a:lnTo>
                      <a:lnTo>
                        <a:pt x="867" y="146"/>
                      </a:lnTo>
                      <a:lnTo>
                        <a:pt x="867" y="144"/>
                      </a:lnTo>
                      <a:lnTo>
                        <a:pt x="868" y="141"/>
                      </a:lnTo>
                      <a:lnTo>
                        <a:pt x="868" y="138"/>
                      </a:lnTo>
                      <a:lnTo>
                        <a:pt x="866" y="136"/>
                      </a:lnTo>
                      <a:lnTo>
                        <a:pt x="865" y="135"/>
                      </a:lnTo>
                      <a:lnTo>
                        <a:pt x="865" y="132"/>
                      </a:lnTo>
                      <a:lnTo>
                        <a:pt x="862" y="129"/>
                      </a:lnTo>
                      <a:lnTo>
                        <a:pt x="861" y="128"/>
                      </a:lnTo>
                      <a:lnTo>
                        <a:pt x="863" y="125"/>
                      </a:lnTo>
                      <a:lnTo>
                        <a:pt x="861" y="123"/>
                      </a:lnTo>
                      <a:lnTo>
                        <a:pt x="861" y="121"/>
                      </a:lnTo>
                      <a:lnTo>
                        <a:pt x="858" y="121"/>
                      </a:lnTo>
                      <a:lnTo>
                        <a:pt x="857" y="119"/>
                      </a:lnTo>
                      <a:lnTo>
                        <a:pt x="855" y="119"/>
                      </a:lnTo>
                      <a:lnTo>
                        <a:pt x="853" y="120"/>
                      </a:lnTo>
                      <a:lnTo>
                        <a:pt x="851" y="120"/>
                      </a:lnTo>
                      <a:lnTo>
                        <a:pt x="849" y="122"/>
                      </a:lnTo>
                      <a:lnTo>
                        <a:pt x="849" y="125"/>
                      </a:lnTo>
                      <a:lnTo>
                        <a:pt x="848" y="125"/>
                      </a:lnTo>
                      <a:lnTo>
                        <a:pt x="846" y="125"/>
                      </a:lnTo>
                      <a:lnTo>
                        <a:pt x="845" y="129"/>
                      </a:lnTo>
                      <a:lnTo>
                        <a:pt x="842" y="129"/>
                      </a:lnTo>
                      <a:lnTo>
                        <a:pt x="841" y="129"/>
                      </a:lnTo>
                      <a:lnTo>
                        <a:pt x="840" y="132"/>
                      </a:lnTo>
                      <a:lnTo>
                        <a:pt x="840" y="134"/>
                      </a:lnTo>
                      <a:lnTo>
                        <a:pt x="837" y="136"/>
                      </a:lnTo>
                      <a:lnTo>
                        <a:pt x="837" y="139"/>
                      </a:lnTo>
                      <a:lnTo>
                        <a:pt x="837" y="140"/>
                      </a:lnTo>
                      <a:lnTo>
                        <a:pt x="836" y="141"/>
                      </a:lnTo>
                      <a:lnTo>
                        <a:pt x="834" y="143"/>
                      </a:lnTo>
                      <a:lnTo>
                        <a:pt x="830" y="144"/>
                      </a:lnTo>
                      <a:lnTo>
                        <a:pt x="829" y="145"/>
                      </a:lnTo>
                      <a:lnTo>
                        <a:pt x="827" y="144"/>
                      </a:lnTo>
                      <a:lnTo>
                        <a:pt x="826" y="146"/>
                      </a:lnTo>
                      <a:lnTo>
                        <a:pt x="823" y="146"/>
                      </a:lnTo>
                      <a:lnTo>
                        <a:pt x="823" y="144"/>
                      </a:lnTo>
                      <a:lnTo>
                        <a:pt x="822" y="142"/>
                      </a:lnTo>
                      <a:lnTo>
                        <a:pt x="820" y="142"/>
                      </a:lnTo>
                      <a:lnTo>
                        <a:pt x="818" y="143"/>
                      </a:lnTo>
                      <a:lnTo>
                        <a:pt x="816" y="144"/>
                      </a:lnTo>
                      <a:lnTo>
                        <a:pt x="815" y="143"/>
                      </a:lnTo>
                      <a:lnTo>
                        <a:pt x="813" y="139"/>
                      </a:lnTo>
                      <a:lnTo>
                        <a:pt x="812" y="138"/>
                      </a:lnTo>
                      <a:lnTo>
                        <a:pt x="809" y="134"/>
                      </a:lnTo>
                      <a:lnTo>
                        <a:pt x="809" y="132"/>
                      </a:lnTo>
                      <a:lnTo>
                        <a:pt x="810" y="131"/>
                      </a:lnTo>
                      <a:lnTo>
                        <a:pt x="810" y="127"/>
                      </a:lnTo>
                      <a:lnTo>
                        <a:pt x="809" y="125"/>
                      </a:lnTo>
                      <a:lnTo>
                        <a:pt x="809" y="122"/>
                      </a:lnTo>
                      <a:lnTo>
                        <a:pt x="806" y="122"/>
                      </a:lnTo>
                      <a:lnTo>
                        <a:pt x="806" y="120"/>
                      </a:lnTo>
                      <a:lnTo>
                        <a:pt x="806" y="118"/>
                      </a:lnTo>
                      <a:lnTo>
                        <a:pt x="807" y="115"/>
                      </a:lnTo>
                      <a:lnTo>
                        <a:pt x="807" y="113"/>
                      </a:lnTo>
                      <a:lnTo>
                        <a:pt x="806" y="112"/>
                      </a:lnTo>
                      <a:lnTo>
                        <a:pt x="805" y="113"/>
                      </a:lnTo>
                      <a:lnTo>
                        <a:pt x="804" y="115"/>
                      </a:lnTo>
                      <a:lnTo>
                        <a:pt x="802" y="115"/>
                      </a:lnTo>
                      <a:lnTo>
                        <a:pt x="800" y="115"/>
                      </a:lnTo>
                      <a:lnTo>
                        <a:pt x="799" y="115"/>
                      </a:lnTo>
                      <a:lnTo>
                        <a:pt x="797" y="113"/>
                      </a:lnTo>
                      <a:lnTo>
                        <a:pt x="796" y="113"/>
                      </a:lnTo>
                      <a:lnTo>
                        <a:pt x="795" y="112"/>
                      </a:lnTo>
                      <a:lnTo>
                        <a:pt x="792" y="111"/>
                      </a:lnTo>
                      <a:lnTo>
                        <a:pt x="792" y="109"/>
                      </a:lnTo>
                      <a:lnTo>
                        <a:pt x="790" y="108"/>
                      </a:lnTo>
                      <a:lnTo>
                        <a:pt x="789" y="108"/>
                      </a:lnTo>
                      <a:lnTo>
                        <a:pt x="788" y="106"/>
                      </a:lnTo>
                      <a:lnTo>
                        <a:pt x="788" y="105"/>
                      </a:lnTo>
                      <a:lnTo>
                        <a:pt x="786" y="104"/>
                      </a:lnTo>
                      <a:lnTo>
                        <a:pt x="785" y="102"/>
                      </a:lnTo>
                      <a:lnTo>
                        <a:pt x="784" y="100"/>
                      </a:lnTo>
                      <a:lnTo>
                        <a:pt x="783" y="99"/>
                      </a:lnTo>
                      <a:lnTo>
                        <a:pt x="782" y="99"/>
                      </a:lnTo>
                      <a:lnTo>
                        <a:pt x="781" y="101"/>
                      </a:lnTo>
                      <a:lnTo>
                        <a:pt x="779" y="101"/>
                      </a:lnTo>
                      <a:lnTo>
                        <a:pt x="778" y="101"/>
                      </a:lnTo>
                      <a:lnTo>
                        <a:pt x="778" y="103"/>
                      </a:lnTo>
                      <a:lnTo>
                        <a:pt x="776" y="101"/>
                      </a:lnTo>
                      <a:lnTo>
                        <a:pt x="775" y="100"/>
                      </a:lnTo>
                      <a:lnTo>
                        <a:pt x="774" y="99"/>
                      </a:lnTo>
                      <a:lnTo>
                        <a:pt x="771" y="98"/>
                      </a:lnTo>
                      <a:lnTo>
                        <a:pt x="770" y="98"/>
                      </a:lnTo>
                      <a:lnTo>
                        <a:pt x="771" y="96"/>
                      </a:lnTo>
                      <a:lnTo>
                        <a:pt x="771" y="95"/>
                      </a:lnTo>
                      <a:lnTo>
                        <a:pt x="769" y="95"/>
                      </a:lnTo>
                      <a:lnTo>
                        <a:pt x="768" y="97"/>
                      </a:lnTo>
                      <a:lnTo>
                        <a:pt x="765" y="96"/>
                      </a:lnTo>
                      <a:lnTo>
                        <a:pt x="763" y="97"/>
                      </a:lnTo>
                      <a:lnTo>
                        <a:pt x="762" y="96"/>
                      </a:lnTo>
                      <a:lnTo>
                        <a:pt x="761" y="97"/>
                      </a:lnTo>
                      <a:lnTo>
                        <a:pt x="758" y="96"/>
                      </a:lnTo>
                      <a:lnTo>
                        <a:pt x="758" y="94"/>
                      </a:lnTo>
                      <a:lnTo>
                        <a:pt x="755" y="93"/>
                      </a:lnTo>
                      <a:lnTo>
                        <a:pt x="752" y="89"/>
                      </a:lnTo>
                      <a:lnTo>
                        <a:pt x="751" y="86"/>
                      </a:lnTo>
                      <a:lnTo>
                        <a:pt x="751" y="84"/>
                      </a:lnTo>
                      <a:lnTo>
                        <a:pt x="751" y="81"/>
                      </a:lnTo>
                      <a:lnTo>
                        <a:pt x="749" y="81"/>
                      </a:lnTo>
                      <a:lnTo>
                        <a:pt x="747" y="79"/>
                      </a:lnTo>
                      <a:lnTo>
                        <a:pt x="747" y="76"/>
                      </a:lnTo>
                      <a:lnTo>
                        <a:pt x="746" y="75"/>
                      </a:lnTo>
                      <a:lnTo>
                        <a:pt x="745" y="71"/>
                      </a:lnTo>
                      <a:lnTo>
                        <a:pt x="744" y="68"/>
                      </a:lnTo>
                      <a:lnTo>
                        <a:pt x="740" y="64"/>
                      </a:lnTo>
                      <a:lnTo>
                        <a:pt x="737" y="60"/>
                      </a:lnTo>
                      <a:lnTo>
                        <a:pt x="737" y="58"/>
                      </a:lnTo>
                      <a:lnTo>
                        <a:pt x="735" y="55"/>
                      </a:lnTo>
                      <a:lnTo>
                        <a:pt x="733" y="56"/>
                      </a:lnTo>
                      <a:lnTo>
                        <a:pt x="733" y="56"/>
                      </a:lnTo>
                      <a:lnTo>
                        <a:pt x="733" y="53"/>
                      </a:lnTo>
                      <a:lnTo>
                        <a:pt x="733" y="52"/>
                      </a:lnTo>
                      <a:lnTo>
                        <a:pt x="731" y="50"/>
                      </a:lnTo>
                      <a:lnTo>
                        <a:pt x="730" y="48"/>
                      </a:lnTo>
                      <a:lnTo>
                        <a:pt x="729" y="46"/>
                      </a:lnTo>
                      <a:lnTo>
                        <a:pt x="729" y="44"/>
                      </a:lnTo>
                      <a:lnTo>
                        <a:pt x="727" y="42"/>
                      </a:lnTo>
                      <a:lnTo>
                        <a:pt x="726" y="39"/>
                      </a:lnTo>
                      <a:lnTo>
                        <a:pt x="723" y="36"/>
                      </a:lnTo>
                      <a:lnTo>
                        <a:pt x="722" y="35"/>
                      </a:lnTo>
                      <a:lnTo>
                        <a:pt x="723" y="32"/>
                      </a:lnTo>
                      <a:lnTo>
                        <a:pt x="723" y="31"/>
                      </a:lnTo>
                      <a:lnTo>
                        <a:pt x="719" y="30"/>
                      </a:lnTo>
                      <a:lnTo>
                        <a:pt x="719" y="29"/>
                      </a:lnTo>
                      <a:lnTo>
                        <a:pt x="719" y="28"/>
                      </a:lnTo>
                      <a:lnTo>
                        <a:pt x="718" y="25"/>
                      </a:lnTo>
                      <a:lnTo>
                        <a:pt x="717" y="23"/>
                      </a:lnTo>
                      <a:lnTo>
                        <a:pt x="716" y="21"/>
                      </a:lnTo>
                      <a:lnTo>
                        <a:pt x="715" y="20"/>
                      </a:lnTo>
                      <a:lnTo>
                        <a:pt x="715" y="18"/>
                      </a:lnTo>
                      <a:lnTo>
                        <a:pt x="714" y="18"/>
                      </a:lnTo>
                      <a:lnTo>
                        <a:pt x="713" y="18"/>
                      </a:lnTo>
                      <a:lnTo>
                        <a:pt x="710" y="17"/>
                      </a:lnTo>
                      <a:lnTo>
                        <a:pt x="710" y="15"/>
                      </a:lnTo>
                      <a:lnTo>
                        <a:pt x="710" y="14"/>
                      </a:lnTo>
                      <a:lnTo>
                        <a:pt x="710" y="12"/>
                      </a:lnTo>
                      <a:lnTo>
                        <a:pt x="708" y="12"/>
                      </a:lnTo>
                      <a:lnTo>
                        <a:pt x="707" y="13"/>
                      </a:lnTo>
                      <a:lnTo>
                        <a:pt x="706" y="12"/>
                      </a:lnTo>
                      <a:lnTo>
                        <a:pt x="705" y="12"/>
                      </a:lnTo>
                      <a:lnTo>
                        <a:pt x="704" y="10"/>
                      </a:lnTo>
                      <a:lnTo>
                        <a:pt x="705" y="8"/>
                      </a:lnTo>
                      <a:lnTo>
                        <a:pt x="703" y="7"/>
                      </a:lnTo>
                      <a:lnTo>
                        <a:pt x="702" y="6"/>
                      </a:lnTo>
                      <a:lnTo>
                        <a:pt x="700" y="6"/>
                      </a:lnTo>
                      <a:lnTo>
                        <a:pt x="699" y="5"/>
                      </a:lnTo>
                      <a:lnTo>
                        <a:pt x="698" y="5"/>
                      </a:lnTo>
                      <a:lnTo>
                        <a:pt x="695" y="5"/>
                      </a:lnTo>
                      <a:lnTo>
                        <a:pt x="695" y="5"/>
                      </a:lnTo>
                      <a:lnTo>
                        <a:pt x="693" y="5"/>
                      </a:lnTo>
                      <a:lnTo>
                        <a:pt x="693" y="8"/>
                      </a:lnTo>
                      <a:lnTo>
                        <a:pt x="692" y="8"/>
                      </a:lnTo>
                      <a:lnTo>
                        <a:pt x="690" y="6"/>
                      </a:lnTo>
                      <a:lnTo>
                        <a:pt x="688" y="5"/>
                      </a:lnTo>
                      <a:lnTo>
                        <a:pt x="687" y="6"/>
                      </a:lnTo>
                      <a:lnTo>
                        <a:pt x="684" y="6"/>
                      </a:lnTo>
                      <a:lnTo>
                        <a:pt x="683" y="5"/>
                      </a:lnTo>
                      <a:lnTo>
                        <a:pt x="681" y="3"/>
                      </a:lnTo>
                      <a:lnTo>
                        <a:pt x="677" y="2"/>
                      </a:lnTo>
                      <a:lnTo>
                        <a:pt x="675" y="1"/>
                      </a:lnTo>
                      <a:lnTo>
                        <a:pt x="673" y="1"/>
                      </a:lnTo>
                      <a:lnTo>
                        <a:pt x="671" y="0"/>
                      </a:lnTo>
                      <a:lnTo>
                        <a:pt x="671" y="1"/>
                      </a:lnTo>
                      <a:lnTo>
                        <a:pt x="666" y="1"/>
                      </a:lnTo>
                      <a:lnTo>
                        <a:pt x="665" y="4"/>
                      </a:lnTo>
                      <a:lnTo>
                        <a:pt x="664" y="4"/>
                      </a:lnTo>
                      <a:lnTo>
                        <a:pt x="663" y="5"/>
                      </a:lnTo>
                      <a:lnTo>
                        <a:pt x="661" y="5"/>
                      </a:lnTo>
                      <a:lnTo>
                        <a:pt x="658" y="5"/>
                      </a:lnTo>
                      <a:lnTo>
                        <a:pt x="655" y="5"/>
                      </a:lnTo>
                      <a:lnTo>
                        <a:pt x="654" y="7"/>
                      </a:lnTo>
                      <a:lnTo>
                        <a:pt x="651" y="7"/>
                      </a:lnTo>
                      <a:lnTo>
                        <a:pt x="650" y="9"/>
                      </a:lnTo>
                      <a:lnTo>
                        <a:pt x="648" y="10"/>
                      </a:lnTo>
                      <a:lnTo>
                        <a:pt x="646" y="10"/>
                      </a:lnTo>
                      <a:lnTo>
                        <a:pt x="646" y="11"/>
                      </a:lnTo>
                      <a:lnTo>
                        <a:pt x="643" y="11"/>
                      </a:lnTo>
                      <a:lnTo>
                        <a:pt x="642" y="12"/>
                      </a:lnTo>
                      <a:lnTo>
                        <a:pt x="638" y="12"/>
                      </a:lnTo>
                      <a:lnTo>
                        <a:pt x="636" y="14"/>
                      </a:lnTo>
                      <a:lnTo>
                        <a:pt x="636" y="15"/>
                      </a:lnTo>
                      <a:lnTo>
                        <a:pt x="635" y="18"/>
                      </a:lnTo>
                      <a:lnTo>
                        <a:pt x="634" y="22"/>
                      </a:lnTo>
                      <a:lnTo>
                        <a:pt x="633" y="24"/>
                      </a:lnTo>
                      <a:lnTo>
                        <a:pt x="633" y="25"/>
                      </a:lnTo>
                      <a:lnTo>
                        <a:pt x="632" y="27"/>
                      </a:lnTo>
                      <a:lnTo>
                        <a:pt x="632" y="31"/>
                      </a:lnTo>
                      <a:lnTo>
                        <a:pt x="633" y="32"/>
                      </a:lnTo>
                      <a:lnTo>
                        <a:pt x="634" y="32"/>
                      </a:lnTo>
                      <a:lnTo>
                        <a:pt x="637" y="30"/>
                      </a:lnTo>
                      <a:lnTo>
                        <a:pt x="640" y="29"/>
                      </a:lnTo>
                      <a:lnTo>
                        <a:pt x="641" y="29"/>
                      </a:lnTo>
                      <a:lnTo>
                        <a:pt x="643" y="34"/>
                      </a:lnTo>
                      <a:lnTo>
                        <a:pt x="644" y="37"/>
                      </a:lnTo>
                      <a:lnTo>
                        <a:pt x="647" y="39"/>
                      </a:lnTo>
                      <a:lnTo>
                        <a:pt x="647" y="41"/>
                      </a:lnTo>
                      <a:lnTo>
                        <a:pt x="647" y="43"/>
                      </a:lnTo>
                      <a:lnTo>
                        <a:pt x="647" y="47"/>
                      </a:lnTo>
                      <a:lnTo>
                        <a:pt x="645" y="49"/>
                      </a:lnTo>
                      <a:lnTo>
                        <a:pt x="643" y="53"/>
                      </a:lnTo>
                      <a:lnTo>
                        <a:pt x="643" y="56"/>
                      </a:lnTo>
                      <a:lnTo>
                        <a:pt x="641" y="58"/>
                      </a:lnTo>
                      <a:lnTo>
                        <a:pt x="639" y="61"/>
                      </a:lnTo>
                      <a:lnTo>
                        <a:pt x="639" y="64"/>
                      </a:lnTo>
                      <a:lnTo>
                        <a:pt x="640" y="67"/>
                      </a:lnTo>
                      <a:lnTo>
                        <a:pt x="640" y="69"/>
                      </a:lnTo>
                      <a:lnTo>
                        <a:pt x="640" y="73"/>
                      </a:lnTo>
                      <a:lnTo>
                        <a:pt x="642" y="74"/>
                      </a:lnTo>
                      <a:lnTo>
                        <a:pt x="642" y="77"/>
                      </a:lnTo>
                      <a:lnTo>
                        <a:pt x="640" y="79"/>
                      </a:lnTo>
                      <a:lnTo>
                        <a:pt x="640" y="81"/>
                      </a:lnTo>
                      <a:lnTo>
                        <a:pt x="640" y="84"/>
                      </a:lnTo>
                      <a:lnTo>
                        <a:pt x="640" y="89"/>
                      </a:lnTo>
                      <a:lnTo>
                        <a:pt x="640" y="90"/>
                      </a:lnTo>
                      <a:lnTo>
                        <a:pt x="640" y="94"/>
                      </a:lnTo>
                      <a:lnTo>
                        <a:pt x="641" y="95"/>
                      </a:lnTo>
                      <a:lnTo>
                        <a:pt x="643" y="96"/>
                      </a:lnTo>
                      <a:lnTo>
                        <a:pt x="643" y="95"/>
                      </a:lnTo>
                      <a:lnTo>
                        <a:pt x="645" y="96"/>
                      </a:lnTo>
                      <a:lnTo>
                        <a:pt x="645" y="99"/>
                      </a:lnTo>
                      <a:lnTo>
                        <a:pt x="644" y="103"/>
                      </a:lnTo>
                      <a:lnTo>
                        <a:pt x="642" y="105"/>
                      </a:lnTo>
                      <a:lnTo>
                        <a:pt x="637" y="106"/>
                      </a:lnTo>
                      <a:lnTo>
                        <a:pt x="634" y="109"/>
                      </a:lnTo>
                      <a:lnTo>
                        <a:pt x="627" y="117"/>
                      </a:lnTo>
                      <a:lnTo>
                        <a:pt x="626" y="117"/>
                      </a:lnTo>
                      <a:lnTo>
                        <a:pt x="623" y="115"/>
                      </a:lnTo>
                      <a:lnTo>
                        <a:pt x="619" y="115"/>
                      </a:lnTo>
                      <a:lnTo>
                        <a:pt x="617" y="115"/>
                      </a:lnTo>
                      <a:lnTo>
                        <a:pt x="616" y="114"/>
                      </a:lnTo>
                      <a:lnTo>
                        <a:pt x="615" y="113"/>
                      </a:lnTo>
                      <a:lnTo>
                        <a:pt x="613" y="114"/>
                      </a:lnTo>
                      <a:lnTo>
                        <a:pt x="613" y="114"/>
                      </a:lnTo>
                      <a:lnTo>
                        <a:pt x="610" y="140"/>
                      </a:lnTo>
                      <a:lnTo>
                        <a:pt x="611" y="146"/>
                      </a:lnTo>
                      <a:lnTo>
                        <a:pt x="609" y="151"/>
                      </a:lnTo>
                      <a:lnTo>
                        <a:pt x="610" y="154"/>
                      </a:lnTo>
                      <a:lnTo>
                        <a:pt x="608" y="162"/>
                      </a:lnTo>
                      <a:lnTo>
                        <a:pt x="610" y="167"/>
                      </a:lnTo>
                      <a:lnTo>
                        <a:pt x="617" y="171"/>
                      </a:lnTo>
                      <a:lnTo>
                        <a:pt x="622" y="167"/>
                      </a:lnTo>
                      <a:lnTo>
                        <a:pt x="627" y="167"/>
                      </a:lnTo>
                      <a:lnTo>
                        <a:pt x="633" y="168"/>
                      </a:lnTo>
                      <a:lnTo>
                        <a:pt x="636" y="171"/>
                      </a:lnTo>
                      <a:lnTo>
                        <a:pt x="640" y="165"/>
                      </a:lnTo>
                      <a:lnTo>
                        <a:pt x="639" y="161"/>
                      </a:lnTo>
                      <a:lnTo>
                        <a:pt x="640" y="158"/>
                      </a:lnTo>
                      <a:lnTo>
                        <a:pt x="643" y="157"/>
                      </a:lnTo>
                      <a:lnTo>
                        <a:pt x="645" y="156"/>
                      </a:lnTo>
                      <a:lnTo>
                        <a:pt x="651" y="157"/>
                      </a:lnTo>
                      <a:lnTo>
                        <a:pt x="654" y="163"/>
                      </a:lnTo>
                      <a:lnTo>
                        <a:pt x="660" y="168"/>
                      </a:lnTo>
                      <a:lnTo>
                        <a:pt x="664" y="174"/>
                      </a:lnTo>
                      <a:lnTo>
                        <a:pt x="669" y="179"/>
                      </a:lnTo>
                      <a:lnTo>
                        <a:pt x="669" y="182"/>
                      </a:lnTo>
                      <a:lnTo>
                        <a:pt x="670" y="184"/>
                      </a:lnTo>
                      <a:lnTo>
                        <a:pt x="670" y="188"/>
                      </a:lnTo>
                      <a:lnTo>
                        <a:pt x="669" y="189"/>
                      </a:lnTo>
                      <a:lnTo>
                        <a:pt x="669" y="191"/>
                      </a:lnTo>
                      <a:lnTo>
                        <a:pt x="668" y="194"/>
                      </a:lnTo>
                      <a:lnTo>
                        <a:pt x="666" y="193"/>
                      </a:lnTo>
                      <a:lnTo>
                        <a:pt x="664" y="191"/>
                      </a:lnTo>
                      <a:lnTo>
                        <a:pt x="661" y="192"/>
                      </a:lnTo>
                      <a:lnTo>
                        <a:pt x="660" y="193"/>
                      </a:lnTo>
                      <a:lnTo>
                        <a:pt x="656" y="191"/>
                      </a:lnTo>
                      <a:lnTo>
                        <a:pt x="654" y="191"/>
                      </a:lnTo>
                      <a:lnTo>
                        <a:pt x="651" y="196"/>
                      </a:lnTo>
                      <a:lnTo>
                        <a:pt x="647" y="200"/>
                      </a:lnTo>
                      <a:lnTo>
                        <a:pt x="645" y="201"/>
                      </a:lnTo>
                      <a:lnTo>
                        <a:pt x="642" y="199"/>
                      </a:lnTo>
                      <a:lnTo>
                        <a:pt x="641" y="200"/>
                      </a:lnTo>
                      <a:lnTo>
                        <a:pt x="641" y="203"/>
                      </a:lnTo>
                      <a:lnTo>
                        <a:pt x="640" y="205"/>
                      </a:lnTo>
                      <a:lnTo>
                        <a:pt x="638" y="205"/>
                      </a:lnTo>
                      <a:lnTo>
                        <a:pt x="636" y="205"/>
                      </a:lnTo>
                      <a:lnTo>
                        <a:pt x="636" y="207"/>
                      </a:lnTo>
                      <a:lnTo>
                        <a:pt x="633" y="212"/>
                      </a:lnTo>
                      <a:lnTo>
                        <a:pt x="633" y="216"/>
                      </a:lnTo>
                      <a:lnTo>
                        <a:pt x="633" y="220"/>
                      </a:lnTo>
                      <a:lnTo>
                        <a:pt x="631" y="222"/>
                      </a:lnTo>
                      <a:lnTo>
                        <a:pt x="628" y="223"/>
                      </a:lnTo>
                      <a:lnTo>
                        <a:pt x="622" y="228"/>
                      </a:lnTo>
                      <a:lnTo>
                        <a:pt x="619" y="228"/>
                      </a:lnTo>
                      <a:lnTo>
                        <a:pt x="615" y="227"/>
                      </a:lnTo>
                      <a:lnTo>
                        <a:pt x="613" y="229"/>
                      </a:lnTo>
                      <a:lnTo>
                        <a:pt x="611" y="236"/>
                      </a:lnTo>
                      <a:lnTo>
                        <a:pt x="608" y="238"/>
                      </a:lnTo>
                      <a:lnTo>
                        <a:pt x="605" y="240"/>
                      </a:lnTo>
                      <a:lnTo>
                        <a:pt x="603" y="243"/>
                      </a:lnTo>
                      <a:lnTo>
                        <a:pt x="602" y="246"/>
                      </a:lnTo>
                      <a:lnTo>
                        <a:pt x="601" y="246"/>
                      </a:lnTo>
                      <a:lnTo>
                        <a:pt x="598" y="244"/>
                      </a:lnTo>
                      <a:lnTo>
                        <a:pt x="595" y="243"/>
                      </a:lnTo>
                      <a:lnTo>
                        <a:pt x="590" y="242"/>
                      </a:lnTo>
                      <a:lnTo>
                        <a:pt x="587" y="239"/>
                      </a:lnTo>
                      <a:lnTo>
                        <a:pt x="583" y="239"/>
                      </a:lnTo>
                      <a:lnTo>
                        <a:pt x="578" y="240"/>
                      </a:lnTo>
                      <a:lnTo>
                        <a:pt x="574" y="243"/>
                      </a:lnTo>
                      <a:lnTo>
                        <a:pt x="572" y="246"/>
                      </a:lnTo>
                      <a:lnTo>
                        <a:pt x="572" y="254"/>
                      </a:lnTo>
                      <a:lnTo>
                        <a:pt x="572" y="257"/>
                      </a:lnTo>
                      <a:lnTo>
                        <a:pt x="572" y="260"/>
                      </a:lnTo>
                      <a:lnTo>
                        <a:pt x="578" y="265"/>
                      </a:lnTo>
                      <a:lnTo>
                        <a:pt x="584" y="269"/>
                      </a:lnTo>
                      <a:lnTo>
                        <a:pt x="584" y="271"/>
                      </a:lnTo>
                      <a:lnTo>
                        <a:pt x="583" y="274"/>
                      </a:lnTo>
                      <a:lnTo>
                        <a:pt x="581" y="277"/>
                      </a:lnTo>
                      <a:lnTo>
                        <a:pt x="575" y="286"/>
                      </a:lnTo>
                      <a:lnTo>
                        <a:pt x="571" y="293"/>
                      </a:lnTo>
                      <a:lnTo>
                        <a:pt x="569" y="299"/>
                      </a:lnTo>
                      <a:lnTo>
                        <a:pt x="567" y="299"/>
                      </a:lnTo>
                      <a:lnTo>
                        <a:pt x="562" y="301"/>
                      </a:lnTo>
                      <a:lnTo>
                        <a:pt x="559" y="301"/>
                      </a:lnTo>
                      <a:lnTo>
                        <a:pt x="555" y="304"/>
                      </a:lnTo>
                      <a:lnTo>
                        <a:pt x="551" y="307"/>
                      </a:lnTo>
                      <a:lnTo>
                        <a:pt x="547" y="308"/>
                      </a:lnTo>
                      <a:lnTo>
                        <a:pt x="542" y="308"/>
                      </a:lnTo>
                      <a:lnTo>
                        <a:pt x="537" y="310"/>
                      </a:lnTo>
                      <a:lnTo>
                        <a:pt x="533" y="312"/>
                      </a:lnTo>
                      <a:lnTo>
                        <a:pt x="523" y="315"/>
                      </a:lnTo>
                      <a:lnTo>
                        <a:pt x="515" y="319"/>
                      </a:lnTo>
                      <a:lnTo>
                        <a:pt x="511" y="324"/>
                      </a:lnTo>
                      <a:lnTo>
                        <a:pt x="505" y="330"/>
                      </a:lnTo>
                      <a:lnTo>
                        <a:pt x="502" y="333"/>
                      </a:lnTo>
                      <a:lnTo>
                        <a:pt x="499" y="333"/>
                      </a:lnTo>
                      <a:lnTo>
                        <a:pt x="494" y="332"/>
                      </a:lnTo>
                      <a:lnTo>
                        <a:pt x="494" y="329"/>
                      </a:lnTo>
                      <a:lnTo>
                        <a:pt x="494" y="327"/>
                      </a:lnTo>
                      <a:lnTo>
                        <a:pt x="488" y="329"/>
                      </a:lnTo>
                      <a:lnTo>
                        <a:pt x="484" y="330"/>
                      </a:lnTo>
                      <a:lnTo>
                        <a:pt x="478" y="327"/>
                      </a:lnTo>
                      <a:lnTo>
                        <a:pt x="474" y="326"/>
                      </a:lnTo>
                      <a:lnTo>
                        <a:pt x="465" y="322"/>
                      </a:lnTo>
                      <a:lnTo>
                        <a:pt x="456" y="317"/>
                      </a:lnTo>
                      <a:lnTo>
                        <a:pt x="452" y="312"/>
                      </a:lnTo>
                      <a:lnTo>
                        <a:pt x="448" y="312"/>
                      </a:lnTo>
                      <a:lnTo>
                        <a:pt x="438" y="310"/>
                      </a:lnTo>
                      <a:lnTo>
                        <a:pt x="429" y="311"/>
                      </a:lnTo>
                      <a:lnTo>
                        <a:pt x="427" y="310"/>
                      </a:lnTo>
                      <a:lnTo>
                        <a:pt x="425" y="311"/>
                      </a:lnTo>
                      <a:lnTo>
                        <a:pt x="425" y="313"/>
                      </a:lnTo>
                      <a:lnTo>
                        <a:pt x="420" y="315"/>
                      </a:lnTo>
                      <a:lnTo>
                        <a:pt x="413" y="316"/>
                      </a:lnTo>
                      <a:lnTo>
                        <a:pt x="401" y="315"/>
                      </a:lnTo>
                      <a:lnTo>
                        <a:pt x="393" y="315"/>
                      </a:lnTo>
                      <a:lnTo>
                        <a:pt x="387" y="315"/>
                      </a:lnTo>
                      <a:lnTo>
                        <a:pt x="381" y="315"/>
                      </a:lnTo>
                      <a:lnTo>
                        <a:pt x="378" y="316"/>
                      </a:lnTo>
                      <a:lnTo>
                        <a:pt x="376" y="315"/>
                      </a:lnTo>
                      <a:lnTo>
                        <a:pt x="373" y="308"/>
                      </a:lnTo>
                      <a:lnTo>
                        <a:pt x="371" y="304"/>
                      </a:lnTo>
                      <a:lnTo>
                        <a:pt x="368" y="298"/>
                      </a:lnTo>
                      <a:lnTo>
                        <a:pt x="366" y="295"/>
                      </a:lnTo>
                      <a:lnTo>
                        <a:pt x="364" y="291"/>
                      </a:lnTo>
                      <a:lnTo>
                        <a:pt x="364" y="288"/>
                      </a:lnTo>
                      <a:lnTo>
                        <a:pt x="362" y="285"/>
                      </a:lnTo>
                      <a:lnTo>
                        <a:pt x="359" y="284"/>
                      </a:lnTo>
                      <a:lnTo>
                        <a:pt x="359" y="284"/>
                      </a:lnTo>
                      <a:lnTo>
                        <a:pt x="358" y="282"/>
                      </a:lnTo>
                      <a:lnTo>
                        <a:pt x="357" y="280"/>
                      </a:lnTo>
                      <a:lnTo>
                        <a:pt x="356" y="279"/>
                      </a:lnTo>
                      <a:lnTo>
                        <a:pt x="355" y="279"/>
                      </a:lnTo>
                      <a:lnTo>
                        <a:pt x="351" y="279"/>
                      </a:lnTo>
                      <a:lnTo>
                        <a:pt x="348" y="277"/>
                      </a:lnTo>
                      <a:lnTo>
                        <a:pt x="342" y="273"/>
                      </a:lnTo>
                      <a:lnTo>
                        <a:pt x="341" y="272"/>
                      </a:lnTo>
                      <a:lnTo>
                        <a:pt x="339" y="272"/>
                      </a:lnTo>
                      <a:lnTo>
                        <a:pt x="337" y="271"/>
                      </a:lnTo>
                      <a:lnTo>
                        <a:pt x="336" y="270"/>
                      </a:lnTo>
                      <a:lnTo>
                        <a:pt x="332" y="266"/>
                      </a:lnTo>
                      <a:lnTo>
                        <a:pt x="322" y="264"/>
                      </a:lnTo>
                      <a:lnTo>
                        <a:pt x="321" y="264"/>
                      </a:lnTo>
                      <a:lnTo>
                        <a:pt x="320" y="265"/>
                      </a:lnTo>
                      <a:lnTo>
                        <a:pt x="316" y="266"/>
                      </a:lnTo>
                      <a:lnTo>
                        <a:pt x="310" y="266"/>
                      </a:lnTo>
                      <a:lnTo>
                        <a:pt x="296" y="262"/>
                      </a:lnTo>
                      <a:lnTo>
                        <a:pt x="293" y="260"/>
                      </a:lnTo>
                      <a:lnTo>
                        <a:pt x="290" y="254"/>
                      </a:lnTo>
                      <a:lnTo>
                        <a:pt x="289" y="252"/>
                      </a:lnTo>
                      <a:lnTo>
                        <a:pt x="289" y="249"/>
                      </a:lnTo>
                      <a:lnTo>
                        <a:pt x="290" y="247"/>
                      </a:lnTo>
                      <a:lnTo>
                        <a:pt x="292" y="246"/>
                      </a:lnTo>
                      <a:lnTo>
                        <a:pt x="293" y="243"/>
                      </a:lnTo>
                      <a:lnTo>
                        <a:pt x="291" y="240"/>
                      </a:lnTo>
                      <a:lnTo>
                        <a:pt x="290" y="236"/>
                      </a:lnTo>
                      <a:lnTo>
                        <a:pt x="291" y="234"/>
                      </a:lnTo>
                      <a:lnTo>
                        <a:pt x="291" y="230"/>
                      </a:lnTo>
                      <a:lnTo>
                        <a:pt x="290" y="228"/>
                      </a:lnTo>
                      <a:lnTo>
                        <a:pt x="288" y="225"/>
                      </a:lnTo>
                      <a:lnTo>
                        <a:pt x="286" y="223"/>
                      </a:lnTo>
                      <a:lnTo>
                        <a:pt x="284" y="221"/>
                      </a:lnTo>
                      <a:lnTo>
                        <a:pt x="283" y="218"/>
                      </a:lnTo>
                      <a:lnTo>
                        <a:pt x="281" y="215"/>
                      </a:lnTo>
                      <a:lnTo>
                        <a:pt x="280" y="212"/>
                      </a:lnTo>
                      <a:lnTo>
                        <a:pt x="280" y="210"/>
                      </a:lnTo>
                      <a:lnTo>
                        <a:pt x="279" y="207"/>
                      </a:lnTo>
                      <a:lnTo>
                        <a:pt x="276" y="205"/>
                      </a:lnTo>
                      <a:lnTo>
                        <a:pt x="274" y="204"/>
                      </a:lnTo>
                      <a:lnTo>
                        <a:pt x="273" y="202"/>
                      </a:lnTo>
                      <a:lnTo>
                        <a:pt x="271" y="201"/>
                      </a:lnTo>
                      <a:lnTo>
                        <a:pt x="269" y="201"/>
                      </a:lnTo>
                      <a:lnTo>
                        <a:pt x="267" y="203"/>
                      </a:lnTo>
                      <a:lnTo>
                        <a:pt x="266" y="204"/>
                      </a:lnTo>
                      <a:lnTo>
                        <a:pt x="264" y="203"/>
                      </a:lnTo>
                      <a:lnTo>
                        <a:pt x="262" y="200"/>
                      </a:lnTo>
                      <a:lnTo>
                        <a:pt x="262" y="198"/>
                      </a:lnTo>
                      <a:lnTo>
                        <a:pt x="259" y="198"/>
                      </a:lnTo>
                      <a:lnTo>
                        <a:pt x="256" y="200"/>
                      </a:lnTo>
                      <a:lnTo>
                        <a:pt x="255" y="201"/>
                      </a:lnTo>
                      <a:lnTo>
                        <a:pt x="255" y="204"/>
                      </a:lnTo>
                      <a:lnTo>
                        <a:pt x="253" y="204"/>
                      </a:lnTo>
                      <a:lnTo>
                        <a:pt x="250" y="201"/>
                      </a:lnTo>
                      <a:lnTo>
                        <a:pt x="249" y="199"/>
                      </a:lnTo>
                      <a:lnTo>
                        <a:pt x="249" y="198"/>
                      </a:lnTo>
                      <a:lnTo>
                        <a:pt x="248" y="194"/>
                      </a:lnTo>
                      <a:lnTo>
                        <a:pt x="245" y="193"/>
                      </a:lnTo>
                      <a:lnTo>
                        <a:pt x="242" y="190"/>
                      </a:lnTo>
                      <a:lnTo>
                        <a:pt x="241" y="189"/>
                      </a:lnTo>
                      <a:lnTo>
                        <a:pt x="239" y="188"/>
                      </a:lnTo>
                      <a:lnTo>
                        <a:pt x="239" y="185"/>
                      </a:lnTo>
                      <a:lnTo>
                        <a:pt x="238" y="183"/>
                      </a:lnTo>
                      <a:lnTo>
                        <a:pt x="238" y="181"/>
                      </a:lnTo>
                      <a:lnTo>
                        <a:pt x="238" y="181"/>
                      </a:lnTo>
                      <a:lnTo>
                        <a:pt x="238" y="183"/>
                      </a:lnTo>
                      <a:lnTo>
                        <a:pt x="236" y="183"/>
                      </a:lnTo>
                      <a:lnTo>
                        <a:pt x="235" y="181"/>
                      </a:lnTo>
                      <a:lnTo>
                        <a:pt x="235" y="180"/>
                      </a:lnTo>
                      <a:lnTo>
                        <a:pt x="235" y="176"/>
                      </a:lnTo>
                      <a:lnTo>
                        <a:pt x="235" y="174"/>
                      </a:lnTo>
                      <a:lnTo>
                        <a:pt x="233" y="174"/>
                      </a:lnTo>
                      <a:lnTo>
                        <a:pt x="230" y="173"/>
                      </a:lnTo>
                      <a:lnTo>
                        <a:pt x="228" y="173"/>
                      </a:lnTo>
                      <a:lnTo>
                        <a:pt x="229" y="174"/>
                      </a:lnTo>
                      <a:lnTo>
                        <a:pt x="226" y="177"/>
                      </a:lnTo>
                      <a:lnTo>
                        <a:pt x="224" y="178"/>
                      </a:lnTo>
                      <a:lnTo>
                        <a:pt x="221" y="183"/>
                      </a:lnTo>
                      <a:lnTo>
                        <a:pt x="220" y="186"/>
                      </a:lnTo>
                      <a:lnTo>
                        <a:pt x="221" y="188"/>
                      </a:lnTo>
                      <a:lnTo>
                        <a:pt x="219" y="191"/>
                      </a:lnTo>
                      <a:lnTo>
                        <a:pt x="215" y="193"/>
                      </a:lnTo>
                      <a:lnTo>
                        <a:pt x="213" y="195"/>
                      </a:lnTo>
                      <a:lnTo>
                        <a:pt x="212" y="199"/>
                      </a:lnTo>
                      <a:lnTo>
                        <a:pt x="212" y="206"/>
                      </a:lnTo>
                      <a:lnTo>
                        <a:pt x="215" y="213"/>
                      </a:lnTo>
                      <a:lnTo>
                        <a:pt x="217" y="217"/>
                      </a:lnTo>
                      <a:lnTo>
                        <a:pt x="217" y="219"/>
                      </a:lnTo>
                      <a:lnTo>
                        <a:pt x="214" y="225"/>
                      </a:lnTo>
                      <a:lnTo>
                        <a:pt x="210" y="226"/>
                      </a:lnTo>
                      <a:lnTo>
                        <a:pt x="208" y="229"/>
                      </a:lnTo>
                      <a:lnTo>
                        <a:pt x="206" y="230"/>
                      </a:lnTo>
                      <a:lnTo>
                        <a:pt x="205" y="229"/>
                      </a:lnTo>
                      <a:lnTo>
                        <a:pt x="204" y="228"/>
                      </a:lnTo>
                      <a:lnTo>
                        <a:pt x="202" y="228"/>
                      </a:lnTo>
                      <a:lnTo>
                        <a:pt x="197" y="229"/>
                      </a:lnTo>
                      <a:lnTo>
                        <a:pt x="193" y="229"/>
                      </a:lnTo>
                      <a:lnTo>
                        <a:pt x="187" y="226"/>
                      </a:lnTo>
                      <a:lnTo>
                        <a:pt x="183" y="226"/>
                      </a:lnTo>
                      <a:lnTo>
                        <a:pt x="182" y="226"/>
                      </a:lnTo>
                      <a:lnTo>
                        <a:pt x="181" y="234"/>
                      </a:lnTo>
                      <a:lnTo>
                        <a:pt x="179" y="239"/>
                      </a:lnTo>
                      <a:lnTo>
                        <a:pt x="179" y="243"/>
                      </a:lnTo>
                      <a:lnTo>
                        <a:pt x="178" y="252"/>
                      </a:lnTo>
                      <a:lnTo>
                        <a:pt x="178" y="260"/>
                      </a:lnTo>
                      <a:lnTo>
                        <a:pt x="177" y="262"/>
                      </a:lnTo>
                      <a:lnTo>
                        <a:pt x="179" y="264"/>
                      </a:lnTo>
                      <a:lnTo>
                        <a:pt x="183" y="266"/>
                      </a:lnTo>
                      <a:lnTo>
                        <a:pt x="181" y="269"/>
                      </a:lnTo>
                      <a:lnTo>
                        <a:pt x="180" y="271"/>
                      </a:lnTo>
                      <a:lnTo>
                        <a:pt x="179" y="271"/>
                      </a:lnTo>
                      <a:lnTo>
                        <a:pt x="177" y="273"/>
                      </a:lnTo>
                      <a:lnTo>
                        <a:pt x="175" y="273"/>
                      </a:lnTo>
                      <a:lnTo>
                        <a:pt x="173" y="271"/>
                      </a:lnTo>
                      <a:lnTo>
                        <a:pt x="172" y="272"/>
                      </a:lnTo>
                      <a:lnTo>
                        <a:pt x="168" y="273"/>
                      </a:lnTo>
                      <a:lnTo>
                        <a:pt x="162" y="274"/>
                      </a:lnTo>
                      <a:lnTo>
                        <a:pt x="158" y="277"/>
                      </a:lnTo>
                      <a:lnTo>
                        <a:pt x="155" y="277"/>
                      </a:lnTo>
                      <a:lnTo>
                        <a:pt x="154" y="276"/>
                      </a:lnTo>
                      <a:lnTo>
                        <a:pt x="152" y="277"/>
                      </a:lnTo>
                      <a:lnTo>
                        <a:pt x="149" y="280"/>
                      </a:lnTo>
                      <a:lnTo>
                        <a:pt x="148" y="282"/>
                      </a:lnTo>
                      <a:lnTo>
                        <a:pt x="152" y="284"/>
                      </a:lnTo>
                      <a:lnTo>
                        <a:pt x="155" y="284"/>
                      </a:lnTo>
                      <a:lnTo>
                        <a:pt x="159" y="284"/>
                      </a:lnTo>
                      <a:lnTo>
                        <a:pt x="159" y="286"/>
                      </a:lnTo>
                      <a:lnTo>
                        <a:pt x="156" y="288"/>
                      </a:lnTo>
                      <a:lnTo>
                        <a:pt x="158" y="294"/>
                      </a:lnTo>
                      <a:lnTo>
                        <a:pt x="158" y="296"/>
                      </a:lnTo>
                      <a:lnTo>
                        <a:pt x="159" y="298"/>
                      </a:lnTo>
                      <a:lnTo>
                        <a:pt x="160" y="301"/>
                      </a:lnTo>
                      <a:lnTo>
                        <a:pt x="162" y="307"/>
                      </a:lnTo>
                      <a:lnTo>
                        <a:pt x="163" y="309"/>
                      </a:lnTo>
                      <a:lnTo>
                        <a:pt x="166" y="312"/>
                      </a:lnTo>
                      <a:lnTo>
                        <a:pt x="167" y="319"/>
                      </a:lnTo>
                      <a:lnTo>
                        <a:pt x="165" y="321"/>
                      </a:lnTo>
                      <a:lnTo>
                        <a:pt x="165" y="324"/>
                      </a:lnTo>
                      <a:lnTo>
                        <a:pt x="167" y="328"/>
                      </a:lnTo>
                      <a:lnTo>
                        <a:pt x="165" y="329"/>
                      </a:lnTo>
                      <a:lnTo>
                        <a:pt x="165" y="330"/>
                      </a:lnTo>
                      <a:lnTo>
                        <a:pt x="162" y="333"/>
                      </a:lnTo>
                      <a:lnTo>
                        <a:pt x="162" y="337"/>
                      </a:lnTo>
                      <a:lnTo>
                        <a:pt x="160" y="339"/>
                      </a:lnTo>
                      <a:lnTo>
                        <a:pt x="154" y="336"/>
                      </a:lnTo>
                      <a:lnTo>
                        <a:pt x="148" y="329"/>
                      </a:lnTo>
                      <a:lnTo>
                        <a:pt x="145" y="329"/>
                      </a:lnTo>
                      <a:lnTo>
                        <a:pt x="139" y="326"/>
                      </a:lnTo>
                      <a:lnTo>
                        <a:pt x="131" y="326"/>
                      </a:lnTo>
                      <a:lnTo>
                        <a:pt x="126" y="328"/>
                      </a:lnTo>
                      <a:lnTo>
                        <a:pt x="119" y="326"/>
                      </a:lnTo>
                      <a:lnTo>
                        <a:pt x="112" y="327"/>
                      </a:lnTo>
                      <a:lnTo>
                        <a:pt x="109" y="328"/>
                      </a:lnTo>
                      <a:lnTo>
                        <a:pt x="106" y="326"/>
                      </a:lnTo>
                      <a:lnTo>
                        <a:pt x="103" y="329"/>
                      </a:lnTo>
                      <a:lnTo>
                        <a:pt x="100" y="331"/>
                      </a:lnTo>
                      <a:lnTo>
                        <a:pt x="93" y="329"/>
                      </a:lnTo>
                      <a:lnTo>
                        <a:pt x="87" y="328"/>
                      </a:lnTo>
                      <a:lnTo>
                        <a:pt x="84" y="326"/>
                      </a:lnTo>
                      <a:lnTo>
                        <a:pt x="79" y="326"/>
                      </a:lnTo>
                      <a:lnTo>
                        <a:pt x="78" y="326"/>
                      </a:lnTo>
                      <a:lnTo>
                        <a:pt x="75" y="326"/>
                      </a:lnTo>
                      <a:lnTo>
                        <a:pt x="72" y="326"/>
                      </a:lnTo>
                      <a:lnTo>
                        <a:pt x="70" y="327"/>
                      </a:lnTo>
                      <a:lnTo>
                        <a:pt x="71" y="330"/>
                      </a:lnTo>
                      <a:lnTo>
                        <a:pt x="72" y="334"/>
                      </a:lnTo>
                      <a:lnTo>
                        <a:pt x="72" y="339"/>
                      </a:lnTo>
                      <a:lnTo>
                        <a:pt x="67" y="339"/>
                      </a:lnTo>
                      <a:lnTo>
                        <a:pt x="58" y="339"/>
                      </a:lnTo>
                      <a:lnTo>
                        <a:pt x="48" y="339"/>
                      </a:lnTo>
                      <a:lnTo>
                        <a:pt x="45" y="337"/>
                      </a:lnTo>
                      <a:lnTo>
                        <a:pt x="41" y="336"/>
                      </a:lnTo>
                      <a:lnTo>
                        <a:pt x="38" y="339"/>
                      </a:lnTo>
                      <a:lnTo>
                        <a:pt x="39" y="342"/>
                      </a:lnTo>
                      <a:lnTo>
                        <a:pt x="36" y="344"/>
                      </a:lnTo>
                      <a:lnTo>
                        <a:pt x="36" y="346"/>
                      </a:lnTo>
                      <a:lnTo>
                        <a:pt x="35" y="346"/>
                      </a:lnTo>
                      <a:lnTo>
                        <a:pt x="37" y="346"/>
                      </a:lnTo>
                      <a:lnTo>
                        <a:pt x="37" y="350"/>
                      </a:lnTo>
                      <a:lnTo>
                        <a:pt x="33" y="357"/>
                      </a:lnTo>
                      <a:lnTo>
                        <a:pt x="30" y="362"/>
                      </a:lnTo>
                      <a:lnTo>
                        <a:pt x="34" y="364"/>
                      </a:lnTo>
                      <a:lnTo>
                        <a:pt x="40" y="366"/>
                      </a:lnTo>
                      <a:lnTo>
                        <a:pt x="42" y="369"/>
                      </a:lnTo>
                      <a:lnTo>
                        <a:pt x="44" y="370"/>
                      </a:lnTo>
                      <a:lnTo>
                        <a:pt x="48" y="367"/>
                      </a:lnTo>
                      <a:lnTo>
                        <a:pt x="48" y="362"/>
                      </a:lnTo>
                      <a:lnTo>
                        <a:pt x="49" y="363"/>
                      </a:lnTo>
                      <a:lnTo>
                        <a:pt x="56" y="369"/>
                      </a:lnTo>
                      <a:lnTo>
                        <a:pt x="57" y="373"/>
                      </a:lnTo>
                      <a:lnTo>
                        <a:pt x="53" y="377"/>
                      </a:lnTo>
                      <a:lnTo>
                        <a:pt x="48" y="377"/>
                      </a:lnTo>
                      <a:lnTo>
                        <a:pt x="41" y="379"/>
                      </a:lnTo>
                      <a:lnTo>
                        <a:pt x="40" y="377"/>
                      </a:lnTo>
                      <a:lnTo>
                        <a:pt x="37" y="373"/>
                      </a:lnTo>
                      <a:lnTo>
                        <a:pt x="33" y="378"/>
                      </a:lnTo>
                      <a:lnTo>
                        <a:pt x="30" y="377"/>
                      </a:lnTo>
                      <a:lnTo>
                        <a:pt x="26" y="381"/>
                      </a:lnTo>
                      <a:lnTo>
                        <a:pt x="23" y="383"/>
                      </a:lnTo>
                      <a:lnTo>
                        <a:pt x="22" y="387"/>
                      </a:lnTo>
                      <a:lnTo>
                        <a:pt x="27" y="389"/>
                      </a:lnTo>
                      <a:lnTo>
                        <a:pt x="27" y="393"/>
                      </a:lnTo>
                      <a:lnTo>
                        <a:pt x="22" y="395"/>
                      </a:lnTo>
                      <a:lnTo>
                        <a:pt x="16" y="397"/>
                      </a:lnTo>
                      <a:lnTo>
                        <a:pt x="17" y="398"/>
                      </a:lnTo>
                      <a:lnTo>
                        <a:pt x="18" y="401"/>
                      </a:lnTo>
                      <a:lnTo>
                        <a:pt x="13" y="403"/>
                      </a:lnTo>
                      <a:lnTo>
                        <a:pt x="12" y="407"/>
                      </a:lnTo>
                      <a:lnTo>
                        <a:pt x="10" y="408"/>
                      </a:lnTo>
                      <a:lnTo>
                        <a:pt x="3" y="407"/>
                      </a:lnTo>
                      <a:lnTo>
                        <a:pt x="0" y="409"/>
                      </a:lnTo>
                      <a:lnTo>
                        <a:pt x="0" y="415"/>
                      </a:lnTo>
                      <a:lnTo>
                        <a:pt x="4" y="421"/>
                      </a:lnTo>
                      <a:lnTo>
                        <a:pt x="6" y="419"/>
                      </a:lnTo>
                      <a:lnTo>
                        <a:pt x="10" y="419"/>
                      </a:lnTo>
                      <a:lnTo>
                        <a:pt x="11" y="423"/>
                      </a:lnTo>
                      <a:lnTo>
                        <a:pt x="10" y="427"/>
                      </a:lnTo>
                      <a:lnTo>
                        <a:pt x="11" y="432"/>
                      </a:lnTo>
                      <a:lnTo>
                        <a:pt x="14" y="433"/>
                      </a:lnTo>
                      <a:lnTo>
                        <a:pt x="14" y="438"/>
                      </a:lnTo>
                      <a:lnTo>
                        <a:pt x="13" y="440"/>
                      </a:lnTo>
                      <a:lnTo>
                        <a:pt x="10" y="448"/>
                      </a:lnTo>
                      <a:lnTo>
                        <a:pt x="10" y="459"/>
                      </a:lnTo>
                      <a:lnTo>
                        <a:pt x="8" y="457"/>
                      </a:lnTo>
                      <a:lnTo>
                        <a:pt x="11" y="461"/>
                      </a:lnTo>
                      <a:lnTo>
                        <a:pt x="13" y="463"/>
                      </a:lnTo>
                      <a:lnTo>
                        <a:pt x="18" y="461"/>
                      </a:lnTo>
                      <a:lnTo>
                        <a:pt x="21" y="459"/>
                      </a:lnTo>
                      <a:lnTo>
                        <a:pt x="23" y="457"/>
                      </a:lnTo>
                      <a:lnTo>
                        <a:pt x="24" y="457"/>
                      </a:lnTo>
                      <a:lnTo>
                        <a:pt x="26" y="454"/>
                      </a:lnTo>
                      <a:lnTo>
                        <a:pt x="27" y="456"/>
                      </a:lnTo>
                      <a:lnTo>
                        <a:pt x="29" y="458"/>
                      </a:lnTo>
                      <a:lnTo>
                        <a:pt x="34" y="459"/>
                      </a:lnTo>
                      <a:lnTo>
                        <a:pt x="34" y="456"/>
                      </a:lnTo>
                      <a:lnTo>
                        <a:pt x="32" y="454"/>
                      </a:lnTo>
                      <a:lnTo>
                        <a:pt x="32" y="452"/>
                      </a:lnTo>
                      <a:lnTo>
                        <a:pt x="35" y="451"/>
                      </a:lnTo>
                      <a:lnTo>
                        <a:pt x="37" y="449"/>
                      </a:lnTo>
                      <a:lnTo>
                        <a:pt x="38" y="449"/>
                      </a:lnTo>
                      <a:lnTo>
                        <a:pt x="38" y="451"/>
                      </a:lnTo>
                      <a:lnTo>
                        <a:pt x="41" y="450"/>
                      </a:lnTo>
                      <a:lnTo>
                        <a:pt x="44" y="447"/>
                      </a:lnTo>
                      <a:lnTo>
                        <a:pt x="43" y="443"/>
                      </a:lnTo>
                      <a:lnTo>
                        <a:pt x="44" y="440"/>
                      </a:lnTo>
                      <a:lnTo>
                        <a:pt x="45" y="438"/>
                      </a:lnTo>
                      <a:lnTo>
                        <a:pt x="46" y="433"/>
                      </a:lnTo>
                      <a:lnTo>
                        <a:pt x="48" y="430"/>
                      </a:lnTo>
                      <a:lnTo>
                        <a:pt x="51" y="430"/>
                      </a:lnTo>
                      <a:lnTo>
                        <a:pt x="53" y="433"/>
                      </a:lnTo>
                      <a:lnTo>
                        <a:pt x="56" y="434"/>
                      </a:lnTo>
                      <a:lnTo>
                        <a:pt x="56" y="436"/>
                      </a:lnTo>
                      <a:lnTo>
                        <a:pt x="55" y="440"/>
                      </a:lnTo>
                      <a:lnTo>
                        <a:pt x="56" y="443"/>
                      </a:lnTo>
                      <a:lnTo>
                        <a:pt x="58" y="443"/>
                      </a:lnTo>
                      <a:lnTo>
                        <a:pt x="59" y="446"/>
                      </a:lnTo>
                      <a:lnTo>
                        <a:pt x="59" y="451"/>
                      </a:lnTo>
                      <a:lnTo>
                        <a:pt x="60" y="454"/>
                      </a:lnTo>
                      <a:lnTo>
                        <a:pt x="60" y="461"/>
                      </a:lnTo>
                      <a:lnTo>
                        <a:pt x="62" y="464"/>
                      </a:lnTo>
                      <a:lnTo>
                        <a:pt x="62" y="467"/>
                      </a:lnTo>
                      <a:lnTo>
                        <a:pt x="65" y="468"/>
                      </a:lnTo>
                      <a:lnTo>
                        <a:pt x="68" y="468"/>
                      </a:lnTo>
                      <a:lnTo>
                        <a:pt x="71" y="466"/>
                      </a:lnTo>
                      <a:lnTo>
                        <a:pt x="71" y="464"/>
                      </a:lnTo>
                      <a:lnTo>
                        <a:pt x="76" y="461"/>
                      </a:lnTo>
                      <a:lnTo>
                        <a:pt x="78" y="459"/>
                      </a:lnTo>
                      <a:lnTo>
                        <a:pt x="79" y="456"/>
                      </a:lnTo>
                      <a:lnTo>
                        <a:pt x="81" y="453"/>
                      </a:lnTo>
                      <a:lnTo>
                        <a:pt x="87" y="449"/>
                      </a:lnTo>
                      <a:lnTo>
                        <a:pt x="91" y="448"/>
                      </a:lnTo>
                      <a:lnTo>
                        <a:pt x="92" y="451"/>
                      </a:lnTo>
                      <a:lnTo>
                        <a:pt x="97" y="450"/>
                      </a:lnTo>
                      <a:lnTo>
                        <a:pt x="99" y="448"/>
                      </a:lnTo>
                      <a:lnTo>
                        <a:pt x="105" y="448"/>
                      </a:lnTo>
                      <a:lnTo>
                        <a:pt x="106" y="450"/>
                      </a:lnTo>
                      <a:lnTo>
                        <a:pt x="101" y="455"/>
                      </a:lnTo>
                      <a:lnTo>
                        <a:pt x="103" y="456"/>
                      </a:lnTo>
                      <a:lnTo>
                        <a:pt x="105" y="455"/>
                      </a:lnTo>
                      <a:lnTo>
                        <a:pt x="107" y="454"/>
                      </a:lnTo>
                      <a:lnTo>
                        <a:pt x="110" y="457"/>
                      </a:lnTo>
                      <a:lnTo>
                        <a:pt x="111" y="456"/>
                      </a:lnTo>
                      <a:lnTo>
                        <a:pt x="114" y="456"/>
                      </a:lnTo>
                      <a:lnTo>
                        <a:pt x="115" y="455"/>
                      </a:lnTo>
                      <a:lnTo>
                        <a:pt x="116" y="453"/>
                      </a:lnTo>
                      <a:lnTo>
                        <a:pt x="118" y="453"/>
                      </a:lnTo>
                      <a:lnTo>
                        <a:pt x="120" y="456"/>
                      </a:lnTo>
                      <a:lnTo>
                        <a:pt x="121" y="461"/>
                      </a:lnTo>
                      <a:lnTo>
                        <a:pt x="128" y="472"/>
                      </a:lnTo>
                      <a:lnTo>
                        <a:pt x="131" y="475"/>
                      </a:lnTo>
                      <a:lnTo>
                        <a:pt x="132" y="480"/>
                      </a:lnTo>
                      <a:lnTo>
                        <a:pt x="134" y="481"/>
                      </a:lnTo>
                      <a:lnTo>
                        <a:pt x="136" y="484"/>
                      </a:lnTo>
                      <a:lnTo>
                        <a:pt x="141" y="484"/>
                      </a:lnTo>
                      <a:lnTo>
                        <a:pt x="147" y="484"/>
                      </a:lnTo>
                      <a:lnTo>
                        <a:pt x="150" y="485"/>
                      </a:lnTo>
                      <a:lnTo>
                        <a:pt x="150" y="489"/>
                      </a:lnTo>
                      <a:lnTo>
                        <a:pt x="155" y="491"/>
                      </a:lnTo>
                      <a:lnTo>
                        <a:pt x="160" y="495"/>
                      </a:lnTo>
                      <a:lnTo>
                        <a:pt x="162" y="503"/>
                      </a:lnTo>
                      <a:lnTo>
                        <a:pt x="166" y="508"/>
                      </a:lnTo>
                      <a:lnTo>
                        <a:pt x="171" y="511"/>
                      </a:lnTo>
                      <a:lnTo>
                        <a:pt x="173" y="515"/>
                      </a:lnTo>
                      <a:lnTo>
                        <a:pt x="173" y="523"/>
                      </a:lnTo>
                      <a:lnTo>
                        <a:pt x="176" y="531"/>
                      </a:lnTo>
                      <a:lnTo>
                        <a:pt x="179" y="532"/>
                      </a:lnTo>
                      <a:lnTo>
                        <a:pt x="181" y="540"/>
                      </a:lnTo>
                      <a:lnTo>
                        <a:pt x="182" y="546"/>
                      </a:lnTo>
                      <a:lnTo>
                        <a:pt x="180" y="549"/>
                      </a:lnTo>
                      <a:lnTo>
                        <a:pt x="179" y="546"/>
                      </a:lnTo>
                      <a:lnTo>
                        <a:pt x="177" y="546"/>
                      </a:lnTo>
                      <a:lnTo>
                        <a:pt x="173" y="551"/>
                      </a:lnTo>
                      <a:lnTo>
                        <a:pt x="174" y="553"/>
                      </a:lnTo>
                      <a:lnTo>
                        <a:pt x="174" y="556"/>
                      </a:lnTo>
                      <a:lnTo>
                        <a:pt x="178" y="558"/>
                      </a:lnTo>
                      <a:lnTo>
                        <a:pt x="177" y="565"/>
                      </a:lnTo>
                      <a:lnTo>
                        <a:pt x="179" y="568"/>
                      </a:lnTo>
                      <a:lnTo>
                        <a:pt x="178" y="570"/>
                      </a:lnTo>
                      <a:lnTo>
                        <a:pt x="179" y="571"/>
                      </a:lnTo>
                      <a:lnTo>
                        <a:pt x="181" y="574"/>
                      </a:lnTo>
                      <a:lnTo>
                        <a:pt x="181" y="577"/>
                      </a:lnTo>
                      <a:lnTo>
                        <a:pt x="183" y="578"/>
                      </a:lnTo>
                      <a:lnTo>
                        <a:pt x="183" y="581"/>
                      </a:lnTo>
                      <a:lnTo>
                        <a:pt x="186" y="583"/>
                      </a:lnTo>
                      <a:lnTo>
                        <a:pt x="188" y="580"/>
                      </a:lnTo>
                      <a:lnTo>
                        <a:pt x="191" y="580"/>
                      </a:lnTo>
                      <a:lnTo>
                        <a:pt x="193" y="581"/>
                      </a:lnTo>
                      <a:lnTo>
                        <a:pt x="196" y="582"/>
                      </a:lnTo>
                      <a:lnTo>
                        <a:pt x="199" y="586"/>
                      </a:lnTo>
                      <a:lnTo>
                        <a:pt x="201" y="587"/>
                      </a:lnTo>
                      <a:lnTo>
                        <a:pt x="203" y="591"/>
                      </a:lnTo>
                      <a:lnTo>
                        <a:pt x="205" y="591"/>
                      </a:lnTo>
                      <a:lnTo>
                        <a:pt x="206" y="594"/>
                      </a:lnTo>
                      <a:lnTo>
                        <a:pt x="207" y="594"/>
                      </a:lnTo>
                      <a:lnTo>
                        <a:pt x="207" y="592"/>
                      </a:lnTo>
                      <a:lnTo>
                        <a:pt x="211" y="595"/>
                      </a:lnTo>
                      <a:lnTo>
                        <a:pt x="212" y="597"/>
                      </a:lnTo>
                      <a:lnTo>
                        <a:pt x="215" y="597"/>
                      </a:lnTo>
                      <a:lnTo>
                        <a:pt x="217" y="598"/>
                      </a:lnTo>
                      <a:lnTo>
                        <a:pt x="218" y="595"/>
                      </a:lnTo>
                      <a:lnTo>
                        <a:pt x="221" y="595"/>
                      </a:lnTo>
                      <a:lnTo>
                        <a:pt x="227" y="597"/>
                      </a:lnTo>
                      <a:lnTo>
                        <a:pt x="228" y="598"/>
                      </a:lnTo>
                      <a:lnTo>
                        <a:pt x="231" y="598"/>
                      </a:lnTo>
                      <a:lnTo>
                        <a:pt x="234" y="600"/>
                      </a:lnTo>
                      <a:lnTo>
                        <a:pt x="238" y="605"/>
                      </a:lnTo>
                      <a:lnTo>
                        <a:pt x="242" y="605"/>
                      </a:lnTo>
                      <a:lnTo>
                        <a:pt x="244" y="608"/>
                      </a:lnTo>
                      <a:lnTo>
                        <a:pt x="245" y="610"/>
                      </a:lnTo>
                      <a:lnTo>
                        <a:pt x="248" y="613"/>
                      </a:lnTo>
                      <a:lnTo>
                        <a:pt x="249" y="617"/>
                      </a:lnTo>
                      <a:lnTo>
                        <a:pt x="251" y="616"/>
                      </a:lnTo>
                      <a:lnTo>
                        <a:pt x="251" y="611"/>
                      </a:lnTo>
                      <a:lnTo>
                        <a:pt x="252" y="609"/>
                      </a:lnTo>
                      <a:lnTo>
                        <a:pt x="253" y="611"/>
                      </a:lnTo>
                      <a:lnTo>
                        <a:pt x="256" y="611"/>
                      </a:lnTo>
                      <a:lnTo>
                        <a:pt x="259" y="613"/>
                      </a:lnTo>
                      <a:lnTo>
                        <a:pt x="260" y="618"/>
                      </a:lnTo>
                      <a:lnTo>
                        <a:pt x="263" y="622"/>
                      </a:lnTo>
                      <a:lnTo>
                        <a:pt x="268" y="620"/>
                      </a:lnTo>
                      <a:lnTo>
                        <a:pt x="271" y="620"/>
                      </a:lnTo>
                      <a:lnTo>
                        <a:pt x="270" y="627"/>
                      </a:lnTo>
                      <a:lnTo>
                        <a:pt x="272" y="631"/>
                      </a:lnTo>
                      <a:lnTo>
                        <a:pt x="274" y="631"/>
                      </a:lnTo>
                      <a:lnTo>
                        <a:pt x="279" y="633"/>
                      </a:lnTo>
                      <a:lnTo>
                        <a:pt x="280" y="631"/>
                      </a:lnTo>
                      <a:lnTo>
                        <a:pt x="283" y="630"/>
                      </a:lnTo>
                      <a:lnTo>
                        <a:pt x="286" y="626"/>
                      </a:lnTo>
                      <a:lnTo>
                        <a:pt x="291" y="627"/>
                      </a:lnTo>
                      <a:lnTo>
                        <a:pt x="294" y="629"/>
                      </a:lnTo>
                      <a:lnTo>
                        <a:pt x="295" y="633"/>
                      </a:lnTo>
                      <a:lnTo>
                        <a:pt x="300" y="636"/>
                      </a:lnTo>
                      <a:lnTo>
                        <a:pt x="302" y="640"/>
                      </a:lnTo>
                      <a:lnTo>
                        <a:pt x="305" y="641"/>
                      </a:lnTo>
                      <a:lnTo>
                        <a:pt x="308" y="639"/>
                      </a:lnTo>
                      <a:lnTo>
                        <a:pt x="310" y="640"/>
                      </a:lnTo>
                      <a:lnTo>
                        <a:pt x="314" y="638"/>
                      </a:lnTo>
                      <a:lnTo>
                        <a:pt x="316" y="639"/>
                      </a:lnTo>
                      <a:lnTo>
                        <a:pt x="317" y="639"/>
                      </a:lnTo>
                      <a:lnTo>
                        <a:pt x="319" y="636"/>
                      </a:lnTo>
                      <a:lnTo>
                        <a:pt x="322" y="636"/>
                      </a:lnTo>
                      <a:lnTo>
                        <a:pt x="324" y="639"/>
                      </a:lnTo>
                      <a:lnTo>
                        <a:pt x="325" y="643"/>
                      </a:lnTo>
                      <a:lnTo>
                        <a:pt x="327" y="646"/>
                      </a:lnTo>
                      <a:lnTo>
                        <a:pt x="327" y="646"/>
                      </a:lnTo>
                      <a:lnTo>
                        <a:pt x="330" y="644"/>
                      </a:lnTo>
                      <a:lnTo>
                        <a:pt x="333" y="636"/>
                      </a:lnTo>
                      <a:lnTo>
                        <a:pt x="340" y="632"/>
                      </a:lnTo>
                      <a:lnTo>
                        <a:pt x="345" y="631"/>
                      </a:lnTo>
                      <a:lnTo>
                        <a:pt x="346" y="633"/>
                      </a:lnTo>
                      <a:lnTo>
                        <a:pt x="352" y="635"/>
                      </a:lnTo>
                      <a:lnTo>
                        <a:pt x="356" y="636"/>
                      </a:lnTo>
                      <a:lnTo>
                        <a:pt x="359" y="634"/>
                      </a:lnTo>
                      <a:lnTo>
                        <a:pt x="363" y="634"/>
                      </a:lnTo>
                      <a:lnTo>
                        <a:pt x="365" y="638"/>
                      </a:lnTo>
                      <a:lnTo>
                        <a:pt x="366" y="638"/>
                      </a:lnTo>
                      <a:lnTo>
                        <a:pt x="367" y="638"/>
                      </a:lnTo>
                      <a:lnTo>
                        <a:pt x="373" y="636"/>
                      </a:lnTo>
                      <a:lnTo>
                        <a:pt x="375" y="636"/>
                      </a:lnTo>
                      <a:lnTo>
                        <a:pt x="377" y="632"/>
                      </a:lnTo>
                      <a:lnTo>
                        <a:pt x="379" y="630"/>
                      </a:lnTo>
                      <a:lnTo>
                        <a:pt x="380" y="631"/>
                      </a:lnTo>
                      <a:lnTo>
                        <a:pt x="380" y="629"/>
                      </a:lnTo>
                      <a:lnTo>
                        <a:pt x="384" y="628"/>
                      </a:lnTo>
                      <a:lnTo>
                        <a:pt x="384" y="624"/>
                      </a:lnTo>
                      <a:lnTo>
                        <a:pt x="387" y="621"/>
                      </a:lnTo>
                      <a:lnTo>
                        <a:pt x="390" y="620"/>
                      </a:lnTo>
                      <a:lnTo>
                        <a:pt x="395" y="619"/>
                      </a:lnTo>
                      <a:lnTo>
                        <a:pt x="398" y="614"/>
                      </a:lnTo>
                      <a:lnTo>
                        <a:pt x="398" y="610"/>
                      </a:lnTo>
                      <a:lnTo>
                        <a:pt x="401" y="610"/>
                      </a:lnTo>
                      <a:lnTo>
                        <a:pt x="404" y="607"/>
                      </a:lnTo>
                      <a:lnTo>
                        <a:pt x="406" y="612"/>
                      </a:lnTo>
                      <a:lnTo>
                        <a:pt x="410" y="610"/>
                      </a:lnTo>
                      <a:lnTo>
                        <a:pt x="415" y="612"/>
                      </a:lnTo>
                      <a:lnTo>
                        <a:pt x="417" y="611"/>
                      </a:lnTo>
                      <a:lnTo>
                        <a:pt x="416" y="608"/>
                      </a:lnTo>
                      <a:lnTo>
                        <a:pt x="422" y="603"/>
                      </a:lnTo>
                      <a:lnTo>
                        <a:pt x="425" y="604"/>
                      </a:lnTo>
                      <a:lnTo>
                        <a:pt x="426" y="607"/>
                      </a:lnTo>
                      <a:lnTo>
                        <a:pt x="428" y="606"/>
                      </a:lnTo>
                      <a:lnTo>
                        <a:pt x="429" y="608"/>
                      </a:lnTo>
                      <a:lnTo>
                        <a:pt x="426" y="612"/>
                      </a:lnTo>
                      <a:lnTo>
                        <a:pt x="428" y="615"/>
                      </a:lnTo>
                      <a:lnTo>
                        <a:pt x="429" y="615"/>
                      </a:lnTo>
                      <a:lnTo>
                        <a:pt x="431" y="614"/>
                      </a:lnTo>
                      <a:lnTo>
                        <a:pt x="432" y="616"/>
                      </a:lnTo>
                      <a:lnTo>
                        <a:pt x="434" y="619"/>
                      </a:lnTo>
                      <a:lnTo>
                        <a:pt x="434" y="622"/>
                      </a:lnTo>
                      <a:lnTo>
                        <a:pt x="432" y="625"/>
                      </a:lnTo>
                      <a:lnTo>
                        <a:pt x="432" y="628"/>
                      </a:lnTo>
                      <a:lnTo>
                        <a:pt x="436" y="629"/>
                      </a:lnTo>
                      <a:lnTo>
                        <a:pt x="437" y="627"/>
                      </a:lnTo>
                      <a:lnTo>
                        <a:pt x="440" y="629"/>
                      </a:lnTo>
                      <a:lnTo>
                        <a:pt x="442" y="632"/>
                      </a:lnTo>
                      <a:lnTo>
                        <a:pt x="444" y="630"/>
                      </a:lnTo>
                      <a:lnTo>
                        <a:pt x="448" y="632"/>
                      </a:lnTo>
                      <a:lnTo>
                        <a:pt x="449" y="630"/>
                      </a:lnTo>
                      <a:lnTo>
                        <a:pt x="453" y="630"/>
                      </a:lnTo>
                      <a:lnTo>
                        <a:pt x="455" y="635"/>
                      </a:lnTo>
                      <a:lnTo>
                        <a:pt x="457" y="637"/>
                      </a:lnTo>
                      <a:lnTo>
                        <a:pt x="459" y="643"/>
                      </a:lnTo>
                      <a:lnTo>
                        <a:pt x="461" y="643"/>
                      </a:lnTo>
                      <a:lnTo>
                        <a:pt x="463" y="646"/>
                      </a:lnTo>
                      <a:lnTo>
                        <a:pt x="463" y="651"/>
                      </a:lnTo>
                      <a:lnTo>
                        <a:pt x="466" y="657"/>
                      </a:lnTo>
                      <a:lnTo>
                        <a:pt x="466" y="662"/>
                      </a:lnTo>
                      <a:lnTo>
                        <a:pt x="465" y="669"/>
                      </a:lnTo>
                      <a:lnTo>
                        <a:pt x="465" y="673"/>
                      </a:lnTo>
                      <a:lnTo>
                        <a:pt x="465" y="674"/>
                      </a:lnTo>
                      <a:lnTo>
                        <a:pt x="462" y="676"/>
                      </a:lnTo>
                      <a:lnTo>
                        <a:pt x="462" y="679"/>
                      </a:lnTo>
                      <a:lnTo>
                        <a:pt x="460" y="680"/>
                      </a:lnTo>
                      <a:lnTo>
                        <a:pt x="460" y="682"/>
                      </a:lnTo>
                      <a:lnTo>
                        <a:pt x="461" y="685"/>
                      </a:lnTo>
                      <a:lnTo>
                        <a:pt x="460" y="688"/>
                      </a:lnTo>
                      <a:lnTo>
                        <a:pt x="458" y="687"/>
                      </a:lnTo>
                      <a:lnTo>
                        <a:pt x="456" y="689"/>
                      </a:lnTo>
                      <a:lnTo>
                        <a:pt x="455" y="692"/>
                      </a:lnTo>
                      <a:lnTo>
                        <a:pt x="456" y="695"/>
                      </a:lnTo>
                      <a:lnTo>
                        <a:pt x="455" y="697"/>
                      </a:lnTo>
                      <a:lnTo>
                        <a:pt x="455" y="699"/>
                      </a:lnTo>
                      <a:lnTo>
                        <a:pt x="457" y="701"/>
                      </a:lnTo>
                      <a:lnTo>
                        <a:pt x="458" y="703"/>
                      </a:lnTo>
                      <a:lnTo>
                        <a:pt x="460" y="705"/>
                      </a:lnTo>
                      <a:lnTo>
                        <a:pt x="460" y="709"/>
                      </a:lnTo>
                      <a:lnTo>
                        <a:pt x="461" y="713"/>
                      </a:lnTo>
                      <a:lnTo>
                        <a:pt x="464" y="710"/>
                      </a:lnTo>
                      <a:lnTo>
                        <a:pt x="471" y="709"/>
                      </a:lnTo>
                      <a:lnTo>
                        <a:pt x="471" y="712"/>
                      </a:lnTo>
                      <a:lnTo>
                        <a:pt x="470" y="713"/>
                      </a:lnTo>
                      <a:lnTo>
                        <a:pt x="472" y="716"/>
                      </a:lnTo>
                      <a:lnTo>
                        <a:pt x="476" y="714"/>
                      </a:lnTo>
                      <a:lnTo>
                        <a:pt x="477" y="717"/>
                      </a:lnTo>
                      <a:lnTo>
                        <a:pt x="476" y="720"/>
                      </a:lnTo>
                      <a:lnTo>
                        <a:pt x="477" y="722"/>
                      </a:lnTo>
                      <a:lnTo>
                        <a:pt x="481" y="723"/>
                      </a:lnTo>
                      <a:lnTo>
                        <a:pt x="481" y="725"/>
                      </a:lnTo>
                      <a:lnTo>
                        <a:pt x="481" y="727"/>
                      </a:lnTo>
                      <a:lnTo>
                        <a:pt x="482" y="726"/>
                      </a:lnTo>
                      <a:lnTo>
                        <a:pt x="486" y="726"/>
                      </a:lnTo>
                      <a:lnTo>
                        <a:pt x="489" y="728"/>
                      </a:lnTo>
                      <a:lnTo>
                        <a:pt x="489" y="730"/>
                      </a:lnTo>
                      <a:lnTo>
                        <a:pt x="488" y="733"/>
                      </a:lnTo>
                      <a:lnTo>
                        <a:pt x="488" y="736"/>
                      </a:lnTo>
                      <a:lnTo>
                        <a:pt x="484" y="741"/>
                      </a:lnTo>
                      <a:lnTo>
                        <a:pt x="482" y="744"/>
                      </a:lnTo>
                      <a:lnTo>
                        <a:pt x="482" y="747"/>
                      </a:lnTo>
                      <a:lnTo>
                        <a:pt x="484" y="745"/>
                      </a:lnTo>
                      <a:lnTo>
                        <a:pt x="489" y="746"/>
                      </a:lnTo>
                      <a:lnTo>
                        <a:pt x="490" y="747"/>
                      </a:lnTo>
                      <a:lnTo>
                        <a:pt x="491" y="745"/>
                      </a:lnTo>
                      <a:lnTo>
                        <a:pt x="494" y="747"/>
                      </a:lnTo>
                      <a:lnTo>
                        <a:pt x="493" y="752"/>
                      </a:lnTo>
                      <a:lnTo>
                        <a:pt x="494" y="755"/>
                      </a:lnTo>
                      <a:lnTo>
                        <a:pt x="497" y="757"/>
                      </a:lnTo>
                      <a:lnTo>
                        <a:pt x="499" y="755"/>
                      </a:lnTo>
                      <a:lnTo>
                        <a:pt x="502" y="755"/>
                      </a:lnTo>
                      <a:lnTo>
                        <a:pt x="508" y="752"/>
                      </a:lnTo>
                      <a:lnTo>
                        <a:pt x="512" y="753"/>
                      </a:lnTo>
                      <a:lnTo>
                        <a:pt x="511" y="756"/>
                      </a:lnTo>
                      <a:lnTo>
                        <a:pt x="507" y="760"/>
                      </a:lnTo>
                      <a:lnTo>
                        <a:pt x="510" y="757"/>
                      </a:lnTo>
                      <a:lnTo>
                        <a:pt x="512" y="759"/>
                      </a:lnTo>
                      <a:lnTo>
                        <a:pt x="513" y="762"/>
                      </a:lnTo>
                      <a:lnTo>
                        <a:pt x="516" y="760"/>
                      </a:lnTo>
                      <a:lnTo>
                        <a:pt x="519" y="761"/>
                      </a:lnTo>
                      <a:lnTo>
                        <a:pt x="518" y="757"/>
                      </a:lnTo>
                      <a:lnTo>
                        <a:pt x="518" y="753"/>
                      </a:lnTo>
                      <a:lnTo>
                        <a:pt x="517" y="749"/>
                      </a:lnTo>
                      <a:lnTo>
                        <a:pt x="517" y="743"/>
                      </a:lnTo>
                      <a:lnTo>
                        <a:pt x="519" y="742"/>
                      </a:lnTo>
                      <a:lnTo>
                        <a:pt x="519" y="740"/>
                      </a:lnTo>
                      <a:lnTo>
                        <a:pt x="524" y="740"/>
                      </a:lnTo>
                      <a:lnTo>
                        <a:pt x="525" y="742"/>
                      </a:lnTo>
                      <a:lnTo>
                        <a:pt x="524" y="740"/>
                      </a:lnTo>
                      <a:lnTo>
                        <a:pt x="525" y="739"/>
                      </a:lnTo>
                      <a:lnTo>
                        <a:pt x="526" y="738"/>
                      </a:lnTo>
                      <a:lnTo>
                        <a:pt x="527" y="736"/>
                      </a:lnTo>
                      <a:lnTo>
                        <a:pt x="529" y="735"/>
                      </a:lnTo>
                      <a:lnTo>
                        <a:pt x="532" y="733"/>
                      </a:lnTo>
                      <a:lnTo>
                        <a:pt x="533" y="734"/>
                      </a:lnTo>
                      <a:lnTo>
                        <a:pt x="533" y="736"/>
                      </a:lnTo>
                      <a:lnTo>
                        <a:pt x="534" y="737"/>
                      </a:lnTo>
                      <a:lnTo>
                        <a:pt x="536" y="737"/>
                      </a:lnTo>
                      <a:lnTo>
                        <a:pt x="536" y="734"/>
                      </a:lnTo>
                      <a:lnTo>
                        <a:pt x="539" y="733"/>
                      </a:lnTo>
                      <a:lnTo>
                        <a:pt x="542" y="736"/>
                      </a:lnTo>
                      <a:lnTo>
                        <a:pt x="543" y="733"/>
                      </a:lnTo>
                      <a:lnTo>
                        <a:pt x="545" y="733"/>
                      </a:lnTo>
                      <a:lnTo>
                        <a:pt x="546" y="736"/>
                      </a:lnTo>
                      <a:lnTo>
                        <a:pt x="549" y="734"/>
                      </a:lnTo>
                      <a:lnTo>
                        <a:pt x="549" y="732"/>
                      </a:lnTo>
                      <a:lnTo>
                        <a:pt x="553" y="730"/>
                      </a:lnTo>
                      <a:lnTo>
                        <a:pt x="556" y="733"/>
                      </a:lnTo>
                      <a:lnTo>
                        <a:pt x="560" y="730"/>
                      </a:lnTo>
                      <a:lnTo>
                        <a:pt x="560" y="725"/>
                      </a:lnTo>
                      <a:lnTo>
                        <a:pt x="563" y="723"/>
                      </a:lnTo>
                      <a:lnTo>
                        <a:pt x="567" y="723"/>
                      </a:lnTo>
                      <a:lnTo>
                        <a:pt x="568" y="721"/>
                      </a:lnTo>
                      <a:lnTo>
                        <a:pt x="571" y="724"/>
                      </a:lnTo>
                      <a:lnTo>
                        <a:pt x="571" y="726"/>
                      </a:lnTo>
                      <a:lnTo>
                        <a:pt x="574" y="726"/>
                      </a:lnTo>
                      <a:lnTo>
                        <a:pt x="576" y="729"/>
                      </a:lnTo>
                      <a:lnTo>
                        <a:pt x="582" y="729"/>
                      </a:lnTo>
                      <a:lnTo>
                        <a:pt x="584" y="730"/>
                      </a:lnTo>
                      <a:lnTo>
                        <a:pt x="587" y="729"/>
                      </a:lnTo>
                      <a:lnTo>
                        <a:pt x="590" y="731"/>
                      </a:lnTo>
                      <a:lnTo>
                        <a:pt x="589" y="734"/>
                      </a:lnTo>
                      <a:lnTo>
                        <a:pt x="587" y="735"/>
                      </a:lnTo>
                      <a:lnTo>
                        <a:pt x="585" y="741"/>
                      </a:lnTo>
                      <a:lnTo>
                        <a:pt x="588" y="742"/>
                      </a:lnTo>
                      <a:lnTo>
                        <a:pt x="588" y="745"/>
                      </a:lnTo>
                      <a:lnTo>
                        <a:pt x="594" y="747"/>
                      </a:lnTo>
                      <a:lnTo>
                        <a:pt x="595" y="750"/>
                      </a:lnTo>
                      <a:lnTo>
                        <a:pt x="597" y="751"/>
                      </a:lnTo>
                      <a:lnTo>
                        <a:pt x="600" y="754"/>
                      </a:lnTo>
                      <a:lnTo>
                        <a:pt x="603" y="752"/>
                      </a:lnTo>
                      <a:lnTo>
                        <a:pt x="604" y="754"/>
                      </a:lnTo>
                      <a:lnTo>
                        <a:pt x="606" y="753"/>
                      </a:lnTo>
                      <a:lnTo>
                        <a:pt x="609" y="754"/>
                      </a:lnTo>
                      <a:lnTo>
                        <a:pt x="609" y="754"/>
                      </a:lnTo>
                      <a:lnTo>
                        <a:pt x="610" y="754"/>
                      </a:lnTo>
                      <a:lnTo>
                        <a:pt x="612" y="754"/>
                      </a:lnTo>
                      <a:lnTo>
                        <a:pt x="614" y="754"/>
                      </a:lnTo>
                      <a:lnTo>
                        <a:pt x="614" y="752"/>
                      </a:lnTo>
                      <a:lnTo>
                        <a:pt x="615" y="748"/>
                      </a:lnTo>
                      <a:lnTo>
                        <a:pt x="616" y="751"/>
                      </a:lnTo>
                      <a:lnTo>
                        <a:pt x="619" y="754"/>
                      </a:lnTo>
                      <a:lnTo>
                        <a:pt x="620" y="754"/>
                      </a:lnTo>
                      <a:lnTo>
                        <a:pt x="623" y="757"/>
                      </a:lnTo>
                      <a:lnTo>
                        <a:pt x="625" y="757"/>
                      </a:lnTo>
                      <a:lnTo>
                        <a:pt x="627" y="757"/>
                      </a:lnTo>
                      <a:lnTo>
                        <a:pt x="629" y="754"/>
                      </a:lnTo>
                      <a:lnTo>
                        <a:pt x="630" y="757"/>
                      </a:lnTo>
                      <a:lnTo>
                        <a:pt x="633" y="756"/>
                      </a:lnTo>
                      <a:lnTo>
                        <a:pt x="634" y="757"/>
                      </a:lnTo>
                      <a:lnTo>
                        <a:pt x="634" y="757"/>
                      </a:lnTo>
                      <a:lnTo>
                        <a:pt x="632" y="758"/>
                      </a:lnTo>
                      <a:lnTo>
                        <a:pt x="632" y="760"/>
                      </a:lnTo>
                      <a:lnTo>
                        <a:pt x="629" y="764"/>
                      </a:lnTo>
                      <a:lnTo>
                        <a:pt x="629" y="766"/>
                      </a:lnTo>
                      <a:lnTo>
                        <a:pt x="633" y="771"/>
                      </a:lnTo>
                      <a:lnTo>
                        <a:pt x="635" y="773"/>
                      </a:lnTo>
                      <a:lnTo>
                        <a:pt x="635" y="774"/>
                      </a:lnTo>
                      <a:lnTo>
                        <a:pt x="636" y="778"/>
                      </a:lnTo>
                      <a:lnTo>
                        <a:pt x="636" y="778"/>
                      </a:lnTo>
                      <a:lnTo>
                        <a:pt x="637" y="775"/>
                      </a:lnTo>
                      <a:lnTo>
                        <a:pt x="640" y="776"/>
                      </a:lnTo>
                      <a:lnTo>
                        <a:pt x="640" y="777"/>
                      </a:lnTo>
                      <a:lnTo>
                        <a:pt x="642" y="777"/>
                      </a:lnTo>
                      <a:lnTo>
                        <a:pt x="644" y="773"/>
                      </a:lnTo>
                      <a:lnTo>
                        <a:pt x="643" y="771"/>
                      </a:lnTo>
                      <a:lnTo>
                        <a:pt x="643" y="771"/>
                      </a:lnTo>
                      <a:lnTo>
                        <a:pt x="643" y="771"/>
                      </a:lnTo>
                      <a:lnTo>
                        <a:pt x="641" y="767"/>
                      </a:lnTo>
                      <a:lnTo>
                        <a:pt x="640" y="767"/>
                      </a:lnTo>
                      <a:lnTo>
                        <a:pt x="638" y="764"/>
                      </a:lnTo>
                      <a:lnTo>
                        <a:pt x="639" y="763"/>
                      </a:lnTo>
                      <a:lnTo>
                        <a:pt x="641" y="760"/>
                      </a:lnTo>
                      <a:lnTo>
                        <a:pt x="641" y="758"/>
                      </a:lnTo>
                      <a:lnTo>
                        <a:pt x="641" y="757"/>
                      </a:lnTo>
                      <a:lnTo>
                        <a:pt x="642" y="757"/>
                      </a:lnTo>
                      <a:lnTo>
                        <a:pt x="643" y="755"/>
                      </a:lnTo>
                      <a:lnTo>
                        <a:pt x="643" y="756"/>
                      </a:lnTo>
                      <a:lnTo>
                        <a:pt x="643" y="757"/>
                      </a:lnTo>
                      <a:lnTo>
                        <a:pt x="644" y="757"/>
                      </a:lnTo>
                      <a:lnTo>
                        <a:pt x="643" y="758"/>
                      </a:lnTo>
                      <a:lnTo>
                        <a:pt x="644" y="759"/>
                      </a:lnTo>
                      <a:lnTo>
                        <a:pt x="645" y="759"/>
                      </a:lnTo>
                      <a:lnTo>
                        <a:pt x="644" y="760"/>
                      </a:lnTo>
                      <a:lnTo>
                        <a:pt x="645" y="760"/>
                      </a:lnTo>
                      <a:lnTo>
                        <a:pt x="647" y="758"/>
                      </a:lnTo>
                      <a:lnTo>
                        <a:pt x="650" y="757"/>
                      </a:lnTo>
                      <a:lnTo>
                        <a:pt x="650" y="755"/>
                      </a:lnTo>
                      <a:lnTo>
                        <a:pt x="653" y="756"/>
                      </a:lnTo>
                      <a:lnTo>
                        <a:pt x="656" y="755"/>
                      </a:lnTo>
                      <a:lnTo>
                        <a:pt x="658" y="753"/>
                      </a:lnTo>
                      <a:lnTo>
                        <a:pt x="657" y="750"/>
                      </a:lnTo>
                      <a:lnTo>
                        <a:pt x="660" y="751"/>
                      </a:lnTo>
                      <a:lnTo>
                        <a:pt x="663" y="750"/>
                      </a:lnTo>
                      <a:lnTo>
                        <a:pt x="665" y="751"/>
                      </a:lnTo>
                      <a:lnTo>
                        <a:pt x="667" y="750"/>
                      </a:lnTo>
                      <a:lnTo>
                        <a:pt x="670" y="749"/>
                      </a:lnTo>
                      <a:lnTo>
                        <a:pt x="673" y="746"/>
                      </a:lnTo>
                      <a:lnTo>
                        <a:pt x="674" y="743"/>
                      </a:lnTo>
                      <a:lnTo>
                        <a:pt x="674" y="741"/>
                      </a:lnTo>
                      <a:lnTo>
                        <a:pt x="675" y="742"/>
                      </a:lnTo>
                      <a:lnTo>
                        <a:pt x="677" y="743"/>
                      </a:lnTo>
                      <a:lnTo>
                        <a:pt x="678" y="742"/>
                      </a:lnTo>
                      <a:lnTo>
                        <a:pt x="679" y="740"/>
                      </a:lnTo>
                      <a:lnTo>
                        <a:pt x="681" y="738"/>
                      </a:lnTo>
                      <a:lnTo>
                        <a:pt x="681" y="734"/>
                      </a:lnTo>
                      <a:lnTo>
                        <a:pt x="681" y="731"/>
                      </a:lnTo>
                      <a:lnTo>
                        <a:pt x="681" y="729"/>
                      </a:lnTo>
                      <a:lnTo>
                        <a:pt x="680" y="726"/>
                      </a:lnTo>
                      <a:lnTo>
                        <a:pt x="681" y="728"/>
                      </a:lnTo>
                      <a:lnTo>
                        <a:pt x="685" y="730"/>
                      </a:lnTo>
                      <a:lnTo>
                        <a:pt x="685" y="733"/>
                      </a:lnTo>
                      <a:lnTo>
                        <a:pt x="688" y="736"/>
                      </a:lnTo>
                      <a:lnTo>
                        <a:pt x="690" y="735"/>
                      </a:lnTo>
                      <a:lnTo>
                        <a:pt x="688" y="737"/>
                      </a:lnTo>
                      <a:lnTo>
                        <a:pt x="687" y="739"/>
                      </a:lnTo>
                      <a:lnTo>
                        <a:pt x="687" y="740"/>
                      </a:lnTo>
                      <a:lnTo>
                        <a:pt x="692" y="737"/>
                      </a:lnTo>
                      <a:lnTo>
                        <a:pt x="692" y="733"/>
                      </a:lnTo>
                      <a:lnTo>
                        <a:pt x="695" y="733"/>
                      </a:lnTo>
                      <a:lnTo>
                        <a:pt x="696" y="731"/>
                      </a:lnTo>
                      <a:lnTo>
                        <a:pt x="699" y="733"/>
                      </a:lnTo>
                      <a:lnTo>
                        <a:pt x="701" y="732"/>
                      </a:lnTo>
                      <a:lnTo>
                        <a:pt x="701" y="729"/>
                      </a:lnTo>
                      <a:lnTo>
                        <a:pt x="703" y="729"/>
                      </a:lnTo>
                      <a:lnTo>
                        <a:pt x="704" y="728"/>
                      </a:lnTo>
                      <a:lnTo>
                        <a:pt x="705" y="729"/>
                      </a:lnTo>
                      <a:lnTo>
                        <a:pt x="707" y="733"/>
                      </a:lnTo>
                      <a:lnTo>
                        <a:pt x="709" y="731"/>
                      </a:lnTo>
                      <a:lnTo>
                        <a:pt x="709" y="728"/>
                      </a:lnTo>
                      <a:lnTo>
                        <a:pt x="711" y="728"/>
                      </a:lnTo>
                      <a:lnTo>
                        <a:pt x="711" y="729"/>
                      </a:lnTo>
                      <a:lnTo>
                        <a:pt x="713" y="729"/>
                      </a:lnTo>
                      <a:lnTo>
                        <a:pt x="713" y="727"/>
                      </a:lnTo>
                      <a:lnTo>
                        <a:pt x="716" y="727"/>
                      </a:lnTo>
                      <a:lnTo>
                        <a:pt x="719" y="725"/>
                      </a:lnTo>
                      <a:lnTo>
                        <a:pt x="720" y="723"/>
                      </a:lnTo>
                      <a:lnTo>
                        <a:pt x="720" y="726"/>
                      </a:lnTo>
                      <a:lnTo>
                        <a:pt x="721" y="724"/>
                      </a:lnTo>
                      <a:lnTo>
                        <a:pt x="723" y="724"/>
                      </a:lnTo>
                      <a:lnTo>
                        <a:pt x="725" y="723"/>
                      </a:lnTo>
                      <a:lnTo>
                        <a:pt x="723" y="721"/>
                      </a:lnTo>
                      <a:lnTo>
                        <a:pt x="725" y="719"/>
                      </a:lnTo>
                      <a:lnTo>
                        <a:pt x="726" y="716"/>
                      </a:lnTo>
                      <a:lnTo>
                        <a:pt x="725" y="712"/>
                      </a:lnTo>
                      <a:lnTo>
                        <a:pt x="726" y="712"/>
                      </a:lnTo>
                      <a:lnTo>
                        <a:pt x="727" y="710"/>
                      </a:lnTo>
                      <a:lnTo>
                        <a:pt x="730" y="710"/>
                      </a:lnTo>
                      <a:lnTo>
                        <a:pt x="731" y="712"/>
                      </a:lnTo>
                      <a:lnTo>
                        <a:pt x="733" y="712"/>
                      </a:lnTo>
                      <a:lnTo>
                        <a:pt x="734" y="708"/>
                      </a:lnTo>
                      <a:lnTo>
                        <a:pt x="736" y="708"/>
                      </a:lnTo>
                      <a:lnTo>
                        <a:pt x="736" y="705"/>
                      </a:lnTo>
                      <a:lnTo>
                        <a:pt x="737" y="705"/>
                      </a:lnTo>
                      <a:lnTo>
                        <a:pt x="737" y="706"/>
                      </a:lnTo>
                      <a:lnTo>
                        <a:pt x="738" y="705"/>
                      </a:lnTo>
                      <a:lnTo>
                        <a:pt x="740" y="702"/>
                      </a:lnTo>
                      <a:lnTo>
                        <a:pt x="741" y="705"/>
                      </a:lnTo>
                      <a:lnTo>
                        <a:pt x="742" y="701"/>
                      </a:lnTo>
                      <a:lnTo>
                        <a:pt x="744" y="701"/>
                      </a:lnTo>
                      <a:lnTo>
                        <a:pt x="744" y="698"/>
                      </a:lnTo>
                      <a:lnTo>
                        <a:pt x="742" y="698"/>
                      </a:lnTo>
                      <a:lnTo>
                        <a:pt x="740" y="698"/>
                      </a:lnTo>
                      <a:lnTo>
                        <a:pt x="737" y="695"/>
                      </a:lnTo>
                      <a:lnTo>
                        <a:pt x="741" y="695"/>
                      </a:lnTo>
                      <a:lnTo>
                        <a:pt x="744" y="691"/>
                      </a:lnTo>
                      <a:lnTo>
                        <a:pt x="744" y="692"/>
                      </a:lnTo>
                      <a:lnTo>
                        <a:pt x="746" y="691"/>
                      </a:lnTo>
                      <a:lnTo>
                        <a:pt x="750" y="694"/>
                      </a:lnTo>
                      <a:lnTo>
                        <a:pt x="751" y="690"/>
                      </a:lnTo>
                      <a:lnTo>
                        <a:pt x="749" y="689"/>
                      </a:lnTo>
                      <a:lnTo>
                        <a:pt x="747" y="688"/>
                      </a:lnTo>
                      <a:lnTo>
                        <a:pt x="748" y="685"/>
                      </a:lnTo>
                      <a:lnTo>
                        <a:pt x="751" y="688"/>
                      </a:lnTo>
                      <a:lnTo>
                        <a:pt x="753" y="685"/>
                      </a:lnTo>
                      <a:lnTo>
                        <a:pt x="752" y="685"/>
                      </a:lnTo>
                      <a:lnTo>
                        <a:pt x="751" y="685"/>
                      </a:lnTo>
                      <a:lnTo>
                        <a:pt x="750" y="681"/>
                      </a:lnTo>
                      <a:lnTo>
                        <a:pt x="748" y="680"/>
                      </a:lnTo>
                      <a:lnTo>
                        <a:pt x="751" y="680"/>
                      </a:lnTo>
                      <a:lnTo>
                        <a:pt x="751" y="681"/>
                      </a:lnTo>
                      <a:lnTo>
                        <a:pt x="753" y="681"/>
                      </a:lnTo>
                      <a:lnTo>
                        <a:pt x="754" y="683"/>
                      </a:lnTo>
                      <a:lnTo>
                        <a:pt x="754" y="680"/>
                      </a:lnTo>
                      <a:lnTo>
                        <a:pt x="751" y="678"/>
                      </a:lnTo>
                      <a:lnTo>
                        <a:pt x="752" y="675"/>
                      </a:lnTo>
                      <a:lnTo>
                        <a:pt x="753" y="675"/>
                      </a:lnTo>
                      <a:lnTo>
                        <a:pt x="754" y="673"/>
                      </a:lnTo>
                      <a:lnTo>
                        <a:pt x="756" y="675"/>
                      </a:lnTo>
                      <a:lnTo>
                        <a:pt x="756" y="678"/>
                      </a:lnTo>
                      <a:lnTo>
                        <a:pt x="758" y="678"/>
                      </a:lnTo>
                      <a:lnTo>
                        <a:pt x="759" y="681"/>
                      </a:lnTo>
                      <a:lnTo>
                        <a:pt x="760" y="677"/>
                      </a:lnTo>
                      <a:lnTo>
                        <a:pt x="758" y="674"/>
                      </a:lnTo>
                      <a:lnTo>
                        <a:pt x="757" y="674"/>
                      </a:lnTo>
                      <a:lnTo>
                        <a:pt x="757" y="672"/>
                      </a:lnTo>
                      <a:lnTo>
                        <a:pt x="758" y="671"/>
                      </a:lnTo>
                      <a:lnTo>
                        <a:pt x="759" y="669"/>
                      </a:lnTo>
                      <a:lnTo>
                        <a:pt x="757" y="668"/>
                      </a:lnTo>
                      <a:lnTo>
                        <a:pt x="760" y="665"/>
                      </a:lnTo>
                      <a:lnTo>
                        <a:pt x="758" y="663"/>
                      </a:lnTo>
                      <a:lnTo>
                        <a:pt x="756" y="664"/>
                      </a:lnTo>
                      <a:lnTo>
                        <a:pt x="755" y="664"/>
                      </a:lnTo>
                      <a:lnTo>
                        <a:pt x="755" y="662"/>
                      </a:lnTo>
                      <a:lnTo>
                        <a:pt x="758" y="660"/>
                      </a:lnTo>
                      <a:lnTo>
                        <a:pt x="763" y="657"/>
                      </a:lnTo>
                      <a:lnTo>
                        <a:pt x="761" y="655"/>
                      </a:lnTo>
                      <a:lnTo>
                        <a:pt x="760" y="657"/>
                      </a:lnTo>
                      <a:lnTo>
                        <a:pt x="756" y="653"/>
                      </a:lnTo>
                      <a:lnTo>
                        <a:pt x="759" y="653"/>
                      </a:lnTo>
                      <a:lnTo>
                        <a:pt x="758" y="650"/>
                      </a:lnTo>
                      <a:lnTo>
                        <a:pt x="755" y="650"/>
                      </a:lnTo>
                      <a:lnTo>
                        <a:pt x="757" y="649"/>
                      </a:lnTo>
                      <a:lnTo>
                        <a:pt x="755" y="647"/>
                      </a:lnTo>
                      <a:lnTo>
                        <a:pt x="758" y="647"/>
                      </a:lnTo>
                      <a:lnTo>
                        <a:pt x="758" y="644"/>
                      </a:lnTo>
                      <a:lnTo>
                        <a:pt x="758" y="645"/>
                      </a:lnTo>
                      <a:lnTo>
                        <a:pt x="760" y="644"/>
                      </a:lnTo>
                      <a:lnTo>
                        <a:pt x="760" y="648"/>
                      </a:lnTo>
                      <a:lnTo>
                        <a:pt x="761" y="648"/>
                      </a:lnTo>
                      <a:lnTo>
                        <a:pt x="765" y="643"/>
                      </a:lnTo>
                      <a:lnTo>
                        <a:pt x="765" y="641"/>
                      </a:lnTo>
                      <a:lnTo>
                        <a:pt x="768" y="642"/>
                      </a:lnTo>
                      <a:lnTo>
                        <a:pt x="767" y="639"/>
                      </a:lnTo>
                      <a:lnTo>
                        <a:pt x="765" y="639"/>
                      </a:lnTo>
                      <a:lnTo>
                        <a:pt x="765" y="636"/>
                      </a:lnTo>
                      <a:lnTo>
                        <a:pt x="768" y="638"/>
                      </a:lnTo>
                      <a:lnTo>
                        <a:pt x="770" y="636"/>
                      </a:lnTo>
                      <a:lnTo>
                        <a:pt x="769" y="633"/>
                      </a:lnTo>
                      <a:lnTo>
                        <a:pt x="771" y="633"/>
                      </a:lnTo>
                      <a:lnTo>
                        <a:pt x="769" y="630"/>
                      </a:lnTo>
                      <a:lnTo>
                        <a:pt x="769" y="628"/>
                      </a:lnTo>
                      <a:lnTo>
                        <a:pt x="771" y="627"/>
                      </a:lnTo>
                      <a:lnTo>
                        <a:pt x="770" y="625"/>
                      </a:lnTo>
                      <a:lnTo>
                        <a:pt x="770" y="623"/>
                      </a:lnTo>
                      <a:lnTo>
                        <a:pt x="768" y="621"/>
                      </a:lnTo>
                      <a:lnTo>
                        <a:pt x="771" y="622"/>
                      </a:lnTo>
                      <a:lnTo>
                        <a:pt x="773" y="621"/>
                      </a:lnTo>
                      <a:lnTo>
                        <a:pt x="775" y="615"/>
                      </a:lnTo>
                      <a:lnTo>
                        <a:pt x="777" y="615"/>
                      </a:lnTo>
                      <a:lnTo>
                        <a:pt x="778" y="617"/>
                      </a:lnTo>
                      <a:lnTo>
                        <a:pt x="778" y="619"/>
                      </a:lnTo>
                      <a:lnTo>
                        <a:pt x="779" y="616"/>
                      </a:lnTo>
                      <a:lnTo>
                        <a:pt x="781" y="614"/>
                      </a:lnTo>
                      <a:lnTo>
                        <a:pt x="779" y="611"/>
                      </a:lnTo>
                      <a:lnTo>
                        <a:pt x="777" y="610"/>
                      </a:lnTo>
                      <a:lnTo>
                        <a:pt x="775" y="609"/>
                      </a:lnTo>
                      <a:lnTo>
                        <a:pt x="777" y="608"/>
                      </a:lnTo>
                      <a:lnTo>
                        <a:pt x="778" y="609"/>
                      </a:lnTo>
                      <a:lnTo>
                        <a:pt x="780" y="606"/>
                      </a:lnTo>
                      <a:lnTo>
                        <a:pt x="779" y="605"/>
                      </a:lnTo>
                      <a:lnTo>
                        <a:pt x="777" y="604"/>
                      </a:lnTo>
                      <a:lnTo>
                        <a:pt x="779" y="602"/>
                      </a:lnTo>
                      <a:lnTo>
                        <a:pt x="780" y="602"/>
                      </a:lnTo>
                      <a:lnTo>
                        <a:pt x="780" y="600"/>
                      </a:lnTo>
                      <a:lnTo>
                        <a:pt x="778" y="598"/>
                      </a:lnTo>
                      <a:lnTo>
                        <a:pt x="775" y="599"/>
                      </a:lnTo>
                      <a:lnTo>
                        <a:pt x="775" y="598"/>
                      </a:lnTo>
                      <a:lnTo>
                        <a:pt x="778" y="595"/>
                      </a:lnTo>
                      <a:lnTo>
                        <a:pt x="780" y="595"/>
                      </a:lnTo>
                      <a:lnTo>
                        <a:pt x="781" y="595"/>
                      </a:lnTo>
                      <a:lnTo>
                        <a:pt x="782" y="592"/>
                      </a:lnTo>
                      <a:lnTo>
                        <a:pt x="783" y="594"/>
                      </a:lnTo>
                      <a:lnTo>
                        <a:pt x="783" y="595"/>
                      </a:lnTo>
                      <a:lnTo>
                        <a:pt x="785" y="593"/>
                      </a:lnTo>
                      <a:lnTo>
                        <a:pt x="784" y="591"/>
                      </a:lnTo>
                      <a:lnTo>
                        <a:pt x="784" y="586"/>
                      </a:lnTo>
                      <a:lnTo>
                        <a:pt x="782" y="585"/>
                      </a:lnTo>
                      <a:lnTo>
                        <a:pt x="781" y="587"/>
                      </a:lnTo>
                      <a:lnTo>
                        <a:pt x="781" y="588"/>
                      </a:lnTo>
                      <a:lnTo>
                        <a:pt x="781" y="589"/>
                      </a:lnTo>
                      <a:lnTo>
                        <a:pt x="778" y="588"/>
                      </a:lnTo>
                      <a:lnTo>
                        <a:pt x="775" y="592"/>
                      </a:lnTo>
                      <a:lnTo>
                        <a:pt x="772" y="592"/>
                      </a:lnTo>
                      <a:lnTo>
                        <a:pt x="772" y="589"/>
                      </a:lnTo>
                      <a:lnTo>
                        <a:pt x="776" y="588"/>
                      </a:lnTo>
                      <a:lnTo>
                        <a:pt x="782" y="581"/>
                      </a:lnTo>
                      <a:lnTo>
                        <a:pt x="782" y="580"/>
                      </a:lnTo>
                      <a:lnTo>
                        <a:pt x="779" y="580"/>
                      </a:lnTo>
                      <a:lnTo>
                        <a:pt x="778" y="578"/>
                      </a:lnTo>
                      <a:lnTo>
                        <a:pt x="778" y="580"/>
                      </a:lnTo>
                      <a:lnTo>
                        <a:pt x="773" y="573"/>
                      </a:lnTo>
                      <a:lnTo>
                        <a:pt x="770" y="572"/>
                      </a:lnTo>
                      <a:lnTo>
                        <a:pt x="765" y="577"/>
                      </a:lnTo>
                      <a:lnTo>
                        <a:pt x="763" y="576"/>
                      </a:lnTo>
                      <a:lnTo>
                        <a:pt x="760" y="571"/>
                      </a:lnTo>
                      <a:lnTo>
                        <a:pt x="758" y="571"/>
                      </a:lnTo>
                      <a:lnTo>
                        <a:pt x="754" y="574"/>
                      </a:lnTo>
                      <a:lnTo>
                        <a:pt x="754" y="578"/>
                      </a:lnTo>
                      <a:lnTo>
                        <a:pt x="754" y="573"/>
                      </a:lnTo>
                      <a:lnTo>
                        <a:pt x="757" y="570"/>
                      </a:lnTo>
                      <a:lnTo>
                        <a:pt x="759" y="570"/>
                      </a:lnTo>
                      <a:lnTo>
                        <a:pt x="761" y="568"/>
                      </a:lnTo>
                      <a:lnTo>
                        <a:pt x="765" y="571"/>
                      </a:lnTo>
                      <a:lnTo>
                        <a:pt x="767" y="569"/>
                      </a:lnTo>
                      <a:lnTo>
                        <a:pt x="767" y="566"/>
                      </a:lnTo>
                      <a:lnTo>
                        <a:pt x="768" y="564"/>
                      </a:lnTo>
                      <a:lnTo>
                        <a:pt x="770" y="565"/>
                      </a:lnTo>
                      <a:lnTo>
                        <a:pt x="773" y="560"/>
                      </a:lnTo>
                      <a:lnTo>
                        <a:pt x="777" y="560"/>
                      </a:lnTo>
                      <a:lnTo>
                        <a:pt x="777" y="557"/>
                      </a:lnTo>
                      <a:lnTo>
                        <a:pt x="774" y="550"/>
                      </a:lnTo>
                      <a:lnTo>
                        <a:pt x="767" y="545"/>
                      </a:lnTo>
                      <a:lnTo>
                        <a:pt x="762" y="542"/>
                      </a:lnTo>
                      <a:lnTo>
                        <a:pt x="756" y="536"/>
                      </a:lnTo>
                      <a:lnTo>
                        <a:pt x="754" y="535"/>
                      </a:lnTo>
                      <a:lnTo>
                        <a:pt x="749" y="539"/>
                      </a:lnTo>
                      <a:lnTo>
                        <a:pt x="747" y="539"/>
                      </a:lnTo>
                      <a:lnTo>
                        <a:pt x="743" y="534"/>
                      </a:lnTo>
                      <a:lnTo>
                        <a:pt x="743" y="533"/>
                      </a:lnTo>
                      <a:lnTo>
                        <a:pt x="741" y="532"/>
                      </a:lnTo>
                      <a:lnTo>
                        <a:pt x="738" y="533"/>
                      </a:lnTo>
                      <a:lnTo>
                        <a:pt x="734" y="533"/>
                      </a:lnTo>
                      <a:lnTo>
                        <a:pt x="731" y="534"/>
                      </a:lnTo>
                      <a:lnTo>
                        <a:pt x="727" y="540"/>
                      </a:lnTo>
                      <a:lnTo>
                        <a:pt x="731" y="533"/>
                      </a:lnTo>
                      <a:lnTo>
                        <a:pt x="733" y="531"/>
                      </a:lnTo>
                      <a:lnTo>
                        <a:pt x="735" y="531"/>
                      </a:lnTo>
                      <a:lnTo>
                        <a:pt x="737" y="531"/>
                      </a:lnTo>
                      <a:lnTo>
                        <a:pt x="737" y="530"/>
                      </a:lnTo>
                      <a:lnTo>
                        <a:pt x="740" y="531"/>
                      </a:lnTo>
                      <a:lnTo>
                        <a:pt x="744" y="529"/>
                      </a:lnTo>
                      <a:lnTo>
                        <a:pt x="745" y="535"/>
                      </a:lnTo>
                      <a:lnTo>
                        <a:pt x="747" y="536"/>
                      </a:lnTo>
                      <a:lnTo>
                        <a:pt x="750" y="536"/>
                      </a:lnTo>
                      <a:lnTo>
                        <a:pt x="751" y="533"/>
                      </a:lnTo>
                      <a:lnTo>
                        <a:pt x="756" y="534"/>
                      </a:lnTo>
                      <a:lnTo>
                        <a:pt x="759" y="537"/>
                      </a:lnTo>
                      <a:lnTo>
                        <a:pt x="761" y="537"/>
                      </a:lnTo>
                      <a:lnTo>
                        <a:pt x="765" y="540"/>
                      </a:lnTo>
                      <a:lnTo>
                        <a:pt x="768" y="538"/>
                      </a:lnTo>
                      <a:lnTo>
                        <a:pt x="774" y="540"/>
                      </a:lnTo>
                      <a:lnTo>
                        <a:pt x="775" y="539"/>
                      </a:lnTo>
                      <a:lnTo>
                        <a:pt x="774" y="534"/>
                      </a:lnTo>
                      <a:lnTo>
                        <a:pt x="771" y="533"/>
                      </a:lnTo>
                      <a:lnTo>
                        <a:pt x="768" y="529"/>
                      </a:lnTo>
                      <a:lnTo>
                        <a:pt x="768" y="527"/>
                      </a:lnTo>
                      <a:lnTo>
                        <a:pt x="767" y="526"/>
                      </a:lnTo>
                      <a:lnTo>
                        <a:pt x="764" y="526"/>
                      </a:lnTo>
                      <a:lnTo>
                        <a:pt x="761" y="525"/>
                      </a:lnTo>
                      <a:lnTo>
                        <a:pt x="758" y="518"/>
                      </a:lnTo>
                      <a:lnTo>
                        <a:pt x="758" y="513"/>
                      </a:lnTo>
                      <a:lnTo>
                        <a:pt x="752" y="509"/>
                      </a:lnTo>
                      <a:lnTo>
                        <a:pt x="752" y="504"/>
                      </a:lnTo>
                      <a:lnTo>
                        <a:pt x="749" y="502"/>
                      </a:lnTo>
                      <a:lnTo>
                        <a:pt x="751" y="498"/>
                      </a:lnTo>
                      <a:lnTo>
                        <a:pt x="750" y="498"/>
                      </a:lnTo>
                      <a:lnTo>
                        <a:pt x="745" y="488"/>
                      </a:lnTo>
                      <a:lnTo>
                        <a:pt x="737" y="483"/>
                      </a:lnTo>
                      <a:lnTo>
                        <a:pt x="735" y="484"/>
                      </a:lnTo>
                      <a:lnTo>
                        <a:pt x="735" y="481"/>
                      </a:lnTo>
                      <a:lnTo>
                        <a:pt x="728" y="477"/>
                      </a:lnTo>
                      <a:lnTo>
                        <a:pt x="727" y="477"/>
                      </a:lnTo>
                      <a:lnTo>
                        <a:pt x="727" y="469"/>
                      </a:lnTo>
                      <a:lnTo>
                        <a:pt x="728" y="464"/>
                      </a:lnTo>
                      <a:lnTo>
                        <a:pt x="727" y="460"/>
                      </a:lnTo>
                      <a:lnTo>
                        <a:pt x="728" y="455"/>
                      </a:lnTo>
                      <a:lnTo>
                        <a:pt x="729" y="456"/>
                      </a:lnTo>
                      <a:lnTo>
                        <a:pt x="730" y="455"/>
                      </a:lnTo>
                      <a:lnTo>
                        <a:pt x="733" y="450"/>
                      </a:lnTo>
                      <a:lnTo>
                        <a:pt x="734" y="450"/>
                      </a:lnTo>
                      <a:lnTo>
                        <a:pt x="737" y="447"/>
                      </a:lnTo>
                      <a:lnTo>
                        <a:pt x="734" y="445"/>
                      </a:lnTo>
                      <a:lnTo>
                        <a:pt x="733" y="443"/>
                      </a:lnTo>
                      <a:lnTo>
                        <a:pt x="736" y="440"/>
                      </a:lnTo>
                      <a:lnTo>
                        <a:pt x="740" y="440"/>
                      </a:lnTo>
                      <a:lnTo>
                        <a:pt x="740" y="437"/>
                      </a:lnTo>
                      <a:lnTo>
                        <a:pt x="744" y="436"/>
                      </a:lnTo>
                      <a:lnTo>
                        <a:pt x="743" y="433"/>
                      </a:lnTo>
                      <a:lnTo>
                        <a:pt x="740" y="431"/>
                      </a:lnTo>
                      <a:lnTo>
                        <a:pt x="743" y="430"/>
                      </a:lnTo>
                      <a:lnTo>
                        <a:pt x="745" y="433"/>
                      </a:lnTo>
                      <a:lnTo>
                        <a:pt x="746" y="430"/>
                      </a:lnTo>
                      <a:lnTo>
                        <a:pt x="749" y="431"/>
                      </a:lnTo>
                      <a:lnTo>
                        <a:pt x="751" y="428"/>
                      </a:lnTo>
                      <a:lnTo>
                        <a:pt x="753" y="428"/>
                      </a:lnTo>
                      <a:lnTo>
                        <a:pt x="756" y="423"/>
                      </a:lnTo>
                      <a:lnTo>
                        <a:pt x="757" y="426"/>
                      </a:lnTo>
                      <a:lnTo>
                        <a:pt x="758" y="423"/>
                      </a:lnTo>
                      <a:lnTo>
                        <a:pt x="758" y="426"/>
                      </a:lnTo>
                      <a:lnTo>
                        <a:pt x="762" y="428"/>
                      </a:lnTo>
                      <a:lnTo>
                        <a:pt x="765" y="425"/>
                      </a:lnTo>
                      <a:lnTo>
                        <a:pt x="765" y="423"/>
                      </a:lnTo>
                      <a:lnTo>
                        <a:pt x="764" y="422"/>
                      </a:lnTo>
                      <a:lnTo>
                        <a:pt x="763" y="419"/>
                      </a:lnTo>
                      <a:lnTo>
                        <a:pt x="765" y="418"/>
                      </a:lnTo>
                      <a:lnTo>
                        <a:pt x="766" y="418"/>
                      </a:lnTo>
                      <a:lnTo>
                        <a:pt x="764" y="414"/>
                      </a:lnTo>
                      <a:lnTo>
                        <a:pt x="765" y="412"/>
                      </a:lnTo>
                      <a:lnTo>
                        <a:pt x="768" y="411"/>
                      </a:lnTo>
                      <a:lnTo>
                        <a:pt x="765" y="410"/>
                      </a:lnTo>
                      <a:lnTo>
                        <a:pt x="762" y="411"/>
                      </a:lnTo>
                      <a:lnTo>
                        <a:pt x="758" y="411"/>
                      </a:lnTo>
                      <a:lnTo>
                        <a:pt x="758" y="409"/>
                      </a:lnTo>
                      <a:lnTo>
                        <a:pt x="755" y="409"/>
                      </a:lnTo>
                      <a:lnTo>
                        <a:pt x="754" y="411"/>
                      </a:lnTo>
                      <a:lnTo>
                        <a:pt x="745" y="412"/>
                      </a:lnTo>
                      <a:lnTo>
                        <a:pt x="744" y="409"/>
                      </a:lnTo>
                      <a:lnTo>
                        <a:pt x="742" y="408"/>
                      </a:lnTo>
                      <a:lnTo>
                        <a:pt x="740" y="405"/>
                      </a:lnTo>
                      <a:lnTo>
                        <a:pt x="738" y="405"/>
                      </a:lnTo>
                      <a:lnTo>
                        <a:pt x="737" y="403"/>
                      </a:lnTo>
                      <a:lnTo>
                        <a:pt x="731" y="407"/>
                      </a:lnTo>
                      <a:lnTo>
                        <a:pt x="728" y="407"/>
                      </a:lnTo>
                      <a:lnTo>
                        <a:pt x="729" y="408"/>
                      </a:lnTo>
                      <a:lnTo>
                        <a:pt x="729" y="412"/>
                      </a:lnTo>
                      <a:lnTo>
                        <a:pt x="727" y="413"/>
                      </a:lnTo>
                      <a:lnTo>
                        <a:pt x="723" y="415"/>
                      </a:lnTo>
                      <a:lnTo>
                        <a:pt x="724" y="415"/>
                      </a:lnTo>
                      <a:lnTo>
                        <a:pt x="725" y="418"/>
                      </a:lnTo>
                      <a:lnTo>
                        <a:pt x="723" y="421"/>
                      </a:lnTo>
                      <a:lnTo>
                        <a:pt x="723" y="422"/>
                      </a:lnTo>
                      <a:lnTo>
                        <a:pt x="720" y="421"/>
                      </a:lnTo>
                      <a:lnTo>
                        <a:pt x="717" y="422"/>
                      </a:lnTo>
                      <a:lnTo>
                        <a:pt x="713" y="422"/>
                      </a:lnTo>
                      <a:lnTo>
                        <a:pt x="709" y="414"/>
                      </a:lnTo>
                      <a:lnTo>
                        <a:pt x="709" y="409"/>
                      </a:lnTo>
                      <a:lnTo>
                        <a:pt x="709" y="406"/>
                      </a:lnTo>
                      <a:lnTo>
                        <a:pt x="705" y="406"/>
                      </a:lnTo>
                      <a:lnTo>
                        <a:pt x="703" y="407"/>
                      </a:lnTo>
                      <a:lnTo>
                        <a:pt x="703" y="405"/>
                      </a:lnTo>
                      <a:lnTo>
                        <a:pt x="702" y="405"/>
                      </a:lnTo>
                      <a:lnTo>
                        <a:pt x="700" y="408"/>
                      </a:lnTo>
                      <a:lnTo>
                        <a:pt x="699" y="405"/>
                      </a:lnTo>
                      <a:lnTo>
                        <a:pt x="699" y="407"/>
                      </a:lnTo>
                      <a:lnTo>
                        <a:pt x="697" y="403"/>
                      </a:lnTo>
                      <a:lnTo>
                        <a:pt x="697" y="401"/>
                      </a:lnTo>
                      <a:lnTo>
                        <a:pt x="692" y="397"/>
                      </a:lnTo>
                      <a:lnTo>
                        <a:pt x="689" y="395"/>
                      </a:lnTo>
                      <a:lnTo>
                        <a:pt x="688" y="391"/>
                      </a:lnTo>
                      <a:lnTo>
                        <a:pt x="687" y="387"/>
                      </a:lnTo>
                      <a:lnTo>
                        <a:pt x="688" y="386"/>
                      </a:lnTo>
                      <a:lnTo>
                        <a:pt x="688" y="384"/>
                      </a:lnTo>
                      <a:lnTo>
                        <a:pt x="688" y="382"/>
                      </a:lnTo>
                      <a:lnTo>
                        <a:pt x="689" y="379"/>
                      </a:lnTo>
                      <a:lnTo>
                        <a:pt x="691" y="377"/>
                      </a:lnTo>
                      <a:lnTo>
                        <a:pt x="691" y="375"/>
                      </a:lnTo>
                      <a:lnTo>
                        <a:pt x="696" y="377"/>
                      </a:lnTo>
                      <a:lnTo>
                        <a:pt x="701" y="377"/>
                      </a:lnTo>
                      <a:lnTo>
                        <a:pt x="705" y="377"/>
                      </a:lnTo>
                      <a:lnTo>
                        <a:pt x="706" y="374"/>
                      </a:lnTo>
                      <a:lnTo>
                        <a:pt x="706" y="372"/>
                      </a:lnTo>
                      <a:lnTo>
                        <a:pt x="707" y="372"/>
                      </a:lnTo>
                      <a:lnTo>
                        <a:pt x="707" y="368"/>
                      </a:lnTo>
                      <a:lnTo>
                        <a:pt x="706" y="367"/>
                      </a:lnTo>
                      <a:lnTo>
                        <a:pt x="707" y="365"/>
                      </a:lnTo>
                      <a:lnTo>
                        <a:pt x="709" y="357"/>
                      </a:lnTo>
                      <a:lnTo>
                        <a:pt x="713" y="353"/>
                      </a:lnTo>
                      <a:lnTo>
                        <a:pt x="716" y="353"/>
                      </a:lnTo>
                      <a:lnTo>
                        <a:pt x="719" y="349"/>
                      </a:lnTo>
                      <a:lnTo>
                        <a:pt x="720" y="348"/>
                      </a:lnTo>
                      <a:lnTo>
                        <a:pt x="720" y="341"/>
                      </a:lnTo>
                      <a:lnTo>
                        <a:pt x="723" y="337"/>
                      </a:lnTo>
                      <a:lnTo>
                        <a:pt x="724" y="334"/>
                      </a:lnTo>
                      <a:lnTo>
                        <a:pt x="725" y="333"/>
                      </a:lnTo>
                      <a:lnTo>
                        <a:pt x="727" y="329"/>
                      </a:lnTo>
                      <a:lnTo>
                        <a:pt x="730" y="329"/>
                      </a:lnTo>
                      <a:lnTo>
                        <a:pt x="731" y="330"/>
                      </a:lnTo>
                      <a:lnTo>
                        <a:pt x="734" y="330"/>
                      </a:lnTo>
                      <a:lnTo>
                        <a:pt x="735" y="327"/>
                      </a:lnTo>
                      <a:lnTo>
                        <a:pt x="739" y="333"/>
                      </a:lnTo>
                      <a:lnTo>
                        <a:pt x="746" y="337"/>
                      </a:lnTo>
                      <a:lnTo>
                        <a:pt x="746" y="340"/>
                      </a:lnTo>
                      <a:lnTo>
                        <a:pt x="744" y="342"/>
                      </a:lnTo>
                      <a:lnTo>
                        <a:pt x="744" y="344"/>
                      </a:lnTo>
                      <a:lnTo>
                        <a:pt x="740" y="349"/>
                      </a:lnTo>
                      <a:lnTo>
                        <a:pt x="740" y="353"/>
                      </a:lnTo>
                      <a:lnTo>
                        <a:pt x="737" y="353"/>
                      </a:lnTo>
                      <a:lnTo>
                        <a:pt x="738" y="354"/>
                      </a:lnTo>
                      <a:lnTo>
                        <a:pt x="737" y="358"/>
                      </a:lnTo>
                      <a:lnTo>
                        <a:pt x="740" y="362"/>
                      </a:lnTo>
                      <a:lnTo>
                        <a:pt x="740" y="364"/>
                      </a:lnTo>
                      <a:lnTo>
                        <a:pt x="739" y="365"/>
                      </a:lnTo>
                      <a:lnTo>
                        <a:pt x="739" y="367"/>
                      </a:lnTo>
                      <a:lnTo>
                        <a:pt x="740" y="369"/>
                      </a:lnTo>
                      <a:lnTo>
                        <a:pt x="744" y="367"/>
                      </a:lnTo>
                      <a:lnTo>
                        <a:pt x="747" y="364"/>
                      </a:lnTo>
                      <a:lnTo>
                        <a:pt x="745" y="367"/>
                      </a:lnTo>
                      <a:lnTo>
                        <a:pt x="743" y="370"/>
                      </a:lnTo>
                      <a:lnTo>
                        <a:pt x="743" y="371"/>
                      </a:lnTo>
                      <a:lnTo>
                        <a:pt x="744" y="372"/>
                      </a:lnTo>
                      <a:lnTo>
                        <a:pt x="744" y="374"/>
                      </a:lnTo>
                      <a:lnTo>
                        <a:pt x="743" y="375"/>
                      </a:lnTo>
                      <a:lnTo>
                        <a:pt x="740" y="374"/>
                      </a:lnTo>
                      <a:lnTo>
                        <a:pt x="738" y="377"/>
                      </a:lnTo>
                      <a:lnTo>
                        <a:pt x="736" y="377"/>
                      </a:lnTo>
                      <a:lnTo>
                        <a:pt x="735" y="380"/>
                      </a:lnTo>
                      <a:lnTo>
                        <a:pt x="737" y="381"/>
                      </a:lnTo>
                      <a:lnTo>
                        <a:pt x="737" y="384"/>
                      </a:lnTo>
                      <a:lnTo>
                        <a:pt x="740" y="384"/>
                      </a:lnTo>
                      <a:lnTo>
                        <a:pt x="741" y="381"/>
                      </a:lnTo>
                      <a:lnTo>
                        <a:pt x="743" y="381"/>
                      </a:lnTo>
                      <a:lnTo>
                        <a:pt x="745" y="377"/>
                      </a:lnTo>
                      <a:lnTo>
                        <a:pt x="749" y="375"/>
                      </a:lnTo>
                      <a:lnTo>
                        <a:pt x="750" y="374"/>
                      </a:lnTo>
                      <a:lnTo>
                        <a:pt x="748" y="370"/>
                      </a:lnTo>
                      <a:lnTo>
                        <a:pt x="752" y="367"/>
                      </a:lnTo>
                      <a:lnTo>
                        <a:pt x="758" y="361"/>
                      </a:lnTo>
                      <a:lnTo>
                        <a:pt x="760" y="361"/>
                      </a:lnTo>
                      <a:lnTo>
                        <a:pt x="761" y="358"/>
                      </a:lnTo>
                      <a:lnTo>
                        <a:pt x="764" y="358"/>
                      </a:lnTo>
                      <a:lnTo>
                        <a:pt x="768" y="355"/>
                      </a:lnTo>
                      <a:lnTo>
                        <a:pt x="768" y="357"/>
                      </a:lnTo>
                      <a:lnTo>
                        <a:pt x="771" y="356"/>
                      </a:lnTo>
                      <a:lnTo>
                        <a:pt x="774" y="356"/>
                      </a:lnTo>
                      <a:lnTo>
                        <a:pt x="778" y="350"/>
                      </a:lnTo>
                      <a:lnTo>
                        <a:pt x="778" y="353"/>
                      </a:lnTo>
                      <a:lnTo>
                        <a:pt x="778" y="343"/>
                      </a:lnTo>
                      <a:lnTo>
                        <a:pt x="782" y="33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22" name="Freeform 222">
                  <a:extLst>
                    <a:ext uri="{FF2B5EF4-FFF2-40B4-BE49-F238E27FC236}">
                      <a16:creationId xmlns:a16="http://schemas.microsoft.com/office/drawing/2014/main" id="{FC212B9A-F623-4A01-865D-26EE591507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35" y="2445"/>
                  <a:ext cx="34" cy="36"/>
                </a:xfrm>
                <a:custGeom>
                  <a:avLst/>
                  <a:gdLst>
                    <a:gd name="T0" fmla="*/ 7 w 43"/>
                    <a:gd name="T1" fmla="*/ 42 h 47"/>
                    <a:gd name="T2" fmla="*/ 11 w 43"/>
                    <a:gd name="T3" fmla="*/ 42 h 47"/>
                    <a:gd name="T4" fmla="*/ 13 w 43"/>
                    <a:gd name="T5" fmla="*/ 44 h 47"/>
                    <a:gd name="T6" fmla="*/ 16 w 43"/>
                    <a:gd name="T7" fmla="*/ 44 h 47"/>
                    <a:gd name="T8" fmla="*/ 19 w 43"/>
                    <a:gd name="T9" fmla="*/ 47 h 47"/>
                    <a:gd name="T10" fmla="*/ 21 w 43"/>
                    <a:gd name="T11" fmla="*/ 45 h 47"/>
                    <a:gd name="T12" fmla="*/ 22 w 43"/>
                    <a:gd name="T13" fmla="*/ 41 h 47"/>
                    <a:gd name="T14" fmla="*/ 25 w 43"/>
                    <a:gd name="T15" fmla="*/ 41 h 47"/>
                    <a:gd name="T16" fmla="*/ 28 w 43"/>
                    <a:gd name="T17" fmla="*/ 42 h 47"/>
                    <a:gd name="T18" fmla="*/ 31 w 43"/>
                    <a:gd name="T19" fmla="*/ 38 h 47"/>
                    <a:gd name="T20" fmla="*/ 31 w 43"/>
                    <a:gd name="T21" fmla="*/ 36 h 47"/>
                    <a:gd name="T22" fmla="*/ 34 w 43"/>
                    <a:gd name="T23" fmla="*/ 35 h 47"/>
                    <a:gd name="T24" fmla="*/ 37 w 43"/>
                    <a:gd name="T25" fmla="*/ 31 h 47"/>
                    <a:gd name="T26" fmla="*/ 36 w 43"/>
                    <a:gd name="T27" fmla="*/ 28 h 47"/>
                    <a:gd name="T28" fmla="*/ 38 w 43"/>
                    <a:gd name="T29" fmla="*/ 21 h 47"/>
                    <a:gd name="T30" fmla="*/ 40 w 43"/>
                    <a:gd name="T31" fmla="*/ 19 h 47"/>
                    <a:gd name="T32" fmla="*/ 41 w 43"/>
                    <a:gd name="T33" fmla="*/ 16 h 47"/>
                    <a:gd name="T34" fmla="*/ 43 w 43"/>
                    <a:gd name="T35" fmla="*/ 11 h 47"/>
                    <a:gd name="T36" fmla="*/ 42 w 43"/>
                    <a:gd name="T37" fmla="*/ 5 h 47"/>
                    <a:gd name="T38" fmla="*/ 38 w 43"/>
                    <a:gd name="T39" fmla="*/ 2 h 47"/>
                    <a:gd name="T40" fmla="*/ 34 w 43"/>
                    <a:gd name="T41" fmla="*/ 0 h 47"/>
                    <a:gd name="T42" fmla="*/ 31 w 43"/>
                    <a:gd name="T43" fmla="*/ 2 h 47"/>
                    <a:gd name="T44" fmla="*/ 30 w 43"/>
                    <a:gd name="T45" fmla="*/ 1 h 47"/>
                    <a:gd name="T46" fmla="*/ 26 w 43"/>
                    <a:gd name="T47" fmla="*/ 2 h 47"/>
                    <a:gd name="T48" fmla="*/ 24 w 43"/>
                    <a:gd name="T49" fmla="*/ 1 h 47"/>
                    <a:gd name="T50" fmla="*/ 21 w 43"/>
                    <a:gd name="T51" fmla="*/ 3 h 47"/>
                    <a:gd name="T52" fmla="*/ 18 w 43"/>
                    <a:gd name="T53" fmla="*/ 3 h 47"/>
                    <a:gd name="T54" fmla="*/ 14 w 43"/>
                    <a:gd name="T55" fmla="*/ 5 h 47"/>
                    <a:gd name="T56" fmla="*/ 11 w 43"/>
                    <a:gd name="T57" fmla="*/ 6 h 47"/>
                    <a:gd name="T58" fmla="*/ 10 w 43"/>
                    <a:gd name="T59" fmla="*/ 10 h 47"/>
                    <a:gd name="T60" fmla="*/ 5 w 43"/>
                    <a:gd name="T61" fmla="*/ 14 h 47"/>
                    <a:gd name="T62" fmla="*/ 0 w 43"/>
                    <a:gd name="T63" fmla="*/ 20 h 47"/>
                    <a:gd name="T64" fmla="*/ 2 w 43"/>
                    <a:gd name="T65" fmla="*/ 23 h 47"/>
                    <a:gd name="T66" fmla="*/ 2 w 43"/>
                    <a:gd name="T67" fmla="*/ 31 h 47"/>
                    <a:gd name="T68" fmla="*/ 4 w 43"/>
                    <a:gd name="T69" fmla="*/ 36 h 47"/>
                    <a:gd name="T70" fmla="*/ 4 w 43"/>
                    <a:gd name="T71" fmla="*/ 38 h 47"/>
                    <a:gd name="T72" fmla="*/ 7 w 43"/>
                    <a:gd name="T73" fmla="*/ 42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43" h="47">
                      <a:moveTo>
                        <a:pt x="7" y="42"/>
                      </a:moveTo>
                      <a:cubicBezTo>
                        <a:pt x="11" y="42"/>
                        <a:pt x="11" y="42"/>
                        <a:pt x="11" y="42"/>
                      </a:cubicBezTo>
                      <a:cubicBezTo>
                        <a:pt x="13" y="44"/>
                        <a:pt x="13" y="44"/>
                        <a:pt x="13" y="44"/>
                      </a:cubicBezTo>
                      <a:cubicBezTo>
                        <a:pt x="16" y="44"/>
                        <a:pt x="16" y="44"/>
                        <a:pt x="16" y="44"/>
                      </a:cubicBezTo>
                      <a:cubicBezTo>
                        <a:pt x="19" y="47"/>
                        <a:pt x="19" y="47"/>
                        <a:pt x="19" y="47"/>
                      </a:cubicBezTo>
                      <a:cubicBezTo>
                        <a:pt x="21" y="45"/>
                        <a:pt x="21" y="45"/>
                        <a:pt x="21" y="45"/>
                      </a:cubicBezTo>
                      <a:cubicBezTo>
                        <a:pt x="22" y="41"/>
                        <a:pt x="22" y="41"/>
                        <a:pt x="22" y="41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28" y="42"/>
                        <a:pt x="28" y="42"/>
                        <a:pt x="28" y="42"/>
                      </a:cubicBezTo>
                      <a:cubicBezTo>
                        <a:pt x="31" y="38"/>
                        <a:pt x="31" y="38"/>
                        <a:pt x="31" y="38"/>
                      </a:cubicBezTo>
                      <a:cubicBezTo>
                        <a:pt x="31" y="36"/>
                        <a:pt x="31" y="36"/>
                        <a:pt x="31" y="36"/>
                      </a:cubicBezTo>
                      <a:cubicBezTo>
                        <a:pt x="34" y="35"/>
                        <a:pt x="34" y="35"/>
                        <a:pt x="34" y="35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6" y="28"/>
                        <a:pt x="36" y="28"/>
                        <a:pt x="36" y="28"/>
                      </a:cubicBezTo>
                      <a:cubicBezTo>
                        <a:pt x="38" y="21"/>
                        <a:pt x="38" y="21"/>
                        <a:pt x="38" y="21"/>
                      </a:cubicBezTo>
                      <a:cubicBezTo>
                        <a:pt x="40" y="19"/>
                        <a:pt x="40" y="19"/>
                        <a:pt x="40" y="19"/>
                      </a:cubicBezTo>
                      <a:cubicBezTo>
                        <a:pt x="41" y="16"/>
                        <a:pt x="41" y="16"/>
                        <a:pt x="41" y="16"/>
                      </a:cubicBezTo>
                      <a:cubicBezTo>
                        <a:pt x="43" y="11"/>
                        <a:pt x="43" y="11"/>
                        <a:pt x="43" y="11"/>
                      </a:cubicBezTo>
                      <a:cubicBezTo>
                        <a:pt x="42" y="5"/>
                        <a:pt x="42" y="5"/>
                        <a:pt x="42" y="5"/>
                      </a:cubicBezTo>
                      <a:cubicBezTo>
                        <a:pt x="38" y="2"/>
                        <a:pt x="38" y="2"/>
                        <a:pt x="38" y="2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31" y="2"/>
                        <a:pt x="31" y="2"/>
                        <a:pt x="31" y="2"/>
                      </a:cubicBezTo>
                      <a:cubicBezTo>
                        <a:pt x="31" y="2"/>
                        <a:pt x="29" y="1"/>
                        <a:pt x="30" y="1"/>
                      </a:cubicBezTo>
                      <a:cubicBezTo>
                        <a:pt x="26" y="2"/>
                        <a:pt x="26" y="2"/>
                        <a:pt x="26" y="2"/>
                      </a:cubicBezTo>
                      <a:cubicBezTo>
                        <a:pt x="24" y="1"/>
                        <a:pt x="24" y="1"/>
                        <a:pt x="24" y="1"/>
                      </a:cubicBezTo>
                      <a:cubicBezTo>
                        <a:pt x="21" y="3"/>
                        <a:pt x="21" y="3"/>
                        <a:pt x="21" y="3"/>
                      </a:cubicBezTo>
                      <a:cubicBezTo>
                        <a:pt x="18" y="3"/>
                        <a:pt x="18" y="3"/>
                        <a:pt x="18" y="3"/>
                      </a:cubicBezTo>
                      <a:cubicBezTo>
                        <a:pt x="14" y="5"/>
                        <a:pt x="14" y="5"/>
                        <a:pt x="14" y="5"/>
                      </a:cubicBezTo>
                      <a:cubicBezTo>
                        <a:pt x="11" y="6"/>
                        <a:pt x="11" y="6"/>
                        <a:pt x="11" y="6"/>
                      </a:cubicBez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5" y="14"/>
                        <a:pt x="5" y="14"/>
                        <a:pt x="5" y="14"/>
                      </a:cubicBez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2" y="23"/>
                        <a:pt x="2" y="23"/>
                        <a:pt x="2" y="23"/>
                      </a:cubicBezTo>
                      <a:cubicBezTo>
                        <a:pt x="2" y="31"/>
                        <a:pt x="2" y="31"/>
                        <a:pt x="2" y="31"/>
                      </a:cubicBezTo>
                      <a:cubicBezTo>
                        <a:pt x="4" y="36"/>
                        <a:pt x="4" y="36"/>
                        <a:pt x="4" y="36"/>
                      </a:cubicBezTo>
                      <a:cubicBezTo>
                        <a:pt x="4" y="38"/>
                        <a:pt x="4" y="38"/>
                        <a:pt x="4" y="38"/>
                      </a:cubicBezTo>
                      <a:lnTo>
                        <a:pt x="7" y="4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23" name="Freeform 223">
                  <a:extLst>
                    <a:ext uri="{FF2B5EF4-FFF2-40B4-BE49-F238E27FC236}">
                      <a16:creationId xmlns:a16="http://schemas.microsoft.com/office/drawing/2014/main" id="{5898642B-B7CD-4803-84C2-276B757798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83" y="2204"/>
                  <a:ext cx="8" cy="6"/>
                </a:xfrm>
                <a:custGeom>
                  <a:avLst/>
                  <a:gdLst>
                    <a:gd name="T0" fmla="*/ 4 w 8"/>
                    <a:gd name="T1" fmla="*/ 1 h 6"/>
                    <a:gd name="T2" fmla="*/ 0 w 8"/>
                    <a:gd name="T3" fmla="*/ 0 h 6"/>
                    <a:gd name="T4" fmla="*/ 0 w 8"/>
                    <a:gd name="T5" fmla="*/ 2 h 6"/>
                    <a:gd name="T6" fmla="*/ 1 w 8"/>
                    <a:gd name="T7" fmla="*/ 3 h 6"/>
                    <a:gd name="T8" fmla="*/ 4 w 8"/>
                    <a:gd name="T9" fmla="*/ 4 h 6"/>
                    <a:gd name="T10" fmla="*/ 8 w 8"/>
                    <a:gd name="T11" fmla="*/ 6 h 6"/>
                    <a:gd name="T12" fmla="*/ 7 w 8"/>
                    <a:gd name="T13" fmla="*/ 2 h 6"/>
                    <a:gd name="T14" fmla="*/ 4 w 8"/>
                    <a:gd name="T15" fmla="*/ 2 h 6"/>
                    <a:gd name="T16" fmla="*/ 4 w 8"/>
                    <a:gd name="T17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6">
                      <a:moveTo>
                        <a:pt x="4" y="1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4" y="4"/>
                      </a:lnTo>
                      <a:lnTo>
                        <a:pt x="8" y="6"/>
                      </a:lnTo>
                      <a:lnTo>
                        <a:pt x="7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24" name="Freeform 224">
                  <a:extLst>
                    <a:ext uri="{FF2B5EF4-FFF2-40B4-BE49-F238E27FC236}">
                      <a16:creationId xmlns:a16="http://schemas.microsoft.com/office/drawing/2014/main" id="{EA104061-6B77-4A98-B4BC-5BC0DA1826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58" y="2428"/>
                  <a:ext cx="6" cy="2"/>
                </a:xfrm>
                <a:custGeom>
                  <a:avLst/>
                  <a:gdLst>
                    <a:gd name="T0" fmla="*/ 6 w 6"/>
                    <a:gd name="T1" fmla="*/ 0 h 2"/>
                    <a:gd name="T2" fmla="*/ 3 w 6"/>
                    <a:gd name="T3" fmla="*/ 0 h 2"/>
                    <a:gd name="T4" fmla="*/ 0 w 6"/>
                    <a:gd name="T5" fmla="*/ 0 h 2"/>
                    <a:gd name="T6" fmla="*/ 1 w 6"/>
                    <a:gd name="T7" fmla="*/ 2 h 2"/>
                    <a:gd name="T8" fmla="*/ 3 w 6"/>
                    <a:gd name="T9" fmla="*/ 1 h 2"/>
                    <a:gd name="T10" fmla="*/ 6 w 6"/>
                    <a:gd name="T11" fmla="*/ 2 h 2"/>
                    <a:gd name="T12" fmla="*/ 6 w 6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2">
                      <a:moveTo>
                        <a:pt x="6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3" y="1"/>
                      </a:lnTo>
                      <a:lnTo>
                        <a:pt x="6" y="2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25" name="Freeform 225">
                  <a:extLst>
                    <a:ext uri="{FF2B5EF4-FFF2-40B4-BE49-F238E27FC236}">
                      <a16:creationId xmlns:a16="http://schemas.microsoft.com/office/drawing/2014/main" id="{02D5868E-E918-4BCE-9C33-7B46E0B452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77" y="2335"/>
                  <a:ext cx="2" cy="4"/>
                </a:xfrm>
                <a:custGeom>
                  <a:avLst/>
                  <a:gdLst>
                    <a:gd name="T0" fmla="*/ 2 w 2"/>
                    <a:gd name="T1" fmla="*/ 3 h 4"/>
                    <a:gd name="T2" fmla="*/ 2 w 2"/>
                    <a:gd name="T3" fmla="*/ 1 h 4"/>
                    <a:gd name="T4" fmla="*/ 0 w 2"/>
                    <a:gd name="T5" fmla="*/ 0 h 4"/>
                    <a:gd name="T6" fmla="*/ 0 w 2"/>
                    <a:gd name="T7" fmla="*/ 0 h 4"/>
                    <a:gd name="T8" fmla="*/ 0 w 2"/>
                    <a:gd name="T9" fmla="*/ 4 h 4"/>
                    <a:gd name="T10" fmla="*/ 2 w 2"/>
                    <a:gd name="T11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4">
                      <a:moveTo>
                        <a:pt x="2" y="3"/>
                      </a:move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26" name="Rectangle 226">
                  <a:extLst>
                    <a:ext uri="{FF2B5EF4-FFF2-40B4-BE49-F238E27FC236}">
                      <a16:creationId xmlns:a16="http://schemas.microsoft.com/office/drawing/2014/main" id="{CA3544E6-9520-4FC8-AF21-BAD7F422C20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25" y="2418"/>
                  <a:ext cx="1" cy="1"/>
                </a:xfrm>
                <a:prstGeom prst="rect">
                  <a:avLst/>
                </a:pr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27" name="Freeform 227">
                  <a:extLst>
                    <a:ext uri="{FF2B5EF4-FFF2-40B4-BE49-F238E27FC236}">
                      <a16:creationId xmlns:a16="http://schemas.microsoft.com/office/drawing/2014/main" id="{7D03B62A-0F94-4A52-97B7-32A5F2C5FA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46" y="2378"/>
                  <a:ext cx="4" cy="3"/>
                </a:xfrm>
                <a:custGeom>
                  <a:avLst/>
                  <a:gdLst>
                    <a:gd name="T0" fmla="*/ 3 w 4"/>
                    <a:gd name="T1" fmla="*/ 3 h 3"/>
                    <a:gd name="T2" fmla="*/ 4 w 4"/>
                    <a:gd name="T3" fmla="*/ 2 h 3"/>
                    <a:gd name="T4" fmla="*/ 3 w 4"/>
                    <a:gd name="T5" fmla="*/ 0 h 3"/>
                    <a:gd name="T6" fmla="*/ 0 w 4"/>
                    <a:gd name="T7" fmla="*/ 2 h 3"/>
                    <a:gd name="T8" fmla="*/ 1 w 4"/>
                    <a:gd name="T9" fmla="*/ 3 h 3"/>
                    <a:gd name="T10" fmla="*/ 3 w 4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3">
                      <a:moveTo>
                        <a:pt x="3" y="3"/>
                      </a:moveTo>
                      <a:lnTo>
                        <a:pt x="4" y="2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28" name="Freeform 228">
                  <a:extLst>
                    <a:ext uri="{FF2B5EF4-FFF2-40B4-BE49-F238E27FC236}">
                      <a16:creationId xmlns:a16="http://schemas.microsoft.com/office/drawing/2014/main" id="{B425744E-9E70-4C3E-92AE-2676D0E98D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08" y="2118"/>
                  <a:ext cx="4" cy="2"/>
                </a:xfrm>
                <a:custGeom>
                  <a:avLst/>
                  <a:gdLst>
                    <a:gd name="T0" fmla="*/ 0 w 4"/>
                    <a:gd name="T1" fmla="*/ 2 h 2"/>
                    <a:gd name="T2" fmla="*/ 4 w 4"/>
                    <a:gd name="T3" fmla="*/ 0 h 2"/>
                    <a:gd name="T4" fmla="*/ 0 w 4"/>
                    <a:gd name="T5" fmla="*/ 1 h 2"/>
                    <a:gd name="T6" fmla="*/ 0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0" y="2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29" name="Freeform 229">
                  <a:extLst>
                    <a:ext uri="{FF2B5EF4-FFF2-40B4-BE49-F238E27FC236}">
                      <a16:creationId xmlns:a16="http://schemas.microsoft.com/office/drawing/2014/main" id="{06F4ADCD-46B1-4918-B490-44FDBE4E15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98" y="986"/>
                  <a:ext cx="15" cy="32"/>
                </a:xfrm>
                <a:custGeom>
                  <a:avLst/>
                  <a:gdLst>
                    <a:gd name="T0" fmla="*/ 18 w 20"/>
                    <a:gd name="T1" fmla="*/ 41 h 41"/>
                    <a:gd name="T2" fmla="*/ 19 w 20"/>
                    <a:gd name="T3" fmla="*/ 40 h 41"/>
                    <a:gd name="T4" fmla="*/ 20 w 20"/>
                    <a:gd name="T5" fmla="*/ 37 h 41"/>
                    <a:gd name="T6" fmla="*/ 19 w 20"/>
                    <a:gd name="T7" fmla="*/ 33 h 41"/>
                    <a:gd name="T8" fmla="*/ 16 w 20"/>
                    <a:gd name="T9" fmla="*/ 28 h 41"/>
                    <a:gd name="T10" fmla="*/ 15 w 20"/>
                    <a:gd name="T11" fmla="*/ 23 h 41"/>
                    <a:gd name="T12" fmla="*/ 13 w 20"/>
                    <a:gd name="T13" fmla="*/ 23 h 41"/>
                    <a:gd name="T14" fmla="*/ 13 w 20"/>
                    <a:gd name="T15" fmla="*/ 22 h 41"/>
                    <a:gd name="T16" fmla="*/ 11 w 20"/>
                    <a:gd name="T17" fmla="*/ 22 h 41"/>
                    <a:gd name="T18" fmla="*/ 9 w 20"/>
                    <a:gd name="T19" fmla="*/ 20 h 41"/>
                    <a:gd name="T20" fmla="*/ 7 w 20"/>
                    <a:gd name="T21" fmla="*/ 15 h 41"/>
                    <a:gd name="T22" fmla="*/ 7 w 20"/>
                    <a:gd name="T23" fmla="*/ 10 h 41"/>
                    <a:gd name="T24" fmla="*/ 7 w 20"/>
                    <a:gd name="T25" fmla="*/ 6 h 41"/>
                    <a:gd name="T26" fmla="*/ 3 w 20"/>
                    <a:gd name="T27" fmla="*/ 1 h 41"/>
                    <a:gd name="T28" fmla="*/ 2 w 20"/>
                    <a:gd name="T29" fmla="*/ 0 h 41"/>
                    <a:gd name="T30" fmla="*/ 0 w 20"/>
                    <a:gd name="T31" fmla="*/ 3 h 41"/>
                    <a:gd name="T32" fmla="*/ 0 w 20"/>
                    <a:gd name="T33" fmla="*/ 8 h 41"/>
                    <a:gd name="T34" fmla="*/ 3 w 20"/>
                    <a:gd name="T35" fmla="*/ 11 h 41"/>
                    <a:gd name="T36" fmla="*/ 4 w 20"/>
                    <a:gd name="T37" fmla="*/ 15 h 41"/>
                    <a:gd name="T38" fmla="*/ 4 w 20"/>
                    <a:gd name="T39" fmla="*/ 22 h 41"/>
                    <a:gd name="T40" fmla="*/ 6 w 20"/>
                    <a:gd name="T41" fmla="*/ 26 h 41"/>
                    <a:gd name="T42" fmla="*/ 9 w 20"/>
                    <a:gd name="T43" fmla="*/ 26 h 41"/>
                    <a:gd name="T44" fmla="*/ 12 w 20"/>
                    <a:gd name="T45" fmla="*/ 29 h 41"/>
                    <a:gd name="T46" fmla="*/ 14 w 20"/>
                    <a:gd name="T47" fmla="*/ 33 h 41"/>
                    <a:gd name="T48" fmla="*/ 15 w 20"/>
                    <a:gd name="T49" fmla="*/ 34 h 41"/>
                    <a:gd name="T50" fmla="*/ 17 w 20"/>
                    <a:gd name="T51" fmla="*/ 39 h 41"/>
                    <a:gd name="T52" fmla="*/ 18 w 20"/>
                    <a:gd name="T53" fmla="*/ 41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" h="41">
                      <a:moveTo>
                        <a:pt x="18" y="41"/>
                      </a:moveTo>
                      <a:cubicBezTo>
                        <a:pt x="19" y="40"/>
                        <a:pt x="19" y="40"/>
                        <a:pt x="19" y="40"/>
                      </a:cubicBezTo>
                      <a:cubicBezTo>
                        <a:pt x="20" y="37"/>
                        <a:pt x="20" y="37"/>
                        <a:pt x="20" y="37"/>
                      </a:cubicBezTo>
                      <a:cubicBezTo>
                        <a:pt x="19" y="33"/>
                        <a:pt x="19" y="33"/>
                        <a:pt x="19" y="33"/>
                      </a:cubicBezTo>
                      <a:cubicBezTo>
                        <a:pt x="16" y="28"/>
                        <a:pt x="16" y="28"/>
                        <a:pt x="16" y="28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13" y="23"/>
                        <a:pt x="13" y="23"/>
                        <a:pt x="13" y="23"/>
                      </a:cubicBezTo>
                      <a:cubicBezTo>
                        <a:pt x="13" y="22"/>
                        <a:pt x="13" y="22"/>
                        <a:pt x="13" y="22"/>
                      </a:cubicBezTo>
                      <a:cubicBezTo>
                        <a:pt x="11" y="22"/>
                        <a:pt x="11" y="22"/>
                        <a:pt x="11" y="22"/>
                      </a:cubicBezTo>
                      <a:cubicBezTo>
                        <a:pt x="9" y="20"/>
                        <a:pt x="9" y="20"/>
                        <a:pt x="9" y="20"/>
                      </a:cubicBezTo>
                      <a:cubicBezTo>
                        <a:pt x="7" y="15"/>
                        <a:pt x="7" y="15"/>
                        <a:pt x="7" y="15"/>
                      </a:cubicBezTo>
                      <a:cubicBezTo>
                        <a:pt x="7" y="10"/>
                        <a:pt x="7" y="10"/>
                        <a:pt x="7" y="10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4" y="15"/>
                        <a:pt x="4" y="15"/>
                        <a:pt x="4" y="15"/>
                      </a:cubicBezTo>
                      <a:cubicBezTo>
                        <a:pt x="4" y="22"/>
                        <a:pt x="4" y="22"/>
                        <a:pt x="4" y="22"/>
                      </a:cubicBezTo>
                      <a:cubicBezTo>
                        <a:pt x="6" y="26"/>
                        <a:pt x="6" y="26"/>
                        <a:pt x="6" y="26"/>
                      </a:cubicBezTo>
                      <a:cubicBezTo>
                        <a:pt x="9" y="26"/>
                        <a:pt x="9" y="26"/>
                        <a:pt x="9" y="26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cubicBezTo>
                        <a:pt x="14" y="33"/>
                        <a:pt x="14" y="33"/>
                        <a:pt x="14" y="33"/>
                      </a:cubicBezTo>
                      <a:cubicBezTo>
                        <a:pt x="15" y="34"/>
                        <a:pt x="15" y="34"/>
                        <a:pt x="15" y="34"/>
                      </a:cubicBezTo>
                      <a:cubicBezTo>
                        <a:pt x="17" y="39"/>
                        <a:pt x="17" y="39"/>
                        <a:pt x="17" y="39"/>
                      </a:cubicBezTo>
                      <a:cubicBezTo>
                        <a:pt x="16" y="40"/>
                        <a:pt x="18" y="41"/>
                        <a:pt x="18" y="41"/>
                      </a:cubicBez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30" name="Freeform 230">
                  <a:extLst>
                    <a:ext uri="{FF2B5EF4-FFF2-40B4-BE49-F238E27FC236}">
                      <a16:creationId xmlns:a16="http://schemas.microsoft.com/office/drawing/2014/main" id="{A8762923-08FF-4ECA-9A2B-52CABD7A6A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62" y="910"/>
                  <a:ext cx="5" cy="7"/>
                </a:xfrm>
                <a:custGeom>
                  <a:avLst/>
                  <a:gdLst>
                    <a:gd name="T0" fmla="*/ 3 w 5"/>
                    <a:gd name="T1" fmla="*/ 7 h 7"/>
                    <a:gd name="T2" fmla="*/ 4 w 5"/>
                    <a:gd name="T3" fmla="*/ 7 h 7"/>
                    <a:gd name="T4" fmla="*/ 5 w 5"/>
                    <a:gd name="T5" fmla="*/ 6 h 7"/>
                    <a:gd name="T6" fmla="*/ 5 w 5"/>
                    <a:gd name="T7" fmla="*/ 3 h 7"/>
                    <a:gd name="T8" fmla="*/ 4 w 5"/>
                    <a:gd name="T9" fmla="*/ 1 h 7"/>
                    <a:gd name="T10" fmla="*/ 2 w 5"/>
                    <a:gd name="T11" fmla="*/ 0 h 7"/>
                    <a:gd name="T12" fmla="*/ 1 w 5"/>
                    <a:gd name="T13" fmla="*/ 2 h 7"/>
                    <a:gd name="T14" fmla="*/ 0 w 5"/>
                    <a:gd name="T15" fmla="*/ 4 h 7"/>
                    <a:gd name="T16" fmla="*/ 1 w 5"/>
                    <a:gd name="T17" fmla="*/ 6 h 7"/>
                    <a:gd name="T18" fmla="*/ 3 w 5"/>
                    <a:gd name="T1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7">
                      <a:moveTo>
                        <a:pt x="3" y="7"/>
                      </a:moveTo>
                      <a:lnTo>
                        <a:pt x="4" y="7"/>
                      </a:lnTo>
                      <a:lnTo>
                        <a:pt x="5" y="6"/>
                      </a:lnTo>
                      <a:lnTo>
                        <a:pt x="5" y="3"/>
                      </a:ln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1" y="2"/>
                      </a:ln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3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31" name="Freeform 231">
                  <a:extLst>
                    <a:ext uri="{FF2B5EF4-FFF2-40B4-BE49-F238E27FC236}">
                      <a16:creationId xmlns:a16="http://schemas.microsoft.com/office/drawing/2014/main" id="{D6711EC2-4B1E-4052-BCAB-91A64D1F1D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45" y="982"/>
                  <a:ext cx="5" cy="10"/>
                </a:xfrm>
                <a:custGeom>
                  <a:avLst/>
                  <a:gdLst>
                    <a:gd name="T0" fmla="*/ 2 w 5"/>
                    <a:gd name="T1" fmla="*/ 10 h 10"/>
                    <a:gd name="T2" fmla="*/ 3 w 5"/>
                    <a:gd name="T3" fmla="*/ 10 h 10"/>
                    <a:gd name="T4" fmla="*/ 5 w 5"/>
                    <a:gd name="T5" fmla="*/ 8 h 10"/>
                    <a:gd name="T6" fmla="*/ 5 w 5"/>
                    <a:gd name="T7" fmla="*/ 6 h 10"/>
                    <a:gd name="T8" fmla="*/ 3 w 5"/>
                    <a:gd name="T9" fmla="*/ 3 h 10"/>
                    <a:gd name="T10" fmla="*/ 2 w 5"/>
                    <a:gd name="T11" fmla="*/ 0 h 10"/>
                    <a:gd name="T12" fmla="*/ 2 w 5"/>
                    <a:gd name="T13" fmla="*/ 0 h 10"/>
                    <a:gd name="T14" fmla="*/ 1 w 5"/>
                    <a:gd name="T15" fmla="*/ 1 h 10"/>
                    <a:gd name="T16" fmla="*/ 0 w 5"/>
                    <a:gd name="T17" fmla="*/ 2 h 10"/>
                    <a:gd name="T18" fmla="*/ 0 w 5"/>
                    <a:gd name="T19" fmla="*/ 5 h 10"/>
                    <a:gd name="T20" fmla="*/ 2 w 5"/>
                    <a:gd name="T21" fmla="*/ 7 h 10"/>
                    <a:gd name="T22" fmla="*/ 2 w 5"/>
                    <a:gd name="T23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10">
                      <a:moveTo>
                        <a:pt x="2" y="10"/>
                      </a:moveTo>
                      <a:lnTo>
                        <a:pt x="3" y="10"/>
                      </a:lnTo>
                      <a:lnTo>
                        <a:pt x="5" y="8"/>
                      </a:lnTo>
                      <a:lnTo>
                        <a:pt x="5" y="6"/>
                      </a:lnTo>
                      <a:lnTo>
                        <a:pt x="3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2" y="7"/>
                      </a:lnTo>
                      <a:lnTo>
                        <a:pt x="2" y="1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32" name="Freeform 232">
                  <a:extLst>
                    <a:ext uri="{FF2B5EF4-FFF2-40B4-BE49-F238E27FC236}">
                      <a16:creationId xmlns:a16="http://schemas.microsoft.com/office/drawing/2014/main" id="{FB057145-334E-4396-950B-CAFB9A27B5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60" y="899"/>
                  <a:ext cx="85" cy="69"/>
                </a:xfrm>
                <a:custGeom>
                  <a:avLst/>
                  <a:gdLst>
                    <a:gd name="T0" fmla="*/ 4 w 110"/>
                    <a:gd name="T1" fmla="*/ 37 h 90"/>
                    <a:gd name="T2" fmla="*/ 9 w 110"/>
                    <a:gd name="T3" fmla="*/ 40 h 90"/>
                    <a:gd name="T4" fmla="*/ 8 w 110"/>
                    <a:gd name="T5" fmla="*/ 53 h 90"/>
                    <a:gd name="T6" fmla="*/ 18 w 110"/>
                    <a:gd name="T7" fmla="*/ 57 h 90"/>
                    <a:gd name="T8" fmla="*/ 25 w 110"/>
                    <a:gd name="T9" fmla="*/ 57 h 90"/>
                    <a:gd name="T10" fmla="*/ 37 w 110"/>
                    <a:gd name="T11" fmla="*/ 52 h 90"/>
                    <a:gd name="T12" fmla="*/ 47 w 110"/>
                    <a:gd name="T13" fmla="*/ 50 h 90"/>
                    <a:gd name="T14" fmla="*/ 47 w 110"/>
                    <a:gd name="T15" fmla="*/ 54 h 90"/>
                    <a:gd name="T16" fmla="*/ 41 w 110"/>
                    <a:gd name="T17" fmla="*/ 57 h 90"/>
                    <a:gd name="T18" fmla="*/ 32 w 110"/>
                    <a:gd name="T19" fmla="*/ 58 h 90"/>
                    <a:gd name="T20" fmla="*/ 41 w 110"/>
                    <a:gd name="T21" fmla="*/ 63 h 90"/>
                    <a:gd name="T22" fmla="*/ 35 w 110"/>
                    <a:gd name="T23" fmla="*/ 63 h 90"/>
                    <a:gd name="T24" fmla="*/ 29 w 110"/>
                    <a:gd name="T25" fmla="*/ 62 h 90"/>
                    <a:gd name="T26" fmla="*/ 21 w 110"/>
                    <a:gd name="T27" fmla="*/ 65 h 90"/>
                    <a:gd name="T28" fmla="*/ 32 w 110"/>
                    <a:gd name="T29" fmla="*/ 74 h 90"/>
                    <a:gd name="T30" fmla="*/ 38 w 110"/>
                    <a:gd name="T31" fmla="*/ 77 h 90"/>
                    <a:gd name="T32" fmla="*/ 44 w 110"/>
                    <a:gd name="T33" fmla="*/ 80 h 90"/>
                    <a:gd name="T34" fmla="*/ 58 w 110"/>
                    <a:gd name="T35" fmla="*/ 77 h 90"/>
                    <a:gd name="T36" fmla="*/ 62 w 110"/>
                    <a:gd name="T37" fmla="*/ 82 h 90"/>
                    <a:gd name="T38" fmla="*/ 71 w 110"/>
                    <a:gd name="T39" fmla="*/ 90 h 90"/>
                    <a:gd name="T40" fmla="*/ 77 w 110"/>
                    <a:gd name="T41" fmla="*/ 84 h 90"/>
                    <a:gd name="T42" fmla="*/ 81 w 110"/>
                    <a:gd name="T43" fmla="*/ 75 h 90"/>
                    <a:gd name="T44" fmla="*/ 89 w 110"/>
                    <a:gd name="T45" fmla="*/ 79 h 90"/>
                    <a:gd name="T46" fmla="*/ 97 w 110"/>
                    <a:gd name="T47" fmla="*/ 74 h 90"/>
                    <a:gd name="T48" fmla="*/ 97 w 110"/>
                    <a:gd name="T49" fmla="*/ 62 h 90"/>
                    <a:gd name="T50" fmla="*/ 105 w 110"/>
                    <a:gd name="T51" fmla="*/ 48 h 90"/>
                    <a:gd name="T52" fmla="*/ 110 w 110"/>
                    <a:gd name="T53" fmla="*/ 36 h 90"/>
                    <a:gd name="T54" fmla="*/ 109 w 110"/>
                    <a:gd name="T55" fmla="*/ 27 h 90"/>
                    <a:gd name="T56" fmla="*/ 103 w 110"/>
                    <a:gd name="T57" fmla="*/ 24 h 90"/>
                    <a:gd name="T58" fmla="*/ 92 w 110"/>
                    <a:gd name="T59" fmla="*/ 21 h 90"/>
                    <a:gd name="T60" fmla="*/ 83 w 110"/>
                    <a:gd name="T61" fmla="*/ 18 h 90"/>
                    <a:gd name="T62" fmla="*/ 79 w 110"/>
                    <a:gd name="T63" fmla="*/ 13 h 90"/>
                    <a:gd name="T64" fmla="*/ 76 w 110"/>
                    <a:gd name="T65" fmla="*/ 11 h 90"/>
                    <a:gd name="T66" fmla="*/ 72 w 110"/>
                    <a:gd name="T67" fmla="*/ 14 h 90"/>
                    <a:gd name="T68" fmla="*/ 69 w 110"/>
                    <a:gd name="T69" fmla="*/ 9 h 90"/>
                    <a:gd name="T70" fmla="*/ 68 w 110"/>
                    <a:gd name="T71" fmla="*/ 15 h 90"/>
                    <a:gd name="T72" fmla="*/ 65 w 110"/>
                    <a:gd name="T73" fmla="*/ 25 h 90"/>
                    <a:gd name="T74" fmla="*/ 61 w 110"/>
                    <a:gd name="T75" fmla="*/ 20 h 90"/>
                    <a:gd name="T76" fmla="*/ 59 w 110"/>
                    <a:gd name="T77" fmla="*/ 23 h 90"/>
                    <a:gd name="T78" fmla="*/ 59 w 110"/>
                    <a:gd name="T79" fmla="*/ 9 h 90"/>
                    <a:gd name="T80" fmla="*/ 53 w 110"/>
                    <a:gd name="T81" fmla="*/ 0 h 90"/>
                    <a:gd name="T82" fmla="*/ 53 w 110"/>
                    <a:gd name="T83" fmla="*/ 6 h 90"/>
                    <a:gd name="T84" fmla="*/ 50 w 110"/>
                    <a:gd name="T85" fmla="*/ 5 h 90"/>
                    <a:gd name="T86" fmla="*/ 52 w 110"/>
                    <a:gd name="T87" fmla="*/ 15 h 90"/>
                    <a:gd name="T88" fmla="*/ 51 w 110"/>
                    <a:gd name="T89" fmla="*/ 27 h 90"/>
                    <a:gd name="T90" fmla="*/ 51 w 110"/>
                    <a:gd name="T91" fmla="*/ 37 h 90"/>
                    <a:gd name="T92" fmla="*/ 43 w 110"/>
                    <a:gd name="T93" fmla="*/ 27 h 90"/>
                    <a:gd name="T94" fmla="*/ 44 w 110"/>
                    <a:gd name="T95" fmla="*/ 19 h 90"/>
                    <a:gd name="T96" fmla="*/ 37 w 110"/>
                    <a:gd name="T97" fmla="*/ 20 h 90"/>
                    <a:gd name="T98" fmla="*/ 31 w 110"/>
                    <a:gd name="T99" fmla="*/ 23 h 90"/>
                    <a:gd name="T100" fmla="*/ 29 w 110"/>
                    <a:gd name="T101" fmla="*/ 19 h 90"/>
                    <a:gd name="T102" fmla="*/ 23 w 110"/>
                    <a:gd name="T103" fmla="*/ 10 h 90"/>
                    <a:gd name="T104" fmla="*/ 20 w 110"/>
                    <a:gd name="T105" fmla="*/ 5 h 90"/>
                    <a:gd name="T106" fmla="*/ 16 w 110"/>
                    <a:gd name="T107" fmla="*/ 3 h 90"/>
                    <a:gd name="T108" fmla="*/ 18 w 110"/>
                    <a:gd name="T109" fmla="*/ 18 h 90"/>
                    <a:gd name="T110" fmla="*/ 15 w 110"/>
                    <a:gd name="T111" fmla="*/ 22 h 90"/>
                    <a:gd name="T112" fmla="*/ 13 w 110"/>
                    <a:gd name="T113" fmla="*/ 21 h 90"/>
                    <a:gd name="T114" fmla="*/ 15 w 110"/>
                    <a:gd name="T115" fmla="*/ 32 h 90"/>
                    <a:gd name="T116" fmla="*/ 11 w 110"/>
                    <a:gd name="T117" fmla="*/ 29 h 90"/>
                    <a:gd name="T118" fmla="*/ 1 w 110"/>
                    <a:gd name="T119" fmla="*/ 26 h 90"/>
                    <a:gd name="T120" fmla="*/ 3 w 110"/>
                    <a:gd name="T121" fmla="*/ 3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10" h="90">
                      <a:moveTo>
                        <a:pt x="3" y="32"/>
                      </a:moveTo>
                      <a:cubicBezTo>
                        <a:pt x="5" y="34"/>
                        <a:pt x="5" y="34"/>
                        <a:pt x="5" y="34"/>
                      </a:cubicBezTo>
                      <a:cubicBezTo>
                        <a:pt x="4" y="37"/>
                        <a:pt x="4" y="37"/>
                        <a:pt x="4" y="37"/>
                      </a:cubicBezTo>
                      <a:cubicBezTo>
                        <a:pt x="5" y="38"/>
                        <a:pt x="5" y="38"/>
                        <a:pt x="5" y="38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9" y="40"/>
                        <a:pt x="9" y="40"/>
                        <a:pt x="9" y="40"/>
                      </a:cubicBezTo>
                      <a:cubicBezTo>
                        <a:pt x="4" y="44"/>
                        <a:pt x="4" y="44"/>
                        <a:pt x="4" y="44"/>
                      </a:cubicBezTo>
                      <a:cubicBezTo>
                        <a:pt x="4" y="46"/>
                        <a:pt x="4" y="46"/>
                        <a:pt x="4" y="46"/>
                      </a:cubicBezTo>
                      <a:cubicBezTo>
                        <a:pt x="8" y="53"/>
                        <a:pt x="8" y="53"/>
                        <a:pt x="8" y="53"/>
                      </a:cubicBezTo>
                      <a:cubicBezTo>
                        <a:pt x="11" y="54"/>
                        <a:pt x="11" y="54"/>
                        <a:pt x="11" y="54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8" y="57"/>
                        <a:pt x="18" y="57"/>
                        <a:pt x="18" y="57"/>
                      </a:cubicBezTo>
                      <a:cubicBezTo>
                        <a:pt x="21" y="56"/>
                        <a:pt x="21" y="56"/>
                        <a:pt x="21" y="56"/>
                      </a:cubicBezTo>
                      <a:cubicBezTo>
                        <a:pt x="23" y="58"/>
                        <a:pt x="23" y="58"/>
                        <a:pt x="23" y="58"/>
                      </a:cubicBezTo>
                      <a:cubicBezTo>
                        <a:pt x="23" y="58"/>
                        <a:pt x="25" y="57"/>
                        <a:pt x="25" y="57"/>
                      </a:cubicBezTo>
                      <a:cubicBezTo>
                        <a:pt x="29" y="54"/>
                        <a:pt x="29" y="54"/>
                        <a:pt x="29" y="54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37" y="52"/>
                        <a:pt x="37" y="52"/>
                        <a:pt x="37" y="52"/>
                      </a:cubicBezTo>
                      <a:cubicBezTo>
                        <a:pt x="42" y="53"/>
                        <a:pt x="42" y="53"/>
                        <a:pt x="42" y="53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7" y="50"/>
                        <a:pt x="47" y="50"/>
                      </a:cubicBezTo>
                      <a:cubicBezTo>
                        <a:pt x="49" y="51"/>
                        <a:pt x="49" y="51"/>
                        <a:pt x="49" y="51"/>
                      </a:cubicBezTo>
                      <a:cubicBezTo>
                        <a:pt x="49" y="53"/>
                        <a:pt x="49" y="53"/>
                        <a:pt x="49" y="53"/>
                      </a:cubicBezTo>
                      <a:cubicBezTo>
                        <a:pt x="47" y="54"/>
                        <a:pt x="47" y="54"/>
                        <a:pt x="47" y="54"/>
                      </a:cubicBezTo>
                      <a:cubicBezTo>
                        <a:pt x="46" y="57"/>
                        <a:pt x="46" y="57"/>
                        <a:pt x="46" y="57"/>
                      </a:cubicBezTo>
                      <a:cubicBezTo>
                        <a:pt x="44" y="58"/>
                        <a:pt x="44" y="58"/>
                        <a:pt x="44" y="58"/>
                      </a:cubicBezTo>
                      <a:cubicBezTo>
                        <a:pt x="41" y="57"/>
                        <a:pt x="41" y="57"/>
                        <a:pt x="41" y="57"/>
                      </a:cubicBezTo>
                      <a:cubicBezTo>
                        <a:pt x="36" y="57"/>
                        <a:pt x="36" y="57"/>
                        <a:pt x="36" y="57"/>
                      </a:cubicBezTo>
                      <a:cubicBezTo>
                        <a:pt x="33" y="57"/>
                        <a:pt x="33" y="57"/>
                        <a:pt x="33" y="57"/>
                      </a:cubicBezTo>
                      <a:cubicBezTo>
                        <a:pt x="32" y="58"/>
                        <a:pt x="32" y="58"/>
                        <a:pt x="32" y="58"/>
                      </a:cubicBezTo>
                      <a:cubicBezTo>
                        <a:pt x="34" y="60"/>
                        <a:pt x="34" y="60"/>
                        <a:pt x="34" y="60"/>
                      </a:cubicBezTo>
                      <a:cubicBezTo>
                        <a:pt x="39" y="61"/>
                        <a:pt x="39" y="61"/>
                        <a:pt x="39" y="61"/>
                      </a:cubicBezTo>
                      <a:cubicBezTo>
                        <a:pt x="41" y="63"/>
                        <a:pt x="41" y="63"/>
                        <a:pt x="41" y="63"/>
                      </a:cubicBezTo>
                      <a:cubicBezTo>
                        <a:pt x="41" y="65"/>
                        <a:pt x="41" y="65"/>
                        <a:pt x="41" y="65"/>
                      </a:cubicBezTo>
                      <a:cubicBezTo>
                        <a:pt x="39" y="65"/>
                        <a:pt x="39" y="65"/>
                        <a:pt x="39" y="65"/>
                      </a:cubicBezTo>
                      <a:cubicBezTo>
                        <a:pt x="35" y="63"/>
                        <a:pt x="35" y="63"/>
                        <a:pt x="35" y="63"/>
                      </a:cubicBezTo>
                      <a:cubicBezTo>
                        <a:pt x="34" y="65"/>
                        <a:pt x="34" y="65"/>
                        <a:pt x="34" y="65"/>
                      </a:cubicBezTo>
                      <a:cubicBezTo>
                        <a:pt x="32" y="65"/>
                        <a:pt x="32" y="65"/>
                        <a:pt x="32" y="65"/>
                      </a:cubicBezTo>
                      <a:cubicBezTo>
                        <a:pt x="29" y="62"/>
                        <a:pt x="29" y="62"/>
                        <a:pt x="29" y="62"/>
                      </a:cubicBezTo>
                      <a:cubicBezTo>
                        <a:pt x="25" y="61"/>
                        <a:pt x="25" y="61"/>
                        <a:pt x="25" y="61"/>
                      </a:cubicBezTo>
                      <a:cubicBezTo>
                        <a:pt x="21" y="63"/>
                        <a:pt x="21" y="63"/>
                        <a:pt x="21" y="63"/>
                      </a:cubicBezTo>
                      <a:cubicBezTo>
                        <a:pt x="21" y="65"/>
                        <a:pt x="21" y="65"/>
                        <a:pt x="21" y="65"/>
                      </a:cubicBezTo>
                      <a:cubicBezTo>
                        <a:pt x="24" y="66"/>
                        <a:pt x="24" y="66"/>
                        <a:pt x="24" y="66"/>
                      </a:cubicBezTo>
                      <a:cubicBezTo>
                        <a:pt x="30" y="73"/>
                        <a:pt x="30" y="73"/>
                        <a:pt x="30" y="73"/>
                      </a:cubicBezTo>
                      <a:cubicBezTo>
                        <a:pt x="32" y="74"/>
                        <a:pt x="32" y="74"/>
                        <a:pt x="32" y="74"/>
                      </a:cubicBezTo>
                      <a:cubicBezTo>
                        <a:pt x="35" y="72"/>
                        <a:pt x="35" y="72"/>
                        <a:pt x="35" y="72"/>
                      </a:cubicBezTo>
                      <a:cubicBezTo>
                        <a:pt x="37" y="73"/>
                        <a:pt x="37" y="73"/>
                        <a:pt x="37" y="73"/>
                      </a:cubicBezTo>
                      <a:cubicBezTo>
                        <a:pt x="38" y="77"/>
                        <a:pt x="38" y="77"/>
                        <a:pt x="38" y="77"/>
                      </a:cubicBezTo>
                      <a:cubicBezTo>
                        <a:pt x="38" y="80"/>
                        <a:pt x="38" y="80"/>
                        <a:pt x="38" y="80"/>
                      </a:cubicBezTo>
                      <a:cubicBezTo>
                        <a:pt x="41" y="81"/>
                        <a:pt x="41" y="81"/>
                        <a:pt x="41" y="81"/>
                      </a:cubicBezTo>
                      <a:cubicBezTo>
                        <a:pt x="44" y="80"/>
                        <a:pt x="44" y="80"/>
                        <a:pt x="44" y="80"/>
                      </a:cubicBezTo>
                      <a:cubicBezTo>
                        <a:pt x="49" y="80"/>
                        <a:pt x="49" y="80"/>
                        <a:pt x="49" y="80"/>
                      </a:cubicBezTo>
                      <a:cubicBezTo>
                        <a:pt x="54" y="77"/>
                        <a:pt x="54" y="77"/>
                        <a:pt x="54" y="77"/>
                      </a:cubicBezTo>
                      <a:cubicBezTo>
                        <a:pt x="58" y="77"/>
                        <a:pt x="58" y="77"/>
                        <a:pt x="58" y="77"/>
                      </a:cubicBezTo>
                      <a:cubicBezTo>
                        <a:pt x="63" y="76"/>
                        <a:pt x="63" y="76"/>
                        <a:pt x="63" y="76"/>
                      </a:cubicBezTo>
                      <a:cubicBezTo>
                        <a:pt x="63" y="78"/>
                        <a:pt x="63" y="78"/>
                        <a:pt x="63" y="78"/>
                      </a:cubicBezTo>
                      <a:cubicBezTo>
                        <a:pt x="62" y="82"/>
                        <a:pt x="62" y="82"/>
                        <a:pt x="62" y="82"/>
                      </a:cubicBezTo>
                      <a:cubicBezTo>
                        <a:pt x="63" y="86"/>
                        <a:pt x="63" y="86"/>
                        <a:pt x="63" y="86"/>
                      </a:cubicBezTo>
                      <a:cubicBezTo>
                        <a:pt x="67" y="89"/>
                        <a:pt x="67" y="89"/>
                        <a:pt x="67" y="89"/>
                      </a:cubicBezTo>
                      <a:cubicBezTo>
                        <a:pt x="71" y="90"/>
                        <a:pt x="71" y="90"/>
                        <a:pt x="71" y="90"/>
                      </a:cubicBezTo>
                      <a:cubicBezTo>
                        <a:pt x="76" y="88"/>
                        <a:pt x="76" y="88"/>
                        <a:pt x="76" y="88"/>
                      </a:cubicBezTo>
                      <a:cubicBezTo>
                        <a:pt x="77" y="86"/>
                        <a:pt x="77" y="86"/>
                        <a:pt x="77" y="86"/>
                      </a:cubicBezTo>
                      <a:cubicBezTo>
                        <a:pt x="77" y="84"/>
                        <a:pt x="77" y="84"/>
                        <a:pt x="77" y="84"/>
                      </a:cubicBezTo>
                      <a:cubicBezTo>
                        <a:pt x="77" y="82"/>
                        <a:pt x="77" y="82"/>
                        <a:pt x="77" y="82"/>
                      </a:cubicBezTo>
                      <a:cubicBezTo>
                        <a:pt x="78" y="79"/>
                        <a:pt x="78" y="79"/>
                        <a:pt x="78" y="79"/>
                      </a:cubicBezTo>
                      <a:cubicBezTo>
                        <a:pt x="81" y="75"/>
                        <a:pt x="81" y="75"/>
                        <a:pt x="81" y="75"/>
                      </a:cubicBezTo>
                      <a:cubicBezTo>
                        <a:pt x="84" y="74"/>
                        <a:pt x="84" y="74"/>
                        <a:pt x="84" y="74"/>
                      </a:cubicBezTo>
                      <a:cubicBezTo>
                        <a:pt x="86" y="77"/>
                        <a:pt x="86" y="77"/>
                        <a:pt x="86" y="77"/>
                      </a:cubicBezTo>
                      <a:cubicBezTo>
                        <a:pt x="89" y="79"/>
                        <a:pt x="89" y="79"/>
                        <a:pt x="89" y="79"/>
                      </a:cubicBezTo>
                      <a:cubicBezTo>
                        <a:pt x="92" y="79"/>
                        <a:pt x="92" y="79"/>
                        <a:pt x="92" y="79"/>
                      </a:cubicBezTo>
                      <a:cubicBezTo>
                        <a:pt x="96" y="76"/>
                        <a:pt x="96" y="76"/>
                        <a:pt x="96" y="76"/>
                      </a:cubicBezTo>
                      <a:cubicBezTo>
                        <a:pt x="97" y="74"/>
                        <a:pt x="97" y="74"/>
                        <a:pt x="97" y="74"/>
                      </a:cubicBezTo>
                      <a:cubicBezTo>
                        <a:pt x="96" y="68"/>
                        <a:pt x="96" y="68"/>
                        <a:pt x="96" y="68"/>
                      </a:cubicBezTo>
                      <a:cubicBezTo>
                        <a:pt x="95" y="64"/>
                        <a:pt x="95" y="64"/>
                        <a:pt x="95" y="64"/>
                      </a:cubicBezTo>
                      <a:cubicBezTo>
                        <a:pt x="97" y="62"/>
                        <a:pt x="97" y="62"/>
                        <a:pt x="97" y="62"/>
                      </a:cubicBezTo>
                      <a:cubicBezTo>
                        <a:pt x="100" y="59"/>
                        <a:pt x="100" y="59"/>
                        <a:pt x="100" y="59"/>
                      </a:cubicBezTo>
                      <a:cubicBezTo>
                        <a:pt x="103" y="52"/>
                        <a:pt x="103" y="52"/>
                        <a:pt x="103" y="52"/>
                      </a:cubicBezTo>
                      <a:cubicBezTo>
                        <a:pt x="105" y="48"/>
                        <a:pt x="105" y="48"/>
                        <a:pt x="105" y="48"/>
                      </a:cubicBezTo>
                      <a:cubicBezTo>
                        <a:pt x="109" y="43"/>
                        <a:pt x="109" y="43"/>
                        <a:pt x="109" y="43"/>
                      </a:cubicBezTo>
                      <a:cubicBezTo>
                        <a:pt x="110" y="40"/>
                        <a:pt x="110" y="40"/>
                        <a:pt x="110" y="40"/>
                      </a:cubicBezTo>
                      <a:cubicBezTo>
                        <a:pt x="110" y="36"/>
                        <a:pt x="110" y="36"/>
                        <a:pt x="110" y="36"/>
                      </a:cubicBezTo>
                      <a:cubicBezTo>
                        <a:pt x="108" y="33"/>
                        <a:pt x="108" y="33"/>
                        <a:pt x="108" y="33"/>
                      </a:cubicBezTo>
                      <a:cubicBezTo>
                        <a:pt x="108" y="30"/>
                        <a:pt x="108" y="30"/>
                        <a:pt x="108" y="30"/>
                      </a:cubicBezTo>
                      <a:cubicBezTo>
                        <a:pt x="109" y="27"/>
                        <a:pt x="109" y="27"/>
                        <a:pt x="109" y="27"/>
                      </a:cubicBezTo>
                      <a:cubicBezTo>
                        <a:pt x="109" y="25"/>
                        <a:pt x="109" y="25"/>
                        <a:pt x="109" y="25"/>
                      </a:cubicBezTo>
                      <a:cubicBezTo>
                        <a:pt x="108" y="24"/>
                        <a:pt x="108" y="24"/>
                        <a:pt x="108" y="24"/>
                      </a:cubicBezTo>
                      <a:cubicBezTo>
                        <a:pt x="103" y="24"/>
                        <a:pt x="103" y="24"/>
                        <a:pt x="103" y="24"/>
                      </a:cubicBezTo>
                      <a:cubicBezTo>
                        <a:pt x="100" y="21"/>
                        <a:pt x="100" y="21"/>
                        <a:pt x="100" y="21"/>
                      </a:cubicBezTo>
                      <a:cubicBezTo>
                        <a:pt x="98" y="20"/>
                        <a:pt x="98" y="20"/>
                        <a:pt x="98" y="20"/>
                      </a:cubicBezTo>
                      <a:cubicBezTo>
                        <a:pt x="92" y="21"/>
                        <a:pt x="92" y="21"/>
                        <a:pt x="92" y="21"/>
                      </a:cubicBezTo>
                      <a:cubicBezTo>
                        <a:pt x="89" y="20"/>
                        <a:pt x="89" y="20"/>
                        <a:pt x="89" y="20"/>
                      </a:cubicBezTo>
                      <a:cubicBezTo>
                        <a:pt x="86" y="18"/>
                        <a:pt x="86" y="18"/>
                        <a:pt x="86" y="18"/>
                      </a:cubicBezTo>
                      <a:cubicBezTo>
                        <a:pt x="83" y="18"/>
                        <a:pt x="83" y="18"/>
                        <a:pt x="83" y="18"/>
                      </a:cubicBezTo>
                      <a:cubicBezTo>
                        <a:pt x="80" y="16"/>
                        <a:pt x="80" y="16"/>
                        <a:pt x="80" y="16"/>
                      </a:cubicBezTo>
                      <a:cubicBezTo>
                        <a:pt x="80" y="14"/>
                        <a:pt x="80" y="14"/>
                        <a:pt x="80" y="14"/>
                      </a:cubicBezTo>
                      <a:cubicBezTo>
                        <a:pt x="79" y="13"/>
                        <a:pt x="79" y="13"/>
                        <a:pt x="79" y="13"/>
                      </a:cubicBezTo>
                      <a:cubicBezTo>
                        <a:pt x="76" y="15"/>
                        <a:pt x="76" y="15"/>
                        <a:pt x="76" y="15"/>
                      </a:cubicBezTo>
                      <a:cubicBezTo>
                        <a:pt x="76" y="14"/>
                        <a:pt x="76" y="14"/>
                        <a:pt x="76" y="14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8"/>
                        <a:pt x="76" y="8"/>
                        <a:pt x="76" y="8"/>
                      </a:cubicBezTo>
                      <a:cubicBezTo>
                        <a:pt x="73" y="10"/>
                        <a:pt x="73" y="10"/>
                        <a:pt x="73" y="10"/>
                      </a:cubicBezTo>
                      <a:cubicBezTo>
                        <a:pt x="72" y="14"/>
                        <a:pt x="72" y="14"/>
                        <a:pt x="72" y="14"/>
                      </a:cubicBezTo>
                      <a:cubicBezTo>
                        <a:pt x="71" y="15"/>
                        <a:pt x="71" y="15"/>
                        <a:pt x="71" y="15"/>
                      </a:cubicBezTo>
                      <a:cubicBezTo>
                        <a:pt x="70" y="10"/>
                        <a:pt x="70" y="10"/>
                        <a:pt x="70" y="10"/>
                      </a:cubicBezTo>
                      <a:cubicBezTo>
                        <a:pt x="69" y="9"/>
                        <a:pt x="69" y="9"/>
                        <a:pt x="69" y="9"/>
                      </a:cubicBezTo>
                      <a:cubicBezTo>
                        <a:pt x="68" y="11"/>
                        <a:pt x="68" y="11"/>
                        <a:pt x="68" y="11"/>
                      </a:cubicBezTo>
                      <a:cubicBezTo>
                        <a:pt x="69" y="13"/>
                        <a:pt x="69" y="13"/>
                        <a:pt x="69" y="13"/>
                      </a:cubicBezTo>
                      <a:cubicBezTo>
                        <a:pt x="68" y="15"/>
                        <a:pt x="68" y="15"/>
                        <a:pt x="68" y="15"/>
                      </a:cubicBezTo>
                      <a:cubicBezTo>
                        <a:pt x="66" y="18"/>
                        <a:pt x="66" y="18"/>
                        <a:pt x="66" y="18"/>
                      </a:cubicBezTo>
                      <a:cubicBezTo>
                        <a:pt x="66" y="22"/>
                        <a:pt x="66" y="22"/>
                        <a:pt x="66" y="22"/>
                      </a:cubicBezTo>
                      <a:cubicBezTo>
                        <a:pt x="65" y="25"/>
                        <a:pt x="65" y="25"/>
                        <a:pt x="65" y="25"/>
                      </a:cubicBezTo>
                      <a:cubicBezTo>
                        <a:pt x="63" y="23"/>
                        <a:pt x="63" y="23"/>
                        <a:pt x="63" y="23"/>
                      </a:cubicBezTo>
                      <a:cubicBezTo>
                        <a:pt x="61" y="21"/>
                        <a:pt x="61" y="21"/>
                        <a:pt x="61" y="21"/>
                      </a:cubicBezTo>
                      <a:cubicBezTo>
                        <a:pt x="61" y="20"/>
                        <a:pt x="61" y="20"/>
                        <a:pt x="61" y="20"/>
                      </a:cubicBezTo>
                      <a:cubicBezTo>
                        <a:pt x="61" y="23"/>
                        <a:pt x="61" y="23"/>
                        <a:pt x="61" y="23"/>
                      </a:cubicBezTo>
                      <a:cubicBezTo>
                        <a:pt x="60" y="25"/>
                        <a:pt x="60" y="25"/>
                        <a:pt x="60" y="25"/>
                      </a:cubicBezTo>
                      <a:cubicBezTo>
                        <a:pt x="59" y="23"/>
                        <a:pt x="59" y="23"/>
                        <a:pt x="59" y="23"/>
                      </a:cubicBezTo>
                      <a:cubicBezTo>
                        <a:pt x="58" y="20"/>
                        <a:pt x="58" y="20"/>
                        <a:pt x="58" y="20"/>
                      </a:cubicBezTo>
                      <a:cubicBezTo>
                        <a:pt x="59" y="15"/>
                        <a:pt x="59" y="15"/>
                        <a:pt x="59" y="15"/>
                      </a:cubicBezTo>
                      <a:cubicBezTo>
                        <a:pt x="59" y="9"/>
                        <a:pt x="59" y="9"/>
                        <a:pt x="59" y="9"/>
                      </a:cubicBezTo>
                      <a:cubicBezTo>
                        <a:pt x="59" y="6"/>
                        <a:pt x="59" y="6"/>
                        <a:pt x="59" y="6"/>
                      </a:cubicBezTo>
                      <a:cubicBezTo>
                        <a:pt x="55" y="3"/>
                        <a:pt x="55" y="3"/>
                        <a:pt x="55" y="3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51" y="3"/>
                        <a:pt x="51" y="3"/>
                        <a:pt x="51" y="3"/>
                      </a:cubicBezTo>
                      <a:cubicBezTo>
                        <a:pt x="53" y="6"/>
                        <a:pt x="53" y="6"/>
                        <a:pt x="53" y="6"/>
                      </a:cubicBez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2" y="8"/>
                        <a:pt x="52" y="8"/>
                        <a:pt x="52" y="8"/>
                      </a:cubicBezTo>
                      <a:cubicBezTo>
                        <a:pt x="50" y="5"/>
                        <a:pt x="50" y="5"/>
                        <a:pt x="50" y="5"/>
                      </a:cubicBezTo>
                      <a:cubicBezTo>
                        <a:pt x="49" y="7"/>
                        <a:pt x="49" y="7"/>
                        <a:pt x="49" y="7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52" y="15"/>
                        <a:pt x="52" y="15"/>
                        <a:pt x="52" y="15"/>
                      </a:cubicBezTo>
                      <a:cubicBezTo>
                        <a:pt x="52" y="19"/>
                        <a:pt x="52" y="19"/>
                        <a:pt x="52" y="19"/>
                      </a:cubicBezTo>
                      <a:cubicBezTo>
                        <a:pt x="51" y="22"/>
                        <a:pt x="51" y="22"/>
                        <a:pt x="51" y="22"/>
                      </a:cubicBezTo>
                      <a:cubicBezTo>
                        <a:pt x="51" y="27"/>
                        <a:pt x="51" y="27"/>
                        <a:pt x="51" y="27"/>
                      </a:cubicBezTo>
                      <a:cubicBezTo>
                        <a:pt x="53" y="33"/>
                        <a:pt x="53" y="33"/>
                        <a:pt x="53" y="33"/>
                      </a:cubicBezTo>
                      <a:cubicBezTo>
                        <a:pt x="52" y="37"/>
                        <a:pt x="52" y="37"/>
                        <a:pt x="52" y="37"/>
                      </a:cubicBezTo>
                      <a:cubicBezTo>
                        <a:pt x="51" y="37"/>
                        <a:pt x="51" y="37"/>
                        <a:pt x="51" y="37"/>
                      </a:cubicBezTo>
                      <a:cubicBezTo>
                        <a:pt x="49" y="33"/>
                        <a:pt x="49" y="33"/>
                        <a:pt x="49" y="33"/>
                      </a:cubicBezTo>
                      <a:cubicBezTo>
                        <a:pt x="46" y="30"/>
                        <a:pt x="46" y="30"/>
                        <a:pt x="46" y="30"/>
                      </a:cubicBezTo>
                      <a:cubicBezTo>
                        <a:pt x="43" y="27"/>
                        <a:pt x="43" y="27"/>
                        <a:pt x="43" y="27"/>
                      </a:cubicBezTo>
                      <a:cubicBezTo>
                        <a:pt x="43" y="24"/>
                        <a:pt x="43" y="24"/>
                        <a:pt x="43" y="24"/>
                      </a:cubicBezTo>
                      <a:cubicBezTo>
                        <a:pt x="44" y="21"/>
                        <a:pt x="44" y="21"/>
                        <a:pt x="44" y="21"/>
                      </a:cubicBezTo>
                      <a:cubicBezTo>
                        <a:pt x="44" y="19"/>
                        <a:pt x="44" y="19"/>
                        <a:pt x="44" y="19"/>
                      </a:cubicBezTo>
                      <a:cubicBezTo>
                        <a:pt x="42" y="18"/>
                        <a:pt x="42" y="18"/>
                        <a:pt x="42" y="18"/>
                      </a:cubicBezTo>
                      <a:cubicBezTo>
                        <a:pt x="39" y="20"/>
                        <a:pt x="39" y="20"/>
                        <a:pt x="39" y="20"/>
                      </a:cubicBez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36" y="22"/>
                        <a:pt x="36" y="22"/>
                        <a:pt x="36" y="22"/>
                      </a:cubicBezTo>
                      <a:cubicBezTo>
                        <a:pt x="33" y="24"/>
                        <a:pt x="33" y="24"/>
                        <a:pt x="33" y="24"/>
                      </a:cubicBezTo>
                      <a:cubicBezTo>
                        <a:pt x="31" y="23"/>
                        <a:pt x="31" y="23"/>
                        <a:pt x="31" y="23"/>
                      </a:cubicBezTo>
                      <a:cubicBezTo>
                        <a:pt x="31" y="20"/>
                        <a:pt x="31" y="20"/>
                        <a:pt x="31" y="20"/>
                      </a:cubicBezTo>
                      <a:cubicBezTo>
                        <a:pt x="31" y="18"/>
                        <a:pt x="31" y="18"/>
                        <a:pt x="31" y="18"/>
                      </a:cubicBezTo>
                      <a:cubicBezTo>
                        <a:pt x="29" y="19"/>
                        <a:pt x="29" y="19"/>
                        <a:pt x="29" y="19"/>
                      </a:cubicBezTo>
                      <a:cubicBezTo>
                        <a:pt x="27" y="15"/>
                        <a:pt x="27" y="15"/>
                        <a:pt x="27" y="15"/>
                      </a:cubicBezTo>
                      <a:cubicBezTo>
                        <a:pt x="25" y="12"/>
                        <a:pt x="25" y="12"/>
                        <a:pt x="25" y="12"/>
                      </a:cubicBezTo>
                      <a:cubicBezTo>
                        <a:pt x="23" y="10"/>
                        <a:pt x="23" y="10"/>
                        <a:pt x="23" y="10"/>
                      </a:cubicBezTo>
                      <a:cubicBezTo>
                        <a:pt x="22" y="11"/>
                        <a:pt x="22" y="11"/>
                        <a:pt x="22" y="11"/>
                      </a:cubicBezTo>
                      <a:cubicBezTo>
                        <a:pt x="19" y="8"/>
                        <a:pt x="19" y="8"/>
                        <a:pt x="19" y="8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19" y="1"/>
                        <a:pt x="19" y="1"/>
                        <a:pt x="19" y="1"/>
                      </a:cubicBezTo>
                      <a:cubicBezTo>
                        <a:pt x="18" y="1"/>
                        <a:pt x="18" y="1"/>
                        <a:pt x="18" y="1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15" y="9"/>
                        <a:pt x="15" y="9"/>
                        <a:pt x="15" y="9"/>
                      </a:cubicBezTo>
                      <a:cubicBezTo>
                        <a:pt x="16" y="14"/>
                        <a:pt x="16" y="14"/>
                        <a:pt x="16" y="14"/>
                      </a:cubicBezTo>
                      <a:cubicBezTo>
                        <a:pt x="18" y="18"/>
                        <a:pt x="18" y="18"/>
                        <a:pt x="18" y="18"/>
                      </a:cubicBez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17" y="25"/>
                        <a:pt x="17" y="25"/>
                        <a:pt x="17" y="25"/>
                      </a:cubicBezTo>
                      <a:cubicBezTo>
                        <a:pt x="15" y="22"/>
                        <a:pt x="15" y="22"/>
                        <a:pt x="15" y="22"/>
                      </a:cubicBezTo>
                      <a:cubicBezTo>
                        <a:pt x="14" y="18"/>
                        <a:pt x="14" y="18"/>
                        <a:pt x="14" y="18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4" y="25"/>
                        <a:pt x="14" y="25"/>
                        <a:pt x="14" y="25"/>
                      </a:cubicBezTo>
                      <a:cubicBezTo>
                        <a:pt x="15" y="29"/>
                        <a:pt x="15" y="29"/>
                        <a:pt x="15" y="29"/>
                      </a:cubicBezTo>
                      <a:cubicBezTo>
                        <a:pt x="15" y="32"/>
                        <a:pt x="15" y="32"/>
                        <a:pt x="15" y="32"/>
                      </a:cubicBezTo>
                      <a:cubicBezTo>
                        <a:pt x="14" y="35"/>
                        <a:pt x="14" y="35"/>
                        <a:pt x="14" y="35"/>
                      </a:cubicBezTo>
                      <a:cubicBezTo>
                        <a:pt x="13" y="34"/>
                        <a:pt x="13" y="34"/>
                        <a:pt x="13" y="34"/>
                      </a:cubicBezTo>
                      <a:cubicBezTo>
                        <a:pt x="11" y="29"/>
                        <a:pt x="11" y="29"/>
                        <a:pt x="11" y="29"/>
                      </a:cubicBezTo>
                      <a:cubicBezTo>
                        <a:pt x="10" y="27"/>
                        <a:pt x="10" y="27"/>
                        <a:pt x="10" y="27"/>
                      </a:cubicBez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1" y="32"/>
                        <a:pt x="1" y="32"/>
                        <a:pt x="1" y="32"/>
                      </a:cubicBezTo>
                      <a:lnTo>
                        <a:pt x="3" y="3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33" name="Freeform 233">
                  <a:extLst>
                    <a:ext uri="{FF2B5EF4-FFF2-40B4-BE49-F238E27FC236}">
                      <a16:creationId xmlns:a16="http://schemas.microsoft.com/office/drawing/2014/main" id="{2E43252D-19F6-4295-8DEF-13B0E30EED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88" y="992"/>
                  <a:ext cx="22" cy="21"/>
                </a:xfrm>
                <a:custGeom>
                  <a:avLst/>
                  <a:gdLst>
                    <a:gd name="T0" fmla="*/ 21 w 22"/>
                    <a:gd name="T1" fmla="*/ 8 h 21"/>
                    <a:gd name="T2" fmla="*/ 22 w 22"/>
                    <a:gd name="T3" fmla="*/ 6 h 21"/>
                    <a:gd name="T4" fmla="*/ 21 w 22"/>
                    <a:gd name="T5" fmla="*/ 3 h 21"/>
                    <a:gd name="T6" fmla="*/ 19 w 22"/>
                    <a:gd name="T7" fmla="*/ 3 h 21"/>
                    <a:gd name="T8" fmla="*/ 17 w 22"/>
                    <a:gd name="T9" fmla="*/ 0 h 21"/>
                    <a:gd name="T10" fmla="*/ 17 w 22"/>
                    <a:gd name="T11" fmla="*/ 0 h 21"/>
                    <a:gd name="T12" fmla="*/ 15 w 22"/>
                    <a:gd name="T13" fmla="*/ 1 h 21"/>
                    <a:gd name="T14" fmla="*/ 11 w 22"/>
                    <a:gd name="T15" fmla="*/ 4 h 21"/>
                    <a:gd name="T16" fmla="*/ 11 w 22"/>
                    <a:gd name="T17" fmla="*/ 2 h 21"/>
                    <a:gd name="T18" fmla="*/ 10 w 22"/>
                    <a:gd name="T19" fmla="*/ 1 h 21"/>
                    <a:gd name="T20" fmla="*/ 8 w 22"/>
                    <a:gd name="T21" fmla="*/ 3 h 21"/>
                    <a:gd name="T22" fmla="*/ 7 w 22"/>
                    <a:gd name="T23" fmla="*/ 5 h 21"/>
                    <a:gd name="T24" fmla="*/ 7 w 22"/>
                    <a:gd name="T25" fmla="*/ 6 h 21"/>
                    <a:gd name="T26" fmla="*/ 4 w 22"/>
                    <a:gd name="T27" fmla="*/ 6 h 21"/>
                    <a:gd name="T28" fmla="*/ 3 w 22"/>
                    <a:gd name="T29" fmla="*/ 8 h 21"/>
                    <a:gd name="T30" fmla="*/ 0 w 22"/>
                    <a:gd name="T31" fmla="*/ 10 h 21"/>
                    <a:gd name="T32" fmla="*/ 3 w 22"/>
                    <a:gd name="T33" fmla="*/ 11 h 21"/>
                    <a:gd name="T34" fmla="*/ 6 w 22"/>
                    <a:gd name="T35" fmla="*/ 11 h 21"/>
                    <a:gd name="T36" fmla="*/ 7 w 22"/>
                    <a:gd name="T37" fmla="*/ 14 h 21"/>
                    <a:gd name="T38" fmla="*/ 8 w 22"/>
                    <a:gd name="T39" fmla="*/ 16 h 21"/>
                    <a:gd name="T40" fmla="*/ 7 w 22"/>
                    <a:gd name="T41" fmla="*/ 18 h 21"/>
                    <a:gd name="T42" fmla="*/ 9 w 22"/>
                    <a:gd name="T43" fmla="*/ 18 h 21"/>
                    <a:gd name="T44" fmla="*/ 7 w 22"/>
                    <a:gd name="T45" fmla="*/ 21 h 21"/>
                    <a:gd name="T46" fmla="*/ 10 w 22"/>
                    <a:gd name="T47" fmla="*/ 21 h 21"/>
                    <a:gd name="T48" fmla="*/ 11 w 22"/>
                    <a:gd name="T49" fmla="*/ 21 h 21"/>
                    <a:gd name="T50" fmla="*/ 12 w 22"/>
                    <a:gd name="T51" fmla="*/ 20 h 21"/>
                    <a:gd name="T52" fmla="*/ 16 w 22"/>
                    <a:gd name="T53" fmla="*/ 18 h 21"/>
                    <a:gd name="T54" fmla="*/ 17 w 22"/>
                    <a:gd name="T55" fmla="*/ 18 h 21"/>
                    <a:gd name="T56" fmla="*/ 19 w 22"/>
                    <a:gd name="T57" fmla="*/ 16 h 21"/>
                    <a:gd name="T58" fmla="*/ 19 w 22"/>
                    <a:gd name="T59" fmla="*/ 14 h 21"/>
                    <a:gd name="T60" fmla="*/ 19 w 22"/>
                    <a:gd name="T61" fmla="*/ 10 h 21"/>
                    <a:gd name="T62" fmla="*/ 21 w 22"/>
                    <a:gd name="T63" fmla="*/ 8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2" h="21">
                      <a:moveTo>
                        <a:pt x="21" y="8"/>
                      </a:moveTo>
                      <a:lnTo>
                        <a:pt x="22" y="6"/>
                      </a:lnTo>
                      <a:lnTo>
                        <a:pt x="21" y="3"/>
                      </a:lnTo>
                      <a:lnTo>
                        <a:pt x="19" y="3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5" y="1"/>
                      </a:lnTo>
                      <a:lnTo>
                        <a:pt x="11" y="4"/>
                      </a:lnTo>
                      <a:lnTo>
                        <a:pt x="11" y="2"/>
                      </a:lnTo>
                      <a:lnTo>
                        <a:pt x="10" y="1"/>
                      </a:lnTo>
                      <a:lnTo>
                        <a:pt x="8" y="3"/>
                      </a:lnTo>
                      <a:lnTo>
                        <a:pt x="7" y="5"/>
                      </a:lnTo>
                      <a:lnTo>
                        <a:pt x="7" y="6"/>
                      </a:lnTo>
                      <a:lnTo>
                        <a:pt x="4" y="6"/>
                      </a:lnTo>
                      <a:lnTo>
                        <a:pt x="3" y="8"/>
                      </a:lnTo>
                      <a:lnTo>
                        <a:pt x="0" y="10"/>
                      </a:lnTo>
                      <a:lnTo>
                        <a:pt x="3" y="11"/>
                      </a:lnTo>
                      <a:lnTo>
                        <a:pt x="6" y="11"/>
                      </a:lnTo>
                      <a:lnTo>
                        <a:pt x="7" y="14"/>
                      </a:lnTo>
                      <a:lnTo>
                        <a:pt x="8" y="16"/>
                      </a:lnTo>
                      <a:lnTo>
                        <a:pt x="7" y="18"/>
                      </a:lnTo>
                      <a:lnTo>
                        <a:pt x="9" y="18"/>
                      </a:lnTo>
                      <a:lnTo>
                        <a:pt x="7" y="21"/>
                      </a:lnTo>
                      <a:lnTo>
                        <a:pt x="10" y="21"/>
                      </a:lnTo>
                      <a:lnTo>
                        <a:pt x="11" y="21"/>
                      </a:lnTo>
                      <a:lnTo>
                        <a:pt x="12" y="20"/>
                      </a:lnTo>
                      <a:lnTo>
                        <a:pt x="16" y="18"/>
                      </a:lnTo>
                      <a:lnTo>
                        <a:pt x="17" y="18"/>
                      </a:lnTo>
                      <a:lnTo>
                        <a:pt x="19" y="16"/>
                      </a:lnTo>
                      <a:lnTo>
                        <a:pt x="19" y="14"/>
                      </a:lnTo>
                      <a:lnTo>
                        <a:pt x="19" y="10"/>
                      </a:lnTo>
                      <a:lnTo>
                        <a:pt x="21" y="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34" name="Freeform 234">
                  <a:extLst>
                    <a:ext uri="{FF2B5EF4-FFF2-40B4-BE49-F238E27FC236}">
                      <a16:creationId xmlns:a16="http://schemas.microsoft.com/office/drawing/2014/main" id="{8CA64845-B8D5-4859-A54C-52A6E24685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96" y="1006"/>
                  <a:ext cx="39" cy="51"/>
                </a:xfrm>
                <a:custGeom>
                  <a:avLst/>
                  <a:gdLst>
                    <a:gd name="T0" fmla="*/ 32 w 39"/>
                    <a:gd name="T1" fmla="*/ 31 h 51"/>
                    <a:gd name="T2" fmla="*/ 35 w 39"/>
                    <a:gd name="T3" fmla="*/ 26 h 51"/>
                    <a:gd name="T4" fmla="*/ 38 w 39"/>
                    <a:gd name="T5" fmla="*/ 24 h 51"/>
                    <a:gd name="T6" fmla="*/ 39 w 39"/>
                    <a:gd name="T7" fmla="*/ 24 h 51"/>
                    <a:gd name="T8" fmla="*/ 36 w 39"/>
                    <a:gd name="T9" fmla="*/ 22 h 51"/>
                    <a:gd name="T10" fmla="*/ 35 w 39"/>
                    <a:gd name="T11" fmla="*/ 20 h 51"/>
                    <a:gd name="T12" fmla="*/ 33 w 39"/>
                    <a:gd name="T13" fmla="*/ 18 h 51"/>
                    <a:gd name="T14" fmla="*/ 30 w 39"/>
                    <a:gd name="T15" fmla="*/ 21 h 51"/>
                    <a:gd name="T16" fmla="*/ 27 w 39"/>
                    <a:gd name="T17" fmla="*/ 23 h 51"/>
                    <a:gd name="T18" fmla="*/ 24 w 39"/>
                    <a:gd name="T19" fmla="*/ 20 h 51"/>
                    <a:gd name="T20" fmla="*/ 21 w 39"/>
                    <a:gd name="T21" fmla="*/ 16 h 51"/>
                    <a:gd name="T22" fmla="*/ 20 w 39"/>
                    <a:gd name="T23" fmla="*/ 12 h 51"/>
                    <a:gd name="T24" fmla="*/ 21 w 39"/>
                    <a:gd name="T25" fmla="*/ 10 h 51"/>
                    <a:gd name="T26" fmla="*/ 23 w 39"/>
                    <a:gd name="T27" fmla="*/ 10 h 51"/>
                    <a:gd name="T28" fmla="*/ 23 w 39"/>
                    <a:gd name="T29" fmla="*/ 8 h 51"/>
                    <a:gd name="T30" fmla="*/ 21 w 39"/>
                    <a:gd name="T31" fmla="*/ 4 h 51"/>
                    <a:gd name="T32" fmla="*/ 20 w 39"/>
                    <a:gd name="T33" fmla="*/ 0 h 51"/>
                    <a:gd name="T34" fmla="*/ 16 w 39"/>
                    <a:gd name="T35" fmla="*/ 4 h 51"/>
                    <a:gd name="T36" fmla="*/ 13 w 39"/>
                    <a:gd name="T37" fmla="*/ 7 h 51"/>
                    <a:gd name="T38" fmla="*/ 9 w 39"/>
                    <a:gd name="T39" fmla="*/ 7 h 51"/>
                    <a:gd name="T40" fmla="*/ 4 w 39"/>
                    <a:gd name="T41" fmla="*/ 9 h 51"/>
                    <a:gd name="T42" fmla="*/ 2 w 39"/>
                    <a:gd name="T43" fmla="*/ 11 h 51"/>
                    <a:gd name="T44" fmla="*/ 0 w 39"/>
                    <a:gd name="T45" fmla="*/ 15 h 51"/>
                    <a:gd name="T46" fmla="*/ 2 w 39"/>
                    <a:gd name="T47" fmla="*/ 17 h 51"/>
                    <a:gd name="T48" fmla="*/ 5 w 39"/>
                    <a:gd name="T49" fmla="*/ 19 h 51"/>
                    <a:gd name="T50" fmla="*/ 7 w 39"/>
                    <a:gd name="T51" fmla="*/ 19 h 51"/>
                    <a:gd name="T52" fmla="*/ 8 w 39"/>
                    <a:gd name="T53" fmla="*/ 21 h 51"/>
                    <a:gd name="T54" fmla="*/ 7 w 39"/>
                    <a:gd name="T55" fmla="*/ 23 h 51"/>
                    <a:gd name="T56" fmla="*/ 7 w 39"/>
                    <a:gd name="T57" fmla="*/ 27 h 51"/>
                    <a:gd name="T58" fmla="*/ 6 w 39"/>
                    <a:gd name="T59" fmla="*/ 31 h 51"/>
                    <a:gd name="T60" fmla="*/ 5 w 39"/>
                    <a:gd name="T61" fmla="*/ 36 h 51"/>
                    <a:gd name="T62" fmla="*/ 2 w 39"/>
                    <a:gd name="T63" fmla="*/ 38 h 51"/>
                    <a:gd name="T64" fmla="*/ 3 w 39"/>
                    <a:gd name="T65" fmla="*/ 41 h 51"/>
                    <a:gd name="T66" fmla="*/ 2 w 39"/>
                    <a:gd name="T67" fmla="*/ 42 h 51"/>
                    <a:gd name="T68" fmla="*/ 2 w 39"/>
                    <a:gd name="T69" fmla="*/ 45 h 51"/>
                    <a:gd name="T70" fmla="*/ 3 w 39"/>
                    <a:gd name="T71" fmla="*/ 45 h 51"/>
                    <a:gd name="T72" fmla="*/ 6 w 39"/>
                    <a:gd name="T73" fmla="*/ 44 h 51"/>
                    <a:gd name="T74" fmla="*/ 9 w 39"/>
                    <a:gd name="T75" fmla="*/ 44 h 51"/>
                    <a:gd name="T76" fmla="*/ 11 w 39"/>
                    <a:gd name="T77" fmla="*/ 41 h 51"/>
                    <a:gd name="T78" fmla="*/ 13 w 39"/>
                    <a:gd name="T79" fmla="*/ 41 h 51"/>
                    <a:gd name="T80" fmla="*/ 15 w 39"/>
                    <a:gd name="T81" fmla="*/ 38 h 51"/>
                    <a:gd name="T82" fmla="*/ 16 w 39"/>
                    <a:gd name="T83" fmla="*/ 35 h 51"/>
                    <a:gd name="T84" fmla="*/ 18 w 39"/>
                    <a:gd name="T85" fmla="*/ 34 h 51"/>
                    <a:gd name="T86" fmla="*/ 20 w 39"/>
                    <a:gd name="T87" fmla="*/ 34 h 51"/>
                    <a:gd name="T88" fmla="*/ 21 w 39"/>
                    <a:gd name="T89" fmla="*/ 33 h 51"/>
                    <a:gd name="T90" fmla="*/ 21 w 39"/>
                    <a:gd name="T91" fmla="*/ 37 h 51"/>
                    <a:gd name="T92" fmla="*/ 20 w 39"/>
                    <a:gd name="T93" fmla="*/ 41 h 51"/>
                    <a:gd name="T94" fmla="*/ 20 w 39"/>
                    <a:gd name="T95" fmla="*/ 45 h 51"/>
                    <a:gd name="T96" fmla="*/ 19 w 39"/>
                    <a:gd name="T97" fmla="*/ 48 h 51"/>
                    <a:gd name="T98" fmla="*/ 20 w 39"/>
                    <a:gd name="T99" fmla="*/ 51 h 51"/>
                    <a:gd name="T100" fmla="*/ 22 w 39"/>
                    <a:gd name="T101" fmla="*/ 51 h 51"/>
                    <a:gd name="T102" fmla="*/ 23 w 39"/>
                    <a:gd name="T103" fmla="*/ 48 h 51"/>
                    <a:gd name="T104" fmla="*/ 23 w 39"/>
                    <a:gd name="T105" fmla="*/ 46 h 51"/>
                    <a:gd name="T106" fmla="*/ 25 w 39"/>
                    <a:gd name="T107" fmla="*/ 43 h 51"/>
                    <a:gd name="T108" fmla="*/ 28 w 39"/>
                    <a:gd name="T109" fmla="*/ 41 h 51"/>
                    <a:gd name="T110" fmla="*/ 30 w 39"/>
                    <a:gd name="T111" fmla="*/ 41 h 51"/>
                    <a:gd name="T112" fmla="*/ 32 w 39"/>
                    <a:gd name="T113" fmla="*/ 34 h 51"/>
                    <a:gd name="T114" fmla="*/ 32 w 39"/>
                    <a:gd name="T115" fmla="*/ 3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39" h="51">
                      <a:moveTo>
                        <a:pt x="32" y="31"/>
                      </a:moveTo>
                      <a:lnTo>
                        <a:pt x="35" y="26"/>
                      </a:lnTo>
                      <a:lnTo>
                        <a:pt x="38" y="24"/>
                      </a:lnTo>
                      <a:lnTo>
                        <a:pt x="39" y="24"/>
                      </a:lnTo>
                      <a:lnTo>
                        <a:pt x="36" y="22"/>
                      </a:lnTo>
                      <a:lnTo>
                        <a:pt x="35" y="20"/>
                      </a:lnTo>
                      <a:lnTo>
                        <a:pt x="33" y="18"/>
                      </a:lnTo>
                      <a:lnTo>
                        <a:pt x="30" y="21"/>
                      </a:lnTo>
                      <a:lnTo>
                        <a:pt x="27" y="23"/>
                      </a:lnTo>
                      <a:lnTo>
                        <a:pt x="24" y="20"/>
                      </a:lnTo>
                      <a:lnTo>
                        <a:pt x="21" y="16"/>
                      </a:lnTo>
                      <a:lnTo>
                        <a:pt x="20" y="12"/>
                      </a:lnTo>
                      <a:lnTo>
                        <a:pt x="21" y="10"/>
                      </a:lnTo>
                      <a:lnTo>
                        <a:pt x="23" y="10"/>
                      </a:lnTo>
                      <a:lnTo>
                        <a:pt x="23" y="8"/>
                      </a:lnTo>
                      <a:lnTo>
                        <a:pt x="21" y="4"/>
                      </a:lnTo>
                      <a:lnTo>
                        <a:pt x="20" y="0"/>
                      </a:lnTo>
                      <a:lnTo>
                        <a:pt x="16" y="4"/>
                      </a:lnTo>
                      <a:lnTo>
                        <a:pt x="13" y="7"/>
                      </a:lnTo>
                      <a:lnTo>
                        <a:pt x="9" y="7"/>
                      </a:lnTo>
                      <a:lnTo>
                        <a:pt x="4" y="9"/>
                      </a:lnTo>
                      <a:lnTo>
                        <a:pt x="2" y="11"/>
                      </a:lnTo>
                      <a:lnTo>
                        <a:pt x="0" y="15"/>
                      </a:lnTo>
                      <a:lnTo>
                        <a:pt x="2" y="17"/>
                      </a:lnTo>
                      <a:lnTo>
                        <a:pt x="5" y="19"/>
                      </a:lnTo>
                      <a:lnTo>
                        <a:pt x="7" y="19"/>
                      </a:lnTo>
                      <a:lnTo>
                        <a:pt x="8" y="21"/>
                      </a:lnTo>
                      <a:lnTo>
                        <a:pt x="7" y="23"/>
                      </a:lnTo>
                      <a:lnTo>
                        <a:pt x="7" y="27"/>
                      </a:lnTo>
                      <a:lnTo>
                        <a:pt x="6" y="31"/>
                      </a:lnTo>
                      <a:lnTo>
                        <a:pt x="5" y="36"/>
                      </a:lnTo>
                      <a:lnTo>
                        <a:pt x="2" y="38"/>
                      </a:lnTo>
                      <a:lnTo>
                        <a:pt x="3" y="41"/>
                      </a:lnTo>
                      <a:lnTo>
                        <a:pt x="2" y="42"/>
                      </a:lnTo>
                      <a:lnTo>
                        <a:pt x="2" y="45"/>
                      </a:lnTo>
                      <a:lnTo>
                        <a:pt x="3" y="45"/>
                      </a:lnTo>
                      <a:lnTo>
                        <a:pt x="6" y="44"/>
                      </a:lnTo>
                      <a:lnTo>
                        <a:pt x="9" y="44"/>
                      </a:lnTo>
                      <a:lnTo>
                        <a:pt x="11" y="41"/>
                      </a:lnTo>
                      <a:lnTo>
                        <a:pt x="13" y="41"/>
                      </a:lnTo>
                      <a:lnTo>
                        <a:pt x="15" y="38"/>
                      </a:lnTo>
                      <a:lnTo>
                        <a:pt x="16" y="35"/>
                      </a:lnTo>
                      <a:lnTo>
                        <a:pt x="18" y="34"/>
                      </a:lnTo>
                      <a:lnTo>
                        <a:pt x="20" y="34"/>
                      </a:lnTo>
                      <a:lnTo>
                        <a:pt x="21" y="33"/>
                      </a:lnTo>
                      <a:lnTo>
                        <a:pt x="21" y="37"/>
                      </a:lnTo>
                      <a:lnTo>
                        <a:pt x="20" y="41"/>
                      </a:lnTo>
                      <a:lnTo>
                        <a:pt x="20" y="45"/>
                      </a:lnTo>
                      <a:lnTo>
                        <a:pt x="19" y="48"/>
                      </a:lnTo>
                      <a:lnTo>
                        <a:pt x="20" y="51"/>
                      </a:lnTo>
                      <a:lnTo>
                        <a:pt x="22" y="51"/>
                      </a:lnTo>
                      <a:lnTo>
                        <a:pt x="23" y="48"/>
                      </a:lnTo>
                      <a:lnTo>
                        <a:pt x="23" y="46"/>
                      </a:lnTo>
                      <a:lnTo>
                        <a:pt x="25" y="43"/>
                      </a:lnTo>
                      <a:lnTo>
                        <a:pt x="28" y="41"/>
                      </a:lnTo>
                      <a:lnTo>
                        <a:pt x="30" y="41"/>
                      </a:lnTo>
                      <a:lnTo>
                        <a:pt x="32" y="34"/>
                      </a:lnTo>
                      <a:lnTo>
                        <a:pt x="32" y="3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35" name="Freeform 235">
                  <a:extLst>
                    <a:ext uri="{FF2B5EF4-FFF2-40B4-BE49-F238E27FC236}">
                      <a16:creationId xmlns:a16="http://schemas.microsoft.com/office/drawing/2014/main" id="{D90DB481-DF89-40DF-90A9-BE123C6FF3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77" y="886"/>
                  <a:ext cx="10" cy="7"/>
                </a:xfrm>
                <a:custGeom>
                  <a:avLst/>
                  <a:gdLst>
                    <a:gd name="T0" fmla="*/ 6 w 10"/>
                    <a:gd name="T1" fmla="*/ 6 h 7"/>
                    <a:gd name="T2" fmla="*/ 8 w 10"/>
                    <a:gd name="T3" fmla="*/ 7 h 7"/>
                    <a:gd name="T4" fmla="*/ 9 w 10"/>
                    <a:gd name="T5" fmla="*/ 6 h 7"/>
                    <a:gd name="T6" fmla="*/ 10 w 10"/>
                    <a:gd name="T7" fmla="*/ 4 h 7"/>
                    <a:gd name="T8" fmla="*/ 9 w 10"/>
                    <a:gd name="T9" fmla="*/ 3 h 7"/>
                    <a:gd name="T10" fmla="*/ 6 w 10"/>
                    <a:gd name="T11" fmla="*/ 3 h 7"/>
                    <a:gd name="T12" fmla="*/ 3 w 10"/>
                    <a:gd name="T13" fmla="*/ 1 h 7"/>
                    <a:gd name="T14" fmla="*/ 1 w 10"/>
                    <a:gd name="T15" fmla="*/ 0 h 7"/>
                    <a:gd name="T16" fmla="*/ 0 w 10"/>
                    <a:gd name="T17" fmla="*/ 1 h 7"/>
                    <a:gd name="T18" fmla="*/ 1 w 10"/>
                    <a:gd name="T19" fmla="*/ 3 h 7"/>
                    <a:gd name="T20" fmla="*/ 6 w 10"/>
                    <a:gd name="T21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" h="7">
                      <a:moveTo>
                        <a:pt x="6" y="6"/>
                      </a:moveTo>
                      <a:lnTo>
                        <a:pt x="8" y="7"/>
                      </a:lnTo>
                      <a:lnTo>
                        <a:pt x="9" y="6"/>
                      </a:lnTo>
                      <a:lnTo>
                        <a:pt x="10" y="4"/>
                      </a:lnTo>
                      <a:lnTo>
                        <a:pt x="9" y="3"/>
                      </a:lnTo>
                      <a:lnTo>
                        <a:pt x="6" y="3"/>
                      </a:lnTo>
                      <a:lnTo>
                        <a:pt x="3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36" name="Freeform 236">
                  <a:extLst>
                    <a:ext uri="{FF2B5EF4-FFF2-40B4-BE49-F238E27FC236}">
                      <a16:creationId xmlns:a16="http://schemas.microsoft.com/office/drawing/2014/main" id="{74A2F848-4166-49F4-808A-63C1FD454B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92" y="1171"/>
                  <a:ext cx="4" cy="9"/>
                </a:xfrm>
                <a:custGeom>
                  <a:avLst/>
                  <a:gdLst>
                    <a:gd name="T0" fmla="*/ 0 w 4"/>
                    <a:gd name="T1" fmla="*/ 0 h 9"/>
                    <a:gd name="T2" fmla="*/ 0 w 4"/>
                    <a:gd name="T3" fmla="*/ 2 h 9"/>
                    <a:gd name="T4" fmla="*/ 0 w 4"/>
                    <a:gd name="T5" fmla="*/ 4 h 9"/>
                    <a:gd name="T6" fmla="*/ 2 w 4"/>
                    <a:gd name="T7" fmla="*/ 6 h 9"/>
                    <a:gd name="T8" fmla="*/ 2 w 4"/>
                    <a:gd name="T9" fmla="*/ 8 h 9"/>
                    <a:gd name="T10" fmla="*/ 3 w 4"/>
                    <a:gd name="T11" fmla="*/ 9 h 9"/>
                    <a:gd name="T12" fmla="*/ 4 w 4"/>
                    <a:gd name="T13" fmla="*/ 8 h 9"/>
                    <a:gd name="T14" fmla="*/ 4 w 4"/>
                    <a:gd name="T15" fmla="*/ 3 h 9"/>
                    <a:gd name="T16" fmla="*/ 3 w 4"/>
                    <a:gd name="T17" fmla="*/ 0 h 9"/>
                    <a:gd name="T18" fmla="*/ 0 w 4"/>
                    <a:gd name="T19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9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2" y="6"/>
                      </a:lnTo>
                      <a:lnTo>
                        <a:pt x="2" y="8"/>
                      </a:lnTo>
                      <a:lnTo>
                        <a:pt x="3" y="9"/>
                      </a:lnTo>
                      <a:lnTo>
                        <a:pt x="4" y="8"/>
                      </a:lnTo>
                      <a:lnTo>
                        <a:pt x="4" y="3"/>
                      </a:lnTo>
                      <a:lnTo>
                        <a:pt x="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37" name="Freeform 237">
                  <a:extLst>
                    <a:ext uri="{FF2B5EF4-FFF2-40B4-BE49-F238E27FC236}">
                      <a16:creationId xmlns:a16="http://schemas.microsoft.com/office/drawing/2014/main" id="{A852681B-E578-4850-AF8A-0525824DDF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84" y="970"/>
                  <a:ext cx="7" cy="8"/>
                </a:xfrm>
                <a:custGeom>
                  <a:avLst/>
                  <a:gdLst>
                    <a:gd name="T0" fmla="*/ 1 w 7"/>
                    <a:gd name="T1" fmla="*/ 0 h 8"/>
                    <a:gd name="T2" fmla="*/ 0 w 7"/>
                    <a:gd name="T3" fmla="*/ 1 h 8"/>
                    <a:gd name="T4" fmla="*/ 0 w 7"/>
                    <a:gd name="T5" fmla="*/ 2 h 8"/>
                    <a:gd name="T6" fmla="*/ 1 w 7"/>
                    <a:gd name="T7" fmla="*/ 5 h 8"/>
                    <a:gd name="T8" fmla="*/ 2 w 7"/>
                    <a:gd name="T9" fmla="*/ 7 h 8"/>
                    <a:gd name="T10" fmla="*/ 4 w 7"/>
                    <a:gd name="T11" fmla="*/ 8 h 8"/>
                    <a:gd name="T12" fmla="*/ 7 w 7"/>
                    <a:gd name="T13" fmla="*/ 6 h 8"/>
                    <a:gd name="T14" fmla="*/ 7 w 7"/>
                    <a:gd name="T15" fmla="*/ 3 h 8"/>
                    <a:gd name="T16" fmla="*/ 5 w 7"/>
                    <a:gd name="T17" fmla="*/ 2 h 8"/>
                    <a:gd name="T18" fmla="*/ 1 w 7"/>
                    <a:gd name="T1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8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5"/>
                      </a:lnTo>
                      <a:lnTo>
                        <a:pt x="2" y="7"/>
                      </a:lnTo>
                      <a:lnTo>
                        <a:pt x="4" y="8"/>
                      </a:lnTo>
                      <a:lnTo>
                        <a:pt x="7" y="6"/>
                      </a:lnTo>
                      <a:lnTo>
                        <a:pt x="7" y="3"/>
                      </a:lnTo>
                      <a:lnTo>
                        <a:pt x="5" y="2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38" name="Freeform 238">
                  <a:extLst>
                    <a:ext uri="{FF2B5EF4-FFF2-40B4-BE49-F238E27FC236}">
                      <a16:creationId xmlns:a16="http://schemas.microsoft.com/office/drawing/2014/main" id="{A1BC6F8F-AD57-4116-85DE-AFFEB3FA9D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46" y="912"/>
                  <a:ext cx="4" cy="5"/>
                </a:xfrm>
                <a:custGeom>
                  <a:avLst/>
                  <a:gdLst>
                    <a:gd name="T0" fmla="*/ 3 w 4"/>
                    <a:gd name="T1" fmla="*/ 5 h 5"/>
                    <a:gd name="T2" fmla="*/ 4 w 4"/>
                    <a:gd name="T3" fmla="*/ 4 h 5"/>
                    <a:gd name="T4" fmla="*/ 3 w 4"/>
                    <a:gd name="T5" fmla="*/ 1 h 5"/>
                    <a:gd name="T6" fmla="*/ 1 w 4"/>
                    <a:gd name="T7" fmla="*/ 0 h 5"/>
                    <a:gd name="T8" fmla="*/ 0 w 4"/>
                    <a:gd name="T9" fmla="*/ 1 h 5"/>
                    <a:gd name="T10" fmla="*/ 0 w 4"/>
                    <a:gd name="T11" fmla="*/ 2 h 5"/>
                    <a:gd name="T12" fmla="*/ 1 w 4"/>
                    <a:gd name="T13" fmla="*/ 5 h 5"/>
                    <a:gd name="T14" fmla="*/ 3 w 4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5">
                      <a:moveTo>
                        <a:pt x="3" y="5"/>
                      </a:moveTo>
                      <a:lnTo>
                        <a:pt x="4" y="4"/>
                      </a:lnTo>
                      <a:lnTo>
                        <a:pt x="3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39" name="Freeform 239">
                  <a:extLst>
                    <a:ext uri="{FF2B5EF4-FFF2-40B4-BE49-F238E27FC236}">
                      <a16:creationId xmlns:a16="http://schemas.microsoft.com/office/drawing/2014/main" id="{9E2BF606-E25A-4740-A230-B546FF3E61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96" y="927"/>
                  <a:ext cx="101" cy="167"/>
                </a:xfrm>
                <a:custGeom>
                  <a:avLst/>
                  <a:gdLst>
                    <a:gd name="T0" fmla="*/ 7 w 101"/>
                    <a:gd name="T1" fmla="*/ 42 h 167"/>
                    <a:gd name="T2" fmla="*/ 12 w 101"/>
                    <a:gd name="T3" fmla="*/ 43 h 167"/>
                    <a:gd name="T4" fmla="*/ 14 w 101"/>
                    <a:gd name="T5" fmla="*/ 55 h 167"/>
                    <a:gd name="T6" fmla="*/ 13 w 101"/>
                    <a:gd name="T7" fmla="*/ 58 h 167"/>
                    <a:gd name="T8" fmla="*/ 11 w 101"/>
                    <a:gd name="T9" fmla="*/ 61 h 167"/>
                    <a:gd name="T10" fmla="*/ 17 w 101"/>
                    <a:gd name="T11" fmla="*/ 70 h 167"/>
                    <a:gd name="T12" fmla="*/ 22 w 101"/>
                    <a:gd name="T13" fmla="*/ 76 h 167"/>
                    <a:gd name="T14" fmla="*/ 26 w 101"/>
                    <a:gd name="T15" fmla="*/ 86 h 167"/>
                    <a:gd name="T16" fmla="*/ 37 w 101"/>
                    <a:gd name="T17" fmla="*/ 89 h 167"/>
                    <a:gd name="T18" fmla="*/ 40 w 101"/>
                    <a:gd name="T19" fmla="*/ 77 h 167"/>
                    <a:gd name="T20" fmla="*/ 41 w 101"/>
                    <a:gd name="T21" fmla="*/ 66 h 167"/>
                    <a:gd name="T22" fmla="*/ 44 w 101"/>
                    <a:gd name="T23" fmla="*/ 62 h 167"/>
                    <a:gd name="T24" fmla="*/ 48 w 101"/>
                    <a:gd name="T25" fmla="*/ 70 h 167"/>
                    <a:gd name="T26" fmla="*/ 54 w 101"/>
                    <a:gd name="T27" fmla="*/ 73 h 167"/>
                    <a:gd name="T28" fmla="*/ 57 w 101"/>
                    <a:gd name="T29" fmla="*/ 71 h 167"/>
                    <a:gd name="T30" fmla="*/ 64 w 101"/>
                    <a:gd name="T31" fmla="*/ 75 h 167"/>
                    <a:gd name="T32" fmla="*/ 50 w 101"/>
                    <a:gd name="T33" fmla="*/ 84 h 167"/>
                    <a:gd name="T34" fmla="*/ 42 w 101"/>
                    <a:gd name="T35" fmla="*/ 94 h 167"/>
                    <a:gd name="T36" fmla="*/ 34 w 101"/>
                    <a:gd name="T37" fmla="*/ 96 h 167"/>
                    <a:gd name="T38" fmla="*/ 34 w 101"/>
                    <a:gd name="T39" fmla="*/ 111 h 167"/>
                    <a:gd name="T40" fmla="*/ 46 w 101"/>
                    <a:gd name="T41" fmla="*/ 108 h 167"/>
                    <a:gd name="T42" fmla="*/ 54 w 101"/>
                    <a:gd name="T43" fmla="*/ 104 h 167"/>
                    <a:gd name="T44" fmla="*/ 63 w 101"/>
                    <a:gd name="T45" fmla="*/ 105 h 167"/>
                    <a:gd name="T46" fmla="*/ 54 w 101"/>
                    <a:gd name="T47" fmla="*/ 109 h 167"/>
                    <a:gd name="T48" fmla="*/ 51 w 101"/>
                    <a:gd name="T49" fmla="*/ 115 h 167"/>
                    <a:gd name="T50" fmla="*/ 47 w 101"/>
                    <a:gd name="T51" fmla="*/ 119 h 167"/>
                    <a:gd name="T52" fmla="*/ 40 w 101"/>
                    <a:gd name="T53" fmla="*/ 116 h 167"/>
                    <a:gd name="T54" fmla="*/ 37 w 101"/>
                    <a:gd name="T55" fmla="*/ 125 h 167"/>
                    <a:gd name="T56" fmla="*/ 41 w 101"/>
                    <a:gd name="T57" fmla="*/ 132 h 167"/>
                    <a:gd name="T58" fmla="*/ 48 w 101"/>
                    <a:gd name="T59" fmla="*/ 141 h 167"/>
                    <a:gd name="T60" fmla="*/ 57 w 101"/>
                    <a:gd name="T61" fmla="*/ 143 h 167"/>
                    <a:gd name="T62" fmla="*/ 58 w 101"/>
                    <a:gd name="T63" fmla="*/ 148 h 167"/>
                    <a:gd name="T64" fmla="*/ 62 w 101"/>
                    <a:gd name="T65" fmla="*/ 165 h 167"/>
                    <a:gd name="T66" fmla="*/ 69 w 101"/>
                    <a:gd name="T67" fmla="*/ 166 h 167"/>
                    <a:gd name="T68" fmla="*/ 71 w 101"/>
                    <a:gd name="T69" fmla="*/ 148 h 167"/>
                    <a:gd name="T70" fmla="*/ 75 w 101"/>
                    <a:gd name="T71" fmla="*/ 125 h 167"/>
                    <a:gd name="T72" fmla="*/ 80 w 101"/>
                    <a:gd name="T73" fmla="*/ 117 h 167"/>
                    <a:gd name="T74" fmla="*/ 80 w 101"/>
                    <a:gd name="T75" fmla="*/ 96 h 167"/>
                    <a:gd name="T76" fmla="*/ 83 w 101"/>
                    <a:gd name="T77" fmla="*/ 82 h 167"/>
                    <a:gd name="T78" fmla="*/ 86 w 101"/>
                    <a:gd name="T79" fmla="*/ 68 h 167"/>
                    <a:gd name="T80" fmla="*/ 100 w 101"/>
                    <a:gd name="T81" fmla="*/ 65 h 167"/>
                    <a:gd name="T82" fmla="*/ 90 w 101"/>
                    <a:gd name="T83" fmla="*/ 53 h 167"/>
                    <a:gd name="T84" fmla="*/ 75 w 101"/>
                    <a:gd name="T85" fmla="*/ 38 h 167"/>
                    <a:gd name="T86" fmla="*/ 65 w 101"/>
                    <a:gd name="T87" fmla="*/ 24 h 167"/>
                    <a:gd name="T88" fmla="*/ 64 w 101"/>
                    <a:gd name="T89" fmla="*/ 29 h 167"/>
                    <a:gd name="T90" fmla="*/ 58 w 101"/>
                    <a:gd name="T91" fmla="*/ 6 h 167"/>
                    <a:gd name="T92" fmla="*/ 50 w 101"/>
                    <a:gd name="T93" fmla="*/ 0 h 167"/>
                    <a:gd name="T94" fmla="*/ 45 w 101"/>
                    <a:gd name="T95" fmla="*/ 19 h 167"/>
                    <a:gd name="T96" fmla="*/ 51 w 101"/>
                    <a:gd name="T97" fmla="*/ 45 h 167"/>
                    <a:gd name="T98" fmla="*/ 48 w 101"/>
                    <a:gd name="T99" fmla="*/ 48 h 167"/>
                    <a:gd name="T100" fmla="*/ 44 w 101"/>
                    <a:gd name="T101" fmla="*/ 42 h 167"/>
                    <a:gd name="T102" fmla="*/ 39 w 101"/>
                    <a:gd name="T103" fmla="*/ 20 h 167"/>
                    <a:gd name="T104" fmla="*/ 30 w 101"/>
                    <a:gd name="T105" fmla="*/ 29 h 167"/>
                    <a:gd name="T106" fmla="*/ 29 w 101"/>
                    <a:gd name="T107" fmla="*/ 35 h 167"/>
                    <a:gd name="T108" fmla="*/ 23 w 101"/>
                    <a:gd name="T109" fmla="*/ 30 h 167"/>
                    <a:gd name="T110" fmla="*/ 19 w 101"/>
                    <a:gd name="T111" fmla="*/ 27 h 167"/>
                    <a:gd name="T112" fmla="*/ 25 w 101"/>
                    <a:gd name="T113" fmla="*/ 19 h 167"/>
                    <a:gd name="T114" fmla="*/ 26 w 101"/>
                    <a:gd name="T115" fmla="*/ 10 h 167"/>
                    <a:gd name="T116" fmla="*/ 12 w 101"/>
                    <a:gd name="T117" fmla="*/ 13 h 167"/>
                    <a:gd name="T118" fmla="*/ 10 w 101"/>
                    <a:gd name="T119" fmla="*/ 20 h 167"/>
                    <a:gd name="T120" fmla="*/ 5 w 101"/>
                    <a:gd name="T121" fmla="*/ 27 h 167"/>
                    <a:gd name="T122" fmla="*/ 2 w 101"/>
                    <a:gd name="T123" fmla="*/ 41 h 1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01" h="167">
                      <a:moveTo>
                        <a:pt x="2" y="41"/>
                      </a:moveTo>
                      <a:lnTo>
                        <a:pt x="5" y="45"/>
                      </a:lnTo>
                      <a:lnTo>
                        <a:pt x="5" y="48"/>
                      </a:lnTo>
                      <a:lnTo>
                        <a:pt x="6" y="48"/>
                      </a:lnTo>
                      <a:lnTo>
                        <a:pt x="8" y="45"/>
                      </a:lnTo>
                      <a:lnTo>
                        <a:pt x="7" y="42"/>
                      </a:lnTo>
                      <a:lnTo>
                        <a:pt x="8" y="39"/>
                      </a:lnTo>
                      <a:lnTo>
                        <a:pt x="9" y="38"/>
                      </a:lnTo>
                      <a:lnTo>
                        <a:pt x="10" y="41"/>
                      </a:lnTo>
                      <a:lnTo>
                        <a:pt x="12" y="39"/>
                      </a:lnTo>
                      <a:lnTo>
                        <a:pt x="13" y="40"/>
                      </a:lnTo>
                      <a:lnTo>
                        <a:pt x="12" y="43"/>
                      </a:lnTo>
                      <a:lnTo>
                        <a:pt x="11" y="48"/>
                      </a:lnTo>
                      <a:lnTo>
                        <a:pt x="10" y="48"/>
                      </a:lnTo>
                      <a:lnTo>
                        <a:pt x="10" y="50"/>
                      </a:lnTo>
                      <a:lnTo>
                        <a:pt x="12" y="52"/>
                      </a:lnTo>
                      <a:lnTo>
                        <a:pt x="12" y="54"/>
                      </a:lnTo>
                      <a:lnTo>
                        <a:pt x="14" y="55"/>
                      </a:lnTo>
                      <a:lnTo>
                        <a:pt x="16" y="54"/>
                      </a:lnTo>
                      <a:lnTo>
                        <a:pt x="16" y="55"/>
                      </a:lnTo>
                      <a:lnTo>
                        <a:pt x="16" y="58"/>
                      </a:lnTo>
                      <a:lnTo>
                        <a:pt x="14" y="59"/>
                      </a:lnTo>
                      <a:lnTo>
                        <a:pt x="13" y="59"/>
                      </a:lnTo>
                      <a:lnTo>
                        <a:pt x="13" y="58"/>
                      </a:lnTo>
                      <a:lnTo>
                        <a:pt x="12" y="57"/>
                      </a:lnTo>
                      <a:lnTo>
                        <a:pt x="9" y="54"/>
                      </a:lnTo>
                      <a:lnTo>
                        <a:pt x="8" y="54"/>
                      </a:lnTo>
                      <a:lnTo>
                        <a:pt x="7" y="56"/>
                      </a:lnTo>
                      <a:lnTo>
                        <a:pt x="9" y="59"/>
                      </a:lnTo>
                      <a:lnTo>
                        <a:pt x="11" y="61"/>
                      </a:lnTo>
                      <a:lnTo>
                        <a:pt x="12" y="62"/>
                      </a:lnTo>
                      <a:lnTo>
                        <a:pt x="12" y="63"/>
                      </a:lnTo>
                      <a:lnTo>
                        <a:pt x="12" y="65"/>
                      </a:lnTo>
                      <a:lnTo>
                        <a:pt x="12" y="67"/>
                      </a:lnTo>
                      <a:lnTo>
                        <a:pt x="16" y="69"/>
                      </a:lnTo>
                      <a:lnTo>
                        <a:pt x="17" y="70"/>
                      </a:lnTo>
                      <a:lnTo>
                        <a:pt x="18" y="72"/>
                      </a:lnTo>
                      <a:lnTo>
                        <a:pt x="19" y="73"/>
                      </a:lnTo>
                      <a:lnTo>
                        <a:pt x="21" y="72"/>
                      </a:lnTo>
                      <a:lnTo>
                        <a:pt x="23" y="72"/>
                      </a:lnTo>
                      <a:lnTo>
                        <a:pt x="23" y="74"/>
                      </a:lnTo>
                      <a:lnTo>
                        <a:pt x="22" y="76"/>
                      </a:lnTo>
                      <a:lnTo>
                        <a:pt x="19" y="76"/>
                      </a:lnTo>
                      <a:lnTo>
                        <a:pt x="19" y="78"/>
                      </a:lnTo>
                      <a:lnTo>
                        <a:pt x="20" y="82"/>
                      </a:lnTo>
                      <a:lnTo>
                        <a:pt x="21" y="81"/>
                      </a:lnTo>
                      <a:lnTo>
                        <a:pt x="23" y="82"/>
                      </a:lnTo>
                      <a:lnTo>
                        <a:pt x="26" y="86"/>
                      </a:lnTo>
                      <a:lnTo>
                        <a:pt x="28" y="88"/>
                      </a:lnTo>
                      <a:lnTo>
                        <a:pt x="27" y="89"/>
                      </a:lnTo>
                      <a:lnTo>
                        <a:pt x="26" y="91"/>
                      </a:lnTo>
                      <a:lnTo>
                        <a:pt x="30" y="92"/>
                      </a:lnTo>
                      <a:lnTo>
                        <a:pt x="35" y="91"/>
                      </a:lnTo>
                      <a:lnTo>
                        <a:pt x="37" y="89"/>
                      </a:lnTo>
                      <a:lnTo>
                        <a:pt x="37" y="87"/>
                      </a:lnTo>
                      <a:lnTo>
                        <a:pt x="38" y="83"/>
                      </a:lnTo>
                      <a:lnTo>
                        <a:pt x="40" y="83"/>
                      </a:lnTo>
                      <a:lnTo>
                        <a:pt x="41" y="83"/>
                      </a:lnTo>
                      <a:lnTo>
                        <a:pt x="41" y="80"/>
                      </a:lnTo>
                      <a:lnTo>
                        <a:pt x="40" y="77"/>
                      </a:lnTo>
                      <a:lnTo>
                        <a:pt x="39" y="74"/>
                      </a:lnTo>
                      <a:lnTo>
                        <a:pt x="39" y="71"/>
                      </a:lnTo>
                      <a:lnTo>
                        <a:pt x="38" y="69"/>
                      </a:lnTo>
                      <a:lnTo>
                        <a:pt x="38" y="66"/>
                      </a:lnTo>
                      <a:lnTo>
                        <a:pt x="40" y="65"/>
                      </a:lnTo>
                      <a:lnTo>
                        <a:pt x="41" y="66"/>
                      </a:lnTo>
                      <a:lnTo>
                        <a:pt x="42" y="69"/>
                      </a:lnTo>
                      <a:lnTo>
                        <a:pt x="42" y="70"/>
                      </a:lnTo>
                      <a:lnTo>
                        <a:pt x="42" y="72"/>
                      </a:lnTo>
                      <a:lnTo>
                        <a:pt x="44" y="70"/>
                      </a:lnTo>
                      <a:lnTo>
                        <a:pt x="44" y="68"/>
                      </a:lnTo>
                      <a:lnTo>
                        <a:pt x="44" y="62"/>
                      </a:lnTo>
                      <a:lnTo>
                        <a:pt x="45" y="60"/>
                      </a:lnTo>
                      <a:lnTo>
                        <a:pt x="46" y="60"/>
                      </a:lnTo>
                      <a:lnTo>
                        <a:pt x="47" y="62"/>
                      </a:lnTo>
                      <a:lnTo>
                        <a:pt x="47" y="66"/>
                      </a:lnTo>
                      <a:lnTo>
                        <a:pt x="48" y="68"/>
                      </a:lnTo>
                      <a:lnTo>
                        <a:pt x="48" y="70"/>
                      </a:lnTo>
                      <a:lnTo>
                        <a:pt x="47" y="72"/>
                      </a:lnTo>
                      <a:lnTo>
                        <a:pt x="46" y="73"/>
                      </a:lnTo>
                      <a:lnTo>
                        <a:pt x="47" y="78"/>
                      </a:lnTo>
                      <a:lnTo>
                        <a:pt x="48" y="79"/>
                      </a:lnTo>
                      <a:lnTo>
                        <a:pt x="50" y="78"/>
                      </a:lnTo>
                      <a:lnTo>
                        <a:pt x="54" y="73"/>
                      </a:lnTo>
                      <a:lnTo>
                        <a:pt x="55" y="70"/>
                      </a:lnTo>
                      <a:lnTo>
                        <a:pt x="54" y="66"/>
                      </a:lnTo>
                      <a:lnTo>
                        <a:pt x="55" y="65"/>
                      </a:lnTo>
                      <a:lnTo>
                        <a:pt x="57" y="65"/>
                      </a:lnTo>
                      <a:lnTo>
                        <a:pt x="58" y="67"/>
                      </a:lnTo>
                      <a:lnTo>
                        <a:pt x="57" y="71"/>
                      </a:lnTo>
                      <a:lnTo>
                        <a:pt x="57" y="74"/>
                      </a:lnTo>
                      <a:lnTo>
                        <a:pt x="57" y="76"/>
                      </a:lnTo>
                      <a:lnTo>
                        <a:pt x="58" y="78"/>
                      </a:lnTo>
                      <a:lnTo>
                        <a:pt x="61" y="77"/>
                      </a:lnTo>
                      <a:lnTo>
                        <a:pt x="63" y="75"/>
                      </a:lnTo>
                      <a:lnTo>
                        <a:pt x="64" y="75"/>
                      </a:lnTo>
                      <a:lnTo>
                        <a:pt x="64" y="76"/>
                      </a:lnTo>
                      <a:lnTo>
                        <a:pt x="63" y="78"/>
                      </a:lnTo>
                      <a:lnTo>
                        <a:pt x="61" y="79"/>
                      </a:lnTo>
                      <a:lnTo>
                        <a:pt x="58" y="82"/>
                      </a:lnTo>
                      <a:lnTo>
                        <a:pt x="54" y="82"/>
                      </a:lnTo>
                      <a:lnTo>
                        <a:pt x="50" y="84"/>
                      </a:lnTo>
                      <a:lnTo>
                        <a:pt x="49" y="86"/>
                      </a:lnTo>
                      <a:lnTo>
                        <a:pt x="50" y="87"/>
                      </a:lnTo>
                      <a:lnTo>
                        <a:pt x="47" y="89"/>
                      </a:lnTo>
                      <a:lnTo>
                        <a:pt x="44" y="92"/>
                      </a:lnTo>
                      <a:lnTo>
                        <a:pt x="43" y="95"/>
                      </a:lnTo>
                      <a:lnTo>
                        <a:pt x="42" y="94"/>
                      </a:lnTo>
                      <a:lnTo>
                        <a:pt x="40" y="96"/>
                      </a:lnTo>
                      <a:lnTo>
                        <a:pt x="39" y="99"/>
                      </a:lnTo>
                      <a:lnTo>
                        <a:pt x="37" y="99"/>
                      </a:lnTo>
                      <a:lnTo>
                        <a:pt x="37" y="96"/>
                      </a:lnTo>
                      <a:lnTo>
                        <a:pt x="37" y="96"/>
                      </a:lnTo>
                      <a:lnTo>
                        <a:pt x="34" y="96"/>
                      </a:lnTo>
                      <a:lnTo>
                        <a:pt x="33" y="97"/>
                      </a:lnTo>
                      <a:lnTo>
                        <a:pt x="33" y="100"/>
                      </a:lnTo>
                      <a:lnTo>
                        <a:pt x="32" y="100"/>
                      </a:lnTo>
                      <a:lnTo>
                        <a:pt x="33" y="106"/>
                      </a:lnTo>
                      <a:lnTo>
                        <a:pt x="33" y="110"/>
                      </a:lnTo>
                      <a:lnTo>
                        <a:pt x="34" y="111"/>
                      </a:lnTo>
                      <a:lnTo>
                        <a:pt x="36" y="110"/>
                      </a:lnTo>
                      <a:lnTo>
                        <a:pt x="38" y="110"/>
                      </a:lnTo>
                      <a:lnTo>
                        <a:pt x="41" y="109"/>
                      </a:lnTo>
                      <a:lnTo>
                        <a:pt x="42" y="108"/>
                      </a:lnTo>
                      <a:lnTo>
                        <a:pt x="44" y="108"/>
                      </a:lnTo>
                      <a:lnTo>
                        <a:pt x="46" y="108"/>
                      </a:lnTo>
                      <a:lnTo>
                        <a:pt x="48" y="105"/>
                      </a:lnTo>
                      <a:lnTo>
                        <a:pt x="49" y="104"/>
                      </a:lnTo>
                      <a:lnTo>
                        <a:pt x="50" y="103"/>
                      </a:lnTo>
                      <a:lnTo>
                        <a:pt x="52" y="103"/>
                      </a:lnTo>
                      <a:lnTo>
                        <a:pt x="53" y="105"/>
                      </a:lnTo>
                      <a:lnTo>
                        <a:pt x="54" y="104"/>
                      </a:lnTo>
                      <a:lnTo>
                        <a:pt x="60" y="104"/>
                      </a:lnTo>
                      <a:lnTo>
                        <a:pt x="61" y="103"/>
                      </a:lnTo>
                      <a:lnTo>
                        <a:pt x="63" y="101"/>
                      </a:lnTo>
                      <a:lnTo>
                        <a:pt x="64" y="102"/>
                      </a:lnTo>
                      <a:lnTo>
                        <a:pt x="64" y="103"/>
                      </a:lnTo>
                      <a:lnTo>
                        <a:pt x="63" y="105"/>
                      </a:lnTo>
                      <a:lnTo>
                        <a:pt x="63" y="107"/>
                      </a:lnTo>
                      <a:lnTo>
                        <a:pt x="62" y="107"/>
                      </a:lnTo>
                      <a:lnTo>
                        <a:pt x="61" y="107"/>
                      </a:lnTo>
                      <a:lnTo>
                        <a:pt x="59" y="107"/>
                      </a:lnTo>
                      <a:lnTo>
                        <a:pt x="56" y="107"/>
                      </a:lnTo>
                      <a:lnTo>
                        <a:pt x="54" y="109"/>
                      </a:lnTo>
                      <a:lnTo>
                        <a:pt x="49" y="111"/>
                      </a:lnTo>
                      <a:lnTo>
                        <a:pt x="47" y="111"/>
                      </a:lnTo>
                      <a:lnTo>
                        <a:pt x="44" y="112"/>
                      </a:lnTo>
                      <a:lnTo>
                        <a:pt x="44" y="114"/>
                      </a:lnTo>
                      <a:lnTo>
                        <a:pt x="47" y="114"/>
                      </a:lnTo>
                      <a:lnTo>
                        <a:pt x="51" y="115"/>
                      </a:lnTo>
                      <a:lnTo>
                        <a:pt x="53" y="115"/>
                      </a:lnTo>
                      <a:lnTo>
                        <a:pt x="56" y="117"/>
                      </a:lnTo>
                      <a:lnTo>
                        <a:pt x="55" y="119"/>
                      </a:lnTo>
                      <a:lnTo>
                        <a:pt x="51" y="120"/>
                      </a:lnTo>
                      <a:lnTo>
                        <a:pt x="48" y="120"/>
                      </a:lnTo>
                      <a:lnTo>
                        <a:pt x="47" y="119"/>
                      </a:lnTo>
                      <a:lnTo>
                        <a:pt x="45" y="118"/>
                      </a:lnTo>
                      <a:lnTo>
                        <a:pt x="44" y="120"/>
                      </a:lnTo>
                      <a:lnTo>
                        <a:pt x="44" y="120"/>
                      </a:lnTo>
                      <a:lnTo>
                        <a:pt x="42" y="118"/>
                      </a:lnTo>
                      <a:lnTo>
                        <a:pt x="40" y="116"/>
                      </a:lnTo>
                      <a:lnTo>
                        <a:pt x="40" y="116"/>
                      </a:lnTo>
                      <a:lnTo>
                        <a:pt x="36" y="118"/>
                      </a:lnTo>
                      <a:lnTo>
                        <a:pt x="36" y="119"/>
                      </a:lnTo>
                      <a:lnTo>
                        <a:pt x="37" y="121"/>
                      </a:lnTo>
                      <a:lnTo>
                        <a:pt x="37" y="123"/>
                      </a:lnTo>
                      <a:lnTo>
                        <a:pt x="37" y="125"/>
                      </a:lnTo>
                      <a:lnTo>
                        <a:pt x="37" y="125"/>
                      </a:lnTo>
                      <a:lnTo>
                        <a:pt x="37" y="127"/>
                      </a:lnTo>
                      <a:lnTo>
                        <a:pt x="37" y="128"/>
                      </a:lnTo>
                      <a:lnTo>
                        <a:pt x="40" y="130"/>
                      </a:lnTo>
                      <a:lnTo>
                        <a:pt x="40" y="131"/>
                      </a:lnTo>
                      <a:lnTo>
                        <a:pt x="40" y="133"/>
                      </a:lnTo>
                      <a:lnTo>
                        <a:pt x="41" y="132"/>
                      </a:lnTo>
                      <a:lnTo>
                        <a:pt x="43" y="134"/>
                      </a:lnTo>
                      <a:lnTo>
                        <a:pt x="43" y="136"/>
                      </a:lnTo>
                      <a:lnTo>
                        <a:pt x="44" y="138"/>
                      </a:lnTo>
                      <a:lnTo>
                        <a:pt x="45" y="138"/>
                      </a:lnTo>
                      <a:lnTo>
                        <a:pt x="47" y="138"/>
                      </a:lnTo>
                      <a:lnTo>
                        <a:pt x="48" y="141"/>
                      </a:lnTo>
                      <a:lnTo>
                        <a:pt x="49" y="141"/>
                      </a:lnTo>
                      <a:lnTo>
                        <a:pt x="50" y="144"/>
                      </a:lnTo>
                      <a:lnTo>
                        <a:pt x="52" y="146"/>
                      </a:lnTo>
                      <a:lnTo>
                        <a:pt x="55" y="145"/>
                      </a:lnTo>
                      <a:lnTo>
                        <a:pt x="57" y="143"/>
                      </a:lnTo>
                      <a:lnTo>
                        <a:pt x="57" y="143"/>
                      </a:lnTo>
                      <a:lnTo>
                        <a:pt x="58" y="145"/>
                      </a:lnTo>
                      <a:lnTo>
                        <a:pt x="60" y="144"/>
                      </a:lnTo>
                      <a:lnTo>
                        <a:pt x="61" y="145"/>
                      </a:lnTo>
                      <a:lnTo>
                        <a:pt x="61" y="147"/>
                      </a:lnTo>
                      <a:lnTo>
                        <a:pt x="60" y="148"/>
                      </a:lnTo>
                      <a:lnTo>
                        <a:pt x="58" y="148"/>
                      </a:lnTo>
                      <a:lnTo>
                        <a:pt x="56" y="151"/>
                      </a:lnTo>
                      <a:lnTo>
                        <a:pt x="56" y="152"/>
                      </a:lnTo>
                      <a:lnTo>
                        <a:pt x="61" y="158"/>
                      </a:lnTo>
                      <a:lnTo>
                        <a:pt x="61" y="158"/>
                      </a:lnTo>
                      <a:lnTo>
                        <a:pt x="63" y="160"/>
                      </a:lnTo>
                      <a:lnTo>
                        <a:pt x="62" y="165"/>
                      </a:lnTo>
                      <a:lnTo>
                        <a:pt x="63" y="167"/>
                      </a:lnTo>
                      <a:lnTo>
                        <a:pt x="64" y="166"/>
                      </a:lnTo>
                      <a:lnTo>
                        <a:pt x="64" y="165"/>
                      </a:lnTo>
                      <a:lnTo>
                        <a:pt x="66" y="165"/>
                      </a:lnTo>
                      <a:lnTo>
                        <a:pt x="68" y="166"/>
                      </a:lnTo>
                      <a:lnTo>
                        <a:pt x="69" y="166"/>
                      </a:lnTo>
                      <a:lnTo>
                        <a:pt x="71" y="163"/>
                      </a:lnTo>
                      <a:lnTo>
                        <a:pt x="71" y="159"/>
                      </a:lnTo>
                      <a:lnTo>
                        <a:pt x="72" y="158"/>
                      </a:lnTo>
                      <a:lnTo>
                        <a:pt x="72" y="156"/>
                      </a:lnTo>
                      <a:lnTo>
                        <a:pt x="71" y="152"/>
                      </a:lnTo>
                      <a:lnTo>
                        <a:pt x="71" y="148"/>
                      </a:lnTo>
                      <a:lnTo>
                        <a:pt x="72" y="146"/>
                      </a:lnTo>
                      <a:lnTo>
                        <a:pt x="73" y="144"/>
                      </a:lnTo>
                      <a:lnTo>
                        <a:pt x="73" y="133"/>
                      </a:lnTo>
                      <a:lnTo>
                        <a:pt x="74" y="130"/>
                      </a:lnTo>
                      <a:lnTo>
                        <a:pt x="74" y="127"/>
                      </a:lnTo>
                      <a:lnTo>
                        <a:pt x="75" y="125"/>
                      </a:lnTo>
                      <a:lnTo>
                        <a:pt x="76" y="124"/>
                      </a:lnTo>
                      <a:lnTo>
                        <a:pt x="73" y="123"/>
                      </a:lnTo>
                      <a:lnTo>
                        <a:pt x="75" y="120"/>
                      </a:lnTo>
                      <a:lnTo>
                        <a:pt x="78" y="120"/>
                      </a:lnTo>
                      <a:lnTo>
                        <a:pt x="80" y="120"/>
                      </a:lnTo>
                      <a:lnTo>
                        <a:pt x="80" y="117"/>
                      </a:lnTo>
                      <a:lnTo>
                        <a:pt x="80" y="113"/>
                      </a:lnTo>
                      <a:lnTo>
                        <a:pt x="81" y="109"/>
                      </a:lnTo>
                      <a:lnTo>
                        <a:pt x="81" y="106"/>
                      </a:lnTo>
                      <a:lnTo>
                        <a:pt x="78" y="101"/>
                      </a:lnTo>
                      <a:lnTo>
                        <a:pt x="79" y="98"/>
                      </a:lnTo>
                      <a:lnTo>
                        <a:pt x="80" y="96"/>
                      </a:lnTo>
                      <a:lnTo>
                        <a:pt x="82" y="98"/>
                      </a:lnTo>
                      <a:lnTo>
                        <a:pt x="84" y="96"/>
                      </a:lnTo>
                      <a:lnTo>
                        <a:pt x="83" y="94"/>
                      </a:lnTo>
                      <a:lnTo>
                        <a:pt x="83" y="90"/>
                      </a:lnTo>
                      <a:lnTo>
                        <a:pt x="84" y="88"/>
                      </a:lnTo>
                      <a:lnTo>
                        <a:pt x="83" y="82"/>
                      </a:lnTo>
                      <a:lnTo>
                        <a:pt x="82" y="78"/>
                      </a:lnTo>
                      <a:lnTo>
                        <a:pt x="83" y="76"/>
                      </a:lnTo>
                      <a:lnTo>
                        <a:pt x="86" y="72"/>
                      </a:lnTo>
                      <a:lnTo>
                        <a:pt x="86" y="71"/>
                      </a:lnTo>
                      <a:lnTo>
                        <a:pt x="85" y="69"/>
                      </a:lnTo>
                      <a:lnTo>
                        <a:pt x="86" y="68"/>
                      </a:lnTo>
                      <a:lnTo>
                        <a:pt x="89" y="67"/>
                      </a:lnTo>
                      <a:lnTo>
                        <a:pt x="92" y="64"/>
                      </a:lnTo>
                      <a:lnTo>
                        <a:pt x="95" y="64"/>
                      </a:lnTo>
                      <a:lnTo>
                        <a:pt x="97" y="62"/>
                      </a:lnTo>
                      <a:lnTo>
                        <a:pt x="99" y="65"/>
                      </a:lnTo>
                      <a:lnTo>
                        <a:pt x="100" y="65"/>
                      </a:lnTo>
                      <a:lnTo>
                        <a:pt x="100" y="63"/>
                      </a:lnTo>
                      <a:lnTo>
                        <a:pt x="101" y="61"/>
                      </a:lnTo>
                      <a:lnTo>
                        <a:pt x="101" y="57"/>
                      </a:lnTo>
                      <a:lnTo>
                        <a:pt x="99" y="57"/>
                      </a:lnTo>
                      <a:lnTo>
                        <a:pt x="93" y="55"/>
                      </a:lnTo>
                      <a:lnTo>
                        <a:pt x="90" y="53"/>
                      </a:lnTo>
                      <a:lnTo>
                        <a:pt x="86" y="48"/>
                      </a:lnTo>
                      <a:lnTo>
                        <a:pt x="85" y="46"/>
                      </a:lnTo>
                      <a:lnTo>
                        <a:pt x="82" y="41"/>
                      </a:lnTo>
                      <a:lnTo>
                        <a:pt x="80" y="41"/>
                      </a:lnTo>
                      <a:lnTo>
                        <a:pt x="77" y="41"/>
                      </a:lnTo>
                      <a:lnTo>
                        <a:pt x="75" y="38"/>
                      </a:lnTo>
                      <a:lnTo>
                        <a:pt x="75" y="36"/>
                      </a:lnTo>
                      <a:lnTo>
                        <a:pt x="74" y="28"/>
                      </a:lnTo>
                      <a:lnTo>
                        <a:pt x="71" y="22"/>
                      </a:lnTo>
                      <a:lnTo>
                        <a:pt x="68" y="18"/>
                      </a:lnTo>
                      <a:lnTo>
                        <a:pt x="66" y="20"/>
                      </a:lnTo>
                      <a:lnTo>
                        <a:pt x="65" y="24"/>
                      </a:lnTo>
                      <a:lnTo>
                        <a:pt x="66" y="30"/>
                      </a:lnTo>
                      <a:lnTo>
                        <a:pt x="66" y="34"/>
                      </a:lnTo>
                      <a:lnTo>
                        <a:pt x="64" y="36"/>
                      </a:lnTo>
                      <a:lnTo>
                        <a:pt x="63" y="35"/>
                      </a:lnTo>
                      <a:lnTo>
                        <a:pt x="64" y="34"/>
                      </a:lnTo>
                      <a:lnTo>
                        <a:pt x="64" y="29"/>
                      </a:lnTo>
                      <a:lnTo>
                        <a:pt x="64" y="22"/>
                      </a:lnTo>
                      <a:lnTo>
                        <a:pt x="64" y="20"/>
                      </a:lnTo>
                      <a:lnTo>
                        <a:pt x="64" y="17"/>
                      </a:lnTo>
                      <a:lnTo>
                        <a:pt x="63" y="13"/>
                      </a:lnTo>
                      <a:lnTo>
                        <a:pt x="61" y="8"/>
                      </a:lnTo>
                      <a:lnTo>
                        <a:pt x="58" y="6"/>
                      </a:lnTo>
                      <a:lnTo>
                        <a:pt x="57" y="7"/>
                      </a:lnTo>
                      <a:lnTo>
                        <a:pt x="55" y="10"/>
                      </a:lnTo>
                      <a:lnTo>
                        <a:pt x="54" y="9"/>
                      </a:lnTo>
                      <a:lnTo>
                        <a:pt x="53" y="5"/>
                      </a:lnTo>
                      <a:lnTo>
                        <a:pt x="51" y="1"/>
                      </a:lnTo>
                      <a:lnTo>
                        <a:pt x="50" y="0"/>
                      </a:lnTo>
                      <a:lnTo>
                        <a:pt x="48" y="1"/>
                      </a:lnTo>
                      <a:lnTo>
                        <a:pt x="46" y="4"/>
                      </a:lnTo>
                      <a:lnTo>
                        <a:pt x="47" y="10"/>
                      </a:lnTo>
                      <a:lnTo>
                        <a:pt x="45" y="13"/>
                      </a:lnTo>
                      <a:lnTo>
                        <a:pt x="46" y="16"/>
                      </a:lnTo>
                      <a:lnTo>
                        <a:pt x="45" y="19"/>
                      </a:lnTo>
                      <a:lnTo>
                        <a:pt x="46" y="20"/>
                      </a:lnTo>
                      <a:lnTo>
                        <a:pt x="47" y="22"/>
                      </a:lnTo>
                      <a:lnTo>
                        <a:pt x="47" y="32"/>
                      </a:lnTo>
                      <a:lnTo>
                        <a:pt x="47" y="37"/>
                      </a:lnTo>
                      <a:lnTo>
                        <a:pt x="48" y="41"/>
                      </a:lnTo>
                      <a:lnTo>
                        <a:pt x="51" y="45"/>
                      </a:lnTo>
                      <a:lnTo>
                        <a:pt x="51" y="48"/>
                      </a:lnTo>
                      <a:lnTo>
                        <a:pt x="54" y="52"/>
                      </a:lnTo>
                      <a:lnTo>
                        <a:pt x="53" y="55"/>
                      </a:lnTo>
                      <a:lnTo>
                        <a:pt x="51" y="55"/>
                      </a:lnTo>
                      <a:lnTo>
                        <a:pt x="50" y="54"/>
                      </a:lnTo>
                      <a:lnTo>
                        <a:pt x="48" y="48"/>
                      </a:lnTo>
                      <a:lnTo>
                        <a:pt x="46" y="45"/>
                      </a:lnTo>
                      <a:lnTo>
                        <a:pt x="45" y="45"/>
                      </a:lnTo>
                      <a:lnTo>
                        <a:pt x="43" y="47"/>
                      </a:lnTo>
                      <a:lnTo>
                        <a:pt x="42" y="46"/>
                      </a:lnTo>
                      <a:lnTo>
                        <a:pt x="41" y="45"/>
                      </a:lnTo>
                      <a:lnTo>
                        <a:pt x="44" y="42"/>
                      </a:lnTo>
                      <a:lnTo>
                        <a:pt x="44" y="41"/>
                      </a:lnTo>
                      <a:lnTo>
                        <a:pt x="44" y="38"/>
                      </a:lnTo>
                      <a:lnTo>
                        <a:pt x="42" y="31"/>
                      </a:lnTo>
                      <a:lnTo>
                        <a:pt x="42" y="24"/>
                      </a:lnTo>
                      <a:lnTo>
                        <a:pt x="42" y="22"/>
                      </a:lnTo>
                      <a:lnTo>
                        <a:pt x="39" y="20"/>
                      </a:lnTo>
                      <a:lnTo>
                        <a:pt x="36" y="16"/>
                      </a:lnTo>
                      <a:lnTo>
                        <a:pt x="35" y="15"/>
                      </a:lnTo>
                      <a:lnTo>
                        <a:pt x="33" y="17"/>
                      </a:lnTo>
                      <a:lnTo>
                        <a:pt x="33" y="20"/>
                      </a:lnTo>
                      <a:lnTo>
                        <a:pt x="30" y="25"/>
                      </a:lnTo>
                      <a:lnTo>
                        <a:pt x="30" y="29"/>
                      </a:lnTo>
                      <a:lnTo>
                        <a:pt x="30" y="33"/>
                      </a:lnTo>
                      <a:lnTo>
                        <a:pt x="31" y="37"/>
                      </a:lnTo>
                      <a:lnTo>
                        <a:pt x="32" y="41"/>
                      </a:lnTo>
                      <a:lnTo>
                        <a:pt x="31" y="41"/>
                      </a:lnTo>
                      <a:lnTo>
                        <a:pt x="30" y="39"/>
                      </a:lnTo>
                      <a:lnTo>
                        <a:pt x="29" y="35"/>
                      </a:lnTo>
                      <a:lnTo>
                        <a:pt x="29" y="33"/>
                      </a:lnTo>
                      <a:lnTo>
                        <a:pt x="28" y="32"/>
                      </a:lnTo>
                      <a:lnTo>
                        <a:pt x="26" y="30"/>
                      </a:lnTo>
                      <a:lnTo>
                        <a:pt x="26" y="30"/>
                      </a:lnTo>
                      <a:lnTo>
                        <a:pt x="25" y="31"/>
                      </a:lnTo>
                      <a:lnTo>
                        <a:pt x="23" y="30"/>
                      </a:lnTo>
                      <a:lnTo>
                        <a:pt x="24" y="28"/>
                      </a:lnTo>
                      <a:lnTo>
                        <a:pt x="26" y="26"/>
                      </a:lnTo>
                      <a:lnTo>
                        <a:pt x="26" y="25"/>
                      </a:lnTo>
                      <a:lnTo>
                        <a:pt x="25" y="24"/>
                      </a:lnTo>
                      <a:lnTo>
                        <a:pt x="22" y="26"/>
                      </a:lnTo>
                      <a:lnTo>
                        <a:pt x="19" y="27"/>
                      </a:lnTo>
                      <a:lnTo>
                        <a:pt x="18" y="26"/>
                      </a:lnTo>
                      <a:lnTo>
                        <a:pt x="19" y="24"/>
                      </a:lnTo>
                      <a:lnTo>
                        <a:pt x="20" y="24"/>
                      </a:lnTo>
                      <a:lnTo>
                        <a:pt x="20" y="22"/>
                      </a:lnTo>
                      <a:lnTo>
                        <a:pt x="23" y="20"/>
                      </a:lnTo>
                      <a:lnTo>
                        <a:pt x="25" y="19"/>
                      </a:lnTo>
                      <a:lnTo>
                        <a:pt x="26" y="20"/>
                      </a:lnTo>
                      <a:lnTo>
                        <a:pt x="27" y="20"/>
                      </a:lnTo>
                      <a:lnTo>
                        <a:pt x="29" y="18"/>
                      </a:lnTo>
                      <a:lnTo>
                        <a:pt x="30" y="16"/>
                      </a:lnTo>
                      <a:lnTo>
                        <a:pt x="27" y="12"/>
                      </a:lnTo>
                      <a:lnTo>
                        <a:pt x="26" y="10"/>
                      </a:lnTo>
                      <a:lnTo>
                        <a:pt x="23" y="11"/>
                      </a:lnTo>
                      <a:lnTo>
                        <a:pt x="17" y="17"/>
                      </a:lnTo>
                      <a:lnTo>
                        <a:pt x="16" y="17"/>
                      </a:lnTo>
                      <a:lnTo>
                        <a:pt x="14" y="17"/>
                      </a:lnTo>
                      <a:lnTo>
                        <a:pt x="14" y="14"/>
                      </a:lnTo>
                      <a:lnTo>
                        <a:pt x="12" y="13"/>
                      </a:lnTo>
                      <a:lnTo>
                        <a:pt x="11" y="14"/>
                      </a:lnTo>
                      <a:lnTo>
                        <a:pt x="11" y="17"/>
                      </a:lnTo>
                      <a:lnTo>
                        <a:pt x="14" y="21"/>
                      </a:lnTo>
                      <a:lnTo>
                        <a:pt x="13" y="23"/>
                      </a:lnTo>
                      <a:lnTo>
                        <a:pt x="11" y="23"/>
                      </a:lnTo>
                      <a:lnTo>
                        <a:pt x="10" y="20"/>
                      </a:lnTo>
                      <a:lnTo>
                        <a:pt x="9" y="15"/>
                      </a:lnTo>
                      <a:lnTo>
                        <a:pt x="6" y="15"/>
                      </a:lnTo>
                      <a:lnTo>
                        <a:pt x="4" y="18"/>
                      </a:lnTo>
                      <a:lnTo>
                        <a:pt x="4" y="22"/>
                      </a:lnTo>
                      <a:lnTo>
                        <a:pt x="5" y="24"/>
                      </a:lnTo>
                      <a:lnTo>
                        <a:pt x="5" y="27"/>
                      </a:lnTo>
                      <a:lnTo>
                        <a:pt x="4" y="27"/>
                      </a:lnTo>
                      <a:lnTo>
                        <a:pt x="2" y="29"/>
                      </a:lnTo>
                      <a:lnTo>
                        <a:pt x="0" y="30"/>
                      </a:lnTo>
                      <a:lnTo>
                        <a:pt x="0" y="33"/>
                      </a:lnTo>
                      <a:lnTo>
                        <a:pt x="1" y="37"/>
                      </a:lnTo>
                      <a:lnTo>
                        <a:pt x="2" y="4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40" name="Freeform 240">
                  <a:extLst>
                    <a:ext uri="{FF2B5EF4-FFF2-40B4-BE49-F238E27FC236}">
                      <a16:creationId xmlns:a16="http://schemas.microsoft.com/office/drawing/2014/main" id="{F9C116E6-27F2-42ED-A691-1CC082322E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82" y="901"/>
                  <a:ext cx="14" cy="12"/>
                </a:xfrm>
                <a:custGeom>
                  <a:avLst/>
                  <a:gdLst>
                    <a:gd name="T0" fmla="*/ 2 w 19"/>
                    <a:gd name="T1" fmla="*/ 16 h 16"/>
                    <a:gd name="T2" fmla="*/ 6 w 19"/>
                    <a:gd name="T3" fmla="*/ 14 h 16"/>
                    <a:gd name="T4" fmla="*/ 11 w 19"/>
                    <a:gd name="T5" fmla="*/ 9 h 16"/>
                    <a:gd name="T6" fmla="*/ 14 w 19"/>
                    <a:gd name="T7" fmla="*/ 8 h 16"/>
                    <a:gd name="T8" fmla="*/ 19 w 19"/>
                    <a:gd name="T9" fmla="*/ 4 h 16"/>
                    <a:gd name="T10" fmla="*/ 19 w 19"/>
                    <a:gd name="T11" fmla="*/ 2 h 16"/>
                    <a:gd name="T12" fmla="*/ 18 w 19"/>
                    <a:gd name="T13" fmla="*/ 0 h 16"/>
                    <a:gd name="T14" fmla="*/ 15 w 19"/>
                    <a:gd name="T15" fmla="*/ 0 h 16"/>
                    <a:gd name="T16" fmla="*/ 11 w 19"/>
                    <a:gd name="T17" fmla="*/ 2 h 16"/>
                    <a:gd name="T18" fmla="*/ 8 w 19"/>
                    <a:gd name="T19" fmla="*/ 7 h 16"/>
                    <a:gd name="T20" fmla="*/ 6 w 19"/>
                    <a:gd name="T21" fmla="*/ 9 h 16"/>
                    <a:gd name="T22" fmla="*/ 2 w 19"/>
                    <a:gd name="T23" fmla="*/ 10 h 16"/>
                    <a:gd name="T24" fmla="*/ 0 w 19"/>
                    <a:gd name="T25" fmla="*/ 13 h 16"/>
                    <a:gd name="T26" fmla="*/ 1 w 19"/>
                    <a:gd name="T27" fmla="*/ 15 h 16"/>
                    <a:gd name="T28" fmla="*/ 2 w 19"/>
                    <a:gd name="T29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9" h="16">
                      <a:moveTo>
                        <a:pt x="2" y="16"/>
                      </a:moveTo>
                      <a:cubicBezTo>
                        <a:pt x="6" y="14"/>
                        <a:pt x="6" y="14"/>
                        <a:pt x="6" y="14"/>
                      </a:cubicBezTo>
                      <a:cubicBezTo>
                        <a:pt x="11" y="9"/>
                        <a:pt x="11" y="9"/>
                        <a:pt x="11" y="9"/>
                      </a:cubicBezTo>
                      <a:cubicBezTo>
                        <a:pt x="14" y="8"/>
                        <a:pt x="14" y="8"/>
                        <a:pt x="14" y="8"/>
                      </a:cubicBezTo>
                      <a:cubicBezTo>
                        <a:pt x="19" y="4"/>
                        <a:pt x="19" y="4"/>
                        <a:pt x="19" y="4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1" y="2"/>
                        <a:pt x="11" y="2"/>
                        <a:pt x="11" y="2"/>
                      </a:cubicBezTo>
                      <a:cubicBezTo>
                        <a:pt x="8" y="7"/>
                        <a:pt x="8" y="7"/>
                        <a:pt x="8" y="7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2" y="10"/>
                        <a:pt x="2" y="10"/>
                        <a:pt x="2" y="10"/>
                      </a:cubicBezTo>
                      <a:cubicBezTo>
                        <a:pt x="2" y="10"/>
                        <a:pt x="0" y="13"/>
                        <a:pt x="0" y="13"/>
                      </a:cubicBezTo>
                      <a:cubicBezTo>
                        <a:pt x="1" y="15"/>
                        <a:pt x="1" y="15"/>
                        <a:pt x="1" y="15"/>
                      </a:cubicBezTo>
                      <a:lnTo>
                        <a:pt x="2" y="1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41" name="Freeform 241">
                  <a:extLst>
                    <a:ext uri="{FF2B5EF4-FFF2-40B4-BE49-F238E27FC236}">
                      <a16:creationId xmlns:a16="http://schemas.microsoft.com/office/drawing/2014/main" id="{55D19572-6C8C-4300-930C-5FBA86E9C1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7" y="973"/>
                  <a:ext cx="15" cy="9"/>
                </a:xfrm>
                <a:custGeom>
                  <a:avLst/>
                  <a:gdLst>
                    <a:gd name="T0" fmla="*/ 4 w 15"/>
                    <a:gd name="T1" fmla="*/ 5 h 9"/>
                    <a:gd name="T2" fmla="*/ 5 w 15"/>
                    <a:gd name="T3" fmla="*/ 5 h 9"/>
                    <a:gd name="T4" fmla="*/ 7 w 15"/>
                    <a:gd name="T5" fmla="*/ 4 h 9"/>
                    <a:gd name="T6" fmla="*/ 8 w 15"/>
                    <a:gd name="T7" fmla="*/ 4 h 9"/>
                    <a:gd name="T8" fmla="*/ 12 w 15"/>
                    <a:gd name="T9" fmla="*/ 5 h 9"/>
                    <a:gd name="T10" fmla="*/ 14 w 15"/>
                    <a:gd name="T11" fmla="*/ 4 h 9"/>
                    <a:gd name="T12" fmla="*/ 15 w 15"/>
                    <a:gd name="T13" fmla="*/ 2 h 9"/>
                    <a:gd name="T14" fmla="*/ 14 w 15"/>
                    <a:gd name="T15" fmla="*/ 2 h 9"/>
                    <a:gd name="T16" fmla="*/ 9 w 15"/>
                    <a:gd name="T17" fmla="*/ 2 h 9"/>
                    <a:gd name="T18" fmla="*/ 8 w 15"/>
                    <a:gd name="T19" fmla="*/ 0 h 9"/>
                    <a:gd name="T20" fmla="*/ 7 w 15"/>
                    <a:gd name="T21" fmla="*/ 1 h 9"/>
                    <a:gd name="T22" fmla="*/ 5 w 15"/>
                    <a:gd name="T23" fmla="*/ 1 h 9"/>
                    <a:gd name="T24" fmla="*/ 3 w 15"/>
                    <a:gd name="T25" fmla="*/ 3 h 9"/>
                    <a:gd name="T26" fmla="*/ 0 w 15"/>
                    <a:gd name="T27" fmla="*/ 9 h 9"/>
                    <a:gd name="T28" fmla="*/ 1 w 15"/>
                    <a:gd name="T29" fmla="*/ 9 h 9"/>
                    <a:gd name="T30" fmla="*/ 4 w 15"/>
                    <a:gd name="T31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5" h="9">
                      <a:moveTo>
                        <a:pt x="4" y="5"/>
                      </a:moveTo>
                      <a:lnTo>
                        <a:pt x="5" y="5"/>
                      </a:lnTo>
                      <a:lnTo>
                        <a:pt x="7" y="4"/>
                      </a:lnTo>
                      <a:lnTo>
                        <a:pt x="8" y="4"/>
                      </a:lnTo>
                      <a:lnTo>
                        <a:pt x="12" y="5"/>
                      </a:lnTo>
                      <a:lnTo>
                        <a:pt x="14" y="4"/>
                      </a:lnTo>
                      <a:lnTo>
                        <a:pt x="15" y="2"/>
                      </a:lnTo>
                      <a:lnTo>
                        <a:pt x="14" y="2"/>
                      </a:lnTo>
                      <a:lnTo>
                        <a:pt x="9" y="2"/>
                      </a:lnTo>
                      <a:lnTo>
                        <a:pt x="8" y="0"/>
                      </a:lnTo>
                      <a:lnTo>
                        <a:pt x="7" y="1"/>
                      </a:lnTo>
                      <a:lnTo>
                        <a:pt x="5" y="1"/>
                      </a:lnTo>
                      <a:lnTo>
                        <a:pt x="3" y="3"/>
                      </a:lnTo>
                      <a:lnTo>
                        <a:pt x="0" y="9"/>
                      </a:lnTo>
                      <a:lnTo>
                        <a:pt x="1" y="9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42" name="Freeform 242">
                  <a:extLst>
                    <a:ext uri="{FF2B5EF4-FFF2-40B4-BE49-F238E27FC236}">
                      <a16:creationId xmlns:a16="http://schemas.microsoft.com/office/drawing/2014/main" id="{9E6D7CF7-0B5F-41B8-BA1D-559EFD2129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86" y="1848"/>
                  <a:ext cx="78" cy="109"/>
                </a:xfrm>
                <a:custGeom>
                  <a:avLst/>
                  <a:gdLst>
                    <a:gd name="T0" fmla="*/ 65 w 78"/>
                    <a:gd name="T1" fmla="*/ 24 h 109"/>
                    <a:gd name="T2" fmla="*/ 61 w 78"/>
                    <a:gd name="T3" fmla="*/ 31 h 109"/>
                    <a:gd name="T4" fmla="*/ 52 w 78"/>
                    <a:gd name="T5" fmla="*/ 35 h 109"/>
                    <a:gd name="T6" fmla="*/ 44 w 78"/>
                    <a:gd name="T7" fmla="*/ 32 h 109"/>
                    <a:gd name="T8" fmla="*/ 34 w 78"/>
                    <a:gd name="T9" fmla="*/ 25 h 109"/>
                    <a:gd name="T10" fmla="*/ 23 w 78"/>
                    <a:gd name="T11" fmla="*/ 12 h 109"/>
                    <a:gd name="T12" fmla="*/ 13 w 78"/>
                    <a:gd name="T13" fmla="*/ 3 h 109"/>
                    <a:gd name="T14" fmla="*/ 9 w 78"/>
                    <a:gd name="T15" fmla="*/ 1 h 109"/>
                    <a:gd name="T16" fmla="*/ 6 w 78"/>
                    <a:gd name="T17" fmla="*/ 4 h 109"/>
                    <a:gd name="T18" fmla="*/ 13 w 78"/>
                    <a:gd name="T19" fmla="*/ 20 h 109"/>
                    <a:gd name="T20" fmla="*/ 13 w 78"/>
                    <a:gd name="T21" fmla="*/ 32 h 109"/>
                    <a:gd name="T22" fmla="*/ 16 w 78"/>
                    <a:gd name="T23" fmla="*/ 42 h 109"/>
                    <a:gd name="T24" fmla="*/ 13 w 78"/>
                    <a:gd name="T25" fmla="*/ 48 h 109"/>
                    <a:gd name="T26" fmla="*/ 16 w 78"/>
                    <a:gd name="T27" fmla="*/ 54 h 109"/>
                    <a:gd name="T28" fmla="*/ 16 w 78"/>
                    <a:gd name="T29" fmla="*/ 60 h 109"/>
                    <a:gd name="T30" fmla="*/ 6 w 78"/>
                    <a:gd name="T31" fmla="*/ 58 h 109"/>
                    <a:gd name="T32" fmla="*/ 3 w 78"/>
                    <a:gd name="T33" fmla="*/ 62 h 109"/>
                    <a:gd name="T34" fmla="*/ 7 w 78"/>
                    <a:gd name="T35" fmla="*/ 66 h 109"/>
                    <a:gd name="T36" fmla="*/ 3 w 78"/>
                    <a:gd name="T37" fmla="*/ 72 h 109"/>
                    <a:gd name="T38" fmla="*/ 0 w 78"/>
                    <a:gd name="T39" fmla="*/ 77 h 109"/>
                    <a:gd name="T40" fmla="*/ 1 w 78"/>
                    <a:gd name="T41" fmla="*/ 87 h 109"/>
                    <a:gd name="T42" fmla="*/ 7 w 78"/>
                    <a:gd name="T43" fmla="*/ 92 h 109"/>
                    <a:gd name="T44" fmla="*/ 9 w 78"/>
                    <a:gd name="T45" fmla="*/ 104 h 109"/>
                    <a:gd name="T46" fmla="*/ 16 w 78"/>
                    <a:gd name="T47" fmla="*/ 104 h 109"/>
                    <a:gd name="T48" fmla="*/ 18 w 78"/>
                    <a:gd name="T49" fmla="*/ 98 h 109"/>
                    <a:gd name="T50" fmla="*/ 24 w 78"/>
                    <a:gd name="T51" fmla="*/ 97 h 109"/>
                    <a:gd name="T52" fmla="*/ 22 w 78"/>
                    <a:gd name="T53" fmla="*/ 92 h 109"/>
                    <a:gd name="T54" fmla="*/ 13 w 78"/>
                    <a:gd name="T55" fmla="*/ 87 h 109"/>
                    <a:gd name="T56" fmla="*/ 9 w 78"/>
                    <a:gd name="T57" fmla="*/ 80 h 109"/>
                    <a:gd name="T58" fmla="*/ 16 w 78"/>
                    <a:gd name="T59" fmla="*/ 80 h 109"/>
                    <a:gd name="T60" fmla="*/ 23 w 78"/>
                    <a:gd name="T61" fmla="*/ 73 h 109"/>
                    <a:gd name="T62" fmla="*/ 30 w 78"/>
                    <a:gd name="T63" fmla="*/ 75 h 109"/>
                    <a:gd name="T64" fmla="*/ 38 w 78"/>
                    <a:gd name="T65" fmla="*/ 82 h 109"/>
                    <a:gd name="T66" fmla="*/ 48 w 78"/>
                    <a:gd name="T67" fmla="*/ 88 h 109"/>
                    <a:gd name="T68" fmla="*/ 51 w 78"/>
                    <a:gd name="T69" fmla="*/ 84 h 109"/>
                    <a:gd name="T70" fmla="*/ 52 w 78"/>
                    <a:gd name="T71" fmla="*/ 68 h 109"/>
                    <a:gd name="T72" fmla="*/ 61 w 78"/>
                    <a:gd name="T73" fmla="*/ 62 h 109"/>
                    <a:gd name="T74" fmla="*/ 67 w 78"/>
                    <a:gd name="T75" fmla="*/ 58 h 109"/>
                    <a:gd name="T76" fmla="*/ 71 w 78"/>
                    <a:gd name="T77" fmla="*/ 57 h 109"/>
                    <a:gd name="T78" fmla="*/ 75 w 78"/>
                    <a:gd name="T79" fmla="*/ 52 h 109"/>
                    <a:gd name="T80" fmla="*/ 78 w 78"/>
                    <a:gd name="T81" fmla="*/ 45 h 109"/>
                    <a:gd name="T82" fmla="*/ 72 w 78"/>
                    <a:gd name="T83" fmla="*/ 50 h 109"/>
                    <a:gd name="T84" fmla="*/ 71 w 78"/>
                    <a:gd name="T85" fmla="*/ 45 h 109"/>
                    <a:gd name="T86" fmla="*/ 64 w 78"/>
                    <a:gd name="T87" fmla="*/ 38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78" h="109">
                      <a:moveTo>
                        <a:pt x="65" y="28"/>
                      </a:moveTo>
                      <a:lnTo>
                        <a:pt x="65" y="25"/>
                      </a:lnTo>
                      <a:lnTo>
                        <a:pt x="65" y="24"/>
                      </a:lnTo>
                      <a:lnTo>
                        <a:pt x="64" y="25"/>
                      </a:lnTo>
                      <a:lnTo>
                        <a:pt x="64" y="28"/>
                      </a:lnTo>
                      <a:lnTo>
                        <a:pt x="61" y="31"/>
                      </a:lnTo>
                      <a:lnTo>
                        <a:pt x="57" y="35"/>
                      </a:lnTo>
                      <a:lnTo>
                        <a:pt x="53" y="36"/>
                      </a:lnTo>
                      <a:lnTo>
                        <a:pt x="52" y="35"/>
                      </a:lnTo>
                      <a:lnTo>
                        <a:pt x="50" y="35"/>
                      </a:lnTo>
                      <a:lnTo>
                        <a:pt x="47" y="32"/>
                      </a:lnTo>
                      <a:lnTo>
                        <a:pt x="44" y="32"/>
                      </a:lnTo>
                      <a:lnTo>
                        <a:pt x="40" y="29"/>
                      </a:lnTo>
                      <a:lnTo>
                        <a:pt x="37" y="26"/>
                      </a:lnTo>
                      <a:lnTo>
                        <a:pt x="34" y="25"/>
                      </a:lnTo>
                      <a:lnTo>
                        <a:pt x="33" y="23"/>
                      </a:lnTo>
                      <a:lnTo>
                        <a:pt x="30" y="20"/>
                      </a:lnTo>
                      <a:lnTo>
                        <a:pt x="23" y="12"/>
                      </a:lnTo>
                      <a:lnTo>
                        <a:pt x="21" y="8"/>
                      </a:lnTo>
                      <a:lnTo>
                        <a:pt x="17" y="7"/>
                      </a:lnTo>
                      <a:lnTo>
                        <a:pt x="13" y="3"/>
                      </a:lnTo>
                      <a:lnTo>
                        <a:pt x="12" y="0"/>
                      </a:lnTo>
                      <a:lnTo>
                        <a:pt x="9" y="0"/>
                      </a:lnTo>
                      <a:lnTo>
                        <a:pt x="9" y="1"/>
                      </a:lnTo>
                      <a:lnTo>
                        <a:pt x="7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7"/>
                      </a:lnTo>
                      <a:lnTo>
                        <a:pt x="7" y="10"/>
                      </a:lnTo>
                      <a:lnTo>
                        <a:pt x="13" y="20"/>
                      </a:lnTo>
                      <a:lnTo>
                        <a:pt x="13" y="24"/>
                      </a:lnTo>
                      <a:lnTo>
                        <a:pt x="14" y="30"/>
                      </a:lnTo>
                      <a:lnTo>
                        <a:pt x="13" y="32"/>
                      </a:lnTo>
                      <a:lnTo>
                        <a:pt x="15" y="38"/>
                      </a:lnTo>
                      <a:lnTo>
                        <a:pt x="16" y="41"/>
                      </a:lnTo>
                      <a:lnTo>
                        <a:pt x="16" y="42"/>
                      </a:lnTo>
                      <a:lnTo>
                        <a:pt x="14" y="42"/>
                      </a:lnTo>
                      <a:lnTo>
                        <a:pt x="12" y="45"/>
                      </a:lnTo>
                      <a:lnTo>
                        <a:pt x="13" y="48"/>
                      </a:lnTo>
                      <a:lnTo>
                        <a:pt x="15" y="52"/>
                      </a:lnTo>
                      <a:lnTo>
                        <a:pt x="15" y="53"/>
                      </a:lnTo>
                      <a:lnTo>
                        <a:pt x="16" y="54"/>
                      </a:lnTo>
                      <a:lnTo>
                        <a:pt x="17" y="56"/>
                      </a:lnTo>
                      <a:lnTo>
                        <a:pt x="16" y="58"/>
                      </a:lnTo>
                      <a:lnTo>
                        <a:pt x="16" y="60"/>
                      </a:lnTo>
                      <a:lnTo>
                        <a:pt x="15" y="62"/>
                      </a:lnTo>
                      <a:lnTo>
                        <a:pt x="9" y="61"/>
                      </a:lnTo>
                      <a:lnTo>
                        <a:pt x="6" y="58"/>
                      </a:lnTo>
                      <a:lnTo>
                        <a:pt x="3" y="59"/>
                      </a:lnTo>
                      <a:lnTo>
                        <a:pt x="2" y="61"/>
                      </a:lnTo>
                      <a:lnTo>
                        <a:pt x="3" y="62"/>
                      </a:lnTo>
                      <a:lnTo>
                        <a:pt x="4" y="62"/>
                      </a:lnTo>
                      <a:lnTo>
                        <a:pt x="7" y="65"/>
                      </a:lnTo>
                      <a:lnTo>
                        <a:pt x="7" y="66"/>
                      </a:lnTo>
                      <a:lnTo>
                        <a:pt x="6" y="68"/>
                      </a:lnTo>
                      <a:lnTo>
                        <a:pt x="5" y="71"/>
                      </a:lnTo>
                      <a:lnTo>
                        <a:pt x="3" y="72"/>
                      </a:lnTo>
                      <a:lnTo>
                        <a:pt x="2" y="73"/>
                      </a:lnTo>
                      <a:lnTo>
                        <a:pt x="1" y="74"/>
                      </a:lnTo>
                      <a:lnTo>
                        <a:pt x="0" y="77"/>
                      </a:lnTo>
                      <a:lnTo>
                        <a:pt x="1" y="80"/>
                      </a:lnTo>
                      <a:lnTo>
                        <a:pt x="0" y="85"/>
                      </a:lnTo>
                      <a:lnTo>
                        <a:pt x="1" y="87"/>
                      </a:lnTo>
                      <a:lnTo>
                        <a:pt x="2" y="87"/>
                      </a:lnTo>
                      <a:lnTo>
                        <a:pt x="5" y="90"/>
                      </a:lnTo>
                      <a:lnTo>
                        <a:pt x="7" y="92"/>
                      </a:lnTo>
                      <a:lnTo>
                        <a:pt x="9" y="97"/>
                      </a:lnTo>
                      <a:lnTo>
                        <a:pt x="9" y="104"/>
                      </a:lnTo>
                      <a:lnTo>
                        <a:pt x="9" y="104"/>
                      </a:lnTo>
                      <a:lnTo>
                        <a:pt x="10" y="107"/>
                      </a:lnTo>
                      <a:lnTo>
                        <a:pt x="13" y="109"/>
                      </a:lnTo>
                      <a:lnTo>
                        <a:pt x="16" y="104"/>
                      </a:lnTo>
                      <a:lnTo>
                        <a:pt x="16" y="102"/>
                      </a:lnTo>
                      <a:lnTo>
                        <a:pt x="16" y="99"/>
                      </a:lnTo>
                      <a:lnTo>
                        <a:pt x="18" y="98"/>
                      </a:lnTo>
                      <a:lnTo>
                        <a:pt x="22" y="98"/>
                      </a:lnTo>
                      <a:lnTo>
                        <a:pt x="23" y="100"/>
                      </a:lnTo>
                      <a:lnTo>
                        <a:pt x="24" y="97"/>
                      </a:lnTo>
                      <a:lnTo>
                        <a:pt x="27" y="94"/>
                      </a:lnTo>
                      <a:lnTo>
                        <a:pt x="25" y="92"/>
                      </a:lnTo>
                      <a:lnTo>
                        <a:pt x="22" y="92"/>
                      </a:lnTo>
                      <a:lnTo>
                        <a:pt x="19" y="91"/>
                      </a:lnTo>
                      <a:lnTo>
                        <a:pt x="16" y="86"/>
                      </a:lnTo>
                      <a:lnTo>
                        <a:pt x="13" y="87"/>
                      </a:lnTo>
                      <a:lnTo>
                        <a:pt x="9" y="86"/>
                      </a:lnTo>
                      <a:lnTo>
                        <a:pt x="9" y="83"/>
                      </a:lnTo>
                      <a:lnTo>
                        <a:pt x="9" y="80"/>
                      </a:lnTo>
                      <a:lnTo>
                        <a:pt x="10" y="77"/>
                      </a:lnTo>
                      <a:lnTo>
                        <a:pt x="12" y="77"/>
                      </a:lnTo>
                      <a:lnTo>
                        <a:pt x="16" y="80"/>
                      </a:lnTo>
                      <a:lnTo>
                        <a:pt x="17" y="81"/>
                      </a:lnTo>
                      <a:lnTo>
                        <a:pt x="20" y="76"/>
                      </a:lnTo>
                      <a:lnTo>
                        <a:pt x="23" y="73"/>
                      </a:lnTo>
                      <a:lnTo>
                        <a:pt x="27" y="73"/>
                      </a:lnTo>
                      <a:lnTo>
                        <a:pt x="27" y="74"/>
                      </a:lnTo>
                      <a:lnTo>
                        <a:pt x="30" y="75"/>
                      </a:lnTo>
                      <a:lnTo>
                        <a:pt x="32" y="74"/>
                      </a:lnTo>
                      <a:lnTo>
                        <a:pt x="34" y="78"/>
                      </a:lnTo>
                      <a:lnTo>
                        <a:pt x="38" y="82"/>
                      </a:lnTo>
                      <a:lnTo>
                        <a:pt x="43" y="84"/>
                      </a:lnTo>
                      <a:lnTo>
                        <a:pt x="47" y="86"/>
                      </a:lnTo>
                      <a:lnTo>
                        <a:pt x="48" y="88"/>
                      </a:lnTo>
                      <a:lnTo>
                        <a:pt x="51" y="90"/>
                      </a:lnTo>
                      <a:lnTo>
                        <a:pt x="51" y="86"/>
                      </a:lnTo>
                      <a:lnTo>
                        <a:pt x="51" y="84"/>
                      </a:lnTo>
                      <a:lnTo>
                        <a:pt x="51" y="80"/>
                      </a:lnTo>
                      <a:lnTo>
                        <a:pt x="51" y="75"/>
                      </a:lnTo>
                      <a:lnTo>
                        <a:pt x="52" y="68"/>
                      </a:lnTo>
                      <a:lnTo>
                        <a:pt x="56" y="62"/>
                      </a:lnTo>
                      <a:lnTo>
                        <a:pt x="58" y="60"/>
                      </a:lnTo>
                      <a:lnTo>
                        <a:pt x="61" y="62"/>
                      </a:lnTo>
                      <a:lnTo>
                        <a:pt x="65" y="62"/>
                      </a:lnTo>
                      <a:lnTo>
                        <a:pt x="65" y="59"/>
                      </a:lnTo>
                      <a:lnTo>
                        <a:pt x="67" y="58"/>
                      </a:lnTo>
                      <a:lnTo>
                        <a:pt x="68" y="59"/>
                      </a:lnTo>
                      <a:lnTo>
                        <a:pt x="69" y="59"/>
                      </a:lnTo>
                      <a:lnTo>
                        <a:pt x="71" y="57"/>
                      </a:lnTo>
                      <a:lnTo>
                        <a:pt x="71" y="54"/>
                      </a:lnTo>
                      <a:lnTo>
                        <a:pt x="74" y="53"/>
                      </a:lnTo>
                      <a:lnTo>
                        <a:pt x="75" y="52"/>
                      </a:lnTo>
                      <a:lnTo>
                        <a:pt x="75" y="48"/>
                      </a:lnTo>
                      <a:lnTo>
                        <a:pt x="77" y="47"/>
                      </a:lnTo>
                      <a:lnTo>
                        <a:pt x="78" y="45"/>
                      </a:lnTo>
                      <a:lnTo>
                        <a:pt x="76" y="45"/>
                      </a:lnTo>
                      <a:lnTo>
                        <a:pt x="74" y="47"/>
                      </a:lnTo>
                      <a:lnTo>
                        <a:pt x="72" y="50"/>
                      </a:lnTo>
                      <a:lnTo>
                        <a:pt x="71" y="50"/>
                      </a:lnTo>
                      <a:lnTo>
                        <a:pt x="71" y="48"/>
                      </a:lnTo>
                      <a:lnTo>
                        <a:pt x="71" y="45"/>
                      </a:lnTo>
                      <a:lnTo>
                        <a:pt x="68" y="42"/>
                      </a:lnTo>
                      <a:lnTo>
                        <a:pt x="65" y="39"/>
                      </a:lnTo>
                      <a:lnTo>
                        <a:pt x="64" y="38"/>
                      </a:lnTo>
                      <a:lnTo>
                        <a:pt x="64" y="33"/>
                      </a:lnTo>
                      <a:lnTo>
                        <a:pt x="65" y="2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43" name="Freeform 243">
                  <a:extLst>
                    <a:ext uri="{FF2B5EF4-FFF2-40B4-BE49-F238E27FC236}">
                      <a16:creationId xmlns:a16="http://schemas.microsoft.com/office/drawing/2014/main" id="{F8EC84F3-B9C8-4D6F-B22F-EA6AABD44F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80" y="1933"/>
                  <a:ext cx="4" cy="7"/>
                </a:xfrm>
                <a:custGeom>
                  <a:avLst/>
                  <a:gdLst>
                    <a:gd name="T0" fmla="*/ 0 w 4"/>
                    <a:gd name="T1" fmla="*/ 3 h 7"/>
                    <a:gd name="T2" fmla="*/ 0 w 4"/>
                    <a:gd name="T3" fmla="*/ 5 h 7"/>
                    <a:gd name="T4" fmla="*/ 1 w 4"/>
                    <a:gd name="T5" fmla="*/ 7 h 7"/>
                    <a:gd name="T6" fmla="*/ 3 w 4"/>
                    <a:gd name="T7" fmla="*/ 6 h 7"/>
                    <a:gd name="T8" fmla="*/ 3 w 4"/>
                    <a:gd name="T9" fmla="*/ 3 h 7"/>
                    <a:gd name="T10" fmla="*/ 4 w 4"/>
                    <a:gd name="T11" fmla="*/ 0 h 7"/>
                    <a:gd name="T12" fmla="*/ 2 w 4"/>
                    <a:gd name="T13" fmla="*/ 1 h 7"/>
                    <a:gd name="T14" fmla="*/ 0 w 4"/>
                    <a:gd name="T15" fmla="*/ 3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7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1" y="7"/>
                      </a:lnTo>
                      <a:lnTo>
                        <a:pt x="3" y="6"/>
                      </a:lnTo>
                      <a:lnTo>
                        <a:pt x="3" y="3"/>
                      </a:ln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44" name="Freeform 244">
                  <a:extLst>
                    <a:ext uri="{FF2B5EF4-FFF2-40B4-BE49-F238E27FC236}">
                      <a16:creationId xmlns:a16="http://schemas.microsoft.com/office/drawing/2014/main" id="{F0EA8DAC-C5CA-4AC2-80A1-0D9CDF3876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92" y="2038"/>
                  <a:ext cx="5" cy="13"/>
                </a:xfrm>
                <a:custGeom>
                  <a:avLst/>
                  <a:gdLst>
                    <a:gd name="T0" fmla="*/ 2 w 5"/>
                    <a:gd name="T1" fmla="*/ 13 h 13"/>
                    <a:gd name="T2" fmla="*/ 3 w 5"/>
                    <a:gd name="T3" fmla="*/ 13 h 13"/>
                    <a:gd name="T4" fmla="*/ 4 w 5"/>
                    <a:gd name="T5" fmla="*/ 10 h 13"/>
                    <a:gd name="T6" fmla="*/ 5 w 5"/>
                    <a:gd name="T7" fmla="*/ 7 h 13"/>
                    <a:gd name="T8" fmla="*/ 4 w 5"/>
                    <a:gd name="T9" fmla="*/ 5 h 13"/>
                    <a:gd name="T10" fmla="*/ 3 w 5"/>
                    <a:gd name="T11" fmla="*/ 4 h 13"/>
                    <a:gd name="T12" fmla="*/ 3 w 5"/>
                    <a:gd name="T13" fmla="*/ 2 h 13"/>
                    <a:gd name="T14" fmla="*/ 3 w 5"/>
                    <a:gd name="T15" fmla="*/ 0 h 13"/>
                    <a:gd name="T16" fmla="*/ 1 w 5"/>
                    <a:gd name="T17" fmla="*/ 0 h 13"/>
                    <a:gd name="T18" fmla="*/ 0 w 5"/>
                    <a:gd name="T19" fmla="*/ 7 h 13"/>
                    <a:gd name="T20" fmla="*/ 0 w 5"/>
                    <a:gd name="T21" fmla="*/ 8 h 13"/>
                    <a:gd name="T22" fmla="*/ 2 w 5"/>
                    <a:gd name="T23" fmla="*/ 7 h 13"/>
                    <a:gd name="T24" fmla="*/ 3 w 5"/>
                    <a:gd name="T25" fmla="*/ 7 h 13"/>
                    <a:gd name="T26" fmla="*/ 2 w 5"/>
                    <a:gd name="T27" fmla="*/ 10 h 13"/>
                    <a:gd name="T28" fmla="*/ 2 w 5"/>
                    <a:gd name="T29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" h="13">
                      <a:moveTo>
                        <a:pt x="2" y="13"/>
                      </a:moveTo>
                      <a:lnTo>
                        <a:pt x="3" y="13"/>
                      </a:lnTo>
                      <a:lnTo>
                        <a:pt x="4" y="10"/>
                      </a:lnTo>
                      <a:lnTo>
                        <a:pt x="5" y="7"/>
                      </a:lnTo>
                      <a:lnTo>
                        <a:pt x="4" y="5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7"/>
                      </a:lnTo>
                      <a:lnTo>
                        <a:pt x="0" y="8"/>
                      </a:lnTo>
                      <a:lnTo>
                        <a:pt x="2" y="7"/>
                      </a:lnTo>
                      <a:lnTo>
                        <a:pt x="3" y="7"/>
                      </a:lnTo>
                      <a:lnTo>
                        <a:pt x="2" y="10"/>
                      </a:lnTo>
                      <a:lnTo>
                        <a:pt x="2" y="1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45" name="Freeform 245">
                  <a:extLst>
                    <a:ext uri="{FF2B5EF4-FFF2-40B4-BE49-F238E27FC236}">
                      <a16:creationId xmlns:a16="http://schemas.microsoft.com/office/drawing/2014/main" id="{9B83105F-B8B0-4092-ADD4-D8C8FED6B9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1" y="2130"/>
                  <a:ext cx="3" cy="8"/>
                </a:xfrm>
                <a:custGeom>
                  <a:avLst/>
                  <a:gdLst>
                    <a:gd name="T0" fmla="*/ 3 w 3"/>
                    <a:gd name="T1" fmla="*/ 0 h 8"/>
                    <a:gd name="T2" fmla="*/ 1 w 3"/>
                    <a:gd name="T3" fmla="*/ 0 h 8"/>
                    <a:gd name="T4" fmla="*/ 0 w 3"/>
                    <a:gd name="T5" fmla="*/ 1 h 8"/>
                    <a:gd name="T6" fmla="*/ 0 w 3"/>
                    <a:gd name="T7" fmla="*/ 5 h 8"/>
                    <a:gd name="T8" fmla="*/ 1 w 3"/>
                    <a:gd name="T9" fmla="*/ 8 h 8"/>
                    <a:gd name="T10" fmla="*/ 3 w 3"/>
                    <a:gd name="T11" fmla="*/ 8 h 8"/>
                    <a:gd name="T12" fmla="*/ 3 w 3"/>
                    <a:gd name="T13" fmla="*/ 5 h 8"/>
                    <a:gd name="T14" fmla="*/ 3 w 3"/>
                    <a:gd name="T15" fmla="*/ 5 h 8"/>
                    <a:gd name="T16" fmla="*/ 3 w 3"/>
                    <a:gd name="T17" fmla="*/ 1 h 8"/>
                    <a:gd name="T18" fmla="*/ 3 w 3"/>
                    <a:gd name="T1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8">
                      <a:moveTo>
                        <a:pt x="3" y="0"/>
                      </a:move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1" y="8"/>
                      </a:lnTo>
                      <a:lnTo>
                        <a:pt x="3" y="8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1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46" name="Freeform 246">
                  <a:extLst>
                    <a:ext uri="{FF2B5EF4-FFF2-40B4-BE49-F238E27FC236}">
                      <a16:creationId xmlns:a16="http://schemas.microsoft.com/office/drawing/2014/main" id="{C865E616-84A7-4086-A187-3E401DD417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0" y="2137"/>
                  <a:ext cx="33" cy="34"/>
                </a:xfrm>
                <a:custGeom>
                  <a:avLst/>
                  <a:gdLst>
                    <a:gd name="T0" fmla="*/ 21 w 33"/>
                    <a:gd name="T1" fmla="*/ 16 h 34"/>
                    <a:gd name="T2" fmla="*/ 26 w 33"/>
                    <a:gd name="T3" fmla="*/ 19 h 34"/>
                    <a:gd name="T4" fmla="*/ 27 w 33"/>
                    <a:gd name="T5" fmla="*/ 22 h 34"/>
                    <a:gd name="T6" fmla="*/ 28 w 33"/>
                    <a:gd name="T7" fmla="*/ 21 h 34"/>
                    <a:gd name="T8" fmla="*/ 30 w 33"/>
                    <a:gd name="T9" fmla="*/ 15 h 34"/>
                    <a:gd name="T10" fmla="*/ 33 w 33"/>
                    <a:gd name="T11" fmla="*/ 11 h 34"/>
                    <a:gd name="T12" fmla="*/ 33 w 33"/>
                    <a:gd name="T13" fmla="*/ 9 h 34"/>
                    <a:gd name="T14" fmla="*/ 32 w 33"/>
                    <a:gd name="T15" fmla="*/ 8 h 34"/>
                    <a:gd name="T16" fmla="*/ 31 w 33"/>
                    <a:gd name="T17" fmla="*/ 5 h 34"/>
                    <a:gd name="T18" fmla="*/ 28 w 33"/>
                    <a:gd name="T19" fmla="*/ 2 h 34"/>
                    <a:gd name="T20" fmla="*/ 27 w 33"/>
                    <a:gd name="T21" fmla="*/ 2 h 34"/>
                    <a:gd name="T22" fmla="*/ 24 w 33"/>
                    <a:gd name="T23" fmla="*/ 1 h 34"/>
                    <a:gd name="T24" fmla="*/ 20 w 33"/>
                    <a:gd name="T25" fmla="*/ 0 h 34"/>
                    <a:gd name="T26" fmla="*/ 17 w 33"/>
                    <a:gd name="T27" fmla="*/ 4 h 34"/>
                    <a:gd name="T28" fmla="*/ 17 w 33"/>
                    <a:gd name="T29" fmla="*/ 6 h 34"/>
                    <a:gd name="T30" fmla="*/ 16 w 33"/>
                    <a:gd name="T31" fmla="*/ 8 h 34"/>
                    <a:gd name="T32" fmla="*/ 13 w 33"/>
                    <a:gd name="T33" fmla="*/ 9 h 34"/>
                    <a:gd name="T34" fmla="*/ 11 w 33"/>
                    <a:gd name="T35" fmla="*/ 11 h 34"/>
                    <a:gd name="T36" fmla="*/ 10 w 33"/>
                    <a:gd name="T37" fmla="*/ 11 h 34"/>
                    <a:gd name="T38" fmla="*/ 8 w 33"/>
                    <a:gd name="T39" fmla="*/ 6 h 34"/>
                    <a:gd name="T40" fmla="*/ 6 w 33"/>
                    <a:gd name="T41" fmla="*/ 6 h 34"/>
                    <a:gd name="T42" fmla="*/ 3 w 33"/>
                    <a:gd name="T43" fmla="*/ 11 h 34"/>
                    <a:gd name="T44" fmla="*/ 3 w 33"/>
                    <a:gd name="T45" fmla="*/ 15 h 34"/>
                    <a:gd name="T46" fmla="*/ 0 w 33"/>
                    <a:gd name="T47" fmla="*/ 16 h 34"/>
                    <a:gd name="T48" fmla="*/ 0 w 33"/>
                    <a:gd name="T49" fmla="*/ 20 h 34"/>
                    <a:gd name="T50" fmla="*/ 4 w 33"/>
                    <a:gd name="T51" fmla="*/ 21 h 34"/>
                    <a:gd name="T52" fmla="*/ 5 w 33"/>
                    <a:gd name="T53" fmla="*/ 24 h 34"/>
                    <a:gd name="T54" fmla="*/ 4 w 33"/>
                    <a:gd name="T55" fmla="*/ 25 h 34"/>
                    <a:gd name="T56" fmla="*/ 4 w 33"/>
                    <a:gd name="T57" fmla="*/ 27 h 34"/>
                    <a:gd name="T58" fmla="*/ 6 w 33"/>
                    <a:gd name="T59" fmla="*/ 31 h 34"/>
                    <a:gd name="T60" fmla="*/ 10 w 33"/>
                    <a:gd name="T61" fmla="*/ 32 h 34"/>
                    <a:gd name="T62" fmla="*/ 10 w 33"/>
                    <a:gd name="T63" fmla="*/ 33 h 34"/>
                    <a:gd name="T64" fmla="*/ 10 w 33"/>
                    <a:gd name="T65" fmla="*/ 34 h 34"/>
                    <a:gd name="T66" fmla="*/ 11 w 33"/>
                    <a:gd name="T67" fmla="*/ 33 h 34"/>
                    <a:gd name="T68" fmla="*/ 13 w 33"/>
                    <a:gd name="T69" fmla="*/ 34 h 34"/>
                    <a:gd name="T70" fmla="*/ 14 w 33"/>
                    <a:gd name="T71" fmla="*/ 33 h 34"/>
                    <a:gd name="T72" fmla="*/ 14 w 33"/>
                    <a:gd name="T73" fmla="*/ 31 h 34"/>
                    <a:gd name="T74" fmla="*/ 12 w 33"/>
                    <a:gd name="T75" fmla="*/ 28 h 34"/>
                    <a:gd name="T76" fmla="*/ 13 w 33"/>
                    <a:gd name="T77" fmla="*/ 25 h 34"/>
                    <a:gd name="T78" fmla="*/ 14 w 33"/>
                    <a:gd name="T79" fmla="*/ 20 h 34"/>
                    <a:gd name="T80" fmla="*/ 17 w 33"/>
                    <a:gd name="T81" fmla="*/ 18 h 34"/>
                    <a:gd name="T82" fmla="*/ 18 w 33"/>
                    <a:gd name="T83" fmla="*/ 15 h 34"/>
                    <a:gd name="T84" fmla="*/ 21 w 33"/>
                    <a:gd name="T85" fmla="*/ 16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33" h="34">
                      <a:moveTo>
                        <a:pt x="21" y="16"/>
                      </a:moveTo>
                      <a:lnTo>
                        <a:pt x="26" y="19"/>
                      </a:lnTo>
                      <a:lnTo>
                        <a:pt x="27" y="22"/>
                      </a:lnTo>
                      <a:lnTo>
                        <a:pt x="28" y="21"/>
                      </a:lnTo>
                      <a:lnTo>
                        <a:pt x="30" y="15"/>
                      </a:lnTo>
                      <a:lnTo>
                        <a:pt x="33" y="11"/>
                      </a:lnTo>
                      <a:lnTo>
                        <a:pt x="33" y="9"/>
                      </a:lnTo>
                      <a:lnTo>
                        <a:pt x="32" y="8"/>
                      </a:lnTo>
                      <a:lnTo>
                        <a:pt x="31" y="5"/>
                      </a:lnTo>
                      <a:lnTo>
                        <a:pt x="28" y="2"/>
                      </a:lnTo>
                      <a:lnTo>
                        <a:pt x="27" y="2"/>
                      </a:lnTo>
                      <a:lnTo>
                        <a:pt x="24" y="1"/>
                      </a:lnTo>
                      <a:lnTo>
                        <a:pt x="20" y="0"/>
                      </a:lnTo>
                      <a:lnTo>
                        <a:pt x="17" y="4"/>
                      </a:lnTo>
                      <a:lnTo>
                        <a:pt x="17" y="6"/>
                      </a:lnTo>
                      <a:lnTo>
                        <a:pt x="16" y="8"/>
                      </a:lnTo>
                      <a:lnTo>
                        <a:pt x="13" y="9"/>
                      </a:lnTo>
                      <a:lnTo>
                        <a:pt x="11" y="11"/>
                      </a:lnTo>
                      <a:lnTo>
                        <a:pt x="10" y="11"/>
                      </a:lnTo>
                      <a:lnTo>
                        <a:pt x="8" y="6"/>
                      </a:lnTo>
                      <a:lnTo>
                        <a:pt x="6" y="6"/>
                      </a:lnTo>
                      <a:lnTo>
                        <a:pt x="3" y="11"/>
                      </a:lnTo>
                      <a:lnTo>
                        <a:pt x="3" y="15"/>
                      </a:lnTo>
                      <a:lnTo>
                        <a:pt x="0" y="16"/>
                      </a:lnTo>
                      <a:lnTo>
                        <a:pt x="0" y="20"/>
                      </a:lnTo>
                      <a:lnTo>
                        <a:pt x="4" y="21"/>
                      </a:lnTo>
                      <a:lnTo>
                        <a:pt x="5" y="24"/>
                      </a:lnTo>
                      <a:lnTo>
                        <a:pt x="4" y="25"/>
                      </a:lnTo>
                      <a:lnTo>
                        <a:pt x="4" y="27"/>
                      </a:lnTo>
                      <a:lnTo>
                        <a:pt x="6" y="31"/>
                      </a:lnTo>
                      <a:lnTo>
                        <a:pt x="10" y="32"/>
                      </a:lnTo>
                      <a:lnTo>
                        <a:pt x="10" y="33"/>
                      </a:lnTo>
                      <a:lnTo>
                        <a:pt x="10" y="34"/>
                      </a:lnTo>
                      <a:lnTo>
                        <a:pt x="11" y="33"/>
                      </a:lnTo>
                      <a:lnTo>
                        <a:pt x="13" y="34"/>
                      </a:lnTo>
                      <a:lnTo>
                        <a:pt x="14" y="33"/>
                      </a:lnTo>
                      <a:lnTo>
                        <a:pt x="14" y="31"/>
                      </a:lnTo>
                      <a:lnTo>
                        <a:pt x="12" y="28"/>
                      </a:lnTo>
                      <a:lnTo>
                        <a:pt x="13" y="25"/>
                      </a:lnTo>
                      <a:lnTo>
                        <a:pt x="14" y="20"/>
                      </a:lnTo>
                      <a:lnTo>
                        <a:pt x="17" y="18"/>
                      </a:lnTo>
                      <a:lnTo>
                        <a:pt x="18" y="15"/>
                      </a:lnTo>
                      <a:lnTo>
                        <a:pt x="21" y="1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47" name="Freeform 247">
                  <a:extLst>
                    <a:ext uri="{FF2B5EF4-FFF2-40B4-BE49-F238E27FC236}">
                      <a16:creationId xmlns:a16="http://schemas.microsoft.com/office/drawing/2014/main" id="{406EF3A9-A950-4FCE-B20A-24072A57E4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52" y="2132"/>
                  <a:ext cx="4" cy="3"/>
                </a:xfrm>
                <a:custGeom>
                  <a:avLst/>
                  <a:gdLst>
                    <a:gd name="T0" fmla="*/ 4 w 4"/>
                    <a:gd name="T1" fmla="*/ 1 h 3"/>
                    <a:gd name="T2" fmla="*/ 2 w 4"/>
                    <a:gd name="T3" fmla="*/ 0 h 3"/>
                    <a:gd name="T4" fmla="*/ 0 w 4"/>
                    <a:gd name="T5" fmla="*/ 3 h 3"/>
                    <a:gd name="T6" fmla="*/ 2 w 4"/>
                    <a:gd name="T7" fmla="*/ 3 h 3"/>
                    <a:gd name="T8" fmla="*/ 4 w 4"/>
                    <a:gd name="T9" fmla="*/ 3 h 3"/>
                    <a:gd name="T10" fmla="*/ 4 w 4"/>
                    <a:gd name="T11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3">
                      <a:moveTo>
                        <a:pt x="4" y="1"/>
                      </a:move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48" name="Freeform 248">
                  <a:extLst>
                    <a:ext uri="{FF2B5EF4-FFF2-40B4-BE49-F238E27FC236}">
                      <a16:creationId xmlns:a16="http://schemas.microsoft.com/office/drawing/2014/main" id="{12379425-4AE2-4640-AEE9-8454FC5AA1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17" y="2225"/>
                  <a:ext cx="5" cy="7"/>
                </a:xfrm>
                <a:custGeom>
                  <a:avLst/>
                  <a:gdLst>
                    <a:gd name="T0" fmla="*/ 4 w 5"/>
                    <a:gd name="T1" fmla="*/ 7 h 7"/>
                    <a:gd name="T2" fmla="*/ 5 w 5"/>
                    <a:gd name="T3" fmla="*/ 6 h 7"/>
                    <a:gd name="T4" fmla="*/ 4 w 5"/>
                    <a:gd name="T5" fmla="*/ 3 h 7"/>
                    <a:gd name="T6" fmla="*/ 2 w 5"/>
                    <a:gd name="T7" fmla="*/ 0 h 7"/>
                    <a:gd name="T8" fmla="*/ 0 w 5"/>
                    <a:gd name="T9" fmla="*/ 1 h 7"/>
                    <a:gd name="T10" fmla="*/ 0 w 5"/>
                    <a:gd name="T11" fmla="*/ 3 h 7"/>
                    <a:gd name="T12" fmla="*/ 2 w 5"/>
                    <a:gd name="T13" fmla="*/ 6 h 7"/>
                    <a:gd name="T14" fmla="*/ 4 w 5"/>
                    <a:gd name="T15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7">
                      <a:moveTo>
                        <a:pt x="4" y="7"/>
                      </a:moveTo>
                      <a:lnTo>
                        <a:pt x="5" y="6"/>
                      </a:lnTo>
                      <a:lnTo>
                        <a:pt x="4" y="3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2" y="6"/>
                      </a:lnTo>
                      <a:lnTo>
                        <a:pt x="4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49" name="Freeform 249">
                  <a:extLst>
                    <a:ext uri="{FF2B5EF4-FFF2-40B4-BE49-F238E27FC236}">
                      <a16:creationId xmlns:a16="http://schemas.microsoft.com/office/drawing/2014/main" id="{077C119F-899D-4A37-85B5-02E2185C69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9" y="2095"/>
                  <a:ext cx="2" cy="2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2 h 2"/>
                    <a:gd name="T4" fmla="*/ 1 w 2"/>
                    <a:gd name="T5" fmla="*/ 2 h 2"/>
                    <a:gd name="T6" fmla="*/ 2 w 2"/>
                    <a:gd name="T7" fmla="*/ 2 h 2"/>
                    <a:gd name="T8" fmla="*/ 0 w 2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50" name="Freeform 250">
                  <a:extLst>
                    <a:ext uri="{FF2B5EF4-FFF2-40B4-BE49-F238E27FC236}">
                      <a16:creationId xmlns:a16="http://schemas.microsoft.com/office/drawing/2014/main" id="{32DF610A-7441-4007-8B03-7D9F19E863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5" y="2172"/>
                  <a:ext cx="3" cy="1"/>
                </a:xfrm>
                <a:custGeom>
                  <a:avLst/>
                  <a:gdLst>
                    <a:gd name="T0" fmla="*/ 1 w 3"/>
                    <a:gd name="T1" fmla="*/ 1 h 1"/>
                    <a:gd name="T2" fmla="*/ 3 w 3"/>
                    <a:gd name="T3" fmla="*/ 1 h 1"/>
                    <a:gd name="T4" fmla="*/ 0 w 3"/>
                    <a:gd name="T5" fmla="*/ 0 h 1"/>
                    <a:gd name="T6" fmla="*/ 1 w 3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1" y="1"/>
                      </a:moveTo>
                      <a:lnTo>
                        <a:pt x="3" y="1"/>
                      </a:lnTo>
                      <a:lnTo>
                        <a:pt x="0" y="0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51" name="Freeform 251">
                  <a:extLst>
                    <a:ext uri="{FF2B5EF4-FFF2-40B4-BE49-F238E27FC236}">
                      <a16:creationId xmlns:a16="http://schemas.microsoft.com/office/drawing/2014/main" id="{05F45E26-25F9-474B-A6E4-67DE771A5C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0" y="2360"/>
                  <a:ext cx="3" cy="3"/>
                </a:xfrm>
                <a:custGeom>
                  <a:avLst/>
                  <a:gdLst>
                    <a:gd name="T0" fmla="*/ 3 w 3"/>
                    <a:gd name="T1" fmla="*/ 3 h 3"/>
                    <a:gd name="T2" fmla="*/ 3 w 3"/>
                    <a:gd name="T3" fmla="*/ 2 h 3"/>
                    <a:gd name="T4" fmla="*/ 3 w 3"/>
                    <a:gd name="T5" fmla="*/ 0 h 3"/>
                    <a:gd name="T6" fmla="*/ 1 w 3"/>
                    <a:gd name="T7" fmla="*/ 0 h 3"/>
                    <a:gd name="T8" fmla="*/ 0 w 3"/>
                    <a:gd name="T9" fmla="*/ 3 h 3"/>
                    <a:gd name="T10" fmla="*/ 3 w 3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52" name="Freeform 252">
                  <a:extLst>
                    <a:ext uri="{FF2B5EF4-FFF2-40B4-BE49-F238E27FC236}">
                      <a16:creationId xmlns:a16="http://schemas.microsoft.com/office/drawing/2014/main" id="{A18A31DE-A521-40E7-B785-DF549F3DDD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05" y="2179"/>
                  <a:ext cx="1" cy="4"/>
                </a:xfrm>
                <a:custGeom>
                  <a:avLst/>
                  <a:gdLst>
                    <a:gd name="T0" fmla="*/ 1 w 1"/>
                    <a:gd name="T1" fmla="*/ 1 h 4"/>
                    <a:gd name="T2" fmla="*/ 0 w 1"/>
                    <a:gd name="T3" fmla="*/ 0 h 4"/>
                    <a:gd name="T4" fmla="*/ 0 w 1"/>
                    <a:gd name="T5" fmla="*/ 1 h 4"/>
                    <a:gd name="T6" fmla="*/ 0 w 1"/>
                    <a:gd name="T7" fmla="*/ 4 h 4"/>
                    <a:gd name="T8" fmla="*/ 1 w 1"/>
                    <a:gd name="T9" fmla="*/ 3 h 4"/>
                    <a:gd name="T10" fmla="*/ 1 w 1"/>
                    <a:gd name="T11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4">
                      <a:moveTo>
                        <a:pt x="1" y="1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1" y="3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53" name="Freeform 253">
                  <a:extLst>
                    <a:ext uri="{FF2B5EF4-FFF2-40B4-BE49-F238E27FC236}">
                      <a16:creationId xmlns:a16="http://schemas.microsoft.com/office/drawing/2014/main" id="{1A88D711-D2DD-4D82-8403-BD98063B74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6" y="2358"/>
                  <a:ext cx="2" cy="4"/>
                </a:xfrm>
                <a:custGeom>
                  <a:avLst/>
                  <a:gdLst>
                    <a:gd name="T0" fmla="*/ 0 w 2"/>
                    <a:gd name="T1" fmla="*/ 4 h 4"/>
                    <a:gd name="T2" fmla="*/ 1 w 2"/>
                    <a:gd name="T3" fmla="*/ 4 h 4"/>
                    <a:gd name="T4" fmla="*/ 2 w 2"/>
                    <a:gd name="T5" fmla="*/ 1 h 4"/>
                    <a:gd name="T6" fmla="*/ 1 w 2"/>
                    <a:gd name="T7" fmla="*/ 0 h 4"/>
                    <a:gd name="T8" fmla="*/ 0 w 2"/>
                    <a:gd name="T9" fmla="*/ 1 h 4"/>
                    <a:gd name="T10" fmla="*/ 0 w 2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4">
                      <a:moveTo>
                        <a:pt x="0" y="4"/>
                      </a:moveTo>
                      <a:lnTo>
                        <a:pt x="1" y="4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54" name="Freeform 254">
                  <a:extLst>
                    <a:ext uri="{FF2B5EF4-FFF2-40B4-BE49-F238E27FC236}">
                      <a16:creationId xmlns:a16="http://schemas.microsoft.com/office/drawing/2014/main" id="{85CC02BA-6B72-4AEF-A2BD-D216A19935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7" y="2169"/>
                  <a:ext cx="2" cy="2"/>
                </a:xfrm>
                <a:custGeom>
                  <a:avLst/>
                  <a:gdLst>
                    <a:gd name="T0" fmla="*/ 1 w 2"/>
                    <a:gd name="T1" fmla="*/ 2 h 2"/>
                    <a:gd name="T2" fmla="*/ 2 w 2"/>
                    <a:gd name="T3" fmla="*/ 0 h 2"/>
                    <a:gd name="T4" fmla="*/ 0 w 2"/>
                    <a:gd name="T5" fmla="*/ 1 h 2"/>
                    <a:gd name="T6" fmla="*/ 1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55" name="Freeform 255">
                  <a:extLst>
                    <a:ext uri="{FF2B5EF4-FFF2-40B4-BE49-F238E27FC236}">
                      <a16:creationId xmlns:a16="http://schemas.microsoft.com/office/drawing/2014/main" id="{AD0627F9-3E39-4B1F-B7A0-2C5F0FFF21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1" y="2092"/>
                  <a:ext cx="4" cy="4"/>
                </a:xfrm>
                <a:custGeom>
                  <a:avLst/>
                  <a:gdLst>
                    <a:gd name="T0" fmla="*/ 4 w 4"/>
                    <a:gd name="T1" fmla="*/ 2 h 4"/>
                    <a:gd name="T2" fmla="*/ 3 w 4"/>
                    <a:gd name="T3" fmla="*/ 0 h 4"/>
                    <a:gd name="T4" fmla="*/ 2 w 4"/>
                    <a:gd name="T5" fmla="*/ 0 h 4"/>
                    <a:gd name="T6" fmla="*/ 0 w 4"/>
                    <a:gd name="T7" fmla="*/ 2 h 4"/>
                    <a:gd name="T8" fmla="*/ 1 w 4"/>
                    <a:gd name="T9" fmla="*/ 4 h 4"/>
                    <a:gd name="T10" fmla="*/ 2 w 4"/>
                    <a:gd name="T11" fmla="*/ 4 h 4"/>
                    <a:gd name="T12" fmla="*/ 4 w 4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4">
                      <a:moveTo>
                        <a:pt x="4" y="2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56" name="Freeform 256">
                  <a:extLst>
                    <a:ext uri="{FF2B5EF4-FFF2-40B4-BE49-F238E27FC236}">
                      <a16:creationId xmlns:a16="http://schemas.microsoft.com/office/drawing/2014/main" id="{925D6234-CB3F-4D4C-A0D6-A9083FA0A3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8" y="2304"/>
                  <a:ext cx="7" cy="14"/>
                </a:xfrm>
                <a:custGeom>
                  <a:avLst/>
                  <a:gdLst>
                    <a:gd name="T0" fmla="*/ 1 w 7"/>
                    <a:gd name="T1" fmla="*/ 14 h 14"/>
                    <a:gd name="T2" fmla="*/ 3 w 7"/>
                    <a:gd name="T3" fmla="*/ 13 h 14"/>
                    <a:gd name="T4" fmla="*/ 3 w 7"/>
                    <a:gd name="T5" fmla="*/ 10 h 14"/>
                    <a:gd name="T6" fmla="*/ 7 w 7"/>
                    <a:gd name="T7" fmla="*/ 8 h 14"/>
                    <a:gd name="T8" fmla="*/ 7 w 7"/>
                    <a:gd name="T9" fmla="*/ 5 h 14"/>
                    <a:gd name="T10" fmla="*/ 7 w 7"/>
                    <a:gd name="T11" fmla="*/ 3 h 14"/>
                    <a:gd name="T12" fmla="*/ 7 w 7"/>
                    <a:gd name="T13" fmla="*/ 0 h 14"/>
                    <a:gd name="T14" fmla="*/ 5 w 7"/>
                    <a:gd name="T15" fmla="*/ 3 h 14"/>
                    <a:gd name="T16" fmla="*/ 3 w 7"/>
                    <a:gd name="T17" fmla="*/ 4 h 14"/>
                    <a:gd name="T18" fmla="*/ 3 w 7"/>
                    <a:gd name="T19" fmla="*/ 6 h 14"/>
                    <a:gd name="T20" fmla="*/ 3 w 7"/>
                    <a:gd name="T21" fmla="*/ 7 h 14"/>
                    <a:gd name="T22" fmla="*/ 0 w 7"/>
                    <a:gd name="T23" fmla="*/ 10 h 14"/>
                    <a:gd name="T24" fmla="*/ 1 w 7"/>
                    <a:gd name="T25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" h="14">
                      <a:moveTo>
                        <a:pt x="1" y="14"/>
                      </a:moveTo>
                      <a:lnTo>
                        <a:pt x="3" y="13"/>
                      </a:lnTo>
                      <a:lnTo>
                        <a:pt x="3" y="10"/>
                      </a:lnTo>
                      <a:lnTo>
                        <a:pt x="7" y="8"/>
                      </a:lnTo>
                      <a:lnTo>
                        <a:pt x="7" y="5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5" y="3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3" y="7"/>
                      </a:lnTo>
                      <a:lnTo>
                        <a:pt x="0" y="10"/>
                      </a:lnTo>
                      <a:lnTo>
                        <a:pt x="1" y="1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57" name="Freeform 257">
                  <a:extLst>
                    <a:ext uri="{FF2B5EF4-FFF2-40B4-BE49-F238E27FC236}">
                      <a16:creationId xmlns:a16="http://schemas.microsoft.com/office/drawing/2014/main" id="{DA45CA9F-F8CF-47C4-A4DD-87642B4A65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8" y="2348"/>
                  <a:ext cx="4" cy="5"/>
                </a:xfrm>
                <a:custGeom>
                  <a:avLst/>
                  <a:gdLst>
                    <a:gd name="T0" fmla="*/ 4 w 4"/>
                    <a:gd name="T1" fmla="*/ 1 h 5"/>
                    <a:gd name="T2" fmla="*/ 1 w 4"/>
                    <a:gd name="T3" fmla="*/ 0 h 5"/>
                    <a:gd name="T4" fmla="*/ 0 w 4"/>
                    <a:gd name="T5" fmla="*/ 4 h 5"/>
                    <a:gd name="T6" fmla="*/ 2 w 4"/>
                    <a:gd name="T7" fmla="*/ 4 h 5"/>
                    <a:gd name="T8" fmla="*/ 3 w 4"/>
                    <a:gd name="T9" fmla="*/ 5 h 5"/>
                    <a:gd name="T10" fmla="*/ 4 w 4"/>
                    <a:gd name="T11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5">
                      <a:moveTo>
                        <a:pt x="4" y="1"/>
                      </a:moveTo>
                      <a:lnTo>
                        <a:pt x="1" y="0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3" y="5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58" name="Freeform 258">
                  <a:extLst>
                    <a:ext uri="{FF2B5EF4-FFF2-40B4-BE49-F238E27FC236}">
                      <a16:creationId xmlns:a16="http://schemas.microsoft.com/office/drawing/2014/main" id="{99123054-9156-4A29-89A0-8A9E2D6C05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94" y="1953"/>
                  <a:ext cx="146" cy="261"/>
                </a:xfrm>
                <a:custGeom>
                  <a:avLst/>
                  <a:gdLst>
                    <a:gd name="T0" fmla="*/ 4 w 146"/>
                    <a:gd name="T1" fmla="*/ 209 h 261"/>
                    <a:gd name="T2" fmla="*/ 4 w 146"/>
                    <a:gd name="T3" fmla="*/ 218 h 261"/>
                    <a:gd name="T4" fmla="*/ 4 w 146"/>
                    <a:gd name="T5" fmla="*/ 221 h 261"/>
                    <a:gd name="T6" fmla="*/ 9 w 146"/>
                    <a:gd name="T7" fmla="*/ 222 h 261"/>
                    <a:gd name="T8" fmla="*/ 7 w 146"/>
                    <a:gd name="T9" fmla="*/ 220 h 261"/>
                    <a:gd name="T10" fmla="*/ 13 w 146"/>
                    <a:gd name="T11" fmla="*/ 218 h 261"/>
                    <a:gd name="T12" fmla="*/ 11 w 146"/>
                    <a:gd name="T13" fmla="*/ 237 h 261"/>
                    <a:gd name="T14" fmla="*/ 17 w 146"/>
                    <a:gd name="T15" fmla="*/ 258 h 261"/>
                    <a:gd name="T16" fmla="*/ 20 w 146"/>
                    <a:gd name="T17" fmla="*/ 247 h 261"/>
                    <a:gd name="T18" fmla="*/ 25 w 146"/>
                    <a:gd name="T19" fmla="*/ 257 h 261"/>
                    <a:gd name="T20" fmla="*/ 27 w 146"/>
                    <a:gd name="T21" fmla="*/ 251 h 261"/>
                    <a:gd name="T22" fmla="*/ 32 w 146"/>
                    <a:gd name="T23" fmla="*/ 240 h 261"/>
                    <a:gd name="T24" fmla="*/ 33 w 146"/>
                    <a:gd name="T25" fmla="*/ 216 h 261"/>
                    <a:gd name="T26" fmla="*/ 29 w 146"/>
                    <a:gd name="T27" fmla="*/ 207 h 261"/>
                    <a:gd name="T28" fmla="*/ 23 w 146"/>
                    <a:gd name="T29" fmla="*/ 202 h 261"/>
                    <a:gd name="T30" fmla="*/ 31 w 146"/>
                    <a:gd name="T31" fmla="*/ 194 h 261"/>
                    <a:gd name="T32" fmla="*/ 34 w 146"/>
                    <a:gd name="T33" fmla="*/ 184 h 261"/>
                    <a:gd name="T34" fmla="*/ 50 w 146"/>
                    <a:gd name="T35" fmla="*/ 182 h 261"/>
                    <a:gd name="T36" fmla="*/ 60 w 146"/>
                    <a:gd name="T37" fmla="*/ 176 h 261"/>
                    <a:gd name="T38" fmla="*/ 74 w 146"/>
                    <a:gd name="T39" fmla="*/ 176 h 261"/>
                    <a:gd name="T40" fmla="*/ 73 w 146"/>
                    <a:gd name="T41" fmla="*/ 191 h 261"/>
                    <a:gd name="T42" fmla="*/ 87 w 146"/>
                    <a:gd name="T43" fmla="*/ 195 h 261"/>
                    <a:gd name="T44" fmla="*/ 94 w 146"/>
                    <a:gd name="T45" fmla="*/ 182 h 261"/>
                    <a:gd name="T46" fmla="*/ 89 w 146"/>
                    <a:gd name="T47" fmla="*/ 171 h 261"/>
                    <a:gd name="T48" fmla="*/ 94 w 146"/>
                    <a:gd name="T49" fmla="*/ 171 h 261"/>
                    <a:gd name="T50" fmla="*/ 101 w 146"/>
                    <a:gd name="T51" fmla="*/ 170 h 261"/>
                    <a:gd name="T52" fmla="*/ 105 w 146"/>
                    <a:gd name="T53" fmla="*/ 171 h 261"/>
                    <a:gd name="T54" fmla="*/ 118 w 146"/>
                    <a:gd name="T55" fmla="*/ 161 h 261"/>
                    <a:gd name="T56" fmla="*/ 125 w 146"/>
                    <a:gd name="T57" fmla="*/ 167 h 261"/>
                    <a:gd name="T58" fmla="*/ 129 w 146"/>
                    <a:gd name="T59" fmla="*/ 150 h 261"/>
                    <a:gd name="T60" fmla="*/ 132 w 146"/>
                    <a:gd name="T61" fmla="*/ 154 h 261"/>
                    <a:gd name="T62" fmla="*/ 143 w 146"/>
                    <a:gd name="T63" fmla="*/ 156 h 261"/>
                    <a:gd name="T64" fmla="*/ 141 w 146"/>
                    <a:gd name="T65" fmla="*/ 137 h 261"/>
                    <a:gd name="T66" fmla="*/ 134 w 146"/>
                    <a:gd name="T67" fmla="*/ 91 h 261"/>
                    <a:gd name="T68" fmla="*/ 143 w 146"/>
                    <a:gd name="T69" fmla="*/ 79 h 261"/>
                    <a:gd name="T70" fmla="*/ 140 w 146"/>
                    <a:gd name="T71" fmla="*/ 64 h 261"/>
                    <a:gd name="T72" fmla="*/ 141 w 146"/>
                    <a:gd name="T73" fmla="*/ 50 h 261"/>
                    <a:gd name="T74" fmla="*/ 133 w 146"/>
                    <a:gd name="T75" fmla="*/ 28 h 261"/>
                    <a:gd name="T76" fmla="*/ 122 w 146"/>
                    <a:gd name="T77" fmla="*/ 2 h 261"/>
                    <a:gd name="T78" fmla="*/ 115 w 146"/>
                    <a:gd name="T79" fmla="*/ 2 h 261"/>
                    <a:gd name="T80" fmla="*/ 121 w 146"/>
                    <a:gd name="T81" fmla="*/ 10 h 261"/>
                    <a:gd name="T82" fmla="*/ 115 w 146"/>
                    <a:gd name="T83" fmla="*/ 18 h 261"/>
                    <a:gd name="T84" fmla="*/ 108 w 146"/>
                    <a:gd name="T85" fmla="*/ 9 h 261"/>
                    <a:gd name="T86" fmla="*/ 105 w 146"/>
                    <a:gd name="T87" fmla="*/ 26 h 261"/>
                    <a:gd name="T88" fmla="*/ 105 w 146"/>
                    <a:gd name="T89" fmla="*/ 40 h 261"/>
                    <a:gd name="T90" fmla="*/ 114 w 146"/>
                    <a:gd name="T91" fmla="*/ 60 h 261"/>
                    <a:gd name="T92" fmla="*/ 106 w 146"/>
                    <a:gd name="T93" fmla="*/ 97 h 261"/>
                    <a:gd name="T94" fmla="*/ 91 w 146"/>
                    <a:gd name="T95" fmla="*/ 119 h 261"/>
                    <a:gd name="T96" fmla="*/ 86 w 146"/>
                    <a:gd name="T97" fmla="*/ 109 h 261"/>
                    <a:gd name="T98" fmla="*/ 79 w 146"/>
                    <a:gd name="T99" fmla="*/ 109 h 261"/>
                    <a:gd name="T100" fmla="*/ 77 w 146"/>
                    <a:gd name="T101" fmla="*/ 134 h 261"/>
                    <a:gd name="T102" fmla="*/ 77 w 146"/>
                    <a:gd name="T103" fmla="*/ 148 h 261"/>
                    <a:gd name="T104" fmla="*/ 70 w 146"/>
                    <a:gd name="T105" fmla="*/ 154 h 261"/>
                    <a:gd name="T106" fmla="*/ 63 w 146"/>
                    <a:gd name="T107" fmla="*/ 150 h 261"/>
                    <a:gd name="T108" fmla="*/ 42 w 146"/>
                    <a:gd name="T109" fmla="*/ 156 h 261"/>
                    <a:gd name="T110" fmla="*/ 26 w 146"/>
                    <a:gd name="T111" fmla="*/ 174 h 261"/>
                    <a:gd name="T112" fmla="*/ 15 w 146"/>
                    <a:gd name="T113" fmla="*/ 187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46" h="261">
                      <a:moveTo>
                        <a:pt x="14" y="197"/>
                      </a:moveTo>
                      <a:lnTo>
                        <a:pt x="11" y="199"/>
                      </a:lnTo>
                      <a:lnTo>
                        <a:pt x="10" y="202"/>
                      </a:lnTo>
                      <a:lnTo>
                        <a:pt x="8" y="203"/>
                      </a:lnTo>
                      <a:lnTo>
                        <a:pt x="5" y="206"/>
                      </a:lnTo>
                      <a:lnTo>
                        <a:pt x="4" y="209"/>
                      </a:lnTo>
                      <a:lnTo>
                        <a:pt x="2" y="209"/>
                      </a:lnTo>
                      <a:lnTo>
                        <a:pt x="0" y="211"/>
                      </a:lnTo>
                      <a:lnTo>
                        <a:pt x="1" y="211"/>
                      </a:lnTo>
                      <a:lnTo>
                        <a:pt x="2" y="211"/>
                      </a:lnTo>
                      <a:lnTo>
                        <a:pt x="3" y="214"/>
                      </a:lnTo>
                      <a:lnTo>
                        <a:pt x="4" y="218"/>
                      </a:lnTo>
                      <a:lnTo>
                        <a:pt x="4" y="220"/>
                      </a:lnTo>
                      <a:lnTo>
                        <a:pt x="3" y="216"/>
                      </a:lnTo>
                      <a:lnTo>
                        <a:pt x="2" y="215"/>
                      </a:lnTo>
                      <a:lnTo>
                        <a:pt x="1" y="217"/>
                      </a:lnTo>
                      <a:lnTo>
                        <a:pt x="2" y="220"/>
                      </a:lnTo>
                      <a:lnTo>
                        <a:pt x="4" y="221"/>
                      </a:lnTo>
                      <a:lnTo>
                        <a:pt x="4" y="223"/>
                      </a:lnTo>
                      <a:lnTo>
                        <a:pt x="3" y="226"/>
                      </a:lnTo>
                      <a:lnTo>
                        <a:pt x="4" y="224"/>
                      </a:lnTo>
                      <a:lnTo>
                        <a:pt x="5" y="223"/>
                      </a:lnTo>
                      <a:lnTo>
                        <a:pt x="8" y="221"/>
                      </a:lnTo>
                      <a:lnTo>
                        <a:pt x="9" y="222"/>
                      </a:lnTo>
                      <a:lnTo>
                        <a:pt x="8" y="223"/>
                      </a:lnTo>
                      <a:lnTo>
                        <a:pt x="9" y="224"/>
                      </a:lnTo>
                      <a:lnTo>
                        <a:pt x="11" y="223"/>
                      </a:lnTo>
                      <a:lnTo>
                        <a:pt x="11" y="220"/>
                      </a:lnTo>
                      <a:lnTo>
                        <a:pt x="9" y="219"/>
                      </a:lnTo>
                      <a:lnTo>
                        <a:pt x="7" y="220"/>
                      </a:lnTo>
                      <a:lnTo>
                        <a:pt x="7" y="218"/>
                      </a:lnTo>
                      <a:lnTo>
                        <a:pt x="8" y="216"/>
                      </a:lnTo>
                      <a:lnTo>
                        <a:pt x="7" y="214"/>
                      </a:lnTo>
                      <a:lnTo>
                        <a:pt x="8" y="212"/>
                      </a:lnTo>
                      <a:lnTo>
                        <a:pt x="11" y="213"/>
                      </a:lnTo>
                      <a:lnTo>
                        <a:pt x="13" y="218"/>
                      </a:lnTo>
                      <a:lnTo>
                        <a:pt x="13" y="222"/>
                      </a:lnTo>
                      <a:lnTo>
                        <a:pt x="15" y="223"/>
                      </a:lnTo>
                      <a:lnTo>
                        <a:pt x="15" y="230"/>
                      </a:lnTo>
                      <a:lnTo>
                        <a:pt x="13" y="235"/>
                      </a:lnTo>
                      <a:lnTo>
                        <a:pt x="10" y="235"/>
                      </a:lnTo>
                      <a:lnTo>
                        <a:pt x="11" y="237"/>
                      </a:lnTo>
                      <a:lnTo>
                        <a:pt x="13" y="241"/>
                      </a:lnTo>
                      <a:lnTo>
                        <a:pt x="14" y="247"/>
                      </a:lnTo>
                      <a:lnTo>
                        <a:pt x="16" y="251"/>
                      </a:lnTo>
                      <a:lnTo>
                        <a:pt x="16" y="254"/>
                      </a:lnTo>
                      <a:lnTo>
                        <a:pt x="15" y="255"/>
                      </a:lnTo>
                      <a:lnTo>
                        <a:pt x="17" y="258"/>
                      </a:lnTo>
                      <a:lnTo>
                        <a:pt x="19" y="257"/>
                      </a:lnTo>
                      <a:lnTo>
                        <a:pt x="21" y="259"/>
                      </a:lnTo>
                      <a:lnTo>
                        <a:pt x="22" y="257"/>
                      </a:lnTo>
                      <a:lnTo>
                        <a:pt x="22" y="256"/>
                      </a:lnTo>
                      <a:lnTo>
                        <a:pt x="20" y="252"/>
                      </a:lnTo>
                      <a:lnTo>
                        <a:pt x="20" y="247"/>
                      </a:lnTo>
                      <a:lnTo>
                        <a:pt x="21" y="245"/>
                      </a:lnTo>
                      <a:lnTo>
                        <a:pt x="22" y="247"/>
                      </a:lnTo>
                      <a:lnTo>
                        <a:pt x="22" y="248"/>
                      </a:lnTo>
                      <a:lnTo>
                        <a:pt x="22" y="250"/>
                      </a:lnTo>
                      <a:lnTo>
                        <a:pt x="24" y="252"/>
                      </a:lnTo>
                      <a:lnTo>
                        <a:pt x="25" y="257"/>
                      </a:lnTo>
                      <a:lnTo>
                        <a:pt x="24" y="259"/>
                      </a:lnTo>
                      <a:lnTo>
                        <a:pt x="25" y="261"/>
                      </a:lnTo>
                      <a:lnTo>
                        <a:pt x="27" y="260"/>
                      </a:lnTo>
                      <a:lnTo>
                        <a:pt x="29" y="255"/>
                      </a:lnTo>
                      <a:lnTo>
                        <a:pt x="27" y="252"/>
                      </a:lnTo>
                      <a:lnTo>
                        <a:pt x="27" y="251"/>
                      </a:lnTo>
                      <a:lnTo>
                        <a:pt x="29" y="250"/>
                      </a:lnTo>
                      <a:lnTo>
                        <a:pt x="30" y="251"/>
                      </a:lnTo>
                      <a:lnTo>
                        <a:pt x="32" y="251"/>
                      </a:lnTo>
                      <a:lnTo>
                        <a:pt x="32" y="248"/>
                      </a:lnTo>
                      <a:lnTo>
                        <a:pt x="32" y="243"/>
                      </a:lnTo>
                      <a:lnTo>
                        <a:pt x="32" y="240"/>
                      </a:lnTo>
                      <a:lnTo>
                        <a:pt x="32" y="230"/>
                      </a:lnTo>
                      <a:lnTo>
                        <a:pt x="32" y="225"/>
                      </a:lnTo>
                      <a:lnTo>
                        <a:pt x="33" y="222"/>
                      </a:lnTo>
                      <a:lnTo>
                        <a:pt x="35" y="219"/>
                      </a:lnTo>
                      <a:lnTo>
                        <a:pt x="35" y="216"/>
                      </a:lnTo>
                      <a:lnTo>
                        <a:pt x="33" y="216"/>
                      </a:lnTo>
                      <a:lnTo>
                        <a:pt x="33" y="213"/>
                      </a:lnTo>
                      <a:lnTo>
                        <a:pt x="32" y="213"/>
                      </a:lnTo>
                      <a:lnTo>
                        <a:pt x="32" y="210"/>
                      </a:lnTo>
                      <a:lnTo>
                        <a:pt x="28" y="210"/>
                      </a:lnTo>
                      <a:lnTo>
                        <a:pt x="27" y="209"/>
                      </a:lnTo>
                      <a:lnTo>
                        <a:pt x="29" y="207"/>
                      </a:lnTo>
                      <a:lnTo>
                        <a:pt x="30" y="205"/>
                      </a:lnTo>
                      <a:lnTo>
                        <a:pt x="29" y="201"/>
                      </a:lnTo>
                      <a:lnTo>
                        <a:pt x="28" y="199"/>
                      </a:lnTo>
                      <a:lnTo>
                        <a:pt x="25" y="200"/>
                      </a:lnTo>
                      <a:lnTo>
                        <a:pt x="25" y="201"/>
                      </a:lnTo>
                      <a:lnTo>
                        <a:pt x="23" y="202"/>
                      </a:lnTo>
                      <a:lnTo>
                        <a:pt x="22" y="202"/>
                      </a:lnTo>
                      <a:lnTo>
                        <a:pt x="18" y="199"/>
                      </a:lnTo>
                      <a:lnTo>
                        <a:pt x="18" y="195"/>
                      </a:lnTo>
                      <a:lnTo>
                        <a:pt x="23" y="193"/>
                      </a:lnTo>
                      <a:lnTo>
                        <a:pt x="27" y="192"/>
                      </a:lnTo>
                      <a:lnTo>
                        <a:pt x="31" y="194"/>
                      </a:lnTo>
                      <a:lnTo>
                        <a:pt x="33" y="195"/>
                      </a:lnTo>
                      <a:lnTo>
                        <a:pt x="34" y="194"/>
                      </a:lnTo>
                      <a:lnTo>
                        <a:pt x="33" y="192"/>
                      </a:lnTo>
                      <a:lnTo>
                        <a:pt x="34" y="188"/>
                      </a:lnTo>
                      <a:lnTo>
                        <a:pt x="33" y="185"/>
                      </a:lnTo>
                      <a:lnTo>
                        <a:pt x="34" y="184"/>
                      </a:lnTo>
                      <a:lnTo>
                        <a:pt x="36" y="184"/>
                      </a:lnTo>
                      <a:lnTo>
                        <a:pt x="37" y="185"/>
                      </a:lnTo>
                      <a:lnTo>
                        <a:pt x="39" y="186"/>
                      </a:lnTo>
                      <a:lnTo>
                        <a:pt x="42" y="185"/>
                      </a:lnTo>
                      <a:lnTo>
                        <a:pt x="46" y="183"/>
                      </a:lnTo>
                      <a:lnTo>
                        <a:pt x="50" y="182"/>
                      </a:lnTo>
                      <a:lnTo>
                        <a:pt x="53" y="182"/>
                      </a:lnTo>
                      <a:lnTo>
                        <a:pt x="54" y="182"/>
                      </a:lnTo>
                      <a:lnTo>
                        <a:pt x="56" y="182"/>
                      </a:lnTo>
                      <a:lnTo>
                        <a:pt x="56" y="180"/>
                      </a:lnTo>
                      <a:lnTo>
                        <a:pt x="59" y="178"/>
                      </a:lnTo>
                      <a:lnTo>
                        <a:pt x="60" y="176"/>
                      </a:lnTo>
                      <a:lnTo>
                        <a:pt x="63" y="173"/>
                      </a:lnTo>
                      <a:lnTo>
                        <a:pt x="67" y="171"/>
                      </a:lnTo>
                      <a:lnTo>
                        <a:pt x="70" y="172"/>
                      </a:lnTo>
                      <a:lnTo>
                        <a:pt x="73" y="171"/>
                      </a:lnTo>
                      <a:lnTo>
                        <a:pt x="74" y="173"/>
                      </a:lnTo>
                      <a:lnTo>
                        <a:pt x="74" y="176"/>
                      </a:lnTo>
                      <a:lnTo>
                        <a:pt x="72" y="179"/>
                      </a:lnTo>
                      <a:lnTo>
                        <a:pt x="71" y="182"/>
                      </a:lnTo>
                      <a:lnTo>
                        <a:pt x="73" y="183"/>
                      </a:lnTo>
                      <a:lnTo>
                        <a:pt x="73" y="186"/>
                      </a:lnTo>
                      <a:lnTo>
                        <a:pt x="74" y="189"/>
                      </a:lnTo>
                      <a:lnTo>
                        <a:pt x="73" y="191"/>
                      </a:lnTo>
                      <a:lnTo>
                        <a:pt x="74" y="194"/>
                      </a:lnTo>
                      <a:lnTo>
                        <a:pt x="77" y="195"/>
                      </a:lnTo>
                      <a:lnTo>
                        <a:pt x="80" y="200"/>
                      </a:lnTo>
                      <a:lnTo>
                        <a:pt x="83" y="201"/>
                      </a:lnTo>
                      <a:lnTo>
                        <a:pt x="84" y="200"/>
                      </a:lnTo>
                      <a:lnTo>
                        <a:pt x="87" y="195"/>
                      </a:lnTo>
                      <a:lnTo>
                        <a:pt x="87" y="192"/>
                      </a:lnTo>
                      <a:lnTo>
                        <a:pt x="89" y="191"/>
                      </a:lnTo>
                      <a:lnTo>
                        <a:pt x="90" y="188"/>
                      </a:lnTo>
                      <a:lnTo>
                        <a:pt x="89" y="187"/>
                      </a:lnTo>
                      <a:lnTo>
                        <a:pt x="91" y="182"/>
                      </a:lnTo>
                      <a:lnTo>
                        <a:pt x="94" y="182"/>
                      </a:lnTo>
                      <a:lnTo>
                        <a:pt x="95" y="182"/>
                      </a:lnTo>
                      <a:lnTo>
                        <a:pt x="96" y="180"/>
                      </a:lnTo>
                      <a:lnTo>
                        <a:pt x="95" y="179"/>
                      </a:lnTo>
                      <a:lnTo>
                        <a:pt x="95" y="175"/>
                      </a:lnTo>
                      <a:lnTo>
                        <a:pt x="90" y="173"/>
                      </a:lnTo>
                      <a:lnTo>
                        <a:pt x="89" y="171"/>
                      </a:lnTo>
                      <a:lnTo>
                        <a:pt x="91" y="167"/>
                      </a:lnTo>
                      <a:lnTo>
                        <a:pt x="92" y="165"/>
                      </a:lnTo>
                      <a:lnTo>
                        <a:pt x="93" y="164"/>
                      </a:lnTo>
                      <a:lnTo>
                        <a:pt x="93" y="166"/>
                      </a:lnTo>
                      <a:lnTo>
                        <a:pt x="93" y="170"/>
                      </a:lnTo>
                      <a:lnTo>
                        <a:pt x="94" y="171"/>
                      </a:lnTo>
                      <a:lnTo>
                        <a:pt x="95" y="170"/>
                      </a:lnTo>
                      <a:lnTo>
                        <a:pt x="96" y="168"/>
                      </a:lnTo>
                      <a:lnTo>
                        <a:pt x="98" y="169"/>
                      </a:lnTo>
                      <a:lnTo>
                        <a:pt x="99" y="171"/>
                      </a:lnTo>
                      <a:lnTo>
                        <a:pt x="101" y="170"/>
                      </a:lnTo>
                      <a:lnTo>
                        <a:pt x="101" y="170"/>
                      </a:lnTo>
                      <a:lnTo>
                        <a:pt x="101" y="171"/>
                      </a:lnTo>
                      <a:lnTo>
                        <a:pt x="98" y="172"/>
                      </a:lnTo>
                      <a:lnTo>
                        <a:pt x="98" y="173"/>
                      </a:lnTo>
                      <a:lnTo>
                        <a:pt x="99" y="174"/>
                      </a:lnTo>
                      <a:lnTo>
                        <a:pt x="101" y="173"/>
                      </a:lnTo>
                      <a:lnTo>
                        <a:pt x="105" y="171"/>
                      </a:lnTo>
                      <a:lnTo>
                        <a:pt x="112" y="171"/>
                      </a:lnTo>
                      <a:lnTo>
                        <a:pt x="115" y="171"/>
                      </a:lnTo>
                      <a:lnTo>
                        <a:pt x="115" y="170"/>
                      </a:lnTo>
                      <a:lnTo>
                        <a:pt x="114" y="167"/>
                      </a:lnTo>
                      <a:lnTo>
                        <a:pt x="115" y="163"/>
                      </a:lnTo>
                      <a:lnTo>
                        <a:pt x="118" y="161"/>
                      </a:lnTo>
                      <a:lnTo>
                        <a:pt x="120" y="161"/>
                      </a:lnTo>
                      <a:lnTo>
                        <a:pt x="120" y="164"/>
                      </a:lnTo>
                      <a:lnTo>
                        <a:pt x="119" y="168"/>
                      </a:lnTo>
                      <a:lnTo>
                        <a:pt x="121" y="170"/>
                      </a:lnTo>
                      <a:lnTo>
                        <a:pt x="122" y="170"/>
                      </a:lnTo>
                      <a:lnTo>
                        <a:pt x="125" y="167"/>
                      </a:lnTo>
                      <a:lnTo>
                        <a:pt x="123" y="161"/>
                      </a:lnTo>
                      <a:lnTo>
                        <a:pt x="124" y="157"/>
                      </a:lnTo>
                      <a:lnTo>
                        <a:pt x="128" y="154"/>
                      </a:lnTo>
                      <a:lnTo>
                        <a:pt x="129" y="154"/>
                      </a:lnTo>
                      <a:lnTo>
                        <a:pt x="130" y="152"/>
                      </a:lnTo>
                      <a:lnTo>
                        <a:pt x="129" y="150"/>
                      </a:lnTo>
                      <a:lnTo>
                        <a:pt x="129" y="146"/>
                      </a:lnTo>
                      <a:lnTo>
                        <a:pt x="131" y="144"/>
                      </a:lnTo>
                      <a:lnTo>
                        <a:pt x="134" y="145"/>
                      </a:lnTo>
                      <a:lnTo>
                        <a:pt x="135" y="147"/>
                      </a:lnTo>
                      <a:lnTo>
                        <a:pt x="133" y="150"/>
                      </a:lnTo>
                      <a:lnTo>
                        <a:pt x="132" y="154"/>
                      </a:lnTo>
                      <a:lnTo>
                        <a:pt x="133" y="164"/>
                      </a:lnTo>
                      <a:lnTo>
                        <a:pt x="135" y="164"/>
                      </a:lnTo>
                      <a:lnTo>
                        <a:pt x="136" y="163"/>
                      </a:lnTo>
                      <a:lnTo>
                        <a:pt x="138" y="160"/>
                      </a:lnTo>
                      <a:lnTo>
                        <a:pt x="140" y="160"/>
                      </a:lnTo>
                      <a:lnTo>
                        <a:pt x="143" y="156"/>
                      </a:lnTo>
                      <a:lnTo>
                        <a:pt x="143" y="152"/>
                      </a:lnTo>
                      <a:lnTo>
                        <a:pt x="143" y="149"/>
                      </a:lnTo>
                      <a:lnTo>
                        <a:pt x="146" y="146"/>
                      </a:lnTo>
                      <a:lnTo>
                        <a:pt x="146" y="144"/>
                      </a:lnTo>
                      <a:lnTo>
                        <a:pt x="144" y="142"/>
                      </a:lnTo>
                      <a:lnTo>
                        <a:pt x="141" y="137"/>
                      </a:lnTo>
                      <a:lnTo>
                        <a:pt x="139" y="132"/>
                      </a:lnTo>
                      <a:lnTo>
                        <a:pt x="139" y="124"/>
                      </a:lnTo>
                      <a:lnTo>
                        <a:pt x="140" y="115"/>
                      </a:lnTo>
                      <a:lnTo>
                        <a:pt x="140" y="108"/>
                      </a:lnTo>
                      <a:lnTo>
                        <a:pt x="138" y="96"/>
                      </a:lnTo>
                      <a:lnTo>
                        <a:pt x="134" y="91"/>
                      </a:lnTo>
                      <a:lnTo>
                        <a:pt x="134" y="86"/>
                      </a:lnTo>
                      <a:lnTo>
                        <a:pt x="135" y="81"/>
                      </a:lnTo>
                      <a:lnTo>
                        <a:pt x="139" y="78"/>
                      </a:lnTo>
                      <a:lnTo>
                        <a:pt x="141" y="78"/>
                      </a:lnTo>
                      <a:lnTo>
                        <a:pt x="143" y="81"/>
                      </a:lnTo>
                      <a:lnTo>
                        <a:pt x="143" y="79"/>
                      </a:lnTo>
                      <a:lnTo>
                        <a:pt x="143" y="75"/>
                      </a:lnTo>
                      <a:lnTo>
                        <a:pt x="142" y="73"/>
                      </a:lnTo>
                      <a:lnTo>
                        <a:pt x="141" y="71"/>
                      </a:lnTo>
                      <a:lnTo>
                        <a:pt x="140" y="68"/>
                      </a:lnTo>
                      <a:lnTo>
                        <a:pt x="140" y="67"/>
                      </a:lnTo>
                      <a:lnTo>
                        <a:pt x="140" y="64"/>
                      </a:lnTo>
                      <a:lnTo>
                        <a:pt x="142" y="61"/>
                      </a:lnTo>
                      <a:lnTo>
                        <a:pt x="142" y="61"/>
                      </a:lnTo>
                      <a:lnTo>
                        <a:pt x="142" y="58"/>
                      </a:lnTo>
                      <a:lnTo>
                        <a:pt x="141" y="57"/>
                      </a:lnTo>
                      <a:lnTo>
                        <a:pt x="141" y="52"/>
                      </a:lnTo>
                      <a:lnTo>
                        <a:pt x="141" y="50"/>
                      </a:lnTo>
                      <a:lnTo>
                        <a:pt x="140" y="48"/>
                      </a:lnTo>
                      <a:lnTo>
                        <a:pt x="139" y="41"/>
                      </a:lnTo>
                      <a:lnTo>
                        <a:pt x="137" y="36"/>
                      </a:lnTo>
                      <a:lnTo>
                        <a:pt x="136" y="36"/>
                      </a:lnTo>
                      <a:lnTo>
                        <a:pt x="134" y="35"/>
                      </a:lnTo>
                      <a:lnTo>
                        <a:pt x="133" y="28"/>
                      </a:lnTo>
                      <a:lnTo>
                        <a:pt x="131" y="25"/>
                      </a:lnTo>
                      <a:lnTo>
                        <a:pt x="125" y="17"/>
                      </a:lnTo>
                      <a:lnTo>
                        <a:pt x="124" y="13"/>
                      </a:lnTo>
                      <a:lnTo>
                        <a:pt x="122" y="9"/>
                      </a:lnTo>
                      <a:lnTo>
                        <a:pt x="122" y="3"/>
                      </a:lnTo>
                      <a:lnTo>
                        <a:pt x="122" y="2"/>
                      </a:lnTo>
                      <a:lnTo>
                        <a:pt x="121" y="2"/>
                      </a:lnTo>
                      <a:lnTo>
                        <a:pt x="119" y="3"/>
                      </a:lnTo>
                      <a:lnTo>
                        <a:pt x="119" y="2"/>
                      </a:lnTo>
                      <a:lnTo>
                        <a:pt x="116" y="1"/>
                      </a:lnTo>
                      <a:lnTo>
                        <a:pt x="115" y="0"/>
                      </a:lnTo>
                      <a:lnTo>
                        <a:pt x="115" y="2"/>
                      </a:lnTo>
                      <a:lnTo>
                        <a:pt x="114" y="6"/>
                      </a:lnTo>
                      <a:lnTo>
                        <a:pt x="114" y="9"/>
                      </a:lnTo>
                      <a:lnTo>
                        <a:pt x="115" y="10"/>
                      </a:lnTo>
                      <a:lnTo>
                        <a:pt x="116" y="9"/>
                      </a:lnTo>
                      <a:lnTo>
                        <a:pt x="119" y="6"/>
                      </a:lnTo>
                      <a:lnTo>
                        <a:pt x="121" y="10"/>
                      </a:lnTo>
                      <a:lnTo>
                        <a:pt x="120" y="13"/>
                      </a:lnTo>
                      <a:lnTo>
                        <a:pt x="119" y="14"/>
                      </a:lnTo>
                      <a:lnTo>
                        <a:pt x="116" y="12"/>
                      </a:lnTo>
                      <a:lnTo>
                        <a:pt x="115" y="12"/>
                      </a:lnTo>
                      <a:lnTo>
                        <a:pt x="116" y="16"/>
                      </a:lnTo>
                      <a:lnTo>
                        <a:pt x="115" y="18"/>
                      </a:lnTo>
                      <a:lnTo>
                        <a:pt x="113" y="17"/>
                      </a:lnTo>
                      <a:lnTo>
                        <a:pt x="113" y="14"/>
                      </a:lnTo>
                      <a:lnTo>
                        <a:pt x="112" y="11"/>
                      </a:lnTo>
                      <a:lnTo>
                        <a:pt x="112" y="9"/>
                      </a:lnTo>
                      <a:lnTo>
                        <a:pt x="110" y="10"/>
                      </a:lnTo>
                      <a:lnTo>
                        <a:pt x="108" y="9"/>
                      </a:lnTo>
                      <a:lnTo>
                        <a:pt x="108" y="12"/>
                      </a:lnTo>
                      <a:lnTo>
                        <a:pt x="108" y="16"/>
                      </a:lnTo>
                      <a:lnTo>
                        <a:pt x="109" y="20"/>
                      </a:lnTo>
                      <a:lnTo>
                        <a:pt x="107" y="21"/>
                      </a:lnTo>
                      <a:lnTo>
                        <a:pt x="105" y="24"/>
                      </a:lnTo>
                      <a:lnTo>
                        <a:pt x="105" y="26"/>
                      </a:lnTo>
                      <a:lnTo>
                        <a:pt x="109" y="30"/>
                      </a:lnTo>
                      <a:lnTo>
                        <a:pt x="110" y="33"/>
                      </a:lnTo>
                      <a:lnTo>
                        <a:pt x="109" y="37"/>
                      </a:lnTo>
                      <a:lnTo>
                        <a:pt x="107" y="39"/>
                      </a:lnTo>
                      <a:lnTo>
                        <a:pt x="105" y="38"/>
                      </a:lnTo>
                      <a:lnTo>
                        <a:pt x="105" y="40"/>
                      </a:lnTo>
                      <a:lnTo>
                        <a:pt x="106" y="43"/>
                      </a:lnTo>
                      <a:lnTo>
                        <a:pt x="108" y="43"/>
                      </a:lnTo>
                      <a:lnTo>
                        <a:pt x="111" y="40"/>
                      </a:lnTo>
                      <a:lnTo>
                        <a:pt x="113" y="47"/>
                      </a:lnTo>
                      <a:lnTo>
                        <a:pt x="114" y="56"/>
                      </a:lnTo>
                      <a:lnTo>
                        <a:pt x="114" y="60"/>
                      </a:lnTo>
                      <a:lnTo>
                        <a:pt x="114" y="68"/>
                      </a:lnTo>
                      <a:lnTo>
                        <a:pt x="112" y="80"/>
                      </a:lnTo>
                      <a:lnTo>
                        <a:pt x="112" y="85"/>
                      </a:lnTo>
                      <a:lnTo>
                        <a:pt x="111" y="90"/>
                      </a:lnTo>
                      <a:lnTo>
                        <a:pt x="108" y="92"/>
                      </a:lnTo>
                      <a:lnTo>
                        <a:pt x="106" y="97"/>
                      </a:lnTo>
                      <a:lnTo>
                        <a:pt x="106" y="102"/>
                      </a:lnTo>
                      <a:lnTo>
                        <a:pt x="105" y="106"/>
                      </a:lnTo>
                      <a:lnTo>
                        <a:pt x="104" y="109"/>
                      </a:lnTo>
                      <a:lnTo>
                        <a:pt x="101" y="113"/>
                      </a:lnTo>
                      <a:lnTo>
                        <a:pt x="94" y="118"/>
                      </a:lnTo>
                      <a:lnTo>
                        <a:pt x="91" y="119"/>
                      </a:lnTo>
                      <a:lnTo>
                        <a:pt x="90" y="122"/>
                      </a:lnTo>
                      <a:lnTo>
                        <a:pt x="87" y="119"/>
                      </a:lnTo>
                      <a:lnTo>
                        <a:pt x="84" y="115"/>
                      </a:lnTo>
                      <a:lnTo>
                        <a:pt x="84" y="113"/>
                      </a:lnTo>
                      <a:lnTo>
                        <a:pt x="85" y="112"/>
                      </a:lnTo>
                      <a:lnTo>
                        <a:pt x="86" y="109"/>
                      </a:lnTo>
                      <a:lnTo>
                        <a:pt x="86" y="107"/>
                      </a:lnTo>
                      <a:lnTo>
                        <a:pt x="87" y="105"/>
                      </a:lnTo>
                      <a:lnTo>
                        <a:pt x="87" y="104"/>
                      </a:lnTo>
                      <a:lnTo>
                        <a:pt x="84" y="105"/>
                      </a:lnTo>
                      <a:lnTo>
                        <a:pt x="82" y="108"/>
                      </a:lnTo>
                      <a:lnTo>
                        <a:pt x="79" y="109"/>
                      </a:lnTo>
                      <a:lnTo>
                        <a:pt x="78" y="113"/>
                      </a:lnTo>
                      <a:lnTo>
                        <a:pt x="80" y="116"/>
                      </a:lnTo>
                      <a:lnTo>
                        <a:pt x="80" y="124"/>
                      </a:lnTo>
                      <a:lnTo>
                        <a:pt x="80" y="128"/>
                      </a:lnTo>
                      <a:lnTo>
                        <a:pt x="77" y="133"/>
                      </a:lnTo>
                      <a:lnTo>
                        <a:pt x="77" y="134"/>
                      </a:lnTo>
                      <a:lnTo>
                        <a:pt x="76" y="137"/>
                      </a:lnTo>
                      <a:lnTo>
                        <a:pt x="76" y="142"/>
                      </a:lnTo>
                      <a:lnTo>
                        <a:pt x="77" y="144"/>
                      </a:lnTo>
                      <a:lnTo>
                        <a:pt x="77" y="147"/>
                      </a:lnTo>
                      <a:lnTo>
                        <a:pt x="76" y="147"/>
                      </a:lnTo>
                      <a:lnTo>
                        <a:pt x="77" y="148"/>
                      </a:lnTo>
                      <a:lnTo>
                        <a:pt x="76" y="151"/>
                      </a:lnTo>
                      <a:lnTo>
                        <a:pt x="74" y="151"/>
                      </a:lnTo>
                      <a:lnTo>
                        <a:pt x="75" y="152"/>
                      </a:lnTo>
                      <a:lnTo>
                        <a:pt x="74" y="153"/>
                      </a:lnTo>
                      <a:lnTo>
                        <a:pt x="72" y="151"/>
                      </a:lnTo>
                      <a:lnTo>
                        <a:pt x="70" y="154"/>
                      </a:lnTo>
                      <a:lnTo>
                        <a:pt x="69" y="153"/>
                      </a:lnTo>
                      <a:lnTo>
                        <a:pt x="68" y="149"/>
                      </a:lnTo>
                      <a:lnTo>
                        <a:pt x="67" y="149"/>
                      </a:lnTo>
                      <a:lnTo>
                        <a:pt x="66" y="151"/>
                      </a:lnTo>
                      <a:lnTo>
                        <a:pt x="63" y="151"/>
                      </a:lnTo>
                      <a:lnTo>
                        <a:pt x="63" y="150"/>
                      </a:lnTo>
                      <a:lnTo>
                        <a:pt x="56" y="152"/>
                      </a:lnTo>
                      <a:lnTo>
                        <a:pt x="53" y="154"/>
                      </a:lnTo>
                      <a:lnTo>
                        <a:pt x="50" y="155"/>
                      </a:lnTo>
                      <a:lnTo>
                        <a:pt x="46" y="155"/>
                      </a:lnTo>
                      <a:lnTo>
                        <a:pt x="43" y="157"/>
                      </a:lnTo>
                      <a:lnTo>
                        <a:pt x="42" y="156"/>
                      </a:lnTo>
                      <a:lnTo>
                        <a:pt x="39" y="156"/>
                      </a:lnTo>
                      <a:lnTo>
                        <a:pt x="34" y="161"/>
                      </a:lnTo>
                      <a:lnTo>
                        <a:pt x="32" y="164"/>
                      </a:lnTo>
                      <a:lnTo>
                        <a:pt x="31" y="166"/>
                      </a:lnTo>
                      <a:lnTo>
                        <a:pt x="30" y="169"/>
                      </a:lnTo>
                      <a:lnTo>
                        <a:pt x="26" y="174"/>
                      </a:lnTo>
                      <a:lnTo>
                        <a:pt x="24" y="175"/>
                      </a:lnTo>
                      <a:lnTo>
                        <a:pt x="22" y="178"/>
                      </a:lnTo>
                      <a:lnTo>
                        <a:pt x="22" y="181"/>
                      </a:lnTo>
                      <a:lnTo>
                        <a:pt x="19" y="183"/>
                      </a:lnTo>
                      <a:lnTo>
                        <a:pt x="15" y="184"/>
                      </a:lnTo>
                      <a:lnTo>
                        <a:pt x="15" y="187"/>
                      </a:lnTo>
                      <a:lnTo>
                        <a:pt x="15" y="192"/>
                      </a:lnTo>
                      <a:lnTo>
                        <a:pt x="17" y="193"/>
                      </a:lnTo>
                      <a:lnTo>
                        <a:pt x="17" y="195"/>
                      </a:lnTo>
                      <a:lnTo>
                        <a:pt x="16" y="196"/>
                      </a:lnTo>
                      <a:lnTo>
                        <a:pt x="14" y="19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59" name="Freeform 259">
                  <a:extLst>
                    <a:ext uri="{FF2B5EF4-FFF2-40B4-BE49-F238E27FC236}">
                      <a16:creationId xmlns:a16="http://schemas.microsoft.com/office/drawing/2014/main" id="{CC17173C-9431-490A-9D4E-F39185168B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9" y="2168"/>
                  <a:ext cx="1" cy="1"/>
                </a:xfrm>
                <a:custGeom>
                  <a:avLst/>
                  <a:gdLst>
                    <a:gd name="T0" fmla="*/ 0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0 w 1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0" name="Freeform 260">
                  <a:extLst>
                    <a:ext uri="{FF2B5EF4-FFF2-40B4-BE49-F238E27FC236}">
                      <a16:creationId xmlns:a16="http://schemas.microsoft.com/office/drawing/2014/main" id="{DA9E0D79-F73B-498F-AC19-1922D5CF86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9" y="2165"/>
                  <a:ext cx="3" cy="2"/>
                </a:xfrm>
                <a:custGeom>
                  <a:avLst/>
                  <a:gdLst>
                    <a:gd name="T0" fmla="*/ 3 w 3"/>
                    <a:gd name="T1" fmla="*/ 1 h 2"/>
                    <a:gd name="T2" fmla="*/ 1 w 3"/>
                    <a:gd name="T3" fmla="*/ 0 h 2"/>
                    <a:gd name="T4" fmla="*/ 0 w 3"/>
                    <a:gd name="T5" fmla="*/ 1 h 2"/>
                    <a:gd name="T6" fmla="*/ 1 w 3"/>
                    <a:gd name="T7" fmla="*/ 1 h 2"/>
                    <a:gd name="T8" fmla="*/ 2 w 3"/>
                    <a:gd name="T9" fmla="*/ 2 h 2"/>
                    <a:gd name="T10" fmla="*/ 3 w 3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2">
                      <a:moveTo>
                        <a:pt x="3" y="1"/>
                      </a:move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2" y="2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1" name="Freeform 261">
                  <a:extLst>
                    <a:ext uri="{FF2B5EF4-FFF2-40B4-BE49-F238E27FC236}">
                      <a16:creationId xmlns:a16="http://schemas.microsoft.com/office/drawing/2014/main" id="{E1BB3382-313E-4C02-AF0A-B4C5F7F3C2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3" y="2217"/>
                  <a:ext cx="2" cy="7"/>
                </a:xfrm>
                <a:custGeom>
                  <a:avLst/>
                  <a:gdLst>
                    <a:gd name="T0" fmla="*/ 2 w 2"/>
                    <a:gd name="T1" fmla="*/ 4 h 7"/>
                    <a:gd name="T2" fmla="*/ 1 w 2"/>
                    <a:gd name="T3" fmla="*/ 1 h 7"/>
                    <a:gd name="T4" fmla="*/ 0 w 2"/>
                    <a:gd name="T5" fmla="*/ 0 h 7"/>
                    <a:gd name="T6" fmla="*/ 0 w 2"/>
                    <a:gd name="T7" fmla="*/ 2 h 7"/>
                    <a:gd name="T8" fmla="*/ 0 w 2"/>
                    <a:gd name="T9" fmla="*/ 7 h 7"/>
                    <a:gd name="T10" fmla="*/ 1 w 2"/>
                    <a:gd name="T11" fmla="*/ 7 h 7"/>
                    <a:gd name="T12" fmla="*/ 2 w 2"/>
                    <a:gd name="T13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7">
                      <a:moveTo>
                        <a:pt x="2" y="4"/>
                      </a:moveTo>
                      <a:lnTo>
                        <a:pt x="1" y="1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2" name="Freeform 262">
                  <a:extLst>
                    <a:ext uri="{FF2B5EF4-FFF2-40B4-BE49-F238E27FC236}">
                      <a16:creationId xmlns:a16="http://schemas.microsoft.com/office/drawing/2014/main" id="{222BA497-578B-4D72-8A55-FBA76309DC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00" y="2179"/>
                  <a:ext cx="4" cy="7"/>
                </a:xfrm>
                <a:custGeom>
                  <a:avLst/>
                  <a:gdLst>
                    <a:gd name="T0" fmla="*/ 2 w 4"/>
                    <a:gd name="T1" fmla="*/ 0 h 7"/>
                    <a:gd name="T2" fmla="*/ 2 w 4"/>
                    <a:gd name="T3" fmla="*/ 0 h 7"/>
                    <a:gd name="T4" fmla="*/ 0 w 4"/>
                    <a:gd name="T5" fmla="*/ 1 h 7"/>
                    <a:gd name="T6" fmla="*/ 1 w 4"/>
                    <a:gd name="T7" fmla="*/ 4 h 7"/>
                    <a:gd name="T8" fmla="*/ 2 w 4"/>
                    <a:gd name="T9" fmla="*/ 7 h 7"/>
                    <a:gd name="T10" fmla="*/ 3 w 4"/>
                    <a:gd name="T11" fmla="*/ 7 h 7"/>
                    <a:gd name="T12" fmla="*/ 4 w 4"/>
                    <a:gd name="T13" fmla="*/ 4 h 7"/>
                    <a:gd name="T14" fmla="*/ 2 w 4"/>
                    <a:gd name="T15" fmla="*/ 1 h 7"/>
                    <a:gd name="T16" fmla="*/ 2 w 4"/>
                    <a:gd name="T1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7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1" y="4"/>
                      </a:lnTo>
                      <a:lnTo>
                        <a:pt x="2" y="7"/>
                      </a:lnTo>
                      <a:lnTo>
                        <a:pt x="3" y="7"/>
                      </a:lnTo>
                      <a:lnTo>
                        <a:pt x="4" y="4"/>
                      </a:lnTo>
                      <a:lnTo>
                        <a:pt x="2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3" name="Freeform 263">
                  <a:extLst>
                    <a:ext uri="{FF2B5EF4-FFF2-40B4-BE49-F238E27FC236}">
                      <a16:creationId xmlns:a16="http://schemas.microsoft.com/office/drawing/2014/main" id="{57F5E85A-2BE6-4222-9C10-848D1C4912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02" y="2283"/>
                  <a:ext cx="3" cy="6"/>
                </a:xfrm>
                <a:custGeom>
                  <a:avLst/>
                  <a:gdLst>
                    <a:gd name="T0" fmla="*/ 0 w 3"/>
                    <a:gd name="T1" fmla="*/ 2 h 6"/>
                    <a:gd name="T2" fmla="*/ 0 w 3"/>
                    <a:gd name="T3" fmla="*/ 4 h 6"/>
                    <a:gd name="T4" fmla="*/ 2 w 3"/>
                    <a:gd name="T5" fmla="*/ 6 h 6"/>
                    <a:gd name="T6" fmla="*/ 3 w 3"/>
                    <a:gd name="T7" fmla="*/ 5 h 6"/>
                    <a:gd name="T8" fmla="*/ 2 w 3"/>
                    <a:gd name="T9" fmla="*/ 3 h 6"/>
                    <a:gd name="T10" fmla="*/ 0 w 3"/>
                    <a:gd name="T11" fmla="*/ 0 h 6"/>
                    <a:gd name="T12" fmla="*/ 0 w 3"/>
                    <a:gd name="T13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6">
                      <a:moveTo>
                        <a:pt x="0" y="2"/>
                      </a:moveTo>
                      <a:lnTo>
                        <a:pt x="0" y="4"/>
                      </a:lnTo>
                      <a:lnTo>
                        <a:pt x="2" y="6"/>
                      </a:lnTo>
                      <a:lnTo>
                        <a:pt x="3" y="5"/>
                      </a:lnTo>
                      <a:lnTo>
                        <a:pt x="2" y="3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4" name="Freeform 264">
                  <a:extLst>
                    <a:ext uri="{FF2B5EF4-FFF2-40B4-BE49-F238E27FC236}">
                      <a16:creationId xmlns:a16="http://schemas.microsoft.com/office/drawing/2014/main" id="{26F05EDF-2886-4AAB-8A43-A73BA20A21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04" y="2269"/>
                  <a:ext cx="9" cy="8"/>
                </a:xfrm>
                <a:custGeom>
                  <a:avLst/>
                  <a:gdLst>
                    <a:gd name="T0" fmla="*/ 9 w 9"/>
                    <a:gd name="T1" fmla="*/ 0 h 8"/>
                    <a:gd name="T2" fmla="*/ 7 w 9"/>
                    <a:gd name="T3" fmla="*/ 0 h 8"/>
                    <a:gd name="T4" fmla="*/ 6 w 9"/>
                    <a:gd name="T5" fmla="*/ 1 h 8"/>
                    <a:gd name="T6" fmla="*/ 5 w 9"/>
                    <a:gd name="T7" fmla="*/ 1 h 8"/>
                    <a:gd name="T8" fmla="*/ 4 w 9"/>
                    <a:gd name="T9" fmla="*/ 3 h 8"/>
                    <a:gd name="T10" fmla="*/ 3 w 9"/>
                    <a:gd name="T11" fmla="*/ 3 h 8"/>
                    <a:gd name="T12" fmla="*/ 1 w 9"/>
                    <a:gd name="T13" fmla="*/ 4 h 8"/>
                    <a:gd name="T14" fmla="*/ 0 w 9"/>
                    <a:gd name="T15" fmla="*/ 7 h 8"/>
                    <a:gd name="T16" fmla="*/ 1 w 9"/>
                    <a:gd name="T17" fmla="*/ 7 h 8"/>
                    <a:gd name="T18" fmla="*/ 3 w 9"/>
                    <a:gd name="T19" fmla="*/ 7 h 8"/>
                    <a:gd name="T20" fmla="*/ 4 w 9"/>
                    <a:gd name="T21" fmla="*/ 8 h 8"/>
                    <a:gd name="T22" fmla="*/ 5 w 9"/>
                    <a:gd name="T23" fmla="*/ 7 h 8"/>
                    <a:gd name="T24" fmla="*/ 5 w 9"/>
                    <a:gd name="T25" fmla="*/ 5 h 8"/>
                    <a:gd name="T26" fmla="*/ 8 w 9"/>
                    <a:gd name="T27" fmla="*/ 4 h 8"/>
                    <a:gd name="T28" fmla="*/ 9 w 9"/>
                    <a:gd name="T2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" h="8">
                      <a:moveTo>
                        <a:pt x="9" y="0"/>
                      </a:moveTo>
                      <a:lnTo>
                        <a:pt x="7" y="0"/>
                      </a:lnTo>
                      <a:lnTo>
                        <a:pt x="6" y="1"/>
                      </a:lnTo>
                      <a:lnTo>
                        <a:pt x="5" y="1"/>
                      </a:lnTo>
                      <a:lnTo>
                        <a:pt x="4" y="3"/>
                      </a:lnTo>
                      <a:lnTo>
                        <a:pt x="3" y="3"/>
                      </a:lnTo>
                      <a:lnTo>
                        <a:pt x="1" y="4"/>
                      </a:lnTo>
                      <a:lnTo>
                        <a:pt x="0" y="7"/>
                      </a:lnTo>
                      <a:lnTo>
                        <a:pt x="1" y="7"/>
                      </a:lnTo>
                      <a:lnTo>
                        <a:pt x="3" y="7"/>
                      </a:lnTo>
                      <a:lnTo>
                        <a:pt x="4" y="8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8" y="4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5" name="Freeform 265">
                  <a:extLst>
                    <a:ext uri="{FF2B5EF4-FFF2-40B4-BE49-F238E27FC236}">
                      <a16:creationId xmlns:a16="http://schemas.microsoft.com/office/drawing/2014/main" id="{95C7218D-7EF2-43E2-874C-B1F637CA2A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2" y="2173"/>
                  <a:ext cx="5" cy="7"/>
                </a:xfrm>
                <a:custGeom>
                  <a:avLst/>
                  <a:gdLst>
                    <a:gd name="T0" fmla="*/ 0 w 5"/>
                    <a:gd name="T1" fmla="*/ 3 h 7"/>
                    <a:gd name="T2" fmla="*/ 2 w 5"/>
                    <a:gd name="T3" fmla="*/ 7 h 7"/>
                    <a:gd name="T4" fmla="*/ 3 w 5"/>
                    <a:gd name="T5" fmla="*/ 7 h 7"/>
                    <a:gd name="T6" fmla="*/ 5 w 5"/>
                    <a:gd name="T7" fmla="*/ 6 h 7"/>
                    <a:gd name="T8" fmla="*/ 4 w 5"/>
                    <a:gd name="T9" fmla="*/ 3 h 7"/>
                    <a:gd name="T10" fmla="*/ 2 w 5"/>
                    <a:gd name="T11" fmla="*/ 3 h 7"/>
                    <a:gd name="T12" fmla="*/ 2 w 5"/>
                    <a:gd name="T13" fmla="*/ 0 h 7"/>
                    <a:gd name="T14" fmla="*/ 0 w 5"/>
                    <a:gd name="T15" fmla="*/ 1 h 7"/>
                    <a:gd name="T16" fmla="*/ 0 w 5"/>
                    <a:gd name="T17" fmla="*/ 3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7">
                      <a:moveTo>
                        <a:pt x="0" y="3"/>
                      </a:moveTo>
                      <a:lnTo>
                        <a:pt x="2" y="7"/>
                      </a:lnTo>
                      <a:lnTo>
                        <a:pt x="3" y="7"/>
                      </a:lnTo>
                      <a:lnTo>
                        <a:pt x="5" y="6"/>
                      </a:ln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6" name="Freeform 266">
                  <a:extLst>
                    <a:ext uri="{FF2B5EF4-FFF2-40B4-BE49-F238E27FC236}">
                      <a16:creationId xmlns:a16="http://schemas.microsoft.com/office/drawing/2014/main" id="{6C45DCEA-09BF-4AEE-B249-377B62D866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02" y="2186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0 w 3"/>
                    <a:gd name="T3" fmla="*/ 2 h 3"/>
                    <a:gd name="T4" fmla="*/ 1 w 3"/>
                    <a:gd name="T5" fmla="*/ 3 h 3"/>
                    <a:gd name="T6" fmla="*/ 3 w 3"/>
                    <a:gd name="T7" fmla="*/ 0 h 3"/>
                    <a:gd name="T8" fmla="*/ 2 w 3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3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7" name="Freeform 267">
                  <a:extLst>
                    <a:ext uri="{FF2B5EF4-FFF2-40B4-BE49-F238E27FC236}">
                      <a16:creationId xmlns:a16="http://schemas.microsoft.com/office/drawing/2014/main" id="{810E123F-4D4C-493D-928C-A839189541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1" y="2138"/>
                  <a:ext cx="3" cy="5"/>
                </a:xfrm>
                <a:custGeom>
                  <a:avLst/>
                  <a:gdLst>
                    <a:gd name="T0" fmla="*/ 2 w 3"/>
                    <a:gd name="T1" fmla="*/ 4 h 5"/>
                    <a:gd name="T2" fmla="*/ 3 w 3"/>
                    <a:gd name="T3" fmla="*/ 4 h 5"/>
                    <a:gd name="T4" fmla="*/ 3 w 3"/>
                    <a:gd name="T5" fmla="*/ 2 h 5"/>
                    <a:gd name="T6" fmla="*/ 2 w 3"/>
                    <a:gd name="T7" fmla="*/ 0 h 5"/>
                    <a:gd name="T8" fmla="*/ 2 w 3"/>
                    <a:gd name="T9" fmla="*/ 2 h 5"/>
                    <a:gd name="T10" fmla="*/ 1 w 3"/>
                    <a:gd name="T11" fmla="*/ 2 h 5"/>
                    <a:gd name="T12" fmla="*/ 0 w 3"/>
                    <a:gd name="T13" fmla="*/ 3 h 5"/>
                    <a:gd name="T14" fmla="*/ 2 w 3"/>
                    <a:gd name="T15" fmla="*/ 5 h 5"/>
                    <a:gd name="T16" fmla="*/ 2 w 3"/>
                    <a:gd name="T17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5">
                      <a:moveTo>
                        <a:pt x="2" y="4"/>
                      </a:move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8" name="Freeform 268">
                  <a:extLst>
                    <a:ext uri="{FF2B5EF4-FFF2-40B4-BE49-F238E27FC236}">
                      <a16:creationId xmlns:a16="http://schemas.microsoft.com/office/drawing/2014/main" id="{2D693F95-CBA9-4666-99E0-31D1740522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5" y="2159"/>
                  <a:ext cx="11" cy="7"/>
                </a:xfrm>
                <a:custGeom>
                  <a:avLst/>
                  <a:gdLst>
                    <a:gd name="T0" fmla="*/ 8 w 11"/>
                    <a:gd name="T1" fmla="*/ 7 h 7"/>
                    <a:gd name="T2" fmla="*/ 11 w 11"/>
                    <a:gd name="T3" fmla="*/ 3 h 7"/>
                    <a:gd name="T4" fmla="*/ 10 w 11"/>
                    <a:gd name="T5" fmla="*/ 0 h 7"/>
                    <a:gd name="T6" fmla="*/ 8 w 11"/>
                    <a:gd name="T7" fmla="*/ 0 h 7"/>
                    <a:gd name="T8" fmla="*/ 1 w 11"/>
                    <a:gd name="T9" fmla="*/ 2 h 7"/>
                    <a:gd name="T10" fmla="*/ 0 w 11"/>
                    <a:gd name="T11" fmla="*/ 4 h 7"/>
                    <a:gd name="T12" fmla="*/ 1 w 11"/>
                    <a:gd name="T13" fmla="*/ 7 h 7"/>
                    <a:gd name="T14" fmla="*/ 4 w 11"/>
                    <a:gd name="T15" fmla="*/ 7 h 7"/>
                    <a:gd name="T16" fmla="*/ 8 w 11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7">
                      <a:moveTo>
                        <a:pt x="8" y="7"/>
                      </a:moveTo>
                      <a:lnTo>
                        <a:pt x="11" y="3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1" y="2"/>
                      </a:lnTo>
                      <a:lnTo>
                        <a:pt x="0" y="4"/>
                      </a:lnTo>
                      <a:lnTo>
                        <a:pt x="1" y="7"/>
                      </a:lnTo>
                      <a:lnTo>
                        <a:pt x="4" y="7"/>
                      </a:lnTo>
                      <a:lnTo>
                        <a:pt x="8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9" name="Freeform 269">
                  <a:extLst>
                    <a:ext uri="{FF2B5EF4-FFF2-40B4-BE49-F238E27FC236}">
                      <a16:creationId xmlns:a16="http://schemas.microsoft.com/office/drawing/2014/main" id="{B07CC3C4-FB5F-4E05-A2F3-B5CDA65BE0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62" y="2130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0 w 3"/>
                    <a:gd name="T3" fmla="*/ 1 h 3"/>
                    <a:gd name="T4" fmla="*/ 1 w 3"/>
                    <a:gd name="T5" fmla="*/ 3 h 3"/>
                    <a:gd name="T6" fmla="*/ 3 w 3"/>
                    <a:gd name="T7" fmla="*/ 1 h 3"/>
                    <a:gd name="T8" fmla="*/ 2 w 3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3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0" name="Freeform 270">
                  <a:extLst>
                    <a:ext uri="{FF2B5EF4-FFF2-40B4-BE49-F238E27FC236}">
                      <a16:creationId xmlns:a16="http://schemas.microsoft.com/office/drawing/2014/main" id="{DB9A0A43-8150-4F1C-8E57-670C05C90F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4" y="2134"/>
                  <a:ext cx="4" cy="7"/>
                </a:xfrm>
                <a:custGeom>
                  <a:avLst/>
                  <a:gdLst>
                    <a:gd name="T0" fmla="*/ 3 w 4"/>
                    <a:gd name="T1" fmla="*/ 0 h 7"/>
                    <a:gd name="T2" fmla="*/ 1 w 4"/>
                    <a:gd name="T3" fmla="*/ 1 h 7"/>
                    <a:gd name="T4" fmla="*/ 0 w 4"/>
                    <a:gd name="T5" fmla="*/ 3 h 7"/>
                    <a:gd name="T6" fmla="*/ 0 w 4"/>
                    <a:gd name="T7" fmla="*/ 5 h 7"/>
                    <a:gd name="T8" fmla="*/ 1 w 4"/>
                    <a:gd name="T9" fmla="*/ 7 h 7"/>
                    <a:gd name="T10" fmla="*/ 2 w 4"/>
                    <a:gd name="T11" fmla="*/ 7 h 7"/>
                    <a:gd name="T12" fmla="*/ 4 w 4"/>
                    <a:gd name="T13" fmla="*/ 3 h 7"/>
                    <a:gd name="T14" fmla="*/ 3 w 4"/>
                    <a:gd name="T15" fmla="*/ 1 h 7"/>
                    <a:gd name="T16" fmla="*/ 3 w 4"/>
                    <a:gd name="T1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7">
                      <a:moveTo>
                        <a:pt x="3" y="0"/>
                      </a:move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7"/>
                      </a:lnTo>
                      <a:lnTo>
                        <a:pt x="2" y="7"/>
                      </a:lnTo>
                      <a:lnTo>
                        <a:pt x="4" y="3"/>
                      </a:lnTo>
                      <a:lnTo>
                        <a:pt x="3" y="1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1" name="Freeform 271">
                  <a:extLst>
                    <a:ext uri="{FF2B5EF4-FFF2-40B4-BE49-F238E27FC236}">
                      <a16:creationId xmlns:a16="http://schemas.microsoft.com/office/drawing/2014/main" id="{30ACE3A6-D428-4475-B549-A5610393DF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2" y="2125"/>
                  <a:ext cx="4" cy="6"/>
                </a:xfrm>
                <a:custGeom>
                  <a:avLst/>
                  <a:gdLst>
                    <a:gd name="T0" fmla="*/ 2 w 4"/>
                    <a:gd name="T1" fmla="*/ 6 h 6"/>
                    <a:gd name="T2" fmla="*/ 4 w 4"/>
                    <a:gd name="T3" fmla="*/ 4 h 6"/>
                    <a:gd name="T4" fmla="*/ 3 w 4"/>
                    <a:gd name="T5" fmla="*/ 2 h 6"/>
                    <a:gd name="T6" fmla="*/ 2 w 4"/>
                    <a:gd name="T7" fmla="*/ 0 h 6"/>
                    <a:gd name="T8" fmla="*/ 0 w 4"/>
                    <a:gd name="T9" fmla="*/ 3 h 6"/>
                    <a:gd name="T10" fmla="*/ 1 w 4"/>
                    <a:gd name="T11" fmla="*/ 4 h 6"/>
                    <a:gd name="T12" fmla="*/ 2 w 4"/>
                    <a:gd name="T13" fmla="*/ 6 h 6"/>
                    <a:gd name="T14" fmla="*/ 2 w 4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6">
                      <a:moveTo>
                        <a:pt x="2" y="6"/>
                      </a:moveTo>
                      <a:lnTo>
                        <a:pt x="4" y="4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2" y="6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2" name="Freeform 272">
                  <a:extLst>
                    <a:ext uri="{FF2B5EF4-FFF2-40B4-BE49-F238E27FC236}">
                      <a16:creationId xmlns:a16="http://schemas.microsoft.com/office/drawing/2014/main" id="{3B1976CF-DF21-4801-A7C3-F876BD8F5F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23" y="2043"/>
                  <a:ext cx="59" cy="99"/>
                </a:xfrm>
                <a:custGeom>
                  <a:avLst/>
                  <a:gdLst>
                    <a:gd name="T0" fmla="*/ 10 w 59"/>
                    <a:gd name="T1" fmla="*/ 11 h 99"/>
                    <a:gd name="T2" fmla="*/ 1 w 59"/>
                    <a:gd name="T3" fmla="*/ 17 h 99"/>
                    <a:gd name="T4" fmla="*/ 1 w 59"/>
                    <a:gd name="T5" fmla="*/ 22 h 99"/>
                    <a:gd name="T6" fmla="*/ 7 w 59"/>
                    <a:gd name="T7" fmla="*/ 20 h 99"/>
                    <a:gd name="T8" fmla="*/ 11 w 59"/>
                    <a:gd name="T9" fmla="*/ 26 h 99"/>
                    <a:gd name="T10" fmla="*/ 16 w 59"/>
                    <a:gd name="T11" fmla="*/ 33 h 99"/>
                    <a:gd name="T12" fmla="*/ 17 w 59"/>
                    <a:gd name="T13" fmla="*/ 39 h 99"/>
                    <a:gd name="T14" fmla="*/ 14 w 59"/>
                    <a:gd name="T15" fmla="*/ 40 h 99"/>
                    <a:gd name="T16" fmla="*/ 12 w 59"/>
                    <a:gd name="T17" fmla="*/ 41 h 99"/>
                    <a:gd name="T18" fmla="*/ 7 w 59"/>
                    <a:gd name="T19" fmla="*/ 45 h 99"/>
                    <a:gd name="T20" fmla="*/ 15 w 59"/>
                    <a:gd name="T21" fmla="*/ 48 h 99"/>
                    <a:gd name="T22" fmla="*/ 16 w 59"/>
                    <a:gd name="T23" fmla="*/ 59 h 99"/>
                    <a:gd name="T24" fmla="*/ 19 w 59"/>
                    <a:gd name="T25" fmla="*/ 59 h 99"/>
                    <a:gd name="T26" fmla="*/ 16 w 59"/>
                    <a:gd name="T27" fmla="*/ 68 h 99"/>
                    <a:gd name="T28" fmla="*/ 19 w 59"/>
                    <a:gd name="T29" fmla="*/ 72 h 99"/>
                    <a:gd name="T30" fmla="*/ 17 w 59"/>
                    <a:gd name="T31" fmla="*/ 77 h 99"/>
                    <a:gd name="T32" fmla="*/ 19 w 59"/>
                    <a:gd name="T33" fmla="*/ 83 h 99"/>
                    <a:gd name="T34" fmla="*/ 20 w 59"/>
                    <a:gd name="T35" fmla="*/ 91 h 99"/>
                    <a:gd name="T36" fmla="*/ 23 w 59"/>
                    <a:gd name="T37" fmla="*/ 95 h 99"/>
                    <a:gd name="T38" fmla="*/ 23 w 59"/>
                    <a:gd name="T39" fmla="*/ 99 h 99"/>
                    <a:gd name="T40" fmla="*/ 26 w 59"/>
                    <a:gd name="T41" fmla="*/ 93 h 99"/>
                    <a:gd name="T42" fmla="*/ 30 w 59"/>
                    <a:gd name="T43" fmla="*/ 92 h 99"/>
                    <a:gd name="T44" fmla="*/ 38 w 59"/>
                    <a:gd name="T45" fmla="*/ 85 h 99"/>
                    <a:gd name="T46" fmla="*/ 41 w 59"/>
                    <a:gd name="T47" fmla="*/ 83 h 99"/>
                    <a:gd name="T48" fmla="*/ 44 w 59"/>
                    <a:gd name="T49" fmla="*/ 87 h 99"/>
                    <a:gd name="T50" fmla="*/ 48 w 59"/>
                    <a:gd name="T51" fmla="*/ 87 h 99"/>
                    <a:gd name="T52" fmla="*/ 48 w 59"/>
                    <a:gd name="T53" fmla="*/ 84 h 99"/>
                    <a:gd name="T54" fmla="*/ 54 w 59"/>
                    <a:gd name="T55" fmla="*/ 81 h 99"/>
                    <a:gd name="T56" fmla="*/ 57 w 59"/>
                    <a:gd name="T57" fmla="*/ 73 h 99"/>
                    <a:gd name="T58" fmla="*/ 58 w 59"/>
                    <a:gd name="T59" fmla="*/ 58 h 99"/>
                    <a:gd name="T60" fmla="*/ 56 w 59"/>
                    <a:gd name="T61" fmla="*/ 60 h 99"/>
                    <a:gd name="T62" fmla="*/ 54 w 59"/>
                    <a:gd name="T63" fmla="*/ 43 h 99"/>
                    <a:gd name="T64" fmla="*/ 52 w 59"/>
                    <a:gd name="T65" fmla="*/ 33 h 99"/>
                    <a:gd name="T66" fmla="*/ 36 w 59"/>
                    <a:gd name="T67" fmla="*/ 12 h 99"/>
                    <a:gd name="T68" fmla="*/ 25 w 59"/>
                    <a:gd name="T69" fmla="*/ 5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9" h="99">
                      <a:moveTo>
                        <a:pt x="16" y="5"/>
                      </a:moveTo>
                      <a:lnTo>
                        <a:pt x="10" y="11"/>
                      </a:lnTo>
                      <a:lnTo>
                        <a:pt x="6" y="12"/>
                      </a:lnTo>
                      <a:lnTo>
                        <a:pt x="1" y="17"/>
                      </a:lnTo>
                      <a:lnTo>
                        <a:pt x="0" y="21"/>
                      </a:lnTo>
                      <a:lnTo>
                        <a:pt x="1" y="22"/>
                      </a:lnTo>
                      <a:lnTo>
                        <a:pt x="3" y="19"/>
                      </a:lnTo>
                      <a:lnTo>
                        <a:pt x="7" y="20"/>
                      </a:lnTo>
                      <a:lnTo>
                        <a:pt x="5" y="21"/>
                      </a:lnTo>
                      <a:lnTo>
                        <a:pt x="11" y="26"/>
                      </a:lnTo>
                      <a:lnTo>
                        <a:pt x="14" y="33"/>
                      </a:lnTo>
                      <a:lnTo>
                        <a:pt x="16" y="33"/>
                      </a:lnTo>
                      <a:lnTo>
                        <a:pt x="16" y="36"/>
                      </a:lnTo>
                      <a:lnTo>
                        <a:pt x="17" y="39"/>
                      </a:lnTo>
                      <a:lnTo>
                        <a:pt x="19" y="42"/>
                      </a:lnTo>
                      <a:lnTo>
                        <a:pt x="14" y="40"/>
                      </a:lnTo>
                      <a:lnTo>
                        <a:pt x="13" y="38"/>
                      </a:lnTo>
                      <a:lnTo>
                        <a:pt x="12" y="41"/>
                      </a:lnTo>
                      <a:lnTo>
                        <a:pt x="9" y="40"/>
                      </a:lnTo>
                      <a:lnTo>
                        <a:pt x="7" y="45"/>
                      </a:lnTo>
                      <a:lnTo>
                        <a:pt x="13" y="49"/>
                      </a:lnTo>
                      <a:lnTo>
                        <a:pt x="15" y="48"/>
                      </a:lnTo>
                      <a:lnTo>
                        <a:pt x="16" y="52"/>
                      </a:lnTo>
                      <a:lnTo>
                        <a:pt x="16" y="59"/>
                      </a:lnTo>
                      <a:lnTo>
                        <a:pt x="18" y="61"/>
                      </a:lnTo>
                      <a:lnTo>
                        <a:pt x="19" y="59"/>
                      </a:lnTo>
                      <a:lnTo>
                        <a:pt x="21" y="65"/>
                      </a:lnTo>
                      <a:lnTo>
                        <a:pt x="16" y="68"/>
                      </a:lnTo>
                      <a:lnTo>
                        <a:pt x="16" y="71"/>
                      </a:lnTo>
                      <a:lnTo>
                        <a:pt x="19" y="72"/>
                      </a:lnTo>
                      <a:lnTo>
                        <a:pt x="19" y="75"/>
                      </a:lnTo>
                      <a:lnTo>
                        <a:pt x="17" y="77"/>
                      </a:lnTo>
                      <a:lnTo>
                        <a:pt x="17" y="80"/>
                      </a:lnTo>
                      <a:lnTo>
                        <a:pt x="19" y="83"/>
                      </a:lnTo>
                      <a:lnTo>
                        <a:pt x="16" y="83"/>
                      </a:lnTo>
                      <a:lnTo>
                        <a:pt x="20" y="91"/>
                      </a:lnTo>
                      <a:lnTo>
                        <a:pt x="22" y="92"/>
                      </a:lnTo>
                      <a:lnTo>
                        <a:pt x="23" y="95"/>
                      </a:lnTo>
                      <a:lnTo>
                        <a:pt x="24" y="96"/>
                      </a:lnTo>
                      <a:lnTo>
                        <a:pt x="23" y="99"/>
                      </a:lnTo>
                      <a:lnTo>
                        <a:pt x="26" y="97"/>
                      </a:lnTo>
                      <a:lnTo>
                        <a:pt x="26" y="93"/>
                      </a:lnTo>
                      <a:lnTo>
                        <a:pt x="27" y="95"/>
                      </a:lnTo>
                      <a:lnTo>
                        <a:pt x="30" y="92"/>
                      </a:lnTo>
                      <a:lnTo>
                        <a:pt x="36" y="85"/>
                      </a:lnTo>
                      <a:lnTo>
                        <a:pt x="38" y="85"/>
                      </a:lnTo>
                      <a:lnTo>
                        <a:pt x="39" y="86"/>
                      </a:lnTo>
                      <a:lnTo>
                        <a:pt x="41" y="83"/>
                      </a:lnTo>
                      <a:lnTo>
                        <a:pt x="42" y="84"/>
                      </a:lnTo>
                      <a:lnTo>
                        <a:pt x="44" y="87"/>
                      </a:lnTo>
                      <a:lnTo>
                        <a:pt x="46" y="85"/>
                      </a:lnTo>
                      <a:lnTo>
                        <a:pt x="48" y="87"/>
                      </a:lnTo>
                      <a:lnTo>
                        <a:pt x="48" y="86"/>
                      </a:lnTo>
                      <a:lnTo>
                        <a:pt x="48" y="84"/>
                      </a:lnTo>
                      <a:lnTo>
                        <a:pt x="51" y="81"/>
                      </a:lnTo>
                      <a:lnTo>
                        <a:pt x="54" y="81"/>
                      </a:lnTo>
                      <a:lnTo>
                        <a:pt x="58" y="75"/>
                      </a:lnTo>
                      <a:lnTo>
                        <a:pt x="57" y="73"/>
                      </a:lnTo>
                      <a:lnTo>
                        <a:pt x="59" y="71"/>
                      </a:lnTo>
                      <a:lnTo>
                        <a:pt x="58" y="58"/>
                      </a:lnTo>
                      <a:lnTo>
                        <a:pt x="58" y="58"/>
                      </a:lnTo>
                      <a:lnTo>
                        <a:pt x="56" y="60"/>
                      </a:lnTo>
                      <a:lnTo>
                        <a:pt x="56" y="56"/>
                      </a:lnTo>
                      <a:lnTo>
                        <a:pt x="54" y="43"/>
                      </a:lnTo>
                      <a:lnTo>
                        <a:pt x="52" y="41"/>
                      </a:lnTo>
                      <a:lnTo>
                        <a:pt x="52" y="33"/>
                      </a:lnTo>
                      <a:lnTo>
                        <a:pt x="44" y="21"/>
                      </a:lnTo>
                      <a:lnTo>
                        <a:pt x="36" y="12"/>
                      </a:lnTo>
                      <a:lnTo>
                        <a:pt x="31" y="0"/>
                      </a:lnTo>
                      <a:lnTo>
                        <a:pt x="25" y="5"/>
                      </a:lnTo>
                      <a:lnTo>
                        <a:pt x="16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3" name="Freeform 273">
                  <a:extLst>
                    <a:ext uri="{FF2B5EF4-FFF2-40B4-BE49-F238E27FC236}">
                      <a16:creationId xmlns:a16="http://schemas.microsoft.com/office/drawing/2014/main" id="{A3570576-503A-4EBD-892C-A0DCB27984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4" y="2144"/>
                  <a:ext cx="3" cy="4"/>
                </a:xfrm>
                <a:custGeom>
                  <a:avLst/>
                  <a:gdLst>
                    <a:gd name="T0" fmla="*/ 0 w 3"/>
                    <a:gd name="T1" fmla="*/ 4 h 4"/>
                    <a:gd name="T2" fmla="*/ 1 w 3"/>
                    <a:gd name="T3" fmla="*/ 4 h 4"/>
                    <a:gd name="T4" fmla="*/ 2 w 3"/>
                    <a:gd name="T5" fmla="*/ 2 h 4"/>
                    <a:gd name="T6" fmla="*/ 3 w 3"/>
                    <a:gd name="T7" fmla="*/ 0 h 4"/>
                    <a:gd name="T8" fmla="*/ 0 w 3"/>
                    <a:gd name="T9" fmla="*/ 0 h 4"/>
                    <a:gd name="T10" fmla="*/ 0 w 3"/>
                    <a:gd name="T11" fmla="*/ 1 h 4"/>
                    <a:gd name="T12" fmla="*/ 0 w 3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4">
                      <a:moveTo>
                        <a:pt x="0" y="4"/>
                      </a:moveTo>
                      <a:lnTo>
                        <a:pt x="1" y="4"/>
                      </a:lnTo>
                      <a:lnTo>
                        <a:pt x="2" y="2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4" name="Freeform 274">
                  <a:extLst>
                    <a:ext uri="{FF2B5EF4-FFF2-40B4-BE49-F238E27FC236}">
                      <a16:creationId xmlns:a16="http://schemas.microsoft.com/office/drawing/2014/main" id="{65333C99-7150-4250-9607-1CB1521504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94" y="1930"/>
                  <a:ext cx="68" cy="139"/>
                </a:xfrm>
                <a:custGeom>
                  <a:avLst/>
                  <a:gdLst>
                    <a:gd name="T0" fmla="*/ 60 w 68"/>
                    <a:gd name="T1" fmla="*/ 8 h 139"/>
                    <a:gd name="T2" fmla="*/ 59 w 68"/>
                    <a:gd name="T3" fmla="*/ 2 h 139"/>
                    <a:gd name="T4" fmla="*/ 55 w 68"/>
                    <a:gd name="T5" fmla="*/ 1 h 139"/>
                    <a:gd name="T6" fmla="*/ 54 w 68"/>
                    <a:gd name="T7" fmla="*/ 8 h 139"/>
                    <a:gd name="T8" fmla="*/ 54 w 68"/>
                    <a:gd name="T9" fmla="*/ 14 h 139"/>
                    <a:gd name="T10" fmla="*/ 49 w 68"/>
                    <a:gd name="T11" fmla="*/ 18 h 139"/>
                    <a:gd name="T12" fmla="*/ 44 w 68"/>
                    <a:gd name="T13" fmla="*/ 27 h 139"/>
                    <a:gd name="T14" fmla="*/ 38 w 68"/>
                    <a:gd name="T15" fmla="*/ 29 h 139"/>
                    <a:gd name="T16" fmla="*/ 44 w 68"/>
                    <a:gd name="T17" fmla="*/ 35 h 139"/>
                    <a:gd name="T18" fmla="*/ 42 w 68"/>
                    <a:gd name="T19" fmla="*/ 42 h 139"/>
                    <a:gd name="T20" fmla="*/ 33 w 68"/>
                    <a:gd name="T21" fmla="*/ 42 h 139"/>
                    <a:gd name="T22" fmla="*/ 28 w 68"/>
                    <a:gd name="T23" fmla="*/ 42 h 139"/>
                    <a:gd name="T24" fmla="*/ 23 w 68"/>
                    <a:gd name="T25" fmla="*/ 39 h 139"/>
                    <a:gd name="T26" fmla="*/ 18 w 68"/>
                    <a:gd name="T27" fmla="*/ 38 h 139"/>
                    <a:gd name="T28" fmla="*/ 18 w 68"/>
                    <a:gd name="T29" fmla="*/ 45 h 139"/>
                    <a:gd name="T30" fmla="*/ 14 w 68"/>
                    <a:gd name="T31" fmla="*/ 56 h 139"/>
                    <a:gd name="T32" fmla="*/ 10 w 68"/>
                    <a:gd name="T33" fmla="*/ 63 h 139"/>
                    <a:gd name="T34" fmla="*/ 6 w 68"/>
                    <a:gd name="T35" fmla="*/ 69 h 139"/>
                    <a:gd name="T36" fmla="*/ 0 w 68"/>
                    <a:gd name="T37" fmla="*/ 77 h 139"/>
                    <a:gd name="T38" fmla="*/ 0 w 68"/>
                    <a:gd name="T39" fmla="*/ 87 h 139"/>
                    <a:gd name="T40" fmla="*/ 1 w 68"/>
                    <a:gd name="T41" fmla="*/ 87 h 139"/>
                    <a:gd name="T42" fmla="*/ 5 w 68"/>
                    <a:gd name="T43" fmla="*/ 92 h 139"/>
                    <a:gd name="T44" fmla="*/ 8 w 68"/>
                    <a:gd name="T45" fmla="*/ 91 h 139"/>
                    <a:gd name="T46" fmla="*/ 14 w 68"/>
                    <a:gd name="T47" fmla="*/ 93 h 139"/>
                    <a:gd name="T48" fmla="*/ 18 w 68"/>
                    <a:gd name="T49" fmla="*/ 91 h 139"/>
                    <a:gd name="T50" fmla="*/ 14 w 68"/>
                    <a:gd name="T51" fmla="*/ 95 h 139"/>
                    <a:gd name="T52" fmla="*/ 13 w 68"/>
                    <a:gd name="T53" fmla="*/ 104 h 139"/>
                    <a:gd name="T54" fmla="*/ 14 w 68"/>
                    <a:gd name="T55" fmla="*/ 115 h 139"/>
                    <a:gd name="T56" fmla="*/ 22 w 68"/>
                    <a:gd name="T57" fmla="*/ 113 h 139"/>
                    <a:gd name="T58" fmla="*/ 15 w 68"/>
                    <a:gd name="T59" fmla="*/ 117 h 139"/>
                    <a:gd name="T60" fmla="*/ 14 w 68"/>
                    <a:gd name="T61" fmla="*/ 129 h 139"/>
                    <a:gd name="T62" fmla="*/ 14 w 68"/>
                    <a:gd name="T63" fmla="*/ 132 h 139"/>
                    <a:gd name="T64" fmla="*/ 19 w 68"/>
                    <a:gd name="T65" fmla="*/ 132 h 139"/>
                    <a:gd name="T66" fmla="*/ 18 w 68"/>
                    <a:gd name="T67" fmla="*/ 139 h 139"/>
                    <a:gd name="T68" fmla="*/ 23 w 68"/>
                    <a:gd name="T69" fmla="*/ 137 h 139"/>
                    <a:gd name="T70" fmla="*/ 25 w 68"/>
                    <a:gd name="T71" fmla="*/ 132 h 139"/>
                    <a:gd name="T72" fmla="*/ 29 w 68"/>
                    <a:gd name="T73" fmla="*/ 134 h 139"/>
                    <a:gd name="T74" fmla="*/ 35 w 68"/>
                    <a:gd name="T75" fmla="*/ 125 h 139"/>
                    <a:gd name="T76" fmla="*/ 45 w 68"/>
                    <a:gd name="T77" fmla="*/ 118 h 139"/>
                    <a:gd name="T78" fmla="*/ 60 w 68"/>
                    <a:gd name="T79" fmla="*/ 113 h 139"/>
                    <a:gd name="T80" fmla="*/ 48 w 68"/>
                    <a:gd name="T81" fmla="*/ 102 h 139"/>
                    <a:gd name="T82" fmla="*/ 42 w 68"/>
                    <a:gd name="T83" fmla="*/ 98 h 139"/>
                    <a:gd name="T84" fmla="*/ 42 w 68"/>
                    <a:gd name="T85" fmla="*/ 92 h 139"/>
                    <a:gd name="T86" fmla="*/ 41 w 68"/>
                    <a:gd name="T87" fmla="*/ 84 h 139"/>
                    <a:gd name="T88" fmla="*/ 45 w 68"/>
                    <a:gd name="T89" fmla="*/ 77 h 139"/>
                    <a:gd name="T90" fmla="*/ 51 w 68"/>
                    <a:gd name="T91" fmla="*/ 75 h 139"/>
                    <a:gd name="T92" fmla="*/ 54 w 68"/>
                    <a:gd name="T93" fmla="*/ 71 h 139"/>
                    <a:gd name="T94" fmla="*/ 60 w 68"/>
                    <a:gd name="T95" fmla="*/ 60 h 139"/>
                    <a:gd name="T96" fmla="*/ 63 w 68"/>
                    <a:gd name="T97" fmla="*/ 55 h 139"/>
                    <a:gd name="T98" fmla="*/ 62 w 68"/>
                    <a:gd name="T99" fmla="*/ 49 h 139"/>
                    <a:gd name="T100" fmla="*/ 59 w 68"/>
                    <a:gd name="T101" fmla="*/ 37 h 139"/>
                    <a:gd name="T102" fmla="*/ 61 w 68"/>
                    <a:gd name="T103" fmla="*/ 24 h 139"/>
                    <a:gd name="T104" fmla="*/ 63 w 68"/>
                    <a:gd name="T105" fmla="*/ 20 h 139"/>
                    <a:gd name="T106" fmla="*/ 68 w 68"/>
                    <a:gd name="T107" fmla="*/ 14 h 139"/>
                    <a:gd name="T108" fmla="*/ 65 w 68"/>
                    <a:gd name="T109" fmla="*/ 10 h 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8" h="139">
                      <a:moveTo>
                        <a:pt x="64" y="8"/>
                      </a:moveTo>
                      <a:lnTo>
                        <a:pt x="60" y="8"/>
                      </a:lnTo>
                      <a:lnTo>
                        <a:pt x="59" y="6"/>
                      </a:lnTo>
                      <a:lnTo>
                        <a:pt x="59" y="2"/>
                      </a:lnTo>
                      <a:lnTo>
                        <a:pt x="56" y="0"/>
                      </a:lnTo>
                      <a:lnTo>
                        <a:pt x="55" y="1"/>
                      </a:lnTo>
                      <a:lnTo>
                        <a:pt x="55" y="4"/>
                      </a:lnTo>
                      <a:lnTo>
                        <a:pt x="54" y="8"/>
                      </a:lnTo>
                      <a:lnTo>
                        <a:pt x="56" y="11"/>
                      </a:lnTo>
                      <a:lnTo>
                        <a:pt x="54" y="14"/>
                      </a:lnTo>
                      <a:lnTo>
                        <a:pt x="52" y="14"/>
                      </a:lnTo>
                      <a:lnTo>
                        <a:pt x="49" y="18"/>
                      </a:lnTo>
                      <a:lnTo>
                        <a:pt x="49" y="22"/>
                      </a:lnTo>
                      <a:lnTo>
                        <a:pt x="44" y="27"/>
                      </a:lnTo>
                      <a:lnTo>
                        <a:pt x="40" y="27"/>
                      </a:lnTo>
                      <a:lnTo>
                        <a:pt x="38" y="29"/>
                      </a:lnTo>
                      <a:lnTo>
                        <a:pt x="41" y="32"/>
                      </a:lnTo>
                      <a:lnTo>
                        <a:pt x="44" y="35"/>
                      </a:lnTo>
                      <a:lnTo>
                        <a:pt x="44" y="38"/>
                      </a:lnTo>
                      <a:lnTo>
                        <a:pt x="42" y="42"/>
                      </a:lnTo>
                      <a:lnTo>
                        <a:pt x="38" y="42"/>
                      </a:lnTo>
                      <a:lnTo>
                        <a:pt x="33" y="42"/>
                      </a:lnTo>
                      <a:lnTo>
                        <a:pt x="30" y="41"/>
                      </a:lnTo>
                      <a:lnTo>
                        <a:pt x="28" y="42"/>
                      </a:lnTo>
                      <a:lnTo>
                        <a:pt x="25" y="40"/>
                      </a:lnTo>
                      <a:lnTo>
                        <a:pt x="23" y="39"/>
                      </a:lnTo>
                      <a:lnTo>
                        <a:pt x="21" y="34"/>
                      </a:lnTo>
                      <a:lnTo>
                        <a:pt x="18" y="38"/>
                      </a:lnTo>
                      <a:lnTo>
                        <a:pt x="18" y="43"/>
                      </a:lnTo>
                      <a:lnTo>
                        <a:pt x="18" y="45"/>
                      </a:lnTo>
                      <a:lnTo>
                        <a:pt x="17" y="48"/>
                      </a:lnTo>
                      <a:lnTo>
                        <a:pt x="14" y="56"/>
                      </a:lnTo>
                      <a:lnTo>
                        <a:pt x="12" y="58"/>
                      </a:lnTo>
                      <a:lnTo>
                        <a:pt x="10" y="63"/>
                      </a:lnTo>
                      <a:lnTo>
                        <a:pt x="6" y="67"/>
                      </a:lnTo>
                      <a:lnTo>
                        <a:pt x="6" y="69"/>
                      </a:lnTo>
                      <a:lnTo>
                        <a:pt x="4" y="73"/>
                      </a:lnTo>
                      <a:lnTo>
                        <a:pt x="0" y="77"/>
                      </a:lnTo>
                      <a:lnTo>
                        <a:pt x="0" y="87"/>
                      </a:lnTo>
                      <a:lnTo>
                        <a:pt x="0" y="87"/>
                      </a:lnTo>
                      <a:lnTo>
                        <a:pt x="0" y="88"/>
                      </a:lnTo>
                      <a:lnTo>
                        <a:pt x="1" y="87"/>
                      </a:lnTo>
                      <a:lnTo>
                        <a:pt x="3" y="94"/>
                      </a:lnTo>
                      <a:lnTo>
                        <a:pt x="5" y="92"/>
                      </a:lnTo>
                      <a:lnTo>
                        <a:pt x="5" y="90"/>
                      </a:lnTo>
                      <a:lnTo>
                        <a:pt x="8" y="91"/>
                      </a:lnTo>
                      <a:lnTo>
                        <a:pt x="9" y="94"/>
                      </a:lnTo>
                      <a:lnTo>
                        <a:pt x="14" y="93"/>
                      </a:lnTo>
                      <a:lnTo>
                        <a:pt x="15" y="91"/>
                      </a:lnTo>
                      <a:lnTo>
                        <a:pt x="18" y="91"/>
                      </a:lnTo>
                      <a:lnTo>
                        <a:pt x="17" y="94"/>
                      </a:lnTo>
                      <a:lnTo>
                        <a:pt x="14" y="95"/>
                      </a:lnTo>
                      <a:lnTo>
                        <a:pt x="17" y="98"/>
                      </a:lnTo>
                      <a:lnTo>
                        <a:pt x="13" y="104"/>
                      </a:lnTo>
                      <a:lnTo>
                        <a:pt x="13" y="113"/>
                      </a:lnTo>
                      <a:lnTo>
                        <a:pt x="14" y="115"/>
                      </a:lnTo>
                      <a:lnTo>
                        <a:pt x="19" y="115"/>
                      </a:lnTo>
                      <a:lnTo>
                        <a:pt x="22" y="113"/>
                      </a:lnTo>
                      <a:lnTo>
                        <a:pt x="19" y="116"/>
                      </a:lnTo>
                      <a:lnTo>
                        <a:pt x="15" y="117"/>
                      </a:lnTo>
                      <a:lnTo>
                        <a:pt x="14" y="122"/>
                      </a:lnTo>
                      <a:lnTo>
                        <a:pt x="14" y="129"/>
                      </a:lnTo>
                      <a:lnTo>
                        <a:pt x="13" y="132"/>
                      </a:lnTo>
                      <a:lnTo>
                        <a:pt x="14" y="132"/>
                      </a:lnTo>
                      <a:lnTo>
                        <a:pt x="17" y="130"/>
                      </a:lnTo>
                      <a:lnTo>
                        <a:pt x="19" y="132"/>
                      </a:lnTo>
                      <a:lnTo>
                        <a:pt x="17" y="136"/>
                      </a:lnTo>
                      <a:lnTo>
                        <a:pt x="18" y="139"/>
                      </a:lnTo>
                      <a:lnTo>
                        <a:pt x="21" y="136"/>
                      </a:lnTo>
                      <a:lnTo>
                        <a:pt x="23" y="137"/>
                      </a:lnTo>
                      <a:lnTo>
                        <a:pt x="25" y="133"/>
                      </a:lnTo>
                      <a:lnTo>
                        <a:pt x="25" y="132"/>
                      </a:lnTo>
                      <a:lnTo>
                        <a:pt x="26" y="130"/>
                      </a:lnTo>
                      <a:lnTo>
                        <a:pt x="29" y="134"/>
                      </a:lnTo>
                      <a:lnTo>
                        <a:pt x="30" y="130"/>
                      </a:lnTo>
                      <a:lnTo>
                        <a:pt x="35" y="125"/>
                      </a:lnTo>
                      <a:lnTo>
                        <a:pt x="39" y="124"/>
                      </a:lnTo>
                      <a:lnTo>
                        <a:pt x="45" y="118"/>
                      </a:lnTo>
                      <a:lnTo>
                        <a:pt x="54" y="118"/>
                      </a:lnTo>
                      <a:lnTo>
                        <a:pt x="60" y="113"/>
                      </a:lnTo>
                      <a:lnTo>
                        <a:pt x="58" y="109"/>
                      </a:lnTo>
                      <a:lnTo>
                        <a:pt x="48" y="102"/>
                      </a:lnTo>
                      <a:lnTo>
                        <a:pt x="46" y="99"/>
                      </a:lnTo>
                      <a:lnTo>
                        <a:pt x="42" y="98"/>
                      </a:lnTo>
                      <a:lnTo>
                        <a:pt x="40" y="94"/>
                      </a:lnTo>
                      <a:lnTo>
                        <a:pt x="42" y="92"/>
                      </a:lnTo>
                      <a:lnTo>
                        <a:pt x="41" y="88"/>
                      </a:lnTo>
                      <a:lnTo>
                        <a:pt x="41" y="84"/>
                      </a:lnTo>
                      <a:lnTo>
                        <a:pt x="45" y="81"/>
                      </a:lnTo>
                      <a:lnTo>
                        <a:pt x="45" y="77"/>
                      </a:lnTo>
                      <a:lnTo>
                        <a:pt x="49" y="75"/>
                      </a:lnTo>
                      <a:lnTo>
                        <a:pt x="51" y="75"/>
                      </a:lnTo>
                      <a:lnTo>
                        <a:pt x="52" y="73"/>
                      </a:lnTo>
                      <a:lnTo>
                        <a:pt x="54" y="71"/>
                      </a:lnTo>
                      <a:lnTo>
                        <a:pt x="53" y="69"/>
                      </a:lnTo>
                      <a:lnTo>
                        <a:pt x="60" y="60"/>
                      </a:lnTo>
                      <a:lnTo>
                        <a:pt x="59" y="59"/>
                      </a:lnTo>
                      <a:lnTo>
                        <a:pt x="63" y="55"/>
                      </a:lnTo>
                      <a:lnTo>
                        <a:pt x="64" y="51"/>
                      </a:lnTo>
                      <a:lnTo>
                        <a:pt x="62" y="49"/>
                      </a:lnTo>
                      <a:lnTo>
                        <a:pt x="62" y="40"/>
                      </a:lnTo>
                      <a:lnTo>
                        <a:pt x="59" y="37"/>
                      </a:lnTo>
                      <a:lnTo>
                        <a:pt x="59" y="32"/>
                      </a:lnTo>
                      <a:lnTo>
                        <a:pt x="61" y="24"/>
                      </a:lnTo>
                      <a:lnTo>
                        <a:pt x="61" y="20"/>
                      </a:lnTo>
                      <a:lnTo>
                        <a:pt x="63" y="20"/>
                      </a:lnTo>
                      <a:lnTo>
                        <a:pt x="67" y="14"/>
                      </a:lnTo>
                      <a:lnTo>
                        <a:pt x="68" y="14"/>
                      </a:lnTo>
                      <a:lnTo>
                        <a:pt x="67" y="14"/>
                      </a:lnTo>
                      <a:lnTo>
                        <a:pt x="65" y="10"/>
                      </a:lnTo>
                      <a:lnTo>
                        <a:pt x="64" y="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5" name="Freeform 275">
                  <a:extLst>
                    <a:ext uri="{FF2B5EF4-FFF2-40B4-BE49-F238E27FC236}">
                      <a16:creationId xmlns:a16="http://schemas.microsoft.com/office/drawing/2014/main" id="{AE36C03A-754B-46F6-8A93-0AFEE965DC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51" y="1750"/>
                  <a:ext cx="435" cy="247"/>
                </a:xfrm>
                <a:custGeom>
                  <a:avLst/>
                  <a:gdLst>
                    <a:gd name="T0" fmla="*/ 3 w 435"/>
                    <a:gd name="T1" fmla="*/ 95 h 247"/>
                    <a:gd name="T2" fmla="*/ 7 w 435"/>
                    <a:gd name="T3" fmla="*/ 104 h 247"/>
                    <a:gd name="T4" fmla="*/ 18 w 435"/>
                    <a:gd name="T5" fmla="*/ 118 h 247"/>
                    <a:gd name="T6" fmla="*/ 27 w 435"/>
                    <a:gd name="T7" fmla="*/ 114 h 247"/>
                    <a:gd name="T8" fmla="*/ 38 w 435"/>
                    <a:gd name="T9" fmla="*/ 116 h 247"/>
                    <a:gd name="T10" fmla="*/ 46 w 435"/>
                    <a:gd name="T11" fmla="*/ 129 h 247"/>
                    <a:gd name="T12" fmla="*/ 56 w 435"/>
                    <a:gd name="T13" fmla="*/ 144 h 247"/>
                    <a:gd name="T14" fmla="*/ 55 w 435"/>
                    <a:gd name="T15" fmla="*/ 161 h 247"/>
                    <a:gd name="T16" fmla="*/ 75 w 435"/>
                    <a:gd name="T17" fmla="*/ 180 h 247"/>
                    <a:gd name="T18" fmla="*/ 101 w 435"/>
                    <a:gd name="T19" fmla="*/ 184 h 247"/>
                    <a:gd name="T20" fmla="*/ 116 w 435"/>
                    <a:gd name="T21" fmla="*/ 193 h 247"/>
                    <a:gd name="T22" fmla="*/ 124 w 435"/>
                    <a:gd name="T23" fmla="*/ 198 h 247"/>
                    <a:gd name="T24" fmla="*/ 136 w 435"/>
                    <a:gd name="T25" fmla="*/ 218 h 247"/>
                    <a:gd name="T26" fmla="*/ 158 w 435"/>
                    <a:gd name="T27" fmla="*/ 229 h 247"/>
                    <a:gd name="T28" fmla="*/ 192 w 435"/>
                    <a:gd name="T29" fmla="*/ 224 h 247"/>
                    <a:gd name="T30" fmla="*/ 230 w 435"/>
                    <a:gd name="T31" fmla="*/ 236 h 247"/>
                    <a:gd name="T32" fmla="*/ 259 w 435"/>
                    <a:gd name="T33" fmla="*/ 243 h 247"/>
                    <a:gd name="T34" fmla="*/ 280 w 435"/>
                    <a:gd name="T35" fmla="*/ 233 h 247"/>
                    <a:gd name="T36" fmla="*/ 316 w 435"/>
                    <a:gd name="T37" fmla="*/ 221 h 247"/>
                    <a:gd name="T38" fmla="*/ 336 w 435"/>
                    <a:gd name="T39" fmla="*/ 207 h 247"/>
                    <a:gd name="T40" fmla="*/ 343 w 435"/>
                    <a:gd name="T41" fmla="*/ 179 h 247"/>
                    <a:gd name="T42" fmla="*/ 343 w 435"/>
                    <a:gd name="T43" fmla="*/ 154 h 247"/>
                    <a:gd name="T44" fmla="*/ 366 w 435"/>
                    <a:gd name="T45" fmla="*/ 160 h 247"/>
                    <a:gd name="T46" fmla="*/ 378 w 435"/>
                    <a:gd name="T47" fmla="*/ 143 h 247"/>
                    <a:gd name="T48" fmla="*/ 398 w 435"/>
                    <a:gd name="T49" fmla="*/ 134 h 247"/>
                    <a:gd name="T50" fmla="*/ 405 w 435"/>
                    <a:gd name="T51" fmla="*/ 119 h 247"/>
                    <a:gd name="T52" fmla="*/ 416 w 435"/>
                    <a:gd name="T53" fmla="*/ 110 h 247"/>
                    <a:gd name="T54" fmla="*/ 431 w 435"/>
                    <a:gd name="T55" fmla="*/ 107 h 247"/>
                    <a:gd name="T56" fmla="*/ 434 w 435"/>
                    <a:gd name="T57" fmla="*/ 96 h 247"/>
                    <a:gd name="T58" fmla="*/ 410 w 435"/>
                    <a:gd name="T59" fmla="*/ 70 h 247"/>
                    <a:gd name="T60" fmla="*/ 398 w 435"/>
                    <a:gd name="T61" fmla="*/ 82 h 247"/>
                    <a:gd name="T62" fmla="*/ 375 w 435"/>
                    <a:gd name="T63" fmla="*/ 68 h 247"/>
                    <a:gd name="T64" fmla="*/ 377 w 435"/>
                    <a:gd name="T65" fmla="*/ 26 h 247"/>
                    <a:gd name="T66" fmla="*/ 360 w 435"/>
                    <a:gd name="T67" fmla="*/ 28 h 247"/>
                    <a:gd name="T68" fmla="*/ 343 w 435"/>
                    <a:gd name="T69" fmla="*/ 24 h 247"/>
                    <a:gd name="T70" fmla="*/ 331 w 435"/>
                    <a:gd name="T71" fmla="*/ 33 h 247"/>
                    <a:gd name="T72" fmla="*/ 317 w 435"/>
                    <a:gd name="T73" fmla="*/ 45 h 247"/>
                    <a:gd name="T74" fmla="*/ 300 w 435"/>
                    <a:gd name="T75" fmla="*/ 54 h 247"/>
                    <a:gd name="T76" fmla="*/ 271 w 435"/>
                    <a:gd name="T77" fmla="*/ 55 h 247"/>
                    <a:gd name="T78" fmla="*/ 259 w 435"/>
                    <a:gd name="T79" fmla="*/ 43 h 247"/>
                    <a:gd name="T80" fmla="*/ 237 w 435"/>
                    <a:gd name="T81" fmla="*/ 35 h 247"/>
                    <a:gd name="T82" fmla="*/ 214 w 435"/>
                    <a:gd name="T83" fmla="*/ 36 h 247"/>
                    <a:gd name="T84" fmla="*/ 200 w 435"/>
                    <a:gd name="T85" fmla="*/ 42 h 247"/>
                    <a:gd name="T86" fmla="*/ 183 w 435"/>
                    <a:gd name="T87" fmla="*/ 37 h 247"/>
                    <a:gd name="T88" fmla="*/ 174 w 435"/>
                    <a:gd name="T89" fmla="*/ 23 h 247"/>
                    <a:gd name="T90" fmla="*/ 163 w 435"/>
                    <a:gd name="T91" fmla="*/ 13 h 247"/>
                    <a:gd name="T92" fmla="*/ 147 w 435"/>
                    <a:gd name="T93" fmla="*/ 8 h 247"/>
                    <a:gd name="T94" fmla="*/ 130 w 435"/>
                    <a:gd name="T95" fmla="*/ 0 h 247"/>
                    <a:gd name="T96" fmla="*/ 124 w 435"/>
                    <a:gd name="T97" fmla="*/ 9 h 247"/>
                    <a:gd name="T98" fmla="*/ 118 w 435"/>
                    <a:gd name="T99" fmla="*/ 33 h 247"/>
                    <a:gd name="T100" fmla="*/ 126 w 435"/>
                    <a:gd name="T101" fmla="*/ 50 h 247"/>
                    <a:gd name="T102" fmla="*/ 120 w 435"/>
                    <a:gd name="T103" fmla="*/ 60 h 247"/>
                    <a:gd name="T104" fmla="*/ 101 w 435"/>
                    <a:gd name="T105" fmla="*/ 57 h 247"/>
                    <a:gd name="T106" fmla="*/ 83 w 435"/>
                    <a:gd name="T107" fmla="*/ 57 h 247"/>
                    <a:gd name="T108" fmla="*/ 68 w 435"/>
                    <a:gd name="T109" fmla="*/ 47 h 247"/>
                    <a:gd name="T110" fmla="*/ 57 w 435"/>
                    <a:gd name="T111" fmla="*/ 41 h 247"/>
                    <a:gd name="T112" fmla="*/ 41 w 435"/>
                    <a:gd name="T113" fmla="*/ 44 h 247"/>
                    <a:gd name="T114" fmla="*/ 30 w 435"/>
                    <a:gd name="T115" fmla="*/ 53 h 247"/>
                    <a:gd name="T116" fmla="*/ 24 w 435"/>
                    <a:gd name="T117" fmla="*/ 64 h 247"/>
                    <a:gd name="T118" fmla="*/ 10 w 435"/>
                    <a:gd name="T119" fmla="*/ 81 h 2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435" h="247">
                      <a:moveTo>
                        <a:pt x="0" y="90"/>
                      </a:moveTo>
                      <a:lnTo>
                        <a:pt x="0" y="94"/>
                      </a:lnTo>
                      <a:lnTo>
                        <a:pt x="0" y="95"/>
                      </a:lnTo>
                      <a:lnTo>
                        <a:pt x="1" y="97"/>
                      </a:lnTo>
                      <a:lnTo>
                        <a:pt x="3" y="97"/>
                      </a:lnTo>
                      <a:lnTo>
                        <a:pt x="3" y="95"/>
                      </a:lnTo>
                      <a:lnTo>
                        <a:pt x="3" y="95"/>
                      </a:lnTo>
                      <a:lnTo>
                        <a:pt x="3" y="97"/>
                      </a:lnTo>
                      <a:lnTo>
                        <a:pt x="4" y="99"/>
                      </a:lnTo>
                      <a:lnTo>
                        <a:pt x="4" y="102"/>
                      </a:lnTo>
                      <a:lnTo>
                        <a:pt x="6" y="103"/>
                      </a:lnTo>
                      <a:lnTo>
                        <a:pt x="7" y="104"/>
                      </a:lnTo>
                      <a:lnTo>
                        <a:pt x="10" y="107"/>
                      </a:lnTo>
                      <a:lnTo>
                        <a:pt x="13" y="108"/>
                      </a:lnTo>
                      <a:lnTo>
                        <a:pt x="14" y="112"/>
                      </a:lnTo>
                      <a:lnTo>
                        <a:pt x="14" y="113"/>
                      </a:lnTo>
                      <a:lnTo>
                        <a:pt x="15" y="115"/>
                      </a:lnTo>
                      <a:lnTo>
                        <a:pt x="18" y="118"/>
                      </a:lnTo>
                      <a:lnTo>
                        <a:pt x="20" y="118"/>
                      </a:lnTo>
                      <a:lnTo>
                        <a:pt x="20" y="115"/>
                      </a:lnTo>
                      <a:lnTo>
                        <a:pt x="21" y="114"/>
                      </a:lnTo>
                      <a:lnTo>
                        <a:pt x="24" y="112"/>
                      </a:lnTo>
                      <a:lnTo>
                        <a:pt x="27" y="112"/>
                      </a:lnTo>
                      <a:lnTo>
                        <a:pt x="27" y="114"/>
                      </a:lnTo>
                      <a:lnTo>
                        <a:pt x="29" y="117"/>
                      </a:lnTo>
                      <a:lnTo>
                        <a:pt x="31" y="118"/>
                      </a:lnTo>
                      <a:lnTo>
                        <a:pt x="32" y="117"/>
                      </a:lnTo>
                      <a:lnTo>
                        <a:pt x="34" y="115"/>
                      </a:lnTo>
                      <a:lnTo>
                        <a:pt x="36" y="115"/>
                      </a:lnTo>
                      <a:lnTo>
                        <a:pt x="38" y="116"/>
                      </a:lnTo>
                      <a:lnTo>
                        <a:pt x="39" y="118"/>
                      </a:lnTo>
                      <a:lnTo>
                        <a:pt x="41" y="119"/>
                      </a:lnTo>
                      <a:lnTo>
                        <a:pt x="44" y="121"/>
                      </a:lnTo>
                      <a:lnTo>
                        <a:pt x="45" y="124"/>
                      </a:lnTo>
                      <a:lnTo>
                        <a:pt x="45" y="126"/>
                      </a:lnTo>
                      <a:lnTo>
                        <a:pt x="46" y="129"/>
                      </a:lnTo>
                      <a:lnTo>
                        <a:pt x="48" y="132"/>
                      </a:lnTo>
                      <a:lnTo>
                        <a:pt x="49" y="135"/>
                      </a:lnTo>
                      <a:lnTo>
                        <a:pt x="51" y="137"/>
                      </a:lnTo>
                      <a:lnTo>
                        <a:pt x="53" y="139"/>
                      </a:lnTo>
                      <a:lnTo>
                        <a:pt x="55" y="142"/>
                      </a:lnTo>
                      <a:lnTo>
                        <a:pt x="56" y="144"/>
                      </a:lnTo>
                      <a:lnTo>
                        <a:pt x="56" y="148"/>
                      </a:lnTo>
                      <a:lnTo>
                        <a:pt x="55" y="150"/>
                      </a:lnTo>
                      <a:lnTo>
                        <a:pt x="56" y="154"/>
                      </a:lnTo>
                      <a:lnTo>
                        <a:pt x="58" y="157"/>
                      </a:lnTo>
                      <a:lnTo>
                        <a:pt x="57" y="160"/>
                      </a:lnTo>
                      <a:lnTo>
                        <a:pt x="55" y="161"/>
                      </a:lnTo>
                      <a:lnTo>
                        <a:pt x="54" y="163"/>
                      </a:lnTo>
                      <a:lnTo>
                        <a:pt x="54" y="166"/>
                      </a:lnTo>
                      <a:lnTo>
                        <a:pt x="55" y="168"/>
                      </a:lnTo>
                      <a:lnTo>
                        <a:pt x="58" y="174"/>
                      </a:lnTo>
                      <a:lnTo>
                        <a:pt x="61" y="176"/>
                      </a:lnTo>
                      <a:lnTo>
                        <a:pt x="75" y="180"/>
                      </a:lnTo>
                      <a:lnTo>
                        <a:pt x="81" y="180"/>
                      </a:lnTo>
                      <a:lnTo>
                        <a:pt x="85" y="179"/>
                      </a:lnTo>
                      <a:lnTo>
                        <a:pt x="86" y="178"/>
                      </a:lnTo>
                      <a:lnTo>
                        <a:pt x="87" y="178"/>
                      </a:lnTo>
                      <a:lnTo>
                        <a:pt x="97" y="180"/>
                      </a:lnTo>
                      <a:lnTo>
                        <a:pt x="101" y="184"/>
                      </a:lnTo>
                      <a:lnTo>
                        <a:pt x="102" y="185"/>
                      </a:lnTo>
                      <a:lnTo>
                        <a:pt x="104" y="186"/>
                      </a:lnTo>
                      <a:lnTo>
                        <a:pt x="106" y="186"/>
                      </a:lnTo>
                      <a:lnTo>
                        <a:pt x="107" y="187"/>
                      </a:lnTo>
                      <a:lnTo>
                        <a:pt x="113" y="191"/>
                      </a:lnTo>
                      <a:lnTo>
                        <a:pt x="116" y="193"/>
                      </a:lnTo>
                      <a:lnTo>
                        <a:pt x="120" y="193"/>
                      </a:lnTo>
                      <a:lnTo>
                        <a:pt x="121" y="193"/>
                      </a:lnTo>
                      <a:lnTo>
                        <a:pt x="122" y="194"/>
                      </a:lnTo>
                      <a:lnTo>
                        <a:pt x="123" y="196"/>
                      </a:lnTo>
                      <a:lnTo>
                        <a:pt x="124" y="198"/>
                      </a:lnTo>
                      <a:lnTo>
                        <a:pt x="124" y="198"/>
                      </a:lnTo>
                      <a:lnTo>
                        <a:pt x="127" y="199"/>
                      </a:lnTo>
                      <a:lnTo>
                        <a:pt x="129" y="202"/>
                      </a:lnTo>
                      <a:lnTo>
                        <a:pt x="129" y="205"/>
                      </a:lnTo>
                      <a:lnTo>
                        <a:pt x="131" y="209"/>
                      </a:lnTo>
                      <a:lnTo>
                        <a:pt x="133" y="212"/>
                      </a:lnTo>
                      <a:lnTo>
                        <a:pt x="136" y="218"/>
                      </a:lnTo>
                      <a:lnTo>
                        <a:pt x="138" y="222"/>
                      </a:lnTo>
                      <a:lnTo>
                        <a:pt x="141" y="229"/>
                      </a:lnTo>
                      <a:lnTo>
                        <a:pt x="143" y="230"/>
                      </a:lnTo>
                      <a:lnTo>
                        <a:pt x="146" y="229"/>
                      </a:lnTo>
                      <a:lnTo>
                        <a:pt x="152" y="229"/>
                      </a:lnTo>
                      <a:lnTo>
                        <a:pt x="158" y="229"/>
                      </a:lnTo>
                      <a:lnTo>
                        <a:pt x="166" y="229"/>
                      </a:lnTo>
                      <a:lnTo>
                        <a:pt x="178" y="230"/>
                      </a:lnTo>
                      <a:lnTo>
                        <a:pt x="185" y="229"/>
                      </a:lnTo>
                      <a:lnTo>
                        <a:pt x="190" y="227"/>
                      </a:lnTo>
                      <a:lnTo>
                        <a:pt x="190" y="225"/>
                      </a:lnTo>
                      <a:lnTo>
                        <a:pt x="192" y="224"/>
                      </a:lnTo>
                      <a:lnTo>
                        <a:pt x="194" y="225"/>
                      </a:lnTo>
                      <a:lnTo>
                        <a:pt x="203" y="224"/>
                      </a:lnTo>
                      <a:lnTo>
                        <a:pt x="213" y="226"/>
                      </a:lnTo>
                      <a:lnTo>
                        <a:pt x="217" y="226"/>
                      </a:lnTo>
                      <a:lnTo>
                        <a:pt x="221" y="231"/>
                      </a:lnTo>
                      <a:lnTo>
                        <a:pt x="230" y="236"/>
                      </a:lnTo>
                      <a:lnTo>
                        <a:pt x="239" y="240"/>
                      </a:lnTo>
                      <a:lnTo>
                        <a:pt x="243" y="241"/>
                      </a:lnTo>
                      <a:lnTo>
                        <a:pt x="249" y="244"/>
                      </a:lnTo>
                      <a:lnTo>
                        <a:pt x="253" y="243"/>
                      </a:lnTo>
                      <a:lnTo>
                        <a:pt x="259" y="241"/>
                      </a:lnTo>
                      <a:lnTo>
                        <a:pt x="259" y="243"/>
                      </a:lnTo>
                      <a:lnTo>
                        <a:pt x="259" y="246"/>
                      </a:lnTo>
                      <a:lnTo>
                        <a:pt x="264" y="247"/>
                      </a:lnTo>
                      <a:lnTo>
                        <a:pt x="267" y="247"/>
                      </a:lnTo>
                      <a:lnTo>
                        <a:pt x="270" y="244"/>
                      </a:lnTo>
                      <a:lnTo>
                        <a:pt x="276" y="238"/>
                      </a:lnTo>
                      <a:lnTo>
                        <a:pt x="280" y="233"/>
                      </a:lnTo>
                      <a:lnTo>
                        <a:pt x="288" y="229"/>
                      </a:lnTo>
                      <a:lnTo>
                        <a:pt x="298" y="226"/>
                      </a:lnTo>
                      <a:lnTo>
                        <a:pt x="302" y="224"/>
                      </a:lnTo>
                      <a:lnTo>
                        <a:pt x="307" y="222"/>
                      </a:lnTo>
                      <a:lnTo>
                        <a:pt x="312" y="222"/>
                      </a:lnTo>
                      <a:lnTo>
                        <a:pt x="316" y="221"/>
                      </a:lnTo>
                      <a:lnTo>
                        <a:pt x="320" y="218"/>
                      </a:lnTo>
                      <a:lnTo>
                        <a:pt x="324" y="215"/>
                      </a:lnTo>
                      <a:lnTo>
                        <a:pt x="327" y="215"/>
                      </a:lnTo>
                      <a:lnTo>
                        <a:pt x="332" y="213"/>
                      </a:lnTo>
                      <a:lnTo>
                        <a:pt x="334" y="213"/>
                      </a:lnTo>
                      <a:lnTo>
                        <a:pt x="336" y="207"/>
                      </a:lnTo>
                      <a:lnTo>
                        <a:pt x="340" y="200"/>
                      </a:lnTo>
                      <a:lnTo>
                        <a:pt x="346" y="191"/>
                      </a:lnTo>
                      <a:lnTo>
                        <a:pt x="348" y="188"/>
                      </a:lnTo>
                      <a:lnTo>
                        <a:pt x="349" y="185"/>
                      </a:lnTo>
                      <a:lnTo>
                        <a:pt x="349" y="183"/>
                      </a:lnTo>
                      <a:lnTo>
                        <a:pt x="343" y="179"/>
                      </a:lnTo>
                      <a:lnTo>
                        <a:pt x="337" y="174"/>
                      </a:lnTo>
                      <a:lnTo>
                        <a:pt x="337" y="171"/>
                      </a:lnTo>
                      <a:lnTo>
                        <a:pt x="337" y="168"/>
                      </a:lnTo>
                      <a:lnTo>
                        <a:pt x="337" y="160"/>
                      </a:lnTo>
                      <a:lnTo>
                        <a:pt x="339" y="157"/>
                      </a:lnTo>
                      <a:lnTo>
                        <a:pt x="343" y="154"/>
                      </a:lnTo>
                      <a:lnTo>
                        <a:pt x="348" y="153"/>
                      </a:lnTo>
                      <a:lnTo>
                        <a:pt x="352" y="153"/>
                      </a:lnTo>
                      <a:lnTo>
                        <a:pt x="355" y="156"/>
                      </a:lnTo>
                      <a:lnTo>
                        <a:pt x="360" y="157"/>
                      </a:lnTo>
                      <a:lnTo>
                        <a:pt x="363" y="158"/>
                      </a:lnTo>
                      <a:lnTo>
                        <a:pt x="366" y="160"/>
                      </a:lnTo>
                      <a:lnTo>
                        <a:pt x="367" y="160"/>
                      </a:lnTo>
                      <a:lnTo>
                        <a:pt x="368" y="157"/>
                      </a:lnTo>
                      <a:lnTo>
                        <a:pt x="370" y="154"/>
                      </a:lnTo>
                      <a:lnTo>
                        <a:pt x="373" y="152"/>
                      </a:lnTo>
                      <a:lnTo>
                        <a:pt x="376" y="150"/>
                      </a:lnTo>
                      <a:lnTo>
                        <a:pt x="378" y="143"/>
                      </a:lnTo>
                      <a:lnTo>
                        <a:pt x="380" y="141"/>
                      </a:lnTo>
                      <a:lnTo>
                        <a:pt x="384" y="142"/>
                      </a:lnTo>
                      <a:lnTo>
                        <a:pt x="387" y="142"/>
                      </a:lnTo>
                      <a:lnTo>
                        <a:pt x="393" y="137"/>
                      </a:lnTo>
                      <a:lnTo>
                        <a:pt x="396" y="136"/>
                      </a:lnTo>
                      <a:lnTo>
                        <a:pt x="398" y="134"/>
                      </a:lnTo>
                      <a:lnTo>
                        <a:pt x="398" y="130"/>
                      </a:lnTo>
                      <a:lnTo>
                        <a:pt x="398" y="126"/>
                      </a:lnTo>
                      <a:lnTo>
                        <a:pt x="401" y="121"/>
                      </a:lnTo>
                      <a:lnTo>
                        <a:pt x="401" y="119"/>
                      </a:lnTo>
                      <a:lnTo>
                        <a:pt x="403" y="119"/>
                      </a:lnTo>
                      <a:lnTo>
                        <a:pt x="405" y="119"/>
                      </a:lnTo>
                      <a:lnTo>
                        <a:pt x="406" y="117"/>
                      </a:lnTo>
                      <a:lnTo>
                        <a:pt x="406" y="114"/>
                      </a:lnTo>
                      <a:lnTo>
                        <a:pt x="407" y="113"/>
                      </a:lnTo>
                      <a:lnTo>
                        <a:pt x="410" y="115"/>
                      </a:lnTo>
                      <a:lnTo>
                        <a:pt x="412" y="114"/>
                      </a:lnTo>
                      <a:lnTo>
                        <a:pt x="416" y="110"/>
                      </a:lnTo>
                      <a:lnTo>
                        <a:pt x="419" y="105"/>
                      </a:lnTo>
                      <a:lnTo>
                        <a:pt x="421" y="105"/>
                      </a:lnTo>
                      <a:lnTo>
                        <a:pt x="425" y="107"/>
                      </a:lnTo>
                      <a:lnTo>
                        <a:pt x="426" y="106"/>
                      </a:lnTo>
                      <a:lnTo>
                        <a:pt x="429" y="105"/>
                      </a:lnTo>
                      <a:lnTo>
                        <a:pt x="431" y="107"/>
                      </a:lnTo>
                      <a:lnTo>
                        <a:pt x="433" y="108"/>
                      </a:lnTo>
                      <a:lnTo>
                        <a:pt x="434" y="105"/>
                      </a:lnTo>
                      <a:lnTo>
                        <a:pt x="434" y="103"/>
                      </a:lnTo>
                      <a:lnTo>
                        <a:pt x="435" y="102"/>
                      </a:lnTo>
                      <a:lnTo>
                        <a:pt x="435" y="98"/>
                      </a:lnTo>
                      <a:lnTo>
                        <a:pt x="434" y="96"/>
                      </a:lnTo>
                      <a:lnTo>
                        <a:pt x="434" y="93"/>
                      </a:lnTo>
                      <a:lnTo>
                        <a:pt x="429" y="88"/>
                      </a:lnTo>
                      <a:lnTo>
                        <a:pt x="425" y="82"/>
                      </a:lnTo>
                      <a:lnTo>
                        <a:pt x="419" y="77"/>
                      </a:lnTo>
                      <a:lnTo>
                        <a:pt x="416" y="71"/>
                      </a:lnTo>
                      <a:lnTo>
                        <a:pt x="410" y="70"/>
                      </a:lnTo>
                      <a:lnTo>
                        <a:pt x="408" y="71"/>
                      </a:lnTo>
                      <a:lnTo>
                        <a:pt x="405" y="72"/>
                      </a:lnTo>
                      <a:lnTo>
                        <a:pt x="404" y="75"/>
                      </a:lnTo>
                      <a:lnTo>
                        <a:pt x="405" y="79"/>
                      </a:lnTo>
                      <a:lnTo>
                        <a:pt x="401" y="85"/>
                      </a:lnTo>
                      <a:lnTo>
                        <a:pt x="398" y="82"/>
                      </a:lnTo>
                      <a:lnTo>
                        <a:pt x="392" y="81"/>
                      </a:lnTo>
                      <a:lnTo>
                        <a:pt x="387" y="81"/>
                      </a:lnTo>
                      <a:lnTo>
                        <a:pt x="382" y="85"/>
                      </a:lnTo>
                      <a:lnTo>
                        <a:pt x="375" y="81"/>
                      </a:lnTo>
                      <a:lnTo>
                        <a:pt x="373" y="76"/>
                      </a:lnTo>
                      <a:lnTo>
                        <a:pt x="375" y="68"/>
                      </a:lnTo>
                      <a:lnTo>
                        <a:pt x="374" y="65"/>
                      </a:lnTo>
                      <a:lnTo>
                        <a:pt x="376" y="60"/>
                      </a:lnTo>
                      <a:lnTo>
                        <a:pt x="375" y="54"/>
                      </a:lnTo>
                      <a:lnTo>
                        <a:pt x="378" y="28"/>
                      </a:lnTo>
                      <a:lnTo>
                        <a:pt x="378" y="28"/>
                      </a:lnTo>
                      <a:lnTo>
                        <a:pt x="377" y="26"/>
                      </a:lnTo>
                      <a:lnTo>
                        <a:pt x="371" y="24"/>
                      </a:lnTo>
                      <a:lnTo>
                        <a:pt x="367" y="26"/>
                      </a:lnTo>
                      <a:lnTo>
                        <a:pt x="367" y="27"/>
                      </a:lnTo>
                      <a:lnTo>
                        <a:pt x="363" y="29"/>
                      </a:lnTo>
                      <a:lnTo>
                        <a:pt x="361" y="29"/>
                      </a:lnTo>
                      <a:lnTo>
                        <a:pt x="360" y="28"/>
                      </a:lnTo>
                      <a:lnTo>
                        <a:pt x="356" y="29"/>
                      </a:lnTo>
                      <a:lnTo>
                        <a:pt x="355" y="29"/>
                      </a:lnTo>
                      <a:lnTo>
                        <a:pt x="353" y="26"/>
                      </a:lnTo>
                      <a:lnTo>
                        <a:pt x="349" y="23"/>
                      </a:lnTo>
                      <a:lnTo>
                        <a:pt x="347" y="22"/>
                      </a:lnTo>
                      <a:lnTo>
                        <a:pt x="343" y="24"/>
                      </a:lnTo>
                      <a:lnTo>
                        <a:pt x="342" y="23"/>
                      </a:lnTo>
                      <a:lnTo>
                        <a:pt x="339" y="23"/>
                      </a:lnTo>
                      <a:lnTo>
                        <a:pt x="337" y="26"/>
                      </a:lnTo>
                      <a:lnTo>
                        <a:pt x="336" y="29"/>
                      </a:lnTo>
                      <a:lnTo>
                        <a:pt x="334" y="32"/>
                      </a:lnTo>
                      <a:lnTo>
                        <a:pt x="331" y="33"/>
                      </a:lnTo>
                      <a:lnTo>
                        <a:pt x="329" y="36"/>
                      </a:lnTo>
                      <a:lnTo>
                        <a:pt x="329" y="38"/>
                      </a:lnTo>
                      <a:lnTo>
                        <a:pt x="329" y="42"/>
                      </a:lnTo>
                      <a:lnTo>
                        <a:pt x="325" y="44"/>
                      </a:lnTo>
                      <a:lnTo>
                        <a:pt x="319" y="44"/>
                      </a:lnTo>
                      <a:lnTo>
                        <a:pt x="317" y="45"/>
                      </a:lnTo>
                      <a:lnTo>
                        <a:pt x="315" y="48"/>
                      </a:lnTo>
                      <a:lnTo>
                        <a:pt x="311" y="48"/>
                      </a:lnTo>
                      <a:lnTo>
                        <a:pt x="306" y="51"/>
                      </a:lnTo>
                      <a:lnTo>
                        <a:pt x="304" y="56"/>
                      </a:lnTo>
                      <a:lnTo>
                        <a:pt x="302" y="56"/>
                      </a:lnTo>
                      <a:lnTo>
                        <a:pt x="300" y="54"/>
                      </a:lnTo>
                      <a:lnTo>
                        <a:pt x="297" y="54"/>
                      </a:lnTo>
                      <a:lnTo>
                        <a:pt x="295" y="56"/>
                      </a:lnTo>
                      <a:lnTo>
                        <a:pt x="291" y="56"/>
                      </a:lnTo>
                      <a:lnTo>
                        <a:pt x="283" y="57"/>
                      </a:lnTo>
                      <a:lnTo>
                        <a:pt x="277" y="54"/>
                      </a:lnTo>
                      <a:lnTo>
                        <a:pt x="271" y="55"/>
                      </a:lnTo>
                      <a:lnTo>
                        <a:pt x="269" y="55"/>
                      </a:lnTo>
                      <a:lnTo>
                        <a:pt x="266" y="52"/>
                      </a:lnTo>
                      <a:lnTo>
                        <a:pt x="265" y="51"/>
                      </a:lnTo>
                      <a:lnTo>
                        <a:pt x="263" y="50"/>
                      </a:lnTo>
                      <a:lnTo>
                        <a:pt x="260" y="48"/>
                      </a:lnTo>
                      <a:lnTo>
                        <a:pt x="259" y="43"/>
                      </a:lnTo>
                      <a:lnTo>
                        <a:pt x="257" y="41"/>
                      </a:lnTo>
                      <a:lnTo>
                        <a:pt x="254" y="42"/>
                      </a:lnTo>
                      <a:lnTo>
                        <a:pt x="250" y="42"/>
                      </a:lnTo>
                      <a:lnTo>
                        <a:pt x="245" y="39"/>
                      </a:lnTo>
                      <a:lnTo>
                        <a:pt x="242" y="35"/>
                      </a:lnTo>
                      <a:lnTo>
                        <a:pt x="237" y="35"/>
                      </a:lnTo>
                      <a:lnTo>
                        <a:pt x="232" y="34"/>
                      </a:lnTo>
                      <a:lnTo>
                        <a:pt x="229" y="32"/>
                      </a:lnTo>
                      <a:lnTo>
                        <a:pt x="226" y="33"/>
                      </a:lnTo>
                      <a:lnTo>
                        <a:pt x="222" y="33"/>
                      </a:lnTo>
                      <a:lnTo>
                        <a:pt x="219" y="36"/>
                      </a:lnTo>
                      <a:lnTo>
                        <a:pt x="214" y="36"/>
                      </a:lnTo>
                      <a:lnTo>
                        <a:pt x="210" y="37"/>
                      </a:lnTo>
                      <a:lnTo>
                        <a:pt x="207" y="41"/>
                      </a:lnTo>
                      <a:lnTo>
                        <a:pt x="205" y="41"/>
                      </a:lnTo>
                      <a:lnTo>
                        <a:pt x="204" y="40"/>
                      </a:lnTo>
                      <a:lnTo>
                        <a:pt x="201" y="40"/>
                      </a:lnTo>
                      <a:lnTo>
                        <a:pt x="200" y="42"/>
                      </a:lnTo>
                      <a:lnTo>
                        <a:pt x="195" y="42"/>
                      </a:lnTo>
                      <a:lnTo>
                        <a:pt x="194" y="43"/>
                      </a:lnTo>
                      <a:lnTo>
                        <a:pt x="192" y="43"/>
                      </a:lnTo>
                      <a:lnTo>
                        <a:pt x="188" y="40"/>
                      </a:lnTo>
                      <a:lnTo>
                        <a:pt x="183" y="39"/>
                      </a:lnTo>
                      <a:lnTo>
                        <a:pt x="183" y="37"/>
                      </a:lnTo>
                      <a:lnTo>
                        <a:pt x="180" y="34"/>
                      </a:lnTo>
                      <a:lnTo>
                        <a:pt x="178" y="34"/>
                      </a:lnTo>
                      <a:lnTo>
                        <a:pt x="176" y="32"/>
                      </a:lnTo>
                      <a:lnTo>
                        <a:pt x="176" y="29"/>
                      </a:lnTo>
                      <a:lnTo>
                        <a:pt x="175" y="26"/>
                      </a:lnTo>
                      <a:lnTo>
                        <a:pt x="174" y="23"/>
                      </a:lnTo>
                      <a:lnTo>
                        <a:pt x="174" y="21"/>
                      </a:lnTo>
                      <a:lnTo>
                        <a:pt x="173" y="19"/>
                      </a:lnTo>
                      <a:lnTo>
                        <a:pt x="173" y="16"/>
                      </a:lnTo>
                      <a:lnTo>
                        <a:pt x="172" y="14"/>
                      </a:lnTo>
                      <a:lnTo>
                        <a:pt x="169" y="12"/>
                      </a:lnTo>
                      <a:lnTo>
                        <a:pt x="163" y="13"/>
                      </a:lnTo>
                      <a:lnTo>
                        <a:pt x="161" y="12"/>
                      </a:lnTo>
                      <a:lnTo>
                        <a:pt x="159" y="12"/>
                      </a:lnTo>
                      <a:lnTo>
                        <a:pt x="156" y="11"/>
                      </a:lnTo>
                      <a:lnTo>
                        <a:pt x="154" y="9"/>
                      </a:lnTo>
                      <a:lnTo>
                        <a:pt x="152" y="8"/>
                      </a:lnTo>
                      <a:lnTo>
                        <a:pt x="147" y="8"/>
                      </a:lnTo>
                      <a:lnTo>
                        <a:pt x="143" y="8"/>
                      </a:lnTo>
                      <a:lnTo>
                        <a:pt x="140" y="6"/>
                      </a:lnTo>
                      <a:lnTo>
                        <a:pt x="139" y="5"/>
                      </a:lnTo>
                      <a:lnTo>
                        <a:pt x="136" y="3"/>
                      </a:lnTo>
                      <a:lnTo>
                        <a:pt x="132" y="2"/>
                      </a:lnTo>
                      <a:lnTo>
                        <a:pt x="130" y="0"/>
                      </a:lnTo>
                      <a:lnTo>
                        <a:pt x="128" y="0"/>
                      </a:lnTo>
                      <a:lnTo>
                        <a:pt x="126" y="2"/>
                      </a:lnTo>
                      <a:lnTo>
                        <a:pt x="125" y="5"/>
                      </a:lnTo>
                      <a:lnTo>
                        <a:pt x="126" y="8"/>
                      </a:lnTo>
                      <a:lnTo>
                        <a:pt x="125" y="10"/>
                      </a:lnTo>
                      <a:lnTo>
                        <a:pt x="124" y="9"/>
                      </a:lnTo>
                      <a:lnTo>
                        <a:pt x="121" y="11"/>
                      </a:lnTo>
                      <a:lnTo>
                        <a:pt x="120" y="13"/>
                      </a:lnTo>
                      <a:lnTo>
                        <a:pt x="120" y="16"/>
                      </a:lnTo>
                      <a:lnTo>
                        <a:pt x="117" y="20"/>
                      </a:lnTo>
                      <a:lnTo>
                        <a:pt x="117" y="28"/>
                      </a:lnTo>
                      <a:lnTo>
                        <a:pt x="118" y="33"/>
                      </a:lnTo>
                      <a:lnTo>
                        <a:pt x="122" y="33"/>
                      </a:lnTo>
                      <a:lnTo>
                        <a:pt x="124" y="36"/>
                      </a:lnTo>
                      <a:lnTo>
                        <a:pt x="126" y="37"/>
                      </a:lnTo>
                      <a:lnTo>
                        <a:pt x="127" y="39"/>
                      </a:lnTo>
                      <a:lnTo>
                        <a:pt x="126" y="45"/>
                      </a:lnTo>
                      <a:lnTo>
                        <a:pt x="126" y="50"/>
                      </a:lnTo>
                      <a:lnTo>
                        <a:pt x="128" y="52"/>
                      </a:lnTo>
                      <a:lnTo>
                        <a:pt x="130" y="54"/>
                      </a:lnTo>
                      <a:lnTo>
                        <a:pt x="128" y="60"/>
                      </a:lnTo>
                      <a:lnTo>
                        <a:pt x="123" y="60"/>
                      </a:lnTo>
                      <a:lnTo>
                        <a:pt x="120" y="60"/>
                      </a:lnTo>
                      <a:lnTo>
                        <a:pt x="120" y="60"/>
                      </a:lnTo>
                      <a:lnTo>
                        <a:pt x="117" y="60"/>
                      </a:lnTo>
                      <a:lnTo>
                        <a:pt x="114" y="60"/>
                      </a:lnTo>
                      <a:lnTo>
                        <a:pt x="108" y="59"/>
                      </a:lnTo>
                      <a:lnTo>
                        <a:pt x="106" y="60"/>
                      </a:lnTo>
                      <a:lnTo>
                        <a:pt x="104" y="58"/>
                      </a:lnTo>
                      <a:lnTo>
                        <a:pt x="101" y="57"/>
                      </a:lnTo>
                      <a:lnTo>
                        <a:pt x="99" y="58"/>
                      </a:lnTo>
                      <a:lnTo>
                        <a:pt x="96" y="60"/>
                      </a:lnTo>
                      <a:lnTo>
                        <a:pt x="93" y="62"/>
                      </a:lnTo>
                      <a:lnTo>
                        <a:pt x="91" y="63"/>
                      </a:lnTo>
                      <a:lnTo>
                        <a:pt x="86" y="60"/>
                      </a:lnTo>
                      <a:lnTo>
                        <a:pt x="83" y="57"/>
                      </a:lnTo>
                      <a:lnTo>
                        <a:pt x="76" y="53"/>
                      </a:lnTo>
                      <a:lnTo>
                        <a:pt x="76" y="50"/>
                      </a:lnTo>
                      <a:lnTo>
                        <a:pt x="75" y="48"/>
                      </a:lnTo>
                      <a:lnTo>
                        <a:pt x="74" y="45"/>
                      </a:lnTo>
                      <a:lnTo>
                        <a:pt x="70" y="46"/>
                      </a:lnTo>
                      <a:lnTo>
                        <a:pt x="68" y="47"/>
                      </a:lnTo>
                      <a:lnTo>
                        <a:pt x="65" y="46"/>
                      </a:lnTo>
                      <a:lnTo>
                        <a:pt x="64" y="47"/>
                      </a:lnTo>
                      <a:lnTo>
                        <a:pt x="61" y="48"/>
                      </a:lnTo>
                      <a:lnTo>
                        <a:pt x="59" y="46"/>
                      </a:lnTo>
                      <a:lnTo>
                        <a:pt x="59" y="43"/>
                      </a:lnTo>
                      <a:lnTo>
                        <a:pt x="57" y="41"/>
                      </a:lnTo>
                      <a:lnTo>
                        <a:pt x="56" y="41"/>
                      </a:lnTo>
                      <a:lnTo>
                        <a:pt x="54" y="43"/>
                      </a:lnTo>
                      <a:lnTo>
                        <a:pt x="51" y="42"/>
                      </a:lnTo>
                      <a:lnTo>
                        <a:pt x="48" y="42"/>
                      </a:lnTo>
                      <a:lnTo>
                        <a:pt x="46" y="43"/>
                      </a:lnTo>
                      <a:lnTo>
                        <a:pt x="41" y="44"/>
                      </a:lnTo>
                      <a:lnTo>
                        <a:pt x="38" y="45"/>
                      </a:lnTo>
                      <a:lnTo>
                        <a:pt x="37" y="50"/>
                      </a:lnTo>
                      <a:lnTo>
                        <a:pt x="35" y="50"/>
                      </a:lnTo>
                      <a:lnTo>
                        <a:pt x="31" y="49"/>
                      </a:lnTo>
                      <a:lnTo>
                        <a:pt x="30" y="50"/>
                      </a:lnTo>
                      <a:lnTo>
                        <a:pt x="30" y="53"/>
                      </a:lnTo>
                      <a:lnTo>
                        <a:pt x="31" y="54"/>
                      </a:lnTo>
                      <a:lnTo>
                        <a:pt x="30" y="56"/>
                      </a:lnTo>
                      <a:lnTo>
                        <a:pt x="28" y="59"/>
                      </a:lnTo>
                      <a:lnTo>
                        <a:pt x="26" y="60"/>
                      </a:lnTo>
                      <a:lnTo>
                        <a:pt x="24" y="62"/>
                      </a:lnTo>
                      <a:lnTo>
                        <a:pt x="24" y="64"/>
                      </a:lnTo>
                      <a:lnTo>
                        <a:pt x="20" y="67"/>
                      </a:lnTo>
                      <a:lnTo>
                        <a:pt x="19" y="70"/>
                      </a:lnTo>
                      <a:lnTo>
                        <a:pt x="18" y="74"/>
                      </a:lnTo>
                      <a:lnTo>
                        <a:pt x="14" y="75"/>
                      </a:lnTo>
                      <a:lnTo>
                        <a:pt x="11" y="78"/>
                      </a:lnTo>
                      <a:lnTo>
                        <a:pt x="10" y="81"/>
                      </a:lnTo>
                      <a:lnTo>
                        <a:pt x="4" y="80"/>
                      </a:lnTo>
                      <a:lnTo>
                        <a:pt x="1" y="81"/>
                      </a:lnTo>
                      <a:lnTo>
                        <a:pt x="0" y="88"/>
                      </a:lnTo>
                      <a:lnTo>
                        <a:pt x="0" y="88"/>
                      </a:lnTo>
                      <a:lnTo>
                        <a:pt x="0" y="9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6" name="Freeform 276">
                  <a:extLst>
                    <a:ext uri="{FF2B5EF4-FFF2-40B4-BE49-F238E27FC236}">
                      <a16:creationId xmlns:a16="http://schemas.microsoft.com/office/drawing/2014/main" id="{47534EDC-A7C8-4B5F-BAD2-914D176CF3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07" y="1705"/>
                  <a:ext cx="538" cy="339"/>
                </a:xfrm>
                <a:custGeom>
                  <a:avLst/>
                  <a:gdLst>
                    <a:gd name="T0" fmla="*/ 52 w 538"/>
                    <a:gd name="T1" fmla="*/ 226 h 339"/>
                    <a:gd name="T2" fmla="*/ 64 w 538"/>
                    <a:gd name="T3" fmla="*/ 214 h 339"/>
                    <a:gd name="T4" fmla="*/ 76 w 538"/>
                    <a:gd name="T5" fmla="*/ 219 h 339"/>
                    <a:gd name="T6" fmla="*/ 90 w 538"/>
                    <a:gd name="T7" fmla="*/ 216 h 339"/>
                    <a:gd name="T8" fmla="*/ 94 w 538"/>
                    <a:gd name="T9" fmla="*/ 234 h 339"/>
                    <a:gd name="T10" fmla="*/ 99 w 538"/>
                    <a:gd name="T11" fmla="*/ 250 h 339"/>
                    <a:gd name="T12" fmla="*/ 82 w 538"/>
                    <a:gd name="T13" fmla="*/ 252 h 339"/>
                    <a:gd name="T14" fmla="*/ 74 w 538"/>
                    <a:gd name="T15" fmla="*/ 266 h 339"/>
                    <a:gd name="T16" fmla="*/ 71 w 538"/>
                    <a:gd name="T17" fmla="*/ 271 h 339"/>
                    <a:gd name="T18" fmla="*/ 68 w 538"/>
                    <a:gd name="T19" fmla="*/ 278 h 339"/>
                    <a:gd name="T20" fmla="*/ 79 w 538"/>
                    <a:gd name="T21" fmla="*/ 301 h 339"/>
                    <a:gd name="T22" fmla="*/ 93 w 538"/>
                    <a:gd name="T23" fmla="*/ 307 h 339"/>
                    <a:gd name="T24" fmla="*/ 98 w 538"/>
                    <a:gd name="T25" fmla="*/ 329 h 339"/>
                    <a:gd name="T26" fmla="*/ 176 w 538"/>
                    <a:gd name="T27" fmla="*/ 247 h 339"/>
                    <a:gd name="T28" fmla="*/ 279 w 538"/>
                    <a:gd name="T29" fmla="*/ 316 h 339"/>
                    <a:gd name="T30" fmla="*/ 326 w 538"/>
                    <a:gd name="T31" fmla="*/ 331 h 339"/>
                    <a:gd name="T32" fmla="*/ 348 w 538"/>
                    <a:gd name="T33" fmla="*/ 301 h 339"/>
                    <a:gd name="T34" fmla="*/ 380 w 538"/>
                    <a:gd name="T35" fmla="*/ 289 h 339"/>
                    <a:gd name="T36" fmla="*/ 409 w 538"/>
                    <a:gd name="T37" fmla="*/ 290 h 339"/>
                    <a:gd name="T38" fmla="*/ 454 w 538"/>
                    <a:gd name="T39" fmla="*/ 288 h 339"/>
                    <a:gd name="T40" fmla="*/ 474 w 538"/>
                    <a:gd name="T41" fmla="*/ 283 h 339"/>
                    <a:gd name="T42" fmla="*/ 467 w 538"/>
                    <a:gd name="T43" fmla="*/ 253 h 339"/>
                    <a:gd name="T44" fmla="*/ 463 w 538"/>
                    <a:gd name="T45" fmla="*/ 235 h 339"/>
                    <a:gd name="T46" fmla="*/ 488 w 538"/>
                    <a:gd name="T47" fmla="*/ 230 h 339"/>
                    <a:gd name="T48" fmla="*/ 488 w 538"/>
                    <a:gd name="T49" fmla="*/ 198 h 339"/>
                    <a:gd name="T50" fmla="*/ 514 w 538"/>
                    <a:gd name="T51" fmla="*/ 188 h 339"/>
                    <a:gd name="T52" fmla="*/ 521 w 538"/>
                    <a:gd name="T53" fmla="*/ 158 h 339"/>
                    <a:gd name="T54" fmla="*/ 538 w 538"/>
                    <a:gd name="T55" fmla="*/ 133 h 339"/>
                    <a:gd name="T56" fmla="*/ 523 w 538"/>
                    <a:gd name="T57" fmla="*/ 119 h 339"/>
                    <a:gd name="T58" fmla="*/ 502 w 538"/>
                    <a:gd name="T59" fmla="*/ 123 h 339"/>
                    <a:gd name="T60" fmla="*/ 492 w 538"/>
                    <a:gd name="T61" fmla="*/ 109 h 339"/>
                    <a:gd name="T62" fmla="*/ 468 w 538"/>
                    <a:gd name="T63" fmla="*/ 99 h 339"/>
                    <a:gd name="T64" fmla="*/ 447 w 538"/>
                    <a:gd name="T65" fmla="*/ 100 h 339"/>
                    <a:gd name="T66" fmla="*/ 436 w 538"/>
                    <a:gd name="T67" fmla="*/ 102 h 339"/>
                    <a:gd name="T68" fmla="*/ 371 w 538"/>
                    <a:gd name="T69" fmla="*/ 18 h 339"/>
                    <a:gd name="T70" fmla="*/ 350 w 538"/>
                    <a:gd name="T71" fmla="*/ 36 h 339"/>
                    <a:gd name="T72" fmla="*/ 330 w 538"/>
                    <a:gd name="T73" fmla="*/ 41 h 339"/>
                    <a:gd name="T74" fmla="*/ 320 w 538"/>
                    <a:gd name="T75" fmla="*/ 32 h 339"/>
                    <a:gd name="T76" fmla="*/ 310 w 538"/>
                    <a:gd name="T77" fmla="*/ 29 h 339"/>
                    <a:gd name="T78" fmla="*/ 295 w 538"/>
                    <a:gd name="T79" fmla="*/ 26 h 339"/>
                    <a:gd name="T80" fmla="*/ 291 w 538"/>
                    <a:gd name="T81" fmla="*/ 7 h 339"/>
                    <a:gd name="T82" fmla="*/ 267 w 538"/>
                    <a:gd name="T83" fmla="*/ 1 h 339"/>
                    <a:gd name="T84" fmla="*/ 252 w 538"/>
                    <a:gd name="T85" fmla="*/ 15 h 339"/>
                    <a:gd name="T86" fmla="*/ 229 w 538"/>
                    <a:gd name="T87" fmla="*/ 25 h 339"/>
                    <a:gd name="T88" fmla="*/ 213 w 538"/>
                    <a:gd name="T89" fmla="*/ 35 h 339"/>
                    <a:gd name="T90" fmla="*/ 190 w 538"/>
                    <a:gd name="T91" fmla="*/ 45 h 339"/>
                    <a:gd name="T92" fmla="*/ 173 w 538"/>
                    <a:gd name="T93" fmla="*/ 49 h 339"/>
                    <a:gd name="T94" fmla="*/ 172 w 538"/>
                    <a:gd name="T95" fmla="*/ 61 h 339"/>
                    <a:gd name="T96" fmla="*/ 186 w 538"/>
                    <a:gd name="T97" fmla="*/ 72 h 339"/>
                    <a:gd name="T98" fmla="*/ 171 w 538"/>
                    <a:gd name="T99" fmla="*/ 95 h 339"/>
                    <a:gd name="T100" fmla="*/ 181 w 538"/>
                    <a:gd name="T101" fmla="*/ 109 h 339"/>
                    <a:gd name="T102" fmla="*/ 171 w 538"/>
                    <a:gd name="T103" fmla="*/ 129 h 339"/>
                    <a:gd name="T104" fmla="*/ 151 w 538"/>
                    <a:gd name="T105" fmla="*/ 124 h 339"/>
                    <a:gd name="T106" fmla="*/ 135 w 538"/>
                    <a:gd name="T107" fmla="*/ 124 h 339"/>
                    <a:gd name="T108" fmla="*/ 116 w 538"/>
                    <a:gd name="T109" fmla="*/ 134 h 339"/>
                    <a:gd name="T110" fmla="*/ 99 w 538"/>
                    <a:gd name="T111" fmla="*/ 131 h 339"/>
                    <a:gd name="T112" fmla="*/ 78 w 538"/>
                    <a:gd name="T113" fmla="*/ 114 h 339"/>
                    <a:gd name="T114" fmla="*/ 58 w 538"/>
                    <a:gd name="T115" fmla="*/ 113 h 339"/>
                    <a:gd name="T116" fmla="*/ 45 w 538"/>
                    <a:gd name="T117" fmla="*/ 110 h 339"/>
                    <a:gd name="T118" fmla="*/ 34 w 538"/>
                    <a:gd name="T119" fmla="*/ 132 h 339"/>
                    <a:gd name="T120" fmla="*/ 17 w 538"/>
                    <a:gd name="T121" fmla="*/ 151 h 339"/>
                    <a:gd name="T122" fmla="*/ 0 w 538"/>
                    <a:gd name="T123" fmla="*/ 185 h 339"/>
                    <a:gd name="T124" fmla="*/ 30 w 538"/>
                    <a:gd name="T125" fmla="*/ 219 h 3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538" h="339">
                      <a:moveTo>
                        <a:pt x="43" y="227"/>
                      </a:moveTo>
                      <a:lnTo>
                        <a:pt x="44" y="229"/>
                      </a:lnTo>
                      <a:lnTo>
                        <a:pt x="45" y="229"/>
                      </a:lnTo>
                      <a:lnTo>
                        <a:pt x="46" y="227"/>
                      </a:lnTo>
                      <a:lnTo>
                        <a:pt x="48" y="227"/>
                      </a:lnTo>
                      <a:lnTo>
                        <a:pt x="49" y="229"/>
                      </a:lnTo>
                      <a:lnTo>
                        <a:pt x="49" y="227"/>
                      </a:lnTo>
                      <a:lnTo>
                        <a:pt x="50" y="226"/>
                      </a:lnTo>
                      <a:lnTo>
                        <a:pt x="52" y="226"/>
                      </a:lnTo>
                      <a:lnTo>
                        <a:pt x="54" y="223"/>
                      </a:lnTo>
                      <a:lnTo>
                        <a:pt x="55" y="221"/>
                      </a:lnTo>
                      <a:lnTo>
                        <a:pt x="56" y="221"/>
                      </a:lnTo>
                      <a:lnTo>
                        <a:pt x="58" y="219"/>
                      </a:lnTo>
                      <a:lnTo>
                        <a:pt x="59" y="219"/>
                      </a:lnTo>
                      <a:lnTo>
                        <a:pt x="60" y="219"/>
                      </a:lnTo>
                      <a:lnTo>
                        <a:pt x="61" y="219"/>
                      </a:lnTo>
                      <a:lnTo>
                        <a:pt x="62" y="216"/>
                      </a:lnTo>
                      <a:lnTo>
                        <a:pt x="64" y="214"/>
                      </a:lnTo>
                      <a:lnTo>
                        <a:pt x="68" y="214"/>
                      </a:lnTo>
                      <a:lnTo>
                        <a:pt x="69" y="216"/>
                      </a:lnTo>
                      <a:lnTo>
                        <a:pt x="71" y="216"/>
                      </a:lnTo>
                      <a:lnTo>
                        <a:pt x="72" y="214"/>
                      </a:lnTo>
                      <a:lnTo>
                        <a:pt x="73" y="215"/>
                      </a:lnTo>
                      <a:lnTo>
                        <a:pt x="73" y="218"/>
                      </a:lnTo>
                      <a:lnTo>
                        <a:pt x="73" y="219"/>
                      </a:lnTo>
                      <a:lnTo>
                        <a:pt x="74" y="219"/>
                      </a:lnTo>
                      <a:lnTo>
                        <a:pt x="76" y="219"/>
                      </a:lnTo>
                      <a:lnTo>
                        <a:pt x="76" y="219"/>
                      </a:lnTo>
                      <a:lnTo>
                        <a:pt x="78" y="221"/>
                      </a:lnTo>
                      <a:lnTo>
                        <a:pt x="80" y="219"/>
                      </a:lnTo>
                      <a:lnTo>
                        <a:pt x="80" y="218"/>
                      </a:lnTo>
                      <a:lnTo>
                        <a:pt x="81" y="217"/>
                      </a:lnTo>
                      <a:lnTo>
                        <a:pt x="82" y="216"/>
                      </a:lnTo>
                      <a:lnTo>
                        <a:pt x="83" y="216"/>
                      </a:lnTo>
                      <a:lnTo>
                        <a:pt x="85" y="216"/>
                      </a:lnTo>
                      <a:lnTo>
                        <a:pt x="90" y="216"/>
                      </a:lnTo>
                      <a:lnTo>
                        <a:pt x="90" y="217"/>
                      </a:lnTo>
                      <a:lnTo>
                        <a:pt x="92" y="219"/>
                      </a:lnTo>
                      <a:lnTo>
                        <a:pt x="94" y="220"/>
                      </a:lnTo>
                      <a:lnTo>
                        <a:pt x="94" y="221"/>
                      </a:lnTo>
                      <a:lnTo>
                        <a:pt x="93" y="223"/>
                      </a:lnTo>
                      <a:lnTo>
                        <a:pt x="93" y="226"/>
                      </a:lnTo>
                      <a:lnTo>
                        <a:pt x="95" y="228"/>
                      </a:lnTo>
                      <a:lnTo>
                        <a:pt x="95" y="230"/>
                      </a:lnTo>
                      <a:lnTo>
                        <a:pt x="94" y="234"/>
                      </a:lnTo>
                      <a:lnTo>
                        <a:pt x="94" y="236"/>
                      </a:lnTo>
                      <a:lnTo>
                        <a:pt x="95" y="237"/>
                      </a:lnTo>
                      <a:lnTo>
                        <a:pt x="96" y="238"/>
                      </a:lnTo>
                      <a:lnTo>
                        <a:pt x="94" y="240"/>
                      </a:lnTo>
                      <a:lnTo>
                        <a:pt x="93" y="240"/>
                      </a:lnTo>
                      <a:lnTo>
                        <a:pt x="93" y="244"/>
                      </a:lnTo>
                      <a:lnTo>
                        <a:pt x="94" y="249"/>
                      </a:lnTo>
                      <a:lnTo>
                        <a:pt x="97" y="250"/>
                      </a:lnTo>
                      <a:lnTo>
                        <a:pt x="99" y="250"/>
                      </a:lnTo>
                      <a:lnTo>
                        <a:pt x="98" y="252"/>
                      </a:lnTo>
                      <a:lnTo>
                        <a:pt x="96" y="254"/>
                      </a:lnTo>
                      <a:lnTo>
                        <a:pt x="94" y="254"/>
                      </a:lnTo>
                      <a:lnTo>
                        <a:pt x="91" y="250"/>
                      </a:lnTo>
                      <a:lnTo>
                        <a:pt x="89" y="250"/>
                      </a:lnTo>
                      <a:lnTo>
                        <a:pt x="88" y="252"/>
                      </a:lnTo>
                      <a:lnTo>
                        <a:pt x="87" y="250"/>
                      </a:lnTo>
                      <a:lnTo>
                        <a:pt x="84" y="250"/>
                      </a:lnTo>
                      <a:lnTo>
                        <a:pt x="82" y="252"/>
                      </a:lnTo>
                      <a:lnTo>
                        <a:pt x="80" y="250"/>
                      </a:lnTo>
                      <a:lnTo>
                        <a:pt x="77" y="251"/>
                      </a:lnTo>
                      <a:lnTo>
                        <a:pt x="74" y="253"/>
                      </a:lnTo>
                      <a:lnTo>
                        <a:pt x="72" y="255"/>
                      </a:lnTo>
                      <a:lnTo>
                        <a:pt x="73" y="256"/>
                      </a:lnTo>
                      <a:lnTo>
                        <a:pt x="73" y="259"/>
                      </a:lnTo>
                      <a:lnTo>
                        <a:pt x="71" y="260"/>
                      </a:lnTo>
                      <a:lnTo>
                        <a:pt x="71" y="262"/>
                      </a:lnTo>
                      <a:lnTo>
                        <a:pt x="74" y="266"/>
                      </a:lnTo>
                      <a:lnTo>
                        <a:pt x="74" y="268"/>
                      </a:lnTo>
                      <a:lnTo>
                        <a:pt x="75" y="269"/>
                      </a:lnTo>
                      <a:lnTo>
                        <a:pt x="78" y="268"/>
                      </a:lnTo>
                      <a:lnTo>
                        <a:pt x="79" y="270"/>
                      </a:lnTo>
                      <a:lnTo>
                        <a:pt x="78" y="271"/>
                      </a:lnTo>
                      <a:lnTo>
                        <a:pt x="76" y="270"/>
                      </a:lnTo>
                      <a:lnTo>
                        <a:pt x="74" y="271"/>
                      </a:lnTo>
                      <a:lnTo>
                        <a:pt x="73" y="272"/>
                      </a:lnTo>
                      <a:lnTo>
                        <a:pt x="71" y="271"/>
                      </a:lnTo>
                      <a:lnTo>
                        <a:pt x="69" y="271"/>
                      </a:lnTo>
                      <a:lnTo>
                        <a:pt x="69" y="271"/>
                      </a:lnTo>
                      <a:lnTo>
                        <a:pt x="65" y="271"/>
                      </a:lnTo>
                      <a:lnTo>
                        <a:pt x="63" y="271"/>
                      </a:lnTo>
                      <a:lnTo>
                        <a:pt x="62" y="272"/>
                      </a:lnTo>
                      <a:lnTo>
                        <a:pt x="62" y="274"/>
                      </a:lnTo>
                      <a:lnTo>
                        <a:pt x="63" y="276"/>
                      </a:lnTo>
                      <a:lnTo>
                        <a:pt x="66" y="277"/>
                      </a:lnTo>
                      <a:lnTo>
                        <a:pt x="68" y="278"/>
                      </a:lnTo>
                      <a:lnTo>
                        <a:pt x="69" y="280"/>
                      </a:lnTo>
                      <a:lnTo>
                        <a:pt x="71" y="281"/>
                      </a:lnTo>
                      <a:lnTo>
                        <a:pt x="72" y="285"/>
                      </a:lnTo>
                      <a:lnTo>
                        <a:pt x="73" y="285"/>
                      </a:lnTo>
                      <a:lnTo>
                        <a:pt x="73" y="288"/>
                      </a:lnTo>
                      <a:lnTo>
                        <a:pt x="77" y="293"/>
                      </a:lnTo>
                      <a:lnTo>
                        <a:pt x="78" y="296"/>
                      </a:lnTo>
                      <a:lnTo>
                        <a:pt x="77" y="301"/>
                      </a:lnTo>
                      <a:lnTo>
                        <a:pt x="79" y="301"/>
                      </a:lnTo>
                      <a:lnTo>
                        <a:pt x="81" y="300"/>
                      </a:lnTo>
                      <a:lnTo>
                        <a:pt x="82" y="299"/>
                      </a:lnTo>
                      <a:lnTo>
                        <a:pt x="83" y="300"/>
                      </a:lnTo>
                      <a:lnTo>
                        <a:pt x="85" y="303"/>
                      </a:lnTo>
                      <a:lnTo>
                        <a:pt x="86" y="304"/>
                      </a:lnTo>
                      <a:lnTo>
                        <a:pt x="87" y="307"/>
                      </a:lnTo>
                      <a:lnTo>
                        <a:pt x="88" y="308"/>
                      </a:lnTo>
                      <a:lnTo>
                        <a:pt x="90" y="306"/>
                      </a:lnTo>
                      <a:lnTo>
                        <a:pt x="93" y="307"/>
                      </a:lnTo>
                      <a:lnTo>
                        <a:pt x="95" y="309"/>
                      </a:lnTo>
                      <a:lnTo>
                        <a:pt x="98" y="309"/>
                      </a:lnTo>
                      <a:lnTo>
                        <a:pt x="99" y="309"/>
                      </a:lnTo>
                      <a:lnTo>
                        <a:pt x="99" y="310"/>
                      </a:lnTo>
                      <a:lnTo>
                        <a:pt x="99" y="312"/>
                      </a:lnTo>
                      <a:lnTo>
                        <a:pt x="98" y="317"/>
                      </a:lnTo>
                      <a:lnTo>
                        <a:pt x="97" y="322"/>
                      </a:lnTo>
                      <a:lnTo>
                        <a:pt x="97" y="326"/>
                      </a:lnTo>
                      <a:lnTo>
                        <a:pt x="98" y="329"/>
                      </a:lnTo>
                      <a:lnTo>
                        <a:pt x="107" y="320"/>
                      </a:lnTo>
                      <a:lnTo>
                        <a:pt x="114" y="317"/>
                      </a:lnTo>
                      <a:lnTo>
                        <a:pt x="123" y="319"/>
                      </a:lnTo>
                      <a:lnTo>
                        <a:pt x="132" y="326"/>
                      </a:lnTo>
                      <a:lnTo>
                        <a:pt x="142" y="339"/>
                      </a:lnTo>
                      <a:lnTo>
                        <a:pt x="148" y="337"/>
                      </a:lnTo>
                      <a:lnTo>
                        <a:pt x="149" y="337"/>
                      </a:lnTo>
                      <a:lnTo>
                        <a:pt x="139" y="256"/>
                      </a:lnTo>
                      <a:lnTo>
                        <a:pt x="176" y="247"/>
                      </a:lnTo>
                      <a:lnTo>
                        <a:pt x="198" y="267"/>
                      </a:lnTo>
                      <a:lnTo>
                        <a:pt x="207" y="271"/>
                      </a:lnTo>
                      <a:lnTo>
                        <a:pt x="218" y="279"/>
                      </a:lnTo>
                      <a:lnTo>
                        <a:pt x="239" y="277"/>
                      </a:lnTo>
                      <a:lnTo>
                        <a:pt x="263" y="277"/>
                      </a:lnTo>
                      <a:lnTo>
                        <a:pt x="270" y="283"/>
                      </a:lnTo>
                      <a:lnTo>
                        <a:pt x="274" y="293"/>
                      </a:lnTo>
                      <a:lnTo>
                        <a:pt x="278" y="292"/>
                      </a:lnTo>
                      <a:lnTo>
                        <a:pt x="279" y="316"/>
                      </a:lnTo>
                      <a:lnTo>
                        <a:pt x="289" y="317"/>
                      </a:lnTo>
                      <a:lnTo>
                        <a:pt x="294" y="336"/>
                      </a:lnTo>
                      <a:lnTo>
                        <a:pt x="298" y="336"/>
                      </a:lnTo>
                      <a:lnTo>
                        <a:pt x="304" y="333"/>
                      </a:lnTo>
                      <a:lnTo>
                        <a:pt x="308" y="332"/>
                      </a:lnTo>
                      <a:lnTo>
                        <a:pt x="313" y="333"/>
                      </a:lnTo>
                      <a:lnTo>
                        <a:pt x="319" y="336"/>
                      </a:lnTo>
                      <a:lnTo>
                        <a:pt x="321" y="337"/>
                      </a:lnTo>
                      <a:lnTo>
                        <a:pt x="326" y="331"/>
                      </a:lnTo>
                      <a:lnTo>
                        <a:pt x="329" y="325"/>
                      </a:lnTo>
                      <a:lnTo>
                        <a:pt x="331" y="323"/>
                      </a:lnTo>
                      <a:lnTo>
                        <a:pt x="333" y="318"/>
                      </a:lnTo>
                      <a:lnTo>
                        <a:pt x="339" y="310"/>
                      </a:lnTo>
                      <a:lnTo>
                        <a:pt x="341" y="309"/>
                      </a:lnTo>
                      <a:lnTo>
                        <a:pt x="344" y="305"/>
                      </a:lnTo>
                      <a:lnTo>
                        <a:pt x="345" y="305"/>
                      </a:lnTo>
                      <a:lnTo>
                        <a:pt x="345" y="303"/>
                      </a:lnTo>
                      <a:lnTo>
                        <a:pt x="348" y="301"/>
                      </a:lnTo>
                      <a:lnTo>
                        <a:pt x="347" y="298"/>
                      </a:lnTo>
                      <a:lnTo>
                        <a:pt x="350" y="295"/>
                      </a:lnTo>
                      <a:lnTo>
                        <a:pt x="354" y="296"/>
                      </a:lnTo>
                      <a:lnTo>
                        <a:pt x="357" y="298"/>
                      </a:lnTo>
                      <a:lnTo>
                        <a:pt x="367" y="298"/>
                      </a:lnTo>
                      <a:lnTo>
                        <a:pt x="376" y="298"/>
                      </a:lnTo>
                      <a:lnTo>
                        <a:pt x="381" y="298"/>
                      </a:lnTo>
                      <a:lnTo>
                        <a:pt x="381" y="293"/>
                      </a:lnTo>
                      <a:lnTo>
                        <a:pt x="380" y="289"/>
                      </a:lnTo>
                      <a:lnTo>
                        <a:pt x="379" y="286"/>
                      </a:lnTo>
                      <a:lnTo>
                        <a:pt x="381" y="285"/>
                      </a:lnTo>
                      <a:lnTo>
                        <a:pt x="384" y="285"/>
                      </a:lnTo>
                      <a:lnTo>
                        <a:pt x="387" y="285"/>
                      </a:lnTo>
                      <a:lnTo>
                        <a:pt x="388" y="285"/>
                      </a:lnTo>
                      <a:lnTo>
                        <a:pt x="393" y="285"/>
                      </a:lnTo>
                      <a:lnTo>
                        <a:pt x="396" y="287"/>
                      </a:lnTo>
                      <a:lnTo>
                        <a:pt x="402" y="288"/>
                      </a:lnTo>
                      <a:lnTo>
                        <a:pt x="409" y="290"/>
                      </a:lnTo>
                      <a:lnTo>
                        <a:pt x="412" y="288"/>
                      </a:lnTo>
                      <a:lnTo>
                        <a:pt x="415" y="285"/>
                      </a:lnTo>
                      <a:lnTo>
                        <a:pt x="418" y="287"/>
                      </a:lnTo>
                      <a:lnTo>
                        <a:pt x="421" y="286"/>
                      </a:lnTo>
                      <a:lnTo>
                        <a:pt x="428" y="285"/>
                      </a:lnTo>
                      <a:lnTo>
                        <a:pt x="435" y="287"/>
                      </a:lnTo>
                      <a:lnTo>
                        <a:pt x="440" y="285"/>
                      </a:lnTo>
                      <a:lnTo>
                        <a:pt x="448" y="285"/>
                      </a:lnTo>
                      <a:lnTo>
                        <a:pt x="454" y="288"/>
                      </a:lnTo>
                      <a:lnTo>
                        <a:pt x="457" y="288"/>
                      </a:lnTo>
                      <a:lnTo>
                        <a:pt x="463" y="295"/>
                      </a:lnTo>
                      <a:lnTo>
                        <a:pt x="469" y="298"/>
                      </a:lnTo>
                      <a:lnTo>
                        <a:pt x="471" y="296"/>
                      </a:lnTo>
                      <a:lnTo>
                        <a:pt x="471" y="292"/>
                      </a:lnTo>
                      <a:lnTo>
                        <a:pt x="474" y="289"/>
                      </a:lnTo>
                      <a:lnTo>
                        <a:pt x="474" y="288"/>
                      </a:lnTo>
                      <a:lnTo>
                        <a:pt x="476" y="287"/>
                      </a:lnTo>
                      <a:lnTo>
                        <a:pt x="474" y="283"/>
                      </a:lnTo>
                      <a:lnTo>
                        <a:pt x="474" y="280"/>
                      </a:lnTo>
                      <a:lnTo>
                        <a:pt x="476" y="278"/>
                      </a:lnTo>
                      <a:lnTo>
                        <a:pt x="475" y="271"/>
                      </a:lnTo>
                      <a:lnTo>
                        <a:pt x="472" y="268"/>
                      </a:lnTo>
                      <a:lnTo>
                        <a:pt x="471" y="266"/>
                      </a:lnTo>
                      <a:lnTo>
                        <a:pt x="469" y="260"/>
                      </a:lnTo>
                      <a:lnTo>
                        <a:pt x="468" y="257"/>
                      </a:lnTo>
                      <a:lnTo>
                        <a:pt x="467" y="255"/>
                      </a:lnTo>
                      <a:lnTo>
                        <a:pt x="467" y="253"/>
                      </a:lnTo>
                      <a:lnTo>
                        <a:pt x="465" y="247"/>
                      </a:lnTo>
                      <a:lnTo>
                        <a:pt x="468" y="245"/>
                      </a:lnTo>
                      <a:lnTo>
                        <a:pt x="468" y="243"/>
                      </a:lnTo>
                      <a:lnTo>
                        <a:pt x="464" y="243"/>
                      </a:lnTo>
                      <a:lnTo>
                        <a:pt x="461" y="243"/>
                      </a:lnTo>
                      <a:lnTo>
                        <a:pt x="457" y="241"/>
                      </a:lnTo>
                      <a:lnTo>
                        <a:pt x="458" y="239"/>
                      </a:lnTo>
                      <a:lnTo>
                        <a:pt x="461" y="236"/>
                      </a:lnTo>
                      <a:lnTo>
                        <a:pt x="463" y="235"/>
                      </a:lnTo>
                      <a:lnTo>
                        <a:pt x="464" y="236"/>
                      </a:lnTo>
                      <a:lnTo>
                        <a:pt x="467" y="236"/>
                      </a:lnTo>
                      <a:lnTo>
                        <a:pt x="471" y="233"/>
                      </a:lnTo>
                      <a:lnTo>
                        <a:pt x="477" y="232"/>
                      </a:lnTo>
                      <a:lnTo>
                        <a:pt x="481" y="231"/>
                      </a:lnTo>
                      <a:lnTo>
                        <a:pt x="482" y="230"/>
                      </a:lnTo>
                      <a:lnTo>
                        <a:pt x="484" y="232"/>
                      </a:lnTo>
                      <a:lnTo>
                        <a:pt x="486" y="232"/>
                      </a:lnTo>
                      <a:lnTo>
                        <a:pt x="488" y="230"/>
                      </a:lnTo>
                      <a:lnTo>
                        <a:pt x="489" y="230"/>
                      </a:lnTo>
                      <a:lnTo>
                        <a:pt x="490" y="228"/>
                      </a:lnTo>
                      <a:lnTo>
                        <a:pt x="492" y="225"/>
                      </a:lnTo>
                      <a:lnTo>
                        <a:pt x="488" y="223"/>
                      </a:lnTo>
                      <a:lnTo>
                        <a:pt x="486" y="221"/>
                      </a:lnTo>
                      <a:lnTo>
                        <a:pt x="487" y="219"/>
                      </a:lnTo>
                      <a:lnTo>
                        <a:pt x="487" y="211"/>
                      </a:lnTo>
                      <a:lnTo>
                        <a:pt x="488" y="202"/>
                      </a:lnTo>
                      <a:lnTo>
                        <a:pt x="488" y="198"/>
                      </a:lnTo>
                      <a:lnTo>
                        <a:pt x="490" y="193"/>
                      </a:lnTo>
                      <a:lnTo>
                        <a:pt x="491" y="185"/>
                      </a:lnTo>
                      <a:lnTo>
                        <a:pt x="492" y="185"/>
                      </a:lnTo>
                      <a:lnTo>
                        <a:pt x="496" y="185"/>
                      </a:lnTo>
                      <a:lnTo>
                        <a:pt x="502" y="188"/>
                      </a:lnTo>
                      <a:lnTo>
                        <a:pt x="506" y="188"/>
                      </a:lnTo>
                      <a:lnTo>
                        <a:pt x="511" y="187"/>
                      </a:lnTo>
                      <a:lnTo>
                        <a:pt x="513" y="187"/>
                      </a:lnTo>
                      <a:lnTo>
                        <a:pt x="514" y="188"/>
                      </a:lnTo>
                      <a:lnTo>
                        <a:pt x="515" y="189"/>
                      </a:lnTo>
                      <a:lnTo>
                        <a:pt x="517" y="188"/>
                      </a:lnTo>
                      <a:lnTo>
                        <a:pt x="519" y="185"/>
                      </a:lnTo>
                      <a:lnTo>
                        <a:pt x="523" y="184"/>
                      </a:lnTo>
                      <a:lnTo>
                        <a:pt x="526" y="178"/>
                      </a:lnTo>
                      <a:lnTo>
                        <a:pt x="526" y="176"/>
                      </a:lnTo>
                      <a:lnTo>
                        <a:pt x="524" y="172"/>
                      </a:lnTo>
                      <a:lnTo>
                        <a:pt x="521" y="165"/>
                      </a:lnTo>
                      <a:lnTo>
                        <a:pt x="521" y="158"/>
                      </a:lnTo>
                      <a:lnTo>
                        <a:pt x="522" y="154"/>
                      </a:lnTo>
                      <a:lnTo>
                        <a:pt x="524" y="152"/>
                      </a:lnTo>
                      <a:lnTo>
                        <a:pt x="528" y="150"/>
                      </a:lnTo>
                      <a:lnTo>
                        <a:pt x="530" y="147"/>
                      </a:lnTo>
                      <a:lnTo>
                        <a:pt x="529" y="145"/>
                      </a:lnTo>
                      <a:lnTo>
                        <a:pt x="530" y="142"/>
                      </a:lnTo>
                      <a:lnTo>
                        <a:pt x="533" y="137"/>
                      </a:lnTo>
                      <a:lnTo>
                        <a:pt x="535" y="136"/>
                      </a:lnTo>
                      <a:lnTo>
                        <a:pt x="538" y="133"/>
                      </a:lnTo>
                      <a:lnTo>
                        <a:pt x="537" y="132"/>
                      </a:lnTo>
                      <a:lnTo>
                        <a:pt x="537" y="131"/>
                      </a:lnTo>
                      <a:lnTo>
                        <a:pt x="533" y="129"/>
                      </a:lnTo>
                      <a:lnTo>
                        <a:pt x="530" y="126"/>
                      </a:lnTo>
                      <a:lnTo>
                        <a:pt x="527" y="126"/>
                      </a:lnTo>
                      <a:lnTo>
                        <a:pt x="526" y="122"/>
                      </a:lnTo>
                      <a:lnTo>
                        <a:pt x="528" y="119"/>
                      </a:lnTo>
                      <a:lnTo>
                        <a:pt x="526" y="118"/>
                      </a:lnTo>
                      <a:lnTo>
                        <a:pt x="523" y="119"/>
                      </a:lnTo>
                      <a:lnTo>
                        <a:pt x="522" y="122"/>
                      </a:lnTo>
                      <a:lnTo>
                        <a:pt x="519" y="123"/>
                      </a:lnTo>
                      <a:lnTo>
                        <a:pt x="513" y="124"/>
                      </a:lnTo>
                      <a:lnTo>
                        <a:pt x="510" y="126"/>
                      </a:lnTo>
                      <a:lnTo>
                        <a:pt x="509" y="127"/>
                      </a:lnTo>
                      <a:lnTo>
                        <a:pt x="507" y="126"/>
                      </a:lnTo>
                      <a:lnTo>
                        <a:pt x="505" y="124"/>
                      </a:lnTo>
                      <a:lnTo>
                        <a:pt x="503" y="124"/>
                      </a:lnTo>
                      <a:lnTo>
                        <a:pt x="502" y="123"/>
                      </a:lnTo>
                      <a:lnTo>
                        <a:pt x="501" y="122"/>
                      </a:lnTo>
                      <a:lnTo>
                        <a:pt x="500" y="119"/>
                      </a:lnTo>
                      <a:lnTo>
                        <a:pt x="500" y="117"/>
                      </a:lnTo>
                      <a:lnTo>
                        <a:pt x="501" y="116"/>
                      </a:lnTo>
                      <a:lnTo>
                        <a:pt x="501" y="113"/>
                      </a:lnTo>
                      <a:lnTo>
                        <a:pt x="499" y="112"/>
                      </a:lnTo>
                      <a:lnTo>
                        <a:pt x="498" y="112"/>
                      </a:lnTo>
                      <a:lnTo>
                        <a:pt x="495" y="109"/>
                      </a:lnTo>
                      <a:lnTo>
                        <a:pt x="492" y="109"/>
                      </a:lnTo>
                      <a:lnTo>
                        <a:pt x="490" y="109"/>
                      </a:lnTo>
                      <a:lnTo>
                        <a:pt x="488" y="105"/>
                      </a:lnTo>
                      <a:lnTo>
                        <a:pt x="486" y="100"/>
                      </a:lnTo>
                      <a:lnTo>
                        <a:pt x="482" y="96"/>
                      </a:lnTo>
                      <a:lnTo>
                        <a:pt x="478" y="95"/>
                      </a:lnTo>
                      <a:lnTo>
                        <a:pt x="473" y="95"/>
                      </a:lnTo>
                      <a:lnTo>
                        <a:pt x="468" y="95"/>
                      </a:lnTo>
                      <a:lnTo>
                        <a:pt x="468" y="97"/>
                      </a:lnTo>
                      <a:lnTo>
                        <a:pt x="468" y="99"/>
                      </a:lnTo>
                      <a:lnTo>
                        <a:pt x="468" y="101"/>
                      </a:lnTo>
                      <a:lnTo>
                        <a:pt x="465" y="102"/>
                      </a:lnTo>
                      <a:lnTo>
                        <a:pt x="463" y="102"/>
                      </a:lnTo>
                      <a:lnTo>
                        <a:pt x="460" y="103"/>
                      </a:lnTo>
                      <a:lnTo>
                        <a:pt x="456" y="101"/>
                      </a:lnTo>
                      <a:lnTo>
                        <a:pt x="454" y="101"/>
                      </a:lnTo>
                      <a:lnTo>
                        <a:pt x="452" y="102"/>
                      </a:lnTo>
                      <a:lnTo>
                        <a:pt x="449" y="102"/>
                      </a:lnTo>
                      <a:lnTo>
                        <a:pt x="447" y="100"/>
                      </a:lnTo>
                      <a:lnTo>
                        <a:pt x="444" y="99"/>
                      </a:lnTo>
                      <a:lnTo>
                        <a:pt x="443" y="97"/>
                      </a:lnTo>
                      <a:lnTo>
                        <a:pt x="444" y="95"/>
                      </a:lnTo>
                      <a:lnTo>
                        <a:pt x="440" y="92"/>
                      </a:lnTo>
                      <a:lnTo>
                        <a:pt x="438" y="93"/>
                      </a:lnTo>
                      <a:lnTo>
                        <a:pt x="438" y="97"/>
                      </a:lnTo>
                      <a:lnTo>
                        <a:pt x="439" y="98"/>
                      </a:lnTo>
                      <a:lnTo>
                        <a:pt x="438" y="100"/>
                      </a:lnTo>
                      <a:lnTo>
                        <a:pt x="436" y="102"/>
                      </a:lnTo>
                      <a:lnTo>
                        <a:pt x="433" y="102"/>
                      </a:lnTo>
                      <a:lnTo>
                        <a:pt x="398" y="50"/>
                      </a:lnTo>
                      <a:lnTo>
                        <a:pt x="372" y="27"/>
                      </a:lnTo>
                      <a:lnTo>
                        <a:pt x="371" y="25"/>
                      </a:lnTo>
                      <a:lnTo>
                        <a:pt x="374" y="24"/>
                      </a:lnTo>
                      <a:lnTo>
                        <a:pt x="376" y="21"/>
                      </a:lnTo>
                      <a:lnTo>
                        <a:pt x="376" y="18"/>
                      </a:lnTo>
                      <a:lnTo>
                        <a:pt x="374" y="16"/>
                      </a:lnTo>
                      <a:lnTo>
                        <a:pt x="371" y="18"/>
                      </a:lnTo>
                      <a:lnTo>
                        <a:pt x="367" y="19"/>
                      </a:lnTo>
                      <a:lnTo>
                        <a:pt x="365" y="22"/>
                      </a:lnTo>
                      <a:lnTo>
                        <a:pt x="363" y="22"/>
                      </a:lnTo>
                      <a:lnTo>
                        <a:pt x="360" y="26"/>
                      </a:lnTo>
                      <a:lnTo>
                        <a:pt x="360" y="29"/>
                      </a:lnTo>
                      <a:lnTo>
                        <a:pt x="357" y="31"/>
                      </a:lnTo>
                      <a:lnTo>
                        <a:pt x="357" y="34"/>
                      </a:lnTo>
                      <a:lnTo>
                        <a:pt x="353" y="36"/>
                      </a:lnTo>
                      <a:lnTo>
                        <a:pt x="350" y="36"/>
                      </a:lnTo>
                      <a:lnTo>
                        <a:pt x="347" y="38"/>
                      </a:lnTo>
                      <a:lnTo>
                        <a:pt x="347" y="42"/>
                      </a:lnTo>
                      <a:lnTo>
                        <a:pt x="346" y="43"/>
                      </a:lnTo>
                      <a:lnTo>
                        <a:pt x="344" y="42"/>
                      </a:lnTo>
                      <a:lnTo>
                        <a:pt x="339" y="40"/>
                      </a:lnTo>
                      <a:lnTo>
                        <a:pt x="336" y="42"/>
                      </a:lnTo>
                      <a:lnTo>
                        <a:pt x="334" y="44"/>
                      </a:lnTo>
                      <a:lnTo>
                        <a:pt x="332" y="44"/>
                      </a:lnTo>
                      <a:lnTo>
                        <a:pt x="330" y="41"/>
                      </a:lnTo>
                      <a:lnTo>
                        <a:pt x="330" y="36"/>
                      </a:lnTo>
                      <a:lnTo>
                        <a:pt x="332" y="35"/>
                      </a:lnTo>
                      <a:lnTo>
                        <a:pt x="333" y="32"/>
                      </a:lnTo>
                      <a:lnTo>
                        <a:pt x="332" y="30"/>
                      </a:lnTo>
                      <a:lnTo>
                        <a:pt x="329" y="33"/>
                      </a:lnTo>
                      <a:lnTo>
                        <a:pt x="328" y="33"/>
                      </a:lnTo>
                      <a:lnTo>
                        <a:pt x="322" y="29"/>
                      </a:lnTo>
                      <a:lnTo>
                        <a:pt x="319" y="30"/>
                      </a:lnTo>
                      <a:lnTo>
                        <a:pt x="320" y="32"/>
                      </a:lnTo>
                      <a:lnTo>
                        <a:pt x="322" y="33"/>
                      </a:lnTo>
                      <a:lnTo>
                        <a:pt x="319" y="36"/>
                      </a:lnTo>
                      <a:lnTo>
                        <a:pt x="318" y="36"/>
                      </a:lnTo>
                      <a:lnTo>
                        <a:pt x="316" y="32"/>
                      </a:lnTo>
                      <a:lnTo>
                        <a:pt x="315" y="26"/>
                      </a:lnTo>
                      <a:lnTo>
                        <a:pt x="311" y="22"/>
                      </a:lnTo>
                      <a:lnTo>
                        <a:pt x="309" y="22"/>
                      </a:lnTo>
                      <a:lnTo>
                        <a:pt x="311" y="26"/>
                      </a:lnTo>
                      <a:lnTo>
                        <a:pt x="310" y="29"/>
                      </a:lnTo>
                      <a:lnTo>
                        <a:pt x="308" y="29"/>
                      </a:lnTo>
                      <a:lnTo>
                        <a:pt x="308" y="26"/>
                      </a:lnTo>
                      <a:lnTo>
                        <a:pt x="306" y="26"/>
                      </a:lnTo>
                      <a:lnTo>
                        <a:pt x="305" y="29"/>
                      </a:lnTo>
                      <a:lnTo>
                        <a:pt x="304" y="30"/>
                      </a:lnTo>
                      <a:lnTo>
                        <a:pt x="301" y="28"/>
                      </a:lnTo>
                      <a:lnTo>
                        <a:pt x="298" y="30"/>
                      </a:lnTo>
                      <a:lnTo>
                        <a:pt x="297" y="29"/>
                      </a:lnTo>
                      <a:lnTo>
                        <a:pt x="295" y="26"/>
                      </a:lnTo>
                      <a:lnTo>
                        <a:pt x="298" y="25"/>
                      </a:lnTo>
                      <a:lnTo>
                        <a:pt x="298" y="23"/>
                      </a:lnTo>
                      <a:lnTo>
                        <a:pt x="298" y="20"/>
                      </a:lnTo>
                      <a:lnTo>
                        <a:pt x="298" y="17"/>
                      </a:lnTo>
                      <a:lnTo>
                        <a:pt x="298" y="15"/>
                      </a:lnTo>
                      <a:lnTo>
                        <a:pt x="296" y="14"/>
                      </a:lnTo>
                      <a:lnTo>
                        <a:pt x="294" y="12"/>
                      </a:lnTo>
                      <a:lnTo>
                        <a:pt x="293" y="8"/>
                      </a:lnTo>
                      <a:lnTo>
                        <a:pt x="291" y="7"/>
                      </a:lnTo>
                      <a:lnTo>
                        <a:pt x="291" y="2"/>
                      </a:lnTo>
                      <a:lnTo>
                        <a:pt x="287" y="2"/>
                      </a:lnTo>
                      <a:lnTo>
                        <a:pt x="284" y="4"/>
                      </a:lnTo>
                      <a:lnTo>
                        <a:pt x="281" y="4"/>
                      </a:lnTo>
                      <a:lnTo>
                        <a:pt x="277" y="2"/>
                      </a:lnTo>
                      <a:lnTo>
                        <a:pt x="274" y="2"/>
                      </a:lnTo>
                      <a:lnTo>
                        <a:pt x="270" y="0"/>
                      </a:lnTo>
                      <a:lnTo>
                        <a:pt x="268" y="1"/>
                      </a:lnTo>
                      <a:lnTo>
                        <a:pt x="267" y="1"/>
                      </a:lnTo>
                      <a:lnTo>
                        <a:pt x="264" y="2"/>
                      </a:lnTo>
                      <a:lnTo>
                        <a:pt x="263" y="5"/>
                      </a:lnTo>
                      <a:lnTo>
                        <a:pt x="260" y="5"/>
                      </a:lnTo>
                      <a:lnTo>
                        <a:pt x="258" y="7"/>
                      </a:lnTo>
                      <a:lnTo>
                        <a:pt x="260" y="9"/>
                      </a:lnTo>
                      <a:lnTo>
                        <a:pt x="260" y="12"/>
                      </a:lnTo>
                      <a:lnTo>
                        <a:pt x="256" y="12"/>
                      </a:lnTo>
                      <a:lnTo>
                        <a:pt x="253" y="12"/>
                      </a:lnTo>
                      <a:lnTo>
                        <a:pt x="252" y="15"/>
                      </a:lnTo>
                      <a:lnTo>
                        <a:pt x="249" y="16"/>
                      </a:lnTo>
                      <a:lnTo>
                        <a:pt x="247" y="17"/>
                      </a:lnTo>
                      <a:lnTo>
                        <a:pt x="246" y="17"/>
                      </a:lnTo>
                      <a:lnTo>
                        <a:pt x="239" y="22"/>
                      </a:lnTo>
                      <a:lnTo>
                        <a:pt x="236" y="23"/>
                      </a:lnTo>
                      <a:lnTo>
                        <a:pt x="234" y="25"/>
                      </a:lnTo>
                      <a:lnTo>
                        <a:pt x="232" y="25"/>
                      </a:lnTo>
                      <a:lnTo>
                        <a:pt x="230" y="22"/>
                      </a:lnTo>
                      <a:lnTo>
                        <a:pt x="229" y="25"/>
                      </a:lnTo>
                      <a:lnTo>
                        <a:pt x="229" y="27"/>
                      </a:lnTo>
                      <a:lnTo>
                        <a:pt x="225" y="27"/>
                      </a:lnTo>
                      <a:lnTo>
                        <a:pt x="223" y="29"/>
                      </a:lnTo>
                      <a:lnTo>
                        <a:pt x="224" y="32"/>
                      </a:lnTo>
                      <a:lnTo>
                        <a:pt x="222" y="33"/>
                      </a:lnTo>
                      <a:lnTo>
                        <a:pt x="221" y="33"/>
                      </a:lnTo>
                      <a:lnTo>
                        <a:pt x="218" y="33"/>
                      </a:lnTo>
                      <a:lnTo>
                        <a:pt x="216" y="34"/>
                      </a:lnTo>
                      <a:lnTo>
                        <a:pt x="213" y="35"/>
                      </a:lnTo>
                      <a:lnTo>
                        <a:pt x="209" y="37"/>
                      </a:lnTo>
                      <a:lnTo>
                        <a:pt x="208" y="39"/>
                      </a:lnTo>
                      <a:lnTo>
                        <a:pt x="204" y="40"/>
                      </a:lnTo>
                      <a:lnTo>
                        <a:pt x="201" y="41"/>
                      </a:lnTo>
                      <a:lnTo>
                        <a:pt x="197" y="42"/>
                      </a:lnTo>
                      <a:lnTo>
                        <a:pt x="193" y="43"/>
                      </a:lnTo>
                      <a:lnTo>
                        <a:pt x="193" y="46"/>
                      </a:lnTo>
                      <a:lnTo>
                        <a:pt x="191" y="48"/>
                      </a:lnTo>
                      <a:lnTo>
                        <a:pt x="190" y="45"/>
                      </a:lnTo>
                      <a:lnTo>
                        <a:pt x="187" y="45"/>
                      </a:lnTo>
                      <a:lnTo>
                        <a:pt x="184" y="47"/>
                      </a:lnTo>
                      <a:lnTo>
                        <a:pt x="184" y="49"/>
                      </a:lnTo>
                      <a:lnTo>
                        <a:pt x="184" y="50"/>
                      </a:lnTo>
                      <a:lnTo>
                        <a:pt x="181" y="48"/>
                      </a:lnTo>
                      <a:lnTo>
                        <a:pt x="177" y="49"/>
                      </a:lnTo>
                      <a:lnTo>
                        <a:pt x="177" y="47"/>
                      </a:lnTo>
                      <a:lnTo>
                        <a:pt x="175" y="47"/>
                      </a:lnTo>
                      <a:lnTo>
                        <a:pt x="173" y="49"/>
                      </a:lnTo>
                      <a:lnTo>
                        <a:pt x="170" y="49"/>
                      </a:lnTo>
                      <a:lnTo>
                        <a:pt x="170" y="50"/>
                      </a:lnTo>
                      <a:lnTo>
                        <a:pt x="170" y="54"/>
                      </a:lnTo>
                      <a:lnTo>
                        <a:pt x="170" y="56"/>
                      </a:lnTo>
                      <a:lnTo>
                        <a:pt x="172" y="57"/>
                      </a:lnTo>
                      <a:lnTo>
                        <a:pt x="176" y="57"/>
                      </a:lnTo>
                      <a:lnTo>
                        <a:pt x="177" y="60"/>
                      </a:lnTo>
                      <a:lnTo>
                        <a:pt x="173" y="60"/>
                      </a:lnTo>
                      <a:lnTo>
                        <a:pt x="172" y="61"/>
                      </a:lnTo>
                      <a:lnTo>
                        <a:pt x="172" y="64"/>
                      </a:lnTo>
                      <a:lnTo>
                        <a:pt x="176" y="64"/>
                      </a:lnTo>
                      <a:lnTo>
                        <a:pt x="178" y="65"/>
                      </a:lnTo>
                      <a:lnTo>
                        <a:pt x="180" y="64"/>
                      </a:lnTo>
                      <a:lnTo>
                        <a:pt x="182" y="64"/>
                      </a:lnTo>
                      <a:lnTo>
                        <a:pt x="184" y="66"/>
                      </a:lnTo>
                      <a:lnTo>
                        <a:pt x="187" y="67"/>
                      </a:lnTo>
                      <a:lnTo>
                        <a:pt x="187" y="71"/>
                      </a:lnTo>
                      <a:lnTo>
                        <a:pt x="186" y="72"/>
                      </a:lnTo>
                      <a:lnTo>
                        <a:pt x="184" y="71"/>
                      </a:lnTo>
                      <a:lnTo>
                        <a:pt x="177" y="71"/>
                      </a:lnTo>
                      <a:lnTo>
                        <a:pt x="174" y="75"/>
                      </a:lnTo>
                      <a:lnTo>
                        <a:pt x="171" y="81"/>
                      </a:lnTo>
                      <a:lnTo>
                        <a:pt x="171" y="84"/>
                      </a:lnTo>
                      <a:lnTo>
                        <a:pt x="173" y="84"/>
                      </a:lnTo>
                      <a:lnTo>
                        <a:pt x="174" y="88"/>
                      </a:lnTo>
                      <a:lnTo>
                        <a:pt x="172" y="91"/>
                      </a:lnTo>
                      <a:lnTo>
                        <a:pt x="171" y="95"/>
                      </a:lnTo>
                      <a:lnTo>
                        <a:pt x="169" y="95"/>
                      </a:lnTo>
                      <a:lnTo>
                        <a:pt x="168" y="98"/>
                      </a:lnTo>
                      <a:lnTo>
                        <a:pt x="170" y="99"/>
                      </a:lnTo>
                      <a:lnTo>
                        <a:pt x="170" y="102"/>
                      </a:lnTo>
                      <a:lnTo>
                        <a:pt x="173" y="102"/>
                      </a:lnTo>
                      <a:lnTo>
                        <a:pt x="175" y="104"/>
                      </a:lnTo>
                      <a:lnTo>
                        <a:pt x="178" y="105"/>
                      </a:lnTo>
                      <a:lnTo>
                        <a:pt x="178" y="106"/>
                      </a:lnTo>
                      <a:lnTo>
                        <a:pt x="181" y="109"/>
                      </a:lnTo>
                      <a:lnTo>
                        <a:pt x="185" y="109"/>
                      </a:lnTo>
                      <a:lnTo>
                        <a:pt x="187" y="110"/>
                      </a:lnTo>
                      <a:lnTo>
                        <a:pt x="187" y="124"/>
                      </a:lnTo>
                      <a:lnTo>
                        <a:pt x="186" y="126"/>
                      </a:lnTo>
                      <a:lnTo>
                        <a:pt x="181" y="129"/>
                      </a:lnTo>
                      <a:lnTo>
                        <a:pt x="177" y="128"/>
                      </a:lnTo>
                      <a:lnTo>
                        <a:pt x="173" y="125"/>
                      </a:lnTo>
                      <a:lnTo>
                        <a:pt x="171" y="126"/>
                      </a:lnTo>
                      <a:lnTo>
                        <a:pt x="171" y="129"/>
                      </a:lnTo>
                      <a:lnTo>
                        <a:pt x="170" y="133"/>
                      </a:lnTo>
                      <a:lnTo>
                        <a:pt x="166" y="134"/>
                      </a:lnTo>
                      <a:lnTo>
                        <a:pt x="162" y="131"/>
                      </a:lnTo>
                      <a:lnTo>
                        <a:pt x="157" y="131"/>
                      </a:lnTo>
                      <a:lnTo>
                        <a:pt x="156" y="129"/>
                      </a:lnTo>
                      <a:lnTo>
                        <a:pt x="154" y="130"/>
                      </a:lnTo>
                      <a:lnTo>
                        <a:pt x="152" y="129"/>
                      </a:lnTo>
                      <a:lnTo>
                        <a:pt x="149" y="126"/>
                      </a:lnTo>
                      <a:lnTo>
                        <a:pt x="151" y="124"/>
                      </a:lnTo>
                      <a:lnTo>
                        <a:pt x="152" y="122"/>
                      </a:lnTo>
                      <a:lnTo>
                        <a:pt x="150" y="121"/>
                      </a:lnTo>
                      <a:lnTo>
                        <a:pt x="146" y="119"/>
                      </a:lnTo>
                      <a:lnTo>
                        <a:pt x="145" y="121"/>
                      </a:lnTo>
                      <a:lnTo>
                        <a:pt x="142" y="121"/>
                      </a:lnTo>
                      <a:lnTo>
                        <a:pt x="139" y="122"/>
                      </a:lnTo>
                      <a:lnTo>
                        <a:pt x="140" y="126"/>
                      </a:lnTo>
                      <a:lnTo>
                        <a:pt x="136" y="126"/>
                      </a:lnTo>
                      <a:lnTo>
                        <a:pt x="135" y="124"/>
                      </a:lnTo>
                      <a:lnTo>
                        <a:pt x="132" y="119"/>
                      </a:lnTo>
                      <a:lnTo>
                        <a:pt x="128" y="120"/>
                      </a:lnTo>
                      <a:lnTo>
                        <a:pt x="127" y="123"/>
                      </a:lnTo>
                      <a:lnTo>
                        <a:pt x="125" y="121"/>
                      </a:lnTo>
                      <a:lnTo>
                        <a:pt x="123" y="122"/>
                      </a:lnTo>
                      <a:lnTo>
                        <a:pt x="123" y="125"/>
                      </a:lnTo>
                      <a:lnTo>
                        <a:pt x="120" y="125"/>
                      </a:lnTo>
                      <a:lnTo>
                        <a:pt x="119" y="131"/>
                      </a:lnTo>
                      <a:lnTo>
                        <a:pt x="116" y="134"/>
                      </a:lnTo>
                      <a:lnTo>
                        <a:pt x="114" y="133"/>
                      </a:lnTo>
                      <a:lnTo>
                        <a:pt x="112" y="130"/>
                      </a:lnTo>
                      <a:lnTo>
                        <a:pt x="107" y="129"/>
                      </a:lnTo>
                      <a:lnTo>
                        <a:pt x="105" y="126"/>
                      </a:lnTo>
                      <a:lnTo>
                        <a:pt x="102" y="128"/>
                      </a:lnTo>
                      <a:lnTo>
                        <a:pt x="102" y="133"/>
                      </a:lnTo>
                      <a:lnTo>
                        <a:pt x="100" y="136"/>
                      </a:lnTo>
                      <a:lnTo>
                        <a:pt x="99" y="135"/>
                      </a:lnTo>
                      <a:lnTo>
                        <a:pt x="99" y="131"/>
                      </a:lnTo>
                      <a:lnTo>
                        <a:pt x="97" y="129"/>
                      </a:lnTo>
                      <a:lnTo>
                        <a:pt x="95" y="129"/>
                      </a:lnTo>
                      <a:lnTo>
                        <a:pt x="91" y="125"/>
                      </a:lnTo>
                      <a:lnTo>
                        <a:pt x="89" y="121"/>
                      </a:lnTo>
                      <a:lnTo>
                        <a:pt x="86" y="121"/>
                      </a:lnTo>
                      <a:lnTo>
                        <a:pt x="83" y="117"/>
                      </a:lnTo>
                      <a:lnTo>
                        <a:pt x="82" y="117"/>
                      </a:lnTo>
                      <a:lnTo>
                        <a:pt x="80" y="114"/>
                      </a:lnTo>
                      <a:lnTo>
                        <a:pt x="78" y="114"/>
                      </a:lnTo>
                      <a:lnTo>
                        <a:pt x="73" y="116"/>
                      </a:lnTo>
                      <a:lnTo>
                        <a:pt x="69" y="113"/>
                      </a:lnTo>
                      <a:lnTo>
                        <a:pt x="68" y="109"/>
                      </a:lnTo>
                      <a:lnTo>
                        <a:pt x="66" y="109"/>
                      </a:lnTo>
                      <a:lnTo>
                        <a:pt x="62" y="112"/>
                      </a:lnTo>
                      <a:lnTo>
                        <a:pt x="60" y="112"/>
                      </a:lnTo>
                      <a:lnTo>
                        <a:pt x="59" y="114"/>
                      </a:lnTo>
                      <a:lnTo>
                        <a:pt x="58" y="116"/>
                      </a:lnTo>
                      <a:lnTo>
                        <a:pt x="58" y="113"/>
                      </a:lnTo>
                      <a:lnTo>
                        <a:pt x="55" y="115"/>
                      </a:lnTo>
                      <a:lnTo>
                        <a:pt x="55" y="117"/>
                      </a:lnTo>
                      <a:lnTo>
                        <a:pt x="52" y="119"/>
                      </a:lnTo>
                      <a:lnTo>
                        <a:pt x="51" y="118"/>
                      </a:lnTo>
                      <a:lnTo>
                        <a:pt x="52" y="115"/>
                      </a:lnTo>
                      <a:lnTo>
                        <a:pt x="53" y="112"/>
                      </a:lnTo>
                      <a:lnTo>
                        <a:pt x="50" y="111"/>
                      </a:lnTo>
                      <a:lnTo>
                        <a:pt x="45" y="108"/>
                      </a:lnTo>
                      <a:lnTo>
                        <a:pt x="45" y="110"/>
                      </a:lnTo>
                      <a:lnTo>
                        <a:pt x="45" y="113"/>
                      </a:lnTo>
                      <a:lnTo>
                        <a:pt x="45" y="116"/>
                      </a:lnTo>
                      <a:lnTo>
                        <a:pt x="42" y="116"/>
                      </a:lnTo>
                      <a:lnTo>
                        <a:pt x="40" y="117"/>
                      </a:lnTo>
                      <a:lnTo>
                        <a:pt x="38" y="122"/>
                      </a:lnTo>
                      <a:lnTo>
                        <a:pt x="37" y="122"/>
                      </a:lnTo>
                      <a:lnTo>
                        <a:pt x="33" y="125"/>
                      </a:lnTo>
                      <a:lnTo>
                        <a:pt x="31" y="129"/>
                      </a:lnTo>
                      <a:lnTo>
                        <a:pt x="34" y="132"/>
                      </a:lnTo>
                      <a:lnTo>
                        <a:pt x="34" y="136"/>
                      </a:lnTo>
                      <a:lnTo>
                        <a:pt x="29" y="136"/>
                      </a:lnTo>
                      <a:lnTo>
                        <a:pt x="24" y="136"/>
                      </a:lnTo>
                      <a:lnTo>
                        <a:pt x="28" y="150"/>
                      </a:lnTo>
                      <a:lnTo>
                        <a:pt x="26" y="152"/>
                      </a:lnTo>
                      <a:lnTo>
                        <a:pt x="27" y="157"/>
                      </a:lnTo>
                      <a:lnTo>
                        <a:pt x="22" y="157"/>
                      </a:lnTo>
                      <a:lnTo>
                        <a:pt x="18" y="154"/>
                      </a:lnTo>
                      <a:lnTo>
                        <a:pt x="17" y="151"/>
                      </a:lnTo>
                      <a:lnTo>
                        <a:pt x="10" y="143"/>
                      </a:lnTo>
                      <a:lnTo>
                        <a:pt x="7" y="147"/>
                      </a:lnTo>
                      <a:lnTo>
                        <a:pt x="7" y="150"/>
                      </a:lnTo>
                      <a:lnTo>
                        <a:pt x="4" y="156"/>
                      </a:lnTo>
                      <a:lnTo>
                        <a:pt x="1" y="157"/>
                      </a:lnTo>
                      <a:lnTo>
                        <a:pt x="2" y="166"/>
                      </a:lnTo>
                      <a:lnTo>
                        <a:pt x="4" y="168"/>
                      </a:lnTo>
                      <a:lnTo>
                        <a:pt x="3" y="179"/>
                      </a:lnTo>
                      <a:lnTo>
                        <a:pt x="0" y="185"/>
                      </a:lnTo>
                      <a:lnTo>
                        <a:pt x="7" y="188"/>
                      </a:lnTo>
                      <a:lnTo>
                        <a:pt x="9" y="192"/>
                      </a:lnTo>
                      <a:lnTo>
                        <a:pt x="8" y="195"/>
                      </a:lnTo>
                      <a:lnTo>
                        <a:pt x="13" y="200"/>
                      </a:lnTo>
                      <a:lnTo>
                        <a:pt x="14" y="197"/>
                      </a:lnTo>
                      <a:lnTo>
                        <a:pt x="23" y="200"/>
                      </a:lnTo>
                      <a:lnTo>
                        <a:pt x="29" y="208"/>
                      </a:lnTo>
                      <a:lnTo>
                        <a:pt x="35" y="219"/>
                      </a:lnTo>
                      <a:lnTo>
                        <a:pt x="30" y="219"/>
                      </a:lnTo>
                      <a:lnTo>
                        <a:pt x="29" y="222"/>
                      </a:lnTo>
                      <a:lnTo>
                        <a:pt x="35" y="226"/>
                      </a:lnTo>
                      <a:lnTo>
                        <a:pt x="38" y="225"/>
                      </a:lnTo>
                      <a:lnTo>
                        <a:pt x="42" y="227"/>
                      </a:lnTo>
                      <a:lnTo>
                        <a:pt x="42" y="227"/>
                      </a:lnTo>
                      <a:lnTo>
                        <a:pt x="43" y="22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7" name="Freeform 277">
                  <a:extLst>
                    <a:ext uri="{FF2B5EF4-FFF2-40B4-BE49-F238E27FC236}">
                      <a16:creationId xmlns:a16="http://schemas.microsoft.com/office/drawing/2014/main" id="{89724C54-46D3-4792-843C-FC58E3C872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46" y="1952"/>
                  <a:ext cx="227" cy="171"/>
                </a:xfrm>
                <a:custGeom>
                  <a:avLst/>
                  <a:gdLst>
                    <a:gd name="T0" fmla="*/ 194 w 227"/>
                    <a:gd name="T1" fmla="*/ 71 h 171"/>
                    <a:gd name="T2" fmla="*/ 190 w 227"/>
                    <a:gd name="T3" fmla="*/ 78 h 171"/>
                    <a:gd name="T4" fmla="*/ 182 w 227"/>
                    <a:gd name="T5" fmla="*/ 90 h 171"/>
                    <a:gd name="T6" fmla="*/ 174 w 227"/>
                    <a:gd name="T7" fmla="*/ 86 h 171"/>
                    <a:gd name="T8" fmla="*/ 165 w 227"/>
                    <a:gd name="T9" fmla="*/ 86 h 171"/>
                    <a:gd name="T10" fmla="*/ 155 w 227"/>
                    <a:gd name="T11" fmla="*/ 89 h 171"/>
                    <a:gd name="T12" fmla="*/ 140 w 227"/>
                    <a:gd name="T13" fmla="*/ 69 h 171"/>
                    <a:gd name="T14" fmla="*/ 135 w 227"/>
                    <a:gd name="T15" fmla="*/ 46 h 171"/>
                    <a:gd name="T16" fmla="*/ 124 w 227"/>
                    <a:gd name="T17" fmla="*/ 30 h 171"/>
                    <a:gd name="T18" fmla="*/ 79 w 227"/>
                    <a:gd name="T19" fmla="*/ 32 h 171"/>
                    <a:gd name="T20" fmla="*/ 59 w 227"/>
                    <a:gd name="T21" fmla="*/ 20 h 171"/>
                    <a:gd name="T22" fmla="*/ 0 w 227"/>
                    <a:gd name="T23" fmla="*/ 9 h 171"/>
                    <a:gd name="T24" fmla="*/ 17 w 227"/>
                    <a:gd name="T25" fmla="*/ 89 h 171"/>
                    <a:gd name="T26" fmla="*/ 24 w 227"/>
                    <a:gd name="T27" fmla="*/ 86 h 171"/>
                    <a:gd name="T28" fmla="*/ 21 w 227"/>
                    <a:gd name="T29" fmla="*/ 78 h 171"/>
                    <a:gd name="T30" fmla="*/ 28 w 227"/>
                    <a:gd name="T31" fmla="*/ 69 h 171"/>
                    <a:gd name="T32" fmla="*/ 34 w 227"/>
                    <a:gd name="T33" fmla="*/ 63 h 171"/>
                    <a:gd name="T34" fmla="*/ 39 w 227"/>
                    <a:gd name="T35" fmla="*/ 65 h 171"/>
                    <a:gd name="T36" fmla="*/ 43 w 227"/>
                    <a:gd name="T37" fmla="*/ 61 h 171"/>
                    <a:gd name="T38" fmla="*/ 61 w 227"/>
                    <a:gd name="T39" fmla="*/ 72 h 171"/>
                    <a:gd name="T40" fmla="*/ 72 w 227"/>
                    <a:gd name="T41" fmla="*/ 83 h 171"/>
                    <a:gd name="T42" fmla="*/ 83 w 227"/>
                    <a:gd name="T43" fmla="*/ 86 h 171"/>
                    <a:gd name="T44" fmla="*/ 92 w 227"/>
                    <a:gd name="T45" fmla="*/ 93 h 171"/>
                    <a:gd name="T46" fmla="*/ 97 w 227"/>
                    <a:gd name="T47" fmla="*/ 105 h 171"/>
                    <a:gd name="T48" fmla="*/ 101 w 227"/>
                    <a:gd name="T49" fmla="*/ 116 h 171"/>
                    <a:gd name="T50" fmla="*/ 116 w 227"/>
                    <a:gd name="T51" fmla="*/ 126 h 171"/>
                    <a:gd name="T52" fmla="*/ 135 w 227"/>
                    <a:gd name="T53" fmla="*/ 140 h 171"/>
                    <a:gd name="T54" fmla="*/ 152 w 227"/>
                    <a:gd name="T55" fmla="*/ 149 h 171"/>
                    <a:gd name="T56" fmla="*/ 156 w 227"/>
                    <a:gd name="T57" fmla="*/ 151 h 171"/>
                    <a:gd name="T58" fmla="*/ 162 w 227"/>
                    <a:gd name="T59" fmla="*/ 160 h 171"/>
                    <a:gd name="T60" fmla="*/ 166 w 227"/>
                    <a:gd name="T61" fmla="*/ 166 h 171"/>
                    <a:gd name="T62" fmla="*/ 171 w 227"/>
                    <a:gd name="T63" fmla="*/ 171 h 171"/>
                    <a:gd name="T64" fmla="*/ 176 w 227"/>
                    <a:gd name="T65" fmla="*/ 169 h 171"/>
                    <a:gd name="T66" fmla="*/ 180 w 227"/>
                    <a:gd name="T67" fmla="*/ 171 h 171"/>
                    <a:gd name="T68" fmla="*/ 183 w 227"/>
                    <a:gd name="T69" fmla="*/ 152 h 171"/>
                    <a:gd name="T70" fmla="*/ 184 w 227"/>
                    <a:gd name="T71" fmla="*/ 145 h 171"/>
                    <a:gd name="T72" fmla="*/ 180 w 227"/>
                    <a:gd name="T73" fmla="*/ 139 h 171"/>
                    <a:gd name="T74" fmla="*/ 180 w 227"/>
                    <a:gd name="T75" fmla="*/ 131 h 171"/>
                    <a:gd name="T76" fmla="*/ 174 w 227"/>
                    <a:gd name="T77" fmla="*/ 133 h 171"/>
                    <a:gd name="T78" fmla="*/ 170 w 227"/>
                    <a:gd name="T79" fmla="*/ 121 h 171"/>
                    <a:gd name="T80" fmla="*/ 180 w 227"/>
                    <a:gd name="T81" fmla="*/ 120 h 171"/>
                    <a:gd name="T82" fmla="*/ 183 w 227"/>
                    <a:gd name="T83" fmla="*/ 115 h 171"/>
                    <a:gd name="T84" fmla="*/ 187 w 227"/>
                    <a:gd name="T85" fmla="*/ 110 h 171"/>
                    <a:gd name="T86" fmla="*/ 192 w 227"/>
                    <a:gd name="T87" fmla="*/ 107 h 171"/>
                    <a:gd name="T88" fmla="*/ 197 w 227"/>
                    <a:gd name="T89" fmla="*/ 101 h 171"/>
                    <a:gd name="T90" fmla="*/ 193 w 227"/>
                    <a:gd name="T91" fmla="*/ 95 h 171"/>
                    <a:gd name="T92" fmla="*/ 200 w 227"/>
                    <a:gd name="T93" fmla="*/ 89 h 171"/>
                    <a:gd name="T94" fmla="*/ 207 w 227"/>
                    <a:gd name="T95" fmla="*/ 85 h 171"/>
                    <a:gd name="T96" fmla="*/ 211 w 227"/>
                    <a:gd name="T97" fmla="*/ 91 h 171"/>
                    <a:gd name="T98" fmla="*/ 223 w 227"/>
                    <a:gd name="T99" fmla="*/ 89 h 171"/>
                    <a:gd name="T100" fmla="*/ 226 w 227"/>
                    <a:gd name="T101" fmla="*/ 81 h 171"/>
                    <a:gd name="T102" fmla="*/ 218 w 227"/>
                    <a:gd name="T103" fmla="*/ 74 h 171"/>
                    <a:gd name="T104" fmla="*/ 214 w 227"/>
                    <a:gd name="T105" fmla="*/ 82 h 171"/>
                    <a:gd name="T106" fmla="*/ 210 w 227"/>
                    <a:gd name="T107" fmla="*/ 78 h 171"/>
                    <a:gd name="T108" fmla="*/ 200 w 227"/>
                    <a:gd name="T109" fmla="*/ 74 h 171"/>
                    <a:gd name="T110" fmla="*/ 207 w 227"/>
                    <a:gd name="T111" fmla="*/ 62 h 171"/>
                    <a:gd name="T112" fmla="*/ 205 w 227"/>
                    <a:gd name="T113" fmla="*/ 58 h 171"/>
                    <a:gd name="T114" fmla="*/ 200 w 227"/>
                    <a:gd name="T115" fmla="*/ 63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27" h="171">
                      <a:moveTo>
                        <a:pt x="200" y="63"/>
                      </a:moveTo>
                      <a:lnTo>
                        <a:pt x="194" y="71"/>
                      </a:lnTo>
                      <a:lnTo>
                        <a:pt x="192" y="76"/>
                      </a:lnTo>
                      <a:lnTo>
                        <a:pt x="190" y="78"/>
                      </a:lnTo>
                      <a:lnTo>
                        <a:pt x="187" y="84"/>
                      </a:lnTo>
                      <a:lnTo>
                        <a:pt x="182" y="90"/>
                      </a:lnTo>
                      <a:lnTo>
                        <a:pt x="180" y="89"/>
                      </a:lnTo>
                      <a:lnTo>
                        <a:pt x="174" y="86"/>
                      </a:lnTo>
                      <a:lnTo>
                        <a:pt x="169" y="85"/>
                      </a:lnTo>
                      <a:lnTo>
                        <a:pt x="165" y="86"/>
                      </a:lnTo>
                      <a:lnTo>
                        <a:pt x="159" y="89"/>
                      </a:lnTo>
                      <a:lnTo>
                        <a:pt x="155" y="89"/>
                      </a:lnTo>
                      <a:lnTo>
                        <a:pt x="150" y="70"/>
                      </a:lnTo>
                      <a:lnTo>
                        <a:pt x="140" y="69"/>
                      </a:lnTo>
                      <a:lnTo>
                        <a:pt x="139" y="45"/>
                      </a:lnTo>
                      <a:lnTo>
                        <a:pt x="135" y="46"/>
                      </a:lnTo>
                      <a:lnTo>
                        <a:pt x="131" y="36"/>
                      </a:lnTo>
                      <a:lnTo>
                        <a:pt x="124" y="30"/>
                      </a:lnTo>
                      <a:lnTo>
                        <a:pt x="100" y="30"/>
                      </a:lnTo>
                      <a:lnTo>
                        <a:pt x="79" y="32"/>
                      </a:lnTo>
                      <a:lnTo>
                        <a:pt x="68" y="24"/>
                      </a:lnTo>
                      <a:lnTo>
                        <a:pt x="59" y="20"/>
                      </a:lnTo>
                      <a:lnTo>
                        <a:pt x="37" y="0"/>
                      </a:lnTo>
                      <a:lnTo>
                        <a:pt x="0" y="9"/>
                      </a:lnTo>
                      <a:lnTo>
                        <a:pt x="10" y="90"/>
                      </a:lnTo>
                      <a:lnTo>
                        <a:pt x="17" y="89"/>
                      </a:lnTo>
                      <a:lnTo>
                        <a:pt x="23" y="90"/>
                      </a:lnTo>
                      <a:lnTo>
                        <a:pt x="24" y="86"/>
                      </a:lnTo>
                      <a:lnTo>
                        <a:pt x="22" y="83"/>
                      </a:lnTo>
                      <a:lnTo>
                        <a:pt x="21" y="78"/>
                      </a:lnTo>
                      <a:lnTo>
                        <a:pt x="24" y="70"/>
                      </a:lnTo>
                      <a:lnTo>
                        <a:pt x="28" y="69"/>
                      </a:lnTo>
                      <a:lnTo>
                        <a:pt x="31" y="65"/>
                      </a:lnTo>
                      <a:lnTo>
                        <a:pt x="34" y="63"/>
                      </a:lnTo>
                      <a:lnTo>
                        <a:pt x="38" y="65"/>
                      </a:lnTo>
                      <a:lnTo>
                        <a:pt x="39" y="65"/>
                      </a:lnTo>
                      <a:lnTo>
                        <a:pt x="37" y="60"/>
                      </a:lnTo>
                      <a:lnTo>
                        <a:pt x="43" y="61"/>
                      </a:lnTo>
                      <a:lnTo>
                        <a:pt x="52" y="66"/>
                      </a:lnTo>
                      <a:lnTo>
                        <a:pt x="61" y="72"/>
                      </a:lnTo>
                      <a:lnTo>
                        <a:pt x="62" y="76"/>
                      </a:lnTo>
                      <a:lnTo>
                        <a:pt x="72" y="83"/>
                      </a:lnTo>
                      <a:lnTo>
                        <a:pt x="81" y="88"/>
                      </a:lnTo>
                      <a:lnTo>
                        <a:pt x="83" y="86"/>
                      </a:lnTo>
                      <a:lnTo>
                        <a:pt x="86" y="87"/>
                      </a:lnTo>
                      <a:lnTo>
                        <a:pt x="92" y="93"/>
                      </a:lnTo>
                      <a:lnTo>
                        <a:pt x="94" y="102"/>
                      </a:lnTo>
                      <a:lnTo>
                        <a:pt x="97" y="105"/>
                      </a:lnTo>
                      <a:lnTo>
                        <a:pt x="98" y="109"/>
                      </a:lnTo>
                      <a:lnTo>
                        <a:pt x="101" y="116"/>
                      </a:lnTo>
                      <a:lnTo>
                        <a:pt x="107" y="119"/>
                      </a:lnTo>
                      <a:lnTo>
                        <a:pt x="116" y="126"/>
                      </a:lnTo>
                      <a:lnTo>
                        <a:pt x="125" y="134"/>
                      </a:lnTo>
                      <a:lnTo>
                        <a:pt x="135" y="140"/>
                      </a:lnTo>
                      <a:lnTo>
                        <a:pt x="145" y="148"/>
                      </a:lnTo>
                      <a:lnTo>
                        <a:pt x="152" y="149"/>
                      </a:lnTo>
                      <a:lnTo>
                        <a:pt x="155" y="152"/>
                      </a:lnTo>
                      <a:lnTo>
                        <a:pt x="156" y="151"/>
                      </a:lnTo>
                      <a:lnTo>
                        <a:pt x="162" y="155"/>
                      </a:lnTo>
                      <a:lnTo>
                        <a:pt x="162" y="160"/>
                      </a:lnTo>
                      <a:lnTo>
                        <a:pt x="162" y="167"/>
                      </a:lnTo>
                      <a:lnTo>
                        <a:pt x="166" y="166"/>
                      </a:lnTo>
                      <a:lnTo>
                        <a:pt x="169" y="168"/>
                      </a:lnTo>
                      <a:lnTo>
                        <a:pt x="171" y="171"/>
                      </a:lnTo>
                      <a:lnTo>
                        <a:pt x="173" y="171"/>
                      </a:lnTo>
                      <a:lnTo>
                        <a:pt x="176" y="169"/>
                      </a:lnTo>
                      <a:lnTo>
                        <a:pt x="178" y="169"/>
                      </a:lnTo>
                      <a:lnTo>
                        <a:pt x="180" y="171"/>
                      </a:lnTo>
                      <a:lnTo>
                        <a:pt x="180" y="160"/>
                      </a:lnTo>
                      <a:lnTo>
                        <a:pt x="183" y="152"/>
                      </a:lnTo>
                      <a:lnTo>
                        <a:pt x="184" y="150"/>
                      </a:lnTo>
                      <a:lnTo>
                        <a:pt x="184" y="145"/>
                      </a:lnTo>
                      <a:lnTo>
                        <a:pt x="181" y="144"/>
                      </a:lnTo>
                      <a:lnTo>
                        <a:pt x="180" y="139"/>
                      </a:lnTo>
                      <a:lnTo>
                        <a:pt x="181" y="135"/>
                      </a:lnTo>
                      <a:lnTo>
                        <a:pt x="180" y="131"/>
                      </a:lnTo>
                      <a:lnTo>
                        <a:pt x="176" y="131"/>
                      </a:lnTo>
                      <a:lnTo>
                        <a:pt x="174" y="133"/>
                      </a:lnTo>
                      <a:lnTo>
                        <a:pt x="170" y="127"/>
                      </a:lnTo>
                      <a:lnTo>
                        <a:pt x="170" y="121"/>
                      </a:lnTo>
                      <a:lnTo>
                        <a:pt x="173" y="119"/>
                      </a:lnTo>
                      <a:lnTo>
                        <a:pt x="180" y="120"/>
                      </a:lnTo>
                      <a:lnTo>
                        <a:pt x="182" y="119"/>
                      </a:lnTo>
                      <a:lnTo>
                        <a:pt x="183" y="115"/>
                      </a:lnTo>
                      <a:lnTo>
                        <a:pt x="188" y="113"/>
                      </a:lnTo>
                      <a:lnTo>
                        <a:pt x="187" y="110"/>
                      </a:lnTo>
                      <a:lnTo>
                        <a:pt x="186" y="109"/>
                      </a:lnTo>
                      <a:lnTo>
                        <a:pt x="192" y="107"/>
                      </a:lnTo>
                      <a:lnTo>
                        <a:pt x="197" y="105"/>
                      </a:lnTo>
                      <a:lnTo>
                        <a:pt x="197" y="101"/>
                      </a:lnTo>
                      <a:lnTo>
                        <a:pt x="192" y="99"/>
                      </a:lnTo>
                      <a:lnTo>
                        <a:pt x="193" y="95"/>
                      </a:lnTo>
                      <a:lnTo>
                        <a:pt x="196" y="93"/>
                      </a:lnTo>
                      <a:lnTo>
                        <a:pt x="200" y="89"/>
                      </a:lnTo>
                      <a:lnTo>
                        <a:pt x="203" y="90"/>
                      </a:lnTo>
                      <a:lnTo>
                        <a:pt x="207" y="85"/>
                      </a:lnTo>
                      <a:lnTo>
                        <a:pt x="210" y="89"/>
                      </a:lnTo>
                      <a:lnTo>
                        <a:pt x="211" y="91"/>
                      </a:lnTo>
                      <a:lnTo>
                        <a:pt x="218" y="89"/>
                      </a:lnTo>
                      <a:lnTo>
                        <a:pt x="223" y="89"/>
                      </a:lnTo>
                      <a:lnTo>
                        <a:pt x="227" y="85"/>
                      </a:lnTo>
                      <a:lnTo>
                        <a:pt x="226" y="81"/>
                      </a:lnTo>
                      <a:lnTo>
                        <a:pt x="219" y="75"/>
                      </a:lnTo>
                      <a:lnTo>
                        <a:pt x="218" y="74"/>
                      </a:lnTo>
                      <a:lnTo>
                        <a:pt x="218" y="79"/>
                      </a:lnTo>
                      <a:lnTo>
                        <a:pt x="214" y="82"/>
                      </a:lnTo>
                      <a:lnTo>
                        <a:pt x="212" y="81"/>
                      </a:lnTo>
                      <a:lnTo>
                        <a:pt x="210" y="78"/>
                      </a:lnTo>
                      <a:lnTo>
                        <a:pt x="204" y="76"/>
                      </a:lnTo>
                      <a:lnTo>
                        <a:pt x="200" y="74"/>
                      </a:lnTo>
                      <a:lnTo>
                        <a:pt x="203" y="69"/>
                      </a:lnTo>
                      <a:lnTo>
                        <a:pt x="207" y="62"/>
                      </a:lnTo>
                      <a:lnTo>
                        <a:pt x="207" y="58"/>
                      </a:lnTo>
                      <a:lnTo>
                        <a:pt x="205" y="58"/>
                      </a:lnTo>
                      <a:lnTo>
                        <a:pt x="202" y="62"/>
                      </a:lnTo>
                      <a:lnTo>
                        <a:pt x="200" y="6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8" name="Freeform 278">
                  <a:extLst>
                    <a:ext uri="{FF2B5EF4-FFF2-40B4-BE49-F238E27FC236}">
                      <a16:creationId xmlns:a16="http://schemas.microsoft.com/office/drawing/2014/main" id="{77DBFEF3-D60B-44BC-B04D-B4FFC03AB8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05" y="2012"/>
                  <a:ext cx="203" cy="154"/>
                </a:xfrm>
                <a:custGeom>
                  <a:avLst/>
                  <a:gdLst>
                    <a:gd name="T0" fmla="*/ 144 w 203"/>
                    <a:gd name="T1" fmla="*/ 149 h 154"/>
                    <a:gd name="T2" fmla="*/ 151 w 203"/>
                    <a:gd name="T3" fmla="*/ 150 h 154"/>
                    <a:gd name="T4" fmla="*/ 155 w 203"/>
                    <a:gd name="T5" fmla="*/ 152 h 154"/>
                    <a:gd name="T6" fmla="*/ 162 w 203"/>
                    <a:gd name="T7" fmla="*/ 146 h 154"/>
                    <a:gd name="T8" fmla="*/ 167 w 203"/>
                    <a:gd name="T9" fmla="*/ 139 h 154"/>
                    <a:gd name="T10" fmla="*/ 176 w 203"/>
                    <a:gd name="T11" fmla="*/ 133 h 154"/>
                    <a:gd name="T12" fmla="*/ 179 w 203"/>
                    <a:gd name="T13" fmla="*/ 124 h 154"/>
                    <a:gd name="T14" fmla="*/ 180 w 203"/>
                    <a:gd name="T15" fmla="*/ 116 h 154"/>
                    <a:gd name="T16" fmla="*/ 183 w 203"/>
                    <a:gd name="T17" fmla="*/ 111 h 154"/>
                    <a:gd name="T18" fmla="*/ 193 w 203"/>
                    <a:gd name="T19" fmla="*/ 106 h 154"/>
                    <a:gd name="T20" fmla="*/ 202 w 203"/>
                    <a:gd name="T21" fmla="*/ 106 h 154"/>
                    <a:gd name="T22" fmla="*/ 203 w 203"/>
                    <a:gd name="T23" fmla="*/ 100 h 154"/>
                    <a:gd name="T24" fmla="*/ 196 w 203"/>
                    <a:gd name="T25" fmla="*/ 92 h 154"/>
                    <a:gd name="T26" fmla="*/ 176 w 203"/>
                    <a:gd name="T27" fmla="*/ 80 h 154"/>
                    <a:gd name="T28" fmla="*/ 148 w 203"/>
                    <a:gd name="T29" fmla="*/ 59 h 154"/>
                    <a:gd name="T30" fmla="*/ 138 w 203"/>
                    <a:gd name="T31" fmla="*/ 45 h 154"/>
                    <a:gd name="T32" fmla="*/ 127 w 203"/>
                    <a:gd name="T33" fmla="*/ 27 h 154"/>
                    <a:gd name="T34" fmla="*/ 113 w 203"/>
                    <a:gd name="T35" fmla="*/ 23 h 154"/>
                    <a:gd name="T36" fmla="*/ 93 w 203"/>
                    <a:gd name="T37" fmla="*/ 6 h 154"/>
                    <a:gd name="T38" fmla="*/ 80 w 203"/>
                    <a:gd name="T39" fmla="*/ 5 h 154"/>
                    <a:gd name="T40" fmla="*/ 72 w 203"/>
                    <a:gd name="T41" fmla="*/ 5 h 154"/>
                    <a:gd name="T42" fmla="*/ 62 w 203"/>
                    <a:gd name="T43" fmla="*/ 18 h 154"/>
                    <a:gd name="T44" fmla="*/ 64 w 203"/>
                    <a:gd name="T45" fmla="*/ 30 h 154"/>
                    <a:gd name="T46" fmla="*/ 50 w 203"/>
                    <a:gd name="T47" fmla="*/ 30 h 154"/>
                    <a:gd name="T48" fmla="*/ 25 w 203"/>
                    <a:gd name="T49" fmla="*/ 12 h 154"/>
                    <a:gd name="T50" fmla="*/ 0 w 203"/>
                    <a:gd name="T51" fmla="*/ 22 h 154"/>
                    <a:gd name="T52" fmla="*/ 3 w 203"/>
                    <a:gd name="T53" fmla="*/ 29 h 154"/>
                    <a:gd name="T54" fmla="*/ 9 w 203"/>
                    <a:gd name="T55" fmla="*/ 40 h 154"/>
                    <a:gd name="T56" fmla="*/ 7 w 203"/>
                    <a:gd name="T57" fmla="*/ 57 h 154"/>
                    <a:gd name="T58" fmla="*/ 15 w 203"/>
                    <a:gd name="T59" fmla="*/ 67 h 154"/>
                    <a:gd name="T60" fmla="*/ 13 w 203"/>
                    <a:gd name="T61" fmla="*/ 63 h 154"/>
                    <a:gd name="T62" fmla="*/ 21 w 203"/>
                    <a:gd name="T63" fmla="*/ 63 h 154"/>
                    <a:gd name="T64" fmla="*/ 23 w 203"/>
                    <a:gd name="T65" fmla="*/ 69 h 154"/>
                    <a:gd name="T66" fmla="*/ 21 w 203"/>
                    <a:gd name="T67" fmla="*/ 72 h 154"/>
                    <a:gd name="T68" fmla="*/ 16 w 203"/>
                    <a:gd name="T69" fmla="*/ 74 h 154"/>
                    <a:gd name="T70" fmla="*/ 17 w 203"/>
                    <a:gd name="T71" fmla="*/ 76 h 154"/>
                    <a:gd name="T72" fmla="*/ 23 w 203"/>
                    <a:gd name="T73" fmla="*/ 77 h 154"/>
                    <a:gd name="T74" fmla="*/ 29 w 203"/>
                    <a:gd name="T75" fmla="*/ 86 h 154"/>
                    <a:gd name="T76" fmla="*/ 29 w 203"/>
                    <a:gd name="T77" fmla="*/ 102 h 154"/>
                    <a:gd name="T78" fmla="*/ 36 w 203"/>
                    <a:gd name="T79" fmla="*/ 115 h 154"/>
                    <a:gd name="T80" fmla="*/ 45 w 203"/>
                    <a:gd name="T81" fmla="*/ 107 h 154"/>
                    <a:gd name="T82" fmla="*/ 60 w 203"/>
                    <a:gd name="T83" fmla="*/ 99 h 154"/>
                    <a:gd name="T84" fmla="*/ 69 w 203"/>
                    <a:gd name="T85" fmla="*/ 95 h 154"/>
                    <a:gd name="T86" fmla="*/ 80 w 203"/>
                    <a:gd name="T87" fmla="*/ 102 h 154"/>
                    <a:gd name="T88" fmla="*/ 95 w 203"/>
                    <a:gd name="T89" fmla="*/ 109 h 154"/>
                    <a:gd name="T90" fmla="*/ 106 w 203"/>
                    <a:gd name="T91" fmla="*/ 111 h 154"/>
                    <a:gd name="T92" fmla="*/ 111 w 203"/>
                    <a:gd name="T93" fmla="*/ 116 h 154"/>
                    <a:gd name="T94" fmla="*/ 128 w 203"/>
                    <a:gd name="T95" fmla="*/ 128 h 154"/>
                    <a:gd name="T96" fmla="*/ 133 w 203"/>
                    <a:gd name="T97" fmla="*/ 137 h 154"/>
                    <a:gd name="T98" fmla="*/ 135 w 203"/>
                    <a:gd name="T99" fmla="*/ 147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03" h="154">
                      <a:moveTo>
                        <a:pt x="140" y="147"/>
                      </a:moveTo>
                      <a:lnTo>
                        <a:pt x="142" y="149"/>
                      </a:lnTo>
                      <a:lnTo>
                        <a:pt x="144" y="149"/>
                      </a:lnTo>
                      <a:lnTo>
                        <a:pt x="146" y="147"/>
                      </a:lnTo>
                      <a:lnTo>
                        <a:pt x="148" y="147"/>
                      </a:lnTo>
                      <a:lnTo>
                        <a:pt x="151" y="150"/>
                      </a:lnTo>
                      <a:lnTo>
                        <a:pt x="152" y="152"/>
                      </a:lnTo>
                      <a:lnTo>
                        <a:pt x="154" y="154"/>
                      </a:lnTo>
                      <a:lnTo>
                        <a:pt x="155" y="152"/>
                      </a:lnTo>
                      <a:lnTo>
                        <a:pt x="159" y="151"/>
                      </a:lnTo>
                      <a:lnTo>
                        <a:pt x="162" y="148"/>
                      </a:lnTo>
                      <a:lnTo>
                        <a:pt x="162" y="146"/>
                      </a:lnTo>
                      <a:lnTo>
                        <a:pt x="163" y="144"/>
                      </a:lnTo>
                      <a:lnTo>
                        <a:pt x="162" y="142"/>
                      </a:lnTo>
                      <a:lnTo>
                        <a:pt x="167" y="139"/>
                      </a:lnTo>
                      <a:lnTo>
                        <a:pt x="172" y="137"/>
                      </a:lnTo>
                      <a:lnTo>
                        <a:pt x="173" y="136"/>
                      </a:lnTo>
                      <a:lnTo>
                        <a:pt x="176" y="133"/>
                      </a:lnTo>
                      <a:lnTo>
                        <a:pt x="178" y="133"/>
                      </a:lnTo>
                      <a:lnTo>
                        <a:pt x="179" y="129"/>
                      </a:lnTo>
                      <a:lnTo>
                        <a:pt x="179" y="124"/>
                      </a:lnTo>
                      <a:lnTo>
                        <a:pt x="182" y="120"/>
                      </a:lnTo>
                      <a:lnTo>
                        <a:pt x="182" y="116"/>
                      </a:lnTo>
                      <a:lnTo>
                        <a:pt x="180" y="116"/>
                      </a:lnTo>
                      <a:lnTo>
                        <a:pt x="181" y="113"/>
                      </a:lnTo>
                      <a:lnTo>
                        <a:pt x="182" y="112"/>
                      </a:lnTo>
                      <a:lnTo>
                        <a:pt x="183" y="111"/>
                      </a:lnTo>
                      <a:lnTo>
                        <a:pt x="187" y="110"/>
                      </a:lnTo>
                      <a:lnTo>
                        <a:pt x="189" y="110"/>
                      </a:lnTo>
                      <a:lnTo>
                        <a:pt x="193" y="106"/>
                      </a:lnTo>
                      <a:lnTo>
                        <a:pt x="196" y="105"/>
                      </a:lnTo>
                      <a:lnTo>
                        <a:pt x="199" y="107"/>
                      </a:lnTo>
                      <a:lnTo>
                        <a:pt x="202" y="106"/>
                      </a:lnTo>
                      <a:lnTo>
                        <a:pt x="203" y="108"/>
                      </a:lnTo>
                      <a:lnTo>
                        <a:pt x="203" y="107"/>
                      </a:lnTo>
                      <a:lnTo>
                        <a:pt x="203" y="100"/>
                      </a:lnTo>
                      <a:lnTo>
                        <a:pt x="203" y="95"/>
                      </a:lnTo>
                      <a:lnTo>
                        <a:pt x="197" y="91"/>
                      </a:lnTo>
                      <a:lnTo>
                        <a:pt x="196" y="92"/>
                      </a:lnTo>
                      <a:lnTo>
                        <a:pt x="193" y="89"/>
                      </a:lnTo>
                      <a:lnTo>
                        <a:pt x="186" y="88"/>
                      </a:lnTo>
                      <a:lnTo>
                        <a:pt x="176" y="80"/>
                      </a:lnTo>
                      <a:lnTo>
                        <a:pt x="166" y="74"/>
                      </a:lnTo>
                      <a:lnTo>
                        <a:pt x="157" y="66"/>
                      </a:lnTo>
                      <a:lnTo>
                        <a:pt x="148" y="59"/>
                      </a:lnTo>
                      <a:lnTo>
                        <a:pt x="142" y="56"/>
                      </a:lnTo>
                      <a:lnTo>
                        <a:pt x="139" y="49"/>
                      </a:lnTo>
                      <a:lnTo>
                        <a:pt x="138" y="45"/>
                      </a:lnTo>
                      <a:lnTo>
                        <a:pt x="135" y="42"/>
                      </a:lnTo>
                      <a:lnTo>
                        <a:pt x="133" y="33"/>
                      </a:lnTo>
                      <a:lnTo>
                        <a:pt x="127" y="27"/>
                      </a:lnTo>
                      <a:lnTo>
                        <a:pt x="124" y="26"/>
                      </a:lnTo>
                      <a:lnTo>
                        <a:pt x="122" y="28"/>
                      </a:lnTo>
                      <a:lnTo>
                        <a:pt x="113" y="23"/>
                      </a:lnTo>
                      <a:lnTo>
                        <a:pt x="103" y="16"/>
                      </a:lnTo>
                      <a:lnTo>
                        <a:pt x="102" y="12"/>
                      </a:lnTo>
                      <a:lnTo>
                        <a:pt x="93" y="6"/>
                      </a:lnTo>
                      <a:lnTo>
                        <a:pt x="84" y="1"/>
                      </a:lnTo>
                      <a:lnTo>
                        <a:pt x="78" y="0"/>
                      </a:lnTo>
                      <a:lnTo>
                        <a:pt x="80" y="5"/>
                      </a:lnTo>
                      <a:lnTo>
                        <a:pt x="79" y="5"/>
                      </a:lnTo>
                      <a:lnTo>
                        <a:pt x="75" y="3"/>
                      </a:lnTo>
                      <a:lnTo>
                        <a:pt x="72" y="5"/>
                      </a:lnTo>
                      <a:lnTo>
                        <a:pt x="69" y="9"/>
                      </a:lnTo>
                      <a:lnTo>
                        <a:pt x="65" y="10"/>
                      </a:lnTo>
                      <a:lnTo>
                        <a:pt x="62" y="18"/>
                      </a:lnTo>
                      <a:lnTo>
                        <a:pt x="63" y="23"/>
                      </a:lnTo>
                      <a:lnTo>
                        <a:pt x="65" y="26"/>
                      </a:lnTo>
                      <a:lnTo>
                        <a:pt x="64" y="30"/>
                      </a:lnTo>
                      <a:lnTo>
                        <a:pt x="58" y="29"/>
                      </a:lnTo>
                      <a:lnTo>
                        <a:pt x="51" y="30"/>
                      </a:lnTo>
                      <a:lnTo>
                        <a:pt x="50" y="30"/>
                      </a:lnTo>
                      <a:lnTo>
                        <a:pt x="44" y="32"/>
                      </a:lnTo>
                      <a:lnTo>
                        <a:pt x="34" y="19"/>
                      </a:lnTo>
                      <a:lnTo>
                        <a:pt x="25" y="12"/>
                      </a:lnTo>
                      <a:lnTo>
                        <a:pt x="16" y="10"/>
                      </a:lnTo>
                      <a:lnTo>
                        <a:pt x="9" y="13"/>
                      </a:lnTo>
                      <a:lnTo>
                        <a:pt x="0" y="22"/>
                      </a:lnTo>
                      <a:lnTo>
                        <a:pt x="0" y="24"/>
                      </a:lnTo>
                      <a:lnTo>
                        <a:pt x="2" y="26"/>
                      </a:lnTo>
                      <a:lnTo>
                        <a:pt x="3" y="29"/>
                      </a:lnTo>
                      <a:lnTo>
                        <a:pt x="6" y="31"/>
                      </a:lnTo>
                      <a:lnTo>
                        <a:pt x="6" y="34"/>
                      </a:lnTo>
                      <a:lnTo>
                        <a:pt x="9" y="40"/>
                      </a:lnTo>
                      <a:lnTo>
                        <a:pt x="9" y="45"/>
                      </a:lnTo>
                      <a:lnTo>
                        <a:pt x="7" y="49"/>
                      </a:lnTo>
                      <a:lnTo>
                        <a:pt x="7" y="57"/>
                      </a:lnTo>
                      <a:lnTo>
                        <a:pt x="9" y="60"/>
                      </a:lnTo>
                      <a:lnTo>
                        <a:pt x="9" y="62"/>
                      </a:lnTo>
                      <a:lnTo>
                        <a:pt x="15" y="67"/>
                      </a:lnTo>
                      <a:lnTo>
                        <a:pt x="14" y="66"/>
                      </a:lnTo>
                      <a:lnTo>
                        <a:pt x="13" y="64"/>
                      </a:lnTo>
                      <a:lnTo>
                        <a:pt x="13" y="63"/>
                      </a:lnTo>
                      <a:lnTo>
                        <a:pt x="18" y="64"/>
                      </a:lnTo>
                      <a:lnTo>
                        <a:pt x="20" y="62"/>
                      </a:lnTo>
                      <a:lnTo>
                        <a:pt x="21" y="63"/>
                      </a:lnTo>
                      <a:lnTo>
                        <a:pt x="20" y="67"/>
                      </a:lnTo>
                      <a:lnTo>
                        <a:pt x="21" y="70"/>
                      </a:lnTo>
                      <a:lnTo>
                        <a:pt x="23" y="69"/>
                      </a:lnTo>
                      <a:lnTo>
                        <a:pt x="25" y="72"/>
                      </a:lnTo>
                      <a:lnTo>
                        <a:pt x="23" y="74"/>
                      </a:lnTo>
                      <a:lnTo>
                        <a:pt x="21" y="72"/>
                      </a:lnTo>
                      <a:lnTo>
                        <a:pt x="20" y="73"/>
                      </a:lnTo>
                      <a:lnTo>
                        <a:pt x="19" y="71"/>
                      </a:lnTo>
                      <a:lnTo>
                        <a:pt x="16" y="74"/>
                      </a:lnTo>
                      <a:lnTo>
                        <a:pt x="16" y="78"/>
                      </a:lnTo>
                      <a:lnTo>
                        <a:pt x="18" y="80"/>
                      </a:lnTo>
                      <a:lnTo>
                        <a:pt x="17" y="76"/>
                      </a:lnTo>
                      <a:lnTo>
                        <a:pt x="19" y="76"/>
                      </a:lnTo>
                      <a:lnTo>
                        <a:pt x="20" y="77"/>
                      </a:lnTo>
                      <a:lnTo>
                        <a:pt x="23" y="77"/>
                      </a:lnTo>
                      <a:lnTo>
                        <a:pt x="24" y="81"/>
                      </a:lnTo>
                      <a:lnTo>
                        <a:pt x="27" y="83"/>
                      </a:lnTo>
                      <a:lnTo>
                        <a:pt x="29" y="86"/>
                      </a:lnTo>
                      <a:lnTo>
                        <a:pt x="28" y="91"/>
                      </a:lnTo>
                      <a:lnTo>
                        <a:pt x="29" y="94"/>
                      </a:lnTo>
                      <a:lnTo>
                        <a:pt x="29" y="102"/>
                      </a:lnTo>
                      <a:lnTo>
                        <a:pt x="30" y="109"/>
                      </a:lnTo>
                      <a:lnTo>
                        <a:pt x="33" y="116"/>
                      </a:lnTo>
                      <a:lnTo>
                        <a:pt x="36" y="115"/>
                      </a:lnTo>
                      <a:lnTo>
                        <a:pt x="43" y="114"/>
                      </a:lnTo>
                      <a:lnTo>
                        <a:pt x="44" y="109"/>
                      </a:lnTo>
                      <a:lnTo>
                        <a:pt x="45" y="107"/>
                      </a:lnTo>
                      <a:lnTo>
                        <a:pt x="47" y="106"/>
                      </a:lnTo>
                      <a:lnTo>
                        <a:pt x="54" y="101"/>
                      </a:lnTo>
                      <a:lnTo>
                        <a:pt x="60" y="99"/>
                      </a:lnTo>
                      <a:lnTo>
                        <a:pt x="65" y="101"/>
                      </a:lnTo>
                      <a:lnTo>
                        <a:pt x="66" y="97"/>
                      </a:lnTo>
                      <a:lnTo>
                        <a:pt x="69" y="95"/>
                      </a:lnTo>
                      <a:lnTo>
                        <a:pt x="72" y="97"/>
                      </a:lnTo>
                      <a:lnTo>
                        <a:pt x="75" y="97"/>
                      </a:lnTo>
                      <a:lnTo>
                        <a:pt x="80" y="102"/>
                      </a:lnTo>
                      <a:lnTo>
                        <a:pt x="84" y="103"/>
                      </a:lnTo>
                      <a:lnTo>
                        <a:pt x="93" y="109"/>
                      </a:lnTo>
                      <a:lnTo>
                        <a:pt x="95" y="109"/>
                      </a:lnTo>
                      <a:lnTo>
                        <a:pt x="97" y="108"/>
                      </a:lnTo>
                      <a:lnTo>
                        <a:pt x="103" y="110"/>
                      </a:lnTo>
                      <a:lnTo>
                        <a:pt x="106" y="111"/>
                      </a:lnTo>
                      <a:lnTo>
                        <a:pt x="106" y="116"/>
                      </a:lnTo>
                      <a:lnTo>
                        <a:pt x="108" y="117"/>
                      </a:lnTo>
                      <a:lnTo>
                        <a:pt x="111" y="116"/>
                      </a:lnTo>
                      <a:lnTo>
                        <a:pt x="116" y="118"/>
                      </a:lnTo>
                      <a:lnTo>
                        <a:pt x="122" y="127"/>
                      </a:lnTo>
                      <a:lnTo>
                        <a:pt x="128" y="128"/>
                      </a:lnTo>
                      <a:lnTo>
                        <a:pt x="131" y="129"/>
                      </a:lnTo>
                      <a:lnTo>
                        <a:pt x="134" y="135"/>
                      </a:lnTo>
                      <a:lnTo>
                        <a:pt x="133" y="137"/>
                      </a:lnTo>
                      <a:lnTo>
                        <a:pt x="134" y="141"/>
                      </a:lnTo>
                      <a:lnTo>
                        <a:pt x="134" y="144"/>
                      </a:lnTo>
                      <a:lnTo>
                        <a:pt x="135" y="147"/>
                      </a:lnTo>
                      <a:lnTo>
                        <a:pt x="137" y="146"/>
                      </a:lnTo>
                      <a:lnTo>
                        <a:pt x="140" y="14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9" name="Freeform 279">
                  <a:extLst>
                    <a:ext uri="{FF2B5EF4-FFF2-40B4-BE49-F238E27FC236}">
                      <a16:creationId xmlns:a16="http://schemas.microsoft.com/office/drawing/2014/main" id="{85CD2207-D438-4A68-B97D-64A265A9D9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27" y="3107"/>
                  <a:ext cx="23" cy="18"/>
                </a:xfrm>
                <a:custGeom>
                  <a:avLst/>
                  <a:gdLst>
                    <a:gd name="T0" fmla="*/ 19 w 23"/>
                    <a:gd name="T1" fmla="*/ 14 h 18"/>
                    <a:gd name="T2" fmla="*/ 16 w 23"/>
                    <a:gd name="T3" fmla="*/ 13 h 18"/>
                    <a:gd name="T4" fmla="*/ 21 w 23"/>
                    <a:gd name="T5" fmla="*/ 8 h 18"/>
                    <a:gd name="T6" fmla="*/ 21 w 23"/>
                    <a:gd name="T7" fmla="*/ 5 h 18"/>
                    <a:gd name="T8" fmla="*/ 23 w 23"/>
                    <a:gd name="T9" fmla="*/ 2 h 18"/>
                    <a:gd name="T10" fmla="*/ 23 w 23"/>
                    <a:gd name="T11" fmla="*/ 0 h 18"/>
                    <a:gd name="T12" fmla="*/ 19 w 23"/>
                    <a:gd name="T13" fmla="*/ 4 h 18"/>
                    <a:gd name="T14" fmla="*/ 16 w 23"/>
                    <a:gd name="T15" fmla="*/ 4 h 18"/>
                    <a:gd name="T16" fmla="*/ 12 w 23"/>
                    <a:gd name="T17" fmla="*/ 9 h 18"/>
                    <a:gd name="T18" fmla="*/ 9 w 23"/>
                    <a:gd name="T19" fmla="*/ 7 h 18"/>
                    <a:gd name="T20" fmla="*/ 6 w 23"/>
                    <a:gd name="T21" fmla="*/ 9 h 18"/>
                    <a:gd name="T22" fmla="*/ 2 w 23"/>
                    <a:gd name="T23" fmla="*/ 9 h 18"/>
                    <a:gd name="T24" fmla="*/ 0 w 23"/>
                    <a:gd name="T25" fmla="*/ 15 h 18"/>
                    <a:gd name="T26" fmla="*/ 4 w 23"/>
                    <a:gd name="T27" fmla="*/ 18 h 18"/>
                    <a:gd name="T28" fmla="*/ 5 w 23"/>
                    <a:gd name="T29" fmla="*/ 16 h 18"/>
                    <a:gd name="T30" fmla="*/ 9 w 23"/>
                    <a:gd name="T31" fmla="*/ 16 h 18"/>
                    <a:gd name="T32" fmla="*/ 10 w 23"/>
                    <a:gd name="T33" fmla="*/ 15 h 18"/>
                    <a:gd name="T34" fmla="*/ 13 w 23"/>
                    <a:gd name="T35" fmla="*/ 15 h 18"/>
                    <a:gd name="T36" fmla="*/ 13 w 23"/>
                    <a:gd name="T37" fmla="*/ 17 h 18"/>
                    <a:gd name="T38" fmla="*/ 20 w 23"/>
                    <a:gd name="T39" fmla="*/ 16 h 18"/>
                    <a:gd name="T40" fmla="*/ 23 w 23"/>
                    <a:gd name="T41" fmla="*/ 12 h 18"/>
                    <a:gd name="T42" fmla="*/ 21 w 23"/>
                    <a:gd name="T43" fmla="*/ 10 h 18"/>
                    <a:gd name="T44" fmla="*/ 19 w 23"/>
                    <a:gd name="T45" fmla="*/ 14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3" h="18">
                      <a:moveTo>
                        <a:pt x="19" y="14"/>
                      </a:moveTo>
                      <a:lnTo>
                        <a:pt x="16" y="13"/>
                      </a:lnTo>
                      <a:lnTo>
                        <a:pt x="21" y="8"/>
                      </a:lnTo>
                      <a:lnTo>
                        <a:pt x="21" y="5"/>
                      </a:lnTo>
                      <a:lnTo>
                        <a:pt x="23" y="2"/>
                      </a:lnTo>
                      <a:lnTo>
                        <a:pt x="23" y="0"/>
                      </a:lnTo>
                      <a:lnTo>
                        <a:pt x="19" y="4"/>
                      </a:lnTo>
                      <a:lnTo>
                        <a:pt x="16" y="4"/>
                      </a:lnTo>
                      <a:lnTo>
                        <a:pt x="12" y="9"/>
                      </a:lnTo>
                      <a:lnTo>
                        <a:pt x="9" y="7"/>
                      </a:lnTo>
                      <a:lnTo>
                        <a:pt x="6" y="9"/>
                      </a:lnTo>
                      <a:lnTo>
                        <a:pt x="2" y="9"/>
                      </a:lnTo>
                      <a:lnTo>
                        <a:pt x="0" y="15"/>
                      </a:lnTo>
                      <a:lnTo>
                        <a:pt x="4" y="18"/>
                      </a:lnTo>
                      <a:lnTo>
                        <a:pt x="5" y="16"/>
                      </a:lnTo>
                      <a:lnTo>
                        <a:pt x="9" y="16"/>
                      </a:lnTo>
                      <a:lnTo>
                        <a:pt x="10" y="15"/>
                      </a:lnTo>
                      <a:lnTo>
                        <a:pt x="13" y="15"/>
                      </a:lnTo>
                      <a:lnTo>
                        <a:pt x="13" y="17"/>
                      </a:lnTo>
                      <a:lnTo>
                        <a:pt x="20" y="16"/>
                      </a:lnTo>
                      <a:lnTo>
                        <a:pt x="23" y="12"/>
                      </a:lnTo>
                      <a:lnTo>
                        <a:pt x="21" y="10"/>
                      </a:lnTo>
                      <a:lnTo>
                        <a:pt x="19" y="1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0" name="Freeform 280">
                  <a:extLst>
                    <a:ext uri="{FF2B5EF4-FFF2-40B4-BE49-F238E27FC236}">
                      <a16:creationId xmlns:a16="http://schemas.microsoft.com/office/drawing/2014/main" id="{D1CFE180-E79D-429A-BA9B-7A7CC20CF8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08" y="3131"/>
                  <a:ext cx="21" cy="19"/>
                </a:xfrm>
                <a:custGeom>
                  <a:avLst/>
                  <a:gdLst>
                    <a:gd name="T0" fmla="*/ 14 w 21"/>
                    <a:gd name="T1" fmla="*/ 0 h 19"/>
                    <a:gd name="T2" fmla="*/ 8 w 21"/>
                    <a:gd name="T3" fmla="*/ 1 h 19"/>
                    <a:gd name="T4" fmla="*/ 4 w 21"/>
                    <a:gd name="T5" fmla="*/ 7 h 19"/>
                    <a:gd name="T6" fmla="*/ 3 w 21"/>
                    <a:gd name="T7" fmla="*/ 10 h 19"/>
                    <a:gd name="T8" fmla="*/ 0 w 21"/>
                    <a:gd name="T9" fmla="*/ 11 h 19"/>
                    <a:gd name="T10" fmla="*/ 0 w 21"/>
                    <a:gd name="T11" fmla="*/ 15 h 19"/>
                    <a:gd name="T12" fmla="*/ 5 w 21"/>
                    <a:gd name="T13" fmla="*/ 18 h 19"/>
                    <a:gd name="T14" fmla="*/ 11 w 21"/>
                    <a:gd name="T15" fmla="*/ 19 h 19"/>
                    <a:gd name="T16" fmla="*/ 14 w 21"/>
                    <a:gd name="T17" fmla="*/ 18 h 19"/>
                    <a:gd name="T18" fmla="*/ 17 w 21"/>
                    <a:gd name="T19" fmla="*/ 18 h 19"/>
                    <a:gd name="T20" fmla="*/ 21 w 21"/>
                    <a:gd name="T21" fmla="*/ 15 h 19"/>
                    <a:gd name="T22" fmla="*/ 20 w 21"/>
                    <a:gd name="T23" fmla="*/ 6 h 19"/>
                    <a:gd name="T24" fmla="*/ 14 w 21"/>
                    <a:gd name="T25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1" h="19">
                      <a:moveTo>
                        <a:pt x="14" y="0"/>
                      </a:moveTo>
                      <a:lnTo>
                        <a:pt x="8" y="1"/>
                      </a:lnTo>
                      <a:lnTo>
                        <a:pt x="4" y="7"/>
                      </a:lnTo>
                      <a:lnTo>
                        <a:pt x="3" y="10"/>
                      </a:lnTo>
                      <a:lnTo>
                        <a:pt x="0" y="11"/>
                      </a:lnTo>
                      <a:lnTo>
                        <a:pt x="0" y="15"/>
                      </a:lnTo>
                      <a:lnTo>
                        <a:pt x="5" y="18"/>
                      </a:lnTo>
                      <a:lnTo>
                        <a:pt x="11" y="19"/>
                      </a:lnTo>
                      <a:lnTo>
                        <a:pt x="14" y="18"/>
                      </a:lnTo>
                      <a:lnTo>
                        <a:pt x="17" y="18"/>
                      </a:lnTo>
                      <a:lnTo>
                        <a:pt x="21" y="15"/>
                      </a:lnTo>
                      <a:lnTo>
                        <a:pt x="20" y="6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1" name="Freeform 281">
                  <a:extLst>
                    <a:ext uri="{FF2B5EF4-FFF2-40B4-BE49-F238E27FC236}">
                      <a16:creationId xmlns:a16="http://schemas.microsoft.com/office/drawing/2014/main" id="{5D0682AD-5D96-4B84-953F-DFA8D9A0CC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92" y="3170"/>
                  <a:ext cx="2" cy="6"/>
                </a:xfrm>
                <a:custGeom>
                  <a:avLst/>
                  <a:gdLst>
                    <a:gd name="T0" fmla="*/ 2 w 2"/>
                    <a:gd name="T1" fmla="*/ 6 h 6"/>
                    <a:gd name="T2" fmla="*/ 2 w 2"/>
                    <a:gd name="T3" fmla="*/ 3 h 6"/>
                    <a:gd name="T4" fmla="*/ 1 w 2"/>
                    <a:gd name="T5" fmla="*/ 0 h 6"/>
                    <a:gd name="T6" fmla="*/ 0 w 2"/>
                    <a:gd name="T7" fmla="*/ 3 h 6"/>
                    <a:gd name="T8" fmla="*/ 2 w 2"/>
                    <a:gd name="T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2" y="3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2" name="Freeform 282">
                  <a:extLst>
                    <a:ext uri="{FF2B5EF4-FFF2-40B4-BE49-F238E27FC236}">
                      <a16:creationId xmlns:a16="http://schemas.microsoft.com/office/drawing/2014/main" id="{48C430F4-1C05-4D05-A6E2-29773BB245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81" y="3116"/>
                  <a:ext cx="5" cy="4"/>
                </a:xfrm>
                <a:custGeom>
                  <a:avLst/>
                  <a:gdLst>
                    <a:gd name="T0" fmla="*/ 5 w 5"/>
                    <a:gd name="T1" fmla="*/ 2 h 4"/>
                    <a:gd name="T2" fmla="*/ 2 w 5"/>
                    <a:gd name="T3" fmla="*/ 0 h 4"/>
                    <a:gd name="T4" fmla="*/ 0 w 5"/>
                    <a:gd name="T5" fmla="*/ 3 h 4"/>
                    <a:gd name="T6" fmla="*/ 2 w 5"/>
                    <a:gd name="T7" fmla="*/ 4 h 4"/>
                    <a:gd name="T8" fmla="*/ 5 w 5"/>
                    <a:gd name="T9" fmla="*/ 4 h 4"/>
                    <a:gd name="T10" fmla="*/ 5 w 5"/>
                    <a:gd name="T11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4">
                      <a:moveTo>
                        <a:pt x="5" y="2"/>
                      </a:move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5" y="4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3" name="Freeform 283">
                  <a:extLst>
                    <a:ext uri="{FF2B5EF4-FFF2-40B4-BE49-F238E27FC236}">
                      <a16:creationId xmlns:a16="http://schemas.microsoft.com/office/drawing/2014/main" id="{919F941B-9320-43EE-A0A0-7B3310ACDC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61" y="3076"/>
                  <a:ext cx="10" cy="19"/>
                </a:xfrm>
                <a:custGeom>
                  <a:avLst/>
                  <a:gdLst>
                    <a:gd name="T0" fmla="*/ 2 w 13"/>
                    <a:gd name="T1" fmla="*/ 19 h 25"/>
                    <a:gd name="T2" fmla="*/ 3 w 13"/>
                    <a:gd name="T3" fmla="*/ 25 h 25"/>
                    <a:gd name="T4" fmla="*/ 6 w 13"/>
                    <a:gd name="T5" fmla="*/ 25 h 25"/>
                    <a:gd name="T6" fmla="*/ 8 w 13"/>
                    <a:gd name="T7" fmla="*/ 22 h 25"/>
                    <a:gd name="T8" fmla="*/ 10 w 13"/>
                    <a:gd name="T9" fmla="*/ 23 h 25"/>
                    <a:gd name="T10" fmla="*/ 13 w 13"/>
                    <a:gd name="T11" fmla="*/ 21 h 25"/>
                    <a:gd name="T12" fmla="*/ 13 w 13"/>
                    <a:gd name="T13" fmla="*/ 16 h 25"/>
                    <a:gd name="T14" fmla="*/ 11 w 13"/>
                    <a:gd name="T15" fmla="*/ 13 h 25"/>
                    <a:gd name="T16" fmla="*/ 12 w 13"/>
                    <a:gd name="T17" fmla="*/ 9 h 25"/>
                    <a:gd name="T18" fmla="*/ 10 w 13"/>
                    <a:gd name="T19" fmla="*/ 6 h 25"/>
                    <a:gd name="T20" fmla="*/ 9 w 13"/>
                    <a:gd name="T21" fmla="*/ 8 h 25"/>
                    <a:gd name="T22" fmla="*/ 9 w 13"/>
                    <a:gd name="T23" fmla="*/ 12 h 25"/>
                    <a:gd name="T24" fmla="*/ 7 w 13"/>
                    <a:gd name="T25" fmla="*/ 13 h 25"/>
                    <a:gd name="T26" fmla="*/ 5 w 13"/>
                    <a:gd name="T27" fmla="*/ 11 h 25"/>
                    <a:gd name="T28" fmla="*/ 5 w 13"/>
                    <a:gd name="T29" fmla="*/ 3 h 25"/>
                    <a:gd name="T30" fmla="*/ 2 w 13"/>
                    <a:gd name="T31" fmla="*/ 0 h 25"/>
                    <a:gd name="T32" fmla="*/ 0 w 13"/>
                    <a:gd name="T33" fmla="*/ 9 h 25"/>
                    <a:gd name="T34" fmla="*/ 2 w 13"/>
                    <a:gd name="T35" fmla="*/ 14 h 25"/>
                    <a:gd name="T36" fmla="*/ 2 w 13"/>
                    <a:gd name="T37" fmla="*/ 19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3" h="25">
                      <a:moveTo>
                        <a:pt x="2" y="19"/>
                      </a:move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6" y="25"/>
                        <a:pt x="6" y="25"/>
                        <a:pt x="6" y="25"/>
                      </a:cubicBezTo>
                      <a:cubicBezTo>
                        <a:pt x="8" y="22"/>
                        <a:pt x="8" y="22"/>
                        <a:pt x="8" y="22"/>
                      </a:cubicBezTo>
                      <a:cubicBezTo>
                        <a:pt x="10" y="23"/>
                        <a:pt x="10" y="23"/>
                        <a:pt x="10" y="23"/>
                      </a:cubicBez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12" y="9"/>
                        <a:pt x="12" y="9"/>
                        <a:pt x="12" y="9"/>
                      </a:cubicBez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9" y="8"/>
                        <a:pt x="9" y="8"/>
                        <a:pt x="9" y="8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7" y="13"/>
                        <a:pt x="7" y="13"/>
                        <a:pt x="7" y="13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5" y="3"/>
                        <a:pt x="2" y="0"/>
                        <a:pt x="2" y="0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2" y="14"/>
                        <a:pt x="2" y="14"/>
                        <a:pt x="2" y="14"/>
                      </a:cubicBezTo>
                      <a:lnTo>
                        <a:pt x="2" y="1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4" name="Freeform 284">
                  <a:extLst>
                    <a:ext uri="{FF2B5EF4-FFF2-40B4-BE49-F238E27FC236}">
                      <a16:creationId xmlns:a16="http://schemas.microsoft.com/office/drawing/2014/main" id="{9EE8093A-0D81-4FFC-BD32-892A873DB6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84" y="3080"/>
                  <a:ext cx="2" cy="9"/>
                </a:xfrm>
                <a:custGeom>
                  <a:avLst/>
                  <a:gdLst>
                    <a:gd name="T0" fmla="*/ 2 w 2"/>
                    <a:gd name="T1" fmla="*/ 6 h 9"/>
                    <a:gd name="T2" fmla="*/ 0 w 2"/>
                    <a:gd name="T3" fmla="*/ 0 h 9"/>
                    <a:gd name="T4" fmla="*/ 1 w 2"/>
                    <a:gd name="T5" fmla="*/ 6 h 9"/>
                    <a:gd name="T6" fmla="*/ 0 w 2"/>
                    <a:gd name="T7" fmla="*/ 9 h 9"/>
                    <a:gd name="T8" fmla="*/ 2 w 2"/>
                    <a:gd name="T9" fmla="*/ 6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9">
                      <a:moveTo>
                        <a:pt x="2" y="6"/>
                      </a:moveTo>
                      <a:lnTo>
                        <a:pt x="0" y="0"/>
                      </a:lnTo>
                      <a:lnTo>
                        <a:pt x="1" y="6"/>
                      </a:lnTo>
                      <a:lnTo>
                        <a:pt x="0" y="9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5" name="Freeform 285">
                  <a:extLst>
                    <a:ext uri="{FF2B5EF4-FFF2-40B4-BE49-F238E27FC236}">
                      <a16:creationId xmlns:a16="http://schemas.microsoft.com/office/drawing/2014/main" id="{55FAF71D-8EB9-4583-96EB-B2DCAFAA6F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69" y="3101"/>
                  <a:ext cx="8" cy="15"/>
                </a:xfrm>
                <a:custGeom>
                  <a:avLst/>
                  <a:gdLst>
                    <a:gd name="T0" fmla="*/ 0 w 8"/>
                    <a:gd name="T1" fmla="*/ 1 h 15"/>
                    <a:gd name="T2" fmla="*/ 1 w 8"/>
                    <a:gd name="T3" fmla="*/ 3 h 15"/>
                    <a:gd name="T4" fmla="*/ 2 w 8"/>
                    <a:gd name="T5" fmla="*/ 3 h 15"/>
                    <a:gd name="T6" fmla="*/ 4 w 8"/>
                    <a:gd name="T7" fmla="*/ 5 h 15"/>
                    <a:gd name="T8" fmla="*/ 3 w 8"/>
                    <a:gd name="T9" fmla="*/ 7 h 15"/>
                    <a:gd name="T10" fmla="*/ 2 w 8"/>
                    <a:gd name="T11" fmla="*/ 12 h 15"/>
                    <a:gd name="T12" fmla="*/ 2 w 8"/>
                    <a:gd name="T13" fmla="*/ 15 h 15"/>
                    <a:gd name="T14" fmla="*/ 6 w 8"/>
                    <a:gd name="T15" fmla="*/ 13 h 15"/>
                    <a:gd name="T16" fmla="*/ 8 w 8"/>
                    <a:gd name="T17" fmla="*/ 12 h 15"/>
                    <a:gd name="T18" fmla="*/ 7 w 8"/>
                    <a:gd name="T19" fmla="*/ 10 h 15"/>
                    <a:gd name="T20" fmla="*/ 5 w 8"/>
                    <a:gd name="T21" fmla="*/ 5 h 15"/>
                    <a:gd name="T22" fmla="*/ 5 w 8"/>
                    <a:gd name="T23" fmla="*/ 2 h 15"/>
                    <a:gd name="T24" fmla="*/ 3 w 8"/>
                    <a:gd name="T25" fmla="*/ 0 h 15"/>
                    <a:gd name="T26" fmla="*/ 1 w 8"/>
                    <a:gd name="T27" fmla="*/ 0 h 15"/>
                    <a:gd name="T28" fmla="*/ 0 w 8"/>
                    <a:gd name="T29" fmla="*/ 1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" h="15">
                      <a:moveTo>
                        <a:pt x="0" y="1"/>
                      </a:move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4" y="5"/>
                      </a:lnTo>
                      <a:lnTo>
                        <a:pt x="3" y="7"/>
                      </a:lnTo>
                      <a:lnTo>
                        <a:pt x="2" y="12"/>
                      </a:lnTo>
                      <a:lnTo>
                        <a:pt x="2" y="15"/>
                      </a:lnTo>
                      <a:lnTo>
                        <a:pt x="6" y="13"/>
                      </a:lnTo>
                      <a:lnTo>
                        <a:pt x="8" y="12"/>
                      </a:lnTo>
                      <a:lnTo>
                        <a:pt x="7" y="10"/>
                      </a:lnTo>
                      <a:lnTo>
                        <a:pt x="5" y="5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6" name="Freeform 286">
                  <a:extLst>
                    <a:ext uri="{FF2B5EF4-FFF2-40B4-BE49-F238E27FC236}">
                      <a16:creationId xmlns:a16="http://schemas.microsoft.com/office/drawing/2014/main" id="{F74E0455-1F5B-4535-874E-853399EC0E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90" y="3155"/>
                  <a:ext cx="2" cy="8"/>
                </a:xfrm>
                <a:custGeom>
                  <a:avLst/>
                  <a:gdLst>
                    <a:gd name="T0" fmla="*/ 2 w 2"/>
                    <a:gd name="T1" fmla="*/ 8 h 8"/>
                    <a:gd name="T2" fmla="*/ 2 w 2"/>
                    <a:gd name="T3" fmla="*/ 2 h 8"/>
                    <a:gd name="T4" fmla="*/ 0 w 2"/>
                    <a:gd name="T5" fmla="*/ 0 h 8"/>
                    <a:gd name="T6" fmla="*/ 0 w 2"/>
                    <a:gd name="T7" fmla="*/ 1 h 8"/>
                    <a:gd name="T8" fmla="*/ 0 w 2"/>
                    <a:gd name="T9" fmla="*/ 5 h 8"/>
                    <a:gd name="T10" fmla="*/ 2 w 2"/>
                    <a:gd name="T1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8">
                      <a:moveTo>
                        <a:pt x="2" y="8"/>
                      </a:move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2" y="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7" name="Freeform 287">
                  <a:extLst>
                    <a:ext uri="{FF2B5EF4-FFF2-40B4-BE49-F238E27FC236}">
                      <a16:creationId xmlns:a16="http://schemas.microsoft.com/office/drawing/2014/main" id="{B73482B4-65C7-43CF-942F-CC24B56DC4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80" y="3132"/>
                  <a:ext cx="6" cy="7"/>
                </a:xfrm>
                <a:custGeom>
                  <a:avLst/>
                  <a:gdLst>
                    <a:gd name="T0" fmla="*/ 1 w 6"/>
                    <a:gd name="T1" fmla="*/ 5 h 7"/>
                    <a:gd name="T2" fmla="*/ 3 w 6"/>
                    <a:gd name="T3" fmla="*/ 7 h 7"/>
                    <a:gd name="T4" fmla="*/ 6 w 6"/>
                    <a:gd name="T5" fmla="*/ 6 h 7"/>
                    <a:gd name="T6" fmla="*/ 6 w 6"/>
                    <a:gd name="T7" fmla="*/ 3 h 7"/>
                    <a:gd name="T8" fmla="*/ 4 w 6"/>
                    <a:gd name="T9" fmla="*/ 0 h 7"/>
                    <a:gd name="T10" fmla="*/ 0 w 6"/>
                    <a:gd name="T11" fmla="*/ 2 h 7"/>
                    <a:gd name="T12" fmla="*/ 1 w 6"/>
                    <a:gd name="T13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7">
                      <a:moveTo>
                        <a:pt x="1" y="5"/>
                      </a:moveTo>
                      <a:lnTo>
                        <a:pt x="3" y="7"/>
                      </a:lnTo>
                      <a:lnTo>
                        <a:pt x="6" y="6"/>
                      </a:lnTo>
                      <a:lnTo>
                        <a:pt x="6" y="3"/>
                      </a:ln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1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8" name="Freeform 288">
                  <a:extLst>
                    <a:ext uri="{FF2B5EF4-FFF2-40B4-BE49-F238E27FC236}">
                      <a16:creationId xmlns:a16="http://schemas.microsoft.com/office/drawing/2014/main" id="{0CBF24B1-F5AA-4CCB-A20A-9A20174EF1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79" y="3106"/>
                  <a:ext cx="6" cy="6"/>
                </a:xfrm>
                <a:custGeom>
                  <a:avLst/>
                  <a:gdLst>
                    <a:gd name="T0" fmla="*/ 0 w 6"/>
                    <a:gd name="T1" fmla="*/ 5 h 6"/>
                    <a:gd name="T2" fmla="*/ 1 w 6"/>
                    <a:gd name="T3" fmla="*/ 6 h 6"/>
                    <a:gd name="T4" fmla="*/ 3 w 6"/>
                    <a:gd name="T5" fmla="*/ 6 h 6"/>
                    <a:gd name="T6" fmla="*/ 4 w 6"/>
                    <a:gd name="T7" fmla="*/ 5 h 6"/>
                    <a:gd name="T8" fmla="*/ 6 w 6"/>
                    <a:gd name="T9" fmla="*/ 5 h 6"/>
                    <a:gd name="T10" fmla="*/ 6 w 6"/>
                    <a:gd name="T11" fmla="*/ 3 h 6"/>
                    <a:gd name="T12" fmla="*/ 4 w 6"/>
                    <a:gd name="T13" fmla="*/ 2 h 6"/>
                    <a:gd name="T14" fmla="*/ 4 w 6"/>
                    <a:gd name="T15" fmla="*/ 0 h 6"/>
                    <a:gd name="T16" fmla="*/ 0 w 6"/>
                    <a:gd name="T17" fmla="*/ 3 h 6"/>
                    <a:gd name="T18" fmla="*/ 0 w 6"/>
                    <a:gd name="T1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6">
                      <a:moveTo>
                        <a:pt x="0" y="5"/>
                      </a:move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4" y="5"/>
                      </a:lnTo>
                      <a:lnTo>
                        <a:pt x="6" y="5"/>
                      </a:lnTo>
                      <a:lnTo>
                        <a:pt x="6" y="3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9" name="Freeform 289">
                  <a:extLst>
                    <a:ext uri="{FF2B5EF4-FFF2-40B4-BE49-F238E27FC236}">
                      <a16:creationId xmlns:a16="http://schemas.microsoft.com/office/drawing/2014/main" id="{54E76E3D-1F15-4FB9-A90D-DA4211F263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77" y="3087"/>
                  <a:ext cx="5" cy="4"/>
                </a:xfrm>
                <a:custGeom>
                  <a:avLst/>
                  <a:gdLst>
                    <a:gd name="T0" fmla="*/ 6 w 6"/>
                    <a:gd name="T1" fmla="*/ 2 h 5"/>
                    <a:gd name="T2" fmla="*/ 6 w 6"/>
                    <a:gd name="T3" fmla="*/ 0 h 5"/>
                    <a:gd name="T4" fmla="*/ 2 w 6"/>
                    <a:gd name="T5" fmla="*/ 2 h 5"/>
                    <a:gd name="T6" fmla="*/ 0 w 6"/>
                    <a:gd name="T7" fmla="*/ 4 h 5"/>
                    <a:gd name="T8" fmla="*/ 3 w 6"/>
                    <a:gd name="T9" fmla="*/ 5 h 5"/>
                    <a:gd name="T10" fmla="*/ 6 w 6"/>
                    <a:gd name="T11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5">
                      <a:moveTo>
                        <a:pt x="6" y="2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2" y="2"/>
                        <a:pt x="0" y="4"/>
                        <a:pt x="0" y="4"/>
                      </a:cubicBezTo>
                      <a:cubicBezTo>
                        <a:pt x="3" y="5"/>
                        <a:pt x="3" y="5"/>
                        <a:pt x="3" y="5"/>
                      </a:cubicBezTo>
                      <a:lnTo>
                        <a:pt x="6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0" name="Freeform 290">
                  <a:extLst>
                    <a:ext uri="{FF2B5EF4-FFF2-40B4-BE49-F238E27FC236}">
                      <a16:creationId xmlns:a16="http://schemas.microsoft.com/office/drawing/2014/main" id="{7F337535-98D1-4967-B879-B465D91001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83" y="3094"/>
                  <a:ext cx="3" cy="7"/>
                </a:xfrm>
                <a:custGeom>
                  <a:avLst/>
                  <a:gdLst>
                    <a:gd name="T0" fmla="*/ 1 w 3"/>
                    <a:gd name="T1" fmla="*/ 10 h 10"/>
                    <a:gd name="T2" fmla="*/ 3 w 3"/>
                    <a:gd name="T3" fmla="*/ 10 h 10"/>
                    <a:gd name="T4" fmla="*/ 2 w 3"/>
                    <a:gd name="T5" fmla="*/ 6 h 10"/>
                    <a:gd name="T6" fmla="*/ 2 w 3"/>
                    <a:gd name="T7" fmla="*/ 2 h 10"/>
                    <a:gd name="T8" fmla="*/ 1 w 3"/>
                    <a:gd name="T9" fmla="*/ 0 h 10"/>
                    <a:gd name="T10" fmla="*/ 0 w 3"/>
                    <a:gd name="T11" fmla="*/ 5 h 10"/>
                    <a:gd name="T12" fmla="*/ 1 w 3"/>
                    <a:gd name="T13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10">
                      <a:moveTo>
                        <a:pt x="1" y="10"/>
                      </a:moveTo>
                      <a:cubicBezTo>
                        <a:pt x="3" y="10"/>
                        <a:pt x="3" y="10"/>
                        <a:pt x="3" y="10"/>
                      </a:cubicBezTo>
                      <a:cubicBezTo>
                        <a:pt x="2" y="6"/>
                        <a:pt x="2" y="6"/>
                        <a:pt x="2" y="6"/>
                      </a:cubicBez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5"/>
                        <a:pt x="0" y="5"/>
                      </a:cubicBezTo>
                      <a:lnTo>
                        <a:pt x="1" y="1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1" name="Freeform 291">
                  <a:extLst>
                    <a:ext uri="{FF2B5EF4-FFF2-40B4-BE49-F238E27FC236}">
                      <a16:creationId xmlns:a16="http://schemas.microsoft.com/office/drawing/2014/main" id="{2B0858E5-79EE-401C-BA8E-7414F83C5F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28" y="2918"/>
                  <a:ext cx="3" cy="5"/>
                </a:xfrm>
                <a:custGeom>
                  <a:avLst/>
                  <a:gdLst>
                    <a:gd name="T0" fmla="*/ 3 w 3"/>
                    <a:gd name="T1" fmla="*/ 0 h 5"/>
                    <a:gd name="T2" fmla="*/ 0 w 3"/>
                    <a:gd name="T3" fmla="*/ 5 h 5"/>
                    <a:gd name="T4" fmla="*/ 2 w 3"/>
                    <a:gd name="T5" fmla="*/ 3 h 5"/>
                    <a:gd name="T6" fmla="*/ 3 w 3"/>
                    <a:gd name="T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5">
                      <a:moveTo>
                        <a:pt x="3" y="0"/>
                      </a:moveTo>
                      <a:lnTo>
                        <a:pt x="0" y="5"/>
                      </a:lnTo>
                      <a:lnTo>
                        <a:pt x="2" y="3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2" name="Freeform 292">
                  <a:extLst>
                    <a:ext uri="{FF2B5EF4-FFF2-40B4-BE49-F238E27FC236}">
                      <a16:creationId xmlns:a16="http://schemas.microsoft.com/office/drawing/2014/main" id="{4FFE24ED-DF70-4BDE-982B-EEFB4D8F08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23" y="2928"/>
                  <a:ext cx="2" cy="2"/>
                </a:xfrm>
                <a:custGeom>
                  <a:avLst/>
                  <a:gdLst>
                    <a:gd name="T0" fmla="*/ 0 w 2"/>
                    <a:gd name="T1" fmla="*/ 0 h 2"/>
                    <a:gd name="T2" fmla="*/ 2 w 2"/>
                    <a:gd name="T3" fmla="*/ 2 h 2"/>
                    <a:gd name="T4" fmla="*/ 1 w 2"/>
                    <a:gd name="T5" fmla="*/ 0 h 2"/>
                    <a:gd name="T6" fmla="*/ 0 w 2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2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3" name="Freeform 293">
                  <a:extLst>
                    <a:ext uri="{FF2B5EF4-FFF2-40B4-BE49-F238E27FC236}">
                      <a16:creationId xmlns:a16="http://schemas.microsoft.com/office/drawing/2014/main" id="{F7CB1456-8847-41FB-A538-F36FC92B95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48" y="2959"/>
                  <a:ext cx="3" cy="4"/>
                </a:xfrm>
                <a:custGeom>
                  <a:avLst/>
                  <a:gdLst>
                    <a:gd name="T0" fmla="*/ 0 w 3"/>
                    <a:gd name="T1" fmla="*/ 4 h 4"/>
                    <a:gd name="T2" fmla="*/ 3 w 3"/>
                    <a:gd name="T3" fmla="*/ 4 h 4"/>
                    <a:gd name="T4" fmla="*/ 3 w 3"/>
                    <a:gd name="T5" fmla="*/ 1 h 4"/>
                    <a:gd name="T6" fmla="*/ 0 w 3"/>
                    <a:gd name="T7" fmla="*/ 0 h 4"/>
                    <a:gd name="T8" fmla="*/ 0 w 3"/>
                    <a:gd name="T9" fmla="*/ 2 h 4"/>
                    <a:gd name="T10" fmla="*/ 0 w 3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4">
                      <a:moveTo>
                        <a:pt x="0" y="4"/>
                      </a:moveTo>
                      <a:lnTo>
                        <a:pt x="3" y="4"/>
                      </a:lnTo>
                      <a:lnTo>
                        <a:pt x="3" y="1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4" name="Freeform 294">
                  <a:extLst>
                    <a:ext uri="{FF2B5EF4-FFF2-40B4-BE49-F238E27FC236}">
                      <a16:creationId xmlns:a16="http://schemas.microsoft.com/office/drawing/2014/main" id="{46F5CEEB-E353-40A7-8B48-4CE2FF154C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31" y="2942"/>
                  <a:ext cx="3" cy="7"/>
                </a:xfrm>
                <a:custGeom>
                  <a:avLst/>
                  <a:gdLst>
                    <a:gd name="T0" fmla="*/ 2 w 3"/>
                    <a:gd name="T1" fmla="*/ 5 h 7"/>
                    <a:gd name="T2" fmla="*/ 3 w 3"/>
                    <a:gd name="T3" fmla="*/ 4 h 7"/>
                    <a:gd name="T4" fmla="*/ 0 w 3"/>
                    <a:gd name="T5" fmla="*/ 0 h 7"/>
                    <a:gd name="T6" fmla="*/ 0 w 3"/>
                    <a:gd name="T7" fmla="*/ 3 h 7"/>
                    <a:gd name="T8" fmla="*/ 0 w 3"/>
                    <a:gd name="T9" fmla="*/ 5 h 7"/>
                    <a:gd name="T10" fmla="*/ 0 w 3"/>
                    <a:gd name="T11" fmla="*/ 7 h 7"/>
                    <a:gd name="T12" fmla="*/ 2 w 3"/>
                    <a:gd name="T13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7">
                      <a:moveTo>
                        <a:pt x="2" y="5"/>
                      </a:moveTo>
                      <a:lnTo>
                        <a:pt x="3" y="4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5" name="Freeform 295">
                  <a:extLst>
                    <a:ext uri="{FF2B5EF4-FFF2-40B4-BE49-F238E27FC236}">
                      <a16:creationId xmlns:a16="http://schemas.microsoft.com/office/drawing/2014/main" id="{B69EF64F-76E5-4026-815B-88552000EF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39" y="2949"/>
                  <a:ext cx="9" cy="10"/>
                </a:xfrm>
                <a:custGeom>
                  <a:avLst/>
                  <a:gdLst>
                    <a:gd name="T0" fmla="*/ 5 w 9"/>
                    <a:gd name="T1" fmla="*/ 0 h 10"/>
                    <a:gd name="T2" fmla="*/ 3 w 9"/>
                    <a:gd name="T3" fmla="*/ 0 h 10"/>
                    <a:gd name="T4" fmla="*/ 2 w 9"/>
                    <a:gd name="T5" fmla="*/ 1 h 10"/>
                    <a:gd name="T6" fmla="*/ 0 w 9"/>
                    <a:gd name="T7" fmla="*/ 5 h 10"/>
                    <a:gd name="T8" fmla="*/ 3 w 9"/>
                    <a:gd name="T9" fmla="*/ 6 h 10"/>
                    <a:gd name="T10" fmla="*/ 4 w 9"/>
                    <a:gd name="T11" fmla="*/ 6 h 10"/>
                    <a:gd name="T12" fmla="*/ 5 w 9"/>
                    <a:gd name="T13" fmla="*/ 8 h 10"/>
                    <a:gd name="T14" fmla="*/ 7 w 9"/>
                    <a:gd name="T15" fmla="*/ 10 h 10"/>
                    <a:gd name="T16" fmla="*/ 9 w 9"/>
                    <a:gd name="T17" fmla="*/ 10 h 10"/>
                    <a:gd name="T18" fmla="*/ 9 w 9"/>
                    <a:gd name="T19" fmla="*/ 7 h 10"/>
                    <a:gd name="T20" fmla="*/ 8 w 9"/>
                    <a:gd name="T21" fmla="*/ 4 h 10"/>
                    <a:gd name="T22" fmla="*/ 6 w 9"/>
                    <a:gd name="T23" fmla="*/ 3 h 10"/>
                    <a:gd name="T24" fmla="*/ 5 w 9"/>
                    <a:gd name="T25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" h="10">
                      <a:moveTo>
                        <a:pt x="5" y="0"/>
                      </a:moveTo>
                      <a:lnTo>
                        <a:pt x="3" y="0"/>
                      </a:lnTo>
                      <a:lnTo>
                        <a:pt x="2" y="1"/>
                      </a:lnTo>
                      <a:lnTo>
                        <a:pt x="0" y="5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5" y="8"/>
                      </a:lnTo>
                      <a:lnTo>
                        <a:pt x="7" y="10"/>
                      </a:lnTo>
                      <a:lnTo>
                        <a:pt x="9" y="10"/>
                      </a:lnTo>
                      <a:lnTo>
                        <a:pt x="9" y="7"/>
                      </a:lnTo>
                      <a:lnTo>
                        <a:pt x="8" y="4"/>
                      </a:lnTo>
                      <a:lnTo>
                        <a:pt x="6" y="3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6" name="Freeform 296">
                  <a:extLst>
                    <a:ext uri="{FF2B5EF4-FFF2-40B4-BE49-F238E27FC236}">
                      <a16:creationId xmlns:a16="http://schemas.microsoft.com/office/drawing/2014/main" id="{D37EAD46-756F-4A7E-A42B-3AFDB1EA2F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39" y="2958"/>
                  <a:ext cx="3" cy="1"/>
                </a:xfrm>
                <a:custGeom>
                  <a:avLst/>
                  <a:gdLst>
                    <a:gd name="T0" fmla="*/ 3 w 3"/>
                    <a:gd name="T1" fmla="*/ 1 h 1"/>
                    <a:gd name="T2" fmla="*/ 1 w 3"/>
                    <a:gd name="T3" fmla="*/ 0 h 1"/>
                    <a:gd name="T4" fmla="*/ 0 w 3"/>
                    <a:gd name="T5" fmla="*/ 1 h 1"/>
                    <a:gd name="T6" fmla="*/ 3 w 3"/>
                    <a:gd name="T7" fmla="*/ 1 h 1"/>
                    <a:gd name="T8" fmla="*/ 3 w 3"/>
                    <a:gd name="T9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1">
                      <a:moveTo>
                        <a:pt x="3" y="1"/>
                      </a:move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7" name="Freeform 297">
                  <a:extLst>
                    <a:ext uri="{FF2B5EF4-FFF2-40B4-BE49-F238E27FC236}">
                      <a16:creationId xmlns:a16="http://schemas.microsoft.com/office/drawing/2014/main" id="{4F389A42-99E2-4C20-B6B3-EC9DE1DA8C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55" y="3000"/>
                  <a:ext cx="5" cy="4"/>
                </a:xfrm>
                <a:custGeom>
                  <a:avLst/>
                  <a:gdLst>
                    <a:gd name="T0" fmla="*/ 3 w 5"/>
                    <a:gd name="T1" fmla="*/ 4 h 4"/>
                    <a:gd name="T2" fmla="*/ 5 w 5"/>
                    <a:gd name="T3" fmla="*/ 1 h 4"/>
                    <a:gd name="T4" fmla="*/ 4 w 5"/>
                    <a:gd name="T5" fmla="*/ 0 h 4"/>
                    <a:gd name="T6" fmla="*/ 2 w 5"/>
                    <a:gd name="T7" fmla="*/ 0 h 4"/>
                    <a:gd name="T8" fmla="*/ 0 w 5"/>
                    <a:gd name="T9" fmla="*/ 1 h 4"/>
                    <a:gd name="T10" fmla="*/ 1 w 5"/>
                    <a:gd name="T11" fmla="*/ 3 h 4"/>
                    <a:gd name="T12" fmla="*/ 3 w 5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3" y="4"/>
                      </a:move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8" name="Freeform 298">
                  <a:extLst>
                    <a:ext uri="{FF2B5EF4-FFF2-40B4-BE49-F238E27FC236}">
                      <a16:creationId xmlns:a16="http://schemas.microsoft.com/office/drawing/2014/main" id="{E021E681-7DDF-43E6-891A-31B2F0F917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29" y="2924"/>
                  <a:ext cx="16" cy="15"/>
                </a:xfrm>
                <a:custGeom>
                  <a:avLst/>
                  <a:gdLst>
                    <a:gd name="T0" fmla="*/ 0 w 16"/>
                    <a:gd name="T1" fmla="*/ 1 h 15"/>
                    <a:gd name="T2" fmla="*/ 2 w 16"/>
                    <a:gd name="T3" fmla="*/ 6 h 15"/>
                    <a:gd name="T4" fmla="*/ 6 w 16"/>
                    <a:gd name="T5" fmla="*/ 10 h 15"/>
                    <a:gd name="T6" fmla="*/ 9 w 16"/>
                    <a:gd name="T7" fmla="*/ 13 h 15"/>
                    <a:gd name="T8" fmla="*/ 13 w 16"/>
                    <a:gd name="T9" fmla="*/ 15 h 15"/>
                    <a:gd name="T10" fmla="*/ 16 w 16"/>
                    <a:gd name="T11" fmla="*/ 15 h 15"/>
                    <a:gd name="T12" fmla="*/ 15 w 16"/>
                    <a:gd name="T13" fmla="*/ 12 h 15"/>
                    <a:gd name="T14" fmla="*/ 12 w 16"/>
                    <a:gd name="T15" fmla="*/ 9 h 15"/>
                    <a:gd name="T16" fmla="*/ 10 w 16"/>
                    <a:gd name="T17" fmla="*/ 8 h 15"/>
                    <a:gd name="T18" fmla="*/ 9 w 16"/>
                    <a:gd name="T19" fmla="*/ 5 h 15"/>
                    <a:gd name="T20" fmla="*/ 7 w 16"/>
                    <a:gd name="T21" fmla="*/ 4 h 15"/>
                    <a:gd name="T22" fmla="*/ 3 w 16"/>
                    <a:gd name="T23" fmla="*/ 3 h 15"/>
                    <a:gd name="T24" fmla="*/ 2 w 16"/>
                    <a:gd name="T25" fmla="*/ 1 h 15"/>
                    <a:gd name="T26" fmla="*/ 1 w 16"/>
                    <a:gd name="T27" fmla="*/ 0 h 15"/>
                    <a:gd name="T28" fmla="*/ 0 w 16"/>
                    <a:gd name="T29" fmla="*/ 1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" h="15">
                      <a:moveTo>
                        <a:pt x="0" y="1"/>
                      </a:moveTo>
                      <a:lnTo>
                        <a:pt x="2" y="6"/>
                      </a:lnTo>
                      <a:lnTo>
                        <a:pt x="6" y="10"/>
                      </a:lnTo>
                      <a:lnTo>
                        <a:pt x="9" y="13"/>
                      </a:lnTo>
                      <a:lnTo>
                        <a:pt x="13" y="15"/>
                      </a:lnTo>
                      <a:lnTo>
                        <a:pt x="16" y="15"/>
                      </a:lnTo>
                      <a:lnTo>
                        <a:pt x="15" y="12"/>
                      </a:lnTo>
                      <a:lnTo>
                        <a:pt x="12" y="9"/>
                      </a:lnTo>
                      <a:lnTo>
                        <a:pt x="10" y="8"/>
                      </a:lnTo>
                      <a:lnTo>
                        <a:pt x="9" y="5"/>
                      </a:lnTo>
                      <a:lnTo>
                        <a:pt x="7" y="4"/>
                      </a:lnTo>
                      <a:lnTo>
                        <a:pt x="3" y="3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9" name="Freeform 299">
                  <a:extLst>
                    <a:ext uri="{FF2B5EF4-FFF2-40B4-BE49-F238E27FC236}">
                      <a16:creationId xmlns:a16="http://schemas.microsoft.com/office/drawing/2014/main" id="{8B1E045D-2C8D-4BD0-9BA8-1CF68DA5BF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85" y="2956"/>
                  <a:ext cx="15" cy="24"/>
                </a:xfrm>
                <a:custGeom>
                  <a:avLst/>
                  <a:gdLst>
                    <a:gd name="T0" fmla="*/ 2 w 15"/>
                    <a:gd name="T1" fmla="*/ 3 h 24"/>
                    <a:gd name="T2" fmla="*/ 2 w 15"/>
                    <a:gd name="T3" fmla="*/ 5 h 24"/>
                    <a:gd name="T4" fmla="*/ 3 w 15"/>
                    <a:gd name="T5" fmla="*/ 8 h 24"/>
                    <a:gd name="T6" fmla="*/ 4 w 15"/>
                    <a:gd name="T7" fmla="*/ 14 h 24"/>
                    <a:gd name="T8" fmla="*/ 10 w 15"/>
                    <a:gd name="T9" fmla="*/ 19 h 24"/>
                    <a:gd name="T10" fmla="*/ 12 w 15"/>
                    <a:gd name="T11" fmla="*/ 20 h 24"/>
                    <a:gd name="T12" fmla="*/ 12 w 15"/>
                    <a:gd name="T13" fmla="*/ 24 h 24"/>
                    <a:gd name="T14" fmla="*/ 15 w 15"/>
                    <a:gd name="T15" fmla="*/ 24 h 24"/>
                    <a:gd name="T16" fmla="*/ 15 w 15"/>
                    <a:gd name="T17" fmla="*/ 21 h 24"/>
                    <a:gd name="T18" fmla="*/ 12 w 15"/>
                    <a:gd name="T19" fmla="*/ 17 h 24"/>
                    <a:gd name="T20" fmla="*/ 10 w 15"/>
                    <a:gd name="T21" fmla="*/ 16 h 24"/>
                    <a:gd name="T22" fmla="*/ 9 w 15"/>
                    <a:gd name="T23" fmla="*/ 13 h 24"/>
                    <a:gd name="T24" fmla="*/ 5 w 15"/>
                    <a:gd name="T25" fmla="*/ 7 h 24"/>
                    <a:gd name="T26" fmla="*/ 6 w 15"/>
                    <a:gd name="T27" fmla="*/ 4 h 24"/>
                    <a:gd name="T28" fmla="*/ 3 w 15"/>
                    <a:gd name="T29" fmla="*/ 0 h 24"/>
                    <a:gd name="T30" fmla="*/ 0 w 15"/>
                    <a:gd name="T31" fmla="*/ 0 h 24"/>
                    <a:gd name="T32" fmla="*/ 0 w 15"/>
                    <a:gd name="T33" fmla="*/ 2 h 24"/>
                    <a:gd name="T34" fmla="*/ 2 w 15"/>
                    <a:gd name="T35" fmla="*/ 3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" h="24">
                      <a:moveTo>
                        <a:pt x="2" y="3"/>
                      </a:moveTo>
                      <a:lnTo>
                        <a:pt x="2" y="5"/>
                      </a:lnTo>
                      <a:lnTo>
                        <a:pt x="3" y="8"/>
                      </a:lnTo>
                      <a:lnTo>
                        <a:pt x="4" y="14"/>
                      </a:lnTo>
                      <a:lnTo>
                        <a:pt x="10" y="19"/>
                      </a:lnTo>
                      <a:lnTo>
                        <a:pt x="12" y="20"/>
                      </a:lnTo>
                      <a:lnTo>
                        <a:pt x="12" y="24"/>
                      </a:lnTo>
                      <a:lnTo>
                        <a:pt x="15" y="24"/>
                      </a:lnTo>
                      <a:lnTo>
                        <a:pt x="15" y="21"/>
                      </a:lnTo>
                      <a:lnTo>
                        <a:pt x="12" y="17"/>
                      </a:lnTo>
                      <a:lnTo>
                        <a:pt x="10" y="16"/>
                      </a:lnTo>
                      <a:lnTo>
                        <a:pt x="9" y="13"/>
                      </a:lnTo>
                      <a:lnTo>
                        <a:pt x="5" y="7"/>
                      </a:lnTo>
                      <a:lnTo>
                        <a:pt x="6" y="4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0" name="Freeform 300">
                  <a:extLst>
                    <a:ext uri="{FF2B5EF4-FFF2-40B4-BE49-F238E27FC236}">
                      <a16:creationId xmlns:a16="http://schemas.microsoft.com/office/drawing/2014/main" id="{40138684-4933-466F-A8DF-849D695155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56" y="2941"/>
                  <a:ext cx="19" cy="18"/>
                </a:xfrm>
                <a:custGeom>
                  <a:avLst/>
                  <a:gdLst>
                    <a:gd name="T0" fmla="*/ 13 w 24"/>
                    <a:gd name="T1" fmla="*/ 14 h 23"/>
                    <a:gd name="T2" fmla="*/ 17 w 24"/>
                    <a:gd name="T3" fmla="*/ 18 h 23"/>
                    <a:gd name="T4" fmla="*/ 18 w 24"/>
                    <a:gd name="T5" fmla="*/ 20 h 23"/>
                    <a:gd name="T6" fmla="*/ 19 w 24"/>
                    <a:gd name="T7" fmla="*/ 23 h 23"/>
                    <a:gd name="T8" fmla="*/ 21 w 24"/>
                    <a:gd name="T9" fmla="*/ 20 h 23"/>
                    <a:gd name="T10" fmla="*/ 24 w 24"/>
                    <a:gd name="T11" fmla="*/ 23 h 23"/>
                    <a:gd name="T12" fmla="*/ 22 w 24"/>
                    <a:gd name="T13" fmla="*/ 20 h 23"/>
                    <a:gd name="T14" fmla="*/ 24 w 24"/>
                    <a:gd name="T15" fmla="*/ 18 h 23"/>
                    <a:gd name="T16" fmla="*/ 17 w 24"/>
                    <a:gd name="T17" fmla="*/ 9 h 23"/>
                    <a:gd name="T18" fmla="*/ 11 w 24"/>
                    <a:gd name="T19" fmla="*/ 6 h 23"/>
                    <a:gd name="T20" fmla="*/ 6 w 24"/>
                    <a:gd name="T21" fmla="*/ 1 h 23"/>
                    <a:gd name="T22" fmla="*/ 0 w 24"/>
                    <a:gd name="T23" fmla="*/ 0 h 23"/>
                    <a:gd name="T24" fmla="*/ 4 w 24"/>
                    <a:gd name="T25" fmla="*/ 4 h 23"/>
                    <a:gd name="T26" fmla="*/ 13 w 24"/>
                    <a:gd name="T27" fmla="*/ 14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23">
                      <a:moveTo>
                        <a:pt x="13" y="14"/>
                      </a:moveTo>
                      <a:cubicBezTo>
                        <a:pt x="17" y="18"/>
                        <a:pt x="17" y="18"/>
                        <a:pt x="17" y="18"/>
                      </a:cubicBezTo>
                      <a:cubicBezTo>
                        <a:pt x="18" y="20"/>
                        <a:pt x="18" y="20"/>
                        <a:pt x="18" y="20"/>
                      </a:cubicBezTo>
                      <a:cubicBezTo>
                        <a:pt x="19" y="23"/>
                        <a:pt x="19" y="23"/>
                        <a:pt x="19" y="23"/>
                      </a:cubicBezTo>
                      <a:cubicBezTo>
                        <a:pt x="21" y="20"/>
                        <a:pt x="21" y="20"/>
                        <a:pt x="21" y="20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2" y="20"/>
                        <a:pt x="22" y="20"/>
                        <a:pt x="22" y="20"/>
                      </a:cubicBezTo>
                      <a:cubicBezTo>
                        <a:pt x="24" y="18"/>
                        <a:pt x="24" y="18"/>
                        <a:pt x="24" y="18"/>
                      </a:cubicBezTo>
                      <a:cubicBezTo>
                        <a:pt x="17" y="9"/>
                        <a:pt x="17" y="9"/>
                        <a:pt x="17" y="9"/>
                      </a:cubicBezTo>
                      <a:cubicBezTo>
                        <a:pt x="11" y="6"/>
                        <a:pt x="11" y="6"/>
                        <a:pt x="11" y="6"/>
                      </a:cubicBezTo>
                      <a:cubicBezTo>
                        <a:pt x="6" y="1"/>
                        <a:pt x="6" y="1"/>
                        <a:pt x="6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4" y="4"/>
                        <a:pt x="4" y="4"/>
                      </a:cubicBezTo>
                      <a:lnTo>
                        <a:pt x="13" y="1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1" name="Freeform 301">
                  <a:extLst>
                    <a:ext uri="{FF2B5EF4-FFF2-40B4-BE49-F238E27FC236}">
                      <a16:creationId xmlns:a16="http://schemas.microsoft.com/office/drawing/2014/main" id="{89ADDE97-8B35-4A86-831F-C76A47BC8D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80" y="2967"/>
                  <a:ext cx="3" cy="3"/>
                </a:xfrm>
                <a:custGeom>
                  <a:avLst/>
                  <a:gdLst>
                    <a:gd name="T0" fmla="*/ 3 w 3"/>
                    <a:gd name="T1" fmla="*/ 3 h 3"/>
                    <a:gd name="T2" fmla="*/ 3 w 3"/>
                    <a:gd name="T3" fmla="*/ 1 h 3"/>
                    <a:gd name="T4" fmla="*/ 0 w 3"/>
                    <a:gd name="T5" fmla="*/ 0 h 3"/>
                    <a:gd name="T6" fmla="*/ 1 w 3"/>
                    <a:gd name="T7" fmla="*/ 3 h 3"/>
                    <a:gd name="T8" fmla="*/ 3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3" y="1"/>
                      </a:lnTo>
                      <a:lnTo>
                        <a:pt x="0" y="0"/>
                      </a:lnTo>
                      <a:lnTo>
                        <a:pt x="1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2" name="Freeform 302">
                  <a:extLst>
                    <a:ext uri="{FF2B5EF4-FFF2-40B4-BE49-F238E27FC236}">
                      <a16:creationId xmlns:a16="http://schemas.microsoft.com/office/drawing/2014/main" id="{7C1DE47F-DF38-4591-B996-C4BAF2267A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94" y="2991"/>
                  <a:ext cx="13" cy="12"/>
                </a:xfrm>
                <a:custGeom>
                  <a:avLst/>
                  <a:gdLst>
                    <a:gd name="T0" fmla="*/ 3 w 13"/>
                    <a:gd name="T1" fmla="*/ 0 h 12"/>
                    <a:gd name="T2" fmla="*/ 0 w 13"/>
                    <a:gd name="T3" fmla="*/ 0 h 12"/>
                    <a:gd name="T4" fmla="*/ 2 w 13"/>
                    <a:gd name="T5" fmla="*/ 3 h 12"/>
                    <a:gd name="T6" fmla="*/ 2 w 13"/>
                    <a:gd name="T7" fmla="*/ 6 h 12"/>
                    <a:gd name="T8" fmla="*/ 6 w 13"/>
                    <a:gd name="T9" fmla="*/ 10 h 12"/>
                    <a:gd name="T10" fmla="*/ 10 w 13"/>
                    <a:gd name="T11" fmla="*/ 12 h 12"/>
                    <a:gd name="T12" fmla="*/ 13 w 13"/>
                    <a:gd name="T13" fmla="*/ 12 h 12"/>
                    <a:gd name="T14" fmla="*/ 13 w 13"/>
                    <a:gd name="T15" fmla="*/ 10 h 12"/>
                    <a:gd name="T16" fmla="*/ 13 w 13"/>
                    <a:gd name="T17" fmla="*/ 9 h 12"/>
                    <a:gd name="T18" fmla="*/ 11 w 13"/>
                    <a:gd name="T19" fmla="*/ 6 h 12"/>
                    <a:gd name="T20" fmla="*/ 6 w 13"/>
                    <a:gd name="T21" fmla="*/ 4 h 12"/>
                    <a:gd name="T22" fmla="*/ 3 w 13"/>
                    <a:gd name="T23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" h="12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2" y="3"/>
                      </a:lnTo>
                      <a:lnTo>
                        <a:pt x="2" y="6"/>
                      </a:lnTo>
                      <a:lnTo>
                        <a:pt x="6" y="10"/>
                      </a:lnTo>
                      <a:lnTo>
                        <a:pt x="10" y="12"/>
                      </a:lnTo>
                      <a:lnTo>
                        <a:pt x="13" y="12"/>
                      </a:lnTo>
                      <a:lnTo>
                        <a:pt x="13" y="10"/>
                      </a:lnTo>
                      <a:lnTo>
                        <a:pt x="13" y="9"/>
                      </a:lnTo>
                      <a:lnTo>
                        <a:pt x="11" y="6"/>
                      </a:lnTo>
                      <a:lnTo>
                        <a:pt x="6" y="4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3" name="Freeform 303">
                  <a:extLst>
                    <a:ext uri="{FF2B5EF4-FFF2-40B4-BE49-F238E27FC236}">
                      <a16:creationId xmlns:a16="http://schemas.microsoft.com/office/drawing/2014/main" id="{DD0CEE66-91DA-490A-8B22-97EB01B87D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72" y="2972"/>
                  <a:ext cx="16" cy="14"/>
                </a:xfrm>
                <a:custGeom>
                  <a:avLst/>
                  <a:gdLst>
                    <a:gd name="T0" fmla="*/ 1 w 16"/>
                    <a:gd name="T1" fmla="*/ 1 h 14"/>
                    <a:gd name="T2" fmla="*/ 0 w 16"/>
                    <a:gd name="T3" fmla="*/ 5 h 14"/>
                    <a:gd name="T4" fmla="*/ 3 w 16"/>
                    <a:gd name="T5" fmla="*/ 9 h 14"/>
                    <a:gd name="T6" fmla="*/ 7 w 16"/>
                    <a:gd name="T7" fmla="*/ 11 h 14"/>
                    <a:gd name="T8" fmla="*/ 10 w 16"/>
                    <a:gd name="T9" fmla="*/ 10 h 14"/>
                    <a:gd name="T10" fmla="*/ 12 w 16"/>
                    <a:gd name="T11" fmla="*/ 14 h 14"/>
                    <a:gd name="T12" fmla="*/ 15 w 16"/>
                    <a:gd name="T13" fmla="*/ 13 h 14"/>
                    <a:gd name="T14" fmla="*/ 16 w 16"/>
                    <a:gd name="T15" fmla="*/ 10 h 14"/>
                    <a:gd name="T16" fmla="*/ 16 w 16"/>
                    <a:gd name="T17" fmla="*/ 8 h 14"/>
                    <a:gd name="T18" fmla="*/ 14 w 16"/>
                    <a:gd name="T19" fmla="*/ 8 h 14"/>
                    <a:gd name="T20" fmla="*/ 12 w 16"/>
                    <a:gd name="T21" fmla="*/ 5 h 14"/>
                    <a:gd name="T22" fmla="*/ 8 w 16"/>
                    <a:gd name="T23" fmla="*/ 3 h 14"/>
                    <a:gd name="T24" fmla="*/ 4 w 16"/>
                    <a:gd name="T25" fmla="*/ 3 h 14"/>
                    <a:gd name="T26" fmla="*/ 2 w 16"/>
                    <a:gd name="T27" fmla="*/ 0 h 14"/>
                    <a:gd name="T28" fmla="*/ 1 w 16"/>
                    <a:gd name="T29" fmla="*/ 1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" h="14">
                      <a:moveTo>
                        <a:pt x="1" y="1"/>
                      </a:moveTo>
                      <a:lnTo>
                        <a:pt x="0" y="5"/>
                      </a:lnTo>
                      <a:lnTo>
                        <a:pt x="3" y="9"/>
                      </a:lnTo>
                      <a:lnTo>
                        <a:pt x="7" y="11"/>
                      </a:lnTo>
                      <a:lnTo>
                        <a:pt x="10" y="10"/>
                      </a:lnTo>
                      <a:lnTo>
                        <a:pt x="12" y="14"/>
                      </a:lnTo>
                      <a:lnTo>
                        <a:pt x="15" y="13"/>
                      </a:lnTo>
                      <a:lnTo>
                        <a:pt x="16" y="10"/>
                      </a:lnTo>
                      <a:lnTo>
                        <a:pt x="16" y="8"/>
                      </a:lnTo>
                      <a:lnTo>
                        <a:pt x="14" y="8"/>
                      </a:lnTo>
                      <a:lnTo>
                        <a:pt x="12" y="5"/>
                      </a:lnTo>
                      <a:lnTo>
                        <a:pt x="8" y="3"/>
                      </a:lnTo>
                      <a:lnTo>
                        <a:pt x="4" y="3"/>
                      </a:lnTo>
                      <a:lnTo>
                        <a:pt x="2" y="0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4" name="Freeform 304">
                  <a:extLst>
                    <a:ext uri="{FF2B5EF4-FFF2-40B4-BE49-F238E27FC236}">
                      <a16:creationId xmlns:a16="http://schemas.microsoft.com/office/drawing/2014/main" id="{0D2FDAFA-A0F5-422B-8DDD-C22D6930E3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75" y="3014"/>
                  <a:ext cx="8" cy="4"/>
                </a:xfrm>
                <a:custGeom>
                  <a:avLst/>
                  <a:gdLst>
                    <a:gd name="T0" fmla="*/ 3 w 8"/>
                    <a:gd name="T1" fmla="*/ 0 h 4"/>
                    <a:gd name="T2" fmla="*/ 0 w 8"/>
                    <a:gd name="T3" fmla="*/ 0 h 4"/>
                    <a:gd name="T4" fmla="*/ 0 w 8"/>
                    <a:gd name="T5" fmla="*/ 2 h 4"/>
                    <a:gd name="T6" fmla="*/ 1 w 8"/>
                    <a:gd name="T7" fmla="*/ 4 h 4"/>
                    <a:gd name="T8" fmla="*/ 4 w 8"/>
                    <a:gd name="T9" fmla="*/ 3 h 4"/>
                    <a:gd name="T10" fmla="*/ 6 w 8"/>
                    <a:gd name="T11" fmla="*/ 4 h 4"/>
                    <a:gd name="T12" fmla="*/ 8 w 8"/>
                    <a:gd name="T13" fmla="*/ 3 h 4"/>
                    <a:gd name="T14" fmla="*/ 5 w 8"/>
                    <a:gd name="T15" fmla="*/ 1 h 4"/>
                    <a:gd name="T16" fmla="*/ 3 w 8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4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4"/>
                      </a:lnTo>
                      <a:lnTo>
                        <a:pt x="4" y="3"/>
                      </a:lnTo>
                      <a:lnTo>
                        <a:pt x="6" y="4"/>
                      </a:lnTo>
                      <a:lnTo>
                        <a:pt x="8" y="3"/>
                      </a:lnTo>
                      <a:lnTo>
                        <a:pt x="5" y="1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5" name="Freeform 305">
                  <a:extLst>
                    <a:ext uri="{FF2B5EF4-FFF2-40B4-BE49-F238E27FC236}">
                      <a16:creationId xmlns:a16="http://schemas.microsoft.com/office/drawing/2014/main" id="{64747C0F-5AA3-4B19-9776-B0B888AC25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35" y="2946"/>
                  <a:ext cx="5" cy="5"/>
                </a:xfrm>
                <a:custGeom>
                  <a:avLst/>
                  <a:gdLst>
                    <a:gd name="T0" fmla="*/ 2 w 6"/>
                    <a:gd name="T1" fmla="*/ 0 h 6"/>
                    <a:gd name="T2" fmla="*/ 0 w 6"/>
                    <a:gd name="T3" fmla="*/ 2 h 6"/>
                    <a:gd name="T4" fmla="*/ 0 w 6"/>
                    <a:gd name="T5" fmla="*/ 4 h 6"/>
                    <a:gd name="T6" fmla="*/ 2 w 6"/>
                    <a:gd name="T7" fmla="*/ 6 h 6"/>
                    <a:gd name="T8" fmla="*/ 5 w 6"/>
                    <a:gd name="T9" fmla="*/ 5 h 6"/>
                    <a:gd name="T10" fmla="*/ 6 w 6"/>
                    <a:gd name="T11" fmla="*/ 3 h 6"/>
                    <a:gd name="T12" fmla="*/ 2 w 6"/>
                    <a:gd name="T13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6">
                      <a:moveTo>
                        <a:pt x="2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4"/>
                        <a:pt x="0" y="4"/>
                      </a:cubicBezTo>
                      <a:cubicBezTo>
                        <a:pt x="2" y="6"/>
                        <a:pt x="2" y="6"/>
                        <a:pt x="2" y="6"/>
                      </a:cubicBezTo>
                      <a:cubicBezTo>
                        <a:pt x="5" y="5"/>
                        <a:pt x="5" y="5"/>
                        <a:pt x="5" y="5"/>
                      </a:cubicBezTo>
                      <a:cubicBezTo>
                        <a:pt x="6" y="3"/>
                        <a:pt x="6" y="3"/>
                        <a:pt x="6" y="3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6" name="Freeform 306">
                  <a:extLst>
                    <a:ext uri="{FF2B5EF4-FFF2-40B4-BE49-F238E27FC236}">
                      <a16:creationId xmlns:a16="http://schemas.microsoft.com/office/drawing/2014/main" id="{C0683A6F-D3BD-46BD-8182-A6FDC34A75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97" y="2886"/>
                  <a:ext cx="5" cy="4"/>
                </a:xfrm>
                <a:custGeom>
                  <a:avLst/>
                  <a:gdLst>
                    <a:gd name="T0" fmla="*/ 3 w 5"/>
                    <a:gd name="T1" fmla="*/ 0 h 4"/>
                    <a:gd name="T2" fmla="*/ 2 w 5"/>
                    <a:gd name="T3" fmla="*/ 2 h 4"/>
                    <a:gd name="T4" fmla="*/ 0 w 5"/>
                    <a:gd name="T5" fmla="*/ 3 h 4"/>
                    <a:gd name="T6" fmla="*/ 1 w 5"/>
                    <a:gd name="T7" fmla="*/ 4 h 4"/>
                    <a:gd name="T8" fmla="*/ 3 w 5"/>
                    <a:gd name="T9" fmla="*/ 4 h 4"/>
                    <a:gd name="T10" fmla="*/ 5 w 5"/>
                    <a:gd name="T11" fmla="*/ 2 h 4"/>
                    <a:gd name="T12" fmla="*/ 3 w 5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3" y="0"/>
                      </a:moveTo>
                      <a:lnTo>
                        <a:pt x="2" y="2"/>
                      </a:ln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7" name="Freeform 307">
                  <a:extLst>
                    <a:ext uri="{FF2B5EF4-FFF2-40B4-BE49-F238E27FC236}">
                      <a16:creationId xmlns:a16="http://schemas.microsoft.com/office/drawing/2014/main" id="{0E555EF0-48B7-4FF2-A091-66A5D12D69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01" y="2897"/>
                  <a:ext cx="3" cy="6"/>
                </a:xfrm>
                <a:custGeom>
                  <a:avLst/>
                  <a:gdLst>
                    <a:gd name="T0" fmla="*/ 1 w 3"/>
                    <a:gd name="T1" fmla="*/ 0 h 6"/>
                    <a:gd name="T2" fmla="*/ 0 w 3"/>
                    <a:gd name="T3" fmla="*/ 1 h 6"/>
                    <a:gd name="T4" fmla="*/ 2 w 3"/>
                    <a:gd name="T5" fmla="*/ 3 h 6"/>
                    <a:gd name="T6" fmla="*/ 2 w 3"/>
                    <a:gd name="T7" fmla="*/ 6 h 6"/>
                    <a:gd name="T8" fmla="*/ 3 w 3"/>
                    <a:gd name="T9" fmla="*/ 4 h 6"/>
                    <a:gd name="T10" fmla="*/ 3 w 3"/>
                    <a:gd name="T11" fmla="*/ 0 h 6"/>
                    <a:gd name="T12" fmla="*/ 1 w 3"/>
                    <a:gd name="T13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6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2" y="3"/>
                      </a:lnTo>
                      <a:lnTo>
                        <a:pt x="2" y="6"/>
                      </a:lnTo>
                      <a:lnTo>
                        <a:pt x="3" y="4"/>
                      </a:lnTo>
                      <a:lnTo>
                        <a:pt x="3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8" name="Freeform 308">
                  <a:extLst>
                    <a:ext uri="{FF2B5EF4-FFF2-40B4-BE49-F238E27FC236}">
                      <a16:creationId xmlns:a16="http://schemas.microsoft.com/office/drawing/2014/main" id="{A75E7DA2-96DD-45C6-B882-2931E3A9B3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07" y="2856"/>
                  <a:ext cx="139" cy="143"/>
                </a:xfrm>
                <a:custGeom>
                  <a:avLst/>
                  <a:gdLst>
                    <a:gd name="T0" fmla="*/ 114 w 139"/>
                    <a:gd name="T1" fmla="*/ 113 h 143"/>
                    <a:gd name="T2" fmla="*/ 107 w 139"/>
                    <a:gd name="T3" fmla="*/ 104 h 143"/>
                    <a:gd name="T4" fmla="*/ 100 w 139"/>
                    <a:gd name="T5" fmla="*/ 93 h 143"/>
                    <a:gd name="T6" fmla="*/ 91 w 139"/>
                    <a:gd name="T7" fmla="*/ 84 h 143"/>
                    <a:gd name="T8" fmla="*/ 86 w 139"/>
                    <a:gd name="T9" fmla="*/ 72 h 143"/>
                    <a:gd name="T10" fmla="*/ 99 w 139"/>
                    <a:gd name="T11" fmla="*/ 64 h 143"/>
                    <a:gd name="T12" fmla="*/ 87 w 139"/>
                    <a:gd name="T13" fmla="*/ 57 h 143"/>
                    <a:gd name="T14" fmla="*/ 70 w 139"/>
                    <a:gd name="T15" fmla="*/ 48 h 143"/>
                    <a:gd name="T16" fmla="*/ 70 w 139"/>
                    <a:gd name="T17" fmla="*/ 37 h 143"/>
                    <a:gd name="T18" fmla="*/ 61 w 139"/>
                    <a:gd name="T19" fmla="*/ 29 h 143"/>
                    <a:gd name="T20" fmla="*/ 53 w 139"/>
                    <a:gd name="T21" fmla="*/ 21 h 143"/>
                    <a:gd name="T22" fmla="*/ 43 w 139"/>
                    <a:gd name="T23" fmla="*/ 17 h 143"/>
                    <a:gd name="T24" fmla="*/ 24 w 139"/>
                    <a:gd name="T25" fmla="*/ 10 h 143"/>
                    <a:gd name="T26" fmla="*/ 14 w 139"/>
                    <a:gd name="T27" fmla="*/ 5 h 143"/>
                    <a:gd name="T28" fmla="*/ 3 w 139"/>
                    <a:gd name="T29" fmla="*/ 0 h 143"/>
                    <a:gd name="T30" fmla="*/ 1 w 139"/>
                    <a:gd name="T31" fmla="*/ 72 h 143"/>
                    <a:gd name="T32" fmla="*/ 9 w 139"/>
                    <a:gd name="T33" fmla="*/ 114 h 143"/>
                    <a:gd name="T34" fmla="*/ 21 w 139"/>
                    <a:gd name="T35" fmla="*/ 118 h 143"/>
                    <a:gd name="T36" fmla="*/ 31 w 139"/>
                    <a:gd name="T37" fmla="*/ 114 h 143"/>
                    <a:gd name="T38" fmla="*/ 30 w 139"/>
                    <a:gd name="T39" fmla="*/ 105 h 143"/>
                    <a:gd name="T40" fmla="*/ 19 w 139"/>
                    <a:gd name="T41" fmla="*/ 100 h 143"/>
                    <a:gd name="T42" fmla="*/ 13 w 139"/>
                    <a:gd name="T43" fmla="*/ 90 h 143"/>
                    <a:gd name="T44" fmla="*/ 11 w 139"/>
                    <a:gd name="T45" fmla="*/ 86 h 143"/>
                    <a:gd name="T46" fmla="*/ 16 w 139"/>
                    <a:gd name="T47" fmla="*/ 94 h 143"/>
                    <a:gd name="T48" fmla="*/ 23 w 139"/>
                    <a:gd name="T49" fmla="*/ 101 h 143"/>
                    <a:gd name="T50" fmla="*/ 35 w 139"/>
                    <a:gd name="T51" fmla="*/ 100 h 143"/>
                    <a:gd name="T52" fmla="*/ 34 w 139"/>
                    <a:gd name="T53" fmla="*/ 93 h 143"/>
                    <a:gd name="T54" fmla="*/ 35 w 139"/>
                    <a:gd name="T55" fmla="*/ 93 h 143"/>
                    <a:gd name="T56" fmla="*/ 39 w 139"/>
                    <a:gd name="T57" fmla="*/ 92 h 143"/>
                    <a:gd name="T58" fmla="*/ 38 w 139"/>
                    <a:gd name="T59" fmla="*/ 84 h 143"/>
                    <a:gd name="T60" fmla="*/ 44 w 139"/>
                    <a:gd name="T61" fmla="*/ 90 h 143"/>
                    <a:gd name="T62" fmla="*/ 47 w 139"/>
                    <a:gd name="T63" fmla="*/ 86 h 143"/>
                    <a:gd name="T64" fmla="*/ 48 w 139"/>
                    <a:gd name="T65" fmla="*/ 85 h 143"/>
                    <a:gd name="T66" fmla="*/ 54 w 139"/>
                    <a:gd name="T67" fmla="*/ 87 h 143"/>
                    <a:gd name="T68" fmla="*/ 60 w 139"/>
                    <a:gd name="T69" fmla="*/ 86 h 143"/>
                    <a:gd name="T70" fmla="*/ 63 w 139"/>
                    <a:gd name="T71" fmla="*/ 93 h 143"/>
                    <a:gd name="T72" fmla="*/ 76 w 139"/>
                    <a:gd name="T73" fmla="*/ 105 h 143"/>
                    <a:gd name="T74" fmla="*/ 85 w 139"/>
                    <a:gd name="T75" fmla="*/ 117 h 143"/>
                    <a:gd name="T76" fmla="*/ 95 w 139"/>
                    <a:gd name="T77" fmla="*/ 131 h 143"/>
                    <a:gd name="T78" fmla="*/ 104 w 139"/>
                    <a:gd name="T79" fmla="*/ 133 h 143"/>
                    <a:gd name="T80" fmla="*/ 118 w 139"/>
                    <a:gd name="T81" fmla="*/ 134 h 143"/>
                    <a:gd name="T82" fmla="*/ 127 w 139"/>
                    <a:gd name="T83" fmla="*/ 138 h 143"/>
                    <a:gd name="T84" fmla="*/ 132 w 139"/>
                    <a:gd name="T85" fmla="*/ 143 h 143"/>
                    <a:gd name="T86" fmla="*/ 132 w 139"/>
                    <a:gd name="T87" fmla="*/ 138 h 143"/>
                    <a:gd name="T88" fmla="*/ 139 w 139"/>
                    <a:gd name="T89" fmla="*/ 134 h 143"/>
                    <a:gd name="T90" fmla="*/ 123 w 139"/>
                    <a:gd name="T91" fmla="*/ 128 h 143"/>
                    <a:gd name="T92" fmla="*/ 127 w 139"/>
                    <a:gd name="T93" fmla="*/ 124 h 143"/>
                    <a:gd name="T94" fmla="*/ 116 w 139"/>
                    <a:gd name="T95" fmla="*/ 118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39" h="143">
                      <a:moveTo>
                        <a:pt x="118" y="114"/>
                      </a:moveTo>
                      <a:lnTo>
                        <a:pt x="117" y="112"/>
                      </a:lnTo>
                      <a:lnTo>
                        <a:pt x="115" y="112"/>
                      </a:lnTo>
                      <a:lnTo>
                        <a:pt x="114" y="113"/>
                      </a:lnTo>
                      <a:lnTo>
                        <a:pt x="112" y="112"/>
                      </a:lnTo>
                      <a:lnTo>
                        <a:pt x="110" y="112"/>
                      </a:lnTo>
                      <a:lnTo>
                        <a:pt x="108" y="109"/>
                      </a:lnTo>
                      <a:lnTo>
                        <a:pt x="107" y="104"/>
                      </a:lnTo>
                      <a:lnTo>
                        <a:pt x="105" y="103"/>
                      </a:lnTo>
                      <a:lnTo>
                        <a:pt x="103" y="96"/>
                      </a:lnTo>
                      <a:lnTo>
                        <a:pt x="101" y="95"/>
                      </a:lnTo>
                      <a:lnTo>
                        <a:pt x="100" y="93"/>
                      </a:lnTo>
                      <a:lnTo>
                        <a:pt x="97" y="93"/>
                      </a:lnTo>
                      <a:lnTo>
                        <a:pt x="96" y="91"/>
                      </a:lnTo>
                      <a:lnTo>
                        <a:pt x="94" y="87"/>
                      </a:lnTo>
                      <a:lnTo>
                        <a:pt x="91" y="84"/>
                      </a:lnTo>
                      <a:lnTo>
                        <a:pt x="90" y="79"/>
                      </a:lnTo>
                      <a:lnTo>
                        <a:pt x="88" y="78"/>
                      </a:lnTo>
                      <a:lnTo>
                        <a:pt x="86" y="74"/>
                      </a:lnTo>
                      <a:lnTo>
                        <a:pt x="86" y="72"/>
                      </a:lnTo>
                      <a:lnTo>
                        <a:pt x="93" y="73"/>
                      </a:lnTo>
                      <a:lnTo>
                        <a:pt x="97" y="70"/>
                      </a:lnTo>
                      <a:lnTo>
                        <a:pt x="99" y="67"/>
                      </a:lnTo>
                      <a:lnTo>
                        <a:pt x="99" y="64"/>
                      </a:lnTo>
                      <a:lnTo>
                        <a:pt x="95" y="58"/>
                      </a:lnTo>
                      <a:lnTo>
                        <a:pt x="92" y="58"/>
                      </a:lnTo>
                      <a:lnTo>
                        <a:pt x="90" y="58"/>
                      </a:lnTo>
                      <a:lnTo>
                        <a:pt x="87" y="57"/>
                      </a:lnTo>
                      <a:lnTo>
                        <a:pt x="82" y="55"/>
                      </a:lnTo>
                      <a:lnTo>
                        <a:pt x="79" y="52"/>
                      </a:lnTo>
                      <a:lnTo>
                        <a:pt x="77" y="52"/>
                      </a:lnTo>
                      <a:lnTo>
                        <a:pt x="70" y="48"/>
                      </a:lnTo>
                      <a:lnTo>
                        <a:pt x="69" y="46"/>
                      </a:lnTo>
                      <a:lnTo>
                        <a:pt x="71" y="42"/>
                      </a:lnTo>
                      <a:lnTo>
                        <a:pt x="72" y="40"/>
                      </a:lnTo>
                      <a:lnTo>
                        <a:pt x="70" y="37"/>
                      </a:lnTo>
                      <a:lnTo>
                        <a:pt x="65" y="31"/>
                      </a:lnTo>
                      <a:lnTo>
                        <a:pt x="63" y="31"/>
                      </a:lnTo>
                      <a:lnTo>
                        <a:pt x="61" y="31"/>
                      </a:lnTo>
                      <a:lnTo>
                        <a:pt x="61" y="29"/>
                      </a:lnTo>
                      <a:lnTo>
                        <a:pt x="58" y="27"/>
                      </a:lnTo>
                      <a:lnTo>
                        <a:pt x="58" y="24"/>
                      </a:lnTo>
                      <a:lnTo>
                        <a:pt x="54" y="24"/>
                      </a:lnTo>
                      <a:lnTo>
                        <a:pt x="53" y="21"/>
                      </a:lnTo>
                      <a:lnTo>
                        <a:pt x="51" y="21"/>
                      </a:lnTo>
                      <a:lnTo>
                        <a:pt x="49" y="20"/>
                      </a:lnTo>
                      <a:lnTo>
                        <a:pt x="46" y="20"/>
                      </a:lnTo>
                      <a:lnTo>
                        <a:pt x="43" y="17"/>
                      </a:lnTo>
                      <a:lnTo>
                        <a:pt x="40" y="16"/>
                      </a:lnTo>
                      <a:lnTo>
                        <a:pt x="34" y="12"/>
                      </a:lnTo>
                      <a:lnTo>
                        <a:pt x="27" y="11"/>
                      </a:lnTo>
                      <a:lnTo>
                        <a:pt x="24" y="10"/>
                      </a:lnTo>
                      <a:lnTo>
                        <a:pt x="23" y="7"/>
                      </a:lnTo>
                      <a:lnTo>
                        <a:pt x="21" y="7"/>
                      </a:lnTo>
                      <a:lnTo>
                        <a:pt x="20" y="8"/>
                      </a:lnTo>
                      <a:lnTo>
                        <a:pt x="14" y="5"/>
                      </a:lnTo>
                      <a:lnTo>
                        <a:pt x="13" y="3"/>
                      </a:lnTo>
                      <a:lnTo>
                        <a:pt x="10" y="3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2" y="64"/>
                      </a:lnTo>
                      <a:lnTo>
                        <a:pt x="1" y="69"/>
                      </a:lnTo>
                      <a:lnTo>
                        <a:pt x="1" y="71"/>
                      </a:lnTo>
                      <a:lnTo>
                        <a:pt x="1" y="72"/>
                      </a:lnTo>
                      <a:lnTo>
                        <a:pt x="0" y="114"/>
                      </a:lnTo>
                      <a:lnTo>
                        <a:pt x="5" y="114"/>
                      </a:lnTo>
                      <a:lnTo>
                        <a:pt x="6" y="115"/>
                      </a:lnTo>
                      <a:lnTo>
                        <a:pt x="9" y="114"/>
                      </a:lnTo>
                      <a:lnTo>
                        <a:pt x="16" y="114"/>
                      </a:lnTo>
                      <a:lnTo>
                        <a:pt x="19" y="114"/>
                      </a:lnTo>
                      <a:lnTo>
                        <a:pt x="19" y="116"/>
                      </a:lnTo>
                      <a:lnTo>
                        <a:pt x="21" y="118"/>
                      </a:lnTo>
                      <a:lnTo>
                        <a:pt x="23" y="119"/>
                      </a:lnTo>
                      <a:lnTo>
                        <a:pt x="27" y="117"/>
                      </a:lnTo>
                      <a:lnTo>
                        <a:pt x="31" y="115"/>
                      </a:lnTo>
                      <a:lnTo>
                        <a:pt x="31" y="114"/>
                      </a:lnTo>
                      <a:lnTo>
                        <a:pt x="33" y="114"/>
                      </a:lnTo>
                      <a:lnTo>
                        <a:pt x="34" y="113"/>
                      </a:lnTo>
                      <a:lnTo>
                        <a:pt x="34" y="108"/>
                      </a:lnTo>
                      <a:lnTo>
                        <a:pt x="30" y="105"/>
                      </a:lnTo>
                      <a:lnTo>
                        <a:pt x="27" y="103"/>
                      </a:lnTo>
                      <a:lnTo>
                        <a:pt x="23" y="102"/>
                      </a:lnTo>
                      <a:lnTo>
                        <a:pt x="21" y="100"/>
                      </a:lnTo>
                      <a:lnTo>
                        <a:pt x="19" y="100"/>
                      </a:lnTo>
                      <a:lnTo>
                        <a:pt x="18" y="100"/>
                      </a:lnTo>
                      <a:lnTo>
                        <a:pt x="16" y="98"/>
                      </a:lnTo>
                      <a:lnTo>
                        <a:pt x="16" y="94"/>
                      </a:lnTo>
                      <a:lnTo>
                        <a:pt x="13" y="90"/>
                      </a:lnTo>
                      <a:lnTo>
                        <a:pt x="11" y="89"/>
                      </a:lnTo>
                      <a:lnTo>
                        <a:pt x="10" y="86"/>
                      </a:lnTo>
                      <a:lnTo>
                        <a:pt x="9" y="85"/>
                      </a:lnTo>
                      <a:lnTo>
                        <a:pt x="11" y="86"/>
                      </a:lnTo>
                      <a:lnTo>
                        <a:pt x="12" y="89"/>
                      </a:lnTo>
                      <a:lnTo>
                        <a:pt x="13" y="89"/>
                      </a:lnTo>
                      <a:lnTo>
                        <a:pt x="16" y="91"/>
                      </a:lnTo>
                      <a:lnTo>
                        <a:pt x="16" y="94"/>
                      </a:lnTo>
                      <a:lnTo>
                        <a:pt x="17" y="98"/>
                      </a:lnTo>
                      <a:lnTo>
                        <a:pt x="18" y="98"/>
                      </a:lnTo>
                      <a:lnTo>
                        <a:pt x="22" y="99"/>
                      </a:lnTo>
                      <a:lnTo>
                        <a:pt x="23" y="101"/>
                      </a:lnTo>
                      <a:lnTo>
                        <a:pt x="25" y="101"/>
                      </a:lnTo>
                      <a:lnTo>
                        <a:pt x="29" y="101"/>
                      </a:lnTo>
                      <a:lnTo>
                        <a:pt x="33" y="100"/>
                      </a:lnTo>
                      <a:lnTo>
                        <a:pt x="35" y="100"/>
                      </a:lnTo>
                      <a:lnTo>
                        <a:pt x="37" y="99"/>
                      </a:lnTo>
                      <a:lnTo>
                        <a:pt x="37" y="98"/>
                      </a:lnTo>
                      <a:lnTo>
                        <a:pt x="35" y="96"/>
                      </a:lnTo>
                      <a:lnTo>
                        <a:pt x="34" y="93"/>
                      </a:lnTo>
                      <a:lnTo>
                        <a:pt x="32" y="94"/>
                      </a:lnTo>
                      <a:lnTo>
                        <a:pt x="31" y="92"/>
                      </a:lnTo>
                      <a:lnTo>
                        <a:pt x="33" y="93"/>
                      </a:lnTo>
                      <a:lnTo>
                        <a:pt x="35" y="93"/>
                      </a:lnTo>
                      <a:lnTo>
                        <a:pt x="37" y="96"/>
                      </a:lnTo>
                      <a:lnTo>
                        <a:pt x="40" y="96"/>
                      </a:lnTo>
                      <a:lnTo>
                        <a:pt x="39" y="94"/>
                      </a:lnTo>
                      <a:lnTo>
                        <a:pt x="39" y="92"/>
                      </a:lnTo>
                      <a:lnTo>
                        <a:pt x="41" y="90"/>
                      </a:lnTo>
                      <a:lnTo>
                        <a:pt x="41" y="89"/>
                      </a:lnTo>
                      <a:lnTo>
                        <a:pt x="41" y="86"/>
                      </a:lnTo>
                      <a:lnTo>
                        <a:pt x="38" y="84"/>
                      </a:lnTo>
                      <a:lnTo>
                        <a:pt x="38" y="83"/>
                      </a:lnTo>
                      <a:lnTo>
                        <a:pt x="41" y="84"/>
                      </a:lnTo>
                      <a:lnTo>
                        <a:pt x="41" y="86"/>
                      </a:lnTo>
                      <a:lnTo>
                        <a:pt x="44" y="90"/>
                      </a:lnTo>
                      <a:lnTo>
                        <a:pt x="46" y="90"/>
                      </a:lnTo>
                      <a:lnTo>
                        <a:pt x="47" y="88"/>
                      </a:lnTo>
                      <a:lnTo>
                        <a:pt x="46" y="86"/>
                      </a:lnTo>
                      <a:lnTo>
                        <a:pt x="47" y="86"/>
                      </a:lnTo>
                      <a:lnTo>
                        <a:pt x="48" y="90"/>
                      </a:lnTo>
                      <a:lnTo>
                        <a:pt x="48" y="90"/>
                      </a:lnTo>
                      <a:lnTo>
                        <a:pt x="48" y="87"/>
                      </a:lnTo>
                      <a:lnTo>
                        <a:pt x="48" y="85"/>
                      </a:lnTo>
                      <a:lnTo>
                        <a:pt x="48" y="82"/>
                      </a:lnTo>
                      <a:lnTo>
                        <a:pt x="50" y="83"/>
                      </a:lnTo>
                      <a:lnTo>
                        <a:pt x="53" y="85"/>
                      </a:lnTo>
                      <a:lnTo>
                        <a:pt x="54" y="87"/>
                      </a:lnTo>
                      <a:lnTo>
                        <a:pt x="56" y="88"/>
                      </a:lnTo>
                      <a:lnTo>
                        <a:pt x="58" y="87"/>
                      </a:lnTo>
                      <a:lnTo>
                        <a:pt x="58" y="89"/>
                      </a:lnTo>
                      <a:lnTo>
                        <a:pt x="60" y="86"/>
                      </a:lnTo>
                      <a:lnTo>
                        <a:pt x="60" y="89"/>
                      </a:lnTo>
                      <a:lnTo>
                        <a:pt x="60" y="91"/>
                      </a:lnTo>
                      <a:lnTo>
                        <a:pt x="61" y="91"/>
                      </a:lnTo>
                      <a:lnTo>
                        <a:pt x="63" y="93"/>
                      </a:lnTo>
                      <a:lnTo>
                        <a:pt x="71" y="96"/>
                      </a:lnTo>
                      <a:lnTo>
                        <a:pt x="73" y="97"/>
                      </a:lnTo>
                      <a:lnTo>
                        <a:pt x="75" y="100"/>
                      </a:lnTo>
                      <a:lnTo>
                        <a:pt x="76" y="105"/>
                      </a:lnTo>
                      <a:lnTo>
                        <a:pt x="80" y="110"/>
                      </a:lnTo>
                      <a:lnTo>
                        <a:pt x="81" y="113"/>
                      </a:lnTo>
                      <a:lnTo>
                        <a:pt x="83" y="114"/>
                      </a:lnTo>
                      <a:lnTo>
                        <a:pt x="85" y="117"/>
                      </a:lnTo>
                      <a:lnTo>
                        <a:pt x="86" y="118"/>
                      </a:lnTo>
                      <a:lnTo>
                        <a:pt x="92" y="127"/>
                      </a:lnTo>
                      <a:lnTo>
                        <a:pt x="92" y="129"/>
                      </a:lnTo>
                      <a:lnTo>
                        <a:pt x="95" y="131"/>
                      </a:lnTo>
                      <a:lnTo>
                        <a:pt x="99" y="133"/>
                      </a:lnTo>
                      <a:lnTo>
                        <a:pt x="100" y="132"/>
                      </a:lnTo>
                      <a:lnTo>
                        <a:pt x="102" y="132"/>
                      </a:lnTo>
                      <a:lnTo>
                        <a:pt x="104" y="133"/>
                      </a:lnTo>
                      <a:lnTo>
                        <a:pt x="108" y="132"/>
                      </a:lnTo>
                      <a:lnTo>
                        <a:pt x="111" y="134"/>
                      </a:lnTo>
                      <a:lnTo>
                        <a:pt x="113" y="134"/>
                      </a:lnTo>
                      <a:lnTo>
                        <a:pt x="118" y="134"/>
                      </a:lnTo>
                      <a:lnTo>
                        <a:pt x="120" y="136"/>
                      </a:lnTo>
                      <a:lnTo>
                        <a:pt x="123" y="135"/>
                      </a:lnTo>
                      <a:lnTo>
                        <a:pt x="124" y="138"/>
                      </a:lnTo>
                      <a:lnTo>
                        <a:pt x="127" y="138"/>
                      </a:lnTo>
                      <a:lnTo>
                        <a:pt x="128" y="138"/>
                      </a:lnTo>
                      <a:lnTo>
                        <a:pt x="127" y="140"/>
                      </a:lnTo>
                      <a:lnTo>
                        <a:pt x="129" y="141"/>
                      </a:lnTo>
                      <a:lnTo>
                        <a:pt x="132" y="143"/>
                      </a:lnTo>
                      <a:lnTo>
                        <a:pt x="135" y="142"/>
                      </a:lnTo>
                      <a:lnTo>
                        <a:pt x="136" y="140"/>
                      </a:lnTo>
                      <a:lnTo>
                        <a:pt x="133" y="138"/>
                      </a:lnTo>
                      <a:lnTo>
                        <a:pt x="132" y="138"/>
                      </a:lnTo>
                      <a:lnTo>
                        <a:pt x="132" y="136"/>
                      </a:lnTo>
                      <a:lnTo>
                        <a:pt x="134" y="134"/>
                      </a:lnTo>
                      <a:lnTo>
                        <a:pt x="137" y="136"/>
                      </a:lnTo>
                      <a:lnTo>
                        <a:pt x="139" y="134"/>
                      </a:lnTo>
                      <a:lnTo>
                        <a:pt x="134" y="133"/>
                      </a:lnTo>
                      <a:lnTo>
                        <a:pt x="127" y="132"/>
                      </a:lnTo>
                      <a:lnTo>
                        <a:pt x="124" y="129"/>
                      </a:lnTo>
                      <a:lnTo>
                        <a:pt x="123" y="128"/>
                      </a:lnTo>
                      <a:lnTo>
                        <a:pt x="126" y="126"/>
                      </a:lnTo>
                      <a:lnTo>
                        <a:pt x="128" y="126"/>
                      </a:lnTo>
                      <a:lnTo>
                        <a:pt x="129" y="124"/>
                      </a:lnTo>
                      <a:lnTo>
                        <a:pt x="127" y="124"/>
                      </a:lnTo>
                      <a:lnTo>
                        <a:pt x="123" y="124"/>
                      </a:lnTo>
                      <a:lnTo>
                        <a:pt x="118" y="122"/>
                      </a:lnTo>
                      <a:lnTo>
                        <a:pt x="116" y="121"/>
                      </a:lnTo>
                      <a:lnTo>
                        <a:pt x="116" y="118"/>
                      </a:lnTo>
                      <a:lnTo>
                        <a:pt x="117" y="116"/>
                      </a:lnTo>
                      <a:lnTo>
                        <a:pt x="118" y="11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9" name="Freeform 309">
                  <a:extLst>
                    <a:ext uri="{FF2B5EF4-FFF2-40B4-BE49-F238E27FC236}">
                      <a16:creationId xmlns:a16="http://schemas.microsoft.com/office/drawing/2014/main" id="{7A7D496B-3689-4C8D-8041-A1FB19589C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04" y="2904"/>
                  <a:ext cx="18" cy="24"/>
                </a:xfrm>
                <a:custGeom>
                  <a:avLst/>
                  <a:gdLst>
                    <a:gd name="T0" fmla="*/ 10 w 18"/>
                    <a:gd name="T1" fmla="*/ 9 h 24"/>
                    <a:gd name="T2" fmla="*/ 6 w 18"/>
                    <a:gd name="T3" fmla="*/ 7 h 24"/>
                    <a:gd name="T4" fmla="*/ 6 w 18"/>
                    <a:gd name="T5" fmla="*/ 3 h 24"/>
                    <a:gd name="T6" fmla="*/ 4 w 18"/>
                    <a:gd name="T7" fmla="*/ 0 h 24"/>
                    <a:gd name="T8" fmla="*/ 1 w 18"/>
                    <a:gd name="T9" fmla="*/ 0 h 24"/>
                    <a:gd name="T10" fmla="*/ 0 w 18"/>
                    <a:gd name="T11" fmla="*/ 4 h 24"/>
                    <a:gd name="T12" fmla="*/ 1 w 18"/>
                    <a:gd name="T13" fmla="*/ 7 h 24"/>
                    <a:gd name="T14" fmla="*/ 1 w 18"/>
                    <a:gd name="T15" fmla="*/ 12 h 24"/>
                    <a:gd name="T16" fmla="*/ 4 w 18"/>
                    <a:gd name="T17" fmla="*/ 14 h 24"/>
                    <a:gd name="T18" fmla="*/ 6 w 18"/>
                    <a:gd name="T19" fmla="*/ 19 h 24"/>
                    <a:gd name="T20" fmla="*/ 6 w 18"/>
                    <a:gd name="T21" fmla="*/ 21 h 24"/>
                    <a:gd name="T22" fmla="*/ 7 w 18"/>
                    <a:gd name="T23" fmla="*/ 24 h 24"/>
                    <a:gd name="T24" fmla="*/ 10 w 18"/>
                    <a:gd name="T25" fmla="*/ 24 h 24"/>
                    <a:gd name="T26" fmla="*/ 11 w 18"/>
                    <a:gd name="T27" fmla="*/ 24 h 24"/>
                    <a:gd name="T28" fmla="*/ 15 w 18"/>
                    <a:gd name="T29" fmla="*/ 24 h 24"/>
                    <a:gd name="T30" fmla="*/ 16 w 18"/>
                    <a:gd name="T31" fmla="*/ 23 h 24"/>
                    <a:gd name="T32" fmla="*/ 17 w 18"/>
                    <a:gd name="T33" fmla="*/ 22 h 24"/>
                    <a:gd name="T34" fmla="*/ 18 w 18"/>
                    <a:gd name="T35" fmla="*/ 17 h 24"/>
                    <a:gd name="T36" fmla="*/ 15 w 18"/>
                    <a:gd name="T37" fmla="*/ 13 h 24"/>
                    <a:gd name="T38" fmla="*/ 10 w 18"/>
                    <a:gd name="T39" fmla="*/ 9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8" h="24">
                      <a:moveTo>
                        <a:pt x="10" y="9"/>
                      </a:moveTo>
                      <a:lnTo>
                        <a:pt x="6" y="7"/>
                      </a:lnTo>
                      <a:lnTo>
                        <a:pt x="6" y="3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4"/>
                      </a:lnTo>
                      <a:lnTo>
                        <a:pt x="1" y="7"/>
                      </a:lnTo>
                      <a:lnTo>
                        <a:pt x="1" y="12"/>
                      </a:lnTo>
                      <a:lnTo>
                        <a:pt x="4" y="14"/>
                      </a:lnTo>
                      <a:lnTo>
                        <a:pt x="6" y="19"/>
                      </a:lnTo>
                      <a:lnTo>
                        <a:pt x="6" y="21"/>
                      </a:lnTo>
                      <a:lnTo>
                        <a:pt x="7" y="24"/>
                      </a:lnTo>
                      <a:lnTo>
                        <a:pt x="10" y="24"/>
                      </a:lnTo>
                      <a:lnTo>
                        <a:pt x="11" y="24"/>
                      </a:lnTo>
                      <a:lnTo>
                        <a:pt x="15" y="24"/>
                      </a:lnTo>
                      <a:lnTo>
                        <a:pt x="16" y="23"/>
                      </a:lnTo>
                      <a:lnTo>
                        <a:pt x="17" y="22"/>
                      </a:lnTo>
                      <a:lnTo>
                        <a:pt x="18" y="17"/>
                      </a:lnTo>
                      <a:lnTo>
                        <a:pt x="15" y="13"/>
                      </a:lnTo>
                      <a:lnTo>
                        <a:pt x="10" y="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0" name="Freeform 310">
                  <a:extLst>
                    <a:ext uri="{FF2B5EF4-FFF2-40B4-BE49-F238E27FC236}">
                      <a16:creationId xmlns:a16="http://schemas.microsoft.com/office/drawing/2014/main" id="{4F06B47E-088B-452C-A916-41C01CD8CB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91" y="3009"/>
                  <a:ext cx="4" cy="3"/>
                </a:xfrm>
                <a:custGeom>
                  <a:avLst/>
                  <a:gdLst>
                    <a:gd name="T0" fmla="*/ 0 w 4"/>
                    <a:gd name="T1" fmla="*/ 2 h 3"/>
                    <a:gd name="T2" fmla="*/ 0 w 4"/>
                    <a:gd name="T3" fmla="*/ 3 h 3"/>
                    <a:gd name="T4" fmla="*/ 2 w 4"/>
                    <a:gd name="T5" fmla="*/ 3 h 3"/>
                    <a:gd name="T6" fmla="*/ 4 w 4"/>
                    <a:gd name="T7" fmla="*/ 3 h 3"/>
                    <a:gd name="T8" fmla="*/ 4 w 4"/>
                    <a:gd name="T9" fmla="*/ 1 h 3"/>
                    <a:gd name="T10" fmla="*/ 2 w 4"/>
                    <a:gd name="T11" fmla="*/ 0 h 3"/>
                    <a:gd name="T12" fmla="*/ 0 w 4"/>
                    <a:gd name="T13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3">
                      <a:moveTo>
                        <a:pt x="0" y="2"/>
                      </a:move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1" name="Freeform 311">
                  <a:extLst>
                    <a:ext uri="{FF2B5EF4-FFF2-40B4-BE49-F238E27FC236}">
                      <a16:creationId xmlns:a16="http://schemas.microsoft.com/office/drawing/2014/main" id="{E30E1C47-80EF-4AAE-A9D1-68977FD80F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50" y="2854"/>
                  <a:ext cx="33" cy="40"/>
                </a:xfrm>
                <a:custGeom>
                  <a:avLst/>
                  <a:gdLst>
                    <a:gd name="T0" fmla="*/ 31 w 33"/>
                    <a:gd name="T1" fmla="*/ 36 h 40"/>
                    <a:gd name="T2" fmla="*/ 33 w 33"/>
                    <a:gd name="T3" fmla="*/ 33 h 40"/>
                    <a:gd name="T4" fmla="*/ 33 w 33"/>
                    <a:gd name="T5" fmla="*/ 30 h 40"/>
                    <a:gd name="T6" fmla="*/ 31 w 33"/>
                    <a:gd name="T7" fmla="*/ 29 h 40"/>
                    <a:gd name="T8" fmla="*/ 29 w 33"/>
                    <a:gd name="T9" fmla="*/ 22 h 40"/>
                    <a:gd name="T10" fmla="*/ 28 w 33"/>
                    <a:gd name="T11" fmla="*/ 22 h 40"/>
                    <a:gd name="T12" fmla="*/ 26 w 33"/>
                    <a:gd name="T13" fmla="*/ 17 h 40"/>
                    <a:gd name="T14" fmla="*/ 22 w 33"/>
                    <a:gd name="T15" fmla="*/ 16 h 40"/>
                    <a:gd name="T16" fmla="*/ 20 w 33"/>
                    <a:gd name="T17" fmla="*/ 12 h 40"/>
                    <a:gd name="T18" fmla="*/ 16 w 33"/>
                    <a:gd name="T19" fmla="*/ 12 h 40"/>
                    <a:gd name="T20" fmla="*/ 11 w 33"/>
                    <a:gd name="T21" fmla="*/ 6 h 40"/>
                    <a:gd name="T22" fmla="*/ 6 w 33"/>
                    <a:gd name="T23" fmla="*/ 5 h 40"/>
                    <a:gd name="T24" fmla="*/ 0 w 33"/>
                    <a:gd name="T25" fmla="*/ 0 h 40"/>
                    <a:gd name="T26" fmla="*/ 1 w 33"/>
                    <a:gd name="T27" fmla="*/ 2 h 40"/>
                    <a:gd name="T28" fmla="*/ 2 w 33"/>
                    <a:gd name="T29" fmla="*/ 5 h 40"/>
                    <a:gd name="T30" fmla="*/ 12 w 33"/>
                    <a:gd name="T31" fmla="*/ 12 h 40"/>
                    <a:gd name="T32" fmla="*/ 17 w 33"/>
                    <a:gd name="T33" fmla="*/ 15 h 40"/>
                    <a:gd name="T34" fmla="*/ 20 w 33"/>
                    <a:gd name="T35" fmla="*/ 15 h 40"/>
                    <a:gd name="T36" fmla="*/ 26 w 33"/>
                    <a:gd name="T37" fmla="*/ 21 h 40"/>
                    <a:gd name="T38" fmla="*/ 27 w 33"/>
                    <a:gd name="T39" fmla="*/ 30 h 40"/>
                    <a:gd name="T40" fmla="*/ 26 w 33"/>
                    <a:gd name="T41" fmla="*/ 33 h 40"/>
                    <a:gd name="T42" fmla="*/ 27 w 33"/>
                    <a:gd name="T43" fmla="*/ 36 h 40"/>
                    <a:gd name="T44" fmla="*/ 30 w 33"/>
                    <a:gd name="T45" fmla="*/ 40 h 40"/>
                    <a:gd name="T46" fmla="*/ 31 w 33"/>
                    <a:gd name="T47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3" h="40">
                      <a:moveTo>
                        <a:pt x="31" y="36"/>
                      </a:moveTo>
                      <a:lnTo>
                        <a:pt x="33" y="33"/>
                      </a:lnTo>
                      <a:lnTo>
                        <a:pt x="33" y="30"/>
                      </a:lnTo>
                      <a:lnTo>
                        <a:pt x="31" y="29"/>
                      </a:lnTo>
                      <a:lnTo>
                        <a:pt x="29" y="22"/>
                      </a:lnTo>
                      <a:lnTo>
                        <a:pt x="28" y="22"/>
                      </a:lnTo>
                      <a:lnTo>
                        <a:pt x="26" y="17"/>
                      </a:lnTo>
                      <a:lnTo>
                        <a:pt x="22" y="16"/>
                      </a:lnTo>
                      <a:lnTo>
                        <a:pt x="20" y="12"/>
                      </a:lnTo>
                      <a:lnTo>
                        <a:pt x="16" y="12"/>
                      </a:lnTo>
                      <a:lnTo>
                        <a:pt x="11" y="6"/>
                      </a:lnTo>
                      <a:lnTo>
                        <a:pt x="6" y="5"/>
                      </a:ln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2" y="5"/>
                      </a:lnTo>
                      <a:lnTo>
                        <a:pt x="12" y="12"/>
                      </a:lnTo>
                      <a:lnTo>
                        <a:pt x="17" y="15"/>
                      </a:lnTo>
                      <a:lnTo>
                        <a:pt x="20" y="15"/>
                      </a:lnTo>
                      <a:lnTo>
                        <a:pt x="26" y="21"/>
                      </a:lnTo>
                      <a:lnTo>
                        <a:pt x="27" y="30"/>
                      </a:lnTo>
                      <a:lnTo>
                        <a:pt x="26" y="33"/>
                      </a:lnTo>
                      <a:lnTo>
                        <a:pt x="27" y="36"/>
                      </a:lnTo>
                      <a:lnTo>
                        <a:pt x="30" y="40"/>
                      </a:lnTo>
                      <a:lnTo>
                        <a:pt x="31" y="3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2" name="Freeform 312">
                  <a:extLst>
                    <a:ext uri="{FF2B5EF4-FFF2-40B4-BE49-F238E27FC236}">
                      <a16:creationId xmlns:a16="http://schemas.microsoft.com/office/drawing/2014/main" id="{ED51631E-82D5-41BF-B665-22C38908FE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72" y="2967"/>
                  <a:ext cx="4" cy="6"/>
                </a:xfrm>
                <a:custGeom>
                  <a:avLst/>
                  <a:gdLst>
                    <a:gd name="T0" fmla="*/ 0 w 4"/>
                    <a:gd name="T1" fmla="*/ 0 h 6"/>
                    <a:gd name="T2" fmla="*/ 0 w 4"/>
                    <a:gd name="T3" fmla="*/ 3 h 6"/>
                    <a:gd name="T4" fmla="*/ 0 w 4"/>
                    <a:gd name="T5" fmla="*/ 4 h 6"/>
                    <a:gd name="T6" fmla="*/ 1 w 4"/>
                    <a:gd name="T7" fmla="*/ 4 h 6"/>
                    <a:gd name="T8" fmla="*/ 4 w 4"/>
                    <a:gd name="T9" fmla="*/ 6 h 6"/>
                    <a:gd name="T10" fmla="*/ 4 w 4"/>
                    <a:gd name="T11" fmla="*/ 4 h 6"/>
                    <a:gd name="T12" fmla="*/ 0 w 4"/>
                    <a:gd name="T13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6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3" name="Freeform 313">
                  <a:extLst>
                    <a:ext uri="{FF2B5EF4-FFF2-40B4-BE49-F238E27FC236}">
                      <a16:creationId xmlns:a16="http://schemas.microsoft.com/office/drawing/2014/main" id="{8BFF3BEC-AF5D-420E-AFD3-532B335952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79" y="3011"/>
                  <a:ext cx="8" cy="5"/>
                </a:xfrm>
                <a:custGeom>
                  <a:avLst/>
                  <a:gdLst>
                    <a:gd name="T0" fmla="*/ 7 w 8"/>
                    <a:gd name="T1" fmla="*/ 3 h 5"/>
                    <a:gd name="T2" fmla="*/ 5 w 8"/>
                    <a:gd name="T3" fmla="*/ 3 h 5"/>
                    <a:gd name="T4" fmla="*/ 2 w 8"/>
                    <a:gd name="T5" fmla="*/ 0 h 5"/>
                    <a:gd name="T6" fmla="*/ 0 w 8"/>
                    <a:gd name="T7" fmla="*/ 0 h 5"/>
                    <a:gd name="T8" fmla="*/ 4 w 8"/>
                    <a:gd name="T9" fmla="*/ 4 h 5"/>
                    <a:gd name="T10" fmla="*/ 5 w 8"/>
                    <a:gd name="T11" fmla="*/ 4 h 5"/>
                    <a:gd name="T12" fmla="*/ 7 w 8"/>
                    <a:gd name="T13" fmla="*/ 5 h 5"/>
                    <a:gd name="T14" fmla="*/ 8 w 8"/>
                    <a:gd name="T15" fmla="*/ 4 h 5"/>
                    <a:gd name="T16" fmla="*/ 7 w 8"/>
                    <a:gd name="T1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5">
                      <a:moveTo>
                        <a:pt x="7" y="3"/>
                      </a:moveTo>
                      <a:lnTo>
                        <a:pt x="5" y="3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7" y="5"/>
                      </a:lnTo>
                      <a:lnTo>
                        <a:pt x="8" y="4"/>
                      </a:lnTo>
                      <a:lnTo>
                        <a:pt x="7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4" name="Freeform 314">
                  <a:extLst>
                    <a:ext uri="{FF2B5EF4-FFF2-40B4-BE49-F238E27FC236}">
                      <a16:creationId xmlns:a16="http://schemas.microsoft.com/office/drawing/2014/main" id="{7740DBE9-88CA-4229-AE85-0B4D3ECF40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39" y="2852"/>
                  <a:ext cx="6" cy="6"/>
                </a:xfrm>
                <a:custGeom>
                  <a:avLst/>
                  <a:gdLst>
                    <a:gd name="T0" fmla="*/ 6 w 6"/>
                    <a:gd name="T1" fmla="*/ 1 h 6"/>
                    <a:gd name="T2" fmla="*/ 3 w 6"/>
                    <a:gd name="T3" fmla="*/ 0 h 6"/>
                    <a:gd name="T4" fmla="*/ 0 w 6"/>
                    <a:gd name="T5" fmla="*/ 1 h 6"/>
                    <a:gd name="T6" fmla="*/ 0 w 6"/>
                    <a:gd name="T7" fmla="*/ 4 h 6"/>
                    <a:gd name="T8" fmla="*/ 2 w 6"/>
                    <a:gd name="T9" fmla="*/ 6 h 6"/>
                    <a:gd name="T10" fmla="*/ 6 w 6"/>
                    <a:gd name="T11" fmla="*/ 5 h 6"/>
                    <a:gd name="T12" fmla="*/ 6 w 6"/>
                    <a:gd name="T13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6">
                      <a:moveTo>
                        <a:pt x="6" y="1"/>
                      </a:move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2" y="6"/>
                      </a:lnTo>
                      <a:lnTo>
                        <a:pt x="6" y="5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5" name="Freeform 315">
                  <a:extLst>
                    <a:ext uri="{FF2B5EF4-FFF2-40B4-BE49-F238E27FC236}">
                      <a16:creationId xmlns:a16="http://schemas.microsoft.com/office/drawing/2014/main" id="{BEDC2A24-C2E5-4582-9705-C3692831BE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5" y="2945"/>
                  <a:ext cx="1" cy="2"/>
                </a:xfrm>
                <a:custGeom>
                  <a:avLst/>
                  <a:gdLst>
                    <a:gd name="T0" fmla="*/ 0 w 1"/>
                    <a:gd name="T1" fmla="*/ 1 h 3"/>
                    <a:gd name="T2" fmla="*/ 1 w 1"/>
                    <a:gd name="T3" fmla="*/ 3 h 3"/>
                    <a:gd name="T4" fmla="*/ 1 w 1"/>
                    <a:gd name="T5" fmla="*/ 0 h 3"/>
                    <a:gd name="T6" fmla="*/ 0 w 1"/>
                    <a:gd name="T7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3">
                      <a:moveTo>
                        <a:pt x="0" y="1"/>
                      </a:move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" y="3"/>
                        <a:pt x="1" y="0"/>
                        <a:pt x="1" y="0"/>
                      </a:cubicBez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6" name="Freeform 316">
                  <a:extLst>
                    <a:ext uri="{FF2B5EF4-FFF2-40B4-BE49-F238E27FC236}">
                      <a16:creationId xmlns:a16="http://schemas.microsoft.com/office/drawing/2014/main" id="{DA140D33-B94C-45A1-A04E-EDDEB7C2CF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38" y="2893"/>
                  <a:ext cx="4" cy="5"/>
                </a:xfrm>
                <a:custGeom>
                  <a:avLst/>
                  <a:gdLst>
                    <a:gd name="T0" fmla="*/ 0 w 4"/>
                    <a:gd name="T1" fmla="*/ 1 h 5"/>
                    <a:gd name="T2" fmla="*/ 0 w 4"/>
                    <a:gd name="T3" fmla="*/ 2 h 5"/>
                    <a:gd name="T4" fmla="*/ 3 w 4"/>
                    <a:gd name="T5" fmla="*/ 5 h 5"/>
                    <a:gd name="T6" fmla="*/ 4 w 4"/>
                    <a:gd name="T7" fmla="*/ 4 h 5"/>
                    <a:gd name="T8" fmla="*/ 2 w 4"/>
                    <a:gd name="T9" fmla="*/ 0 h 5"/>
                    <a:gd name="T10" fmla="*/ 0 w 4"/>
                    <a:gd name="T11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5">
                      <a:moveTo>
                        <a:pt x="0" y="1"/>
                      </a:moveTo>
                      <a:lnTo>
                        <a:pt x="0" y="2"/>
                      </a:lnTo>
                      <a:lnTo>
                        <a:pt x="3" y="5"/>
                      </a:lnTo>
                      <a:lnTo>
                        <a:pt x="4" y="4"/>
                      </a:lnTo>
                      <a:lnTo>
                        <a:pt x="2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7" name="Freeform 317">
                  <a:extLst>
                    <a:ext uri="{FF2B5EF4-FFF2-40B4-BE49-F238E27FC236}">
                      <a16:creationId xmlns:a16="http://schemas.microsoft.com/office/drawing/2014/main" id="{EEBF8619-7D25-415F-BC99-60EEF97A45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51" y="2956"/>
                  <a:ext cx="2" cy="7"/>
                </a:xfrm>
                <a:custGeom>
                  <a:avLst/>
                  <a:gdLst>
                    <a:gd name="T0" fmla="*/ 2 w 2"/>
                    <a:gd name="T1" fmla="*/ 7 h 7"/>
                    <a:gd name="T2" fmla="*/ 2 w 2"/>
                    <a:gd name="T3" fmla="*/ 5 h 7"/>
                    <a:gd name="T4" fmla="*/ 2 w 2"/>
                    <a:gd name="T5" fmla="*/ 0 h 7"/>
                    <a:gd name="T6" fmla="*/ 0 w 2"/>
                    <a:gd name="T7" fmla="*/ 0 h 7"/>
                    <a:gd name="T8" fmla="*/ 0 w 2"/>
                    <a:gd name="T9" fmla="*/ 2 h 7"/>
                    <a:gd name="T10" fmla="*/ 0 w 2"/>
                    <a:gd name="T11" fmla="*/ 4 h 7"/>
                    <a:gd name="T12" fmla="*/ 1 w 2"/>
                    <a:gd name="T13" fmla="*/ 4 h 7"/>
                    <a:gd name="T14" fmla="*/ 1 w 2"/>
                    <a:gd name="T15" fmla="*/ 7 h 7"/>
                    <a:gd name="T16" fmla="*/ 1 w 2"/>
                    <a:gd name="T17" fmla="*/ 7 h 7"/>
                    <a:gd name="T18" fmla="*/ 2 w 2"/>
                    <a:gd name="T1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" h="7">
                      <a:moveTo>
                        <a:pt x="2" y="7"/>
                      </a:moveTo>
                      <a:lnTo>
                        <a:pt x="2" y="5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7"/>
                      </a:lnTo>
                      <a:lnTo>
                        <a:pt x="1" y="7"/>
                      </a:lnTo>
                      <a:lnTo>
                        <a:pt x="2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8" name="Freeform 318">
                  <a:extLst>
                    <a:ext uri="{FF2B5EF4-FFF2-40B4-BE49-F238E27FC236}">
                      <a16:creationId xmlns:a16="http://schemas.microsoft.com/office/drawing/2014/main" id="{0C1ABAA9-08BC-4CE5-BD85-2585804309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79" y="2889"/>
                  <a:ext cx="3" cy="4"/>
                </a:xfrm>
                <a:custGeom>
                  <a:avLst/>
                  <a:gdLst>
                    <a:gd name="T0" fmla="*/ 3 w 3"/>
                    <a:gd name="T1" fmla="*/ 0 h 4"/>
                    <a:gd name="T2" fmla="*/ 0 w 3"/>
                    <a:gd name="T3" fmla="*/ 1 h 4"/>
                    <a:gd name="T4" fmla="*/ 1 w 3"/>
                    <a:gd name="T5" fmla="*/ 4 h 4"/>
                    <a:gd name="T6" fmla="*/ 3 w 3"/>
                    <a:gd name="T7" fmla="*/ 2 h 4"/>
                    <a:gd name="T8" fmla="*/ 3 w 3"/>
                    <a:gd name="T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1" y="4"/>
                      </a:lnTo>
                      <a:lnTo>
                        <a:pt x="3" y="2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9" name="Freeform 319">
                  <a:extLst>
                    <a:ext uri="{FF2B5EF4-FFF2-40B4-BE49-F238E27FC236}">
                      <a16:creationId xmlns:a16="http://schemas.microsoft.com/office/drawing/2014/main" id="{B1ECF328-ABC9-425C-B200-62857C7390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31" y="2828"/>
                  <a:ext cx="3" cy="6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4 h 6"/>
                    <a:gd name="T4" fmla="*/ 2 w 3"/>
                    <a:gd name="T5" fmla="*/ 1 h 6"/>
                    <a:gd name="T6" fmla="*/ 0 w 3"/>
                    <a:gd name="T7" fmla="*/ 0 h 6"/>
                    <a:gd name="T8" fmla="*/ 0 w 3"/>
                    <a:gd name="T9" fmla="*/ 3 h 6"/>
                    <a:gd name="T10" fmla="*/ 3 w 3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4"/>
                      </a:ln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0" name="Freeform 320">
                  <a:extLst>
                    <a:ext uri="{FF2B5EF4-FFF2-40B4-BE49-F238E27FC236}">
                      <a16:creationId xmlns:a16="http://schemas.microsoft.com/office/drawing/2014/main" id="{4C87029A-07E8-46AB-9925-670E51204F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90" y="2842"/>
                  <a:ext cx="11" cy="6"/>
                </a:xfrm>
                <a:custGeom>
                  <a:avLst/>
                  <a:gdLst>
                    <a:gd name="T0" fmla="*/ 12 w 14"/>
                    <a:gd name="T1" fmla="*/ 1 h 7"/>
                    <a:gd name="T2" fmla="*/ 9 w 14"/>
                    <a:gd name="T3" fmla="*/ 1 h 7"/>
                    <a:gd name="T4" fmla="*/ 7 w 14"/>
                    <a:gd name="T5" fmla="*/ 0 h 7"/>
                    <a:gd name="T6" fmla="*/ 4 w 14"/>
                    <a:gd name="T7" fmla="*/ 1 h 7"/>
                    <a:gd name="T8" fmla="*/ 1 w 14"/>
                    <a:gd name="T9" fmla="*/ 0 h 7"/>
                    <a:gd name="T10" fmla="*/ 0 w 14"/>
                    <a:gd name="T11" fmla="*/ 1 h 7"/>
                    <a:gd name="T12" fmla="*/ 1 w 14"/>
                    <a:gd name="T13" fmla="*/ 5 h 7"/>
                    <a:gd name="T14" fmla="*/ 4 w 14"/>
                    <a:gd name="T15" fmla="*/ 5 h 7"/>
                    <a:gd name="T16" fmla="*/ 6 w 14"/>
                    <a:gd name="T17" fmla="*/ 7 h 7"/>
                    <a:gd name="T18" fmla="*/ 10 w 14"/>
                    <a:gd name="T19" fmla="*/ 7 h 7"/>
                    <a:gd name="T20" fmla="*/ 14 w 14"/>
                    <a:gd name="T21" fmla="*/ 3 h 7"/>
                    <a:gd name="T22" fmla="*/ 12 w 14"/>
                    <a:gd name="T23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4" h="7">
                      <a:moveTo>
                        <a:pt x="12" y="1"/>
                      </a:moveTo>
                      <a:cubicBezTo>
                        <a:pt x="9" y="1"/>
                        <a:pt x="9" y="1"/>
                        <a:pt x="9" y="1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5"/>
                        <a:pt x="1" y="5"/>
                      </a:cubicBez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14" y="3"/>
                        <a:pt x="14" y="3"/>
                        <a:pt x="14" y="3"/>
                      </a:cubicBezTo>
                      <a:lnTo>
                        <a:pt x="12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1" name="Freeform 321">
                  <a:extLst>
                    <a:ext uri="{FF2B5EF4-FFF2-40B4-BE49-F238E27FC236}">
                      <a16:creationId xmlns:a16="http://schemas.microsoft.com/office/drawing/2014/main" id="{AA4E79BD-A8FD-4D15-B1C5-C973462386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45" y="2981"/>
                  <a:ext cx="8" cy="8"/>
                </a:xfrm>
                <a:custGeom>
                  <a:avLst/>
                  <a:gdLst>
                    <a:gd name="T0" fmla="*/ 5 w 8"/>
                    <a:gd name="T1" fmla="*/ 3 h 8"/>
                    <a:gd name="T2" fmla="*/ 3 w 8"/>
                    <a:gd name="T3" fmla="*/ 3 h 8"/>
                    <a:gd name="T4" fmla="*/ 3 w 8"/>
                    <a:gd name="T5" fmla="*/ 3 h 8"/>
                    <a:gd name="T6" fmla="*/ 3 w 8"/>
                    <a:gd name="T7" fmla="*/ 1 h 8"/>
                    <a:gd name="T8" fmla="*/ 0 w 8"/>
                    <a:gd name="T9" fmla="*/ 0 h 8"/>
                    <a:gd name="T10" fmla="*/ 0 w 8"/>
                    <a:gd name="T11" fmla="*/ 1 h 8"/>
                    <a:gd name="T12" fmla="*/ 2 w 8"/>
                    <a:gd name="T13" fmla="*/ 2 h 8"/>
                    <a:gd name="T14" fmla="*/ 3 w 8"/>
                    <a:gd name="T15" fmla="*/ 5 h 8"/>
                    <a:gd name="T16" fmla="*/ 3 w 8"/>
                    <a:gd name="T17" fmla="*/ 5 h 8"/>
                    <a:gd name="T18" fmla="*/ 3 w 8"/>
                    <a:gd name="T19" fmla="*/ 7 h 8"/>
                    <a:gd name="T20" fmla="*/ 5 w 8"/>
                    <a:gd name="T21" fmla="*/ 8 h 8"/>
                    <a:gd name="T22" fmla="*/ 6 w 8"/>
                    <a:gd name="T23" fmla="*/ 7 h 8"/>
                    <a:gd name="T24" fmla="*/ 7 w 8"/>
                    <a:gd name="T25" fmla="*/ 6 h 8"/>
                    <a:gd name="T26" fmla="*/ 8 w 8"/>
                    <a:gd name="T27" fmla="*/ 5 h 8"/>
                    <a:gd name="T28" fmla="*/ 8 w 8"/>
                    <a:gd name="T29" fmla="*/ 3 h 8"/>
                    <a:gd name="T30" fmla="*/ 7 w 8"/>
                    <a:gd name="T31" fmla="*/ 3 h 8"/>
                    <a:gd name="T32" fmla="*/ 5 w 8"/>
                    <a:gd name="T33" fmla="*/ 5 h 8"/>
                    <a:gd name="T34" fmla="*/ 5 w 8"/>
                    <a:gd name="T35" fmla="*/ 3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8" h="8">
                      <a:moveTo>
                        <a:pt x="5" y="3"/>
                      </a:move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2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7"/>
                      </a:lnTo>
                      <a:lnTo>
                        <a:pt x="5" y="8"/>
                      </a:lnTo>
                      <a:lnTo>
                        <a:pt x="6" y="7"/>
                      </a:lnTo>
                      <a:lnTo>
                        <a:pt x="7" y="6"/>
                      </a:lnTo>
                      <a:lnTo>
                        <a:pt x="8" y="5"/>
                      </a:lnTo>
                      <a:lnTo>
                        <a:pt x="8" y="3"/>
                      </a:lnTo>
                      <a:lnTo>
                        <a:pt x="7" y="3"/>
                      </a:lnTo>
                      <a:lnTo>
                        <a:pt x="5" y="5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2" name="Freeform 322">
                  <a:extLst>
                    <a:ext uri="{FF2B5EF4-FFF2-40B4-BE49-F238E27FC236}">
                      <a16:creationId xmlns:a16="http://schemas.microsoft.com/office/drawing/2014/main" id="{56B93AB8-AEE0-44E1-81AC-E6F96252A4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05" y="2904"/>
                  <a:ext cx="5" cy="7"/>
                </a:xfrm>
                <a:custGeom>
                  <a:avLst/>
                  <a:gdLst>
                    <a:gd name="T0" fmla="*/ 4 w 5"/>
                    <a:gd name="T1" fmla="*/ 7 h 7"/>
                    <a:gd name="T2" fmla="*/ 5 w 5"/>
                    <a:gd name="T3" fmla="*/ 6 h 7"/>
                    <a:gd name="T4" fmla="*/ 4 w 5"/>
                    <a:gd name="T5" fmla="*/ 3 h 7"/>
                    <a:gd name="T6" fmla="*/ 1 w 5"/>
                    <a:gd name="T7" fmla="*/ 0 h 7"/>
                    <a:gd name="T8" fmla="*/ 0 w 5"/>
                    <a:gd name="T9" fmla="*/ 3 h 7"/>
                    <a:gd name="T10" fmla="*/ 1 w 5"/>
                    <a:gd name="T11" fmla="*/ 5 h 7"/>
                    <a:gd name="T12" fmla="*/ 4 w 5"/>
                    <a:gd name="T1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7">
                      <a:moveTo>
                        <a:pt x="4" y="7"/>
                      </a:moveTo>
                      <a:lnTo>
                        <a:pt x="5" y="6"/>
                      </a:lnTo>
                      <a:lnTo>
                        <a:pt x="4" y="3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1" y="5"/>
                      </a:lnTo>
                      <a:lnTo>
                        <a:pt x="4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3" name="Freeform 323">
                  <a:extLst>
                    <a:ext uri="{FF2B5EF4-FFF2-40B4-BE49-F238E27FC236}">
                      <a16:creationId xmlns:a16="http://schemas.microsoft.com/office/drawing/2014/main" id="{825C9E8B-BB88-44A6-8636-2965C56DEA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37" y="2972"/>
                  <a:ext cx="4" cy="6"/>
                </a:xfrm>
                <a:custGeom>
                  <a:avLst/>
                  <a:gdLst>
                    <a:gd name="T0" fmla="*/ 3 w 4"/>
                    <a:gd name="T1" fmla="*/ 5 h 6"/>
                    <a:gd name="T2" fmla="*/ 4 w 4"/>
                    <a:gd name="T3" fmla="*/ 6 h 6"/>
                    <a:gd name="T4" fmla="*/ 4 w 4"/>
                    <a:gd name="T5" fmla="*/ 4 h 6"/>
                    <a:gd name="T6" fmla="*/ 3 w 4"/>
                    <a:gd name="T7" fmla="*/ 1 h 6"/>
                    <a:gd name="T8" fmla="*/ 1 w 4"/>
                    <a:gd name="T9" fmla="*/ 0 h 6"/>
                    <a:gd name="T10" fmla="*/ 0 w 4"/>
                    <a:gd name="T11" fmla="*/ 1 h 6"/>
                    <a:gd name="T12" fmla="*/ 1 w 4"/>
                    <a:gd name="T13" fmla="*/ 4 h 6"/>
                    <a:gd name="T14" fmla="*/ 2 w 4"/>
                    <a:gd name="T15" fmla="*/ 4 h 6"/>
                    <a:gd name="T16" fmla="*/ 3 w 4"/>
                    <a:gd name="T1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6">
                      <a:moveTo>
                        <a:pt x="3" y="5"/>
                      </a:move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3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4" name="Freeform 324">
                  <a:extLst>
                    <a:ext uri="{FF2B5EF4-FFF2-40B4-BE49-F238E27FC236}">
                      <a16:creationId xmlns:a16="http://schemas.microsoft.com/office/drawing/2014/main" id="{1722A77D-D9C4-4181-B143-C6C5F834D4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43" y="2976"/>
                  <a:ext cx="5" cy="4"/>
                </a:xfrm>
                <a:custGeom>
                  <a:avLst/>
                  <a:gdLst>
                    <a:gd name="T0" fmla="*/ 3 w 5"/>
                    <a:gd name="T1" fmla="*/ 0 h 4"/>
                    <a:gd name="T2" fmla="*/ 2 w 5"/>
                    <a:gd name="T3" fmla="*/ 0 h 4"/>
                    <a:gd name="T4" fmla="*/ 1 w 5"/>
                    <a:gd name="T5" fmla="*/ 0 h 4"/>
                    <a:gd name="T6" fmla="*/ 0 w 5"/>
                    <a:gd name="T7" fmla="*/ 0 h 4"/>
                    <a:gd name="T8" fmla="*/ 1 w 5"/>
                    <a:gd name="T9" fmla="*/ 3 h 4"/>
                    <a:gd name="T10" fmla="*/ 2 w 5"/>
                    <a:gd name="T11" fmla="*/ 4 h 4"/>
                    <a:gd name="T12" fmla="*/ 4 w 5"/>
                    <a:gd name="T13" fmla="*/ 4 h 4"/>
                    <a:gd name="T14" fmla="*/ 4 w 5"/>
                    <a:gd name="T15" fmla="*/ 4 h 4"/>
                    <a:gd name="T16" fmla="*/ 5 w 5"/>
                    <a:gd name="T17" fmla="*/ 4 h 4"/>
                    <a:gd name="T18" fmla="*/ 4 w 5"/>
                    <a:gd name="T19" fmla="*/ 2 h 4"/>
                    <a:gd name="T20" fmla="*/ 3 w 5"/>
                    <a:gd name="T21" fmla="*/ 2 h 4"/>
                    <a:gd name="T22" fmla="*/ 4 w 5"/>
                    <a:gd name="T23" fmla="*/ 1 h 4"/>
                    <a:gd name="T24" fmla="*/ 3 w 5"/>
                    <a:gd name="T2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" h="4">
                      <a:moveTo>
                        <a:pt x="3" y="0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3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4" y="1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5" name="Freeform 325">
                  <a:extLst>
                    <a:ext uri="{FF2B5EF4-FFF2-40B4-BE49-F238E27FC236}">
                      <a16:creationId xmlns:a16="http://schemas.microsoft.com/office/drawing/2014/main" id="{57A4F3DC-4FDC-4C19-8E08-C7C59B0D16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96" y="2900"/>
                  <a:ext cx="2" cy="5"/>
                </a:xfrm>
                <a:custGeom>
                  <a:avLst/>
                  <a:gdLst>
                    <a:gd name="T0" fmla="*/ 0 w 2"/>
                    <a:gd name="T1" fmla="*/ 3 h 5"/>
                    <a:gd name="T2" fmla="*/ 0 w 2"/>
                    <a:gd name="T3" fmla="*/ 5 h 5"/>
                    <a:gd name="T4" fmla="*/ 2 w 2"/>
                    <a:gd name="T5" fmla="*/ 4 h 5"/>
                    <a:gd name="T6" fmla="*/ 2 w 2"/>
                    <a:gd name="T7" fmla="*/ 1 h 5"/>
                    <a:gd name="T8" fmla="*/ 0 w 2"/>
                    <a:gd name="T9" fmla="*/ 0 h 5"/>
                    <a:gd name="T10" fmla="*/ 0 w 2"/>
                    <a:gd name="T11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5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2" y="4"/>
                      </a:ln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6" name="Freeform 326">
                  <a:extLst>
                    <a:ext uri="{FF2B5EF4-FFF2-40B4-BE49-F238E27FC236}">
                      <a16:creationId xmlns:a16="http://schemas.microsoft.com/office/drawing/2014/main" id="{9D2FFD9F-EB3A-405C-8EEB-D333A66125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13" y="2882"/>
                  <a:ext cx="60" cy="38"/>
                </a:xfrm>
                <a:custGeom>
                  <a:avLst/>
                  <a:gdLst>
                    <a:gd name="T0" fmla="*/ 56 w 60"/>
                    <a:gd name="T1" fmla="*/ 21 h 38"/>
                    <a:gd name="T2" fmla="*/ 53 w 60"/>
                    <a:gd name="T3" fmla="*/ 17 h 38"/>
                    <a:gd name="T4" fmla="*/ 53 w 60"/>
                    <a:gd name="T5" fmla="*/ 15 h 38"/>
                    <a:gd name="T6" fmla="*/ 55 w 60"/>
                    <a:gd name="T7" fmla="*/ 13 h 38"/>
                    <a:gd name="T8" fmla="*/ 56 w 60"/>
                    <a:gd name="T9" fmla="*/ 15 h 38"/>
                    <a:gd name="T10" fmla="*/ 60 w 60"/>
                    <a:gd name="T11" fmla="*/ 11 h 38"/>
                    <a:gd name="T12" fmla="*/ 59 w 60"/>
                    <a:gd name="T13" fmla="*/ 3 h 38"/>
                    <a:gd name="T14" fmla="*/ 56 w 60"/>
                    <a:gd name="T15" fmla="*/ 0 h 38"/>
                    <a:gd name="T16" fmla="*/ 55 w 60"/>
                    <a:gd name="T17" fmla="*/ 1 h 38"/>
                    <a:gd name="T18" fmla="*/ 54 w 60"/>
                    <a:gd name="T19" fmla="*/ 2 h 38"/>
                    <a:gd name="T20" fmla="*/ 52 w 60"/>
                    <a:gd name="T21" fmla="*/ 1 h 38"/>
                    <a:gd name="T22" fmla="*/ 49 w 60"/>
                    <a:gd name="T23" fmla="*/ 1 h 38"/>
                    <a:gd name="T24" fmla="*/ 47 w 60"/>
                    <a:gd name="T25" fmla="*/ 3 h 38"/>
                    <a:gd name="T26" fmla="*/ 49 w 60"/>
                    <a:gd name="T27" fmla="*/ 11 h 38"/>
                    <a:gd name="T28" fmla="*/ 49 w 60"/>
                    <a:gd name="T29" fmla="*/ 12 h 38"/>
                    <a:gd name="T30" fmla="*/ 49 w 60"/>
                    <a:gd name="T31" fmla="*/ 14 h 38"/>
                    <a:gd name="T32" fmla="*/ 45 w 60"/>
                    <a:gd name="T33" fmla="*/ 14 h 38"/>
                    <a:gd name="T34" fmla="*/ 40 w 60"/>
                    <a:gd name="T35" fmla="*/ 19 h 38"/>
                    <a:gd name="T36" fmla="*/ 39 w 60"/>
                    <a:gd name="T37" fmla="*/ 22 h 38"/>
                    <a:gd name="T38" fmla="*/ 38 w 60"/>
                    <a:gd name="T39" fmla="*/ 24 h 38"/>
                    <a:gd name="T40" fmla="*/ 36 w 60"/>
                    <a:gd name="T41" fmla="*/ 23 h 38"/>
                    <a:gd name="T42" fmla="*/ 34 w 60"/>
                    <a:gd name="T43" fmla="*/ 25 h 38"/>
                    <a:gd name="T44" fmla="*/ 32 w 60"/>
                    <a:gd name="T45" fmla="*/ 22 h 38"/>
                    <a:gd name="T46" fmla="*/ 30 w 60"/>
                    <a:gd name="T47" fmla="*/ 22 h 38"/>
                    <a:gd name="T48" fmla="*/ 28 w 60"/>
                    <a:gd name="T49" fmla="*/ 26 h 38"/>
                    <a:gd name="T50" fmla="*/ 26 w 60"/>
                    <a:gd name="T51" fmla="*/ 25 h 38"/>
                    <a:gd name="T52" fmla="*/ 25 w 60"/>
                    <a:gd name="T53" fmla="*/ 21 h 38"/>
                    <a:gd name="T54" fmla="*/ 26 w 60"/>
                    <a:gd name="T55" fmla="*/ 18 h 38"/>
                    <a:gd name="T56" fmla="*/ 24 w 60"/>
                    <a:gd name="T57" fmla="*/ 17 h 38"/>
                    <a:gd name="T58" fmla="*/ 23 w 60"/>
                    <a:gd name="T59" fmla="*/ 19 h 38"/>
                    <a:gd name="T60" fmla="*/ 23 w 60"/>
                    <a:gd name="T61" fmla="*/ 21 h 38"/>
                    <a:gd name="T62" fmla="*/ 21 w 60"/>
                    <a:gd name="T63" fmla="*/ 22 h 38"/>
                    <a:gd name="T64" fmla="*/ 18 w 60"/>
                    <a:gd name="T65" fmla="*/ 22 h 38"/>
                    <a:gd name="T66" fmla="*/ 15 w 60"/>
                    <a:gd name="T67" fmla="*/ 24 h 38"/>
                    <a:gd name="T68" fmla="*/ 12 w 60"/>
                    <a:gd name="T69" fmla="*/ 23 h 38"/>
                    <a:gd name="T70" fmla="*/ 11 w 60"/>
                    <a:gd name="T71" fmla="*/ 22 h 38"/>
                    <a:gd name="T72" fmla="*/ 8 w 60"/>
                    <a:gd name="T73" fmla="*/ 22 h 38"/>
                    <a:gd name="T74" fmla="*/ 4 w 60"/>
                    <a:gd name="T75" fmla="*/ 23 h 38"/>
                    <a:gd name="T76" fmla="*/ 2 w 60"/>
                    <a:gd name="T77" fmla="*/ 22 h 38"/>
                    <a:gd name="T78" fmla="*/ 0 w 60"/>
                    <a:gd name="T79" fmla="*/ 26 h 38"/>
                    <a:gd name="T80" fmla="*/ 2 w 60"/>
                    <a:gd name="T81" fmla="*/ 29 h 38"/>
                    <a:gd name="T82" fmla="*/ 5 w 60"/>
                    <a:gd name="T83" fmla="*/ 29 h 38"/>
                    <a:gd name="T84" fmla="*/ 10 w 60"/>
                    <a:gd name="T85" fmla="*/ 34 h 38"/>
                    <a:gd name="T86" fmla="*/ 10 w 60"/>
                    <a:gd name="T87" fmla="*/ 36 h 38"/>
                    <a:gd name="T88" fmla="*/ 12 w 60"/>
                    <a:gd name="T89" fmla="*/ 34 h 38"/>
                    <a:gd name="T90" fmla="*/ 17 w 60"/>
                    <a:gd name="T91" fmla="*/ 35 h 38"/>
                    <a:gd name="T92" fmla="*/ 18 w 60"/>
                    <a:gd name="T93" fmla="*/ 38 h 38"/>
                    <a:gd name="T94" fmla="*/ 21 w 60"/>
                    <a:gd name="T95" fmla="*/ 38 h 38"/>
                    <a:gd name="T96" fmla="*/ 24 w 60"/>
                    <a:gd name="T97" fmla="*/ 38 h 38"/>
                    <a:gd name="T98" fmla="*/ 29 w 60"/>
                    <a:gd name="T99" fmla="*/ 36 h 38"/>
                    <a:gd name="T100" fmla="*/ 32 w 60"/>
                    <a:gd name="T101" fmla="*/ 38 h 38"/>
                    <a:gd name="T102" fmla="*/ 34 w 60"/>
                    <a:gd name="T103" fmla="*/ 36 h 38"/>
                    <a:gd name="T104" fmla="*/ 38 w 60"/>
                    <a:gd name="T105" fmla="*/ 38 h 38"/>
                    <a:gd name="T106" fmla="*/ 38 w 60"/>
                    <a:gd name="T107" fmla="*/ 36 h 38"/>
                    <a:gd name="T108" fmla="*/ 38 w 60"/>
                    <a:gd name="T109" fmla="*/ 34 h 38"/>
                    <a:gd name="T110" fmla="*/ 42 w 60"/>
                    <a:gd name="T111" fmla="*/ 34 h 38"/>
                    <a:gd name="T112" fmla="*/ 47 w 60"/>
                    <a:gd name="T113" fmla="*/ 26 h 38"/>
                    <a:gd name="T114" fmla="*/ 47 w 60"/>
                    <a:gd name="T115" fmla="*/ 24 h 38"/>
                    <a:gd name="T116" fmla="*/ 49 w 60"/>
                    <a:gd name="T117" fmla="*/ 23 h 38"/>
                    <a:gd name="T118" fmla="*/ 51 w 60"/>
                    <a:gd name="T119" fmla="*/ 25 h 38"/>
                    <a:gd name="T120" fmla="*/ 55 w 60"/>
                    <a:gd name="T121" fmla="*/ 24 h 38"/>
                    <a:gd name="T122" fmla="*/ 56 w 60"/>
                    <a:gd name="T123" fmla="*/ 21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60" h="38">
                      <a:moveTo>
                        <a:pt x="56" y="21"/>
                      </a:moveTo>
                      <a:lnTo>
                        <a:pt x="53" y="17"/>
                      </a:lnTo>
                      <a:lnTo>
                        <a:pt x="53" y="15"/>
                      </a:lnTo>
                      <a:lnTo>
                        <a:pt x="55" y="13"/>
                      </a:lnTo>
                      <a:lnTo>
                        <a:pt x="56" y="15"/>
                      </a:lnTo>
                      <a:lnTo>
                        <a:pt x="60" y="11"/>
                      </a:lnTo>
                      <a:lnTo>
                        <a:pt x="59" y="3"/>
                      </a:lnTo>
                      <a:lnTo>
                        <a:pt x="56" y="0"/>
                      </a:lnTo>
                      <a:lnTo>
                        <a:pt x="55" y="1"/>
                      </a:lnTo>
                      <a:lnTo>
                        <a:pt x="54" y="2"/>
                      </a:lnTo>
                      <a:lnTo>
                        <a:pt x="52" y="1"/>
                      </a:lnTo>
                      <a:lnTo>
                        <a:pt x="49" y="1"/>
                      </a:lnTo>
                      <a:lnTo>
                        <a:pt x="47" y="3"/>
                      </a:lnTo>
                      <a:lnTo>
                        <a:pt x="49" y="11"/>
                      </a:lnTo>
                      <a:lnTo>
                        <a:pt x="49" y="12"/>
                      </a:lnTo>
                      <a:lnTo>
                        <a:pt x="49" y="14"/>
                      </a:lnTo>
                      <a:lnTo>
                        <a:pt x="45" y="14"/>
                      </a:lnTo>
                      <a:lnTo>
                        <a:pt x="40" y="19"/>
                      </a:lnTo>
                      <a:lnTo>
                        <a:pt x="39" y="22"/>
                      </a:lnTo>
                      <a:lnTo>
                        <a:pt x="38" y="24"/>
                      </a:lnTo>
                      <a:lnTo>
                        <a:pt x="36" y="23"/>
                      </a:lnTo>
                      <a:lnTo>
                        <a:pt x="34" y="25"/>
                      </a:lnTo>
                      <a:lnTo>
                        <a:pt x="32" y="22"/>
                      </a:lnTo>
                      <a:lnTo>
                        <a:pt x="30" y="22"/>
                      </a:lnTo>
                      <a:lnTo>
                        <a:pt x="28" y="26"/>
                      </a:lnTo>
                      <a:lnTo>
                        <a:pt x="26" y="25"/>
                      </a:lnTo>
                      <a:lnTo>
                        <a:pt x="25" y="21"/>
                      </a:lnTo>
                      <a:lnTo>
                        <a:pt x="26" y="18"/>
                      </a:lnTo>
                      <a:lnTo>
                        <a:pt x="24" y="17"/>
                      </a:lnTo>
                      <a:lnTo>
                        <a:pt x="23" y="19"/>
                      </a:lnTo>
                      <a:lnTo>
                        <a:pt x="23" y="21"/>
                      </a:lnTo>
                      <a:lnTo>
                        <a:pt x="21" y="22"/>
                      </a:lnTo>
                      <a:lnTo>
                        <a:pt x="18" y="22"/>
                      </a:lnTo>
                      <a:lnTo>
                        <a:pt x="15" y="24"/>
                      </a:lnTo>
                      <a:lnTo>
                        <a:pt x="12" y="23"/>
                      </a:lnTo>
                      <a:lnTo>
                        <a:pt x="11" y="22"/>
                      </a:lnTo>
                      <a:lnTo>
                        <a:pt x="8" y="22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0" y="26"/>
                      </a:lnTo>
                      <a:lnTo>
                        <a:pt x="2" y="29"/>
                      </a:lnTo>
                      <a:lnTo>
                        <a:pt x="5" y="29"/>
                      </a:lnTo>
                      <a:lnTo>
                        <a:pt x="10" y="34"/>
                      </a:lnTo>
                      <a:lnTo>
                        <a:pt x="10" y="36"/>
                      </a:lnTo>
                      <a:lnTo>
                        <a:pt x="12" y="34"/>
                      </a:lnTo>
                      <a:lnTo>
                        <a:pt x="17" y="35"/>
                      </a:lnTo>
                      <a:lnTo>
                        <a:pt x="18" y="38"/>
                      </a:lnTo>
                      <a:lnTo>
                        <a:pt x="21" y="38"/>
                      </a:lnTo>
                      <a:lnTo>
                        <a:pt x="24" y="38"/>
                      </a:lnTo>
                      <a:lnTo>
                        <a:pt x="29" y="36"/>
                      </a:lnTo>
                      <a:lnTo>
                        <a:pt x="32" y="38"/>
                      </a:lnTo>
                      <a:lnTo>
                        <a:pt x="34" y="36"/>
                      </a:lnTo>
                      <a:lnTo>
                        <a:pt x="38" y="38"/>
                      </a:lnTo>
                      <a:lnTo>
                        <a:pt x="38" y="36"/>
                      </a:lnTo>
                      <a:lnTo>
                        <a:pt x="38" y="34"/>
                      </a:lnTo>
                      <a:lnTo>
                        <a:pt x="42" y="34"/>
                      </a:lnTo>
                      <a:lnTo>
                        <a:pt x="47" y="26"/>
                      </a:lnTo>
                      <a:lnTo>
                        <a:pt x="47" y="24"/>
                      </a:lnTo>
                      <a:lnTo>
                        <a:pt x="49" y="23"/>
                      </a:lnTo>
                      <a:lnTo>
                        <a:pt x="51" y="25"/>
                      </a:lnTo>
                      <a:lnTo>
                        <a:pt x="55" y="24"/>
                      </a:lnTo>
                      <a:lnTo>
                        <a:pt x="56" y="2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7" name="Freeform 327">
                  <a:extLst>
                    <a:ext uri="{FF2B5EF4-FFF2-40B4-BE49-F238E27FC236}">
                      <a16:creationId xmlns:a16="http://schemas.microsoft.com/office/drawing/2014/main" id="{1D972273-DE5E-4659-A88C-49C15A3ECA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0" y="2960"/>
                  <a:ext cx="6" cy="5"/>
                </a:xfrm>
                <a:custGeom>
                  <a:avLst/>
                  <a:gdLst>
                    <a:gd name="T0" fmla="*/ 8 w 8"/>
                    <a:gd name="T1" fmla="*/ 6 h 6"/>
                    <a:gd name="T2" fmla="*/ 6 w 8"/>
                    <a:gd name="T3" fmla="*/ 3 h 6"/>
                    <a:gd name="T4" fmla="*/ 0 w 8"/>
                    <a:gd name="T5" fmla="*/ 0 h 6"/>
                    <a:gd name="T6" fmla="*/ 8 w 8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6">
                      <a:moveTo>
                        <a:pt x="8" y="6"/>
                      </a:move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6" y="3"/>
                        <a:pt x="0" y="0"/>
                        <a:pt x="0" y="0"/>
                      </a:cubicBez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8" name="Freeform 328">
                  <a:extLst>
                    <a:ext uri="{FF2B5EF4-FFF2-40B4-BE49-F238E27FC236}">
                      <a16:creationId xmlns:a16="http://schemas.microsoft.com/office/drawing/2014/main" id="{8E8AF2AE-E2F9-4FE2-8595-97583A5D86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9" y="2946"/>
                  <a:ext cx="2" cy="3"/>
                </a:xfrm>
                <a:custGeom>
                  <a:avLst/>
                  <a:gdLst>
                    <a:gd name="T0" fmla="*/ 0 w 2"/>
                    <a:gd name="T1" fmla="*/ 0 h 3"/>
                    <a:gd name="T2" fmla="*/ 2 w 2"/>
                    <a:gd name="T3" fmla="*/ 2 h 3"/>
                    <a:gd name="T4" fmla="*/ 2 w 2"/>
                    <a:gd name="T5" fmla="*/ 3 h 3"/>
                    <a:gd name="T6" fmla="*/ 2 w 2"/>
                    <a:gd name="T7" fmla="*/ 0 h 3"/>
                    <a:gd name="T8" fmla="*/ 0 w 2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0" y="0"/>
                      </a:move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9" name="Freeform 329">
                  <a:extLst>
                    <a:ext uri="{FF2B5EF4-FFF2-40B4-BE49-F238E27FC236}">
                      <a16:creationId xmlns:a16="http://schemas.microsoft.com/office/drawing/2014/main" id="{DCC87C83-A621-4F7C-8B21-73D9D37E67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1" y="2959"/>
                  <a:ext cx="3" cy="1"/>
                </a:xfrm>
                <a:custGeom>
                  <a:avLst/>
                  <a:gdLst>
                    <a:gd name="T0" fmla="*/ 0 w 3"/>
                    <a:gd name="T1" fmla="*/ 0 h 1"/>
                    <a:gd name="T2" fmla="*/ 2 w 3"/>
                    <a:gd name="T3" fmla="*/ 1 h 1"/>
                    <a:gd name="T4" fmla="*/ 3 w 3"/>
                    <a:gd name="T5" fmla="*/ 0 h 1"/>
                    <a:gd name="T6" fmla="*/ 0 w 3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0" name="Freeform 330">
                  <a:extLst>
                    <a:ext uri="{FF2B5EF4-FFF2-40B4-BE49-F238E27FC236}">
                      <a16:creationId xmlns:a16="http://schemas.microsoft.com/office/drawing/2014/main" id="{AAB17EC7-5280-4ECE-80ED-848A79644A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56" y="2944"/>
                  <a:ext cx="2" cy="2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2 h 2"/>
                    <a:gd name="T4" fmla="*/ 2 w 2"/>
                    <a:gd name="T5" fmla="*/ 2 h 2"/>
                    <a:gd name="T6" fmla="*/ 2 w 2"/>
                    <a:gd name="T7" fmla="*/ 2 h 2"/>
                    <a:gd name="T8" fmla="*/ 0 w 2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1" name="Freeform 331">
                  <a:extLst>
                    <a:ext uri="{FF2B5EF4-FFF2-40B4-BE49-F238E27FC236}">
                      <a16:creationId xmlns:a16="http://schemas.microsoft.com/office/drawing/2014/main" id="{F3385C79-9901-459F-8D4F-67485B579B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6" y="2946"/>
                  <a:ext cx="3" cy="6"/>
                </a:xfrm>
                <a:custGeom>
                  <a:avLst/>
                  <a:gdLst>
                    <a:gd name="T0" fmla="*/ 4 w 4"/>
                    <a:gd name="T1" fmla="*/ 5 h 7"/>
                    <a:gd name="T2" fmla="*/ 3 w 4"/>
                    <a:gd name="T3" fmla="*/ 0 h 7"/>
                    <a:gd name="T4" fmla="*/ 1 w 4"/>
                    <a:gd name="T5" fmla="*/ 2 h 7"/>
                    <a:gd name="T6" fmla="*/ 0 w 4"/>
                    <a:gd name="T7" fmla="*/ 5 h 7"/>
                    <a:gd name="T8" fmla="*/ 2 w 4"/>
                    <a:gd name="T9" fmla="*/ 7 h 7"/>
                    <a:gd name="T10" fmla="*/ 3 w 4"/>
                    <a:gd name="T11" fmla="*/ 7 h 7"/>
                    <a:gd name="T12" fmla="*/ 4 w 4"/>
                    <a:gd name="T13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7">
                      <a:moveTo>
                        <a:pt x="4" y="5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2" y="7"/>
                        <a:pt x="2" y="7"/>
                        <a:pt x="2" y="7"/>
                      </a:cubicBezTo>
                      <a:cubicBezTo>
                        <a:pt x="2" y="7"/>
                        <a:pt x="3" y="7"/>
                        <a:pt x="3" y="7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2" name="Freeform 332">
                  <a:extLst>
                    <a:ext uri="{FF2B5EF4-FFF2-40B4-BE49-F238E27FC236}">
                      <a16:creationId xmlns:a16="http://schemas.microsoft.com/office/drawing/2014/main" id="{E27DB29B-35D3-422E-8FD7-A860D91399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4" y="2960"/>
                  <a:ext cx="1" cy="2"/>
                </a:xfrm>
                <a:custGeom>
                  <a:avLst/>
                  <a:gdLst>
                    <a:gd name="T0" fmla="*/ 0 w 1"/>
                    <a:gd name="T1" fmla="*/ 1 h 2"/>
                    <a:gd name="T2" fmla="*/ 1 w 1"/>
                    <a:gd name="T3" fmla="*/ 2 h 2"/>
                    <a:gd name="T4" fmla="*/ 1 w 1"/>
                    <a:gd name="T5" fmla="*/ 0 h 2"/>
                    <a:gd name="T6" fmla="*/ 0 w 1"/>
                    <a:gd name="T7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2">
                      <a:moveTo>
                        <a:pt x="0" y="1"/>
                      </a:move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3" name="Freeform 333">
                  <a:extLst>
                    <a:ext uri="{FF2B5EF4-FFF2-40B4-BE49-F238E27FC236}">
                      <a16:creationId xmlns:a16="http://schemas.microsoft.com/office/drawing/2014/main" id="{5FAF7EC6-8AD7-463C-AC79-0EADE22B36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4" y="2952"/>
                  <a:ext cx="3" cy="1"/>
                </a:xfrm>
                <a:custGeom>
                  <a:avLst/>
                  <a:gdLst>
                    <a:gd name="T0" fmla="*/ 0 w 3"/>
                    <a:gd name="T1" fmla="*/ 0 h 1"/>
                    <a:gd name="T2" fmla="*/ 0 w 3"/>
                    <a:gd name="T3" fmla="*/ 1 h 1"/>
                    <a:gd name="T4" fmla="*/ 2 w 3"/>
                    <a:gd name="T5" fmla="*/ 1 h 1"/>
                    <a:gd name="T6" fmla="*/ 3 w 3"/>
                    <a:gd name="T7" fmla="*/ 0 h 1"/>
                    <a:gd name="T8" fmla="*/ 0 w 3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4" name="Freeform 334">
                  <a:extLst>
                    <a:ext uri="{FF2B5EF4-FFF2-40B4-BE49-F238E27FC236}">
                      <a16:creationId xmlns:a16="http://schemas.microsoft.com/office/drawing/2014/main" id="{6F4A3A30-A6ED-499C-8B78-61E3627F6E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4" y="2957"/>
                  <a:ext cx="4" cy="2"/>
                </a:xfrm>
                <a:custGeom>
                  <a:avLst/>
                  <a:gdLst>
                    <a:gd name="T0" fmla="*/ 5 w 5"/>
                    <a:gd name="T1" fmla="*/ 0 h 2"/>
                    <a:gd name="T2" fmla="*/ 2 w 5"/>
                    <a:gd name="T3" fmla="*/ 0 h 2"/>
                    <a:gd name="T4" fmla="*/ 0 w 5"/>
                    <a:gd name="T5" fmla="*/ 2 h 2"/>
                    <a:gd name="T6" fmla="*/ 4 w 5"/>
                    <a:gd name="T7" fmla="*/ 2 h 2"/>
                    <a:gd name="T8" fmla="*/ 5 w 5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4" y="2"/>
                        <a:pt x="4" y="2"/>
                      </a:cubicBez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5" name="Freeform 335">
                  <a:extLst>
                    <a:ext uri="{FF2B5EF4-FFF2-40B4-BE49-F238E27FC236}">
                      <a16:creationId xmlns:a16="http://schemas.microsoft.com/office/drawing/2014/main" id="{7D04FC30-0366-4349-963D-08F0422B1F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58" y="2942"/>
                  <a:ext cx="2" cy="4"/>
                </a:xfrm>
                <a:custGeom>
                  <a:avLst/>
                  <a:gdLst>
                    <a:gd name="T0" fmla="*/ 0 w 2"/>
                    <a:gd name="T1" fmla="*/ 0 h 4"/>
                    <a:gd name="T2" fmla="*/ 0 w 2"/>
                    <a:gd name="T3" fmla="*/ 1 h 4"/>
                    <a:gd name="T4" fmla="*/ 1 w 2"/>
                    <a:gd name="T5" fmla="*/ 4 h 4"/>
                    <a:gd name="T6" fmla="*/ 1 w 2"/>
                    <a:gd name="T7" fmla="*/ 2 h 4"/>
                    <a:gd name="T8" fmla="*/ 2 w 2"/>
                    <a:gd name="T9" fmla="*/ 0 h 4"/>
                    <a:gd name="T10" fmla="*/ 0 w 2"/>
                    <a:gd name="T11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4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1" y="4"/>
                      </a:lnTo>
                      <a:lnTo>
                        <a:pt x="1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6" name="Freeform 336">
                  <a:extLst>
                    <a:ext uri="{FF2B5EF4-FFF2-40B4-BE49-F238E27FC236}">
                      <a16:creationId xmlns:a16="http://schemas.microsoft.com/office/drawing/2014/main" id="{4C3CD043-6DA5-4C26-AFC1-8143BC7A15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0" y="2944"/>
                  <a:ext cx="1" cy="2"/>
                </a:xfrm>
                <a:custGeom>
                  <a:avLst/>
                  <a:gdLst>
                    <a:gd name="T0" fmla="*/ 1 w 1"/>
                    <a:gd name="T1" fmla="*/ 2 h 2"/>
                    <a:gd name="T2" fmla="*/ 1 w 1"/>
                    <a:gd name="T3" fmla="*/ 0 h 2"/>
                    <a:gd name="T4" fmla="*/ 0 w 1"/>
                    <a:gd name="T5" fmla="*/ 0 h 2"/>
                    <a:gd name="T6" fmla="*/ 1 w 1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2">
                      <a:moveTo>
                        <a:pt x="1" y="2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7" name="Freeform 337">
                  <a:extLst>
                    <a:ext uri="{FF2B5EF4-FFF2-40B4-BE49-F238E27FC236}">
                      <a16:creationId xmlns:a16="http://schemas.microsoft.com/office/drawing/2014/main" id="{0B29D7C0-B2E4-47D2-BF3D-288079A67E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9" y="2613"/>
                  <a:ext cx="2" cy="1"/>
                </a:xfrm>
                <a:custGeom>
                  <a:avLst/>
                  <a:gdLst>
                    <a:gd name="T0" fmla="*/ 2 w 2"/>
                    <a:gd name="T1" fmla="*/ 0 h 1"/>
                    <a:gd name="T2" fmla="*/ 0 w 2"/>
                    <a:gd name="T3" fmla="*/ 0 h 1"/>
                    <a:gd name="T4" fmla="*/ 1 w 2"/>
                    <a:gd name="T5" fmla="*/ 1 h 1"/>
                    <a:gd name="T6" fmla="*/ 2 w 2"/>
                    <a:gd name="T7" fmla="*/ 1 h 1"/>
                    <a:gd name="T8" fmla="*/ 2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8" name="Freeform 338">
                  <a:extLst>
                    <a:ext uri="{FF2B5EF4-FFF2-40B4-BE49-F238E27FC236}">
                      <a16:creationId xmlns:a16="http://schemas.microsoft.com/office/drawing/2014/main" id="{DC84FA4E-1A43-4A69-935E-69E2B3DFD8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03" y="2618"/>
                  <a:ext cx="4" cy="5"/>
                </a:xfrm>
                <a:custGeom>
                  <a:avLst/>
                  <a:gdLst>
                    <a:gd name="T0" fmla="*/ 2 w 4"/>
                    <a:gd name="T1" fmla="*/ 2 h 5"/>
                    <a:gd name="T2" fmla="*/ 2 w 4"/>
                    <a:gd name="T3" fmla="*/ 0 h 5"/>
                    <a:gd name="T4" fmla="*/ 2 w 4"/>
                    <a:gd name="T5" fmla="*/ 2 h 5"/>
                    <a:gd name="T6" fmla="*/ 0 w 4"/>
                    <a:gd name="T7" fmla="*/ 3 h 5"/>
                    <a:gd name="T8" fmla="*/ 0 w 4"/>
                    <a:gd name="T9" fmla="*/ 5 h 5"/>
                    <a:gd name="T10" fmla="*/ 2 w 4"/>
                    <a:gd name="T11" fmla="*/ 5 h 5"/>
                    <a:gd name="T12" fmla="*/ 4 w 4"/>
                    <a:gd name="T13" fmla="*/ 5 h 5"/>
                    <a:gd name="T14" fmla="*/ 4 w 4"/>
                    <a:gd name="T15" fmla="*/ 3 h 5"/>
                    <a:gd name="T16" fmla="*/ 2 w 4"/>
                    <a:gd name="T1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5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4" y="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9" name="Freeform 339">
                  <a:extLst>
                    <a:ext uri="{FF2B5EF4-FFF2-40B4-BE49-F238E27FC236}">
                      <a16:creationId xmlns:a16="http://schemas.microsoft.com/office/drawing/2014/main" id="{70E94286-185E-4665-9DBE-B46F8DA7AD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37" y="2635"/>
                  <a:ext cx="68" cy="75"/>
                </a:xfrm>
                <a:custGeom>
                  <a:avLst/>
                  <a:gdLst>
                    <a:gd name="T0" fmla="*/ 46 w 68"/>
                    <a:gd name="T1" fmla="*/ 14 h 75"/>
                    <a:gd name="T2" fmla="*/ 40 w 68"/>
                    <a:gd name="T3" fmla="*/ 13 h 75"/>
                    <a:gd name="T4" fmla="*/ 40 w 68"/>
                    <a:gd name="T5" fmla="*/ 23 h 75"/>
                    <a:gd name="T6" fmla="*/ 34 w 68"/>
                    <a:gd name="T7" fmla="*/ 22 h 75"/>
                    <a:gd name="T8" fmla="*/ 27 w 68"/>
                    <a:gd name="T9" fmla="*/ 31 h 75"/>
                    <a:gd name="T10" fmla="*/ 27 w 68"/>
                    <a:gd name="T11" fmla="*/ 22 h 75"/>
                    <a:gd name="T12" fmla="*/ 19 w 68"/>
                    <a:gd name="T13" fmla="*/ 22 h 75"/>
                    <a:gd name="T14" fmla="*/ 16 w 68"/>
                    <a:gd name="T15" fmla="*/ 29 h 75"/>
                    <a:gd name="T16" fmla="*/ 7 w 68"/>
                    <a:gd name="T17" fmla="*/ 31 h 75"/>
                    <a:gd name="T18" fmla="*/ 2 w 68"/>
                    <a:gd name="T19" fmla="*/ 38 h 75"/>
                    <a:gd name="T20" fmla="*/ 3 w 68"/>
                    <a:gd name="T21" fmla="*/ 52 h 75"/>
                    <a:gd name="T22" fmla="*/ 8 w 68"/>
                    <a:gd name="T23" fmla="*/ 41 h 75"/>
                    <a:gd name="T24" fmla="*/ 13 w 68"/>
                    <a:gd name="T25" fmla="*/ 38 h 75"/>
                    <a:gd name="T26" fmla="*/ 14 w 68"/>
                    <a:gd name="T27" fmla="*/ 41 h 75"/>
                    <a:gd name="T28" fmla="*/ 17 w 68"/>
                    <a:gd name="T29" fmla="*/ 39 h 75"/>
                    <a:gd name="T30" fmla="*/ 20 w 68"/>
                    <a:gd name="T31" fmla="*/ 41 h 75"/>
                    <a:gd name="T32" fmla="*/ 21 w 68"/>
                    <a:gd name="T33" fmla="*/ 41 h 75"/>
                    <a:gd name="T34" fmla="*/ 23 w 68"/>
                    <a:gd name="T35" fmla="*/ 36 h 75"/>
                    <a:gd name="T36" fmla="*/ 29 w 68"/>
                    <a:gd name="T37" fmla="*/ 40 h 75"/>
                    <a:gd name="T38" fmla="*/ 34 w 68"/>
                    <a:gd name="T39" fmla="*/ 48 h 75"/>
                    <a:gd name="T40" fmla="*/ 31 w 68"/>
                    <a:gd name="T41" fmla="*/ 49 h 75"/>
                    <a:gd name="T42" fmla="*/ 31 w 68"/>
                    <a:gd name="T43" fmla="*/ 55 h 75"/>
                    <a:gd name="T44" fmla="*/ 34 w 68"/>
                    <a:gd name="T45" fmla="*/ 64 h 75"/>
                    <a:gd name="T46" fmla="*/ 41 w 68"/>
                    <a:gd name="T47" fmla="*/ 70 h 75"/>
                    <a:gd name="T48" fmla="*/ 47 w 68"/>
                    <a:gd name="T49" fmla="*/ 69 h 75"/>
                    <a:gd name="T50" fmla="*/ 48 w 68"/>
                    <a:gd name="T51" fmla="*/ 70 h 75"/>
                    <a:gd name="T52" fmla="*/ 52 w 68"/>
                    <a:gd name="T53" fmla="*/ 73 h 75"/>
                    <a:gd name="T54" fmla="*/ 55 w 68"/>
                    <a:gd name="T55" fmla="*/ 62 h 75"/>
                    <a:gd name="T56" fmla="*/ 51 w 68"/>
                    <a:gd name="T57" fmla="*/ 52 h 75"/>
                    <a:gd name="T58" fmla="*/ 59 w 68"/>
                    <a:gd name="T59" fmla="*/ 47 h 75"/>
                    <a:gd name="T60" fmla="*/ 61 w 68"/>
                    <a:gd name="T61" fmla="*/ 56 h 75"/>
                    <a:gd name="T62" fmla="*/ 63 w 68"/>
                    <a:gd name="T63" fmla="*/ 61 h 75"/>
                    <a:gd name="T64" fmla="*/ 63 w 68"/>
                    <a:gd name="T65" fmla="*/ 50 h 75"/>
                    <a:gd name="T66" fmla="*/ 65 w 68"/>
                    <a:gd name="T67" fmla="*/ 50 h 75"/>
                    <a:gd name="T68" fmla="*/ 68 w 68"/>
                    <a:gd name="T69" fmla="*/ 40 h 75"/>
                    <a:gd name="T70" fmla="*/ 65 w 68"/>
                    <a:gd name="T71" fmla="*/ 31 h 75"/>
                    <a:gd name="T72" fmla="*/ 63 w 68"/>
                    <a:gd name="T73" fmla="*/ 24 h 75"/>
                    <a:gd name="T74" fmla="*/ 60 w 68"/>
                    <a:gd name="T75" fmla="*/ 20 h 75"/>
                    <a:gd name="T76" fmla="*/ 62 w 68"/>
                    <a:gd name="T77" fmla="*/ 14 h 75"/>
                    <a:gd name="T78" fmla="*/ 59 w 68"/>
                    <a:gd name="T79" fmla="*/ 10 h 75"/>
                    <a:gd name="T80" fmla="*/ 51 w 68"/>
                    <a:gd name="T81" fmla="*/ 0 h 75"/>
                    <a:gd name="T82" fmla="*/ 48 w 68"/>
                    <a:gd name="T83" fmla="*/ 3 h 75"/>
                    <a:gd name="T84" fmla="*/ 47 w 68"/>
                    <a:gd name="T85" fmla="*/ 1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68" h="75">
                      <a:moveTo>
                        <a:pt x="47" y="10"/>
                      </a:moveTo>
                      <a:lnTo>
                        <a:pt x="46" y="10"/>
                      </a:lnTo>
                      <a:lnTo>
                        <a:pt x="46" y="14"/>
                      </a:lnTo>
                      <a:lnTo>
                        <a:pt x="45" y="16"/>
                      </a:lnTo>
                      <a:lnTo>
                        <a:pt x="44" y="14"/>
                      </a:lnTo>
                      <a:lnTo>
                        <a:pt x="40" y="13"/>
                      </a:lnTo>
                      <a:lnTo>
                        <a:pt x="39" y="20"/>
                      </a:lnTo>
                      <a:lnTo>
                        <a:pt x="40" y="21"/>
                      </a:lnTo>
                      <a:lnTo>
                        <a:pt x="40" y="23"/>
                      </a:lnTo>
                      <a:lnTo>
                        <a:pt x="38" y="24"/>
                      </a:lnTo>
                      <a:lnTo>
                        <a:pt x="37" y="21"/>
                      </a:lnTo>
                      <a:lnTo>
                        <a:pt x="34" y="22"/>
                      </a:lnTo>
                      <a:lnTo>
                        <a:pt x="33" y="28"/>
                      </a:lnTo>
                      <a:lnTo>
                        <a:pt x="30" y="30"/>
                      </a:lnTo>
                      <a:lnTo>
                        <a:pt x="27" y="31"/>
                      </a:lnTo>
                      <a:lnTo>
                        <a:pt x="24" y="34"/>
                      </a:lnTo>
                      <a:lnTo>
                        <a:pt x="27" y="28"/>
                      </a:lnTo>
                      <a:lnTo>
                        <a:pt x="27" y="22"/>
                      </a:lnTo>
                      <a:lnTo>
                        <a:pt x="23" y="18"/>
                      </a:lnTo>
                      <a:lnTo>
                        <a:pt x="21" y="19"/>
                      </a:lnTo>
                      <a:lnTo>
                        <a:pt x="19" y="22"/>
                      </a:lnTo>
                      <a:lnTo>
                        <a:pt x="16" y="24"/>
                      </a:lnTo>
                      <a:lnTo>
                        <a:pt x="15" y="27"/>
                      </a:lnTo>
                      <a:lnTo>
                        <a:pt x="16" y="29"/>
                      </a:lnTo>
                      <a:lnTo>
                        <a:pt x="12" y="31"/>
                      </a:lnTo>
                      <a:lnTo>
                        <a:pt x="9" y="29"/>
                      </a:lnTo>
                      <a:lnTo>
                        <a:pt x="7" y="31"/>
                      </a:lnTo>
                      <a:lnTo>
                        <a:pt x="4" y="33"/>
                      </a:lnTo>
                      <a:lnTo>
                        <a:pt x="2" y="36"/>
                      </a:lnTo>
                      <a:lnTo>
                        <a:pt x="2" y="38"/>
                      </a:lnTo>
                      <a:lnTo>
                        <a:pt x="2" y="44"/>
                      </a:lnTo>
                      <a:lnTo>
                        <a:pt x="0" y="48"/>
                      </a:lnTo>
                      <a:lnTo>
                        <a:pt x="3" y="52"/>
                      </a:lnTo>
                      <a:lnTo>
                        <a:pt x="4" y="50"/>
                      </a:lnTo>
                      <a:lnTo>
                        <a:pt x="6" y="43"/>
                      </a:lnTo>
                      <a:lnTo>
                        <a:pt x="8" y="41"/>
                      </a:lnTo>
                      <a:lnTo>
                        <a:pt x="9" y="37"/>
                      </a:lnTo>
                      <a:lnTo>
                        <a:pt x="11" y="36"/>
                      </a:lnTo>
                      <a:lnTo>
                        <a:pt x="13" y="38"/>
                      </a:lnTo>
                      <a:lnTo>
                        <a:pt x="13" y="41"/>
                      </a:lnTo>
                      <a:lnTo>
                        <a:pt x="13" y="43"/>
                      </a:lnTo>
                      <a:lnTo>
                        <a:pt x="14" y="41"/>
                      </a:lnTo>
                      <a:lnTo>
                        <a:pt x="16" y="43"/>
                      </a:lnTo>
                      <a:lnTo>
                        <a:pt x="16" y="40"/>
                      </a:lnTo>
                      <a:lnTo>
                        <a:pt x="17" y="39"/>
                      </a:lnTo>
                      <a:lnTo>
                        <a:pt x="19" y="39"/>
                      </a:lnTo>
                      <a:lnTo>
                        <a:pt x="18" y="41"/>
                      </a:lnTo>
                      <a:lnTo>
                        <a:pt x="20" y="41"/>
                      </a:lnTo>
                      <a:lnTo>
                        <a:pt x="21" y="43"/>
                      </a:lnTo>
                      <a:lnTo>
                        <a:pt x="23" y="44"/>
                      </a:lnTo>
                      <a:lnTo>
                        <a:pt x="21" y="41"/>
                      </a:lnTo>
                      <a:lnTo>
                        <a:pt x="22" y="39"/>
                      </a:lnTo>
                      <a:lnTo>
                        <a:pt x="21" y="38"/>
                      </a:lnTo>
                      <a:lnTo>
                        <a:pt x="23" y="36"/>
                      </a:lnTo>
                      <a:lnTo>
                        <a:pt x="24" y="36"/>
                      </a:lnTo>
                      <a:lnTo>
                        <a:pt x="27" y="39"/>
                      </a:lnTo>
                      <a:lnTo>
                        <a:pt x="29" y="40"/>
                      </a:lnTo>
                      <a:lnTo>
                        <a:pt x="32" y="42"/>
                      </a:lnTo>
                      <a:lnTo>
                        <a:pt x="32" y="45"/>
                      </a:lnTo>
                      <a:lnTo>
                        <a:pt x="34" y="48"/>
                      </a:lnTo>
                      <a:lnTo>
                        <a:pt x="32" y="47"/>
                      </a:lnTo>
                      <a:lnTo>
                        <a:pt x="31" y="48"/>
                      </a:lnTo>
                      <a:lnTo>
                        <a:pt x="31" y="49"/>
                      </a:lnTo>
                      <a:lnTo>
                        <a:pt x="30" y="52"/>
                      </a:lnTo>
                      <a:lnTo>
                        <a:pt x="31" y="53"/>
                      </a:lnTo>
                      <a:lnTo>
                        <a:pt x="31" y="55"/>
                      </a:lnTo>
                      <a:lnTo>
                        <a:pt x="30" y="58"/>
                      </a:lnTo>
                      <a:lnTo>
                        <a:pt x="33" y="61"/>
                      </a:lnTo>
                      <a:lnTo>
                        <a:pt x="34" y="64"/>
                      </a:lnTo>
                      <a:lnTo>
                        <a:pt x="36" y="68"/>
                      </a:lnTo>
                      <a:lnTo>
                        <a:pt x="39" y="68"/>
                      </a:lnTo>
                      <a:lnTo>
                        <a:pt x="41" y="70"/>
                      </a:lnTo>
                      <a:lnTo>
                        <a:pt x="44" y="72"/>
                      </a:lnTo>
                      <a:lnTo>
                        <a:pt x="47" y="70"/>
                      </a:lnTo>
                      <a:lnTo>
                        <a:pt x="47" y="69"/>
                      </a:lnTo>
                      <a:lnTo>
                        <a:pt x="48" y="67"/>
                      </a:lnTo>
                      <a:lnTo>
                        <a:pt x="49" y="69"/>
                      </a:lnTo>
                      <a:lnTo>
                        <a:pt x="48" y="70"/>
                      </a:lnTo>
                      <a:lnTo>
                        <a:pt x="49" y="73"/>
                      </a:lnTo>
                      <a:lnTo>
                        <a:pt x="50" y="75"/>
                      </a:lnTo>
                      <a:lnTo>
                        <a:pt x="52" y="73"/>
                      </a:lnTo>
                      <a:lnTo>
                        <a:pt x="56" y="67"/>
                      </a:lnTo>
                      <a:lnTo>
                        <a:pt x="56" y="64"/>
                      </a:lnTo>
                      <a:lnTo>
                        <a:pt x="55" y="62"/>
                      </a:lnTo>
                      <a:lnTo>
                        <a:pt x="54" y="57"/>
                      </a:lnTo>
                      <a:lnTo>
                        <a:pt x="51" y="55"/>
                      </a:lnTo>
                      <a:lnTo>
                        <a:pt x="51" y="52"/>
                      </a:lnTo>
                      <a:lnTo>
                        <a:pt x="55" y="45"/>
                      </a:lnTo>
                      <a:lnTo>
                        <a:pt x="57" y="44"/>
                      </a:lnTo>
                      <a:lnTo>
                        <a:pt x="59" y="47"/>
                      </a:lnTo>
                      <a:lnTo>
                        <a:pt x="59" y="50"/>
                      </a:lnTo>
                      <a:lnTo>
                        <a:pt x="61" y="53"/>
                      </a:lnTo>
                      <a:lnTo>
                        <a:pt x="61" y="56"/>
                      </a:lnTo>
                      <a:lnTo>
                        <a:pt x="62" y="61"/>
                      </a:lnTo>
                      <a:lnTo>
                        <a:pt x="63" y="63"/>
                      </a:lnTo>
                      <a:lnTo>
                        <a:pt x="63" y="61"/>
                      </a:lnTo>
                      <a:lnTo>
                        <a:pt x="63" y="57"/>
                      </a:lnTo>
                      <a:lnTo>
                        <a:pt x="62" y="52"/>
                      </a:lnTo>
                      <a:lnTo>
                        <a:pt x="63" y="50"/>
                      </a:lnTo>
                      <a:lnTo>
                        <a:pt x="65" y="50"/>
                      </a:lnTo>
                      <a:lnTo>
                        <a:pt x="65" y="52"/>
                      </a:lnTo>
                      <a:lnTo>
                        <a:pt x="65" y="50"/>
                      </a:lnTo>
                      <a:lnTo>
                        <a:pt x="67" y="50"/>
                      </a:lnTo>
                      <a:lnTo>
                        <a:pt x="68" y="45"/>
                      </a:lnTo>
                      <a:lnTo>
                        <a:pt x="68" y="40"/>
                      </a:lnTo>
                      <a:lnTo>
                        <a:pt x="66" y="37"/>
                      </a:lnTo>
                      <a:lnTo>
                        <a:pt x="65" y="34"/>
                      </a:lnTo>
                      <a:lnTo>
                        <a:pt x="65" y="31"/>
                      </a:lnTo>
                      <a:lnTo>
                        <a:pt x="64" y="27"/>
                      </a:lnTo>
                      <a:lnTo>
                        <a:pt x="63" y="28"/>
                      </a:lnTo>
                      <a:lnTo>
                        <a:pt x="63" y="24"/>
                      </a:lnTo>
                      <a:lnTo>
                        <a:pt x="63" y="22"/>
                      </a:lnTo>
                      <a:lnTo>
                        <a:pt x="61" y="22"/>
                      </a:lnTo>
                      <a:lnTo>
                        <a:pt x="60" y="20"/>
                      </a:lnTo>
                      <a:lnTo>
                        <a:pt x="61" y="18"/>
                      </a:lnTo>
                      <a:lnTo>
                        <a:pt x="62" y="18"/>
                      </a:lnTo>
                      <a:lnTo>
                        <a:pt x="62" y="14"/>
                      </a:lnTo>
                      <a:lnTo>
                        <a:pt x="61" y="10"/>
                      </a:lnTo>
                      <a:lnTo>
                        <a:pt x="61" y="8"/>
                      </a:lnTo>
                      <a:lnTo>
                        <a:pt x="59" y="10"/>
                      </a:lnTo>
                      <a:lnTo>
                        <a:pt x="56" y="7"/>
                      </a:lnTo>
                      <a:lnTo>
                        <a:pt x="52" y="3"/>
                      </a:ln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48" y="0"/>
                      </a:lnTo>
                      <a:lnTo>
                        <a:pt x="48" y="3"/>
                      </a:lnTo>
                      <a:lnTo>
                        <a:pt x="50" y="10"/>
                      </a:lnTo>
                      <a:lnTo>
                        <a:pt x="49" y="13"/>
                      </a:lnTo>
                      <a:lnTo>
                        <a:pt x="47" y="1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0" name="Freeform 340">
                  <a:extLst>
                    <a:ext uri="{FF2B5EF4-FFF2-40B4-BE49-F238E27FC236}">
                      <a16:creationId xmlns:a16="http://schemas.microsoft.com/office/drawing/2014/main" id="{F35B5219-5239-4457-B9F7-00E334614D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8" y="2617"/>
                  <a:ext cx="3" cy="2"/>
                </a:xfrm>
                <a:custGeom>
                  <a:avLst/>
                  <a:gdLst>
                    <a:gd name="T0" fmla="*/ 1 w 3"/>
                    <a:gd name="T1" fmla="*/ 1 h 2"/>
                    <a:gd name="T2" fmla="*/ 2 w 3"/>
                    <a:gd name="T3" fmla="*/ 2 h 2"/>
                    <a:gd name="T4" fmla="*/ 3 w 3"/>
                    <a:gd name="T5" fmla="*/ 1 h 2"/>
                    <a:gd name="T6" fmla="*/ 0 w 3"/>
                    <a:gd name="T7" fmla="*/ 0 h 2"/>
                    <a:gd name="T8" fmla="*/ 1 w 3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2">
                      <a:moveTo>
                        <a:pt x="1" y="1"/>
                      </a:moveTo>
                      <a:lnTo>
                        <a:pt x="2" y="2"/>
                      </a:lnTo>
                      <a:lnTo>
                        <a:pt x="3" y="1"/>
                      </a:lnTo>
                      <a:lnTo>
                        <a:pt x="0" y="0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1" name="Freeform 341">
                  <a:extLst>
                    <a:ext uri="{FF2B5EF4-FFF2-40B4-BE49-F238E27FC236}">
                      <a16:creationId xmlns:a16="http://schemas.microsoft.com/office/drawing/2014/main" id="{E388FA68-1F4E-4EE5-B487-919D20C32C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01" y="2595"/>
                  <a:ext cx="4" cy="6"/>
                </a:xfrm>
                <a:custGeom>
                  <a:avLst/>
                  <a:gdLst>
                    <a:gd name="T0" fmla="*/ 2 w 4"/>
                    <a:gd name="T1" fmla="*/ 6 h 6"/>
                    <a:gd name="T2" fmla="*/ 4 w 4"/>
                    <a:gd name="T3" fmla="*/ 5 h 6"/>
                    <a:gd name="T4" fmla="*/ 4 w 4"/>
                    <a:gd name="T5" fmla="*/ 4 h 6"/>
                    <a:gd name="T6" fmla="*/ 4 w 4"/>
                    <a:gd name="T7" fmla="*/ 1 h 6"/>
                    <a:gd name="T8" fmla="*/ 0 w 4"/>
                    <a:gd name="T9" fmla="*/ 0 h 6"/>
                    <a:gd name="T10" fmla="*/ 0 w 4"/>
                    <a:gd name="T11" fmla="*/ 2 h 6"/>
                    <a:gd name="T12" fmla="*/ 1 w 4"/>
                    <a:gd name="T13" fmla="*/ 6 h 6"/>
                    <a:gd name="T14" fmla="*/ 2 w 4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6">
                      <a:moveTo>
                        <a:pt x="2" y="6"/>
                      </a:moveTo>
                      <a:lnTo>
                        <a:pt x="4" y="5"/>
                      </a:lnTo>
                      <a:lnTo>
                        <a:pt x="4" y="4"/>
                      </a:lnTo>
                      <a:lnTo>
                        <a:pt x="4" y="1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6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2" name="Freeform 342">
                  <a:extLst>
                    <a:ext uri="{FF2B5EF4-FFF2-40B4-BE49-F238E27FC236}">
                      <a16:creationId xmlns:a16="http://schemas.microsoft.com/office/drawing/2014/main" id="{CD41D8E2-5683-42F5-A29D-04C140FB63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12" y="2460"/>
                  <a:ext cx="3" cy="2"/>
                </a:xfrm>
                <a:custGeom>
                  <a:avLst/>
                  <a:gdLst>
                    <a:gd name="T0" fmla="*/ 0 w 3"/>
                    <a:gd name="T1" fmla="*/ 2 h 2"/>
                    <a:gd name="T2" fmla="*/ 3 w 3"/>
                    <a:gd name="T3" fmla="*/ 2 h 2"/>
                    <a:gd name="T4" fmla="*/ 0 w 3"/>
                    <a:gd name="T5" fmla="*/ 0 h 2"/>
                    <a:gd name="T6" fmla="*/ 0 w 3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0" y="2"/>
                      </a:moveTo>
                      <a:lnTo>
                        <a:pt x="3" y="2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3" name="Freeform 343">
                  <a:extLst>
                    <a:ext uri="{FF2B5EF4-FFF2-40B4-BE49-F238E27FC236}">
                      <a16:creationId xmlns:a16="http://schemas.microsoft.com/office/drawing/2014/main" id="{661605EB-7517-4892-8E59-6D05AB9E87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32" y="2595"/>
                  <a:ext cx="21" cy="26"/>
                </a:xfrm>
                <a:custGeom>
                  <a:avLst/>
                  <a:gdLst>
                    <a:gd name="T0" fmla="*/ 7 w 21"/>
                    <a:gd name="T1" fmla="*/ 3 h 26"/>
                    <a:gd name="T2" fmla="*/ 4 w 21"/>
                    <a:gd name="T3" fmla="*/ 0 h 26"/>
                    <a:gd name="T4" fmla="*/ 0 w 21"/>
                    <a:gd name="T5" fmla="*/ 1 h 26"/>
                    <a:gd name="T6" fmla="*/ 0 w 21"/>
                    <a:gd name="T7" fmla="*/ 3 h 26"/>
                    <a:gd name="T8" fmla="*/ 3 w 21"/>
                    <a:gd name="T9" fmla="*/ 4 h 26"/>
                    <a:gd name="T10" fmla="*/ 4 w 21"/>
                    <a:gd name="T11" fmla="*/ 5 h 26"/>
                    <a:gd name="T12" fmla="*/ 4 w 21"/>
                    <a:gd name="T13" fmla="*/ 8 h 26"/>
                    <a:gd name="T14" fmla="*/ 4 w 21"/>
                    <a:gd name="T15" fmla="*/ 11 h 26"/>
                    <a:gd name="T16" fmla="*/ 4 w 21"/>
                    <a:gd name="T17" fmla="*/ 17 h 26"/>
                    <a:gd name="T18" fmla="*/ 3 w 21"/>
                    <a:gd name="T19" fmla="*/ 21 h 26"/>
                    <a:gd name="T20" fmla="*/ 4 w 21"/>
                    <a:gd name="T21" fmla="*/ 26 h 26"/>
                    <a:gd name="T22" fmla="*/ 5 w 21"/>
                    <a:gd name="T23" fmla="*/ 26 h 26"/>
                    <a:gd name="T24" fmla="*/ 6 w 21"/>
                    <a:gd name="T25" fmla="*/ 25 h 26"/>
                    <a:gd name="T26" fmla="*/ 9 w 21"/>
                    <a:gd name="T27" fmla="*/ 23 h 26"/>
                    <a:gd name="T28" fmla="*/ 11 w 21"/>
                    <a:gd name="T29" fmla="*/ 23 h 26"/>
                    <a:gd name="T30" fmla="*/ 11 w 21"/>
                    <a:gd name="T31" fmla="*/ 21 h 26"/>
                    <a:gd name="T32" fmla="*/ 13 w 21"/>
                    <a:gd name="T33" fmla="*/ 21 h 26"/>
                    <a:gd name="T34" fmla="*/ 14 w 21"/>
                    <a:gd name="T35" fmla="*/ 19 h 26"/>
                    <a:gd name="T36" fmla="*/ 18 w 21"/>
                    <a:gd name="T37" fmla="*/ 16 h 26"/>
                    <a:gd name="T38" fmla="*/ 19 w 21"/>
                    <a:gd name="T39" fmla="*/ 12 h 26"/>
                    <a:gd name="T40" fmla="*/ 21 w 21"/>
                    <a:gd name="T41" fmla="*/ 11 h 26"/>
                    <a:gd name="T42" fmla="*/ 21 w 21"/>
                    <a:gd name="T43" fmla="*/ 8 h 26"/>
                    <a:gd name="T44" fmla="*/ 20 w 21"/>
                    <a:gd name="T45" fmla="*/ 5 h 26"/>
                    <a:gd name="T46" fmla="*/ 18 w 21"/>
                    <a:gd name="T47" fmla="*/ 6 h 26"/>
                    <a:gd name="T48" fmla="*/ 16 w 21"/>
                    <a:gd name="T49" fmla="*/ 9 h 26"/>
                    <a:gd name="T50" fmla="*/ 14 w 21"/>
                    <a:gd name="T51" fmla="*/ 6 h 26"/>
                    <a:gd name="T52" fmla="*/ 12 w 21"/>
                    <a:gd name="T53" fmla="*/ 5 h 26"/>
                    <a:gd name="T54" fmla="*/ 10 w 21"/>
                    <a:gd name="T55" fmla="*/ 5 h 26"/>
                    <a:gd name="T56" fmla="*/ 8 w 21"/>
                    <a:gd name="T57" fmla="*/ 5 h 26"/>
                    <a:gd name="T58" fmla="*/ 8 w 21"/>
                    <a:gd name="T59" fmla="*/ 4 h 26"/>
                    <a:gd name="T60" fmla="*/ 7 w 21"/>
                    <a:gd name="T61" fmla="*/ 3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1" h="26">
                      <a:moveTo>
                        <a:pt x="7" y="3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3" y="4"/>
                      </a:lnTo>
                      <a:lnTo>
                        <a:pt x="4" y="5"/>
                      </a:lnTo>
                      <a:lnTo>
                        <a:pt x="4" y="8"/>
                      </a:lnTo>
                      <a:lnTo>
                        <a:pt x="4" y="11"/>
                      </a:lnTo>
                      <a:lnTo>
                        <a:pt x="4" y="17"/>
                      </a:lnTo>
                      <a:lnTo>
                        <a:pt x="3" y="21"/>
                      </a:lnTo>
                      <a:lnTo>
                        <a:pt x="4" y="26"/>
                      </a:lnTo>
                      <a:lnTo>
                        <a:pt x="5" y="26"/>
                      </a:lnTo>
                      <a:lnTo>
                        <a:pt x="6" y="25"/>
                      </a:lnTo>
                      <a:lnTo>
                        <a:pt x="9" y="23"/>
                      </a:lnTo>
                      <a:lnTo>
                        <a:pt x="11" y="23"/>
                      </a:lnTo>
                      <a:lnTo>
                        <a:pt x="11" y="21"/>
                      </a:lnTo>
                      <a:lnTo>
                        <a:pt x="13" y="21"/>
                      </a:lnTo>
                      <a:lnTo>
                        <a:pt x="14" y="19"/>
                      </a:lnTo>
                      <a:lnTo>
                        <a:pt x="18" y="16"/>
                      </a:lnTo>
                      <a:lnTo>
                        <a:pt x="19" y="12"/>
                      </a:lnTo>
                      <a:lnTo>
                        <a:pt x="21" y="11"/>
                      </a:lnTo>
                      <a:lnTo>
                        <a:pt x="21" y="8"/>
                      </a:lnTo>
                      <a:lnTo>
                        <a:pt x="20" y="5"/>
                      </a:lnTo>
                      <a:lnTo>
                        <a:pt x="18" y="6"/>
                      </a:lnTo>
                      <a:lnTo>
                        <a:pt x="16" y="9"/>
                      </a:lnTo>
                      <a:lnTo>
                        <a:pt x="14" y="6"/>
                      </a:lnTo>
                      <a:lnTo>
                        <a:pt x="12" y="5"/>
                      </a:lnTo>
                      <a:lnTo>
                        <a:pt x="10" y="5"/>
                      </a:lnTo>
                      <a:lnTo>
                        <a:pt x="8" y="5"/>
                      </a:lnTo>
                      <a:lnTo>
                        <a:pt x="8" y="4"/>
                      </a:lnTo>
                      <a:lnTo>
                        <a:pt x="7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4" name="Freeform 344">
                  <a:extLst>
                    <a:ext uri="{FF2B5EF4-FFF2-40B4-BE49-F238E27FC236}">
                      <a16:creationId xmlns:a16="http://schemas.microsoft.com/office/drawing/2014/main" id="{CED7E53D-AC72-4E80-8241-F839C013FD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1" y="2585"/>
                  <a:ext cx="3" cy="3"/>
                </a:xfrm>
                <a:custGeom>
                  <a:avLst/>
                  <a:gdLst>
                    <a:gd name="T0" fmla="*/ 3 w 3"/>
                    <a:gd name="T1" fmla="*/ 2 h 3"/>
                    <a:gd name="T2" fmla="*/ 3 w 3"/>
                    <a:gd name="T3" fmla="*/ 1 h 3"/>
                    <a:gd name="T4" fmla="*/ 2 w 3"/>
                    <a:gd name="T5" fmla="*/ 0 h 3"/>
                    <a:gd name="T6" fmla="*/ 0 w 3"/>
                    <a:gd name="T7" fmla="*/ 1 h 3"/>
                    <a:gd name="T8" fmla="*/ 1 w 3"/>
                    <a:gd name="T9" fmla="*/ 3 h 3"/>
                    <a:gd name="T10" fmla="*/ 3 w 3"/>
                    <a:gd name="T11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3">
                      <a:moveTo>
                        <a:pt x="3" y="2"/>
                      </a:move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5" name="Freeform 345">
                  <a:extLst>
                    <a:ext uri="{FF2B5EF4-FFF2-40B4-BE49-F238E27FC236}">
                      <a16:creationId xmlns:a16="http://schemas.microsoft.com/office/drawing/2014/main" id="{7CBD84FF-5B85-40D4-A212-CD25CD14DA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7" y="2621"/>
                  <a:ext cx="4" cy="14"/>
                </a:xfrm>
                <a:custGeom>
                  <a:avLst/>
                  <a:gdLst>
                    <a:gd name="T0" fmla="*/ 0 w 4"/>
                    <a:gd name="T1" fmla="*/ 5 h 14"/>
                    <a:gd name="T2" fmla="*/ 1 w 4"/>
                    <a:gd name="T3" fmla="*/ 9 h 14"/>
                    <a:gd name="T4" fmla="*/ 1 w 4"/>
                    <a:gd name="T5" fmla="*/ 11 h 14"/>
                    <a:gd name="T6" fmla="*/ 2 w 4"/>
                    <a:gd name="T7" fmla="*/ 13 h 14"/>
                    <a:gd name="T8" fmla="*/ 3 w 4"/>
                    <a:gd name="T9" fmla="*/ 14 h 14"/>
                    <a:gd name="T10" fmla="*/ 4 w 4"/>
                    <a:gd name="T11" fmla="*/ 10 h 14"/>
                    <a:gd name="T12" fmla="*/ 1 w 4"/>
                    <a:gd name="T13" fmla="*/ 7 h 14"/>
                    <a:gd name="T14" fmla="*/ 1 w 4"/>
                    <a:gd name="T15" fmla="*/ 4 h 14"/>
                    <a:gd name="T16" fmla="*/ 3 w 4"/>
                    <a:gd name="T17" fmla="*/ 3 h 14"/>
                    <a:gd name="T18" fmla="*/ 2 w 4"/>
                    <a:gd name="T19" fmla="*/ 0 h 14"/>
                    <a:gd name="T20" fmla="*/ 1 w 4"/>
                    <a:gd name="T21" fmla="*/ 1 h 14"/>
                    <a:gd name="T22" fmla="*/ 0 w 4"/>
                    <a:gd name="T23" fmla="*/ 5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" h="14">
                      <a:moveTo>
                        <a:pt x="0" y="5"/>
                      </a:moveTo>
                      <a:lnTo>
                        <a:pt x="1" y="9"/>
                      </a:lnTo>
                      <a:lnTo>
                        <a:pt x="1" y="11"/>
                      </a:lnTo>
                      <a:lnTo>
                        <a:pt x="2" y="13"/>
                      </a:lnTo>
                      <a:lnTo>
                        <a:pt x="3" y="14"/>
                      </a:lnTo>
                      <a:lnTo>
                        <a:pt x="4" y="10"/>
                      </a:lnTo>
                      <a:lnTo>
                        <a:pt x="1" y="7"/>
                      </a:lnTo>
                      <a:lnTo>
                        <a:pt x="1" y="4"/>
                      </a:lnTo>
                      <a:lnTo>
                        <a:pt x="3" y="3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6" name="Freeform 346">
                  <a:extLst>
                    <a:ext uri="{FF2B5EF4-FFF2-40B4-BE49-F238E27FC236}">
                      <a16:creationId xmlns:a16="http://schemas.microsoft.com/office/drawing/2014/main" id="{6FB6782E-3CDB-4153-82DD-724DDF9485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1" y="2583"/>
                  <a:ext cx="14" cy="14"/>
                </a:xfrm>
                <a:custGeom>
                  <a:avLst/>
                  <a:gdLst>
                    <a:gd name="T0" fmla="*/ 0 w 14"/>
                    <a:gd name="T1" fmla="*/ 10 h 14"/>
                    <a:gd name="T2" fmla="*/ 1 w 14"/>
                    <a:gd name="T3" fmla="*/ 12 h 14"/>
                    <a:gd name="T4" fmla="*/ 3 w 14"/>
                    <a:gd name="T5" fmla="*/ 7 h 14"/>
                    <a:gd name="T6" fmla="*/ 6 w 14"/>
                    <a:gd name="T7" fmla="*/ 7 h 14"/>
                    <a:gd name="T8" fmla="*/ 9 w 14"/>
                    <a:gd name="T9" fmla="*/ 12 h 14"/>
                    <a:gd name="T10" fmla="*/ 12 w 14"/>
                    <a:gd name="T11" fmla="*/ 14 h 14"/>
                    <a:gd name="T12" fmla="*/ 14 w 14"/>
                    <a:gd name="T13" fmla="*/ 14 h 14"/>
                    <a:gd name="T14" fmla="*/ 14 w 14"/>
                    <a:gd name="T15" fmla="*/ 11 h 14"/>
                    <a:gd name="T16" fmla="*/ 13 w 14"/>
                    <a:gd name="T17" fmla="*/ 9 h 14"/>
                    <a:gd name="T18" fmla="*/ 8 w 14"/>
                    <a:gd name="T19" fmla="*/ 5 h 14"/>
                    <a:gd name="T20" fmla="*/ 6 w 14"/>
                    <a:gd name="T21" fmla="*/ 5 h 14"/>
                    <a:gd name="T22" fmla="*/ 4 w 14"/>
                    <a:gd name="T23" fmla="*/ 2 h 14"/>
                    <a:gd name="T24" fmla="*/ 2 w 14"/>
                    <a:gd name="T25" fmla="*/ 2 h 14"/>
                    <a:gd name="T26" fmla="*/ 3 w 14"/>
                    <a:gd name="T27" fmla="*/ 1 h 14"/>
                    <a:gd name="T28" fmla="*/ 1 w 14"/>
                    <a:gd name="T29" fmla="*/ 0 h 14"/>
                    <a:gd name="T30" fmla="*/ 1 w 14"/>
                    <a:gd name="T31" fmla="*/ 4 h 14"/>
                    <a:gd name="T32" fmla="*/ 2 w 14"/>
                    <a:gd name="T33" fmla="*/ 7 h 14"/>
                    <a:gd name="T34" fmla="*/ 0 w 14"/>
                    <a:gd name="T35" fmla="*/ 8 h 14"/>
                    <a:gd name="T36" fmla="*/ 0 w 14"/>
                    <a:gd name="T37" fmla="*/ 1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4" h="14">
                      <a:moveTo>
                        <a:pt x="0" y="10"/>
                      </a:moveTo>
                      <a:lnTo>
                        <a:pt x="1" y="12"/>
                      </a:lnTo>
                      <a:lnTo>
                        <a:pt x="3" y="7"/>
                      </a:lnTo>
                      <a:lnTo>
                        <a:pt x="6" y="7"/>
                      </a:lnTo>
                      <a:lnTo>
                        <a:pt x="9" y="12"/>
                      </a:lnTo>
                      <a:lnTo>
                        <a:pt x="12" y="14"/>
                      </a:lnTo>
                      <a:lnTo>
                        <a:pt x="14" y="14"/>
                      </a:lnTo>
                      <a:lnTo>
                        <a:pt x="14" y="11"/>
                      </a:lnTo>
                      <a:lnTo>
                        <a:pt x="13" y="9"/>
                      </a:lnTo>
                      <a:lnTo>
                        <a:pt x="8" y="5"/>
                      </a:lnTo>
                      <a:lnTo>
                        <a:pt x="6" y="5"/>
                      </a:lnTo>
                      <a:lnTo>
                        <a:pt x="4" y="2"/>
                      </a:lnTo>
                      <a:lnTo>
                        <a:pt x="2" y="2"/>
                      </a:lnTo>
                      <a:lnTo>
                        <a:pt x="3" y="1"/>
                      </a:lnTo>
                      <a:lnTo>
                        <a:pt x="1" y="0"/>
                      </a:lnTo>
                      <a:lnTo>
                        <a:pt x="1" y="4"/>
                      </a:lnTo>
                      <a:lnTo>
                        <a:pt x="2" y="7"/>
                      </a:lnTo>
                      <a:lnTo>
                        <a:pt x="0" y="8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7" name="Freeform 347">
                  <a:extLst>
                    <a:ext uri="{FF2B5EF4-FFF2-40B4-BE49-F238E27FC236}">
                      <a16:creationId xmlns:a16="http://schemas.microsoft.com/office/drawing/2014/main" id="{F66D4798-5487-4EDB-A256-7399CB5C1A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33" y="2581"/>
                  <a:ext cx="4" cy="12"/>
                </a:xfrm>
                <a:custGeom>
                  <a:avLst/>
                  <a:gdLst>
                    <a:gd name="T0" fmla="*/ 3 w 4"/>
                    <a:gd name="T1" fmla="*/ 1 h 12"/>
                    <a:gd name="T2" fmla="*/ 2 w 4"/>
                    <a:gd name="T3" fmla="*/ 4 h 12"/>
                    <a:gd name="T4" fmla="*/ 0 w 4"/>
                    <a:gd name="T5" fmla="*/ 7 h 12"/>
                    <a:gd name="T6" fmla="*/ 2 w 4"/>
                    <a:gd name="T7" fmla="*/ 12 h 12"/>
                    <a:gd name="T8" fmla="*/ 3 w 4"/>
                    <a:gd name="T9" fmla="*/ 11 h 12"/>
                    <a:gd name="T10" fmla="*/ 4 w 4"/>
                    <a:gd name="T11" fmla="*/ 6 h 12"/>
                    <a:gd name="T12" fmla="*/ 3 w 4"/>
                    <a:gd name="T13" fmla="*/ 4 h 12"/>
                    <a:gd name="T14" fmla="*/ 4 w 4"/>
                    <a:gd name="T15" fmla="*/ 0 h 12"/>
                    <a:gd name="T16" fmla="*/ 3 w 4"/>
                    <a:gd name="T17" fmla="*/ 1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12">
                      <a:moveTo>
                        <a:pt x="3" y="1"/>
                      </a:moveTo>
                      <a:lnTo>
                        <a:pt x="2" y="4"/>
                      </a:lnTo>
                      <a:lnTo>
                        <a:pt x="0" y="7"/>
                      </a:lnTo>
                      <a:lnTo>
                        <a:pt x="2" y="12"/>
                      </a:lnTo>
                      <a:lnTo>
                        <a:pt x="3" y="11"/>
                      </a:lnTo>
                      <a:lnTo>
                        <a:pt x="4" y="6"/>
                      </a:lnTo>
                      <a:lnTo>
                        <a:pt x="3" y="4"/>
                      </a:lnTo>
                      <a:lnTo>
                        <a:pt x="4" y="0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8" name="Freeform 348">
                  <a:extLst>
                    <a:ext uri="{FF2B5EF4-FFF2-40B4-BE49-F238E27FC236}">
                      <a16:creationId xmlns:a16="http://schemas.microsoft.com/office/drawing/2014/main" id="{9C607B7C-D14D-41F0-8F86-4720322337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7" y="2583"/>
                  <a:ext cx="4" cy="4"/>
                </a:xfrm>
                <a:custGeom>
                  <a:avLst/>
                  <a:gdLst>
                    <a:gd name="T0" fmla="*/ 3 w 4"/>
                    <a:gd name="T1" fmla="*/ 4 h 4"/>
                    <a:gd name="T2" fmla="*/ 4 w 4"/>
                    <a:gd name="T3" fmla="*/ 4 h 4"/>
                    <a:gd name="T4" fmla="*/ 2 w 4"/>
                    <a:gd name="T5" fmla="*/ 0 h 4"/>
                    <a:gd name="T6" fmla="*/ 0 w 4"/>
                    <a:gd name="T7" fmla="*/ 0 h 4"/>
                    <a:gd name="T8" fmla="*/ 0 w 4"/>
                    <a:gd name="T9" fmla="*/ 1 h 4"/>
                    <a:gd name="T10" fmla="*/ 3 w 4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4">
                      <a:moveTo>
                        <a:pt x="3" y="4"/>
                      </a:moveTo>
                      <a:lnTo>
                        <a:pt x="4" y="4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9" name="Freeform 349">
                  <a:extLst>
                    <a:ext uri="{FF2B5EF4-FFF2-40B4-BE49-F238E27FC236}">
                      <a16:creationId xmlns:a16="http://schemas.microsoft.com/office/drawing/2014/main" id="{3EBC3E48-206D-49AC-82A9-2A47E9F927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2" y="2618"/>
                  <a:ext cx="4" cy="6"/>
                </a:xfrm>
                <a:custGeom>
                  <a:avLst/>
                  <a:gdLst>
                    <a:gd name="T0" fmla="*/ 4 w 4"/>
                    <a:gd name="T1" fmla="*/ 3 h 6"/>
                    <a:gd name="T2" fmla="*/ 4 w 4"/>
                    <a:gd name="T3" fmla="*/ 0 h 6"/>
                    <a:gd name="T4" fmla="*/ 3 w 4"/>
                    <a:gd name="T5" fmla="*/ 0 h 6"/>
                    <a:gd name="T6" fmla="*/ 1 w 4"/>
                    <a:gd name="T7" fmla="*/ 0 h 6"/>
                    <a:gd name="T8" fmla="*/ 0 w 4"/>
                    <a:gd name="T9" fmla="*/ 3 h 6"/>
                    <a:gd name="T10" fmla="*/ 1 w 4"/>
                    <a:gd name="T11" fmla="*/ 6 h 6"/>
                    <a:gd name="T12" fmla="*/ 4 w 4"/>
                    <a:gd name="T1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6">
                      <a:moveTo>
                        <a:pt x="4" y="3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1" y="6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0" name="Freeform 350">
                  <a:extLst>
                    <a:ext uri="{FF2B5EF4-FFF2-40B4-BE49-F238E27FC236}">
                      <a16:creationId xmlns:a16="http://schemas.microsoft.com/office/drawing/2014/main" id="{D749C872-7696-4469-B6E8-0EB54ECF2E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08" y="2566"/>
                  <a:ext cx="19" cy="25"/>
                </a:xfrm>
                <a:custGeom>
                  <a:avLst/>
                  <a:gdLst>
                    <a:gd name="T0" fmla="*/ 18 w 19"/>
                    <a:gd name="T1" fmla="*/ 7 h 25"/>
                    <a:gd name="T2" fmla="*/ 16 w 19"/>
                    <a:gd name="T3" fmla="*/ 7 h 25"/>
                    <a:gd name="T4" fmla="*/ 10 w 19"/>
                    <a:gd name="T5" fmla="*/ 0 h 25"/>
                    <a:gd name="T6" fmla="*/ 7 w 19"/>
                    <a:gd name="T7" fmla="*/ 1 h 25"/>
                    <a:gd name="T8" fmla="*/ 4 w 19"/>
                    <a:gd name="T9" fmla="*/ 0 h 25"/>
                    <a:gd name="T10" fmla="*/ 0 w 19"/>
                    <a:gd name="T11" fmla="*/ 1 h 25"/>
                    <a:gd name="T12" fmla="*/ 1 w 19"/>
                    <a:gd name="T13" fmla="*/ 3 h 25"/>
                    <a:gd name="T14" fmla="*/ 4 w 19"/>
                    <a:gd name="T15" fmla="*/ 3 h 25"/>
                    <a:gd name="T16" fmla="*/ 4 w 19"/>
                    <a:gd name="T17" fmla="*/ 7 h 25"/>
                    <a:gd name="T18" fmla="*/ 6 w 19"/>
                    <a:gd name="T19" fmla="*/ 7 h 25"/>
                    <a:gd name="T20" fmla="*/ 7 w 19"/>
                    <a:gd name="T21" fmla="*/ 10 h 25"/>
                    <a:gd name="T22" fmla="*/ 7 w 19"/>
                    <a:gd name="T23" fmla="*/ 16 h 25"/>
                    <a:gd name="T24" fmla="*/ 10 w 19"/>
                    <a:gd name="T25" fmla="*/ 17 h 25"/>
                    <a:gd name="T26" fmla="*/ 10 w 19"/>
                    <a:gd name="T27" fmla="*/ 21 h 25"/>
                    <a:gd name="T28" fmla="*/ 13 w 19"/>
                    <a:gd name="T29" fmla="*/ 24 h 25"/>
                    <a:gd name="T30" fmla="*/ 15 w 19"/>
                    <a:gd name="T31" fmla="*/ 25 h 25"/>
                    <a:gd name="T32" fmla="*/ 18 w 19"/>
                    <a:gd name="T33" fmla="*/ 22 h 25"/>
                    <a:gd name="T34" fmla="*/ 18 w 19"/>
                    <a:gd name="T35" fmla="*/ 20 h 25"/>
                    <a:gd name="T36" fmla="*/ 19 w 19"/>
                    <a:gd name="T37" fmla="*/ 18 h 25"/>
                    <a:gd name="T38" fmla="*/ 19 w 19"/>
                    <a:gd name="T39" fmla="*/ 16 h 25"/>
                    <a:gd name="T40" fmla="*/ 18 w 19"/>
                    <a:gd name="T41" fmla="*/ 13 h 25"/>
                    <a:gd name="T42" fmla="*/ 18 w 19"/>
                    <a:gd name="T43" fmla="*/ 10 h 25"/>
                    <a:gd name="T44" fmla="*/ 18 w 19"/>
                    <a:gd name="T45" fmla="*/ 7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9" h="25">
                      <a:moveTo>
                        <a:pt x="18" y="7"/>
                      </a:moveTo>
                      <a:lnTo>
                        <a:pt x="16" y="7"/>
                      </a:lnTo>
                      <a:lnTo>
                        <a:pt x="10" y="0"/>
                      </a:lnTo>
                      <a:lnTo>
                        <a:pt x="7" y="1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4" y="3"/>
                      </a:lnTo>
                      <a:lnTo>
                        <a:pt x="4" y="7"/>
                      </a:lnTo>
                      <a:lnTo>
                        <a:pt x="6" y="7"/>
                      </a:lnTo>
                      <a:lnTo>
                        <a:pt x="7" y="10"/>
                      </a:lnTo>
                      <a:lnTo>
                        <a:pt x="7" y="16"/>
                      </a:lnTo>
                      <a:lnTo>
                        <a:pt x="10" y="17"/>
                      </a:lnTo>
                      <a:lnTo>
                        <a:pt x="10" y="21"/>
                      </a:lnTo>
                      <a:lnTo>
                        <a:pt x="13" y="24"/>
                      </a:lnTo>
                      <a:lnTo>
                        <a:pt x="15" y="25"/>
                      </a:lnTo>
                      <a:lnTo>
                        <a:pt x="18" y="22"/>
                      </a:lnTo>
                      <a:lnTo>
                        <a:pt x="18" y="20"/>
                      </a:lnTo>
                      <a:lnTo>
                        <a:pt x="19" y="18"/>
                      </a:lnTo>
                      <a:lnTo>
                        <a:pt x="19" y="16"/>
                      </a:lnTo>
                      <a:lnTo>
                        <a:pt x="18" y="13"/>
                      </a:lnTo>
                      <a:lnTo>
                        <a:pt x="18" y="10"/>
                      </a:lnTo>
                      <a:lnTo>
                        <a:pt x="18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1" name="Freeform 351">
                  <a:extLst>
                    <a:ext uri="{FF2B5EF4-FFF2-40B4-BE49-F238E27FC236}">
                      <a16:creationId xmlns:a16="http://schemas.microsoft.com/office/drawing/2014/main" id="{543E818E-5854-4607-BDBD-742439B73D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6" y="2609"/>
                  <a:ext cx="9" cy="30"/>
                </a:xfrm>
                <a:custGeom>
                  <a:avLst/>
                  <a:gdLst>
                    <a:gd name="T0" fmla="*/ 9 w 9"/>
                    <a:gd name="T1" fmla="*/ 0 h 30"/>
                    <a:gd name="T2" fmla="*/ 8 w 9"/>
                    <a:gd name="T3" fmla="*/ 1 h 30"/>
                    <a:gd name="T4" fmla="*/ 7 w 9"/>
                    <a:gd name="T5" fmla="*/ 7 h 30"/>
                    <a:gd name="T6" fmla="*/ 4 w 9"/>
                    <a:gd name="T7" fmla="*/ 12 h 30"/>
                    <a:gd name="T8" fmla="*/ 4 w 9"/>
                    <a:gd name="T9" fmla="*/ 16 h 30"/>
                    <a:gd name="T10" fmla="*/ 2 w 9"/>
                    <a:gd name="T11" fmla="*/ 21 h 30"/>
                    <a:gd name="T12" fmla="*/ 1 w 9"/>
                    <a:gd name="T13" fmla="*/ 24 h 30"/>
                    <a:gd name="T14" fmla="*/ 0 w 9"/>
                    <a:gd name="T15" fmla="*/ 27 h 30"/>
                    <a:gd name="T16" fmla="*/ 1 w 9"/>
                    <a:gd name="T17" fmla="*/ 30 h 30"/>
                    <a:gd name="T18" fmla="*/ 3 w 9"/>
                    <a:gd name="T19" fmla="*/ 27 h 30"/>
                    <a:gd name="T20" fmla="*/ 4 w 9"/>
                    <a:gd name="T21" fmla="*/ 20 h 30"/>
                    <a:gd name="T22" fmla="*/ 8 w 9"/>
                    <a:gd name="T23" fmla="*/ 15 h 30"/>
                    <a:gd name="T24" fmla="*/ 8 w 9"/>
                    <a:gd name="T25" fmla="*/ 12 h 30"/>
                    <a:gd name="T26" fmla="*/ 8 w 9"/>
                    <a:gd name="T27" fmla="*/ 9 h 30"/>
                    <a:gd name="T28" fmla="*/ 9 w 9"/>
                    <a:gd name="T29" fmla="*/ 6 h 30"/>
                    <a:gd name="T30" fmla="*/ 9 w 9"/>
                    <a:gd name="T3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9" h="30">
                      <a:moveTo>
                        <a:pt x="9" y="0"/>
                      </a:moveTo>
                      <a:lnTo>
                        <a:pt x="8" y="1"/>
                      </a:lnTo>
                      <a:lnTo>
                        <a:pt x="7" y="7"/>
                      </a:lnTo>
                      <a:lnTo>
                        <a:pt x="4" y="12"/>
                      </a:lnTo>
                      <a:lnTo>
                        <a:pt x="4" y="16"/>
                      </a:lnTo>
                      <a:lnTo>
                        <a:pt x="2" y="21"/>
                      </a:lnTo>
                      <a:lnTo>
                        <a:pt x="1" y="24"/>
                      </a:lnTo>
                      <a:lnTo>
                        <a:pt x="0" y="27"/>
                      </a:lnTo>
                      <a:lnTo>
                        <a:pt x="1" y="30"/>
                      </a:lnTo>
                      <a:lnTo>
                        <a:pt x="3" y="27"/>
                      </a:lnTo>
                      <a:lnTo>
                        <a:pt x="4" y="20"/>
                      </a:lnTo>
                      <a:lnTo>
                        <a:pt x="8" y="15"/>
                      </a:lnTo>
                      <a:lnTo>
                        <a:pt x="8" y="12"/>
                      </a:lnTo>
                      <a:lnTo>
                        <a:pt x="8" y="9"/>
                      </a:lnTo>
                      <a:lnTo>
                        <a:pt x="9" y="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2" name="Freeform 352">
                  <a:extLst>
                    <a:ext uri="{FF2B5EF4-FFF2-40B4-BE49-F238E27FC236}">
                      <a16:creationId xmlns:a16="http://schemas.microsoft.com/office/drawing/2014/main" id="{68B9D9AE-A8D4-440A-AD37-10998B8782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93" y="2635"/>
                  <a:ext cx="2" cy="3"/>
                </a:xfrm>
                <a:custGeom>
                  <a:avLst/>
                  <a:gdLst>
                    <a:gd name="T0" fmla="*/ 0 w 2"/>
                    <a:gd name="T1" fmla="*/ 2 h 3"/>
                    <a:gd name="T2" fmla="*/ 1 w 2"/>
                    <a:gd name="T3" fmla="*/ 3 h 3"/>
                    <a:gd name="T4" fmla="*/ 2 w 2"/>
                    <a:gd name="T5" fmla="*/ 2 h 3"/>
                    <a:gd name="T6" fmla="*/ 0 w 2"/>
                    <a:gd name="T7" fmla="*/ 0 h 3"/>
                    <a:gd name="T8" fmla="*/ 0 w 2"/>
                    <a:gd name="T9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0" y="2"/>
                      </a:moveTo>
                      <a:lnTo>
                        <a:pt x="1" y="3"/>
                      </a:ln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3" name="Freeform 353">
                  <a:extLst>
                    <a:ext uri="{FF2B5EF4-FFF2-40B4-BE49-F238E27FC236}">
                      <a16:creationId xmlns:a16="http://schemas.microsoft.com/office/drawing/2014/main" id="{3EF54ED2-52AE-4FB4-ACF7-B706B27130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2" y="2614"/>
                  <a:ext cx="16" cy="33"/>
                </a:xfrm>
                <a:custGeom>
                  <a:avLst/>
                  <a:gdLst>
                    <a:gd name="T0" fmla="*/ 1 w 16"/>
                    <a:gd name="T1" fmla="*/ 24 h 33"/>
                    <a:gd name="T2" fmla="*/ 3 w 16"/>
                    <a:gd name="T3" fmla="*/ 25 h 33"/>
                    <a:gd name="T4" fmla="*/ 6 w 16"/>
                    <a:gd name="T5" fmla="*/ 28 h 33"/>
                    <a:gd name="T6" fmla="*/ 9 w 16"/>
                    <a:gd name="T7" fmla="*/ 28 h 33"/>
                    <a:gd name="T8" fmla="*/ 9 w 16"/>
                    <a:gd name="T9" fmla="*/ 31 h 33"/>
                    <a:gd name="T10" fmla="*/ 11 w 16"/>
                    <a:gd name="T11" fmla="*/ 33 h 33"/>
                    <a:gd name="T12" fmla="*/ 14 w 16"/>
                    <a:gd name="T13" fmla="*/ 31 h 33"/>
                    <a:gd name="T14" fmla="*/ 14 w 16"/>
                    <a:gd name="T15" fmla="*/ 28 h 33"/>
                    <a:gd name="T16" fmla="*/ 11 w 16"/>
                    <a:gd name="T17" fmla="*/ 24 h 33"/>
                    <a:gd name="T18" fmla="*/ 11 w 16"/>
                    <a:gd name="T19" fmla="*/ 17 h 33"/>
                    <a:gd name="T20" fmla="*/ 13 w 16"/>
                    <a:gd name="T21" fmla="*/ 7 h 33"/>
                    <a:gd name="T22" fmla="*/ 15 w 16"/>
                    <a:gd name="T23" fmla="*/ 4 h 33"/>
                    <a:gd name="T24" fmla="*/ 16 w 16"/>
                    <a:gd name="T25" fmla="*/ 1 h 33"/>
                    <a:gd name="T26" fmla="*/ 14 w 16"/>
                    <a:gd name="T27" fmla="*/ 0 h 33"/>
                    <a:gd name="T28" fmla="*/ 12 w 16"/>
                    <a:gd name="T29" fmla="*/ 0 h 33"/>
                    <a:gd name="T30" fmla="*/ 11 w 16"/>
                    <a:gd name="T31" fmla="*/ 0 h 33"/>
                    <a:gd name="T32" fmla="*/ 8 w 16"/>
                    <a:gd name="T33" fmla="*/ 1 h 33"/>
                    <a:gd name="T34" fmla="*/ 8 w 16"/>
                    <a:gd name="T35" fmla="*/ 4 h 33"/>
                    <a:gd name="T36" fmla="*/ 7 w 16"/>
                    <a:gd name="T37" fmla="*/ 7 h 33"/>
                    <a:gd name="T38" fmla="*/ 7 w 16"/>
                    <a:gd name="T39" fmla="*/ 12 h 33"/>
                    <a:gd name="T40" fmla="*/ 5 w 16"/>
                    <a:gd name="T41" fmla="*/ 16 h 33"/>
                    <a:gd name="T42" fmla="*/ 1 w 16"/>
                    <a:gd name="T43" fmla="*/ 18 h 33"/>
                    <a:gd name="T44" fmla="*/ 0 w 16"/>
                    <a:gd name="T45" fmla="*/ 19 h 33"/>
                    <a:gd name="T46" fmla="*/ 1 w 16"/>
                    <a:gd name="T47" fmla="*/ 24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6" h="33">
                      <a:moveTo>
                        <a:pt x="1" y="24"/>
                      </a:moveTo>
                      <a:lnTo>
                        <a:pt x="3" y="25"/>
                      </a:lnTo>
                      <a:lnTo>
                        <a:pt x="6" y="28"/>
                      </a:lnTo>
                      <a:lnTo>
                        <a:pt x="9" y="28"/>
                      </a:lnTo>
                      <a:lnTo>
                        <a:pt x="9" y="31"/>
                      </a:lnTo>
                      <a:lnTo>
                        <a:pt x="11" y="33"/>
                      </a:lnTo>
                      <a:lnTo>
                        <a:pt x="14" y="31"/>
                      </a:lnTo>
                      <a:lnTo>
                        <a:pt x="14" y="28"/>
                      </a:lnTo>
                      <a:lnTo>
                        <a:pt x="11" y="24"/>
                      </a:lnTo>
                      <a:lnTo>
                        <a:pt x="11" y="17"/>
                      </a:lnTo>
                      <a:lnTo>
                        <a:pt x="13" y="7"/>
                      </a:lnTo>
                      <a:lnTo>
                        <a:pt x="15" y="4"/>
                      </a:lnTo>
                      <a:lnTo>
                        <a:pt x="16" y="1"/>
                      </a:lnTo>
                      <a:lnTo>
                        <a:pt x="14" y="0"/>
                      </a:lnTo>
                      <a:lnTo>
                        <a:pt x="12" y="0"/>
                      </a:lnTo>
                      <a:lnTo>
                        <a:pt x="11" y="0"/>
                      </a:lnTo>
                      <a:lnTo>
                        <a:pt x="8" y="1"/>
                      </a:lnTo>
                      <a:lnTo>
                        <a:pt x="8" y="4"/>
                      </a:lnTo>
                      <a:lnTo>
                        <a:pt x="7" y="7"/>
                      </a:lnTo>
                      <a:lnTo>
                        <a:pt x="7" y="12"/>
                      </a:lnTo>
                      <a:lnTo>
                        <a:pt x="5" y="16"/>
                      </a:lnTo>
                      <a:lnTo>
                        <a:pt x="1" y="18"/>
                      </a:lnTo>
                      <a:lnTo>
                        <a:pt x="0" y="19"/>
                      </a:lnTo>
                      <a:lnTo>
                        <a:pt x="1" y="2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4" name="Freeform 354">
                  <a:extLst>
                    <a:ext uri="{FF2B5EF4-FFF2-40B4-BE49-F238E27FC236}">
                      <a16:creationId xmlns:a16="http://schemas.microsoft.com/office/drawing/2014/main" id="{E9F9E11E-349A-4277-9389-3B5A393944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4" y="2642"/>
                  <a:ext cx="3" cy="5"/>
                </a:xfrm>
                <a:custGeom>
                  <a:avLst/>
                  <a:gdLst>
                    <a:gd name="T0" fmla="*/ 3 w 3"/>
                    <a:gd name="T1" fmla="*/ 2 h 5"/>
                    <a:gd name="T2" fmla="*/ 0 w 3"/>
                    <a:gd name="T3" fmla="*/ 0 h 5"/>
                    <a:gd name="T4" fmla="*/ 0 w 3"/>
                    <a:gd name="T5" fmla="*/ 1 h 5"/>
                    <a:gd name="T6" fmla="*/ 0 w 3"/>
                    <a:gd name="T7" fmla="*/ 3 h 5"/>
                    <a:gd name="T8" fmla="*/ 3 w 3"/>
                    <a:gd name="T9" fmla="*/ 5 h 5"/>
                    <a:gd name="T10" fmla="*/ 3 w 3"/>
                    <a:gd name="T11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5">
                      <a:moveTo>
                        <a:pt x="3" y="2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3" y="5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5" name="Freeform 355">
                  <a:extLst>
                    <a:ext uri="{FF2B5EF4-FFF2-40B4-BE49-F238E27FC236}">
                      <a16:creationId xmlns:a16="http://schemas.microsoft.com/office/drawing/2014/main" id="{F33FC27F-75EB-401B-8E33-EA95706AAF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7" y="2643"/>
                  <a:ext cx="5" cy="4"/>
                </a:xfrm>
                <a:custGeom>
                  <a:avLst/>
                  <a:gdLst>
                    <a:gd name="T0" fmla="*/ 0 w 5"/>
                    <a:gd name="T1" fmla="*/ 2 h 4"/>
                    <a:gd name="T2" fmla="*/ 3 w 5"/>
                    <a:gd name="T3" fmla="*/ 4 h 4"/>
                    <a:gd name="T4" fmla="*/ 4 w 5"/>
                    <a:gd name="T5" fmla="*/ 3 h 4"/>
                    <a:gd name="T6" fmla="*/ 5 w 5"/>
                    <a:gd name="T7" fmla="*/ 1 h 4"/>
                    <a:gd name="T8" fmla="*/ 4 w 5"/>
                    <a:gd name="T9" fmla="*/ 0 h 4"/>
                    <a:gd name="T10" fmla="*/ 1 w 5"/>
                    <a:gd name="T11" fmla="*/ 1 h 4"/>
                    <a:gd name="T12" fmla="*/ 0 w 5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0" y="2"/>
                      </a:moveTo>
                      <a:lnTo>
                        <a:pt x="3" y="4"/>
                      </a:lnTo>
                      <a:lnTo>
                        <a:pt x="4" y="3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6" name="Freeform 356">
                  <a:extLst>
                    <a:ext uri="{FF2B5EF4-FFF2-40B4-BE49-F238E27FC236}">
                      <a16:creationId xmlns:a16="http://schemas.microsoft.com/office/drawing/2014/main" id="{BCB80B37-83AE-4045-ADBC-8A554102BC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94" y="2628"/>
                  <a:ext cx="4" cy="7"/>
                </a:xfrm>
                <a:custGeom>
                  <a:avLst/>
                  <a:gdLst>
                    <a:gd name="T0" fmla="*/ 4 w 4"/>
                    <a:gd name="T1" fmla="*/ 6 h 7"/>
                    <a:gd name="T2" fmla="*/ 2 w 4"/>
                    <a:gd name="T3" fmla="*/ 3 h 7"/>
                    <a:gd name="T4" fmla="*/ 1 w 4"/>
                    <a:gd name="T5" fmla="*/ 0 h 7"/>
                    <a:gd name="T6" fmla="*/ 1 w 4"/>
                    <a:gd name="T7" fmla="*/ 4 h 7"/>
                    <a:gd name="T8" fmla="*/ 0 w 4"/>
                    <a:gd name="T9" fmla="*/ 5 h 7"/>
                    <a:gd name="T10" fmla="*/ 1 w 4"/>
                    <a:gd name="T11" fmla="*/ 7 h 7"/>
                    <a:gd name="T12" fmla="*/ 4 w 4"/>
                    <a:gd name="T13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7">
                      <a:moveTo>
                        <a:pt x="4" y="6"/>
                      </a:moveTo>
                      <a:lnTo>
                        <a:pt x="2" y="3"/>
                      </a:lnTo>
                      <a:lnTo>
                        <a:pt x="1" y="0"/>
                      </a:lnTo>
                      <a:lnTo>
                        <a:pt x="1" y="4"/>
                      </a:lnTo>
                      <a:lnTo>
                        <a:pt x="0" y="5"/>
                      </a:lnTo>
                      <a:lnTo>
                        <a:pt x="1" y="7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7" name="Freeform 357">
                  <a:extLst>
                    <a:ext uri="{FF2B5EF4-FFF2-40B4-BE49-F238E27FC236}">
                      <a16:creationId xmlns:a16="http://schemas.microsoft.com/office/drawing/2014/main" id="{899F32C8-18A7-427A-9365-87DA67B92A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70" y="2661"/>
                  <a:ext cx="1" cy="2"/>
                </a:xfrm>
                <a:custGeom>
                  <a:avLst/>
                  <a:gdLst>
                    <a:gd name="T0" fmla="*/ 1 w 1"/>
                    <a:gd name="T1" fmla="*/ 2 h 2"/>
                    <a:gd name="T2" fmla="*/ 0 w 1"/>
                    <a:gd name="T3" fmla="*/ 0 h 2"/>
                    <a:gd name="T4" fmla="*/ 0 w 1"/>
                    <a:gd name="T5" fmla="*/ 1 h 2"/>
                    <a:gd name="T6" fmla="*/ 1 w 1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8" name="Freeform 358">
                  <a:extLst>
                    <a:ext uri="{FF2B5EF4-FFF2-40B4-BE49-F238E27FC236}">
                      <a16:creationId xmlns:a16="http://schemas.microsoft.com/office/drawing/2014/main" id="{B17A7B2D-A012-4845-8937-D7ADD8987D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36" y="2690"/>
                  <a:ext cx="7" cy="7"/>
                </a:xfrm>
                <a:custGeom>
                  <a:avLst/>
                  <a:gdLst>
                    <a:gd name="T0" fmla="*/ 2 w 7"/>
                    <a:gd name="T1" fmla="*/ 1 h 7"/>
                    <a:gd name="T2" fmla="*/ 0 w 7"/>
                    <a:gd name="T3" fmla="*/ 1 h 7"/>
                    <a:gd name="T4" fmla="*/ 0 w 7"/>
                    <a:gd name="T5" fmla="*/ 3 h 7"/>
                    <a:gd name="T6" fmla="*/ 1 w 7"/>
                    <a:gd name="T7" fmla="*/ 6 h 7"/>
                    <a:gd name="T8" fmla="*/ 3 w 7"/>
                    <a:gd name="T9" fmla="*/ 7 h 7"/>
                    <a:gd name="T10" fmla="*/ 7 w 7"/>
                    <a:gd name="T11" fmla="*/ 3 h 7"/>
                    <a:gd name="T12" fmla="*/ 7 w 7"/>
                    <a:gd name="T13" fmla="*/ 2 h 7"/>
                    <a:gd name="T14" fmla="*/ 5 w 7"/>
                    <a:gd name="T15" fmla="*/ 1 h 7"/>
                    <a:gd name="T16" fmla="*/ 3 w 7"/>
                    <a:gd name="T17" fmla="*/ 0 h 7"/>
                    <a:gd name="T18" fmla="*/ 2 w 7"/>
                    <a:gd name="T19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7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6"/>
                      </a:lnTo>
                      <a:lnTo>
                        <a:pt x="3" y="7"/>
                      </a:lnTo>
                      <a:lnTo>
                        <a:pt x="7" y="3"/>
                      </a:lnTo>
                      <a:lnTo>
                        <a:pt x="7" y="2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9" name="Freeform 359">
                  <a:extLst>
                    <a:ext uri="{FF2B5EF4-FFF2-40B4-BE49-F238E27FC236}">
                      <a16:creationId xmlns:a16="http://schemas.microsoft.com/office/drawing/2014/main" id="{895D20D1-EDED-4D20-94A3-BDBA812EDF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64" y="2665"/>
                  <a:ext cx="4" cy="6"/>
                </a:xfrm>
                <a:custGeom>
                  <a:avLst/>
                  <a:gdLst>
                    <a:gd name="T0" fmla="*/ 0 w 4"/>
                    <a:gd name="T1" fmla="*/ 1 h 6"/>
                    <a:gd name="T2" fmla="*/ 0 w 4"/>
                    <a:gd name="T3" fmla="*/ 3 h 6"/>
                    <a:gd name="T4" fmla="*/ 2 w 4"/>
                    <a:gd name="T5" fmla="*/ 6 h 6"/>
                    <a:gd name="T6" fmla="*/ 3 w 4"/>
                    <a:gd name="T7" fmla="*/ 6 h 6"/>
                    <a:gd name="T8" fmla="*/ 3 w 4"/>
                    <a:gd name="T9" fmla="*/ 2 h 6"/>
                    <a:gd name="T10" fmla="*/ 4 w 4"/>
                    <a:gd name="T11" fmla="*/ 1 h 6"/>
                    <a:gd name="T12" fmla="*/ 3 w 4"/>
                    <a:gd name="T13" fmla="*/ 0 h 6"/>
                    <a:gd name="T14" fmla="*/ 0 w 4"/>
                    <a:gd name="T15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6">
                      <a:moveTo>
                        <a:pt x="0" y="1"/>
                      </a:moveTo>
                      <a:lnTo>
                        <a:pt x="0" y="3"/>
                      </a:lnTo>
                      <a:lnTo>
                        <a:pt x="2" y="6"/>
                      </a:lnTo>
                      <a:lnTo>
                        <a:pt x="3" y="6"/>
                      </a:lnTo>
                      <a:lnTo>
                        <a:pt x="3" y="2"/>
                      </a:lnTo>
                      <a:lnTo>
                        <a:pt x="4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0" name="Freeform 360">
                  <a:extLst>
                    <a:ext uri="{FF2B5EF4-FFF2-40B4-BE49-F238E27FC236}">
                      <a16:creationId xmlns:a16="http://schemas.microsoft.com/office/drawing/2014/main" id="{076A08CA-F087-4B55-A1C8-7415A3FBAB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68" y="2660"/>
                  <a:ext cx="2" cy="2"/>
                </a:xfrm>
                <a:custGeom>
                  <a:avLst/>
                  <a:gdLst>
                    <a:gd name="T0" fmla="*/ 1 w 2"/>
                    <a:gd name="T1" fmla="*/ 2 h 2"/>
                    <a:gd name="T2" fmla="*/ 2 w 2"/>
                    <a:gd name="T3" fmla="*/ 0 h 2"/>
                    <a:gd name="T4" fmla="*/ 0 w 2"/>
                    <a:gd name="T5" fmla="*/ 2 h 2"/>
                    <a:gd name="T6" fmla="*/ 1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1" name="Freeform 361">
                  <a:extLst>
                    <a:ext uri="{FF2B5EF4-FFF2-40B4-BE49-F238E27FC236}">
                      <a16:creationId xmlns:a16="http://schemas.microsoft.com/office/drawing/2014/main" id="{FFD8C9CC-EB26-4080-BE11-5CD657CBCE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97" y="2472"/>
                  <a:ext cx="69" cy="114"/>
                </a:xfrm>
                <a:custGeom>
                  <a:avLst/>
                  <a:gdLst>
                    <a:gd name="T0" fmla="*/ 19 w 69"/>
                    <a:gd name="T1" fmla="*/ 1 h 114"/>
                    <a:gd name="T2" fmla="*/ 10 w 69"/>
                    <a:gd name="T3" fmla="*/ 6 h 114"/>
                    <a:gd name="T4" fmla="*/ 8 w 69"/>
                    <a:gd name="T5" fmla="*/ 24 h 114"/>
                    <a:gd name="T6" fmla="*/ 7 w 69"/>
                    <a:gd name="T7" fmla="*/ 42 h 114"/>
                    <a:gd name="T8" fmla="*/ 2 w 69"/>
                    <a:gd name="T9" fmla="*/ 45 h 114"/>
                    <a:gd name="T10" fmla="*/ 1 w 69"/>
                    <a:gd name="T11" fmla="*/ 49 h 114"/>
                    <a:gd name="T12" fmla="*/ 2 w 69"/>
                    <a:gd name="T13" fmla="*/ 53 h 114"/>
                    <a:gd name="T14" fmla="*/ 5 w 69"/>
                    <a:gd name="T15" fmla="*/ 69 h 114"/>
                    <a:gd name="T16" fmla="*/ 8 w 69"/>
                    <a:gd name="T17" fmla="*/ 70 h 114"/>
                    <a:gd name="T18" fmla="*/ 13 w 69"/>
                    <a:gd name="T19" fmla="*/ 77 h 114"/>
                    <a:gd name="T20" fmla="*/ 14 w 69"/>
                    <a:gd name="T21" fmla="*/ 71 h 114"/>
                    <a:gd name="T22" fmla="*/ 16 w 69"/>
                    <a:gd name="T23" fmla="*/ 78 h 114"/>
                    <a:gd name="T24" fmla="*/ 15 w 69"/>
                    <a:gd name="T25" fmla="*/ 87 h 114"/>
                    <a:gd name="T26" fmla="*/ 18 w 69"/>
                    <a:gd name="T27" fmla="*/ 86 h 114"/>
                    <a:gd name="T28" fmla="*/ 21 w 69"/>
                    <a:gd name="T29" fmla="*/ 91 h 114"/>
                    <a:gd name="T30" fmla="*/ 29 w 69"/>
                    <a:gd name="T31" fmla="*/ 91 h 114"/>
                    <a:gd name="T32" fmla="*/ 32 w 69"/>
                    <a:gd name="T33" fmla="*/ 86 h 114"/>
                    <a:gd name="T34" fmla="*/ 42 w 69"/>
                    <a:gd name="T35" fmla="*/ 94 h 114"/>
                    <a:gd name="T36" fmla="*/ 46 w 69"/>
                    <a:gd name="T37" fmla="*/ 94 h 114"/>
                    <a:gd name="T38" fmla="*/ 44 w 69"/>
                    <a:gd name="T39" fmla="*/ 87 h 114"/>
                    <a:gd name="T40" fmla="*/ 49 w 69"/>
                    <a:gd name="T41" fmla="*/ 94 h 114"/>
                    <a:gd name="T42" fmla="*/ 55 w 69"/>
                    <a:gd name="T43" fmla="*/ 102 h 114"/>
                    <a:gd name="T44" fmla="*/ 63 w 69"/>
                    <a:gd name="T45" fmla="*/ 107 h 114"/>
                    <a:gd name="T46" fmla="*/ 65 w 69"/>
                    <a:gd name="T47" fmla="*/ 108 h 114"/>
                    <a:gd name="T48" fmla="*/ 67 w 69"/>
                    <a:gd name="T49" fmla="*/ 114 h 114"/>
                    <a:gd name="T50" fmla="*/ 69 w 69"/>
                    <a:gd name="T51" fmla="*/ 105 h 114"/>
                    <a:gd name="T52" fmla="*/ 63 w 69"/>
                    <a:gd name="T53" fmla="*/ 102 h 114"/>
                    <a:gd name="T54" fmla="*/ 59 w 69"/>
                    <a:gd name="T55" fmla="*/ 94 h 114"/>
                    <a:gd name="T56" fmla="*/ 61 w 69"/>
                    <a:gd name="T57" fmla="*/ 91 h 114"/>
                    <a:gd name="T58" fmla="*/ 60 w 69"/>
                    <a:gd name="T59" fmla="*/ 87 h 114"/>
                    <a:gd name="T60" fmla="*/ 53 w 69"/>
                    <a:gd name="T61" fmla="*/ 85 h 114"/>
                    <a:gd name="T62" fmla="*/ 51 w 69"/>
                    <a:gd name="T63" fmla="*/ 88 h 114"/>
                    <a:gd name="T64" fmla="*/ 45 w 69"/>
                    <a:gd name="T65" fmla="*/ 77 h 114"/>
                    <a:gd name="T66" fmla="*/ 38 w 69"/>
                    <a:gd name="T67" fmla="*/ 84 h 114"/>
                    <a:gd name="T68" fmla="*/ 31 w 69"/>
                    <a:gd name="T69" fmla="*/ 80 h 114"/>
                    <a:gd name="T70" fmla="*/ 30 w 69"/>
                    <a:gd name="T71" fmla="*/ 72 h 114"/>
                    <a:gd name="T72" fmla="*/ 25 w 69"/>
                    <a:gd name="T73" fmla="*/ 64 h 114"/>
                    <a:gd name="T74" fmla="*/ 27 w 69"/>
                    <a:gd name="T75" fmla="*/ 53 h 114"/>
                    <a:gd name="T76" fmla="*/ 34 w 69"/>
                    <a:gd name="T77" fmla="*/ 44 h 114"/>
                    <a:gd name="T78" fmla="*/ 35 w 69"/>
                    <a:gd name="T79" fmla="*/ 44 h 114"/>
                    <a:gd name="T80" fmla="*/ 38 w 69"/>
                    <a:gd name="T81" fmla="*/ 27 h 114"/>
                    <a:gd name="T82" fmla="*/ 34 w 69"/>
                    <a:gd name="T83" fmla="*/ 20 h 114"/>
                    <a:gd name="T84" fmla="*/ 34 w 69"/>
                    <a:gd name="T85" fmla="*/ 6 h 114"/>
                    <a:gd name="T86" fmla="*/ 31 w 69"/>
                    <a:gd name="T87" fmla="*/ 1 h 114"/>
                    <a:gd name="T88" fmla="*/ 25 w 69"/>
                    <a:gd name="T89" fmla="*/ 4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9" h="114">
                      <a:moveTo>
                        <a:pt x="24" y="6"/>
                      </a:moveTo>
                      <a:lnTo>
                        <a:pt x="22" y="4"/>
                      </a:lnTo>
                      <a:lnTo>
                        <a:pt x="19" y="1"/>
                      </a:lnTo>
                      <a:lnTo>
                        <a:pt x="15" y="0"/>
                      </a:lnTo>
                      <a:lnTo>
                        <a:pt x="10" y="2"/>
                      </a:lnTo>
                      <a:lnTo>
                        <a:pt x="10" y="6"/>
                      </a:lnTo>
                      <a:lnTo>
                        <a:pt x="7" y="12"/>
                      </a:lnTo>
                      <a:lnTo>
                        <a:pt x="8" y="17"/>
                      </a:lnTo>
                      <a:lnTo>
                        <a:pt x="8" y="24"/>
                      </a:lnTo>
                      <a:lnTo>
                        <a:pt x="6" y="32"/>
                      </a:lnTo>
                      <a:lnTo>
                        <a:pt x="4" y="36"/>
                      </a:lnTo>
                      <a:lnTo>
                        <a:pt x="7" y="42"/>
                      </a:lnTo>
                      <a:lnTo>
                        <a:pt x="7" y="44"/>
                      </a:lnTo>
                      <a:lnTo>
                        <a:pt x="5" y="46"/>
                      </a:lnTo>
                      <a:lnTo>
                        <a:pt x="2" y="45"/>
                      </a:lnTo>
                      <a:lnTo>
                        <a:pt x="1" y="42"/>
                      </a:lnTo>
                      <a:lnTo>
                        <a:pt x="0" y="46"/>
                      </a:lnTo>
                      <a:lnTo>
                        <a:pt x="1" y="49"/>
                      </a:lnTo>
                      <a:lnTo>
                        <a:pt x="2" y="50"/>
                      </a:lnTo>
                      <a:lnTo>
                        <a:pt x="3" y="51"/>
                      </a:lnTo>
                      <a:lnTo>
                        <a:pt x="2" y="53"/>
                      </a:lnTo>
                      <a:lnTo>
                        <a:pt x="3" y="59"/>
                      </a:lnTo>
                      <a:lnTo>
                        <a:pt x="5" y="63"/>
                      </a:lnTo>
                      <a:lnTo>
                        <a:pt x="5" y="69"/>
                      </a:lnTo>
                      <a:lnTo>
                        <a:pt x="7" y="70"/>
                      </a:lnTo>
                      <a:lnTo>
                        <a:pt x="8" y="70"/>
                      </a:lnTo>
                      <a:lnTo>
                        <a:pt x="8" y="70"/>
                      </a:lnTo>
                      <a:lnTo>
                        <a:pt x="8" y="73"/>
                      </a:lnTo>
                      <a:lnTo>
                        <a:pt x="11" y="77"/>
                      </a:lnTo>
                      <a:lnTo>
                        <a:pt x="13" y="77"/>
                      </a:lnTo>
                      <a:lnTo>
                        <a:pt x="15" y="75"/>
                      </a:lnTo>
                      <a:lnTo>
                        <a:pt x="13" y="73"/>
                      </a:lnTo>
                      <a:lnTo>
                        <a:pt x="14" y="71"/>
                      </a:lnTo>
                      <a:lnTo>
                        <a:pt x="17" y="71"/>
                      </a:lnTo>
                      <a:lnTo>
                        <a:pt x="19" y="73"/>
                      </a:lnTo>
                      <a:lnTo>
                        <a:pt x="16" y="78"/>
                      </a:lnTo>
                      <a:lnTo>
                        <a:pt x="15" y="80"/>
                      </a:lnTo>
                      <a:lnTo>
                        <a:pt x="15" y="83"/>
                      </a:lnTo>
                      <a:lnTo>
                        <a:pt x="15" y="87"/>
                      </a:lnTo>
                      <a:lnTo>
                        <a:pt x="16" y="90"/>
                      </a:lnTo>
                      <a:lnTo>
                        <a:pt x="17" y="87"/>
                      </a:lnTo>
                      <a:lnTo>
                        <a:pt x="18" y="86"/>
                      </a:lnTo>
                      <a:lnTo>
                        <a:pt x="20" y="89"/>
                      </a:lnTo>
                      <a:lnTo>
                        <a:pt x="18" y="92"/>
                      </a:lnTo>
                      <a:lnTo>
                        <a:pt x="21" y="91"/>
                      </a:lnTo>
                      <a:lnTo>
                        <a:pt x="22" y="89"/>
                      </a:lnTo>
                      <a:lnTo>
                        <a:pt x="26" y="93"/>
                      </a:lnTo>
                      <a:lnTo>
                        <a:pt x="29" y="91"/>
                      </a:lnTo>
                      <a:lnTo>
                        <a:pt x="28" y="89"/>
                      </a:lnTo>
                      <a:lnTo>
                        <a:pt x="29" y="87"/>
                      </a:lnTo>
                      <a:lnTo>
                        <a:pt x="32" y="86"/>
                      </a:lnTo>
                      <a:lnTo>
                        <a:pt x="38" y="89"/>
                      </a:lnTo>
                      <a:lnTo>
                        <a:pt x="39" y="91"/>
                      </a:lnTo>
                      <a:lnTo>
                        <a:pt x="42" y="94"/>
                      </a:lnTo>
                      <a:lnTo>
                        <a:pt x="46" y="100"/>
                      </a:lnTo>
                      <a:lnTo>
                        <a:pt x="46" y="100"/>
                      </a:lnTo>
                      <a:lnTo>
                        <a:pt x="46" y="94"/>
                      </a:lnTo>
                      <a:lnTo>
                        <a:pt x="42" y="88"/>
                      </a:lnTo>
                      <a:lnTo>
                        <a:pt x="43" y="86"/>
                      </a:lnTo>
                      <a:lnTo>
                        <a:pt x="44" y="87"/>
                      </a:lnTo>
                      <a:lnTo>
                        <a:pt x="46" y="88"/>
                      </a:lnTo>
                      <a:lnTo>
                        <a:pt x="48" y="90"/>
                      </a:lnTo>
                      <a:lnTo>
                        <a:pt x="49" y="94"/>
                      </a:lnTo>
                      <a:lnTo>
                        <a:pt x="54" y="95"/>
                      </a:lnTo>
                      <a:lnTo>
                        <a:pt x="55" y="98"/>
                      </a:lnTo>
                      <a:lnTo>
                        <a:pt x="55" y="102"/>
                      </a:lnTo>
                      <a:lnTo>
                        <a:pt x="57" y="103"/>
                      </a:lnTo>
                      <a:lnTo>
                        <a:pt x="60" y="108"/>
                      </a:lnTo>
                      <a:lnTo>
                        <a:pt x="63" y="107"/>
                      </a:lnTo>
                      <a:lnTo>
                        <a:pt x="63" y="105"/>
                      </a:lnTo>
                      <a:lnTo>
                        <a:pt x="65" y="106"/>
                      </a:lnTo>
                      <a:lnTo>
                        <a:pt x="65" y="108"/>
                      </a:lnTo>
                      <a:lnTo>
                        <a:pt x="63" y="109"/>
                      </a:lnTo>
                      <a:lnTo>
                        <a:pt x="65" y="113"/>
                      </a:lnTo>
                      <a:lnTo>
                        <a:pt x="67" y="114"/>
                      </a:lnTo>
                      <a:lnTo>
                        <a:pt x="68" y="108"/>
                      </a:lnTo>
                      <a:lnTo>
                        <a:pt x="68" y="107"/>
                      </a:lnTo>
                      <a:lnTo>
                        <a:pt x="69" y="105"/>
                      </a:lnTo>
                      <a:lnTo>
                        <a:pt x="68" y="104"/>
                      </a:lnTo>
                      <a:lnTo>
                        <a:pt x="66" y="104"/>
                      </a:lnTo>
                      <a:lnTo>
                        <a:pt x="63" y="102"/>
                      </a:lnTo>
                      <a:lnTo>
                        <a:pt x="61" y="102"/>
                      </a:lnTo>
                      <a:lnTo>
                        <a:pt x="61" y="100"/>
                      </a:lnTo>
                      <a:lnTo>
                        <a:pt x="59" y="94"/>
                      </a:lnTo>
                      <a:lnTo>
                        <a:pt x="59" y="91"/>
                      </a:lnTo>
                      <a:lnTo>
                        <a:pt x="60" y="90"/>
                      </a:lnTo>
                      <a:lnTo>
                        <a:pt x="61" y="91"/>
                      </a:lnTo>
                      <a:lnTo>
                        <a:pt x="63" y="90"/>
                      </a:lnTo>
                      <a:lnTo>
                        <a:pt x="63" y="90"/>
                      </a:lnTo>
                      <a:lnTo>
                        <a:pt x="60" y="87"/>
                      </a:lnTo>
                      <a:lnTo>
                        <a:pt x="56" y="87"/>
                      </a:lnTo>
                      <a:lnTo>
                        <a:pt x="55" y="84"/>
                      </a:lnTo>
                      <a:lnTo>
                        <a:pt x="53" y="85"/>
                      </a:lnTo>
                      <a:lnTo>
                        <a:pt x="54" y="88"/>
                      </a:lnTo>
                      <a:lnTo>
                        <a:pt x="52" y="90"/>
                      </a:lnTo>
                      <a:lnTo>
                        <a:pt x="51" y="88"/>
                      </a:lnTo>
                      <a:lnTo>
                        <a:pt x="51" y="84"/>
                      </a:lnTo>
                      <a:lnTo>
                        <a:pt x="49" y="80"/>
                      </a:lnTo>
                      <a:lnTo>
                        <a:pt x="45" y="77"/>
                      </a:lnTo>
                      <a:lnTo>
                        <a:pt x="42" y="77"/>
                      </a:lnTo>
                      <a:lnTo>
                        <a:pt x="39" y="81"/>
                      </a:lnTo>
                      <a:lnTo>
                        <a:pt x="38" y="84"/>
                      </a:lnTo>
                      <a:lnTo>
                        <a:pt x="35" y="84"/>
                      </a:lnTo>
                      <a:lnTo>
                        <a:pt x="32" y="84"/>
                      </a:lnTo>
                      <a:lnTo>
                        <a:pt x="31" y="80"/>
                      </a:lnTo>
                      <a:lnTo>
                        <a:pt x="29" y="78"/>
                      </a:lnTo>
                      <a:lnTo>
                        <a:pt x="29" y="74"/>
                      </a:lnTo>
                      <a:lnTo>
                        <a:pt x="30" y="72"/>
                      </a:lnTo>
                      <a:lnTo>
                        <a:pt x="29" y="70"/>
                      </a:lnTo>
                      <a:lnTo>
                        <a:pt x="27" y="66"/>
                      </a:lnTo>
                      <a:lnTo>
                        <a:pt x="25" y="64"/>
                      </a:lnTo>
                      <a:lnTo>
                        <a:pt x="26" y="59"/>
                      </a:lnTo>
                      <a:lnTo>
                        <a:pt x="27" y="57"/>
                      </a:lnTo>
                      <a:lnTo>
                        <a:pt x="27" y="53"/>
                      </a:lnTo>
                      <a:lnTo>
                        <a:pt x="28" y="50"/>
                      </a:lnTo>
                      <a:lnTo>
                        <a:pt x="32" y="46"/>
                      </a:lnTo>
                      <a:lnTo>
                        <a:pt x="34" y="44"/>
                      </a:lnTo>
                      <a:lnTo>
                        <a:pt x="33" y="46"/>
                      </a:lnTo>
                      <a:lnTo>
                        <a:pt x="33" y="49"/>
                      </a:lnTo>
                      <a:lnTo>
                        <a:pt x="35" y="44"/>
                      </a:lnTo>
                      <a:lnTo>
                        <a:pt x="35" y="40"/>
                      </a:lnTo>
                      <a:lnTo>
                        <a:pt x="37" y="35"/>
                      </a:lnTo>
                      <a:lnTo>
                        <a:pt x="38" y="27"/>
                      </a:lnTo>
                      <a:lnTo>
                        <a:pt x="36" y="25"/>
                      </a:lnTo>
                      <a:lnTo>
                        <a:pt x="35" y="21"/>
                      </a:lnTo>
                      <a:lnTo>
                        <a:pt x="34" y="20"/>
                      </a:lnTo>
                      <a:lnTo>
                        <a:pt x="32" y="15"/>
                      </a:lnTo>
                      <a:lnTo>
                        <a:pt x="32" y="8"/>
                      </a:lnTo>
                      <a:lnTo>
                        <a:pt x="34" y="6"/>
                      </a:lnTo>
                      <a:lnTo>
                        <a:pt x="34" y="3"/>
                      </a:lnTo>
                      <a:lnTo>
                        <a:pt x="32" y="1"/>
                      </a:lnTo>
                      <a:lnTo>
                        <a:pt x="31" y="1"/>
                      </a:lnTo>
                      <a:lnTo>
                        <a:pt x="31" y="2"/>
                      </a:lnTo>
                      <a:lnTo>
                        <a:pt x="29" y="4"/>
                      </a:lnTo>
                      <a:lnTo>
                        <a:pt x="25" y="4"/>
                      </a:lnTo>
                      <a:lnTo>
                        <a:pt x="24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2" name="Freeform 362">
                  <a:extLst>
                    <a:ext uri="{FF2B5EF4-FFF2-40B4-BE49-F238E27FC236}">
                      <a16:creationId xmlns:a16="http://schemas.microsoft.com/office/drawing/2014/main" id="{86F10808-41A4-4F04-BB02-1C35C1D8DA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63" y="2628"/>
                  <a:ext cx="10" cy="10"/>
                </a:xfrm>
                <a:custGeom>
                  <a:avLst/>
                  <a:gdLst>
                    <a:gd name="T0" fmla="*/ 0 w 10"/>
                    <a:gd name="T1" fmla="*/ 6 h 10"/>
                    <a:gd name="T2" fmla="*/ 1 w 10"/>
                    <a:gd name="T3" fmla="*/ 8 h 10"/>
                    <a:gd name="T4" fmla="*/ 1 w 10"/>
                    <a:gd name="T5" fmla="*/ 10 h 10"/>
                    <a:gd name="T6" fmla="*/ 4 w 10"/>
                    <a:gd name="T7" fmla="*/ 10 h 10"/>
                    <a:gd name="T8" fmla="*/ 9 w 10"/>
                    <a:gd name="T9" fmla="*/ 7 h 10"/>
                    <a:gd name="T10" fmla="*/ 10 w 10"/>
                    <a:gd name="T11" fmla="*/ 5 h 10"/>
                    <a:gd name="T12" fmla="*/ 10 w 10"/>
                    <a:gd name="T13" fmla="*/ 1 h 10"/>
                    <a:gd name="T14" fmla="*/ 8 w 10"/>
                    <a:gd name="T15" fmla="*/ 0 h 10"/>
                    <a:gd name="T16" fmla="*/ 7 w 10"/>
                    <a:gd name="T17" fmla="*/ 0 h 10"/>
                    <a:gd name="T18" fmla="*/ 2 w 10"/>
                    <a:gd name="T19" fmla="*/ 3 h 10"/>
                    <a:gd name="T20" fmla="*/ 0 w 10"/>
                    <a:gd name="T21" fmla="*/ 6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" h="10">
                      <a:moveTo>
                        <a:pt x="0" y="6"/>
                      </a:moveTo>
                      <a:lnTo>
                        <a:pt x="1" y="8"/>
                      </a:lnTo>
                      <a:lnTo>
                        <a:pt x="1" y="10"/>
                      </a:lnTo>
                      <a:lnTo>
                        <a:pt x="4" y="10"/>
                      </a:lnTo>
                      <a:lnTo>
                        <a:pt x="9" y="7"/>
                      </a:lnTo>
                      <a:lnTo>
                        <a:pt x="10" y="5"/>
                      </a:lnTo>
                      <a:lnTo>
                        <a:pt x="10" y="1"/>
                      </a:lnTo>
                      <a:lnTo>
                        <a:pt x="8" y="0"/>
                      </a:lnTo>
                      <a:lnTo>
                        <a:pt x="7" y="0"/>
                      </a:lnTo>
                      <a:lnTo>
                        <a:pt x="2" y="3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3" name="Freeform 363">
                  <a:extLst>
                    <a:ext uri="{FF2B5EF4-FFF2-40B4-BE49-F238E27FC236}">
                      <a16:creationId xmlns:a16="http://schemas.microsoft.com/office/drawing/2014/main" id="{4ACEDACA-DA1F-4BAB-B3DE-2199251D5C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69" y="2606"/>
                  <a:ext cx="14" cy="23"/>
                </a:xfrm>
                <a:custGeom>
                  <a:avLst/>
                  <a:gdLst>
                    <a:gd name="T0" fmla="*/ 10 w 14"/>
                    <a:gd name="T1" fmla="*/ 11 h 23"/>
                    <a:gd name="T2" fmla="*/ 9 w 14"/>
                    <a:gd name="T3" fmla="*/ 6 h 23"/>
                    <a:gd name="T4" fmla="*/ 8 w 14"/>
                    <a:gd name="T5" fmla="*/ 1 h 23"/>
                    <a:gd name="T6" fmla="*/ 7 w 14"/>
                    <a:gd name="T7" fmla="*/ 0 h 23"/>
                    <a:gd name="T8" fmla="*/ 5 w 14"/>
                    <a:gd name="T9" fmla="*/ 1 h 23"/>
                    <a:gd name="T10" fmla="*/ 2 w 14"/>
                    <a:gd name="T11" fmla="*/ 0 h 23"/>
                    <a:gd name="T12" fmla="*/ 0 w 14"/>
                    <a:gd name="T13" fmla="*/ 0 h 23"/>
                    <a:gd name="T14" fmla="*/ 1 w 14"/>
                    <a:gd name="T15" fmla="*/ 3 h 23"/>
                    <a:gd name="T16" fmla="*/ 1 w 14"/>
                    <a:gd name="T17" fmla="*/ 7 h 23"/>
                    <a:gd name="T18" fmla="*/ 3 w 14"/>
                    <a:gd name="T19" fmla="*/ 8 h 23"/>
                    <a:gd name="T20" fmla="*/ 4 w 14"/>
                    <a:gd name="T21" fmla="*/ 7 h 23"/>
                    <a:gd name="T22" fmla="*/ 5 w 14"/>
                    <a:gd name="T23" fmla="*/ 9 h 23"/>
                    <a:gd name="T24" fmla="*/ 5 w 14"/>
                    <a:gd name="T25" fmla="*/ 13 h 23"/>
                    <a:gd name="T26" fmla="*/ 7 w 14"/>
                    <a:gd name="T27" fmla="*/ 16 h 23"/>
                    <a:gd name="T28" fmla="*/ 7 w 14"/>
                    <a:gd name="T29" fmla="*/ 22 h 23"/>
                    <a:gd name="T30" fmla="*/ 9 w 14"/>
                    <a:gd name="T31" fmla="*/ 23 h 23"/>
                    <a:gd name="T32" fmla="*/ 10 w 14"/>
                    <a:gd name="T33" fmla="*/ 19 h 23"/>
                    <a:gd name="T34" fmla="*/ 12 w 14"/>
                    <a:gd name="T35" fmla="*/ 21 h 23"/>
                    <a:gd name="T36" fmla="*/ 14 w 14"/>
                    <a:gd name="T37" fmla="*/ 20 h 23"/>
                    <a:gd name="T38" fmla="*/ 14 w 14"/>
                    <a:gd name="T39" fmla="*/ 18 h 23"/>
                    <a:gd name="T40" fmla="*/ 12 w 14"/>
                    <a:gd name="T41" fmla="*/ 12 h 23"/>
                    <a:gd name="T42" fmla="*/ 10 w 14"/>
                    <a:gd name="T43" fmla="*/ 11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" h="23">
                      <a:moveTo>
                        <a:pt x="10" y="11"/>
                      </a:moveTo>
                      <a:lnTo>
                        <a:pt x="9" y="6"/>
                      </a:lnTo>
                      <a:lnTo>
                        <a:pt x="8" y="1"/>
                      </a:lnTo>
                      <a:lnTo>
                        <a:pt x="7" y="0"/>
                      </a:lnTo>
                      <a:lnTo>
                        <a:pt x="5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1" y="3"/>
                      </a:lnTo>
                      <a:lnTo>
                        <a:pt x="1" y="7"/>
                      </a:lnTo>
                      <a:lnTo>
                        <a:pt x="3" y="8"/>
                      </a:lnTo>
                      <a:lnTo>
                        <a:pt x="4" y="7"/>
                      </a:lnTo>
                      <a:lnTo>
                        <a:pt x="5" y="9"/>
                      </a:lnTo>
                      <a:lnTo>
                        <a:pt x="5" y="13"/>
                      </a:lnTo>
                      <a:lnTo>
                        <a:pt x="7" y="16"/>
                      </a:lnTo>
                      <a:lnTo>
                        <a:pt x="7" y="22"/>
                      </a:lnTo>
                      <a:lnTo>
                        <a:pt x="9" y="23"/>
                      </a:lnTo>
                      <a:lnTo>
                        <a:pt x="10" y="19"/>
                      </a:lnTo>
                      <a:lnTo>
                        <a:pt x="12" y="21"/>
                      </a:lnTo>
                      <a:lnTo>
                        <a:pt x="14" y="20"/>
                      </a:lnTo>
                      <a:lnTo>
                        <a:pt x="14" y="18"/>
                      </a:lnTo>
                      <a:lnTo>
                        <a:pt x="12" y="12"/>
                      </a:lnTo>
                      <a:lnTo>
                        <a:pt x="10" y="1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4" name="Freeform 364">
                  <a:extLst>
                    <a:ext uri="{FF2B5EF4-FFF2-40B4-BE49-F238E27FC236}">
                      <a16:creationId xmlns:a16="http://schemas.microsoft.com/office/drawing/2014/main" id="{03A6661E-A16D-4BEF-8DD0-B6E32A975A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2" y="2628"/>
                  <a:ext cx="2" cy="6"/>
                </a:xfrm>
                <a:custGeom>
                  <a:avLst/>
                  <a:gdLst>
                    <a:gd name="T0" fmla="*/ 0 w 2"/>
                    <a:gd name="T1" fmla="*/ 0 h 6"/>
                    <a:gd name="T2" fmla="*/ 0 w 2"/>
                    <a:gd name="T3" fmla="*/ 3 h 6"/>
                    <a:gd name="T4" fmla="*/ 2 w 2"/>
                    <a:gd name="T5" fmla="*/ 6 h 6"/>
                    <a:gd name="T6" fmla="*/ 2 w 2"/>
                    <a:gd name="T7" fmla="*/ 3 h 6"/>
                    <a:gd name="T8" fmla="*/ 0 w 2"/>
                    <a:gd name="T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6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2" y="6"/>
                      </a:lnTo>
                      <a:lnTo>
                        <a:pt x="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5" name="Freeform 365">
                  <a:extLst>
                    <a:ext uri="{FF2B5EF4-FFF2-40B4-BE49-F238E27FC236}">
                      <a16:creationId xmlns:a16="http://schemas.microsoft.com/office/drawing/2014/main" id="{FEEC4221-A6CE-4144-ADF0-F215FB5468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68" y="2617"/>
                  <a:ext cx="1" cy="3"/>
                </a:xfrm>
                <a:custGeom>
                  <a:avLst/>
                  <a:gdLst>
                    <a:gd name="T0" fmla="*/ 1 w 1"/>
                    <a:gd name="T1" fmla="*/ 3 h 3"/>
                    <a:gd name="T2" fmla="*/ 1 w 1"/>
                    <a:gd name="T3" fmla="*/ 0 h 3"/>
                    <a:gd name="T4" fmla="*/ 0 w 1"/>
                    <a:gd name="T5" fmla="*/ 1 h 3"/>
                    <a:gd name="T6" fmla="*/ 1 w 1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3">
                      <a:moveTo>
                        <a:pt x="1" y="3"/>
                      </a:move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6" name="Freeform 366">
                  <a:extLst>
                    <a:ext uri="{FF2B5EF4-FFF2-40B4-BE49-F238E27FC236}">
                      <a16:creationId xmlns:a16="http://schemas.microsoft.com/office/drawing/2014/main" id="{65F11ADA-91E9-4AF6-A97E-09DFD69E40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69" y="2606"/>
                  <a:ext cx="32" cy="53"/>
                </a:xfrm>
                <a:custGeom>
                  <a:avLst/>
                  <a:gdLst>
                    <a:gd name="T0" fmla="*/ 5 w 32"/>
                    <a:gd name="T1" fmla="*/ 43 h 53"/>
                    <a:gd name="T2" fmla="*/ 1 w 32"/>
                    <a:gd name="T3" fmla="*/ 50 h 53"/>
                    <a:gd name="T4" fmla="*/ 0 w 32"/>
                    <a:gd name="T5" fmla="*/ 51 h 53"/>
                    <a:gd name="T6" fmla="*/ 0 w 32"/>
                    <a:gd name="T7" fmla="*/ 53 h 53"/>
                    <a:gd name="T8" fmla="*/ 3 w 32"/>
                    <a:gd name="T9" fmla="*/ 50 h 53"/>
                    <a:gd name="T10" fmla="*/ 5 w 32"/>
                    <a:gd name="T11" fmla="*/ 50 h 53"/>
                    <a:gd name="T12" fmla="*/ 6 w 32"/>
                    <a:gd name="T13" fmla="*/ 47 h 53"/>
                    <a:gd name="T14" fmla="*/ 9 w 32"/>
                    <a:gd name="T15" fmla="*/ 46 h 53"/>
                    <a:gd name="T16" fmla="*/ 12 w 32"/>
                    <a:gd name="T17" fmla="*/ 40 h 53"/>
                    <a:gd name="T18" fmla="*/ 16 w 32"/>
                    <a:gd name="T19" fmla="*/ 39 h 53"/>
                    <a:gd name="T20" fmla="*/ 18 w 32"/>
                    <a:gd name="T21" fmla="*/ 36 h 53"/>
                    <a:gd name="T22" fmla="*/ 18 w 32"/>
                    <a:gd name="T23" fmla="*/ 35 h 53"/>
                    <a:gd name="T24" fmla="*/ 20 w 32"/>
                    <a:gd name="T25" fmla="*/ 32 h 53"/>
                    <a:gd name="T26" fmla="*/ 20 w 32"/>
                    <a:gd name="T27" fmla="*/ 27 h 53"/>
                    <a:gd name="T28" fmla="*/ 22 w 32"/>
                    <a:gd name="T29" fmla="*/ 25 h 53"/>
                    <a:gd name="T30" fmla="*/ 26 w 32"/>
                    <a:gd name="T31" fmla="*/ 24 h 53"/>
                    <a:gd name="T32" fmla="*/ 27 w 32"/>
                    <a:gd name="T33" fmla="*/ 21 h 53"/>
                    <a:gd name="T34" fmla="*/ 29 w 32"/>
                    <a:gd name="T35" fmla="*/ 19 h 53"/>
                    <a:gd name="T36" fmla="*/ 32 w 32"/>
                    <a:gd name="T37" fmla="*/ 18 h 53"/>
                    <a:gd name="T38" fmla="*/ 32 w 32"/>
                    <a:gd name="T39" fmla="*/ 15 h 53"/>
                    <a:gd name="T40" fmla="*/ 31 w 32"/>
                    <a:gd name="T41" fmla="*/ 11 h 53"/>
                    <a:gd name="T42" fmla="*/ 29 w 32"/>
                    <a:gd name="T43" fmla="*/ 8 h 53"/>
                    <a:gd name="T44" fmla="*/ 29 w 32"/>
                    <a:gd name="T45" fmla="*/ 5 h 53"/>
                    <a:gd name="T46" fmla="*/ 29 w 32"/>
                    <a:gd name="T47" fmla="*/ 0 h 53"/>
                    <a:gd name="T48" fmla="*/ 28 w 32"/>
                    <a:gd name="T49" fmla="*/ 0 h 53"/>
                    <a:gd name="T50" fmla="*/ 27 w 32"/>
                    <a:gd name="T51" fmla="*/ 5 h 53"/>
                    <a:gd name="T52" fmla="*/ 28 w 32"/>
                    <a:gd name="T53" fmla="*/ 11 h 53"/>
                    <a:gd name="T54" fmla="*/ 25 w 32"/>
                    <a:gd name="T55" fmla="*/ 8 h 53"/>
                    <a:gd name="T56" fmla="*/ 27 w 32"/>
                    <a:gd name="T57" fmla="*/ 12 h 53"/>
                    <a:gd name="T58" fmla="*/ 27 w 32"/>
                    <a:gd name="T59" fmla="*/ 15 h 53"/>
                    <a:gd name="T60" fmla="*/ 25 w 32"/>
                    <a:gd name="T61" fmla="*/ 18 h 53"/>
                    <a:gd name="T62" fmla="*/ 23 w 32"/>
                    <a:gd name="T63" fmla="*/ 18 h 53"/>
                    <a:gd name="T64" fmla="*/ 20 w 32"/>
                    <a:gd name="T65" fmla="*/ 21 h 53"/>
                    <a:gd name="T66" fmla="*/ 20 w 32"/>
                    <a:gd name="T67" fmla="*/ 24 h 53"/>
                    <a:gd name="T68" fmla="*/ 17 w 32"/>
                    <a:gd name="T69" fmla="*/ 26 h 53"/>
                    <a:gd name="T70" fmla="*/ 15 w 32"/>
                    <a:gd name="T71" fmla="*/ 33 h 53"/>
                    <a:gd name="T72" fmla="*/ 10 w 32"/>
                    <a:gd name="T73" fmla="*/ 38 h 53"/>
                    <a:gd name="T74" fmla="*/ 8 w 32"/>
                    <a:gd name="T75" fmla="*/ 38 h 53"/>
                    <a:gd name="T76" fmla="*/ 6 w 32"/>
                    <a:gd name="T77" fmla="*/ 43 h 53"/>
                    <a:gd name="T78" fmla="*/ 5 w 32"/>
                    <a:gd name="T79" fmla="*/ 43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32" h="53">
                      <a:moveTo>
                        <a:pt x="5" y="43"/>
                      </a:moveTo>
                      <a:lnTo>
                        <a:pt x="1" y="50"/>
                      </a:lnTo>
                      <a:lnTo>
                        <a:pt x="0" y="51"/>
                      </a:lnTo>
                      <a:lnTo>
                        <a:pt x="0" y="53"/>
                      </a:lnTo>
                      <a:lnTo>
                        <a:pt x="3" y="50"/>
                      </a:lnTo>
                      <a:lnTo>
                        <a:pt x="5" y="50"/>
                      </a:lnTo>
                      <a:lnTo>
                        <a:pt x="6" y="47"/>
                      </a:lnTo>
                      <a:lnTo>
                        <a:pt x="9" y="46"/>
                      </a:lnTo>
                      <a:lnTo>
                        <a:pt x="12" y="40"/>
                      </a:lnTo>
                      <a:lnTo>
                        <a:pt x="16" y="39"/>
                      </a:lnTo>
                      <a:lnTo>
                        <a:pt x="18" y="36"/>
                      </a:lnTo>
                      <a:lnTo>
                        <a:pt x="18" y="35"/>
                      </a:lnTo>
                      <a:lnTo>
                        <a:pt x="20" y="32"/>
                      </a:lnTo>
                      <a:lnTo>
                        <a:pt x="20" y="27"/>
                      </a:lnTo>
                      <a:lnTo>
                        <a:pt x="22" y="25"/>
                      </a:lnTo>
                      <a:lnTo>
                        <a:pt x="26" y="24"/>
                      </a:lnTo>
                      <a:lnTo>
                        <a:pt x="27" y="21"/>
                      </a:lnTo>
                      <a:lnTo>
                        <a:pt x="29" y="19"/>
                      </a:lnTo>
                      <a:lnTo>
                        <a:pt x="32" y="18"/>
                      </a:lnTo>
                      <a:lnTo>
                        <a:pt x="32" y="15"/>
                      </a:lnTo>
                      <a:lnTo>
                        <a:pt x="31" y="11"/>
                      </a:lnTo>
                      <a:lnTo>
                        <a:pt x="29" y="8"/>
                      </a:lnTo>
                      <a:lnTo>
                        <a:pt x="29" y="5"/>
                      </a:lnTo>
                      <a:lnTo>
                        <a:pt x="29" y="0"/>
                      </a:lnTo>
                      <a:lnTo>
                        <a:pt x="28" y="0"/>
                      </a:lnTo>
                      <a:lnTo>
                        <a:pt x="27" y="5"/>
                      </a:lnTo>
                      <a:lnTo>
                        <a:pt x="28" y="11"/>
                      </a:lnTo>
                      <a:lnTo>
                        <a:pt x="25" y="8"/>
                      </a:lnTo>
                      <a:lnTo>
                        <a:pt x="27" y="12"/>
                      </a:lnTo>
                      <a:lnTo>
                        <a:pt x="27" y="15"/>
                      </a:lnTo>
                      <a:lnTo>
                        <a:pt x="25" y="18"/>
                      </a:lnTo>
                      <a:lnTo>
                        <a:pt x="23" y="18"/>
                      </a:lnTo>
                      <a:lnTo>
                        <a:pt x="20" y="21"/>
                      </a:lnTo>
                      <a:lnTo>
                        <a:pt x="20" y="24"/>
                      </a:lnTo>
                      <a:lnTo>
                        <a:pt x="17" y="26"/>
                      </a:lnTo>
                      <a:lnTo>
                        <a:pt x="15" y="33"/>
                      </a:lnTo>
                      <a:lnTo>
                        <a:pt x="10" y="38"/>
                      </a:lnTo>
                      <a:lnTo>
                        <a:pt x="8" y="38"/>
                      </a:lnTo>
                      <a:lnTo>
                        <a:pt x="6" y="43"/>
                      </a:lnTo>
                      <a:lnTo>
                        <a:pt x="5" y="4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7" name="Freeform 367">
                  <a:extLst>
                    <a:ext uri="{FF2B5EF4-FFF2-40B4-BE49-F238E27FC236}">
                      <a16:creationId xmlns:a16="http://schemas.microsoft.com/office/drawing/2014/main" id="{9A1AADD2-128A-415F-AFC9-DA549D5CCF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68" y="2601"/>
                  <a:ext cx="5" cy="3"/>
                </a:xfrm>
                <a:custGeom>
                  <a:avLst/>
                  <a:gdLst>
                    <a:gd name="T0" fmla="*/ 0 w 5"/>
                    <a:gd name="T1" fmla="*/ 2 h 3"/>
                    <a:gd name="T2" fmla="*/ 2 w 5"/>
                    <a:gd name="T3" fmla="*/ 3 h 3"/>
                    <a:gd name="T4" fmla="*/ 4 w 5"/>
                    <a:gd name="T5" fmla="*/ 3 h 3"/>
                    <a:gd name="T6" fmla="*/ 5 w 5"/>
                    <a:gd name="T7" fmla="*/ 0 h 3"/>
                    <a:gd name="T8" fmla="*/ 1 w 5"/>
                    <a:gd name="T9" fmla="*/ 0 h 3"/>
                    <a:gd name="T10" fmla="*/ 0 w 5"/>
                    <a:gd name="T11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3">
                      <a:moveTo>
                        <a:pt x="0" y="2"/>
                      </a:move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5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8" name="Freeform 368">
                  <a:extLst>
                    <a:ext uri="{FF2B5EF4-FFF2-40B4-BE49-F238E27FC236}">
                      <a16:creationId xmlns:a16="http://schemas.microsoft.com/office/drawing/2014/main" id="{460F2A2D-D5C7-41AE-BB9E-E27017832E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7" y="2573"/>
                  <a:ext cx="5" cy="7"/>
                </a:xfrm>
                <a:custGeom>
                  <a:avLst/>
                  <a:gdLst>
                    <a:gd name="T0" fmla="*/ 2 w 5"/>
                    <a:gd name="T1" fmla="*/ 0 h 7"/>
                    <a:gd name="T2" fmla="*/ 0 w 5"/>
                    <a:gd name="T3" fmla="*/ 0 h 7"/>
                    <a:gd name="T4" fmla="*/ 0 w 5"/>
                    <a:gd name="T5" fmla="*/ 2 h 7"/>
                    <a:gd name="T6" fmla="*/ 4 w 5"/>
                    <a:gd name="T7" fmla="*/ 7 h 7"/>
                    <a:gd name="T8" fmla="*/ 5 w 5"/>
                    <a:gd name="T9" fmla="*/ 5 h 7"/>
                    <a:gd name="T10" fmla="*/ 4 w 5"/>
                    <a:gd name="T11" fmla="*/ 3 h 7"/>
                    <a:gd name="T12" fmla="*/ 2 w 5"/>
                    <a:gd name="T13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7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7"/>
                      </a:lnTo>
                      <a:lnTo>
                        <a:pt x="5" y="5"/>
                      </a:lnTo>
                      <a:lnTo>
                        <a:pt x="4" y="3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9" name="Freeform 369">
                  <a:extLst>
                    <a:ext uri="{FF2B5EF4-FFF2-40B4-BE49-F238E27FC236}">
                      <a16:creationId xmlns:a16="http://schemas.microsoft.com/office/drawing/2014/main" id="{F213DC8E-DF49-45A9-AFC6-0EC8EF70D4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67" y="2583"/>
                  <a:ext cx="22" cy="28"/>
                </a:xfrm>
                <a:custGeom>
                  <a:avLst/>
                  <a:gdLst>
                    <a:gd name="T0" fmla="*/ 2 w 22"/>
                    <a:gd name="T1" fmla="*/ 1 h 28"/>
                    <a:gd name="T2" fmla="*/ 0 w 22"/>
                    <a:gd name="T3" fmla="*/ 0 h 28"/>
                    <a:gd name="T4" fmla="*/ 0 w 22"/>
                    <a:gd name="T5" fmla="*/ 3 h 28"/>
                    <a:gd name="T6" fmla="*/ 3 w 22"/>
                    <a:gd name="T7" fmla="*/ 8 h 28"/>
                    <a:gd name="T8" fmla="*/ 6 w 22"/>
                    <a:gd name="T9" fmla="*/ 11 h 28"/>
                    <a:gd name="T10" fmla="*/ 10 w 22"/>
                    <a:gd name="T11" fmla="*/ 16 h 28"/>
                    <a:gd name="T12" fmla="*/ 10 w 22"/>
                    <a:gd name="T13" fmla="*/ 17 h 28"/>
                    <a:gd name="T14" fmla="*/ 10 w 22"/>
                    <a:gd name="T15" fmla="*/ 18 h 28"/>
                    <a:gd name="T16" fmla="*/ 9 w 22"/>
                    <a:gd name="T17" fmla="*/ 21 h 28"/>
                    <a:gd name="T18" fmla="*/ 9 w 22"/>
                    <a:gd name="T19" fmla="*/ 21 h 28"/>
                    <a:gd name="T20" fmla="*/ 10 w 22"/>
                    <a:gd name="T21" fmla="*/ 21 h 28"/>
                    <a:gd name="T22" fmla="*/ 10 w 22"/>
                    <a:gd name="T23" fmla="*/ 22 h 28"/>
                    <a:gd name="T24" fmla="*/ 11 w 22"/>
                    <a:gd name="T25" fmla="*/ 23 h 28"/>
                    <a:gd name="T26" fmla="*/ 14 w 22"/>
                    <a:gd name="T27" fmla="*/ 24 h 28"/>
                    <a:gd name="T28" fmla="*/ 14 w 22"/>
                    <a:gd name="T29" fmla="*/ 27 h 28"/>
                    <a:gd name="T30" fmla="*/ 19 w 22"/>
                    <a:gd name="T31" fmla="*/ 27 h 28"/>
                    <a:gd name="T32" fmla="*/ 20 w 22"/>
                    <a:gd name="T33" fmla="*/ 28 h 28"/>
                    <a:gd name="T34" fmla="*/ 21 w 22"/>
                    <a:gd name="T35" fmla="*/ 27 h 28"/>
                    <a:gd name="T36" fmla="*/ 22 w 22"/>
                    <a:gd name="T37" fmla="*/ 28 h 28"/>
                    <a:gd name="T38" fmla="*/ 21 w 22"/>
                    <a:gd name="T39" fmla="*/ 25 h 28"/>
                    <a:gd name="T40" fmla="*/ 20 w 22"/>
                    <a:gd name="T41" fmla="*/ 22 h 28"/>
                    <a:gd name="T42" fmla="*/ 18 w 22"/>
                    <a:gd name="T43" fmla="*/ 21 h 28"/>
                    <a:gd name="T44" fmla="*/ 18 w 22"/>
                    <a:gd name="T45" fmla="*/ 16 h 28"/>
                    <a:gd name="T46" fmla="*/ 17 w 22"/>
                    <a:gd name="T47" fmla="*/ 10 h 28"/>
                    <a:gd name="T48" fmla="*/ 18 w 22"/>
                    <a:gd name="T49" fmla="*/ 8 h 28"/>
                    <a:gd name="T50" fmla="*/ 17 w 22"/>
                    <a:gd name="T51" fmla="*/ 7 h 28"/>
                    <a:gd name="T52" fmla="*/ 14 w 22"/>
                    <a:gd name="T53" fmla="*/ 3 h 28"/>
                    <a:gd name="T54" fmla="*/ 13 w 22"/>
                    <a:gd name="T55" fmla="*/ 0 h 28"/>
                    <a:gd name="T56" fmla="*/ 11 w 22"/>
                    <a:gd name="T57" fmla="*/ 0 h 28"/>
                    <a:gd name="T58" fmla="*/ 10 w 22"/>
                    <a:gd name="T59" fmla="*/ 0 h 28"/>
                    <a:gd name="T60" fmla="*/ 9 w 22"/>
                    <a:gd name="T61" fmla="*/ 0 h 28"/>
                    <a:gd name="T62" fmla="*/ 7 w 22"/>
                    <a:gd name="T63" fmla="*/ 0 h 28"/>
                    <a:gd name="T64" fmla="*/ 7 w 22"/>
                    <a:gd name="T65" fmla="*/ 1 h 28"/>
                    <a:gd name="T66" fmla="*/ 4 w 22"/>
                    <a:gd name="T67" fmla="*/ 1 h 28"/>
                    <a:gd name="T68" fmla="*/ 2 w 22"/>
                    <a:gd name="T69" fmla="*/ 1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2" h="28">
                      <a:moveTo>
                        <a:pt x="2" y="1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8"/>
                      </a:lnTo>
                      <a:lnTo>
                        <a:pt x="6" y="11"/>
                      </a:lnTo>
                      <a:lnTo>
                        <a:pt x="10" y="16"/>
                      </a:lnTo>
                      <a:lnTo>
                        <a:pt x="10" y="17"/>
                      </a:lnTo>
                      <a:lnTo>
                        <a:pt x="10" y="18"/>
                      </a:lnTo>
                      <a:lnTo>
                        <a:pt x="9" y="21"/>
                      </a:lnTo>
                      <a:lnTo>
                        <a:pt x="9" y="21"/>
                      </a:lnTo>
                      <a:lnTo>
                        <a:pt x="10" y="21"/>
                      </a:lnTo>
                      <a:lnTo>
                        <a:pt x="10" y="22"/>
                      </a:lnTo>
                      <a:lnTo>
                        <a:pt x="11" y="23"/>
                      </a:lnTo>
                      <a:lnTo>
                        <a:pt x="14" y="24"/>
                      </a:lnTo>
                      <a:lnTo>
                        <a:pt x="14" y="27"/>
                      </a:lnTo>
                      <a:lnTo>
                        <a:pt x="19" y="27"/>
                      </a:lnTo>
                      <a:lnTo>
                        <a:pt x="20" y="28"/>
                      </a:lnTo>
                      <a:lnTo>
                        <a:pt x="21" y="27"/>
                      </a:lnTo>
                      <a:lnTo>
                        <a:pt x="22" y="28"/>
                      </a:lnTo>
                      <a:lnTo>
                        <a:pt x="21" y="25"/>
                      </a:lnTo>
                      <a:lnTo>
                        <a:pt x="20" y="22"/>
                      </a:lnTo>
                      <a:lnTo>
                        <a:pt x="18" y="21"/>
                      </a:lnTo>
                      <a:lnTo>
                        <a:pt x="18" y="16"/>
                      </a:lnTo>
                      <a:lnTo>
                        <a:pt x="17" y="10"/>
                      </a:lnTo>
                      <a:lnTo>
                        <a:pt x="18" y="8"/>
                      </a:lnTo>
                      <a:lnTo>
                        <a:pt x="17" y="7"/>
                      </a:lnTo>
                      <a:lnTo>
                        <a:pt x="14" y="3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10" y="0"/>
                      </a:lnTo>
                      <a:lnTo>
                        <a:pt x="9" y="0"/>
                      </a:lnTo>
                      <a:lnTo>
                        <a:pt x="7" y="0"/>
                      </a:lnTo>
                      <a:lnTo>
                        <a:pt x="7" y="1"/>
                      </a:lnTo>
                      <a:lnTo>
                        <a:pt x="4" y="1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0" name="Freeform 370">
                  <a:extLst>
                    <a:ext uri="{FF2B5EF4-FFF2-40B4-BE49-F238E27FC236}">
                      <a16:creationId xmlns:a16="http://schemas.microsoft.com/office/drawing/2014/main" id="{196FBC5C-6D6D-46B7-BE4B-F9FE4A28F2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62" y="2556"/>
                  <a:ext cx="6" cy="10"/>
                </a:xfrm>
                <a:custGeom>
                  <a:avLst/>
                  <a:gdLst>
                    <a:gd name="T0" fmla="*/ 2 w 6"/>
                    <a:gd name="T1" fmla="*/ 10 h 10"/>
                    <a:gd name="T2" fmla="*/ 5 w 6"/>
                    <a:gd name="T3" fmla="*/ 9 h 10"/>
                    <a:gd name="T4" fmla="*/ 6 w 6"/>
                    <a:gd name="T5" fmla="*/ 5 h 10"/>
                    <a:gd name="T6" fmla="*/ 5 w 6"/>
                    <a:gd name="T7" fmla="*/ 2 h 10"/>
                    <a:gd name="T8" fmla="*/ 3 w 6"/>
                    <a:gd name="T9" fmla="*/ 0 h 10"/>
                    <a:gd name="T10" fmla="*/ 2 w 6"/>
                    <a:gd name="T11" fmla="*/ 0 h 10"/>
                    <a:gd name="T12" fmla="*/ 2 w 6"/>
                    <a:gd name="T13" fmla="*/ 4 h 10"/>
                    <a:gd name="T14" fmla="*/ 1 w 6"/>
                    <a:gd name="T15" fmla="*/ 7 h 10"/>
                    <a:gd name="T16" fmla="*/ 0 w 6"/>
                    <a:gd name="T17" fmla="*/ 8 h 10"/>
                    <a:gd name="T18" fmla="*/ 2 w 6"/>
                    <a:gd name="T19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10">
                      <a:moveTo>
                        <a:pt x="2" y="10"/>
                      </a:moveTo>
                      <a:lnTo>
                        <a:pt x="5" y="9"/>
                      </a:lnTo>
                      <a:lnTo>
                        <a:pt x="6" y="5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4"/>
                      </a:lnTo>
                      <a:lnTo>
                        <a:pt x="1" y="7"/>
                      </a:lnTo>
                      <a:lnTo>
                        <a:pt x="0" y="8"/>
                      </a:lnTo>
                      <a:lnTo>
                        <a:pt x="2" y="1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1" name="Freeform 371">
                  <a:extLst>
                    <a:ext uri="{FF2B5EF4-FFF2-40B4-BE49-F238E27FC236}">
                      <a16:creationId xmlns:a16="http://schemas.microsoft.com/office/drawing/2014/main" id="{499F3753-9B19-44A4-AE78-E2862AE9EF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29" y="2536"/>
                  <a:ext cx="5" cy="10"/>
                </a:xfrm>
                <a:custGeom>
                  <a:avLst/>
                  <a:gdLst>
                    <a:gd name="T0" fmla="*/ 3 w 5"/>
                    <a:gd name="T1" fmla="*/ 0 h 10"/>
                    <a:gd name="T2" fmla="*/ 0 w 5"/>
                    <a:gd name="T3" fmla="*/ 2 h 10"/>
                    <a:gd name="T4" fmla="*/ 1 w 5"/>
                    <a:gd name="T5" fmla="*/ 7 h 10"/>
                    <a:gd name="T6" fmla="*/ 1 w 5"/>
                    <a:gd name="T7" fmla="*/ 8 h 10"/>
                    <a:gd name="T8" fmla="*/ 1 w 5"/>
                    <a:gd name="T9" fmla="*/ 10 h 10"/>
                    <a:gd name="T10" fmla="*/ 3 w 5"/>
                    <a:gd name="T11" fmla="*/ 9 h 10"/>
                    <a:gd name="T12" fmla="*/ 3 w 5"/>
                    <a:gd name="T13" fmla="*/ 3 h 10"/>
                    <a:gd name="T14" fmla="*/ 5 w 5"/>
                    <a:gd name="T15" fmla="*/ 2 h 10"/>
                    <a:gd name="T16" fmla="*/ 3 w 5"/>
                    <a:gd name="T1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10">
                      <a:moveTo>
                        <a:pt x="3" y="0"/>
                      </a:moveTo>
                      <a:lnTo>
                        <a:pt x="0" y="2"/>
                      </a:lnTo>
                      <a:lnTo>
                        <a:pt x="1" y="7"/>
                      </a:lnTo>
                      <a:lnTo>
                        <a:pt x="1" y="8"/>
                      </a:lnTo>
                      <a:lnTo>
                        <a:pt x="1" y="10"/>
                      </a:lnTo>
                      <a:lnTo>
                        <a:pt x="3" y="9"/>
                      </a:lnTo>
                      <a:lnTo>
                        <a:pt x="3" y="3"/>
                      </a:lnTo>
                      <a:lnTo>
                        <a:pt x="5" y="2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2" name="Freeform 372">
                  <a:extLst>
                    <a:ext uri="{FF2B5EF4-FFF2-40B4-BE49-F238E27FC236}">
                      <a16:creationId xmlns:a16="http://schemas.microsoft.com/office/drawing/2014/main" id="{EFEF60BD-B34F-4A90-9D89-64AE68A8F1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31" y="2551"/>
                  <a:ext cx="3" cy="5"/>
                </a:xfrm>
                <a:custGeom>
                  <a:avLst/>
                  <a:gdLst>
                    <a:gd name="T0" fmla="*/ 1 w 3"/>
                    <a:gd name="T1" fmla="*/ 3 h 5"/>
                    <a:gd name="T2" fmla="*/ 3 w 3"/>
                    <a:gd name="T3" fmla="*/ 5 h 5"/>
                    <a:gd name="T4" fmla="*/ 2 w 3"/>
                    <a:gd name="T5" fmla="*/ 1 h 5"/>
                    <a:gd name="T6" fmla="*/ 0 w 3"/>
                    <a:gd name="T7" fmla="*/ 0 h 5"/>
                    <a:gd name="T8" fmla="*/ 1 w 3"/>
                    <a:gd name="T9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5">
                      <a:moveTo>
                        <a:pt x="1" y="3"/>
                      </a:moveTo>
                      <a:lnTo>
                        <a:pt x="3" y="5"/>
                      </a:ln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3" name="Freeform 373">
                  <a:extLst>
                    <a:ext uri="{FF2B5EF4-FFF2-40B4-BE49-F238E27FC236}">
                      <a16:creationId xmlns:a16="http://schemas.microsoft.com/office/drawing/2014/main" id="{4994CAC4-9397-41C8-B128-1F03E69118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23" y="2463"/>
                  <a:ext cx="3" cy="5"/>
                </a:xfrm>
                <a:custGeom>
                  <a:avLst/>
                  <a:gdLst>
                    <a:gd name="T0" fmla="*/ 2 w 3"/>
                    <a:gd name="T1" fmla="*/ 0 h 6"/>
                    <a:gd name="T2" fmla="*/ 0 w 3"/>
                    <a:gd name="T3" fmla="*/ 4 h 6"/>
                    <a:gd name="T4" fmla="*/ 2 w 3"/>
                    <a:gd name="T5" fmla="*/ 6 h 6"/>
                    <a:gd name="T6" fmla="*/ 3 w 3"/>
                    <a:gd name="T7" fmla="*/ 3 h 6"/>
                    <a:gd name="T8" fmla="*/ 2 w 3"/>
                    <a:gd name="T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6">
                      <a:moveTo>
                        <a:pt x="2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2" y="6"/>
                        <a:pt x="2" y="6"/>
                        <a:pt x="2" y="6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2" y="0"/>
                        <a:pt x="2" y="0"/>
                      </a:cubicBez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4" name="Freeform 374">
                  <a:extLst>
                    <a:ext uri="{FF2B5EF4-FFF2-40B4-BE49-F238E27FC236}">
                      <a16:creationId xmlns:a16="http://schemas.microsoft.com/office/drawing/2014/main" id="{2E6A4EC7-E902-4386-AF57-6827F133DF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30" y="2564"/>
                  <a:ext cx="6" cy="8"/>
                </a:xfrm>
                <a:custGeom>
                  <a:avLst/>
                  <a:gdLst>
                    <a:gd name="T0" fmla="*/ 2 w 6"/>
                    <a:gd name="T1" fmla="*/ 0 h 8"/>
                    <a:gd name="T2" fmla="*/ 0 w 6"/>
                    <a:gd name="T3" fmla="*/ 2 h 8"/>
                    <a:gd name="T4" fmla="*/ 0 w 6"/>
                    <a:gd name="T5" fmla="*/ 5 h 8"/>
                    <a:gd name="T6" fmla="*/ 4 w 6"/>
                    <a:gd name="T7" fmla="*/ 8 h 8"/>
                    <a:gd name="T8" fmla="*/ 4 w 6"/>
                    <a:gd name="T9" fmla="*/ 6 h 8"/>
                    <a:gd name="T10" fmla="*/ 6 w 6"/>
                    <a:gd name="T11" fmla="*/ 4 h 8"/>
                    <a:gd name="T12" fmla="*/ 4 w 6"/>
                    <a:gd name="T13" fmla="*/ 2 h 8"/>
                    <a:gd name="T14" fmla="*/ 2 w 6"/>
                    <a:gd name="T15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8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4" y="8"/>
                      </a:lnTo>
                      <a:lnTo>
                        <a:pt x="4" y="6"/>
                      </a:lnTo>
                      <a:lnTo>
                        <a:pt x="6" y="4"/>
                      </a:lnTo>
                      <a:lnTo>
                        <a:pt x="4" y="2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5" name="Freeform 375">
                  <a:extLst>
                    <a:ext uri="{FF2B5EF4-FFF2-40B4-BE49-F238E27FC236}">
                      <a16:creationId xmlns:a16="http://schemas.microsoft.com/office/drawing/2014/main" id="{5A7CF58B-8CE4-4DC5-8129-16E134CAF1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16" y="2456"/>
                  <a:ext cx="3" cy="3"/>
                </a:xfrm>
                <a:custGeom>
                  <a:avLst/>
                  <a:gdLst>
                    <a:gd name="T0" fmla="*/ 3 w 3"/>
                    <a:gd name="T1" fmla="*/ 3 h 3"/>
                    <a:gd name="T2" fmla="*/ 3 w 3"/>
                    <a:gd name="T3" fmla="*/ 0 h 3"/>
                    <a:gd name="T4" fmla="*/ 0 w 3"/>
                    <a:gd name="T5" fmla="*/ 1 h 3"/>
                    <a:gd name="T6" fmla="*/ 3 w 3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6" name="Freeform 376">
                  <a:extLst>
                    <a:ext uri="{FF2B5EF4-FFF2-40B4-BE49-F238E27FC236}">
                      <a16:creationId xmlns:a16="http://schemas.microsoft.com/office/drawing/2014/main" id="{3972CD74-4E28-4E5C-8F5F-4D2C1D9580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04" y="2559"/>
                  <a:ext cx="4" cy="5"/>
                </a:xfrm>
                <a:custGeom>
                  <a:avLst/>
                  <a:gdLst>
                    <a:gd name="T0" fmla="*/ 4 w 4"/>
                    <a:gd name="T1" fmla="*/ 4 h 5"/>
                    <a:gd name="T2" fmla="*/ 1 w 4"/>
                    <a:gd name="T3" fmla="*/ 0 h 5"/>
                    <a:gd name="T4" fmla="*/ 0 w 4"/>
                    <a:gd name="T5" fmla="*/ 0 h 5"/>
                    <a:gd name="T6" fmla="*/ 0 w 4"/>
                    <a:gd name="T7" fmla="*/ 3 h 5"/>
                    <a:gd name="T8" fmla="*/ 4 w 4"/>
                    <a:gd name="T9" fmla="*/ 5 h 5"/>
                    <a:gd name="T10" fmla="*/ 4 w 4"/>
                    <a:gd name="T11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5">
                      <a:moveTo>
                        <a:pt x="4" y="4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5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7" name="Freeform 377">
                  <a:extLst>
                    <a:ext uri="{FF2B5EF4-FFF2-40B4-BE49-F238E27FC236}">
                      <a16:creationId xmlns:a16="http://schemas.microsoft.com/office/drawing/2014/main" id="{9FA3F6B7-67B4-4B4E-9A6C-8435CB90BA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15" y="2467"/>
                  <a:ext cx="3" cy="2"/>
                </a:xfrm>
                <a:custGeom>
                  <a:avLst/>
                  <a:gdLst>
                    <a:gd name="T0" fmla="*/ 1 w 3"/>
                    <a:gd name="T1" fmla="*/ 2 h 2"/>
                    <a:gd name="T2" fmla="*/ 3 w 3"/>
                    <a:gd name="T3" fmla="*/ 0 h 2"/>
                    <a:gd name="T4" fmla="*/ 0 w 3"/>
                    <a:gd name="T5" fmla="*/ 0 h 2"/>
                    <a:gd name="T6" fmla="*/ 1 w 3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1" y="2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8" name="Freeform 378">
                  <a:extLst>
                    <a:ext uri="{FF2B5EF4-FFF2-40B4-BE49-F238E27FC236}">
                      <a16:creationId xmlns:a16="http://schemas.microsoft.com/office/drawing/2014/main" id="{5C2781D4-E6CB-4164-9DDE-F19A4C084A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01" y="2588"/>
                  <a:ext cx="8" cy="7"/>
                </a:xfrm>
                <a:custGeom>
                  <a:avLst/>
                  <a:gdLst>
                    <a:gd name="T0" fmla="*/ 0 w 8"/>
                    <a:gd name="T1" fmla="*/ 2 h 7"/>
                    <a:gd name="T2" fmla="*/ 1 w 8"/>
                    <a:gd name="T3" fmla="*/ 4 h 7"/>
                    <a:gd name="T4" fmla="*/ 2 w 8"/>
                    <a:gd name="T5" fmla="*/ 6 h 7"/>
                    <a:gd name="T6" fmla="*/ 5 w 8"/>
                    <a:gd name="T7" fmla="*/ 6 h 7"/>
                    <a:gd name="T8" fmla="*/ 7 w 8"/>
                    <a:gd name="T9" fmla="*/ 7 h 7"/>
                    <a:gd name="T10" fmla="*/ 8 w 8"/>
                    <a:gd name="T11" fmla="*/ 6 h 7"/>
                    <a:gd name="T12" fmla="*/ 7 w 8"/>
                    <a:gd name="T13" fmla="*/ 3 h 7"/>
                    <a:gd name="T14" fmla="*/ 5 w 8"/>
                    <a:gd name="T15" fmla="*/ 2 h 7"/>
                    <a:gd name="T16" fmla="*/ 4 w 8"/>
                    <a:gd name="T17" fmla="*/ 0 h 7"/>
                    <a:gd name="T18" fmla="*/ 1 w 8"/>
                    <a:gd name="T19" fmla="*/ 0 h 7"/>
                    <a:gd name="T20" fmla="*/ 0 w 8"/>
                    <a:gd name="T21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7">
                      <a:moveTo>
                        <a:pt x="0" y="2"/>
                      </a:moveTo>
                      <a:lnTo>
                        <a:pt x="1" y="4"/>
                      </a:lnTo>
                      <a:lnTo>
                        <a:pt x="2" y="6"/>
                      </a:lnTo>
                      <a:lnTo>
                        <a:pt x="5" y="6"/>
                      </a:lnTo>
                      <a:lnTo>
                        <a:pt x="7" y="7"/>
                      </a:lnTo>
                      <a:lnTo>
                        <a:pt x="8" y="6"/>
                      </a:lnTo>
                      <a:lnTo>
                        <a:pt x="7" y="3"/>
                      </a:lnTo>
                      <a:lnTo>
                        <a:pt x="5" y="2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9" name="Freeform 379">
                  <a:extLst>
                    <a:ext uri="{FF2B5EF4-FFF2-40B4-BE49-F238E27FC236}">
                      <a16:creationId xmlns:a16="http://schemas.microsoft.com/office/drawing/2014/main" id="{EE68452E-30DF-442C-BB65-1378E632B2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76" y="2745"/>
                  <a:ext cx="3" cy="1"/>
                </a:xfrm>
                <a:custGeom>
                  <a:avLst/>
                  <a:gdLst>
                    <a:gd name="T0" fmla="*/ 3 w 3"/>
                    <a:gd name="T1" fmla="*/ 0 h 1"/>
                    <a:gd name="T2" fmla="*/ 0 w 3"/>
                    <a:gd name="T3" fmla="*/ 0 h 1"/>
                    <a:gd name="T4" fmla="*/ 2 w 3"/>
                    <a:gd name="T5" fmla="*/ 1 h 1"/>
                    <a:gd name="T6" fmla="*/ 3 w 3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0" name="Freeform 380">
                  <a:extLst>
                    <a:ext uri="{FF2B5EF4-FFF2-40B4-BE49-F238E27FC236}">
                      <a16:creationId xmlns:a16="http://schemas.microsoft.com/office/drawing/2014/main" id="{6F93EDF9-2166-4E81-AE54-25DFF518D2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77" y="2738"/>
                  <a:ext cx="1" cy="1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0 w 1"/>
                    <a:gd name="T5" fmla="*/ 0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1" name="Freeform 381">
                  <a:extLst>
                    <a:ext uri="{FF2B5EF4-FFF2-40B4-BE49-F238E27FC236}">
                      <a16:creationId xmlns:a16="http://schemas.microsoft.com/office/drawing/2014/main" id="{DFCB1305-F09F-4D66-99F2-B099024899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3" y="2942"/>
                  <a:ext cx="1" cy="0"/>
                </a:xfrm>
                <a:custGeom>
                  <a:avLst/>
                  <a:gdLst>
                    <a:gd name="T0" fmla="*/ 0 w 2"/>
                    <a:gd name="T1" fmla="*/ 1 h 1"/>
                    <a:gd name="T2" fmla="*/ 2 w 2"/>
                    <a:gd name="T3" fmla="*/ 1 h 1"/>
                    <a:gd name="T4" fmla="*/ 2 w 2"/>
                    <a:gd name="T5" fmla="*/ 0 h 1"/>
                    <a:gd name="T6" fmla="*/ 0 w 2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0" y="1"/>
                      </a:move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2" y="0"/>
                      </a:cubicBez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2" name="Freeform 382">
                  <a:extLst>
                    <a:ext uri="{FF2B5EF4-FFF2-40B4-BE49-F238E27FC236}">
                      <a16:creationId xmlns:a16="http://schemas.microsoft.com/office/drawing/2014/main" id="{C1C71AD9-9B72-4828-BCE8-6B5CB16121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77" y="2735"/>
                  <a:ext cx="4" cy="3"/>
                </a:xfrm>
                <a:custGeom>
                  <a:avLst/>
                  <a:gdLst>
                    <a:gd name="T0" fmla="*/ 4 w 4"/>
                    <a:gd name="T1" fmla="*/ 3 h 3"/>
                    <a:gd name="T2" fmla="*/ 4 w 4"/>
                    <a:gd name="T3" fmla="*/ 2 h 3"/>
                    <a:gd name="T4" fmla="*/ 0 w 4"/>
                    <a:gd name="T5" fmla="*/ 0 h 3"/>
                    <a:gd name="T6" fmla="*/ 0 w 4"/>
                    <a:gd name="T7" fmla="*/ 1 h 3"/>
                    <a:gd name="T8" fmla="*/ 1 w 4"/>
                    <a:gd name="T9" fmla="*/ 3 h 3"/>
                    <a:gd name="T10" fmla="*/ 4 w 4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3">
                      <a:moveTo>
                        <a:pt x="4" y="3"/>
                      </a:moveTo>
                      <a:lnTo>
                        <a:pt x="4" y="2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3" name="Freeform 383">
                  <a:extLst>
                    <a:ext uri="{FF2B5EF4-FFF2-40B4-BE49-F238E27FC236}">
                      <a16:creationId xmlns:a16="http://schemas.microsoft.com/office/drawing/2014/main" id="{B85BC969-0EAE-4442-8F5A-4240248393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05" y="2730"/>
                  <a:ext cx="4" cy="8"/>
                </a:xfrm>
                <a:custGeom>
                  <a:avLst/>
                  <a:gdLst>
                    <a:gd name="T0" fmla="*/ 4 w 4"/>
                    <a:gd name="T1" fmla="*/ 5 h 8"/>
                    <a:gd name="T2" fmla="*/ 4 w 4"/>
                    <a:gd name="T3" fmla="*/ 2 h 8"/>
                    <a:gd name="T4" fmla="*/ 2 w 4"/>
                    <a:gd name="T5" fmla="*/ 0 h 8"/>
                    <a:gd name="T6" fmla="*/ 0 w 4"/>
                    <a:gd name="T7" fmla="*/ 1 h 8"/>
                    <a:gd name="T8" fmla="*/ 2 w 4"/>
                    <a:gd name="T9" fmla="*/ 5 h 8"/>
                    <a:gd name="T10" fmla="*/ 2 w 4"/>
                    <a:gd name="T11" fmla="*/ 8 h 8"/>
                    <a:gd name="T12" fmla="*/ 4 w 4"/>
                    <a:gd name="T13" fmla="*/ 8 h 8"/>
                    <a:gd name="T14" fmla="*/ 4 w 4"/>
                    <a:gd name="T15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8">
                      <a:moveTo>
                        <a:pt x="4" y="5"/>
                      </a:move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5"/>
                      </a:lnTo>
                      <a:lnTo>
                        <a:pt x="2" y="8"/>
                      </a:lnTo>
                      <a:lnTo>
                        <a:pt x="4" y="8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4" name="Freeform 384">
                  <a:extLst>
                    <a:ext uri="{FF2B5EF4-FFF2-40B4-BE49-F238E27FC236}">
                      <a16:creationId xmlns:a16="http://schemas.microsoft.com/office/drawing/2014/main" id="{04A87B4E-39AB-4F18-8F71-BD1725CB1D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01" y="2722"/>
                  <a:ext cx="1" cy="6"/>
                </a:xfrm>
                <a:custGeom>
                  <a:avLst/>
                  <a:gdLst>
                    <a:gd name="T0" fmla="*/ 0 w 1"/>
                    <a:gd name="T1" fmla="*/ 0 h 6"/>
                    <a:gd name="T2" fmla="*/ 0 w 1"/>
                    <a:gd name="T3" fmla="*/ 3 h 6"/>
                    <a:gd name="T4" fmla="*/ 1 w 1"/>
                    <a:gd name="T5" fmla="*/ 6 h 6"/>
                    <a:gd name="T6" fmla="*/ 1 w 1"/>
                    <a:gd name="T7" fmla="*/ 3 h 6"/>
                    <a:gd name="T8" fmla="*/ 0 w 1"/>
                    <a:gd name="T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6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1" y="6"/>
                      </a:lnTo>
                      <a:lnTo>
                        <a:pt x="1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5" name="Freeform 385">
                  <a:extLst>
                    <a:ext uri="{FF2B5EF4-FFF2-40B4-BE49-F238E27FC236}">
                      <a16:creationId xmlns:a16="http://schemas.microsoft.com/office/drawing/2014/main" id="{59019102-5BAA-4B96-AFFD-E64A9A9037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91" y="2942"/>
                  <a:ext cx="14" cy="8"/>
                </a:xfrm>
                <a:custGeom>
                  <a:avLst/>
                  <a:gdLst>
                    <a:gd name="T0" fmla="*/ 4 w 14"/>
                    <a:gd name="T1" fmla="*/ 5 h 8"/>
                    <a:gd name="T2" fmla="*/ 8 w 14"/>
                    <a:gd name="T3" fmla="*/ 7 h 8"/>
                    <a:gd name="T4" fmla="*/ 10 w 14"/>
                    <a:gd name="T5" fmla="*/ 8 h 8"/>
                    <a:gd name="T6" fmla="*/ 11 w 14"/>
                    <a:gd name="T7" fmla="*/ 7 h 8"/>
                    <a:gd name="T8" fmla="*/ 13 w 14"/>
                    <a:gd name="T9" fmla="*/ 4 h 8"/>
                    <a:gd name="T10" fmla="*/ 14 w 14"/>
                    <a:gd name="T11" fmla="*/ 4 h 8"/>
                    <a:gd name="T12" fmla="*/ 14 w 14"/>
                    <a:gd name="T13" fmla="*/ 1 h 8"/>
                    <a:gd name="T14" fmla="*/ 12 w 14"/>
                    <a:gd name="T15" fmla="*/ 0 h 8"/>
                    <a:gd name="T16" fmla="*/ 10 w 14"/>
                    <a:gd name="T17" fmla="*/ 2 h 8"/>
                    <a:gd name="T18" fmla="*/ 5 w 14"/>
                    <a:gd name="T19" fmla="*/ 3 h 8"/>
                    <a:gd name="T20" fmla="*/ 4 w 14"/>
                    <a:gd name="T21" fmla="*/ 1 h 8"/>
                    <a:gd name="T22" fmla="*/ 1 w 14"/>
                    <a:gd name="T23" fmla="*/ 3 h 8"/>
                    <a:gd name="T24" fmla="*/ 0 w 14"/>
                    <a:gd name="T25" fmla="*/ 6 h 8"/>
                    <a:gd name="T26" fmla="*/ 0 w 14"/>
                    <a:gd name="T27" fmla="*/ 7 h 8"/>
                    <a:gd name="T28" fmla="*/ 4 w 14"/>
                    <a:gd name="T29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" h="8">
                      <a:moveTo>
                        <a:pt x="4" y="5"/>
                      </a:moveTo>
                      <a:lnTo>
                        <a:pt x="8" y="7"/>
                      </a:lnTo>
                      <a:lnTo>
                        <a:pt x="10" y="8"/>
                      </a:lnTo>
                      <a:lnTo>
                        <a:pt x="11" y="7"/>
                      </a:lnTo>
                      <a:lnTo>
                        <a:pt x="13" y="4"/>
                      </a:lnTo>
                      <a:lnTo>
                        <a:pt x="14" y="4"/>
                      </a:lnTo>
                      <a:lnTo>
                        <a:pt x="14" y="1"/>
                      </a:lnTo>
                      <a:lnTo>
                        <a:pt x="12" y="0"/>
                      </a:lnTo>
                      <a:lnTo>
                        <a:pt x="10" y="2"/>
                      </a:lnTo>
                      <a:lnTo>
                        <a:pt x="5" y="3"/>
                      </a:lnTo>
                      <a:lnTo>
                        <a:pt x="4" y="1"/>
                      </a:lnTo>
                      <a:lnTo>
                        <a:pt x="1" y="3"/>
                      </a:lnTo>
                      <a:lnTo>
                        <a:pt x="0" y="6"/>
                      </a:lnTo>
                      <a:lnTo>
                        <a:pt x="0" y="7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6" name="Freeform 386">
                  <a:extLst>
                    <a:ext uri="{FF2B5EF4-FFF2-40B4-BE49-F238E27FC236}">
                      <a16:creationId xmlns:a16="http://schemas.microsoft.com/office/drawing/2014/main" id="{EB95B73A-1213-4A12-8115-56847FD72D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06" y="2714"/>
                  <a:ext cx="7" cy="6"/>
                </a:xfrm>
                <a:custGeom>
                  <a:avLst/>
                  <a:gdLst>
                    <a:gd name="T0" fmla="*/ 4 w 7"/>
                    <a:gd name="T1" fmla="*/ 5 h 6"/>
                    <a:gd name="T2" fmla="*/ 7 w 7"/>
                    <a:gd name="T3" fmla="*/ 2 h 6"/>
                    <a:gd name="T4" fmla="*/ 7 w 7"/>
                    <a:gd name="T5" fmla="*/ 0 h 6"/>
                    <a:gd name="T6" fmla="*/ 5 w 7"/>
                    <a:gd name="T7" fmla="*/ 0 h 6"/>
                    <a:gd name="T8" fmla="*/ 0 w 7"/>
                    <a:gd name="T9" fmla="*/ 5 h 6"/>
                    <a:gd name="T10" fmla="*/ 1 w 7"/>
                    <a:gd name="T11" fmla="*/ 6 h 6"/>
                    <a:gd name="T12" fmla="*/ 4 w 7"/>
                    <a:gd name="T13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6">
                      <a:moveTo>
                        <a:pt x="4" y="5"/>
                      </a:move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5" y="0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7" name="Freeform 387">
                  <a:extLst>
                    <a:ext uri="{FF2B5EF4-FFF2-40B4-BE49-F238E27FC236}">
                      <a16:creationId xmlns:a16="http://schemas.microsoft.com/office/drawing/2014/main" id="{A7FDACC2-61DA-4A2C-A2A5-E70EA9113F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95" y="2864"/>
                  <a:ext cx="20" cy="13"/>
                </a:xfrm>
                <a:custGeom>
                  <a:avLst/>
                  <a:gdLst>
                    <a:gd name="T0" fmla="*/ 14 w 20"/>
                    <a:gd name="T1" fmla="*/ 13 h 13"/>
                    <a:gd name="T2" fmla="*/ 17 w 20"/>
                    <a:gd name="T3" fmla="*/ 10 h 13"/>
                    <a:gd name="T4" fmla="*/ 19 w 20"/>
                    <a:gd name="T5" fmla="*/ 11 h 13"/>
                    <a:gd name="T6" fmla="*/ 20 w 20"/>
                    <a:gd name="T7" fmla="*/ 8 h 13"/>
                    <a:gd name="T8" fmla="*/ 17 w 20"/>
                    <a:gd name="T9" fmla="*/ 5 h 13"/>
                    <a:gd name="T10" fmla="*/ 17 w 20"/>
                    <a:gd name="T11" fmla="*/ 2 h 13"/>
                    <a:gd name="T12" fmla="*/ 13 w 20"/>
                    <a:gd name="T13" fmla="*/ 1 h 13"/>
                    <a:gd name="T14" fmla="*/ 7 w 20"/>
                    <a:gd name="T15" fmla="*/ 0 h 13"/>
                    <a:gd name="T16" fmla="*/ 5 w 20"/>
                    <a:gd name="T17" fmla="*/ 2 h 13"/>
                    <a:gd name="T18" fmla="*/ 3 w 20"/>
                    <a:gd name="T19" fmla="*/ 2 h 13"/>
                    <a:gd name="T20" fmla="*/ 0 w 20"/>
                    <a:gd name="T21" fmla="*/ 3 h 13"/>
                    <a:gd name="T22" fmla="*/ 0 w 20"/>
                    <a:gd name="T23" fmla="*/ 8 h 13"/>
                    <a:gd name="T24" fmla="*/ 2 w 20"/>
                    <a:gd name="T25" fmla="*/ 11 h 13"/>
                    <a:gd name="T26" fmla="*/ 7 w 20"/>
                    <a:gd name="T27" fmla="*/ 13 h 13"/>
                    <a:gd name="T28" fmla="*/ 7 w 20"/>
                    <a:gd name="T29" fmla="*/ 13 h 13"/>
                    <a:gd name="T30" fmla="*/ 10 w 20"/>
                    <a:gd name="T31" fmla="*/ 13 h 13"/>
                    <a:gd name="T32" fmla="*/ 14 w 20"/>
                    <a:gd name="T33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0" h="13">
                      <a:moveTo>
                        <a:pt x="14" y="13"/>
                      </a:moveTo>
                      <a:lnTo>
                        <a:pt x="17" y="10"/>
                      </a:lnTo>
                      <a:lnTo>
                        <a:pt x="19" y="11"/>
                      </a:lnTo>
                      <a:lnTo>
                        <a:pt x="20" y="8"/>
                      </a:lnTo>
                      <a:lnTo>
                        <a:pt x="17" y="5"/>
                      </a:lnTo>
                      <a:lnTo>
                        <a:pt x="17" y="2"/>
                      </a:lnTo>
                      <a:lnTo>
                        <a:pt x="13" y="1"/>
                      </a:lnTo>
                      <a:lnTo>
                        <a:pt x="7" y="0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0" y="3"/>
                      </a:lnTo>
                      <a:lnTo>
                        <a:pt x="0" y="8"/>
                      </a:lnTo>
                      <a:lnTo>
                        <a:pt x="2" y="11"/>
                      </a:lnTo>
                      <a:lnTo>
                        <a:pt x="7" y="13"/>
                      </a:lnTo>
                      <a:lnTo>
                        <a:pt x="7" y="13"/>
                      </a:lnTo>
                      <a:lnTo>
                        <a:pt x="10" y="13"/>
                      </a:lnTo>
                      <a:lnTo>
                        <a:pt x="14" y="1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8" name="Freeform 388">
                  <a:extLst>
                    <a:ext uri="{FF2B5EF4-FFF2-40B4-BE49-F238E27FC236}">
                      <a16:creationId xmlns:a16="http://schemas.microsoft.com/office/drawing/2014/main" id="{E219DBA2-2B36-4D75-B84B-248AA9CE57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8" y="2743"/>
                  <a:ext cx="4" cy="9"/>
                </a:xfrm>
                <a:custGeom>
                  <a:avLst/>
                  <a:gdLst>
                    <a:gd name="T0" fmla="*/ 0 w 4"/>
                    <a:gd name="T1" fmla="*/ 2 h 9"/>
                    <a:gd name="T2" fmla="*/ 0 w 4"/>
                    <a:gd name="T3" fmla="*/ 6 h 9"/>
                    <a:gd name="T4" fmla="*/ 3 w 4"/>
                    <a:gd name="T5" fmla="*/ 9 h 9"/>
                    <a:gd name="T6" fmla="*/ 4 w 4"/>
                    <a:gd name="T7" fmla="*/ 7 h 9"/>
                    <a:gd name="T8" fmla="*/ 3 w 4"/>
                    <a:gd name="T9" fmla="*/ 4 h 9"/>
                    <a:gd name="T10" fmla="*/ 0 w 4"/>
                    <a:gd name="T11" fmla="*/ 0 h 9"/>
                    <a:gd name="T12" fmla="*/ 0 w 4"/>
                    <a:gd name="T13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9">
                      <a:moveTo>
                        <a:pt x="0" y="2"/>
                      </a:moveTo>
                      <a:lnTo>
                        <a:pt x="0" y="6"/>
                      </a:lnTo>
                      <a:lnTo>
                        <a:pt x="3" y="9"/>
                      </a:lnTo>
                      <a:lnTo>
                        <a:pt x="4" y="7"/>
                      </a:lnTo>
                      <a:lnTo>
                        <a:pt x="3" y="4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9" name="Freeform 389">
                  <a:extLst>
                    <a:ext uri="{FF2B5EF4-FFF2-40B4-BE49-F238E27FC236}">
                      <a16:creationId xmlns:a16="http://schemas.microsoft.com/office/drawing/2014/main" id="{2BD71F37-9E38-4A3A-8BD3-137B7D2545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05" y="2739"/>
                  <a:ext cx="3" cy="3"/>
                </a:xfrm>
                <a:custGeom>
                  <a:avLst/>
                  <a:gdLst>
                    <a:gd name="T0" fmla="*/ 2 w 3"/>
                    <a:gd name="T1" fmla="*/ 4 h 4"/>
                    <a:gd name="T2" fmla="*/ 3 w 3"/>
                    <a:gd name="T3" fmla="*/ 4 h 4"/>
                    <a:gd name="T4" fmla="*/ 2 w 3"/>
                    <a:gd name="T5" fmla="*/ 0 h 4"/>
                    <a:gd name="T6" fmla="*/ 0 w 3"/>
                    <a:gd name="T7" fmla="*/ 0 h 4"/>
                    <a:gd name="T8" fmla="*/ 2 w 3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2" y="4"/>
                      </a:moveTo>
                      <a:cubicBezTo>
                        <a:pt x="3" y="4"/>
                        <a:pt x="3" y="4"/>
                        <a:pt x="3" y="4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2" y="4"/>
                        <a:pt x="2" y="4"/>
                      </a:cubicBez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0" name="Freeform 390">
                  <a:extLst>
                    <a:ext uri="{FF2B5EF4-FFF2-40B4-BE49-F238E27FC236}">
                      <a16:creationId xmlns:a16="http://schemas.microsoft.com/office/drawing/2014/main" id="{D28489C0-6404-441F-A463-098C4B29E9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12" y="2817"/>
                  <a:ext cx="2" cy="4"/>
                </a:xfrm>
                <a:custGeom>
                  <a:avLst/>
                  <a:gdLst>
                    <a:gd name="T0" fmla="*/ 2 w 2"/>
                    <a:gd name="T1" fmla="*/ 1 h 4"/>
                    <a:gd name="T2" fmla="*/ 2 w 2"/>
                    <a:gd name="T3" fmla="*/ 0 h 4"/>
                    <a:gd name="T4" fmla="*/ 0 w 2"/>
                    <a:gd name="T5" fmla="*/ 0 h 4"/>
                    <a:gd name="T6" fmla="*/ 0 w 2"/>
                    <a:gd name="T7" fmla="*/ 3 h 4"/>
                    <a:gd name="T8" fmla="*/ 1 w 2"/>
                    <a:gd name="T9" fmla="*/ 4 h 4"/>
                    <a:gd name="T10" fmla="*/ 2 w 2"/>
                    <a:gd name="T11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4">
                      <a:moveTo>
                        <a:pt x="2" y="1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1" name="Freeform 391">
                  <a:extLst>
                    <a:ext uri="{FF2B5EF4-FFF2-40B4-BE49-F238E27FC236}">
                      <a16:creationId xmlns:a16="http://schemas.microsoft.com/office/drawing/2014/main" id="{5A5F1ED6-3A1C-46FB-A0D9-B2BBE116B8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59" y="2939"/>
                  <a:ext cx="20" cy="17"/>
                </a:xfrm>
                <a:custGeom>
                  <a:avLst/>
                  <a:gdLst>
                    <a:gd name="T0" fmla="*/ 23 w 26"/>
                    <a:gd name="T1" fmla="*/ 10 h 22"/>
                    <a:gd name="T2" fmla="*/ 24 w 26"/>
                    <a:gd name="T3" fmla="*/ 9 h 22"/>
                    <a:gd name="T4" fmla="*/ 25 w 26"/>
                    <a:gd name="T5" fmla="*/ 6 h 22"/>
                    <a:gd name="T6" fmla="*/ 26 w 26"/>
                    <a:gd name="T7" fmla="*/ 4 h 22"/>
                    <a:gd name="T8" fmla="*/ 23 w 26"/>
                    <a:gd name="T9" fmla="*/ 2 h 22"/>
                    <a:gd name="T10" fmla="*/ 22 w 26"/>
                    <a:gd name="T11" fmla="*/ 0 h 22"/>
                    <a:gd name="T12" fmla="*/ 15 w 26"/>
                    <a:gd name="T13" fmla="*/ 0 h 22"/>
                    <a:gd name="T14" fmla="*/ 11 w 26"/>
                    <a:gd name="T15" fmla="*/ 2 h 22"/>
                    <a:gd name="T16" fmla="*/ 9 w 26"/>
                    <a:gd name="T17" fmla="*/ 8 h 22"/>
                    <a:gd name="T18" fmla="*/ 7 w 26"/>
                    <a:gd name="T19" fmla="*/ 13 h 22"/>
                    <a:gd name="T20" fmla="*/ 0 w 26"/>
                    <a:gd name="T21" fmla="*/ 22 h 22"/>
                    <a:gd name="T22" fmla="*/ 6 w 26"/>
                    <a:gd name="T23" fmla="*/ 21 h 22"/>
                    <a:gd name="T24" fmla="*/ 9 w 26"/>
                    <a:gd name="T25" fmla="*/ 21 h 22"/>
                    <a:gd name="T26" fmla="*/ 13 w 26"/>
                    <a:gd name="T27" fmla="*/ 21 h 22"/>
                    <a:gd name="T28" fmla="*/ 16 w 26"/>
                    <a:gd name="T29" fmla="*/ 20 h 22"/>
                    <a:gd name="T30" fmla="*/ 19 w 26"/>
                    <a:gd name="T31" fmla="*/ 16 h 22"/>
                    <a:gd name="T32" fmla="*/ 22 w 26"/>
                    <a:gd name="T33" fmla="*/ 15 h 22"/>
                    <a:gd name="T34" fmla="*/ 23 w 26"/>
                    <a:gd name="T35" fmla="*/ 13 h 22"/>
                    <a:gd name="T36" fmla="*/ 23 w 26"/>
                    <a:gd name="T37" fmla="*/ 1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6" h="22">
                      <a:moveTo>
                        <a:pt x="23" y="10"/>
                      </a:moveTo>
                      <a:cubicBezTo>
                        <a:pt x="24" y="9"/>
                        <a:pt x="24" y="9"/>
                        <a:pt x="24" y="9"/>
                      </a:cubicBez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6" y="4"/>
                        <a:pt x="26" y="4"/>
                        <a:pt x="26" y="4"/>
                      </a:cubicBezTo>
                      <a:cubicBezTo>
                        <a:pt x="23" y="2"/>
                        <a:pt x="23" y="2"/>
                        <a:pt x="23" y="2"/>
                      </a:cubicBez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1" y="2"/>
                        <a:pt x="11" y="2"/>
                        <a:pt x="11" y="2"/>
                      </a:cubicBezTo>
                      <a:cubicBezTo>
                        <a:pt x="9" y="8"/>
                        <a:pt x="9" y="8"/>
                        <a:pt x="9" y="8"/>
                      </a:cubicBezTo>
                      <a:cubicBezTo>
                        <a:pt x="7" y="13"/>
                        <a:pt x="7" y="13"/>
                        <a:pt x="7" y="13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0" y="22"/>
                        <a:pt x="6" y="21"/>
                        <a:pt x="6" y="21"/>
                      </a:cubicBezTo>
                      <a:cubicBezTo>
                        <a:pt x="9" y="21"/>
                        <a:pt x="9" y="21"/>
                        <a:pt x="9" y="21"/>
                      </a:cubicBez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6" y="20"/>
                        <a:pt x="16" y="20"/>
                        <a:pt x="16" y="20"/>
                      </a:cubicBezTo>
                      <a:cubicBezTo>
                        <a:pt x="19" y="16"/>
                        <a:pt x="19" y="16"/>
                        <a:pt x="19" y="16"/>
                      </a:cubicBezTo>
                      <a:cubicBezTo>
                        <a:pt x="22" y="15"/>
                        <a:pt x="22" y="15"/>
                        <a:pt x="22" y="15"/>
                      </a:cubicBezTo>
                      <a:cubicBezTo>
                        <a:pt x="23" y="13"/>
                        <a:pt x="23" y="13"/>
                        <a:pt x="23" y="13"/>
                      </a:cubicBezTo>
                      <a:lnTo>
                        <a:pt x="23" y="1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2" name="Freeform 392">
                  <a:extLst>
                    <a:ext uri="{FF2B5EF4-FFF2-40B4-BE49-F238E27FC236}">
                      <a16:creationId xmlns:a16="http://schemas.microsoft.com/office/drawing/2014/main" id="{EF7B9E81-856C-4ACB-8DE0-8888066EBA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01" y="2962"/>
                  <a:ext cx="3" cy="3"/>
                </a:xfrm>
                <a:custGeom>
                  <a:avLst/>
                  <a:gdLst>
                    <a:gd name="T0" fmla="*/ 0 w 3"/>
                    <a:gd name="T1" fmla="*/ 3 h 3"/>
                    <a:gd name="T2" fmla="*/ 2 w 3"/>
                    <a:gd name="T3" fmla="*/ 3 h 3"/>
                    <a:gd name="T4" fmla="*/ 3 w 3"/>
                    <a:gd name="T5" fmla="*/ 1 h 3"/>
                    <a:gd name="T6" fmla="*/ 1 w 3"/>
                    <a:gd name="T7" fmla="*/ 0 h 3"/>
                    <a:gd name="T8" fmla="*/ 0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0" y="3"/>
                      </a:moveTo>
                      <a:lnTo>
                        <a:pt x="2" y="3"/>
                      </a:lnTo>
                      <a:lnTo>
                        <a:pt x="3" y="1"/>
                      </a:lnTo>
                      <a:lnTo>
                        <a:pt x="1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3" name="Freeform 393">
                  <a:extLst>
                    <a:ext uri="{FF2B5EF4-FFF2-40B4-BE49-F238E27FC236}">
                      <a16:creationId xmlns:a16="http://schemas.microsoft.com/office/drawing/2014/main" id="{33876D24-FE9A-45F8-A7DA-CADD9D0B7B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17" y="2694"/>
                  <a:ext cx="3" cy="3"/>
                </a:xfrm>
                <a:custGeom>
                  <a:avLst/>
                  <a:gdLst>
                    <a:gd name="T0" fmla="*/ 2 w 3"/>
                    <a:gd name="T1" fmla="*/ 3 h 3"/>
                    <a:gd name="T2" fmla="*/ 3 w 3"/>
                    <a:gd name="T3" fmla="*/ 1 h 3"/>
                    <a:gd name="T4" fmla="*/ 2 w 3"/>
                    <a:gd name="T5" fmla="*/ 0 h 3"/>
                    <a:gd name="T6" fmla="*/ 0 w 3"/>
                    <a:gd name="T7" fmla="*/ 2 h 3"/>
                    <a:gd name="T8" fmla="*/ 2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2" y="3"/>
                      </a:move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4" name="Freeform 394">
                  <a:extLst>
                    <a:ext uri="{FF2B5EF4-FFF2-40B4-BE49-F238E27FC236}">
                      <a16:creationId xmlns:a16="http://schemas.microsoft.com/office/drawing/2014/main" id="{D310C2D5-0038-4615-862E-B365CE8840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98" y="2959"/>
                  <a:ext cx="3" cy="7"/>
                </a:xfrm>
                <a:custGeom>
                  <a:avLst/>
                  <a:gdLst>
                    <a:gd name="T0" fmla="*/ 0 w 3"/>
                    <a:gd name="T1" fmla="*/ 4 h 7"/>
                    <a:gd name="T2" fmla="*/ 1 w 3"/>
                    <a:gd name="T3" fmla="*/ 7 h 7"/>
                    <a:gd name="T4" fmla="*/ 2 w 3"/>
                    <a:gd name="T5" fmla="*/ 2 h 7"/>
                    <a:gd name="T6" fmla="*/ 3 w 3"/>
                    <a:gd name="T7" fmla="*/ 1 h 7"/>
                    <a:gd name="T8" fmla="*/ 0 w 3"/>
                    <a:gd name="T9" fmla="*/ 0 h 7"/>
                    <a:gd name="T10" fmla="*/ 0 w 3"/>
                    <a:gd name="T11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7">
                      <a:moveTo>
                        <a:pt x="0" y="4"/>
                      </a:moveTo>
                      <a:lnTo>
                        <a:pt x="1" y="7"/>
                      </a:lnTo>
                      <a:lnTo>
                        <a:pt x="2" y="2"/>
                      </a:lnTo>
                      <a:lnTo>
                        <a:pt x="3" y="1"/>
                      </a:lnTo>
                      <a:lnTo>
                        <a:pt x="0" y="0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5" name="Freeform 395">
                  <a:extLst>
                    <a:ext uri="{FF2B5EF4-FFF2-40B4-BE49-F238E27FC236}">
                      <a16:creationId xmlns:a16="http://schemas.microsoft.com/office/drawing/2014/main" id="{01A94704-7D41-462D-837B-3C4BD0FA6F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22" y="2701"/>
                  <a:ext cx="7" cy="4"/>
                </a:xfrm>
                <a:custGeom>
                  <a:avLst/>
                  <a:gdLst>
                    <a:gd name="T0" fmla="*/ 1 w 7"/>
                    <a:gd name="T1" fmla="*/ 1 h 4"/>
                    <a:gd name="T2" fmla="*/ 0 w 7"/>
                    <a:gd name="T3" fmla="*/ 3 h 4"/>
                    <a:gd name="T4" fmla="*/ 0 w 7"/>
                    <a:gd name="T5" fmla="*/ 4 h 4"/>
                    <a:gd name="T6" fmla="*/ 3 w 7"/>
                    <a:gd name="T7" fmla="*/ 4 h 4"/>
                    <a:gd name="T8" fmla="*/ 4 w 7"/>
                    <a:gd name="T9" fmla="*/ 3 h 4"/>
                    <a:gd name="T10" fmla="*/ 6 w 7"/>
                    <a:gd name="T11" fmla="*/ 4 h 4"/>
                    <a:gd name="T12" fmla="*/ 7 w 7"/>
                    <a:gd name="T13" fmla="*/ 3 h 4"/>
                    <a:gd name="T14" fmla="*/ 7 w 7"/>
                    <a:gd name="T15" fmla="*/ 1 h 4"/>
                    <a:gd name="T16" fmla="*/ 4 w 7"/>
                    <a:gd name="T17" fmla="*/ 0 h 4"/>
                    <a:gd name="T18" fmla="*/ 1 w 7"/>
                    <a:gd name="T19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4">
                      <a:moveTo>
                        <a:pt x="1" y="1"/>
                      </a:move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4" y="3"/>
                      </a:lnTo>
                      <a:lnTo>
                        <a:pt x="6" y="4"/>
                      </a:lnTo>
                      <a:lnTo>
                        <a:pt x="7" y="3"/>
                      </a:lnTo>
                      <a:lnTo>
                        <a:pt x="7" y="1"/>
                      </a:lnTo>
                      <a:lnTo>
                        <a:pt x="4" y="0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6" name="Freeform 396">
                  <a:extLst>
                    <a:ext uri="{FF2B5EF4-FFF2-40B4-BE49-F238E27FC236}">
                      <a16:creationId xmlns:a16="http://schemas.microsoft.com/office/drawing/2014/main" id="{3F63C8ED-7BA1-4FC9-85D7-B290C65D93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15" y="2911"/>
                  <a:ext cx="4" cy="12"/>
                </a:xfrm>
                <a:custGeom>
                  <a:avLst/>
                  <a:gdLst>
                    <a:gd name="T0" fmla="*/ 4 w 4"/>
                    <a:gd name="T1" fmla="*/ 6 h 12"/>
                    <a:gd name="T2" fmla="*/ 1 w 4"/>
                    <a:gd name="T3" fmla="*/ 0 h 12"/>
                    <a:gd name="T4" fmla="*/ 1 w 4"/>
                    <a:gd name="T5" fmla="*/ 3 h 12"/>
                    <a:gd name="T6" fmla="*/ 0 w 4"/>
                    <a:gd name="T7" fmla="*/ 5 h 12"/>
                    <a:gd name="T8" fmla="*/ 0 w 4"/>
                    <a:gd name="T9" fmla="*/ 7 h 12"/>
                    <a:gd name="T10" fmla="*/ 1 w 4"/>
                    <a:gd name="T11" fmla="*/ 10 h 12"/>
                    <a:gd name="T12" fmla="*/ 1 w 4"/>
                    <a:gd name="T13" fmla="*/ 12 h 12"/>
                    <a:gd name="T14" fmla="*/ 3 w 4"/>
                    <a:gd name="T15" fmla="*/ 9 h 12"/>
                    <a:gd name="T16" fmla="*/ 4 w 4"/>
                    <a:gd name="T17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12">
                      <a:moveTo>
                        <a:pt x="4" y="6"/>
                      </a:moveTo>
                      <a:lnTo>
                        <a:pt x="1" y="0"/>
                      </a:lnTo>
                      <a:lnTo>
                        <a:pt x="1" y="3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1" y="10"/>
                      </a:lnTo>
                      <a:lnTo>
                        <a:pt x="1" y="12"/>
                      </a:lnTo>
                      <a:lnTo>
                        <a:pt x="3" y="9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7" name="Freeform 397">
                  <a:extLst>
                    <a:ext uri="{FF2B5EF4-FFF2-40B4-BE49-F238E27FC236}">
                      <a16:creationId xmlns:a16="http://schemas.microsoft.com/office/drawing/2014/main" id="{926DA4A3-56CB-47F9-9436-357F5CEBA2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1" y="2832"/>
                  <a:ext cx="12" cy="7"/>
                </a:xfrm>
                <a:custGeom>
                  <a:avLst/>
                  <a:gdLst>
                    <a:gd name="T0" fmla="*/ 8 w 12"/>
                    <a:gd name="T1" fmla="*/ 5 h 7"/>
                    <a:gd name="T2" fmla="*/ 9 w 12"/>
                    <a:gd name="T3" fmla="*/ 6 h 7"/>
                    <a:gd name="T4" fmla="*/ 11 w 12"/>
                    <a:gd name="T5" fmla="*/ 5 h 7"/>
                    <a:gd name="T6" fmla="*/ 12 w 12"/>
                    <a:gd name="T7" fmla="*/ 3 h 7"/>
                    <a:gd name="T8" fmla="*/ 9 w 12"/>
                    <a:gd name="T9" fmla="*/ 1 h 7"/>
                    <a:gd name="T10" fmla="*/ 9 w 12"/>
                    <a:gd name="T11" fmla="*/ 3 h 7"/>
                    <a:gd name="T12" fmla="*/ 6 w 12"/>
                    <a:gd name="T13" fmla="*/ 3 h 7"/>
                    <a:gd name="T14" fmla="*/ 7 w 12"/>
                    <a:gd name="T15" fmla="*/ 2 h 7"/>
                    <a:gd name="T16" fmla="*/ 7 w 12"/>
                    <a:gd name="T17" fmla="*/ 0 h 7"/>
                    <a:gd name="T18" fmla="*/ 3 w 12"/>
                    <a:gd name="T19" fmla="*/ 0 h 7"/>
                    <a:gd name="T20" fmla="*/ 0 w 12"/>
                    <a:gd name="T21" fmla="*/ 2 h 7"/>
                    <a:gd name="T22" fmla="*/ 0 w 12"/>
                    <a:gd name="T23" fmla="*/ 5 h 7"/>
                    <a:gd name="T24" fmla="*/ 2 w 12"/>
                    <a:gd name="T25" fmla="*/ 7 h 7"/>
                    <a:gd name="T26" fmla="*/ 4 w 12"/>
                    <a:gd name="T27" fmla="*/ 5 h 7"/>
                    <a:gd name="T28" fmla="*/ 6 w 12"/>
                    <a:gd name="T29" fmla="*/ 7 h 7"/>
                    <a:gd name="T30" fmla="*/ 8 w 12"/>
                    <a:gd name="T31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2" h="7">
                      <a:moveTo>
                        <a:pt x="8" y="5"/>
                      </a:moveTo>
                      <a:lnTo>
                        <a:pt x="9" y="6"/>
                      </a:lnTo>
                      <a:lnTo>
                        <a:pt x="11" y="5"/>
                      </a:lnTo>
                      <a:lnTo>
                        <a:pt x="12" y="3"/>
                      </a:lnTo>
                      <a:lnTo>
                        <a:pt x="9" y="1"/>
                      </a:lnTo>
                      <a:lnTo>
                        <a:pt x="9" y="3"/>
                      </a:lnTo>
                      <a:lnTo>
                        <a:pt x="6" y="3"/>
                      </a:ln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6" y="7"/>
                      </a:lnTo>
                      <a:lnTo>
                        <a:pt x="8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8" name="Freeform 398">
                  <a:extLst>
                    <a:ext uri="{FF2B5EF4-FFF2-40B4-BE49-F238E27FC236}">
                      <a16:creationId xmlns:a16="http://schemas.microsoft.com/office/drawing/2014/main" id="{9CB0F242-171A-4D03-A683-C6CF2A51AD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4" y="2843"/>
                  <a:ext cx="2" cy="2"/>
                </a:xfrm>
                <a:custGeom>
                  <a:avLst/>
                  <a:gdLst>
                    <a:gd name="T0" fmla="*/ 2 w 2"/>
                    <a:gd name="T1" fmla="*/ 3 h 3"/>
                    <a:gd name="T2" fmla="*/ 2 w 2"/>
                    <a:gd name="T3" fmla="*/ 0 h 3"/>
                    <a:gd name="T4" fmla="*/ 0 w 2"/>
                    <a:gd name="T5" fmla="*/ 2 h 3"/>
                    <a:gd name="T6" fmla="*/ 2 w 2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2" y="3"/>
                      </a:moveTo>
                      <a:cubicBezTo>
                        <a:pt x="2" y="3"/>
                        <a:pt x="2" y="1"/>
                        <a:pt x="2" y="0"/>
                      </a:cubicBezTo>
                      <a:cubicBezTo>
                        <a:pt x="0" y="2"/>
                        <a:pt x="0" y="2"/>
                        <a:pt x="0" y="2"/>
                      </a:cubicBezTo>
                      <a:lnTo>
                        <a:pt x="2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9" name="Freeform 399">
                  <a:extLst>
                    <a:ext uri="{FF2B5EF4-FFF2-40B4-BE49-F238E27FC236}">
                      <a16:creationId xmlns:a16="http://schemas.microsoft.com/office/drawing/2014/main" id="{1F18D98E-9497-4D42-9794-D92C0945AA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5" y="2956"/>
                  <a:ext cx="9" cy="7"/>
                </a:xfrm>
                <a:custGeom>
                  <a:avLst/>
                  <a:gdLst>
                    <a:gd name="T0" fmla="*/ 2 w 9"/>
                    <a:gd name="T1" fmla="*/ 7 h 7"/>
                    <a:gd name="T2" fmla="*/ 5 w 9"/>
                    <a:gd name="T3" fmla="*/ 6 h 7"/>
                    <a:gd name="T4" fmla="*/ 5 w 9"/>
                    <a:gd name="T5" fmla="*/ 3 h 7"/>
                    <a:gd name="T6" fmla="*/ 9 w 9"/>
                    <a:gd name="T7" fmla="*/ 0 h 7"/>
                    <a:gd name="T8" fmla="*/ 8 w 9"/>
                    <a:gd name="T9" fmla="*/ 0 h 7"/>
                    <a:gd name="T10" fmla="*/ 5 w 9"/>
                    <a:gd name="T11" fmla="*/ 1 h 7"/>
                    <a:gd name="T12" fmla="*/ 4 w 9"/>
                    <a:gd name="T13" fmla="*/ 0 h 7"/>
                    <a:gd name="T14" fmla="*/ 2 w 9"/>
                    <a:gd name="T15" fmla="*/ 1 h 7"/>
                    <a:gd name="T16" fmla="*/ 3 w 9"/>
                    <a:gd name="T17" fmla="*/ 3 h 7"/>
                    <a:gd name="T18" fmla="*/ 0 w 9"/>
                    <a:gd name="T19" fmla="*/ 5 h 7"/>
                    <a:gd name="T20" fmla="*/ 2 w 9"/>
                    <a:gd name="T2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" h="7">
                      <a:moveTo>
                        <a:pt x="2" y="7"/>
                      </a:moveTo>
                      <a:lnTo>
                        <a:pt x="5" y="6"/>
                      </a:lnTo>
                      <a:lnTo>
                        <a:pt x="5" y="3"/>
                      </a:lnTo>
                      <a:lnTo>
                        <a:pt x="9" y="0"/>
                      </a:lnTo>
                      <a:lnTo>
                        <a:pt x="8" y="0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3" y="3"/>
                      </a:lnTo>
                      <a:lnTo>
                        <a:pt x="0" y="5"/>
                      </a:lnTo>
                      <a:lnTo>
                        <a:pt x="2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0" name="Freeform 400">
                  <a:extLst>
                    <a:ext uri="{FF2B5EF4-FFF2-40B4-BE49-F238E27FC236}">
                      <a16:creationId xmlns:a16="http://schemas.microsoft.com/office/drawing/2014/main" id="{7291E7F7-F852-4BBB-80B7-80DF6230CF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64" y="2957"/>
                  <a:ext cx="6" cy="5"/>
                </a:xfrm>
                <a:custGeom>
                  <a:avLst/>
                  <a:gdLst>
                    <a:gd name="T0" fmla="*/ 1 w 6"/>
                    <a:gd name="T1" fmla="*/ 2 h 5"/>
                    <a:gd name="T2" fmla="*/ 0 w 6"/>
                    <a:gd name="T3" fmla="*/ 3 h 5"/>
                    <a:gd name="T4" fmla="*/ 2 w 6"/>
                    <a:gd name="T5" fmla="*/ 3 h 5"/>
                    <a:gd name="T6" fmla="*/ 3 w 6"/>
                    <a:gd name="T7" fmla="*/ 5 h 5"/>
                    <a:gd name="T8" fmla="*/ 6 w 6"/>
                    <a:gd name="T9" fmla="*/ 2 h 5"/>
                    <a:gd name="T10" fmla="*/ 5 w 6"/>
                    <a:gd name="T11" fmla="*/ 0 h 5"/>
                    <a:gd name="T12" fmla="*/ 4 w 6"/>
                    <a:gd name="T13" fmla="*/ 2 h 5"/>
                    <a:gd name="T14" fmla="*/ 1 w 6"/>
                    <a:gd name="T15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5">
                      <a:moveTo>
                        <a:pt x="1" y="2"/>
                      </a:move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3" y="5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4" y="2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1" name="Freeform 401">
                  <a:extLst>
                    <a:ext uri="{FF2B5EF4-FFF2-40B4-BE49-F238E27FC236}">
                      <a16:creationId xmlns:a16="http://schemas.microsoft.com/office/drawing/2014/main" id="{03180E71-587C-4477-86FC-A21C771091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36" y="2817"/>
                  <a:ext cx="3" cy="1"/>
                </a:xfrm>
                <a:custGeom>
                  <a:avLst/>
                  <a:gdLst>
                    <a:gd name="T0" fmla="*/ 3 w 3"/>
                    <a:gd name="T1" fmla="*/ 0 h 2"/>
                    <a:gd name="T2" fmla="*/ 0 w 3"/>
                    <a:gd name="T3" fmla="*/ 1 h 2"/>
                    <a:gd name="T4" fmla="*/ 3 w 3"/>
                    <a:gd name="T5" fmla="*/ 2 h 2"/>
                    <a:gd name="T6" fmla="*/ 3 w 3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3" y="0"/>
                      </a:moveTo>
                      <a:cubicBezTo>
                        <a:pt x="3" y="0"/>
                        <a:pt x="0" y="1"/>
                        <a:pt x="0" y="1"/>
                      </a:cubicBezTo>
                      <a:cubicBezTo>
                        <a:pt x="3" y="2"/>
                        <a:pt x="3" y="2"/>
                        <a:pt x="3" y="2"/>
                      </a:cubicBez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2" name="Freeform 402">
                  <a:extLst>
                    <a:ext uri="{FF2B5EF4-FFF2-40B4-BE49-F238E27FC236}">
                      <a16:creationId xmlns:a16="http://schemas.microsoft.com/office/drawing/2014/main" id="{AB1625CD-5FD4-49D3-8D33-F835526F9C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92" y="2782"/>
                  <a:ext cx="95" cy="127"/>
                </a:xfrm>
                <a:custGeom>
                  <a:avLst/>
                  <a:gdLst>
                    <a:gd name="T0" fmla="*/ 89 w 95"/>
                    <a:gd name="T1" fmla="*/ 13 h 127"/>
                    <a:gd name="T2" fmla="*/ 95 w 95"/>
                    <a:gd name="T3" fmla="*/ 5 h 127"/>
                    <a:gd name="T4" fmla="*/ 86 w 95"/>
                    <a:gd name="T5" fmla="*/ 1 h 127"/>
                    <a:gd name="T6" fmla="*/ 80 w 95"/>
                    <a:gd name="T7" fmla="*/ 11 h 127"/>
                    <a:gd name="T8" fmla="*/ 67 w 95"/>
                    <a:gd name="T9" fmla="*/ 13 h 127"/>
                    <a:gd name="T10" fmla="*/ 56 w 95"/>
                    <a:gd name="T11" fmla="*/ 12 h 127"/>
                    <a:gd name="T12" fmla="*/ 45 w 95"/>
                    <a:gd name="T13" fmla="*/ 10 h 127"/>
                    <a:gd name="T14" fmla="*/ 34 w 95"/>
                    <a:gd name="T15" fmla="*/ 5 h 127"/>
                    <a:gd name="T16" fmla="*/ 28 w 95"/>
                    <a:gd name="T17" fmla="*/ 14 h 127"/>
                    <a:gd name="T18" fmla="*/ 18 w 95"/>
                    <a:gd name="T19" fmla="*/ 18 h 127"/>
                    <a:gd name="T20" fmla="*/ 16 w 95"/>
                    <a:gd name="T21" fmla="*/ 30 h 127"/>
                    <a:gd name="T22" fmla="*/ 16 w 95"/>
                    <a:gd name="T23" fmla="*/ 45 h 127"/>
                    <a:gd name="T24" fmla="*/ 10 w 95"/>
                    <a:gd name="T25" fmla="*/ 44 h 127"/>
                    <a:gd name="T26" fmla="*/ 7 w 95"/>
                    <a:gd name="T27" fmla="*/ 56 h 127"/>
                    <a:gd name="T28" fmla="*/ 5 w 95"/>
                    <a:gd name="T29" fmla="*/ 68 h 127"/>
                    <a:gd name="T30" fmla="*/ 2 w 95"/>
                    <a:gd name="T31" fmla="*/ 81 h 127"/>
                    <a:gd name="T32" fmla="*/ 4 w 95"/>
                    <a:gd name="T33" fmla="*/ 91 h 127"/>
                    <a:gd name="T34" fmla="*/ 10 w 95"/>
                    <a:gd name="T35" fmla="*/ 95 h 127"/>
                    <a:gd name="T36" fmla="*/ 9 w 95"/>
                    <a:gd name="T37" fmla="*/ 112 h 127"/>
                    <a:gd name="T38" fmla="*/ 13 w 95"/>
                    <a:gd name="T39" fmla="*/ 127 h 127"/>
                    <a:gd name="T40" fmla="*/ 22 w 95"/>
                    <a:gd name="T41" fmla="*/ 126 h 127"/>
                    <a:gd name="T42" fmla="*/ 22 w 95"/>
                    <a:gd name="T43" fmla="*/ 119 h 127"/>
                    <a:gd name="T44" fmla="*/ 23 w 95"/>
                    <a:gd name="T45" fmla="*/ 101 h 127"/>
                    <a:gd name="T46" fmla="*/ 25 w 95"/>
                    <a:gd name="T47" fmla="*/ 84 h 127"/>
                    <a:gd name="T48" fmla="*/ 27 w 95"/>
                    <a:gd name="T49" fmla="*/ 77 h 127"/>
                    <a:gd name="T50" fmla="*/ 34 w 95"/>
                    <a:gd name="T51" fmla="*/ 81 h 127"/>
                    <a:gd name="T52" fmla="*/ 33 w 95"/>
                    <a:gd name="T53" fmla="*/ 95 h 127"/>
                    <a:gd name="T54" fmla="*/ 40 w 95"/>
                    <a:gd name="T55" fmla="*/ 103 h 127"/>
                    <a:gd name="T56" fmla="*/ 41 w 95"/>
                    <a:gd name="T57" fmla="*/ 113 h 127"/>
                    <a:gd name="T58" fmla="*/ 48 w 95"/>
                    <a:gd name="T59" fmla="*/ 112 h 127"/>
                    <a:gd name="T60" fmla="*/ 55 w 95"/>
                    <a:gd name="T61" fmla="*/ 105 h 127"/>
                    <a:gd name="T62" fmla="*/ 65 w 95"/>
                    <a:gd name="T63" fmla="*/ 104 h 127"/>
                    <a:gd name="T64" fmla="*/ 61 w 95"/>
                    <a:gd name="T65" fmla="*/ 100 h 127"/>
                    <a:gd name="T66" fmla="*/ 55 w 95"/>
                    <a:gd name="T67" fmla="*/ 97 h 127"/>
                    <a:gd name="T68" fmla="*/ 52 w 95"/>
                    <a:gd name="T69" fmla="*/ 94 h 127"/>
                    <a:gd name="T70" fmla="*/ 51 w 95"/>
                    <a:gd name="T71" fmla="*/ 88 h 127"/>
                    <a:gd name="T72" fmla="*/ 54 w 95"/>
                    <a:gd name="T73" fmla="*/ 84 h 127"/>
                    <a:gd name="T74" fmla="*/ 51 w 95"/>
                    <a:gd name="T75" fmla="*/ 78 h 127"/>
                    <a:gd name="T76" fmla="*/ 42 w 95"/>
                    <a:gd name="T77" fmla="*/ 68 h 127"/>
                    <a:gd name="T78" fmla="*/ 40 w 95"/>
                    <a:gd name="T79" fmla="*/ 61 h 127"/>
                    <a:gd name="T80" fmla="*/ 46 w 95"/>
                    <a:gd name="T81" fmla="*/ 59 h 127"/>
                    <a:gd name="T82" fmla="*/ 60 w 95"/>
                    <a:gd name="T83" fmla="*/ 47 h 127"/>
                    <a:gd name="T84" fmla="*/ 68 w 95"/>
                    <a:gd name="T85" fmla="*/ 46 h 127"/>
                    <a:gd name="T86" fmla="*/ 61 w 95"/>
                    <a:gd name="T87" fmla="*/ 39 h 127"/>
                    <a:gd name="T88" fmla="*/ 49 w 95"/>
                    <a:gd name="T89" fmla="*/ 45 h 127"/>
                    <a:gd name="T90" fmla="*/ 40 w 95"/>
                    <a:gd name="T91" fmla="*/ 43 h 127"/>
                    <a:gd name="T92" fmla="*/ 29 w 95"/>
                    <a:gd name="T93" fmla="*/ 53 h 127"/>
                    <a:gd name="T94" fmla="*/ 20 w 95"/>
                    <a:gd name="T95" fmla="*/ 37 h 127"/>
                    <a:gd name="T96" fmla="*/ 27 w 95"/>
                    <a:gd name="T97" fmla="*/ 20 h 127"/>
                    <a:gd name="T98" fmla="*/ 44 w 95"/>
                    <a:gd name="T99" fmla="*/ 20 h 127"/>
                    <a:gd name="T100" fmla="*/ 57 w 95"/>
                    <a:gd name="T101" fmla="*/ 22 h 127"/>
                    <a:gd name="T102" fmla="*/ 66 w 95"/>
                    <a:gd name="T103" fmla="*/ 22 h 127"/>
                    <a:gd name="T104" fmla="*/ 85 w 95"/>
                    <a:gd name="T105" fmla="*/ 18 h 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95" h="127">
                      <a:moveTo>
                        <a:pt x="85" y="18"/>
                      </a:moveTo>
                      <a:lnTo>
                        <a:pt x="85" y="15"/>
                      </a:lnTo>
                      <a:lnTo>
                        <a:pt x="88" y="15"/>
                      </a:lnTo>
                      <a:lnTo>
                        <a:pt x="89" y="13"/>
                      </a:lnTo>
                      <a:lnTo>
                        <a:pt x="91" y="12"/>
                      </a:lnTo>
                      <a:lnTo>
                        <a:pt x="92" y="8"/>
                      </a:lnTo>
                      <a:lnTo>
                        <a:pt x="93" y="6"/>
                      </a:lnTo>
                      <a:lnTo>
                        <a:pt x="95" y="5"/>
                      </a:lnTo>
                      <a:lnTo>
                        <a:pt x="93" y="3"/>
                      </a:lnTo>
                      <a:lnTo>
                        <a:pt x="92" y="1"/>
                      </a:lnTo>
                      <a:lnTo>
                        <a:pt x="89" y="0"/>
                      </a:lnTo>
                      <a:lnTo>
                        <a:pt x="86" y="1"/>
                      </a:lnTo>
                      <a:lnTo>
                        <a:pt x="85" y="5"/>
                      </a:lnTo>
                      <a:lnTo>
                        <a:pt x="83" y="6"/>
                      </a:lnTo>
                      <a:lnTo>
                        <a:pt x="83" y="8"/>
                      </a:lnTo>
                      <a:lnTo>
                        <a:pt x="80" y="11"/>
                      </a:lnTo>
                      <a:lnTo>
                        <a:pt x="78" y="11"/>
                      </a:lnTo>
                      <a:lnTo>
                        <a:pt x="77" y="13"/>
                      </a:lnTo>
                      <a:lnTo>
                        <a:pt x="73" y="15"/>
                      </a:lnTo>
                      <a:lnTo>
                        <a:pt x="67" y="13"/>
                      </a:lnTo>
                      <a:lnTo>
                        <a:pt x="61" y="12"/>
                      </a:lnTo>
                      <a:lnTo>
                        <a:pt x="60" y="14"/>
                      </a:lnTo>
                      <a:lnTo>
                        <a:pt x="58" y="14"/>
                      </a:lnTo>
                      <a:lnTo>
                        <a:pt x="56" y="12"/>
                      </a:lnTo>
                      <a:lnTo>
                        <a:pt x="54" y="11"/>
                      </a:lnTo>
                      <a:lnTo>
                        <a:pt x="51" y="12"/>
                      </a:lnTo>
                      <a:lnTo>
                        <a:pt x="48" y="11"/>
                      </a:lnTo>
                      <a:lnTo>
                        <a:pt x="45" y="10"/>
                      </a:lnTo>
                      <a:lnTo>
                        <a:pt x="43" y="12"/>
                      </a:lnTo>
                      <a:lnTo>
                        <a:pt x="40" y="10"/>
                      </a:lnTo>
                      <a:lnTo>
                        <a:pt x="38" y="7"/>
                      </a:lnTo>
                      <a:lnTo>
                        <a:pt x="34" y="5"/>
                      </a:lnTo>
                      <a:lnTo>
                        <a:pt x="31" y="5"/>
                      </a:lnTo>
                      <a:lnTo>
                        <a:pt x="31" y="9"/>
                      </a:lnTo>
                      <a:lnTo>
                        <a:pt x="29" y="11"/>
                      </a:lnTo>
                      <a:lnTo>
                        <a:pt x="28" y="14"/>
                      </a:lnTo>
                      <a:lnTo>
                        <a:pt x="27" y="16"/>
                      </a:lnTo>
                      <a:lnTo>
                        <a:pt x="23" y="15"/>
                      </a:lnTo>
                      <a:lnTo>
                        <a:pt x="20" y="15"/>
                      </a:lnTo>
                      <a:lnTo>
                        <a:pt x="18" y="18"/>
                      </a:lnTo>
                      <a:lnTo>
                        <a:pt x="18" y="19"/>
                      </a:lnTo>
                      <a:lnTo>
                        <a:pt x="15" y="22"/>
                      </a:lnTo>
                      <a:lnTo>
                        <a:pt x="15" y="28"/>
                      </a:lnTo>
                      <a:lnTo>
                        <a:pt x="16" y="30"/>
                      </a:lnTo>
                      <a:lnTo>
                        <a:pt x="15" y="36"/>
                      </a:lnTo>
                      <a:lnTo>
                        <a:pt x="14" y="38"/>
                      </a:lnTo>
                      <a:lnTo>
                        <a:pt x="16" y="42"/>
                      </a:lnTo>
                      <a:lnTo>
                        <a:pt x="16" y="45"/>
                      </a:lnTo>
                      <a:lnTo>
                        <a:pt x="15" y="43"/>
                      </a:lnTo>
                      <a:lnTo>
                        <a:pt x="14" y="41"/>
                      </a:lnTo>
                      <a:lnTo>
                        <a:pt x="13" y="42"/>
                      </a:lnTo>
                      <a:lnTo>
                        <a:pt x="10" y="44"/>
                      </a:lnTo>
                      <a:lnTo>
                        <a:pt x="9" y="46"/>
                      </a:lnTo>
                      <a:lnTo>
                        <a:pt x="8" y="49"/>
                      </a:lnTo>
                      <a:lnTo>
                        <a:pt x="8" y="53"/>
                      </a:lnTo>
                      <a:lnTo>
                        <a:pt x="7" y="56"/>
                      </a:lnTo>
                      <a:lnTo>
                        <a:pt x="8" y="63"/>
                      </a:lnTo>
                      <a:lnTo>
                        <a:pt x="7" y="64"/>
                      </a:lnTo>
                      <a:lnTo>
                        <a:pt x="7" y="67"/>
                      </a:lnTo>
                      <a:lnTo>
                        <a:pt x="5" y="68"/>
                      </a:lnTo>
                      <a:lnTo>
                        <a:pt x="5" y="72"/>
                      </a:lnTo>
                      <a:lnTo>
                        <a:pt x="2" y="75"/>
                      </a:lnTo>
                      <a:lnTo>
                        <a:pt x="1" y="80"/>
                      </a:lnTo>
                      <a:lnTo>
                        <a:pt x="2" y="81"/>
                      </a:lnTo>
                      <a:lnTo>
                        <a:pt x="0" y="83"/>
                      </a:lnTo>
                      <a:lnTo>
                        <a:pt x="2" y="89"/>
                      </a:lnTo>
                      <a:lnTo>
                        <a:pt x="3" y="91"/>
                      </a:lnTo>
                      <a:lnTo>
                        <a:pt x="4" y="91"/>
                      </a:lnTo>
                      <a:lnTo>
                        <a:pt x="6" y="91"/>
                      </a:lnTo>
                      <a:lnTo>
                        <a:pt x="8" y="90"/>
                      </a:lnTo>
                      <a:lnTo>
                        <a:pt x="9" y="91"/>
                      </a:lnTo>
                      <a:lnTo>
                        <a:pt x="10" y="95"/>
                      </a:lnTo>
                      <a:lnTo>
                        <a:pt x="13" y="102"/>
                      </a:lnTo>
                      <a:lnTo>
                        <a:pt x="12" y="105"/>
                      </a:lnTo>
                      <a:lnTo>
                        <a:pt x="11" y="108"/>
                      </a:lnTo>
                      <a:lnTo>
                        <a:pt x="9" y="112"/>
                      </a:lnTo>
                      <a:lnTo>
                        <a:pt x="9" y="120"/>
                      </a:lnTo>
                      <a:lnTo>
                        <a:pt x="9" y="126"/>
                      </a:lnTo>
                      <a:lnTo>
                        <a:pt x="10" y="126"/>
                      </a:lnTo>
                      <a:lnTo>
                        <a:pt x="13" y="127"/>
                      </a:lnTo>
                      <a:lnTo>
                        <a:pt x="16" y="127"/>
                      </a:lnTo>
                      <a:lnTo>
                        <a:pt x="16" y="125"/>
                      </a:lnTo>
                      <a:lnTo>
                        <a:pt x="20" y="126"/>
                      </a:lnTo>
                      <a:lnTo>
                        <a:pt x="22" y="126"/>
                      </a:lnTo>
                      <a:lnTo>
                        <a:pt x="23" y="127"/>
                      </a:lnTo>
                      <a:lnTo>
                        <a:pt x="24" y="124"/>
                      </a:lnTo>
                      <a:lnTo>
                        <a:pt x="23" y="121"/>
                      </a:lnTo>
                      <a:lnTo>
                        <a:pt x="22" y="119"/>
                      </a:lnTo>
                      <a:lnTo>
                        <a:pt x="21" y="115"/>
                      </a:lnTo>
                      <a:lnTo>
                        <a:pt x="23" y="112"/>
                      </a:lnTo>
                      <a:lnTo>
                        <a:pt x="23" y="106"/>
                      </a:lnTo>
                      <a:lnTo>
                        <a:pt x="23" y="101"/>
                      </a:lnTo>
                      <a:lnTo>
                        <a:pt x="22" y="99"/>
                      </a:lnTo>
                      <a:lnTo>
                        <a:pt x="24" y="95"/>
                      </a:lnTo>
                      <a:lnTo>
                        <a:pt x="26" y="90"/>
                      </a:lnTo>
                      <a:lnTo>
                        <a:pt x="25" y="84"/>
                      </a:lnTo>
                      <a:lnTo>
                        <a:pt x="23" y="83"/>
                      </a:lnTo>
                      <a:lnTo>
                        <a:pt x="23" y="81"/>
                      </a:lnTo>
                      <a:lnTo>
                        <a:pt x="26" y="79"/>
                      </a:lnTo>
                      <a:lnTo>
                        <a:pt x="27" y="77"/>
                      </a:lnTo>
                      <a:lnTo>
                        <a:pt x="30" y="76"/>
                      </a:lnTo>
                      <a:lnTo>
                        <a:pt x="33" y="77"/>
                      </a:lnTo>
                      <a:lnTo>
                        <a:pt x="33" y="79"/>
                      </a:lnTo>
                      <a:lnTo>
                        <a:pt x="34" y="81"/>
                      </a:lnTo>
                      <a:lnTo>
                        <a:pt x="34" y="85"/>
                      </a:lnTo>
                      <a:lnTo>
                        <a:pt x="32" y="88"/>
                      </a:lnTo>
                      <a:lnTo>
                        <a:pt x="31" y="91"/>
                      </a:lnTo>
                      <a:lnTo>
                        <a:pt x="33" y="95"/>
                      </a:lnTo>
                      <a:lnTo>
                        <a:pt x="34" y="95"/>
                      </a:lnTo>
                      <a:lnTo>
                        <a:pt x="36" y="98"/>
                      </a:lnTo>
                      <a:lnTo>
                        <a:pt x="40" y="100"/>
                      </a:lnTo>
                      <a:lnTo>
                        <a:pt x="40" y="103"/>
                      </a:lnTo>
                      <a:lnTo>
                        <a:pt x="39" y="103"/>
                      </a:lnTo>
                      <a:lnTo>
                        <a:pt x="38" y="109"/>
                      </a:lnTo>
                      <a:lnTo>
                        <a:pt x="39" y="112"/>
                      </a:lnTo>
                      <a:lnTo>
                        <a:pt x="41" y="113"/>
                      </a:lnTo>
                      <a:lnTo>
                        <a:pt x="43" y="112"/>
                      </a:lnTo>
                      <a:lnTo>
                        <a:pt x="46" y="114"/>
                      </a:lnTo>
                      <a:lnTo>
                        <a:pt x="48" y="114"/>
                      </a:lnTo>
                      <a:lnTo>
                        <a:pt x="48" y="112"/>
                      </a:lnTo>
                      <a:lnTo>
                        <a:pt x="47" y="110"/>
                      </a:lnTo>
                      <a:lnTo>
                        <a:pt x="50" y="108"/>
                      </a:lnTo>
                      <a:lnTo>
                        <a:pt x="52" y="107"/>
                      </a:lnTo>
                      <a:lnTo>
                        <a:pt x="55" y="105"/>
                      </a:lnTo>
                      <a:lnTo>
                        <a:pt x="60" y="105"/>
                      </a:lnTo>
                      <a:lnTo>
                        <a:pt x="61" y="103"/>
                      </a:lnTo>
                      <a:lnTo>
                        <a:pt x="62" y="104"/>
                      </a:lnTo>
                      <a:lnTo>
                        <a:pt x="65" y="104"/>
                      </a:lnTo>
                      <a:lnTo>
                        <a:pt x="65" y="101"/>
                      </a:lnTo>
                      <a:lnTo>
                        <a:pt x="65" y="99"/>
                      </a:lnTo>
                      <a:lnTo>
                        <a:pt x="61" y="99"/>
                      </a:lnTo>
                      <a:lnTo>
                        <a:pt x="61" y="100"/>
                      </a:lnTo>
                      <a:lnTo>
                        <a:pt x="59" y="99"/>
                      </a:lnTo>
                      <a:lnTo>
                        <a:pt x="57" y="100"/>
                      </a:lnTo>
                      <a:lnTo>
                        <a:pt x="56" y="98"/>
                      </a:lnTo>
                      <a:lnTo>
                        <a:pt x="55" y="97"/>
                      </a:lnTo>
                      <a:lnTo>
                        <a:pt x="55" y="95"/>
                      </a:lnTo>
                      <a:lnTo>
                        <a:pt x="54" y="95"/>
                      </a:lnTo>
                      <a:lnTo>
                        <a:pt x="53" y="96"/>
                      </a:lnTo>
                      <a:lnTo>
                        <a:pt x="52" y="94"/>
                      </a:lnTo>
                      <a:lnTo>
                        <a:pt x="50" y="93"/>
                      </a:lnTo>
                      <a:lnTo>
                        <a:pt x="49" y="91"/>
                      </a:lnTo>
                      <a:lnTo>
                        <a:pt x="51" y="89"/>
                      </a:lnTo>
                      <a:lnTo>
                        <a:pt x="51" y="88"/>
                      </a:lnTo>
                      <a:lnTo>
                        <a:pt x="52" y="88"/>
                      </a:lnTo>
                      <a:lnTo>
                        <a:pt x="51" y="86"/>
                      </a:lnTo>
                      <a:lnTo>
                        <a:pt x="53" y="86"/>
                      </a:lnTo>
                      <a:lnTo>
                        <a:pt x="54" y="84"/>
                      </a:lnTo>
                      <a:lnTo>
                        <a:pt x="52" y="82"/>
                      </a:lnTo>
                      <a:lnTo>
                        <a:pt x="51" y="81"/>
                      </a:lnTo>
                      <a:lnTo>
                        <a:pt x="51" y="80"/>
                      </a:lnTo>
                      <a:lnTo>
                        <a:pt x="51" y="78"/>
                      </a:lnTo>
                      <a:lnTo>
                        <a:pt x="48" y="77"/>
                      </a:lnTo>
                      <a:lnTo>
                        <a:pt x="47" y="76"/>
                      </a:lnTo>
                      <a:lnTo>
                        <a:pt x="46" y="73"/>
                      </a:lnTo>
                      <a:lnTo>
                        <a:pt x="42" y="68"/>
                      </a:lnTo>
                      <a:lnTo>
                        <a:pt x="40" y="66"/>
                      </a:lnTo>
                      <a:lnTo>
                        <a:pt x="38" y="63"/>
                      </a:lnTo>
                      <a:lnTo>
                        <a:pt x="39" y="61"/>
                      </a:lnTo>
                      <a:lnTo>
                        <a:pt x="40" y="61"/>
                      </a:lnTo>
                      <a:lnTo>
                        <a:pt x="40" y="63"/>
                      </a:lnTo>
                      <a:lnTo>
                        <a:pt x="43" y="63"/>
                      </a:lnTo>
                      <a:lnTo>
                        <a:pt x="45" y="61"/>
                      </a:lnTo>
                      <a:lnTo>
                        <a:pt x="46" y="59"/>
                      </a:lnTo>
                      <a:lnTo>
                        <a:pt x="51" y="57"/>
                      </a:lnTo>
                      <a:lnTo>
                        <a:pt x="55" y="53"/>
                      </a:lnTo>
                      <a:lnTo>
                        <a:pt x="58" y="49"/>
                      </a:lnTo>
                      <a:lnTo>
                        <a:pt x="60" y="47"/>
                      </a:lnTo>
                      <a:lnTo>
                        <a:pt x="60" y="45"/>
                      </a:lnTo>
                      <a:lnTo>
                        <a:pt x="63" y="44"/>
                      </a:lnTo>
                      <a:lnTo>
                        <a:pt x="66" y="46"/>
                      </a:lnTo>
                      <a:lnTo>
                        <a:pt x="68" y="46"/>
                      </a:lnTo>
                      <a:lnTo>
                        <a:pt x="70" y="42"/>
                      </a:lnTo>
                      <a:lnTo>
                        <a:pt x="70" y="39"/>
                      </a:lnTo>
                      <a:lnTo>
                        <a:pt x="67" y="38"/>
                      </a:lnTo>
                      <a:lnTo>
                        <a:pt x="61" y="39"/>
                      </a:lnTo>
                      <a:lnTo>
                        <a:pt x="58" y="41"/>
                      </a:lnTo>
                      <a:lnTo>
                        <a:pt x="54" y="41"/>
                      </a:lnTo>
                      <a:lnTo>
                        <a:pt x="52" y="42"/>
                      </a:lnTo>
                      <a:lnTo>
                        <a:pt x="49" y="45"/>
                      </a:lnTo>
                      <a:lnTo>
                        <a:pt x="47" y="45"/>
                      </a:lnTo>
                      <a:lnTo>
                        <a:pt x="44" y="45"/>
                      </a:lnTo>
                      <a:lnTo>
                        <a:pt x="42" y="43"/>
                      </a:lnTo>
                      <a:lnTo>
                        <a:pt x="40" y="43"/>
                      </a:lnTo>
                      <a:lnTo>
                        <a:pt x="37" y="46"/>
                      </a:lnTo>
                      <a:lnTo>
                        <a:pt x="35" y="53"/>
                      </a:lnTo>
                      <a:lnTo>
                        <a:pt x="32" y="54"/>
                      </a:lnTo>
                      <a:lnTo>
                        <a:pt x="29" y="53"/>
                      </a:lnTo>
                      <a:lnTo>
                        <a:pt x="28" y="52"/>
                      </a:lnTo>
                      <a:lnTo>
                        <a:pt x="25" y="47"/>
                      </a:lnTo>
                      <a:lnTo>
                        <a:pt x="21" y="43"/>
                      </a:lnTo>
                      <a:lnTo>
                        <a:pt x="20" y="37"/>
                      </a:lnTo>
                      <a:lnTo>
                        <a:pt x="20" y="31"/>
                      </a:lnTo>
                      <a:lnTo>
                        <a:pt x="22" y="25"/>
                      </a:lnTo>
                      <a:lnTo>
                        <a:pt x="24" y="22"/>
                      </a:lnTo>
                      <a:lnTo>
                        <a:pt x="27" y="20"/>
                      </a:lnTo>
                      <a:lnTo>
                        <a:pt x="31" y="22"/>
                      </a:lnTo>
                      <a:lnTo>
                        <a:pt x="36" y="22"/>
                      </a:lnTo>
                      <a:lnTo>
                        <a:pt x="41" y="19"/>
                      </a:lnTo>
                      <a:lnTo>
                        <a:pt x="44" y="20"/>
                      </a:lnTo>
                      <a:lnTo>
                        <a:pt x="46" y="22"/>
                      </a:lnTo>
                      <a:lnTo>
                        <a:pt x="49" y="22"/>
                      </a:lnTo>
                      <a:lnTo>
                        <a:pt x="51" y="21"/>
                      </a:lnTo>
                      <a:lnTo>
                        <a:pt x="57" y="22"/>
                      </a:lnTo>
                      <a:lnTo>
                        <a:pt x="60" y="21"/>
                      </a:lnTo>
                      <a:lnTo>
                        <a:pt x="60" y="20"/>
                      </a:lnTo>
                      <a:lnTo>
                        <a:pt x="64" y="20"/>
                      </a:lnTo>
                      <a:lnTo>
                        <a:pt x="66" y="22"/>
                      </a:lnTo>
                      <a:lnTo>
                        <a:pt x="67" y="23"/>
                      </a:lnTo>
                      <a:lnTo>
                        <a:pt x="69" y="25"/>
                      </a:lnTo>
                      <a:lnTo>
                        <a:pt x="80" y="22"/>
                      </a:lnTo>
                      <a:lnTo>
                        <a:pt x="85" y="1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3" name="Freeform 403">
                  <a:extLst>
                    <a:ext uri="{FF2B5EF4-FFF2-40B4-BE49-F238E27FC236}">
                      <a16:creationId xmlns:a16="http://schemas.microsoft.com/office/drawing/2014/main" id="{9059964B-D98F-4164-84B3-9F83EC8079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8" y="2842"/>
                  <a:ext cx="2" cy="1"/>
                </a:xfrm>
                <a:custGeom>
                  <a:avLst/>
                  <a:gdLst>
                    <a:gd name="T0" fmla="*/ 0 w 2"/>
                    <a:gd name="T1" fmla="*/ 1 h 1"/>
                    <a:gd name="T2" fmla="*/ 2 w 2"/>
                    <a:gd name="T3" fmla="*/ 1 h 1"/>
                    <a:gd name="T4" fmla="*/ 1 w 2"/>
                    <a:gd name="T5" fmla="*/ 0 h 1"/>
                    <a:gd name="T6" fmla="*/ 0 w 2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4" name="Freeform 404">
                  <a:extLst>
                    <a:ext uri="{FF2B5EF4-FFF2-40B4-BE49-F238E27FC236}">
                      <a16:creationId xmlns:a16="http://schemas.microsoft.com/office/drawing/2014/main" id="{86278B3D-C6EF-4281-BD46-A8FDB31801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61" y="2838"/>
                  <a:ext cx="3" cy="2"/>
                </a:xfrm>
                <a:custGeom>
                  <a:avLst/>
                  <a:gdLst>
                    <a:gd name="T0" fmla="*/ 3 w 3"/>
                    <a:gd name="T1" fmla="*/ 2 h 2"/>
                    <a:gd name="T2" fmla="*/ 2 w 3"/>
                    <a:gd name="T3" fmla="*/ 0 h 2"/>
                    <a:gd name="T4" fmla="*/ 0 w 3"/>
                    <a:gd name="T5" fmla="*/ 1 h 2"/>
                    <a:gd name="T6" fmla="*/ 3 w 3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3" y="2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5" name="Freeform 405">
                  <a:extLst>
                    <a:ext uri="{FF2B5EF4-FFF2-40B4-BE49-F238E27FC236}">
                      <a16:creationId xmlns:a16="http://schemas.microsoft.com/office/drawing/2014/main" id="{CA0BECF0-2164-4BE3-AEF5-5BBE2EDA26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50" y="2840"/>
                  <a:ext cx="10" cy="6"/>
                </a:xfrm>
                <a:custGeom>
                  <a:avLst/>
                  <a:gdLst>
                    <a:gd name="T0" fmla="*/ 6 w 10"/>
                    <a:gd name="T1" fmla="*/ 6 h 6"/>
                    <a:gd name="T2" fmla="*/ 10 w 10"/>
                    <a:gd name="T3" fmla="*/ 5 h 6"/>
                    <a:gd name="T4" fmla="*/ 8 w 10"/>
                    <a:gd name="T5" fmla="*/ 4 h 6"/>
                    <a:gd name="T6" fmla="*/ 8 w 10"/>
                    <a:gd name="T7" fmla="*/ 2 h 6"/>
                    <a:gd name="T8" fmla="*/ 7 w 10"/>
                    <a:gd name="T9" fmla="*/ 0 h 6"/>
                    <a:gd name="T10" fmla="*/ 2 w 10"/>
                    <a:gd name="T11" fmla="*/ 2 h 6"/>
                    <a:gd name="T12" fmla="*/ 0 w 10"/>
                    <a:gd name="T13" fmla="*/ 3 h 6"/>
                    <a:gd name="T14" fmla="*/ 1 w 10"/>
                    <a:gd name="T15" fmla="*/ 4 h 6"/>
                    <a:gd name="T16" fmla="*/ 6 w 10"/>
                    <a:gd name="T1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" h="6">
                      <a:moveTo>
                        <a:pt x="6" y="6"/>
                      </a:moveTo>
                      <a:lnTo>
                        <a:pt x="10" y="5"/>
                      </a:lnTo>
                      <a:lnTo>
                        <a:pt x="8" y="4"/>
                      </a:lnTo>
                      <a:lnTo>
                        <a:pt x="8" y="2"/>
                      </a:lnTo>
                      <a:lnTo>
                        <a:pt x="7" y="0"/>
                      </a:lnTo>
                      <a:lnTo>
                        <a:pt x="2" y="2"/>
                      </a:ln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22" name="Group 607">
                <a:extLst>
                  <a:ext uri="{FF2B5EF4-FFF2-40B4-BE49-F238E27FC236}">
                    <a16:creationId xmlns:a16="http://schemas.microsoft.com/office/drawing/2014/main" id="{8B43E396-7ADB-4FF9-BD66-FE006BA4E7F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803901" y="2070100"/>
                <a:ext cx="3101975" cy="2697163"/>
                <a:chOff x="3656" y="1304"/>
                <a:chExt cx="1954" cy="1699"/>
              </a:xfrm>
              <a:grpFill/>
            </p:grpSpPr>
            <p:sp>
              <p:nvSpPr>
                <p:cNvPr id="1106" name="Freeform 407">
                  <a:extLst>
                    <a:ext uri="{FF2B5EF4-FFF2-40B4-BE49-F238E27FC236}">
                      <a16:creationId xmlns:a16="http://schemas.microsoft.com/office/drawing/2014/main" id="{F90E89B8-CF16-4392-8150-D797D3AE06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16" y="2818"/>
                  <a:ext cx="7" cy="8"/>
                </a:xfrm>
                <a:custGeom>
                  <a:avLst/>
                  <a:gdLst>
                    <a:gd name="T0" fmla="*/ 3 w 7"/>
                    <a:gd name="T1" fmla="*/ 0 h 8"/>
                    <a:gd name="T2" fmla="*/ 0 w 7"/>
                    <a:gd name="T3" fmla="*/ 0 h 8"/>
                    <a:gd name="T4" fmla="*/ 0 w 7"/>
                    <a:gd name="T5" fmla="*/ 2 h 8"/>
                    <a:gd name="T6" fmla="*/ 0 w 7"/>
                    <a:gd name="T7" fmla="*/ 3 h 8"/>
                    <a:gd name="T8" fmla="*/ 2 w 7"/>
                    <a:gd name="T9" fmla="*/ 7 h 8"/>
                    <a:gd name="T10" fmla="*/ 4 w 7"/>
                    <a:gd name="T11" fmla="*/ 7 h 8"/>
                    <a:gd name="T12" fmla="*/ 6 w 7"/>
                    <a:gd name="T13" fmla="*/ 8 h 8"/>
                    <a:gd name="T14" fmla="*/ 7 w 7"/>
                    <a:gd name="T15" fmla="*/ 7 h 8"/>
                    <a:gd name="T16" fmla="*/ 6 w 7"/>
                    <a:gd name="T17" fmla="*/ 5 h 8"/>
                    <a:gd name="T18" fmla="*/ 4 w 7"/>
                    <a:gd name="T19" fmla="*/ 4 h 8"/>
                    <a:gd name="T20" fmla="*/ 4 w 7"/>
                    <a:gd name="T21" fmla="*/ 2 h 8"/>
                    <a:gd name="T22" fmla="*/ 3 w 7"/>
                    <a:gd name="T23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" h="8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7"/>
                      </a:lnTo>
                      <a:lnTo>
                        <a:pt x="4" y="7"/>
                      </a:lnTo>
                      <a:lnTo>
                        <a:pt x="6" y="8"/>
                      </a:lnTo>
                      <a:lnTo>
                        <a:pt x="7" y="7"/>
                      </a:lnTo>
                      <a:lnTo>
                        <a:pt x="6" y="5"/>
                      </a:lnTo>
                      <a:lnTo>
                        <a:pt x="4" y="4"/>
                      </a:lnTo>
                      <a:lnTo>
                        <a:pt x="4" y="2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07" name="Freeform 408">
                  <a:extLst>
                    <a:ext uri="{FF2B5EF4-FFF2-40B4-BE49-F238E27FC236}">
                      <a16:creationId xmlns:a16="http://schemas.microsoft.com/office/drawing/2014/main" id="{3D58F41E-B994-4750-979A-1E5DF42947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35" y="2898"/>
                  <a:ext cx="4" cy="9"/>
                </a:xfrm>
                <a:custGeom>
                  <a:avLst/>
                  <a:gdLst>
                    <a:gd name="T0" fmla="*/ 1 w 5"/>
                    <a:gd name="T1" fmla="*/ 1 h 11"/>
                    <a:gd name="T2" fmla="*/ 1 w 5"/>
                    <a:gd name="T3" fmla="*/ 4 h 11"/>
                    <a:gd name="T4" fmla="*/ 0 w 5"/>
                    <a:gd name="T5" fmla="*/ 5 h 11"/>
                    <a:gd name="T6" fmla="*/ 1 w 5"/>
                    <a:gd name="T7" fmla="*/ 10 h 11"/>
                    <a:gd name="T8" fmla="*/ 3 w 5"/>
                    <a:gd name="T9" fmla="*/ 11 h 11"/>
                    <a:gd name="T10" fmla="*/ 5 w 5"/>
                    <a:gd name="T11" fmla="*/ 9 h 11"/>
                    <a:gd name="T12" fmla="*/ 4 w 5"/>
                    <a:gd name="T13" fmla="*/ 4 h 11"/>
                    <a:gd name="T14" fmla="*/ 2 w 5"/>
                    <a:gd name="T15" fmla="*/ 0 h 11"/>
                    <a:gd name="T16" fmla="*/ 1 w 5"/>
                    <a:gd name="T17" fmla="*/ 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11">
                      <a:moveTo>
                        <a:pt x="1" y="1"/>
                      </a:move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1" y="10"/>
                        <a:pt x="1" y="10"/>
                        <a:pt x="1" y="10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5" y="9"/>
                        <a:pt x="5" y="9"/>
                        <a:pt x="5" y="9"/>
                      </a:cubicBez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1" y="1"/>
                        <a:pt x="1" y="1"/>
                      </a:cubicBez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08" name="Freeform 409">
                  <a:extLst>
                    <a:ext uri="{FF2B5EF4-FFF2-40B4-BE49-F238E27FC236}">
                      <a16:creationId xmlns:a16="http://schemas.microsoft.com/office/drawing/2014/main" id="{621A1A40-D938-4CA5-A279-D8C9D9B9EB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16" y="2934"/>
                  <a:ext cx="3" cy="3"/>
                </a:xfrm>
                <a:custGeom>
                  <a:avLst/>
                  <a:gdLst>
                    <a:gd name="T0" fmla="*/ 3 w 3"/>
                    <a:gd name="T1" fmla="*/ 1 h 3"/>
                    <a:gd name="T2" fmla="*/ 2 w 3"/>
                    <a:gd name="T3" fmla="*/ 0 h 3"/>
                    <a:gd name="T4" fmla="*/ 0 w 3"/>
                    <a:gd name="T5" fmla="*/ 1 h 3"/>
                    <a:gd name="T6" fmla="*/ 2 w 3"/>
                    <a:gd name="T7" fmla="*/ 3 h 3"/>
                    <a:gd name="T8" fmla="*/ 3 w 3"/>
                    <a:gd name="T9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3" y="1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3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09" name="Freeform 410">
                  <a:extLst>
                    <a:ext uri="{FF2B5EF4-FFF2-40B4-BE49-F238E27FC236}">
                      <a16:creationId xmlns:a16="http://schemas.microsoft.com/office/drawing/2014/main" id="{981F8F8F-35D9-4B26-B0AB-9E4FDF0240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1" y="2954"/>
                  <a:ext cx="10" cy="5"/>
                </a:xfrm>
                <a:custGeom>
                  <a:avLst/>
                  <a:gdLst>
                    <a:gd name="T0" fmla="*/ 1 w 10"/>
                    <a:gd name="T1" fmla="*/ 5 h 5"/>
                    <a:gd name="T2" fmla="*/ 3 w 10"/>
                    <a:gd name="T3" fmla="*/ 5 h 5"/>
                    <a:gd name="T4" fmla="*/ 8 w 10"/>
                    <a:gd name="T5" fmla="*/ 3 h 5"/>
                    <a:gd name="T6" fmla="*/ 10 w 10"/>
                    <a:gd name="T7" fmla="*/ 2 h 5"/>
                    <a:gd name="T8" fmla="*/ 8 w 10"/>
                    <a:gd name="T9" fmla="*/ 0 h 5"/>
                    <a:gd name="T10" fmla="*/ 4 w 10"/>
                    <a:gd name="T11" fmla="*/ 1 h 5"/>
                    <a:gd name="T12" fmla="*/ 3 w 10"/>
                    <a:gd name="T13" fmla="*/ 0 h 5"/>
                    <a:gd name="T14" fmla="*/ 0 w 10"/>
                    <a:gd name="T15" fmla="*/ 2 h 5"/>
                    <a:gd name="T16" fmla="*/ 2 w 10"/>
                    <a:gd name="T17" fmla="*/ 2 h 5"/>
                    <a:gd name="T18" fmla="*/ 1 w 10"/>
                    <a:gd name="T19" fmla="*/ 3 h 5"/>
                    <a:gd name="T20" fmla="*/ 1 w 10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" h="5">
                      <a:moveTo>
                        <a:pt x="1" y="5"/>
                      </a:moveTo>
                      <a:lnTo>
                        <a:pt x="3" y="5"/>
                      </a:lnTo>
                      <a:lnTo>
                        <a:pt x="8" y="3"/>
                      </a:lnTo>
                      <a:lnTo>
                        <a:pt x="10" y="2"/>
                      </a:lnTo>
                      <a:lnTo>
                        <a:pt x="8" y="0"/>
                      </a:lnTo>
                      <a:lnTo>
                        <a:pt x="4" y="1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1" y="3"/>
                      </a:lnTo>
                      <a:lnTo>
                        <a:pt x="1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10" name="Freeform 411">
                  <a:extLst>
                    <a:ext uri="{FF2B5EF4-FFF2-40B4-BE49-F238E27FC236}">
                      <a16:creationId xmlns:a16="http://schemas.microsoft.com/office/drawing/2014/main" id="{48D111AB-EA5D-4360-BDB2-6ADCC033AE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34" y="2818"/>
                  <a:ext cx="3" cy="2"/>
                </a:xfrm>
                <a:custGeom>
                  <a:avLst/>
                  <a:gdLst>
                    <a:gd name="T0" fmla="*/ 0 w 3"/>
                    <a:gd name="T1" fmla="*/ 0 h 2"/>
                    <a:gd name="T2" fmla="*/ 2 w 3"/>
                    <a:gd name="T3" fmla="*/ 2 h 2"/>
                    <a:gd name="T4" fmla="*/ 3 w 3"/>
                    <a:gd name="T5" fmla="*/ 2 h 2"/>
                    <a:gd name="T6" fmla="*/ 2 w 3"/>
                    <a:gd name="T7" fmla="*/ 0 h 2"/>
                    <a:gd name="T8" fmla="*/ 0 w 3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2">
                      <a:moveTo>
                        <a:pt x="0" y="0"/>
                      </a:move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11" name="Freeform 412">
                  <a:extLst>
                    <a:ext uri="{FF2B5EF4-FFF2-40B4-BE49-F238E27FC236}">
                      <a16:creationId xmlns:a16="http://schemas.microsoft.com/office/drawing/2014/main" id="{1075CD2A-607A-4C11-B2B3-8157C809C5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9" y="2768"/>
                  <a:ext cx="6" cy="8"/>
                </a:xfrm>
                <a:custGeom>
                  <a:avLst/>
                  <a:gdLst>
                    <a:gd name="T0" fmla="*/ 4 w 6"/>
                    <a:gd name="T1" fmla="*/ 6 h 8"/>
                    <a:gd name="T2" fmla="*/ 6 w 6"/>
                    <a:gd name="T3" fmla="*/ 4 h 8"/>
                    <a:gd name="T4" fmla="*/ 5 w 6"/>
                    <a:gd name="T5" fmla="*/ 2 h 8"/>
                    <a:gd name="T6" fmla="*/ 4 w 6"/>
                    <a:gd name="T7" fmla="*/ 0 h 8"/>
                    <a:gd name="T8" fmla="*/ 1 w 6"/>
                    <a:gd name="T9" fmla="*/ 2 h 8"/>
                    <a:gd name="T10" fmla="*/ 0 w 6"/>
                    <a:gd name="T11" fmla="*/ 2 h 8"/>
                    <a:gd name="T12" fmla="*/ 0 w 6"/>
                    <a:gd name="T13" fmla="*/ 8 h 8"/>
                    <a:gd name="T14" fmla="*/ 2 w 6"/>
                    <a:gd name="T15" fmla="*/ 6 h 8"/>
                    <a:gd name="T16" fmla="*/ 4 w 6"/>
                    <a:gd name="T17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8">
                      <a:moveTo>
                        <a:pt x="4" y="6"/>
                      </a:moveTo>
                      <a:lnTo>
                        <a:pt x="6" y="4"/>
                      </a:lnTo>
                      <a:lnTo>
                        <a:pt x="5" y="2"/>
                      </a:lnTo>
                      <a:lnTo>
                        <a:pt x="4" y="0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12" name="Freeform 413">
                  <a:extLst>
                    <a:ext uri="{FF2B5EF4-FFF2-40B4-BE49-F238E27FC236}">
                      <a16:creationId xmlns:a16="http://schemas.microsoft.com/office/drawing/2014/main" id="{E5491E5B-64EB-41E4-B476-8455DEF4E3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2" y="2892"/>
                  <a:ext cx="7" cy="12"/>
                </a:xfrm>
                <a:custGeom>
                  <a:avLst/>
                  <a:gdLst>
                    <a:gd name="T0" fmla="*/ 0 w 9"/>
                    <a:gd name="T1" fmla="*/ 14 h 16"/>
                    <a:gd name="T2" fmla="*/ 1 w 9"/>
                    <a:gd name="T3" fmla="*/ 16 h 16"/>
                    <a:gd name="T4" fmla="*/ 5 w 9"/>
                    <a:gd name="T5" fmla="*/ 15 h 16"/>
                    <a:gd name="T6" fmla="*/ 5 w 9"/>
                    <a:gd name="T7" fmla="*/ 13 h 16"/>
                    <a:gd name="T8" fmla="*/ 6 w 9"/>
                    <a:gd name="T9" fmla="*/ 13 h 16"/>
                    <a:gd name="T10" fmla="*/ 7 w 9"/>
                    <a:gd name="T11" fmla="*/ 9 h 16"/>
                    <a:gd name="T12" fmla="*/ 9 w 9"/>
                    <a:gd name="T13" fmla="*/ 6 h 16"/>
                    <a:gd name="T14" fmla="*/ 9 w 9"/>
                    <a:gd name="T15" fmla="*/ 4 h 16"/>
                    <a:gd name="T16" fmla="*/ 8 w 9"/>
                    <a:gd name="T17" fmla="*/ 0 h 16"/>
                    <a:gd name="T18" fmla="*/ 4 w 9"/>
                    <a:gd name="T19" fmla="*/ 2 h 16"/>
                    <a:gd name="T20" fmla="*/ 2 w 9"/>
                    <a:gd name="T21" fmla="*/ 5 h 16"/>
                    <a:gd name="T22" fmla="*/ 3 w 9"/>
                    <a:gd name="T23" fmla="*/ 8 h 16"/>
                    <a:gd name="T24" fmla="*/ 0 w 9"/>
                    <a:gd name="T25" fmla="*/ 12 h 16"/>
                    <a:gd name="T26" fmla="*/ 0 w 9"/>
                    <a:gd name="T27" fmla="*/ 14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" h="16">
                      <a:moveTo>
                        <a:pt x="0" y="14"/>
                      </a:moveTo>
                      <a:cubicBezTo>
                        <a:pt x="1" y="16"/>
                        <a:pt x="1" y="16"/>
                        <a:pt x="1" y="16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3"/>
                        <a:pt x="5" y="13"/>
                        <a:pt x="5" y="13"/>
                      </a:cubicBezTo>
                      <a:cubicBezTo>
                        <a:pt x="6" y="13"/>
                        <a:pt x="6" y="13"/>
                        <a:pt x="6" y="13"/>
                      </a:cubicBezTo>
                      <a:cubicBezTo>
                        <a:pt x="7" y="9"/>
                        <a:pt x="7" y="9"/>
                        <a:pt x="7" y="9"/>
                      </a:cubicBezTo>
                      <a:cubicBezTo>
                        <a:pt x="9" y="6"/>
                        <a:pt x="9" y="6"/>
                        <a:pt x="9" y="6"/>
                      </a:cubicBezTo>
                      <a:cubicBezTo>
                        <a:pt x="9" y="4"/>
                        <a:pt x="9" y="4"/>
                        <a:pt x="9" y="4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12"/>
                        <a:pt x="0" y="14"/>
                        <a:pt x="0" y="14"/>
                      </a:cubicBez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13" name="Freeform 414">
                  <a:extLst>
                    <a:ext uri="{FF2B5EF4-FFF2-40B4-BE49-F238E27FC236}">
                      <a16:creationId xmlns:a16="http://schemas.microsoft.com/office/drawing/2014/main" id="{4176C267-9462-40F1-BCF7-67551B7F67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8" y="2815"/>
                  <a:ext cx="142" cy="155"/>
                </a:xfrm>
                <a:custGeom>
                  <a:avLst/>
                  <a:gdLst>
                    <a:gd name="T0" fmla="*/ 142 w 142"/>
                    <a:gd name="T1" fmla="*/ 41 h 155"/>
                    <a:gd name="T2" fmla="*/ 138 w 142"/>
                    <a:gd name="T3" fmla="*/ 39 h 155"/>
                    <a:gd name="T4" fmla="*/ 131 w 142"/>
                    <a:gd name="T5" fmla="*/ 35 h 155"/>
                    <a:gd name="T6" fmla="*/ 114 w 142"/>
                    <a:gd name="T7" fmla="*/ 30 h 155"/>
                    <a:gd name="T8" fmla="*/ 100 w 142"/>
                    <a:gd name="T9" fmla="*/ 23 h 155"/>
                    <a:gd name="T10" fmla="*/ 86 w 142"/>
                    <a:gd name="T11" fmla="*/ 27 h 155"/>
                    <a:gd name="T12" fmla="*/ 81 w 142"/>
                    <a:gd name="T13" fmla="*/ 34 h 155"/>
                    <a:gd name="T14" fmla="*/ 76 w 142"/>
                    <a:gd name="T15" fmla="*/ 38 h 155"/>
                    <a:gd name="T16" fmla="*/ 69 w 142"/>
                    <a:gd name="T17" fmla="*/ 48 h 155"/>
                    <a:gd name="T18" fmla="*/ 62 w 142"/>
                    <a:gd name="T19" fmla="*/ 55 h 155"/>
                    <a:gd name="T20" fmla="*/ 55 w 142"/>
                    <a:gd name="T21" fmla="*/ 47 h 155"/>
                    <a:gd name="T22" fmla="*/ 51 w 142"/>
                    <a:gd name="T23" fmla="*/ 39 h 155"/>
                    <a:gd name="T24" fmla="*/ 48 w 142"/>
                    <a:gd name="T25" fmla="*/ 43 h 155"/>
                    <a:gd name="T26" fmla="*/ 46 w 142"/>
                    <a:gd name="T27" fmla="*/ 24 h 155"/>
                    <a:gd name="T28" fmla="*/ 45 w 142"/>
                    <a:gd name="T29" fmla="*/ 10 h 155"/>
                    <a:gd name="T30" fmla="*/ 34 w 142"/>
                    <a:gd name="T31" fmla="*/ 7 h 155"/>
                    <a:gd name="T32" fmla="*/ 17 w 142"/>
                    <a:gd name="T33" fmla="*/ 3 h 155"/>
                    <a:gd name="T34" fmla="*/ 6 w 142"/>
                    <a:gd name="T35" fmla="*/ 9 h 155"/>
                    <a:gd name="T36" fmla="*/ 1 w 142"/>
                    <a:gd name="T37" fmla="*/ 18 h 155"/>
                    <a:gd name="T38" fmla="*/ 6 w 142"/>
                    <a:gd name="T39" fmla="*/ 18 h 155"/>
                    <a:gd name="T40" fmla="*/ 13 w 142"/>
                    <a:gd name="T41" fmla="*/ 27 h 155"/>
                    <a:gd name="T42" fmla="*/ 22 w 142"/>
                    <a:gd name="T43" fmla="*/ 34 h 155"/>
                    <a:gd name="T44" fmla="*/ 31 w 142"/>
                    <a:gd name="T45" fmla="*/ 34 h 155"/>
                    <a:gd name="T46" fmla="*/ 41 w 142"/>
                    <a:gd name="T47" fmla="*/ 33 h 155"/>
                    <a:gd name="T48" fmla="*/ 38 w 142"/>
                    <a:gd name="T49" fmla="*/ 41 h 155"/>
                    <a:gd name="T50" fmla="*/ 29 w 142"/>
                    <a:gd name="T51" fmla="*/ 39 h 155"/>
                    <a:gd name="T52" fmla="*/ 20 w 142"/>
                    <a:gd name="T53" fmla="*/ 44 h 155"/>
                    <a:gd name="T54" fmla="*/ 15 w 142"/>
                    <a:gd name="T55" fmla="*/ 47 h 155"/>
                    <a:gd name="T56" fmla="*/ 23 w 142"/>
                    <a:gd name="T57" fmla="*/ 55 h 155"/>
                    <a:gd name="T58" fmla="*/ 24 w 142"/>
                    <a:gd name="T59" fmla="*/ 59 h 155"/>
                    <a:gd name="T60" fmla="*/ 31 w 142"/>
                    <a:gd name="T61" fmla="*/ 67 h 155"/>
                    <a:gd name="T62" fmla="*/ 37 w 142"/>
                    <a:gd name="T63" fmla="*/ 55 h 155"/>
                    <a:gd name="T64" fmla="*/ 40 w 142"/>
                    <a:gd name="T65" fmla="*/ 49 h 155"/>
                    <a:gd name="T66" fmla="*/ 42 w 142"/>
                    <a:gd name="T67" fmla="*/ 62 h 155"/>
                    <a:gd name="T68" fmla="*/ 45 w 142"/>
                    <a:gd name="T69" fmla="*/ 64 h 155"/>
                    <a:gd name="T70" fmla="*/ 50 w 142"/>
                    <a:gd name="T71" fmla="*/ 65 h 155"/>
                    <a:gd name="T72" fmla="*/ 54 w 142"/>
                    <a:gd name="T73" fmla="*/ 65 h 155"/>
                    <a:gd name="T74" fmla="*/ 55 w 142"/>
                    <a:gd name="T75" fmla="*/ 69 h 155"/>
                    <a:gd name="T76" fmla="*/ 72 w 142"/>
                    <a:gd name="T77" fmla="*/ 76 h 155"/>
                    <a:gd name="T78" fmla="*/ 87 w 142"/>
                    <a:gd name="T79" fmla="*/ 83 h 155"/>
                    <a:gd name="T80" fmla="*/ 93 w 142"/>
                    <a:gd name="T81" fmla="*/ 87 h 155"/>
                    <a:gd name="T82" fmla="*/ 100 w 142"/>
                    <a:gd name="T83" fmla="*/ 88 h 155"/>
                    <a:gd name="T84" fmla="*/ 100 w 142"/>
                    <a:gd name="T85" fmla="*/ 94 h 155"/>
                    <a:gd name="T86" fmla="*/ 103 w 142"/>
                    <a:gd name="T87" fmla="*/ 102 h 155"/>
                    <a:gd name="T88" fmla="*/ 110 w 142"/>
                    <a:gd name="T89" fmla="*/ 113 h 155"/>
                    <a:gd name="T90" fmla="*/ 107 w 142"/>
                    <a:gd name="T91" fmla="*/ 117 h 155"/>
                    <a:gd name="T92" fmla="*/ 117 w 142"/>
                    <a:gd name="T93" fmla="*/ 120 h 155"/>
                    <a:gd name="T94" fmla="*/ 109 w 142"/>
                    <a:gd name="T95" fmla="*/ 122 h 155"/>
                    <a:gd name="T96" fmla="*/ 111 w 142"/>
                    <a:gd name="T97" fmla="*/ 131 h 155"/>
                    <a:gd name="T98" fmla="*/ 111 w 142"/>
                    <a:gd name="T99" fmla="*/ 139 h 155"/>
                    <a:gd name="T100" fmla="*/ 120 w 142"/>
                    <a:gd name="T101" fmla="*/ 137 h 155"/>
                    <a:gd name="T102" fmla="*/ 127 w 142"/>
                    <a:gd name="T103" fmla="*/ 136 h 155"/>
                    <a:gd name="T104" fmla="*/ 130 w 142"/>
                    <a:gd name="T105" fmla="*/ 144 h 155"/>
                    <a:gd name="T106" fmla="*/ 138 w 142"/>
                    <a:gd name="T107" fmla="*/ 155 h 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42" h="155">
                      <a:moveTo>
                        <a:pt x="140" y="112"/>
                      </a:moveTo>
                      <a:lnTo>
                        <a:pt x="140" y="110"/>
                      </a:lnTo>
                      <a:lnTo>
                        <a:pt x="141" y="105"/>
                      </a:lnTo>
                      <a:lnTo>
                        <a:pt x="142" y="41"/>
                      </a:lnTo>
                      <a:lnTo>
                        <a:pt x="142" y="41"/>
                      </a:lnTo>
                      <a:lnTo>
                        <a:pt x="140" y="42"/>
                      </a:lnTo>
                      <a:lnTo>
                        <a:pt x="138" y="41"/>
                      </a:lnTo>
                      <a:lnTo>
                        <a:pt x="138" y="39"/>
                      </a:lnTo>
                      <a:lnTo>
                        <a:pt x="138" y="37"/>
                      </a:lnTo>
                      <a:lnTo>
                        <a:pt x="136" y="36"/>
                      </a:lnTo>
                      <a:lnTo>
                        <a:pt x="134" y="36"/>
                      </a:lnTo>
                      <a:lnTo>
                        <a:pt x="131" y="35"/>
                      </a:lnTo>
                      <a:lnTo>
                        <a:pt x="128" y="34"/>
                      </a:lnTo>
                      <a:lnTo>
                        <a:pt x="126" y="35"/>
                      </a:lnTo>
                      <a:lnTo>
                        <a:pt x="118" y="30"/>
                      </a:lnTo>
                      <a:lnTo>
                        <a:pt x="114" y="30"/>
                      </a:lnTo>
                      <a:lnTo>
                        <a:pt x="112" y="29"/>
                      </a:lnTo>
                      <a:lnTo>
                        <a:pt x="109" y="27"/>
                      </a:lnTo>
                      <a:lnTo>
                        <a:pt x="104" y="25"/>
                      </a:lnTo>
                      <a:lnTo>
                        <a:pt x="100" y="23"/>
                      </a:lnTo>
                      <a:lnTo>
                        <a:pt x="97" y="20"/>
                      </a:lnTo>
                      <a:lnTo>
                        <a:pt x="94" y="20"/>
                      </a:lnTo>
                      <a:lnTo>
                        <a:pt x="87" y="25"/>
                      </a:lnTo>
                      <a:lnTo>
                        <a:pt x="86" y="27"/>
                      </a:lnTo>
                      <a:lnTo>
                        <a:pt x="88" y="30"/>
                      </a:lnTo>
                      <a:lnTo>
                        <a:pt x="87" y="32"/>
                      </a:lnTo>
                      <a:lnTo>
                        <a:pt x="83" y="33"/>
                      </a:lnTo>
                      <a:lnTo>
                        <a:pt x="81" y="34"/>
                      </a:lnTo>
                      <a:lnTo>
                        <a:pt x="79" y="34"/>
                      </a:lnTo>
                      <a:lnTo>
                        <a:pt x="78" y="33"/>
                      </a:lnTo>
                      <a:lnTo>
                        <a:pt x="76" y="35"/>
                      </a:lnTo>
                      <a:lnTo>
                        <a:pt x="76" y="38"/>
                      </a:lnTo>
                      <a:lnTo>
                        <a:pt x="73" y="40"/>
                      </a:lnTo>
                      <a:lnTo>
                        <a:pt x="71" y="41"/>
                      </a:lnTo>
                      <a:lnTo>
                        <a:pt x="69" y="44"/>
                      </a:lnTo>
                      <a:lnTo>
                        <a:pt x="69" y="48"/>
                      </a:lnTo>
                      <a:lnTo>
                        <a:pt x="68" y="48"/>
                      </a:lnTo>
                      <a:lnTo>
                        <a:pt x="66" y="50"/>
                      </a:lnTo>
                      <a:lnTo>
                        <a:pt x="65" y="53"/>
                      </a:lnTo>
                      <a:lnTo>
                        <a:pt x="62" y="55"/>
                      </a:lnTo>
                      <a:lnTo>
                        <a:pt x="60" y="55"/>
                      </a:lnTo>
                      <a:lnTo>
                        <a:pt x="58" y="53"/>
                      </a:lnTo>
                      <a:lnTo>
                        <a:pt x="55" y="50"/>
                      </a:lnTo>
                      <a:lnTo>
                        <a:pt x="55" y="47"/>
                      </a:lnTo>
                      <a:lnTo>
                        <a:pt x="54" y="48"/>
                      </a:lnTo>
                      <a:lnTo>
                        <a:pt x="52" y="44"/>
                      </a:lnTo>
                      <a:lnTo>
                        <a:pt x="53" y="41"/>
                      </a:lnTo>
                      <a:lnTo>
                        <a:pt x="51" y="39"/>
                      </a:lnTo>
                      <a:lnTo>
                        <a:pt x="50" y="41"/>
                      </a:lnTo>
                      <a:lnTo>
                        <a:pt x="50" y="45"/>
                      </a:lnTo>
                      <a:lnTo>
                        <a:pt x="49" y="45"/>
                      </a:lnTo>
                      <a:lnTo>
                        <a:pt x="48" y="43"/>
                      </a:lnTo>
                      <a:lnTo>
                        <a:pt x="45" y="39"/>
                      </a:lnTo>
                      <a:lnTo>
                        <a:pt x="45" y="31"/>
                      </a:lnTo>
                      <a:lnTo>
                        <a:pt x="45" y="27"/>
                      </a:lnTo>
                      <a:lnTo>
                        <a:pt x="46" y="24"/>
                      </a:lnTo>
                      <a:lnTo>
                        <a:pt x="48" y="20"/>
                      </a:lnTo>
                      <a:lnTo>
                        <a:pt x="47" y="17"/>
                      </a:lnTo>
                      <a:lnTo>
                        <a:pt x="45" y="15"/>
                      </a:lnTo>
                      <a:lnTo>
                        <a:pt x="45" y="10"/>
                      </a:lnTo>
                      <a:lnTo>
                        <a:pt x="45" y="9"/>
                      </a:lnTo>
                      <a:lnTo>
                        <a:pt x="44" y="7"/>
                      </a:lnTo>
                      <a:lnTo>
                        <a:pt x="39" y="7"/>
                      </a:lnTo>
                      <a:lnTo>
                        <a:pt x="34" y="7"/>
                      </a:lnTo>
                      <a:lnTo>
                        <a:pt x="31" y="3"/>
                      </a:lnTo>
                      <a:lnTo>
                        <a:pt x="23" y="0"/>
                      </a:lnTo>
                      <a:lnTo>
                        <a:pt x="18" y="1"/>
                      </a:lnTo>
                      <a:lnTo>
                        <a:pt x="17" y="3"/>
                      </a:lnTo>
                      <a:lnTo>
                        <a:pt x="13" y="6"/>
                      </a:lnTo>
                      <a:lnTo>
                        <a:pt x="11" y="6"/>
                      </a:lnTo>
                      <a:lnTo>
                        <a:pt x="10" y="9"/>
                      </a:lnTo>
                      <a:lnTo>
                        <a:pt x="6" y="9"/>
                      </a:lnTo>
                      <a:lnTo>
                        <a:pt x="3" y="11"/>
                      </a:lnTo>
                      <a:lnTo>
                        <a:pt x="4" y="13"/>
                      </a:lnTo>
                      <a:lnTo>
                        <a:pt x="4" y="16"/>
                      </a:lnTo>
                      <a:lnTo>
                        <a:pt x="1" y="18"/>
                      </a:lnTo>
                      <a:lnTo>
                        <a:pt x="0" y="20"/>
                      </a:lnTo>
                      <a:lnTo>
                        <a:pt x="3" y="21"/>
                      </a:lnTo>
                      <a:lnTo>
                        <a:pt x="6" y="20"/>
                      </a:lnTo>
                      <a:lnTo>
                        <a:pt x="6" y="18"/>
                      </a:lnTo>
                      <a:lnTo>
                        <a:pt x="8" y="20"/>
                      </a:lnTo>
                      <a:lnTo>
                        <a:pt x="12" y="23"/>
                      </a:lnTo>
                      <a:lnTo>
                        <a:pt x="13" y="26"/>
                      </a:lnTo>
                      <a:lnTo>
                        <a:pt x="13" y="27"/>
                      </a:lnTo>
                      <a:lnTo>
                        <a:pt x="14" y="31"/>
                      </a:lnTo>
                      <a:lnTo>
                        <a:pt x="17" y="34"/>
                      </a:lnTo>
                      <a:lnTo>
                        <a:pt x="20" y="34"/>
                      </a:lnTo>
                      <a:lnTo>
                        <a:pt x="22" y="34"/>
                      </a:lnTo>
                      <a:lnTo>
                        <a:pt x="24" y="35"/>
                      </a:lnTo>
                      <a:lnTo>
                        <a:pt x="25" y="34"/>
                      </a:lnTo>
                      <a:lnTo>
                        <a:pt x="27" y="34"/>
                      </a:lnTo>
                      <a:lnTo>
                        <a:pt x="31" y="34"/>
                      </a:lnTo>
                      <a:lnTo>
                        <a:pt x="33" y="34"/>
                      </a:lnTo>
                      <a:lnTo>
                        <a:pt x="34" y="34"/>
                      </a:lnTo>
                      <a:lnTo>
                        <a:pt x="34" y="32"/>
                      </a:lnTo>
                      <a:lnTo>
                        <a:pt x="41" y="33"/>
                      </a:lnTo>
                      <a:lnTo>
                        <a:pt x="41" y="35"/>
                      </a:lnTo>
                      <a:lnTo>
                        <a:pt x="41" y="39"/>
                      </a:lnTo>
                      <a:lnTo>
                        <a:pt x="40" y="38"/>
                      </a:lnTo>
                      <a:lnTo>
                        <a:pt x="38" y="41"/>
                      </a:lnTo>
                      <a:lnTo>
                        <a:pt x="37" y="44"/>
                      </a:lnTo>
                      <a:lnTo>
                        <a:pt x="35" y="41"/>
                      </a:lnTo>
                      <a:lnTo>
                        <a:pt x="31" y="38"/>
                      </a:lnTo>
                      <a:lnTo>
                        <a:pt x="29" y="39"/>
                      </a:lnTo>
                      <a:lnTo>
                        <a:pt x="28" y="43"/>
                      </a:lnTo>
                      <a:lnTo>
                        <a:pt x="25" y="45"/>
                      </a:lnTo>
                      <a:lnTo>
                        <a:pt x="23" y="44"/>
                      </a:lnTo>
                      <a:lnTo>
                        <a:pt x="20" y="44"/>
                      </a:lnTo>
                      <a:lnTo>
                        <a:pt x="19" y="42"/>
                      </a:lnTo>
                      <a:lnTo>
                        <a:pt x="16" y="42"/>
                      </a:lnTo>
                      <a:lnTo>
                        <a:pt x="13" y="45"/>
                      </a:lnTo>
                      <a:lnTo>
                        <a:pt x="15" y="47"/>
                      </a:lnTo>
                      <a:lnTo>
                        <a:pt x="18" y="48"/>
                      </a:lnTo>
                      <a:lnTo>
                        <a:pt x="20" y="49"/>
                      </a:lnTo>
                      <a:lnTo>
                        <a:pt x="22" y="53"/>
                      </a:lnTo>
                      <a:lnTo>
                        <a:pt x="23" y="55"/>
                      </a:lnTo>
                      <a:lnTo>
                        <a:pt x="25" y="54"/>
                      </a:lnTo>
                      <a:lnTo>
                        <a:pt x="25" y="56"/>
                      </a:lnTo>
                      <a:lnTo>
                        <a:pt x="25" y="58"/>
                      </a:lnTo>
                      <a:lnTo>
                        <a:pt x="24" y="59"/>
                      </a:lnTo>
                      <a:lnTo>
                        <a:pt x="24" y="61"/>
                      </a:lnTo>
                      <a:lnTo>
                        <a:pt x="26" y="67"/>
                      </a:lnTo>
                      <a:lnTo>
                        <a:pt x="28" y="68"/>
                      </a:lnTo>
                      <a:lnTo>
                        <a:pt x="31" y="67"/>
                      </a:lnTo>
                      <a:lnTo>
                        <a:pt x="34" y="62"/>
                      </a:lnTo>
                      <a:lnTo>
                        <a:pt x="34" y="60"/>
                      </a:lnTo>
                      <a:lnTo>
                        <a:pt x="36" y="55"/>
                      </a:lnTo>
                      <a:lnTo>
                        <a:pt x="37" y="55"/>
                      </a:lnTo>
                      <a:lnTo>
                        <a:pt x="38" y="52"/>
                      </a:lnTo>
                      <a:lnTo>
                        <a:pt x="38" y="48"/>
                      </a:lnTo>
                      <a:lnTo>
                        <a:pt x="40" y="45"/>
                      </a:lnTo>
                      <a:lnTo>
                        <a:pt x="40" y="49"/>
                      </a:lnTo>
                      <a:lnTo>
                        <a:pt x="38" y="51"/>
                      </a:lnTo>
                      <a:lnTo>
                        <a:pt x="40" y="55"/>
                      </a:lnTo>
                      <a:lnTo>
                        <a:pt x="41" y="59"/>
                      </a:lnTo>
                      <a:lnTo>
                        <a:pt x="42" y="62"/>
                      </a:lnTo>
                      <a:lnTo>
                        <a:pt x="43" y="60"/>
                      </a:lnTo>
                      <a:lnTo>
                        <a:pt x="44" y="59"/>
                      </a:lnTo>
                      <a:lnTo>
                        <a:pt x="45" y="60"/>
                      </a:lnTo>
                      <a:lnTo>
                        <a:pt x="45" y="64"/>
                      </a:lnTo>
                      <a:lnTo>
                        <a:pt x="47" y="62"/>
                      </a:lnTo>
                      <a:lnTo>
                        <a:pt x="48" y="62"/>
                      </a:lnTo>
                      <a:lnTo>
                        <a:pt x="48" y="64"/>
                      </a:lnTo>
                      <a:lnTo>
                        <a:pt x="50" y="65"/>
                      </a:lnTo>
                      <a:lnTo>
                        <a:pt x="52" y="63"/>
                      </a:lnTo>
                      <a:lnTo>
                        <a:pt x="55" y="64"/>
                      </a:lnTo>
                      <a:lnTo>
                        <a:pt x="55" y="65"/>
                      </a:lnTo>
                      <a:lnTo>
                        <a:pt x="54" y="65"/>
                      </a:lnTo>
                      <a:lnTo>
                        <a:pt x="51" y="65"/>
                      </a:lnTo>
                      <a:lnTo>
                        <a:pt x="51" y="67"/>
                      </a:lnTo>
                      <a:lnTo>
                        <a:pt x="55" y="68"/>
                      </a:lnTo>
                      <a:lnTo>
                        <a:pt x="55" y="69"/>
                      </a:lnTo>
                      <a:lnTo>
                        <a:pt x="55" y="71"/>
                      </a:lnTo>
                      <a:lnTo>
                        <a:pt x="59" y="72"/>
                      </a:lnTo>
                      <a:lnTo>
                        <a:pt x="63" y="73"/>
                      </a:lnTo>
                      <a:lnTo>
                        <a:pt x="72" y="76"/>
                      </a:lnTo>
                      <a:lnTo>
                        <a:pt x="80" y="79"/>
                      </a:lnTo>
                      <a:lnTo>
                        <a:pt x="83" y="79"/>
                      </a:lnTo>
                      <a:lnTo>
                        <a:pt x="86" y="80"/>
                      </a:lnTo>
                      <a:lnTo>
                        <a:pt x="87" y="83"/>
                      </a:lnTo>
                      <a:lnTo>
                        <a:pt x="91" y="86"/>
                      </a:lnTo>
                      <a:lnTo>
                        <a:pt x="94" y="86"/>
                      </a:lnTo>
                      <a:lnTo>
                        <a:pt x="96" y="84"/>
                      </a:lnTo>
                      <a:lnTo>
                        <a:pt x="93" y="87"/>
                      </a:lnTo>
                      <a:lnTo>
                        <a:pt x="95" y="88"/>
                      </a:lnTo>
                      <a:lnTo>
                        <a:pt x="96" y="87"/>
                      </a:lnTo>
                      <a:lnTo>
                        <a:pt x="97" y="89"/>
                      </a:lnTo>
                      <a:lnTo>
                        <a:pt x="100" y="88"/>
                      </a:lnTo>
                      <a:lnTo>
                        <a:pt x="98" y="90"/>
                      </a:lnTo>
                      <a:lnTo>
                        <a:pt x="100" y="92"/>
                      </a:lnTo>
                      <a:lnTo>
                        <a:pt x="99" y="93"/>
                      </a:lnTo>
                      <a:lnTo>
                        <a:pt x="100" y="94"/>
                      </a:lnTo>
                      <a:lnTo>
                        <a:pt x="103" y="94"/>
                      </a:lnTo>
                      <a:lnTo>
                        <a:pt x="100" y="96"/>
                      </a:lnTo>
                      <a:lnTo>
                        <a:pt x="100" y="98"/>
                      </a:lnTo>
                      <a:lnTo>
                        <a:pt x="103" y="102"/>
                      </a:lnTo>
                      <a:lnTo>
                        <a:pt x="103" y="106"/>
                      </a:lnTo>
                      <a:lnTo>
                        <a:pt x="103" y="108"/>
                      </a:lnTo>
                      <a:lnTo>
                        <a:pt x="106" y="110"/>
                      </a:lnTo>
                      <a:lnTo>
                        <a:pt x="110" y="113"/>
                      </a:lnTo>
                      <a:lnTo>
                        <a:pt x="110" y="115"/>
                      </a:lnTo>
                      <a:lnTo>
                        <a:pt x="109" y="114"/>
                      </a:lnTo>
                      <a:lnTo>
                        <a:pt x="107" y="114"/>
                      </a:lnTo>
                      <a:lnTo>
                        <a:pt x="107" y="117"/>
                      </a:lnTo>
                      <a:lnTo>
                        <a:pt x="109" y="119"/>
                      </a:lnTo>
                      <a:lnTo>
                        <a:pt x="111" y="120"/>
                      </a:lnTo>
                      <a:lnTo>
                        <a:pt x="114" y="120"/>
                      </a:lnTo>
                      <a:lnTo>
                        <a:pt x="117" y="120"/>
                      </a:lnTo>
                      <a:lnTo>
                        <a:pt x="114" y="120"/>
                      </a:lnTo>
                      <a:lnTo>
                        <a:pt x="112" y="122"/>
                      </a:lnTo>
                      <a:lnTo>
                        <a:pt x="110" y="121"/>
                      </a:lnTo>
                      <a:lnTo>
                        <a:pt x="109" y="122"/>
                      </a:lnTo>
                      <a:lnTo>
                        <a:pt x="110" y="124"/>
                      </a:lnTo>
                      <a:lnTo>
                        <a:pt x="113" y="125"/>
                      </a:lnTo>
                      <a:lnTo>
                        <a:pt x="112" y="130"/>
                      </a:lnTo>
                      <a:lnTo>
                        <a:pt x="111" y="131"/>
                      </a:lnTo>
                      <a:lnTo>
                        <a:pt x="111" y="133"/>
                      </a:lnTo>
                      <a:lnTo>
                        <a:pt x="110" y="135"/>
                      </a:lnTo>
                      <a:lnTo>
                        <a:pt x="109" y="136"/>
                      </a:lnTo>
                      <a:lnTo>
                        <a:pt x="111" y="139"/>
                      </a:lnTo>
                      <a:lnTo>
                        <a:pt x="114" y="137"/>
                      </a:lnTo>
                      <a:lnTo>
                        <a:pt x="115" y="138"/>
                      </a:lnTo>
                      <a:lnTo>
                        <a:pt x="117" y="138"/>
                      </a:lnTo>
                      <a:lnTo>
                        <a:pt x="120" y="137"/>
                      </a:lnTo>
                      <a:lnTo>
                        <a:pt x="124" y="137"/>
                      </a:lnTo>
                      <a:lnTo>
                        <a:pt x="126" y="135"/>
                      </a:lnTo>
                      <a:lnTo>
                        <a:pt x="127" y="132"/>
                      </a:lnTo>
                      <a:lnTo>
                        <a:pt x="127" y="136"/>
                      </a:lnTo>
                      <a:lnTo>
                        <a:pt x="125" y="138"/>
                      </a:lnTo>
                      <a:lnTo>
                        <a:pt x="126" y="141"/>
                      </a:lnTo>
                      <a:lnTo>
                        <a:pt x="128" y="141"/>
                      </a:lnTo>
                      <a:lnTo>
                        <a:pt x="130" y="144"/>
                      </a:lnTo>
                      <a:lnTo>
                        <a:pt x="130" y="146"/>
                      </a:lnTo>
                      <a:lnTo>
                        <a:pt x="131" y="148"/>
                      </a:lnTo>
                      <a:lnTo>
                        <a:pt x="135" y="153"/>
                      </a:lnTo>
                      <a:lnTo>
                        <a:pt x="138" y="155"/>
                      </a:lnTo>
                      <a:lnTo>
                        <a:pt x="139" y="155"/>
                      </a:lnTo>
                      <a:lnTo>
                        <a:pt x="140" y="113"/>
                      </a:lnTo>
                      <a:lnTo>
                        <a:pt x="140" y="11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14" name="Freeform 415">
                  <a:extLst>
                    <a:ext uri="{FF2B5EF4-FFF2-40B4-BE49-F238E27FC236}">
                      <a16:creationId xmlns:a16="http://schemas.microsoft.com/office/drawing/2014/main" id="{18C9D6FC-4C85-49C5-A8AB-09383C0D3F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63" y="2830"/>
                  <a:ext cx="6" cy="6"/>
                </a:xfrm>
                <a:custGeom>
                  <a:avLst/>
                  <a:gdLst>
                    <a:gd name="T0" fmla="*/ 1 w 7"/>
                    <a:gd name="T1" fmla="*/ 8 h 8"/>
                    <a:gd name="T2" fmla="*/ 4 w 7"/>
                    <a:gd name="T3" fmla="*/ 7 h 8"/>
                    <a:gd name="T4" fmla="*/ 7 w 7"/>
                    <a:gd name="T5" fmla="*/ 3 h 8"/>
                    <a:gd name="T6" fmla="*/ 4 w 7"/>
                    <a:gd name="T7" fmla="*/ 0 h 8"/>
                    <a:gd name="T8" fmla="*/ 0 w 7"/>
                    <a:gd name="T9" fmla="*/ 0 h 8"/>
                    <a:gd name="T10" fmla="*/ 0 w 7"/>
                    <a:gd name="T11" fmla="*/ 3 h 8"/>
                    <a:gd name="T12" fmla="*/ 0 w 7"/>
                    <a:gd name="T13" fmla="*/ 5 h 8"/>
                    <a:gd name="T14" fmla="*/ 1 w 7"/>
                    <a:gd name="T15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8">
                      <a:moveTo>
                        <a:pt x="1" y="8"/>
                      </a:move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3"/>
                        <a:pt x="0" y="3"/>
                      </a:cubicBezTo>
                      <a:cubicBezTo>
                        <a:pt x="0" y="5"/>
                        <a:pt x="0" y="5"/>
                        <a:pt x="0" y="5"/>
                      </a:cubicBezTo>
                      <a:lnTo>
                        <a:pt x="1" y="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15" name="Freeform 416">
                  <a:extLst>
                    <a:ext uri="{FF2B5EF4-FFF2-40B4-BE49-F238E27FC236}">
                      <a16:creationId xmlns:a16="http://schemas.microsoft.com/office/drawing/2014/main" id="{F7B920AD-AB5B-4E78-86E9-33E01D10E3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06" y="2931"/>
                  <a:ext cx="19" cy="7"/>
                </a:xfrm>
                <a:custGeom>
                  <a:avLst/>
                  <a:gdLst>
                    <a:gd name="T0" fmla="*/ 13 w 19"/>
                    <a:gd name="T1" fmla="*/ 2 h 7"/>
                    <a:gd name="T2" fmla="*/ 12 w 19"/>
                    <a:gd name="T3" fmla="*/ 1 h 7"/>
                    <a:gd name="T4" fmla="*/ 4 w 19"/>
                    <a:gd name="T5" fmla="*/ 1 h 7"/>
                    <a:gd name="T6" fmla="*/ 2 w 19"/>
                    <a:gd name="T7" fmla="*/ 0 h 7"/>
                    <a:gd name="T8" fmla="*/ 0 w 19"/>
                    <a:gd name="T9" fmla="*/ 3 h 7"/>
                    <a:gd name="T10" fmla="*/ 3 w 19"/>
                    <a:gd name="T11" fmla="*/ 7 h 7"/>
                    <a:gd name="T12" fmla="*/ 5 w 19"/>
                    <a:gd name="T13" fmla="*/ 7 h 7"/>
                    <a:gd name="T14" fmla="*/ 7 w 19"/>
                    <a:gd name="T15" fmla="*/ 5 h 7"/>
                    <a:gd name="T16" fmla="*/ 12 w 19"/>
                    <a:gd name="T17" fmla="*/ 6 h 7"/>
                    <a:gd name="T18" fmla="*/ 14 w 19"/>
                    <a:gd name="T19" fmla="*/ 4 h 7"/>
                    <a:gd name="T20" fmla="*/ 17 w 19"/>
                    <a:gd name="T21" fmla="*/ 4 h 7"/>
                    <a:gd name="T22" fmla="*/ 19 w 19"/>
                    <a:gd name="T23" fmla="*/ 2 h 7"/>
                    <a:gd name="T24" fmla="*/ 17 w 19"/>
                    <a:gd name="T25" fmla="*/ 1 h 7"/>
                    <a:gd name="T26" fmla="*/ 13 w 19"/>
                    <a:gd name="T27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9" h="7">
                      <a:moveTo>
                        <a:pt x="13" y="2"/>
                      </a:moveTo>
                      <a:lnTo>
                        <a:pt x="12" y="1"/>
                      </a:ln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3" y="7"/>
                      </a:lnTo>
                      <a:lnTo>
                        <a:pt x="5" y="7"/>
                      </a:lnTo>
                      <a:lnTo>
                        <a:pt x="7" y="5"/>
                      </a:lnTo>
                      <a:lnTo>
                        <a:pt x="12" y="6"/>
                      </a:lnTo>
                      <a:lnTo>
                        <a:pt x="14" y="4"/>
                      </a:lnTo>
                      <a:lnTo>
                        <a:pt x="17" y="4"/>
                      </a:lnTo>
                      <a:lnTo>
                        <a:pt x="19" y="2"/>
                      </a:lnTo>
                      <a:lnTo>
                        <a:pt x="17" y="1"/>
                      </a:lnTo>
                      <a:lnTo>
                        <a:pt x="13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16" name="Freeform 417">
                  <a:extLst>
                    <a:ext uri="{FF2B5EF4-FFF2-40B4-BE49-F238E27FC236}">
                      <a16:creationId xmlns:a16="http://schemas.microsoft.com/office/drawing/2014/main" id="{D0726BD6-35A0-45C0-AD69-1EB3147D4C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40" y="2930"/>
                  <a:ext cx="6" cy="5"/>
                </a:xfrm>
                <a:custGeom>
                  <a:avLst/>
                  <a:gdLst>
                    <a:gd name="T0" fmla="*/ 3 w 6"/>
                    <a:gd name="T1" fmla="*/ 2 h 5"/>
                    <a:gd name="T2" fmla="*/ 5 w 6"/>
                    <a:gd name="T3" fmla="*/ 2 h 5"/>
                    <a:gd name="T4" fmla="*/ 6 w 6"/>
                    <a:gd name="T5" fmla="*/ 2 h 5"/>
                    <a:gd name="T6" fmla="*/ 6 w 6"/>
                    <a:gd name="T7" fmla="*/ 2 h 5"/>
                    <a:gd name="T8" fmla="*/ 3 w 6"/>
                    <a:gd name="T9" fmla="*/ 1 h 5"/>
                    <a:gd name="T10" fmla="*/ 1 w 6"/>
                    <a:gd name="T11" fmla="*/ 0 h 5"/>
                    <a:gd name="T12" fmla="*/ 0 w 6"/>
                    <a:gd name="T13" fmla="*/ 2 h 5"/>
                    <a:gd name="T14" fmla="*/ 0 w 6"/>
                    <a:gd name="T15" fmla="*/ 2 h 5"/>
                    <a:gd name="T16" fmla="*/ 2 w 6"/>
                    <a:gd name="T17" fmla="*/ 5 h 5"/>
                    <a:gd name="T18" fmla="*/ 3 w 6"/>
                    <a:gd name="T19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5">
                      <a:moveTo>
                        <a:pt x="3" y="2"/>
                      </a:moveTo>
                      <a:lnTo>
                        <a:pt x="5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3" y="1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5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17" name="Freeform 418">
                  <a:extLst>
                    <a:ext uri="{FF2B5EF4-FFF2-40B4-BE49-F238E27FC236}">
                      <a16:creationId xmlns:a16="http://schemas.microsoft.com/office/drawing/2014/main" id="{DB691C3F-DB8D-42A3-ACD5-2226803D56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48" y="2956"/>
                  <a:ext cx="12" cy="10"/>
                </a:xfrm>
                <a:custGeom>
                  <a:avLst/>
                  <a:gdLst>
                    <a:gd name="T0" fmla="*/ 12 w 12"/>
                    <a:gd name="T1" fmla="*/ 1 h 10"/>
                    <a:gd name="T2" fmla="*/ 8 w 12"/>
                    <a:gd name="T3" fmla="*/ 0 h 10"/>
                    <a:gd name="T4" fmla="*/ 5 w 12"/>
                    <a:gd name="T5" fmla="*/ 2 h 10"/>
                    <a:gd name="T6" fmla="*/ 4 w 12"/>
                    <a:gd name="T7" fmla="*/ 7 h 10"/>
                    <a:gd name="T8" fmla="*/ 1 w 12"/>
                    <a:gd name="T9" fmla="*/ 7 h 10"/>
                    <a:gd name="T10" fmla="*/ 0 w 12"/>
                    <a:gd name="T11" fmla="*/ 7 h 10"/>
                    <a:gd name="T12" fmla="*/ 1 w 12"/>
                    <a:gd name="T13" fmla="*/ 9 h 10"/>
                    <a:gd name="T14" fmla="*/ 5 w 12"/>
                    <a:gd name="T15" fmla="*/ 10 h 10"/>
                    <a:gd name="T16" fmla="*/ 8 w 12"/>
                    <a:gd name="T17" fmla="*/ 10 h 10"/>
                    <a:gd name="T18" fmla="*/ 10 w 12"/>
                    <a:gd name="T19" fmla="*/ 10 h 10"/>
                    <a:gd name="T20" fmla="*/ 10 w 12"/>
                    <a:gd name="T21" fmla="*/ 7 h 10"/>
                    <a:gd name="T22" fmla="*/ 12 w 12"/>
                    <a:gd name="T23" fmla="*/ 5 h 10"/>
                    <a:gd name="T24" fmla="*/ 12 w 12"/>
                    <a:gd name="T25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2" h="10">
                      <a:moveTo>
                        <a:pt x="12" y="1"/>
                      </a:moveTo>
                      <a:lnTo>
                        <a:pt x="8" y="0"/>
                      </a:lnTo>
                      <a:lnTo>
                        <a:pt x="5" y="2"/>
                      </a:lnTo>
                      <a:lnTo>
                        <a:pt x="4" y="7"/>
                      </a:lnTo>
                      <a:lnTo>
                        <a:pt x="1" y="7"/>
                      </a:lnTo>
                      <a:lnTo>
                        <a:pt x="0" y="7"/>
                      </a:lnTo>
                      <a:lnTo>
                        <a:pt x="1" y="9"/>
                      </a:lnTo>
                      <a:lnTo>
                        <a:pt x="5" y="10"/>
                      </a:lnTo>
                      <a:lnTo>
                        <a:pt x="8" y="10"/>
                      </a:lnTo>
                      <a:lnTo>
                        <a:pt x="10" y="10"/>
                      </a:lnTo>
                      <a:lnTo>
                        <a:pt x="10" y="7"/>
                      </a:lnTo>
                      <a:lnTo>
                        <a:pt x="12" y="5"/>
                      </a:lnTo>
                      <a:lnTo>
                        <a:pt x="12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18" name="Freeform 419">
                  <a:extLst>
                    <a:ext uri="{FF2B5EF4-FFF2-40B4-BE49-F238E27FC236}">
                      <a16:creationId xmlns:a16="http://schemas.microsoft.com/office/drawing/2014/main" id="{30D10EE4-53E7-46D2-80EF-6E8312E006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59" y="2818"/>
                  <a:ext cx="4" cy="3"/>
                </a:xfrm>
                <a:custGeom>
                  <a:avLst/>
                  <a:gdLst>
                    <a:gd name="T0" fmla="*/ 4 w 4"/>
                    <a:gd name="T1" fmla="*/ 0 h 3"/>
                    <a:gd name="T2" fmla="*/ 0 w 4"/>
                    <a:gd name="T3" fmla="*/ 0 h 3"/>
                    <a:gd name="T4" fmla="*/ 0 w 4"/>
                    <a:gd name="T5" fmla="*/ 0 h 3"/>
                    <a:gd name="T6" fmla="*/ 0 w 4"/>
                    <a:gd name="T7" fmla="*/ 1 h 3"/>
                    <a:gd name="T8" fmla="*/ 3 w 4"/>
                    <a:gd name="T9" fmla="*/ 3 h 3"/>
                    <a:gd name="T10" fmla="*/ 4 w 4"/>
                    <a:gd name="T11" fmla="*/ 1 h 3"/>
                    <a:gd name="T12" fmla="*/ 4 w 4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3" y="3"/>
                      </a:lnTo>
                      <a:lnTo>
                        <a:pt x="4" y="1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19" name="Freeform 420">
                  <a:extLst>
                    <a:ext uri="{FF2B5EF4-FFF2-40B4-BE49-F238E27FC236}">
                      <a16:creationId xmlns:a16="http://schemas.microsoft.com/office/drawing/2014/main" id="{879197ED-ABC2-49FD-AF42-8084F34C4B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54" y="2840"/>
                  <a:ext cx="3" cy="2"/>
                </a:xfrm>
                <a:custGeom>
                  <a:avLst/>
                  <a:gdLst>
                    <a:gd name="T0" fmla="*/ 0 w 3"/>
                    <a:gd name="T1" fmla="*/ 2 h 2"/>
                    <a:gd name="T2" fmla="*/ 2 w 3"/>
                    <a:gd name="T3" fmla="*/ 2 h 2"/>
                    <a:gd name="T4" fmla="*/ 3 w 3"/>
                    <a:gd name="T5" fmla="*/ 1 h 2"/>
                    <a:gd name="T6" fmla="*/ 2 w 3"/>
                    <a:gd name="T7" fmla="*/ 0 h 2"/>
                    <a:gd name="T8" fmla="*/ 0 w 3"/>
                    <a:gd name="T9" fmla="*/ 0 h 2"/>
                    <a:gd name="T10" fmla="*/ 0 w 3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2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20" name="Freeform 421">
                  <a:extLst>
                    <a:ext uri="{FF2B5EF4-FFF2-40B4-BE49-F238E27FC236}">
                      <a16:creationId xmlns:a16="http://schemas.microsoft.com/office/drawing/2014/main" id="{529EA054-9F59-46ED-9A7D-8E7B6005FA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57" y="2871"/>
                  <a:ext cx="2" cy="6"/>
                </a:xfrm>
                <a:custGeom>
                  <a:avLst/>
                  <a:gdLst>
                    <a:gd name="T0" fmla="*/ 2 w 2"/>
                    <a:gd name="T1" fmla="*/ 1 h 6"/>
                    <a:gd name="T2" fmla="*/ 1 w 2"/>
                    <a:gd name="T3" fmla="*/ 0 h 6"/>
                    <a:gd name="T4" fmla="*/ 0 w 2"/>
                    <a:gd name="T5" fmla="*/ 1 h 6"/>
                    <a:gd name="T6" fmla="*/ 1 w 2"/>
                    <a:gd name="T7" fmla="*/ 6 h 6"/>
                    <a:gd name="T8" fmla="*/ 2 w 2"/>
                    <a:gd name="T9" fmla="*/ 6 h 6"/>
                    <a:gd name="T10" fmla="*/ 2 w 2"/>
                    <a:gd name="T11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6">
                      <a:moveTo>
                        <a:pt x="2" y="1"/>
                      </a:move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21" name="Freeform 422">
                  <a:extLst>
                    <a:ext uri="{FF2B5EF4-FFF2-40B4-BE49-F238E27FC236}">
                      <a16:creationId xmlns:a16="http://schemas.microsoft.com/office/drawing/2014/main" id="{FEB3ECF2-6F7C-45FB-8D26-4AC2ECE947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53" y="2870"/>
                  <a:ext cx="4" cy="12"/>
                </a:xfrm>
                <a:custGeom>
                  <a:avLst/>
                  <a:gdLst>
                    <a:gd name="T0" fmla="*/ 4 w 4"/>
                    <a:gd name="T1" fmla="*/ 7 h 12"/>
                    <a:gd name="T2" fmla="*/ 3 w 4"/>
                    <a:gd name="T3" fmla="*/ 1 h 12"/>
                    <a:gd name="T4" fmla="*/ 3 w 4"/>
                    <a:gd name="T5" fmla="*/ 0 h 12"/>
                    <a:gd name="T6" fmla="*/ 2 w 4"/>
                    <a:gd name="T7" fmla="*/ 0 h 12"/>
                    <a:gd name="T8" fmla="*/ 0 w 4"/>
                    <a:gd name="T9" fmla="*/ 6 h 12"/>
                    <a:gd name="T10" fmla="*/ 0 w 4"/>
                    <a:gd name="T11" fmla="*/ 10 h 12"/>
                    <a:gd name="T12" fmla="*/ 1 w 4"/>
                    <a:gd name="T13" fmla="*/ 12 h 12"/>
                    <a:gd name="T14" fmla="*/ 3 w 4"/>
                    <a:gd name="T15" fmla="*/ 10 h 12"/>
                    <a:gd name="T16" fmla="*/ 4 w 4"/>
                    <a:gd name="T17" fmla="*/ 7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12">
                      <a:moveTo>
                        <a:pt x="4" y="7"/>
                      </a:move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6"/>
                      </a:lnTo>
                      <a:lnTo>
                        <a:pt x="0" y="10"/>
                      </a:lnTo>
                      <a:lnTo>
                        <a:pt x="1" y="12"/>
                      </a:lnTo>
                      <a:lnTo>
                        <a:pt x="3" y="10"/>
                      </a:lnTo>
                      <a:lnTo>
                        <a:pt x="4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22" name="Freeform 423">
                  <a:extLst>
                    <a:ext uri="{FF2B5EF4-FFF2-40B4-BE49-F238E27FC236}">
                      <a16:creationId xmlns:a16="http://schemas.microsoft.com/office/drawing/2014/main" id="{28883C9C-DE77-4DAF-B799-2E6D1B47A3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0" y="2821"/>
                  <a:ext cx="14" cy="9"/>
                </a:xfrm>
                <a:custGeom>
                  <a:avLst/>
                  <a:gdLst>
                    <a:gd name="T0" fmla="*/ 9 w 14"/>
                    <a:gd name="T1" fmla="*/ 8 h 9"/>
                    <a:gd name="T2" fmla="*/ 10 w 14"/>
                    <a:gd name="T3" fmla="*/ 8 h 9"/>
                    <a:gd name="T4" fmla="*/ 10 w 14"/>
                    <a:gd name="T5" fmla="*/ 9 h 9"/>
                    <a:gd name="T6" fmla="*/ 14 w 14"/>
                    <a:gd name="T7" fmla="*/ 8 h 9"/>
                    <a:gd name="T8" fmla="*/ 13 w 14"/>
                    <a:gd name="T9" fmla="*/ 7 h 9"/>
                    <a:gd name="T10" fmla="*/ 10 w 14"/>
                    <a:gd name="T11" fmla="*/ 6 h 9"/>
                    <a:gd name="T12" fmla="*/ 9 w 14"/>
                    <a:gd name="T13" fmla="*/ 2 h 9"/>
                    <a:gd name="T14" fmla="*/ 7 w 14"/>
                    <a:gd name="T15" fmla="*/ 0 h 9"/>
                    <a:gd name="T16" fmla="*/ 4 w 14"/>
                    <a:gd name="T17" fmla="*/ 0 h 9"/>
                    <a:gd name="T18" fmla="*/ 0 w 14"/>
                    <a:gd name="T19" fmla="*/ 0 h 9"/>
                    <a:gd name="T20" fmla="*/ 1 w 14"/>
                    <a:gd name="T21" fmla="*/ 0 h 9"/>
                    <a:gd name="T22" fmla="*/ 3 w 14"/>
                    <a:gd name="T23" fmla="*/ 4 h 9"/>
                    <a:gd name="T24" fmla="*/ 3 w 14"/>
                    <a:gd name="T25" fmla="*/ 1 h 9"/>
                    <a:gd name="T26" fmla="*/ 4 w 14"/>
                    <a:gd name="T27" fmla="*/ 2 h 9"/>
                    <a:gd name="T28" fmla="*/ 7 w 14"/>
                    <a:gd name="T29" fmla="*/ 6 h 9"/>
                    <a:gd name="T30" fmla="*/ 7 w 14"/>
                    <a:gd name="T31" fmla="*/ 7 h 9"/>
                    <a:gd name="T32" fmla="*/ 9 w 14"/>
                    <a:gd name="T33" fmla="*/ 8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4" h="9">
                      <a:moveTo>
                        <a:pt x="9" y="8"/>
                      </a:moveTo>
                      <a:lnTo>
                        <a:pt x="10" y="8"/>
                      </a:lnTo>
                      <a:lnTo>
                        <a:pt x="10" y="9"/>
                      </a:lnTo>
                      <a:lnTo>
                        <a:pt x="14" y="8"/>
                      </a:lnTo>
                      <a:lnTo>
                        <a:pt x="13" y="7"/>
                      </a:lnTo>
                      <a:lnTo>
                        <a:pt x="10" y="6"/>
                      </a:lnTo>
                      <a:lnTo>
                        <a:pt x="9" y="2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4"/>
                      </a:lnTo>
                      <a:lnTo>
                        <a:pt x="3" y="1"/>
                      </a:lnTo>
                      <a:lnTo>
                        <a:pt x="4" y="2"/>
                      </a:lnTo>
                      <a:lnTo>
                        <a:pt x="7" y="6"/>
                      </a:lnTo>
                      <a:lnTo>
                        <a:pt x="7" y="7"/>
                      </a:lnTo>
                      <a:lnTo>
                        <a:pt x="9" y="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23" name="Freeform 424">
                  <a:extLst>
                    <a:ext uri="{FF2B5EF4-FFF2-40B4-BE49-F238E27FC236}">
                      <a16:creationId xmlns:a16="http://schemas.microsoft.com/office/drawing/2014/main" id="{0880FF3D-8584-4861-803A-0BE6833487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43" y="2962"/>
                  <a:ext cx="3" cy="3"/>
                </a:xfrm>
                <a:custGeom>
                  <a:avLst/>
                  <a:gdLst>
                    <a:gd name="T0" fmla="*/ 1 w 3"/>
                    <a:gd name="T1" fmla="*/ 3 h 3"/>
                    <a:gd name="T2" fmla="*/ 3 w 3"/>
                    <a:gd name="T3" fmla="*/ 1 h 3"/>
                    <a:gd name="T4" fmla="*/ 2 w 3"/>
                    <a:gd name="T5" fmla="*/ 0 h 3"/>
                    <a:gd name="T6" fmla="*/ 0 w 3"/>
                    <a:gd name="T7" fmla="*/ 1 h 3"/>
                    <a:gd name="T8" fmla="*/ 1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1" y="3"/>
                      </a:move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24" name="Freeform 425">
                  <a:extLst>
                    <a:ext uri="{FF2B5EF4-FFF2-40B4-BE49-F238E27FC236}">
                      <a16:creationId xmlns:a16="http://schemas.microsoft.com/office/drawing/2014/main" id="{5FB2849B-92CF-407D-B878-7765C94DC2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48" y="2938"/>
                  <a:ext cx="3" cy="1"/>
                </a:xfrm>
                <a:custGeom>
                  <a:avLst/>
                  <a:gdLst>
                    <a:gd name="T0" fmla="*/ 3 w 3"/>
                    <a:gd name="T1" fmla="*/ 0 h 1"/>
                    <a:gd name="T2" fmla="*/ 2 w 3"/>
                    <a:gd name="T3" fmla="*/ 0 h 1"/>
                    <a:gd name="T4" fmla="*/ 0 w 3"/>
                    <a:gd name="T5" fmla="*/ 0 h 1"/>
                    <a:gd name="T6" fmla="*/ 1 w 3"/>
                    <a:gd name="T7" fmla="*/ 1 h 1"/>
                    <a:gd name="T8" fmla="*/ 2 w 3"/>
                    <a:gd name="T9" fmla="*/ 1 h 1"/>
                    <a:gd name="T10" fmla="*/ 3 w 3"/>
                    <a:gd name="T11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25" name="Freeform 426">
                  <a:extLst>
                    <a:ext uri="{FF2B5EF4-FFF2-40B4-BE49-F238E27FC236}">
                      <a16:creationId xmlns:a16="http://schemas.microsoft.com/office/drawing/2014/main" id="{6B2A0681-B794-4644-96B2-01690100B2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55" y="2731"/>
                  <a:ext cx="140" cy="152"/>
                </a:xfrm>
                <a:custGeom>
                  <a:avLst/>
                  <a:gdLst>
                    <a:gd name="T0" fmla="*/ 105 w 140"/>
                    <a:gd name="T1" fmla="*/ 119 h 152"/>
                    <a:gd name="T2" fmla="*/ 105 w 140"/>
                    <a:gd name="T3" fmla="*/ 114 h 152"/>
                    <a:gd name="T4" fmla="*/ 101 w 140"/>
                    <a:gd name="T5" fmla="*/ 110 h 152"/>
                    <a:gd name="T6" fmla="*/ 109 w 140"/>
                    <a:gd name="T7" fmla="*/ 103 h 152"/>
                    <a:gd name="T8" fmla="*/ 111 w 140"/>
                    <a:gd name="T9" fmla="*/ 101 h 152"/>
                    <a:gd name="T10" fmla="*/ 118 w 140"/>
                    <a:gd name="T11" fmla="*/ 87 h 152"/>
                    <a:gd name="T12" fmla="*/ 122 w 140"/>
                    <a:gd name="T13" fmla="*/ 70 h 152"/>
                    <a:gd name="T14" fmla="*/ 126 w 140"/>
                    <a:gd name="T15" fmla="*/ 65 h 152"/>
                    <a:gd name="T16" fmla="*/ 136 w 140"/>
                    <a:gd name="T17" fmla="*/ 65 h 152"/>
                    <a:gd name="T18" fmla="*/ 138 w 140"/>
                    <a:gd name="T19" fmla="*/ 61 h 152"/>
                    <a:gd name="T20" fmla="*/ 126 w 140"/>
                    <a:gd name="T21" fmla="*/ 49 h 152"/>
                    <a:gd name="T22" fmla="*/ 123 w 140"/>
                    <a:gd name="T23" fmla="*/ 41 h 152"/>
                    <a:gd name="T24" fmla="*/ 122 w 140"/>
                    <a:gd name="T25" fmla="*/ 28 h 152"/>
                    <a:gd name="T26" fmla="*/ 120 w 140"/>
                    <a:gd name="T27" fmla="*/ 20 h 152"/>
                    <a:gd name="T28" fmla="*/ 118 w 140"/>
                    <a:gd name="T29" fmla="*/ 13 h 152"/>
                    <a:gd name="T30" fmla="*/ 119 w 140"/>
                    <a:gd name="T31" fmla="*/ 7 h 152"/>
                    <a:gd name="T32" fmla="*/ 121 w 140"/>
                    <a:gd name="T33" fmla="*/ 3 h 152"/>
                    <a:gd name="T34" fmla="*/ 106 w 140"/>
                    <a:gd name="T35" fmla="*/ 1 h 152"/>
                    <a:gd name="T36" fmla="*/ 97 w 140"/>
                    <a:gd name="T37" fmla="*/ 6 h 152"/>
                    <a:gd name="T38" fmla="*/ 87 w 140"/>
                    <a:gd name="T39" fmla="*/ 32 h 152"/>
                    <a:gd name="T40" fmla="*/ 74 w 140"/>
                    <a:gd name="T41" fmla="*/ 53 h 152"/>
                    <a:gd name="T42" fmla="*/ 60 w 140"/>
                    <a:gd name="T43" fmla="*/ 53 h 152"/>
                    <a:gd name="T44" fmla="*/ 35 w 140"/>
                    <a:gd name="T45" fmla="*/ 59 h 152"/>
                    <a:gd name="T46" fmla="*/ 25 w 140"/>
                    <a:gd name="T47" fmla="*/ 63 h 152"/>
                    <a:gd name="T48" fmla="*/ 18 w 140"/>
                    <a:gd name="T49" fmla="*/ 55 h 152"/>
                    <a:gd name="T50" fmla="*/ 7 w 140"/>
                    <a:gd name="T51" fmla="*/ 49 h 152"/>
                    <a:gd name="T52" fmla="*/ 2 w 140"/>
                    <a:gd name="T53" fmla="*/ 63 h 152"/>
                    <a:gd name="T54" fmla="*/ 4 w 140"/>
                    <a:gd name="T55" fmla="*/ 80 h 152"/>
                    <a:gd name="T56" fmla="*/ 5 w 140"/>
                    <a:gd name="T57" fmla="*/ 86 h 152"/>
                    <a:gd name="T58" fmla="*/ 18 w 140"/>
                    <a:gd name="T59" fmla="*/ 83 h 152"/>
                    <a:gd name="T60" fmla="*/ 9 w 140"/>
                    <a:gd name="T61" fmla="*/ 88 h 152"/>
                    <a:gd name="T62" fmla="*/ 8 w 140"/>
                    <a:gd name="T63" fmla="*/ 93 h 152"/>
                    <a:gd name="T64" fmla="*/ 18 w 140"/>
                    <a:gd name="T65" fmla="*/ 106 h 152"/>
                    <a:gd name="T66" fmla="*/ 17 w 140"/>
                    <a:gd name="T67" fmla="*/ 116 h 152"/>
                    <a:gd name="T68" fmla="*/ 21 w 140"/>
                    <a:gd name="T69" fmla="*/ 132 h 152"/>
                    <a:gd name="T70" fmla="*/ 29 w 140"/>
                    <a:gd name="T71" fmla="*/ 133 h 152"/>
                    <a:gd name="T72" fmla="*/ 39 w 140"/>
                    <a:gd name="T73" fmla="*/ 131 h 152"/>
                    <a:gd name="T74" fmla="*/ 40 w 140"/>
                    <a:gd name="T75" fmla="*/ 131 h 152"/>
                    <a:gd name="T76" fmla="*/ 43 w 140"/>
                    <a:gd name="T77" fmla="*/ 144 h 152"/>
                    <a:gd name="T78" fmla="*/ 52 w 140"/>
                    <a:gd name="T79" fmla="*/ 139 h 152"/>
                    <a:gd name="T80" fmla="*/ 60 w 140"/>
                    <a:gd name="T81" fmla="*/ 134 h 152"/>
                    <a:gd name="T82" fmla="*/ 65 w 140"/>
                    <a:gd name="T83" fmla="*/ 139 h 152"/>
                    <a:gd name="T84" fmla="*/ 69 w 140"/>
                    <a:gd name="T85" fmla="*/ 137 h 152"/>
                    <a:gd name="T86" fmla="*/ 75 w 140"/>
                    <a:gd name="T87" fmla="*/ 142 h 152"/>
                    <a:gd name="T88" fmla="*/ 78 w 140"/>
                    <a:gd name="T89" fmla="*/ 147 h 152"/>
                    <a:gd name="T90" fmla="*/ 91 w 140"/>
                    <a:gd name="T91" fmla="*/ 147 h 152"/>
                    <a:gd name="T92" fmla="*/ 100 w 140"/>
                    <a:gd name="T93" fmla="*/ 131 h 152"/>
                    <a:gd name="T94" fmla="*/ 104 w 140"/>
                    <a:gd name="T95" fmla="*/ 125 h 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40" h="152">
                      <a:moveTo>
                        <a:pt x="103" y="123"/>
                      </a:moveTo>
                      <a:lnTo>
                        <a:pt x="105" y="124"/>
                      </a:lnTo>
                      <a:lnTo>
                        <a:pt x="106" y="121"/>
                      </a:lnTo>
                      <a:lnTo>
                        <a:pt x="105" y="119"/>
                      </a:lnTo>
                      <a:lnTo>
                        <a:pt x="104" y="119"/>
                      </a:lnTo>
                      <a:lnTo>
                        <a:pt x="103" y="118"/>
                      </a:lnTo>
                      <a:lnTo>
                        <a:pt x="105" y="117"/>
                      </a:lnTo>
                      <a:lnTo>
                        <a:pt x="105" y="114"/>
                      </a:lnTo>
                      <a:lnTo>
                        <a:pt x="105" y="114"/>
                      </a:lnTo>
                      <a:lnTo>
                        <a:pt x="101" y="114"/>
                      </a:lnTo>
                      <a:lnTo>
                        <a:pt x="102" y="111"/>
                      </a:lnTo>
                      <a:lnTo>
                        <a:pt x="101" y="110"/>
                      </a:lnTo>
                      <a:lnTo>
                        <a:pt x="104" y="111"/>
                      </a:lnTo>
                      <a:lnTo>
                        <a:pt x="106" y="109"/>
                      </a:lnTo>
                      <a:lnTo>
                        <a:pt x="107" y="106"/>
                      </a:lnTo>
                      <a:lnTo>
                        <a:pt x="109" y="103"/>
                      </a:lnTo>
                      <a:lnTo>
                        <a:pt x="109" y="100"/>
                      </a:lnTo>
                      <a:lnTo>
                        <a:pt x="108" y="97"/>
                      </a:lnTo>
                      <a:lnTo>
                        <a:pt x="110" y="98"/>
                      </a:lnTo>
                      <a:lnTo>
                        <a:pt x="111" y="101"/>
                      </a:lnTo>
                      <a:lnTo>
                        <a:pt x="113" y="98"/>
                      </a:lnTo>
                      <a:lnTo>
                        <a:pt x="115" y="95"/>
                      </a:lnTo>
                      <a:lnTo>
                        <a:pt x="114" y="90"/>
                      </a:lnTo>
                      <a:lnTo>
                        <a:pt x="118" y="87"/>
                      </a:lnTo>
                      <a:lnTo>
                        <a:pt x="119" y="81"/>
                      </a:lnTo>
                      <a:lnTo>
                        <a:pt x="120" y="79"/>
                      </a:lnTo>
                      <a:lnTo>
                        <a:pt x="120" y="73"/>
                      </a:lnTo>
                      <a:lnTo>
                        <a:pt x="122" y="70"/>
                      </a:lnTo>
                      <a:lnTo>
                        <a:pt x="122" y="68"/>
                      </a:lnTo>
                      <a:lnTo>
                        <a:pt x="125" y="65"/>
                      </a:lnTo>
                      <a:lnTo>
                        <a:pt x="126" y="66"/>
                      </a:lnTo>
                      <a:lnTo>
                        <a:pt x="126" y="65"/>
                      </a:lnTo>
                      <a:lnTo>
                        <a:pt x="126" y="60"/>
                      </a:lnTo>
                      <a:lnTo>
                        <a:pt x="130" y="66"/>
                      </a:lnTo>
                      <a:lnTo>
                        <a:pt x="133" y="66"/>
                      </a:lnTo>
                      <a:lnTo>
                        <a:pt x="136" y="65"/>
                      </a:lnTo>
                      <a:lnTo>
                        <a:pt x="138" y="66"/>
                      </a:lnTo>
                      <a:lnTo>
                        <a:pt x="139" y="65"/>
                      </a:lnTo>
                      <a:lnTo>
                        <a:pt x="140" y="62"/>
                      </a:lnTo>
                      <a:lnTo>
                        <a:pt x="138" y="61"/>
                      </a:lnTo>
                      <a:lnTo>
                        <a:pt x="137" y="59"/>
                      </a:lnTo>
                      <a:lnTo>
                        <a:pt x="135" y="56"/>
                      </a:lnTo>
                      <a:lnTo>
                        <a:pt x="132" y="56"/>
                      </a:lnTo>
                      <a:lnTo>
                        <a:pt x="126" y="49"/>
                      </a:lnTo>
                      <a:lnTo>
                        <a:pt x="125" y="47"/>
                      </a:lnTo>
                      <a:lnTo>
                        <a:pt x="124" y="45"/>
                      </a:lnTo>
                      <a:lnTo>
                        <a:pt x="122" y="43"/>
                      </a:lnTo>
                      <a:lnTo>
                        <a:pt x="123" y="41"/>
                      </a:lnTo>
                      <a:lnTo>
                        <a:pt x="127" y="40"/>
                      </a:lnTo>
                      <a:lnTo>
                        <a:pt x="128" y="37"/>
                      </a:lnTo>
                      <a:lnTo>
                        <a:pt x="126" y="35"/>
                      </a:lnTo>
                      <a:lnTo>
                        <a:pt x="122" y="28"/>
                      </a:lnTo>
                      <a:lnTo>
                        <a:pt x="120" y="25"/>
                      </a:lnTo>
                      <a:lnTo>
                        <a:pt x="118" y="23"/>
                      </a:lnTo>
                      <a:lnTo>
                        <a:pt x="119" y="20"/>
                      </a:lnTo>
                      <a:lnTo>
                        <a:pt x="120" y="20"/>
                      </a:lnTo>
                      <a:lnTo>
                        <a:pt x="120" y="18"/>
                      </a:lnTo>
                      <a:lnTo>
                        <a:pt x="119" y="17"/>
                      </a:lnTo>
                      <a:lnTo>
                        <a:pt x="116" y="14"/>
                      </a:lnTo>
                      <a:lnTo>
                        <a:pt x="118" y="13"/>
                      </a:lnTo>
                      <a:lnTo>
                        <a:pt x="121" y="14"/>
                      </a:lnTo>
                      <a:lnTo>
                        <a:pt x="124" y="13"/>
                      </a:lnTo>
                      <a:lnTo>
                        <a:pt x="122" y="9"/>
                      </a:lnTo>
                      <a:lnTo>
                        <a:pt x="119" y="7"/>
                      </a:lnTo>
                      <a:lnTo>
                        <a:pt x="119" y="6"/>
                      </a:lnTo>
                      <a:lnTo>
                        <a:pt x="119" y="4"/>
                      </a:lnTo>
                      <a:lnTo>
                        <a:pt x="121" y="4"/>
                      </a:lnTo>
                      <a:lnTo>
                        <a:pt x="121" y="3"/>
                      </a:lnTo>
                      <a:lnTo>
                        <a:pt x="118" y="2"/>
                      </a:lnTo>
                      <a:lnTo>
                        <a:pt x="114" y="2"/>
                      </a:lnTo>
                      <a:lnTo>
                        <a:pt x="112" y="1"/>
                      </a:lnTo>
                      <a:lnTo>
                        <a:pt x="106" y="1"/>
                      </a:lnTo>
                      <a:lnTo>
                        <a:pt x="101" y="1"/>
                      </a:lnTo>
                      <a:lnTo>
                        <a:pt x="99" y="0"/>
                      </a:lnTo>
                      <a:lnTo>
                        <a:pt x="96" y="4"/>
                      </a:lnTo>
                      <a:lnTo>
                        <a:pt x="97" y="6"/>
                      </a:lnTo>
                      <a:lnTo>
                        <a:pt x="95" y="9"/>
                      </a:lnTo>
                      <a:lnTo>
                        <a:pt x="95" y="11"/>
                      </a:lnTo>
                      <a:lnTo>
                        <a:pt x="92" y="25"/>
                      </a:lnTo>
                      <a:lnTo>
                        <a:pt x="87" y="32"/>
                      </a:lnTo>
                      <a:lnTo>
                        <a:pt x="85" y="39"/>
                      </a:lnTo>
                      <a:lnTo>
                        <a:pt x="80" y="49"/>
                      </a:lnTo>
                      <a:lnTo>
                        <a:pt x="81" y="52"/>
                      </a:lnTo>
                      <a:lnTo>
                        <a:pt x="74" y="53"/>
                      </a:lnTo>
                      <a:lnTo>
                        <a:pt x="68" y="57"/>
                      </a:lnTo>
                      <a:lnTo>
                        <a:pt x="64" y="57"/>
                      </a:lnTo>
                      <a:lnTo>
                        <a:pt x="63" y="56"/>
                      </a:lnTo>
                      <a:lnTo>
                        <a:pt x="60" y="53"/>
                      </a:lnTo>
                      <a:lnTo>
                        <a:pt x="53" y="53"/>
                      </a:lnTo>
                      <a:lnTo>
                        <a:pt x="51" y="56"/>
                      </a:lnTo>
                      <a:lnTo>
                        <a:pt x="43" y="59"/>
                      </a:lnTo>
                      <a:lnTo>
                        <a:pt x="35" y="59"/>
                      </a:lnTo>
                      <a:lnTo>
                        <a:pt x="33" y="60"/>
                      </a:lnTo>
                      <a:lnTo>
                        <a:pt x="29" y="60"/>
                      </a:lnTo>
                      <a:lnTo>
                        <a:pt x="29" y="62"/>
                      </a:lnTo>
                      <a:lnTo>
                        <a:pt x="25" y="63"/>
                      </a:lnTo>
                      <a:lnTo>
                        <a:pt x="23" y="63"/>
                      </a:lnTo>
                      <a:lnTo>
                        <a:pt x="22" y="60"/>
                      </a:lnTo>
                      <a:lnTo>
                        <a:pt x="18" y="56"/>
                      </a:lnTo>
                      <a:lnTo>
                        <a:pt x="18" y="55"/>
                      </a:lnTo>
                      <a:lnTo>
                        <a:pt x="14" y="51"/>
                      </a:lnTo>
                      <a:lnTo>
                        <a:pt x="11" y="45"/>
                      </a:lnTo>
                      <a:lnTo>
                        <a:pt x="8" y="46"/>
                      </a:lnTo>
                      <a:lnTo>
                        <a:pt x="7" y="49"/>
                      </a:lnTo>
                      <a:lnTo>
                        <a:pt x="4" y="54"/>
                      </a:lnTo>
                      <a:lnTo>
                        <a:pt x="1" y="59"/>
                      </a:lnTo>
                      <a:lnTo>
                        <a:pt x="1" y="61"/>
                      </a:lnTo>
                      <a:lnTo>
                        <a:pt x="2" y="63"/>
                      </a:lnTo>
                      <a:lnTo>
                        <a:pt x="2" y="65"/>
                      </a:lnTo>
                      <a:lnTo>
                        <a:pt x="0" y="66"/>
                      </a:lnTo>
                      <a:lnTo>
                        <a:pt x="1" y="73"/>
                      </a:lnTo>
                      <a:lnTo>
                        <a:pt x="4" y="80"/>
                      </a:lnTo>
                      <a:lnTo>
                        <a:pt x="6" y="82"/>
                      </a:lnTo>
                      <a:lnTo>
                        <a:pt x="4" y="81"/>
                      </a:lnTo>
                      <a:lnTo>
                        <a:pt x="3" y="82"/>
                      </a:lnTo>
                      <a:lnTo>
                        <a:pt x="5" y="86"/>
                      </a:lnTo>
                      <a:lnTo>
                        <a:pt x="8" y="87"/>
                      </a:lnTo>
                      <a:lnTo>
                        <a:pt x="10" y="87"/>
                      </a:lnTo>
                      <a:lnTo>
                        <a:pt x="14" y="86"/>
                      </a:lnTo>
                      <a:lnTo>
                        <a:pt x="18" y="83"/>
                      </a:lnTo>
                      <a:lnTo>
                        <a:pt x="21" y="83"/>
                      </a:lnTo>
                      <a:lnTo>
                        <a:pt x="18" y="83"/>
                      </a:lnTo>
                      <a:lnTo>
                        <a:pt x="15" y="87"/>
                      </a:lnTo>
                      <a:lnTo>
                        <a:pt x="9" y="88"/>
                      </a:lnTo>
                      <a:lnTo>
                        <a:pt x="8" y="90"/>
                      </a:lnTo>
                      <a:lnTo>
                        <a:pt x="4" y="90"/>
                      </a:lnTo>
                      <a:lnTo>
                        <a:pt x="4" y="92"/>
                      </a:lnTo>
                      <a:lnTo>
                        <a:pt x="8" y="93"/>
                      </a:lnTo>
                      <a:lnTo>
                        <a:pt x="11" y="95"/>
                      </a:lnTo>
                      <a:lnTo>
                        <a:pt x="15" y="101"/>
                      </a:lnTo>
                      <a:lnTo>
                        <a:pt x="17" y="103"/>
                      </a:lnTo>
                      <a:lnTo>
                        <a:pt x="18" y="106"/>
                      </a:lnTo>
                      <a:lnTo>
                        <a:pt x="15" y="110"/>
                      </a:lnTo>
                      <a:lnTo>
                        <a:pt x="14" y="112"/>
                      </a:lnTo>
                      <a:lnTo>
                        <a:pt x="15" y="114"/>
                      </a:lnTo>
                      <a:lnTo>
                        <a:pt x="17" y="116"/>
                      </a:lnTo>
                      <a:lnTo>
                        <a:pt x="18" y="124"/>
                      </a:lnTo>
                      <a:lnTo>
                        <a:pt x="18" y="128"/>
                      </a:lnTo>
                      <a:lnTo>
                        <a:pt x="19" y="132"/>
                      </a:lnTo>
                      <a:lnTo>
                        <a:pt x="21" y="132"/>
                      </a:lnTo>
                      <a:lnTo>
                        <a:pt x="23" y="130"/>
                      </a:lnTo>
                      <a:lnTo>
                        <a:pt x="24" y="132"/>
                      </a:lnTo>
                      <a:lnTo>
                        <a:pt x="27" y="132"/>
                      </a:lnTo>
                      <a:lnTo>
                        <a:pt x="29" y="133"/>
                      </a:lnTo>
                      <a:lnTo>
                        <a:pt x="33" y="133"/>
                      </a:lnTo>
                      <a:lnTo>
                        <a:pt x="35" y="131"/>
                      </a:lnTo>
                      <a:lnTo>
                        <a:pt x="37" y="132"/>
                      </a:lnTo>
                      <a:lnTo>
                        <a:pt x="39" y="131"/>
                      </a:lnTo>
                      <a:lnTo>
                        <a:pt x="40" y="128"/>
                      </a:lnTo>
                      <a:lnTo>
                        <a:pt x="39" y="126"/>
                      </a:lnTo>
                      <a:lnTo>
                        <a:pt x="41" y="128"/>
                      </a:lnTo>
                      <a:lnTo>
                        <a:pt x="40" y="131"/>
                      </a:lnTo>
                      <a:lnTo>
                        <a:pt x="41" y="135"/>
                      </a:lnTo>
                      <a:lnTo>
                        <a:pt x="42" y="141"/>
                      </a:lnTo>
                      <a:lnTo>
                        <a:pt x="42" y="144"/>
                      </a:lnTo>
                      <a:lnTo>
                        <a:pt x="43" y="144"/>
                      </a:lnTo>
                      <a:lnTo>
                        <a:pt x="46" y="139"/>
                      </a:lnTo>
                      <a:lnTo>
                        <a:pt x="48" y="139"/>
                      </a:lnTo>
                      <a:lnTo>
                        <a:pt x="49" y="140"/>
                      </a:lnTo>
                      <a:lnTo>
                        <a:pt x="52" y="139"/>
                      </a:lnTo>
                      <a:lnTo>
                        <a:pt x="53" y="138"/>
                      </a:lnTo>
                      <a:lnTo>
                        <a:pt x="56" y="137"/>
                      </a:lnTo>
                      <a:lnTo>
                        <a:pt x="58" y="135"/>
                      </a:lnTo>
                      <a:lnTo>
                        <a:pt x="60" y="134"/>
                      </a:lnTo>
                      <a:lnTo>
                        <a:pt x="62" y="136"/>
                      </a:lnTo>
                      <a:lnTo>
                        <a:pt x="63" y="135"/>
                      </a:lnTo>
                      <a:lnTo>
                        <a:pt x="65" y="136"/>
                      </a:lnTo>
                      <a:lnTo>
                        <a:pt x="65" y="139"/>
                      </a:lnTo>
                      <a:lnTo>
                        <a:pt x="67" y="141"/>
                      </a:lnTo>
                      <a:lnTo>
                        <a:pt x="69" y="142"/>
                      </a:lnTo>
                      <a:lnTo>
                        <a:pt x="68" y="139"/>
                      </a:lnTo>
                      <a:lnTo>
                        <a:pt x="69" y="137"/>
                      </a:lnTo>
                      <a:lnTo>
                        <a:pt x="70" y="139"/>
                      </a:lnTo>
                      <a:lnTo>
                        <a:pt x="73" y="140"/>
                      </a:lnTo>
                      <a:lnTo>
                        <a:pt x="74" y="139"/>
                      </a:lnTo>
                      <a:lnTo>
                        <a:pt x="75" y="142"/>
                      </a:lnTo>
                      <a:lnTo>
                        <a:pt x="77" y="141"/>
                      </a:lnTo>
                      <a:lnTo>
                        <a:pt x="77" y="142"/>
                      </a:lnTo>
                      <a:lnTo>
                        <a:pt x="79" y="145"/>
                      </a:lnTo>
                      <a:lnTo>
                        <a:pt x="78" y="147"/>
                      </a:lnTo>
                      <a:lnTo>
                        <a:pt x="79" y="152"/>
                      </a:lnTo>
                      <a:lnTo>
                        <a:pt x="81" y="152"/>
                      </a:lnTo>
                      <a:lnTo>
                        <a:pt x="87" y="149"/>
                      </a:lnTo>
                      <a:lnTo>
                        <a:pt x="91" y="147"/>
                      </a:lnTo>
                      <a:lnTo>
                        <a:pt x="96" y="143"/>
                      </a:lnTo>
                      <a:lnTo>
                        <a:pt x="99" y="137"/>
                      </a:lnTo>
                      <a:lnTo>
                        <a:pt x="99" y="135"/>
                      </a:lnTo>
                      <a:lnTo>
                        <a:pt x="100" y="131"/>
                      </a:lnTo>
                      <a:lnTo>
                        <a:pt x="101" y="132"/>
                      </a:lnTo>
                      <a:lnTo>
                        <a:pt x="102" y="132"/>
                      </a:lnTo>
                      <a:lnTo>
                        <a:pt x="105" y="126"/>
                      </a:lnTo>
                      <a:lnTo>
                        <a:pt x="104" y="125"/>
                      </a:lnTo>
                      <a:lnTo>
                        <a:pt x="102" y="124"/>
                      </a:lnTo>
                      <a:lnTo>
                        <a:pt x="102" y="122"/>
                      </a:lnTo>
                      <a:lnTo>
                        <a:pt x="103" y="12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26" name="Freeform 427">
                  <a:extLst>
                    <a:ext uri="{FF2B5EF4-FFF2-40B4-BE49-F238E27FC236}">
                      <a16:creationId xmlns:a16="http://schemas.microsoft.com/office/drawing/2014/main" id="{9B468423-8386-4FFC-A8B8-9299523977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0" y="2952"/>
                  <a:ext cx="17" cy="12"/>
                </a:xfrm>
                <a:custGeom>
                  <a:avLst/>
                  <a:gdLst>
                    <a:gd name="T0" fmla="*/ 17 w 17"/>
                    <a:gd name="T1" fmla="*/ 4 h 12"/>
                    <a:gd name="T2" fmla="*/ 14 w 17"/>
                    <a:gd name="T3" fmla="*/ 0 h 12"/>
                    <a:gd name="T4" fmla="*/ 10 w 17"/>
                    <a:gd name="T5" fmla="*/ 0 h 12"/>
                    <a:gd name="T6" fmla="*/ 6 w 17"/>
                    <a:gd name="T7" fmla="*/ 1 h 12"/>
                    <a:gd name="T8" fmla="*/ 3 w 17"/>
                    <a:gd name="T9" fmla="*/ 0 h 12"/>
                    <a:gd name="T10" fmla="*/ 0 w 17"/>
                    <a:gd name="T11" fmla="*/ 1 h 12"/>
                    <a:gd name="T12" fmla="*/ 0 w 17"/>
                    <a:gd name="T13" fmla="*/ 4 h 12"/>
                    <a:gd name="T14" fmla="*/ 1 w 17"/>
                    <a:gd name="T15" fmla="*/ 6 h 12"/>
                    <a:gd name="T16" fmla="*/ 5 w 17"/>
                    <a:gd name="T17" fmla="*/ 7 h 12"/>
                    <a:gd name="T18" fmla="*/ 9 w 17"/>
                    <a:gd name="T19" fmla="*/ 10 h 12"/>
                    <a:gd name="T20" fmla="*/ 9 w 17"/>
                    <a:gd name="T21" fmla="*/ 12 h 12"/>
                    <a:gd name="T22" fmla="*/ 10 w 17"/>
                    <a:gd name="T23" fmla="*/ 10 h 12"/>
                    <a:gd name="T24" fmla="*/ 12 w 17"/>
                    <a:gd name="T25" fmla="*/ 8 h 12"/>
                    <a:gd name="T26" fmla="*/ 13 w 17"/>
                    <a:gd name="T27" fmla="*/ 7 h 12"/>
                    <a:gd name="T28" fmla="*/ 16 w 17"/>
                    <a:gd name="T29" fmla="*/ 7 h 12"/>
                    <a:gd name="T30" fmla="*/ 17 w 17"/>
                    <a:gd name="T31" fmla="*/ 4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7" h="12">
                      <a:moveTo>
                        <a:pt x="17" y="4"/>
                      </a:moveTo>
                      <a:lnTo>
                        <a:pt x="14" y="0"/>
                      </a:lnTo>
                      <a:lnTo>
                        <a:pt x="10" y="0"/>
                      </a:ln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5" y="7"/>
                      </a:lnTo>
                      <a:lnTo>
                        <a:pt x="9" y="10"/>
                      </a:lnTo>
                      <a:lnTo>
                        <a:pt x="9" y="12"/>
                      </a:lnTo>
                      <a:lnTo>
                        <a:pt x="10" y="10"/>
                      </a:lnTo>
                      <a:lnTo>
                        <a:pt x="12" y="8"/>
                      </a:lnTo>
                      <a:lnTo>
                        <a:pt x="13" y="7"/>
                      </a:lnTo>
                      <a:lnTo>
                        <a:pt x="16" y="7"/>
                      </a:lnTo>
                      <a:lnTo>
                        <a:pt x="17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27" name="Freeform 428">
                  <a:extLst>
                    <a:ext uri="{FF2B5EF4-FFF2-40B4-BE49-F238E27FC236}">
                      <a16:creationId xmlns:a16="http://schemas.microsoft.com/office/drawing/2014/main" id="{A72A1529-9EC0-4C7A-B94D-F98C693114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60" y="2825"/>
                  <a:ext cx="6" cy="4"/>
                </a:xfrm>
                <a:custGeom>
                  <a:avLst/>
                  <a:gdLst>
                    <a:gd name="T0" fmla="*/ 6 w 6"/>
                    <a:gd name="T1" fmla="*/ 4 h 4"/>
                    <a:gd name="T2" fmla="*/ 6 w 6"/>
                    <a:gd name="T3" fmla="*/ 3 h 4"/>
                    <a:gd name="T4" fmla="*/ 6 w 6"/>
                    <a:gd name="T5" fmla="*/ 2 h 4"/>
                    <a:gd name="T6" fmla="*/ 4 w 6"/>
                    <a:gd name="T7" fmla="*/ 0 h 4"/>
                    <a:gd name="T8" fmla="*/ 0 w 6"/>
                    <a:gd name="T9" fmla="*/ 0 h 4"/>
                    <a:gd name="T10" fmla="*/ 0 w 6"/>
                    <a:gd name="T11" fmla="*/ 1 h 4"/>
                    <a:gd name="T12" fmla="*/ 2 w 6"/>
                    <a:gd name="T13" fmla="*/ 3 h 4"/>
                    <a:gd name="T14" fmla="*/ 3 w 6"/>
                    <a:gd name="T15" fmla="*/ 3 h 4"/>
                    <a:gd name="T16" fmla="*/ 6 w 6"/>
                    <a:gd name="T1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4">
                      <a:moveTo>
                        <a:pt x="6" y="4"/>
                      </a:moveTo>
                      <a:lnTo>
                        <a:pt x="6" y="3"/>
                      </a:lnTo>
                      <a:lnTo>
                        <a:pt x="6" y="2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28" name="Freeform 429">
                  <a:extLst>
                    <a:ext uri="{FF2B5EF4-FFF2-40B4-BE49-F238E27FC236}">
                      <a16:creationId xmlns:a16="http://schemas.microsoft.com/office/drawing/2014/main" id="{ABF6DFFA-03F3-4477-8580-29DA523ABD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4" y="2942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29" name="Freeform 430">
                  <a:extLst>
                    <a:ext uri="{FF2B5EF4-FFF2-40B4-BE49-F238E27FC236}">
                      <a16:creationId xmlns:a16="http://schemas.microsoft.com/office/drawing/2014/main" id="{2C32F685-749F-4B34-8CBF-EBF9B90807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25" y="2837"/>
                  <a:ext cx="4" cy="1"/>
                </a:xfrm>
                <a:custGeom>
                  <a:avLst/>
                  <a:gdLst>
                    <a:gd name="T0" fmla="*/ 2 w 4"/>
                    <a:gd name="T1" fmla="*/ 1 h 1"/>
                    <a:gd name="T2" fmla="*/ 4 w 4"/>
                    <a:gd name="T3" fmla="*/ 0 h 1"/>
                    <a:gd name="T4" fmla="*/ 0 w 4"/>
                    <a:gd name="T5" fmla="*/ 0 h 1"/>
                    <a:gd name="T6" fmla="*/ 2 w 4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2" y="1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30" name="Freeform 431">
                  <a:extLst>
                    <a:ext uri="{FF2B5EF4-FFF2-40B4-BE49-F238E27FC236}">
                      <a16:creationId xmlns:a16="http://schemas.microsoft.com/office/drawing/2014/main" id="{FBDB4000-55B0-4E04-AA7D-3B45A3CD76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4" y="2939"/>
                  <a:ext cx="4" cy="2"/>
                </a:xfrm>
                <a:custGeom>
                  <a:avLst/>
                  <a:gdLst>
                    <a:gd name="T0" fmla="*/ 0 w 4"/>
                    <a:gd name="T1" fmla="*/ 1 h 2"/>
                    <a:gd name="T2" fmla="*/ 2 w 4"/>
                    <a:gd name="T3" fmla="*/ 2 h 2"/>
                    <a:gd name="T4" fmla="*/ 4 w 4"/>
                    <a:gd name="T5" fmla="*/ 1 h 2"/>
                    <a:gd name="T6" fmla="*/ 4 w 4"/>
                    <a:gd name="T7" fmla="*/ 0 h 2"/>
                    <a:gd name="T8" fmla="*/ 0 w 4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31" name="Freeform 432">
                  <a:extLst>
                    <a:ext uri="{FF2B5EF4-FFF2-40B4-BE49-F238E27FC236}">
                      <a16:creationId xmlns:a16="http://schemas.microsoft.com/office/drawing/2014/main" id="{77764390-4537-4019-814B-CAEB858DAC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4" y="2826"/>
                  <a:ext cx="6" cy="8"/>
                </a:xfrm>
                <a:custGeom>
                  <a:avLst/>
                  <a:gdLst>
                    <a:gd name="T0" fmla="*/ 6 w 6"/>
                    <a:gd name="T1" fmla="*/ 1 h 8"/>
                    <a:gd name="T2" fmla="*/ 4 w 6"/>
                    <a:gd name="T3" fmla="*/ 0 h 8"/>
                    <a:gd name="T4" fmla="*/ 0 w 6"/>
                    <a:gd name="T5" fmla="*/ 2 h 8"/>
                    <a:gd name="T6" fmla="*/ 0 w 6"/>
                    <a:gd name="T7" fmla="*/ 7 h 8"/>
                    <a:gd name="T8" fmla="*/ 4 w 6"/>
                    <a:gd name="T9" fmla="*/ 8 h 8"/>
                    <a:gd name="T10" fmla="*/ 5 w 6"/>
                    <a:gd name="T11" fmla="*/ 6 h 8"/>
                    <a:gd name="T12" fmla="*/ 6 w 6"/>
                    <a:gd name="T13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8">
                      <a:moveTo>
                        <a:pt x="6" y="1"/>
                      </a:move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4" y="8"/>
                      </a:lnTo>
                      <a:lnTo>
                        <a:pt x="5" y="6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32" name="Freeform 433">
                  <a:extLst>
                    <a:ext uri="{FF2B5EF4-FFF2-40B4-BE49-F238E27FC236}">
                      <a16:creationId xmlns:a16="http://schemas.microsoft.com/office/drawing/2014/main" id="{C3E823AA-04AA-46C1-8851-30EEEFC817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21" y="2826"/>
                  <a:ext cx="3" cy="2"/>
                </a:xfrm>
                <a:custGeom>
                  <a:avLst/>
                  <a:gdLst>
                    <a:gd name="T0" fmla="*/ 0 w 3"/>
                    <a:gd name="T1" fmla="*/ 1 h 2"/>
                    <a:gd name="T2" fmla="*/ 2 w 3"/>
                    <a:gd name="T3" fmla="*/ 2 h 2"/>
                    <a:gd name="T4" fmla="*/ 3 w 3"/>
                    <a:gd name="T5" fmla="*/ 2 h 2"/>
                    <a:gd name="T6" fmla="*/ 2 w 3"/>
                    <a:gd name="T7" fmla="*/ 0 h 2"/>
                    <a:gd name="T8" fmla="*/ 0 w 3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33" name="Freeform 434">
                  <a:extLst>
                    <a:ext uri="{FF2B5EF4-FFF2-40B4-BE49-F238E27FC236}">
                      <a16:creationId xmlns:a16="http://schemas.microsoft.com/office/drawing/2014/main" id="{FD99A00E-77F1-4624-8FE0-9C5F3D6C46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4" y="2952"/>
                  <a:ext cx="4" cy="3"/>
                </a:xfrm>
                <a:custGeom>
                  <a:avLst/>
                  <a:gdLst>
                    <a:gd name="T0" fmla="*/ 4 w 4"/>
                    <a:gd name="T1" fmla="*/ 0 h 3"/>
                    <a:gd name="T2" fmla="*/ 4 w 4"/>
                    <a:gd name="T3" fmla="*/ 0 h 3"/>
                    <a:gd name="T4" fmla="*/ 3 w 4"/>
                    <a:gd name="T5" fmla="*/ 0 h 3"/>
                    <a:gd name="T6" fmla="*/ 0 w 4"/>
                    <a:gd name="T7" fmla="*/ 1 h 3"/>
                    <a:gd name="T8" fmla="*/ 0 w 4"/>
                    <a:gd name="T9" fmla="*/ 3 h 3"/>
                    <a:gd name="T10" fmla="*/ 2 w 4"/>
                    <a:gd name="T11" fmla="*/ 3 h 3"/>
                    <a:gd name="T12" fmla="*/ 4 w 4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34" name="Freeform 435">
                  <a:extLst>
                    <a:ext uri="{FF2B5EF4-FFF2-40B4-BE49-F238E27FC236}">
                      <a16:creationId xmlns:a16="http://schemas.microsoft.com/office/drawing/2014/main" id="{D2BB53F4-1A5A-4304-9BA8-EE40AD8FCA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59" y="2811"/>
                  <a:ext cx="15" cy="7"/>
                </a:xfrm>
                <a:custGeom>
                  <a:avLst/>
                  <a:gdLst>
                    <a:gd name="T0" fmla="*/ 12 w 15"/>
                    <a:gd name="T1" fmla="*/ 5 h 7"/>
                    <a:gd name="T2" fmla="*/ 13 w 15"/>
                    <a:gd name="T3" fmla="*/ 6 h 7"/>
                    <a:gd name="T4" fmla="*/ 15 w 15"/>
                    <a:gd name="T5" fmla="*/ 4 h 7"/>
                    <a:gd name="T6" fmla="*/ 15 w 15"/>
                    <a:gd name="T7" fmla="*/ 2 h 7"/>
                    <a:gd name="T8" fmla="*/ 12 w 15"/>
                    <a:gd name="T9" fmla="*/ 0 h 7"/>
                    <a:gd name="T10" fmla="*/ 7 w 15"/>
                    <a:gd name="T11" fmla="*/ 0 h 7"/>
                    <a:gd name="T12" fmla="*/ 5 w 15"/>
                    <a:gd name="T13" fmla="*/ 2 h 7"/>
                    <a:gd name="T14" fmla="*/ 2 w 15"/>
                    <a:gd name="T15" fmla="*/ 2 h 7"/>
                    <a:gd name="T16" fmla="*/ 1 w 15"/>
                    <a:gd name="T17" fmla="*/ 2 h 7"/>
                    <a:gd name="T18" fmla="*/ 2 w 15"/>
                    <a:gd name="T19" fmla="*/ 3 h 7"/>
                    <a:gd name="T20" fmla="*/ 0 w 15"/>
                    <a:gd name="T21" fmla="*/ 4 h 7"/>
                    <a:gd name="T22" fmla="*/ 4 w 15"/>
                    <a:gd name="T23" fmla="*/ 5 h 7"/>
                    <a:gd name="T24" fmla="*/ 7 w 15"/>
                    <a:gd name="T25" fmla="*/ 7 h 7"/>
                    <a:gd name="T26" fmla="*/ 9 w 15"/>
                    <a:gd name="T27" fmla="*/ 6 h 7"/>
                    <a:gd name="T28" fmla="*/ 9 w 15"/>
                    <a:gd name="T29" fmla="*/ 4 h 7"/>
                    <a:gd name="T30" fmla="*/ 7 w 15"/>
                    <a:gd name="T31" fmla="*/ 3 h 7"/>
                    <a:gd name="T32" fmla="*/ 6 w 15"/>
                    <a:gd name="T33" fmla="*/ 3 h 7"/>
                    <a:gd name="T34" fmla="*/ 7 w 15"/>
                    <a:gd name="T35" fmla="*/ 2 h 7"/>
                    <a:gd name="T36" fmla="*/ 12 w 15"/>
                    <a:gd name="T37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" h="7">
                      <a:moveTo>
                        <a:pt x="12" y="5"/>
                      </a:moveTo>
                      <a:lnTo>
                        <a:pt x="13" y="6"/>
                      </a:lnTo>
                      <a:lnTo>
                        <a:pt x="15" y="4"/>
                      </a:lnTo>
                      <a:lnTo>
                        <a:pt x="15" y="2"/>
                      </a:lnTo>
                      <a:lnTo>
                        <a:pt x="12" y="0"/>
                      </a:lnTo>
                      <a:lnTo>
                        <a:pt x="7" y="0"/>
                      </a:lnTo>
                      <a:lnTo>
                        <a:pt x="5" y="2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2" y="3"/>
                      </a:lnTo>
                      <a:lnTo>
                        <a:pt x="0" y="4"/>
                      </a:lnTo>
                      <a:lnTo>
                        <a:pt x="4" y="5"/>
                      </a:lnTo>
                      <a:lnTo>
                        <a:pt x="7" y="7"/>
                      </a:lnTo>
                      <a:lnTo>
                        <a:pt x="9" y="6"/>
                      </a:lnTo>
                      <a:lnTo>
                        <a:pt x="9" y="4"/>
                      </a:lnTo>
                      <a:lnTo>
                        <a:pt x="7" y="3"/>
                      </a:lnTo>
                      <a:lnTo>
                        <a:pt x="6" y="3"/>
                      </a:lnTo>
                      <a:lnTo>
                        <a:pt x="7" y="2"/>
                      </a:lnTo>
                      <a:lnTo>
                        <a:pt x="12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35" name="Freeform 436">
                  <a:extLst>
                    <a:ext uri="{FF2B5EF4-FFF2-40B4-BE49-F238E27FC236}">
                      <a16:creationId xmlns:a16="http://schemas.microsoft.com/office/drawing/2014/main" id="{E0A00DDB-09AA-4AA8-9130-13618D6A96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42" y="2809"/>
                  <a:ext cx="6" cy="5"/>
                </a:xfrm>
                <a:custGeom>
                  <a:avLst/>
                  <a:gdLst>
                    <a:gd name="T0" fmla="*/ 2 w 6"/>
                    <a:gd name="T1" fmla="*/ 2 h 5"/>
                    <a:gd name="T2" fmla="*/ 6 w 6"/>
                    <a:gd name="T3" fmla="*/ 5 h 5"/>
                    <a:gd name="T4" fmla="*/ 5 w 6"/>
                    <a:gd name="T5" fmla="*/ 3 h 5"/>
                    <a:gd name="T6" fmla="*/ 0 w 6"/>
                    <a:gd name="T7" fmla="*/ 0 h 5"/>
                    <a:gd name="T8" fmla="*/ 2 w 6"/>
                    <a:gd name="T9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5">
                      <a:moveTo>
                        <a:pt x="2" y="2"/>
                      </a:moveTo>
                      <a:lnTo>
                        <a:pt x="6" y="5"/>
                      </a:lnTo>
                      <a:lnTo>
                        <a:pt x="5" y="3"/>
                      </a:lnTo>
                      <a:lnTo>
                        <a:pt x="0" y="0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36" name="Freeform 437">
                  <a:extLst>
                    <a:ext uri="{FF2B5EF4-FFF2-40B4-BE49-F238E27FC236}">
                      <a16:creationId xmlns:a16="http://schemas.microsoft.com/office/drawing/2014/main" id="{41818ACB-C76A-47B2-AC77-91FAC47824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17" y="2771"/>
                  <a:ext cx="21" cy="57"/>
                </a:xfrm>
                <a:custGeom>
                  <a:avLst/>
                  <a:gdLst>
                    <a:gd name="T0" fmla="*/ 19 w 21"/>
                    <a:gd name="T1" fmla="*/ 21 h 57"/>
                    <a:gd name="T2" fmla="*/ 21 w 21"/>
                    <a:gd name="T3" fmla="*/ 15 h 57"/>
                    <a:gd name="T4" fmla="*/ 20 w 21"/>
                    <a:gd name="T5" fmla="*/ 12 h 57"/>
                    <a:gd name="T6" fmla="*/ 19 w 21"/>
                    <a:gd name="T7" fmla="*/ 11 h 57"/>
                    <a:gd name="T8" fmla="*/ 14 w 21"/>
                    <a:gd name="T9" fmla="*/ 12 h 57"/>
                    <a:gd name="T10" fmla="*/ 10 w 21"/>
                    <a:gd name="T11" fmla="*/ 15 h 57"/>
                    <a:gd name="T12" fmla="*/ 10 w 21"/>
                    <a:gd name="T13" fmla="*/ 17 h 57"/>
                    <a:gd name="T14" fmla="*/ 11 w 21"/>
                    <a:gd name="T15" fmla="*/ 18 h 57"/>
                    <a:gd name="T16" fmla="*/ 10 w 21"/>
                    <a:gd name="T17" fmla="*/ 19 h 57"/>
                    <a:gd name="T18" fmla="*/ 8 w 21"/>
                    <a:gd name="T19" fmla="*/ 20 h 57"/>
                    <a:gd name="T20" fmla="*/ 6 w 21"/>
                    <a:gd name="T21" fmla="*/ 23 h 57"/>
                    <a:gd name="T22" fmla="*/ 5 w 21"/>
                    <a:gd name="T23" fmla="*/ 23 h 57"/>
                    <a:gd name="T24" fmla="*/ 4 w 21"/>
                    <a:gd name="T25" fmla="*/ 21 h 57"/>
                    <a:gd name="T26" fmla="*/ 6 w 21"/>
                    <a:gd name="T27" fmla="*/ 19 h 57"/>
                    <a:gd name="T28" fmla="*/ 8 w 21"/>
                    <a:gd name="T29" fmla="*/ 18 h 57"/>
                    <a:gd name="T30" fmla="*/ 9 w 21"/>
                    <a:gd name="T31" fmla="*/ 14 h 57"/>
                    <a:gd name="T32" fmla="*/ 9 w 21"/>
                    <a:gd name="T33" fmla="*/ 9 h 57"/>
                    <a:gd name="T34" fmla="*/ 7 w 21"/>
                    <a:gd name="T35" fmla="*/ 8 h 57"/>
                    <a:gd name="T36" fmla="*/ 6 w 21"/>
                    <a:gd name="T37" fmla="*/ 5 h 57"/>
                    <a:gd name="T38" fmla="*/ 9 w 21"/>
                    <a:gd name="T39" fmla="*/ 3 h 57"/>
                    <a:gd name="T40" fmla="*/ 9 w 21"/>
                    <a:gd name="T41" fmla="*/ 0 h 57"/>
                    <a:gd name="T42" fmla="*/ 7 w 21"/>
                    <a:gd name="T43" fmla="*/ 1 h 57"/>
                    <a:gd name="T44" fmla="*/ 3 w 21"/>
                    <a:gd name="T45" fmla="*/ 5 h 57"/>
                    <a:gd name="T46" fmla="*/ 2 w 21"/>
                    <a:gd name="T47" fmla="*/ 11 h 57"/>
                    <a:gd name="T48" fmla="*/ 2 w 21"/>
                    <a:gd name="T49" fmla="*/ 15 h 57"/>
                    <a:gd name="T50" fmla="*/ 1 w 21"/>
                    <a:gd name="T51" fmla="*/ 16 h 57"/>
                    <a:gd name="T52" fmla="*/ 0 w 21"/>
                    <a:gd name="T53" fmla="*/ 21 h 57"/>
                    <a:gd name="T54" fmla="*/ 1 w 21"/>
                    <a:gd name="T55" fmla="*/ 23 h 57"/>
                    <a:gd name="T56" fmla="*/ 3 w 21"/>
                    <a:gd name="T57" fmla="*/ 26 h 57"/>
                    <a:gd name="T58" fmla="*/ 2 w 21"/>
                    <a:gd name="T59" fmla="*/ 29 h 57"/>
                    <a:gd name="T60" fmla="*/ 1 w 21"/>
                    <a:gd name="T61" fmla="*/ 32 h 57"/>
                    <a:gd name="T62" fmla="*/ 4 w 21"/>
                    <a:gd name="T63" fmla="*/ 35 h 57"/>
                    <a:gd name="T64" fmla="*/ 3 w 21"/>
                    <a:gd name="T65" fmla="*/ 37 h 57"/>
                    <a:gd name="T66" fmla="*/ 4 w 21"/>
                    <a:gd name="T67" fmla="*/ 39 h 57"/>
                    <a:gd name="T68" fmla="*/ 3 w 21"/>
                    <a:gd name="T69" fmla="*/ 43 h 57"/>
                    <a:gd name="T70" fmla="*/ 5 w 21"/>
                    <a:gd name="T71" fmla="*/ 46 h 57"/>
                    <a:gd name="T72" fmla="*/ 8 w 21"/>
                    <a:gd name="T73" fmla="*/ 48 h 57"/>
                    <a:gd name="T74" fmla="*/ 10 w 21"/>
                    <a:gd name="T75" fmla="*/ 54 h 57"/>
                    <a:gd name="T76" fmla="*/ 12 w 21"/>
                    <a:gd name="T77" fmla="*/ 55 h 57"/>
                    <a:gd name="T78" fmla="*/ 13 w 21"/>
                    <a:gd name="T79" fmla="*/ 57 h 57"/>
                    <a:gd name="T80" fmla="*/ 13 w 21"/>
                    <a:gd name="T81" fmla="*/ 56 h 57"/>
                    <a:gd name="T82" fmla="*/ 14 w 21"/>
                    <a:gd name="T83" fmla="*/ 55 h 57"/>
                    <a:gd name="T84" fmla="*/ 13 w 21"/>
                    <a:gd name="T85" fmla="*/ 54 h 57"/>
                    <a:gd name="T86" fmla="*/ 10 w 21"/>
                    <a:gd name="T87" fmla="*/ 50 h 57"/>
                    <a:gd name="T88" fmla="*/ 9 w 21"/>
                    <a:gd name="T89" fmla="*/ 45 h 57"/>
                    <a:gd name="T90" fmla="*/ 6 w 21"/>
                    <a:gd name="T91" fmla="*/ 40 h 57"/>
                    <a:gd name="T92" fmla="*/ 6 w 21"/>
                    <a:gd name="T93" fmla="*/ 33 h 57"/>
                    <a:gd name="T94" fmla="*/ 9 w 21"/>
                    <a:gd name="T95" fmla="*/ 32 h 57"/>
                    <a:gd name="T96" fmla="*/ 12 w 21"/>
                    <a:gd name="T97" fmla="*/ 33 h 57"/>
                    <a:gd name="T98" fmla="*/ 16 w 21"/>
                    <a:gd name="T99" fmla="*/ 33 h 57"/>
                    <a:gd name="T100" fmla="*/ 17 w 21"/>
                    <a:gd name="T101" fmla="*/ 36 h 57"/>
                    <a:gd name="T102" fmla="*/ 20 w 21"/>
                    <a:gd name="T103" fmla="*/ 35 h 57"/>
                    <a:gd name="T104" fmla="*/ 19 w 21"/>
                    <a:gd name="T105" fmla="*/ 33 h 57"/>
                    <a:gd name="T106" fmla="*/ 18 w 21"/>
                    <a:gd name="T107" fmla="*/ 31 h 57"/>
                    <a:gd name="T108" fmla="*/ 15 w 21"/>
                    <a:gd name="T109" fmla="*/ 28 h 57"/>
                    <a:gd name="T110" fmla="*/ 12 w 21"/>
                    <a:gd name="T111" fmla="*/ 28 h 57"/>
                    <a:gd name="T112" fmla="*/ 12 w 21"/>
                    <a:gd name="T113" fmla="*/ 26 h 57"/>
                    <a:gd name="T114" fmla="*/ 13 w 21"/>
                    <a:gd name="T115" fmla="*/ 23 h 57"/>
                    <a:gd name="T116" fmla="*/ 19 w 21"/>
                    <a:gd name="T117" fmla="*/ 21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1" h="57">
                      <a:moveTo>
                        <a:pt x="19" y="21"/>
                      </a:moveTo>
                      <a:lnTo>
                        <a:pt x="21" y="15"/>
                      </a:lnTo>
                      <a:lnTo>
                        <a:pt x="20" y="12"/>
                      </a:lnTo>
                      <a:lnTo>
                        <a:pt x="19" y="11"/>
                      </a:lnTo>
                      <a:lnTo>
                        <a:pt x="14" y="12"/>
                      </a:lnTo>
                      <a:lnTo>
                        <a:pt x="10" y="15"/>
                      </a:lnTo>
                      <a:lnTo>
                        <a:pt x="10" y="17"/>
                      </a:lnTo>
                      <a:lnTo>
                        <a:pt x="11" y="18"/>
                      </a:lnTo>
                      <a:lnTo>
                        <a:pt x="10" y="19"/>
                      </a:lnTo>
                      <a:lnTo>
                        <a:pt x="8" y="20"/>
                      </a:lnTo>
                      <a:lnTo>
                        <a:pt x="6" y="23"/>
                      </a:lnTo>
                      <a:lnTo>
                        <a:pt x="5" y="23"/>
                      </a:lnTo>
                      <a:lnTo>
                        <a:pt x="4" y="21"/>
                      </a:lnTo>
                      <a:lnTo>
                        <a:pt x="6" y="19"/>
                      </a:lnTo>
                      <a:lnTo>
                        <a:pt x="8" y="18"/>
                      </a:lnTo>
                      <a:lnTo>
                        <a:pt x="9" y="14"/>
                      </a:lnTo>
                      <a:lnTo>
                        <a:pt x="9" y="9"/>
                      </a:lnTo>
                      <a:lnTo>
                        <a:pt x="7" y="8"/>
                      </a:lnTo>
                      <a:lnTo>
                        <a:pt x="6" y="5"/>
                      </a:lnTo>
                      <a:lnTo>
                        <a:pt x="9" y="3"/>
                      </a:lnTo>
                      <a:lnTo>
                        <a:pt x="9" y="0"/>
                      </a:lnTo>
                      <a:lnTo>
                        <a:pt x="7" y="1"/>
                      </a:lnTo>
                      <a:lnTo>
                        <a:pt x="3" y="5"/>
                      </a:lnTo>
                      <a:lnTo>
                        <a:pt x="2" y="11"/>
                      </a:lnTo>
                      <a:lnTo>
                        <a:pt x="2" y="15"/>
                      </a:lnTo>
                      <a:lnTo>
                        <a:pt x="1" y="16"/>
                      </a:lnTo>
                      <a:lnTo>
                        <a:pt x="0" y="21"/>
                      </a:lnTo>
                      <a:lnTo>
                        <a:pt x="1" y="23"/>
                      </a:lnTo>
                      <a:lnTo>
                        <a:pt x="3" y="26"/>
                      </a:lnTo>
                      <a:lnTo>
                        <a:pt x="2" y="29"/>
                      </a:lnTo>
                      <a:lnTo>
                        <a:pt x="1" y="32"/>
                      </a:lnTo>
                      <a:lnTo>
                        <a:pt x="4" y="35"/>
                      </a:lnTo>
                      <a:lnTo>
                        <a:pt x="3" y="37"/>
                      </a:lnTo>
                      <a:lnTo>
                        <a:pt x="4" y="39"/>
                      </a:lnTo>
                      <a:lnTo>
                        <a:pt x="3" y="43"/>
                      </a:lnTo>
                      <a:lnTo>
                        <a:pt x="5" y="46"/>
                      </a:lnTo>
                      <a:lnTo>
                        <a:pt x="8" y="48"/>
                      </a:lnTo>
                      <a:lnTo>
                        <a:pt x="10" y="54"/>
                      </a:lnTo>
                      <a:lnTo>
                        <a:pt x="12" y="55"/>
                      </a:lnTo>
                      <a:lnTo>
                        <a:pt x="13" y="57"/>
                      </a:lnTo>
                      <a:lnTo>
                        <a:pt x="13" y="56"/>
                      </a:lnTo>
                      <a:lnTo>
                        <a:pt x="14" y="55"/>
                      </a:lnTo>
                      <a:lnTo>
                        <a:pt x="13" y="54"/>
                      </a:lnTo>
                      <a:lnTo>
                        <a:pt x="10" y="50"/>
                      </a:lnTo>
                      <a:lnTo>
                        <a:pt x="9" y="45"/>
                      </a:lnTo>
                      <a:lnTo>
                        <a:pt x="6" y="40"/>
                      </a:lnTo>
                      <a:lnTo>
                        <a:pt x="6" y="33"/>
                      </a:lnTo>
                      <a:lnTo>
                        <a:pt x="9" y="32"/>
                      </a:lnTo>
                      <a:lnTo>
                        <a:pt x="12" y="33"/>
                      </a:lnTo>
                      <a:lnTo>
                        <a:pt x="16" y="33"/>
                      </a:lnTo>
                      <a:lnTo>
                        <a:pt x="17" y="36"/>
                      </a:lnTo>
                      <a:lnTo>
                        <a:pt x="20" y="35"/>
                      </a:lnTo>
                      <a:lnTo>
                        <a:pt x="19" y="33"/>
                      </a:lnTo>
                      <a:lnTo>
                        <a:pt x="18" y="31"/>
                      </a:lnTo>
                      <a:lnTo>
                        <a:pt x="15" y="28"/>
                      </a:lnTo>
                      <a:lnTo>
                        <a:pt x="12" y="28"/>
                      </a:lnTo>
                      <a:lnTo>
                        <a:pt x="12" y="26"/>
                      </a:lnTo>
                      <a:lnTo>
                        <a:pt x="13" y="23"/>
                      </a:lnTo>
                      <a:lnTo>
                        <a:pt x="19" y="2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37" name="Freeform 438">
                  <a:extLst>
                    <a:ext uri="{FF2B5EF4-FFF2-40B4-BE49-F238E27FC236}">
                      <a16:creationId xmlns:a16="http://schemas.microsoft.com/office/drawing/2014/main" id="{6CED083D-7932-45EF-88FF-F12A6E4B14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1" y="2838"/>
                  <a:ext cx="20" cy="4"/>
                </a:xfrm>
                <a:custGeom>
                  <a:avLst/>
                  <a:gdLst>
                    <a:gd name="T0" fmla="*/ 1 w 25"/>
                    <a:gd name="T1" fmla="*/ 2 h 6"/>
                    <a:gd name="T2" fmla="*/ 7 w 25"/>
                    <a:gd name="T3" fmla="*/ 5 h 6"/>
                    <a:gd name="T4" fmla="*/ 15 w 25"/>
                    <a:gd name="T5" fmla="*/ 6 h 6"/>
                    <a:gd name="T6" fmla="*/ 23 w 25"/>
                    <a:gd name="T7" fmla="*/ 5 h 6"/>
                    <a:gd name="T8" fmla="*/ 25 w 25"/>
                    <a:gd name="T9" fmla="*/ 3 h 6"/>
                    <a:gd name="T10" fmla="*/ 19 w 25"/>
                    <a:gd name="T11" fmla="*/ 2 h 6"/>
                    <a:gd name="T12" fmla="*/ 16 w 25"/>
                    <a:gd name="T13" fmla="*/ 3 h 6"/>
                    <a:gd name="T14" fmla="*/ 10 w 25"/>
                    <a:gd name="T15" fmla="*/ 1 h 6"/>
                    <a:gd name="T16" fmla="*/ 6 w 25"/>
                    <a:gd name="T17" fmla="*/ 3 h 6"/>
                    <a:gd name="T18" fmla="*/ 0 w 25"/>
                    <a:gd name="T19" fmla="*/ 0 h 6"/>
                    <a:gd name="T20" fmla="*/ 1 w 25"/>
                    <a:gd name="T21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5" h="6">
                      <a:moveTo>
                        <a:pt x="1" y="2"/>
                      </a:moveTo>
                      <a:cubicBezTo>
                        <a:pt x="7" y="5"/>
                        <a:pt x="7" y="5"/>
                        <a:pt x="7" y="5"/>
                      </a:cubicBezTo>
                      <a:cubicBezTo>
                        <a:pt x="15" y="6"/>
                        <a:pt x="15" y="6"/>
                        <a:pt x="15" y="6"/>
                      </a:cubicBezTo>
                      <a:cubicBezTo>
                        <a:pt x="23" y="5"/>
                        <a:pt x="23" y="5"/>
                        <a:pt x="23" y="5"/>
                      </a:cubicBezTo>
                      <a:cubicBezTo>
                        <a:pt x="25" y="3"/>
                        <a:pt x="25" y="3"/>
                        <a:pt x="25" y="3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10" y="1"/>
                        <a:pt x="10" y="1"/>
                        <a:pt x="10" y="1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2"/>
                        <a:pt x="1" y="2"/>
                      </a:cubicBez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38" name="Freeform 439">
                  <a:extLst>
                    <a:ext uri="{FF2B5EF4-FFF2-40B4-BE49-F238E27FC236}">
                      <a16:creationId xmlns:a16="http://schemas.microsoft.com/office/drawing/2014/main" id="{9A6E1352-B795-4F08-830F-A0C5E96FEA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5" y="2823"/>
                  <a:ext cx="3" cy="2"/>
                </a:xfrm>
                <a:custGeom>
                  <a:avLst/>
                  <a:gdLst>
                    <a:gd name="T0" fmla="*/ 3 w 3"/>
                    <a:gd name="T1" fmla="*/ 0 h 2"/>
                    <a:gd name="T2" fmla="*/ 0 w 3"/>
                    <a:gd name="T3" fmla="*/ 1 h 2"/>
                    <a:gd name="T4" fmla="*/ 2 w 3"/>
                    <a:gd name="T5" fmla="*/ 2 h 2"/>
                    <a:gd name="T6" fmla="*/ 3 w 3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2" y="2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39" name="Freeform 440">
                  <a:extLst>
                    <a:ext uri="{FF2B5EF4-FFF2-40B4-BE49-F238E27FC236}">
                      <a16:creationId xmlns:a16="http://schemas.microsoft.com/office/drawing/2014/main" id="{37AB972B-FD49-4BD9-A8B6-096B6BD50D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0" y="2825"/>
                  <a:ext cx="6" cy="2"/>
                </a:xfrm>
                <a:custGeom>
                  <a:avLst/>
                  <a:gdLst>
                    <a:gd name="T0" fmla="*/ 0 w 6"/>
                    <a:gd name="T1" fmla="*/ 0 h 2"/>
                    <a:gd name="T2" fmla="*/ 2 w 6"/>
                    <a:gd name="T3" fmla="*/ 2 h 2"/>
                    <a:gd name="T4" fmla="*/ 6 w 6"/>
                    <a:gd name="T5" fmla="*/ 1 h 2"/>
                    <a:gd name="T6" fmla="*/ 3 w 6"/>
                    <a:gd name="T7" fmla="*/ 0 h 2"/>
                    <a:gd name="T8" fmla="*/ 0 w 6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0" y="0"/>
                      </a:moveTo>
                      <a:lnTo>
                        <a:pt x="2" y="2"/>
                      </a:ln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40" name="Freeform 441">
                  <a:extLst>
                    <a:ext uri="{FF2B5EF4-FFF2-40B4-BE49-F238E27FC236}">
                      <a16:creationId xmlns:a16="http://schemas.microsoft.com/office/drawing/2014/main" id="{5F3558A8-A38D-4A3B-B193-704C1F72B4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90" y="2907"/>
                  <a:ext cx="2" cy="7"/>
                </a:xfrm>
                <a:custGeom>
                  <a:avLst/>
                  <a:gdLst>
                    <a:gd name="T0" fmla="*/ 1 w 2"/>
                    <a:gd name="T1" fmla="*/ 3 h 7"/>
                    <a:gd name="T2" fmla="*/ 1 w 2"/>
                    <a:gd name="T3" fmla="*/ 5 h 7"/>
                    <a:gd name="T4" fmla="*/ 2 w 2"/>
                    <a:gd name="T5" fmla="*/ 7 h 7"/>
                    <a:gd name="T6" fmla="*/ 2 w 2"/>
                    <a:gd name="T7" fmla="*/ 3 h 7"/>
                    <a:gd name="T8" fmla="*/ 0 w 2"/>
                    <a:gd name="T9" fmla="*/ 0 h 7"/>
                    <a:gd name="T10" fmla="*/ 1 w 2"/>
                    <a:gd name="T11" fmla="*/ 3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7">
                      <a:moveTo>
                        <a:pt x="1" y="3"/>
                      </a:moveTo>
                      <a:lnTo>
                        <a:pt x="1" y="5"/>
                      </a:lnTo>
                      <a:lnTo>
                        <a:pt x="2" y="7"/>
                      </a:lnTo>
                      <a:lnTo>
                        <a:pt x="2" y="3"/>
                      </a:lnTo>
                      <a:lnTo>
                        <a:pt x="0" y="0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41" name="Freeform 442">
                  <a:extLst>
                    <a:ext uri="{FF2B5EF4-FFF2-40B4-BE49-F238E27FC236}">
                      <a16:creationId xmlns:a16="http://schemas.microsoft.com/office/drawing/2014/main" id="{412F6C89-B3AA-4226-9CF5-6EEB4D7CCD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6" y="2904"/>
                  <a:ext cx="3" cy="3"/>
                </a:xfrm>
                <a:custGeom>
                  <a:avLst/>
                  <a:gdLst>
                    <a:gd name="T0" fmla="*/ 3 w 3"/>
                    <a:gd name="T1" fmla="*/ 3 h 3"/>
                    <a:gd name="T2" fmla="*/ 2 w 3"/>
                    <a:gd name="T3" fmla="*/ 0 h 3"/>
                    <a:gd name="T4" fmla="*/ 0 w 3"/>
                    <a:gd name="T5" fmla="*/ 1 h 3"/>
                    <a:gd name="T6" fmla="*/ 2 w 3"/>
                    <a:gd name="T7" fmla="*/ 3 h 3"/>
                    <a:gd name="T8" fmla="*/ 3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42" name="Freeform 443">
                  <a:extLst>
                    <a:ext uri="{FF2B5EF4-FFF2-40B4-BE49-F238E27FC236}">
                      <a16:creationId xmlns:a16="http://schemas.microsoft.com/office/drawing/2014/main" id="{254C2E3E-8CEF-4936-80FC-5F7EA1563A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92" y="2903"/>
                  <a:ext cx="6" cy="11"/>
                </a:xfrm>
                <a:custGeom>
                  <a:avLst/>
                  <a:gdLst>
                    <a:gd name="T0" fmla="*/ 1 w 6"/>
                    <a:gd name="T1" fmla="*/ 9 h 11"/>
                    <a:gd name="T2" fmla="*/ 0 w 6"/>
                    <a:gd name="T3" fmla="*/ 11 h 11"/>
                    <a:gd name="T4" fmla="*/ 3 w 6"/>
                    <a:gd name="T5" fmla="*/ 10 h 11"/>
                    <a:gd name="T6" fmla="*/ 4 w 6"/>
                    <a:gd name="T7" fmla="*/ 3 h 11"/>
                    <a:gd name="T8" fmla="*/ 6 w 6"/>
                    <a:gd name="T9" fmla="*/ 0 h 11"/>
                    <a:gd name="T10" fmla="*/ 3 w 6"/>
                    <a:gd name="T11" fmla="*/ 2 h 11"/>
                    <a:gd name="T12" fmla="*/ 1 w 6"/>
                    <a:gd name="T13" fmla="*/ 9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11">
                      <a:moveTo>
                        <a:pt x="1" y="9"/>
                      </a:moveTo>
                      <a:lnTo>
                        <a:pt x="0" y="11"/>
                      </a:lnTo>
                      <a:lnTo>
                        <a:pt x="3" y="10"/>
                      </a:lnTo>
                      <a:lnTo>
                        <a:pt x="4" y="3"/>
                      </a:lnTo>
                      <a:lnTo>
                        <a:pt x="6" y="0"/>
                      </a:lnTo>
                      <a:lnTo>
                        <a:pt x="3" y="2"/>
                      </a:lnTo>
                      <a:lnTo>
                        <a:pt x="1" y="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43" name="Freeform 444">
                  <a:extLst>
                    <a:ext uri="{FF2B5EF4-FFF2-40B4-BE49-F238E27FC236}">
                      <a16:creationId xmlns:a16="http://schemas.microsoft.com/office/drawing/2014/main" id="{7CEE1D2D-080B-40E5-826D-E8DD1B4A3F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6" y="2921"/>
                  <a:ext cx="3" cy="4"/>
                </a:xfrm>
                <a:custGeom>
                  <a:avLst/>
                  <a:gdLst>
                    <a:gd name="T0" fmla="*/ 4 w 4"/>
                    <a:gd name="T1" fmla="*/ 5 h 5"/>
                    <a:gd name="T2" fmla="*/ 3 w 4"/>
                    <a:gd name="T3" fmla="*/ 2 h 5"/>
                    <a:gd name="T4" fmla="*/ 1 w 4"/>
                    <a:gd name="T5" fmla="*/ 1 h 5"/>
                    <a:gd name="T6" fmla="*/ 0 w 4"/>
                    <a:gd name="T7" fmla="*/ 1 h 5"/>
                    <a:gd name="T8" fmla="*/ 0 w 4"/>
                    <a:gd name="T9" fmla="*/ 4 h 5"/>
                    <a:gd name="T10" fmla="*/ 2 w 4"/>
                    <a:gd name="T11" fmla="*/ 5 h 5"/>
                    <a:gd name="T12" fmla="*/ 4 w 4"/>
                    <a:gd name="T1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cubicBezTo>
                        <a:pt x="3" y="2"/>
                        <a:pt x="3" y="2"/>
                        <a:pt x="3" y="2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0" y="1"/>
                        <a:pt x="0" y="1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2" y="5"/>
                        <a:pt x="2" y="5"/>
                        <a:pt x="2" y="5"/>
                      </a:cubicBez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44" name="Freeform 445">
                  <a:extLst>
                    <a:ext uri="{FF2B5EF4-FFF2-40B4-BE49-F238E27FC236}">
                      <a16:creationId xmlns:a16="http://schemas.microsoft.com/office/drawing/2014/main" id="{92ED2A6B-FF80-469C-8847-3304B29723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9" y="2926"/>
                  <a:ext cx="1" cy="2"/>
                </a:xfrm>
                <a:custGeom>
                  <a:avLst/>
                  <a:gdLst>
                    <a:gd name="T0" fmla="*/ 1 w 1"/>
                    <a:gd name="T1" fmla="*/ 2 h 2"/>
                    <a:gd name="T2" fmla="*/ 0 w 1"/>
                    <a:gd name="T3" fmla="*/ 0 h 2"/>
                    <a:gd name="T4" fmla="*/ 0 w 1"/>
                    <a:gd name="T5" fmla="*/ 2 h 2"/>
                    <a:gd name="T6" fmla="*/ 0 w 1"/>
                    <a:gd name="T7" fmla="*/ 2 h 2"/>
                    <a:gd name="T8" fmla="*/ 1 w 1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45" name="Freeform 446">
                  <a:extLst>
                    <a:ext uri="{FF2B5EF4-FFF2-40B4-BE49-F238E27FC236}">
                      <a16:creationId xmlns:a16="http://schemas.microsoft.com/office/drawing/2014/main" id="{2F7BB4DC-2318-4045-BB8D-80E197BE12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3" y="2914"/>
                  <a:ext cx="6" cy="7"/>
                </a:xfrm>
                <a:custGeom>
                  <a:avLst/>
                  <a:gdLst>
                    <a:gd name="T0" fmla="*/ 6 w 6"/>
                    <a:gd name="T1" fmla="*/ 3 h 7"/>
                    <a:gd name="T2" fmla="*/ 6 w 6"/>
                    <a:gd name="T3" fmla="*/ 2 h 7"/>
                    <a:gd name="T4" fmla="*/ 6 w 6"/>
                    <a:gd name="T5" fmla="*/ 1 h 7"/>
                    <a:gd name="T6" fmla="*/ 6 w 6"/>
                    <a:gd name="T7" fmla="*/ 0 h 7"/>
                    <a:gd name="T8" fmla="*/ 5 w 6"/>
                    <a:gd name="T9" fmla="*/ 0 h 7"/>
                    <a:gd name="T10" fmla="*/ 3 w 6"/>
                    <a:gd name="T11" fmla="*/ 0 h 7"/>
                    <a:gd name="T12" fmla="*/ 0 w 6"/>
                    <a:gd name="T13" fmla="*/ 3 h 7"/>
                    <a:gd name="T14" fmla="*/ 1 w 6"/>
                    <a:gd name="T15" fmla="*/ 4 h 7"/>
                    <a:gd name="T16" fmla="*/ 4 w 6"/>
                    <a:gd name="T17" fmla="*/ 6 h 7"/>
                    <a:gd name="T18" fmla="*/ 5 w 6"/>
                    <a:gd name="T19" fmla="*/ 7 h 7"/>
                    <a:gd name="T20" fmla="*/ 6 w 6"/>
                    <a:gd name="T21" fmla="*/ 4 h 7"/>
                    <a:gd name="T22" fmla="*/ 6 w 6"/>
                    <a:gd name="T23" fmla="*/ 3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" h="7">
                      <a:moveTo>
                        <a:pt x="6" y="3"/>
                      </a:moveTo>
                      <a:lnTo>
                        <a:pt x="6" y="2"/>
                      </a:lnTo>
                      <a:lnTo>
                        <a:pt x="6" y="1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4" y="6"/>
                      </a:lnTo>
                      <a:lnTo>
                        <a:pt x="5" y="7"/>
                      </a:lnTo>
                      <a:lnTo>
                        <a:pt x="6" y="4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46" name="Freeform 447">
                  <a:extLst>
                    <a:ext uri="{FF2B5EF4-FFF2-40B4-BE49-F238E27FC236}">
                      <a16:creationId xmlns:a16="http://schemas.microsoft.com/office/drawing/2014/main" id="{1FAD5260-1DAB-409F-8906-45AD1DF5F3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1" y="2910"/>
                  <a:ext cx="2" cy="1"/>
                </a:xfrm>
                <a:custGeom>
                  <a:avLst/>
                  <a:gdLst>
                    <a:gd name="T0" fmla="*/ 1 w 2"/>
                    <a:gd name="T1" fmla="*/ 0 h 1"/>
                    <a:gd name="T2" fmla="*/ 0 w 2"/>
                    <a:gd name="T3" fmla="*/ 1 h 1"/>
                    <a:gd name="T4" fmla="*/ 2 w 2"/>
                    <a:gd name="T5" fmla="*/ 1 h 1"/>
                    <a:gd name="T6" fmla="*/ 2 w 2"/>
                    <a:gd name="T7" fmla="*/ 0 h 1"/>
                    <a:gd name="T8" fmla="*/ 1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47" name="Freeform 448">
                  <a:extLst>
                    <a:ext uri="{FF2B5EF4-FFF2-40B4-BE49-F238E27FC236}">
                      <a16:creationId xmlns:a16="http://schemas.microsoft.com/office/drawing/2014/main" id="{AC60B194-4B8E-48B2-ABE0-7178587D24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3" y="2906"/>
                  <a:ext cx="6" cy="8"/>
                </a:xfrm>
                <a:custGeom>
                  <a:avLst/>
                  <a:gdLst>
                    <a:gd name="T0" fmla="*/ 2 w 6"/>
                    <a:gd name="T1" fmla="*/ 0 h 8"/>
                    <a:gd name="T2" fmla="*/ 1 w 6"/>
                    <a:gd name="T3" fmla="*/ 2 h 8"/>
                    <a:gd name="T4" fmla="*/ 0 w 6"/>
                    <a:gd name="T5" fmla="*/ 3 h 8"/>
                    <a:gd name="T6" fmla="*/ 1 w 6"/>
                    <a:gd name="T7" fmla="*/ 3 h 8"/>
                    <a:gd name="T8" fmla="*/ 1 w 6"/>
                    <a:gd name="T9" fmla="*/ 5 h 8"/>
                    <a:gd name="T10" fmla="*/ 3 w 6"/>
                    <a:gd name="T11" fmla="*/ 5 h 8"/>
                    <a:gd name="T12" fmla="*/ 0 w 6"/>
                    <a:gd name="T13" fmla="*/ 6 h 8"/>
                    <a:gd name="T14" fmla="*/ 1 w 6"/>
                    <a:gd name="T15" fmla="*/ 8 h 8"/>
                    <a:gd name="T16" fmla="*/ 2 w 6"/>
                    <a:gd name="T17" fmla="*/ 8 h 8"/>
                    <a:gd name="T18" fmla="*/ 4 w 6"/>
                    <a:gd name="T19" fmla="*/ 6 h 8"/>
                    <a:gd name="T20" fmla="*/ 6 w 6"/>
                    <a:gd name="T21" fmla="*/ 6 h 8"/>
                    <a:gd name="T22" fmla="*/ 6 w 6"/>
                    <a:gd name="T23" fmla="*/ 5 h 8"/>
                    <a:gd name="T24" fmla="*/ 6 w 6"/>
                    <a:gd name="T25" fmla="*/ 2 h 8"/>
                    <a:gd name="T26" fmla="*/ 5 w 6"/>
                    <a:gd name="T27" fmla="*/ 2 h 8"/>
                    <a:gd name="T28" fmla="*/ 3 w 6"/>
                    <a:gd name="T29" fmla="*/ 0 h 8"/>
                    <a:gd name="T30" fmla="*/ 2 w 6"/>
                    <a:gd name="T31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6" h="8">
                      <a:moveTo>
                        <a:pt x="2" y="0"/>
                      </a:moveTo>
                      <a:lnTo>
                        <a:pt x="1" y="2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0" y="6"/>
                      </a:lnTo>
                      <a:lnTo>
                        <a:pt x="1" y="8"/>
                      </a:lnTo>
                      <a:lnTo>
                        <a:pt x="2" y="8"/>
                      </a:lnTo>
                      <a:lnTo>
                        <a:pt x="4" y="6"/>
                      </a:lnTo>
                      <a:lnTo>
                        <a:pt x="6" y="6"/>
                      </a:lnTo>
                      <a:lnTo>
                        <a:pt x="6" y="5"/>
                      </a:lnTo>
                      <a:lnTo>
                        <a:pt x="6" y="2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48" name="Freeform 449">
                  <a:extLst>
                    <a:ext uri="{FF2B5EF4-FFF2-40B4-BE49-F238E27FC236}">
                      <a16:creationId xmlns:a16="http://schemas.microsoft.com/office/drawing/2014/main" id="{8AE1561E-6ADD-4E11-868D-7195B4798F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7" y="2841"/>
                  <a:ext cx="14" cy="4"/>
                </a:xfrm>
                <a:custGeom>
                  <a:avLst/>
                  <a:gdLst>
                    <a:gd name="T0" fmla="*/ 1 w 14"/>
                    <a:gd name="T1" fmla="*/ 3 h 4"/>
                    <a:gd name="T2" fmla="*/ 4 w 14"/>
                    <a:gd name="T3" fmla="*/ 4 h 4"/>
                    <a:gd name="T4" fmla="*/ 11 w 14"/>
                    <a:gd name="T5" fmla="*/ 2 h 4"/>
                    <a:gd name="T6" fmla="*/ 14 w 14"/>
                    <a:gd name="T7" fmla="*/ 1 h 4"/>
                    <a:gd name="T8" fmla="*/ 11 w 14"/>
                    <a:gd name="T9" fmla="*/ 1 h 4"/>
                    <a:gd name="T10" fmla="*/ 6 w 14"/>
                    <a:gd name="T11" fmla="*/ 0 h 4"/>
                    <a:gd name="T12" fmla="*/ 4 w 14"/>
                    <a:gd name="T13" fmla="*/ 1 h 4"/>
                    <a:gd name="T14" fmla="*/ 1 w 14"/>
                    <a:gd name="T15" fmla="*/ 1 h 4"/>
                    <a:gd name="T16" fmla="*/ 0 w 14"/>
                    <a:gd name="T17" fmla="*/ 1 h 4"/>
                    <a:gd name="T18" fmla="*/ 1 w 14"/>
                    <a:gd name="T19" fmla="*/ 2 h 4"/>
                    <a:gd name="T20" fmla="*/ 1 w 14"/>
                    <a:gd name="T21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4" h="4">
                      <a:moveTo>
                        <a:pt x="1" y="3"/>
                      </a:moveTo>
                      <a:lnTo>
                        <a:pt x="4" y="4"/>
                      </a:lnTo>
                      <a:lnTo>
                        <a:pt x="11" y="2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6" y="0"/>
                      </a:lnTo>
                      <a:lnTo>
                        <a:pt x="4" y="1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1" y="2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49" name="Freeform 450">
                  <a:extLst>
                    <a:ext uri="{FF2B5EF4-FFF2-40B4-BE49-F238E27FC236}">
                      <a16:creationId xmlns:a16="http://schemas.microsoft.com/office/drawing/2014/main" id="{4DA7538E-78CE-4AEC-B0F9-BC96175549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6" y="2954"/>
                  <a:ext cx="2" cy="2"/>
                </a:xfrm>
                <a:custGeom>
                  <a:avLst/>
                  <a:gdLst>
                    <a:gd name="T0" fmla="*/ 2 w 2"/>
                    <a:gd name="T1" fmla="*/ 2 h 2"/>
                    <a:gd name="T2" fmla="*/ 1 w 2"/>
                    <a:gd name="T3" fmla="*/ 0 h 2"/>
                    <a:gd name="T4" fmla="*/ 0 w 2"/>
                    <a:gd name="T5" fmla="*/ 2 h 2"/>
                    <a:gd name="T6" fmla="*/ 1 w 2"/>
                    <a:gd name="T7" fmla="*/ 2 h 2"/>
                    <a:gd name="T8" fmla="*/ 2 w 2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50" name="Freeform 451">
                  <a:extLst>
                    <a:ext uri="{FF2B5EF4-FFF2-40B4-BE49-F238E27FC236}">
                      <a16:creationId xmlns:a16="http://schemas.microsoft.com/office/drawing/2014/main" id="{155DA53B-5C53-45C0-948B-78E3E48419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94" y="2846"/>
                  <a:ext cx="3" cy="8"/>
                </a:xfrm>
                <a:custGeom>
                  <a:avLst/>
                  <a:gdLst>
                    <a:gd name="T0" fmla="*/ 0 w 3"/>
                    <a:gd name="T1" fmla="*/ 1 h 8"/>
                    <a:gd name="T2" fmla="*/ 1 w 3"/>
                    <a:gd name="T3" fmla="*/ 3 h 8"/>
                    <a:gd name="T4" fmla="*/ 1 w 3"/>
                    <a:gd name="T5" fmla="*/ 8 h 8"/>
                    <a:gd name="T6" fmla="*/ 3 w 3"/>
                    <a:gd name="T7" fmla="*/ 8 h 8"/>
                    <a:gd name="T8" fmla="*/ 3 w 3"/>
                    <a:gd name="T9" fmla="*/ 6 h 8"/>
                    <a:gd name="T10" fmla="*/ 1 w 3"/>
                    <a:gd name="T11" fmla="*/ 3 h 8"/>
                    <a:gd name="T12" fmla="*/ 1 w 3"/>
                    <a:gd name="T13" fmla="*/ 0 h 8"/>
                    <a:gd name="T14" fmla="*/ 0 w 3"/>
                    <a:gd name="T15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8">
                      <a:moveTo>
                        <a:pt x="0" y="1"/>
                      </a:moveTo>
                      <a:lnTo>
                        <a:pt x="1" y="3"/>
                      </a:lnTo>
                      <a:lnTo>
                        <a:pt x="1" y="8"/>
                      </a:lnTo>
                      <a:lnTo>
                        <a:pt x="3" y="8"/>
                      </a:lnTo>
                      <a:lnTo>
                        <a:pt x="3" y="6"/>
                      </a:ln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51" name="Freeform 452">
                  <a:extLst>
                    <a:ext uri="{FF2B5EF4-FFF2-40B4-BE49-F238E27FC236}">
                      <a16:creationId xmlns:a16="http://schemas.microsoft.com/office/drawing/2014/main" id="{C51FAB2C-7D8F-451C-AC8B-0D68A52D23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1" y="2915"/>
                  <a:ext cx="5" cy="6"/>
                </a:xfrm>
                <a:custGeom>
                  <a:avLst/>
                  <a:gdLst>
                    <a:gd name="T0" fmla="*/ 0 w 5"/>
                    <a:gd name="T1" fmla="*/ 3 h 6"/>
                    <a:gd name="T2" fmla="*/ 2 w 5"/>
                    <a:gd name="T3" fmla="*/ 5 h 6"/>
                    <a:gd name="T4" fmla="*/ 4 w 5"/>
                    <a:gd name="T5" fmla="*/ 6 h 6"/>
                    <a:gd name="T6" fmla="*/ 5 w 5"/>
                    <a:gd name="T7" fmla="*/ 6 h 6"/>
                    <a:gd name="T8" fmla="*/ 2 w 5"/>
                    <a:gd name="T9" fmla="*/ 3 h 6"/>
                    <a:gd name="T10" fmla="*/ 2 w 5"/>
                    <a:gd name="T11" fmla="*/ 1 h 6"/>
                    <a:gd name="T12" fmla="*/ 0 w 5"/>
                    <a:gd name="T13" fmla="*/ 0 h 6"/>
                    <a:gd name="T14" fmla="*/ 0 w 5"/>
                    <a:gd name="T1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6">
                      <a:moveTo>
                        <a:pt x="0" y="3"/>
                      </a:moveTo>
                      <a:lnTo>
                        <a:pt x="2" y="5"/>
                      </a:lnTo>
                      <a:lnTo>
                        <a:pt x="4" y="6"/>
                      </a:lnTo>
                      <a:lnTo>
                        <a:pt x="5" y="6"/>
                      </a:ln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52" name="Freeform 453">
                  <a:extLst>
                    <a:ext uri="{FF2B5EF4-FFF2-40B4-BE49-F238E27FC236}">
                      <a16:creationId xmlns:a16="http://schemas.microsoft.com/office/drawing/2014/main" id="{27228941-C77F-4467-93E8-667AD95382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3" y="2840"/>
                  <a:ext cx="13" cy="6"/>
                </a:xfrm>
                <a:custGeom>
                  <a:avLst/>
                  <a:gdLst>
                    <a:gd name="T0" fmla="*/ 11 w 13"/>
                    <a:gd name="T1" fmla="*/ 3 h 6"/>
                    <a:gd name="T2" fmla="*/ 13 w 13"/>
                    <a:gd name="T3" fmla="*/ 4 h 6"/>
                    <a:gd name="T4" fmla="*/ 13 w 13"/>
                    <a:gd name="T5" fmla="*/ 1 h 6"/>
                    <a:gd name="T6" fmla="*/ 11 w 13"/>
                    <a:gd name="T7" fmla="*/ 0 h 6"/>
                    <a:gd name="T8" fmla="*/ 10 w 13"/>
                    <a:gd name="T9" fmla="*/ 2 h 6"/>
                    <a:gd name="T10" fmla="*/ 8 w 13"/>
                    <a:gd name="T11" fmla="*/ 1 h 6"/>
                    <a:gd name="T12" fmla="*/ 5 w 13"/>
                    <a:gd name="T13" fmla="*/ 0 h 6"/>
                    <a:gd name="T14" fmla="*/ 3 w 13"/>
                    <a:gd name="T15" fmla="*/ 1 h 6"/>
                    <a:gd name="T16" fmla="*/ 2 w 13"/>
                    <a:gd name="T17" fmla="*/ 0 h 6"/>
                    <a:gd name="T18" fmla="*/ 0 w 13"/>
                    <a:gd name="T19" fmla="*/ 2 h 6"/>
                    <a:gd name="T20" fmla="*/ 0 w 13"/>
                    <a:gd name="T21" fmla="*/ 4 h 6"/>
                    <a:gd name="T22" fmla="*/ 1 w 13"/>
                    <a:gd name="T23" fmla="*/ 6 h 6"/>
                    <a:gd name="T24" fmla="*/ 4 w 13"/>
                    <a:gd name="T25" fmla="*/ 6 h 6"/>
                    <a:gd name="T26" fmla="*/ 7 w 13"/>
                    <a:gd name="T27" fmla="*/ 5 h 6"/>
                    <a:gd name="T28" fmla="*/ 8 w 13"/>
                    <a:gd name="T29" fmla="*/ 5 h 6"/>
                    <a:gd name="T30" fmla="*/ 11 w 13"/>
                    <a:gd name="T31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3" h="6">
                      <a:moveTo>
                        <a:pt x="11" y="3"/>
                      </a:moveTo>
                      <a:lnTo>
                        <a:pt x="13" y="4"/>
                      </a:lnTo>
                      <a:lnTo>
                        <a:pt x="13" y="1"/>
                      </a:lnTo>
                      <a:lnTo>
                        <a:pt x="11" y="0"/>
                      </a:lnTo>
                      <a:lnTo>
                        <a:pt x="10" y="2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4" y="6"/>
                      </a:lnTo>
                      <a:lnTo>
                        <a:pt x="7" y="5"/>
                      </a:lnTo>
                      <a:lnTo>
                        <a:pt x="8" y="5"/>
                      </a:lnTo>
                      <a:lnTo>
                        <a:pt x="11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53" name="Freeform 454">
                  <a:extLst>
                    <a:ext uri="{FF2B5EF4-FFF2-40B4-BE49-F238E27FC236}">
                      <a16:creationId xmlns:a16="http://schemas.microsoft.com/office/drawing/2014/main" id="{F6DB0CD4-D782-47C2-AF1A-DDA2B969E8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0" y="2919"/>
                  <a:ext cx="6" cy="12"/>
                </a:xfrm>
                <a:custGeom>
                  <a:avLst/>
                  <a:gdLst>
                    <a:gd name="T0" fmla="*/ 0 w 6"/>
                    <a:gd name="T1" fmla="*/ 6 h 12"/>
                    <a:gd name="T2" fmla="*/ 0 w 6"/>
                    <a:gd name="T3" fmla="*/ 10 h 12"/>
                    <a:gd name="T4" fmla="*/ 2 w 6"/>
                    <a:gd name="T5" fmla="*/ 12 h 12"/>
                    <a:gd name="T6" fmla="*/ 3 w 6"/>
                    <a:gd name="T7" fmla="*/ 11 h 12"/>
                    <a:gd name="T8" fmla="*/ 6 w 6"/>
                    <a:gd name="T9" fmla="*/ 9 h 12"/>
                    <a:gd name="T10" fmla="*/ 6 w 6"/>
                    <a:gd name="T11" fmla="*/ 7 h 12"/>
                    <a:gd name="T12" fmla="*/ 5 w 6"/>
                    <a:gd name="T13" fmla="*/ 6 h 12"/>
                    <a:gd name="T14" fmla="*/ 4 w 6"/>
                    <a:gd name="T15" fmla="*/ 3 h 12"/>
                    <a:gd name="T16" fmla="*/ 2 w 6"/>
                    <a:gd name="T17" fmla="*/ 1 h 12"/>
                    <a:gd name="T18" fmla="*/ 0 w 6"/>
                    <a:gd name="T19" fmla="*/ 0 h 12"/>
                    <a:gd name="T20" fmla="*/ 1 w 6"/>
                    <a:gd name="T21" fmla="*/ 2 h 12"/>
                    <a:gd name="T22" fmla="*/ 1 w 6"/>
                    <a:gd name="T23" fmla="*/ 5 h 12"/>
                    <a:gd name="T24" fmla="*/ 2 w 6"/>
                    <a:gd name="T25" fmla="*/ 6 h 12"/>
                    <a:gd name="T26" fmla="*/ 3 w 6"/>
                    <a:gd name="T27" fmla="*/ 8 h 12"/>
                    <a:gd name="T28" fmla="*/ 2 w 6"/>
                    <a:gd name="T29" fmla="*/ 7 h 12"/>
                    <a:gd name="T30" fmla="*/ 0 w 6"/>
                    <a:gd name="T31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6" h="12">
                      <a:moveTo>
                        <a:pt x="0" y="6"/>
                      </a:moveTo>
                      <a:lnTo>
                        <a:pt x="0" y="10"/>
                      </a:lnTo>
                      <a:lnTo>
                        <a:pt x="2" y="12"/>
                      </a:lnTo>
                      <a:lnTo>
                        <a:pt x="3" y="11"/>
                      </a:lnTo>
                      <a:lnTo>
                        <a:pt x="6" y="9"/>
                      </a:lnTo>
                      <a:lnTo>
                        <a:pt x="6" y="7"/>
                      </a:lnTo>
                      <a:lnTo>
                        <a:pt x="5" y="6"/>
                      </a:lnTo>
                      <a:lnTo>
                        <a:pt x="4" y="3"/>
                      </a:ln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1" y="5"/>
                      </a:lnTo>
                      <a:lnTo>
                        <a:pt x="2" y="6"/>
                      </a:lnTo>
                      <a:lnTo>
                        <a:pt x="3" y="8"/>
                      </a:lnTo>
                      <a:lnTo>
                        <a:pt x="2" y="7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54" name="Freeform 455">
                  <a:extLst>
                    <a:ext uri="{FF2B5EF4-FFF2-40B4-BE49-F238E27FC236}">
                      <a16:creationId xmlns:a16="http://schemas.microsoft.com/office/drawing/2014/main" id="{15776792-BD88-4816-B85F-65E04A3E18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8" y="2935"/>
                  <a:ext cx="8" cy="16"/>
                </a:xfrm>
                <a:custGeom>
                  <a:avLst/>
                  <a:gdLst>
                    <a:gd name="T0" fmla="*/ 8 w 8"/>
                    <a:gd name="T1" fmla="*/ 0 h 16"/>
                    <a:gd name="T2" fmla="*/ 6 w 8"/>
                    <a:gd name="T3" fmla="*/ 0 h 16"/>
                    <a:gd name="T4" fmla="*/ 5 w 8"/>
                    <a:gd name="T5" fmla="*/ 1 h 16"/>
                    <a:gd name="T6" fmla="*/ 5 w 8"/>
                    <a:gd name="T7" fmla="*/ 3 h 16"/>
                    <a:gd name="T8" fmla="*/ 1 w 8"/>
                    <a:gd name="T9" fmla="*/ 7 h 16"/>
                    <a:gd name="T10" fmla="*/ 1 w 8"/>
                    <a:gd name="T11" fmla="*/ 8 h 16"/>
                    <a:gd name="T12" fmla="*/ 2 w 8"/>
                    <a:gd name="T13" fmla="*/ 10 h 16"/>
                    <a:gd name="T14" fmla="*/ 0 w 8"/>
                    <a:gd name="T15" fmla="*/ 11 h 16"/>
                    <a:gd name="T16" fmla="*/ 0 w 8"/>
                    <a:gd name="T17" fmla="*/ 14 h 16"/>
                    <a:gd name="T18" fmla="*/ 2 w 8"/>
                    <a:gd name="T19" fmla="*/ 16 h 16"/>
                    <a:gd name="T20" fmla="*/ 3 w 8"/>
                    <a:gd name="T21" fmla="*/ 15 h 16"/>
                    <a:gd name="T22" fmla="*/ 7 w 8"/>
                    <a:gd name="T23" fmla="*/ 11 h 16"/>
                    <a:gd name="T24" fmla="*/ 8 w 8"/>
                    <a:gd name="T25" fmla="*/ 6 h 16"/>
                    <a:gd name="T26" fmla="*/ 7 w 8"/>
                    <a:gd name="T27" fmla="*/ 4 h 16"/>
                    <a:gd name="T28" fmla="*/ 8 w 8"/>
                    <a:gd name="T29" fmla="*/ 2 h 16"/>
                    <a:gd name="T30" fmla="*/ 8 w 8"/>
                    <a:gd name="T31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" h="16">
                      <a:moveTo>
                        <a:pt x="8" y="0"/>
                      </a:moveTo>
                      <a:lnTo>
                        <a:pt x="6" y="0"/>
                      </a:lnTo>
                      <a:lnTo>
                        <a:pt x="5" y="1"/>
                      </a:lnTo>
                      <a:lnTo>
                        <a:pt x="5" y="3"/>
                      </a:lnTo>
                      <a:lnTo>
                        <a:pt x="1" y="7"/>
                      </a:lnTo>
                      <a:lnTo>
                        <a:pt x="1" y="8"/>
                      </a:lnTo>
                      <a:lnTo>
                        <a:pt x="2" y="10"/>
                      </a:lnTo>
                      <a:lnTo>
                        <a:pt x="0" y="11"/>
                      </a:lnTo>
                      <a:lnTo>
                        <a:pt x="0" y="14"/>
                      </a:lnTo>
                      <a:lnTo>
                        <a:pt x="2" y="16"/>
                      </a:lnTo>
                      <a:lnTo>
                        <a:pt x="3" y="15"/>
                      </a:lnTo>
                      <a:lnTo>
                        <a:pt x="7" y="11"/>
                      </a:lnTo>
                      <a:lnTo>
                        <a:pt x="8" y="6"/>
                      </a:lnTo>
                      <a:lnTo>
                        <a:pt x="7" y="4"/>
                      </a:lnTo>
                      <a:lnTo>
                        <a:pt x="8" y="2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55" name="Freeform 456">
                  <a:extLst>
                    <a:ext uri="{FF2B5EF4-FFF2-40B4-BE49-F238E27FC236}">
                      <a16:creationId xmlns:a16="http://schemas.microsoft.com/office/drawing/2014/main" id="{88D0B742-4BF3-49F1-92D4-7BBEE03691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73" y="2952"/>
                  <a:ext cx="5" cy="5"/>
                </a:xfrm>
                <a:custGeom>
                  <a:avLst/>
                  <a:gdLst>
                    <a:gd name="T0" fmla="*/ 2 w 5"/>
                    <a:gd name="T1" fmla="*/ 0 h 5"/>
                    <a:gd name="T2" fmla="*/ 0 w 5"/>
                    <a:gd name="T3" fmla="*/ 4 h 5"/>
                    <a:gd name="T4" fmla="*/ 2 w 5"/>
                    <a:gd name="T5" fmla="*/ 4 h 5"/>
                    <a:gd name="T6" fmla="*/ 4 w 5"/>
                    <a:gd name="T7" fmla="*/ 5 h 5"/>
                    <a:gd name="T8" fmla="*/ 5 w 5"/>
                    <a:gd name="T9" fmla="*/ 4 h 5"/>
                    <a:gd name="T10" fmla="*/ 4 w 5"/>
                    <a:gd name="T11" fmla="*/ 0 h 5"/>
                    <a:gd name="T12" fmla="*/ 2 w 5"/>
                    <a:gd name="T13" fmla="*/ 0 h 5"/>
                    <a:gd name="T14" fmla="*/ 2 w 5"/>
                    <a:gd name="T1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5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4" y="5"/>
                      </a:lnTo>
                      <a:lnTo>
                        <a:pt x="5" y="4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56" name="Freeform 457">
                  <a:extLst>
                    <a:ext uri="{FF2B5EF4-FFF2-40B4-BE49-F238E27FC236}">
                      <a16:creationId xmlns:a16="http://schemas.microsoft.com/office/drawing/2014/main" id="{912D35D2-5E03-445F-9CC0-F02BD9B56B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5" y="2959"/>
                  <a:ext cx="55" cy="35"/>
                </a:xfrm>
                <a:custGeom>
                  <a:avLst/>
                  <a:gdLst>
                    <a:gd name="T0" fmla="*/ 26 w 55"/>
                    <a:gd name="T1" fmla="*/ 18 h 35"/>
                    <a:gd name="T2" fmla="*/ 27 w 55"/>
                    <a:gd name="T3" fmla="*/ 18 h 35"/>
                    <a:gd name="T4" fmla="*/ 28 w 55"/>
                    <a:gd name="T5" fmla="*/ 18 h 35"/>
                    <a:gd name="T6" fmla="*/ 30 w 55"/>
                    <a:gd name="T7" fmla="*/ 14 h 35"/>
                    <a:gd name="T8" fmla="*/ 33 w 55"/>
                    <a:gd name="T9" fmla="*/ 14 h 35"/>
                    <a:gd name="T10" fmla="*/ 36 w 55"/>
                    <a:gd name="T11" fmla="*/ 14 h 35"/>
                    <a:gd name="T12" fmla="*/ 41 w 55"/>
                    <a:gd name="T13" fmla="*/ 13 h 35"/>
                    <a:gd name="T14" fmla="*/ 45 w 55"/>
                    <a:gd name="T15" fmla="*/ 10 h 35"/>
                    <a:gd name="T16" fmla="*/ 50 w 55"/>
                    <a:gd name="T17" fmla="*/ 8 h 35"/>
                    <a:gd name="T18" fmla="*/ 50 w 55"/>
                    <a:gd name="T19" fmla="*/ 6 h 35"/>
                    <a:gd name="T20" fmla="*/ 52 w 55"/>
                    <a:gd name="T21" fmla="*/ 6 h 35"/>
                    <a:gd name="T22" fmla="*/ 55 w 55"/>
                    <a:gd name="T23" fmla="*/ 4 h 35"/>
                    <a:gd name="T24" fmla="*/ 55 w 55"/>
                    <a:gd name="T25" fmla="*/ 2 h 35"/>
                    <a:gd name="T26" fmla="*/ 54 w 55"/>
                    <a:gd name="T27" fmla="*/ 0 h 35"/>
                    <a:gd name="T28" fmla="*/ 48 w 55"/>
                    <a:gd name="T29" fmla="*/ 2 h 35"/>
                    <a:gd name="T30" fmla="*/ 45 w 55"/>
                    <a:gd name="T31" fmla="*/ 2 h 35"/>
                    <a:gd name="T32" fmla="*/ 42 w 55"/>
                    <a:gd name="T33" fmla="*/ 3 h 35"/>
                    <a:gd name="T34" fmla="*/ 39 w 55"/>
                    <a:gd name="T35" fmla="*/ 3 h 35"/>
                    <a:gd name="T36" fmla="*/ 35 w 55"/>
                    <a:gd name="T37" fmla="*/ 4 h 35"/>
                    <a:gd name="T38" fmla="*/ 29 w 55"/>
                    <a:gd name="T39" fmla="*/ 4 h 35"/>
                    <a:gd name="T40" fmla="*/ 25 w 55"/>
                    <a:gd name="T41" fmla="*/ 8 h 35"/>
                    <a:gd name="T42" fmla="*/ 21 w 55"/>
                    <a:gd name="T43" fmla="*/ 10 h 35"/>
                    <a:gd name="T44" fmla="*/ 20 w 55"/>
                    <a:gd name="T45" fmla="*/ 11 h 35"/>
                    <a:gd name="T46" fmla="*/ 18 w 55"/>
                    <a:gd name="T47" fmla="*/ 11 h 35"/>
                    <a:gd name="T48" fmla="*/ 16 w 55"/>
                    <a:gd name="T49" fmla="*/ 12 h 35"/>
                    <a:gd name="T50" fmla="*/ 12 w 55"/>
                    <a:gd name="T51" fmla="*/ 13 h 35"/>
                    <a:gd name="T52" fmla="*/ 10 w 55"/>
                    <a:gd name="T53" fmla="*/ 15 h 35"/>
                    <a:gd name="T54" fmla="*/ 9 w 55"/>
                    <a:gd name="T55" fmla="*/ 16 h 35"/>
                    <a:gd name="T56" fmla="*/ 6 w 55"/>
                    <a:gd name="T57" fmla="*/ 18 h 35"/>
                    <a:gd name="T58" fmla="*/ 5 w 55"/>
                    <a:gd name="T59" fmla="*/ 21 h 35"/>
                    <a:gd name="T60" fmla="*/ 2 w 55"/>
                    <a:gd name="T61" fmla="*/ 27 h 35"/>
                    <a:gd name="T62" fmla="*/ 2 w 55"/>
                    <a:gd name="T63" fmla="*/ 28 h 35"/>
                    <a:gd name="T64" fmla="*/ 3 w 55"/>
                    <a:gd name="T65" fmla="*/ 30 h 35"/>
                    <a:gd name="T66" fmla="*/ 4 w 55"/>
                    <a:gd name="T67" fmla="*/ 31 h 35"/>
                    <a:gd name="T68" fmla="*/ 2 w 55"/>
                    <a:gd name="T69" fmla="*/ 31 h 35"/>
                    <a:gd name="T70" fmla="*/ 1 w 55"/>
                    <a:gd name="T71" fmla="*/ 30 h 35"/>
                    <a:gd name="T72" fmla="*/ 0 w 55"/>
                    <a:gd name="T73" fmla="*/ 34 h 35"/>
                    <a:gd name="T74" fmla="*/ 2 w 55"/>
                    <a:gd name="T75" fmla="*/ 35 h 35"/>
                    <a:gd name="T76" fmla="*/ 6 w 55"/>
                    <a:gd name="T77" fmla="*/ 35 h 35"/>
                    <a:gd name="T78" fmla="*/ 10 w 55"/>
                    <a:gd name="T79" fmla="*/ 31 h 35"/>
                    <a:gd name="T80" fmla="*/ 13 w 55"/>
                    <a:gd name="T81" fmla="*/ 31 h 35"/>
                    <a:gd name="T82" fmla="*/ 15 w 55"/>
                    <a:gd name="T83" fmla="*/ 31 h 35"/>
                    <a:gd name="T84" fmla="*/ 18 w 55"/>
                    <a:gd name="T85" fmla="*/ 28 h 35"/>
                    <a:gd name="T86" fmla="*/ 19 w 55"/>
                    <a:gd name="T87" fmla="*/ 25 h 35"/>
                    <a:gd name="T88" fmla="*/ 25 w 55"/>
                    <a:gd name="T89" fmla="*/ 21 h 35"/>
                    <a:gd name="T90" fmla="*/ 26 w 55"/>
                    <a:gd name="T91" fmla="*/ 18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5" h="35">
                      <a:moveTo>
                        <a:pt x="26" y="18"/>
                      </a:moveTo>
                      <a:lnTo>
                        <a:pt x="27" y="18"/>
                      </a:lnTo>
                      <a:lnTo>
                        <a:pt x="28" y="18"/>
                      </a:lnTo>
                      <a:lnTo>
                        <a:pt x="30" y="14"/>
                      </a:lnTo>
                      <a:lnTo>
                        <a:pt x="33" y="14"/>
                      </a:lnTo>
                      <a:lnTo>
                        <a:pt x="36" y="14"/>
                      </a:lnTo>
                      <a:lnTo>
                        <a:pt x="41" y="13"/>
                      </a:lnTo>
                      <a:lnTo>
                        <a:pt x="45" y="10"/>
                      </a:lnTo>
                      <a:lnTo>
                        <a:pt x="50" y="8"/>
                      </a:lnTo>
                      <a:lnTo>
                        <a:pt x="50" y="6"/>
                      </a:lnTo>
                      <a:lnTo>
                        <a:pt x="52" y="6"/>
                      </a:lnTo>
                      <a:lnTo>
                        <a:pt x="55" y="4"/>
                      </a:lnTo>
                      <a:lnTo>
                        <a:pt x="55" y="2"/>
                      </a:lnTo>
                      <a:lnTo>
                        <a:pt x="54" y="0"/>
                      </a:lnTo>
                      <a:lnTo>
                        <a:pt x="48" y="2"/>
                      </a:lnTo>
                      <a:lnTo>
                        <a:pt x="45" y="2"/>
                      </a:lnTo>
                      <a:lnTo>
                        <a:pt x="42" y="3"/>
                      </a:lnTo>
                      <a:lnTo>
                        <a:pt x="39" y="3"/>
                      </a:lnTo>
                      <a:lnTo>
                        <a:pt x="35" y="4"/>
                      </a:lnTo>
                      <a:lnTo>
                        <a:pt x="29" y="4"/>
                      </a:lnTo>
                      <a:lnTo>
                        <a:pt x="25" y="8"/>
                      </a:lnTo>
                      <a:lnTo>
                        <a:pt x="21" y="10"/>
                      </a:lnTo>
                      <a:lnTo>
                        <a:pt x="20" y="11"/>
                      </a:lnTo>
                      <a:lnTo>
                        <a:pt x="18" y="11"/>
                      </a:lnTo>
                      <a:lnTo>
                        <a:pt x="16" y="12"/>
                      </a:lnTo>
                      <a:lnTo>
                        <a:pt x="12" y="13"/>
                      </a:lnTo>
                      <a:lnTo>
                        <a:pt x="10" y="15"/>
                      </a:lnTo>
                      <a:lnTo>
                        <a:pt x="9" y="16"/>
                      </a:lnTo>
                      <a:lnTo>
                        <a:pt x="6" y="18"/>
                      </a:lnTo>
                      <a:lnTo>
                        <a:pt x="5" y="21"/>
                      </a:lnTo>
                      <a:lnTo>
                        <a:pt x="2" y="27"/>
                      </a:lnTo>
                      <a:lnTo>
                        <a:pt x="2" y="28"/>
                      </a:lnTo>
                      <a:lnTo>
                        <a:pt x="3" y="30"/>
                      </a:lnTo>
                      <a:lnTo>
                        <a:pt x="4" y="31"/>
                      </a:lnTo>
                      <a:lnTo>
                        <a:pt x="2" y="31"/>
                      </a:lnTo>
                      <a:lnTo>
                        <a:pt x="1" y="30"/>
                      </a:lnTo>
                      <a:lnTo>
                        <a:pt x="0" y="34"/>
                      </a:lnTo>
                      <a:lnTo>
                        <a:pt x="2" y="35"/>
                      </a:lnTo>
                      <a:lnTo>
                        <a:pt x="6" y="35"/>
                      </a:lnTo>
                      <a:lnTo>
                        <a:pt x="10" y="31"/>
                      </a:lnTo>
                      <a:lnTo>
                        <a:pt x="13" y="31"/>
                      </a:lnTo>
                      <a:lnTo>
                        <a:pt x="15" y="31"/>
                      </a:lnTo>
                      <a:lnTo>
                        <a:pt x="18" y="28"/>
                      </a:lnTo>
                      <a:lnTo>
                        <a:pt x="19" y="25"/>
                      </a:lnTo>
                      <a:lnTo>
                        <a:pt x="25" y="21"/>
                      </a:lnTo>
                      <a:lnTo>
                        <a:pt x="26" y="1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57" name="Freeform 458">
                  <a:extLst>
                    <a:ext uri="{FF2B5EF4-FFF2-40B4-BE49-F238E27FC236}">
                      <a16:creationId xmlns:a16="http://schemas.microsoft.com/office/drawing/2014/main" id="{409D902C-3CAA-492C-ADC6-8BC71DE1B3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3" y="2955"/>
                  <a:ext cx="4" cy="1"/>
                </a:xfrm>
                <a:custGeom>
                  <a:avLst/>
                  <a:gdLst>
                    <a:gd name="T0" fmla="*/ 4 w 4"/>
                    <a:gd name="T1" fmla="*/ 1 h 1"/>
                    <a:gd name="T2" fmla="*/ 3 w 4"/>
                    <a:gd name="T3" fmla="*/ 0 h 1"/>
                    <a:gd name="T4" fmla="*/ 0 w 4"/>
                    <a:gd name="T5" fmla="*/ 0 h 1"/>
                    <a:gd name="T6" fmla="*/ 2 w 4"/>
                    <a:gd name="T7" fmla="*/ 1 h 1"/>
                    <a:gd name="T8" fmla="*/ 4 w 4"/>
                    <a:gd name="T9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1">
                      <a:moveTo>
                        <a:pt x="4" y="1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58" name="Freeform 459">
                  <a:extLst>
                    <a:ext uri="{FF2B5EF4-FFF2-40B4-BE49-F238E27FC236}">
                      <a16:creationId xmlns:a16="http://schemas.microsoft.com/office/drawing/2014/main" id="{080088BE-9658-4C31-8191-14B6DDC2B3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3" y="2859"/>
                  <a:ext cx="42" cy="19"/>
                </a:xfrm>
                <a:custGeom>
                  <a:avLst/>
                  <a:gdLst>
                    <a:gd name="T0" fmla="*/ 17 w 42"/>
                    <a:gd name="T1" fmla="*/ 11 h 19"/>
                    <a:gd name="T2" fmla="*/ 23 w 42"/>
                    <a:gd name="T3" fmla="*/ 12 h 19"/>
                    <a:gd name="T4" fmla="*/ 24 w 42"/>
                    <a:gd name="T5" fmla="*/ 11 h 19"/>
                    <a:gd name="T6" fmla="*/ 27 w 42"/>
                    <a:gd name="T7" fmla="*/ 11 h 19"/>
                    <a:gd name="T8" fmla="*/ 33 w 42"/>
                    <a:gd name="T9" fmla="*/ 14 h 19"/>
                    <a:gd name="T10" fmla="*/ 35 w 42"/>
                    <a:gd name="T11" fmla="*/ 15 h 19"/>
                    <a:gd name="T12" fmla="*/ 38 w 42"/>
                    <a:gd name="T13" fmla="*/ 19 h 19"/>
                    <a:gd name="T14" fmla="*/ 41 w 42"/>
                    <a:gd name="T15" fmla="*/ 19 h 19"/>
                    <a:gd name="T16" fmla="*/ 42 w 42"/>
                    <a:gd name="T17" fmla="*/ 16 h 19"/>
                    <a:gd name="T18" fmla="*/ 41 w 42"/>
                    <a:gd name="T19" fmla="*/ 9 h 19"/>
                    <a:gd name="T20" fmla="*/ 34 w 42"/>
                    <a:gd name="T21" fmla="*/ 4 h 19"/>
                    <a:gd name="T22" fmla="*/ 28 w 42"/>
                    <a:gd name="T23" fmla="*/ 4 h 19"/>
                    <a:gd name="T24" fmla="*/ 25 w 42"/>
                    <a:gd name="T25" fmla="*/ 0 h 19"/>
                    <a:gd name="T26" fmla="*/ 22 w 42"/>
                    <a:gd name="T27" fmla="*/ 0 h 19"/>
                    <a:gd name="T28" fmla="*/ 20 w 42"/>
                    <a:gd name="T29" fmla="*/ 3 h 19"/>
                    <a:gd name="T30" fmla="*/ 17 w 42"/>
                    <a:gd name="T31" fmla="*/ 3 h 19"/>
                    <a:gd name="T32" fmla="*/ 15 w 42"/>
                    <a:gd name="T33" fmla="*/ 1 h 19"/>
                    <a:gd name="T34" fmla="*/ 10 w 42"/>
                    <a:gd name="T35" fmla="*/ 2 h 19"/>
                    <a:gd name="T36" fmla="*/ 5 w 42"/>
                    <a:gd name="T37" fmla="*/ 2 h 19"/>
                    <a:gd name="T38" fmla="*/ 3 w 42"/>
                    <a:gd name="T39" fmla="*/ 4 h 19"/>
                    <a:gd name="T40" fmla="*/ 3 w 42"/>
                    <a:gd name="T41" fmla="*/ 6 h 19"/>
                    <a:gd name="T42" fmla="*/ 1 w 42"/>
                    <a:gd name="T43" fmla="*/ 7 h 19"/>
                    <a:gd name="T44" fmla="*/ 0 w 42"/>
                    <a:gd name="T45" fmla="*/ 10 h 19"/>
                    <a:gd name="T46" fmla="*/ 1 w 42"/>
                    <a:gd name="T47" fmla="*/ 11 h 19"/>
                    <a:gd name="T48" fmla="*/ 3 w 42"/>
                    <a:gd name="T49" fmla="*/ 11 h 19"/>
                    <a:gd name="T50" fmla="*/ 5 w 42"/>
                    <a:gd name="T51" fmla="*/ 7 h 19"/>
                    <a:gd name="T52" fmla="*/ 7 w 42"/>
                    <a:gd name="T53" fmla="*/ 10 h 19"/>
                    <a:gd name="T54" fmla="*/ 8 w 42"/>
                    <a:gd name="T55" fmla="*/ 12 h 19"/>
                    <a:gd name="T56" fmla="*/ 11 w 42"/>
                    <a:gd name="T57" fmla="*/ 11 h 19"/>
                    <a:gd name="T58" fmla="*/ 13 w 42"/>
                    <a:gd name="T59" fmla="*/ 8 h 19"/>
                    <a:gd name="T60" fmla="*/ 15 w 42"/>
                    <a:gd name="T61" fmla="*/ 8 h 19"/>
                    <a:gd name="T62" fmla="*/ 17 w 42"/>
                    <a:gd name="T63" fmla="*/ 11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42" h="19">
                      <a:moveTo>
                        <a:pt x="17" y="11"/>
                      </a:moveTo>
                      <a:lnTo>
                        <a:pt x="23" y="12"/>
                      </a:lnTo>
                      <a:lnTo>
                        <a:pt x="24" y="11"/>
                      </a:lnTo>
                      <a:lnTo>
                        <a:pt x="27" y="11"/>
                      </a:lnTo>
                      <a:lnTo>
                        <a:pt x="33" y="14"/>
                      </a:lnTo>
                      <a:lnTo>
                        <a:pt x="35" y="15"/>
                      </a:lnTo>
                      <a:lnTo>
                        <a:pt x="38" y="19"/>
                      </a:lnTo>
                      <a:lnTo>
                        <a:pt x="41" y="19"/>
                      </a:lnTo>
                      <a:lnTo>
                        <a:pt x="42" y="16"/>
                      </a:lnTo>
                      <a:lnTo>
                        <a:pt x="41" y="9"/>
                      </a:lnTo>
                      <a:lnTo>
                        <a:pt x="34" y="4"/>
                      </a:lnTo>
                      <a:lnTo>
                        <a:pt x="28" y="4"/>
                      </a:lnTo>
                      <a:lnTo>
                        <a:pt x="25" y="0"/>
                      </a:lnTo>
                      <a:lnTo>
                        <a:pt x="22" y="0"/>
                      </a:lnTo>
                      <a:lnTo>
                        <a:pt x="20" y="3"/>
                      </a:lnTo>
                      <a:lnTo>
                        <a:pt x="17" y="3"/>
                      </a:lnTo>
                      <a:lnTo>
                        <a:pt x="15" y="1"/>
                      </a:lnTo>
                      <a:lnTo>
                        <a:pt x="10" y="2"/>
                      </a:lnTo>
                      <a:lnTo>
                        <a:pt x="5" y="2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1" y="7"/>
                      </a:lnTo>
                      <a:lnTo>
                        <a:pt x="0" y="10"/>
                      </a:lnTo>
                      <a:lnTo>
                        <a:pt x="1" y="11"/>
                      </a:lnTo>
                      <a:lnTo>
                        <a:pt x="3" y="11"/>
                      </a:lnTo>
                      <a:lnTo>
                        <a:pt x="5" y="7"/>
                      </a:lnTo>
                      <a:lnTo>
                        <a:pt x="7" y="10"/>
                      </a:lnTo>
                      <a:lnTo>
                        <a:pt x="8" y="12"/>
                      </a:lnTo>
                      <a:lnTo>
                        <a:pt x="11" y="11"/>
                      </a:lnTo>
                      <a:lnTo>
                        <a:pt x="13" y="8"/>
                      </a:lnTo>
                      <a:lnTo>
                        <a:pt x="15" y="8"/>
                      </a:lnTo>
                      <a:lnTo>
                        <a:pt x="17" y="1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59" name="Freeform 460">
                  <a:extLst>
                    <a:ext uri="{FF2B5EF4-FFF2-40B4-BE49-F238E27FC236}">
                      <a16:creationId xmlns:a16="http://schemas.microsoft.com/office/drawing/2014/main" id="{13DE5E6E-BEB4-4551-B5C7-39A1D93BAA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30" y="2994"/>
                  <a:ext cx="5" cy="4"/>
                </a:xfrm>
                <a:custGeom>
                  <a:avLst/>
                  <a:gdLst>
                    <a:gd name="T0" fmla="*/ 2 w 5"/>
                    <a:gd name="T1" fmla="*/ 2 h 4"/>
                    <a:gd name="T2" fmla="*/ 0 w 5"/>
                    <a:gd name="T3" fmla="*/ 4 h 4"/>
                    <a:gd name="T4" fmla="*/ 2 w 5"/>
                    <a:gd name="T5" fmla="*/ 4 h 4"/>
                    <a:gd name="T6" fmla="*/ 5 w 5"/>
                    <a:gd name="T7" fmla="*/ 3 h 4"/>
                    <a:gd name="T8" fmla="*/ 4 w 5"/>
                    <a:gd name="T9" fmla="*/ 2 h 4"/>
                    <a:gd name="T10" fmla="*/ 2 w 5"/>
                    <a:gd name="T11" fmla="*/ 0 h 4"/>
                    <a:gd name="T12" fmla="*/ 2 w 5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2" y="2"/>
                      </a:move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5" y="3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60" name="Freeform 461">
                  <a:extLst>
                    <a:ext uri="{FF2B5EF4-FFF2-40B4-BE49-F238E27FC236}">
                      <a16:creationId xmlns:a16="http://schemas.microsoft.com/office/drawing/2014/main" id="{05448778-93A2-42E4-934E-DA4063A981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04" y="2951"/>
                  <a:ext cx="47" cy="17"/>
                </a:xfrm>
                <a:custGeom>
                  <a:avLst/>
                  <a:gdLst>
                    <a:gd name="T0" fmla="*/ 47 w 61"/>
                    <a:gd name="T1" fmla="*/ 17 h 22"/>
                    <a:gd name="T2" fmla="*/ 49 w 61"/>
                    <a:gd name="T3" fmla="*/ 18 h 22"/>
                    <a:gd name="T4" fmla="*/ 51 w 61"/>
                    <a:gd name="T5" fmla="*/ 16 h 22"/>
                    <a:gd name="T6" fmla="*/ 55 w 61"/>
                    <a:gd name="T7" fmla="*/ 15 h 22"/>
                    <a:gd name="T8" fmla="*/ 57 w 61"/>
                    <a:gd name="T9" fmla="*/ 11 h 22"/>
                    <a:gd name="T10" fmla="*/ 60 w 61"/>
                    <a:gd name="T11" fmla="*/ 10 h 22"/>
                    <a:gd name="T12" fmla="*/ 61 w 61"/>
                    <a:gd name="T13" fmla="*/ 6 h 22"/>
                    <a:gd name="T14" fmla="*/ 61 w 61"/>
                    <a:gd name="T15" fmla="*/ 2 h 22"/>
                    <a:gd name="T16" fmla="*/ 57 w 61"/>
                    <a:gd name="T17" fmla="*/ 0 h 22"/>
                    <a:gd name="T18" fmla="*/ 54 w 61"/>
                    <a:gd name="T19" fmla="*/ 3 h 22"/>
                    <a:gd name="T20" fmla="*/ 56 w 61"/>
                    <a:gd name="T21" fmla="*/ 4 h 22"/>
                    <a:gd name="T22" fmla="*/ 53 w 61"/>
                    <a:gd name="T23" fmla="*/ 7 h 22"/>
                    <a:gd name="T24" fmla="*/ 50 w 61"/>
                    <a:gd name="T25" fmla="*/ 9 h 22"/>
                    <a:gd name="T26" fmla="*/ 48 w 61"/>
                    <a:gd name="T27" fmla="*/ 12 h 22"/>
                    <a:gd name="T28" fmla="*/ 44 w 61"/>
                    <a:gd name="T29" fmla="*/ 12 h 22"/>
                    <a:gd name="T30" fmla="*/ 42 w 61"/>
                    <a:gd name="T31" fmla="*/ 10 h 22"/>
                    <a:gd name="T32" fmla="*/ 36 w 61"/>
                    <a:gd name="T33" fmla="*/ 10 h 22"/>
                    <a:gd name="T34" fmla="*/ 33 w 61"/>
                    <a:gd name="T35" fmla="*/ 12 h 22"/>
                    <a:gd name="T36" fmla="*/ 28 w 61"/>
                    <a:gd name="T37" fmla="*/ 8 h 22"/>
                    <a:gd name="T38" fmla="*/ 23 w 61"/>
                    <a:gd name="T39" fmla="*/ 6 h 22"/>
                    <a:gd name="T40" fmla="*/ 20 w 61"/>
                    <a:gd name="T41" fmla="*/ 7 h 22"/>
                    <a:gd name="T42" fmla="*/ 16 w 61"/>
                    <a:gd name="T43" fmla="*/ 4 h 22"/>
                    <a:gd name="T44" fmla="*/ 7 w 61"/>
                    <a:gd name="T45" fmla="*/ 7 h 22"/>
                    <a:gd name="T46" fmla="*/ 2 w 61"/>
                    <a:gd name="T47" fmla="*/ 10 h 22"/>
                    <a:gd name="T48" fmla="*/ 1 w 61"/>
                    <a:gd name="T49" fmla="*/ 14 h 22"/>
                    <a:gd name="T50" fmla="*/ 2 w 61"/>
                    <a:gd name="T51" fmla="*/ 18 h 22"/>
                    <a:gd name="T52" fmla="*/ 5 w 61"/>
                    <a:gd name="T53" fmla="*/ 19 h 22"/>
                    <a:gd name="T54" fmla="*/ 7 w 61"/>
                    <a:gd name="T55" fmla="*/ 19 h 22"/>
                    <a:gd name="T56" fmla="*/ 10 w 61"/>
                    <a:gd name="T57" fmla="*/ 20 h 22"/>
                    <a:gd name="T58" fmla="*/ 12 w 61"/>
                    <a:gd name="T59" fmla="*/ 19 h 22"/>
                    <a:gd name="T60" fmla="*/ 15 w 61"/>
                    <a:gd name="T61" fmla="*/ 19 h 22"/>
                    <a:gd name="T62" fmla="*/ 17 w 61"/>
                    <a:gd name="T63" fmla="*/ 22 h 22"/>
                    <a:gd name="T64" fmla="*/ 21 w 61"/>
                    <a:gd name="T65" fmla="*/ 20 h 22"/>
                    <a:gd name="T66" fmla="*/ 23 w 61"/>
                    <a:gd name="T67" fmla="*/ 21 h 22"/>
                    <a:gd name="T68" fmla="*/ 25 w 61"/>
                    <a:gd name="T69" fmla="*/ 21 h 22"/>
                    <a:gd name="T70" fmla="*/ 26 w 61"/>
                    <a:gd name="T71" fmla="*/ 20 h 22"/>
                    <a:gd name="T72" fmla="*/ 30 w 61"/>
                    <a:gd name="T73" fmla="*/ 18 h 22"/>
                    <a:gd name="T74" fmla="*/ 36 w 61"/>
                    <a:gd name="T75" fmla="*/ 19 h 22"/>
                    <a:gd name="T76" fmla="*/ 41 w 61"/>
                    <a:gd name="T77" fmla="*/ 17 h 22"/>
                    <a:gd name="T78" fmla="*/ 47 w 61"/>
                    <a:gd name="T79" fmla="*/ 17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61" h="22">
                      <a:moveTo>
                        <a:pt x="47" y="17"/>
                      </a:moveTo>
                      <a:cubicBezTo>
                        <a:pt x="49" y="18"/>
                        <a:pt x="49" y="18"/>
                        <a:pt x="49" y="18"/>
                      </a:cubicBezTo>
                      <a:cubicBezTo>
                        <a:pt x="51" y="16"/>
                        <a:pt x="51" y="16"/>
                        <a:pt x="51" y="16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1"/>
                        <a:pt x="57" y="11"/>
                        <a:pt x="57" y="11"/>
                      </a:cubicBezTo>
                      <a:cubicBezTo>
                        <a:pt x="60" y="10"/>
                        <a:pt x="60" y="10"/>
                        <a:pt x="60" y="10"/>
                      </a:cubicBezTo>
                      <a:cubicBezTo>
                        <a:pt x="61" y="6"/>
                        <a:pt x="61" y="6"/>
                        <a:pt x="61" y="6"/>
                      </a:cubicBezTo>
                      <a:cubicBezTo>
                        <a:pt x="61" y="2"/>
                        <a:pt x="61" y="2"/>
                        <a:pt x="61" y="2"/>
                      </a:cubicBezTo>
                      <a:cubicBezTo>
                        <a:pt x="57" y="0"/>
                        <a:pt x="57" y="0"/>
                        <a:pt x="57" y="0"/>
                      </a:cubicBezTo>
                      <a:cubicBezTo>
                        <a:pt x="54" y="3"/>
                        <a:pt x="54" y="3"/>
                        <a:pt x="54" y="3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3" y="7"/>
                        <a:pt x="53" y="7"/>
                        <a:pt x="53" y="7"/>
                      </a:cubicBezTo>
                      <a:cubicBezTo>
                        <a:pt x="50" y="9"/>
                        <a:pt x="50" y="9"/>
                        <a:pt x="50" y="9"/>
                      </a:cubicBezTo>
                      <a:cubicBezTo>
                        <a:pt x="48" y="12"/>
                        <a:pt x="48" y="12"/>
                        <a:pt x="48" y="12"/>
                      </a:cubicBezTo>
                      <a:cubicBezTo>
                        <a:pt x="44" y="12"/>
                        <a:pt x="44" y="12"/>
                        <a:pt x="44" y="12"/>
                      </a:cubicBezTo>
                      <a:cubicBezTo>
                        <a:pt x="42" y="10"/>
                        <a:pt x="42" y="10"/>
                        <a:pt x="42" y="10"/>
                      </a:cubicBezTo>
                      <a:cubicBezTo>
                        <a:pt x="36" y="10"/>
                        <a:pt x="36" y="10"/>
                        <a:pt x="36" y="10"/>
                      </a:cubicBezTo>
                      <a:cubicBezTo>
                        <a:pt x="33" y="12"/>
                        <a:pt x="33" y="12"/>
                        <a:pt x="33" y="12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23" y="6"/>
                        <a:pt x="23" y="6"/>
                        <a:pt x="23" y="6"/>
                      </a:cubicBezTo>
                      <a:cubicBezTo>
                        <a:pt x="20" y="7"/>
                        <a:pt x="20" y="7"/>
                        <a:pt x="20" y="7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2" y="10"/>
                        <a:pt x="2" y="10"/>
                        <a:pt x="2" y="10"/>
                      </a:cubicBezTo>
                      <a:cubicBezTo>
                        <a:pt x="2" y="10"/>
                        <a:pt x="0" y="14"/>
                        <a:pt x="1" y="14"/>
                      </a:cubicBezTo>
                      <a:cubicBezTo>
                        <a:pt x="2" y="18"/>
                        <a:pt x="2" y="18"/>
                        <a:pt x="2" y="18"/>
                      </a:cubicBezTo>
                      <a:cubicBezTo>
                        <a:pt x="5" y="19"/>
                        <a:pt x="5" y="19"/>
                        <a:pt x="5" y="19"/>
                      </a:cubicBezTo>
                      <a:cubicBezTo>
                        <a:pt x="7" y="19"/>
                        <a:pt x="7" y="19"/>
                        <a:pt x="7" y="19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cubicBezTo>
                        <a:pt x="12" y="19"/>
                        <a:pt x="12" y="19"/>
                        <a:pt x="12" y="19"/>
                      </a:cubicBezTo>
                      <a:cubicBezTo>
                        <a:pt x="15" y="19"/>
                        <a:pt x="15" y="19"/>
                        <a:pt x="15" y="19"/>
                      </a:cubicBezTo>
                      <a:cubicBezTo>
                        <a:pt x="17" y="22"/>
                        <a:pt x="17" y="22"/>
                        <a:pt x="17" y="22"/>
                      </a:cubicBezTo>
                      <a:cubicBezTo>
                        <a:pt x="21" y="20"/>
                        <a:pt x="21" y="20"/>
                        <a:pt x="21" y="20"/>
                      </a:cubicBezTo>
                      <a:cubicBezTo>
                        <a:pt x="23" y="21"/>
                        <a:pt x="23" y="21"/>
                        <a:pt x="23" y="21"/>
                      </a:cubicBezTo>
                      <a:cubicBezTo>
                        <a:pt x="25" y="21"/>
                        <a:pt x="25" y="21"/>
                        <a:pt x="25" y="21"/>
                      </a:cubicBezTo>
                      <a:cubicBezTo>
                        <a:pt x="26" y="20"/>
                        <a:pt x="26" y="20"/>
                        <a:pt x="26" y="20"/>
                      </a:cubicBezTo>
                      <a:cubicBezTo>
                        <a:pt x="30" y="18"/>
                        <a:pt x="30" y="18"/>
                        <a:pt x="30" y="18"/>
                      </a:cubicBezTo>
                      <a:cubicBezTo>
                        <a:pt x="36" y="19"/>
                        <a:pt x="36" y="19"/>
                        <a:pt x="36" y="19"/>
                      </a:cubicBezTo>
                      <a:cubicBezTo>
                        <a:pt x="41" y="17"/>
                        <a:pt x="41" y="17"/>
                        <a:pt x="41" y="17"/>
                      </a:cubicBezTo>
                      <a:lnTo>
                        <a:pt x="47" y="1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61" name="Rectangle 462">
                  <a:extLst>
                    <a:ext uri="{FF2B5EF4-FFF2-40B4-BE49-F238E27FC236}">
                      <a16:creationId xmlns:a16="http://schemas.microsoft.com/office/drawing/2014/main" id="{9FBF1DCC-A4B7-4960-81BE-CBEA7A1A34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433" y="2873"/>
                  <a:ext cx="1" cy="1"/>
                </a:xfrm>
                <a:prstGeom prst="rect">
                  <a:avLst/>
                </a:pr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62" name="Freeform 463">
                  <a:extLst>
                    <a:ext uri="{FF2B5EF4-FFF2-40B4-BE49-F238E27FC236}">
                      <a16:creationId xmlns:a16="http://schemas.microsoft.com/office/drawing/2014/main" id="{4D60DDCC-F9A8-4BAF-8409-BB88AB3EB3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79" y="2931"/>
                  <a:ext cx="2" cy="2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2 w 2"/>
                    <a:gd name="T5" fmla="*/ 1 h 2"/>
                    <a:gd name="T6" fmla="*/ 2 w 2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2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63" name="Freeform 464">
                  <a:extLst>
                    <a:ext uri="{FF2B5EF4-FFF2-40B4-BE49-F238E27FC236}">
                      <a16:creationId xmlns:a16="http://schemas.microsoft.com/office/drawing/2014/main" id="{B2546AAB-A8DD-49DB-BEEC-96DFF96F72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77" y="2934"/>
                  <a:ext cx="3" cy="2"/>
                </a:xfrm>
                <a:custGeom>
                  <a:avLst/>
                  <a:gdLst>
                    <a:gd name="T0" fmla="*/ 3 w 3"/>
                    <a:gd name="T1" fmla="*/ 2 h 2"/>
                    <a:gd name="T2" fmla="*/ 2 w 3"/>
                    <a:gd name="T3" fmla="*/ 1 h 2"/>
                    <a:gd name="T4" fmla="*/ 0 w 3"/>
                    <a:gd name="T5" fmla="*/ 0 h 2"/>
                    <a:gd name="T6" fmla="*/ 3 w 3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3" y="2"/>
                      </a:move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64" name="Freeform 465">
                  <a:extLst>
                    <a:ext uri="{FF2B5EF4-FFF2-40B4-BE49-F238E27FC236}">
                      <a16:creationId xmlns:a16="http://schemas.microsoft.com/office/drawing/2014/main" id="{0DF24922-CC08-4DAB-89A5-CAAB7E084D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60" y="2952"/>
                  <a:ext cx="35" cy="18"/>
                </a:xfrm>
                <a:custGeom>
                  <a:avLst/>
                  <a:gdLst>
                    <a:gd name="T0" fmla="*/ 2 w 45"/>
                    <a:gd name="T1" fmla="*/ 21 h 23"/>
                    <a:gd name="T2" fmla="*/ 5 w 45"/>
                    <a:gd name="T3" fmla="*/ 23 h 23"/>
                    <a:gd name="T4" fmla="*/ 10 w 45"/>
                    <a:gd name="T5" fmla="*/ 22 h 23"/>
                    <a:gd name="T6" fmla="*/ 12 w 45"/>
                    <a:gd name="T7" fmla="*/ 23 h 23"/>
                    <a:gd name="T8" fmla="*/ 16 w 45"/>
                    <a:gd name="T9" fmla="*/ 21 h 23"/>
                    <a:gd name="T10" fmla="*/ 18 w 45"/>
                    <a:gd name="T11" fmla="*/ 19 h 23"/>
                    <a:gd name="T12" fmla="*/ 21 w 45"/>
                    <a:gd name="T13" fmla="*/ 20 h 23"/>
                    <a:gd name="T14" fmla="*/ 25 w 45"/>
                    <a:gd name="T15" fmla="*/ 18 h 23"/>
                    <a:gd name="T16" fmla="*/ 29 w 45"/>
                    <a:gd name="T17" fmla="*/ 19 h 23"/>
                    <a:gd name="T18" fmla="*/ 33 w 45"/>
                    <a:gd name="T19" fmla="*/ 15 h 23"/>
                    <a:gd name="T20" fmla="*/ 34 w 45"/>
                    <a:gd name="T21" fmla="*/ 18 h 23"/>
                    <a:gd name="T22" fmla="*/ 37 w 45"/>
                    <a:gd name="T23" fmla="*/ 17 h 23"/>
                    <a:gd name="T24" fmla="*/ 42 w 45"/>
                    <a:gd name="T25" fmla="*/ 18 h 23"/>
                    <a:gd name="T26" fmla="*/ 40 w 45"/>
                    <a:gd name="T27" fmla="*/ 16 h 23"/>
                    <a:gd name="T28" fmla="*/ 45 w 45"/>
                    <a:gd name="T29" fmla="*/ 16 h 23"/>
                    <a:gd name="T30" fmla="*/ 45 w 45"/>
                    <a:gd name="T31" fmla="*/ 11 h 23"/>
                    <a:gd name="T32" fmla="*/ 44 w 45"/>
                    <a:gd name="T33" fmla="*/ 13 h 23"/>
                    <a:gd name="T34" fmla="*/ 43 w 45"/>
                    <a:gd name="T35" fmla="*/ 9 h 23"/>
                    <a:gd name="T36" fmla="*/ 43 w 45"/>
                    <a:gd name="T37" fmla="*/ 6 h 23"/>
                    <a:gd name="T38" fmla="*/ 39 w 45"/>
                    <a:gd name="T39" fmla="*/ 4 h 23"/>
                    <a:gd name="T40" fmla="*/ 40 w 45"/>
                    <a:gd name="T41" fmla="*/ 8 h 23"/>
                    <a:gd name="T42" fmla="*/ 38 w 45"/>
                    <a:gd name="T43" fmla="*/ 9 h 23"/>
                    <a:gd name="T44" fmla="*/ 38 w 45"/>
                    <a:gd name="T45" fmla="*/ 5 h 23"/>
                    <a:gd name="T46" fmla="*/ 34 w 45"/>
                    <a:gd name="T47" fmla="*/ 2 h 23"/>
                    <a:gd name="T48" fmla="*/ 30 w 45"/>
                    <a:gd name="T49" fmla="*/ 4 h 23"/>
                    <a:gd name="T50" fmla="*/ 27 w 45"/>
                    <a:gd name="T51" fmla="*/ 1 h 23"/>
                    <a:gd name="T52" fmla="*/ 24 w 45"/>
                    <a:gd name="T53" fmla="*/ 0 h 23"/>
                    <a:gd name="T54" fmla="*/ 19 w 45"/>
                    <a:gd name="T55" fmla="*/ 3 h 23"/>
                    <a:gd name="T56" fmla="*/ 20 w 45"/>
                    <a:gd name="T57" fmla="*/ 5 h 23"/>
                    <a:gd name="T58" fmla="*/ 27 w 45"/>
                    <a:gd name="T59" fmla="*/ 9 h 23"/>
                    <a:gd name="T60" fmla="*/ 30 w 45"/>
                    <a:gd name="T61" fmla="*/ 12 h 23"/>
                    <a:gd name="T62" fmla="*/ 25 w 45"/>
                    <a:gd name="T63" fmla="*/ 13 h 23"/>
                    <a:gd name="T64" fmla="*/ 22 w 45"/>
                    <a:gd name="T65" fmla="*/ 15 h 23"/>
                    <a:gd name="T66" fmla="*/ 18 w 45"/>
                    <a:gd name="T67" fmla="*/ 11 h 23"/>
                    <a:gd name="T68" fmla="*/ 17 w 45"/>
                    <a:gd name="T69" fmla="*/ 8 h 23"/>
                    <a:gd name="T70" fmla="*/ 14 w 45"/>
                    <a:gd name="T71" fmla="*/ 7 h 23"/>
                    <a:gd name="T72" fmla="*/ 11 w 45"/>
                    <a:gd name="T73" fmla="*/ 8 h 23"/>
                    <a:gd name="T74" fmla="*/ 8 w 45"/>
                    <a:gd name="T75" fmla="*/ 7 h 23"/>
                    <a:gd name="T76" fmla="*/ 3 w 45"/>
                    <a:gd name="T77" fmla="*/ 9 h 23"/>
                    <a:gd name="T78" fmla="*/ 0 w 45"/>
                    <a:gd name="T79" fmla="*/ 13 h 23"/>
                    <a:gd name="T80" fmla="*/ 0 w 45"/>
                    <a:gd name="T81" fmla="*/ 15 h 23"/>
                    <a:gd name="T82" fmla="*/ 1 w 45"/>
                    <a:gd name="T83" fmla="*/ 17 h 23"/>
                    <a:gd name="T84" fmla="*/ 0 w 45"/>
                    <a:gd name="T85" fmla="*/ 19 h 23"/>
                    <a:gd name="T86" fmla="*/ 2 w 45"/>
                    <a:gd name="T87" fmla="*/ 21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45" h="23">
                      <a:moveTo>
                        <a:pt x="2" y="21"/>
                      </a:moveTo>
                      <a:cubicBezTo>
                        <a:pt x="5" y="23"/>
                        <a:pt x="5" y="23"/>
                        <a:pt x="5" y="23"/>
                      </a:cubicBez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21" y="20"/>
                        <a:pt x="21" y="20"/>
                        <a:pt x="21" y="20"/>
                      </a:cubicBezTo>
                      <a:cubicBezTo>
                        <a:pt x="25" y="18"/>
                        <a:pt x="25" y="18"/>
                        <a:pt x="25" y="18"/>
                      </a:cubicBezTo>
                      <a:cubicBezTo>
                        <a:pt x="29" y="19"/>
                        <a:pt x="29" y="19"/>
                        <a:pt x="29" y="19"/>
                      </a:cubicBez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37" y="17"/>
                        <a:pt x="37" y="17"/>
                        <a:pt x="37" y="17"/>
                      </a:cubicBezTo>
                      <a:cubicBezTo>
                        <a:pt x="42" y="18"/>
                        <a:pt x="42" y="18"/>
                        <a:pt x="42" y="18"/>
                      </a:cubicBezTo>
                      <a:cubicBezTo>
                        <a:pt x="40" y="16"/>
                        <a:pt x="40" y="16"/>
                        <a:pt x="40" y="16"/>
                      </a:cubicBezTo>
                      <a:cubicBezTo>
                        <a:pt x="45" y="16"/>
                        <a:pt x="45" y="16"/>
                        <a:pt x="45" y="16"/>
                      </a:cubicBezTo>
                      <a:cubicBezTo>
                        <a:pt x="45" y="11"/>
                        <a:pt x="45" y="11"/>
                        <a:pt x="45" y="11"/>
                      </a:cubicBezTo>
                      <a:cubicBezTo>
                        <a:pt x="44" y="13"/>
                        <a:pt x="44" y="13"/>
                        <a:pt x="44" y="13"/>
                      </a:cubicBezTo>
                      <a:cubicBezTo>
                        <a:pt x="43" y="9"/>
                        <a:pt x="43" y="9"/>
                        <a:pt x="43" y="9"/>
                      </a:cubicBezTo>
                      <a:cubicBezTo>
                        <a:pt x="43" y="6"/>
                        <a:pt x="43" y="6"/>
                        <a:pt x="43" y="6"/>
                      </a:cubicBezTo>
                      <a:cubicBezTo>
                        <a:pt x="39" y="4"/>
                        <a:pt x="39" y="4"/>
                        <a:pt x="39" y="4"/>
                      </a:cubicBezTo>
                      <a:cubicBezTo>
                        <a:pt x="40" y="8"/>
                        <a:pt x="40" y="8"/>
                        <a:pt x="40" y="8"/>
                      </a:cubicBezTo>
                      <a:cubicBezTo>
                        <a:pt x="38" y="9"/>
                        <a:pt x="38" y="9"/>
                        <a:pt x="38" y="9"/>
                      </a:cubicBezTo>
                      <a:cubicBezTo>
                        <a:pt x="38" y="5"/>
                        <a:pt x="38" y="5"/>
                        <a:pt x="38" y="5"/>
                      </a:cubicBezTo>
                      <a:cubicBezTo>
                        <a:pt x="34" y="2"/>
                        <a:pt x="34" y="2"/>
                        <a:pt x="34" y="2"/>
                      </a:cubicBezTo>
                      <a:cubicBezTo>
                        <a:pt x="30" y="4"/>
                        <a:pt x="30" y="4"/>
                        <a:pt x="30" y="4"/>
                      </a:cubicBezTo>
                      <a:cubicBezTo>
                        <a:pt x="27" y="1"/>
                        <a:pt x="27" y="1"/>
                        <a:pt x="27" y="1"/>
                      </a:cubicBez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19" y="3"/>
                        <a:pt x="19" y="3"/>
                        <a:pt x="19" y="3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27" y="9"/>
                        <a:pt x="27" y="9"/>
                        <a:pt x="27" y="9"/>
                      </a:cubicBezTo>
                      <a:cubicBezTo>
                        <a:pt x="30" y="12"/>
                        <a:pt x="30" y="12"/>
                        <a:pt x="30" y="12"/>
                      </a:cubicBezTo>
                      <a:cubicBezTo>
                        <a:pt x="25" y="13"/>
                        <a:pt x="25" y="13"/>
                        <a:pt x="25" y="13"/>
                      </a:cubicBezTo>
                      <a:cubicBezTo>
                        <a:pt x="22" y="15"/>
                        <a:pt x="22" y="15"/>
                        <a:pt x="22" y="15"/>
                      </a:cubicBezTo>
                      <a:cubicBezTo>
                        <a:pt x="18" y="11"/>
                        <a:pt x="18" y="11"/>
                        <a:pt x="18" y="11"/>
                      </a:cubicBezTo>
                      <a:cubicBezTo>
                        <a:pt x="17" y="8"/>
                        <a:pt x="17" y="8"/>
                        <a:pt x="17" y="8"/>
                      </a:cubicBezTo>
                      <a:cubicBezTo>
                        <a:pt x="14" y="7"/>
                        <a:pt x="14" y="7"/>
                        <a:pt x="14" y="7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8" y="7"/>
                        <a:pt x="8" y="7"/>
                        <a:pt x="8" y="7"/>
                      </a:cubicBezTo>
                      <a:cubicBezTo>
                        <a:pt x="3" y="9"/>
                        <a:pt x="3" y="9"/>
                        <a:pt x="3" y="9"/>
                      </a:cubicBezTo>
                      <a:cubicBezTo>
                        <a:pt x="3" y="9"/>
                        <a:pt x="0" y="13"/>
                        <a:pt x="0" y="13"/>
                      </a:cubicBezTo>
                      <a:cubicBezTo>
                        <a:pt x="0" y="15"/>
                        <a:pt x="0" y="15"/>
                        <a:pt x="0" y="15"/>
                      </a:cubicBezTo>
                      <a:cubicBezTo>
                        <a:pt x="1" y="17"/>
                        <a:pt x="1" y="17"/>
                        <a:pt x="1" y="17"/>
                      </a:cubicBezTo>
                      <a:cubicBezTo>
                        <a:pt x="0" y="19"/>
                        <a:pt x="0" y="19"/>
                        <a:pt x="0" y="19"/>
                      </a:cubicBezTo>
                      <a:lnTo>
                        <a:pt x="2" y="2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65" name="Freeform 466">
                  <a:extLst>
                    <a:ext uri="{FF2B5EF4-FFF2-40B4-BE49-F238E27FC236}">
                      <a16:creationId xmlns:a16="http://schemas.microsoft.com/office/drawing/2014/main" id="{8BDABD08-5AB2-45B4-A71E-BEFAB556E1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0" y="2934"/>
                  <a:ext cx="3" cy="3"/>
                </a:xfrm>
                <a:custGeom>
                  <a:avLst/>
                  <a:gdLst>
                    <a:gd name="T0" fmla="*/ 3 w 3"/>
                    <a:gd name="T1" fmla="*/ 3 h 3"/>
                    <a:gd name="T2" fmla="*/ 3 w 3"/>
                    <a:gd name="T3" fmla="*/ 1 h 3"/>
                    <a:gd name="T4" fmla="*/ 2 w 3"/>
                    <a:gd name="T5" fmla="*/ 0 h 3"/>
                    <a:gd name="T6" fmla="*/ 0 w 3"/>
                    <a:gd name="T7" fmla="*/ 1 h 3"/>
                    <a:gd name="T8" fmla="*/ 1 w 3"/>
                    <a:gd name="T9" fmla="*/ 2 h 3"/>
                    <a:gd name="T10" fmla="*/ 3 w 3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1" y="2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66" name="Freeform 467">
                  <a:extLst>
                    <a:ext uri="{FF2B5EF4-FFF2-40B4-BE49-F238E27FC236}">
                      <a16:creationId xmlns:a16="http://schemas.microsoft.com/office/drawing/2014/main" id="{49A2F9DF-7303-463A-A29B-54B1666C37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0" y="2873"/>
                  <a:ext cx="2" cy="2"/>
                </a:xfrm>
                <a:custGeom>
                  <a:avLst/>
                  <a:gdLst>
                    <a:gd name="T0" fmla="*/ 1 w 2"/>
                    <a:gd name="T1" fmla="*/ 0 h 2"/>
                    <a:gd name="T2" fmla="*/ 0 w 2"/>
                    <a:gd name="T3" fmla="*/ 0 h 2"/>
                    <a:gd name="T4" fmla="*/ 0 w 2"/>
                    <a:gd name="T5" fmla="*/ 2 h 2"/>
                    <a:gd name="T6" fmla="*/ 2 w 2"/>
                    <a:gd name="T7" fmla="*/ 2 h 2"/>
                    <a:gd name="T8" fmla="*/ 1 w 2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67" name="Freeform 468">
                  <a:extLst>
                    <a:ext uri="{FF2B5EF4-FFF2-40B4-BE49-F238E27FC236}">
                      <a16:creationId xmlns:a16="http://schemas.microsoft.com/office/drawing/2014/main" id="{8E0BCB34-4679-48C5-B85D-739578ED92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19" y="2952"/>
                  <a:ext cx="7" cy="4"/>
                </a:xfrm>
                <a:custGeom>
                  <a:avLst/>
                  <a:gdLst>
                    <a:gd name="T0" fmla="*/ 4 w 7"/>
                    <a:gd name="T1" fmla="*/ 4 h 4"/>
                    <a:gd name="T2" fmla="*/ 7 w 7"/>
                    <a:gd name="T3" fmla="*/ 3 h 4"/>
                    <a:gd name="T4" fmla="*/ 7 w 7"/>
                    <a:gd name="T5" fmla="*/ 0 h 4"/>
                    <a:gd name="T6" fmla="*/ 4 w 7"/>
                    <a:gd name="T7" fmla="*/ 1 h 4"/>
                    <a:gd name="T8" fmla="*/ 0 w 7"/>
                    <a:gd name="T9" fmla="*/ 1 h 4"/>
                    <a:gd name="T10" fmla="*/ 0 w 7"/>
                    <a:gd name="T11" fmla="*/ 3 h 4"/>
                    <a:gd name="T12" fmla="*/ 4 w 7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4">
                      <a:moveTo>
                        <a:pt x="4" y="4"/>
                      </a:move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4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68" name="Freeform 469">
                  <a:extLst>
                    <a:ext uri="{FF2B5EF4-FFF2-40B4-BE49-F238E27FC236}">
                      <a16:creationId xmlns:a16="http://schemas.microsoft.com/office/drawing/2014/main" id="{036DCE3B-4FE4-45BF-AFA1-C8A2EE7D34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59" y="2902"/>
                  <a:ext cx="3" cy="4"/>
                </a:xfrm>
                <a:custGeom>
                  <a:avLst/>
                  <a:gdLst>
                    <a:gd name="T0" fmla="*/ 1 w 3"/>
                    <a:gd name="T1" fmla="*/ 0 h 4"/>
                    <a:gd name="T2" fmla="*/ 0 w 3"/>
                    <a:gd name="T3" fmla="*/ 1 h 4"/>
                    <a:gd name="T4" fmla="*/ 3 w 3"/>
                    <a:gd name="T5" fmla="*/ 4 h 4"/>
                    <a:gd name="T6" fmla="*/ 3 w 3"/>
                    <a:gd name="T7" fmla="*/ 2 h 4"/>
                    <a:gd name="T8" fmla="*/ 1 w 3"/>
                    <a:gd name="T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3" y="4"/>
                      </a:lnTo>
                      <a:lnTo>
                        <a:pt x="3" y="2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69" name="Freeform 470">
                  <a:extLst>
                    <a:ext uri="{FF2B5EF4-FFF2-40B4-BE49-F238E27FC236}">
                      <a16:creationId xmlns:a16="http://schemas.microsoft.com/office/drawing/2014/main" id="{584993EC-73FF-4176-B5F6-77E83C8112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87" y="2784"/>
                  <a:ext cx="12" cy="17"/>
                </a:xfrm>
                <a:custGeom>
                  <a:avLst/>
                  <a:gdLst>
                    <a:gd name="T0" fmla="*/ 6 w 12"/>
                    <a:gd name="T1" fmla="*/ 1 h 17"/>
                    <a:gd name="T2" fmla="*/ 4 w 12"/>
                    <a:gd name="T3" fmla="*/ 0 h 17"/>
                    <a:gd name="T4" fmla="*/ 3 w 12"/>
                    <a:gd name="T5" fmla="*/ 2 h 17"/>
                    <a:gd name="T6" fmla="*/ 0 w 12"/>
                    <a:gd name="T7" fmla="*/ 2 h 17"/>
                    <a:gd name="T8" fmla="*/ 3 w 12"/>
                    <a:gd name="T9" fmla="*/ 6 h 17"/>
                    <a:gd name="T10" fmla="*/ 4 w 12"/>
                    <a:gd name="T11" fmla="*/ 10 h 17"/>
                    <a:gd name="T12" fmla="*/ 6 w 12"/>
                    <a:gd name="T13" fmla="*/ 10 h 17"/>
                    <a:gd name="T14" fmla="*/ 9 w 12"/>
                    <a:gd name="T15" fmla="*/ 17 h 17"/>
                    <a:gd name="T16" fmla="*/ 10 w 12"/>
                    <a:gd name="T17" fmla="*/ 16 h 17"/>
                    <a:gd name="T18" fmla="*/ 11 w 12"/>
                    <a:gd name="T19" fmla="*/ 11 h 17"/>
                    <a:gd name="T20" fmla="*/ 12 w 12"/>
                    <a:gd name="T21" fmla="*/ 9 h 17"/>
                    <a:gd name="T22" fmla="*/ 9 w 12"/>
                    <a:gd name="T23" fmla="*/ 6 h 17"/>
                    <a:gd name="T24" fmla="*/ 6 w 12"/>
                    <a:gd name="T25" fmla="*/ 1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2" h="17">
                      <a:moveTo>
                        <a:pt x="6" y="1"/>
                      </a:moveTo>
                      <a:lnTo>
                        <a:pt x="4" y="0"/>
                      </a:lnTo>
                      <a:lnTo>
                        <a:pt x="3" y="2"/>
                      </a:lnTo>
                      <a:lnTo>
                        <a:pt x="0" y="2"/>
                      </a:lnTo>
                      <a:lnTo>
                        <a:pt x="3" y="6"/>
                      </a:lnTo>
                      <a:lnTo>
                        <a:pt x="4" y="10"/>
                      </a:lnTo>
                      <a:lnTo>
                        <a:pt x="6" y="10"/>
                      </a:lnTo>
                      <a:lnTo>
                        <a:pt x="9" y="17"/>
                      </a:lnTo>
                      <a:lnTo>
                        <a:pt x="10" y="16"/>
                      </a:lnTo>
                      <a:lnTo>
                        <a:pt x="11" y="11"/>
                      </a:lnTo>
                      <a:lnTo>
                        <a:pt x="12" y="9"/>
                      </a:lnTo>
                      <a:lnTo>
                        <a:pt x="9" y="6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70" name="Freeform 471">
                  <a:extLst>
                    <a:ext uri="{FF2B5EF4-FFF2-40B4-BE49-F238E27FC236}">
                      <a16:creationId xmlns:a16="http://schemas.microsoft.com/office/drawing/2014/main" id="{D40E90C3-E089-48FE-8573-3876FCFA26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1" y="2846"/>
                  <a:ext cx="5" cy="6"/>
                </a:xfrm>
                <a:custGeom>
                  <a:avLst/>
                  <a:gdLst>
                    <a:gd name="T0" fmla="*/ 0 w 5"/>
                    <a:gd name="T1" fmla="*/ 2 h 6"/>
                    <a:gd name="T2" fmla="*/ 2 w 5"/>
                    <a:gd name="T3" fmla="*/ 5 h 6"/>
                    <a:gd name="T4" fmla="*/ 5 w 5"/>
                    <a:gd name="T5" fmla="*/ 6 h 6"/>
                    <a:gd name="T6" fmla="*/ 2 w 5"/>
                    <a:gd name="T7" fmla="*/ 0 h 6"/>
                    <a:gd name="T8" fmla="*/ 0 w 5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6">
                      <a:moveTo>
                        <a:pt x="0" y="2"/>
                      </a:moveTo>
                      <a:lnTo>
                        <a:pt x="2" y="5"/>
                      </a:lnTo>
                      <a:lnTo>
                        <a:pt x="5" y="6"/>
                      </a:lnTo>
                      <a:lnTo>
                        <a:pt x="2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71" name="Freeform 472">
                  <a:extLst>
                    <a:ext uri="{FF2B5EF4-FFF2-40B4-BE49-F238E27FC236}">
                      <a16:creationId xmlns:a16="http://schemas.microsoft.com/office/drawing/2014/main" id="{D8D9A296-744E-41BE-8E73-19F6167F83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1" y="2860"/>
                  <a:ext cx="4" cy="9"/>
                </a:xfrm>
                <a:custGeom>
                  <a:avLst/>
                  <a:gdLst>
                    <a:gd name="T0" fmla="*/ 4 w 4"/>
                    <a:gd name="T1" fmla="*/ 3 h 9"/>
                    <a:gd name="T2" fmla="*/ 1 w 4"/>
                    <a:gd name="T3" fmla="*/ 0 h 9"/>
                    <a:gd name="T4" fmla="*/ 0 w 4"/>
                    <a:gd name="T5" fmla="*/ 3 h 9"/>
                    <a:gd name="T6" fmla="*/ 4 w 4"/>
                    <a:gd name="T7" fmla="*/ 9 h 9"/>
                    <a:gd name="T8" fmla="*/ 4 w 4"/>
                    <a:gd name="T9" fmla="*/ 6 h 9"/>
                    <a:gd name="T10" fmla="*/ 4 w 4"/>
                    <a:gd name="T11" fmla="*/ 3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9">
                      <a:moveTo>
                        <a:pt x="4" y="3"/>
                      </a:move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4" y="9"/>
                      </a:lnTo>
                      <a:lnTo>
                        <a:pt x="4" y="6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72" name="Freeform 473">
                  <a:extLst>
                    <a:ext uri="{FF2B5EF4-FFF2-40B4-BE49-F238E27FC236}">
                      <a16:creationId xmlns:a16="http://schemas.microsoft.com/office/drawing/2014/main" id="{96DDD0B2-78A5-40FC-9A2F-0B40F92A57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07" y="2828"/>
                  <a:ext cx="10" cy="14"/>
                </a:xfrm>
                <a:custGeom>
                  <a:avLst/>
                  <a:gdLst>
                    <a:gd name="T0" fmla="*/ 3 w 10"/>
                    <a:gd name="T1" fmla="*/ 0 h 14"/>
                    <a:gd name="T2" fmla="*/ 0 w 10"/>
                    <a:gd name="T3" fmla="*/ 3 h 14"/>
                    <a:gd name="T4" fmla="*/ 0 w 10"/>
                    <a:gd name="T5" fmla="*/ 5 h 14"/>
                    <a:gd name="T6" fmla="*/ 3 w 10"/>
                    <a:gd name="T7" fmla="*/ 7 h 14"/>
                    <a:gd name="T8" fmla="*/ 7 w 10"/>
                    <a:gd name="T9" fmla="*/ 14 h 14"/>
                    <a:gd name="T10" fmla="*/ 10 w 10"/>
                    <a:gd name="T11" fmla="*/ 14 h 14"/>
                    <a:gd name="T12" fmla="*/ 10 w 10"/>
                    <a:gd name="T13" fmla="*/ 8 h 14"/>
                    <a:gd name="T14" fmla="*/ 7 w 10"/>
                    <a:gd name="T15" fmla="*/ 1 h 14"/>
                    <a:gd name="T16" fmla="*/ 3 w 10"/>
                    <a:gd name="T17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" h="14">
                      <a:moveTo>
                        <a:pt x="3" y="0"/>
                      </a:move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3" y="7"/>
                      </a:lnTo>
                      <a:lnTo>
                        <a:pt x="7" y="14"/>
                      </a:lnTo>
                      <a:lnTo>
                        <a:pt x="10" y="14"/>
                      </a:lnTo>
                      <a:lnTo>
                        <a:pt x="10" y="8"/>
                      </a:lnTo>
                      <a:lnTo>
                        <a:pt x="7" y="1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73" name="Freeform 474">
                  <a:extLst>
                    <a:ext uri="{FF2B5EF4-FFF2-40B4-BE49-F238E27FC236}">
                      <a16:creationId xmlns:a16="http://schemas.microsoft.com/office/drawing/2014/main" id="{EF983F24-65E7-4A5D-9C64-7029D459DB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87" y="2773"/>
                  <a:ext cx="3" cy="1"/>
                </a:xfrm>
                <a:custGeom>
                  <a:avLst/>
                  <a:gdLst>
                    <a:gd name="T0" fmla="*/ 3 w 3"/>
                    <a:gd name="T1" fmla="*/ 0 h 1"/>
                    <a:gd name="T2" fmla="*/ 0 w 3"/>
                    <a:gd name="T3" fmla="*/ 0 h 1"/>
                    <a:gd name="T4" fmla="*/ 3 w 3"/>
                    <a:gd name="T5" fmla="*/ 1 h 1"/>
                    <a:gd name="T6" fmla="*/ 3 w 3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74" name="Freeform 475">
                  <a:extLst>
                    <a:ext uri="{FF2B5EF4-FFF2-40B4-BE49-F238E27FC236}">
                      <a16:creationId xmlns:a16="http://schemas.microsoft.com/office/drawing/2014/main" id="{79DD2D5A-A9D8-4605-B265-437CBE0A92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07" y="2807"/>
                  <a:ext cx="5" cy="3"/>
                </a:xfrm>
                <a:custGeom>
                  <a:avLst/>
                  <a:gdLst>
                    <a:gd name="T0" fmla="*/ 5 w 5"/>
                    <a:gd name="T1" fmla="*/ 3 h 3"/>
                    <a:gd name="T2" fmla="*/ 5 w 5"/>
                    <a:gd name="T3" fmla="*/ 1 h 3"/>
                    <a:gd name="T4" fmla="*/ 2 w 5"/>
                    <a:gd name="T5" fmla="*/ 0 h 3"/>
                    <a:gd name="T6" fmla="*/ 0 w 5"/>
                    <a:gd name="T7" fmla="*/ 2 h 3"/>
                    <a:gd name="T8" fmla="*/ 3 w 5"/>
                    <a:gd name="T9" fmla="*/ 2 h 3"/>
                    <a:gd name="T10" fmla="*/ 5 w 5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3">
                      <a:moveTo>
                        <a:pt x="5" y="3"/>
                      </a:moveTo>
                      <a:lnTo>
                        <a:pt x="5" y="1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75" name="Freeform 476">
                  <a:extLst>
                    <a:ext uri="{FF2B5EF4-FFF2-40B4-BE49-F238E27FC236}">
                      <a16:creationId xmlns:a16="http://schemas.microsoft.com/office/drawing/2014/main" id="{8E129538-988E-4F6A-9A17-92301FA98D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04" y="2818"/>
                  <a:ext cx="4" cy="6"/>
                </a:xfrm>
                <a:custGeom>
                  <a:avLst/>
                  <a:gdLst>
                    <a:gd name="T0" fmla="*/ 4 w 4"/>
                    <a:gd name="T1" fmla="*/ 1 h 6"/>
                    <a:gd name="T2" fmla="*/ 2 w 4"/>
                    <a:gd name="T3" fmla="*/ 0 h 6"/>
                    <a:gd name="T4" fmla="*/ 0 w 4"/>
                    <a:gd name="T5" fmla="*/ 3 h 6"/>
                    <a:gd name="T6" fmla="*/ 2 w 4"/>
                    <a:gd name="T7" fmla="*/ 6 h 6"/>
                    <a:gd name="T8" fmla="*/ 4 w 4"/>
                    <a:gd name="T9" fmla="*/ 3 h 6"/>
                    <a:gd name="T10" fmla="*/ 4 w 4"/>
                    <a:gd name="T11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6">
                      <a:moveTo>
                        <a:pt x="4" y="1"/>
                      </a:move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2" y="6"/>
                      </a:lnTo>
                      <a:lnTo>
                        <a:pt x="4" y="3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76" name="Freeform 477">
                  <a:extLst>
                    <a:ext uri="{FF2B5EF4-FFF2-40B4-BE49-F238E27FC236}">
                      <a16:creationId xmlns:a16="http://schemas.microsoft.com/office/drawing/2014/main" id="{7875B853-F1FA-4CD0-B84B-3A0AB14C31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8" y="2857"/>
                  <a:ext cx="3" cy="3"/>
                </a:xfrm>
                <a:custGeom>
                  <a:avLst/>
                  <a:gdLst>
                    <a:gd name="T0" fmla="*/ 0 w 3"/>
                    <a:gd name="T1" fmla="*/ 0 h 3"/>
                    <a:gd name="T2" fmla="*/ 0 w 3"/>
                    <a:gd name="T3" fmla="*/ 3 h 3"/>
                    <a:gd name="T4" fmla="*/ 3 w 3"/>
                    <a:gd name="T5" fmla="*/ 1 h 3"/>
                    <a:gd name="T6" fmla="*/ 0 w 3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3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3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77" name="Freeform 478">
                  <a:extLst>
                    <a:ext uri="{FF2B5EF4-FFF2-40B4-BE49-F238E27FC236}">
                      <a16:creationId xmlns:a16="http://schemas.microsoft.com/office/drawing/2014/main" id="{AA8836E0-CE4F-4480-B228-04BB68BF3B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43" y="2926"/>
                  <a:ext cx="3" cy="2"/>
                </a:xfrm>
                <a:custGeom>
                  <a:avLst/>
                  <a:gdLst>
                    <a:gd name="T0" fmla="*/ 2 w 3"/>
                    <a:gd name="T1" fmla="*/ 0 h 2"/>
                    <a:gd name="T2" fmla="*/ 0 w 3"/>
                    <a:gd name="T3" fmla="*/ 2 h 2"/>
                    <a:gd name="T4" fmla="*/ 3 w 3"/>
                    <a:gd name="T5" fmla="*/ 2 h 2"/>
                    <a:gd name="T6" fmla="*/ 2 w 3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78" name="Freeform 479">
                  <a:extLst>
                    <a:ext uri="{FF2B5EF4-FFF2-40B4-BE49-F238E27FC236}">
                      <a16:creationId xmlns:a16="http://schemas.microsoft.com/office/drawing/2014/main" id="{188213EB-E75A-4233-95F6-5A222C7F53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9" y="2709"/>
                  <a:ext cx="156" cy="205"/>
                </a:xfrm>
                <a:custGeom>
                  <a:avLst/>
                  <a:gdLst>
                    <a:gd name="T0" fmla="*/ 150 w 156"/>
                    <a:gd name="T1" fmla="*/ 202 h 205"/>
                    <a:gd name="T2" fmla="*/ 153 w 156"/>
                    <a:gd name="T3" fmla="*/ 183 h 205"/>
                    <a:gd name="T4" fmla="*/ 152 w 156"/>
                    <a:gd name="T5" fmla="*/ 168 h 205"/>
                    <a:gd name="T6" fmla="*/ 156 w 156"/>
                    <a:gd name="T7" fmla="*/ 158 h 205"/>
                    <a:gd name="T8" fmla="*/ 152 w 156"/>
                    <a:gd name="T9" fmla="*/ 151 h 205"/>
                    <a:gd name="T10" fmla="*/ 148 w 156"/>
                    <a:gd name="T11" fmla="*/ 144 h 205"/>
                    <a:gd name="T12" fmla="*/ 138 w 156"/>
                    <a:gd name="T13" fmla="*/ 143 h 205"/>
                    <a:gd name="T14" fmla="*/ 134 w 156"/>
                    <a:gd name="T15" fmla="*/ 136 h 205"/>
                    <a:gd name="T16" fmla="*/ 134 w 156"/>
                    <a:gd name="T17" fmla="*/ 120 h 205"/>
                    <a:gd name="T18" fmla="*/ 124 w 156"/>
                    <a:gd name="T19" fmla="*/ 120 h 205"/>
                    <a:gd name="T20" fmla="*/ 121 w 156"/>
                    <a:gd name="T21" fmla="*/ 112 h 205"/>
                    <a:gd name="T22" fmla="*/ 120 w 156"/>
                    <a:gd name="T23" fmla="*/ 109 h 205"/>
                    <a:gd name="T24" fmla="*/ 117 w 156"/>
                    <a:gd name="T25" fmla="*/ 107 h 205"/>
                    <a:gd name="T26" fmla="*/ 124 w 156"/>
                    <a:gd name="T27" fmla="*/ 100 h 205"/>
                    <a:gd name="T28" fmla="*/ 114 w 156"/>
                    <a:gd name="T29" fmla="*/ 96 h 205"/>
                    <a:gd name="T30" fmla="*/ 109 w 156"/>
                    <a:gd name="T31" fmla="*/ 99 h 205"/>
                    <a:gd name="T32" fmla="*/ 114 w 156"/>
                    <a:gd name="T33" fmla="*/ 94 h 205"/>
                    <a:gd name="T34" fmla="*/ 104 w 156"/>
                    <a:gd name="T35" fmla="*/ 90 h 205"/>
                    <a:gd name="T36" fmla="*/ 100 w 156"/>
                    <a:gd name="T37" fmla="*/ 80 h 205"/>
                    <a:gd name="T38" fmla="*/ 91 w 156"/>
                    <a:gd name="T39" fmla="*/ 73 h 205"/>
                    <a:gd name="T40" fmla="*/ 84 w 156"/>
                    <a:gd name="T41" fmla="*/ 60 h 205"/>
                    <a:gd name="T42" fmla="*/ 74 w 156"/>
                    <a:gd name="T43" fmla="*/ 57 h 205"/>
                    <a:gd name="T44" fmla="*/ 70 w 156"/>
                    <a:gd name="T45" fmla="*/ 54 h 205"/>
                    <a:gd name="T46" fmla="*/ 65 w 156"/>
                    <a:gd name="T47" fmla="*/ 43 h 205"/>
                    <a:gd name="T48" fmla="*/ 54 w 156"/>
                    <a:gd name="T49" fmla="*/ 33 h 205"/>
                    <a:gd name="T50" fmla="*/ 44 w 156"/>
                    <a:gd name="T51" fmla="*/ 28 h 205"/>
                    <a:gd name="T52" fmla="*/ 40 w 156"/>
                    <a:gd name="T53" fmla="*/ 18 h 205"/>
                    <a:gd name="T54" fmla="*/ 34 w 156"/>
                    <a:gd name="T55" fmla="*/ 9 h 205"/>
                    <a:gd name="T56" fmla="*/ 27 w 156"/>
                    <a:gd name="T57" fmla="*/ 9 h 205"/>
                    <a:gd name="T58" fmla="*/ 17 w 156"/>
                    <a:gd name="T59" fmla="*/ 9 h 205"/>
                    <a:gd name="T60" fmla="*/ 3 w 156"/>
                    <a:gd name="T61" fmla="*/ 0 h 205"/>
                    <a:gd name="T62" fmla="*/ 1 w 156"/>
                    <a:gd name="T63" fmla="*/ 9 h 205"/>
                    <a:gd name="T64" fmla="*/ 13 w 156"/>
                    <a:gd name="T65" fmla="*/ 27 h 205"/>
                    <a:gd name="T66" fmla="*/ 20 w 156"/>
                    <a:gd name="T67" fmla="*/ 33 h 205"/>
                    <a:gd name="T68" fmla="*/ 32 w 156"/>
                    <a:gd name="T69" fmla="*/ 47 h 205"/>
                    <a:gd name="T70" fmla="*/ 38 w 156"/>
                    <a:gd name="T71" fmla="*/ 57 h 205"/>
                    <a:gd name="T72" fmla="*/ 42 w 156"/>
                    <a:gd name="T73" fmla="*/ 64 h 205"/>
                    <a:gd name="T74" fmla="*/ 51 w 156"/>
                    <a:gd name="T75" fmla="*/ 71 h 205"/>
                    <a:gd name="T76" fmla="*/ 51 w 156"/>
                    <a:gd name="T77" fmla="*/ 75 h 205"/>
                    <a:gd name="T78" fmla="*/ 55 w 156"/>
                    <a:gd name="T79" fmla="*/ 83 h 205"/>
                    <a:gd name="T80" fmla="*/ 62 w 156"/>
                    <a:gd name="T81" fmla="*/ 99 h 205"/>
                    <a:gd name="T82" fmla="*/ 70 w 156"/>
                    <a:gd name="T83" fmla="*/ 112 h 205"/>
                    <a:gd name="T84" fmla="*/ 79 w 156"/>
                    <a:gd name="T85" fmla="*/ 135 h 205"/>
                    <a:gd name="T86" fmla="*/ 86 w 156"/>
                    <a:gd name="T87" fmla="*/ 149 h 205"/>
                    <a:gd name="T88" fmla="*/ 96 w 156"/>
                    <a:gd name="T89" fmla="*/ 162 h 205"/>
                    <a:gd name="T90" fmla="*/ 102 w 156"/>
                    <a:gd name="T91" fmla="*/ 171 h 205"/>
                    <a:gd name="T92" fmla="*/ 114 w 156"/>
                    <a:gd name="T93" fmla="*/ 183 h 205"/>
                    <a:gd name="T94" fmla="*/ 128 w 156"/>
                    <a:gd name="T95" fmla="*/ 197 h 205"/>
                    <a:gd name="T96" fmla="*/ 133 w 156"/>
                    <a:gd name="T97" fmla="*/ 205 h 205"/>
                    <a:gd name="T98" fmla="*/ 133 w 156"/>
                    <a:gd name="T99" fmla="*/ 199 h 205"/>
                    <a:gd name="T100" fmla="*/ 141 w 156"/>
                    <a:gd name="T101" fmla="*/ 204 h 205"/>
                    <a:gd name="T102" fmla="*/ 144 w 156"/>
                    <a:gd name="T103" fmla="*/ 196 h 2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56" h="205">
                      <a:moveTo>
                        <a:pt x="146" y="197"/>
                      </a:moveTo>
                      <a:lnTo>
                        <a:pt x="148" y="202"/>
                      </a:lnTo>
                      <a:lnTo>
                        <a:pt x="150" y="202"/>
                      </a:lnTo>
                      <a:lnTo>
                        <a:pt x="152" y="200"/>
                      </a:lnTo>
                      <a:lnTo>
                        <a:pt x="152" y="192"/>
                      </a:lnTo>
                      <a:lnTo>
                        <a:pt x="153" y="183"/>
                      </a:lnTo>
                      <a:lnTo>
                        <a:pt x="152" y="177"/>
                      </a:lnTo>
                      <a:lnTo>
                        <a:pt x="154" y="170"/>
                      </a:lnTo>
                      <a:lnTo>
                        <a:pt x="152" y="168"/>
                      </a:lnTo>
                      <a:lnTo>
                        <a:pt x="153" y="162"/>
                      </a:lnTo>
                      <a:lnTo>
                        <a:pt x="155" y="161"/>
                      </a:lnTo>
                      <a:lnTo>
                        <a:pt x="156" y="158"/>
                      </a:lnTo>
                      <a:lnTo>
                        <a:pt x="156" y="155"/>
                      </a:lnTo>
                      <a:lnTo>
                        <a:pt x="154" y="154"/>
                      </a:lnTo>
                      <a:lnTo>
                        <a:pt x="152" y="151"/>
                      </a:lnTo>
                      <a:lnTo>
                        <a:pt x="150" y="147"/>
                      </a:lnTo>
                      <a:lnTo>
                        <a:pt x="148" y="147"/>
                      </a:lnTo>
                      <a:lnTo>
                        <a:pt x="148" y="144"/>
                      </a:lnTo>
                      <a:lnTo>
                        <a:pt x="145" y="143"/>
                      </a:lnTo>
                      <a:lnTo>
                        <a:pt x="141" y="143"/>
                      </a:lnTo>
                      <a:lnTo>
                        <a:pt x="138" y="143"/>
                      </a:lnTo>
                      <a:lnTo>
                        <a:pt x="138" y="137"/>
                      </a:lnTo>
                      <a:lnTo>
                        <a:pt x="135" y="134"/>
                      </a:lnTo>
                      <a:lnTo>
                        <a:pt x="134" y="136"/>
                      </a:lnTo>
                      <a:lnTo>
                        <a:pt x="135" y="133"/>
                      </a:lnTo>
                      <a:lnTo>
                        <a:pt x="134" y="129"/>
                      </a:lnTo>
                      <a:lnTo>
                        <a:pt x="134" y="120"/>
                      </a:lnTo>
                      <a:lnTo>
                        <a:pt x="131" y="122"/>
                      </a:lnTo>
                      <a:lnTo>
                        <a:pt x="129" y="120"/>
                      </a:lnTo>
                      <a:lnTo>
                        <a:pt x="124" y="120"/>
                      </a:lnTo>
                      <a:lnTo>
                        <a:pt x="118" y="116"/>
                      </a:lnTo>
                      <a:lnTo>
                        <a:pt x="119" y="113"/>
                      </a:lnTo>
                      <a:lnTo>
                        <a:pt x="121" y="112"/>
                      </a:lnTo>
                      <a:lnTo>
                        <a:pt x="124" y="110"/>
                      </a:lnTo>
                      <a:lnTo>
                        <a:pt x="123" y="109"/>
                      </a:lnTo>
                      <a:lnTo>
                        <a:pt x="120" y="109"/>
                      </a:lnTo>
                      <a:lnTo>
                        <a:pt x="118" y="108"/>
                      </a:lnTo>
                      <a:lnTo>
                        <a:pt x="115" y="109"/>
                      </a:lnTo>
                      <a:lnTo>
                        <a:pt x="117" y="107"/>
                      </a:lnTo>
                      <a:lnTo>
                        <a:pt x="121" y="104"/>
                      </a:lnTo>
                      <a:lnTo>
                        <a:pt x="124" y="103"/>
                      </a:lnTo>
                      <a:lnTo>
                        <a:pt x="124" y="100"/>
                      </a:lnTo>
                      <a:lnTo>
                        <a:pt x="120" y="94"/>
                      </a:lnTo>
                      <a:lnTo>
                        <a:pt x="117" y="94"/>
                      </a:lnTo>
                      <a:lnTo>
                        <a:pt x="114" y="96"/>
                      </a:lnTo>
                      <a:lnTo>
                        <a:pt x="110" y="99"/>
                      </a:lnTo>
                      <a:lnTo>
                        <a:pt x="107" y="99"/>
                      </a:lnTo>
                      <a:lnTo>
                        <a:pt x="109" y="99"/>
                      </a:lnTo>
                      <a:lnTo>
                        <a:pt x="110" y="97"/>
                      </a:lnTo>
                      <a:lnTo>
                        <a:pt x="112" y="96"/>
                      </a:lnTo>
                      <a:lnTo>
                        <a:pt x="114" y="94"/>
                      </a:lnTo>
                      <a:lnTo>
                        <a:pt x="113" y="92"/>
                      </a:lnTo>
                      <a:lnTo>
                        <a:pt x="110" y="90"/>
                      </a:lnTo>
                      <a:lnTo>
                        <a:pt x="104" y="90"/>
                      </a:lnTo>
                      <a:lnTo>
                        <a:pt x="101" y="87"/>
                      </a:lnTo>
                      <a:lnTo>
                        <a:pt x="101" y="85"/>
                      </a:lnTo>
                      <a:lnTo>
                        <a:pt x="100" y="80"/>
                      </a:lnTo>
                      <a:lnTo>
                        <a:pt x="94" y="73"/>
                      </a:lnTo>
                      <a:lnTo>
                        <a:pt x="93" y="72"/>
                      </a:lnTo>
                      <a:lnTo>
                        <a:pt x="91" y="73"/>
                      </a:lnTo>
                      <a:lnTo>
                        <a:pt x="89" y="71"/>
                      </a:lnTo>
                      <a:lnTo>
                        <a:pt x="88" y="65"/>
                      </a:lnTo>
                      <a:lnTo>
                        <a:pt x="84" y="60"/>
                      </a:lnTo>
                      <a:lnTo>
                        <a:pt x="79" y="57"/>
                      </a:lnTo>
                      <a:lnTo>
                        <a:pt x="75" y="56"/>
                      </a:lnTo>
                      <a:lnTo>
                        <a:pt x="74" y="57"/>
                      </a:lnTo>
                      <a:lnTo>
                        <a:pt x="72" y="57"/>
                      </a:lnTo>
                      <a:lnTo>
                        <a:pt x="72" y="52"/>
                      </a:lnTo>
                      <a:lnTo>
                        <a:pt x="70" y="54"/>
                      </a:lnTo>
                      <a:lnTo>
                        <a:pt x="69" y="52"/>
                      </a:lnTo>
                      <a:lnTo>
                        <a:pt x="69" y="47"/>
                      </a:lnTo>
                      <a:lnTo>
                        <a:pt x="65" y="43"/>
                      </a:lnTo>
                      <a:lnTo>
                        <a:pt x="63" y="42"/>
                      </a:lnTo>
                      <a:lnTo>
                        <a:pt x="62" y="40"/>
                      </a:lnTo>
                      <a:lnTo>
                        <a:pt x="54" y="33"/>
                      </a:lnTo>
                      <a:lnTo>
                        <a:pt x="51" y="33"/>
                      </a:lnTo>
                      <a:lnTo>
                        <a:pt x="48" y="29"/>
                      </a:lnTo>
                      <a:lnTo>
                        <a:pt x="44" y="28"/>
                      </a:lnTo>
                      <a:lnTo>
                        <a:pt x="43" y="25"/>
                      </a:lnTo>
                      <a:lnTo>
                        <a:pt x="42" y="19"/>
                      </a:lnTo>
                      <a:lnTo>
                        <a:pt x="40" y="18"/>
                      </a:lnTo>
                      <a:lnTo>
                        <a:pt x="38" y="14"/>
                      </a:lnTo>
                      <a:lnTo>
                        <a:pt x="37" y="13"/>
                      </a:lnTo>
                      <a:lnTo>
                        <a:pt x="34" y="9"/>
                      </a:lnTo>
                      <a:lnTo>
                        <a:pt x="31" y="8"/>
                      </a:lnTo>
                      <a:lnTo>
                        <a:pt x="28" y="8"/>
                      </a:lnTo>
                      <a:lnTo>
                        <a:pt x="27" y="9"/>
                      </a:lnTo>
                      <a:lnTo>
                        <a:pt x="25" y="7"/>
                      </a:lnTo>
                      <a:lnTo>
                        <a:pt x="21" y="7"/>
                      </a:lnTo>
                      <a:lnTo>
                        <a:pt x="17" y="9"/>
                      </a:lnTo>
                      <a:lnTo>
                        <a:pt x="15" y="7"/>
                      </a:lnTo>
                      <a:lnTo>
                        <a:pt x="9" y="2"/>
                      </a:lnTo>
                      <a:lnTo>
                        <a:pt x="3" y="0"/>
                      </a:lnTo>
                      <a:lnTo>
                        <a:pt x="1" y="2"/>
                      </a:lnTo>
                      <a:lnTo>
                        <a:pt x="0" y="3"/>
                      </a:lnTo>
                      <a:lnTo>
                        <a:pt x="1" y="9"/>
                      </a:lnTo>
                      <a:lnTo>
                        <a:pt x="4" y="18"/>
                      </a:lnTo>
                      <a:lnTo>
                        <a:pt x="6" y="19"/>
                      </a:lnTo>
                      <a:lnTo>
                        <a:pt x="13" y="27"/>
                      </a:lnTo>
                      <a:lnTo>
                        <a:pt x="15" y="27"/>
                      </a:lnTo>
                      <a:lnTo>
                        <a:pt x="18" y="33"/>
                      </a:lnTo>
                      <a:lnTo>
                        <a:pt x="20" y="33"/>
                      </a:lnTo>
                      <a:lnTo>
                        <a:pt x="23" y="33"/>
                      </a:lnTo>
                      <a:lnTo>
                        <a:pt x="27" y="37"/>
                      </a:lnTo>
                      <a:lnTo>
                        <a:pt x="32" y="47"/>
                      </a:lnTo>
                      <a:lnTo>
                        <a:pt x="37" y="53"/>
                      </a:lnTo>
                      <a:lnTo>
                        <a:pt x="38" y="53"/>
                      </a:lnTo>
                      <a:lnTo>
                        <a:pt x="38" y="57"/>
                      </a:lnTo>
                      <a:lnTo>
                        <a:pt x="40" y="58"/>
                      </a:lnTo>
                      <a:lnTo>
                        <a:pt x="41" y="63"/>
                      </a:lnTo>
                      <a:lnTo>
                        <a:pt x="42" y="64"/>
                      </a:lnTo>
                      <a:lnTo>
                        <a:pt x="45" y="64"/>
                      </a:lnTo>
                      <a:lnTo>
                        <a:pt x="49" y="71"/>
                      </a:lnTo>
                      <a:lnTo>
                        <a:pt x="51" y="71"/>
                      </a:lnTo>
                      <a:lnTo>
                        <a:pt x="52" y="71"/>
                      </a:lnTo>
                      <a:lnTo>
                        <a:pt x="53" y="73"/>
                      </a:lnTo>
                      <a:lnTo>
                        <a:pt x="51" y="75"/>
                      </a:lnTo>
                      <a:lnTo>
                        <a:pt x="54" y="78"/>
                      </a:lnTo>
                      <a:lnTo>
                        <a:pt x="55" y="82"/>
                      </a:lnTo>
                      <a:lnTo>
                        <a:pt x="55" y="83"/>
                      </a:lnTo>
                      <a:lnTo>
                        <a:pt x="58" y="92"/>
                      </a:lnTo>
                      <a:lnTo>
                        <a:pt x="59" y="97"/>
                      </a:lnTo>
                      <a:lnTo>
                        <a:pt x="62" y="99"/>
                      </a:lnTo>
                      <a:lnTo>
                        <a:pt x="67" y="102"/>
                      </a:lnTo>
                      <a:lnTo>
                        <a:pt x="67" y="105"/>
                      </a:lnTo>
                      <a:lnTo>
                        <a:pt x="70" y="112"/>
                      </a:lnTo>
                      <a:lnTo>
                        <a:pt x="73" y="115"/>
                      </a:lnTo>
                      <a:lnTo>
                        <a:pt x="74" y="123"/>
                      </a:lnTo>
                      <a:lnTo>
                        <a:pt x="79" y="135"/>
                      </a:lnTo>
                      <a:lnTo>
                        <a:pt x="79" y="140"/>
                      </a:lnTo>
                      <a:lnTo>
                        <a:pt x="80" y="144"/>
                      </a:lnTo>
                      <a:lnTo>
                        <a:pt x="86" y="149"/>
                      </a:lnTo>
                      <a:lnTo>
                        <a:pt x="91" y="157"/>
                      </a:lnTo>
                      <a:lnTo>
                        <a:pt x="92" y="161"/>
                      </a:lnTo>
                      <a:lnTo>
                        <a:pt x="96" y="162"/>
                      </a:lnTo>
                      <a:lnTo>
                        <a:pt x="97" y="164"/>
                      </a:lnTo>
                      <a:lnTo>
                        <a:pt x="101" y="167"/>
                      </a:lnTo>
                      <a:lnTo>
                        <a:pt x="102" y="171"/>
                      </a:lnTo>
                      <a:lnTo>
                        <a:pt x="104" y="174"/>
                      </a:lnTo>
                      <a:lnTo>
                        <a:pt x="108" y="178"/>
                      </a:lnTo>
                      <a:lnTo>
                        <a:pt x="114" y="183"/>
                      </a:lnTo>
                      <a:lnTo>
                        <a:pt x="116" y="187"/>
                      </a:lnTo>
                      <a:lnTo>
                        <a:pt x="120" y="188"/>
                      </a:lnTo>
                      <a:lnTo>
                        <a:pt x="128" y="197"/>
                      </a:lnTo>
                      <a:lnTo>
                        <a:pt x="129" y="201"/>
                      </a:lnTo>
                      <a:lnTo>
                        <a:pt x="131" y="202"/>
                      </a:lnTo>
                      <a:lnTo>
                        <a:pt x="133" y="205"/>
                      </a:lnTo>
                      <a:lnTo>
                        <a:pt x="134" y="204"/>
                      </a:lnTo>
                      <a:lnTo>
                        <a:pt x="134" y="201"/>
                      </a:lnTo>
                      <a:lnTo>
                        <a:pt x="133" y="199"/>
                      </a:lnTo>
                      <a:lnTo>
                        <a:pt x="133" y="197"/>
                      </a:lnTo>
                      <a:lnTo>
                        <a:pt x="135" y="198"/>
                      </a:lnTo>
                      <a:lnTo>
                        <a:pt x="141" y="204"/>
                      </a:lnTo>
                      <a:lnTo>
                        <a:pt x="142" y="203"/>
                      </a:lnTo>
                      <a:lnTo>
                        <a:pt x="142" y="199"/>
                      </a:lnTo>
                      <a:lnTo>
                        <a:pt x="144" y="196"/>
                      </a:lnTo>
                      <a:lnTo>
                        <a:pt x="146" y="19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79" name="Freeform 480">
                  <a:extLst>
                    <a:ext uri="{FF2B5EF4-FFF2-40B4-BE49-F238E27FC236}">
                      <a16:creationId xmlns:a16="http://schemas.microsoft.com/office/drawing/2014/main" id="{8E1D9886-4BF2-4082-ADAE-EBC175EE98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51" y="2919"/>
                  <a:ext cx="3" cy="2"/>
                </a:xfrm>
                <a:custGeom>
                  <a:avLst/>
                  <a:gdLst>
                    <a:gd name="T0" fmla="*/ 3 w 3"/>
                    <a:gd name="T1" fmla="*/ 1 h 2"/>
                    <a:gd name="T2" fmla="*/ 1 w 3"/>
                    <a:gd name="T3" fmla="*/ 0 h 2"/>
                    <a:gd name="T4" fmla="*/ 0 w 3"/>
                    <a:gd name="T5" fmla="*/ 2 h 2"/>
                    <a:gd name="T6" fmla="*/ 3 w 3"/>
                    <a:gd name="T7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3" y="1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80" name="Freeform 481">
                  <a:extLst>
                    <a:ext uri="{FF2B5EF4-FFF2-40B4-BE49-F238E27FC236}">
                      <a16:creationId xmlns:a16="http://schemas.microsoft.com/office/drawing/2014/main" id="{ECD72897-2F47-458A-B8D6-C6D14B142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46" y="2946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4 w 4"/>
                    <a:gd name="T3" fmla="*/ 4 h 4"/>
                    <a:gd name="T4" fmla="*/ 3 w 4"/>
                    <a:gd name="T5" fmla="*/ 1 h 4"/>
                    <a:gd name="T6" fmla="*/ 1 w 4"/>
                    <a:gd name="T7" fmla="*/ 0 h 4"/>
                    <a:gd name="T8" fmla="*/ 0 w 4"/>
                    <a:gd name="T9" fmla="*/ 1 h 4"/>
                    <a:gd name="T10" fmla="*/ 0 w 4"/>
                    <a:gd name="T11" fmla="*/ 3 h 4"/>
                    <a:gd name="T12" fmla="*/ 1 w 4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4">
                      <a:moveTo>
                        <a:pt x="1" y="4"/>
                      </a:moveTo>
                      <a:lnTo>
                        <a:pt x="4" y="4"/>
                      </a:lnTo>
                      <a:lnTo>
                        <a:pt x="3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81" name="Freeform 482">
                  <a:extLst>
                    <a:ext uri="{FF2B5EF4-FFF2-40B4-BE49-F238E27FC236}">
                      <a16:creationId xmlns:a16="http://schemas.microsoft.com/office/drawing/2014/main" id="{831E1AB6-1621-40C0-B1F9-136DA7F52B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02" y="2925"/>
                  <a:ext cx="2" cy="2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0 h 2"/>
                    <a:gd name="T4" fmla="*/ 0 w 2"/>
                    <a:gd name="T5" fmla="*/ 2 h 2"/>
                    <a:gd name="T6" fmla="*/ 1 w 2"/>
                    <a:gd name="T7" fmla="*/ 1 h 2"/>
                    <a:gd name="T8" fmla="*/ 2 w 2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82" name="Freeform 483">
                  <a:extLst>
                    <a:ext uri="{FF2B5EF4-FFF2-40B4-BE49-F238E27FC236}">
                      <a16:creationId xmlns:a16="http://schemas.microsoft.com/office/drawing/2014/main" id="{6710604A-345C-4319-A755-3A28B3B427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47" y="2952"/>
                  <a:ext cx="3" cy="2"/>
                </a:xfrm>
                <a:custGeom>
                  <a:avLst/>
                  <a:gdLst>
                    <a:gd name="T0" fmla="*/ 3 w 3"/>
                    <a:gd name="T1" fmla="*/ 0 h 2"/>
                    <a:gd name="T2" fmla="*/ 0 w 3"/>
                    <a:gd name="T3" fmla="*/ 2 h 2"/>
                    <a:gd name="T4" fmla="*/ 2 w 3"/>
                    <a:gd name="T5" fmla="*/ 2 h 2"/>
                    <a:gd name="T6" fmla="*/ 3 w 3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3" y="0"/>
                      </a:move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83" name="Freeform 484">
                  <a:extLst>
                    <a:ext uri="{FF2B5EF4-FFF2-40B4-BE49-F238E27FC236}">
                      <a16:creationId xmlns:a16="http://schemas.microsoft.com/office/drawing/2014/main" id="{3712E296-BDE3-45B8-BADC-24CBF937B2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03" y="2913"/>
                  <a:ext cx="126" cy="52"/>
                </a:xfrm>
                <a:custGeom>
                  <a:avLst/>
                  <a:gdLst>
                    <a:gd name="T0" fmla="*/ 89 w 126"/>
                    <a:gd name="T1" fmla="*/ 44 h 52"/>
                    <a:gd name="T2" fmla="*/ 96 w 126"/>
                    <a:gd name="T3" fmla="*/ 42 h 52"/>
                    <a:gd name="T4" fmla="*/ 104 w 126"/>
                    <a:gd name="T5" fmla="*/ 44 h 52"/>
                    <a:gd name="T6" fmla="*/ 110 w 126"/>
                    <a:gd name="T7" fmla="*/ 42 h 52"/>
                    <a:gd name="T8" fmla="*/ 115 w 126"/>
                    <a:gd name="T9" fmla="*/ 46 h 52"/>
                    <a:gd name="T10" fmla="*/ 122 w 126"/>
                    <a:gd name="T11" fmla="*/ 50 h 52"/>
                    <a:gd name="T12" fmla="*/ 126 w 126"/>
                    <a:gd name="T13" fmla="*/ 52 h 52"/>
                    <a:gd name="T14" fmla="*/ 124 w 126"/>
                    <a:gd name="T15" fmla="*/ 45 h 52"/>
                    <a:gd name="T16" fmla="*/ 126 w 126"/>
                    <a:gd name="T17" fmla="*/ 36 h 52"/>
                    <a:gd name="T18" fmla="*/ 122 w 126"/>
                    <a:gd name="T19" fmla="*/ 33 h 52"/>
                    <a:gd name="T20" fmla="*/ 119 w 126"/>
                    <a:gd name="T21" fmla="*/ 32 h 52"/>
                    <a:gd name="T22" fmla="*/ 115 w 126"/>
                    <a:gd name="T23" fmla="*/ 33 h 52"/>
                    <a:gd name="T24" fmla="*/ 109 w 126"/>
                    <a:gd name="T25" fmla="*/ 33 h 52"/>
                    <a:gd name="T26" fmla="*/ 105 w 126"/>
                    <a:gd name="T27" fmla="*/ 29 h 52"/>
                    <a:gd name="T28" fmla="*/ 101 w 126"/>
                    <a:gd name="T29" fmla="*/ 22 h 52"/>
                    <a:gd name="T30" fmla="*/ 98 w 126"/>
                    <a:gd name="T31" fmla="*/ 18 h 52"/>
                    <a:gd name="T32" fmla="*/ 94 w 126"/>
                    <a:gd name="T33" fmla="*/ 16 h 52"/>
                    <a:gd name="T34" fmla="*/ 88 w 126"/>
                    <a:gd name="T35" fmla="*/ 13 h 52"/>
                    <a:gd name="T36" fmla="*/ 84 w 126"/>
                    <a:gd name="T37" fmla="*/ 12 h 52"/>
                    <a:gd name="T38" fmla="*/ 78 w 126"/>
                    <a:gd name="T39" fmla="*/ 8 h 52"/>
                    <a:gd name="T40" fmla="*/ 75 w 126"/>
                    <a:gd name="T41" fmla="*/ 15 h 52"/>
                    <a:gd name="T42" fmla="*/ 67 w 126"/>
                    <a:gd name="T43" fmla="*/ 19 h 52"/>
                    <a:gd name="T44" fmla="*/ 50 w 126"/>
                    <a:gd name="T45" fmla="*/ 17 h 52"/>
                    <a:gd name="T46" fmla="*/ 45 w 126"/>
                    <a:gd name="T47" fmla="*/ 13 h 52"/>
                    <a:gd name="T48" fmla="*/ 43 w 126"/>
                    <a:gd name="T49" fmla="*/ 6 h 52"/>
                    <a:gd name="T50" fmla="*/ 32 w 126"/>
                    <a:gd name="T51" fmla="*/ 4 h 52"/>
                    <a:gd name="T52" fmla="*/ 25 w 126"/>
                    <a:gd name="T53" fmla="*/ 1 h 52"/>
                    <a:gd name="T54" fmla="*/ 22 w 126"/>
                    <a:gd name="T55" fmla="*/ 4 h 52"/>
                    <a:gd name="T56" fmla="*/ 16 w 126"/>
                    <a:gd name="T57" fmla="*/ 1 h 52"/>
                    <a:gd name="T58" fmla="*/ 11 w 126"/>
                    <a:gd name="T59" fmla="*/ 0 h 52"/>
                    <a:gd name="T60" fmla="*/ 8 w 126"/>
                    <a:gd name="T61" fmla="*/ 7 h 52"/>
                    <a:gd name="T62" fmla="*/ 4 w 126"/>
                    <a:gd name="T63" fmla="*/ 12 h 52"/>
                    <a:gd name="T64" fmla="*/ 2 w 126"/>
                    <a:gd name="T65" fmla="*/ 15 h 52"/>
                    <a:gd name="T66" fmla="*/ 0 w 126"/>
                    <a:gd name="T67" fmla="*/ 15 h 52"/>
                    <a:gd name="T68" fmla="*/ 2 w 126"/>
                    <a:gd name="T69" fmla="*/ 18 h 52"/>
                    <a:gd name="T70" fmla="*/ 11 w 126"/>
                    <a:gd name="T71" fmla="*/ 16 h 52"/>
                    <a:gd name="T72" fmla="*/ 14 w 126"/>
                    <a:gd name="T73" fmla="*/ 21 h 52"/>
                    <a:gd name="T74" fmla="*/ 18 w 126"/>
                    <a:gd name="T75" fmla="*/ 19 h 52"/>
                    <a:gd name="T76" fmla="*/ 15 w 126"/>
                    <a:gd name="T77" fmla="*/ 26 h 52"/>
                    <a:gd name="T78" fmla="*/ 19 w 126"/>
                    <a:gd name="T79" fmla="*/ 28 h 52"/>
                    <a:gd name="T80" fmla="*/ 25 w 126"/>
                    <a:gd name="T81" fmla="*/ 27 h 52"/>
                    <a:gd name="T82" fmla="*/ 32 w 126"/>
                    <a:gd name="T83" fmla="*/ 29 h 52"/>
                    <a:gd name="T84" fmla="*/ 42 w 126"/>
                    <a:gd name="T85" fmla="*/ 35 h 52"/>
                    <a:gd name="T86" fmla="*/ 46 w 126"/>
                    <a:gd name="T87" fmla="*/ 31 h 52"/>
                    <a:gd name="T88" fmla="*/ 51 w 126"/>
                    <a:gd name="T89" fmla="*/ 34 h 52"/>
                    <a:gd name="T90" fmla="*/ 55 w 126"/>
                    <a:gd name="T91" fmla="*/ 32 h 52"/>
                    <a:gd name="T92" fmla="*/ 63 w 126"/>
                    <a:gd name="T93" fmla="*/ 35 h 52"/>
                    <a:gd name="T94" fmla="*/ 77 w 126"/>
                    <a:gd name="T95" fmla="*/ 43 h 52"/>
                    <a:gd name="T96" fmla="*/ 85 w 126"/>
                    <a:gd name="T97" fmla="*/ 4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26" h="52">
                      <a:moveTo>
                        <a:pt x="85" y="42"/>
                      </a:moveTo>
                      <a:lnTo>
                        <a:pt x="89" y="44"/>
                      </a:lnTo>
                      <a:lnTo>
                        <a:pt x="92" y="41"/>
                      </a:lnTo>
                      <a:lnTo>
                        <a:pt x="96" y="42"/>
                      </a:lnTo>
                      <a:lnTo>
                        <a:pt x="99" y="45"/>
                      </a:lnTo>
                      <a:lnTo>
                        <a:pt x="104" y="44"/>
                      </a:lnTo>
                      <a:lnTo>
                        <a:pt x="108" y="42"/>
                      </a:lnTo>
                      <a:lnTo>
                        <a:pt x="110" y="42"/>
                      </a:lnTo>
                      <a:lnTo>
                        <a:pt x="112" y="46"/>
                      </a:lnTo>
                      <a:lnTo>
                        <a:pt x="115" y="46"/>
                      </a:lnTo>
                      <a:lnTo>
                        <a:pt x="119" y="50"/>
                      </a:lnTo>
                      <a:lnTo>
                        <a:pt x="122" y="50"/>
                      </a:lnTo>
                      <a:lnTo>
                        <a:pt x="124" y="52"/>
                      </a:lnTo>
                      <a:lnTo>
                        <a:pt x="126" y="52"/>
                      </a:lnTo>
                      <a:lnTo>
                        <a:pt x="126" y="46"/>
                      </a:lnTo>
                      <a:lnTo>
                        <a:pt x="124" y="45"/>
                      </a:lnTo>
                      <a:lnTo>
                        <a:pt x="125" y="43"/>
                      </a:lnTo>
                      <a:lnTo>
                        <a:pt x="126" y="36"/>
                      </a:lnTo>
                      <a:lnTo>
                        <a:pt x="124" y="33"/>
                      </a:lnTo>
                      <a:lnTo>
                        <a:pt x="122" y="33"/>
                      </a:lnTo>
                      <a:lnTo>
                        <a:pt x="121" y="32"/>
                      </a:lnTo>
                      <a:lnTo>
                        <a:pt x="119" y="32"/>
                      </a:lnTo>
                      <a:lnTo>
                        <a:pt x="117" y="33"/>
                      </a:lnTo>
                      <a:lnTo>
                        <a:pt x="115" y="33"/>
                      </a:lnTo>
                      <a:lnTo>
                        <a:pt x="112" y="32"/>
                      </a:lnTo>
                      <a:lnTo>
                        <a:pt x="109" y="33"/>
                      </a:lnTo>
                      <a:lnTo>
                        <a:pt x="106" y="32"/>
                      </a:lnTo>
                      <a:lnTo>
                        <a:pt x="105" y="29"/>
                      </a:lnTo>
                      <a:lnTo>
                        <a:pt x="105" y="26"/>
                      </a:lnTo>
                      <a:lnTo>
                        <a:pt x="101" y="22"/>
                      </a:lnTo>
                      <a:lnTo>
                        <a:pt x="101" y="18"/>
                      </a:lnTo>
                      <a:lnTo>
                        <a:pt x="98" y="18"/>
                      </a:lnTo>
                      <a:lnTo>
                        <a:pt x="96" y="19"/>
                      </a:lnTo>
                      <a:lnTo>
                        <a:pt x="94" y="16"/>
                      </a:lnTo>
                      <a:lnTo>
                        <a:pt x="91" y="16"/>
                      </a:lnTo>
                      <a:lnTo>
                        <a:pt x="88" y="13"/>
                      </a:lnTo>
                      <a:lnTo>
                        <a:pt x="87" y="12"/>
                      </a:lnTo>
                      <a:lnTo>
                        <a:pt x="84" y="12"/>
                      </a:lnTo>
                      <a:lnTo>
                        <a:pt x="81" y="12"/>
                      </a:lnTo>
                      <a:lnTo>
                        <a:pt x="78" y="8"/>
                      </a:lnTo>
                      <a:lnTo>
                        <a:pt x="76" y="8"/>
                      </a:lnTo>
                      <a:lnTo>
                        <a:pt x="75" y="15"/>
                      </a:lnTo>
                      <a:lnTo>
                        <a:pt x="73" y="17"/>
                      </a:lnTo>
                      <a:lnTo>
                        <a:pt x="67" y="19"/>
                      </a:lnTo>
                      <a:lnTo>
                        <a:pt x="59" y="17"/>
                      </a:lnTo>
                      <a:lnTo>
                        <a:pt x="50" y="17"/>
                      </a:lnTo>
                      <a:lnTo>
                        <a:pt x="46" y="15"/>
                      </a:lnTo>
                      <a:lnTo>
                        <a:pt x="45" y="13"/>
                      </a:lnTo>
                      <a:lnTo>
                        <a:pt x="45" y="10"/>
                      </a:lnTo>
                      <a:lnTo>
                        <a:pt x="43" y="6"/>
                      </a:lnTo>
                      <a:lnTo>
                        <a:pt x="37" y="5"/>
                      </a:lnTo>
                      <a:lnTo>
                        <a:pt x="32" y="4"/>
                      </a:lnTo>
                      <a:lnTo>
                        <a:pt x="29" y="1"/>
                      </a:lnTo>
                      <a:lnTo>
                        <a:pt x="25" y="1"/>
                      </a:lnTo>
                      <a:lnTo>
                        <a:pt x="24" y="3"/>
                      </a:lnTo>
                      <a:lnTo>
                        <a:pt x="22" y="4"/>
                      </a:lnTo>
                      <a:lnTo>
                        <a:pt x="21" y="2"/>
                      </a:lnTo>
                      <a:lnTo>
                        <a:pt x="16" y="1"/>
                      </a:lnTo>
                      <a:lnTo>
                        <a:pt x="13" y="1"/>
                      </a:lnTo>
                      <a:lnTo>
                        <a:pt x="11" y="0"/>
                      </a:lnTo>
                      <a:lnTo>
                        <a:pt x="8" y="4"/>
                      </a:lnTo>
                      <a:lnTo>
                        <a:pt x="8" y="7"/>
                      </a:lnTo>
                      <a:lnTo>
                        <a:pt x="8" y="11"/>
                      </a:lnTo>
                      <a:lnTo>
                        <a:pt x="4" y="12"/>
                      </a:lnTo>
                      <a:lnTo>
                        <a:pt x="4" y="15"/>
                      </a:lnTo>
                      <a:lnTo>
                        <a:pt x="2" y="15"/>
                      </a:lnTo>
                      <a:lnTo>
                        <a:pt x="1" y="14"/>
                      </a:lnTo>
                      <a:lnTo>
                        <a:pt x="0" y="15"/>
                      </a:lnTo>
                      <a:lnTo>
                        <a:pt x="0" y="16"/>
                      </a:lnTo>
                      <a:lnTo>
                        <a:pt x="2" y="18"/>
                      </a:lnTo>
                      <a:lnTo>
                        <a:pt x="8" y="18"/>
                      </a:lnTo>
                      <a:lnTo>
                        <a:pt x="11" y="16"/>
                      </a:lnTo>
                      <a:lnTo>
                        <a:pt x="12" y="19"/>
                      </a:lnTo>
                      <a:lnTo>
                        <a:pt x="14" y="21"/>
                      </a:lnTo>
                      <a:lnTo>
                        <a:pt x="15" y="19"/>
                      </a:lnTo>
                      <a:lnTo>
                        <a:pt x="18" y="19"/>
                      </a:lnTo>
                      <a:lnTo>
                        <a:pt x="16" y="21"/>
                      </a:lnTo>
                      <a:lnTo>
                        <a:pt x="15" y="26"/>
                      </a:lnTo>
                      <a:lnTo>
                        <a:pt x="15" y="27"/>
                      </a:lnTo>
                      <a:lnTo>
                        <a:pt x="19" y="28"/>
                      </a:lnTo>
                      <a:lnTo>
                        <a:pt x="22" y="29"/>
                      </a:lnTo>
                      <a:lnTo>
                        <a:pt x="25" y="27"/>
                      </a:lnTo>
                      <a:lnTo>
                        <a:pt x="27" y="29"/>
                      </a:lnTo>
                      <a:lnTo>
                        <a:pt x="32" y="29"/>
                      </a:lnTo>
                      <a:lnTo>
                        <a:pt x="36" y="33"/>
                      </a:lnTo>
                      <a:lnTo>
                        <a:pt x="42" y="35"/>
                      </a:lnTo>
                      <a:lnTo>
                        <a:pt x="45" y="31"/>
                      </a:lnTo>
                      <a:lnTo>
                        <a:pt x="46" y="31"/>
                      </a:lnTo>
                      <a:lnTo>
                        <a:pt x="49" y="34"/>
                      </a:lnTo>
                      <a:lnTo>
                        <a:pt x="51" y="34"/>
                      </a:lnTo>
                      <a:lnTo>
                        <a:pt x="53" y="32"/>
                      </a:lnTo>
                      <a:lnTo>
                        <a:pt x="55" y="32"/>
                      </a:lnTo>
                      <a:lnTo>
                        <a:pt x="59" y="35"/>
                      </a:lnTo>
                      <a:lnTo>
                        <a:pt x="63" y="35"/>
                      </a:lnTo>
                      <a:lnTo>
                        <a:pt x="70" y="39"/>
                      </a:lnTo>
                      <a:lnTo>
                        <a:pt x="77" y="43"/>
                      </a:lnTo>
                      <a:lnTo>
                        <a:pt x="81" y="41"/>
                      </a:lnTo>
                      <a:lnTo>
                        <a:pt x="85" y="4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84" name="Freeform 485">
                  <a:extLst>
                    <a:ext uri="{FF2B5EF4-FFF2-40B4-BE49-F238E27FC236}">
                      <a16:creationId xmlns:a16="http://schemas.microsoft.com/office/drawing/2014/main" id="{32FDF103-29AD-4918-8404-F8E77E41F5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0" y="2787"/>
                  <a:ext cx="7" cy="10"/>
                </a:xfrm>
                <a:custGeom>
                  <a:avLst/>
                  <a:gdLst>
                    <a:gd name="T0" fmla="*/ 5 w 7"/>
                    <a:gd name="T1" fmla="*/ 0 h 10"/>
                    <a:gd name="T2" fmla="*/ 4 w 7"/>
                    <a:gd name="T3" fmla="*/ 2 h 10"/>
                    <a:gd name="T4" fmla="*/ 1 w 7"/>
                    <a:gd name="T5" fmla="*/ 2 h 10"/>
                    <a:gd name="T6" fmla="*/ 0 w 7"/>
                    <a:gd name="T7" fmla="*/ 6 h 10"/>
                    <a:gd name="T8" fmla="*/ 3 w 7"/>
                    <a:gd name="T9" fmla="*/ 7 h 10"/>
                    <a:gd name="T10" fmla="*/ 4 w 7"/>
                    <a:gd name="T11" fmla="*/ 10 h 10"/>
                    <a:gd name="T12" fmla="*/ 6 w 7"/>
                    <a:gd name="T13" fmla="*/ 10 h 10"/>
                    <a:gd name="T14" fmla="*/ 7 w 7"/>
                    <a:gd name="T15" fmla="*/ 5 h 10"/>
                    <a:gd name="T16" fmla="*/ 5 w 7"/>
                    <a:gd name="T17" fmla="*/ 3 h 10"/>
                    <a:gd name="T18" fmla="*/ 7 w 7"/>
                    <a:gd name="T19" fmla="*/ 0 h 10"/>
                    <a:gd name="T20" fmla="*/ 5 w 7"/>
                    <a:gd name="T21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10">
                      <a:moveTo>
                        <a:pt x="5" y="0"/>
                      </a:moveTo>
                      <a:lnTo>
                        <a:pt x="4" y="2"/>
                      </a:lnTo>
                      <a:lnTo>
                        <a:pt x="1" y="2"/>
                      </a:lnTo>
                      <a:lnTo>
                        <a:pt x="0" y="6"/>
                      </a:lnTo>
                      <a:lnTo>
                        <a:pt x="3" y="7"/>
                      </a:lnTo>
                      <a:lnTo>
                        <a:pt x="4" y="10"/>
                      </a:lnTo>
                      <a:lnTo>
                        <a:pt x="6" y="10"/>
                      </a:lnTo>
                      <a:lnTo>
                        <a:pt x="7" y="5"/>
                      </a:lnTo>
                      <a:lnTo>
                        <a:pt x="5" y="3"/>
                      </a:lnTo>
                      <a:lnTo>
                        <a:pt x="7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85" name="Freeform 486">
                  <a:extLst>
                    <a:ext uri="{FF2B5EF4-FFF2-40B4-BE49-F238E27FC236}">
                      <a16:creationId xmlns:a16="http://schemas.microsoft.com/office/drawing/2014/main" id="{955CD285-C325-4B2B-847B-BBE15D78B8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3" y="2812"/>
                  <a:ext cx="8" cy="6"/>
                </a:xfrm>
                <a:custGeom>
                  <a:avLst/>
                  <a:gdLst>
                    <a:gd name="T0" fmla="*/ 7 w 8"/>
                    <a:gd name="T1" fmla="*/ 6 h 6"/>
                    <a:gd name="T2" fmla="*/ 8 w 8"/>
                    <a:gd name="T3" fmla="*/ 6 h 6"/>
                    <a:gd name="T4" fmla="*/ 4 w 8"/>
                    <a:gd name="T5" fmla="*/ 1 h 6"/>
                    <a:gd name="T6" fmla="*/ 1 w 8"/>
                    <a:gd name="T7" fmla="*/ 0 h 6"/>
                    <a:gd name="T8" fmla="*/ 0 w 8"/>
                    <a:gd name="T9" fmla="*/ 3 h 6"/>
                    <a:gd name="T10" fmla="*/ 1 w 8"/>
                    <a:gd name="T11" fmla="*/ 6 h 6"/>
                    <a:gd name="T12" fmla="*/ 4 w 8"/>
                    <a:gd name="T13" fmla="*/ 5 h 6"/>
                    <a:gd name="T14" fmla="*/ 7 w 8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" h="6">
                      <a:moveTo>
                        <a:pt x="7" y="6"/>
                      </a:moveTo>
                      <a:lnTo>
                        <a:pt x="8" y="6"/>
                      </a:lnTo>
                      <a:lnTo>
                        <a:pt x="4" y="1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1" y="6"/>
                      </a:lnTo>
                      <a:lnTo>
                        <a:pt x="4" y="5"/>
                      </a:lnTo>
                      <a:lnTo>
                        <a:pt x="7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86" name="Freeform 487">
                  <a:extLst>
                    <a:ext uri="{FF2B5EF4-FFF2-40B4-BE49-F238E27FC236}">
                      <a16:creationId xmlns:a16="http://schemas.microsoft.com/office/drawing/2014/main" id="{48FDB7A9-C722-4852-A143-C8084B0A4D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84" y="2787"/>
                  <a:ext cx="5" cy="7"/>
                </a:xfrm>
                <a:custGeom>
                  <a:avLst/>
                  <a:gdLst>
                    <a:gd name="T0" fmla="*/ 3 w 5"/>
                    <a:gd name="T1" fmla="*/ 7 h 7"/>
                    <a:gd name="T2" fmla="*/ 5 w 5"/>
                    <a:gd name="T3" fmla="*/ 3 h 7"/>
                    <a:gd name="T4" fmla="*/ 4 w 5"/>
                    <a:gd name="T5" fmla="*/ 0 h 7"/>
                    <a:gd name="T6" fmla="*/ 0 w 5"/>
                    <a:gd name="T7" fmla="*/ 5 h 7"/>
                    <a:gd name="T8" fmla="*/ 3 w 5"/>
                    <a:gd name="T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7">
                      <a:moveTo>
                        <a:pt x="3" y="7"/>
                      </a:moveTo>
                      <a:lnTo>
                        <a:pt x="5" y="3"/>
                      </a:lnTo>
                      <a:lnTo>
                        <a:pt x="4" y="0"/>
                      </a:lnTo>
                      <a:lnTo>
                        <a:pt x="0" y="5"/>
                      </a:lnTo>
                      <a:lnTo>
                        <a:pt x="3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87" name="Freeform 488">
                  <a:extLst>
                    <a:ext uri="{FF2B5EF4-FFF2-40B4-BE49-F238E27FC236}">
                      <a16:creationId xmlns:a16="http://schemas.microsoft.com/office/drawing/2014/main" id="{BF9C3160-1ACE-47F7-BD9F-740DC907ED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1" y="2819"/>
                  <a:ext cx="5" cy="6"/>
                </a:xfrm>
                <a:custGeom>
                  <a:avLst/>
                  <a:gdLst>
                    <a:gd name="T0" fmla="*/ 5 w 5"/>
                    <a:gd name="T1" fmla="*/ 3 h 6"/>
                    <a:gd name="T2" fmla="*/ 4 w 5"/>
                    <a:gd name="T3" fmla="*/ 0 h 6"/>
                    <a:gd name="T4" fmla="*/ 1 w 5"/>
                    <a:gd name="T5" fmla="*/ 0 h 6"/>
                    <a:gd name="T6" fmla="*/ 0 w 5"/>
                    <a:gd name="T7" fmla="*/ 2 h 6"/>
                    <a:gd name="T8" fmla="*/ 3 w 5"/>
                    <a:gd name="T9" fmla="*/ 6 h 6"/>
                    <a:gd name="T10" fmla="*/ 5 w 5"/>
                    <a:gd name="T11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6">
                      <a:moveTo>
                        <a:pt x="5" y="3"/>
                      </a:move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3" y="6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88" name="Freeform 489">
                  <a:extLst>
                    <a:ext uri="{FF2B5EF4-FFF2-40B4-BE49-F238E27FC236}">
                      <a16:creationId xmlns:a16="http://schemas.microsoft.com/office/drawing/2014/main" id="{C86396C4-0AB6-4DD8-A820-C7E2BC2544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3" y="2873"/>
                  <a:ext cx="6" cy="4"/>
                </a:xfrm>
                <a:custGeom>
                  <a:avLst/>
                  <a:gdLst>
                    <a:gd name="T0" fmla="*/ 4 w 6"/>
                    <a:gd name="T1" fmla="*/ 4 h 4"/>
                    <a:gd name="T2" fmla="*/ 6 w 6"/>
                    <a:gd name="T3" fmla="*/ 0 h 4"/>
                    <a:gd name="T4" fmla="*/ 4 w 6"/>
                    <a:gd name="T5" fmla="*/ 0 h 4"/>
                    <a:gd name="T6" fmla="*/ 3 w 6"/>
                    <a:gd name="T7" fmla="*/ 0 h 4"/>
                    <a:gd name="T8" fmla="*/ 0 w 6"/>
                    <a:gd name="T9" fmla="*/ 2 h 4"/>
                    <a:gd name="T10" fmla="*/ 2 w 6"/>
                    <a:gd name="T11" fmla="*/ 4 h 4"/>
                    <a:gd name="T12" fmla="*/ 3 w 6"/>
                    <a:gd name="T13" fmla="*/ 3 h 4"/>
                    <a:gd name="T14" fmla="*/ 4 w 6"/>
                    <a:gd name="T1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4">
                      <a:moveTo>
                        <a:pt x="4" y="4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2" y="4"/>
                      </a:lnTo>
                      <a:lnTo>
                        <a:pt x="3" y="3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89" name="Freeform 490">
                  <a:extLst>
                    <a:ext uri="{FF2B5EF4-FFF2-40B4-BE49-F238E27FC236}">
                      <a16:creationId xmlns:a16="http://schemas.microsoft.com/office/drawing/2014/main" id="{683DDF30-172D-4112-9D3C-ADEF341456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49" y="2773"/>
                  <a:ext cx="6" cy="8"/>
                </a:xfrm>
                <a:custGeom>
                  <a:avLst/>
                  <a:gdLst>
                    <a:gd name="T0" fmla="*/ 2 w 6"/>
                    <a:gd name="T1" fmla="*/ 2 h 8"/>
                    <a:gd name="T2" fmla="*/ 0 w 6"/>
                    <a:gd name="T3" fmla="*/ 3 h 8"/>
                    <a:gd name="T4" fmla="*/ 1 w 6"/>
                    <a:gd name="T5" fmla="*/ 8 h 8"/>
                    <a:gd name="T6" fmla="*/ 3 w 6"/>
                    <a:gd name="T7" fmla="*/ 7 h 8"/>
                    <a:gd name="T8" fmla="*/ 6 w 6"/>
                    <a:gd name="T9" fmla="*/ 4 h 8"/>
                    <a:gd name="T10" fmla="*/ 3 w 6"/>
                    <a:gd name="T11" fmla="*/ 0 h 8"/>
                    <a:gd name="T12" fmla="*/ 2 w 6"/>
                    <a:gd name="T13" fmla="*/ 2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8">
                      <a:moveTo>
                        <a:pt x="2" y="2"/>
                      </a:moveTo>
                      <a:lnTo>
                        <a:pt x="0" y="3"/>
                      </a:lnTo>
                      <a:lnTo>
                        <a:pt x="1" y="8"/>
                      </a:lnTo>
                      <a:lnTo>
                        <a:pt x="3" y="7"/>
                      </a:lnTo>
                      <a:lnTo>
                        <a:pt x="6" y="4"/>
                      </a:lnTo>
                      <a:lnTo>
                        <a:pt x="3" y="0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90" name="Freeform 491">
                  <a:extLst>
                    <a:ext uri="{FF2B5EF4-FFF2-40B4-BE49-F238E27FC236}">
                      <a16:creationId xmlns:a16="http://schemas.microsoft.com/office/drawing/2014/main" id="{20D464D2-B80C-4EF5-B788-B2FFE7DE4C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7" y="2757"/>
                  <a:ext cx="1" cy="3"/>
                </a:xfrm>
                <a:custGeom>
                  <a:avLst/>
                  <a:gdLst>
                    <a:gd name="T0" fmla="*/ 0 w 1"/>
                    <a:gd name="T1" fmla="*/ 3 h 3"/>
                    <a:gd name="T2" fmla="*/ 1 w 1"/>
                    <a:gd name="T3" fmla="*/ 2 h 3"/>
                    <a:gd name="T4" fmla="*/ 0 w 1"/>
                    <a:gd name="T5" fmla="*/ 0 h 3"/>
                    <a:gd name="T6" fmla="*/ 0 w 1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3">
                      <a:moveTo>
                        <a:pt x="0" y="3"/>
                      </a:move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91" name="Freeform 492">
                  <a:extLst>
                    <a:ext uri="{FF2B5EF4-FFF2-40B4-BE49-F238E27FC236}">
                      <a16:creationId xmlns:a16="http://schemas.microsoft.com/office/drawing/2014/main" id="{1EA76860-03D3-41CE-BA33-11753AB5C5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59" y="2784"/>
                  <a:ext cx="6" cy="8"/>
                </a:xfrm>
                <a:custGeom>
                  <a:avLst/>
                  <a:gdLst>
                    <a:gd name="T0" fmla="*/ 1 w 6"/>
                    <a:gd name="T1" fmla="*/ 0 h 8"/>
                    <a:gd name="T2" fmla="*/ 0 w 6"/>
                    <a:gd name="T3" fmla="*/ 0 h 8"/>
                    <a:gd name="T4" fmla="*/ 3 w 6"/>
                    <a:gd name="T5" fmla="*/ 6 h 8"/>
                    <a:gd name="T6" fmla="*/ 4 w 6"/>
                    <a:gd name="T7" fmla="*/ 8 h 8"/>
                    <a:gd name="T8" fmla="*/ 6 w 6"/>
                    <a:gd name="T9" fmla="*/ 4 h 8"/>
                    <a:gd name="T10" fmla="*/ 4 w 6"/>
                    <a:gd name="T11" fmla="*/ 2 h 8"/>
                    <a:gd name="T12" fmla="*/ 1 w 6"/>
                    <a:gd name="T13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8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3" y="6"/>
                      </a:lnTo>
                      <a:lnTo>
                        <a:pt x="4" y="8"/>
                      </a:lnTo>
                      <a:lnTo>
                        <a:pt x="6" y="4"/>
                      </a:lnTo>
                      <a:lnTo>
                        <a:pt x="4" y="2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92" name="Freeform 493">
                  <a:extLst>
                    <a:ext uri="{FF2B5EF4-FFF2-40B4-BE49-F238E27FC236}">
                      <a16:creationId xmlns:a16="http://schemas.microsoft.com/office/drawing/2014/main" id="{17DA9914-2E62-4BB1-B71D-BBED2E8E46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66" y="2759"/>
                  <a:ext cx="6" cy="5"/>
                </a:xfrm>
                <a:custGeom>
                  <a:avLst/>
                  <a:gdLst>
                    <a:gd name="T0" fmla="*/ 2 w 6"/>
                    <a:gd name="T1" fmla="*/ 0 h 5"/>
                    <a:gd name="T2" fmla="*/ 1 w 6"/>
                    <a:gd name="T3" fmla="*/ 0 h 5"/>
                    <a:gd name="T4" fmla="*/ 0 w 6"/>
                    <a:gd name="T5" fmla="*/ 3 h 5"/>
                    <a:gd name="T6" fmla="*/ 3 w 6"/>
                    <a:gd name="T7" fmla="*/ 5 h 5"/>
                    <a:gd name="T8" fmla="*/ 6 w 6"/>
                    <a:gd name="T9" fmla="*/ 4 h 5"/>
                    <a:gd name="T10" fmla="*/ 4 w 6"/>
                    <a:gd name="T11" fmla="*/ 1 h 5"/>
                    <a:gd name="T12" fmla="*/ 2 w 6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5">
                      <a:moveTo>
                        <a:pt x="2" y="0"/>
                      </a:move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3" y="5"/>
                      </a:lnTo>
                      <a:lnTo>
                        <a:pt x="6" y="4"/>
                      </a:lnTo>
                      <a:lnTo>
                        <a:pt x="4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93" name="Freeform 494">
                  <a:extLst>
                    <a:ext uri="{FF2B5EF4-FFF2-40B4-BE49-F238E27FC236}">
                      <a16:creationId xmlns:a16="http://schemas.microsoft.com/office/drawing/2014/main" id="{63DF15C5-7620-454B-B86E-478DE193DE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4" y="2790"/>
                  <a:ext cx="10" cy="10"/>
                </a:xfrm>
                <a:custGeom>
                  <a:avLst/>
                  <a:gdLst>
                    <a:gd name="T0" fmla="*/ 5 w 10"/>
                    <a:gd name="T1" fmla="*/ 7 h 10"/>
                    <a:gd name="T2" fmla="*/ 9 w 10"/>
                    <a:gd name="T3" fmla="*/ 10 h 10"/>
                    <a:gd name="T4" fmla="*/ 10 w 10"/>
                    <a:gd name="T5" fmla="*/ 8 h 10"/>
                    <a:gd name="T6" fmla="*/ 9 w 10"/>
                    <a:gd name="T7" fmla="*/ 4 h 10"/>
                    <a:gd name="T8" fmla="*/ 6 w 10"/>
                    <a:gd name="T9" fmla="*/ 0 h 10"/>
                    <a:gd name="T10" fmla="*/ 2 w 10"/>
                    <a:gd name="T11" fmla="*/ 0 h 10"/>
                    <a:gd name="T12" fmla="*/ 0 w 10"/>
                    <a:gd name="T13" fmla="*/ 4 h 10"/>
                    <a:gd name="T14" fmla="*/ 1 w 10"/>
                    <a:gd name="T15" fmla="*/ 7 h 10"/>
                    <a:gd name="T16" fmla="*/ 5 w 10"/>
                    <a:gd name="T17" fmla="*/ 7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" h="10">
                      <a:moveTo>
                        <a:pt x="5" y="7"/>
                      </a:moveTo>
                      <a:lnTo>
                        <a:pt x="9" y="10"/>
                      </a:lnTo>
                      <a:lnTo>
                        <a:pt x="10" y="8"/>
                      </a:lnTo>
                      <a:lnTo>
                        <a:pt x="9" y="4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1" y="7"/>
                      </a:lnTo>
                      <a:lnTo>
                        <a:pt x="5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94" name="Freeform 495">
                  <a:extLst>
                    <a:ext uri="{FF2B5EF4-FFF2-40B4-BE49-F238E27FC236}">
                      <a16:creationId xmlns:a16="http://schemas.microsoft.com/office/drawing/2014/main" id="{03FB8954-62F4-42E9-BE19-12F6942CFF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41" y="2732"/>
                  <a:ext cx="7" cy="10"/>
                </a:xfrm>
                <a:custGeom>
                  <a:avLst/>
                  <a:gdLst>
                    <a:gd name="T0" fmla="*/ 4 w 7"/>
                    <a:gd name="T1" fmla="*/ 0 h 10"/>
                    <a:gd name="T2" fmla="*/ 1 w 7"/>
                    <a:gd name="T3" fmla="*/ 2 h 10"/>
                    <a:gd name="T4" fmla="*/ 0 w 7"/>
                    <a:gd name="T5" fmla="*/ 4 h 10"/>
                    <a:gd name="T6" fmla="*/ 2 w 7"/>
                    <a:gd name="T7" fmla="*/ 8 h 10"/>
                    <a:gd name="T8" fmla="*/ 4 w 7"/>
                    <a:gd name="T9" fmla="*/ 8 h 10"/>
                    <a:gd name="T10" fmla="*/ 4 w 7"/>
                    <a:gd name="T11" fmla="*/ 10 h 10"/>
                    <a:gd name="T12" fmla="*/ 5 w 7"/>
                    <a:gd name="T13" fmla="*/ 10 h 10"/>
                    <a:gd name="T14" fmla="*/ 7 w 7"/>
                    <a:gd name="T15" fmla="*/ 6 h 10"/>
                    <a:gd name="T16" fmla="*/ 4 w 7"/>
                    <a:gd name="T1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10">
                      <a:moveTo>
                        <a:pt x="4" y="0"/>
                      </a:moveTo>
                      <a:lnTo>
                        <a:pt x="1" y="2"/>
                      </a:lnTo>
                      <a:lnTo>
                        <a:pt x="0" y="4"/>
                      </a:lnTo>
                      <a:lnTo>
                        <a:pt x="2" y="8"/>
                      </a:lnTo>
                      <a:lnTo>
                        <a:pt x="4" y="8"/>
                      </a:lnTo>
                      <a:lnTo>
                        <a:pt x="4" y="10"/>
                      </a:lnTo>
                      <a:lnTo>
                        <a:pt x="5" y="10"/>
                      </a:lnTo>
                      <a:lnTo>
                        <a:pt x="7" y="6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95" name="Freeform 496">
                  <a:extLst>
                    <a:ext uri="{FF2B5EF4-FFF2-40B4-BE49-F238E27FC236}">
                      <a16:creationId xmlns:a16="http://schemas.microsoft.com/office/drawing/2014/main" id="{F0A70074-2CD0-4441-8CA8-006B86D055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32" y="2855"/>
                  <a:ext cx="16" cy="13"/>
                </a:xfrm>
                <a:custGeom>
                  <a:avLst/>
                  <a:gdLst>
                    <a:gd name="T0" fmla="*/ 7 w 16"/>
                    <a:gd name="T1" fmla="*/ 13 h 13"/>
                    <a:gd name="T2" fmla="*/ 9 w 16"/>
                    <a:gd name="T3" fmla="*/ 8 h 13"/>
                    <a:gd name="T4" fmla="*/ 10 w 16"/>
                    <a:gd name="T5" fmla="*/ 11 h 13"/>
                    <a:gd name="T6" fmla="*/ 13 w 16"/>
                    <a:gd name="T7" fmla="*/ 11 h 13"/>
                    <a:gd name="T8" fmla="*/ 13 w 16"/>
                    <a:gd name="T9" fmla="*/ 9 h 13"/>
                    <a:gd name="T10" fmla="*/ 16 w 16"/>
                    <a:gd name="T11" fmla="*/ 8 h 13"/>
                    <a:gd name="T12" fmla="*/ 14 w 16"/>
                    <a:gd name="T13" fmla="*/ 4 h 13"/>
                    <a:gd name="T14" fmla="*/ 10 w 16"/>
                    <a:gd name="T15" fmla="*/ 1 h 13"/>
                    <a:gd name="T16" fmla="*/ 5 w 16"/>
                    <a:gd name="T17" fmla="*/ 0 h 13"/>
                    <a:gd name="T18" fmla="*/ 3 w 16"/>
                    <a:gd name="T19" fmla="*/ 1 h 13"/>
                    <a:gd name="T20" fmla="*/ 4 w 16"/>
                    <a:gd name="T21" fmla="*/ 4 h 13"/>
                    <a:gd name="T22" fmla="*/ 4 w 16"/>
                    <a:gd name="T23" fmla="*/ 5 h 13"/>
                    <a:gd name="T24" fmla="*/ 1 w 16"/>
                    <a:gd name="T25" fmla="*/ 6 h 13"/>
                    <a:gd name="T26" fmla="*/ 0 w 16"/>
                    <a:gd name="T27" fmla="*/ 8 h 13"/>
                    <a:gd name="T28" fmla="*/ 3 w 16"/>
                    <a:gd name="T29" fmla="*/ 8 h 13"/>
                    <a:gd name="T30" fmla="*/ 3 w 16"/>
                    <a:gd name="T31" fmla="*/ 7 h 13"/>
                    <a:gd name="T32" fmla="*/ 4 w 16"/>
                    <a:gd name="T33" fmla="*/ 5 h 13"/>
                    <a:gd name="T34" fmla="*/ 4 w 16"/>
                    <a:gd name="T35" fmla="*/ 11 h 13"/>
                    <a:gd name="T36" fmla="*/ 7 w 16"/>
                    <a:gd name="T37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6" h="13">
                      <a:moveTo>
                        <a:pt x="7" y="13"/>
                      </a:moveTo>
                      <a:lnTo>
                        <a:pt x="9" y="8"/>
                      </a:lnTo>
                      <a:lnTo>
                        <a:pt x="10" y="11"/>
                      </a:lnTo>
                      <a:lnTo>
                        <a:pt x="13" y="11"/>
                      </a:lnTo>
                      <a:lnTo>
                        <a:pt x="13" y="9"/>
                      </a:lnTo>
                      <a:lnTo>
                        <a:pt x="16" y="8"/>
                      </a:lnTo>
                      <a:lnTo>
                        <a:pt x="14" y="4"/>
                      </a:lnTo>
                      <a:lnTo>
                        <a:pt x="10" y="1"/>
                      </a:lnTo>
                      <a:lnTo>
                        <a:pt x="5" y="0"/>
                      </a:lnTo>
                      <a:lnTo>
                        <a:pt x="3" y="1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1" y="6"/>
                      </a:lnTo>
                      <a:lnTo>
                        <a:pt x="0" y="8"/>
                      </a:lnTo>
                      <a:lnTo>
                        <a:pt x="3" y="8"/>
                      </a:lnTo>
                      <a:lnTo>
                        <a:pt x="3" y="7"/>
                      </a:lnTo>
                      <a:lnTo>
                        <a:pt x="4" y="5"/>
                      </a:lnTo>
                      <a:lnTo>
                        <a:pt x="4" y="11"/>
                      </a:lnTo>
                      <a:lnTo>
                        <a:pt x="7" y="1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96" name="Freeform 497">
                  <a:extLst>
                    <a:ext uri="{FF2B5EF4-FFF2-40B4-BE49-F238E27FC236}">
                      <a16:creationId xmlns:a16="http://schemas.microsoft.com/office/drawing/2014/main" id="{C3E16196-6979-4821-8C7E-1A37C2950D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26" y="2862"/>
                  <a:ext cx="2" cy="3"/>
                </a:xfrm>
                <a:custGeom>
                  <a:avLst/>
                  <a:gdLst>
                    <a:gd name="T0" fmla="*/ 2 w 2"/>
                    <a:gd name="T1" fmla="*/ 1 h 3"/>
                    <a:gd name="T2" fmla="*/ 0 w 2"/>
                    <a:gd name="T3" fmla="*/ 0 h 3"/>
                    <a:gd name="T4" fmla="*/ 0 w 2"/>
                    <a:gd name="T5" fmla="*/ 3 h 3"/>
                    <a:gd name="T6" fmla="*/ 2 w 2"/>
                    <a:gd name="T7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2" y="1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97" name="Freeform 498">
                  <a:extLst>
                    <a:ext uri="{FF2B5EF4-FFF2-40B4-BE49-F238E27FC236}">
                      <a16:creationId xmlns:a16="http://schemas.microsoft.com/office/drawing/2014/main" id="{83A1ED0F-7FD9-4880-9E7B-F3BBA487F9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08" y="2754"/>
                  <a:ext cx="4" cy="5"/>
                </a:xfrm>
                <a:custGeom>
                  <a:avLst/>
                  <a:gdLst>
                    <a:gd name="T0" fmla="*/ 4 w 4"/>
                    <a:gd name="T1" fmla="*/ 2 h 5"/>
                    <a:gd name="T2" fmla="*/ 3 w 4"/>
                    <a:gd name="T3" fmla="*/ 0 h 5"/>
                    <a:gd name="T4" fmla="*/ 0 w 4"/>
                    <a:gd name="T5" fmla="*/ 1 h 5"/>
                    <a:gd name="T6" fmla="*/ 0 w 4"/>
                    <a:gd name="T7" fmla="*/ 4 h 5"/>
                    <a:gd name="T8" fmla="*/ 2 w 4"/>
                    <a:gd name="T9" fmla="*/ 5 h 5"/>
                    <a:gd name="T10" fmla="*/ 4 w 4"/>
                    <a:gd name="T11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5">
                      <a:moveTo>
                        <a:pt x="4" y="2"/>
                      </a:move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2" y="5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98" name="Freeform 499">
                  <a:extLst>
                    <a:ext uri="{FF2B5EF4-FFF2-40B4-BE49-F238E27FC236}">
                      <a16:creationId xmlns:a16="http://schemas.microsoft.com/office/drawing/2014/main" id="{DF386D6F-9264-4CCF-AAC0-92511D8EEA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03" y="2838"/>
                  <a:ext cx="22" cy="28"/>
                </a:xfrm>
                <a:custGeom>
                  <a:avLst/>
                  <a:gdLst>
                    <a:gd name="T0" fmla="*/ 17 w 22"/>
                    <a:gd name="T1" fmla="*/ 17 h 28"/>
                    <a:gd name="T2" fmla="*/ 14 w 22"/>
                    <a:gd name="T3" fmla="*/ 13 h 28"/>
                    <a:gd name="T4" fmla="*/ 12 w 22"/>
                    <a:gd name="T5" fmla="*/ 5 h 28"/>
                    <a:gd name="T6" fmla="*/ 11 w 22"/>
                    <a:gd name="T7" fmla="*/ 4 h 28"/>
                    <a:gd name="T8" fmla="*/ 11 w 22"/>
                    <a:gd name="T9" fmla="*/ 1 h 28"/>
                    <a:gd name="T10" fmla="*/ 9 w 22"/>
                    <a:gd name="T11" fmla="*/ 0 h 28"/>
                    <a:gd name="T12" fmla="*/ 7 w 22"/>
                    <a:gd name="T13" fmla="*/ 0 h 28"/>
                    <a:gd name="T14" fmla="*/ 8 w 22"/>
                    <a:gd name="T15" fmla="*/ 3 h 28"/>
                    <a:gd name="T16" fmla="*/ 8 w 22"/>
                    <a:gd name="T17" fmla="*/ 5 h 28"/>
                    <a:gd name="T18" fmla="*/ 6 w 22"/>
                    <a:gd name="T19" fmla="*/ 4 h 28"/>
                    <a:gd name="T20" fmla="*/ 4 w 22"/>
                    <a:gd name="T21" fmla="*/ 1 h 28"/>
                    <a:gd name="T22" fmla="*/ 3 w 22"/>
                    <a:gd name="T23" fmla="*/ 2 h 28"/>
                    <a:gd name="T24" fmla="*/ 3 w 22"/>
                    <a:gd name="T25" fmla="*/ 5 h 28"/>
                    <a:gd name="T26" fmla="*/ 0 w 22"/>
                    <a:gd name="T27" fmla="*/ 7 h 28"/>
                    <a:gd name="T28" fmla="*/ 2 w 22"/>
                    <a:gd name="T29" fmla="*/ 10 h 28"/>
                    <a:gd name="T30" fmla="*/ 7 w 22"/>
                    <a:gd name="T31" fmla="*/ 11 h 28"/>
                    <a:gd name="T32" fmla="*/ 8 w 22"/>
                    <a:gd name="T33" fmla="*/ 12 h 28"/>
                    <a:gd name="T34" fmla="*/ 8 w 22"/>
                    <a:gd name="T35" fmla="*/ 16 h 28"/>
                    <a:gd name="T36" fmla="*/ 10 w 22"/>
                    <a:gd name="T37" fmla="*/ 17 h 28"/>
                    <a:gd name="T38" fmla="*/ 11 w 22"/>
                    <a:gd name="T39" fmla="*/ 21 h 28"/>
                    <a:gd name="T40" fmla="*/ 15 w 22"/>
                    <a:gd name="T41" fmla="*/ 24 h 28"/>
                    <a:gd name="T42" fmla="*/ 17 w 22"/>
                    <a:gd name="T43" fmla="*/ 24 h 28"/>
                    <a:gd name="T44" fmla="*/ 18 w 22"/>
                    <a:gd name="T45" fmla="*/ 27 h 28"/>
                    <a:gd name="T46" fmla="*/ 19 w 22"/>
                    <a:gd name="T47" fmla="*/ 28 h 28"/>
                    <a:gd name="T48" fmla="*/ 21 w 22"/>
                    <a:gd name="T49" fmla="*/ 25 h 28"/>
                    <a:gd name="T50" fmla="*/ 20 w 22"/>
                    <a:gd name="T51" fmla="*/ 22 h 28"/>
                    <a:gd name="T52" fmla="*/ 22 w 22"/>
                    <a:gd name="T53" fmla="*/ 18 h 28"/>
                    <a:gd name="T54" fmla="*/ 17 w 22"/>
                    <a:gd name="T55" fmla="*/ 17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2" h="28">
                      <a:moveTo>
                        <a:pt x="17" y="17"/>
                      </a:moveTo>
                      <a:lnTo>
                        <a:pt x="14" y="13"/>
                      </a:lnTo>
                      <a:lnTo>
                        <a:pt x="12" y="5"/>
                      </a:lnTo>
                      <a:lnTo>
                        <a:pt x="11" y="4"/>
                      </a:lnTo>
                      <a:lnTo>
                        <a:pt x="11" y="1"/>
                      </a:lnTo>
                      <a:lnTo>
                        <a:pt x="9" y="0"/>
                      </a:lnTo>
                      <a:lnTo>
                        <a:pt x="7" y="0"/>
                      </a:lnTo>
                      <a:lnTo>
                        <a:pt x="8" y="3"/>
                      </a:lnTo>
                      <a:lnTo>
                        <a:pt x="8" y="5"/>
                      </a:lnTo>
                      <a:lnTo>
                        <a:pt x="6" y="4"/>
                      </a:lnTo>
                      <a:lnTo>
                        <a:pt x="4" y="1"/>
                      </a:lnTo>
                      <a:lnTo>
                        <a:pt x="3" y="2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2" y="10"/>
                      </a:lnTo>
                      <a:lnTo>
                        <a:pt x="7" y="11"/>
                      </a:lnTo>
                      <a:lnTo>
                        <a:pt x="8" y="12"/>
                      </a:lnTo>
                      <a:lnTo>
                        <a:pt x="8" y="16"/>
                      </a:lnTo>
                      <a:lnTo>
                        <a:pt x="10" y="17"/>
                      </a:lnTo>
                      <a:lnTo>
                        <a:pt x="11" y="21"/>
                      </a:lnTo>
                      <a:lnTo>
                        <a:pt x="15" y="24"/>
                      </a:lnTo>
                      <a:lnTo>
                        <a:pt x="17" y="24"/>
                      </a:lnTo>
                      <a:lnTo>
                        <a:pt x="18" y="27"/>
                      </a:lnTo>
                      <a:lnTo>
                        <a:pt x="19" y="28"/>
                      </a:lnTo>
                      <a:lnTo>
                        <a:pt x="21" y="25"/>
                      </a:lnTo>
                      <a:lnTo>
                        <a:pt x="20" y="22"/>
                      </a:lnTo>
                      <a:lnTo>
                        <a:pt x="22" y="18"/>
                      </a:lnTo>
                      <a:lnTo>
                        <a:pt x="17" y="1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99" name="Freeform 500">
                  <a:extLst>
                    <a:ext uri="{FF2B5EF4-FFF2-40B4-BE49-F238E27FC236}">
                      <a16:creationId xmlns:a16="http://schemas.microsoft.com/office/drawing/2014/main" id="{E200A7B0-74CB-48EC-A988-5B17D280DB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7" y="2752"/>
                  <a:ext cx="1" cy="2"/>
                </a:xfrm>
                <a:custGeom>
                  <a:avLst/>
                  <a:gdLst>
                    <a:gd name="T0" fmla="*/ 1 w 1"/>
                    <a:gd name="T1" fmla="*/ 2 h 2"/>
                    <a:gd name="T2" fmla="*/ 1 w 1"/>
                    <a:gd name="T3" fmla="*/ 0 h 2"/>
                    <a:gd name="T4" fmla="*/ 0 w 1"/>
                    <a:gd name="T5" fmla="*/ 2 h 2"/>
                    <a:gd name="T6" fmla="*/ 1 w 1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2">
                      <a:moveTo>
                        <a:pt x="1" y="2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00" name="Freeform 501">
                  <a:extLst>
                    <a:ext uri="{FF2B5EF4-FFF2-40B4-BE49-F238E27FC236}">
                      <a16:creationId xmlns:a16="http://schemas.microsoft.com/office/drawing/2014/main" id="{4105C8A4-BDD4-4A31-9C76-E738521F68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7" y="2747"/>
                  <a:ext cx="1" cy="3"/>
                </a:xfrm>
                <a:custGeom>
                  <a:avLst/>
                  <a:gdLst>
                    <a:gd name="T0" fmla="*/ 0 w 1"/>
                    <a:gd name="T1" fmla="*/ 0 h 3"/>
                    <a:gd name="T2" fmla="*/ 0 w 1"/>
                    <a:gd name="T3" fmla="*/ 3 h 3"/>
                    <a:gd name="T4" fmla="*/ 1 w 1"/>
                    <a:gd name="T5" fmla="*/ 1 h 3"/>
                    <a:gd name="T6" fmla="*/ 0 w 1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3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01" name="Freeform 502">
                  <a:extLst>
                    <a:ext uri="{FF2B5EF4-FFF2-40B4-BE49-F238E27FC236}">
                      <a16:creationId xmlns:a16="http://schemas.microsoft.com/office/drawing/2014/main" id="{895FDBA6-426E-4FD4-8243-66AD2E145F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91" y="2973"/>
                  <a:ext cx="28" cy="18"/>
                </a:xfrm>
                <a:custGeom>
                  <a:avLst/>
                  <a:gdLst>
                    <a:gd name="T0" fmla="*/ 7 w 28"/>
                    <a:gd name="T1" fmla="*/ 9 h 18"/>
                    <a:gd name="T2" fmla="*/ 10 w 28"/>
                    <a:gd name="T3" fmla="*/ 9 h 18"/>
                    <a:gd name="T4" fmla="*/ 12 w 28"/>
                    <a:gd name="T5" fmla="*/ 12 h 18"/>
                    <a:gd name="T6" fmla="*/ 14 w 28"/>
                    <a:gd name="T7" fmla="*/ 13 h 18"/>
                    <a:gd name="T8" fmla="*/ 17 w 28"/>
                    <a:gd name="T9" fmla="*/ 17 h 18"/>
                    <a:gd name="T10" fmla="*/ 20 w 28"/>
                    <a:gd name="T11" fmla="*/ 18 h 18"/>
                    <a:gd name="T12" fmla="*/ 24 w 28"/>
                    <a:gd name="T13" fmla="*/ 17 h 18"/>
                    <a:gd name="T14" fmla="*/ 28 w 28"/>
                    <a:gd name="T15" fmla="*/ 16 h 18"/>
                    <a:gd name="T16" fmla="*/ 28 w 28"/>
                    <a:gd name="T17" fmla="*/ 14 h 18"/>
                    <a:gd name="T18" fmla="*/ 25 w 28"/>
                    <a:gd name="T19" fmla="*/ 11 h 18"/>
                    <a:gd name="T20" fmla="*/ 23 w 28"/>
                    <a:gd name="T21" fmla="*/ 7 h 18"/>
                    <a:gd name="T22" fmla="*/ 20 w 28"/>
                    <a:gd name="T23" fmla="*/ 7 h 18"/>
                    <a:gd name="T24" fmla="*/ 19 w 28"/>
                    <a:gd name="T25" fmla="*/ 4 h 18"/>
                    <a:gd name="T26" fmla="*/ 16 w 28"/>
                    <a:gd name="T27" fmla="*/ 1 h 18"/>
                    <a:gd name="T28" fmla="*/ 13 w 28"/>
                    <a:gd name="T29" fmla="*/ 4 h 18"/>
                    <a:gd name="T30" fmla="*/ 10 w 28"/>
                    <a:gd name="T31" fmla="*/ 4 h 18"/>
                    <a:gd name="T32" fmla="*/ 7 w 28"/>
                    <a:gd name="T33" fmla="*/ 0 h 18"/>
                    <a:gd name="T34" fmla="*/ 0 w 28"/>
                    <a:gd name="T35" fmla="*/ 4 h 18"/>
                    <a:gd name="T36" fmla="*/ 0 w 28"/>
                    <a:gd name="T37" fmla="*/ 6 h 18"/>
                    <a:gd name="T38" fmla="*/ 3 w 28"/>
                    <a:gd name="T39" fmla="*/ 8 h 18"/>
                    <a:gd name="T40" fmla="*/ 7 w 28"/>
                    <a:gd name="T41" fmla="*/ 9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8" h="18">
                      <a:moveTo>
                        <a:pt x="7" y="9"/>
                      </a:moveTo>
                      <a:lnTo>
                        <a:pt x="10" y="9"/>
                      </a:lnTo>
                      <a:lnTo>
                        <a:pt x="12" y="12"/>
                      </a:lnTo>
                      <a:lnTo>
                        <a:pt x="14" y="13"/>
                      </a:lnTo>
                      <a:lnTo>
                        <a:pt x="17" y="17"/>
                      </a:lnTo>
                      <a:lnTo>
                        <a:pt x="20" y="18"/>
                      </a:lnTo>
                      <a:lnTo>
                        <a:pt x="24" y="17"/>
                      </a:lnTo>
                      <a:lnTo>
                        <a:pt x="28" y="16"/>
                      </a:lnTo>
                      <a:lnTo>
                        <a:pt x="28" y="14"/>
                      </a:lnTo>
                      <a:lnTo>
                        <a:pt x="25" y="11"/>
                      </a:lnTo>
                      <a:lnTo>
                        <a:pt x="23" y="7"/>
                      </a:lnTo>
                      <a:lnTo>
                        <a:pt x="20" y="7"/>
                      </a:lnTo>
                      <a:lnTo>
                        <a:pt x="19" y="4"/>
                      </a:lnTo>
                      <a:lnTo>
                        <a:pt x="16" y="1"/>
                      </a:lnTo>
                      <a:lnTo>
                        <a:pt x="13" y="4"/>
                      </a:lnTo>
                      <a:lnTo>
                        <a:pt x="10" y="4"/>
                      </a:lnTo>
                      <a:lnTo>
                        <a:pt x="7" y="0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3" y="8"/>
                      </a:lnTo>
                      <a:lnTo>
                        <a:pt x="7" y="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02" name="Freeform 503">
                  <a:extLst>
                    <a:ext uri="{FF2B5EF4-FFF2-40B4-BE49-F238E27FC236}">
                      <a16:creationId xmlns:a16="http://schemas.microsoft.com/office/drawing/2014/main" id="{CBDF4B86-3F26-4BB9-BB8A-F47FA33D00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8" y="2888"/>
                  <a:ext cx="9" cy="21"/>
                </a:xfrm>
                <a:custGeom>
                  <a:avLst/>
                  <a:gdLst>
                    <a:gd name="T0" fmla="*/ 7 w 9"/>
                    <a:gd name="T1" fmla="*/ 13 h 21"/>
                    <a:gd name="T2" fmla="*/ 5 w 9"/>
                    <a:gd name="T3" fmla="*/ 13 h 21"/>
                    <a:gd name="T4" fmla="*/ 5 w 9"/>
                    <a:gd name="T5" fmla="*/ 9 h 21"/>
                    <a:gd name="T6" fmla="*/ 5 w 9"/>
                    <a:gd name="T7" fmla="*/ 9 h 21"/>
                    <a:gd name="T8" fmla="*/ 7 w 9"/>
                    <a:gd name="T9" fmla="*/ 7 h 21"/>
                    <a:gd name="T10" fmla="*/ 8 w 9"/>
                    <a:gd name="T11" fmla="*/ 6 h 21"/>
                    <a:gd name="T12" fmla="*/ 8 w 9"/>
                    <a:gd name="T13" fmla="*/ 6 h 21"/>
                    <a:gd name="T14" fmla="*/ 9 w 9"/>
                    <a:gd name="T15" fmla="*/ 5 h 21"/>
                    <a:gd name="T16" fmla="*/ 7 w 9"/>
                    <a:gd name="T17" fmla="*/ 2 h 21"/>
                    <a:gd name="T18" fmla="*/ 7 w 9"/>
                    <a:gd name="T19" fmla="*/ 1 h 21"/>
                    <a:gd name="T20" fmla="*/ 5 w 9"/>
                    <a:gd name="T21" fmla="*/ 0 h 21"/>
                    <a:gd name="T22" fmla="*/ 4 w 9"/>
                    <a:gd name="T23" fmla="*/ 2 h 21"/>
                    <a:gd name="T24" fmla="*/ 4 w 9"/>
                    <a:gd name="T25" fmla="*/ 7 h 21"/>
                    <a:gd name="T26" fmla="*/ 2 w 9"/>
                    <a:gd name="T27" fmla="*/ 12 h 21"/>
                    <a:gd name="T28" fmla="*/ 0 w 9"/>
                    <a:gd name="T29" fmla="*/ 17 h 21"/>
                    <a:gd name="T30" fmla="*/ 0 w 9"/>
                    <a:gd name="T31" fmla="*/ 20 h 21"/>
                    <a:gd name="T32" fmla="*/ 2 w 9"/>
                    <a:gd name="T33" fmla="*/ 21 h 21"/>
                    <a:gd name="T34" fmla="*/ 4 w 9"/>
                    <a:gd name="T35" fmla="*/ 20 h 21"/>
                    <a:gd name="T36" fmla="*/ 5 w 9"/>
                    <a:gd name="T37" fmla="*/ 16 h 21"/>
                    <a:gd name="T38" fmla="*/ 7 w 9"/>
                    <a:gd name="T39" fmla="*/ 16 h 21"/>
                    <a:gd name="T40" fmla="*/ 8 w 9"/>
                    <a:gd name="T41" fmla="*/ 14 h 21"/>
                    <a:gd name="T42" fmla="*/ 7 w 9"/>
                    <a:gd name="T43" fmla="*/ 13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9" h="21">
                      <a:moveTo>
                        <a:pt x="7" y="13"/>
                      </a:moveTo>
                      <a:lnTo>
                        <a:pt x="5" y="13"/>
                      </a:lnTo>
                      <a:lnTo>
                        <a:pt x="5" y="9"/>
                      </a:lnTo>
                      <a:lnTo>
                        <a:pt x="5" y="9"/>
                      </a:lnTo>
                      <a:lnTo>
                        <a:pt x="7" y="7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9" y="5"/>
                      </a:lnTo>
                      <a:lnTo>
                        <a:pt x="7" y="2"/>
                      </a:lnTo>
                      <a:lnTo>
                        <a:pt x="7" y="1"/>
                      </a:lnTo>
                      <a:lnTo>
                        <a:pt x="5" y="0"/>
                      </a:lnTo>
                      <a:lnTo>
                        <a:pt x="4" y="2"/>
                      </a:lnTo>
                      <a:lnTo>
                        <a:pt x="4" y="7"/>
                      </a:lnTo>
                      <a:lnTo>
                        <a:pt x="2" y="12"/>
                      </a:lnTo>
                      <a:lnTo>
                        <a:pt x="0" y="17"/>
                      </a:lnTo>
                      <a:lnTo>
                        <a:pt x="0" y="20"/>
                      </a:lnTo>
                      <a:lnTo>
                        <a:pt x="2" y="21"/>
                      </a:lnTo>
                      <a:lnTo>
                        <a:pt x="4" y="20"/>
                      </a:lnTo>
                      <a:lnTo>
                        <a:pt x="5" y="16"/>
                      </a:lnTo>
                      <a:lnTo>
                        <a:pt x="7" y="16"/>
                      </a:lnTo>
                      <a:lnTo>
                        <a:pt x="8" y="14"/>
                      </a:lnTo>
                      <a:lnTo>
                        <a:pt x="7" y="1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03" name="Freeform 504">
                  <a:extLst>
                    <a:ext uri="{FF2B5EF4-FFF2-40B4-BE49-F238E27FC236}">
                      <a16:creationId xmlns:a16="http://schemas.microsoft.com/office/drawing/2014/main" id="{4014DF75-BEAE-469D-86F0-9015B42C1A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09" y="2952"/>
                  <a:ext cx="3" cy="3"/>
                </a:xfrm>
                <a:custGeom>
                  <a:avLst/>
                  <a:gdLst>
                    <a:gd name="T0" fmla="*/ 3 w 3"/>
                    <a:gd name="T1" fmla="*/ 2 h 3"/>
                    <a:gd name="T2" fmla="*/ 2 w 3"/>
                    <a:gd name="T3" fmla="*/ 0 h 3"/>
                    <a:gd name="T4" fmla="*/ 0 w 3"/>
                    <a:gd name="T5" fmla="*/ 1 h 3"/>
                    <a:gd name="T6" fmla="*/ 1 w 3"/>
                    <a:gd name="T7" fmla="*/ 3 h 3"/>
                    <a:gd name="T8" fmla="*/ 3 w 3"/>
                    <a:gd name="T9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3" y="2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04" name="Freeform 505">
                  <a:extLst>
                    <a:ext uri="{FF2B5EF4-FFF2-40B4-BE49-F238E27FC236}">
                      <a16:creationId xmlns:a16="http://schemas.microsoft.com/office/drawing/2014/main" id="{254A3573-05A3-4984-9B17-E7D49BD4A3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3" y="2955"/>
                  <a:ext cx="2" cy="3"/>
                </a:xfrm>
                <a:custGeom>
                  <a:avLst/>
                  <a:gdLst>
                    <a:gd name="T0" fmla="*/ 1 w 2"/>
                    <a:gd name="T1" fmla="*/ 0 h 3"/>
                    <a:gd name="T2" fmla="*/ 0 w 2"/>
                    <a:gd name="T3" fmla="*/ 2 h 3"/>
                    <a:gd name="T4" fmla="*/ 1 w 2"/>
                    <a:gd name="T5" fmla="*/ 3 h 3"/>
                    <a:gd name="T6" fmla="*/ 2 w 2"/>
                    <a:gd name="T7" fmla="*/ 1 h 3"/>
                    <a:gd name="T8" fmla="*/ 1 w 2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1" y="0"/>
                      </a:move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2" y="1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05" name="Freeform 506">
                  <a:extLst>
                    <a:ext uri="{FF2B5EF4-FFF2-40B4-BE49-F238E27FC236}">
                      <a16:creationId xmlns:a16="http://schemas.microsoft.com/office/drawing/2014/main" id="{01EED1FD-E870-433E-B947-963623F82E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5" y="2995"/>
                  <a:ext cx="9" cy="8"/>
                </a:xfrm>
                <a:custGeom>
                  <a:avLst/>
                  <a:gdLst>
                    <a:gd name="T0" fmla="*/ 8 w 9"/>
                    <a:gd name="T1" fmla="*/ 5 h 8"/>
                    <a:gd name="T2" fmla="*/ 9 w 9"/>
                    <a:gd name="T3" fmla="*/ 2 h 8"/>
                    <a:gd name="T4" fmla="*/ 8 w 9"/>
                    <a:gd name="T5" fmla="*/ 0 h 8"/>
                    <a:gd name="T6" fmla="*/ 6 w 9"/>
                    <a:gd name="T7" fmla="*/ 2 h 8"/>
                    <a:gd name="T8" fmla="*/ 6 w 9"/>
                    <a:gd name="T9" fmla="*/ 2 h 8"/>
                    <a:gd name="T10" fmla="*/ 2 w 9"/>
                    <a:gd name="T11" fmla="*/ 5 h 8"/>
                    <a:gd name="T12" fmla="*/ 0 w 9"/>
                    <a:gd name="T13" fmla="*/ 7 h 8"/>
                    <a:gd name="T14" fmla="*/ 2 w 9"/>
                    <a:gd name="T15" fmla="*/ 8 h 8"/>
                    <a:gd name="T16" fmla="*/ 8 w 9"/>
                    <a:gd name="T17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8">
                      <a:moveTo>
                        <a:pt x="8" y="5"/>
                      </a:moveTo>
                      <a:lnTo>
                        <a:pt x="9" y="2"/>
                      </a:lnTo>
                      <a:lnTo>
                        <a:pt x="8" y="0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2" y="5"/>
                      </a:lnTo>
                      <a:lnTo>
                        <a:pt x="0" y="7"/>
                      </a:lnTo>
                      <a:lnTo>
                        <a:pt x="2" y="8"/>
                      </a:lnTo>
                      <a:lnTo>
                        <a:pt x="8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06" name="Freeform 507">
                  <a:extLst>
                    <a:ext uri="{FF2B5EF4-FFF2-40B4-BE49-F238E27FC236}">
                      <a16:creationId xmlns:a16="http://schemas.microsoft.com/office/drawing/2014/main" id="{65356CB6-9A02-4469-9FEB-3774594B0C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2" y="2990"/>
                  <a:ext cx="2" cy="3"/>
                </a:xfrm>
                <a:custGeom>
                  <a:avLst/>
                  <a:gdLst>
                    <a:gd name="T0" fmla="*/ 1 w 2"/>
                    <a:gd name="T1" fmla="*/ 0 h 3"/>
                    <a:gd name="T2" fmla="*/ 0 w 2"/>
                    <a:gd name="T3" fmla="*/ 2 h 3"/>
                    <a:gd name="T4" fmla="*/ 1 w 2"/>
                    <a:gd name="T5" fmla="*/ 3 h 3"/>
                    <a:gd name="T6" fmla="*/ 2 w 2"/>
                    <a:gd name="T7" fmla="*/ 0 h 3"/>
                    <a:gd name="T8" fmla="*/ 1 w 2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1" y="0"/>
                      </a:move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2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07" name="Freeform 508">
                  <a:extLst>
                    <a:ext uri="{FF2B5EF4-FFF2-40B4-BE49-F238E27FC236}">
                      <a16:creationId xmlns:a16="http://schemas.microsoft.com/office/drawing/2014/main" id="{0B5975ED-BA03-4788-A64F-714E2F222A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9" y="2960"/>
                  <a:ext cx="4" cy="3"/>
                </a:xfrm>
                <a:custGeom>
                  <a:avLst/>
                  <a:gdLst>
                    <a:gd name="T0" fmla="*/ 0 w 4"/>
                    <a:gd name="T1" fmla="*/ 3 h 3"/>
                    <a:gd name="T2" fmla="*/ 1 w 4"/>
                    <a:gd name="T3" fmla="*/ 1 h 3"/>
                    <a:gd name="T4" fmla="*/ 4 w 4"/>
                    <a:gd name="T5" fmla="*/ 0 h 3"/>
                    <a:gd name="T6" fmla="*/ 1 w 4"/>
                    <a:gd name="T7" fmla="*/ 1 h 3"/>
                    <a:gd name="T8" fmla="*/ 0 w 4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0" y="3"/>
                      </a:move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08" name="Freeform 509">
                  <a:extLst>
                    <a:ext uri="{FF2B5EF4-FFF2-40B4-BE49-F238E27FC236}">
                      <a16:creationId xmlns:a16="http://schemas.microsoft.com/office/drawing/2014/main" id="{65C010BC-9DB9-4313-94BB-C37CD09668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12" y="2940"/>
                  <a:ext cx="3" cy="3"/>
                </a:xfrm>
                <a:custGeom>
                  <a:avLst/>
                  <a:gdLst>
                    <a:gd name="T0" fmla="*/ 0 w 3"/>
                    <a:gd name="T1" fmla="*/ 0 h 3"/>
                    <a:gd name="T2" fmla="*/ 0 w 3"/>
                    <a:gd name="T3" fmla="*/ 2 h 3"/>
                    <a:gd name="T4" fmla="*/ 0 w 3"/>
                    <a:gd name="T5" fmla="*/ 3 h 3"/>
                    <a:gd name="T6" fmla="*/ 3 w 3"/>
                    <a:gd name="T7" fmla="*/ 1 h 3"/>
                    <a:gd name="T8" fmla="*/ 0 w 3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3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09" name="Rectangle 510">
                  <a:extLst>
                    <a:ext uri="{FF2B5EF4-FFF2-40B4-BE49-F238E27FC236}">
                      <a16:creationId xmlns:a16="http://schemas.microsoft.com/office/drawing/2014/main" id="{835CB0BC-BAE8-4636-8307-896EE01EC11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276" y="2749"/>
                  <a:ext cx="1" cy="3"/>
                </a:xfrm>
                <a:prstGeom prst="rect">
                  <a:avLst/>
                </a:pr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10" name="Freeform 511">
                  <a:extLst>
                    <a:ext uri="{FF2B5EF4-FFF2-40B4-BE49-F238E27FC236}">
                      <a16:creationId xmlns:a16="http://schemas.microsoft.com/office/drawing/2014/main" id="{4FF0460E-0BD5-4F8D-B33D-D1BA5BFA10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12" y="2823"/>
                  <a:ext cx="4" cy="3"/>
                </a:xfrm>
                <a:custGeom>
                  <a:avLst/>
                  <a:gdLst>
                    <a:gd name="T0" fmla="*/ 2 w 4"/>
                    <a:gd name="T1" fmla="*/ 1 h 3"/>
                    <a:gd name="T2" fmla="*/ 1 w 4"/>
                    <a:gd name="T3" fmla="*/ 0 h 3"/>
                    <a:gd name="T4" fmla="*/ 0 w 4"/>
                    <a:gd name="T5" fmla="*/ 2 h 3"/>
                    <a:gd name="T6" fmla="*/ 4 w 4"/>
                    <a:gd name="T7" fmla="*/ 3 h 3"/>
                    <a:gd name="T8" fmla="*/ 2 w 4"/>
                    <a:gd name="T9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2" y="1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4" y="3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11" name="Freeform 512">
                  <a:extLst>
                    <a:ext uri="{FF2B5EF4-FFF2-40B4-BE49-F238E27FC236}">
                      <a16:creationId xmlns:a16="http://schemas.microsoft.com/office/drawing/2014/main" id="{E2995BE0-64D4-4B09-B048-E1F3A46E27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16" y="2835"/>
                  <a:ext cx="11" cy="7"/>
                </a:xfrm>
                <a:custGeom>
                  <a:avLst/>
                  <a:gdLst>
                    <a:gd name="T0" fmla="*/ 4 w 11"/>
                    <a:gd name="T1" fmla="*/ 7 h 7"/>
                    <a:gd name="T2" fmla="*/ 6 w 11"/>
                    <a:gd name="T3" fmla="*/ 6 h 7"/>
                    <a:gd name="T4" fmla="*/ 8 w 11"/>
                    <a:gd name="T5" fmla="*/ 6 h 7"/>
                    <a:gd name="T6" fmla="*/ 10 w 11"/>
                    <a:gd name="T7" fmla="*/ 6 h 7"/>
                    <a:gd name="T8" fmla="*/ 11 w 11"/>
                    <a:gd name="T9" fmla="*/ 4 h 7"/>
                    <a:gd name="T10" fmla="*/ 7 w 11"/>
                    <a:gd name="T11" fmla="*/ 0 h 7"/>
                    <a:gd name="T12" fmla="*/ 4 w 11"/>
                    <a:gd name="T13" fmla="*/ 0 h 7"/>
                    <a:gd name="T14" fmla="*/ 0 w 11"/>
                    <a:gd name="T15" fmla="*/ 4 h 7"/>
                    <a:gd name="T16" fmla="*/ 2 w 11"/>
                    <a:gd name="T17" fmla="*/ 5 h 7"/>
                    <a:gd name="T18" fmla="*/ 4 w 11"/>
                    <a:gd name="T1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" h="7">
                      <a:moveTo>
                        <a:pt x="4" y="7"/>
                      </a:moveTo>
                      <a:lnTo>
                        <a:pt x="6" y="6"/>
                      </a:lnTo>
                      <a:lnTo>
                        <a:pt x="8" y="6"/>
                      </a:lnTo>
                      <a:lnTo>
                        <a:pt x="10" y="6"/>
                      </a:lnTo>
                      <a:lnTo>
                        <a:pt x="11" y="4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0" y="4"/>
                      </a:lnTo>
                      <a:lnTo>
                        <a:pt x="2" y="5"/>
                      </a:lnTo>
                      <a:lnTo>
                        <a:pt x="4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12" name="Freeform 513">
                  <a:extLst>
                    <a:ext uri="{FF2B5EF4-FFF2-40B4-BE49-F238E27FC236}">
                      <a16:creationId xmlns:a16="http://schemas.microsoft.com/office/drawing/2014/main" id="{08884C8B-02EB-4319-918A-BE8E6791DD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0" y="2865"/>
                  <a:ext cx="2" cy="1"/>
                </a:xfrm>
                <a:custGeom>
                  <a:avLst/>
                  <a:gdLst>
                    <a:gd name="T0" fmla="*/ 2 w 2"/>
                    <a:gd name="T1" fmla="*/ 1 h 1"/>
                    <a:gd name="T2" fmla="*/ 2 w 2"/>
                    <a:gd name="T3" fmla="*/ 0 h 1"/>
                    <a:gd name="T4" fmla="*/ 0 w 2"/>
                    <a:gd name="T5" fmla="*/ 1 h 1"/>
                    <a:gd name="T6" fmla="*/ 2 w 2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13" name="Freeform 514">
                  <a:extLst>
                    <a:ext uri="{FF2B5EF4-FFF2-40B4-BE49-F238E27FC236}">
                      <a16:creationId xmlns:a16="http://schemas.microsoft.com/office/drawing/2014/main" id="{26B6B45E-4A81-45A4-953E-E3C05CBAAF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3" y="2861"/>
                  <a:ext cx="2" cy="2"/>
                </a:xfrm>
                <a:custGeom>
                  <a:avLst/>
                  <a:gdLst>
                    <a:gd name="T0" fmla="*/ 0 w 2"/>
                    <a:gd name="T1" fmla="*/ 2 h 2"/>
                    <a:gd name="T2" fmla="*/ 1 w 2"/>
                    <a:gd name="T3" fmla="*/ 2 h 2"/>
                    <a:gd name="T4" fmla="*/ 2 w 2"/>
                    <a:gd name="T5" fmla="*/ 0 h 2"/>
                    <a:gd name="T6" fmla="*/ 0 w 2"/>
                    <a:gd name="T7" fmla="*/ 0 h 2"/>
                    <a:gd name="T8" fmla="*/ 0 w 2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lnTo>
                        <a:pt x="1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14" name="Freeform 515">
                  <a:extLst>
                    <a:ext uri="{FF2B5EF4-FFF2-40B4-BE49-F238E27FC236}">
                      <a16:creationId xmlns:a16="http://schemas.microsoft.com/office/drawing/2014/main" id="{D49B72D3-9BD7-4026-AB9C-5BB728DE7D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16" y="2954"/>
                  <a:ext cx="1" cy="2"/>
                </a:xfrm>
                <a:custGeom>
                  <a:avLst/>
                  <a:gdLst>
                    <a:gd name="T0" fmla="*/ 1 w 1"/>
                    <a:gd name="T1" fmla="*/ 0 h 2"/>
                    <a:gd name="T2" fmla="*/ 0 w 1"/>
                    <a:gd name="T3" fmla="*/ 1 h 2"/>
                    <a:gd name="T4" fmla="*/ 1 w 1"/>
                    <a:gd name="T5" fmla="*/ 2 h 2"/>
                    <a:gd name="T6" fmla="*/ 1 w 1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2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1" y="2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15" name="Freeform 516">
                  <a:extLst>
                    <a:ext uri="{FF2B5EF4-FFF2-40B4-BE49-F238E27FC236}">
                      <a16:creationId xmlns:a16="http://schemas.microsoft.com/office/drawing/2014/main" id="{3AB689FD-911B-4E97-9C8C-DC361B245D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8" y="2689"/>
                  <a:ext cx="62" cy="98"/>
                </a:xfrm>
                <a:custGeom>
                  <a:avLst/>
                  <a:gdLst>
                    <a:gd name="T0" fmla="*/ 24 w 62"/>
                    <a:gd name="T1" fmla="*/ 17 h 98"/>
                    <a:gd name="T2" fmla="*/ 21 w 62"/>
                    <a:gd name="T3" fmla="*/ 15 h 98"/>
                    <a:gd name="T4" fmla="*/ 14 w 62"/>
                    <a:gd name="T5" fmla="*/ 18 h 98"/>
                    <a:gd name="T6" fmla="*/ 15 w 62"/>
                    <a:gd name="T7" fmla="*/ 13 h 98"/>
                    <a:gd name="T8" fmla="*/ 14 w 62"/>
                    <a:gd name="T9" fmla="*/ 6 h 98"/>
                    <a:gd name="T10" fmla="*/ 10 w 62"/>
                    <a:gd name="T11" fmla="*/ 4 h 98"/>
                    <a:gd name="T12" fmla="*/ 3 w 62"/>
                    <a:gd name="T13" fmla="*/ 0 h 98"/>
                    <a:gd name="T14" fmla="*/ 0 w 62"/>
                    <a:gd name="T15" fmla="*/ 7 h 98"/>
                    <a:gd name="T16" fmla="*/ 5 w 62"/>
                    <a:gd name="T17" fmla="*/ 26 h 98"/>
                    <a:gd name="T18" fmla="*/ 8 w 62"/>
                    <a:gd name="T19" fmla="*/ 35 h 98"/>
                    <a:gd name="T20" fmla="*/ 7 w 62"/>
                    <a:gd name="T21" fmla="*/ 42 h 98"/>
                    <a:gd name="T22" fmla="*/ 10 w 62"/>
                    <a:gd name="T23" fmla="*/ 48 h 98"/>
                    <a:gd name="T24" fmla="*/ 10 w 62"/>
                    <a:gd name="T25" fmla="*/ 52 h 98"/>
                    <a:gd name="T26" fmla="*/ 17 w 62"/>
                    <a:gd name="T27" fmla="*/ 60 h 98"/>
                    <a:gd name="T28" fmla="*/ 21 w 62"/>
                    <a:gd name="T29" fmla="*/ 64 h 98"/>
                    <a:gd name="T30" fmla="*/ 18 w 62"/>
                    <a:gd name="T31" fmla="*/ 69 h 98"/>
                    <a:gd name="T32" fmla="*/ 25 w 62"/>
                    <a:gd name="T33" fmla="*/ 74 h 98"/>
                    <a:gd name="T34" fmla="*/ 29 w 62"/>
                    <a:gd name="T35" fmla="*/ 81 h 98"/>
                    <a:gd name="T36" fmla="*/ 34 w 62"/>
                    <a:gd name="T37" fmla="*/ 85 h 98"/>
                    <a:gd name="T38" fmla="*/ 38 w 62"/>
                    <a:gd name="T39" fmla="*/ 86 h 98"/>
                    <a:gd name="T40" fmla="*/ 45 w 62"/>
                    <a:gd name="T41" fmla="*/ 91 h 98"/>
                    <a:gd name="T42" fmla="*/ 51 w 62"/>
                    <a:gd name="T43" fmla="*/ 95 h 98"/>
                    <a:gd name="T44" fmla="*/ 55 w 62"/>
                    <a:gd name="T45" fmla="*/ 95 h 98"/>
                    <a:gd name="T46" fmla="*/ 59 w 62"/>
                    <a:gd name="T47" fmla="*/ 95 h 98"/>
                    <a:gd name="T48" fmla="*/ 57 w 62"/>
                    <a:gd name="T49" fmla="*/ 94 h 98"/>
                    <a:gd name="T50" fmla="*/ 59 w 62"/>
                    <a:gd name="T51" fmla="*/ 92 h 98"/>
                    <a:gd name="T52" fmla="*/ 59 w 62"/>
                    <a:gd name="T53" fmla="*/ 92 h 98"/>
                    <a:gd name="T54" fmla="*/ 59 w 62"/>
                    <a:gd name="T55" fmla="*/ 95 h 98"/>
                    <a:gd name="T56" fmla="*/ 62 w 62"/>
                    <a:gd name="T57" fmla="*/ 91 h 98"/>
                    <a:gd name="T58" fmla="*/ 58 w 62"/>
                    <a:gd name="T59" fmla="*/ 84 h 98"/>
                    <a:gd name="T60" fmla="*/ 57 w 62"/>
                    <a:gd name="T61" fmla="*/ 81 h 98"/>
                    <a:gd name="T62" fmla="*/ 55 w 62"/>
                    <a:gd name="T63" fmla="*/ 76 h 98"/>
                    <a:gd name="T64" fmla="*/ 55 w 62"/>
                    <a:gd name="T65" fmla="*/ 73 h 98"/>
                    <a:gd name="T66" fmla="*/ 50 w 62"/>
                    <a:gd name="T67" fmla="*/ 69 h 98"/>
                    <a:gd name="T68" fmla="*/ 48 w 62"/>
                    <a:gd name="T69" fmla="*/ 56 h 98"/>
                    <a:gd name="T70" fmla="*/ 47 w 62"/>
                    <a:gd name="T71" fmla="*/ 51 h 98"/>
                    <a:gd name="T72" fmla="*/ 48 w 62"/>
                    <a:gd name="T73" fmla="*/ 41 h 98"/>
                    <a:gd name="T74" fmla="*/ 47 w 62"/>
                    <a:gd name="T75" fmla="*/ 32 h 98"/>
                    <a:gd name="T76" fmla="*/ 34 w 62"/>
                    <a:gd name="T77" fmla="*/ 14 h 98"/>
                    <a:gd name="T78" fmla="*/ 31 w 62"/>
                    <a:gd name="T79" fmla="*/ 10 h 98"/>
                    <a:gd name="T80" fmla="*/ 27 w 62"/>
                    <a:gd name="T81" fmla="*/ 12 h 98"/>
                    <a:gd name="T82" fmla="*/ 27 w 62"/>
                    <a:gd name="T83" fmla="*/ 12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62" h="98">
                      <a:moveTo>
                        <a:pt x="27" y="15"/>
                      </a:moveTo>
                      <a:lnTo>
                        <a:pt x="24" y="17"/>
                      </a:lnTo>
                      <a:lnTo>
                        <a:pt x="23" y="15"/>
                      </a:lnTo>
                      <a:lnTo>
                        <a:pt x="21" y="15"/>
                      </a:lnTo>
                      <a:lnTo>
                        <a:pt x="17" y="19"/>
                      </a:lnTo>
                      <a:lnTo>
                        <a:pt x="14" y="18"/>
                      </a:lnTo>
                      <a:lnTo>
                        <a:pt x="14" y="15"/>
                      </a:lnTo>
                      <a:lnTo>
                        <a:pt x="15" y="13"/>
                      </a:lnTo>
                      <a:lnTo>
                        <a:pt x="15" y="8"/>
                      </a:lnTo>
                      <a:lnTo>
                        <a:pt x="14" y="6"/>
                      </a:lnTo>
                      <a:lnTo>
                        <a:pt x="10" y="6"/>
                      </a:lnTo>
                      <a:lnTo>
                        <a:pt x="10" y="4"/>
                      </a:lnTo>
                      <a:lnTo>
                        <a:pt x="6" y="3"/>
                      </a:lnTo>
                      <a:lnTo>
                        <a:pt x="3" y="0"/>
                      </a:lnTo>
                      <a:lnTo>
                        <a:pt x="2" y="3"/>
                      </a:lnTo>
                      <a:lnTo>
                        <a:pt x="0" y="7"/>
                      </a:lnTo>
                      <a:lnTo>
                        <a:pt x="3" y="12"/>
                      </a:lnTo>
                      <a:lnTo>
                        <a:pt x="5" y="26"/>
                      </a:lnTo>
                      <a:lnTo>
                        <a:pt x="7" y="31"/>
                      </a:lnTo>
                      <a:lnTo>
                        <a:pt x="8" y="35"/>
                      </a:lnTo>
                      <a:lnTo>
                        <a:pt x="8" y="41"/>
                      </a:lnTo>
                      <a:lnTo>
                        <a:pt x="7" y="42"/>
                      </a:lnTo>
                      <a:lnTo>
                        <a:pt x="7" y="45"/>
                      </a:lnTo>
                      <a:lnTo>
                        <a:pt x="10" y="48"/>
                      </a:lnTo>
                      <a:lnTo>
                        <a:pt x="9" y="49"/>
                      </a:lnTo>
                      <a:lnTo>
                        <a:pt x="10" y="52"/>
                      </a:lnTo>
                      <a:lnTo>
                        <a:pt x="14" y="55"/>
                      </a:lnTo>
                      <a:lnTo>
                        <a:pt x="17" y="60"/>
                      </a:lnTo>
                      <a:lnTo>
                        <a:pt x="19" y="61"/>
                      </a:lnTo>
                      <a:lnTo>
                        <a:pt x="21" y="64"/>
                      </a:lnTo>
                      <a:lnTo>
                        <a:pt x="19" y="67"/>
                      </a:lnTo>
                      <a:lnTo>
                        <a:pt x="18" y="69"/>
                      </a:lnTo>
                      <a:lnTo>
                        <a:pt x="21" y="71"/>
                      </a:lnTo>
                      <a:lnTo>
                        <a:pt x="25" y="74"/>
                      </a:lnTo>
                      <a:lnTo>
                        <a:pt x="30" y="77"/>
                      </a:lnTo>
                      <a:lnTo>
                        <a:pt x="29" y="81"/>
                      </a:lnTo>
                      <a:lnTo>
                        <a:pt x="33" y="85"/>
                      </a:lnTo>
                      <a:lnTo>
                        <a:pt x="34" y="85"/>
                      </a:lnTo>
                      <a:lnTo>
                        <a:pt x="37" y="84"/>
                      </a:lnTo>
                      <a:lnTo>
                        <a:pt x="38" y="86"/>
                      </a:lnTo>
                      <a:lnTo>
                        <a:pt x="41" y="89"/>
                      </a:lnTo>
                      <a:lnTo>
                        <a:pt x="45" y="91"/>
                      </a:lnTo>
                      <a:lnTo>
                        <a:pt x="49" y="93"/>
                      </a:lnTo>
                      <a:lnTo>
                        <a:pt x="51" y="95"/>
                      </a:lnTo>
                      <a:lnTo>
                        <a:pt x="54" y="97"/>
                      </a:lnTo>
                      <a:lnTo>
                        <a:pt x="55" y="95"/>
                      </a:lnTo>
                      <a:lnTo>
                        <a:pt x="55" y="98"/>
                      </a:lnTo>
                      <a:lnTo>
                        <a:pt x="59" y="95"/>
                      </a:lnTo>
                      <a:lnTo>
                        <a:pt x="59" y="94"/>
                      </a:lnTo>
                      <a:lnTo>
                        <a:pt x="57" y="94"/>
                      </a:lnTo>
                      <a:lnTo>
                        <a:pt x="59" y="94"/>
                      </a:lnTo>
                      <a:lnTo>
                        <a:pt x="59" y="92"/>
                      </a:lnTo>
                      <a:lnTo>
                        <a:pt x="58" y="91"/>
                      </a:lnTo>
                      <a:lnTo>
                        <a:pt x="59" y="92"/>
                      </a:lnTo>
                      <a:lnTo>
                        <a:pt x="59" y="94"/>
                      </a:lnTo>
                      <a:lnTo>
                        <a:pt x="59" y="95"/>
                      </a:lnTo>
                      <a:lnTo>
                        <a:pt x="62" y="96"/>
                      </a:lnTo>
                      <a:lnTo>
                        <a:pt x="62" y="91"/>
                      </a:lnTo>
                      <a:lnTo>
                        <a:pt x="59" y="84"/>
                      </a:lnTo>
                      <a:lnTo>
                        <a:pt x="58" y="84"/>
                      </a:lnTo>
                      <a:lnTo>
                        <a:pt x="58" y="83"/>
                      </a:lnTo>
                      <a:lnTo>
                        <a:pt x="57" y="81"/>
                      </a:lnTo>
                      <a:lnTo>
                        <a:pt x="56" y="81"/>
                      </a:lnTo>
                      <a:lnTo>
                        <a:pt x="55" y="76"/>
                      </a:lnTo>
                      <a:lnTo>
                        <a:pt x="56" y="74"/>
                      </a:lnTo>
                      <a:lnTo>
                        <a:pt x="55" y="73"/>
                      </a:lnTo>
                      <a:lnTo>
                        <a:pt x="53" y="73"/>
                      </a:lnTo>
                      <a:lnTo>
                        <a:pt x="50" y="69"/>
                      </a:lnTo>
                      <a:lnTo>
                        <a:pt x="48" y="65"/>
                      </a:lnTo>
                      <a:lnTo>
                        <a:pt x="48" y="56"/>
                      </a:lnTo>
                      <a:lnTo>
                        <a:pt x="47" y="54"/>
                      </a:lnTo>
                      <a:lnTo>
                        <a:pt x="47" y="51"/>
                      </a:lnTo>
                      <a:lnTo>
                        <a:pt x="48" y="49"/>
                      </a:lnTo>
                      <a:lnTo>
                        <a:pt x="48" y="41"/>
                      </a:lnTo>
                      <a:lnTo>
                        <a:pt x="48" y="39"/>
                      </a:lnTo>
                      <a:lnTo>
                        <a:pt x="47" y="32"/>
                      </a:lnTo>
                      <a:lnTo>
                        <a:pt x="44" y="27"/>
                      </a:lnTo>
                      <a:lnTo>
                        <a:pt x="34" y="14"/>
                      </a:lnTo>
                      <a:lnTo>
                        <a:pt x="31" y="9"/>
                      </a:lnTo>
                      <a:lnTo>
                        <a:pt x="31" y="10"/>
                      </a:lnTo>
                      <a:lnTo>
                        <a:pt x="29" y="12"/>
                      </a:lnTo>
                      <a:lnTo>
                        <a:pt x="27" y="12"/>
                      </a:lnTo>
                      <a:lnTo>
                        <a:pt x="27" y="12"/>
                      </a:lnTo>
                      <a:lnTo>
                        <a:pt x="27" y="12"/>
                      </a:lnTo>
                      <a:lnTo>
                        <a:pt x="27" y="1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16" name="Freeform 517">
                  <a:extLst>
                    <a:ext uri="{FF2B5EF4-FFF2-40B4-BE49-F238E27FC236}">
                      <a16:creationId xmlns:a16="http://schemas.microsoft.com/office/drawing/2014/main" id="{2E8B8AC5-BA42-4B7F-A4FD-262EBABB0B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93" y="2762"/>
                  <a:ext cx="3" cy="5"/>
                </a:xfrm>
                <a:custGeom>
                  <a:avLst/>
                  <a:gdLst>
                    <a:gd name="T0" fmla="*/ 3 w 3"/>
                    <a:gd name="T1" fmla="*/ 4 h 5"/>
                    <a:gd name="T2" fmla="*/ 2 w 3"/>
                    <a:gd name="T3" fmla="*/ 0 h 5"/>
                    <a:gd name="T4" fmla="*/ 1 w 3"/>
                    <a:gd name="T5" fmla="*/ 1 h 5"/>
                    <a:gd name="T6" fmla="*/ 1 w 3"/>
                    <a:gd name="T7" fmla="*/ 1 h 5"/>
                    <a:gd name="T8" fmla="*/ 0 w 3"/>
                    <a:gd name="T9" fmla="*/ 1 h 5"/>
                    <a:gd name="T10" fmla="*/ 0 w 3"/>
                    <a:gd name="T11" fmla="*/ 3 h 5"/>
                    <a:gd name="T12" fmla="*/ 1 w 3"/>
                    <a:gd name="T13" fmla="*/ 5 h 5"/>
                    <a:gd name="T14" fmla="*/ 3 w 3"/>
                    <a:gd name="T15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5">
                      <a:moveTo>
                        <a:pt x="3" y="4"/>
                      </a:move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5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17" name="Freeform 518">
                  <a:extLst>
                    <a:ext uri="{FF2B5EF4-FFF2-40B4-BE49-F238E27FC236}">
                      <a16:creationId xmlns:a16="http://schemas.microsoft.com/office/drawing/2014/main" id="{4F53BB8A-0EE3-44DB-A5D5-E77027B8D6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67" y="2679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4 w 4"/>
                    <a:gd name="T3" fmla="*/ 3 h 4"/>
                    <a:gd name="T4" fmla="*/ 4 w 4"/>
                    <a:gd name="T5" fmla="*/ 1 h 4"/>
                    <a:gd name="T6" fmla="*/ 3 w 4"/>
                    <a:gd name="T7" fmla="*/ 0 h 4"/>
                    <a:gd name="T8" fmla="*/ 0 w 4"/>
                    <a:gd name="T9" fmla="*/ 3 h 4"/>
                    <a:gd name="T10" fmla="*/ 1 w 4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4">
                      <a:moveTo>
                        <a:pt x="1" y="4"/>
                      </a:move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18" name="Freeform 519">
                  <a:extLst>
                    <a:ext uri="{FF2B5EF4-FFF2-40B4-BE49-F238E27FC236}">
                      <a16:creationId xmlns:a16="http://schemas.microsoft.com/office/drawing/2014/main" id="{C3E8637D-4D7F-452C-B6B0-64298FB8CD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63" y="2679"/>
                  <a:ext cx="4" cy="3"/>
                </a:xfrm>
                <a:custGeom>
                  <a:avLst/>
                  <a:gdLst>
                    <a:gd name="T0" fmla="*/ 1 w 4"/>
                    <a:gd name="T1" fmla="*/ 2 h 3"/>
                    <a:gd name="T2" fmla="*/ 4 w 4"/>
                    <a:gd name="T3" fmla="*/ 1 h 3"/>
                    <a:gd name="T4" fmla="*/ 4 w 4"/>
                    <a:gd name="T5" fmla="*/ 0 h 3"/>
                    <a:gd name="T6" fmla="*/ 0 w 4"/>
                    <a:gd name="T7" fmla="*/ 3 h 3"/>
                    <a:gd name="T8" fmla="*/ 1 w 4"/>
                    <a:gd name="T9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1" y="2"/>
                      </a:move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3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19" name="Freeform 520">
                  <a:extLst>
                    <a:ext uri="{FF2B5EF4-FFF2-40B4-BE49-F238E27FC236}">
                      <a16:creationId xmlns:a16="http://schemas.microsoft.com/office/drawing/2014/main" id="{4976F022-D8BD-40EA-A4B6-FEF4478B71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91" y="2763"/>
                  <a:ext cx="1" cy="3"/>
                </a:xfrm>
                <a:custGeom>
                  <a:avLst/>
                  <a:gdLst>
                    <a:gd name="T0" fmla="*/ 0 w 1"/>
                    <a:gd name="T1" fmla="*/ 3 h 3"/>
                    <a:gd name="T2" fmla="*/ 1 w 1"/>
                    <a:gd name="T3" fmla="*/ 3 h 3"/>
                    <a:gd name="T4" fmla="*/ 1 w 1"/>
                    <a:gd name="T5" fmla="*/ 0 h 3"/>
                    <a:gd name="T6" fmla="*/ 1 w 1"/>
                    <a:gd name="T7" fmla="*/ 0 h 3"/>
                    <a:gd name="T8" fmla="*/ 0 w 1"/>
                    <a:gd name="T9" fmla="*/ 2 h 3"/>
                    <a:gd name="T10" fmla="*/ 0 w 1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3">
                      <a:moveTo>
                        <a:pt x="0" y="3"/>
                      </a:move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20" name="Freeform 521">
                  <a:extLst>
                    <a:ext uri="{FF2B5EF4-FFF2-40B4-BE49-F238E27FC236}">
                      <a16:creationId xmlns:a16="http://schemas.microsoft.com/office/drawing/2014/main" id="{792A0E4A-9343-4A2A-A598-E6B9B36E60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66" y="2685"/>
                  <a:ext cx="134" cy="109"/>
                </a:xfrm>
                <a:custGeom>
                  <a:avLst/>
                  <a:gdLst>
                    <a:gd name="T0" fmla="*/ 11 w 134"/>
                    <a:gd name="T1" fmla="*/ 106 h 109"/>
                    <a:gd name="T2" fmla="*/ 18 w 134"/>
                    <a:gd name="T3" fmla="*/ 108 h 109"/>
                    <a:gd name="T4" fmla="*/ 24 w 134"/>
                    <a:gd name="T5" fmla="*/ 105 h 109"/>
                    <a:gd name="T6" fmla="*/ 42 w 134"/>
                    <a:gd name="T7" fmla="*/ 99 h 109"/>
                    <a:gd name="T8" fmla="*/ 53 w 134"/>
                    <a:gd name="T9" fmla="*/ 103 h 109"/>
                    <a:gd name="T10" fmla="*/ 70 w 134"/>
                    <a:gd name="T11" fmla="*/ 98 h 109"/>
                    <a:gd name="T12" fmla="*/ 76 w 134"/>
                    <a:gd name="T13" fmla="*/ 78 h 109"/>
                    <a:gd name="T14" fmla="*/ 84 w 134"/>
                    <a:gd name="T15" fmla="*/ 55 h 109"/>
                    <a:gd name="T16" fmla="*/ 88 w 134"/>
                    <a:gd name="T17" fmla="*/ 46 h 109"/>
                    <a:gd name="T18" fmla="*/ 101 w 134"/>
                    <a:gd name="T19" fmla="*/ 47 h 109"/>
                    <a:gd name="T20" fmla="*/ 110 w 134"/>
                    <a:gd name="T21" fmla="*/ 49 h 109"/>
                    <a:gd name="T22" fmla="*/ 116 w 134"/>
                    <a:gd name="T23" fmla="*/ 50 h 109"/>
                    <a:gd name="T24" fmla="*/ 122 w 134"/>
                    <a:gd name="T25" fmla="*/ 46 h 109"/>
                    <a:gd name="T26" fmla="*/ 120 w 134"/>
                    <a:gd name="T27" fmla="*/ 36 h 109"/>
                    <a:gd name="T28" fmla="*/ 134 w 134"/>
                    <a:gd name="T29" fmla="*/ 33 h 109"/>
                    <a:gd name="T30" fmla="*/ 128 w 134"/>
                    <a:gd name="T31" fmla="*/ 29 h 109"/>
                    <a:gd name="T32" fmla="*/ 119 w 134"/>
                    <a:gd name="T33" fmla="*/ 23 h 109"/>
                    <a:gd name="T34" fmla="*/ 114 w 134"/>
                    <a:gd name="T35" fmla="*/ 24 h 109"/>
                    <a:gd name="T36" fmla="*/ 114 w 134"/>
                    <a:gd name="T37" fmla="*/ 19 h 109"/>
                    <a:gd name="T38" fmla="*/ 110 w 134"/>
                    <a:gd name="T39" fmla="*/ 20 h 109"/>
                    <a:gd name="T40" fmla="*/ 112 w 134"/>
                    <a:gd name="T41" fmla="*/ 12 h 109"/>
                    <a:gd name="T42" fmla="*/ 105 w 134"/>
                    <a:gd name="T43" fmla="*/ 7 h 109"/>
                    <a:gd name="T44" fmla="*/ 101 w 134"/>
                    <a:gd name="T45" fmla="*/ 2 h 109"/>
                    <a:gd name="T46" fmla="*/ 97 w 134"/>
                    <a:gd name="T47" fmla="*/ 8 h 109"/>
                    <a:gd name="T48" fmla="*/ 96 w 134"/>
                    <a:gd name="T49" fmla="*/ 2 h 109"/>
                    <a:gd name="T50" fmla="*/ 89 w 134"/>
                    <a:gd name="T51" fmla="*/ 18 h 109"/>
                    <a:gd name="T52" fmla="*/ 81 w 134"/>
                    <a:gd name="T53" fmla="*/ 29 h 109"/>
                    <a:gd name="T54" fmla="*/ 76 w 134"/>
                    <a:gd name="T55" fmla="*/ 33 h 109"/>
                    <a:gd name="T56" fmla="*/ 80 w 134"/>
                    <a:gd name="T57" fmla="*/ 34 h 109"/>
                    <a:gd name="T58" fmla="*/ 76 w 134"/>
                    <a:gd name="T59" fmla="*/ 39 h 109"/>
                    <a:gd name="T60" fmla="*/ 77 w 134"/>
                    <a:gd name="T61" fmla="*/ 49 h 109"/>
                    <a:gd name="T62" fmla="*/ 74 w 134"/>
                    <a:gd name="T63" fmla="*/ 40 h 109"/>
                    <a:gd name="T64" fmla="*/ 73 w 134"/>
                    <a:gd name="T65" fmla="*/ 40 h 109"/>
                    <a:gd name="T66" fmla="*/ 71 w 134"/>
                    <a:gd name="T67" fmla="*/ 51 h 109"/>
                    <a:gd name="T68" fmla="*/ 64 w 134"/>
                    <a:gd name="T69" fmla="*/ 43 h 109"/>
                    <a:gd name="T70" fmla="*/ 60 w 134"/>
                    <a:gd name="T71" fmla="*/ 49 h 109"/>
                    <a:gd name="T72" fmla="*/ 51 w 134"/>
                    <a:gd name="T73" fmla="*/ 60 h 109"/>
                    <a:gd name="T74" fmla="*/ 43 w 134"/>
                    <a:gd name="T75" fmla="*/ 73 h 109"/>
                    <a:gd name="T76" fmla="*/ 31 w 134"/>
                    <a:gd name="T77" fmla="*/ 81 h 109"/>
                    <a:gd name="T78" fmla="*/ 28 w 134"/>
                    <a:gd name="T79" fmla="*/ 84 h 109"/>
                    <a:gd name="T80" fmla="*/ 23 w 134"/>
                    <a:gd name="T81" fmla="*/ 90 h 109"/>
                    <a:gd name="T82" fmla="*/ 21 w 134"/>
                    <a:gd name="T83" fmla="*/ 100 h 109"/>
                    <a:gd name="T84" fmla="*/ 5 w 134"/>
                    <a:gd name="T85" fmla="*/ 97 h 109"/>
                    <a:gd name="T86" fmla="*/ 0 w 134"/>
                    <a:gd name="T87" fmla="*/ 91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34" h="109">
                      <a:moveTo>
                        <a:pt x="7" y="101"/>
                      </a:moveTo>
                      <a:lnTo>
                        <a:pt x="7" y="102"/>
                      </a:lnTo>
                      <a:lnTo>
                        <a:pt x="11" y="106"/>
                      </a:lnTo>
                      <a:lnTo>
                        <a:pt x="12" y="109"/>
                      </a:lnTo>
                      <a:lnTo>
                        <a:pt x="14" y="109"/>
                      </a:lnTo>
                      <a:lnTo>
                        <a:pt x="18" y="108"/>
                      </a:lnTo>
                      <a:lnTo>
                        <a:pt x="18" y="106"/>
                      </a:lnTo>
                      <a:lnTo>
                        <a:pt x="22" y="106"/>
                      </a:lnTo>
                      <a:lnTo>
                        <a:pt x="24" y="105"/>
                      </a:lnTo>
                      <a:lnTo>
                        <a:pt x="32" y="105"/>
                      </a:lnTo>
                      <a:lnTo>
                        <a:pt x="40" y="102"/>
                      </a:lnTo>
                      <a:lnTo>
                        <a:pt x="42" y="99"/>
                      </a:lnTo>
                      <a:lnTo>
                        <a:pt x="49" y="99"/>
                      </a:lnTo>
                      <a:lnTo>
                        <a:pt x="52" y="102"/>
                      </a:lnTo>
                      <a:lnTo>
                        <a:pt x="53" y="103"/>
                      </a:lnTo>
                      <a:lnTo>
                        <a:pt x="57" y="103"/>
                      </a:lnTo>
                      <a:lnTo>
                        <a:pt x="63" y="99"/>
                      </a:lnTo>
                      <a:lnTo>
                        <a:pt x="70" y="98"/>
                      </a:lnTo>
                      <a:lnTo>
                        <a:pt x="69" y="95"/>
                      </a:lnTo>
                      <a:lnTo>
                        <a:pt x="74" y="85"/>
                      </a:lnTo>
                      <a:lnTo>
                        <a:pt x="76" y="78"/>
                      </a:lnTo>
                      <a:lnTo>
                        <a:pt x="81" y="71"/>
                      </a:lnTo>
                      <a:lnTo>
                        <a:pt x="84" y="57"/>
                      </a:lnTo>
                      <a:lnTo>
                        <a:pt x="84" y="55"/>
                      </a:lnTo>
                      <a:lnTo>
                        <a:pt x="86" y="52"/>
                      </a:lnTo>
                      <a:lnTo>
                        <a:pt x="85" y="50"/>
                      </a:lnTo>
                      <a:lnTo>
                        <a:pt x="88" y="46"/>
                      </a:lnTo>
                      <a:lnTo>
                        <a:pt x="90" y="47"/>
                      </a:lnTo>
                      <a:lnTo>
                        <a:pt x="95" y="47"/>
                      </a:lnTo>
                      <a:lnTo>
                        <a:pt x="101" y="47"/>
                      </a:lnTo>
                      <a:lnTo>
                        <a:pt x="103" y="48"/>
                      </a:lnTo>
                      <a:lnTo>
                        <a:pt x="107" y="48"/>
                      </a:lnTo>
                      <a:lnTo>
                        <a:pt x="110" y="49"/>
                      </a:lnTo>
                      <a:lnTo>
                        <a:pt x="110" y="47"/>
                      </a:lnTo>
                      <a:lnTo>
                        <a:pt x="114" y="50"/>
                      </a:lnTo>
                      <a:lnTo>
                        <a:pt x="116" y="50"/>
                      </a:lnTo>
                      <a:lnTo>
                        <a:pt x="118" y="49"/>
                      </a:lnTo>
                      <a:lnTo>
                        <a:pt x="122" y="48"/>
                      </a:lnTo>
                      <a:lnTo>
                        <a:pt x="122" y="46"/>
                      </a:lnTo>
                      <a:lnTo>
                        <a:pt x="118" y="43"/>
                      </a:lnTo>
                      <a:lnTo>
                        <a:pt x="118" y="38"/>
                      </a:lnTo>
                      <a:lnTo>
                        <a:pt x="120" y="36"/>
                      </a:lnTo>
                      <a:lnTo>
                        <a:pt x="126" y="37"/>
                      </a:lnTo>
                      <a:lnTo>
                        <a:pt x="131" y="36"/>
                      </a:lnTo>
                      <a:lnTo>
                        <a:pt x="134" y="33"/>
                      </a:lnTo>
                      <a:lnTo>
                        <a:pt x="133" y="30"/>
                      </a:lnTo>
                      <a:lnTo>
                        <a:pt x="131" y="30"/>
                      </a:lnTo>
                      <a:lnTo>
                        <a:pt x="128" y="29"/>
                      </a:lnTo>
                      <a:lnTo>
                        <a:pt x="125" y="27"/>
                      </a:lnTo>
                      <a:lnTo>
                        <a:pt x="123" y="27"/>
                      </a:lnTo>
                      <a:lnTo>
                        <a:pt x="119" y="23"/>
                      </a:lnTo>
                      <a:lnTo>
                        <a:pt x="118" y="23"/>
                      </a:lnTo>
                      <a:lnTo>
                        <a:pt x="115" y="26"/>
                      </a:lnTo>
                      <a:lnTo>
                        <a:pt x="114" y="24"/>
                      </a:lnTo>
                      <a:lnTo>
                        <a:pt x="117" y="21"/>
                      </a:lnTo>
                      <a:lnTo>
                        <a:pt x="115" y="19"/>
                      </a:lnTo>
                      <a:lnTo>
                        <a:pt x="114" y="19"/>
                      </a:lnTo>
                      <a:lnTo>
                        <a:pt x="112" y="22"/>
                      </a:lnTo>
                      <a:lnTo>
                        <a:pt x="111" y="21"/>
                      </a:lnTo>
                      <a:lnTo>
                        <a:pt x="110" y="20"/>
                      </a:lnTo>
                      <a:lnTo>
                        <a:pt x="110" y="15"/>
                      </a:lnTo>
                      <a:lnTo>
                        <a:pt x="112" y="14"/>
                      </a:lnTo>
                      <a:lnTo>
                        <a:pt x="112" y="12"/>
                      </a:lnTo>
                      <a:lnTo>
                        <a:pt x="109" y="9"/>
                      </a:lnTo>
                      <a:lnTo>
                        <a:pt x="108" y="10"/>
                      </a:lnTo>
                      <a:lnTo>
                        <a:pt x="105" y="7"/>
                      </a:lnTo>
                      <a:lnTo>
                        <a:pt x="105" y="2"/>
                      </a:lnTo>
                      <a:lnTo>
                        <a:pt x="102" y="0"/>
                      </a:lnTo>
                      <a:lnTo>
                        <a:pt x="101" y="2"/>
                      </a:lnTo>
                      <a:lnTo>
                        <a:pt x="101" y="4"/>
                      </a:lnTo>
                      <a:lnTo>
                        <a:pt x="98" y="8"/>
                      </a:lnTo>
                      <a:lnTo>
                        <a:pt x="97" y="8"/>
                      </a:lnTo>
                      <a:lnTo>
                        <a:pt x="98" y="5"/>
                      </a:lnTo>
                      <a:lnTo>
                        <a:pt x="97" y="2"/>
                      </a:lnTo>
                      <a:lnTo>
                        <a:pt x="96" y="2"/>
                      </a:lnTo>
                      <a:lnTo>
                        <a:pt x="94" y="9"/>
                      </a:lnTo>
                      <a:lnTo>
                        <a:pt x="92" y="10"/>
                      </a:lnTo>
                      <a:lnTo>
                        <a:pt x="89" y="18"/>
                      </a:lnTo>
                      <a:lnTo>
                        <a:pt x="88" y="22"/>
                      </a:lnTo>
                      <a:lnTo>
                        <a:pt x="83" y="29"/>
                      </a:lnTo>
                      <a:lnTo>
                        <a:pt x="81" y="29"/>
                      </a:lnTo>
                      <a:lnTo>
                        <a:pt x="76" y="31"/>
                      </a:lnTo>
                      <a:lnTo>
                        <a:pt x="76" y="33"/>
                      </a:lnTo>
                      <a:lnTo>
                        <a:pt x="76" y="33"/>
                      </a:lnTo>
                      <a:lnTo>
                        <a:pt x="76" y="35"/>
                      </a:lnTo>
                      <a:lnTo>
                        <a:pt x="77" y="35"/>
                      </a:lnTo>
                      <a:lnTo>
                        <a:pt x="80" y="34"/>
                      </a:lnTo>
                      <a:lnTo>
                        <a:pt x="79" y="36"/>
                      </a:lnTo>
                      <a:lnTo>
                        <a:pt x="76" y="38"/>
                      </a:lnTo>
                      <a:lnTo>
                        <a:pt x="76" y="39"/>
                      </a:lnTo>
                      <a:lnTo>
                        <a:pt x="76" y="40"/>
                      </a:lnTo>
                      <a:lnTo>
                        <a:pt x="79" y="46"/>
                      </a:lnTo>
                      <a:lnTo>
                        <a:pt x="77" y="49"/>
                      </a:lnTo>
                      <a:lnTo>
                        <a:pt x="76" y="47"/>
                      </a:lnTo>
                      <a:lnTo>
                        <a:pt x="75" y="43"/>
                      </a:lnTo>
                      <a:lnTo>
                        <a:pt x="74" y="40"/>
                      </a:lnTo>
                      <a:lnTo>
                        <a:pt x="74" y="40"/>
                      </a:lnTo>
                      <a:lnTo>
                        <a:pt x="74" y="40"/>
                      </a:lnTo>
                      <a:lnTo>
                        <a:pt x="73" y="40"/>
                      </a:lnTo>
                      <a:lnTo>
                        <a:pt x="71" y="43"/>
                      </a:lnTo>
                      <a:lnTo>
                        <a:pt x="73" y="50"/>
                      </a:lnTo>
                      <a:lnTo>
                        <a:pt x="71" y="51"/>
                      </a:lnTo>
                      <a:lnTo>
                        <a:pt x="68" y="48"/>
                      </a:lnTo>
                      <a:lnTo>
                        <a:pt x="66" y="43"/>
                      </a:lnTo>
                      <a:lnTo>
                        <a:pt x="64" y="43"/>
                      </a:lnTo>
                      <a:lnTo>
                        <a:pt x="62" y="42"/>
                      </a:lnTo>
                      <a:lnTo>
                        <a:pt x="60" y="45"/>
                      </a:lnTo>
                      <a:lnTo>
                        <a:pt x="60" y="49"/>
                      </a:lnTo>
                      <a:lnTo>
                        <a:pt x="56" y="53"/>
                      </a:lnTo>
                      <a:lnTo>
                        <a:pt x="55" y="56"/>
                      </a:lnTo>
                      <a:lnTo>
                        <a:pt x="51" y="60"/>
                      </a:lnTo>
                      <a:lnTo>
                        <a:pt x="50" y="64"/>
                      </a:lnTo>
                      <a:lnTo>
                        <a:pt x="47" y="69"/>
                      </a:lnTo>
                      <a:lnTo>
                        <a:pt x="43" y="73"/>
                      </a:lnTo>
                      <a:lnTo>
                        <a:pt x="31" y="76"/>
                      </a:lnTo>
                      <a:lnTo>
                        <a:pt x="30" y="77"/>
                      </a:lnTo>
                      <a:lnTo>
                        <a:pt x="31" y="81"/>
                      </a:lnTo>
                      <a:lnTo>
                        <a:pt x="32" y="83"/>
                      </a:lnTo>
                      <a:lnTo>
                        <a:pt x="31" y="82"/>
                      </a:lnTo>
                      <a:lnTo>
                        <a:pt x="28" y="84"/>
                      </a:lnTo>
                      <a:lnTo>
                        <a:pt x="25" y="84"/>
                      </a:lnTo>
                      <a:lnTo>
                        <a:pt x="24" y="86"/>
                      </a:lnTo>
                      <a:lnTo>
                        <a:pt x="23" y="90"/>
                      </a:lnTo>
                      <a:lnTo>
                        <a:pt x="23" y="95"/>
                      </a:lnTo>
                      <a:lnTo>
                        <a:pt x="20" y="98"/>
                      </a:lnTo>
                      <a:lnTo>
                        <a:pt x="21" y="100"/>
                      </a:lnTo>
                      <a:lnTo>
                        <a:pt x="14" y="99"/>
                      </a:lnTo>
                      <a:lnTo>
                        <a:pt x="9" y="97"/>
                      </a:lnTo>
                      <a:lnTo>
                        <a:pt x="5" y="97"/>
                      </a:lnTo>
                      <a:lnTo>
                        <a:pt x="4" y="94"/>
                      </a:lnTo>
                      <a:lnTo>
                        <a:pt x="0" y="91"/>
                      </a:lnTo>
                      <a:lnTo>
                        <a:pt x="0" y="91"/>
                      </a:lnTo>
                      <a:lnTo>
                        <a:pt x="3" y="97"/>
                      </a:lnTo>
                      <a:lnTo>
                        <a:pt x="7" y="10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21" name="Freeform 522">
                  <a:extLst>
                    <a:ext uri="{FF2B5EF4-FFF2-40B4-BE49-F238E27FC236}">
                      <a16:creationId xmlns:a16="http://schemas.microsoft.com/office/drawing/2014/main" id="{7EAD0C63-987C-4556-91FD-BA644B37E0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92" y="2766"/>
                  <a:ext cx="2" cy="2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2 h 2"/>
                    <a:gd name="T4" fmla="*/ 2 w 2"/>
                    <a:gd name="T5" fmla="*/ 1 h 2"/>
                    <a:gd name="T6" fmla="*/ 0 w 2"/>
                    <a:gd name="T7" fmla="*/ 0 h 2"/>
                    <a:gd name="T8" fmla="*/ 0 w 2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22" name="Freeform 523">
                  <a:extLst>
                    <a:ext uri="{FF2B5EF4-FFF2-40B4-BE49-F238E27FC236}">
                      <a16:creationId xmlns:a16="http://schemas.microsoft.com/office/drawing/2014/main" id="{909724C3-3BE4-47CE-9AD8-89F4FD9294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8" y="2710"/>
                  <a:ext cx="3" cy="6"/>
                </a:xfrm>
                <a:custGeom>
                  <a:avLst/>
                  <a:gdLst>
                    <a:gd name="T0" fmla="*/ 0 w 3"/>
                    <a:gd name="T1" fmla="*/ 0 h 6"/>
                    <a:gd name="T2" fmla="*/ 0 w 3"/>
                    <a:gd name="T3" fmla="*/ 4 h 6"/>
                    <a:gd name="T4" fmla="*/ 2 w 3"/>
                    <a:gd name="T5" fmla="*/ 6 h 6"/>
                    <a:gd name="T6" fmla="*/ 3 w 3"/>
                    <a:gd name="T7" fmla="*/ 5 h 6"/>
                    <a:gd name="T8" fmla="*/ 3 w 3"/>
                    <a:gd name="T9" fmla="*/ 3 h 6"/>
                    <a:gd name="T10" fmla="*/ 1 w 3"/>
                    <a:gd name="T11" fmla="*/ 1 h 6"/>
                    <a:gd name="T12" fmla="*/ 0 w 3"/>
                    <a:gd name="T13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6">
                      <a:moveTo>
                        <a:pt x="0" y="0"/>
                      </a:moveTo>
                      <a:lnTo>
                        <a:pt x="0" y="4"/>
                      </a:lnTo>
                      <a:lnTo>
                        <a:pt x="2" y="6"/>
                      </a:lnTo>
                      <a:lnTo>
                        <a:pt x="3" y="5"/>
                      </a:lnTo>
                      <a:lnTo>
                        <a:pt x="3" y="3"/>
                      </a:lnTo>
                      <a:lnTo>
                        <a:pt x="1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23" name="Freeform 524">
                  <a:extLst>
                    <a:ext uri="{FF2B5EF4-FFF2-40B4-BE49-F238E27FC236}">
                      <a16:creationId xmlns:a16="http://schemas.microsoft.com/office/drawing/2014/main" id="{21ED64A5-4003-466B-AE92-B2AD6D3E1B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90" y="2766"/>
                  <a:ext cx="2" cy="4"/>
                </a:xfrm>
                <a:custGeom>
                  <a:avLst/>
                  <a:gdLst>
                    <a:gd name="T0" fmla="*/ 0 w 2"/>
                    <a:gd name="T1" fmla="*/ 4 h 4"/>
                    <a:gd name="T2" fmla="*/ 2 w 2"/>
                    <a:gd name="T3" fmla="*/ 2 h 4"/>
                    <a:gd name="T4" fmla="*/ 1 w 2"/>
                    <a:gd name="T5" fmla="*/ 0 h 4"/>
                    <a:gd name="T6" fmla="*/ 0 w 2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4">
                      <a:moveTo>
                        <a:pt x="0" y="4"/>
                      </a:moveTo>
                      <a:lnTo>
                        <a:pt x="2" y="2"/>
                      </a:lnTo>
                      <a:lnTo>
                        <a:pt x="1" y="0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24" name="Freeform 525">
                  <a:extLst>
                    <a:ext uri="{FF2B5EF4-FFF2-40B4-BE49-F238E27FC236}">
                      <a16:creationId xmlns:a16="http://schemas.microsoft.com/office/drawing/2014/main" id="{108BA13B-B35C-4B62-A807-5C8006737D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28" y="2720"/>
                  <a:ext cx="12" cy="16"/>
                </a:xfrm>
                <a:custGeom>
                  <a:avLst/>
                  <a:gdLst>
                    <a:gd name="T0" fmla="*/ 4 w 12"/>
                    <a:gd name="T1" fmla="*/ 8 h 16"/>
                    <a:gd name="T2" fmla="*/ 6 w 12"/>
                    <a:gd name="T3" fmla="*/ 13 h 16"/>
                    <a:gd name="T4" fmla="*/ 9 w 12"/>
                    <a:gd name="T5" fmla="*/ 16 h 16"/>
                    <a:gd name="T6" fmla="*/ 11 w 12"/>
                    <a:gd name="T7" fmla="*/ 15 h 16"/>
                    <a:gd name="T8" fmla="*/ 9 w 12"/>
                    <a:gd name="T9" fmla="*/ 8 h 16"/>
                    <a:gd name="T10" fmla="*/ 11 w 12"/>
                    <a:gd name="T11" fmla="*/ 5 h 16"/>
                    <a:gd name="T12" fmla="*/ 12 w 12"/>
                    <a:gd name="T13" fmla="*/ 5 h 16"/>
                    <a:gd name="T14" fmla="*/ 12 w 12"/>
                    <a:gd name="T15" fmla="*/ 3 h 16"/>
                    <a:gd name="T16" fmla="*/ 12 w 12"/>
                    <a:gd name="T17" fmla="*/ 0 h 16"/>
                    <a:gd name="T18" fmla="*/ 9 w 12"/>
                    <a:gd name="T19" fmla="*/ 1 h 16"/>
                    <a:gd name="T20" fmla="*/ 6 w 12"/>
                    <a:gd name="T21" fmla="*/ 4 h 16"/>
                    <a:gd name="T22" fmla="*/ 1 w 12"/>
                    <a:gd name="T23" fmla="*/ 6 h 16"/>
                    <a:gd name="T24" fmla="*/ 0 w 12"/>
                    <a:gd name="T25" fmla="*/ 7 h 16"/>
                    <a:gd name="T26" fmla="*/ 2 w 12"/>
                    <a:gd name="T27" fmla="*/ 8 h 16"/>
                    <a:gd name="T28" fmla="*/ 4 w 12"/>
                    <a:gd name="T29" fmla="*/ 8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" h="16">
                      <a:moveTo>
                        <a:pt x="4" y="8"/>
                      </a:moveTo>
                      <a:lnTo>
                        <a:pt x="6" y="13"/>
                      </a:lnTo>
                      <a:lnTo>
                        <a:pt x="9" y="16"/>
                      </a:lnTo>
                      <a:lnTo>
                        <a:pt x="11" y="15"/>
                      </a:lnTo>
                      <a:lnTo>
                        <a:pt x="9" y="8"/>
                      </a:lnTo>
                      <a:lnTo>
                        <a:pt x="11" y="5"/>
                      </a:lnTo>
                      <a:lnTo>
                        <a:pt x="12" y="5"/>
                      </a:lnTo>
                      <a:lnTo>
                        <a:pt x="12" y="3"/>
                      </a:lnTo>
                      <a:lnTo>
                        <a:pt x="12" y="0"/>
                      </a:lnTo>
                      <a:lnTo>
                        <a:pt x="9" y="1"/>
                      </a:lnTo>
                      <a:lnTo>
                        <a:pt x="6" y="4"/>
                      </a:lnTo>
                      <a:lnTo>
                        <a:pt x="1" y="6"/>
                      </a:lnTo>
                      <a:lnTo>
                        <a:pt x="0" y="7"/>
                      </a:lnTo>
                      <a:lnTo>
                        <a:pt x="2" y="8"/>
                      </a:lnTo>
                      <a:lnTo>
                        <a:pt x="4" y="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25" name="Freeform 526">
                  <a:extLst>
                    <a:ext uri="{FF2B5EF4-FFF2-40B4-BE49-F238E27FC236}">
                      <a16:creationId xmlns:a16="http://schemas.microsoft.com/office/drawing/2014/main" id="{D7A55CA5-7692-4DB7-9CA5-B332664451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40" y="2724"/>
                  <a:ext cx="5" cy="10"/>
                </a:xfrm>
                <a:custGeom>
                  <a:avLst/>
                  <a:gdLst>
                    <a:gd name="T0" fmla="*/ 2 w 5"/>
                    <a:gd name="T1" fmla="*/ 8 h 10"/>
                    <a:gd name="T2" fmla="*/ 3 w 5"/>
                    <a:gd name="T3" fmla="*/ 10 h 10"/>
                    <a:gd name="T4" fmla="*/ 5 w 5"/>
                    <a:gd name="T5" fmla="*/ 7 h 10"/>
                    <a:gd name="T6" fmla="*/ 2 w 5"/>
                    <a:gd name="T7" fmla="*/ 1 h 10"/>
                    <a:gd name="T8" fmla="*/ 2 w 5"/>
                    <a:gd name="T9" fmla="*/ 0 h 10"/>
                    <a:gd name="T10" fmla="*/ 2 w 5"/>
                    <a:gd name="T11" fmla="*/ 1 h 10"/>
                    <a:gd name="T12" fmla="*/ 0 w 5"/>
                    <a:gd name="T13" fmla="*/ 1 h 10"/>
                    <a:gd name="T14" fmla="*/ 1 w 5"/>
                    <a:gd name="T15" fmla="*/ 4 h 10"/>
                    <a:gd name="T16" fmla="*/ 2 w 5"/>
                    <a:gd name="T17" fmla="*/ 8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10">
                      <a:moveTo>
                        <a:pt x="2" y="8"/>
                      </a:moveTo>
                      <a:lnTo>
                        <a:pt x="3" y="10"/>
                      </a:lnTo>
                      <a:lnTo>
                        <a:pt x="5" y="7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1" y="4"/>
                      </a:lnTo>
                      <a:lnTo>
                        <a:pt x="2" y="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26" name="Freeform 527">
                  <a:extLst>
                    <a:ext uri="{FF2B5EF4-FFF2-40B4-BE49-F238E27FC236}">
                      <a16:creationId xmlns:a16="http://schemas.microsoft.com/office/drawing/2014/main" id="{2C3DB15B-4C7E-442F-AAF3-2AA726FBB4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79" y="2623"/>
                  <a:ext cx="4" cy="9"/>
                </a:xfrm>
                <a:custGeom>
                  <a:avLst/>
                  <a:gdLst>
                    <a:gd name="T0" fmla="*/ 2 w 4"/>
                    <a:gd name="T1" fmla="*/ 9 h 9"/>
                    <a:gd name="T2" fmla="*/ 4 w 4"/>
                    <a:gd name="T3" fmla="*/ 9 h 9"/>
                    <a:gd name="T4" fmla="*/ 4 w 4"/>
                    <a:gd name="T5" fmla="*/ 3 h 9"/>
                    <a:gd name="T6" fmla="*/ 4 w 4"/>
                    <a:gd name="T7" fmla="*/ 2 h 9"/>
                    <a:gd name="T8" fmla="*/ 3 w 4"/>
                    <a:gd name="T9" fmla="*/ 0 h 9"/>
                    <a:gd name="T10" fmla="*/ 0 w 4"/>
                    <a:gd name="T11" fmla="*/ 2 h 9"/>
                    <a:gd name="T12" fmla="*/ 1 w 4"/>
                    <a:gd name="T13" fmla="*/ 5 h 9"/>
                    <a:gd name="T14" fmla="*/ 1 w 4"/>
                    <a:gd name="T15" fmla="*/ 6 h 9"/>
                    <a:gd name="T16" fmla="*/ 2 w 4"/>
                    <a:gd name="T17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9">
                      <a:moveTo>
                        <a:pt x="2" y="9"/>
                      </a:moveTo>
                      <a:lnTo>
                        <a:pt x="4" y="9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2" y="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27" name="Freeform 528">
                  <a:extLst>
                    <a:ext uri="{FF2B5EF4-FFF2-40B4-BE49-F238E27FC236}">
                      <a16:creationId xmlns:a16="http://schemas.microsoft.com/office/drawing/2014/main" id="{7BECBE26-762A-4E74-88BC-B362FA185D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40" y="2385"/>
                  <a:ext cx="116" cy="272"/>
                </a:xfrm>
                <a:custGeom>
                  <a:avLst/>
                  <a:gdLst>
                    <a:gd name="T0" fmla="*/ 71 w 116"/>
                    <a:gd name="T1" fmla="*/ 29 h 272"/>
                    <a:gd name="T2" fmla="*/ 63 w 116"/>
                    <a:gd name="T3" fmla="*/ 14 h 272"/>
                    <a:gd name="T4" fmla="*/ 58 w 116"/>
                    <a:gd name="T5" fmla="*/ 8 h 272"/>
                    <a:gd name="T6" fmla="*/ 44 w 116"/>
                    <a:gd name="T7" fmla="*/ 0 h 272"/>
                    <a:gd name="T8" fmla="*/ 32 w 116"/>
                    <a:gd name="T9" fmla="*/ 12 h 272"/>
                    <a:gd name="T10" fmla="*/ 21 w 116"/>
                    <a:gd name="T11" fmla="*/ 12 h 272"/>
                    <a:gd name="T12" fmla="*/ 12 w 116"/>
                    <a:gd name="T13" fmla="*/ 16 h 272"/>
                    <a:gd name="T14" fmla="*/ 5 w 116"/>
                    <a:gd name="T15" fmla="*/ 14 h 272"/>
                    <a:gd name="T16" fmla="*/ 1 w 116"/>
                    <a:gd name="T17" fmla="*/ 21 h 272"/>
                    <a:gd name="T18" fmla="*/ 10 w 116"/>
                    <a:gd name="T19" fmla="*/ 36 h 272"/>
                    <a:gd name="T20" fmla="*/ 30 w 116"/>
                    <a:gd name="T21" fmla="*/ 46 h 272"/>
                    <a:gd name="T22" fmla="*/ 40 w 116"/>
                    <a:gd name="T23" fmla="*/ 57 h 272"/>
                    <a:gd name="T24" fmla="*/ 40 w 116"/>
                    <a:gd name="T25" fmla="*/ 70 h 272"/>
                    <a:gd name="T26" fmla="*/ 34 w 116"/>
                    <a:gd name="T27" fmla="*/ 79 h 272"/>
                    <a:gd name="T28" fmla="*/ 41 w 116"/>
                    <a:gd name="T29" fmla="*/ 89 h 272"/>
                    <a:gd name="T30" fmla="*/ 58 w 116"/>
                    <a:gd name="T31" fmla="*/ 105 h 272"/>
                    <a:gd name="T32" fmla="*/ 69 w 116"/>
                    <a:gd name="T33" fmla="*/ 119 h 272"/>
                    <a:gd name="T34" fmla="*/ 76 w 116"/>
                    <a:gd name="T35" fmla="*/ 127 h 272"/>
                    <a:gd name="T36" fmla="*/ 83 w 116"/>
                    <a:gd name="T37" fmla="*/ 136 h 272"/>
                    <a:gd name="T38" fmla="*/ 85 w 116"/>
                    <a:gd name="T39" fmla="*/ 146 h 272"/>
                    <a:gd name="T40" fmla="*/ 85 w 116"/>
                    <a:gd name="T41" fmla="*/ 160 h 272"/>
                    <a:gd name="T42" fmla="*/ 87 w 116"/>
                    <a:gd name="T43" fmla="*/ 174 h 272"/>
                    <a:gd name="T44" fmla="*/ 89 w 116"/>
                    <a:gd name="T45" fmla="*/ 198 h 272"/>
                    <a:gd name="T46" fmla="*/ 77 w 116"/>
                    <a:gd name="T47" fmla="*/ 211 h 272"/>
                    <a:gd name="T48" fmla="*/ 71 w 116"/>
                    <a:gd name="T49" fmla="*/ 223 h 272"/>
                    <a:gd name="T50" fmla="*/ 69 w 116"/>
                    <a:gd name="T51" fmla="*/ 230 h 272"/>
                    <a:gd name="T52" fmla="*/ 54 w 116"/>
                    <a:gd name="T53" fmla="*/ 234 h 272"/>
                    <a:gd name="T54" fmla="*/ 48 w 116"/>
                    <a:gd name="T55" fmla="*/ 243 h 272"/>
                    <a:gd name="T56" fmla="*/ 59 w 116"/>
                    <a:gd name="T57" fmla="*/ 244 h 272"/>
                    <a:gd name="T58" fmla="*/ 54 w 116"/>
                    <a:gd name="T59" fmla="*/ 258 h 272"/>
                    <a:gd name="T60" fmla="*/ 56 w 116"/>
                    <a:gd name="T61" fmla="*/ 267 h 272"/>
                    <a:gd name="T62" fmla="*/ 54 w 116"/>
                    <a:gd name="T63" fmla="*/ 272 h 272"/>
                    <a:gd name="T64" fmla="*/ 63 w 116"/>
                    <a:gd name="T65" fmla="*/ 263 h 272"/>
                    <a:gd name="T66" fmla="*/ 71 w 116"/>
                    <a:gd name="T67" fmla="*/ 257 h 272"/>
                    <a:gd name="T68" fmla="*/ 71 w 116"/>
                    <a:gd name="T69" fmla="*/ 250 h 272"/>
                    <a:gd name="T70" fmla="*/ 77 w 116"/>
                    <a:gd name="T71" fmla="*/ 249 h 272"/>
                    <a:gd name="T72" fmla="*/ 79 w 116"/>
                    <a:gd name="T73" fmla="*/ 243 h 272"/>
                    <a:gd name="T74" fmla="*/ 77 w 116"/>
                    <a:gd name="T75" fmla="*/ 238 h 272"/>
                    <a:gd name="T76" fmla="*/ 80 w 116"/>
                    <a:gd name="T77" fmla="*/ 240 h 272"/>
                    <a:gd name="T78" fmla="*/ 95 w 116"/>
                    <a:gd name="T79" fmla="*/ 236 h 272"/>
                    <a:gd name="T80" fmla="*/ 104 w 116"/>
                    <a:gd name="T81" fmla="*/ 227 h 272"/>
                    <a:gd name="T82" fmla="*/ 112 w 116"/>
                    <a:gd name="T83" fmla="*/ 215 h 272"/>
                    <a:gd name="T84" fmla="*/ 113 w 116"/>
                    <a:gd name="T85" fmla="*/ 204 h 272"/>
                    <a:gd name="T86" fmla="*/ 115 w 116"/>
                    <a:gd name="T87" fmla="*/ 195 h 272"/>
                    <a:gd name="T88" fmla="*/ 115 w 116"/>
                    <a:gd name="T89" fmla="*/ 191 h 272"/>
                    <a:gd name="T90" fmla="*/ 112 w 116"/>
                    <a:gd name="T91" fmla="*/ 181 h 272"/>
                    <a:gd name="T92" fmla="*/ 110 w 116"/>
                    <a:gd name="T93" fmla="*/ 167 h 272"/>
                    <a:gd name="T94" fmla="*/ 105 w 116"/>
                    <a:gd name="T95" fmla="*/ 153 h 272"/>
                    <a:gd name="T96" fmla="*/ 102 w 116"/>
                    <a:gd name="T97" fmla="*/ 143 h 272"/>
                    <a:gd name="T98" fmla="*/ 77 w 116"/>
                    <a:gd name="T99" fmla="*/ 119 h 272"/>
                    <a:gd name="T100" fmla="*/ 66 w 116"/>
                    <a:gd name="T101" fmla="*/ 104 h 272"/>
                    <a:gd name="T102" fmla="*/ 60 w 116"/>
                    <a:gd name="T103" fmla="*/ 93 h 272"/>
                    <a:gd name="T104" fmla="*/ 53 w 116"/>
                    <a:gd name="T105" fmla="*/ 84 h 272"/>
                    <a:gd name="T106" fmla="*/ 54 w 116"/>
                    <a:gd name="T107" fmla="*/ 70 h 272"/>
                    <a:gd name="T108" fmla="*/ 58 w 116"/>
                    <a:gd name="T109" fmla="*/ 64 h 272"/>
                    <a:gd name="T110" fmla="*/ 63 w 116"/>
                    <a:gd name="T111" fmla="*/ 57 h 272"/>
                    <a:gd name="T112" fmla="*/ 64 w 116"/>
                    <a:gd name="T113" fmla="*/ 48 h 272"/>
                    <a:gd name="T114" fmla="*/ 68 w 116"/>
                    <a:gd name="T115" fmla="*/ 46 h 272"/>
                    <a:gd name="T116" fmla="*/ 73 w 116"/>
                    <a:gd name="T117" fmla="*/ 41 h 272"/>
                    <a:gd name="T118" fmla="*/ 82 w 116"/>
                    <a:gd name="T119" fmla="*/ 37 h 272"/>
                    <a:gd name="T120" fmla="*/ 85 w 116"/>
                    <a:gd name="T121" fmla="*/ 33 h 2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16" h="272">
                      <a:moveTo>
                        <a:pt x="80" y="33"/>
                      </a:moveTo>
                      <a:lnTo>
                        <a:pt x="79" y="31"/>
                      </a:lnTo>
                      <a:lnTo>
                        <a:pt x="76" y="33"/>
                      </a:lnTo>
                      <a:lnTo>
                        <a:pt x="73" y="30"/>
                      </a:lnTo>
                      <a:lnTo>
                        <a:pt x="71" y="29"/>
                      </a:lnTo>
                      <a:lnTo>
                        <a:pt x="70" y="26"/>
                      </a:lnTo>
                      <a:lnTo>
                        <a:pt x="64" y="24"/>
                      </a:lnTo>
                      <a:lnTo>
                        <a:pt x="64" y="21"/>
                      </a:lnTo>
                      <a:lnTo>
                        <a:pt x="61" y="20"/>
                      </a:lnTo>
                      <a:lnTo>
                        <a:pt x="63" y="14"/>
                      </a:lnTo>
                      <a:lnTo>
                        <a:pt x="65" y="13"/>
                      </a:lnTo>
                      <a:lnTo>
                        <a:pt x="66" y="10"/>
                      </a:lnTo>
                      <a:lnTo>
                        <a:pt x="63" y="8"/>
                      </a:lnTo>
                      <a:lnTo>
                        <a:pt x="60" y="9"/>
                      </a:lnTo>
                      <a:lnTo>
                        <a:pt x="58" y="8"/>
                      </a:lnTo>
                      <a:lnTo>
                        <a:pt x="52" y="8"/>
                      </a:lnTo>
                      <a:lnTo>
                        <a:pt x="50" y="5"/>
                      </a:lnTo>
                      <a:lnTo>
                        <a:pt x="47" y="5"/>
                      </a:lnTo>
                      <a:lnTo>
                        <a:pt x="47" y="3"/>
                      </a:lnTo>
                      <a:lnTo>
                        <a:pt x="44" y="0"/>
                      </a:lnTo>
                      <a:lnTo>
                        <a:pt x="43" y="2"/>
                      </a:lnTo>
                      <a:lnTo>
                        <a:pt x="39" y="2"/>
                      </a:lnTo>
                      <a:lnTo>
                        <a:pt x="36" y="4"/>
                      </a:lnTo>
                      <a:lnTo>
                        <a:pt x="36" y="9"/>
                      </a:lnTo>
                      <a:lnTo>
                        <a:pt x="32" y="12"/>
                      </a:lnTo>
                      <a:lnTo>
                        <a:pt x="29" y="9"/>
                      </a:lnTo>
                      <a:lnTo>
                        <a:pt x="25" y="11"/>
                      </a:lnTo>
                      <a:lnTo>
                        <a:pt x="25" y="13"/>
                      </a:lnTo>
                      <a:lnTo>
                        <a:pt x="22" y="15"/>
                      </a:lnTo>
                      <a:lnTo>
                        <a:pt x="21" y="12"/>
                      </a:lnTo>
                      <a:lnTo>
                        <a:pt x="19" y="12"/>
                      </a:lnTo>
                      <a:lnTo>
                        <a:pt x="18" y="15"/>
                      </a:lnTo>
                      <a:lnTo>
                        <a:pt x="15" y="12"/>
                      </a:lnTo>
                      <a:lnTo>
                        <a:pt x="12" y="13"/>
                      </a:lnTo>
                      <a:lnTo>
                        <a:pt x="12" y="16"/>
                      </a:lnTo>
                      <a:lnTo>
                        <a:pt x="10" y="16"/>
                      </a:lnTo>
                      <a:lnTo>
                        <a:pt x="9" y="15"/>
                      </a:lnTo>
                      <a:lnTo>
                        <a:pt x="9" y="13"/>
                      </a:lnTo>
                      <a:lnTo>
                        <a:pt x="8" y="12"/>
                      </a:lnTo>
                      <a:lnTo>
                        <a:pt x="5" y="14"/>
                      </a:lnTo>
                      <a:lnTo>
                        <a:pt x="3" y="15"/>
                      </a:lnTo>
                      <a:lnTo>
                        <a:pt x="2" y="17"/>
                      </a:lnTo>
                      <a:lnTo>
                        <a:pt x="1" y="18"/>
                      </a:lnTo>
                      <a:lnTo>
                        <a:pt x="0" y="19"/>
                      </a:lnTo>
                      <a:lnTo>
                        <a:pt x="1" y="21"/>
                      </a:lnTo>
                      <a:lnTo>
                        <a:pt x="6" y="23"/>
                      </a:lnTo>
                      <a:lnTo>
                        <a:pt x="9" y="27"/>
                      </a:lnTo>
                      <a:lnTo>
                        <a:pt x="11" y="30"/>
                      </a:lnTo>
                      <a:lnTo>
                        <a:pt x="11" y="33"/>
                      </a:lnTo>
                      <a:lnTo>
                        <a:pt x="10" y="36"/>
                      </a:lnTo>
                      <a:lnTo>
                        <a:pt x="15" y="42"/>
                      </a:lnTo>
                      <a:lnTo>
                        <a:pt x="18" y="48"/>
                      </a:lnTo>
                      <a:lnTo>
                        <a:pt x="24" y="48"/>
                      </a:lnTo>
                      <a:lnTo>
                        <a:pt x="27" y="49"/>
                      </a:lnTo>
                      <a:lnTo>
                        <a:pt x="30" y="46"/>
                      </a:lnTo>
                      <a:lnTo>
                        <a:pt x="34" y="46"/>
                      </a:lnTo>
                      <a:lnTo>
                        <a:pt x="36" y="50"/>
                      </a:lnTo>
                      <a:lnTo>
                        <a:pt x="40" y="50"/>
                      </a:lnTo>
                      <a:lnTo>
                        <a:pt x="40" y="54"/>
                      </a:lnTo>
                      <a:lnTo>
                        <a:pt x="40" y="57"/>
                      </a:lnTo>
                      <a:lnTo>
                        <a:pt x="44" y="58"/>
                      </a:lnTo>
                      <a:lnTo>
                        <a:pt x="44" y="60"/>
                      </a:lnTo>
                      <a:lnTo>
                        <a:pt x="43" y="61"/>
                      </a:lnTo>
                      <a:lnTo>
                        <a:pt x="41" y="68"/>
                      </a:lnTo>
                      <a:lnTo>
                        <a:pt x="40" y="70"/>
                      </a:lnTo>
                      <a:lnTo>
                        <a:pt x="36" y="71"/>
                      </a:lnTo>
                      <a:lnTo>
                        <a:pt x="33" y="72"/>
                      </a:lnTo>
                      <a:lnTo>
                        <a:pt x="30" y="72"/>
                      </a:lnTo>
                      <a:lnTo>
                        <a:pt x="31" y="75"/>
                      </a:lnTo>
                      <a:lnTo>
                        <a:pt x="34" y="79"/>
                      </a:lnTo>
                      <a:lnTo>
                        <a:pt x="32" y="82"/>
                      </a:lnTo>
                      <a:lnTo>
                        <a:pt x="33" y="84"/>
                      </a:lnTo>
                      <a:lnTo>
                        <a:pt x="35" y="84"/>
                      </a:lnTo>
                      <a:lnTo>
                        <a:pt x="36" y="88"/>
                      </a:lnTo>
                      <a:lnTo>
                        <a:pt x="41" y="89"/>
                      </a:lnTo>
                      <a:lnTo>
                        <a:pt x="45" y="91"/>
                      </a:lnTo>
                      <a:lnTo>
                        <a:pt x="48" y="92"/>
                      </a:lnTo>
                      <a:lnTo>
                        <a:pt x="52" y="98"/>
                      </a:lnTo>
                      <a:lnTo>
                        <a:pt x="56" y="100"/>
                      </a:lnTo>
                      <a:lnTo>
                        <a:pt x="58" y="105"/>
                      </a:lnTo>
                      <a:lnTo>
                        <a:pt x="58" y="108"/>
                      </a:lnTo>
                      <a:lnTo>
                        <a:pt x="63" y="113"/>
                      </a:lnTo>
                      <a:lnTo>
                        <a:pt x="64" y="117"/>
                      </a:lnTo>
                      <a:lnTo>
                        <a:pt x="66" y="119"/>
                      </a:lnTo>
                      <a:lnTo>
                        <a:pt x="69" y="119"/>
                      </a:lnTo>
                      <a:lnTo>
                        <a:pt x="71" y="122"/>
                      </a:lnTo>
                      <a:lnTo>
                        <a:pt x="71" y="124"/>
                      </a:lnTo>
                      <a:lnTo>
                        <a:pt x="73" y="126"/>
                      </a:lnTo>
                      <a:lnTo>
                        <a:pt x="74" y="126"/>
                      </a:lnTo>
                      <a:lnTo>
                        <a:pt x="76" y="127"/>
                      </a:lnTo>
                      <a:lnTo>
                        <a:pt x="76" y="130"/>
                      </a:lnTo>
                      <a:lnTo>
                        <a:pt x="77" y="132"/>
                      </a:lnTo>
                      <a:lnTo>
                        <a:pt x="80" y="132"/>
                      </a:lnTo>
                      <a:lnTo>
                        <a:pt x="82" y="135"/>
                      </a:lnTo>
                      <a:lnTo>
                        <a:pt x="83" y="136"/>
                      </a:lnTo>
                      <a:lnTo>
                        <a:pt x="86" y="134"/>
                      </a:lnTo>
                      <a:lnTo>
                        <a:pt x="87" y="136"/>
                      </a:lnTo>
                      <a:lnTo>
                        <a:pt x="85" y="139"/>
                      </a:lnTo>
                      <a:lnTo>
                        <a:pt x="85" y="143"/>
                      </a:lnTo>
                      <a:lnTo>
                        <a:pt x="85" y="146"/>
                      </a:lnTo>
                      <a:lnTo>
                        <a:pt x="88" y="146"/>
                      </a:lnTo>
                      <a:lnTo>
                        <a:pt x="88" y="150"/>
                      </a:lnTo>
                      <a:lnTo>
                        <a:pt x="84" y="153"/>
                      </a:lnTo>
                      <a:lnTo>
                        <a:pt x="85" y="158"/>
                      </a:lnTo>
                      <a:lnTo>
                        <a:pt x="85" y="160"/>
                      </a:lnTo>
                      <a:lnTo>
                        <a:pt x="86" y="165"/>
                      </a:lnTo>
                      <a:lnTo>
                        <a:pt x="83" y="167"/>
                      </a:lnTo>
                      <a:lnTo>
                        <a:pt x="83" y="167"/>
                      </a:lnTo>
                      <a:lnTo>
                        <a:pt x="85" y="173"/>
                      </a:lnTo>
                      <a:lnTo>
                        <a:pt x="87" y="174"/>
                      </a:lnTo>
                      <a:lnTo>
                        <a:pt x="89" y="181"/>
                      </a:lnTo>
                      <a:lnTo>
                        <a:pt x="88" y="186"/>
                      </a:lnTo>
                      <a:lnTo>
                        <a:pt x="90" y="190"/>
                      </a:lnTo>
                      <a:lnTo>
                        <a:pt x="89" y="194"/>
                      </a:lnTo>
                      <a:lnTo>
                        <a:pt x="89" y="198"/>
                      </a:lnTo>
                      <a:lnTo>
                        <a:pt x="88" y="203"/>
                      </a:lnTo>
                      <a:lnTo>
                        <a:pt x="85" y="204"/>
                      </a:lnTo>
                      <a:lnTo>
                        <a:pt x="85" y="206"/>
                      </a:lnTo>
                      <a:lnTo>
                        <a:pt x="81" y="208"/>
                      </a:lnTo>
                      <a:lnTo>
                        <a:pt x="77" y="211"/>
                      </a:lnTo>
                      <a:lnTo>
                        <a:pt x="75" y="214"/>
                      </a:lnTo>
                      <a:lnTo>
                        <a:pt x="70" y="214"/>
                      </a:lnTo>
                      <a:lnTo>
                        <a:pt x="67" y="216"/>
                      </a:lnTo>
                      <a:lnTo>
                        <a:pt x="67" y="222"/>
                      </a:lnTo>
                      <a:lnTo>
                        <a:pt x="71" y="223"/>
                      </a:lnTo>
                      <a:lnTo>
                        <a:pt x="74" y="226"/>
                      </a:lnTo>
                      <a:lnTo>
                        <a:pt x="73" y="229"/>
                      </a:lnTo>
                      <a:lnTo>
                        <a:pt x="74" y="233"/>
                      </a:lnTo>
                      <a:lnTo>
                        <a:pt x="70" y="233"/>
                      </a:lnTo>
                      <a:lnTo>
                        <a:pt x="69" y="230"/>
                      </a:lnTo>
                      <a:lnTo>
                        <a:pt x="66" y="229"/>
                      </a:lnTo>
                      <a:lnTo>
                        <a:pt x="60" y="230"/>
                      </a:lnTo>
                      <a:lnTo>
                        <a:pt x="58" y="229"/>
                      </a:lnTo>
                      <a:lnTo>
                        <a:pt x="55" y="229"/>
                      </a:lnTo>
                      <a:lnTo>
                        <a:pt x="54" y="234"/>
                      </a:lnTo>
                      <a:lnTo>
                        <a:pt x="50" y="235"/>
                      </a:lnTo>
                      <a:lnTo>
                        <a:pt x="48" y="239"/>
                      </a:lnTo>
                      <a:lnTo>
                        <a:pt x="49" y="240"/>
                      </a:lnTo>
                      <a:lnTo>
                        <a:pt x="49" y="243"/>
                      </a:lnTo>
                      <a:lnTo>
                        <a:pt x="48" y="243"/>
                      </a:lnTo>
                      <a:lnTo>
                        <a:pt x="51" y="244"/>
                      </a:lnTo>
                      <a:lnTo>
                        <a:pt x="53" y="243"/>
                      </a:lnTo>
                      <a:lnTo>
                        <a:pt x="54" y="244"/>
                      </a:lnTo>
                      <a:lnTo>
                        <a:pt x="56" y="243"/>
                      </a:lnTo>
                      <a:lnTo>
                        <a:pt x="59" y="244"/>
                      </a:lnTo>
                      <a:lnTo>
                        <a:pt x="60" y="243"/>
                      </a:lnTo>
                      <a:lnTo>
                        <a:pt x="60" y="245"/>
                      </a:lnTo>
                      <a:lnTo>
                        <a:pt x="56" y="248"/>
                      </a:lnTo>
                      <a:lnTo>
                        <a:pt x="54" y="253"/>
                      </a:lnTo>
                      <a:lnTo>
                        <a:pt x="54" y="258"/>
                      </a:lnTo>
                      <a:lnTo>
                        <a:pt x="54" y="260"/>
                      </a:lnTo>
                      <a:lnTo>
                        <a:pt x="54" y="260"/>
                      </a:lnTo>
                      <a:lnTo>
                        <a:pt x="54" y="261"/>
                      </a:lnTo>
                      <a:lnTo>
                        <a:pt x="54" y="266"/>
                      </a:lnTo>
                      <a:lnTo>
                        <a:pt x="56" y="267"/>
                      </a:lnTo>
                      <a:lnTo>
                        <a:pt x="57" y="267"/>
                      </a:lnTo>
                      <a:lnTo>
                        <a:pt x="56" y="268"/>
                      </a:lnTo>
                      <a:lnTo>
                        <a:pt x="53" y="270"/>
                      </a:lnTo>
                      <a:lnTo>
                        <a:pt x="51" y="271"/>
                      </a:lnTo>
                      <a:lnTo>
                        <a:pt x="54" y="272"/>
                      </a:lnTo>
                      <a:lnTo>
                        <a:pt x="60" y="269"/>
                      </a:lnTo>
                      <a:lnTo>
                        <a:pt x="60" y="268"/>
                      </a:lnTo>
                      <a:lnTo>
                        <a:pt x="61" y="268"/>
                      </a:lnTo>
                      <a:lnTo>
                        <a:pt x="63" y="266"/>
                      </a:lnTo>
                      <a:lnTo>
                        <a:pt x="63" y="263"/>
                      </a:lnTo>
                      <a:lnTo>
                        <a:pt x="64" y="260"/>
                      </a:lnTo>
                      <a:lnTo>
                        <a:pt x="66" y="261"/>
                      </a:lnTo>
                      <a:lnTo>
                        <a:pt x="67" y="260"/>
                      </a:lnTo>
                      <a:lnTo>
                        <a:pt x="70" y="257"/>
                      </a:lnTo>
                      <a:lnTo>
                        <a:pt x="71" y="257"/>
                      </a:lnTo>
                      <a:lnTo>
                        <a:pt x="71" y="256"/>
                      </a:lnTo>
                      <a:lnTo>
                        <a:pt x="73" y="255"/>
                      </a:lnTo>
                      <a:lnTo>
                        <a:pt x="72" y="253"/>
                      </a:lnTo>
                      <a:lnTo>
                        <a:pt x="72" y="253"/>
                      </a:lnTo>
                      <a:lnTo>
                        <a:pt x="71" y="250"/>
                      </a:lnTo>
                      <a:lnTo>
                        <a:pt x="73" y="250"/>
                      </a:lnTo>
                      <a:lnTo>
                        <a:pt x="74" y="252"/>
                      </a:lnTo>
                      <a:lnTo>
                        <a:pt x="75" y="253"/>
                      </a:lnTo>
                      <a:lnTo>
                        <a:pt x="77" y="250"/>
                      </a:lnTo>
                      <a:lnTo>
                        <a:pt x="77" y="249"/>
                      </a:lnTo>
                      <a:lnTo>
                        <a:pt x="74" y="246"/>
                      </a:lnTo>
                      <a:lnTo>
                        <a:pt x="78" y="248"/>
                      </a:lnTo>
                      <a:lnTo>
                        <a:pt x="79" y="247"/>
                      </a:lnTo>
                      <a:lnTo>
                        <a:pt x="78" y="244"/>
                      </a:lnTo>
                      <a:lnTo>
                        <a:pt x="79" y="243"/>
                      </a:lnTo>
                      <a:lnTo>
                        <a:pt x="75" y="241"/>
                      </a:lnTo>
                      <a:lnTo>
                        <a:pt x="78" y="241"/>
                      </a:lnTo>
                      <a:lnTo>
                        <a:pt x="78" y="240"/>
                      </a:lnTo>
                      <a:lnTo>
                        <a:pt x="78" y="240"/>
                      </a:lnTo>
                      <a:lnTo>
                        <a:pt x="77" y="238"/>
                      </a:lnTo>
                      <a:lnTo>
                        <a:pt x="79" y="239"/>
                      </a:lnTo>
                      <a:lnTo>
                        <a:pt x="80" y="238"/>
                      </a:lnTo>
                      <a:lnTo>
                        <a:pt x="81" y="236"/>
                      </a:lnTo>
                      <a:lnTo>
                        <a:pt x="81" y="238"/>
                      </a:lnTo>
                      <a:lnTo>
                        <a:pt x="80" y="240"/>
                      </a:lnTo>
                      <a:lnTo>
                        <a:pt x="81" y="240"/>
                      </a:lnTo>
                      <a:lnTo>
                        <a:pt x="83" y="240"/>
                      </a:lnTo>
                      <a:lnTo>
                        <a:pt x="85" y="241"/>
                      </a:lnTo>
                      <a:lnTo>
                        <a:pt x="88" y="240"/>
                      </a:lnTo>
                      <a:lnTo>
                        <a:pt x="95" y="236"/>
                      </a:lnTo>
                      <a:lnTo>
                        <a:pt x="96" y="234"/>
                      </a:lnTo>
                      <a:lnTo>
                        <a:pt x="99" y="234"/>
                      </a:lnTo>
                      <a:lnTo>
                        <a:pt x="99" y="231"/>
                      </a:lnTo>
                      <a:lnTo>
                        <a:pt x="102" y="229"/>
                      </a:lnTo>
                      <a:lnTo>
                        <a:pt x="104" y="227"/>
                      </a:lnTo>
                      <a:lnTo>
                        <a:pt x="107" y="223"/>
                      </a:lnTo>
                      <a:lnTo>
                        <a:pt x="109" y="222"/>
                      </a:lnTo>
                      <a:lnTo>
                        <a:pt x="109" y="219"/>
                      </a:lnTo>
                      <a:lnTo>
                        <a:pt x="111" y="218"/>
                      </a:lnTo>
                      <a:lnTo>
                        <a:pt x="112" y="215"/>
                      </a:lnTo>
                      <a:lnTo>
                        <a:pt x="112" y="214"/>
                      </a:lnTo>
                      <a:lnTo>
                        <a:pt x="112" y="211"/>
                      </a:lnTo>
                      <a:lnTo>
                        <a:pt x="111" y="208"/>
                      </a:lnTo>
                      <a:lnTo>
                        <a:pt x="113" y="205"/>
                      </a:lnTo>
                      <a:lnTo>
                        <a:pt x="113" y="204"/>
                      </a:lnTo>
                      <a:lnTo>
                        <a:pt x="115" y="202"/>
                      </a:lnTo>
                      <a:lnTo>
                        <a:pt x="115" y="201"/>
                      </a:lnTo>
                      <a:lnTo>
                        <a:pt x="113" y="199"/>
                      </a:lnTo>
                      <a:lnTo>
                        <a:pt x="113" y="196"/>
                      </a:lnTo>
                      <a:lnTo>
                        <a:pt x="115" y="195"/>
                      </a:lnTo>
                      <a:lnTo>
                        <a:pt x="116" y="197"/>
                      </a:lnTo>
                      <a:lnTo>
                        <a:pt x="116" y="198"/>
                      </a:lnTo>
                      <a:lnTo>
                        <a:pt x="116" y="198"/>
                      </a:lnTo>
                      <a:lnTo>
                        <a:pt x="116" y="195"/>
                      </a:lnTo>
                      <a:lnTo>
                        <a:pt x="115" y="191"/>
                      </a:lnTo>
                      <a:lnTo>
                        <a:pt x="114" y="189"/>
                      </a:lnTo>
                      <a:lnTo>
                        <a:pt x="113" y="188"/>
                      </a:lnTo>
                      <a:lnTo>
                        <a:pt x="112" y="187"/>
                      </a:lnTo>
                      <a:lnTo>
                        <a:pt x="112" y="183"/>
                      </a:lnTo>
                      <a:lnTo>
                        <a:pt x="112" y="181"/>
                      </a:lnTo>
                      <a:lnTo>
                        <a:pt x="112" y="179"/>
                      </a:lnTo>
                      <a:lnTo>
                        <a:pt x="112" y="177"/>
                      </a:lnTo>
                      <a:lnTo>
                        <a:pt x="112" y="174"/>
                      </a:lnTo>
                      <a:lnTo>
                        <a:pt x="111" y="173"/>
                      </a:lnTo>
                      <a:lnTo>
                        <a:pt x="110" y="167"/>
                      </a:lnTo>
                      <a:lnTo>
                        <a:pt x="109" y="166"/>
                      </a:lnTo>
                      <a:lnTo>
                        <a:pt x="108" y="160"/>
                      </a:lnTo>
                      <a:lnTo>
                        <a:pt x="105" y="157"/>
                      </a:lnTo>
                      <a:lnTo>
                        <a:pt x="106" y="155"/>
                      </a:lnTo>
                      <a:lnTo>
                        <a:pt x="105" y="153"/>
                      </a:lnTo>
                      <a:lnTo>
                        <a:pt x="105" y="152"/>
                      </a:lnTo>
                      <a:lnTo>
                        <a:pt x="102" y="148"/>
                      </a:lnTo>
                      <a:lnTo>
                        <a:pt x="102" y="146"/>
                      </a:lnTo>
                      <a:lnTo>
                        <a:pt x="102" y="146"/>
                      </a:lnTo>
                      <a:lnTo>
                        <a:pt x="102" y="143"/>
                      </a:lnTo>
                      <a:lnTo>
                        <a:pt x="99" y="139"/>
                      </a:lnTo>
                      <a:lnTo>
                        <a:pt x="93" y="133"/>
                      </a:lnTo>
                      <a:lnTo>
                        <a:pt x="92" y="129"/>
                      </a:lnTo>
                      <a:lnTo>
                        <a:pt x="85" y="123"/>
                      </a:lnTo>
                      <a:lnTo>
                        <a:pt x="77" y="119"/>
                      </a:lnTo>
                      <a:lnTo>
                        <a:pt x="77" y="118"/>
                      </a:lnTo>
                      <a:lnTo>
                        <a:pt x="74" y="115"/>
                      </a:lnTo>
                      <a:lnTo>
                        <a:pt x="68" y="110"/>
                      </a:lnTo>
                      <a:lnTo>
                        <a:pt x="67" y="108"/>
                      </a:lnTo>
                      <a:lnTo>
                        <a:pt x="66" y="104"/>
                      </a:lnTo>
                      <a:lnTo>
                        <a:pt x="67" y="103"/>
                      </a:lnTo>
                      <a:lnTo>
                        <a:pt x="67" y="101"/>
                      </a:lnTo>
                      <a:lnTo>
                        <a:pt x="65" y="97"/>
                      </a:lnTo>
                      <a:lnTo>
                        <a:pt x="64" y="97"/>
                      </a:lnTo>
                      <a:lnTo>
                        <a:pt x="60" y="93"/>
                      </a:lnTo>
                      <a:lnTo>
                        <a:pt x="56" y="90"/>
                      </a:lnTo>
                      <a:lnTo>
                        <a:pt x="54" y="89"/>
                      </a:lnTo>
                      <a:lnTo>
                        <a:pt x="56" y="88"/>
                      </a:lnTo>
                      <a:lnTo>
                        <a:pt x="56" y="87"/>
                      </a:lnTo>
                      <a:lnTo>
                        <a:pt x="53" y="84"/>
                      </a:lnTo>
                      <a:lnTo>
                        <a:pt x="54" y="81"/>
                      </a:lnTo>
                      <a:lnTo>
                        <a:pt x="56" y="75"/>
                      </a:lnTo>
                      <a:lnTo>
                        <a:pt x="55" y="73"/>
                      </a:lnTo>
                      <a:lnTo>
                        <a:pt x="54" y="73"/>
                      </a:lnTo>
                      <a:lnTo>
                        <a:pt x="54" y="70"/>
                      </a:lnTo>
                      <a:lnTo>
                        <a:pt x="55" y="69"/>
                      </a:lnTo>
                      <a:lnTo>
                        <a:pt x="56" y="66"/>
                      </a:lnTo>
                      <a:lnTo>
                        <a:pt x="57" y="64"/>
                      </a:lnTo>
                      <a:lnTo>
                        <a:pt x="57" y="64"/>
                      </a:lnTo>
                      <a:lnTo>
                        <a:pt x="58" y="64"/>
                      </a:lnTo>
                      <a:lnTo>
                        <a:pt x="60" y="64"/>
                      </a:lnTo>
                      <a:lnTo>
                        <a:pt x="62" y="60"/>
                      </a:lnTo>
                      <a:lnTo>
                        <a:pt x="63" y="60"/>
                      </a:lnTo>
                      <a:lnTo>
                        <a:pt x="64" y="58"/>
                      </a:lnTo>
                      <a:lnTo>
                        <a:pt x="63" y="57"/>
                      </a:lnTo>
                      <a:lnTo>
                        <a:pt x="64" y="56"/>
                      </a:lnTo>
                      <a:lnTo>
                        <a:pt x="63" y="53"/>
                      </a:lnTo>
                      <a:lnTo>
                        <a:pt x="64" y="50"/>
                      </a:lnTo>
                      <a:lnTo>
                        <a:pt x="63" y="50"/>
                      </a:lnTo>
                      <a:lnTo>
                        <a:pt x="64" y="48"/>
                      </a:lnTo>
                      <a:lnTo>
                        <a:pt x="64" y="46"/>
                      </a:lnTo>
                      <a:lnTo>
                        <a:pt x="65" y="46"/>
                      </a:lnTo>
                      <a:lnTo>
                        <a:pt x="66" y="47"/>
                      </a:lnTo>
                      <a:lnTo>
                        <a:pt x="67" y="46"/>
                      </a:lnTo>
                      <a:lnTo>
                        <a:pt x="68" y="46"/>
                      </a:lnTo>
                      <a:lnTo>
                        <a:pt x="71" y="45"/>
                      </a:lnTo>
                      <a:lnTo>
                        <a:pt x="71" y="46"/>
                      </a:lnTo>
                      <a:lnTo>
                        <a:pt x="72" y="45"/>
                      </a:lnTo>
                      <a:lnTo>
                        <a:pt x="74" y="43"/>
                      </a:lnTo>
                      <a:lnTo>
                        <a:pt x="73" y="41"/>
                      </a:lnTo>
                      <a:lnTo>
                        <a:pt x="74" y="39"/>
                      </a:lnTo>
                      <a:lnTo>
                        <a:pt x="76" y="39"/>
                      </a:lnTo>
                      <a:lnTo>
                        <a:pt x="79" y="39"/>
                      </a:lnTo>
                      <a:lnTo>
                        <a:pt x="81" y="37"/>
                      </a:lnTo>
                      <a:lnTo>
                        <a:pt x="82" y="37"/>
                      </a:lnTo>
                      <a:lnTo>
                        <a:pt x="84" y="36"/>
                      </a:lnTo>
                      <a:lnTo>
                        <a:pt x="85" y="35"/>
                      </a:lnTo>
                      <a:lnTo>
                        <a:pt x="85" y="33"/>
                      </a:lnTo>
                      <a:lnTo>
                        <a:pt x="85" y="33"/>
                      </a:lnTo>
                      <a:lnTo>
                        <a:pt x="85" y="33"/>
                      </a:lnTo>
                      <a:lnTo>
                        <a:pt x="85" y="33"/>
                      </a:lnTo>
                      <a:lnTo>
                        <a:pt x="85" y="33"/>
                      </a:lnTo>
                      <a:lnTo>
                        <a:pt x="82" y="32"/>
                      </a:lnTo>
                      <a:lnTo>
                        <a:pt x="80" y="3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28" name="Freeform 529">
                  <a:extLst>
                    <a:ext uri="{FF2B5EF4-FFF2-40B4-BE49-F238E27FC236}">
                      <a16:creationId xmlns:a16="http://schemas.microsoft.com/office/drawing/2014/main" id="{5BE49E77-5E53-4B31-B427-D9023C8E12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55" y="2547"/>
                  <a:ext cx="75" cy="77"/>
                </a:xfrm>
                <a:custGeom>
                  <a:avLst/>
                  <a:gdLst>
                    <a:gd name="T0" fmla="*/ 40 w 75"/>
                    <a:gd name="T1" fmla="*/ 67 h 77"/>
                    <a:gd name="T2" fmla="*/ 45 w 75"/>
                    <a:gd name="T3" fmla="*/ 68 h 77"/>
                    <a:gd name="T4" fmla="*/ 54 w 75"/>
                    <a:gd name="T5" fmla="*/ 68 h 77"/>
                    <a:gd name="T6" fmla="*/ 59 w 75"/>
                    <a:gd name="T7" fmla="*/ 71 h 77"/>
                    <a:gd name="T8" fmla="*/ 59 w 75"/>
                    <a:gd name="T9" fmla="*/ 64 h 77"/>
                    <a:gd name="T10" fmla="*/ 52 w 75"/>
                    <a:gd name="T11" fmla="*/ 60 h 77"/>
                    <a:gd name="T12" fmla="*/ 55 w 75"/>
                    <a:gd name="T13" fmla="*/ 52 h 77"/>
                    <a:gd name="T14" fmla="*/ 62 w 75"/>
                    <a:gd name="T15" fmla="*/ 49 h 77"/>
                    <a:gd name="T16" fmla="*/ 70 w 75"/>
                    <a:gd name="T17" fmla="*/ 44 h 77"/>
                    <a:gd name="T18" fmla="*/ 73 w 75"/>
                    <a:gd name="T19" fmla="*/ 41 h 77"/>
                    <a:gd name="T20" fmla="*/ 74 w 75"/>
                    <a:gd name="T21" fmla="*/ 32 h 77"/>
                    <a:gd name="T22" fmla="*/ 73 w 75"/>
                    <a:gd name="T23" fmla="*/ 24 h 77"/>
                    <a:gd name="T24" fmla="*/ 72 w 75"/>
                    <a:gd name="T25" fmla="*/ 12 h 77"/>
                    <a:gd name="T26" fmla="*/ 68 w 75"/>
                    <a:gd name="T27" fmla="*/ 5 h 77"/>
                    <a:gd name="T28" fmla="*/ 63 w 75"/>
                    <a:gd name="T29" fmla="*/ 3 h 77"/>
                    <a:gd name="T30" fmla="*/ 59 w 75"/>
                    <a:gd name="T31" fmla="*/ 0 h 77"/>
                    <a:gd name="T32" fmla="*/ 52 w 75"/>
                    <a:gd name="T33" fmla="*/ 4 h 77"/>
                    <a:gd name="T34" fmla="*/ 55 w 75"/>
                    <a:gd name="T35" fmla="*/ 11 h 77"/>
                    <a:gd name="T36" fmla="*/ 56 w 75"/>
                    <a:gd name="T37" fmla="*/ 16 h 77"/>
                    <a:gd name="T38" fmla="*/ 49 w 75"/>
                    <a:gd name="T39" fmla="*/ 9 h 77"/>
                    <a:gd name="T40" fmla="*/ 43 w 75"/>
                    <a:gd name="T41" fmla="*/ 7 h 77"/>
                    <a:gd name="T42" fmla="*/ 38 w 75"/>
                    <a:gd name="T43" fmla="*/ 5 h 77"/>
                    <a:gd name="T44" fmla="*/ 32 w 75"/>
                    <a:gd name="T45" fmla="*/ 3 h 77"/>
                    <a:gd name="T46" fmla="*/ 25 w 75"/>
                    <a:gd name="T47" fmla="*/ 2 h 77"/>
                    <a:gd name="T48" fmla="*/ 21 w 75"/>
                    <a:gd name="T49" fmla="*/ 2 h 77"/>
                    <a:gd name="T50" fmla="*/ 10 w 75"/>
                    <a:gd name="T51" fmla="*/ 5 h 77"/>
                    <a:gd name="T52" fmla="*/ 4 w 75"/>
                    <a:gd name="T53" fmla="*/ 10 h 77"/>
                    <a:gd name="T54" fmla="*/ 0 w 75"/>
                    <a:gd name="T55" fmla="*/ 19 h 77"/>
                    <a:gd name="T56" fmla="*/ 1 w 75"/>
                    <a:gd name="T57" fmla="*/ 32 h 77"/>
                    <a:gd name="T58" fmla="*/ 5 w 75"/>
                    <a:gd name="T59" fmla="*/ 37 h 77"/>
                    <a:gd name="T60" fmla="*/ 4 w 75"/>
                    <a:gd name="T61" fmla="*/ 46 h 77"/>
                    <a:gd name="T62" fmla="*/ 7 w 75"/>
                    <a:gd name="T63" fmla="*/ 49 h 77"/>
                    <a:gd name="T64" fmla="*/ 8 w 75"/>
                    <a:gd name="T65" fmla="*/ 53 h 77"/>
                    <a:gd name="T66" fmla="*/ 11 w 75"/>
                    <a:gd name="T67" fmla="*/ 60 h 77"/>
                    <a:gd name="T68" fmla="*/ 13 w 75"/>
                    <a:gd name="T69" fmla="*/ 63 h 77"/>
                    <a:gd name="T70" fmla="*/ 14 w 75"/>
                    <a:gd name="T71" fmla="*/ 67 h 77"/>
                    <a:gd name="T72" fmla="*/ 16 w 75"/>
                    <a:gd name="T73" fmla="*/ 70 h 77"/>
                    <a:gd name="T74" fmla="*/ 18 w 75"/>
                    <a:gd name="T75" fmla="*/ 67 h 77"/>
                    <a:gd name="T76" fmla="*/ 21 w 75"/>
                    <a:gd name="T77" fmla="*/ 64 h 77"/>
                    <a:gd name="T78" fmla="*/ 21 w 75"/>
                    <a:gd name="T79" fmla="*/ 69 h 77"/>
                    <a:gd name="T80" fmla="*/ 20 w 75"/>
                    <a:gd name="T81" fmla="*/ 73 h 77"/>
                    <a:gd name="T82" fmla="*/ 21 w 75"/>
                    <a:gd name="T83" fmla="*/ 76 h 77"/>
                    <a:gd name="T84" fmla="*/ 25 w 75"/>
                    <a:gd name="T85" fmla="*/ 74 h 77"/>
                    <a:gd name="T86" fmla="*/ 27 w 75"/>
                    <a:gd name="T87" fmla="*/ 74 h 77"/>
                    <a:gd name="T88" fmla="*/ 31 w 75"/>
                    <a:gd name="T89" fmla="*/ 74 h 77"/>
                    <a:gd name="T90" fmla="*/ 35 w 75"/>
                    <a:gd name="T91" fmla="*/ 73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5" h="77">
                      <a:moveTo>
                        <a:pt x="39" y="72"/>
                      </a:moveTo>
                      <a:lnTo>
                        <a:pt x="40" y="67"/>
                      </a:lnTo>
                      <a:lnTo>
                        <a:pt x="43" y="67"/>
                      </a:lnTo>
                      <a:lnTo>
                        <a:pt x="45" y="68"/>
                      </a:lnTo>
                      <a:lnTo>
                        <a:pt x="51" y="67"/>
                      </a:lnTo>
                      <a:lnTo>
                        <a:pt x="54" y="68"/>
                      </a:lnTo>
                      <a:lnTo>
                        <a:pt x="55" y="71"/>
                      </a:lnTo>
                      <a:lnTo>
                        <a:pt x="59" y="71"/>
                      </a:lnTo>
                      <a:lnTo>
                        <a:pt x="58" y="67"/>
                      </a:lnTo>
                      <a:lnTo>
                        <a:pt x="59" y="64"/>
                      </a:lnTo>
                      <a:lnTo>
                        <a:pt x="56" y="61"/>
                      </a:lnTo>
                      <a:lnTo>
                        <a:pt x="52" y="60"/>
                      </a:lnTo>
                      <a:lnTo>
                        <a:pt x="52" y="54"/>
                      </a:lnTo>
                      <a:lnTo>
                        <a:pt x="55" y="52"/>
                      </a:lnTo>
                      <a:lnTo>
                        <a:pt x="60" y="52"/>
                      </a:lnTo>
                      <a:lnTo>
                        <a:pt x="62" y="49"/>
                      </a:lnTo>
                      <a:lnTo>
                        <a:pt x="66" y="46"/>
                      </a:lnTo>
                      <a:lnTo>
                        <a:pt x="70" y="44"/>
                      </a:lnTo>
                      <a:lnTo>
                        <a:pt x="70" y="42"/>
                      </a:lnTo>
                      <a:lnTo>
                        <a:pt x="73" y="41"/>
                      </a:lnTo>
                      <a:lnTo>
                        <a:pt x="74" y="36"/>
                      </a:lnTo>
                      <a:lnTo>
                        <a:pt x="74" y="32"/>
                      </a:lnTo>
                      <a:lnTo>
                        <a:pt x="75" y="28"/>
                      </a:lnTo>
                      <a:lnTo>
                        <a:pt x="73" y="24"/>
                      </a:lnTo>
                      <a:lnTo>
                        <a:pt x="74" y="19"/>
                      </a:lnTo>
                      <a:lnTo>
                        <a:pt x="72" y="12"/>
                      </a:lnTo>
                      <a:lnTo>
                        <a:pt x="70" y="11"/>
                      </a:lnTo>
                      <a:lnTo>
                        <a:pt x="68" y="5"/>
                      </a:lnTo>
                      <a:lnTo>
                        <a:pt x="66" y="5"/>
                      </a:lnTo>
                      <a:lnTo>
                        <a:pt x="63" y="3"/>
                      </a:lnTo>
                      <a:lnTo>
                        <a:pt x="61" y="2"/>
                      </a:lnTo>
                      <a:lnTo>
                        <a:pt x="59" y="0"/>
                      </a:lnTo>
                      <a:lnTo>
                        <a:pt x="55" y="1"/>
                      </a:lnTo>
                      <a:lnTo>
                        <a:pt x="52" y="4"/>
                      </a:lnTo>
                      <a:lnTo>
                        <a:pt x="55" y="8"/>
                      </a:lnTo>
                      <a:lnTo>
                        <a:pt x="55" y="11"/>
                      </a:lnTo>
                      <a:lnTo>
                        <a:pt x="56" y="14"/>
                      </a:lnTo>
                      <a:lnTo>
                        <a:pt x="56" y="16"/>
                      </a:lnTo>
                      <a:lnTo>
                        <a:pt x="51" y="14"/>
                      </a:lnTo>
                      <a:lnTo>
                        <a:pt x="49" y="9"/>
                      </a:lnTo>
                      <a:lnTo>
                        <a:pt x="45" y="9"/>
                      </a:lnTo>
                      <a:lnTo>
                        <a:pt x="43" y="7"/>
                      </a:lnTo>
                      <a:lnTo>
                        <a:pt x="40" y="4"/>
                      </a:lnTo>
                      <a:lnTo>
                        <a:pt x="38" y="5"/>
                      </a:lnTo>
                      <a:lnTo>
                        <a:pt x="35" y="2"/>
                      </a:lnTo>
                      <a:lnTo>
                        <a:pt x="32" y="3"/>
                      </a:lnTo>
                      <a:lnTo>
                        <a:pt x="28" y="2"/>
                      </a:lnTo>
                      <a:lnTo>
                        <a:pt x="25" y="2"/>
                      </a:lnTo>
                      <a:lnTo>
                        <a:pt x="21" y="4"/>
                      </a:lnTo>
                      <a:lnTo>
                        <a:pt x="21" y="2"/>
                      </a:lnTo>
                      <a:lnTo>
                        <a:pt x="16" y="2"/>
                      </a:lnTo>
                      <a:lnTo>
                        <a:pt x="10" y="5"/>
                      </a:lnTo>
                      <a:lnTo>
                        <a:pt x="7" y="5"/>
                      </a:lnTo>
                      <a:lnTo>
                        <a:pt x="4" y="10"/>
                      </a:lnTo>
                      <a:lnTo>
                        <a:pt x="3" y="15"/>
                      </a:lnTo>
                      <a:lnTo>
                        <a:pt x="0" y="19"/>
                      </a:lnTo>
                      <a:lnTo>
                        <a:pt x="0" y="26"/>
                      </a:lnTo>
                      <a:lnTo>
                        <a:pt x="1" y="32"/>
                      </a:lnTo>
                      <a:lnTo>
                        <a:pt x="4" y="34"/>
                      </a:lnTo>
                      <a:lnTo>
                        <a:pt x="5" y="37"/>
                      </a:lnTo>
                      <a:lnTo>
                        <a:pt x="5" y="43"/>
                      </a:lnTo>
                      <a:lnTo>
                        <a:pt x="4" y="46"/>
                      </a:lnTo>
                      <a:lnTo>
                        <a:pt x="4" y="46"/>
                      </a:lnTo>
                      <a:lnTo>
                        <a:pt x="7" y="49"/>
                      </a:lnTo>
                      <a:lnTo>
                        <a:pt x="7" y="52"/>
                      </a:lnTo>
                      <a:lnTo>
                        <a:pt x="8" y="53"/>
                      </a:lnTo>
                      <a:lnTo>
                        <a:pt x="9" y="57"/>
                      </a:lnTo>
                      <a:lnTo>
                        <a:pt x="11" y="60"/>
                      </a:lnTo>
                      <a:lnTo>
                        <a:pt x="12" y="60"/>
                      </a:lnTo>
                      <a:lnTo>
                        <a:pt x="13" y="63"/>
                      </a:lnTo>
                      <a:lnTo>
                        <a:pt x="13" y="65"/>
                      </a:lnTo>
                      <a:lnTo>
                        <a:pt x="14" y="67"/>
                      </a:lnTo>
                      <a:lnTo>
                        <a:pt x="14" y="70"/>
                      </a:lnTo>
                      <a:lnTo>
                        <a:pt x="16" y="70"/>
                      </a:lnTo>
                      <a:lnTo>
                        <a:pt x="18" y="70"/>
                      </a:lnTo>
                      <a:lnTo>
                        <a:pt x="18" y="67"/>
                      </a:lnTo>
                      <a:lnTo>
                        <a:pt x="20" y="65"/>
                      </a:lnTo>
                      <a:lnTo>
                        <a:pt x="21" y="64"/>
                      </a:lnTo>
                      <a:lnTo>
                        <a:pt x="21" y="66"/>
                      </a:lnTo>
                      <a:lnTo>
                        <a:pt x="21" y="69"/>
                      </a:lnTo>
                      <a:lnTo>
                        <a:pt x="21" y="71"/>
                      </a:lnTo>
                      <a:lnTo>
                        <a:pt x="20" y="73"/>
                      </a:lnTo>
                      <a:lnTo>
                        <a:pt x="21" y="75"/>
                      </a:lnTo>
                      <a:lnTo>
                        <a:pt x="21" y="76"/>
                      </a:lnTo>
                      <a:lnTo>
                        <a:pt x="23" y="76"/>
                      </a:lnTo>
                      <a:lnTo>
                        <a:pt x="25" y="74"/>
                      </a:lnTo>
                      <a:lnTo>
                        <a:pt x="25" y="73"/>
                      </a:lnTo>
                      <a:lnTo>
                        <a:pt x="27" y="74"/>
                      </a:lnTo>
                      <a:lnTo>
                        <a:pt x="29" y="75"/>
                      </a:lnTo>
                      <a:lnTo>
                        <a:pt x="31" y="74"/>
                      </a:lnTo>
                      <a:lnTo>
                        <a:pt x="33" y="77"/>
                      </a:lnTo>
                      <a:lnTo>
                        <a:pt x="35" y="73"/>
                      </a:lnTo>
                      <a:lnTo>
                        <a:pt x="39" y="7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29" name="Freeform 530">
                  <a:extLst>
                    <a:ext uri="{FF2B5EF4-FFF2-40B4-BE49-F238E27FC236}">
                      <a16:creationId xmlns:a16="http://schemas.microsoft.com/office/drawing/2014/main" id="{876B5242-7155-4FF1-82FE-6206622571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3" y="2404"/>
                  <a:ext cx="115" cy="159"/>
                </a:xfrm>
                <a:custGeom>
                  <a:avLst/>
                  <a:gdLst>
                    <a:gd name="T0" fmla="*/ 8 w 115"/>
                    <a:gd name="T1" fmla="*/ 49 h 159"/>
                    <a:gd name="T2" fmla="*/ 11 w 115"/>
                    <a:gd name="T3" fmla="*/ 56 h 159"/>
                    <a:gd name="T4" fmla="*/ 18 w 115"/>
                    <a:gd name="T5" fmla="*/ 57 h 159"/>
                    <a:gd name="T6" fmla="*/ 18 w 115"/>
                    <a:gd name="T7" fmla="*/ 67 h 159"/>
                    <a:gd name="T8" fmla="*/ 18 w 115"/>
                    <a:gd name="T9" fmla="*/ 79 h 159"/>
                    <a:gd name="T10" fmla="*/ 25 w 115"/>
                    <a:gd name="T11" fmla="*/ 85 h 159"/>
                    <a:gd name="T12" fmla="*/ 35 w 115"/>
                    <a:gd name="T13" fmla="*/ 82 h 159"/>
                    <a:gd name="T14" fmla="*/ 46 w 115"/>
                    <a:gd name="T15" fmla="*/ 85 h 159"/>
                    <a:gd name="T16" fmla="*/ 60 w 115"/>
                    <a:gd name="T17" fmla="*/ 78 h 159"/>
                    <a:gd name="T18" fmla="*/ 72 w 115"/>
                    <a:gd name="T19" fmla="*/ 91 h 159"/>
                    <a:gd name="T20" fmla="*/ 72 w 115"/>
                    <a:gd name="T21" fmla="*/ 100 h 159"/>
                    <a:gd name="T22" fmla="*/ 72 w 115"/>
                    <a:gd name="T23" fmla="*/ 111 h 159"/>
                    <a:gd name="T24" fmla="*/ 81 w 115"/>
                    <a:gd name="T25" fmla="*/ 117 h 159"/>
                    <a:gd name="T26" fmla="*/ 85 w 115"/>
                    <a:gd name="T27" fmla="*/ 124 h 159"/>
                    <a:gd name="T28" fmla="*/ 85 w 115"/>
                    <a:gd name="T29" fmla="*/ 131 h 159"/>
                    <a:gd name="T30" fmla="*/ 85 w 115"/>
                    <a:gd name="T31" fmla="*/ 144 h 159"/>
                    <a:gd name="T32" fmla="*/ 85 w 115"/>
                    <a:gd name="T33" fmla="*/ 150 h 159"/>
                    <a:gd name="T34" fmla="*/ 93 w 115"/>
                    <a:gd name="T35" fmla="*/ 157 h 159"/>
                    <a:gd name="T36" fmla="*/ 97 w 115"/>
                    <a:gd name="T37" fmla="*/ 154 h 159"/>
                    <a:gd name="T38" fmla="*/ 97 w 115"/>
                    <a:gd name="T39" fmla="*/ 144 h 159"/>
                    <a:gd name="T40" fmla="*/ 105 w 115"/>
                    <a:gd name="T41" fmla="*/ 146 h 159"/>
                    <a:gd name="T42" fmla="*/ 110 w 115"/>
                    <a:gd name="T43" fmla="*/ 148 h 159"/>
                    <a:gd name="T44" fmla="*/ 112 w 115"/>
                    <a:gd name="T45" fmla="*/ 139 h 159"/>
                    <a:gd name="T46" fmla="*/ 115 w 115"/>
                    <a:gd name="T47" fmla="*/ 127 h 159"/>
                    <a:gd name="T48" fmla="*/ 112 w 115"/>
                    <a:gd name="T49" fmla="*/ 120 h 159"/>
                    <a:gd name="T50" fmla="*/ 110 w 115"/>
                    <a:gd name="T51" fmla="*/ 117 h 159"/>
                    <a:gd name="T52" fmla="*/ 104 w 115"/>
                    <a:gd name="T53" fmla="*/ 113 h 159"/>
                    <a:gd name="T54" fmla="*/ 101 w 115"/>
                    <a:gd name="T55" fmla="*/ 107 h 159"/>
                    <a:gd name="T56" fmla="*/ 98 w 115"/>
                    <a:gd name="T57" fmla="*/ 103 h 159"/>
                    <a:gd name="T58" fmla="*/ 91 w 115"/>
                    <a:gd name="T59" fmla="*/ 98 h 159"/>
                    <a:gd name="T60" fmla="*/ 85 w 115"/>
                    <a:gd name="T61" fmla="*/ 86 h 159"/>
                    <a:gd name="T62" fmla="*/ 75 w 115"/>
                    <a:gd name="T63" fmla="*/ 73 h 159"/>
                    <a:gd name="T64" fmla="*/ 63 w 115"/>
                    <a:gd name="T65" fmla="*/ 69 h 159"/>
                    <a:gd name="T66" fmla="*/ 59 w 115"/>
                    <a:gd name="T67" fmla="*/ 63 h 159"/>
                    <a:gd name="T68" fmla="*/ 57 w 115"/>
                    <a:gd name="T69" fmla="*/ 53 h 159"/>
                    <a:gd name="T70" fmla="*/ 67 w 115"/>
                    <a:gd name="T71" fmla="*/ 51 h 159"/>
                    <a:gd name="T72" fmla="*/ 71 w 115"/>
                    <a:gd name="T73" fmla="*/ 41 h 159"/>
                    <a:gd name="T74" fmla="*/ 67 w 115"/>
                    <a:gd name="T75" fmla="*/ 35 h 159"/>
                    <a:gd name="T76" fmla="*/ 61 w 115"/>
                    <a:gd name="T77" fmla="*/ 27 h 159"/>
                    <a:gd name="T78" fmla="*/ 51 w 115"/>
                    <a:gd name="T79" fmla="*/ 29 h 159"/>
                    <a:gd name="T80" fmla="*/ 37 w 115"/>
                    <a:gd name="T81" fmla="*/ 17 h 159"/>
                    <a:gd name="T82" fmla="*/ 36 w 115"/>
                    <a:gd name="T83" fmla="*/ 8 h 159"/>
                    <a:gd name="T84" fmla="*/ 27 w 115"/>
                    <a:gd name="T85" fmla="*/ 0 h 159"/>
                    <a:gd name="T86" fmla="*/ 20 w 115"/>
                    <a:gd name="T87" fmla="*/ 3 h 159"/>
                    <a:gd name="T88" fmla="*/ 21 w 115"/>
                    <a:gd name="T89" fmla="*/ 17 h 159"/>
                    <a:gd name="T90" fmla="*/ 16 w 115"/>
                    <a:gd name="T91" fmla="*/ 22 h 159"/>
                    <a:gd name="T92" fmla="*/ 10 w 115"/>
                    <a:gd name="T93" fmla="*/ 20 h 159"/>
                    <a:gd name="T94" fmla="*/ 4 w 115"/>
                    <a:gd name="T95" fmla="*/ 27 h 159"/>
                    <a:gd name="T96" fmla="*/ 1 w 115"/>
                    <a:gd name="T97" fmla="*/ 32 h 159"/>
                    <a:gd name="T98" fmla="*/ 5 w 115"/>
                    <a:gd name="T99" fmla="*/ 39 h 1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15" h="159">
                      <a:moveTo>
                        <a:pt x="5" y="39"/>
                      </a:moveTo>
                      <a:lnTo>
                        <a:pt x="8" y="43"/>
                      </a:lnTo>
                      <a:lnTo>
                        <a:pt x="8" y="49"/>
                      </a:lnTo>
                      <a:lnTo>
                        <a:pt x="6" y="51"/>
                      </a:lnTo>
                      <a:lnTo>
                        <a:pt x="8" y="55"/>
                      </a:lnTo>
                      <a:lnTo>
                        <a:pt x="11" y="56"/>
                      </a:lnTo>
                      <a:lnTo>
                        <a:pt x="13" y="54"/>
                      </a:lnTo>
                      <a:lnTo>
                        <a:pt x="18" y="54"/>
                      </a:lnTo>
                      <a:lnTo>
                        <a:pt x="18" y="57"/>
                      </a:lnTo>
                      <a:lnTo>
                        <a:pt x="17" y="61"/>
                      </a:lnTo>
                      <a:lnTo>
                        <a:pt x="18" y="64"/>
                      </a:lnTo>
                      <a:lnTo>
                        <a:pt x="18" y="67"/>
                      </a:lnTo>
                      <a:lnTo>
                        <a:pt x="17" y="69"/>
                      </a:lnTo>
                      <a:lnTo>
                        <a:pt x="18" y="73"/>
                      </a:lnTo>
                      <a:lnTo>
                        <a:pt x="18" y="79"/>
                      </a:lnTo>
                      <a:lnTo>
                        <a:pt x="18" y="88"/>
                      </a:lnTo>
                      <a:lnTo>
                        <a:pt x="22" y="86"/>
                      </a:lnTo>
                      <a:lnTo>
                        <a:pt x="25" y="85"/>
                      </a:lnTo>
                      <a:lnTo>
                        <a:pt x="25" y="82"/>
                      </a:lnTo>
                      <a:lnTo>
                        <a:pt x="30" y="79"/>
                      </a:lnTo>
                      <a:lnTo>
                        <a:pt x="35" y="82"/>
                      </a:lnTo>
                      <a:lnTo>
                        <a:pt x="38" y="82"/>
                      </a:lnTo>
                      <a:lnTo>
                        <a:pt x="40" y="86"/>
                      </a:lnTo>
                      <a:lnTo>
                        <a:pt x="46" y="85"/>
                      </a:lnTo>
                      <a:lnTo>
                        <a:pt x="49" y="77"/>
                      </a:lnTo>
                      <a:lnTo>
                        <a:pt x="54" y="76"/>
                      </a:lnTo>
                      <a:lnTo>
                        <a:pt x="60" y="78"/>
                      </a:lnTo>
                      <a:lnTo>
                        <a:pt x="62" y="83"/>
                      </a:lnTo>
                      <a:lnTo>
                        <a:pt x="68" y="88"/>
                      </a:lnTo>
                      <a:lnTo>
                        <a:pt x="72" y="91"/>
                      </a:lnTo>
                      <a:lnTo>
                        <a:pt x="74" y="95"/>
                      </a:lnTo>
                      <a:lnTo>
                        <a:pt x="73" y="98"/>
                      </a:lnTo>
                      <a:lnTo>
                        <a:pt x="72" y="100"/>
                      </a:lnTo>
                      <a:lnTo>
                        <a:pt x="74" y="103"/>
                      </a:lnTo>
                      <a:lnTo>
                        <a:pt x="73" y="109"/>
                      </a:lnTo>
                      <a:lnTo>
                        <a:pt x="72" y="111"/>
                      </a:lnTo>
                      <a:lnTo>
                        <a:pt x="75" y="114"/>
                      </a:lnTo>
                      <a:lnTo>
                        <a:pt x="77" y="117"/>
                      </a:lnTo>
                      <a:lnTo>
                        <a:pt x="81" y="117"/>
                      </a:lnTo>
                      <a:lnTo>
                        <a:pt x="83" y="119"/>
                      </a:lnTo>
                      <a:lnTo>
                        <a:pt x="82" y="121"/>
                      </a:lnTo>
                      <a:lnTo>
                        <a:pt x="85" y="124"/>
                      </a:lnTo>
                      <a:lnTo>
                        <a:pt x="86" y="126"/>
                      </a:lnTo>
                      <a:lnTo>
                        <a:pt x="85" y="129"/>
                      </a:lnTo>
                      <a:lnTo>
                        <a:pt x="85" y="131"/>
                      </a:lnTo>
                      <a:lnTo>
                        <a:pt x="84" y="134"/>
                      </a:lnTo>
                      <a:lnTo>
                        <a:pt x="85" y="138"/>
                      </a:lnTo>
                      <a:lnTo>
                        <a:pt x="85" y="144"/>
                      </a:lnTo>
                      <a:lnTo>
                        <a:pt x="84" y="146"/>
                      </a:lnTo>
                      <a:lnTo>
                        <a:pt x="82" y="147"/>
                      </a:lnTo>
                      <a:lnTo>
                        <a:pt x="85" y="150"/>
                      </a:lnTo>
                      <a:lnTo>
                        <a:pt x="87" y="152"/>
                      </a:lnTo>
                      <a:lnTo>
                        <a:pt x="91" y="152"/>
                      </a:lnTo>
                      <a:lnTo>
                        <a:pt x="93" y="157"/>
                      </a:lnTo>
                      <a:lnTo>
                        <a:pt x="98" y="159"/>
                      </a:lnTo>
                      <a:lnTo>
                        <a:pt x="98" y="157"/>
                      </a:lnTo>
                      <a:lnTo>
                        <a:pt x="97" y="154"/>
                      </a:lnTo>
                      <a:lnTo>
                        <a:pt x="97" y="151"/>
                      </a:lnTo>
                      <a:lnTo>
                        <a:pt x="94" y="147"/>
                      </a:lnTo>
                      <a:lnTo>
                        <a:pt x="97" y="144"/>
                      </a:lnTo>
                      <a:lnTo>
                        <a:pt x="101" y="143"/>
                      </a:lnTo>
                      <a:lnTo>
                        <a:pt x="103" y="145"/>
                      </a:lnTo>
                      <a:lnTo>
                        <a:pt x="105" y="146"/>
                      </a:lnTo>
                      <a:lnTo>
                        <a:pt x="108" y="148"/>
                      </a:lnTo>
                      <a:lnTo>
                        <a:pt x="110" y="148"/>
                      </a:lnTo>
                      <a:lnTo>
                        <a:pt x="110" y="148"/>
                      </a:lnTo>
                      <a:lnTo>
                        <a:pt x="113" y="146"/>
                      </a:lnTo>
                      <a:lnTo>
                        <a:pt x="112" y="141"/>
                      </a:lnTo>
                      <a:lnTo>
                        <a:pt x="112" y="139"/>
                      </a:lnTo>
                      <a:lnTo>
                        <a:pt x="111" y="134"/>
                      </a:lnTo>
                      <a:lnTo>
                        <a:pt x="115" y="131"/>
                      </a:lnTo>
                      <a:lnTo>
                        <a:pt x="115" y="127"/>
                      </a:lnTo>
                      <a:lnTo>
                        <a:pt x="112" y="127"/>
                      </a:lnTo>
                      <a:lnTo>
                        <a:pt x="112" y="124"/>
                      </a:lnTo>
                      <a:lnTo>
                        <a:pt x="112" y="120"/>
                      </a:lnTo>
                      <a:lnTo>
                        <a:pt x="114" y="117"/>
                      </a:lnTo>
                      <a:lnTo>
                        <a:pt x="113" y="115"/>
                      </a:lnTo>
                      <a:lnTo>
                        <a:pt x="110" y="117"/>
                      </a:lnTo>
                      <a:lnTo>
                        <a:pt x="109" y="116"/>
                      </a:lnTo>
                      <a:lnTo>
                        <a:pt x="107" y="113"/>
                      </a:lnTo>
                      <a:lnTo>
                        <a:pt x="104" y="113"/>
                      </a:lnTo>
                      <a:lnTo>
                        <a:pt x="103" y="111"/>
                      </a:lnTo>
                      <a:lnTo>
                        <a:pt x="103" y="108"/>
                      </a:lnTo>
                      <a:lnTo>
                        <a:pt x="101" y="107"/>
                      </a:lnTo>
                      <a:lnTo>
                        <a:pt x="100" y="107"/>
                      </a:lnTo>
                      <a:lnTo>
                        <a:pt x="98" y="105"/>
                      </a:lnTo>
                      <a:lnTo>
                        <a:pt x="98" y="103"/>
                      </a:lnTo>
                      <a:lnTo>
                        <a:pt x="96" y="100"/>
                      </a:lnTo>
                      <a:lnTo>
                        <a:pt x="93" y="100"/>
                      </a:lnTo>
                      <a:lnTo>
                        <a:pt x="91" y="98"/>
                      </a:lnTo>
                      <a:lnTo>
                        <a:pt x="90" y="94"/>
                      </a:lnTo>
                      <a:lnTo>
                        <a:pt x="85" y="89"/>
                      </a:lnTo>
                      <a:lnTo>
                        <a:pt x="85" y="86"/>
                      </a:lnTo>
                      <a:lnTo>
                        <a:pt x="83" y="81"/>
                      </a:lnTo>
                      <a:lnTo>
                        <a:pt x="79" y="79"/>
                      </a:lnTo>
                      <a:lnTo>
                        <a:pt x="75" y="73"/>
                      </a:lnTo>
                      <a:lnTo>
                        <a:pt x="72" y="72"/>
                      </a:lnTo>
                      <a:lnTo>
                        <a:pt x="68" y="70"/>
                      </a:lnTo>
                      <a:lnTo>
                        <a:pt x="63" y="69"/>
                      </a:lnTo>
                      <a:lnTo>
                        <a:pt x="62" y="65"/>
                      </a:lnTo>
                      <a:lnTo>
                        <a:pt x="60" y="65"/>
                      </a:lnTo>
                      <a:lnTo>
                        <a:pt x="59" y="63"/>
                      </a:lnTo>
                      <a:lnTo>
                        <a:pt x="61" y="60"/>
                      </a:lnTo>
                      <a:lnTo>
                        <a:pt x="58" y="56"/>
                      </a:lnTo>
                      <a:lnTo>
                        <a:pt x="57" y="53"/>
                      </a:lnTo>
                      <a:lnTo>
                        <a:pt x="60" y="53"/>
                      </a:lnTo>
                      <a:lnTo>
                        <a:pt x="63" y="52"/>
                      </a:lnTo>
                      <a:lnTo>
                        <a:pt x="67" y="51"/>
                      </a:lnTo>
                      <a:lnTo>
                        <a:pt x="68" y="49"/>
                      </a:lnTo>
                      <a:lnTo>
                        <a:pt x="70" y="42"/>
                      </a:lnTo>
                      <a:lnTo>
                        <a:pt x="71" y="41"/>
                      </a:lnTo>
                      <a:lnTo>
                        <a:pt x="71" y="39"/>
                      </a:lnTo>
                      <a:lnTo>
                        <a:pt x="67" y="38"/>
                      </a:lnTo>
                      <a:lnTo>
                        <a:pt x="67" y="35"/>
                      </a:lnTo>
                      <a:lnTo>
                        <a:pt x="67" y="31"/>
                      </a:lnTo>
                      <a:lnTo>
                        <a:pt x="63" y="31"/>
                      </a:lnTo>
                      <a:lnTo>
                        <a:pt x="61" y="27"/>
                      </a:lnTo>
                      <a:lnTo>
                        <a:pt x="57" y="27"/>
                      </a:lnTo>
                      <a:lnTo>
                        <a:pt x="54" y="30"/>
                      </a:lnTo>
                      <a:lnTo>
                        <a:pt x="51" y="29"/>
                      </a:lnTo>
                      <a:lnTo>
                        <a:pt x="45" y="29"/>
                      </a:lnTo>
                      <a:lnTo>
                        <a:pt x="42" y="23"/>
                      </a:lnTo>
                      <a:lnTo>
                        <a:pt x="37" y="17"/>
                      </a:lnTo>
                      <a:lnTo>
                        <a:pt x="38" y="14"/>
                      </a:lnTo>
                      <a:lnTo>
                        <a:pt x="38" y="11"/>
                      </a:lnTo>
                      <a:lnTo>
                        <a:pt x="36" y="8"/>
                      </a:lnTo>
                      <a:lnTo>
                        <a:pt x="33" y="4"/>
                      </a:lnTo>
                      <a:lnTo>
                        <a:pt x="28" y="2"/>
                      </a:lnTo>
                      <a:lnTo>
                        <a:pt x="27" y="0"/>
                      </a:lnTo>
                      <a:lnTo>
                        <a:pt x="22" y="0"/>
                      </a:lnTo>
                      <a:lnTo>
                        <a:pt x="22" y="2"/>
                      </a:lnTo>
                      <a:lnTo>
                        <a:pt x="20" y="3"/>
                      </a:lnTo>
                      <a:lnTo>
                        <a:pt x="20" y="9"/>
                      </a:lnTo>
                      <a:lnTo>
                        <a:pt x="21" y="13"/>
                      </a:lnTo>
                      <a:lnTo>
                        <a:pt x="21" y="17"/>
                      </a:lnTo>
                      <a:lnTo>
                        <a:pt x="22" y="21"/>
                      </a:lnTo>
                      <a:lnTo>
                        <a:pt x="19" y="20"/>
                      </a:lnTo>
                      <a:lnTo>
                        <a:pt x="16" y="22"/>
                      </a:lnTo>
                      <a:lnTo>
                        <a:pt x="15" y="19"/>
                      </a:lnTo>
                      <a:lnTo>
                        <a:pt x="13" y="17"/>
                      </a:lnTo>
                      <a:lnTo>
                        <a:pt x="10" y="20"/>
                      </a:lnTo>
                      <a:lnTo>
                        <a:pt x="6" y="21"/>
                      </a:lnTo>
                      <a:lnTo>
                        <a:pt x="6" y="24"/>
                      </a:lnTo>
                      <a:lnTo>
                        <a:pt x="4" y="27"/>
                      </a:lnTo>
                      <a:lnTo>
                        <a:pt x="5" y="29"/>
                      </a:lnTo>
                      <a:lnTo>
                        <a:pt x="3" y="32"/>
                      </a:lnTo>
                      <a:lnTo>
                        <a:pt x="1" y="32"/>
                      </a:lnTo>
                      <a:lnTo>
                        <a:pt x="0" y="37"/>
                      </a:lnTo>
                      <a:lnTo>
                        <a:pt x="1" y="41"/>
                      </a:lnTo>
                      <a:lnTo>
                        <a:pt x="5" y="3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30" name="Freeform 531">
                  <a:extLst>
                    <a:ext uri="{FF2B5EF4-FFF2-40B4-BE49-F238E27FC236}">
                      <a16:creationId xmlns:a16="http://schemas.microsoft.com/office/drawing/2014/main" id="{5586C8DD-4AFF-49CE-BAE8-39B7358A86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4" y="2638"/>
                  <a:ext cx="3" cy="6"/>
                </a:xfrm>
                <a:custGeom>
                  <a:avLst/>
                  <a:gdLst>
                    <a:gd name="T0" fmla="*/ 2 w 3"/>
                    <a:gd name="T1" fmla="*/ 6 h 6"/>
                    <a:gd name="T2" fmla="*/ 3 w 3"/>
                    <a:gd name="T3" fmla="*/ 2 h 6"/>
                    <a:gd name="T4" fmla="*/ 2 w 3"/>
                    <a:gd name="T5" fmla="*/ 0 h 6"/>
                    <a:gd name="T6" fmla="*/ 0 w 3"/>
                    <a:gd name="T7" fmla="*/ 1 h 6"/>
                    <a:gd name="T8" fmla="*/ 0 w 3"/>
                    <a:gd name="T9" fmla="*/ 4 h 6"/>
                    <a:gd name="T10" fmla="*/ 2 w 3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6">
                      <a:moveTo>
                        <a:pt x="2" y="6"/>
                      </a:move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31" name="Freeform 532">
                  <a:extLst>
                    <a:ext uri="{FF2B5EF4-FFF2-40B4-BE49-F238E27FC236}">
                      <a16:creationId xmlns:a16="http://schemas.microsoft.com/office/drawing/2014/main" id="{1A8B44F7-F42A-4B99-81D1-C301E27D26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2" y="2635"/>
                  <a:ext cx="3" cy="1"/>
                </a:xfrm>
                <a:custGeom>
                  <a:avLst/>
                  <a:gdLst>
                    <a:gd name="T0" fmla="*/ 0 w 3"/>
                    <a:gd name="T1" fmla="*/ 0 h 1"/>
                    <a:gd name="T2" fmla="*/ 2 w 3"/>
                    <a:gd name="T3" fmla="*/ 1 h 1"/>
                    <a:gd name="T4" fmla="*/ 3 w 3"/>
                    <a:gd name="T5" fmla="*/ 0 h 1"/>
                    <a:gd name="T6" fmla="*/ 0 w 3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32" name="Freeform 533">
                  <a:extLst>
                    <a:ext uri="{FF2B5EF4-FFF2-40B4-BE49-F238E27FC236}">
                      <a16:creationId xmlns:a16="http://schemas.microsoft.com/office/drawing/2014/main" id="{83CE2C52-19DF-4EAB-B4FB-EB1C83B2D4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1" y="2690"/>
                  <a:ext cx="1" cy="4"/>
                </a:xfrm>
                <a:custGeom>
                  <a:avLst/>
                  <a:gdLst>
                    <a:gd name="T0" fmla="*/ 0 w 1"/>
                    <a:gd name="T1" fmla="*/ 0 h 4"/>
                    <a:gd name="T2" fmla="*/ 0 w 1"/>
                    <a:gd name="T3" fmla="*/ 4 h 4"/>
                    <a:gd name="T4" fmla="*/ 1 w 1"/>
                    <a:gd name="T5" fmla="*/ 3 h 4"/>
                    <a:gd name="T6" fmla="*/ 1 w 1"/>
                    <a:gd name="T7" fmla="*/ 0 h 4"/>
                    <a:gd name="T8" fmla="*/ 0 w 1"/>
                    <a:gd name="T9" fmla="*/ 0 h 4"/>
                    <a:gd name="T10" fmla="*/ 0 w 1"/>
                    <a:gd name="T11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4">
                      <a:moveTo>
                        <a:pt x="0" y="0"/>
                      </a:moveTo>
                      <a:lnTo>
                        <a:pt x="0" y="4"/>
                      </a:lnTo>
                      <a:lnTo>
                        <a:pt x="1" y="3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33" name="Freeform 534">
                  <a:extLst>
                    <a:ext uri="{FF2B5EF4-FFF2-40B4-BE49-F238E27FC236}">
                      <a16:creationId xmlns:a16="http://schemas.microsoft.com/office/drawing/2014/main" id="{BCBD4784-E58A-4110-B6D3-B71B1C94F0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1" y="2674"/>
                  <a:ext cx="1" cy="3"/>
                </a:xfrm>
                <a:custGeom>
                  <a:avLst/>
                  <a:gdLst>
                    <a:gd name="T0" fmla="*/ 1 w 1"/>
                    <a:gd name="T1" fmla="*/ 3 h 3"/>
                    <a:gd name="T2" fmla="*/ 1 w 1"/>
                    <a:gd name="T3" fmla="*/ 2 h 3"/>
                    <a:gd name="T4" fmla="*/ 1 w 1"/>
                    <a:gd name="T5" fmla="*/ 0 h 3"/>
                    <a:gd name="T6" fmla="*/ 0 w 1"/>
                    <a:gd name="T7" fmla="*/ 0 h 3"/>
                    <a:gd name="T8" fmla="*/ 1 w 1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3">
                      <a:moveTo>
                        <a:pt x="1" y="3"/>
                      </a:move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34" name="Freeform 535">
                  <a:extLst>
                    <a:ext uri="{FF2B5EF4-FFF2-40B4-BE49-F238E27FC236}">
                      <a16:creationId xmlns:a16="http://schemas.microsoft.com/office/drawing/2014/main" id="{C2B20887-76A3-4633-858A-41854836F8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53" y="2593"/>
                  <a:ext cx="3" cy="4"/>
                </a:xfrm>
                <a:custGeom>
                  <a:avLst/>
                  <a:gdLst>
                    <a:gd name="T0" fmla="*/ 0 w 3"/>
                    <a:gd name="T1" fmla="*/ 2 h 4"/>
                    <a:gd name="T2" fmla="*/ 2 w 3"/>
                    <a:gd name="T3" fmla="*/ 4 h 4"/>
                    <a:gd name="T4" fmla="*/ 3 w 3"/>
                    <a:gd name="T5" fmla="*/ 4 h 4"/>
                    <a:gd name="T6" fmla="*/ 0 w 3"/>
                    <a:gd name="T7" fmla="*/ 0 h 4"/>
                    <a:gd name="T8" fmla="*/ 0 w 3"/>
                    <a:gd name="T9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0" y="2"/>
                      </a:move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35" name="Freeform 536">
                  <a:extLst>
                    <a:ext uri="{FF2B5EF4-FFF2-40B4-BE49-F238E27FC236}">
                      <a16:creationId xmlns:a16="http://schemas.microsoft.com/office/drawing/2014/main" id="{50D66D97-0665-417C-BE3A-4D54D56FED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79" y="2441"/>
                  <a:ext cx="120" cy="267"/>
                </a:xfrm>
                <a:custGeom>
                  <a:avLst/>
                  <a:gdLst>
                    <a:gd name="T0" fmla="*/ 76 w 120"/>
                    <a:gd name="T1" fmla="*/ 125 h 267"/>
                    <a:gd name="T2" fmla="*/ 92 w 120"/>
                    <a:gd name="T3" fmla="*/ 108 h 267"/>
                    <a:gd name="T4" fmla="*/ 108 w 120"/>
                    <a:gd name="T5" fmla="*/ 109 h 267"/>
                    <a:gd name="T6" fmla="*/ 119 w 120"/>
                    <a:gd name="T7" fmla="*/ 101 h 267"/>
                    <a:gd name="T8" fmla="*/ 119 w 120"/>
                    <a:gd name="T9" fmla="*/ 87 h 267"/>
                    <a:gd name="T10" fmla="*/ 109 w 120"/>
                    <a:gd name="T11" fmla="*/ 77 h 267"/>
                    <a:gd name="T12" fmla="*/ 107 w 120"/>
                    <a:gd name="T13" fmla="*/ 61 h 267"/>
                    <a:gd name="T14" fmla="*/ 94 w 120"/>
                    <a:gd name="T15" fmla="*/ 41 h 267"/>
                    <a:gd name="T16" fmla="*/ 72 w 120"/>
                    <a:gd name="T17" fmla="*/ 45 h 267"/>
                    <a:gd name="T18" fmla="*/ 56 w 120"/>
                    <a:gd name="T19" fmla="*/ 49 h 267"/>
                    <a:gd name="T20" fmla="*/ 52 w 120"/>
                    <a:gd name="T21" fmla="*/ 30 h 267"/>
                    <a:gd name="T22" fmla="*/ 47 w 120"/>
                    <a:gd name="T23" fmla="*/ 17 h 267"/>
                    <a:gd name="T24" fmla="*/ 42 w 120"/>
                    <a:gd name="T25" fmla="*/ 6 h 267"/>
                    <a:gd name="T26" fmla="*/ 29 w 120"/>
                    <a:gd name="T27" fmla="*/ 0 h 267"/>
                    <a:gd name="T28" fmla="*/ 23 w 120"/>
                    <a:gd name="T29" fmla="*/ 7 h 267"/>
                    <a:gd name="T30" fmla="*/ 14 w 120"/>
                    <a:gd name="T31" fmla="*/ 18 h 267"/>
                    <a:gd name="T32" fmla="*/ 5 w 120"/>
                    <a:gd name="T33" fmla="*/ 32 h 267"/>
                    <a:gd name="T34" fmla="*/ 2 w 120"/>
                    <a:gd name="T35" fmla="*/ 43 h 267"/>
                    <a:gd name="T36" fmla="*/ 14 w 120"/>
                    <a:gd name="T37" fmla="*/ 64 h 267"/>
                    <a:gd name="T38" fmla="*/ 22 w 120"/>
                    <a:gd name="T39" fmla="*/ 79 h 267"/>
                    <a:gd name="T40" fmla="*/ 17 w 120"/>
                    <a:gd name="T41" fmla="*/ 96 h 267"/>
                    <a:gd name="T42" fmla="*/ 31 w 120"/>
                    <a:gd name="T43" fmla="*/ 119 h 267"/>
                    <a:gd name="T44" fmla="*/ 33 w 120"/>
                    <a:gd name="T45" fmla="*/ 138 h 267"/>
                    <a:gd name="T46" fmla="*/ 36 w 120"/>
                    <a:gd name="T47" fmla="*/ 160 h 267"/>
                    <a:gd name="T48" fmla="*/ 27 w 120"/>
                    <a:gd name="T49" fmla="*/ 182 h 267"/>
                    <a:gd name="T50" fmla="*/ 26 w 120"/>
                    <a:gd name="T51" fmla="*/ 195 h 267"/>
                    <a:gd name="T52" fmla="*/ 23 w 120"/>
                    <a:gd name="T53" fmla="*/ 208 h 267"/>
                    <a:gd name="T54" fmla="*/ 23 w 120"/>
                    <a:gd name="T55" fmla="*/ 223 h 267"/>
                    <a:gd name="T56" fmla="*/ 29 w 120"/>
                    <a:gd name="T57" fmla="*/ 222 h 267"/>
                    <a:gd name="T58" fmla="*/ 38 w 120"/>
                    <a:gd name="T59" fmla="*/ 236 h 267"/>
                    <a:gd name="T60" fmla="*/ 43 w 120"/>
                    <a:gd name="T61" fmla="*/ 244 h 267"/>
                    <a:gd name="T62" fmla="*/ 51 w 120"/>
                    <a:gd name="T63" fmla="*/ 251 h 267"/>
                    <a:gd name="T64" fmla="*/ 63 w 120"/>
                    <a:gd name="T65" fmla="*/ 254 h 267"/>
                    <a:gd name="T66" fmla="*/ 66 w 120"/>
                    <a:gd name="T67" fmla="*/ 267 h 267"/>
                    <a:gd name="T68" fmla="*/ 76 w 120"/>
                    <a:gd name="T69" fmla="*/ 260 h 267"/>
                    <a:gd name="T70" fmla="*/ 70 w 120"/>
                    <a:gd name="T71" fmla="*/ 249 h 267"/>
                    <a:gd name="T72" fmla="*/ 58 w 120"/>
                    <a:gd name="T73" fmla="*/ 242 h 267"/>
                    <a:gd name="T74" fmla="*/ 50 w 120"/>
                    <a:gd name="T75" fmla="*/ 237 h 267"/>
                    <a:gd name="T76" fmla="*/ 54 w 120"/>
                    <a:gd name="T77" fmla="*/ 232 h 267"/>
                    <a:gd name="T78" fmla="*/ 49 w 120"/>
                    <a:gd name="T79" fmla="*/ 215 h 267"/>
                    <a:gd name="T80" fmla="*/ 45 w 120"/>
                    <a:gd name="T81" fmla="*/ 215 h 267"/>
                    <a:gd name="T82" fmla="*/ 40 w 120"/>
                    <a:gd name="T83" fmla="*/ 203 h 267"/>
                    <a:gd name="T84" fmla="*/ 35 w 120"/>
                    <a:gd name="T85" fmla="*/ 205 h 267"/>
                    <a:gd name="T86" fmla="*/ 33 w 120"/>
                    <a:gd name="T87" fmla="*/ 190 h 267"/>
                    <a:gd name="T88" fmla="*/ 34 w 120"/>
                    <a:gd name="T89" fmla="*/ 180 h 267"/>
                    <a:gd name="T90" fmla="*/ 42 w 120"/>
                    <a:gd name="T91" fmla="*/ 152 h 267"/>
                    <a:gd name="T92" fmla="*/ 44 w 120"/>
                    <a:gd name="T93" fmla="*/ 137 h 267"/>
                    <a:gd name="T94" fmla="*/ 42 w 120"/>
                    <a:gd name="T95" fmla="*/ 130 h 267"/>
                    <a:gd name="T96" fmla="*/ 50 w 120"/>
                    <a:gd name="T97" fmla="*/ 128 h 267"/>
                    <a:gd name="T98" fmla="*/ 56 w 120"/>
                    <a:gd name="T99" fmla="*/ 132 h 267"/>
                    <a:gd name="T100" fmla="*/ 54 w 120"/>
                    <a:gd name="T101" fmla="*/ 144 h 267"/>
                    <a:gd name="T102" fmla="*/ 66 w 120"/>
                    <a:gd name="T103" fmla="*/ 146 h 267"/>
                    <a:gd name="T104" fmla="*/ 73 w 120"/>
                    <a:gd name="T105" fmla="*/ 148 h 267"/>
                    <a:gd name="T106" fmla="*/ 79 w 120"/>
                    <a:gd name="T107" fmla="*/ 154 h 267"/>
                    <a:gd name="T108" fmla="*/ 81 w 120"/>
                    <a:gd name="T109" fmla="*/ 143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20" h="267">
                      <a:moveTo>
                        <a:pt x="81" y="143"/>
                      </a:moveTo>
                      <a:lnTo>
                        <a:pt x="80" y="140"/>
                      </a:lnTo>
                      <a:lnTo>
                        <a:pt x="77" y="138"/>
                      </a:lnTo>
                      <a:lnTo>
                        <a:pt x="76" y="132"/>
                      </a:lnTo>
                      <a:lnTo>
                        <a:pt x="76" y="125"/>
                      </a:lnTo>
                      <a:lnTo>
                        <a:pt x="79" y="121"/>
                      </a:lnTo>
                      <a:lnTo>
                        <a:pt x="80" y="116"/>
                      </a:lnTo>
                      <a:lnTo>
                        <a:pt x="83" y="111"/>
                      </a:lnTo>
                      <a:lnTo>
                        <a:pt x="86" y="111"/>
                      </a:lnTo>
                      <a:lnTo>
                        <a:pt x="92" y="108"/>
                      </a:lnTo>
                      <a:lnTo>
                        <a:pt x="97" y="108"/>
                      </a:lnTo>
                      <a:lnTo>
                        <a:pt x="97" y="110"/>
                      </a:lnTo>
                      <a:lnTo>
                        <a:pt x="101" y="108"/>
                      </a:lnTo>
                      <a:lnTo>
                        <a:pt x="104" y="108"/>
                      </a:lnTo>
                      <a:lnTo>
                        <a:pt x="108" y="109"/>
                      </a:lnTo>
                      <a:lnTo>
                        <a:pt x="111" y="108"/>
                      </a:lnTo>
                      <a:lnTo>
                        <a:pt x="114" y="111"/>
                      </a:lnTo>
                      <a:lnTo>
                        <a:pt x="118" y="109"/>
                      </a:lnTo>
                      <a:lnTo>
                        <a:pt x="119" y="107"/>
                      </a:lnTo>
                      <a:lnTo>
                        <a:pt x="119" y="101"/>
                      </a:lnTo>
                      <a:lnTo>
                        <a:pt x="118" y="97"/>
                      </a:lnTo>
                      <a:lnTo>
                        <a:pt x="119" y="94"/>
                      </a:lnTo>
                      <a:lnTo>
                        <a:pt x="119" y="92"/>
                      </a:lnTo>
                      <a:lnTo>
                        <a:pt x="120" y="89"/>
                      </a:lnTo>
                      <a:lnTo>
                        <a:pt x="119" y="87"/>
                      </a:lnTo>
                      <a:lnTo>
                        <a:pt x="116" y="84"/>
                      </a:lnTo>
                      <a:lnTo>
                        <a:pt x="117" y="82"/>
                      </a:lnTo>
                      <a:lnTo>
                        <a:pt x="115" y="80"/>
                      </a:lnTo>
                      <a:lnTo>
                        <a:pt x="111" y="80"/>
                      </a:lnTo>
                      <a:lnTo>
                        <a:pt x="109" y="77"/>
                      </a:lnTo>
                      <a:lnTo>
                        <a:pt x="106" y="74"/>
                      </a:lnTo>
                      <a:lnTo>
                        <a:pt x="107" y="72"/>
                      </a:lnTo>
                      <a:lnTo>
                        <a:pt x="108" y="66"/>
                      </a:lnTo>
                      <a:lnTo>
                        <a:pt x="106" y="63"/>
                      </a:lnTo>
                      <a:lnTo>
                        <a:pt x="107" y="61"/>
                      </a:lnTo>
                      <a:lnTo>
                        <a:pt x="108" y="58"/>
                      </a:lnTo>
                      <a:lnTo>
                        <a:pt x="106" y="54"/>
                      </a:lnTo>
                      <a:lnTo>
                        <a:pt x="102" y="51"/>
                      </a:lnTo>
                      <a:lnTo>
                        <a:pt x="96" y="46"/>
                      </a:lnTo>
                      <a:lnTo>
                        <a:pt x="94" y="41"/>
                      </a:lnTo>
                      <a:lnTo>
                        <a:pt x="88" y="39"/>
                      </a:lnTo>
                      <a:lnTo>
                        <a:pt x="83" y="40"/>
                      </a:lnTo>
                      <a:lnTo>
                        <a:pt x="80" y="48"/>
                      </a:lnTo>
                      <a:lnTo>
                        <a:pt x="74" y="49"/>
                      </a:lnTo>
                      <a:lnTo>
                        <a:pt x="72" y="45"/>
                      </a:lnTo>
                      <a:lnTo>
                        <a:pt x="69" y="45"/>
                      </a:lnTo>
                      <a:lnTo>
                        <a:pt x="64" y="42"/>
                      </a:lnTo>
                      <a:lnTo>
                        <a:pt x="59" y="45"/>
                      </a:lnTo>
                      <a:lnTo>
                        <a:pt x="59" y="48"/>
                      </a:lnTo>
                      <a:lnTo>
                        <a:pt x="56" y="49"/>
                      </a:lnTo>
                      <a:lnTo>
                        <a:pt x="52" y="51"/>
                      </a:lnTo>
                      <a:lnTo>
                        <a:pt x="52" y="42"/>
                      </a:lnTo>
                      <a:lnTo>
                        <a:pt x="52" y="36"/>
                      </a:lnTo>
                      <a:lnTo>
                        <a:pt x="51" y="32"/>
                      </a:lnTo>
                      <a:lnTo>
                        <a:pt x="52" y="30"/>
                      </a:lnTo>
                      <a:lnTo>
                        <a:pt x="52" y="27"/>
                      </a:lnTo>
                      <a:lnTo>
                        <a:pt x="51" y="24"/>
                      </a:lnTo>
                      <a:lnTo>
                        <a:pt x="52" y="20"/>
                      </a:lnTo>
                      <a:lnTo>
                        <a:pt x="52" y="17"/>
                      </a:lnTo>
                      <a:lnTo>
                        <a:pt x="47" y="17"/>
                      </a:lnTo>
                      <a:lnTo>
                        <a:pt x="45" y="19"/>
                      </a:lnTo>
                      <a:lnTo>
                        <a:pt x="42" y="18"/>
                      </a:lnTo>
                      <a:lnTo>
                        <a:pt x="40" y="14"/>
                      </a:lnTo>
                      <a:lnTo>
                        <a:pt x="42" y="12"/>
                      </a:lnTo>
                      <a:lnTo>
                        <a:pt x="42" y="6"/>
                      </a:lnTo>
                      <a:lnTo>
                        <a:pt x="39" y="2"/>
                      </a:lnTo>
                      <a:lnTo>
                        <a:pt x="35" y="4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29" y="0"/>
                      </a:lnTo>
                      <a:lnTo>
                        <a:pt x="26" y="1"/>
                      </a:lnTo>
                      <a:lnTo>
                        <a:pt x="26" y="4"/>
                      </a:lnTo>
                      <a:lnTo>
                        <a:pt x="28" y="6"/>
                      </a:lnTo>
                      <a:lnTo>
                        <a:pt x="27" y="8"/>
                      </a:lnTo>
                      <a:lnTo>
                        <a:pt x="23" y="7"/>
                      </a:lnTo>
                      <a:lnTo>
                        <a:pt x="21" y="9"/>
                      </a:lnTo>
                      <a:lnTo>
                        <a:pt x="21" y="13"/>
                      </a:lnTo>
                      <a:lnTo>
                        <a:pt x="20" y="15"/>
                      </a:lnTo>
                      <a:lnTo>
                        <a:pt x="17" y="15"/>
                      </a:lnTo>
                      <a:lnTo>
                        <a:pt x="14" y="18"/>
                      </a:lnTo>
                      <a:lnTo>
                        <a:pt x="8" y="15"/>
                      </a:lnTo>
                      <a:lnTo>
                        <a:pt x="7" y="19"/>
                      </a:lnTo>
                      <a:lnTo>
                        <a:pt x="7" y="25"/>
                      </a:lnTo>
                      <a:lnTo>
                        <a:pt x="5" y="28"/>
                      </a:lnTo>
                      <a:lnTo>
                        <a:pt x="5" y="32"/>
                      </a:lnTo>
                      <a:lnTo>
                        <a:pt x="6" y="35"/>
                      </a:lnTo>
                      <a:lnTo>
                        <a:pt x="4" y="38"/>
                      </a:lnTo>
                      <a:lnTo>
                        <a:pt x="0" y="39"/>
                      </a:lnTo>
                      <a:lnTo>
                        <a:pt x="0" y="42"/>
                      </a:lnTo>
                      <a:lnTo>
                        <a:pt x="2" y="43"/>
                      </a:lnTo>
                      <a:lnTo>
                        <a:pt x="4" y="48"/>
                      </a:lnTo>
                      <a:lnTo>
                        <a:pt x="7" y="50"/>
                      </a:lnTo>
                      <a:lnTo>
                        <a:pt x="7" y="52"/>
                      </a:lnTo>
                      <a:lnTo>
                        <a:pt x="11" y="56"/>
                      </a:lnTo>
                      <a:lnTo>
                        <a:pt x="14" y="64"/>
                      </a:lnTo>
                      <a:lnTo>
                        <a:pt x="17" y="66"/>
                      </a:lnTo>
                      <a:lnTo>
                        <a:pt x="18" y="70"/>
                      </a:lnTo>
                      <a:lnTo>
                        <a:pt x="19" y="73"/>
                      </a:lnTo>
                      <a:lnTo>
                        <a:pt x="21" y="75"/>
                      </a:lnTo>
                      <a:lnTo>
                        <a:pt x="22" y="79"/>
                      </a:lnTo>
                      <a:lnTo>
                        <a:pt x="19" y="80"/>
                      </a:lnTo>
                      <a:lnTo>
                        <a:pt x="18" y="83"/>
                      </a:lnTo>
                      <a:lnTo>
                        <a:pt x="20" y="91"/>
                      </a:lnTo>
                      <a:lnTo>
                        <a:pt x="19" y="94"/>
                      </a:lnTo>
                      <a:lnTo>
                        <a:pt x="17" y="96"/>
                      </a:lnTo>
                      <a:lnTo>
                        <a:pt x="18" y="102"/>
                      </a:lnTo>
                      <a:lnTo>
                        <a:pt x="18" y="105"/>
                      </a:lnTo>
                      <a:lnTo>
                        <a:pt x="22" y="111"/>
                      </a:lnTo>
                      <a:lnTo>
                        <a:pt x="27" y="115"/>
                      </a:lnTo>
                      <a:lnTo>
                        <a:pt x="31" y="119"/>
                      </a:lnTo>
                      <a:lnTo>
                        <a:pt x="32" y="126"/>
                      </a:lnTo>
                      <a:lnTo>
                        <a:pt x="31" y="129"/>
                      </a:lnTo>
                      <a:lnTo>
                        <a:pt x="32" y="132"/>
                      </a:lnTo>
                      <a:lnTo>
                        <a:pt x="31" y="136"/>
                      </a:lnTo>
                      <a:lnTo>
                        <a:pt x="33" y="138"/>
                      </a:lnTo>
                      <a:lnTo>
                        <a:pt x="34" y="143"/>
                      </a:lnTo>
                      <a:lnTo>
                        <a:pt x="35" y="146"/>
                      </a:lnTo>
                      <a:lnTo>
                        <a:pt x="35" y="151"/>
                      </a:lnTo>
                      <a:lnTo>
                        <a:pt x="37" y="155"/>
                      </a:lnTo>
                      <a:lnTo>
                        <a:pt x="36" y="160"/>
                      </a:lnTo>
                      <a:lnTo>
                        <a:pt x="35" y="162"/>
                      </a:lnTo>
                      <a:lnTo>
                        <a:pt x="31" y="173"/>
                      </a:lnTo>
                      <a:lnTo>
                        <a:pt x="28" y="175"/>
                      </a:lnTo>
                      <a:lnTo>
                        <a:pt x="28" y="180"/>
                      </a:lnTo>
                      <a:lnTo>
                        <a:pt x="27" y="182"/>
                      </a:lnTo>
                      <a:lnTo>
                        <a:pt x="26" y="185"/>
                      </a:lnTo>
                      <a:lnTo>
                        <a:pt x="25" y="191"/>
                      </a:lnTo>
                      <a:lnTo>
                        <a:pt x="27" y="191"/>
                      </a:lnTo>
                      <a:lnTo>
                        <a:pt x="25" y="194"/>
                      </a:lnTo>
                      <a:lnTo>
                        <a:pt x="26" y="195"/>
                      </a:lnTo>
                      <a:lnTo>
                        <a:pt x="24" y="198"/>
                      </a:lnTo>
                      <a:lnTo>
                        <a:pt x="25" y="199"/>
                      </a:lnTo>
                      <a:lnTo>
                        <a:pt x="25" y="201"/>
                      </a:lnTo>
                      <a:lnTo>
                        <a:pt x="23" y="201"/>
                      </a:lnTo>
                      <a:lnTo>
                        <a:pt x="23" y="208"/>
                      </a:lnTo>
                      <a:lnTo>
                        <a:pt x="21" y="209"/>
                      </a:lnTo>
                      <a:lnTo>
                        <a:pt x="21" y="214"/>
                      </a:lnTo>
                      <a:lnTo>
                        <a:pt x="21" y="215"/>
                      </a:lnTo>
                      <a:lnTo>
                        <a:pt x="21" y="221"/>
                      </a:lnTo>
                      <a:lnTo>
                        <a:pt x="23" y="223"/>
                      </a:lnTo>
                      <a:lnTo>
                        <a:pt x="25" y="224"/>
                      </a:lnTo>
                      <a:lnTo>
                        <a:pt x="25" y="220"/>
                      </a:lnTo>
                      <a:lnTo>
                        <a:pt x="28" y="218"/>
                      </a:lnTo>
                      <a:lnTo>
                        <a:pt x="27" y="221"/>
                      </a:lnTo>
                      <a:lnTo>
                        <a:pt x="29" y="222"/>
                      </a:lnTo>
                      <a:lnTo>
                        <a:pt x="29" y="225"/>
                      </a:lnTo>
                      <a:lnTo>
                        <a:pt x="31" y="225"/>
                      </a:lnTo>
                      <a:lnTo>
                        <a:pt x="33" y="231"/>
                      </a:lnTo>
                      <a:lnTo>
                        <a:pt x="35" y="231"/>
                      </a:lnTo>
                      <a:lnTo>
                        <a:pt x="38" y="236"/>
                      </a:lnTo>
                      <a:lnTo>
                        <a:pt x="38" y="239"/>
                      </a:lnTo>
                      <a:lnTo>
                        <a:pt x="41" y="239"/>
                      </a:lnTo>
                      <a:lnTo>
                        <a:pt x="42" y="242"/>
                      </a:lnTo>
                      <a:lnTo>
                        <a:pt x="43" y="242"/>
                      </a:lnTo>
                      <a:lnTo>
                        <a:pt x="43" y="244"/>
                      </a:lnTo>
                      <a:lnTo>
                        <a:pt x="42" y="246"/>
                      </a:lnTo>
                      <a:lnTo>
                        <a:pt x="42" y="247"/>
                      </a:lnTo>
                      <a:lnTo>
                        <a:pt x="49" y="253"/>
                      </a:lnTo>
                      <a:lnTo>
                        <a:pt x="49" y="255"/>
                      </a:lnTo>
                      <a:lnTo>
                        <a:pt x="51" y="251"/>
                      </a:lnTo>
                      <a:lnTo>
                        <a:pt x="52" y="248"/>
                      </a:lnTo>
                      <a:lnTo>
                        <a:pt x="55" y="251"/>
                      </a:lnTo>
                      <a:lnTo>
                        <a:pt x="59" y="252"/>
                      </a:lnTo>
                      <a:lnTo>
                        <a:pt x="59" y="254"/>
                      </a:lnTo>
                      <a:lnTo>
                        <a:pt x="63" y="254"/>
                      </a:lnTo>
                      <a:lnTo>
                        <a:pt x="64" y="256"/>
                      </a:lnTo>
                      <a:lnTo>
                        <a:pt x="64" y="261"/>
                      </a:lnTo>
                      <a:lnTo>
                        <a:pt x="63" y="263"/>
                      </a:lnTo>
                      <a:lnTo>
                        <a:pt x="63" y="266"/>
                      </a:lnTo>
                      <a:lnTo>
                        <a:pt x="66" y="267"/>
                      </a:lnTo>
                      <a:lnTo>
                        <a:pt x="70" y="263"/>
                      </a:lnTo>
                      <a:lnTo>
                        <a:pt x="72" y="263"/>
                      </a:lnTo>
                      <a:lnTo>
                        <a:pt x="73" y="265"/>
                      </a:lnTo>
                      <a:lnTo>
                        <a:pt x="76" y="263"/>
                      </a:lnTo>
                      <a:lnTo>
                        <a:pt x="76" y="260"/>
                      </a:lnTo>
                      <a:lnTo>
                        <a:pt x="76" y="260"/>
                      </a:lnTo>
                      <a:lnTo>
                        <a:pt x="76" y="258"/>
                      </a:lnTo>
                      <a:lnTo>
                        <a:pt x="73" y="256"/>
                      </a:lnTo>
                      <a:lnTo>
                        <a:pt x="72" y="253"/>
                      </a:lnTo>
                      <a:lnTo>
                        <a:pt x="70" y="249"/>
                      </a:lnTo>
                      <a:lnTo>
                        <a:pt x="67" y="248"/>
                      </a:lnTo>
                      <a:lnTo>
                        <a:pt x="65" y="247"/>
                      </a:lnTo>
                      <a:lnTo>
                        <a:pt x="63" y="248"/>
                      </a:lnTo>
                      <a:lnTo>
                        <a:pt x="62" y="246"/>
                      </a:lnTo>
                      <a:lnTo>
                        <a:pt x="58" y="242"/>
                      </a:lnTo>
                      <a:lnTo>
                        <a:pt x="56" y="240"/>
                      </a:lnTo>
                      <a:lnTo>
                        <a:pt x="56" y="237"/>
                      </a:lnTo>
                      <a:lnTo>
                        <a:pt x="55" y="236"/>
                      </a:lnTo>
                      <a:lnTo>
                        <a:pt x="54" y="239"/>
                      </a:lnTo>
                      <a:lnTo>
                        <a:pt x="50" y="237"/>
                      </a:lnTo>
                      <a:lnTo>
                        <a:pt x="50" y="235"/>
                      </a:lnTo>
                      <a:lnTo>
                        <a:pt x="52" y="232"/>
                      </a:lnTo>
                      <a:lnTo>
                        <a:pt x="53" y="234"/>
                      </a:lnTo>
                      <a:lnTo>
                        <a:pt x="54" y="232"/>
                      </a:lnTo>
                      <a:lnTo>
                        <a:pt x="54" y="232"/>
                      </a:lnTo>
                      <a:lnTo>
                        <a:pt x="53" y="225"/>
                      </a:lnTo>
                      <a:lnTo>
                        <a:pt x="52" y="224"/>
                      </a:lnTo>
                      <a:lnTo>
                        <a:pt x="52" y="221"/>
                      </a:lnTo>
                      <a:lnTo>
                        <a:pt x="50" y="218"/>
                      </a:lnTo>
                      <a:lnTo>
                        <a:pt x="49" y="215"/>
                      </a:lnTo>
                      <a:lnTo>
                        <a:pt x="49" y="217"/>
                      </a:lnTo>
                      <a:lnTo>
                        <a:pt x="49" y="218"/>
                      </a:lnTo>
                      <a:lnTo>
                        <a:pt x="48" y="219"/>
                      </a:lnTo>
                      <a:lnTo>
                        <a:pt x="46" y="215"/>
                      </a:lnTo>
                      <a:lnTo>
                        <a:pt x="45" y="215"/>
                      </a:lnTo>
                      <a:lnTo>
                        <a:pt x="45" y="211"/>
                      </a:lnTo>
                      <a:lnTo>
                        <a:pt x="44" y="208"/>
                      </a:lnTo>
                      <a:lnTo>
                        <a:pt x="44" y="205"/>
                      </a:lnTo>
                      <a:lnTo>
                        <a:pt x="42" y="204"/>
                      </a:lnTo>
                      <a:lnTo>
                        <a:pt x="40" y="203"/>
                      </a:lnTo>
                      <a:lnTo>
                        <a:pt x="39" y="203"/>
                      </a:lnTo>
                      <a:lnTo>
                        <a:pt x="38" y="204"/>
                      </a:lnTo>
                      <a:lnTo>
                        <a:pt x="38" y="206"/>
                      </a:lnTo>
                      <a:lnTo>
                        <a:pt x="36" y="207"/>
                      </a:lnTo>
                      <a:lnTo>
                        <a:pt x="35" y="205"/>
                      </a:lnTo>
                      <a:lnTo>
                        <a:pt x="37" y="202"/>
                      </a:lnTo>
                      <a:lnTo>
                        <a:pt x="34" y="197"/>
                      </a:lnTo>
                      <a:lnTo>
                        <a:pt x="34" y="195"/>
                      </a:lnTo>
                      <a:lnTo>
                        <a:pt x="33" y="191"/>
                      </a:lnTo>
                      <a:lnTo>
                        <a:pt x="33" y="190"/>
                      </a:lnTo>
                      <a:lnTo>
                        <a:pt x="35" y="187"/>
                      </a:lnTo>
                      <a:lnTo>
                        <a:pt x="34" y="187"/>
                      </a:lnTo>
                      <a:lnTo>
                        <a:pt x="32" y="187"/>
                      </a:lnTo>
                      <a:lnTo>
                        <a:pt x="34" y="184"/>
                      </a:lnTo>
                      <a:lnTo>
                        <a:pt x="34" y="180"/>
                      </a:lnTo>
                      <a:lnTo>
                        <a:pt x="37" y="174"/>
                      </a:lnTo>
                      <a:lnTo>
                        <a:pt x="38" y="162"/>
                      </a:lnTo>
                      <a:lnTo>
                        <a:pt x="40" y="158"/>
                      </a:lnTo>
                      <a:lnTo>
                        <a:pt x="41" y="155"/>
                      </a:lnTo>
                      <a:lnTo>
                        <a:pt x="42" y="152"/>
                      </a:lnTo>
                      <a:lnTo>
                        <a:pt x="43" y="146"/>
                      </a:lnTo>
                      <a:lnTo>
                        <a:pt x="42" y="146"/>
                      </a:lnTo>
                      <a:lnTo>
                        <a:pt x="42" y="143"/>
                      </a:lnTo>
                      <a:lnTo>
                        <a:pt x="42" y="140"/>
                      </a:lnTo>
                      <a:lnTo>
                        <a:pt x="44" y="137"/>
                      </a:lnTo>
                      <a:lnTo>
                        <a:pt x="43" y="134"/>
                      </a:lnTo>
                      <a:lnTo>
                        <a:pt x="41" y="132"/>
                      </a:lnTo>
                      <a:lnTo>
                        <a:pt x="42" y="130"/>
                      </a:lnTo>
                      <a:lnTo>
                        <a:pt x="42" y="129"/>
                      </a:lnTo>
                      <a:lnTo>
                        <a:pt x="42" y="130"/>
                      </a:lnTo>
                      <a:lnTo>
                        <a:pt x="44" y="130"/>
                      </a:lnTo>
                      <a:lnTo>
                        <a:pt x="45" y="128"/>
                      </a:lnTo>
                      <a:lnTo>
                        <a:pt x="46" y="129"/>
                      </a:lnTo>
                      <a:lnTo>
                        <a:pt x="48" y="129"/>
                      </a:lnTo>
                      <a:lnTo>
                        <a:pt x="50" y="128"/>
                      </a:lnTo>
                      <a:lnTo>
                        <a:pt x="51" y="129"/>
                      </a:lnTo>
                      <a:lnTo>
                        <a:pt x="52" y="128"/>
                      </a:lnTo>
                      <a:lnTo>
                        <a:pt x="52" y="129"/>
                      </a:lnTo>
                      <a:lnTo>
                        <a:pt x="55" y="130"/>
                      </a:lnTo>
                      <a:lnTo>
                        <a:pt x="56" y="132"/>
                      </a:lnTo>
                      <a:lnTo>
                        <a:pt x="55" y="133"/>
                      </a:lnTo>
                      <a:lnTo>
                        <a:pt x="55" y="138"/>
                      </a:lnTo>
                      <a:lnTo>
                        <a:pt x="56" y="140"/>
                      </a:lnTo>
                      <a:lnTo>
                        <a:pt x="55" y="142"/>
                      </a:lnTo>
                      <a:lnTo>
                        <a:pt x="54" y="144"/>
                      </a:lnTo>
                      <a:lnTo>
                        <a:pt x="56" y="144"/>
                      </a:lnTo>
                      <a:lnTo>
                        <a:pt x="58" y="145"/>
                      </a:lnTo>
                      <a:lnTo>
                        <a:pt x="61" y="144"/>
                      </a:lnTo>
                      <a:lnTo>
                        <a:pt x="64" y="145"/>
                      </a:lnTo>
                      <a:lnTo>
                        <a:pt x="66" y="146"/>
                      </a:lnTo>
                      <a:lnTo>
                        <a:pt x="66" y="145"/>
                      </a:lnTo>
                      <a:lnTo>
                        <a:pt x="65" y="144"/>
                      </a:lnTo>
                      <a:lnTo>
                        <a:pt x="67" y="142"/>
                      </a:lnTo>
                      <a:lnTo>
                        <a:pt x="69" y="143"/>
                      </a:lnTo>
                      <a:lnTo>
                        <a:pt x="73" y="148"/>
                      </a:lnTo>
                      <a:lnTo>
                        <a:pt x="74" y="149"/>
                      </a:lnTo>
                      <a:lnTo>
                        <a:pt x="74" y="150"/>
                      </a:lnTo>
                      <a:lnTo>
                        <a:pt x="76" y="150"/>
                      </a:lnTo>
                      <a:lnTo>
                        <a:pt x="78" y="153"/>
                      </a:lnTo>
                      <a:lnTo>
                        <a:pt x="79" y="154"/>
                      </a:lnTo>
                      <a:lnTo>
                        <a:pt x="80" y="154"/>
                      </a:lnTo>
                      <a:lnTo>
                        <a:pt x="80" y="152"/>
                      </a:lnTo>
                      <a:lnTo>
                        <a:pt x="80" y="152"/>
                      </a:lnTo>
                      <a:lnTo>
                        <a:pt x="81" y="149"/>
                      </a:lnTo>
                      <a:lnTo>
                        <a:pt x="81" y="14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36" name="Freeform 537">
                  <a:extLst>
                    <a:ext uri="{FF2B5EF4-FFF2-40B4-BE49-F238E27FC236}">
                      <a16:creationId xmlns:a16="http://schemas.microsoft.com/office/drawing/2014/main" id="{AD1F520D-228E-481D-ABA4-C7DA3E9C86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01" y="2666"/>
                  <a:ext cx="3" cy="7"/>
                </a:xfrm>
                <a:custGeom>
                  <a:avLst/>
                  <a:gdLst>
                    <a:gd name="T0" fmla="*/ 3 w 3"/>
                    <a:gd name="T1" fmla="*/ 5 h 9"/>
                    <a:gd name="T2" fmla="*/ 3 w 3"/>
                    <a:gd name="T3" fmla="*/ 0 h 9"/>
                    <a:gd name="T4" fmla="*/ 0 w 3"/>
                    <a:gd name="T5" fmla="*/ 0 h 9"/>
                    <a:gd name="T6" fmla="*/ 0 w 3"/>
                    <a:gd name="T7" fmla="*/ 3 h 9"/>
                    <a:gd name="T8" fmla="*/ 0 w 3"/>
                    <a:gd name="T9" fmla="*/ 4 h 9"/>
                    <a:gd name="T10" fmla="*/ 0 w 3"/>
                    <a:gd name="T11" fmla="*/ 9 h 9"/>
                    <a:gd name="T12" fmla="*/ 3 w 3"/>
                    <a:gd name="T13" fmla="*/ 5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9">
                      <a:moveTo>
                        <a:pt x="3" y="5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1" y="0"/>
                        <a:pt x="0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9"/>
                        <a:pt x="0" y="9"/>
                        <a:pt x="0" y="9"/>
                      </a:cubicBezTo>
                      <a:lnTo>
                        <a:pt x="3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37" name="Freeform 538">
                  <a:extLst>
                    <a:ext uri="{FF2B5EF4-FFF2-40B4-BE49-F238E27FC236}">
                      <a16:creationId xmlns:a16="http://schemas.microsoft.com/office/drawing/2014/main" id="{9C6A1AA6-5320-4006-A56D-EDD7B2214C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01" y="2294"/>
                  <a:ext cx="127" cy="340"/>
                </a:xfrm>
                <a:custGeom>
                  <a:avLst/>
                  <a:gdLst>
                    <a:gd name="T0" fmla="*/ 63 w 127"/>
                    <a:gd name="T1" fmla="*/ 220 h 340"/>
                    <a:gd name="T2" fmla="*/ 71 w 127"/>
                    <a:gd name="T3" fmla="*/ 217 h 340"/>
                    <a:gd name="T4" fmla="*/ 71 w 127"/>
                    <a:gd name="T5" fmla="*/ 206 h 340"/>
                    <a:gd name="T6" fmla="*/ 73 w 127"/>
                    <a:gd name="T7" fmla="*/ 207 h 340"/>
                    <a:gd name="T8" fmla="*/ 81 w 127"/>
                    <a:gd name="T9" fmla="*/ 221 h 340"/>
                    <a:gd name="T10" fmla="*/ 85 w 127"/>
                    <a:gd name="T11" fmla="*/ 226 h 340"/>
                    <a:gd name="T12" fmla="*/ 87 w 127"/>
                    <a:gd name="T13" fmla="*/ 245 h 340"/>
                    <a:gd name="T14" fmla="*/ 91 w 127"/>
                    <a:gd name="T15" fmla="*/ 258 h 340"/>
                    <a:gd name="T16" fmla="*/ 95 w 127"/>
                    <a:gd name="T17" fmla="*/ 274 h 340"/>
                    <a:gd name="T18" fmla="*/ 101 w 127"/>
                    <a:gd name="T19" fmla="*/ 289 h 340"/>
                    <a:gd name="T20" fmla="*/ 103 w 127"/>
                    <a:gd name="T21" fmla="*/ 302 h 340"/>
                    <a:gd name="T22" fmla="*/ 103 w 127"/>
                    <a:gd name="T23" fmla="*/ 313 h 340"/>
                    <a:gd name="T24" fmla="*/ 101 w 127"/>
                    <a:gd name="T25" fmla="*/ 326 h 340"/>
                    <a:gd name="T26" fmla="*/ 103 w 127"/>
                    <a:gd name="T27" fmla="*/ 340 h 340"/>
                    <a:gd name="T28" fmla="*/ 106 w 127"/>
                    <a:gd name="T29" fmla="*/ 327 h 340"/>
                    <a:gd name="T30" fmla="*/ 115 w 127"/>
                    <a:gd name="T31" fmla="*/ 302 h 340"/>
                    <a:gd name="T32" fmla="*/ 109 w 127"/>
                    <a:gd name="T33" fmla="*/ 283 h 340"/>
                    <a:gd name="T34" fmla="*/ 105 w 127"/>
                    <a:gd name="T35" fmla="*/ 262 h 340"/>
                    <a:gd name="T36" fmla="*/ 97 w 127"/>
                    <a:gd name="T37" fmla="*/ 241 h 340"/>
                    <a:gd name="T38" fmla="*/ 99 w 127"/>
                    <a:gd name="T39" fmla="*/ 222 h 340"/>
                    <a:gd name="T40" fmla="*/ 89 w 127"/>
                    <a:gd name="T41" fmla="*/ 203 h 340"/>
                    <a:gd name="T42" fmla="*/ 78 w 127"/>
                    <a:gd name="T43" fmla="*/ 189 h 340"/>
                    <a:gd name="T44" fmla="*/ 83 w 127"/>
                    <a:gd name="T45" fmla="*/ 175 h 340"/>
                    <a:gd name="T46" fmla="*/ 95 w 127"/>
                    <a:gd name="T47" fmla="*/ 162 h 340"/>
                    <a:gd name="T48" fmla="*/ 105 w 127"/>
                    <a:gd name="T49" fmla="*/ 155 h 340"/>
                    <a:gd name="T50" fmla="*/ 112 w 127"/>
                    <a:gd name="T51" fmla="*/ 147 h 340"/>
                    <a:gd name="T52" fmla="*/ 116 w 127"/>
                    <a:gd name="T53" fmla="*/ 137 h 340"/>
                    <a:gd name="T54" fmla="*/ 127 w 127"/>
                    <a:gd name="T55" fmla="*/ 123 h 340"/>
                    <a:gd name="T56" fmla="*/ 109 w 127"/>
                    <a:gd name="T57" fmla="*/ 125 h 340"/>
                    <a:gd name="T58" fmla="*/ 104 w 127"/>
                    <a:gd name="T59" fmla="*/ 116 h 340"/>
                    <a:gd name="T60" fmla="*/ 103 w 127"/>
                    <a:gd name="T61" fmla="*/ 106 h 340"/>
                    <a:gd name="T62" fmla="*/ 97 w 127"/>
                    <a:gd name="T63" fmla="*/ 96 h 340"/>
                    <a:gd name="T64" fmla="*/ 91 w 127"/>
                    <a:gd name="T65" fmla="*/ 90 h 340"/>
                    <a:gd name="T66" fmla="*/ 86 w 127"/>
                    <a:gd name="T67" fmla="*/ 82 h 340"/>
                    <a:gd name="T68" fmla="*/ 75 w 127"/>
                    <a:gd name="T69" fmla="*/ 75 h 340"/>
                    <a:gd name="T70" fmla="*/ 71 w 127"/>
                    <a:gd name="T71" fmla="*/ 65 h 340"/>
                    <a:gd name="T72" fmla="*/ 76 w 127"/>
                    <a:gd name="T73" fmla="*/ 55 h 340"/>
                    <a:gd name="T74" fmla="*/ 80 w 127"/>
                    <a:gd name="T75" fmla="*/ 44 h 340"/>
                    <a:gd name="T76" fmla="*/ 78 w 127"/>
                    <a:gd name="T77" fmla="*/ 21 h 340"/>
                    <a:gd name="T78" fmla="*/ 70 w 127"/>
                    <a:gd name="T79" fmla="*/ 5 h 340"/>
                    <a:gd name="T80" fmla="*/ 57 w 127"/>
                    <a:gd name="T81" fmla="*/ 2 h 340"/>
                    <a:gd name="T82" fmla="*/ 56 w 127"/>
                    <a:gd name="T83" fmla="*/ 15 h 340"/>
                    <a:gd name="T84" fmla="*/ 41 w 127"/>
                    <a:gd name="T85" fmla="*/ 20 h 340"/>
                    <a:gd name="T86" fmla="*/ 30 w 127"/>
                    <a:gd name="T87" fmla="*/ 42 h 340"/>
                    <a:gd name="T88" fmla="*/ 25 w 127"/>
                    <a:gd name="T89" fmla="*/ 70 h 340"/>
                    <a:gd name="T90" fmla="*/ 12 w 127"/>
                    <a:gd name="T91" fmla="*/ 82 h 340"/>
                    <a:gd name="T92" fmla="*/ 11 w 127"/>
                    <a:gd name="T93" fmla="*/ 106 h 340"/>
                    <a:gd name="T94" fmla="*/ 7 w 127"/>
                    <a:gd name="T95" fmla="*/ 119 h 340"/>
                    <a:gd name="T96" fmla="*/ 4 w 127"/>
                    <a:gd name="T97" fmla="*/ 131 h 340"/>
                    <a:gd name="T98" fmla="*/ 2 w 127"/>
                    <a:gd name="T99" fmla="*/ 143 h 340"/>
                    <a:gd name="T100" fmla="*/ 10 w 127"/>
                    <a:gd name="T101" fmla="*/ 152 h 340"/>
                    <a:gd name="T102" fmla="*/ 14 w 127"/>
                    <a:gd name="T103" fmla="*/ 154 h 340"/>
                    <a:gd name="T104" fmla="*/ 26 w 127"/>
                    <a:gd name="T105" fmla="*/ 164 h 340"/>
                    <a:gd name="T106" fmla="*/ 22 w 127"/>
                    <a:gd name="T107" fmla="*/ 170 h 340"/>
                    <a:gd name="T108" fmla="*/ 16 w 127"/>
                    <a:gd name="T109" fmla="*/ 167 h 340"/>
                    <a:gd name="T110" fmla="*/ 27 w 127"/>
                    <a:gd name="T111" fmla="*/ 179 h 340"/>
                    <a:gd name="T112" fmla="*/ 30 w 127"/>
                    <a:gd name="T113" fmla="*/ 179 h 340"/>
                    <a:gd name="T114" fmla="*/ 35 w 127"/>
                    <a:gd name="T115" fmla="*/ 190 h 340"/>
                    <a:gd name="T116" fmla="*/ 37 w 127"/>
                    <a:gd name="T117" fmla="*/ 210 h 340"/>
                    <a:gd name="T118" fmla="*/ 37 w 127"/>
                    <a:gd name="T119" fmla="*/ 228 h 340"/>
                    <a:gd name="T120" fmla="*/ 38 w 127"/>
                    <a:gd name="T121" fmla="*/ 234 h 340"/>
                    <a:gd name="T122" fmla="*/ 47 w 127"/>
                    <a:gd name="T123" fmla="*/ 232 h 340"/>
                    <a:gd name="T124" fmla="*/ 52 w 127"/>
                    <a:gd name="T125" fmla="*/ 231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27" h="340">
                      <a:moveTo>
                        <a:pt x="60" y="224"/>
                      </a:moveTo>
                      <a:lnTo>
                        <a:pt x="62" y="224"/>
                      </a:lnTo>
                      <a:lnTo>
                        <a:pt x="65" y="222"/>
                      </a:lnTo>
                      <a:lnTo>
                        <a:pt x="63" y="221"/>
                      </a:lnTo>
                      <a:lnTo>
                        <a:pt x="63" y="220"/>
                      </a:lnTo>
                      <a:lnTo>
                        <a:pt x="62" y="217"/>
                      </a:lnTo>
                      <a:lnTo>
                        <a:pt x="63" y="217"/>
                      </a:lnTo>
                      <a:lnTo>
                        <a:pt x="64" y="220"/>
                      </a:lnTo>
                      <a:lnTo>
                        <a:pt x="67" y="220"/>
                      </a:lnTo>
                      <a:lnTo>
                        <a:pt x="71" y="217"/>
                      </a:lnTo>
                      <a:lnTo>
                        <a:pt x="70" y="215"/>
                      </a:lnTo>
                      <a:lnTo>
                        <a:pt x="71" y="213"/>
                      </a:lnTo>
                      <a:lnTo>
                        <a:pt x="71" y="210"/>
                      </a:lnTo>
                      <a:lnTo>
                        <a:pt x="70" y="208"/>
                      </a:lnTo>
                      <a:lnTo>
                        <a:pt x="71" y="206"/>
                      </a:lnTo>
                      <a:lnTo>
                        <a:pt x="71" y="205"/>
                      </a:lnTo>
                      <a:lnTo>
                        <a:pt x="69" y="203"/>
                      </a:lnTo>
                      <a:lnTo>
                        <a:pt x="71" y="205"/>
                      </a:lnTo>
                      <a:lnTo>
                        <a:pt x="71" y="206"/>
                      </a:lnTo>
                      <a:lnTo>
                        <a:pt x="73" y="207"/>
                      </a:lnTo>
                      <a:lnTo>
                        <a:pt x="74" y="209"/>
                      </a:lnTo>
                      <a:lnTo>
                        <a:pt x="77" y="215"/>
                      </a:lnTo>
                      <a:lnTo>
                        <a:pt x="78" y="217"/>
                      </a:lnTo>
                      <a:lnTo>
                        <a:pt x="78" y="221"/>
                      </a:lnTo>
                      <a:lnTo>
                        <a:pt x="81" y="221"/>
                      </a:lnTo>
                      <a:lnTo>
                        <a:pt x="83" y="220"/>
                      </a:lnTo>
                      <a:lnTo>
                        <a:pt x="84" y="218"/>
                      </a:lnTo>
                      <a:lnTo>
                        <a:pt x="84" y="220"/>
                      </a:lnTo>
                      <a:lnTo>
                        <a:pt x="83" y="222"/>
                      </a:lnTo>
                      <a:lnTo>
                        <a:pt x="85" y="226"/>
                      </a:lnTo>
                      <a:lnTo>
                        <a:pt x="85" y="227"/>
                      </a:lnTo>
                      <a:lnTo>
                        <a:pt x="84" y="228"/>
                      </a:lnTo>
                      <a:lnTo>
                        <a:pt x="84" y="231"/>
                      </a:lnTo>
                      <a:lnTo>
                        <a:pt x="86" y="233"/>
                      </a:lnTo>
                      <a:lnTo>
                        <a:pt x="87" y="245"/>
                      </a:lnTo>
                      <a:lnTo>
                        <a:pt x="88" y="245"/>
                      </a:lnTo>
                      <a:lnTo>
                        <a:pt x="88" y="251"/>
                      </a:lnTo>
                      <a:lnTo>
                        <a:pt x="92" y="254"/>
                      </a:lnTo>
                      <a:lnTo>
                        <a:pt x="91" y="255"/>
                      </a:lnTo>
                      <a:lnTo>
                        <a:pt x="91" y="258"/>
                      </a:lnTo>
                      <a:lnTo>
                        <a:pt x="92" y="262"/>
                      </a:lnTo>
                      <a:lnTo>
                        <a:pt x="92" y="269"/>
                      </a:lnTo>
                      <a:lnTo>
                        <a:pt x="94" y="272"/>
                      </a:lnTo>
                      <a:lnTo>
                        <a:pt x="94" y="275"/>
                      </a:lnTo>
                      <a:lnTo>
                        <a:pt x="95" y="274"/>
                      </a:lnTo>
                      <a:lnTo>
                        <a:pt x="95" y="269"/>
                      </a:lnTo>
                      <a:lnTo>
                        <a:pt x="97" y="273"/>
                      </a:lnTo>
                      <a:lnTo>
                        <a:pt x="98" y="276"/>
                      </a:lnTo>
                      <a:lnTo>
                        <a:pt x="99" y="279"/>
                      </a:lnTo>
                      <a:lnTo>
                        <a:pt x="101" y="289"/>
                      </a:lnTo>
                      <a:lnTo>
                        <a:pt x="102" y="290"/>
                      </a:lnTo>
                      <a:lnTo>
                        <a:pt x="103" y="293"/>
                      </a:lnTo>
                      <a:lnTo>
                        <a:pt x="102" y="295"/>
                      </a:lnTo>
                      <a:lnTo>
                        <a:pt x="102" y="300"/>
                      </a:lnTo>
                      <a:lnTo>
                        <a:pt x="103" y="302"/>
                      </a:lnTo>
                      <a:lnTo>
                        <a:pt x="106" y="305"/>
                      </a:lnTo>
                      <a:lnTo>
                        <a:pt x="103" y="306"/>
                      </a:lnTo>
                      <a:lnTo>
                        <a:pt x="105" y="311"/>
                      </a:lnTo>
                      <a:lnTo>
                        <a:pt x="104" y="313"/>
                      </a:lnTo>
                      <a:lnTo>
                        <a:pt x="103" y="313"/>
                      </a:lnTo>
                      <a:lnTo>
                        <a:pt x="103" y="318"/>
                      </a:lnTo>
                      <a:lnTo>
                        <a:pt x="104" y="319"/>
                      </a:lnTo>
                      <a:lnTo>
                        <a:pt x="104" y="322"/>
                      </a:lnTo>
                      <a:lnTo>
                        <a:pt x="102" y="325"/>
                      </a:lnTo>
                      <a:lnTo>
                        <a:pt x="101" y="326"/>
                      </a:lnTo>
                      <a:lnTo>
                        <a:pt x="100" y="326"/>
                      </a:lnTo>
                      <a:lnTo>
                        <a:pt x="100" y="327"/>
                      </a:lnTo>
                      <a:lnTo>
                        <a:pt x="101" y="330"/>
                      </a:lnTo>
                      <a:lnTo>
                        <a:pt x="101" y="334"/>
                      </a:lnTo>
                      <a:lnTo>
                        <a:pt x="103" y="340"/>
                      </a:lnTo>
                      <a:lnTo>
                        <a:pt x="103" y="334"/>
                      </a:lnTo>
                      <a:lnTo>
                        <a:pt x="104" y="331"/>
                      </a:lnTo>
                      <a:lnTo>
                        <a:pt x="104" y="332"/>
                      </a:lnTo>
                      <a:lnTo>
                        <a:pt x="105" y="329"/>
                      </a:lnTo>
                      <a:lnTo>
                        <a:pt x="106" y="327"/>
                      </a:lnTo>
                      <a:lnTo>
                        <a:pt x="106" y="322"/>
                      </a:lnTo>
                      <a:lnTo>
                        <a:pt x="109" y="320"/>
                      </a:lnTo>
                      <a:lnTo>
                        <a:pt x="113" y="309"/>
                      </a:lnTo>
                      <a:lnTo>
                        <a:pt x="114" y="307"/>
                      </a:lnTo>
                      <a:lnTo>
                        <a:pt x="115" y="302"/>
                      </a:lnTo>
                      <a:lnTo>
                        <a:pt x="113" y="298"/>
                      </a:lnTo>
                      <a:lnTo>
                        <a:pt x="113" y="293"/>
                      </a:lnTo>
                      <a:lnTo>
                        <a:pt x="112" y="290"/>
                      </a:lnTo>
                      <a:lnTo>
                        <a:pt x="111" y="285"/>
                      </a:lnTo>
                      <a:lnTo>
                        <a:pt x="109" y="283"/>
                      </a:lnTo>
                      <a:lnTo>
                        <a:pt x="110" y="279"/>
                      </a:lnTo>
                      <a:lnTo>
                        <a:pt x="109" y="276"/>
                      </a:lnTo>
                      <a:lnTo>
                        <a:pt x="110" y="273"/>
                      </a:lnTo>
                      <a:lnTo>
                        <a:pt x="109" y="266"/>
                      </a:lnTo>
                      <a:lnTo>
                        <a:pt x="105" y="262"/>
                      </a:lnTo>
                      <a:lnTo>
                        <a:pt x="100" y="258"/>
                      </a:lnTo>
                      <a:lnTo>
                        <a:pt x="96" y="252"/>
                      </a:lnTo>
                      <a:lnTo>
                        <a:pt x="96" y="249"/>
                      </a:lnTo>
                      <a:lnTo>
                        <a:pt x="95" y="243"/>
                      </a:lnTo>
                      <a:lnTo>
                        <a:pt x="97" y="241"/>
                      </a:lnTo>
                      <a:lnTo>
                        <a:pt x="98" y="238"/>
                      </a:lnTo>
                      <a:lnTo>
                        <a:pt x="96" y="230"/>
                      </a:lnTo>
                      <a:lnTo>
                        <a:pt x="97" y="227"/>
                      </a:lnTo>
                      <a:lnTo>
                        <a:pt x="100" y="226"/>
                      </a:lnTo>
                      <a:lnTo>
                        <a:pt x="99" y="222"/>
                      </a:lnTo>
                      <a:lnTo>
                        <a:pt x="97" y="220"/>
                      </a:lnTo>
                      <a:lnTo>
                        <a:pt x="96" y="217"/>
                      </a:lnTo>
                      <a:lnTo>
                        <a:pt x="95" y="213"/>
                      </a:lnTo>
                      <a:lnTo>
                        <a:pt x="92" y="211"/>
                      </a:lnTo>
                      <a:lnTo>
                        <a:pt x="89" y="203"/>
                      </a:lnTo>
                      <a:lnTo>
                        <a:pt x="85" y="199"/>
                      </a:lnTo>
                      <a:lnTo>
                        <a:pt x="85" y="197"/>
                      </a:lnTo>
                      <a:lnTo>
                        <a:pt x="82" y="195"/>
                      </a:lnTo>
                      <a:lnTo>
                        <a:pt x="80" y="190"/>
                      </a:lnTo>
                      <a:lnTo>
                        <a:pt x="78" y="189"/>
                      </a:lnTo>
                      <a:lnTo>
                        <a:pt x="78" y="186"/>
                      </a:lnTo>
                      <a:lnTo>
                        <a:pt x="82" y="185"/>
                      </a:lnTo>
                      <a:lnTo>
                        <a:pt x="84" y="182"/>
                      </a:lnTo>
                      <a:lnTo>
                        <a:pt x="83" y="179"/>
                      </a:lnTo>
                      <a:lnTo>
                        <a:pt x="83" y="175"/>
                      </a:lnTo>
                      <a:lnTo>
                        <a:pt x="85" y="172"/>
                      </a:lnTo>
                      <a:lnTo>
                        <a:pt x="85" y="166"/>
                      </a:lnTo>
                      <a:lnTo>
                        <a:pt x="86" y="162"/>
                      </a:lnTo>
                      <a:lnTo>
                        <a:pt x="92" y="165"/>
                      </a:lnTo>
                      <a:lnTo>
                        <a:pt x="95" y="162"/>
                      </a:lnTo>
                      <a:lnTo>
                        <a:pt x="98" y="162"/>
                      </a:lnTo>
                      <a:lnTo>
                        <a:pt x="99" y="160"/>
                      </a:lnTo>
                      <a:lnTo>
                        <a:pt x="99" y="156"/>
                      </a:lnTo>
                      <a:lnTo>
                        <a:pt x="101" y="154"/>
                      </a:lnTo>
                      <a:lnTo>
                        <a:pt x="105" y="155"/>
                      </a:lnTo>
                      <a:lnTo>
                        <a:pt x="106" y="153"/>
                      </a:lnTo>
                      <a:lnTo>
                        <a:pt x="104" y="151"/>
                      </a:lnTo>
                      <a:lnTo>
                        <a:pt x="104" y="148"/>
                      </a:lnTo>
                      <a:lnTo>
                        <a:pt x="107" y="147"/>
                      </a:lnTo>
                      <a:lnTo>
                        <a:pt x="112" y="147"/>
                      </a:lnTo>
                      <a:lnTo>
                        <a:pt x="112" y="147"/>
                      </a:lnTo>
                      <a:lnTo>
                        <a:pt x="113" y="142"/>
                      </a:lnTo>
                      <a:lnTo>
                        <a:pt x="115" y="142"/>
                      </a:lnTo>
                      <a:lnTo>
                        <a:pt x="117" y="139"/>
                      </a:lnTo>
                      <a:lnTo>
                        <a:pt x="116" y="137"/>
                      </a:lnTo>
                      <a:lnTo>
                        <a:pt x="118" y="134"/>
                      </a:lnTo>
                      <a:lnTo>
                        <a:pt x="118" y="131"/>
                      </a:lnTo>
                      <a:lnTo>
                        <a:pt x="122" y="130"/>
                      </a:lnTo>
                      <a:lnTo>
                        <a:pt x="126" y="126"/>
                      </a:lnTo>
                      <a:lnTo>
                        <a:pt x="127" y="123"/>
                      </a:lnTo>
                      <a:lnTo>
                        <a:pt x="123" y="122"/>
                      </a:lnTo>
                      <a:lnTo>
                        <a:pt x="117" y="125"/>
                      </a:lnTo>
                      <a:lnTo>
                        <a:pt x="114" y="125"/>
                      </a:lnTo>
                      <a:lnTo>
                        <a:pt x="112" y="127"/>
                      </a:lnTo>
                      <a:lnTo>
                        <a:pt x="109" y="125"/>
                      </a:lnTo>
                      <a:lnTo>
                        <a:pt x="108" y="122"/>
                      </a:lnTo>
                      <a:lnTo>
                        <a:pt x="109" y="117"/>
                      </a:lnTo>
                      <a:lnTo>
                        <a:pt x="106" y="115"/>
                      </a:lnTo>
                      <a:lnTo>
                        <a:pt x="105" y="117"/>
                      </a:lnTo>
                      <a:lnTo>
                        <a:pt x="104" y="116"/>
                      </a:lnTo>
                      <a:lnTo>
                        <a:pt x="99" y="115"/>
                      </a:lnTo>
                      <a:lnTo>
                        <a:pt x="97" y="117"/>
                      </a:lnTo>
                      <a:lnTo>
                        <a:pt x="97" y="114"/>
                      </a:lnTo>
                      <a:lnTo>
                        <a:pt x="99" y="111"/>
                      </a:lnTo>
                      <a:lnTo>
                        <a:pt x="103" y="106"/>
                      </a:lnTo>
                      <a:lnTo>
                        <a:pt x="103" y="103"/>
                      </a:lnTo>
                      <a:lnTo>
                        <a:pt x="104" y="100"/>
                      </a:lnTo>
                      <a:lnTo>
                        <a:pt x="104" y="98"/>
                      </a:lnTo>
                      <a:lnTo>
                        <a:pt x="101" y="96"/>
                      </a:lnTo>
                      <a:lnTo>
                        <a:pt x="97" y="96"/>
                      </a:lnTo>
                      <a:lnTo>
                        <a:pt x="96" y="97"/>
                      </a:lnTo>
                      <a:lnTo>
                        <a:pt x="96" y="95"/>
                      </a:lnTo>
                      <a:lnTo>
                        <a:pt x="96" y="93"/>
                      </a:lnTo>
                      <a:lnTo>
                        <a:pt x="92" y="92"/>
                      </a:lnTo>
                      <a:lnTo>
                        <a:pt x="91" y="90"/>
                      </a:lnTo>
                      <a:lnTo>
                        <a:pt x="92" y="87"/>
                      </a:lnTo>
                      <a:lnTo>
                        <a:pt x="91" y="84"/>
                      </a:lnTo>
                      <a:lnTo>
                        <a:pt x="87" y="86"/>
                      </a:lnTo>
                      <a:lnTo>
                        <a:pt x="85" y="83"/>
                      </a:lnTo>
                      <a:lnTo>
                        <a:pt x="86" y="82"/>
                      </a:lnTo>
                      <a:lnTo>
                        <a:pt x="86" y="79"/>
                      </a:lnTo>
                      <a:lnTo>
                        <a:pt x="79" y="80"/>
                      </a:lnTo>
                      <a:lnTo>
                        <a:pt x="76" y="83"/>
                      </a:lnTo>
                      <a:lnTo>
                        <a:pt x="75" y="79"/>
                      </a:lnTo>
                      <a:lnTo>
                        <a:pt x="75" y="75"/>
                      </a:lnTo>
                      <a:lnTo>
                        <a:pt x="73" y="73"/>
                      </a:lnTo>
                      <a:lnTo>
                        <a:pt x="72" y="71"/>
                      </a:lnTo>
                      <a:lnTo>
                        <a:pt x="70" y="69"/>
                      </a:lnTo>
                      <a:lnTo>
                        <a:pt x="70" y="67"/>
                      </a:lnTo>
                      <a:lnTo>
                        <a:pt x="71" y="65"/>
                      </a:lnTo>
                      <a:lnTo>
                        <a:pt x="70" y="62"/>
                      </a:lnTo>
                      <a:lnTo>
                        <a:pt x="71" y="59"/>
                      </a:lnTo>
                      <a:lnTo>
                        <a:pt x="73" y="57"/>
                      </a:lnTo>
                      <a:lnTo>
                        <a:pt x="75" y="58"/>
                      </a:lnTo>
                      <a:lnTo>
                        <a:pt x="76" y="55"/>
                      </a:lnTo>
                      <a:lnTo>
                        <a:pt x="75" y="52"/>
                      </a:lnTo>
                      <a:lnTo>
                        <a:pt x="75" y="50"/>
                      </a:lnTo>
                      <a:lnTo>
                        <a:pt x="77" y="49"/>
                      </a:lnTo>
                      <a:lnTo>
                        <a:pt x="77" y="46"/>
                      </a:lnTo>
                      <a:lnTo>
                        <a:pt x="80" y="44"/>
                      </a:lnTo>
                      <a:lnTo>
                        <a:pt x="80" y="43"/>
                      </a:lnTo>
                      <a:lnTo>
                        <a:pt x="80" y="39"/>
                      </a:lnTo>
                      <a:lnTo>
                        <a:pt x="81" y="32"/>
                      </a:lnTo>
                      <a:lnTo>
                        <a:pt x="81" y="27"/>
                      </a:lnTo>
                      <a:lnTo>
                        <a:pt x="78" y="21"/>
                      </a:lnTo>
                      <a:lnTo>
                        <a:pt x="78" y="16"/>
                      </a:lnTo>
                      <a:lnTo>
                        <a:pt x="76" y="13"/>
                      </a:lnTo>
                      <a:lnTo>
                        <a:pt x="74" y="13"/>
                      </a:lnTo>
                      <a:lnTo>
                        <a:pt x="72" y="7"/>
                      </a:lnTo>
                      <a:lnTo>
                        <a:pt x="70" y="5"/>
                      </a:lnTo>
                      <a:lnTo>
                        <a:pt x="68" y="0"/>
                      </a:lnTo>
                      <a:lnTo>
                        <a:pt x="64" y="0"/>
                      </a:lnTo>
                      <a:lnTo>
                        <a:pt x="63" y="2"/>
                      </a:lnTo>
                      <a:lnTo>
                        <a:pt x="59" y="0"/>
                      </a:lnTo>
                      <a:lnTo>
                        <a:pt x="57" y="2"/>
                      </a:lnTo>
                      <a:lnTo>
                        <a:pt x="57" y="3"/>
                      </a:lnTo>
                      <a:lnTo>
                        <a:pt x="58" y="5"/>
                      </a:lnTo>
                      <a:lnTo>
                        <a:pt x="55" y="8"/>
                      </a:lnTo>
                      <a:lnTo>
                        <a:pt x="55" y="13"/>
                      </a:lnTo>
                      <a:lnTo>
                        <a:pt x="56" y="15"/>
                      </a:lnTo>
                      <a:lnTo>
                        <a:pt x="53" y="14"/>
                      </a:lnTo>
                      <a:lnTo>
                        <a:pt x="51" y="12"/>
                      </a:lnTo>
                      <a:lnTo>
                        <a:pt x="47" y="15"/>
                      </a:lnTo>
                      <a:lnTo>
                        <a:pt x="42" y="17"/>
                      </a:lnTo>
                      <a:lnTo>
                        <a:pt x="41" y="20"/>
                      </a:lnTo>
                      <a:lnTo>
                        <a:pt x="37" y="26"/>
                      </a:lnTo>
                      <a:lnTo>
                        <a:pt x="34" y="27"/>
                      </a:lnTo>
                      <a:lnTo>
                        <a:pt x="30" y="36"/>
                      </a:lnTo>
                      <a:lnTo>
                        <a:pt x="29" y="40"/>
                      </a:lnTo>
                      <a:lnTo>
                        <a:pt x="30" y="42"/>
                      </a:lnTo>
                      <a:lnTo>
                        <a:pt x="29" y="49"/>
                      </a:lnTo>
                      <a:lnTo>
                        <a:pt x="24" y="57"/>
                      </a:lnTo>
                      <a:lnTo>
                        <a:pt x="25" y="59"/>
                      </a:lnTo>
                      <a:lnTo>
                        <a:pt x="28" y="61"/>
                      </a:lnTo>
                      <a:lnTo>
                        <a:pt x="25" y="70"/>
                      </a:lnTo>
                      <a:lnTo>
                        <a:pt x="23" y="77"/>
                      </a:lnTo>
                      <a:lnTo>
                        <a:pt x="21" y="83"/>
                      </a:lnTo>
                      <a:lnTo>
                        <a:pt x="18" y="84"/>
                      </a:lnTo>
                      <a:lnTo>
                        <a:pt x="15" y="82"/>
                      </a:lnTo>
                      <a:lnTo>
                        <a:pt x="12" y="82"/>
                      </a:lnTo>
                      <a:lnTo>
                        <a:pt x="14" y="91"/>
                      </a:lnTo>
                      <a:lnTo>
                        <a:pt x="14" y="95"/>
                      </a:lnTo>
                      <a:lnTo>
                        <a:pt x="13" y="101"/>
                      </a:lnTo>
                      <a:lnTo>
                        <a:pt x="11" y="101"/>
                      </a:lnTo>
                      <a:lnTo>
                        <a:pt x="11" y="106"/>
                      </a:lnTo>
                      <a:lnTo>
                        <a:pt x="11" y="110"/>
                      </a:lnTo>
                      <a:lnTo>
                        <a:pt x="11" y="113"/>
                      </a:lnTo>
                      <a:lnTo>
                        <a:pt x="9" y="119"/>
                      </a:lnTo>
                      <a:lnTo>
                        <a:pt x="8" y="120"/>
                      </a:lnTo>
                      <a:lnTo>
                        <a:pt x="7" y="119"/>
                      </a:lnTo>
                      <a:lnTo>
                        <a:pt x="6" y="122"/>
                      </a:lnTo>
                      <a:lnTo>
                        <a:pt x="6" y="124"/>
                      </a:lnTo>
                      <a:lnTo>
                        <a:pt x="6" y="128"/>
                      </a:lnTo>
                      <a:lnTo>
                        <a:pt x="5" y="132"/>
                      </a:lnTo>
                      <a:lnTo>
                        <a:pt x="4" y="131"/>
                      </a:lnTo>
                      <a:lnTo>
                        <a:pt x="1" y="135"/>
                      </a:lnTo>
                      <a:lnTo>
                        <a:pt x="0" y="138"/>
                      </a:lnTo>
                      <a:lnTo>
                        <a:pt x="1" y="140"/>
                      </a:lnTo>
                      <a:lnTo>
                        <a:pt x="1" y="139"/>
                      </a:lnTo>
                      <a:lnTo>
                        <a:pt x="2" y="143"/>
                      </a:lnTo>
                      <a:lnTo>
                        <a:pt x="3" y="148"/>
                      </a:lnTo>
                      <a:lnTo>
                        <a:pt x="9" y="155"/>
                      </a:lnTo>
                      <a:lnTo>
                        <a:pt x="8" y="151"/>
                      </a:lnTo>
                      <a:lnTo>
                        <a:pt x="8" y="150"/>
                      </a:lnTo>
                      <a:lnTo>
                        <a:pt x="10" y="152"/>
                      </a:lnTo>
                      <a:lnTo>
                        <a:pt x="13" y="151"/>
                      </a:lnTo>
                      <a:lnTo>
                        <a:pt x="11" y="155"/>
                      </a:lnTo>
                      <a:lnTo>
                        <a:pt x="11" y="156"/>
                      </a:lnTo>
                      <a:lnTo>
                        <a:pt x="13" y="155"/>
                      </a:lnTo>
                      <a:lnTo>
                        <a:pt x="14" y="154"/>
                      </a:lnTo>
                      <a:lnTo>
                        <a:pt x="15" y="155"/>
                      </a:lnTo>
                      <a:lnTo>
                        <a:pt x="17" y="156"/>
                      </a:lnTo>
                      <a:lnTo>
                        <a:pt x="18" y="158"/>
                      </a:lnTo>
                      <a:lnTo>
                        <a:pt x="23" y="159"/>
                      </a:lnTo>
                      <a:lnTo>
                        <a:pt x="26" y="164"/>
                      </a:lnTo>
                      <a:lnTo>
                        <a:pt x="26" y="167"/>
                      </a:lnTo>
                      <a:lnTo>
                        <a:pt x="23" y="168"/>
                      </a:lnTo>
                      <a:lnTo>
                        <a:pt x="22" y="166"/>
                      </a:lnTo>
                      <a:lnTo>
                        <a:pt x="20" y="168"/>
                      </a:lnTo>
                      <a:lnTo>
                        <a:pt x="22" y="170"/>
                      </a:lnTo>
                      <a:lnTo>
                        <a:pt x="23" y="170"/>
                      </a:lnTo>
                      <a:lnTo>
                        <a:pt x="22" y="172"/>
                      </a:lnTo>
                      <a:lnTo>
                        <a:pt x="20" y="170"/>
                      </a:lnTo>
                      <a:lnTo>
                        <a:pt x="19" y="168"/>
                      </a:lnTo>
                      <a:lnTo>
                        <a:pt x="16" y="167"/>
                      </a:lnTo>
                      <a:lnTo>
                        <a:pt x="16" y="169"/>
                      </a:lnTo>
                      <a:lnTo>
                        <a:pt x="19" y="172"/>
                      </a:lnTo>
                      <a:lnTo>
                        <a:pt x="19" y="174"/>
                      </a:lnTo>
                      <a:lnTo>
                        <a:pt x="22" y="177"/>
                      </a:lnTo>
                      <a:lnTo>
                        <a:pt x="27" y="179"/>
                      </a:lnTo>
                      <a:lnTo>
                        <a:pt x="26" y="173"/>
                      </a:lnTo>
                      <a:lnTo>
                        <a:pt x="26" y="171"/>
                      </a:lnTo>
                      <a:lnTo>
                        <a:pt x="29" y="173"/>
                      </a:lnTo>
                      <a:lnTo>
                        <a:pt x="29" y="176"/>
                      </a:lnTo>
                      <a:lnTo>
                        <a:pt x="30" y="179"/>
                      </a:lnTo>
                      <a:lnTo>
                        <a:pt x="32" y="181"/>
                      </a:lnTo>
                      <a:lnTo>
                        <a:pt x="33" y="186"/>
                      </a:lnTo>
                      <a:lnTo>
                        <a:pt x="35" y="188"/>
                      </a:lnTo>
                      <a:lnTo>
                        <a:pt x="33" y="189"/>
                      </a:lnTo>
                      <a:lnTo>
                        <a:pt x="35" y="190"/>
                      </a:lnTo>
                      <a:lnTo>
                        <a:pt x="36" y="191"/>
                      </a:lnTo>
                      <a:lnTo>
                        <a:pt x="37" y="198"/>
                      </a:lnTo>
                      <a:lnTo>
                        <a:pt x="39" y="206"/>
                      </a:lnTo>
                      <a:lnTo>
                        <a:pt x="40" y="207"/>
                      </a:lnTo>
                      <a:lnTo>
                        <a:pt x="37" y="210"/>
                      </a:lnTo>
                      <a:lnTo>
                        <a:pt x="35" y="226"/>
                      </a:lnTo>
                      <a:lnTo>
                        <a:pt x="36" y="230"/>
                      </a:lnTo>
                      <a:lnTo>
                        <a:pt x="35" y="231"/>
                      </a:lnTo>
                      <a:lnTo>
                        <a:pt x="36" y="233"/>
                      </a:lnTo>
                      <a:lnTo>
                        <a:pt x="37" y="228"/>
                      </a:lnTo>
                      <a:lnTo>
                        <a:pt x="40" y="225"/>
                      </a:lnTo>
                      <a:lnTo>
                        <a:pt x="42" y="220"/>
                      </a:lnTo>
                      <a:lnTo>
                        <a:pt x="42" y="226"/>
                      </a:lnTo>
                      <a:lnTo>
                        <a:pt x="38" y="231"/>
                      </a:lnTo>
                      <a:lnTo>
                        <a:pt x="38" y="234"/>
                      </a:lnTo>
                      <a:lnTo>
                        <a:pt x="40" y="234"/>
                      </a:lnTo>
                      <a:lnTo>
                        <a:pt x="40" y="232"/>
                      </a:lnTo>
                      <a:lnTo>
                        <a:pt x="44" y="230"/>
                      </a:lnTo>
                      <a:lnTo>
                        <a:pt x="46" y="232"/>
                      </a:lnTo>
                      <a:lnTo>
                        <a:pt x="47" y="232"/>
                      </a:lnTo>
                      <a:lnTo>
                        <a:pt x="47" y="231"/>
                      </a:lnTo>
                      <a:lnTo>
                        <a:pt x="47" y="231"/>
                      </a:lnTo>
                      <a:lnTo>
                        <a:pt x="49" y="231"/>
                      </a:lnTo>
                      <a:lnTo>
                        <a:pt x="50" y="231"/>
                      </a:lnTo>
                      <a:lnTo>
                        <a:pt x="52" y="231"/>
                      </a:lnTo>
                      <a:lnTo>
                        <a:pt x="58" y="226"/>
                      </a:lnTo>
                      <a:lnTo>
                        <a:pt x="59" y="224"/>
                      </a:lnTo>
                      <a:lnTo>
                        <a:pt x="60" y="22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38" name="Freeform 539">
                  <a:extLst>
                    <a:ext uri="{FF2B5EF4-FFF2-40B4-BE49-F238E27FC236}">
                      <a16:creationId xmlns:a16="http://schemas.microsoft.com/office/drawing/2014/main" id="{79E678A0-F455-4A7F-99DD-C35395BAE6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20" y="2473"/>
                  <a:ext cx="4" cy="6"/>
                </a:xfrm>
                <a:custGeom>
                  <a:avLst/>
                  <a:gdLst>
                    <a:gd name="T0" fmla="*/ 0 w 4"/>
                    <a:gd name="T1" fmla="*/ 2 h 6"/>
                    <a:gd name="T2" fmla="*/ 0 w 4"/>
                    <a:gd name="T3" fmla="*/ 4 h 6"/>
                    <a:gd name="T4" fmla="*/ 4 w 4"/>
                    <a:gd name="T5" fmla="*/ 6 h 6"/>
                    <a:gd name="T6" fmla="*/ 4 w 4"/>
                    <a:gd name="T7" fmla="*/ 3 h 6"/>
                    <a:gd name="T8" fmla="*/ 2 w 4"/>
                    <a:gd name="T9" fmla="*/ 0 h 6"/>
                    <a:gd name="T10" fmla="*/ 0 w 4"/>
                    <a:gd name="T11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6">
                      <a:moveTo>
                        <a:pt x="0" y="2"/>
                      </a:moveTo>
                      <a:lnTo>
                        <a:pt x="0" y="4"/>
                      </a:lnTo>
                      <a:lnTo>
                        <a:pt x="4" y="6"/>
                      </a:lnTo>
                      <a:lnTo>
                        <a:pt x="4" y="3"/>
                      </a:lnTo>
                      <a:lnTo>
                        <a:pt x="2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39" name="Freeform 540">
                  <a:extLst>
                    <a:ext uri="{FF2B5EF4-FFF2-40B4-BE49-F238E27FC236}">
                      <a16:creationId xmlns:a16="http://schemas.microsoft.com/office/drawing/2014/main" id="{1D66134B-FDB4-4A1C-8743-EC6681520A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37" y="2662"/>
                  <a:ext cx="2" cy="7"/>
                </a:xfrm>
                <a:custGeom>
                  <a:avLst/>
                  <a:gdLst>
                    <a:gd name="T0" fmla="*/ 2 w 2"/>
                    <a:gd name="T1" fmla="*/ 4 h 7"/>
                    <a:gd name="T2" fmla="*/ 1 w 2"/>
                    <a:gd name="T3" fmla="*/ 1 h 7"/>
                    <a:gd name="T4" fmla="*/ 2 w 2"/>
                    <a:gd name="T5" fmla="*/ 1 h 7"/>
                    <a:gd name="T6" fmla="*/ 2 w 2"/>
                    <a:gd name="T7" fmla="*/ 0 h 7"/>
                    <a:gd name="T8" fmla="*/ 0 w 2"/>
                    <a:gd name="T9" fmla="*/ 1 h 7"/>
                    <a:gd name="T10" fmla="*/ 0 w 2"/>
                    <a:gd name="T11" fmla="*/ 4 h 7"/>
                    <a:gd name="T12" fmla="*/ 0 w 2"/>
                    <a:gd name="T13" fmla="*/ 7 h 7"/>
                    <a:gd name="T14" fmla="*/ 2 w 2"/>
                    <a:gd name="T15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" h="7">
                      <a:moveTo>
                        <a:pt x="2" y="4"/>
                      </a:move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40" name="Freeform 541">
                  <a:extLst>
                    <a:ext uri="{FF2B5EF4-FFF2-40B4-BE49-F238E27FC236}">
                      <a16:creationId xmlns:a16="http://schemas.microsoft.com/office/drawing/2014/main" id="{AC3325D9-37BD-498C-A806-45D9DC85FC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37" y="2642"/>
                  <a:ext cx="31" cy="63"/>
                </a:xfrm>
                <a:custGeom>
                  <a:avLst/>
                  <a:gdLst>
                    <a:gd name="T0" fmla="*/ 31 w 31"/>
                    <a:gd name="T1" fmla="*/ 38 h 63"/>
                    <a:gd name="T2" fmla="*/ 30 w 31"/>
                    <a:gd name="T3" fmla="*/ 36 h 63"/>
                    <a:gd name="T4" fmla="*/ 31 w 31"/>
                    <a:gd name="T5" fmla="*/ 34 h 63"/>
                    <a:gd name="T6" fmla="*/ 28 w 31"/>
                    <a:gd name="T7" fmla="*/ 31 h 63"/>
                    <a:gd name="T8" fmla="*/ 26 w 31"/>
                    <a:gd name="T9" fmla="*/ 24 h 63"/>
                    <a:gd name="T10" fmla="*/ 24 w 31"/>
                    <a:gd name="T11" fmla="*/ 18 h 63"/>
                    <a:gd name="T12" fmla="*/ 22 w 31"/>
                    <a:gd name="T13" fmla="*/ 19 h 63"/>
                    <a:gd name="T14" fmla="*/ 22 w 31"/>
                    <a:gd name="T15" fmla="*/ 18 h 63"/>
                    <a:gd name="T16" fmla="*/ 20 w 31"/>
                    <a:gd name="T17" fmla="*/ 18 h 63"/>
                    <a:gd name="T18" fmla="*/ 23 w 31"/>
                    <a:gd name="T19" fmla="*/ 16 h 63"/>
                    <a:gd name="T20" fmla="*/ 22 w 31"/>
                    <a:gd name="T21" fmla="*/ 15 h 63"/>
                    <a:gd name="T22" fmla="*/ 21 w 31"/>
                    <a:gd name="T23" fmla="*/ 14 h 63"/>
                    <a:gd name="T24" fmla="*/ 19 w 31"/>
                    <a:gd name="T25" fmla="*/ 10 h 63"/>
                    <a:gd name="T26" fmla="*/ 17 w 31"/>
                    <a:gd name="T27" fmla="*/ 10 h 63"/>
                    <a:gd name="T28" fmla="*/ 17 w 31"/>
                    <a:gd name="T29" fmla="*/ 7 h 63"/>
                    <a:gd name="T30" fmla="*/ 16 w 31"/>
                    <a:gd name="T31" fmla="*/ 6 h 63"/>
                    <a:gd name="T32" fmla="*/ 16 w 31"/>
                    <a:gd name="T33" fmla="*/ 3 h 63"/>
                    <a:gd name="T34" fmla="*/ 12 w 31"/>
                    <a:gd name="T35" fmla="*/ 2 h 63"/>
                    <a:gd name="T36" fmla="*/ 11 w 31"/>
                    <a:gd name="T37" fmla="*/ 3 h 63"/>
                    <a:gd name="T38" fmla="*/ 10 w 31"/>
                    <a:gd name="T39" fmla="*/ 3 h 63"/>
                    <a:gd name="T40" fmla="*/ 10 w 31"/>
                    <a:gd name="T41" fmla="*/ 1 h 63"/>
                    <a:gd name="T42" fmla="*/ 7 w 31"/>
                    <a:gd name="T43" fmla="*/ 0 h 63"/>
                    <a:gd name="T44" fmla="*/ 7 w 31"/>
                    <a:gd name="T45" fmla="*/ 1 h 63"/>
                    <a:gd name="T46" fmla="*/ 7 w 31"/>
                    <a:gd name="T47" fmla="*/ 2 h 63"/>
                    <a:gd name="T48" fmla="*/ 7 w 31"/>
                    <a:gd name="T49" fmla="*/ 3 h 63"/>
                    <a:gd name="T50" fmla="*/ 6 w 31"/>
                    <a:gd name="T51" fmla="*/ 3 h 63"/>
                    <a:gd name="T52" fmla="*/ 6 w 31"/>
                    <a:gd name="T53" fmla="*/ 4 h 63"/>
                    <a:gd name="T54" fmla="*/ 6 w 31"/>
                    <a:gd name="T55" fmla="*/ 7 h 63"/>
                    <a:gd name="T56" fmla="*/ 4 w 31"/>
                    <a:gd name="T57" fmla="*/ 10 h 63"/>
                    <a:gd name="T58" fmla="*/ 3 w 31"/>
                    <a:gd name="T59" fmla="*/ 9 h 63"/>
                    <a:gd name="T60" fmla="*/ 2 w 31"/>
                    <a:gd name="T61" fmla="*/ 7 h 63"/>
                    <a:gd name="T62" fmla="*/ 0 w 31"/>
                    <a:gd name="T63" fmla="*/ 7 h 63"/>
                    <a:gd name="T64" fmla="*/ 0 w 31"/>
                    <a:gd name="T65" fmla="*/ 8 h 63"/>
                    <a:gd name="T66" fmla="*/ 2 w 31"/>
                    <a:gd name="T67" fmla="*/ 9 h 63"/>
                    <a:gd name="T68" fmla="*/ 3 w 31"/>
                    <a:gd name="T69" fmla="*/ 10 h 63"/>
                    <a:gd name="T70" fmla="*/ 2 w 31"/>
                    <a:gd name="T71" fmla="*/ 11 h 63"/>
                    <a:gd name="T72" fmla="*/ 3 w 31"/>
                    <a:gd name="T73" fmla="*/ 14 h 63"/>
                    <a:gd name="T74" fmla="*/ 3 w 31"/>
                    <a:gd name="T75" fmla="*/ 19 h 63"/>
                    <a:gd name="T76" fmla="*/ 3 w 31"/>
                    <a:gd name="T77" fmla="*/ 21 h 63"/>
                    <a:gd name="T78" fmla="*/ 1 w 31"/>
                    <a:gd name="T79" fmla="*/ 28 h 63"/>
                    <a:gd name="T80" fmla="*/ 2 w 31"/>
                    <a:gd name="T81" fmla="*/ 31 h 63"/>
                    <a:gd name="T82" fmla="*/ 1 w 31"/>
                    <a:gd name="T83" fmla="*/ 31 h 63"/>
                    <a:gd name="T84" fmla="*/ 3 w 31"/>
                    <a:gd name="T85" fmla="*/ 38 h 63"/>
                    <a:gd name="T86" fmla="*/ 2 w 31"/>
                    <a:gd name="T87" fmla="*/ 40 h 63"/>
                    <a:gd name="T88" fmla="*/ 3 w 31"/>
                    <a:gd name="T89" fmla="*/ 48 h 63"/>
                    <a:gd name="T90" fmla="*/ 6 w 31"/>
                    <a:gd name="T91" fmla="*/ 57 h 63"/>
                    <a:gd name="T92" fmla="*/ 8 w 31"/>
                    <a:gd name="T93" fmla="*/ 62 h 63"/>
                    <a:gd name="T94" fmla="*/ 11 w 31"/>
                    <a:gd name="T95" fmla="*/ 63 h 63"/>
                    <a:gd name="T96" fmla="*/ 14 w 31"/>
                    <a:gd name="T97" fmla="*/ 62 h 63"/>
                    <a:gd name="T98" fmla="*/ 19 w 31"/>
                    <a:gd name="T99" fmla="*/ 62 h 63"/>
                    <a:gd name="T100" fmla="*/ 24 w 31"/>
                    <a:gd name="T101" fmla="*/ 60 h 63"/>
                    <a:gd name="T102" fmla="*/ 28 w 31"/>
                    <a:gd name="T103" fmla="*/ 55 h 63"/>
                    <a:gd name="T104" fmla="*/ 30 w 31"/>
                    <a:gd name="T105" fmla="*/ 50 h 63"/>
                    <a:gd name="T106" fmla="*/ 31 w 31"/>
                    <a:gd name="T107" fmla="*/ 47 h 63"/>
                    <a:gd name="T108" fmla="*/ 31 w 31"/>
                    <a:gd name="T109" fmla="*/ 44 h 63"/>
                    <a:gd name="T110" fmla="*/ 31 w 31"/>
                    <a:gd name="T111" fmla="*/ 43 h 63"/>
                    <a:gd name="T112" fmla="*/ 31 w 31"/>
                    <a:gd name="T113" fmla="*/ 38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31" h="63">
                      <a:moveTo>
                        <a:pt x="31" y="38"/>
                      </a:moveTo>
                      <a:lnTo>
                        <a:pt x="30" y="36"/>
                      </a:lnTo>
                      <a:lnTo>
                        <a:pt x="31" y="34"/>
                      </a:lnTo>
                      <a:lnTo>
                        <a:pt x="28" y="31"/>
                      </a:lnTo>
                      <a:lnTo>
                        <a:pt x="26" y="24"/>
                      </a:lnTo>
                      <a:lnTo>
                        <a:pt x="24" y="18"/>
                      </a:lnTo>
                      <a:lnTo>
                        <a:pt x="22" y="19"/>
                      </a:lnTo>
                      <a:lnTo>
                        <a:pt x="22" y="18"/>
                      </a:lnTo>
                      <a:lnTo>
                        <a:pt x="20" y="18"/>
                      </a:lnTo>
                      <a:lnTo>
                        <a:pt x="23" y="16"/>
                      </a:lnTo>
                      <a:lnTo>
                        <a:pt x="22" y="15"/>
                      </a:lnTo>
                      <a:lnTo>
                        <a:pt x="21" y="14"/>
                      </a:lnTo>
                      <a:lnTo>
                        <a:pt x="19" y="10"/>
                      </a:lnTo>
                      <a:lnTo>
                        <a:pt x="17" y="10"/>
                      </a:lnTo>
                      <a:lnTo>
                        <a:pt x="17" y="7"/>
                      </a:lnTo>
                      <a:lnTo>
                        <a:pt x="16" y="6"/>
                      </a:lnTo>
                      <a:lnTo>
                        <a:pt x="16" y="3"/>
                      </a:lnTo>
                      <a:lnTo>
                        <a:pt x="12" y="2"/>
                      </a:lnTo>
                      <a:lnTo>
                        <a:pt x="11" y="3"/>
                      </a:lnTo>
                      <a:lnTo>
                        <a:pt x="10" y="3"/>
                      </a:lnTo>
                      <a:lnTo>
                        <a:pt x="10" y="1"/>
                      </a:lnTo>
                      <a:lnTo>
                        <a:pt x="7" y="0"/>
                      </a:lnTo>
                      <a:lnTo>
                        <a:pt x="7" y="1"/>
                      </a:lnTo>
                      <a:lnTo>
                        <a:pt x="7" y="2"/>
                      </a:lnTo>
                      <a:lnTo>
                        <a:pt x="7" y="3"/>
                      </a:lnTo>
                      <a:lnTo>
                        <a:pt x="6" y="3"/>
                      </a:lnTo>
                      <a:lnTo>
                        <a:pt x="6" y="4"/>
                      </a:lnTo>
                      <a:lnTo>
                        <a:pt x="6" y="7"/>
                      </a:lnTo>
                      <a:lnTo>
                        <a:pt x="4" y="10"/>
                      </a:lnTo>
                      <a:lnTo>
                        <a:pt x="3" y="9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8"/>
                      </a:lnTo>
                      <a:lnTo>
                        <a:pt x="2" y="9"/>
                      </a:lnTo>
                      <a:lnTo>
                        <a:pt x="3" y="10"/>
                      </a:lnTo>
                      <a:lnTo>
                        <a:pt x="2" y="11"/>
                      </a:lnTo>
                      <a:lnTo>
                        <a:pt x="3" y="14"/>
                      </a:lnTo>
                      <a:lnTo>
                        <a:pt x="3" y="19"/>
                      </a:lnTo>
                      <a:lnTo>
                        <a:pt x="3" y="21"/>
                      </a:lnTo>
                      <a:lnTo>
                        <a:pt x="1" y="28"/>
                      </a:lnTo>
                      <a:lnTo>
                        <a:pt x="2" y="31"/>
                      </a:lnTo>
                      <a:lnTo>
                        <a:pt x="1" y="31"/>
                      </a:lnTo>
                      <a:lnTo>
                        <a:pt x="3" y="38"/>
                      </a:lnTo>
                      <a:lnTo>
                        <a:pt x="2" y="40"/>
                      </a:lnTo>
                      <a:lnTo>
                        <a:pt x="3" y="48"/>
                      </a:lnTo>
                      <a:lnTo>
                        <a:pt x="6" y="57"/>
                      </a:lnTo>
                      <a:lnTo>
                        <a:pt x="8" y="62"/>
                      </a:lnTo>
                      <a:lnTo>
                        <a:pt x="11" y="63"/>
                      </a:lnTo>
                      <a:lnTo>
                        <a:pt x="14" y="62"/>
                      </a:lnTo>
                      <a:lnTo>
                        <a:pt x="19" y="62"/>
                      </a:lnTo>
                      <a:lnTo>
                        <a:pt x="24" y="60"/>
                      </a:lnTo>
                      <a:lnTo>
                        <a:pt x="28" y="55"/>
                      </a:lnTo>
                      <a:lnTo>
                        <a:pt x="30" y="50"/>
                      </a:lnTo>
                      <a:lnTo>
                        <a:pt x="31" y="47"/>
                      </a:lnTo>
                      <a:lnTo>
                        <a:pt x="31" y="44"/>
                      </a:lnTo>
                      <a:lnTo>
                        <a:pt x="31" y="43"/>
                      </a:lnTo>
                      <a:lnTo>
                        <a:pt x="31" y="3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41" name="Freeform 542">
                  <a:extLst>
                    <a:ext uri="{FF2B5EF4-FFF2-40B4-BE49-F238E27FC236}">
                      <a16:creationId xmlns:a16="http://schemas.microsoft.com/office/drawing/2014/main" id="{6C034DB9-B365-4B68-911C-344818AC95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39" y="2635"/>
                  <a:ext cx="5" cy="6"/>
                </a:xfrm>
                <a:custGeom>
                  <a:avLst/>
                  <a:gdLst>
                    <a:gd name="T0" fmla="*/ 5 w 5"/>
                    <a:gd name="T1" fmla="*/ 1 h 6"/>
                    <a:gd name="T2" fmla="*/ 5 w 5"/>
                    <a:gd name="T3" fmla="*/ 0 h 6"/>
                    <a:gd name="T4" fmla="*/ 0 w 5"/>
                    <a:gd name="T5" fmla="*/ 1 h 6"/>
                    <a:gd name="T6" fmla="*/ 0 w 5"/>
                    <a:gd name="T7" fmla="*/ 3 h 6"/>
                    <a:gd name="T8" fmla="*/ 4 w 5"/>
                    <a:gd name="T9" fmla="*/ 6 h 6"/>
                    <a:gd name="T10" fmla="*/ 3 w 5"/>
                    <a:gd name="T11" fmla="*/ 4 h 6"/>
                    <a:gd name="T12" fmla="*/ 4 w 5"/>
                    <a:gd name="T13" fmla="*/ 4 h 6"/>
                    <a:gd name="T14" fmla="*/ 5 w 5"/>
                    <a:gd name="T15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6">
                      <a:moveTo>
                        <a:pt x="5" y="1"/>
                      </a:moveTo>
                      <a:lnTo>
                        <a:pt x="5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4" y="6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5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42" name="Freeform 543">
                  <a:extLst>
                    <a:ext uri="{FF2B5EF4-FFF2-40B4-BE49-F238E27FC236}">
                      <a16:creationId xmlns:a16="http://schemas.microsoft.com/office/drawing/2014/main" id="{480162E3-9EE7-4C51-B64D-A54209C6F4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44" y="2637"/>
                  <a:ext cx="8" cy="7"/>
                </a:xfrm>
                <a:custGeom>
                  <a:avLst/>
                  <a:gdLst>
                    <a:gd name="T0" fmla="*/ 0 w 8"/>
                    <a:gd name="T1" fmla="*/ 3 h 7"/>
                    <a:gd name="T2" fmla="*/ 3 w 8"/>
                    <a:gd name="T3" fmla="*/ 5 h 7"/>
                    <a:gd name="T4" fmla="*/ 4 w 8"/>
                    <a:gd name="T5" fmla="*/ 6 h 7"/>
                    <a:gd name="T6" fmla="*/ 7 w 8"/>
                    <a:gd name="T7" fmla="*/ 6 h 7"/>
                    <a:gd name="T8" fmla="*/ 8 w 8"/>
                    <a:gd name="T9" fmla="*/ 7 h 7"/>
                    <a:gd name="T10" fmla="*/ 7 w 8"/>
                    <a:gd name="T11" fmla="*/ 5 h 7"/>
                    <a:gd name="T12" fmla="*/ 4 w 8"/>
                    <a:gd name="T13" fmla="*/ 3 h 7"/>
                    <a:gd name="T14" fmla="*/ 3 w 8"/>
                    <a:gd name="T15" fmla="*/ 1 h 7"/>
                    <a:gd name="T16" fmla="*/ 2 w 8"/>
                    <a:gd name="T17" fmla="*/ 0 h 7"/>
                    <a:gd name="T18" fmla="*/ 1 w 8"/>
                    <a:gd name="T19" fmla="*/ 1 h 7"/>
                    <a:gd name="T20" fmla="*/ 2 w 8"/>
                    <a:gd name="T21" fmla="*/ 1 h 7"/>
                    <a:gd name="T22" fmla="*/ 0 w 8"/>
                    <a:gd name="T23" fmla="*/ 2 h 7"/>
                    <a:gd name="T24" fmla="*/ 0 w 8"/>
                    <a:gd name="T25" fmla="*/ 3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" h="7">
                      <a:moveTo>
                        <a:pt x="0" y="3"/>
                      </a:moveTo>
                      <a:lnTo>
                        <a:pt x="3" y="5"/>
                      </a:lnTo>
                      <a:lnTo>
                        <a:pt x="4" y="6"/>
                      </a:lnTo>
                      <a:lnTo>
                        <a:pt x="7" y="6"/>
                      </a:lnTo>
                      <a:lnTo>
                        <a:pt x="8" y="7"/>
                      </a:lnTo>
                      <a:lnTo>
                        <a:pt x="7" y="5"/>
                      </a:lnTo>
                      <a:lnTo>
                        <a:pt x="4" y="3"/>
                      </a:ln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43" name="Freeform 544">
                  <a:extLst>
                    <a:ext uri="{FF2B5EF4-FFF2-40B4-BE49-F238E27FC236}">
                      <a16:creationId xmlns:a16="http://schemas.microsoft.com/office/drawing/2014/main" id="{E5DD0E4B-E2F1-4A36-970E-3F49E8E4A1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62" y="2201"/>
                  <a:ext cx="397" cy="465"/>
                </a:xfrm>
                <a:custGeom>
                  <a:avLst/>
                  <a:gdLst>
                    <a:gd name="T0" fmla="*/ 279 w 397"/>
                    <a:gd name="T1" fmla="*/ 170 h 465"/>
                    <a:gd name="T2" fmla="*/ 286 w 397"/>
                    <a:gd name="T3" fmla="*/ 144 h 465"/>
                    <a:gd name="T4" fmla="*/ 277 w 397"/>
                    <a:gd name="T5" fmla="*/ 127 h 465"/>
                    <a:gd name="T6" fmla="*/ 286 w 397"/>
                    <a:gd name="T7" fmla="*/ 130 h 465"/>
                    <a:gd name="T8" fmla="*/ 298 w 397"/>
                    <a:gd name="T9" fmla="*/ 144 h 465"/>
                    <a:gd name="T10" fmla="*/ 326 w 397"/>
                    <a:gd name="T11" fmla="*/ 152 h 465"/>
                    <a:gd name="T12" fmla="*/ 329 w 397"/>
                    <a:gd name="T13" fmla="*/ 170 h 465"/>
                    <a:gd name="T14" fmla="*/ 322 w 397"/>
                    <a:gd name="T15" fmla="*/ 185 h 465"/>
                    <a:gd name="T16" fmla="*/ 331 w 397"/>
                    <a:gd name="T17" fmla="*/ 186 h 465"/>
                    <a:gd name="T18" fmla="*/ 339 w 397"/>
                    <a:gd name="T19" fmla="*/ 196 h 465"/>
                    <a:gd name="T20" fmla="*/ 345 w 397"/>
                    <a:gd name="T21" fmla="*/ 215 h 465"/>
                    <a:gd name="T22" fmla="*/ 353 w 397"/>
                    <a:gd name="T23" fmla="*/ 188 h 465"/>
                    <a:gd name="T24" fmla="*/ 364 w 397"/>
                    <a:gd name="T25" fmla="*/ 152 h 465"/>
                    <a:gd name="T26" fmla="*/ 381 w 397"/>
                    <a:gd name="T27" fmla="*/ 110 h 465"/>
                    <a:gd name="T28" fmla="*/ 396 w 397"/>
                    <a:gd name="T29" fmla="*/ 95 h 465"/>
                    <a:gd name="T30" fmla="*/ 385 w 397"/>
                    <a:gd name="T31" fmla="*/ 77 h 465"/>
                    <a:gd name="T32" fmla="*/ 370 w 397"/>
                    <a:gd name="T33" fmla="*/ 71 h 465"/>
                    <a:gd name="T34" fmla="*/ 349 w 397"/>
                    <a:gd name="T35" fmla="*/ 82 h 465"/>
                    <a:gd name="T36" fmla="*/ 329 w 397"/>
                    <a:gd name="T37" fmla="*/ 99 h 465"/>
                    <a:gd name="T38" fmla="*/ 318 w 397"/>
                    <a:gd name="T39" fmla="*/ 120 h 465"/>
                    <a:gd name="T40" fmla="*/ 282 w 397"/>
                    <a:gd name="T41" fmla="*/ 120 h 465"/>
                    <a:gd name="T42" fmla="*/ 271 w 397"/>
                    <a:gd name="T43" fmla="*/ 102 h 465"/>
                    <a:gd name="T44" fmla="*/ 242 w 397"/>
                    <a:gd name="T45" fmla="*/ 123 h 465"/>
                    <a:gd name="T46" fmla="*/ 199 w 397"/>
                    <a:gd name="T47" fmla="*/ 113 h 465"/>
                    <a:gd name="T48" fmla="*/ 161 w 397"/>
                    <a:gd name="T49" fmla="*/ 90 h 465"/>
                    <a:gd name="T50" fmla="*/ 159 w 397"/>
                    <a:gd name="T51" fmla="*/ 54 h 465"/>
                    <a:gd name="T52" fmla="*/ 137 w 397"/>
                    <a:gd name="T53" fmla="*/ 44 h 465"/>
                    <a:gd name="T54" fmla="*/ 128 w 397"/>
                    <a:gd name="T55" fmla="*/ 19 h 465"/>
                    <a:gd name="T56" fmla="*/ 101 w 397"/>
                    <a:gd name="T57" fmla="*/ 0 h 465"/>
                    <a:gd name="T58" fmla="*/ 76 w 397"/>
                    <a:gd name="T59" fmla="*/ 23 h 465"/>
                    <a:gd name="T60" fmla="*/ 65 w 397"/>
                    <a:gd name="T61" fmla="*/ 59 h 465"/>
                    <a:gd name="T62" fmla="*/ 40 w 397"/>
                    <a:gd name="T63" fmla="*/ 106 h 465"/>
                    <a:gd name="T64" fmla="*/ 13 w 397"/>
                    <a:gd name="T65" fmla="*/ 116 h 465"/>
                    <a:gd name="T66" fmla="*/ 20 w 397"/>
                    <a:gd name="T67" fmla="*/ 138 h 465"/>
                    <a:gd name="T68" fmla="*/ 36 w 397"/>
                    <a:gd name="T69" fmla="*/ 171 h 465"/>
                    <a:gd name="T70" fmla="*/ 8 w 397"/>
                    <a:gd name="T71" fmla="*/ 176 h 465"/>
                    <a:gd name="T72" fmla="*/ 2 w 397"/>
                    <a:gd name="T73" fmla="*/ 189 h 465"/>
                    <a:gd name="T74" fmla="*/ 29 w 397"/>
                    <a:gd name="T75" fmla="*/ 197 h 465"/>
                    <a:gd name="T76" fmla="*/ 19 w 397"/>
                    <a:gd name="T77" fmla="*/ 211 h 465"/>
                    <a:gd name="T78" fmla="*/ 9 w 397"/>
                    <a:gd name="T79" fmla="*/ 213 h 465"/>
                    <a:gd name="T80" fmla="*/ 50 w 397"/>
                    <a:gd name="T81" fmla="*/ 235 h 465"/>
                    <a:gd name="T82" fmla="*/ 60 w 397"/>
                    <a:gd name="T83" fmla="*/ 209 h 465"/>
                    <a:gd name="T84" fmla="*/ 62 w 397"/>
                    <a:gd name="T85" fmla="*/ 219 h 465"/>
                    <a:gd name="T86" fmla="*/ 65 w 397"/>
                    <a:gd name="T87" fmla="*/ 236 h 465"/>
                    <a:gd name="T88" fmla="*/ 71 w 397"/>
                    <a:gd name="T89" fmla="*/ 273 h 465"/>
                    <a:gd name="T90" fmla="*/ 80 w 397"/>
                    <a:gd name="T91" fmla="*/ 320 h 465"/>
                    <a:gd name="T92" fmla="*/ 95 w 397"/>
                    <a:gd name="T93" fmla="*/ 351 h 465"/>
                    <a:gd name="T94" fmla="*/ 106 w 397"/>
                    <a:gd name="T95" fmla="*/ 389 h 465"/>
                    <a:gd name="T96" fmla="*/ 123 w 397"/>
                    <a:gd name="T97" fmla="*/ 423 h 465"/>
                    <a:gd name="T98" fmla="*/ 153 w 397"/>
                    <a:gd name="T99" fmla="*/ 457 h 465"/>
                    <a:gd name="T100" fmla="*/ 169 w 397"/>
                    <a:gd name="T101" fmla="*/ 448 h 465"/>
                    <a:gd name="T102" fmla="*/ 173 w 397"/>
                    <a:gd name="T103" fmla="*/ 427 h 465"/>
                    <a:gd name="T104" fmla="*/ 182 w 397"/>
                    <a:gd name="T105" fmla="*/ 372 h 465"/>
                    <a:gd name="T106" fmla="*/ 185 w 397"/>
                    <a:gd name="T107" fmla="*/ 327 h 465"/>
                    <a:gd name="T108" fmla="*/ 206 w 397"/>
                    <a:gd name="T109" fmla="*/ 308 h 465"/>
                    <a:gd name="T110" fmla="*/ 244 w 397"/>
                    <a:gd name="T111" fmla="*/ 259 h 465"/>
                    <a:gd name="T112" fmla="*/ 248 w 397"/>
                    <a:gd name="T113" fmla="*/ 258 h 465"/>
                    <a:gd name="T114" fmla="*/ 265 w 397"/>
                    <a:gd name="T115" fmla="*/ 237 h 465"/>
                    <a:gd name="T116" fmla="*/ 279 w 397"/>
                    <a:gd name="T117" fmla="*/ 213 h 465"/>
                    <a:gd name="T118" fmla="*/ 284 w 397"/>
                    <a:gd name="T119" fmla="*/ 218 h 465"/>
                    <a:gd name="T120" fmla="*/ 291 w 397"/>
                    <a:gd name="T121" fmla="*/ 221 h 4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397" h="465">
                      <a:moveTo>
                        <a:pt x="293" y="206"/>
                      </a:moveTo>
                      <a:lnTo>
                        <a:pt x="293" y="202"/>
                      </a:lnTo>
                      <a:lnTo>
                        <a:pt x="288" y="195"/>
                      </a:lnTo>
                      <a:lnTo>
                        <a:pt x="288" y="189"/>
                      </a:lnTo>
                      <a:lnTo>
                        <a:pt x="288" y="187"/>
                      </a:lnTo>
                      <a:lnTo>
                        <a:pt x="286" y="182"/>
                      </a:lnTo>
                      <a:lnTo>
                        <a:pt x="286" y="177"/>
                      </a:lnTo>
                      <a:lnTo>
                        <a:pt x="283" y="172"/>
                      </a:lnTo>
                      <a:lnTo>
                        <a:pt x="279" y="170"/>
                      </a:lnTo>
                      <a:lnTo>
                        <a:pt x="276" y="165"/>
                      </a:lnTo>
                      <a:lnTo>
                        <a:pt x="276" y="158"/>
                      </a:lnTo>
                      <a:lnTo>
                        <a:pt x="279" y="158"/>
                      </a:lnTo>
                      <a:lnTo>
                        <a:pt x="280" y="153"/>
                      </a:lnTo>
                      <a:lnTo>
                        <a:pt x="282" y="152"/>
                      </a:lnTo>
                      <a:lnTo>
                        <a:pt x="284" y="153"/>
                      </a:lnTo>
                      <a:lnTo>
                        <a:pt x="286" y="151"/>
                      </a:lnTo>
                      <a:lnTo>
                        <a:pt x="286" y="147"/>
                      </a:lnTo>
                      <a:lnTo>
                        <a:pt x="286" y="144"/>
                      </a:lnTo>
                      <a:lnTo>
                        <a:pt x="282" y="144"/>
                      </a:lnTo>
                      <a:lnTo>
                        <a:pt x="279" y="145"/>
                      </a:lnTo>
                      <a:lnTo>
                        <a:pt x="273" y="142"/>
                      </a:lnTo>
                      <a:lnTo>
                        <a:pt x="273" y="138"/>
                      </a:lnTo>
                      <a:lnTo>
                        <a:pt x="276" y="134"/>
                      </a:lnTo>
                      <a:lnTo>
                        <a:pt x="278" y="130"/>
                      </a:lnTo>
                      <a:lnTo>
                        <a:pt x="276" y="129"/>
                      </a:lnTo>
                      <a:lnTo>
                        <a:pt x="276" y="127"/>
                      </a:lnTo>
                      <a:lnTo>
                        <a:pt x="277" y="127"/>
                      </a:lnTo>
                      <a:lnTo>
                        <a:pt x="278" y="123"/>
                      </a:lnTo>
                      <a:lnTo>
                        <a:pt x="279" y="126"/>
                      </a:lnTo>
                      <a:lnTo>
                        <a:pt x="281" y="128"/>
                      </a:lnTo>
                      <a:lnTo>
                        <a:pt x="281" y="130"/>
                      </a:lnTo>
                      <a:lnTo>
                        <a:pt x="283" y="134"/>
                      </a:lnTo>
                      <a:lnTo>
                        <a:pt x="286" y="134"/>
                      </a:lnTo>
                      <a:lnTo>
                        <a:pt x="287" y="133"/>
                      </a:lnTo>
                      <a:lnTo>
                        <a:pt x="286" y="131"/>
                      </a:lnTo>
                      <a:lnTo>
                        <a:pt x="286" y="130"/>
                      </a:lnTo>
                      <a:lnTo>
                        <a:pt x="287" y="130"/>
                      </a:lnTo>
                      <a:lnTo>
                        <a:pt x="289" y="132"/>
                      </a:lnTo>
                      <a:lnTo>
                        <a:pt x="290" y="134"/>
                      </a:lnTo>
                      <a:lnTo>
                        <a:pt x="293" y="134"/>
                      </a:lnTo>
                      <a:lnTo>
                        <a:pt x="293" y="134"/>
                      </a:lnTo>
                      <a:lnTo>
                        <a:pt x="295" y="133"/>
                      </a:lnTo>
                      <a:lnTo>
                        <a:pt x="297" y="137"/>
                      </a:lnTo>
                      <a:lnTo>
                        <a:pt x="297" y="141"/>
                      </a:lnTo>
                      <a:lnTo>
                        <a:pt x="298" y="144"/>
                      </a:lnTo>
                      <a:lnTo>
                        <a:pt x="299" y="147"/>
                      </a:lnTo>
                      <a:lnTo>
                        <a:pt x="299" y="149"/>
                      </a:lnTo>
                      <a:lnTo>
                        <a:pt x="302" y="151"/>
                      </a:lnTo>
                      <a:lnTo>
                        <a:pt x="304" y="151"/>
                      </a:lnTo>
                      <a:lnTo>
                        <a:pt x="307" y="152"/>
                      </a:lnTo>
                      <a:lnTo>
                        <a:pt x="311" y="152"/>
                      </a:lnTo>
                      <a:lnTo>
                        <a:pt x="317" y="151"/>
                      </a:lnTo>
                      <a:lnTo>
                        <a:pt x="320" y="152"/>
                      </a:lnTo>
                      <a:lnTo>
                        <a:pt x="326" y="152"/>
                      </a:lnTo>
                      <a:lnTo>
                        <a:pt x="328" y="151"/>
                      </a:lnTo>
                      <a:lnTo>
                        <a:pt x="329" y="152"/>
                      </a:lnTo>
                      <a:lnTo>
                        <a:pt x="331" y="152"/>
                      </a:lnTo>
                      <a:lnTo>
                        <a:pt x="333" y="155"/>
                      </a:lnTo>
                      <a:lnTo>
                        <a:pt x="334" y="156"/>
                      </a:lnTo>
                      <a:lnTo>
                        <a:pt x="333" y="159"/>
                      </a:lnTo>
                      <a:lnTo>
                        <a:pt x="332" y="164"/>
                      </a:lnTo>
                      <a:lnTo>
                        <a:pt x="331" y="169"/>
                      </a:lnTo>
                      <a:lnTo>
                        <a:pt x="329" y="170"/>
                      </a:lnTo>
                      <a:lnTo>
                        <a:pt x="329" y="172"/>
                      </a:lnTo>
                      <a:lnTo>
                        <a:pt x="327" y="174"/>
                      </a:lnTo>
                      <a:lnTo>
                        <a:pt x="326" y="174"/>
                      </a:lnTo>
                      <a:lnTo>
                        <a:pt x="325" y="172"/>
                      </a:lnTo>
                      <a:lnTo>
                        <a:pt x="323" y="175"/>
                      </a:lnTo>
                      <a:lnTo>
                        <a:pt x="322" y="177"/>
                      </a:lnTo>
                      <a:lnTo>
                        <a:pt x="320" y="179"/>
                      </a:lnTo>
                      <a:lnTo>
                        <a:pt x="320" y="180"/>
                      </a:lnTo>
                      <a:lnTo>
                        <a:pt x="322" y="185"/>
                      </a:lnTo>
                      <a:lnTo>
                        <a:pt x="324" y="186"/>
                      </a:lnTo>
                      <a:lnTo>
                        <a:pt x="324" y="188"/>
                      </a:lnTo>
                      <a:lnTo>
                        <a:pt x="327" y="191"/>
                      </a:lnTo>
                      <a:lnTo>
                        <a:pt x="329" y="194"/>
                      </a:lnTo>
                      <a:lnTo>
                        <a:pt x="330" y="194"/>
                      </a:lnTo>
                      <a:lnTo>
                        <a:pt x="331" y="192"/>
                      </a:lnTo>
                      <a:lnTo>
                        <a:pt x="330" y="190"/>
                      </a:lnTo>
                      <a:lnTo>
                        <a:pt x="331" y="188"/>
                      </a:lnTo>
                      <a:lnTo>
                        <a:pt x="331" y="186"/>
                      </a:lnTo>
                      <a:lnTo>
                        <a:pt x="332" y="185"/>
                      </a:lnTo>
                      <a:lnTo>
                        <a:pt x="331" y="183"/>
                      </a:lnTo>
                      <a:lnTo>
                        <a:pt x="332" y="182"/>
                      </a:lnTo>
                      <a:lnTo>
                        <a:pt x="334" y="183"/>
                      </a:lnTo>
                      <a:lnTo>
                        <a:pt x="337" y="183"/>
                      </a:lnTo>
                      <a:lnTo>
                        <a:pt x="338" y="185"/>
                      </a:lnTo>
                      <a:lnTo>
                        <a:pt x="338" y="187"/>
                      </a:lnTo>
                      <a:lnTo>
                        <a:pt x="339" y="192"/>
                      </a:lnTo>
                      <a:lnTo>
                        <a:pt x="339" y="196"/>
                      </a:lnTo>
                      <a:lnTo>
                        <a:pt x="341" y="198"/>
                      </a:lnTo>
                      <a:lnTo>
                        <a:pt x="341" y="205"/>
                      </a:lnTo>
                      <a:lnTo>
                        <a:pt x="342" y="210"/>
                      </a:lnTo>
                      <a:lnTo>
                        <a:pt x="343" y="212"/>
                      </a:lnTo>
                      <a:lnTo>
                        <a:pt x="344" y="213"/>
                      </a:lnTo>
                      <a:lnTo>
                        <a:pt x="344" y="215"/>
                      </a:lnTo>
                      <a:lnTo>
                        <a:pt x="345" y="217"/>
                      </a:lnTo>
                      <a:lnTo>
                        <a:pt x="345" y="217"/>
                      </a:lnTo>
                      <a:lnTo>
                        <a:pt x="345" y="215"/>
                      </a:lnTo>
                      <a:lnTo>
                        <a:pt x="346" y="212"/>
                      </a:lnTo>
                      <a:lnTo>
                        <a:pt x="347" y="213"/>
                      </a:lnTo>
                      <a:lnTo>
                        <a:pt x="348" y="212"/>
                      </a:lnTo>
                      <a:lnTo>
                        <a:pt x="350" y="206"/>
                      </a:lnTo>
                      <a:lnTo>
                        <a:pt x="350" y="203"/>
                      </a:lnTo>
                      <a:lnTo>
                        <a:pt x="350" y="199"/>
                      </a:lnTo>
                      <a:lnTo>
                        <a:pt x="350" y="194"/>
                      </a:lnTo>
                      <a:lnTo>
                        <a:pt x="352" y="194"/>
                      </a:lnTo>
                      <a:lnTo>
                        <a:pt x="353" y="188"/>
                      </a:lnTo>
                      <a:lnTo>
                        <a:pt x="353" y="184"/>
                      </a:lnTo>
                      <a:lnTo>
                        <a:pt x="351" y="175"/>
                      </a:lnTo>
                      <a:lnTo>
                        <a:pt x="354" y="175"/>
                      </a:lnTo>
                      <a:lnTo>
                        <a:pt x="357" y="177"/>
                      </a:lnTo>
                      <a:lnTo>
                        <a:pt x="360" y="176"/>
                      </a:lnTo>
                      <a:lnTo>
                        <a:pt x="362" y="170"/>
                      </a:lnTo>
                      <a:lnTo>
                        <a:pt x="364" y="163"/>
                      </a:lnTo>
                      <a:lnTo>
                        <a:pt x="367" y="154"/>
                      </a:lnTo>
                      <a:lnTo>
                        <a:pt x="364" y="152"/>
                      </a:lnTo>
                      <a:lnTo>
                        <a:pt x="363" y="150"/>
                      </a:lnTo>
                      <a:lnTo>
                        <a:pt x="368" y="142"/>
                      </a:lnTo>
                      <a:lnTo>
                        <a:pt x="369" y="135"/>
                      </a:lnTo>
                      <a:lnTo>
                        <a:pt x="368" y="133"/>
                      </a:lnTo>
                      <a:lnTo>
                        <a:pt x="369" y="129"/>
                      </a:lnTo>
                      <a:lnTo>
                        <a:pt x="373" y="120"/>
                      </a:lnTo>
                      <a:lnTo>
                        <a:pt x="376" y="119"/>
                      </a:lnTo>
                      <a:lnTo>
                        <a:pt x="380" y="113"/>
                      </a:lnTo>
                      <a:lnTo>
                        <a:pt x="381" y="110"/>
                      </a:lnTo>
                      <a:lnTo>
                        <a:pt x="386" y="108"/>
                      </a:lnTo>
                      <a:lnTo>
                        <a:pt x="390" y="105"/>
                      </a:lnTo>
                      <a:lnTo>
                        <a:pt x="392" y="107"/>
                      </a:lnTo>
                      <a:lnTo>
                        <a:pt x="395" y="108"/>
                      </a:lnTo>
                      <a:lnTo>
                        <a:pt x="394" y="106"/>
                      </a:lnTo>
                      <a:lnTo>
                        <a:pt x="394" y="101"/>
                      </a:lnTo>
                      <a:lnTo>
                        <a:pt x="397" y="98"/>
                      </a:lnTo>
                      <a:lnTo>
                        <a:pt x="396" y="96"/>
                      </a:lnTo>
                      <a:lnTo>
                        <a:pt x="396" y="95"/>
                      </a:lnTo>
                      <a:lnTo>
                        <a:pt x="394" y="92"/>
                      </a:lnTo>
                      <a:lnTo>
                        <a:pt x="391" y="90"/>
                      </a:lnTo>
                      <a:lnTo>
                        <a:pt x="390" y="92"/>
                      </a:lnTo>
                      <a:lnTo>
                        <a:pt x="386" y="91"/>
                      </a:lnTo>
                      <a:lnTo>
                        <a:pt x="386" y="88"/>
                      </a:lnTo>
                      <a:lnTo>
                        <a:pt x="388" y="85"/>
                      </a:lnTo>
                      <a:lnTo>
                        <a:pt x="388" y="82"/>
                      </a:lnTo>
                      <a:lnTo>
                        <a:pt x="386" y="79"/>
                      </a:lnTo>
                      <a:lnTo>
                        <a:pt x="385" y="77"/>
                      </a:lnTo>
                      <a:lnTo>
                        <a:pt x="383" y="78"/>
                      </a:lnTo>
                      <a:lnTo>
                        <a:pt x="382" y="78"/>
                      </a:lnTo>
                      <a:lnTo>
                        <a:pt x="380" y="75"/>
                      </a:lnTo>
                      <a:lnTo>
                        <a:pt x="383" y="71"/>
                      </a:lnTo>
                      <a:lnTo>
                        <a:pt x="382" y="69"/>
                      </a:lnTo>
                      <a:lnTo>
                        <a:pt x="380" y="70"/>
                      </a:lnTo>
                      <a:lnTo>
                        <a:pt x="379" y="67"/>
                      </a:lnTo>
                      <a:lnTo>
                        <a:pt x="376" y="66"/>
                      </a:lnTo>
                      <a:lnTo>
                        <a:pt x="370" y="71"/>
                      </a:lnTo>
                      <a:lnTo>
                        <a:pt x="371" y="74"/>
                      </a:lnTo>
                      <a:lnTo>
                        <a:pt x="369" y="75"/>
                      </a:lnTo>
                      <a:lnTo>
                        <a:pt x="364" y="73"/>
                      </a:lnTo>
                      <a:lnTo>
                        <a:pt x="360" y="75"/>
                      </a:lnTo>
                      <a:lnTo>
                        <a:pt x="358" y="70"/>
                      </a:lnTo>
                      <a:lnTo>
                        <a:pt x="355" y="73"/>
                      </a:lnTo>
                      <a:lnTo>
                        <a:pt x="352" y="73"/>
                      </a:lnTo>
                      <a:lnTo>
                        <a:pt x="352" y="77"/>
                      </a:lnTo>
                      <a:lnTo>
                        <a:pt x="349" y="82"/>
                      </a:lnTo>
                      <a:lnTo>
                        <a:pt x="344" y="83"/>
                      </a:lnTo>
                      <a:lnTo>
                        <a:pt x="341" y="84"/>
                      </a:lnTo>
                      <a:lnTo>
                        <a:pt x="338" y="87"/>
                      </a:lnTo>
                      <a:lnTo>
                        <a:pt x="338" y="91"/>
                      </a:lnTo>
                      <a:lnTo>
                        <a:pt x="334" y="92"/>
                      </a:lnTo>
                      <a:lnTo>
                        <a:pt x="334" y="94"/>
                      </a:lnTo>
                      <a:lnTo>
                        <a:pt x="333" y="93"/>
                      </a:lnTo>
                      <a:lnTo>
                        <a:pt x="331" y="95"/>
                      </a:lnTo>
                      <a:lnTo>
                        <a:pt x="329" y="99"/>
                      </a:lnTo>
                      <a:lnTo>
                        <a:pt x="327" y="99"/>
                      </a:lnTo>
                      <a:lnTo>
                        <a:pt x="321" y="101"/>
                      </a:lnTo>
                      <a:lnTo>
                        <a:pt x="320" y="101"/>
                      </a:lnTo>
                      <a:lnTo>
                        <a:pt x="319" y="105"/>
                      </a:lnTo>
                      <a:lnTo>
                        <a:pt x="319" y="109"/>
                      </a:lnTo>
                      <a:lnTo>
                        <a:pt x="324" y="111"/>
                      </a:lnTo>
                      <a:lnTo>
                        <a:pt x="324" y="116"/>
                      </a:lnTo>
                      <a:lnTo>
                        <a:pt x="324" y="118"/>
                      </a:lnTo>
                      <a:lnTo>
                        <a:pt x="318" y="120"/>
                      </a:lnTo>
                      <a:lnTo>
                        <a:pt x="314" y="120"/>
                      </a:lnTo>
                      <a:lnTo>
                        <a:pt x="309" y="122"/>
                      </a:lnTo>
                      <a:lnTo>
                        <a:pt x="306" y="120"/>
                      </a:lnTo>
                      <a:lnTo>
                        <a:pt x="303" y="121"/>
                      </a:lnTo>
                      <a:lnTo>
                        <a:pt x="300" y="125"/>
                      </a:lnTo>
                      <a:lnTo>
                        <a:pt x="296" y="125"/>
                      </a:lnTo>
                      <a:lnTo>
                        <a:pt x="289" y="120"/>
                      </a:lnTo>
                      <a:lnTo>
                        <a:pt x="287" y="122"/>
                      </a:lnTo>
                      <a:lnTo>
                        <a:pt x="282" y="120"/>
                      </a:lnTo>
                      <a:lnTo>
                        <a:pt x="280" y="115"/>
                      </a:lnTo>
                      <a:lnTo>
                        <a:pt x="281" y="113"/>
                      </a:lnTo>
                      <a:lnTo>
                        <a:pt x="281" y="109"/>
                      </a:lnTo>
                      <a:lnTo>
                        <a:pt x="281" y="109"/>
                      </a:lnTo>
                      <a:lnTo>
                        <a:pt x="279" y="106"/>
                      </a:lnTo>
                      <a:lnTo>
                        <a:pt x="278" y="102"/>
                      </a:lnTo>
                      <a:lnTo>
                        <a:pt x="276" y="99"/>
                      </a:lnTo>
                      <a:lnTo>
                        <a:pt x="273" y="99"/>
                      </a:lnTo>
                      <a:lnTo>
                        <a:pt x="271" y="102"/>
                      </a:lnTo>
                      <a:lnTo>
                        <a:pt x="270" y="102"/>
                      </a:lnTo>
                      <a:lnTo>
                        <a:pt x="271" y="105"/>
                      </a:lnTo>
                      <a:lnTo>
                        <a:pt x="270" y="113"/>
                      </a:lnTo>
                      <a:lnTo>
                        <a:pt x="272" y="120"/>
                      </a:lnTo>
                      <a:lnTo>
                        <a:pt x="272" y="128"/>
                      </a:lnTo>
                      <a:lnTo>
                        <a:pt x="263" y="130"/>
                      </a:lnTo>
                      <a:lnTo>
                        <a:pt x="258" y="127"/>
                      </a:lnTo>
                      <a:lnTo>
                        <a:pt x="255" y="128"/>
                      </a:lnTo>
                      <a:lnTo>
                        <a:pt x="242" y="123"/>
                      </a:lnTo>
                      <a:lnTo>
                        <a:pt x="237" y="123"/>
                      </a:lnTo>
                      <a:lnTo>
                        <a:pt x="234" y="125"/>
                      </a:lnTo>
                      <a:lnTo>
                        <a:pt x="227" y="123"/>
                      </a:lnTo>
                      <a:lnTo>
                        <a:pt x="223" y="119"/>
                      </a:lnTo>
                      <a:lnTo>
                        <a:pt x="223" y="114"/>
                      </a:lnTo>
                      <a:lnTo>
                        <a:pt x="216" y="113"/>
                      </a:lnTo>
                      <a:lnTo>
                        <a:pt x="209" y="115"/>
                      </a:lnTo>
                      <a:lnTo>
                        <a:pt x="206" y="112"/>
                      </a:lnTo>
                      <a:lnTo>
                        <a:pt x="199" y="113"/>
                      </a:lnTo>
                      <a:lnTo>
                        <a:pt x="194" y="109"/>
                      </a:lnTo>
                      <a:lnTo>
                        <a:pt x="190" y="109"/>
                      </a:lnTo>
                      <a:lnTo>
                        <a:pt x="188" y="107"/>
                      </a:lnTo>
                      <a:lnTo>
                        <a:pt x="182" y="106"/>
                      </a:lnTo>
                      <a:lnTo>
                        <a:pt x="178" y="99"/>
                      </a:lnTo>
                      <a:lnTo>
                        <a:pt x="171" y="94"/>
                      </a:lnTo>
                      <a:lnTo>
                        <a:pt x="167" y="92"/>
                      </a:lnTo>
                      <a:lnTo>
                        <a:pt x="164" y="90"/>
                      </a:lnTo>
                      <a:lnTo>
                        <a:pt x="161" y="90"/>
                      </a:lnTo>
                      <a:lnTo>
                        <a:pt x="159" y="88"/>
                      </a:lnTo>
                      <a:lnTo>
                        <a:pt x="156" y="87"/>
                      </a:lnTo>
                      <a:lnTo>
                        <a:pt x="155" y="83"/>
                      </a:lnTo>
                      <a:lnTo>
                        <a:pt x="158" y="77"/>
                      </a:lnTo>
                      <a:lnTo>
                        <a:pt x="158" y="72"/>
                      </a:lnTo>
                      <a:lnTo>
                        <a:pt x="161" y="62"/>
                      </a:lnTo>
                      <a:lnTo>
                        <a:pt x="161" y="57"/>
                      </a:lnTo>
                      <a:lnTo>
                        <a:pt x="160" y="57"/>
                      </a:lnTo>
                      <a:lnTo>
                        <a:pt x="159" y="54"/>
                      </a:lnTo>
                      <a:lnTo>
                        <a:pt x="157" y="54"/>
                      </a:lnTo>
                      <a:lnTo>
                        <a:pt x="155" y="50"/>
                      </a:lnTo>
                      <a:lnTo>
                        <a:pt x="153" y="49"/>
                      </a:lnTo>
                      <a:lnTo>
                        <a:pt x="150" y="45"/>
                      </a:lnTo>
                      <a:lnTo>
                        <a:pt x="147" y="44"/>
                      </a:lnTo>
                      <a:lnTo>
                        <a:pt x="145" y="43"/>
                      </a:lnTo>
                      <a:lnTo>
                        <a:pt x="142" y="43"/>
                      </a:lnTo>
                      <a:lnTo>
                        <a:pt x="140" y="46"/>
                      </a:lnTo>
                      <a:lnTo>
                        <a:pt x="137" y="44"/>
                      </a:lnTo>
                      <a:lnTo>
                        <a:pt x="137" y="41"/>
                      </a:lnTo>
                      <a:lnTo>
                        <a:pt x="135" y="40"/>
                      </a:lnTo>
                      <a:lnTo>
                        <a:pt x="135" y="37"/>
                      </a:lnTo>
                      <a:lnTo>
                        <a:pt x="133" y="34"/>
                      </a:lnTo>
                      <a:lnTo>
                        <a:pt x="132" y="33"/>
                      </a:lnTo>
                      <a:lnTo>
                        <a:pt x="133" y="31"/>
                      </a:lnTo>
                      <a:lnTo>
                        <a:pt x="131" y="28"/>
                      </a:lnTo>
                      <a:lnTo>
                        <a:pt x="132" y="21"/>
                      </a:lnTo>
                      <a:lnTo>
                        <a:pt x="128" y="19"/>
                      </a:lnTo>
                      <a:lnTo>
                        <a:pt x="128" y="16"/>
                      </a:lnTo>
                      <a:lnTo>
                        <a:pt x="127" y="14"/>
                      </a:lnTo>
                      <a:lnTo>
                        <a:pt x="127" y="14"/>
                      </a:lnTo>
                      <a:lnTo>
                        <a:pt x="121" y="9"/>
                      </a:lnTo>
                      <a:lnTo>
                        <a:pt x="118" y="10"/>
                      </a:lnTo>
                      <a:lnTo>
                        <a:pt x="116" y="6"/>
                      </a:lnTo>
                      <a:lnTo>
                        <a:pt x="113" y="3"/>
                      </a:lnTo>
                      <a:lnTo>
                        <a:pt x="109" y="6"/>
                      </a:lnTo>
                      <a:lnTo>
                        <a:pt x="101" y="0"/>
                      </a:lnTo>
                      <a:lnTo>
                        <a:pt x="98" y="0"/>
                      </a:lnTo>
                      <a:lnTo>
                        <a:pt x="96" y="4"/>
                      </a:lnTo>
                      <a:lnTo>
                        <a:pt x="92" y="4"/>
                      </a:lnTo>
                      <a:lnTo>
                        <a:pt x="88" y="9"/>
                      </a:lnTo>
                      <a:lnTo>
                        <a:pt x="84" y="17"/>
                      </a:lnTo>
                      <a:lnTo>
                        <a:pt x="83" y="18"/>
                      </a:lnTo>
                      <a:lnTo>
                        <a:pt x="81" y="22"/>
                      </a:lnTo>
                      <a:lnTo>
                        <a:pt x="78" y="22"/>
                      </a:lnTo>
                      <a:lnTo>
                        <a:pt x="76" y="23"/>
                      </a:lnTo>
                      <a:lnTo>
                        <a:pt x="73" y="25"/>
                      </a:lnTo>
                      <a:lnTo>
                        <a:pt x="69" y="30"/>
                      </a:lnTo>
                      <a:lnTo>
                        <a:pt x="70" y="31"/>
                      </a:lnTo>
                      <a:lnTo>
                        <a:pt x="71" y="37"/>
                      </a:lnTo>
                      <a:lnTo>
                        <a:pt x="71" y="46"/>
                      </a:lnTo>
                      <a:lnTo>
                        <a:pt x="70" y="50"/>
                      </a:lnTo>
                      <a:lnTo>
                        <a:pt x="68" y="52"/>
                      </a:lnTo>
                      <a:lnTo>
                        <a:pt x="64" y="58"/>
                      </a:lnTo>
                      <a:lnTo>
                        <a:pt x="65" y="59"/>
                      </a:lnTo>
                      <a:lnTo>
                        <a:pt x="65" y="62"/>
                      </a:lnTo>
                      <a:lnTo>
                        <a:pt x="64" y="67"/>
                      </a:lnTo>
                      <a:lnTo>
                        <a:pt x="60" y="69"/>
                      </a:lnTo>
                      <a:lnTo>
                        <a:pt x="57" y="75"/>
                      </a:lnTo>
                      <a:lnTo>
                        <a:pt x="56" y="80"/>
                      </a:lnTo>
                      <a:lnTo>
                        <a:pt x="54" y="84"/>
                      </a:lnTo>
                      <a:lnTo>
                        <a:pt x="47" y="89"/>
                      </a:lnTo>
                      <a:lnTo>
                        <a:pt x="45" y="99"/>
                      </a:lnTo>
                      <a:lnTo>
                        <a:pt x="40" y="106"/>
                      </a:lnTo>
                      <a:lnTo>
                        <a:pt x="33" y="106"/>
                      </a:lnTo>
                      <a:lnTo>
                        <a:pt x="28" y="109"/>
                      </a:lnTo>
                      <a:lnTo>
                        <a:pt x="26" y="109"/>
                      </a:lnTo>
                      <a:lnTo>
                        <a:pt x="25" y="106"/>
                      </a:lnTo>
                      <a:lnTo>
                        <a:pt x="22" y="103"/>
                      </a:lnTo>
                      <a:lnTo>
                        <a:pt x="20" y="106"/>
                      </a:lnTo>
                      <a:lnTo>
                        <a:pt x="17" y="107"/>
                      </a:lnTo>
                      <a:lnTo>
                        <a:pt x="17" y="110"/>
                      </a:lnTo>
                      <a:lnTo>
                        <a:pt x="13" y="116"/>
                      </a:lnTo>
                      <a:lnTo>
                        <a:pt x="11" y="117"/>
                      </a:lnTo>
                      <a:lnTo>
                        <a:pt x="9" y="124"/>
                      </a:lnTo>
                      <a:lnTo>
                        <a:pt x="9" y="128"/>
                      </a:lnTo>
                      <a:lnTo>
                        <a:pt x="11" y="128"/>
                      </a:lnTo>
                      <a:lnTo>
                        <a:pt x="14" y="130"/>
                      </a:lnTo>
                      <a:lnTo>
                        <a:pt x="16" y="128"/>
                      </a:lnTo>
                      <a:lnTo>
                        <a:pt x="19" y="129"/>
                      </a:lnTo>
                      <a:lnTo>
                        <a:pt x="20" y="134"/>
                      </a:lnTo>
                      <a:lnTo>
                        <a:pt x="20" y="138"/>
                      </a:lnTo>
                      <a:lnTo>
                        <a:pt x="21" y="144"/>
                      </a:lnTo>
                      <a:lnTo>
                        <a:pt x="26" y="148"/>
                      </a:lnTo>
                      <a:lnTo>
                        <a:pt x="28" y="148"/>
                      </a:lnTo>
                      <a:lnTo>
                        <a:pt x="30" y="150"/>
                      </a:lnTo>
                      <a:lnTo>
                        <a:pt x="29" y="152"/>
                      </a:lnTo>
                      <a:lnTo>
                        <a:pt x="33" y="156"/>
                      </a:lnTo>
                      <a:lnTo>
                        <a:pt x="36" y="167"/>
                      </a:lnTo>
                      <a:lnTo>
                        <a:pt x="35" y="169"/>
                      </a:lnTo>
                      <a:lnTo>
                        <a:pt x="36" y="171"/>
                      </a:lnTo>
                      <a:lnTo>
                        <a:pt x="33" y="172"/>
                      </a:lnTo>
                      <a:lnTo>
                        <a:pt x="30" y="175"/>
                      </a:lnTo>
                      <a:lnTo>
                        <a:pt x="29" y="172"/>
                      </a:lnTo>
                      <a:lnTo>
                        <a:pt x="30" y="170"/>
                      </a:lnTo>
                      <a:lnTo>
                        <a:pt x="27" y="172"/>
                      </a:lnTo>
                      <a:lnTo>
                        <a:pt x="26" y="173"/>
                      </a:lnTo>
                      <a:lnTo>
                        <a:pt x="20" y="175"/>
                      </a:lnTo>
                      <a:lnTo>
                        <a:pt x="10" y="175"/>
                      </a:lnTo>
                      <a:lnTo>
                        <a:pt x="8" y="176"/>
                      </a:lnTo>
                      <a:lnTo>
                        <a:pt x="6" y="175"/>
                      </a:lnTo>
                      <a:lnTo>
                        <a:pt x="5" y="180"/>
                      </a:lnTo>
                      <a:lnTo>
                        <a:pt x="3" y="180"/>
                      </a:lnTo>
                      <a:lnTo>
                        <a:pt x="0" y="182"/>
                      </a:lnTo>
                      <a:lnTo>
                        <a:pt x="0" y="187"/>
                      </a:lnTo>
                      <a:lnTo>
                        <a:pt x="4" y="184"/>
                      </a:lnTo>
                      <a:lnTo>
                        <a:pt x="8" y="183"/>
                      </a:lnTo>
                      <a:lnTo>
                        <a:pt x="5" y="185"/>
                      </a:lnTo>
                      <a:lnTo>
                        <a:pt x="2" y="189"/>
                      </a:lnTo>
                      <a:lnTo>
                        <a:pt x="2" y="193"/>
                      </a:lnTo>
                      <a:lnTo>
                        <a:pt x="3" y="194"/>
                      </a:lnTo>
                      <a:lnTo>
                        <a:pt x="8" y="199"/>
                      </a:lnTo>
                      <a:lnTo>
                        <a:pt x="17" y="203"/>
                      </a:lnTo>
                      <a:lnTo>
                        <a:pt x="19" y="203"/>
                      </a:lnTo>
                      <a:lnTo>
                        <a:pt x="23" y="203"/>
                      </a:lnTo>
                      <a:lnTo>
                        <a:pt x="29" y="199"/>
                      </a:lnTo>
                      <a:lnTo>
                        <a:pt x="29" y="198"/>
                      </a:lnTo>
                      <a:lnTo>
                        <a:pt x="29" y="197"/>
                      </a:lnTo>
                      <a:lnTo>
                        <a:pt x="29" y="197"/>
                      </a:lnTo>
                      <a:lnTo>
                        <a:pt x="33" y="198"/>
                      </a:lnTo>
                      <a:lnTo>
                        <a:pt x="31" y="201"/>
                      </a:lnTo>
                      <a:lnTo>
                        <a:pt x="30" y="201"/>
                      </a:lnTo>
                      <a:lnTo>
                        <a:pt x="28" y="206"/>
                      </a:lnTo>
                      <a:lnTo>
                        <a:pt x="26" y="206"/>
                      </a:lnTo>
                      <a:lnTo>
                        <a:pt x="20" y="211"/>
                      </a:lnTo>
                      <a:lnTo>
                        <a:pt x="20" y="213"/>
                      </a:lnTo>
                      <a:lnTo>
                        <a:pt x="19" y="211"/>
                      </a:lnTo>
                      <a:lnTo>
                        <a:pt x="17" y="212"/>
                      </a:lnTo>
                      <a:lnTo>
                        <a:pt x="16" y="213"/>
                      </a:lnTo>
                      <a:lnTo>
                        <a:pt x="13" y="213"/>
                      </a:lnTo>
                      <a:lnTo>
                        <a:pt x="13" y="209"/>
                      </a:lnTo>
                      <a:lnTo>
                        <a:pt x="12" y="210"/>
                      </a:lnTo>
                      <a:lnTo>
                        <a:pt x="12" y="209"/>
                      </a:lnTo>
                      <a:lnTo>
                        <a:pt x="9" y="209"/>
                      </a:lnTo>
                      <a:lnTo>
                        <a:pt x="9" y="211"/>
                      </a:lnTo>
                      <a:lnTo>
                        <a:pt x="9" y="213"/>
                      </a:lnTo>
                      <a:lnTo>
                        <a:pt x="16" y="220"/>
                      </a:lnTo>
                      <a:lnTo>
                        <a:pt x="18" y="222"/>
                      </a:lnTo>
                      <a:lnTo>
                        <a:pt x="19" y="222"/>
                      </a:lnTo>
                      <a:lnTo>
                        <a:pt x="19" y="223"/>
                      </a:lnTo>
                      <a:lnTo>
                        <a:pt x="23" y="230"/>
                      </a:lnTo>
                      <a:lnTo>
                        <a:pt x="34" y="241"/>
                      </a:lnTo>
                      <a:lnTo>
                        <a:pt x="40" y="242"/>
                      </a:lnTo>
                      <a:lnTo>
                        <a:pt x="43" y="241"/>
                      </a:lnTo>
                      <a:lnTo>
                        <a:pt x="50" y="235"/>
                      </a:lnTo>
                      <a:lnTo>
                        <a:pt x="55" y="232"/>
                      </a:lnTo>
                      <a:lnTo>
                        <a:pt x="55" y="230"/>
                      </a:lnTo>
                      <a:lnTo>
                        <a:pt x="57" y="227"/>
                      </a:lnTo>
                      <a:lnTo>
                        <a:pt x="58" y="221"/>
                      </a:lnTo>
                      <a:lnTo>
                        <a:pt x="56" y="218"/>
                      </a:lnTo>
                      <a:lnTo>
                        <a:pt x="57" y="212"/>
                      </a:lnTo>
                      <a:lnTo>
                        <a:pt x="58" y="208"/>
                      </a:lnTo>
                      <a:lnTo>
                        <a:pt x="58" y="206"/>
                      </a:lnTo>
                      <a:lnTo>
                        <a:pt x="60" y="209"/>
                      </a:lnTo>
                      <a:lnTo>
                        <a:pt x="63" y="209"/>
                      </a:lnTo>
                      <a:lnTo>
                        <a:pt x="64" y="210"/>
                      </a:lnTo>
                      <a:lnTo>
                        <a:pt x="67" y="207"/>
                      </a:lnTo>
                      <a:lnTo>
                        <a:pt x="66" y="210"/>
                      </a:lnTo>
                      <a:lnTo>
                        <a:pt x="64" y="213"/>
                      </a:lnTo>
                      <a:lnTo>
                        <a:pt x="61" y="212"/>
                      </a:lnTo>
                      <a:lnTo>
                        <a:pt x="61" y="213"/>
                      </a:lnTo>
                      <a:lnTo>
                        <a:pt x="61" y="216"/>
                      </a:lnTo>
                      <a:lnTo>
                        <a:pt x="62" y="219"/>
                      </a:lnTo>
                      <a:lnTo>
                        <a:pt x="61" y="222"/>
                      </a:lnTo>
                      <a:lnTo>
                        <a:pt x="63" y="222"/>
                      </a:lnTo>
                      <a:lnTo>
                        <a:pt x="67" y="222"/>
                      </a:lnTo>
                      <a:lnTo>
                        <a:pt x="69" y="222"/>
                      </a:lnTo>
                      <a:lnTo>
                        <a:pt x="67" y="222"/>
                      </a:lnTo>
                      <a:lnTo>
                        <a:pt x="66" y="224"/>
                      </a:lnTo>
                      <a:lnTo>
                        <a:pt x="63" y="227"/>
                      </a:lnTo>
                      <a:lnTo>
                        <a:pt x="64" y="234"/>
                      </a:lnTo>
                      <a:lnTo>
                        <a:pt x="65" y="236"/>
                      </a:lnTo>
                      <a:lnTo>
                        <a:pt x="67" y="241"/>
                      </a:lnTo>
                      <a:lnTo>
                        <a:pt x="67" y="245"/>
                      </a:lnTo>
                      <a:lnTo>
                        <a:pt x="65" y="249"/>
                      </a:lnTo>
                      <a:lnTo>
                        <a:pt x="66" y="252"/>
                      </a:lnTo>
                      <a:lnTo>
                        <a:pt x="68" y="254"/>
                      </a:lnTo>
                      <a:lnTo>
                        <a:pt x="65" y="255"/>
                      </a:lnTo>
                      <a:lnTo>
                        <a:pt x="66" y="261"/>
                      </a:lnTo>
                      <a:lnTo>
                        <a:pt x="71" y="270"/>
                      </a:lnTo>
                      <a:lnTo>
                        <a:pt x="71" y="273"/>
                      </a:lnTo>
                      <a:lnTo>
                        <a:pt x="72" y="276"/>
                      </a:lnTo>
                      <a:lnTo>
                        <a:pt x="70" y="276"/>
                      </a:lnTo>
                      <a:lnTo>
                        <a:pt x="70" y="280"/>
                      </a:lnTo>
                      <a:lnTo>
                        <a:pt x="74" y="286"/>
                      </a:lnTo>
                      <a:lnTo>
                        <a:pt x="71" y="287"/>
                      </a:lnTo>
                      <a:lnTo>
                        <a:pt x="74" y="292"/>
                      </a:lnTo>
                      <a:lnTo>
                        <a:pt x="74" y="296"/>
                      </a:lnTo>
                      <a:lnTo>
                        <a:pt x="80" y="310"/>
                      </a:lnTo>
                      <a:lnTo>
                        <a:pt x="80" y="320"/>
                      </a:lnTo>
                      <a:lnTo>
                        <a:pt x="82" y="327"/>
                      </a:lnTo>
                      <a:lnTo>
                        <a:pt x="85" y="329"/>
                      </a:lnTo>
                      <a:lnTo>
                        <a:pt x="85" y="334"/>
                      </a:lnTo>
                      <a:lnTo>
                        <a:pt x="87" y="335"/>
                      </a:lnTo>
                      <a:lnTo>
                        <a:pt x="88" y="337"/>
                      </a:lnTo>
                      <a:lnTo>
                        <a:pt x="91" y="344"/>
                      </a:lnTo>
                      <a:lnTo>
                        <a:pt x="92" y="344"/>
                      </a:lnTo>
                      <a:lnTo>
                        <a:pt x="92" y="347"/>
                      </a:lnTo>
                      <a:lnTo>
                        <a:pt x="95" y="351"/>
                      </a:lnTo>
                      <a:lnTo>
                        <a:pt x="96" y="352"/>
                      </a:lnTo>
                      <a:lnTo>
                        <a:pt x="96" y="358"/>
                      </a:lnTo>
                      <a:lnTo>
                        <a:pt x="98" y="361"/>
                      </a:lnTo>
                      <a:lnTo>
                        <a:pt x="99" y="365"/>
                      </a:lnTo>
                      <a:lnTo>
                        <a:pt x="100" y="370"/>
                      </a:lnTo>
                      <a:lnTo>
                        <a:pt x="102" y="378"/>
                      </a:lnTo>
                      <a:lnTo>
                        <a:pt x="104" y="380"/>
                      </a:lnTo>
                      <a:lnTo>
                        <a:pt x="105" y="387"/>
                      </a:lnTo>
                      <a:lnTo>
                        <a:pt x="106" y="389"/>
                      </a:lnTo>
                      <a:lnTo>
                        <a:pt x="108" y="393"/>
                      </a:lnTo>
                      <a:lnTo>
                        <a:pt x="112" y="398"/>
                      </a:lnTo>
                      <a:lnTo>
                        <a:pt x="113" y="398"/>
                      </a:lnTo>
                      <a:lnTo>
                        <a:pt x="115" y="403"/>
                      </a:lnTo>
                      <a:lnTo>
                        <a:pt x="119" y="409"/>
                      </a:lnTo>
                      <a:lnTo>
                        <a:pt x="120" y="414"/>
                      </a:lnTo>
                      <a:lnTo>
                        <a:pt x="122" y="419"/>
                      </a:lnTo>
                      <a:lnTo>
                        <a:pt x="123" y="420"/>
                      </a:lnTo>
                      <a:lnTo>
                        <a:pt x="123" y="423"/>
                      </a:lnTo>
                      <a:lnTo>
                        <a:pt x="126" y="430"/>
                      </a:lnTo>
                      <a:lnTo>
                        <a:pt x="128" y="436"/>
                      </a:lnTo>
                      <a:lnTo>
                        <a:pt x="128" y="443"/>
                      </a:lnTo>
                      <a:lnTo>
                        <a:pt x="133" y="456"/>
                      </a:lnTo>
                      <a:lnTo>
                        <a:pt x="137" y="462"/>
                      </a:lnTo>
                      <a:lnTo>
                        <a:pt x="141" y="465"/>
                      </a:lnTo>
                      <a:lnTo>
                        <a:pt x="146" y="465"/>
                      </a:lnTo>
                      <a:lnTo>
                        <a:pt x="151" y="462"/>
                      </a:lnTo>
                      <a:lnTo>
                        <a:pt x="153" y="457"/>
                      </a:lnTo>
                      <a:lnTo>
                        <a:pt x="152" y="456"/>
                      </a:lnTo>
                      <a:lnTo>
                        <a:pt x="153" y="455"/>
                      </a:lnTo>
                      <a:lnTo>
                        <a:pt x="153" y="453"/>
                      </a:lnTo>
                      <a:lnTo>
                        <a:pt x="154" y="450"/>
                      </a:lnTo>
                      <a:lnTo>
                        <a:pt x="160" y="448"/>
                      </a:lnTo>
                      <a:lnTo>
                        <a:pt x="161" y="448"/>
                      </a:lnTo>
                      <a:lnTo>
                        <a:pt x="167" y="445"/>
                      </a:lnTo>
                      <a:lnTo>
                        <a:pt x="169" y="446"/>
                      </a:lnTo>
                      <a:lnTo>
                        <a:pt x="169" y="448"/>
                      </a:lnTo>
                      <a:lnTo>
                        <a:pt x="169" y="447"/>
                      </a:lnTo>
                      <a:lnTo>
                        <a:pt x="169" y="445"/>
                      </a:lnTo>
                      <a:lnTo>
                        <a:pt x="164" y="443"/>
                      </a:lnTo>
                      <a:lnTo>
                        <a:pt x="164" y="441"/>
                      </a:lnTo>
                      <a:lnTo>
                        <a:pt x="165" y="438"/>
                      </a:lnTo>
                      <a:lnTo>
                        <a:pt x="169" y="433"/>
                      </a:lnTo>
                      <a:lnTo>
                        <a:pt x="168" y="431"/>
                      </a:lnTo>
                      <a:lnTo>
                        <a:pt x="170" y="428"/>
                      </a:lnTo>
                      <a:lnTo>
                        <a:pt x="173" y="427"/>
                      </a:lnTo>
                      <a:lnTo>
                        <a:pt x="175" y="428"/>
                      </a:lnTo>
                      <a:lnTo>
                        <a:pt x="178" y="427"/>
                      </a:lnTo>
                      <a:lnTo>
                        <a:pt x="178" y="423"/>
                      </a:lnTo>
                      <a:lnTo>
                        <a:pt x="176" y="409"/>
                      </a:lnTo>
                      <a:lnTo>
                        <a:pt x="175" y="406"/>
                      </a:lnTo>
                      <a:lnTo>
                        <a:pt x="175" y="399"/>
                      </a:lnTo>
                      <a:lnTo>
                        <a:pt x="178" y="392"/>
                      </a:lnTo>
                      <a:lnTo>
                        <a:pt x="182" y="381"/>
                      </a:lnTo>
                      <a:lnTo>
                        <a:pt x="182" y="372"/>
                      </a:lnTo>
                      <a:lnTo>
                        <a:pt x="178" y="371"/>
                      </a:lnTo>
                      <a:lnTo>
                        <a:pt x="178" y="358"/>
                      </a:lnTo>
                      <a:lnTo>
                        <a:pt x="178" y="354"/>
                      </a:lnTo>
                      <a:lnTo>
                        <a:pt x="180" y="351"/>
                      </a:lnTo>
                      <a:lnTo>
                        <a:pt x="178" y="342"/>
                      </a:lnTo>
                      <a:lnTo>
                        <a:pt x="177" y="336"/>
                      </a:lnTo>
                      <a:lnTo>
                        <a:pt x="178" y="333"/>
                      </a:lnTo>
                      <a:lnTo>
                        <a:pt x="183" y="327"/>
                      </a:lnTo>
                      <a:lnTo>
                        <a:pt x="185" y="327"/>
                      </a:lnTo>
                      <a:lnTo>
                        <a:pt x="186" y="330"/>
                      </a:lnTo>
                      <a:lnTo>
                        <a:pt x="188" y="330"/>
                      </a:lnTo>
                      <a:lnTo>
                        <a:pt x="192" y="324"/>
                      </a:lnTo>
                      <a:lnTo>
                        <a:pt x="192" y="320"/>
                      </a:lnTo>
                      <a:lnTo>
                        <a:pt x="195" y="318"/>
                      </a:lnTo>
                      <a:lnTo>
                        <a:pt x="201" y="319"/>
                      </a:lnTo>
                      <a:lnTo>
                        <a:pt x="204" y="317"/>
                      </a:lnTo>
                      <a:lnTo>
                        <a:pt x="206" y="312"/>
                      </a:lnTo>
                      <a:lnTo>
                        <a:pt x="206" y="308"/>
                      </a:lnTo>
                      <a:lnTo>
                        <a:pt x="206" y="305"/>
                      </a:lnTo>
                      <a:lnTo>
                        <a:pt x="210" y="301"/>
                      </a:lnTo>
                      <a:lnTo>
                        <a:pt x="216" y="299"/>
                      </a:lnTo>
                      <a:lnTo>
                        <a:pt x="219" y="295"/>
                      </a:lnTo>
                      <a:lnTo>
                        <a:pt x="220" y="291"/>
                      </a:lnTo>
                      <a:lnTo>
                        <a:pt x="234" y="279"/>
                      </a:lnTo>
                      <a:lnTo>
                        <a:pt x="236" y="270"/>
                      </a:lnTo>
                      <a:lnTo>
                        <a:pt x="245" y="260"/>
                      </a:lnTo>
                      <a:lnTo>
                        <a:pt x="244" y="259"/>
                      </a:lnTo>
                      <a:lnTo>
                        <a:pt x="244" y="261"/>
                      </a:lnTo>
                      <a:lnTo>
                        <a:pt x="241" y="261"/>
                      </a:lnTo>
                      <a:lnTo>
                        <a:pt x="242" y="257"/>
                      </a:lnTo>
                      <a:lnTo>
                        <a:pt x="243" y="257"/>
                      </a:lnTo>
                      <a:lnTo>
                        <a:pt x="246" y="255"/>
                      </a:lnTo>
                      <a:lnTo>
                        <a:pt x="247" y="255"/>
                      </a:lnTo>
                      <a:lnTo>
                        <a:pt x="248" y="255"/>
                      </a:lnTo>
                      <a:lnTo>
                        <a:pt x="248" y="257"/>
                      </a:lnTo>
                      <a:lnTo>
                        <a:pt x="248" y="258"/>
                      </a:lnTo>
                      <a:lnTo>
                        <a:pt x="256" y="254"/>
                      </a:lnTo>
                      <a:lnTo>
                        <a:pt x="256" y="251"/>
                      </a:lnTo>
                      <a:lnTo>
                        <a:pt x="261" y="247"/>
                      </a:lnTo>
                      <a:lnTo>
                        <a:pt x="261" y="245"/>
                      </a:lnTo>
                      <a:lnTo>
                        <a:pt x="262" y="244"/>
                      </a:lnTo>
                      <a:lnTo>
                        <a:pt x="263" y="242"/>
                      </a:lnTo>
                      <a:lnTo>
                        <a:pt x="266" y="238"/>
                      </a:lnTo>
                      <a:lnTo>
                        <a:pt x="265" y="238"/>
                      </a:lnTo>
                      <a:lnTo>
                        <a:pt x="265" y="237"/>
                      </a:lnTo>
                      <a:lnTo>
                        <a:pt x="264" y="234"/>
                      </a:lnTo>
                      <a:lnTo>
                        <a:pt x="263" y="231"/>
                      </a:lnTo>
                      <a:lnTo>
                        <a:pt x="265" y="228"/>
                      </a:lnTo>
                      <a:lnTo>
                        <a:pt x="265" y="225"/>
                      </a:lnTo>
                      <a:lnTo>
                        <a:pt x="267" y="223"/>
                      </a:lnTo>
                      <a:lnTo>
                        <a:pt x="275" y="220"/>
                      </a:lnTo>
                      <a:lnTo>
                        <a:pt x="278" y="217"/>
                      </a:lnTo>
                      <a:lnTo>
                        <a:pt x="278" y="215"/>
                      </a:lnTo>
                      <a:lnTo>
                        <a:pt x="279" y="213"/>
                      </a:lnTo>
                      <a:lnTo>
                        <a:pt x="279" y="211"/>
                      </a:lnTo>
                      <a:lnTo>
                        <a:pt x="279" y="210"/>
                      </a:lnTo>
                      <a:lnTo>
                        <a:pt x="277" y="210"/>
                      </a:lnTo>
                      <a:lnTo>
                        <a:pt x="277" y="208"/>
                      </a:lnTo>
                      <a:lnTo>
                        <a:pt x="279" y="208"/>
                      </a:lnTo>
                      <a:lnTo>
                        <a:pt x="281" y="210"/>
                      </a:lnTo>
                      <a:lnTo>
                        <a:pt x="281" y="213"/>
                      </a:lnTo>
                      <a:lnTo>
                        <a:pt x="282" y="217"/>
                      </a:lnTo>
                      <a:lnTo>
                        <a:pt x="284" y="218"/>
                      </a:lnTo>
                      <a:lnTo>
                        <a:pt x="284" y="218"/>
                      </a:lnTo>
                      <a:lnTo>
                        <a:pt x="286" y="218"/>
                      </a:lnTo>
                      <a:lnTo>
                        <a:pt x="287" y="217"/>
                      </a:lnTo>
                      <a:lnTo>
                        <a:pt x="287" y="217"/>
                      </a:lnTo>
                      <a:lnTo>
                        <a:pt x="288" y="216"/>
                      </a:lnTo>
                      <a:lnTo>
                        <a:pt x="288" y="214"/>
                      </a:lnTo>
                      <a:lnTo>
                        <a:pt x="289" y="216"/>
                      </a:lnTo>
                      <a:lnTo>
                        <a:pt x="289" y="220"/>
                      </a:lnTo>
                      <a:lnTo>
                        <a:pt x="291" y="221"/>
                      </a:lnTo>
                      <a:lnTo>
                        <a:pt x="291" y="219"/>
                      </a:lnTo>
                      <a:lnTo>
                        <a:pt x="293" y="222"/>
                      </a:lnTo>
                      <a:lnTo>
                        <a:pt x="295" y="219"/>
                      </a:lnTo>
                      <a:lnTo>
                        <a:pt x="293" y="215"/>
                      </a:lnTo>
                      <a:lnTo>
                        <a:pt x="294" y="215"/>
                      </a:lnTo>
                      <a:lnTo>
                        <a:pt x="293" y="210"/>
                      </a:lnTo>
                      <a:lnTo>
                        <a:pt x="293" y="20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44" name="Freeform 545">
                  <a:extLst>
                    <a:ext uri="{FF2B5EF4-FFF2-40B4-BE49-F238E27FC236}">
                      <a16:creationId xmlns:a16="http://schemas.microsoft.com/office/drawing/2014/main" id="{742AB89D-6946-4EC4-B7E9-B4FE49D270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50" y="2421"/>
                  <a:ext cx="1" cy="3"/>
                </a:xfrm>
                <a:custGeom>
                  <a:avLst/>
                  <a:gdLst>
                    <a:gd name="T0" fmla="*/ 0 w 1"/>
                    <a:gd name="T1" fmla="*/ 3 h 3"/>
                    <a:gd name="T2" fmla="*/ 1 w 1"/>
                    <a:gd name="T3" fmla="*/ 2 h 3"/>
                    <a:gd name="T4" fmla="*/ 0 w 1"/>
                    <a:gd name="T5" fmla="*/ 0 h 3"/>
                    <a:gd name="T6" fmla="*/ 0 w 1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3">
                      <a:moveTo>
                        <a:pt x="0" y="3"/>
                      </a:move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45" name="Freeform 546">
                  <a:extLst>
                    <a:ext uri="{FF2B5EF4-FFF2-40B4-BE49-F238E27FC236}">
                      <a16:creationId xmlns:a16="http://schemas.microsoft.com/office/drawing/2014/main" id="{9EE2DE2C-90BA-4B52-A3CC-4F23685ACB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44" y="2421"/>
                  <a:ext cx="2" cy="4"/>
                </a:xfrm>
                <a:custGeom>
                  <a:avLst/>
                  <a:gdLst>
                    <a:gd name="T0" fmla="*/ 0 w 2"/>
                    <a:gd name="T1" fmla="*/ 0 h 4"/>
                    <a:gd name="T2" fmla="*/ 0 w 2"/>
                    <a:gd name="T3" fmla="*/ 3 h 4"/>
                    <a:gd name="T4" fmla="*/ 2 w 2"/>
                    <a:gd name="T5" fmla="*/ 4 h 4"/>
                    <a:gd name="T6" fmla="*/ 2 w 2"/>
                    <a:gd name="T7" fmla="*/ 1 h 4"/>
                    <a:gd name="T8" fmla="*/ 0 w 2"/>
                    <a:gd name="T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4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2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46" name="Freeform 547">
                  <a:extLst>
                    <a:ext uri="{FF2B5EF4-FFF2-40B4-BE49-F238E27FC236}">
                      <a16:creationId xmlns:a16="http://schemas.microsoft.com/office/drawing/2014/main" id="{0E16A1EC-1B00-4AE2-86B3-0B2DCB1D76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47" y="2420"/>
                  <a:ext cx="1" cy="4"/>
                </a:xfrm>
                <a:custGeom>
                  <a:avLst/>
                  <a:gdLst>
                    <a:gd name="T0" fmla="*/ 0 w 1"/>
                    <a:gd name="T1" fmla="*/ 1 h 4"/>
                    <a:gd name="T2" fmla="*/ 0 w 1"/>
                    <a:gd name="T3" fmla="*/ 3 h 4"/>
                    <a:gd name="T4" fmla="*/ 1 w 1"/>
                    <a:gd name="T5" fmla="*/ 4 h 4"/>
                    <a:gd name="T6" fmla="*/ 1 w 1"/>
                    <a:gd name="T7" fmla="*/ 1 h 4"/>
                    <a:gd name="T8" fmla="*/ 1 w 1"/>
                    <a:gd name="T9" fmla="*/ 0 h 4"/>
                    <a:gd name="T10" fmla="*/ 0 w 1"/>
                    <a:gd name="T11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4">
                      <a:moveTo>
                        <a:pt x="0" y="1"/>
                      </a:move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47" name="Freeform 548">
                  <a:extLst>
                    <a:ext uri="{FF2B5EF4-FFF2-40B4-BE49-F238E27FC236}">
                      <a16:creationId xmlns:a16="http://schemas.microsoft.com/office/drawing/2014/main" id="{643A404D-C8CB-4650-8235-282832EBD8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41" y="2417"/>
                  <a:ext cx="2" cy="7"/>
                </a:xfrm>
                <a:custGeom>
                  <a:avLst/>
                  <a:gdLst>
                    <a:gd name="T0" fmla="*/ 0 w 2"/>
                    <a:gd name="T1" fmla="*/ 4 h 7"/>
                    <a:gd name="T2" fmla="*/ 0 w 2"/>
                    <a:gd name="T3" fmla="*/ 7 h 7"/>
                    <a:gd name="T4" fmla="*/ 0 w 2"/>
                    <a:gd name="T5" fmla="*/ 6 h 7"/>
                    <a:gd name="T6" fmla="*/ 2 w 2"/>
                    <a:gd name="T7" fmla="*/ 2 h 7"/>
                    <a:gd name="T8" fmla="*/ 1 w 2"/>
                    <a:gd name="T9" fmla="*/ 0 h 7"/>
                    <a:gd name="T10" fmla="*/ 0 w 2"/>
                    <a:gd name="T11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7">
                      <a:moveTo>
                        <a:pt x="0" y="4"/>
                      </a:moveTo>
                      <a:lnTo>
                        <a:pt x="0" y="7"/>
                      </a:ln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1" y="0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48" name="Freeform 549">
                  <a:extLst>
                    <a:ext uri="{FF2B5EF4-FFF2-40B4-BE49-F238E27FC236}">
                      <a16:creationId xmlns:a16="http://schemas.microsoft.com/office/drawing/2014/main" id="{ABCB7BA3-1FAE-46C4-9849-02AEDE4FDE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35" y="2324"/>
                  <a:ext cx="72" cy="114"/>
                </a:xfrm>
                <a:custGeom>
                  <a:avLst/>
                  <a:gdLst>
                    <a:gd name="T0" fmla="*/ 71 w 72"/>
                    <a:gd name="T1" fmla="*/ 102 h 114"/>
                    <a:gd name="T2" fmla="*/ 72 w 72"/>
                    <a:gd name="T3" fmla="*/ 94 h 114"/>
                    <a:gd name="T4" fmla="*/ 70 w 72"/>
                    <a:gd name="T5" fmla="*/ 89 h 114"/>
                    <a:gd name="T6" fmla="*/ 68 w 72"/>
                    <a:gd name="T7" fmla="*/ 75 h 114"/>
                    <a:gd name="T8" fmla="*/ 65 w 72"/>
                    <a:gd name="T9" fmla="*/ 64 h 114"/>
                    <a:gd name="T10" fmla="*/ 61 w 72"/>
                    <a:gd name="T11" fmla="*/ 60 h 114"/>
                    <a:gd name="T12" fmla="*/ 59 w 72"/>
                    <a:gd name="T13" fmla="*/ 62 h 114"/>
                    <a:gd name="T14" fmla="*/ 57 w 72"/>
                    <a:gd name="T15" fmla="*/ 67 h 114"/>
                    <a:gd name="T16" fmla="*/ 56 w 72"/>
                    <a:gd name="T17" fmla="*/ 71 h 114"/>
                    <a:gd name="T18" fmla="*/ 51 w 72"/>
                    <a:gd name="T19" fmla="*/ 63 h 114"/>
                    <a:gd name="T20" fmla="*/ 47 w 72"/>
                    <a:gd name="T21" fmla="*/ 56 h 114"/>
                    <a:gd name="T22" fmla="*/ 52 w 72"/>
                    <a:gd name="T23" fmla="*/ 49 h 114"/>
                    <a:gd name="T24" fmla="*/ 56 w 72"/>
                    <a:gd name="T25" fmla="*/ 49 h 114"/>
                    <a:gd name="T26" fmla="*/ 59 w 72"/>
                    <a:gd name="T27" fmla="*/ 41 h 114"/>
                    <a:gd name="T28" fmla="*/ 60 w 72"/>
                    <a:gd name="T29" fmla="*/ 32 h 114"/>
                    <a:gd name="T30" fmla="*/ 55 w 72"/>
                    <a:gd name="T31" fmla="*/ 28 h 114"/>
                    <a:gd name="T32" fmla="*/ 44 w 72"/>
                    <a:gd name="T33" fmla="*/ 28 h 114"/>
                    <a:gd name="T34" fmla="*/ 31 w 72"/>
                    <a:gd name="T35" fmla="*/ 28 h 114"/>
                    <a:gd name="T36" fmla="*/ 26 w 72"/>
                    <a:gd name="T37" fmla="*/ 24 h 114"/>
                    <a:gd name="T38" fmla="*/ 24 w 72"/>
                    <a:gd name="T39" fmla="*/ 14 h 114"/>
                    <a:gd name="T40" fmla="*/ 20 w 72"/>
                    <a:gd name="T41" fmla="*/ 11 h 114"/>
                    <a:gd name="T42" fmla="*/ 14 w 72"/>
                    <a:gd name="T43" fmla="*/ 7 h 114"/>
                    <a:gd name="T44" fmla="*/ 14 w 72"/>
                    <a:gd name="T45" fmla="*/ 10 h 114"/>
                    <a:gd name="T46" fmla="*/ 8 w 72"/>
                    <a:gd name="T47" fmla="*/ 7 h 114"/>
                    <a:gd name="T48" fmla="*/ 5 w 72"/>
                    <a:gd name="T49" fmla="*/ 0 h 114"/>
                    <a:gd name="T50" fmla="*/ 3 w 72"/>
                    <a:gd name="T51" fmla="*/ 6 h 114"/>
                    <a:gd name="T52" fmla="*/ 0 w 72"/>
                    <a:gd name="T53" fmla="*/ 15 h 114"/>
                    <a:gd name="T54" fmla="*/ 9 w 72"/>
                    <a:gd name="T55" fmla="*/ 21 h 114"/>
                    <a:gd name="T56" fmla="*/ 13 w 72"/>
                    <a:gd name="T57" fmla="*/ 28 h 114"/>
                    <a:gd name="T58" fmla="*/ 7 w 72"/>
                    <a:gd name="T59" fmla="*/ 30 h 114"/>
                    <a:gd name="T60" fmla="*/ 3 w 72"/>
                    <a:gd name="T61" fmla="*/ 42 h 114"/>
                    <a:gd name="T62" fmla="*/ 13 w 72"/>
                    <a:gd name="T63" fmla="*/ 54 h 114"/>
                    <a:gd name="T64" fmla="*/ 15 w 72"/>
                    <a:gd name="T65" fmla="*/ 66 h 114"/>
                    <a:gd name="T66" fmla="*/ 20 w 72"/>
                    <a:gd name="T67" fmla="*/ 83 h 114"/>
                    <a:gd name="T68" fmla="*/ 22 w 72"/>
                    <a:gd name="T69" fmla="*/ 91 h 114"/>
                    <a:gd name="T70" fmla="*/ 26 w 72"/>
                    <a:gd name="T71" fmla="*/ 96 h 114"/>
                    <a:gd name="T72" fmla="*/ 29 w 72"/>
                    <a:gd name="T73" fmla="*/ 94 h 114"/>
                    <a:gd name="T74" fmla="*/ 31 w 72"/>
                    <a:gd name="T75" fmla="*/ 91 h 114"/>
                    <a:gd name="T76" fmla="*/ 30 w 72"/>
                    <a:gd name="T77" fmla="*/ 83 h 114"/>
                    <a:gd name="T78" fmla="*/ 32 w 72"/>
                    <a:gd name="T79" fmla="*/ 81 h 114"/>
                    <a:gd name="T80" fmla="*/ 33 w 72"/>
                    <a:gd name="T81" fmla="*/ 91 h 114"/>
                    <a:gd name="T82" fmla="*/ 36 w 72"/>
                    <a:gd name="T83" fmla="*/ 88 h 114"/>
                    <a:gd name="T84" fmla="*/ 35 w 72"/>
                    <a:gd name="T85" fmla="*/ 94 h 114"/>
                    <a:gd name="T86" fmla="*/ 40 w 72"/>
                    <a:gd name="T87" fmla="*/ 83 h 114"/>
                    <a:gd name="T88" fmla="*/ 40 w 72"/>
                    <a:gd name="T89" fmla="*/ 76 h 114"/>
                    <a:gd name="T90" fmla="*/ 37 w 72"/>
                    <a:gd name="T91" fmla="*/ 66 h 114"/>
                    <a:gd name="T92" fmla="*/ 43 w 72"/>
                    <a:gd name="T93" fmla="*/ 73 h 114"/>
                    <a:gd name="T94" fmla="*/ 51 w 72"/>
                    <a:gd name="T95" fmla="*/ 75 h 114"/>
                    <a:gd name="T96" fmla="*/ 54 w 72"/>
                    <a:gd name="T97" fmla="*/ 74 h 114"/>
                    <a:gd name="T98" fmla="*/ 59 w 72"/>
                    <a:gd name="T99" fmla="*/ 90 h 114"/>
                    <a:gd name="T100" fmla="*/ 59 w 72"/>
                    <a:gd name="T101" fmla="*/ 100 h 114"/>
                    <a:gd name="T102" fmla="*/ 61 w 72"/>
                    <a:gd name="T103" fmla="*/ 97 h 114"/>
                    <a:gd name="T104" fmla="*/ 62 w 72"/>
                    <a:gd name="T105" fmla="*/ 104 h 114"/>
                    <a:gd name="T106" fmla="*/ 67 w 72"/>
                    <a:gd name="T107" fmla="*/ 114 h 114"/>
                    <a:gd name="T108" fmla="*/ 66 w 72"/>
                    <a:gd name="T109" fmla="*/ 108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2" h="114">
                      <a:moveTo>
                        <a:pt x="67" y="105"/>
                      </a:moveTo>
                      <a:lnTo>
                        <a:pt x="70" y="101"/>
                      </a:lnTo>
                      <a:lnTo>
                        <a:pt x="71" y="102"/>
                      </a:lnTo>
                      <a:lnTo>
                        <a:pt x="72" y="98"/>
                      </a:lnTo>
                      <a:lnTo>
                        <a:pt x="72" y="94"/>
                      </a:lnTo>
                      <a:lnTo>
                        <a:pt x="72" y="94"/>
                      </a:lnTo>
                      <a:lnTo>
                        <a:pt x="71" y="92"/>
                      </a:lnTo>
                      <a:lnTo>
                        <a:pt x="71" y="90"/>
                      </a:lnTo>
                      <a:lnTo>
                        <a:pt x="70" y="89"/>
                      </a:lnTo>
                      <a:lnTo>
                        <a:pt x="69" y="87"/>
                      </a:lnTo>
                      <a:lnTo>
                        <a:pt x="68" y="82"/>
                      </a:lnTo>
                      <a:lnTo>
                        <a:pt x="68" y="75"/>
                      </a:lnTo>
                      <a:lnTo>
                        <a:pt x="66" y="73"/>
                      </a:lnTo>
                      <a:lnTo>
                        <a:pt x="66" y="69"/>
                      </a:lnTo>
                      <a:lnTo>
                        <a:pt x="65" y="64"/>
                      </a:lnTo>
                      <a:lnTo>
                        <a:pt x="65" y="62"/>
                      </a:lnTo>
                      <a:lnTo>
                        <a:pt x="64" y="60"/>
                      </a:lnTo>
                      <a:lnTo>
                        <a:pt x="61" y="60"/>
                      </a:lnTo>
                      <a:lnTo>
                        <a:pt x="59" y="59"/>
                      </a:lnTo>
                      <a:lnTo>
                        <a:pt x="58" y="60"/>
                      </a:lnTo>
                      <a:lnTo>
                        <a:pt x="59" y="62"/>
                      </a:lnTo>
                      <a:lnTo>
                        <a:pt x="58" y="63"/>
                      </a:lnTo>
                      <a:lnTo>
                        <a:pt x="58" y="65"/>
                      </a:lnTo>
                      <a:lnTo>
                        <a:pt x="57" y="67"/>
                      </a:lnTo>
                      <a:lnTo>
                        <a:pt x="58" y="69"/>
                      </a:lnTo>
                      <a:lnTo>
                        <a:pt x="57" y="71"/>
                      </a:lnTo>
                      <a:lnTo>
                        <a:pt x="56" y="71"/>
                      </a:lnTo>
                      <a:lnTo>
                        <a:pt x="54" y="68"/>
                      </a:lnTo>
                      <a:lnTo>
                        <a:pt x="51" y="65"/>
                      </a:lnTo>
                      <a:lnTo>
                        <a:pt x="51" y="63"/>
                      </a:lnTo>
                      <a:lnTo>
                        <a:pt x="49" y="62"/>
                      </a:lnTo>
                      <a:lnTo>
                        <a:pt x="47" y="57"/>
                      </a:lnTo>
                      <a:lnTo>
                        <a:pt x="47" y="56"/>
                      </a:lnTo>
                      <a:lnTo>
                        <a:pt x="49" y="54"/>
                      </a:lnTo>
                      <a:lnTo>
                        <a:pt x="50" y="52"/>
                      </a:lnTo>
                      <a:lnTo>
                        <a:pt x="52" y="49"/>
                      </a:lnTo>
                      <a:lnTo>
                        <a:pt x="53" y="51"/>
                      </a:lnTo>
                      <a:lnTo>
                        <a:pt x="54" y="51"/>
                      </a:lnTo>
                      <a:lnTo>
                        <a:pt x="56" y="49"/>
                      </a:lnTo>
                      <a:lnTo>
                        <a:pt x="56" y="47"/>
                      </a:lnTo>
                      <a:lnTo>
                        <a:pt x="58" y="46"/>
                      </a:lnTo>
                      <a:lnTo>
                        <a:pt x="59" y="41"/>
                      </a:lnTo>
                      <a:lnTo>
                        <a:pt x="60" y="36"/>
                      </a:lnTo>
                      <a:lnTo>
                        <a:pt x="61" y="33"/>
                      </a:lnTo>
                      <a:lnTo>
                        <a:pt x="60" y="32"/>
                      </a:lnTo>
                      <a:lnTo>
                        <a:pt x="58" y="29"/>
                      </a:lnTo>
                      <a:lnTo>
                        <a:pt x="56" y="29"/>
                      </a:lnTo>
                      <a:lnTo>
                        <a:pt x="55" y="28"/>
                      </a:lnTo>
                      <a:lnTo>
                        <a:pt x="53" y="29"/>
                      </a:lnTo>
                      <a:lnTo>
                        <a:pt x="47" y="29"/>
                      </a:lnTo>
                      <a:lnTo>
                        <a:pt x="44" y="28"/>
                      </a:lnTo>
                      <a:lnTo>
                        <a:pt x="38" y="29"/>
                      </a:lnTo>
                      <a:lnTo>
                        <a:pt x="34" y="29"/>
                      </a:lnTo>
                      <a:lnTo>
                        <a:pt x="31" y="28"/>
                      </a:lnTo>
                      <a:lnTo>
                        <a:pt x="29" y="28"/>
                      </a:lnTo>
                      <a:lnTo>
                        <a:pt x="26" y="26"/>
                      </a:lnTo>
                      <a:lnTo>
                        <a:pt x="26" y="24"/>
                      </a:lnTo>
                      <a:lnTo>
                        <a:pt x="25" y="21"/>
                      </a:lnTo>
                      <a:lnTo>
                        <a:pt x="24" y="18"/>
                      </a:lnTo>
                      <a:lnTo>
                        <a:pt x="24" y="14"/>
                      </a:lnTo>
                      <a:lnTo>
                        <a:pt x="22" y="10"/>
                      </a:lnTo>
                      <a:lnTo>
                        <a:pt x="20" y="11"/>
                      </a:lnTo>
                      <a:lnTo>
                        <a:pt x="20" y="11"/>
                      </a:lnTo>
                      <a:lnTo>
                        <a:pt x="17" y="11"/>
                      </a:lnTo>
                      <a:lnTo>
                        <a:pt x="16" y="9"/>
                      </a:lnTo>
                      <a:lnTo>
                        <a:pt x="14" y="7"/>
                      </a:lnTo>
                      <a:lnTo>
                        <a:pt x="13" y="7"/>
                      </a:lnTo>
                      <a:lnTo>
                        <a:pt x="13" y="8"/>
                      </a:lnTo>
                      <a:lnTo>
                        <a:pt x="14" y="10"/>
                      </a:lnTo>
                      <a:lnTo>
                        <a:pt x="13" y="11"/>
                      </a:lnTo>
                      <a:lnTo>
                        <a:pt x="10" y="11"/>
                      </a:lnTo>
                      <a:lnTo>
                        <a:pt x="8" y="7"/>
                      </a:lnTo>
                      <a:lnTo>
                        <a:pt x="8" y="5"/>
                      </a:lnTo>
                      <a:lnTo>
                        <a:pt x="6" y="3"/>
                      </a:lnTo>
                      <a:lnTo>
                        <a:pt x="5" y="0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5" y="7"/>
                      </a:lnTo>
                      <a:lnTo>
                        <a:pt x="3" y="11"/>
                      </a:lnTo>
                      <a:lnTo>
                        <a:pt x="0" y="15"/>
                      </a:lnTo>
                      <a:lnTo>
                        <a:pt x="0" y="19"/>
                      </a:lnTo>
                      <a:lnTo>
                        <a:pt x="6" y="22"/>
                      </a:lnTo>
                      <a:lnTo>
                        <a:pt x="9" y="21"/>
                      </a:lnTo>
                      <a:lnTo>
                        <a:pt x="13" y="21"/>
                      </a:lnTo>
                      <a:lnTo>
                        <a:pt x="13" y="24"/>
                      </a:lnTo>
                      <a:lnTo>
                        <a:pt x="13" y="28"/>
                      </a:lnTo>
                      <a:lnTo>
                        <a:pt x="11" y="30"/>
                      </a:lnTo>
                      <a:lnTo>
                        <a:pt x="9" y="29"/>
                      </a:lnTo>
                      <a:lnTo>
                        <a:pt x="7" y="30"/>
                      </a:lnTo>
                      <a:lnTo>
                        <a:pt x="6" y="35"/>
                      </a:lnTo>
                      <a:lnTo>
                        <a:pt x="3" y="35"/>
                      </a:lnTo>
                      <a:lnTo>
                        <a:pt x="3" y="42"/>
                      </a:lnTo>
                      <a:lnTo>
                        <a:pt x="6" y="47"/>
                      </a:lnTo>
                      <a:lnTo>
                        <a:pt x="10" y="49"/>
                      </a:lnTo>
                      <a:lnTo>
                        <a:pt x="13" y="54"/>
                      </a:lnTo>
                      <a:lnTo>
                        <a:pt x="13" y="59"/>
                      </a:lnTo>
                      <a:lnTo>
                        <a:pt x="15" y="64"/>
                      </a:lnTo>
                      <a:lnTo>
                        <a:pt x="15" y="66"/>
                      </a:lnTo>
                      <a:lnTo>
                        <a:pt x="15" y="72"/>
                      </a:lnTo>
                      <a:lnTo>
                        <a:pt x="20" y="79"/>
                      </a:lnTo>
                      <a:lnTo>
                        <a:pt x="20" y="83"/>
                      </a:lnTo>
                      <a:lnTo>
                        <a:pt x="20" y="87"/>
                      </a:lnTo>
                      <a:lnTo>
                        <a:pt x="21" y="92"/>
                      </a:lnTo>
                      <a:lnTo>
                        <a:pt x="22" y="91"/>
                      </a:lnTo>
                      <a:lnTo>
                        <a:pt x="23" y="94"/>
                      </a:lnTo>
                      <a:lnTo>
                        <a:pt x="23" y="96"/>
                      </a:lnTo>
                      <a:lnTo>
                        <a:pt x="26" y="96"/>
                      </a:lnTo>
                      <a:lnTo>
                        <a:pt x="26" y="94"/>
                      </a:lnTo>
                      <a:lnTo>
                        <a:pt x="27" y="93"/>
                      </a:lnTo>
                      <a:lnTo>
                        <a:pt x="29" y="94"/>
                      </a:lnTo>
                      <a:lnTo>
                        <a:pt x="30" y="95"/>
                      </a:lnTo>
                      <a:lnTo>
                        <a:pt x="30" y="94"/>
                      </a:lnTo>
                      <a:lnTo>
                        <a:pt x="31" y="91"/>
                      </a:lnTo>
                      <a:lnTo>
                        <a:pt x="30" y="87"/>
                      </a:lnTo>
                      <a:lnTo>
                        <a:pt x="30" y="87"/>
                      </a:lnTo>
                      <a:lnTo>
                        <a:pt x="30" y="83"/>
                      </a:lnTo>
                      <a:lnTo>
                        <a:pt x="32" y="81"/>
                      </a:lnTo>
                      <a:lnTo>
                        <a:pt x="31" y="80"/>
                      </a:lnTo>
                      <a:lnTo>
                        <a:pt x="32" y="81"/>
                      </a:lnTo>
                      <a:lnTo>
                        <a:pt x="32" y="82"/>
                      </a:lnTo>
                      <a:lnTo>
                        <a:pt x="30" y="88"/>
                      </a:lnTo>
                      <a:lnTo>
                        <a:pt x="33" y="91"/>
                      </a:lnTo>
                      <a:lnTo>
                        <a:pt x="34" y="87"/>
                      </a:lnTo>
                      <a:lnTo>
                        <a:pt x="37" y="87"/>
                      </a:lnTo>
                      <a:lnTo>
                        <a:pt x="36" y="88"/>
                      </a:lnTo>
                      <a:lnTo>
                        <a:pt x="34" y="89"/>
                      </a:lnTo>
                      <a:lnTo>
                        <a:pt x="33" y="91"/>
                      </a:lnTo>
                      <a:lnTo>
                        <a:pt x="35" y="94"/>
                      </a:lnTo>
                      <a:lnTo>
                        <a:pt x="37" y="88"/>
                      </a:lnTo>
                      <a:lnTo>
                        <a:pt x="40" y="87"/>
                      </a:lnTo>
                      <a:lnTo>
                        <a:pt x="40" y="83"/>
                      </a:lnTo>
                      <a:lnTo>
                        <a:pt x="39" y="79"/>
                      </a:lnTo>
                      <a:lnTo>
                        <a:pt x="37" y="78"/>
                      </a:lnTo>
                      <a:lnTo>
                        <a:pt x="40" y="76"/>
                      </a:lnTo>
                      <a:lnTo>
                        <a:pt x="40" y="75"/>
                      </a:lnTo>
                      <a:lnTo>
                        <a:pt x="38" y="71"/>
                      </a:lnTo>
                      <a:lnTo>
                        <a:pt x="37" y="66"/>
                      </a:lnTo>
                      <a:lnTo>
                        <a:pt x="39" y="70"/>
                      </a:lnTo>
                      <a:lnTo>
                        <a:pt x="41" y="73"/>
                      </a:lnTo>
                      <a:lnTo>
                        <a:pt x="43" y="73"/>
                      </a:lnTo>
                      <a:lnTo>
                        <a:pt x="44" y="74"/>
                      </a:lnTo>
                      <a:lnTo>
                        <a:pt x="48" y="77"/>
                      </a:lnTo>
                      <a:lnTo>
                        <a:pt x="51" y="75"/>
                      </a:lnTo>
                      <a:lnTo>
                        <a:pt x="52" y="76"/>
                      </a:lnTo>
                      <a:lnTo>
                        <a:pt x="52" y="74"/>
                      </a:lnTo>
                      <a:lnTo>
                        <a:pt x="54" y="74"/>
                      </a:lnTo>
                      <a:lnTo>
                        <a:pt x="58" y="87"/>
                      </a:lnTo>
                      <a:lnTo>
                        <a:pt x="60" y="88"/>
                      </a:lnTo>
                      <a:lnTo>
                        <a:pt x="59" y="90"/>
                      </a:lnTo>
                      <a:lnTo>
                        <a:pt x="59" y="94"/>
                      </a:lnTo>
                      <a:lnTo>
                        <a:pt x="60" y="94"/>
                      </a:lnTo>
                      <a:lnTo>
                        <a:pt x="59" y="100"/>
                      </a:lnTo>
                      <a:lnTo>
                        <a:pt x="60" y="100"/>
                      </a:lnTo>
                      <a:lnTo>
                        <a:pt x="61" y="99"/>
                      </a:lnTo>
                      <a:lnTo>
                        <a:pt x="61" y="97"/>
                      </a:lnTo>
                      <a:lnTo>
                        <a:pt x="61" y="100"/>
                      </a:lnTo>
                      <a:lnTo>
                        <a:pt x="61" y="102"/>
                      </a:lnTo>
                      <a:lnTo>
                        <a:pt x="62" y="104"/>
                      </a:lnTo>
                      <a:lnTo>
                        <a:pt x="65" y="108"/>
                      </a:lnTo>
                      <a:lnTo>
                        <a:pt x="67" y="114"/>
                      </a:lnTo>
                      <a:lnTo>
                        <a:pt x="67" y="114"/>
                      </a:lnTo>
                      <a:lnTo>
                        <a:pt x="66" y="110"/>
                      </a:lnTo>
                      <a:lnTo>
                        <a:pt x="67" y="110"/>
                      </a:lnTo>
                      <a:lnTo>
                        <a:pt x="66" y="108"/>
                      </a:lnTo>
                      <a:lnTo>
                        <a:pt x="67" y="10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49" name="Freeform 550">
                  <a:extLst>
                    <a:ext uri="{FF2B5EF4-FFF2-40B4-BE49-F238E27FC236}">
                      <a16:creationId xmlns:a16="http://schemas.microsoft.com/office/drawing/2014/main" id="{38AC2D3B-8A14-48D8-BC3C-EF57D892BC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86" y="2403"/>
                  <a:ext cx="2" cy="4"/>
                </a:xfrm>
                <a:custGeom>
                  <a:avLst/>
                  <a:gdLst>
                    <a:gd name="T0" fmla="*/ 0 w 2"/>
                    <a:gd name="T1" fmla="*/ 1 h 4"/>
                    <a:gd name="T2" fmla="*/ 0 w 2"/>
                    <a:gd name="T3" fmla="*/ 4 h 4"/>
                    <a:gd name="T4" fmla="*/ 2 w 2"/>
                    <a:gd name="T5" fmla="*/ 4 h 4"/>
                    <a:gd name="T6" fmla="*/ 2 w 2"/>
                    <a:gd name="T7" fmla="*/ 1 h 4"/>
                    <a:gd name="T8" fmla="*/ 1 w 2"/>
                    <a:gd name="T9" fmla="*/ 0 h 4"/>
                    <a:gd name="T10" fmla="*/ 0 w 2"/>
                    <a:gd name="T11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4">
                      <a:moveTo>
                        <a:pt x="0" y="1"/>
                      </a:move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50" name="Freeform 551">
                  <a:extLst>
                    <a:ext uri="{FF2B5EF4-FFF2-40B4-BE49-F238E27FC236}">
                      <a16:creationId xmlns:a16="http://schemas.microsoft.com/office/drawing/2014/main" id="{09E1408A-4835-440B-B007-9A546428F7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81" y="2402"/>
                  <a:ext cx="4" cy="10"/>
                </a:xfrm>
                <a:custGeom>
                  <a:avLst/>
                  <a:gdLst>
                    <a:gd name="T0" fmla="*/ 0 w 5"/>
                    <a:gd name="T1" fmla="*/ 0 h 13"/>
                    <a:gd name="T2" fmla="*/ 0 w 5"/>
                    <a:gd name="T3" fmla="*/ 2 h 13"/>
                    <a:gd name="T4" fmla="*/ 2 w 5"/>
                    <a:gd name="T5" fmla="*/ 6 h 13"/>
                    <a:gd name="T6" fmla="*/ 1 w 5"/>
                    <a:gd name="T7" fmla="*/ 10 h 13"/>
                    <a:gd name="T8" fmla="*/ 3 w 5"/>
                    <a:gd name="T9" fmla="*/ 13 h 13"/>
                    <a:gd name="T10" fmla="*/ 5 w 5"/>
                    <a:gd name="T11" fmla="*/ 7 h 13"/>
                    <a:gd name="T12" fmla="*/ 4 w 5"/>
                    <a:gd name="T13" fmla="*/ 4 h 13"/>
                    <a:gd name="T14" fmla="*/ 0 w 5"/>
                    <a:gd name="T15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13">
                      <a:moveTo>
                        <a:pt x="0" y="0"/>
                      </a:moveTo>
                      <a:cubicBezTo>
                        <a:pt x="0" y="0"/>
                        <a:pt x="0" y="1"/>
                        <a:pt x="0" y="2"/>
                      </a:cubicBezTo>
                      <a:cubicBezTo>
                        <a:pt x="2" y="6"/>
                        <a:pt x="2" y="6"/>
                        <a:pt x="2" y="6"/>
                      </a:cubicBezTo>
                      <a:cubicBezTo>
                        <a:pt x="1" y="10"/>
                        <a:pt x="1" y="10"/>
                        <a:pt x="1" y="10"/>
                      </a:cubicBezTo>
                      <a:cubicBezTo>
                        <a:pt x="3" y="13"/>
                        <a:pt x="3" y="13"/>
                        <a:pt x="3" y="13"/>
                      </a:cubicBezTo>
                      <a:cubicBezTo>
                        <a:pt x="5" y="7"/>
                        <a:pt x="5" y="7"/>
                        <a:pt x="5" y="7"/>
                      </a:cubicBezTo>
                      <a:cubicBezTo>
                        <a:pt x="4" y="4"/>
                        <a:pt x="4" y="4"/>
                        <a:pt x="4" y="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51" name="Freeform 552">
                  <a:extLst>
                    <a:ext uri="{FF2B5EF4-FFF2-40B4-BE49-F238E27FC236}">
                      <a16:creationId xmlns:a16="http://schemas.microsoft.com/office/drawing/2014/main" id="{C22D7EA0-CE86-499E-9287-3446358EC7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75" y="2401"/>
                  <a:ext cx="5" cy="8"/>
                </a:xfrm>
                <a:custGeom>
                  <a:avLst/>
                  <a:gdLst>
                    <a:gd name="T0" fmla="*/ 3 w 5"/>
                    <a:gd name="T1" fmla="*/ 0 h 8"/>
                    <a:gd name="T2" fmla="*/ 0 w 5"/>
                    <a:gd name="T3" fmla="*/ 1 h 8"/>
                    <a:gd name="T4" fmla="*/ 0 w 5"/>
                    <a:gd name="T5" fmla="*/ 3 h 8"/>
                    <a:gd name="T6" fmla="*/ 2 w 5"/>
                    <a:gd name="T7" fmla="*/ 8 h 8"/>
                    <a:gd name="T8" fmla="*/ 5 w 5"/>
                    <a:gd name="T9" fmla="*/ 8 h 8"/>
                    <a:gd name="T10" fmla="*/ 4 w 5"/>
                    <a:gd name="T11" fmla="*/ 3 h 8"/>
                    <a:gd name="T12" fmla="*/ 3 w 5"/>
                    <a:gd name="T13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8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2" y="8"/>
                      </a:lnTo>
                      <a:lnTo>
                        <a:pt x="5" y="8"/>
                      </a:lnTo>
                      <a:lnTo>
                        <a:pt x="4" y="3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52" name="Freeform 553">
                  <a:extLst>
                    <a:ext uri="{FF2B5EF4-FFF2-40B4-BE49-F238E27FC236}">
                      <a16:creationId xmlns:a16="http://schemas.microsoft.com/office/drawing/2014/main" id="{570846BA-2758-48D6-8B82-BED9BF62D2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42" y="2295"/>
                  <a:ext cx="44" cy="31"/>
                </a:xfrm>
                <a:custGeom>
                  <a:avLst/>
                  <a:gdLst>
                    <a:gd name="T0" fmla="*/ 37 w 44"/>
                    <a:gd name="T1" fmla="*/ 3 h 31"/>
                    <a:gd name="T2" fmla="*/ 33 w 44"/>
                    <a:gd name="T3" fmla="*/ 3 h 31"/>
                    <a:gd name="T4" fmla="*/ 30 w 44"/>
                    <a:gd name="T5" fmla="*/ 5 h 31"/>
                    <a:gd name="T6" fmla="*/ 26 w 44"/>
                    <a:gd name="T7" fmla="*/ 4 h 31"/>
                    <a:gd name="T8" fmla="*/ 20 w 44"/>
                    <a:gd name="T9" fmla="*/ 2 h 31"/>
                    <a:gd name="T10" fmla="*/ 19 w 44"/>
                    <a:gd name="T11" fmla="*/ 0 h 31"/>
                    <a:gd name="T12" fmla="*/ 14 w 44"/>
                    <a:gd name="T13" fmla="*/ 1 h 31"/>
                    <a:gd name="T14" fmla="*/ 7 w 44"/>
                    <a:gd name="T15" fmla="*/ 5 h 31"/>
                    <a:gd name="T16" fmla="*/ 4 w 44"/>
                    <a:gd name="T17" fmla="*/ 13 h 31"/>
                    <a:gd name="T18" fmla="*/ 1 w 44"/>
                    <a:gd name="T19" fmla="*/ 15 h 31"/>
                    <a:gd name="T20" fmla="*/ 1 w 44"/>
                    <a:gd name="T21" fmla="*/ 19 h 31"/>
                    <a:gd name="T22" fmla="*/ 0 w 44"/>
                    <a:gd name="T23" fmla="*/ 21 h 31"/>
                    <a:gd name="T24" fmla="*/ 2 w 44"/>
                    <a:gd name="T25" fmla="*/ 26 h 31"/>
                    <a:gd name="T26" fmla="*/ 7 w 44"/>
                    <a:gd name="T27" fmla="*/ 28 h 31"/>
                    <a:gd name="T28" fmla="*/ 9 w 44"/>
                    <a:gd name="T29" fmla="*/ 26 h 31"/>
                    <a:gd name="T30" fmla="*/ 16 w 44"/>
                    <a:gd name="T31" fmla="*/ 31 h 31"/>
                    <a:gd name="T32" fmla="*/ 20 w 44"/>
                    <a:gd name="T33" fmla="*/ 31 h 31"/>
                    <a:gd name="T34" fmla="*/ 23 w 44"/>
                    <a:gd name="T35" fmla="*/ 27 h 31"/>
                    <a:gd name="T36" fmla="*/ 26 w 44"/>
                    <a:gd name="T37" fmla="*/ 26 h 31"/>
                    <a:gd name="T38" fmla="*/ 29 w 44"/>
                    <a:gd name="T39" fmla="*/ 28 h 31"/>
                    <a:gd name="T40" fmla="*/ 34 w 44"/>
                    <a:gd name="T41" fmla="*/ 26 h 31"/>
                    <a:gd name="T42" fmla="*/ 38 w 44"/>
                    <a:gd name="T43" fmla="*/ 26 h 31"/>
                    <a:gd name="T44" fmla="*/ 44 w 44"/>
                    <a:gd name="T45" fmla="*/ 24 h 31"/>
                    <a:gd name="T46" fmla="*/ 44 w 44"/>
                    <a:gd name="T47" fmla="*/ 22 h 31"/>
                    <a:gd name="T48" fmla="*/ 44 w 44"/>
                    <a:gd name="T49" fmla="*/ 17 h 31"/>
                    <a:gd name="T50" fmla="*/ 39 w 44"/>
                    <a:gd name="T51" fmla="*/ 15 h 31"/>
                    <a:gd name="T52" fmla="*/ 39 w 44"/>
                    <a:gd name="T53" fmla="*/ 11 h 31"/>
                    <a:gd name="T54" fmla="*/ 40 w 44"/>
                    <a:gd name="T55" fmla="*/ 7 h 31"/>
                    <a:gd name="T56" fmla="*/ 39 w 44"/>
                    <a:gd name="T57" fmla="*/ 7 h 31"/>
                    <a:gd name="T58" fmla="*/ 37 w 44"/>
                    <a:gd name="T59" fmla="*/ 3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4" h="31">
                      <a:moveTo>
                        <a:pt x="37" y="3"/>
                      </a:moveTo>
                      <a:lnTo>
                        <a:pt x="33" y="3"/>
                      </a:lnTo>
                      <a:lnTo>
                        <a:pt x="30" y="5"/>
                      </a:lnTo>
                      <a:lnTo>
                        <a:pt x="26" y="4"/>
                      </a:lnTo>
                      <a:lnTo>
                        <a:pt x="20" y="2"/>
                      </a:lnTo>
                      <a:lnTo>
                        <a:pt x="19" y="0"/>
                      </a:lnTo>
                      <a:lnTo>
                        <a:pt x="14" y="1"/>
                      </a:lnTo>
                      <a:lnTo>
                        <a:pt x="7" y="5"/>
                      </a:lnTo>
                      <a:lnTo>
                        <a:pt x="4" y="13"/>
                      </a:lnTo>
                      <a:lnTo>
                        <a:pt x="1" y="15"/>
                      </a:lnTo>
                      <a:lnTo>
                        <a:pt x="1" y="19"/>
                      </a:lnTo>
                      <a:lnTo>
                        <a:pt x="0" y="21"/>
                      </a:lnTo>
                      <a:lnTo>
                        <a:pt x="2" y="26"/>
                      </a:lnTo>
                      <a:lnTo>
                        <a:pt x="7" y="28"/>
                      </a:lnTo>
                      <a:lnTo>
                        <a:pt x="9" y="26"/>
                      </a:lnTo>
                      <a:lnTo>
                        <a:pt x="16" y="31"/>
                      </a:lnTo>
                      <a:lnTo>
                        <a:pt x="20" y="31"/>
                      </a:lnTo>
                      <a:lnTo>
                        <a:pt x="23" y="27"/>
                      </a:lnTo>
                      <a:lnTo>
                        <a:pt x="26" y="26"/>
                      </a:lnTo>
                      <a:lnTo>
                        <a:pt x="29" y="28"/>
                      </a:lnTo>
                      <a:lnTo>
                        <a:pt x="34" y="26"/>
                      </a:lnTo>
                      <a:lnTo>
                        <a:pt x="38" y="26"/>
                      </a:lnTo>
                      <a:lnTo>
                        <a:pt x="44" y="24"/>
                      </a:lnTo>
                      <a:lnTo>
                        <a:pt x="44" y="22"/>
                      </a:lnTo>
                      <a:lnTo>
                        <a:pt x="44" y="17"/>
                      </a:lnTo>
                      <a:lnTo>
                        <a:pt x="39" y="15"/>
                      </a:lnTo>
                      <a:lnTo>
                        <a:pt x="39" y="11"/>
                      </a:lnTo>
                      <a:lnTo>
                        <a:pt x="40" y="7"/>
                      </a:lnTo>
                      <a:lnTo>
                        <a:pt x="39" y="7"/>
                      </a:lnTo>
                      <a:lnTo>
                        <a:pt x="37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53" name="Freeform 554">
                  <a:extLst>
                    <a:ext uri="{FF2B5EF4-FFF2-40B4-BE49-F238E27FC236}">
                      <a16:creationId xmlns:a16="http://schemas.microsoft.com/office/drawing/2014/main" id="{00B913C7-78E4-4CF9-96ED-35EC08328E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17" y="2256"/>
                  <a:ext cx="117" cy="75"/>
                </a:xfrm>
                <a:custGeom>
                  <a:avLst/>
                  <a:gdLst>
                    <a:gd name="T0" fmla="*/ 107 w 117"/>
                    <a:gd name="T1" fmla="*/ 47 h 75"/>
                    <a:gd name="T2" fmla="*/ 101 w 117"/>
                    <a:gd name="T3" fmla="*/ 48 h 75"/>
                    <a:gd name="T4" fmla="*/ 94 w 117"/>
                    <a:gd name="T5" fmla="*/ 41 h 75"/>
                    <a:gd name="T6" fmla="*/ 90 w 117"/>
                    <a:gd name="T7" fmla="*/ 35 h 75"/>
                    <a:gd name="T8" fmla="*/ 82 w 117"/>
                    <a:gd name="T9" fmla="*/ 38 h 75"/>
                    <a:gd name="T10" fmla="*/ 78 w 117"/>
                    <a:gd name="T11" fmla="*/ 41 h 75"/>
                    <a:gd name="T12" fmla="*/ 71 w 117"/>
                    <a:gd name="T13" fmla="*/ 39 h 75"/>
                    <a:gd name="T14" fmla="*/ 70 w 117"/>
                    <a:gd name="T15" fmla="*/ 28 h 75"/>
                    <a:gd name="T16" fmla="*/ 62 w 117"/>
                    <a:gd name="T17" fmla="*/ 30 h 75"/>
                    <a:gd name="T18" fmla="*/ 58 w 117"/>
                    <a:gd name="T19" fmla="*/ 21 h 75"/>
                    <a:gd name="T20" fmla="*/ 52 w 117"/>
                    <a:gd name="T21" fmla="*/ 19 h 75"/>
                    <a:gd name="T22" fmla="*/ 50 w 117"/>
                    <a:gd name="T23" fmla="*/ 19 h 75"/>
                    <a:gd name="T24" fmla="*/ 48 w 117"/>
                    <a:gd name="T25" fmla="*/ 25 h 75"/>
                    <a:gd name="T26" fmla="*/ 44 w 117"/>
                    <a:gd name="T27" fmla="*/ 18 h 75"/>
                    <a:gd name="T28" fmla="*/ 41 w 117"/>
                    <a:gd name="T29" fmla="*/ 13 h 75"/>
                    <a:gd name="T30" fmla="*/ 33 w 117"/>
                    <a:gd name="T31" fmla="*/ 8 h 75"/>
                    <a:gd name="T32" fmla="*/ 27 w 117"/>
                    <a:gd name="T33" fmla="*/ 6 h 75"/>
                    <a:gd name="T34" fmla="*/ 20 w 117"/>
                    <a:gd name="T35" fmla="*/ 3 h 75"/>
                    <a:gd name="T36" fmla="*/ 16 w 117"/>
                    <a:gd name="T37" fmla="*/ 6 h 75"/>
                    <a:gd name="T38" fmla="*/ 11 w 117"/>
                    <a:gd name="T39" fmla="*/ 5 h 75"/>
                    <a:gd name="T40" fmla="*/ 6 w 117"/>
                    <a:gd name="T41" fmla="*/ 0 h 75"/>
                    <a:gd name="T42" fmla="*/ 6 w 117"/>
                    <a:gd name="T43" fmla="*/ 7 h 75"/>
                    <a:gd name="T44" fmla="*/ 3 w 117"/>
                    <a:gd name="T45" fmla="*/ 22 h 75"/>
                    <a:gd name="T46" fmla="*/ 1 w 117"/>
                    <a:gd name="T47" fmla="*/ 32 h 75"/>
                    <a:gd name="T48" fmla="*/ 6 w 117"/>
                    <a:gd name="T49" fmla="*/ 35 h 75"/>
                    <a:gd name="T50" fmla="*/ 12 w 117"/>
                    <a:gd name="T51" fmla="*/ 37 h 75"/>
                    <a:gd name="T52" fmla="*/ 23 w 117"/>
                    <a:gd name="T53" fmla="*/ 44 h 75"/>
                    <a:gd name="T54" fmla="*/ 33 w 117"/>
                    <a:gd name="T55" fmla="*/ 52 h 75"/>
                    <a:gd name="T56" fmla="*/ 39 w 117"/>
                    <a:gd name="T57" fmla="*/ 54 h 75"/>
                    <a:gd name="T58" fmla="*/ 51 w 117"/>
                    <a:gd name="T59" fmla="*/ 57 h 75"/>
                    <a:gd name="T60" fmla="*/ 61 w 117"/>
                    <a:gd name="T61" fmla="*/ 58 h 75"/>
                    <a:gd name="T62" fmla="*/ 68 w 117"/>
                    <a:gd name="T63" fmla="*/ 64 h 75"/>
                    <a:gd name="T64" fmla="*/ 79 w 117"/>
                    <a:gd name="T65" fmla="*/ 70 h 75"/>
                    <a:gd name="T66" fmla="*/ 87 w 117"/>
                    <a:gd name="T67" fmla="*/ 68 h 75"/>
                    <a:gd name="T68" fmla="*/ 103 w 117"/>
                    <a:gd name="T69" fmla="*/ 72 h 75"/>
                    <a:gd name="T70" fmla="*/ 117 w 117"/>
                    <a:gd name="T71" fmla="*/ 73 h 75"/>
                    <a:gd name="T72" fmla="*/ 115 w 117"/>
                    <a:gd name="T73" fmla="*/ 58 h 75"/>
                    <a:gd name="T74" fmla="*/ 115 w 117"/>
                    <a:gd name="T75" fmla="*/ 47 h 75"/>
                    <a:gd name="T76" fmla="*/ 109 w 117"/>
                    <a:gd name="T77" fmla="*/ 48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17" h="75">
                      <a:moveTo>
                        <a:pt x="109" y="48"/>
                      </a:moveTo>
                      <a:lnTo>
                        <a:pt x="107" y="47"/>
                      </a:lnTo>
                      <a:lnTo>
                        <a:pt x="104" y="49"/>
                      </a:lnTo>
                      <a:lnTo>
                        <a:pt x="101" y="48"/>
                      </a:lnTo>
                      <a:lnTo>
                        <a:pt x="99" y="44"/>
                      </a:lnTo>
                      <a:lnTo>
                        <a:pt x="94" y="41"/>
                      </a:lnTo>
                      <a:lnTo>
                        <a:pt x="93" y="37"/>
                      </a:lnTo>
                      <a:lnTo>
                        <a:pt x="90" y="35"/>
                      </a:lnTo>
                      <a:lnTo>
                        <a:pt x="85" y="34"/>
                      </a:lnTo>
                      <a:lnTo>
                        <a:pt x="82" y="38"/>
                      </a:lnTo>
                      <a:lnTo>
                        <a:pt x="79" y="39"/>
                      </a:lnTo>
                      <a:lnTo>
                        <a:pt x="78" y="41"/>
                      </a:lnTo>
                      <a:lnTo>
                        <a:pt x="73" y="39"/>
                      </a:lnTo>
                      <a:lnTo>
                        <a:pt x="71" y="39"/>
                      </a:lnTo>
                      <a:lnTo>
                        <a:pt x="69" y="35"/>
                      </a:lnTo>
                      <a:lnTo>
                        <a:pt x="70" y="28"/>
                      </a:lnTo>
                      <a:lnTo>
                        <a:pt x="67" y="28"/>
                      </a:lnTo>
                      <a:lnTo>
                        <a:pt x="62" y="30"/>
                      </a:lnTo>
                      <a:lnTo>
                        <a:pt x="59" y="26"/>
                      </a:lnTo>
                      <a:lnTo>
                        <a:pt x="58" y="21"/>
                      </a:lnTo>
                      <a:lnTo>
                        <a:pt x="55" y="19"/>
                      </a:lnTo>
                      <a:lnTo>
                        <a:pt x="52" y="19"/>
                      </a:lnTo>
                      <a:lnTo>
                        <a:pt x="51" y="17"/>
                      </a:lnTo>
                      <a:lnTo>
                        <a:pt x="50" y="19"/>
                      </a:lnTo>
                      <a:lnTo>
                        <a:pt x="50" y="24"/>
                      </a:lnTo>
                      <a:lnTo>
                        <a:pt x="48" y="25"/>
                      </a:lnTo>
                      <a:lnTo>
                        <a:pt x="47" y="21"/>
                      </a:lnTo>
                      <a:lnTo>
                        <a:pt x="44" y="18"/>
                      </a:lnTo>
                      <a:lnTo>
                        <a:pt x="43" y="16"/>
                      </a:lnTo>
                      <a:lnTo>
                        <a:pt x="41" y="13"/>
                      </a:lnTo>
                      <a:lnTo>
                        <a:pt x="37" y="13"/>
                      </a:lnTo>
                      <a:lnTo>
                        <a:pt x="33" y="8"/>
                      </a:lnTo>
                      <a:lnTo>
                        <a:pt x="30" y="6"/>
                      </a:lnTo>
                      <a:lnTo>
                        <a:pt x="27" y="6"/>
                      </a:lnTo>
                      <a:lnTo>
                        <a:pt x="26" y="5"/>
                      </a:lnTo>
                      <a:lnTo>
                        <a:pt x="20" y="3"/>
                      </a:lnTo>
                      <a:lnTo>
                        <a:pt x="17" y="3"/>
                      </a:lnTo>
                      <a:lnTo>
                        <a:pt x="16" y="6"/>
                      </a:lnTo>
                      <a:lnTo>
                        <a:pt x="14" y="5"/>
                      </a:lnTo>
                      <a:lnTo>
                        <a:pt x="11" y="5"/>
                      </a:lnTo>
                      <a:lnTo>
                        <a:pt x="10" y="3"/>
                      </a:lnTo>
                      <a:lnTo>
                        <a:pt x="6" y="0"/>
                      </a:lnTo>
                      <a:lnTo>
                        <a:pt x="6" y="2"/>
                      </a:lnTo>
                      <a:lnTo>
                        <a:pt x="6" y="7"/>
                      </a:lnTo>
                      <a:lnTo>
                        <a:pt x="3" y="17"/>
                      </a:lnTo>
                      <a:lnTo>
                        <a:pt x="3" y="22"/>
                      </a:lnTo>
                      <a:lnTo>
                        <a:pt x="0" y="28"/>
                      </a:lnTo>
                      <a:lnTo>
                        <a:pt x="1" y="32"/>
                      </a:lnTo>
                      <a:lnTo>
                        <a:pt x="4" y="33"/>
                      </a:lnTo>
                      <a:lnTo>
                        <a:pt x="6" y="35"/>
                      </a:lnTo>
                      <a:lnTo>
                        <a:pt x="9" y="35"/>
                      </a:lnTo>
                      <a:lnTo>
                        <a:pt x="12" y="37"/>
                      </a:lnTo>
                      <a:lnTo>
                        <a:pt x="16" y="39"/>
                      </a:lnTo>
                      <a:lnTo>
                        <a:pt x="23" y="44"/>
                      </a:lnTo>
                      <a:lnTo>
                        <a:pt x="27" y="51"/>
                      </a:lnTo>
                      <a:lnTo>
                        <a:pt x="33" y="52"/>
                      </a:lnTo>
                      <a:lnTo>
                        <a:pt x="35" y="54"/>
                      </a:lnTo>
                      <a:lnTo>
                        <a:pt x="39" y="54"/>
                      </a:lnTo>
                      <a:lnTo>
                        <a:pt x="44" y="58"/>
                      </a:lnTo>
                      <a:lnTo>
                        <a:pt x="51" y="57"/>
                      </a:lnTo>
                      <a:lnTo>
                        <a:pt x="54" y="60"/>
                      </a:lnTo>
                      <a:lnTo>
                        <a:pt x="61" y="58"/>
                      </a:lnTo>
                      <a:lnTo>
                        <a:pt x="68" y="59"/>
                      </a:lnTo>
                      <a:lnTo>
                        <a:pt x="68" y="64"/>
                      </a:lnTo>
                      <a:lnTo>
                        <a:pt x="72" y="68"/>
                      </a:lnTo>
                      <a:lnTo>
                        <a:pt x="79" y="70"/>
                      </a:lnTo>
                      <a:lnTo>
                        <a:pt x="82" y="68"/>
                      </a:lnTo>
                      <a:lnTo>
                        <a:pt x="87" y="68"/>
                      </a:lnTo>
                      <a:lnTo>
                        <a:pt x="100" y="73"/>
                      </a:lnTo>
                      <a:lnTo>
                        <a:pt x="103" y="72"/>
                      </a:lnTo>
                      <a:lnTo>
                        <a:pt x="108" y="75"/>
                      </a:lnTo>
                      <a:lnTo>
                        <a:pt x="117" y="73"/>
                      </a:lnTo>
                      <a:lnTo>
                        <a:pt x="117" y="65"/>
                      </a:lnTo>
                      <a:lnTo>
                        <a:pt x="115" y="58"/>
                      </a:lnTo>
                      <a:lnTo>
                        <a:pt x="116" y="50"/>
                      </a:lnTo>
                      <a:lnTo>
                        <a:pt x="115" y="47"/>
                      </a:lnTo>
                      <a:lnTo>
                        <a:pt x="113" y="46"/>
                      </a:lnTo>
                      <a:lnTo>
                        <a:pt x="109" y="4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54" name="Freeform 555">
                  <a:extLst>
                    <a:ext uri="{FF2B5EF4-FFF2-40B4-BE49-F238E27FC236}">
                      <a16:creationId xmlns:a16="http://schemas.microsoft.com/office/drawing/2014/main" id="{051A2705-15D7-4557-B8A2-2453195BCF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48" y="2130"/>
                  <a:ext cx="197" cy="260"/>
                </a:xfrm>
                <a:custGeom>
                  <a:avLst/>
                  <a:gdLst>
                    <a:gd name="T0" fmla="*/ 122 w 197"/>
                    <a:gd name="T1" fmla="*/ 247 h 260"/>
                    <a:gd name="T2" fmla="*/ 141 w 197"/>
                    <a:gd name="T3" fmla="*/ 243 h 260"/>
                    <a:gd name="T4" fmla="*/ 147 w 197"/>
                    <a:gd name="T5" fmla="*/ 243 h 260"/>
                    <a:gd name="T6" fmla="*/ 147 w 197"/>
                    <a:gd name="T7" fmla="*/ 227 h 260"/>
                    <a:gd name="T8" fmla="*/ 140 w 197"/>
                    <a:gd name="T9" fmla="*/ 219 h 260"/>
                    <a:gd name="T10" fmla="*/ 133 w 197"/>
                    <a:gd name="T11" fmla="*/ 200 h 260"/>
                    <a:gd name="T12" fmla="*/ 123 w 197"/>
                    <a:gd name="T13" fmla="*/ 199 h 260"/>
                    <a:gd name="T14" fmla="*/ 131 w 197"/>
                    <a:gd name="T15" fmla="*/ 181 h 260"/>
                    <a:gd name="T16" fmla="*/ 139 w 197"/>
                    <a:gd name="T17" fmla="*/ 177 h 260"/>
                    <a:gd name="T18" fmla="*/ 154 w 197"/>
                    <a:gd name="T19" fmla="*/ 177 h 260"/>
                    <a:gd name="T20" fmla="*/ 170 w 197"/>
                    <a:gd name="T21" fmla="*/ 151 h 260"/>
                    <a:gd name="T22" fmla="*/ 179 w 197"/>
                    <a:gd name="T23" fmla="*/ 133 h 260"/>
                    <a:gd name="T24" fmla="*/ 184 w 197"/>
                    <a:gd name="T25" fmla="*/ 121 h 260"/>
                    <a:gd name="T26" fmla="*/ 183 w 197"/>
                    <a:gd name="T27" fmla="*/ 101 h 260"/>
                    <a:gd name="T28" fmla="*/ 195 w 197"/>
                    <a:gd name="T29" fmla="*/ 93 h 260"/>
                    <a:gd name="T30" fmla="*/ 190 w 197"/>
                    <a:gd name="T31" fmla="*/ 86 h 260"/>
                    <a:gd name="T32" fmla="*/ 174 w 197"/>
                    <a:gd name="T33" fmla="*/ 77 h 260"/>
                    <a:gd name="T34" fmla="*/ 163 w 197"/>
                    <a:gd name="T35" fmla="*/ 49 h 260"/>
                    <a:gd name="T36" fmla="*/ 170 w 197"/>
                    <a:gd name="T37" fmla="*/ 36 h 260"/>
                    <a:gd name="T38" fmla="*/ 161 w 197"/>
                    <a:gd name="T39" fmla="*/ 25 h 260"/>
                    <a:gd name="T40" fmla="*/ 149 w 197"/>
                    <a:gd name="T41" fmla="*/ 18 h 260"/>
                    <a:gd name="T42" fmla="*/ 153 w 197"/>
                    <a:gd name="T43" fmla="*/ 1 h 260"/>
                    <a:gd name="T44" fmla="*/ 137 w 197"/>
                    <a:gd name="T45" fmla="*/ 7 h 260"/>
                    <a:gd name="T46" fmla="*/ 134 w 197"/>
                    <a:gd name="T47" fmla="*/ 25 h 260"/>
                    <a:gd name="T48" fmla="*/ 132 w 197"/>
                    <a:gd name="T49" fmla="*/ 51 h 260"/>
                    <a:gd name="T50" fmla="*/ 114 w 197"/>
                    <a:gd name="T51" fmla="*/ 58 h 260"/>
                    <a:gd name="T52" fmla="*/ 119 w 197"/>
                    <a:gd name="T53" fmla="*/ 72 h 260"/>
                    <a:gd name="T54" fmla="*/ 112 w 197"/>
                    <a:gd name="T55" fmla="*/ 83 h 260"/>
                    <a:gd name="T56" fmla="*/ 110 w 197"/>
                    <a:gd name="T57" fmla="*/ 98 h 260"/>
                    <a:gd name="T58" fmla="*/ 103 w 197"/>
                    <a:gd name="T59" fmla="*/ 102 h 260"/>
                    <a:gd name="T60" fmla="*/ 94 w 197"/>
                    <a:gd name="T61" fmla="*/ 103 h 260"/>
                    <a:gd name="T62" fmla="*/ 84 w 197"/>
                    <a:gd name="T63" fmla="*/ 114 h 260"/>
                    <a:gd name="T64" fmla="*/ 77 w 197"/>
                    <a:gd name="T65" fmla="*/ 118 h 260"/>
                    <a:gd name="T66" fmla="*/ 74 w 197"/>
                    <a:gd name="T67" fmla="*/ 132 h 260"/>
                    <a:gd name="T68" fmla="*/ 68 w 197"/>
                    <a:gd name="T69" fmla="*/ 146 h 260"/>
                    <a:gd name="T70" fmla="*/ 46 w 197"/>
                    <a:gd name="T71" fmla="*/ 148 h 260"/>
                    <a:gd name="T72" fmla="*/ 19 w 197"/>
                    <a:gd name="T73" fmla="*/ 152 h 260"/>
                    <a:gd name="T74" fmla="*/ 9 w 197"/>
                    <a:gd name="T75" fmla="*/ 161 h 260"/>
                    <a:gd name="T76" fmla="*/ 22 w 197"/>
                    <a:gd name="T77" fmla="*/ 170 h 260"/>
                    <a:gd name="T78" fmla="*/ 29 w 197"/>
                    <a:gd name="T79" fmla="*/ 179 h 260"/>
                    <a:gd name="T80" fmla="*/ 35 w 197"/>
                    <a:gd name="T81" fmla="*/ 191 h 260"/>
                    <a:gd name="T82" fmla="*/ 33 w 197"/>
                    <a:gd name="T83" fmla="*/ 201 h 260"/>
                    <a:gd name="T84" fmla="*/ 19 w 197"/>
                    <a:gd name="T85" fmla="*/ 211 h 260"/>
                    <a:gd name="T86" fmla="*/ 19 w 197"/>
                    <a:gd name="T87" fmla="*/ 227 h 260"/>
                    <a:gd name="T88" fmla="*/ 21 w 197"/>
                    <a:gd name="T89" fmla="*/ 233 h 260"/>
                    <a:gd name="T90" fmla="*/ 29 w 197"/>
                    <a:gd name="T91" fmla="*/ 231 h 260"/>
                    <a:gd name="T92" fmla="*/ 39 w 197"/>
                    <a:gd name="T93" fmla="*/ 229 h 260"/>
                    <a:gd name="T94" fmla="*/ 43 w 197"/>
                    <a:gd name="T95" fmla="*/ 225 h 260"/>
                    <a:gd name="T96" fmla="*/ 50 w 197"/>
                    <a:gd name="T97" fmla="*/ 226 h 260"/>
                    <a:gd name="T98" fmla="*/ 57 w 197"/>
                    <a:gd name="T99" fmla="*/ 230 h 260"/>
                    <a:gd name="T100" fmla="*/ 68 w 197"/>
                    <a:gd name="T101" fmla="*/ 225 h 260"/>
                    <a:gd name="T102" fmla="*/ 76 w 197"/>
                    <a:gd name="T103" fmla="*/ 226 h 260"/>
                    <a:gd name="T104" fmla="*/ 88 w 197"/>
                    <a:gd name="T105" fmla="*/ 231 h 260"/>
                    <a:gd name="T106" fmla="*/ 88 w 197"/>
                    <a:gd name="T107" fmla="*/ 236 h 260"/>
                    <a:gd name="T108" fmla="*/ 97 w 197"/>
                    <a:gd name="T109" fmla="*/ 241 h 260"/>
                    <a:gd name="T110" fmla="*/ 97 w 197"/>
                    <a:gd name="T111" fmla="*/ 251 h 260"/>
                    <a:gd name="T112" fmla="*/ 102 w 197"/>
                    <a:gd name="T113" fmla="*/ 255 h 260"/>
                    <a:gd name="T114" fmla="*/ 114 w 197"/>
                    <a:gd name="T115" fmla="*/ 258 h 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97" h="260">
                      <a:moveTo>
                        <a:pt x="117" y="251"/>
                      </a:moveTo>
                      <a:lnTo>
                        <a:pt x="119" y="251"/>
                      </a:lnTo>
                      <a:lnTo>
                        <a:pt x="120" y="246"/>
                      </a:lnTo>
                      <a:lnTo>
                        <a:pt x="122" y="247"/>
                      </a:lnTo>
                      <a:lnTo>
                        <a:pt x="124" y="246"/>
                      </a:lnTo>
                      <a:lnTo>
                        <a:pt x="134" y="246"/>
                      </a:lnTo>
                      <a:lnTo>
                        <a:pt x="140" y="244"/>
                      </a:lnTo>
                      <a:lnTo>
                        <a:pt x="141" y="243"/>
                      </a:lnTo>
                      <a:lnTo>
                        <a:pt x="144" y="241"/>
                      </a:lnTo>
                      <a:lnTo>
                        <a:pt x="143" y="243"/>
                      </a:lnTo>
                      <a:lnTo>
                        <a:pt x="144" y="246"/>
                      </a:lnTo>
                      <a:lnTo>
                        <a:pt x="147" y="243"/>
                      </a:lnTo>
                      <a:lnTo>
                        <a:pt x="150" y="242"/>
                      </a:lnTo>
                      <a:lnTo>
                        <a:pt x="149" y="240"/>
                      </a:lnTo>
                      <a:lnTo>
                        <a:pt x="150" y="238"/>
                      </a:lnTo>
                      <a:lnTo>
                        <a:pt x="147" y="227"/>
                      </a:lnTo>
                      <a:lnTo>
                        <a:pt x="143" y="223"/>
                      </a:lnTo>
                      <a:lnTo>
                        <a:pt x="144" y="221"/>
                      </a:lnTo>
                      <a:lnTo>
                        <a:pt x="142" y="219"/>
                      </a:lnTo>
                      <a:lnTo>
                        <a:pt x="140" y="219"/>
                      </a:lnTo>
                      <a:lnTo>
                        <a:pt x="135" y="215"/>
                      </a:lnTo>
                      <a:lnTo>
                        <a:pt x="134" y="209"/>
                      </a:lnTo>
                      <a:lnTo>
                        <a:pt x="134" y="205"/>
                      </a:lnTo>
                      <a:lnTo>
                        <a:pt x="133" y="200"/>
                      </a:lnTo>
                      <a:lnTo>
                        <a:pt x="130" y="199"/>
                      </a:lnTo>
                      <a:lnTo>
                        <a:pt x="128" y="201"/>
                      </a:lnTo>
                      <a:lnTo>
                        <a:pt x="125" y="199"/>
                      </a:lnTo>
                      <a:lnTo>
                        <a:pt x="123" y="199"/>
                      </a:lnTo>
                      <a:lnTo>
                        <a:pt x="123" y="195"/>
                      </a:lnTo>
                      <a:lnTo>
                        <a:pt x="125" y="188"/>
                      </a:lnTo>
                      <a:lnTo>
                        <a:pt x="127" y="187"/>
                      </a:lnTo>
                      <a:lnTo>
                        <a:pt x="131" y="181"/>
                      </a:lnTo>
                      <a:lnTo>
                        <a:pt x="131" y="178"/>
                      </a:lnTo>
                      <a:lnTo>
                        <a:pt x="134" y="177"/>
                      </a:lnTo>
                      <a:lnTo>
                        <a:pt x="136" y="174"/>
                      </a:lnTo>
                      <a:lnTo>
                        <a:pt x="139" y="177"/>
                      </a:lnTo>
                      <a:lnTo>
                        <a:pt x="140" y="180"/>
                      </a:lnTo>
                      <a:lnTo>
                        <a:pt x="142" y="180"/>
                      </a:lnTo>
                      <a:lnTo>
                        <a:pt x="147" y="177"/>
                      </a:lnTo>
                      <a:lnTo>
                        <a:pt x="154" y="177"/>
                      </a:lnTo>
                      <a:lnTo>
                        <a:pt x="159" y="170"/>
                      </a:lnTo>
                      <a:lnTo>
                        <a:pt x="161" y="160"/>
                      </a:lnTo>
                      <a:lnTo>
                        <a:pt x="168" y="155"/>
                      </a:lnTo>
                      <a:lnTo>
                        <a:pt x="170" y="151"/>
                      </a:lnTo>
                      <a:lnTo>
                        <a:pt x="171" y="146"/>
                      </a:lnTo>
                      <a:lnTo>
                        <a:pt x="174" y="140"/>
                      </a:lnTo>
                      <a:lnTo>
                        <a:pt x="178" y="138"/>
                      </a:lnTo>
                      <a:lnTo>
                        <a:pt x="179" y="133"/>
                      </a:lnTo>
                      <a:lnTo>
                        <a:pt x="179" y="130"/>
                      </a:lnTo>
                      <a:lnTo>
                        <a:pt x="178" y="129"/>
                      </a:lnTo>
                      <a:lnTo>
                        <a:pt x="182" y="123"/>
                      </a:lnTo>
                      <a:lnTo>
                        <a:pt x="184" y="121"/>
                      </a:lnTo>
                      <a:lnTo>
                        <a:pt x="185" y="117"/>
                      </a:lnTo>
                      <a:lnTo>
                        <a:pt x="185" y="108"/>
                      </a:lnTo>
                      <a:lnTo>
                        <a:pt x="184" y="102"/>
                      </a:lnTo>
                      <a:lnTo>
                        <a:pt x="183" y="101"/>
                      </a:lnTo>
                      <a:lnTo>
                        <a:pt x="187" y="96"/>
                      </a:lnTo>
                      <a:lnTo>
                        <a:pt x="190" y="94"/>
                      </a:lnTo>
                      <a:lnTo>
                        <a:pt x="192" y="93"/>
                      </a:lnTo>
                      <a:lnTo>
                        <a:pt x="195" y="93"/>
                      </a:lnTo>
                      <a:lnTo>
                        <a:pt x="197" y="89"/>
                      </a:lnTo>
                      <a:lnTo>
                        <a:pt x="197" y="85"/>
                      </a:lnTo>
                      <a:lnTo>
                        <a:pt x="193" y="84"/>
                      </a:lnTo>
                      <a:lnTo>
                        <a:pt x="190" y="86"/>
                      </a:lnTo>
                      <a:lnTo>
                        <a:pt x="185" y="85"/>
                      </a:lnTo>
                      <a:lnTo>
                        <a:pt x="184" y="80"/>
                      </a:lnTo>
                      <a:lnTo>
                        <a:pt x="179" y="78"/>
                      </a:lnTo>
                      <a:lnTo>
                        <a:pt x="174" y="77"/>
                      </a:lnTo>
                      <a:lnTo>
                        <a:pt x="168" y="71"/>
                      </a:lnTo>
                      <a:lnTo>
                        <a:pt x="168" y="66"/>
                      </a:lnTo>
                      <a:lnTo>
                        <a:pt x="165" y="54"/>
                      </a:lnTo>
                      <a:lnTo>
                        <a:pt x="163" y="49"/>
                      </a:lnTo>
                      <a:lnTo>
                        <a:pt x="163" y="44"/>
                      </a:lnTo>
                      <a:lnTo>
                        <a:pt x="165" y="43"/>
                      </a:lnTo>
                      <a:lnTo>
                        <a:pt x="166" y="39"/>
                      </a:lnTo>
                      <a:lnTo>
                        <a:pt x="170" y="36"/>
                      </a:lnTo>
                      <a:lnTo>
                        <a:pt x="169" y="32"/>
                      </a:lnTo>
                      <a:lnTo>
                        <a:pt x="165" y="31"/>
                      </a:lnTo>
                      <a:lnTo>
                        <a:pt x="164" y="28"/>
                      </a:lnTo>
                      <a:lnTo>
                        <a:pt x="161" y="25"/>
                      </a:lnTo>
                      <a:lnTo>
                        <a:pt x="157" y="21"/>
                      </a:lnTo>
                      <a:lnTo>
                        <a:pt x="154" y="17"/>
                      </a:lnTo>
                      <a:lnTo>
                        <a:pt x="151" y="18"/>
                      </a:lnTo>
                      <a:lnTo>
                        <a:pt x="149" y="18"/>
                      </a:lnTo>
                      <a:lnTo>
                        <a:pt x="147" y="16"/>
                      </a:lnTo>
                      <a:lnTo>
                        <a:pt x="147" y="10"/>
                      </a:lnTo>
                      <a:lnTo>
                        <a:pt x="154" y="5"/>
                      </a:lnTo>
                      <a:lnTo>
                        <a:pt x="153" y="1"/>
                      </a:lnTo>
                      <a:lnTo>
                        <a:pt x="148" y="2"/>
                      </a:lnTo>
                      <a:lnTo>
                        <a:pt x="145" y="0"/>
                      </a:lnTo>
                      <a:lnTo>
                        <a:pt x="140" y="3"/>
                      </a:lnTo>
                      <a:lnTo>
                        <a:pt x="137" y="7"/>
                      </a:lnTo>
                      <a:lnTo>
                        <a:pt x="133" y="7"/>
                      </a:lnTo>
                      <a:lnTo>
                        <a:pt x="131" y="11"/>
                      </a:lnTo>
                      <a:lnTo>
                        <a:pt x="128" y="14"/>
                      </a:lnTo>
                      <a:lnTo>
                        <a:pt x="134" y="25"/>
                      </a:lnTo>
                      <a:lnTo>
                        <a:pt x="135" y="32"/>
                      </a:lnTo>
                      <a:lnTo>
                        <a:pt x="128" y="43"/>
                      </a:lnTo>
                      <a:lnTo>
                        <a:pt x="132" y="46"/>
                      </a:lnTo>
                      <a:lnTo>
                        <a:pt x="132" y="51"/>
                      </a:lnTo>
                      <a:lnTo>
                        <a:pt x="128" y="58"/>
                      </a:lnTo>
                      <a:lnTo>
                        <a:pt x="123" y="58"/>
                      </a:lnTo>
                      <a:lnTo>
                        <a:pt x="117" y="56"/>
                      </a:lnTo>
                      <a:lnTo>
                        <a:pt x="114" y="58"/>
                      </a:lnTo>
                      <a:lnTo>
                        <a:pt x="116" y="63"/>
                      </a:lnTo>
                      <a:lnTo>
                        <a:pt x="119" y="64"/>
                      </a:lnTo>
                      <a:lnTo>
                        <a:pt x="120" y="69"/>
                      </a:lnTo>
                      <a:lnTo>
                        <a:pt x="119" y="72"/>
                      </a:lnTo>
                      <a:lnTo>
                        <a:pt x="116" y="74"/>
                      </a:lnTo>
                      <a:lnTo>
                        <a:pt x="113" y="74"/>
                      </a:lnTo>
                      <a:lnTo>
                        <a:pt x="112" y="77"/>
                      </a:lnTo>
                      <a:lnTo>
                        <a:pt x="112" y="83"/>
                      </a:lnTo>
                      <a:lnTo>
                        <a:pt x="111" y="87"/>
                      </a:lnTo>
                      <a:lnTo>
                        <a:pt x="110" y="89"/>
                      </a:lnTo>
                      <a:lnTo>
                        <a:pt x="109" y="91"/>
                      </a:lnTo>
                      <a:lnTo>
                        <a:pt x="110" y="98"/>
                      </a:lnTo>
                      <a:lnTo>
                        <a:pt x="108" y="104"/>
                      </a:lnTo>
                      <a:lnTo>
                        <a:pt x="105" y="100"/>
                      </a:lnTo>
                      <a:lnTo>
                        <a:pt x="103" y="100"/>
                      </a:lnTo>
                      <a:lnTo>
                        <a:pt x="103" y="102"/>
                      </a:lnTo>
                      <a:lnTo>
                        <a:pt x="99" y="101"/>
                      </a:lnTo>
                      <a:lnTo>
                        <a:pt x="98" y="101"/>
                      </a:lnTo>
                      <a:lnTo>
                        <a:pt x="95" y="101"/>
                      </a:lnTo>
                      <a:lnTo>
                        <a:pt x="94" y="103"/>
                      </a:lnTo>
                      <a:lnTo>
                        <a:pt x="88" y="108"/>
                      </a:lnTo>
                      <a:lnTo>
                        <a:pt x="91" y="108"/>
                      </a:lnTo>
                      <a:lnTo>
                        <a:pt x="89" y="111"/>
                      </a:lnTo>
                      <a:lnTo>
                        <a:pt x="84" y="114"/>
                      </a:lnTo>
                      <a:lnTo>
                        <a:pt x="82" y="112"/>
                      </a:lnTo>
                      <a:lnTo>
                        <a:pt x="78" y="113"/>
                      </a:lnTo>
                      <a:lnTo>
                        <a:pt x="78" y="116"/>
                      </a:lnTo>
                      <a:lnTo>
                        <a:pt x="77" y="118"/>
                      </a:lnTo>
                      <a:lnTo>
                        <a:pt x="74" y="120"/>
                      </a:lnTo>
                      <a:lnTo>
                        <a:pt x="73" y="122"/>
                      </a:lnTo>
                      <a:lnTo>
                        <a:pt x="73" y="127"/>
                      </a:lnTo>
                      <a:lnTo>
                        <a:pt x="74" y="132"/>
                      </a:lnTo>
                      <a:lnTo>
                        <a:pt x="74" y="136"/>
                      </a:lnTo>
                      <a:lnTo>
                        <a:pt x="74" y="139"/>
                      </a:lnTo>
                      <a:lnTo>
                        <a:pt x="74" y="143"/>
                      </a:lnTo>
                      <a:lnTo>
                        <a:pt x="68" y="146"/>
                      </a:lnTo>
                      <a:lnTo>
                        <a:pt x="64" y="146"/>
                      </a:lnTo>
                      <a:lnTo>
                        <a:pt x="59" y="146"/>
                      </a:lnTo>
                      <a:lnTo>
                        <a:pt x="52" y="146"/>
                      </a:lnTo>
                      <a:lnTo>
                        <a:pt x="46" y="148"/>
                      </a:lnTo>
                      <a:lnTo>
                        <a:pt x="45" y="150"/>
                      </a:lnTo>
                      <a:lnTo>
                        <a:pt x="40" y="150"/>
                      </a:lnTo>
                      <a:lnTo>
                        <a:pt x="36" y="151"/>
                      </a:lnTo>
                      <a:lnTo>
                        <a:pt x="19" y="152"/>
                      </a:lnTo>
                      <a:lnTo>
                        <a:pt x="0" y="145"/>
                      </a:lnTo>
                      <a:lnTo>
                        <a:pt x="0" y="145"/>
                      </a:lnTo>
                      <a:lnTo>
                        <a:pt x="7" y="157"/>
                      </a:lnTo>
                      <a:lnTo>
                        <a:pt x="9" y="161"/>
                      </a:lnTo>
                      <a:lnTo>
                        <a:pt x="12" y="166"/>
                      </a:lnTo>
                      <a:lnTo>
                        <a:pt x="16" y="168"/>
                      </a:lnTo>
                      <a:lnTo>
                        <a:pt x="17" y="170"/>
                      </a:lnTo>
                      <a:lnTo>
                        <a:pt x="22" y="170"/>
                      </a:lnTo>
                      <a:lnTo>
                        <a:pt x="25" y="171"/>
                      </a:lnTo>
                      <a:lnTo>
                        <a:pt x="25" y="173"/>
                      </a:lnTo>
                      <a:lnTo>
                        <a:pt x="29" y="174"/>
                      </a:lnTo>
                      <a:lnTo>
                        <a:pt x="29" y="179"/>
                      </a:lnTo>
                      <a:lnTo>
                        <a:pt x="30" y="184"/>
                      </a:lnTo>
                      <a:lnTo>
                        <a:pt x="30" y="188"/>
                      </a:lnTo>
                      <a:lnTo>
                        <a:pt x="31" y="191"/>
                      </a:lnTo>
                      <a:lnTo>
                        <a:pt x="35" y="191"/>
                      </a:lnTo>
                      <a:lnTo>
                        <a:pt x="38" y="194"/>
                      </a:lnTo>
                      <a:lnTo>
                        <a:pt x="39" y="200"/>
                      </a:lnTo>
                      <a:lnTo>
                        <a:pt x="36" y="202"/>
                      </a:lnTo>
                      <a:lnTo>
                        <a:pt x="33" y="201"/>
                      </a:lnTo>
                      <a:lnTo>
                        <a:pt x="26" y="203"/>
                      </a:lnTo>
                      <a:lnTo>
                        <a:pt x="25" y="205"/>
                      </a:lnTo>
                      <a:lnTo>
                        <a:pt x="20" y="207"/>
                      </a:lnTo>
                      <a:lnTo>
                        <a:pt x="19" y="211"/>
                      </a:lnTo>
                      <a:lnTo>
                        <a:pt x="19" y="213"/>
                      </a:lnTo>
                      <a:lnTo>
                        <a:pt x="18" y="217"/>
                      </a:lnTo>
                      <a:lnTo>
                        <a:pt x="19" y="221"/>
                      </a:lnTo>
                      <a:lnTo>
                        <a:pt x="19" y="227"/>
                      </a:lnTo>
                      <a:lnTo>
                        <a:pt x="19" y="230"/>
                      </a:lnTo>
                      <a:lnTo>
                        <a:pt x="20" y="230"/>
                      </a:lnTo>
                      <a:lnTo>
                        <a:pt x="20" y="232"/>
                      </a:lnTo>
                      <a:lnTo>
                        <a:pt x="21" y="233"/>
                      </a:lnTo>
                      <a:lnTo>
                        <a:pt x="25" y="230"/>
                      </a:lnTo>
                      <a:lnTo>
                        <a:pt x="29" y="229"/>
                      </a:lnTo>
                      <a:lnTo>
                        <a:pt x="29" y="231"/>
                      </a:lnTo>
                      <a:lnTo>
                        <a:pt x="29" y="231"/>
                      </a:lnTo>
                      <a:lnTo>
                        <a:pt x="32" y="229"/>
                      </a:lnTo>
                      <a:lnTo>
                        <a:pt x="35" y="229"/>
                      </a:lnTo>
                      <a:lnTo>
                        <a:pt x="36" y="229"/>
                      </a:lnTo>
                      <a:lnTo>
                        <a:pt x="39" y="229"/>
                      </a:lnTo>
                      <a:lnTo>
                        <a:pt x="40" y="229"/>
                      </a:lnTo>
                      <a:lnTo>
                        <a:pt x="42" y="229"/>
                      </a:lnTo>
                      <a:lnTo>
                        <a:pt x="42" y="227"/>
                      </a:lnTo>
                      <a:lnTo>
                        <a:pt x="43" y="225"/>
                      </a:lnTo>
                      <a:lnTo>
                        <a:pt x="46" y="228"/>
                      </a:lnTo>
                      <a:lnTo>
                        <a:pt x="48" y="228"/>
                      </a:lnTo>
                      <a:lnTo>
                        <a:pt x="48" y="226"/>
                      </a:lnTo>
                      <a:lnTo>
                        <a:pt x="50" y="226"/>
                      </a:lnTo>
                      <a:lnTo>
                        <a:pt x="51" y="229"/>
                      </a:lnTo>
                      <a:lnTo>
                        <a:pt x="53" y="229"/>
                      </a:lnTo>
                      <a:lnTo>
                        <a:pt x="55" y="230"/>
                      </a:lnTo>
                      <a:lnTo>
                        <a:pt x="57" y="230"/>
                      </a:lnTo>
                      <a:lnTo>
                        <a:pt x="60" y="226"/>
                      </a:lnTo>
                      <a:lnTo>
                        <a:pt x="64" y="226"/>
                      </a:lnTo>
                      <a:lnTo>
                        <a:pt x="67" y="227"/>
                      </a:lnTo>
                      <a:lnTo>
                        <a:pt x="68" y="225"/>
                      </a:lnTo>
                      <a:lnTo>
                        <a:pt x="71" y="225"/>
                      </a:lnTo>
                      <a:lnTo>
                        <a:pt x="71" y="224"/>
                      </a:lnTo>
                      <a:lnTo>
                        <a:pt x="72" y="225"/>
                      </a:lnTo>
                      <a:lnTo>
                        <a:pt x="76" y="226"/>
                      </a:lnTo>
                      <a:lnTo>
                        <a:pt x="80" y="225"/>
                      </a:lnTo>
                      <a:lnTo>
                        <a:pt x="84" y="224"/>
                      </a:lnTo>
                      <a:lnTo>
                        <a:pt x="87" y="227"/>
                      </a:lnTo>
                      <a:lnTo>
                        <a:pt x="88" y="231"/>
                      </a:lnTo>
                      <a:lnTo>
                        <a:pt x="88" y="234"/>
                      </a:lnTo>
                      <a:lnTo>
                        <a:pt x="88" y="234"/>
                      </a:lnTo>
                      <a:lnTo>
                        <a:pt x="88" y="235"/>
                      </a:lnTo>
                      <a:lnTo>
                        <a:pt x="88" y="236"/>
                      </a:lnTo>
                      <a:lnTo>
                        <a:pt x="90" y="236"/>
                      </a:lnTo>
                      <a:lnTo>
                        <a:pt x="94" y="233"/>
                      </a:lnTo>
                      <a:lnTo>
                        <a:pt x="94" y="237"/>
                      </a:lnTo>
                      <a:lnTo>
                        <a:pt x="97" y="241"/>
                      </a:lnTo>
                      <a:lnTo>
                        <a:pt x="98" y="247"/>
                      </a:lnTo>
                      <a:lnTo>
                        <a:pt x="98" y="248"/>
                      </a:lnTo>
                      <a:lnTo>
                        <a:pt x="98" y="250"/>
                      </a:lnTo>
                      <a:lnTo>
                        <a:pt x="97" y="251"/>
                      </a:lnTo>
                      <a:lnTo>
                        <a:pt x="98" y="252"/>
                      </a:lnTo>
                      <a:lnTo>
                        <a:pt x="99" y="252"/>
                      </a:lnTo>
                      <a:lnTo>
                        <a:pt x="100" y="255"/>
                      </a:lnTo>
                      <a:lnTo>
                        <a:pt x="102" y="255"/>
                      </a:lnTo>
                      <a:lnTo>
                        <a:pt x="107" y="255"/>
                      </a:lnTo>
                      <a:lnTo>
                        <a:pt x="112" y="258"/>
                      </a:lnTo>
                      <a:lnTo>
                        <a:pt x="112" y="260"/>
                      </a:lnTo>
                      <a:lnTo>
                        <a:pt x="114" y="258"/>
                      </a:lnTo>
                      <a:lnTo>
                        <a:pt x="114" y="253"/>
                      </a:lnTo>
                      <a:lnTo>
                        <a:pt x="117" y="25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55" name="Freeform 556">
                  <a:extLst>
                    <a:ext uri="{FF2B5EF4-FFF2-40B4-BE49-F238E27FC236}">
                      <a16:creationId xmlns:a16="http://schemas.microsoft.com/office/drawing/2014/main" id="{083C29D6-2558-4483-83F0-D18A4258B5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95" y="2117"/>
                  <a:ext cx="103" cy="102"/>
                </a:xfrm>
                <a:custGeom>
                  <a:avLst/>
                  <a:gdLst>
                    <a:gd name="T0" fmla="*/ 101 w 103"/>
                    <a:gd name="T1" fmla="*/ 96 h 102"/>
                    <a:gd name="T2" fmla="*/ 102 w 103"/>
                    <a:gd name="T3" fmla="*/ 87 h 102"/>
                    <a:gd name="T4" fmla="*/ 97 w 103"/>
                    <a:gd name="T5" fmla="*/ 78 h 102"/>
                    <a:gd name="T6" fmla="*/ 94 w 103"/>
                    <a:gd name="T7" fmla="*/ 62 h 102"/>
                    <a:gd name="T8" fmla="*/ 87 w 103"/>
                    <a:gd name="T9" fmla="*/ 55 h 102"/>
                    <a:gd name="T10" fmla="*/ 81 w 103"/>
                    <a:gd name="T11" fmla="*/ 42 h 102"/>
                    <a:gd name="T12" fmla="*/ 71 w 103"/>
                    <a:gd name="T13" fmla="*/ 36 h 102"/>
                    <a:gd name="T14" fmla="*/ 68 w 103"/>
                    <a:gd name="T15" fmla="*/ 31 h 102"/>
                    <a:gd name="T16" fmla="*/ 57 w 103"/>
                    <a:gd name="T17" fmla="*/ 31 h 102"/>
                    <a:gd name="T18" fmla="*/ 53 w 103"/>
                    <a:gd name="T19" fmla="*/ 27 h 102"/>
                    <a:gd name="T20" fmla="*/ 49 w 103"/>
                    <a:gd name="T21" fmla="*/ 19 h 102"/>
                    <a:gd name="T22" fmla="*/ 41 w 103"/>
                    <a:gd name="T23" fmla="*/ 3 h 102"/>
                    <a:gd name="T24" fmla="*/ 37 w 103"/>
                    <a:gd name="T25" fmla="*/ 0 h 102"/>
                    <a:gd name="T26" fmla="*/ 35 w 103"/>
                    <a:gd name="T27" fmla="*/ 3 h 102"/>
                    <a:gd name="T28" fmla="*/ 31 w 103"/>
                    <a:gd name="T29" fmla="*/ 4 h 102"/>
                    <a:gd name="T30" fmla="*/ 26 w 103"/>
                    <a:gd name="T31" fmla="*/ 2 h 102"/>
                    <a:gd name="T32" fmla="*/ 24 w 103"/>
                    <a:gd name="T33" fmla="*/ 3 h 102"/>
                    <a:gd name="T34" fmla="*/ 15 w 103"/>
                    <a:gd name="T35" fmla="*/ 12 h 102"/>
                    <a:gd name="T36" fmla="*/ 7 w 103"/>
                    <a:gd name="T37" fmla="*/ 18 h 102"/>
                    <a:gd name="T38" fmla="*/ 0 w 103"/>
                    <a:gd name="T39" fmla="*/ 29 h 102"/>
                    <a:gd name="T40" fmla="*/ 4 w 103"/>
                    <a:gd name="T41" fmla="*/ 31 h 102"/>
                    <a:gd name="T42" fmla="*/ 10 w 103"/>
                    <a:gd name="T43" fmla="*/ 34 h 102"/>
                    <a:gd name="T44" fmla="*/ 17 w 103"/>
                    <a:gd name="T45" fmla="*/ 41 h 102"/>
                    <a:gd name="T46" fmla="*/ 22 w 103"/>
                    <a:gd name="T47" fmla="*/ 45 h 102"/>
                    <a:gd name="T48" fmla="*/ 19 w 103"/>
                    <a:gd name="T49" fmla="*/ 52 h 102"/>
                    <a:gd name="T50" fmla="*/ 16 w 103"/>
                    <a:gd name="T51" fmla="*/ 57 h 102"/>
                    <a:gd name="T52" fmla="*/ 18 w 103"/>
                    <a:gd name="T53" fmla="*/ 67 h 102"/>
                    <a:gd name="T54" fmla="*/ 21 w 103"/>
                    <a:gd name="T55" fmla="*/ 84 h 102"/>
                    <a:gd name="T56" fmla="*/ 32 w 103"/>
                    <a:gd name="T57" fmla="*/ 91 h 102"/>
                    <a:gd name="T58" fmla="*/ 38 w 103"/>
                    <a:gd name="T59" fmla="*/ 98 h 102"/>
                    <a:gd name="T60" fmla="*/ 46 w 103"/>
                    <a:gd name="T61" fmla="*/ 97 h 102"/>
                    <a:gd name="T62" fmla="*/ 50 w 103"/>
                    <a:gd name="T63" fmla="*/ 102 h 102"/>
                    <a:gd name="T64" fmla="*/ 55 w 103"/>
                    <a:gd name="T65" fmla="*/ 93 h 102"/>
                    <a:gd name="T66" fmla="*/ 63 w 103"/>
                    <a:gd name="T67" fmla="*/ 88 h 102"/>
                    <a:gd name="T68" fmla="*/ 68 w 103"/>
                    <a:gd name="T69" fmla="*/ 84 h 102"/>
                    <a:gd name="T70" fmla="*/ 80 w 103"/>
                    <a:gd name="T71" fmla="*/ 87 h 102"/>
                    <a:gd name="T72" fmla="*/ 85 w 103"/>
                    <a:gd name="T73" fmla="*/ 94 h 102"/>
                    <a:gd name="T74" fmla="*/ 94 w 103"/>
                    <a:gd name="T75" fmla="*/ 98 h 102"/>
                    <a:gd name="T76" fmla="*/ 98 w 103"/>
                    <a:gd name="T77" fmla="*/ 93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03" h="102">
                      <a:moveTo>
                        <a:pt x="100" y="93"/>
                      </a:moveTo>
                      <a:lnTo>
                        <a:pt x="101" y="96"/>
                      </a:lnTo>
                      <a:lnTo>
                        <a:pt x="103" y="93"/>
                      </a:lnTo>
                      <a:lnTo>
                        <a:pt x="102" y="87"/>
                      </a:lnTo>
                      <a:lnTo>
                        <a:pt x="100" y="79"/>
                      </a:lnTo>
                      <a:lnTo>
                        <a:pt x="97" y="78"/>
                      </a:lnTo>
                      <a:lnTo>
                        <a:pt x="94" y="70"/>
                      </a:lnTo>
                      <a:lnTo>
                        <a:pt x="94" y="62"/>
                      </a:lnTo>
                      <a:lnTo>
                        <a:pt x="92" y="58"/>
                      </a:lnTo>
                      <a:lnTo>
                        <a:pt x="87" y="55"/>
                      </a:lnTo>
                      <a:lnTo>
                        <a:pt x="83" y="50"/>
                      </a:lnTo>
                      <a:lnTo>
                        <a:pt x="81" y="42"/>
                      </a:lnTo>
                      <a:lnTo>
                        <a:pt x="76" y="38"/>
                      </a:lnTo>
                      <a:lnTo>
                        <a:pt x="71" y="36"/>
                      </a:lnTo>
                      <a:lnTo>
                        <a:pt x="71" y="32"/>
                      </a:lnTo>
                      <a:lnTo>
                        <a:pt x="68" y="31"/>
                      </a:lnTo>
                      <a:lnTo>
                        <a:pt x="62" y="31"/>
                      </a:lnTo>
                      <a:lnTo>
                        <a:pt x="57" y="31"/>
                      </a:lnTo>
                      <a:lnTo>
                        <a:pt x="55" y="28"/>
                      </a:lnTo>
                      <a:lnTo>
                        <a:pt x="53" y="27"/>
                      </a:lnTo>
                      <a:lnTo>
                        <a:pt x="52" y="22"/>
                      </a:lnTo>
                      <a:lnTo>
                        <a:pt x="49" y="19"/>
                      </a:lnTo>
                      <a:lnTo>
                        <a:pt x="42" y="8"/>
                      </a:lnTo>
                      <a:lnTo>
                        <a:pt x="41" y="3"/>
                      </a:lnTo>
                      <a:lnTo>
                        <a:pt x="39" y="0"/>
                      </a:lnTo>
                      <a:lnTo>
                        <a:pt x="37" y="0"/>
                      </a:lnTo>
                      <a:lnTo>
                        <a:pt x="36" y="2"/>
                      </a:lnTo>
                      <a:lnTo>
                        <a:pt x="35" y="3"/>
                      </a:lnTo>
                      <a:lnTo>
                        <a:pt x="32" y="3"/>
                      </a:lnTo>
                      <a:lnTo>
                        <a:pt x="31" y="4"/>
                      </a:lnTo>
                      <a:lnTo>
                        <a:pt x="28" y="1"/>
                      </a:lnTo>
                      <a:lnTo>
                        <a:pt x="26" y="2"/>
                      </a:lnTo>
                      <a:lnTo>
                        <a:pt x="24" y="3"/>
                      </a:lnTo>
                      <a:lnTo>
                        <a:pt x="24" y="3"/>
                      </a:lnTo>
                      <a:lnTo>
                        <a:pt x="22" y="9"/>
                      </a:lnTo>
                      <a:lnTo>
                        <a:pt x="15" y="12"/>
                      </a:lnTo>
                      <a:lnTo>
                        <a:pt x="6" y="14"/>
                      </a:lnTo>
                      <a:lnTo>
                        <a:pt x="7" y="18"/>
                      </a:lnTo>
                      <a:lnTo>
                        <a:pt x="0" y="23"/>
                      </a:lnTo>
                      <a:lnTo>
                        <a:pt x="0" y="29"/>
                      </a:lnTo>
                      <a:lnTo>
                        <a:pt x="2" y="31"/>
                      </a:lnTo>
                      <a:lnTo>
                        <a:pt x="4" y="31"/>
                      </a:lnTo>
                      <a:lnTo>
                        <a:pt x="7" y="30"/>
                      </a:lnTo>
                      <a:lnTo>
                        <a:pt x="10" y="34"/>
                      </a:lnTo>
                      <a:lnTo>
                        <a:pt x="14" y="38"/>
                      </a:lnTo>
                      <a:lnTo>
                        <a:pt x="17" y="41"/>
                      </a:lnTo>
                      <a:lnTo>
                        <a:pt x="18" y="44"/>
                      </a:lnTo>
                      <a:lnTo>
                        <a:pt x="22" y="45"/>
                      </a:lnTo>
                      <a:lnTo>
                        <a:pt x="23" y="49"/>
                      </a:lnTo>
                      <a:lnTo>
                        <a:pt x="19" y="52"/>
                      </a:lnTo>
                      <a:lnTo>
                        <a:pt x="18" y="56"/>
                      </a:lnTo>
                      <a:lnTo>
                        <a:pt x="16" y="57"/>
                      </a:lnTo>
                      <a:lnTo>
                        <a:pt x="16" y="62"/>
                      </a:lnTo>
                      <a:lnTo>
                        <a:pt x="18" y="67"/>
                      </a:lnTo>
                      <a:lnTo>
                        <a:pt x="21" y="79"/>
                      </a:lnTo>
                      <a:lnTo>
                        <a:pt x="21" y="84"/>
                      </a:lnTo>
                      <a:lnTo>
                        <a:pt x="27" y="90"/>
                      </a:lnTo>
                      <a:lnTo>
                        <a:pt x="32" y="91"/>
                      </a:lnTo>
                      <a:lnTo>
                        <a:pt x="37" y="93"/>
                      </a:lnTo>
                      <a:lnTo>
                        <a:pt x="38" y="98"/>
                      </a:lnTo>
                      <a:lnTo>
                        <a:pt x="43" y="99"/>
                      </a:lnTo>
                      <a:lnTo>
                        <a:pt x="46" y="97"/>
                      </a:lnTo>
                      <a:lnTo>
                        <a:pt x="50" y="98"/>
                      </a:lnTo>
                      <a:lnTo>
                        <a:pt x="50" y="102"/>
                      </a:lnTo>
                      <a:lnTo>
                        <a:pt x="51" y="101"/>
                      </a:lnTo>
                      <a:lnTo>
                        <a:pt x="55" y="93"/>
                      </a:lnTo>
                      <a:lnTo>
                        <a:pt x="59" y="88"/>
                      </a:lnTo>
                      <a:lnTo>
                        <a:pt x="63" y="88"/>
                      </a:lnTo>
                      <a:lnTo>
                        <a:pt x="65" y="84"/>
                      </a:lnTo>
                      <a:lnTo>
                        <a:pt x="68" y="84"/>
                      </a:lnTo>
                      <a:lnTo>
                        <a:pt x="76" y="90"/>
                      </a:lnTo>
                      <a:lnTo>
                        <a:pt x="80" y="87"/>
                      </a:lnTo>
                      <a:lnTo>
                        <a:pt x="83" y="90"/>
                      </a:lnTo>
                      <a:lnTo>
                        <a:pt x="85" y="94"/>
                      </a:lnTo>
                      <a:lnTo>
                        <a:pt x="88" y="93"/>
                      </a:lnTo>
                      <a:lnTo>
                        <a:pt x="94" y="98"/>
                      </a:lnTo>
                      <a:lnTo>
                        <a:pt x="94" y="98"/>
                      </a:lnTo>
                      <a:lnTo>
                        <a:pt x="98" y="93"/>
                      </a:lnTo>
                      <a:lnTo>
                        <a:pt x="100" y="9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56" name="Freeform 557">
                  <a:extLst>
                    <a:ext uri="{FF2B5EF4-FFF2-40B4-BE49-F238E27FC236}">
                      <a16:creationId xmlns:a16="http://schemas.microsoft.com/office/drawing/2014/main" id="{F1CEA949-7234-4612-8426-302D9BFB16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34" y="2094"/>
                  <a:ext cx="188" cy="188"/>
                </a:xfrm>
                <a:custGeom>
                  <a:avLst/>
                  <a:gdLst>
                    <a:gd name="T0" fmla="*/ 185 w 188"/>
                    <a:gd name="T1" fmla="*/ 26 h 188"/>
                    <a:gd name="T2" fmla="*/ 187 w 188"/>
                    <a:gd name="T3" fmla="*/ 18 h 188"/>
                    <a:gd name="T4" fmla="*/ 174 w 188"/>
                    <a:gd name="T5" fmla="*/ 21 h 188"/>
                    <a:gd name="T6" fmla="*/ 163 w 188"/>
                    <a:gd name="T7" fmla="*/ 23 h 188"/>
                    <a:gd name="T8" fmla="*/ 158 w 188"/>
                    <a:gd name="T9" fmla="*/ 31 h 188"/>
                    <a:gd name="T10" fmla="*/ 150 w 188"/>
                    <a:gd name="T11" fmla="*/ 38 h 188"/>
                    <a:gd name="T12" fmla="*/ 144 w 188"/>
                    <a:gd name="T13" fmla="*/ 34 h 188"/>
                    <a:gd name="T14" fmla="*/ 141 w 188"/>
                    <a:gd name="T15" fmla="*/ 21 h 188"/>
                    <a:gd name="T16" fmla="*/ 138 w 188"/>
                    <a:gd name="T17" fmla="*/ 13 h 188"/>
                    <a:gd name="T18" fmla="*/ 138 w 188"/>
                    <a:gd name="T19" fmla="*/ 4 h 188"/>
                    <a:gd name="T20" fmla="*/ 130 w 188"/>
                    <a:gd name="T21" fmla="*/ 0 h 188"/>
                    <a:gd name="T22" fmla="*/ 126 w 188"/>
                    <a:gd name="T23" fmla="*/ 10 h 188"/>
                    <a:gd name="T24" fmla="*/ 123 w 188"/>
                    <a:gd name="T25" fmla="*/ 20 h 188"/>
                    <a:gd name="T26" fmla="*/ 119 w 188"/>
                    <a:gd name="T27" fmla="*/ 19 h 188"/>
                    <a:gd name="T28" fmla="*/ 114 w 188"/>
                    <a:gd name="T29" fmla="*/ 24 h 188"/>
                    <a:gd name="T30" fmla="*/ 111 w 188"/>
                    <a:gd name="T31" fmla="*/ 28 h 188"/>
                    <a:gd name="T32" fmla="*/ 106 w 188"/>
                    <a:gd name="T33" fmla="*/ 27 h 188"/>
                    <a:gd name="T34" fmla="*/ 100 w 188"/>
                    <a:gd name="T35" fmla="*/ 31 h 188"/>
                    <a:gd name="T36" fmla="*/ 90 w 188"/>
                    <a:gd name="T37" fmla="*/ 27 h 188"/>
                    <a:gd name="T38" fmla="*/ 83 w 188"/>
                    <a:gd name="T39" fmla="*/ 29 h 188"/>
                    <a:gd name="T40" fmla="*/ 74 w 188"/>
                    <a:gd name="T41" fmla="*/ 26 h 188"/>
                    <a:gd name="T42" fmla="*/ 67 w 188"/>
                    <a:gd name="T43" fmla="*/ 23 h 188"/>
                    <a:gd name="T44" fmla="*/ 58 w 188"/>
                    <a:gd name="T45" fmla="*/ 28 h 188"/>
                    <a:gd name="T46" fmla="*/ 52 w 188"/>
                    <a:gd name="T47" fmla="*/ 31 h 188"/>
                    <a:gd name="T48" fmla="*/ 53 w 188"/>
                    <a:gd name="T49" fmla="*/ 38 h 188"/>
                    <a:gd name="T50" fmla="*/ 49 w 188"/>
                    <a:gd name="T51" fmla="*/ 51 h 188"/>
                    <a:gd name="T52" fmla="*/ 43 w 188"/>
                    <a:gd name="T53" fmla="*/ 55 h 188"/>
                    <a:gd name="T54" fmla="*/ 34 w 188"/>
                    <a:gd name="T55" fmla="*/ 62 h 188"/>
                    <a:gd name="T56" fmla="*/ 30 w 188"/>
                    <a:gd name="T57" fmla="*/ 69 h 188"/>
                    <a:gd name="T58" fmla="*/ 23 w 188"/>
                    <a:gd name="T59" fmla="*/ 70 h 188"/>
                    <a:gd name="T60" fmla="*/ 17 w 188"/>
                    <a:gd name="T61" fmla="*/ 65 h 188"/>
                    <a:gd name="T62" fmla="*/ 11 w 188"/>
                    <a:gd name="T63" fmla="*/ 65 h 188"/>
                    <a:gd name="T64" fmla="*/ 6 w 188"/>
                    <a:gd name="T65" fmla="*/ 65 h 188"/>
                    <a:gd name="T66" fmla="*/ 5 w 188"/>
                    <a:gd name="T67" fmla="*/ 75 h 188"/>
                    <a:gd name="T68" fmla="*/ 7 w 188"/>
                    <a:gd name="T69" fmla="*/ 81 h 188"/>
                    <a:gd name="T70" fmla="*/ 1 w 188"/>
                    <a:gd name="T71" fmla="*/ 87 h 188"/>
                    <a:gd name="T72" fmla="*/ 2 w 188"/>
                    <a:gd name="T73" fmla="*/ 94 h 188"/>
                    <a:gd name="T74" fmla="*/ 7 w 188"/>
                    <a:gd name="T75" fmla="*/ 105 h 188"/>
                    <a:gd name="T76" fmla="*/ 3 w 188"/>
                    <a:gd name="T77" fmla="*/ 116 h 188"/>
                    <a:gd name="T78" fmla="*/ 9 w 188"/>
                    <a:gd name="T79" fmla="*/ 135 h 188"/>
                    <a:gd name="T80" fmla="*/ 22 w 188"/>
                    <a:gd name="T81" fmla="*/ 144 h 188"/>
                    <a:gd name="T82" fmla="*/ 26 w 188"/>
                    <a:gd name="T83" fmla="*/ 161 h 188"/>
                    <a:gd name="T84" fmla="*/ 33 w 188"/>
                    <a:gd name="T85" fmla="*/ 188 h 188"/>
                    <a:gd name="T86" fmla="*/ 59 w 188"/>
                    <a:gd name="T87" fmla="*/ 186 h 188"/>
                    <a:gd name="T88" fmla="*/ 73 w 188"/>
                    <a:gd name="T89" fmla="*/ 182 h 188"/>
                    <a:gd name="T90" fmla="*/ 88 w 188"/>
                    <a:gd name="T91" fmla="*/ 179 h 188"/>
                    <a:gd name="T92" fmla="*/ 88 w 188"/>
                    <a:gd name="T93" fmla="*/ 168 h 188"/>
                    <a:gd name="T94" fmla="*/ 88 w 188"/>
                    <a:gd name="T95" fmla="*/ 156 h 188"/>
                    <a:gd name="T96" fmla="*/ 92 w 188"/>
                    <a:gd name="T97" fmla="*/ 149 h 188"/>
                    <a:gd name="T98" fmla="*/ 103 w 188"/>
                    <a:gd name="T99" fmla="*/ 147 h 188"/>
                    <a:gd name="T100" fmla="*/ 108 w 188"/>
                    <a:gd name="T101" fmla="*/ 139 h 188"/>
                    <a:gd name="T102" fmla="*/ 113 w 188"/>
                    <a:gd name="T103" fmla="*/ 137 h 188"/>
                    <a:gd name="T104" fmla="*/ 119 w 188"/>
                    <a:gd name="T105" fmla="*/ 136 h 188"/>
                    <a:gd name="T106" fmla="*/ 123 w 188"/>
                    <a:gd name="T107" fmla="*/ 127 h 188"/>
                    <a:gd name="T108" fmla="*/ 126 w 188"/>
                    <a:gd name="T109" fmla="*/ 119 h 188"/>
                    <a:gd name="T110" fmla="*/ 130 w 188"/>
                    <a:gd name="T111" fmla="*/ 110 h 188"/>
                    <a:gd name="T112" fmla="*/ 133 w 188"/>
                    <a:gd name="T113" fmla="*/ 100 h 188"/>
                    <a:gd name="T114" fmla="*/ 131 w 188"/>
                    <a:gd name="T115" fmla="*/ 92 h 188"/>
                    <a:gd name="T116" fmla="*/ 146 w 188"/>
                    <a:gd name="T117" fmla="*/ 87 h 188"/>
                    <a:gd name="T118" fmla="*/ 149 w 188"/>
                    <a:gd name="T119" fmla="*/ 68 h 188"/>
                    <a:gd name="T120" fmla="*/ 145 w 188"/>
                    <a:gd name="T121" fmla="*/ 47 h 188"/>
                    <a:gd name="T122" fmla="*/ 154 w 188"/>
                    <a:gd name="T123" fmla="*/ 39 h 188"/>
                    <a:gd name="T124" fmla="*/ 167 w 188"/>
                    <a:gd name="T125" fmla="*/ 37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88" h="188">
                      <a:moveTo>
                        <a:pt x="183" y="32"/>
                      </a:moveTo>
                      <a:lnTo>
                        <a:pt x="185" y="26"/>
                      </a:lnTo>
                      <a:lnTo>
                        <a:pt x="185" y="26"/>
                      </a:lnTo>
                      <a:lnTo>
                        <a:pt x="183" y="25"/>
                      </a:lnTo>
                      <a:lnTo>
                        <a:pt x="188" y="20"/>
                      </a:lnTo>
                      <a:lnTo>
                        <a:pt x="187" y="18"/>
                      </a:lnTo>
                      <a:lnTo>
                        <a:pt x="181" y="18"/>
                      </a:lnTo>
                      <a:lnTo>
                        <a:pt x="179" y="20"/>
                      </a:lnTo>
                      <a:lnTo>
                        <a:pt x="174" y="21"/>
                      </a:lnTo>
                      <a:lnTo>
                        <a:pt x="173" y="18"/>
                      </a:lnTo>
                      <a:lnTo>
                        <a:pt x="169" y="19"/>
                      </a:lnTo>
                      <a:lnTo>
                        <a:pt x="163" y="23"/>
                      </a:lnTo>
                      <a:lnTo>
                        <a:pt x="161" y="26"/>
                      </a:lnTo>
                      <a:lnTo>
                        <a:pt x="160" y="29"/>
                      </a:lnTo>
                      <a:lnTo>
                        <a:pt x="158" y="31"/>
                      </a:lnTo>
                      <a:lnTo>
                        <a:pt x="153" y="34"/>
                      </a:lnTo>
                      <a:lnTo>
                        <a:pt x="153" y="36"/>
                      </a:lnTo>
                      <a:lnTo>
                        <a:pt x="150" y="38"/>
                      </a:lnTo>
                      <a:lnTo>
                        <a:pt x="147" y="38"/>
                      </a:lnTo>
                      <a:lnTo>
                        <a:pt x="144" y="37"/>
                      </a:lnTo>
                      <a:lnTo>
                        <a:pt x="144" y="34"/>
                      </a:lnTo>
                      <a:lnTo>
                        <a:pt x="142" y="31"/>
                      </a:lnTo>
                      <a:lnTo>
                        <a:pt x="142" y="24"/>
                      </a:lnTo>
                      <a:lnTo>
                        <a:pt x="141" y="21"/>
                      </a:lnTo>
                      <a:lnTo>
                        <a:pt x="141" y="16"/>
                      </a:lnTo>
                      <a:lnTo>
                        <a:pt x="140" y="13"/>
                      </a:lnTo>
                      <a:lnTo>
                        <a:pt x="138" y="13"/>
                      </a:lnTo>
                      <a:lnTo>
                        <a:pt x="137" y="10"/>
                      </a:lnTo>
                      <a:lnTo>
                        <a:pt x="138" y="6"/>
                      </a:lnTo>
                      <a:lnTo>
                        <a:pt x="138" y="4"/>
                      </a:lnTo>
                      <a:lnTo>
                        <a:pt x="135" y="3"/>
                      </a:lnTo>
                      <a:lnTo>
                        <a:pt x="133" y="0"/>
                      </a:lnTo>
                      <a:lnTo>
                        <a:pt x="130" y="0"/>
                      </a:lnTo>
                      <a:lnTo>
                        <a:pt x="128" y="3"/>
                      </a:lnTo>
                      <a:lnTo>
                        <a:pt x="127" y="8"/>
                      </a:lnTo>
                      <a:lnTo>
                        <a:pt x="126" y="10"/>
                      </a:lnTo>
                      <a:lnTo>
                        <a:pt x="125" y="13"/>
                      </a:lnTo>
                      <a:lnTo>
                        <a:pt x="126" y="17"/>
                      </a:lnTo>
                      <a:lnTo>
                        <a:pt x="123" y="20"/>
                      </a:lnTo>
                      <a:lnTo>
                        <a:pt x="120" y="21"/>
                      </a:lnTo>
                      <a:lnTo>
                        <a:pt x="120" y="19"/>
                      </a:lnTo>
                      <a:lnTo>
                        <a:pt x="119" y="19"/>
                      </a:lnTo>
                      <a:lnTo>
                        <a:pt x="117" y="21"/>
                      </a:lnTo>
                      <a:lnTo>
                        <a:pt x="114" y="22"/>
                      </a:lnTo>
                      <a:lnTo>
                        <a:pt x="114" y="24"/>
                      </a:lnTo>
                      <a:lnTo>
                        <a:pt x="116" y="26"/>
                      </a:lnTo>
                      <a:lnTo>
                        <a:pt x="116" y="29"/>
                      </a:lnTo>
                      <a:lnTo>
                        <a:pt x="111" y="28"/>
                      </a:lnTo>
                      <a:lnTo>
                        <a:pt x="109" y="26"/>
                      </a:lnTo>
                      <a:lnTo>
                        <a:pt x="108" y="24"/>
                      </a:lnTo>
                      <a:lnTo>
                        <a:pt x="106" y="27"/>
                      </a:lnTo>
                      <a:lnTo>
                        <a:pt x="105" y="27"/>
                      </a:lnTo>
                      <a:lnTo>
                        <a:pt x="103" y="29"/>
                      </a:lnTo>
                      <a:lnTo>
                        <a:pt x="100" y="31"/>
                      </a:lnTo>
                      <a:lnTo>
                        <a:pt x="95" y="33"/>
                      </a:lnTo>
                      <a:lnTo>
                        <a:pt x="93" y="31"/>
                      </a:lnTo>
                      <a:lnTo>
                        <a:pt x="90" y="27"/>
                      </a:lnTo>
                      <a:lnTo>
                        <a:pt x="88" y="27"/>
                      </a:lnTo>
                      <a:lnTo>
                        <a:pt x="85" y="29"/>
                      </a:lnTo>
                      <a:lnTo>
                        <a:pt x="83" y="29"/>
                      </a:lnTo>
                      <a:lnTo>
                        <a:pt x="81" y="26"/>
                      </a:lnTo>
                      <a:lnTo>
                        <a:pt x="78" y="24"/>
                      </a:lnTo>
                      <a:lnTo>
                        <a:pt x="74" y="26"/>
                      </a:lnTo>
                      <a:lnTo>
                        <a:pt x="73" y="24"/>
                      </a:lnTo>
                      <a:lnTo>
                        <a:pt x="70" y="25"/>
                      </a:lnTo>
                      <a:lnTo>
                        <a:pt x="67" y="23"/>
                      </a:lnTo>
                      <a:lnTo>
                        <a:pt x="64" y="24"/>
                      </a:lnTo>
                      <a:lnTo>
                        <a:pt x="60" y="28"/>
                      </a:lnTo>
                      <a:lnTo>
                        <a:pt x="58" y="28"/>
                      </a:lnTo>
                      <a:lnTo>
                        <a:pt x="54" y="29"/>
                      </a:lnTo>
                      <a:lnTo>
                        <a:pt x="53" y="30"/>
                      </a:lnTo>
                      <a:lnTo>
                        <a:pt x="52" y="31"/>
                      </a:lnTo>
                      <a:lnTo>
                        <a:pt x="51" y="34"/>
                      </a:lnTo>
                      <a:lnTo>
                        <a:pt x="53" y="34"/>
                      </a:lnTo>
                      <a:lnTo>
                        <a:pt x="53" y="38"/>
                      </a:lnTo>
                      <a:lnTo>
                        <a:pt x="50" y="42"/>
                      </a:lnTo>
                      <a:lnTo>
                        <a:pt x="50" y="47"/>
                      </a:lnTo>
                      <a:lnTo>
                        <a:pt x="49" y="51"/>
                      </a:lnTo>
                      <a:lnTo>
                        <a:pt x="47" y="51"/>
                      </a:lnTo>
                      <a:lnTo>
                        <a:pt x="44" y="54"/>
                      </a:lnTo>
                      <a:lnTo>
                        <a:pt x="43" y="55"/>
                      </a:lnTo>
                      <a:lnTo>
                        <a:pt x="38" y="57"/>
                      </a:lnTo>
                      <a:lnTo>
                        <a:pt x="33" y="60"/>
                      </a:lnTo>
                      <a:lnTo>
                        <a:pt x="34" y="62"/>
                      </a:lnTo>
                      <a:lnTo>
                        <a:pt x="33" y="64"/>
                      </a:lnTo>
                      <a:lnTo>
                        <a:pt x="33" y="66"/>
                      </a:lnTo>
                      <a:lnTo>
                        <a:pt x="30" y="69"/>
                      </a:lnTo>
                      <a:lnTo>
                        <a:pt x="26" y="70"/>
                      </a:lnTo>
                      <a:lnTo>
                        <a:pt x="25" y="72"/>
                      </a:lnTo>
                      <a:lnTo>
                        <a:pt x="23" y="70"/>
                      </a:lnTo>
                      <a:lnTo>
                        <a:pt x="22" y="68"/>
                      </a:lnTo>
                      <a:lnTo>
                        <a:pt x="19" y="65"/>
                      </a:lnTo>
                      <a:lnTo>
                        <a:pt x="17" y="65"/>
                      </a:lnTo>
                      <a:lnTo>
                        <a:pt x="15" y="67"/>
                      </a:lnTo>
                      <a:lnTo>
                        <a:pt x="13" y="67"/>
                      </a:lnTo>
                      <a:lnTo>
                        <a:pt x="11" y="65"/>
                      </a:lnTo>
                      <a:lnTo>
                        <a:pt x="8" y="64"/>
                      </a:lnTo>
                      <a:lnTo>
                        <a:pt x="6" y="65"/>
                      </a:lnTo>
                      <a:lnTo>
                        <a:pt x="6" y="65"/>
                      </a:lnTo>
                      <a:lnTo>
                        <a:pt x="6" y="70"/>
                      </a:lnTo>
                      <a:lnTo>
                        <a:pt x="6" y="72"/>
                      </a:lnTo>
                      <a:lnTo>
                        <a:pt x="5" y="75"/>
                      </a:lnTo>
                      <a:lnTo>
                        <a:pt x="7" y="78"/>
                      </a:lnTo>
                      <a:lnTo>
                        <a:pt x="6" y="79"/>
                      </a:lnTo>
                      <a:lnTo>
                        <a:pt x="7" y="81"/>
                      </a:lnTo>
                      <a:lnTo>
                        <a:pt x="3" y="83"/>
                      </a:lnTo>
                      <a:lnTo>
                        <a:pt x="0" y="85"/>
                      </a:lnTo>
                      <a:lnTo>
                        <a:pt x="1" y="87"/>
                      </a:lnTo>
                      <a:lnTo>
                        <a:pt x="4" y="89"/>
                      </a:lnTo>
                      <a:lnTo>
                        <a:pt x="1" y="93"/>
                      </a:lnTo>
                      <a:lnTo>
                        <a:pt x="2" y="94"/>
                      </a:lnTo>
                      <a:lnTo>
                        <a:pt x="2" y="100"/>
                      </a:lnTo>
                      <a:lnTo>
                        <a:pt x="2" y="104"/>
                      </a:lnTo>
                      <a:lnTo>
                        <a:pt x="7" y="105"/>
                      </a:lnTo>
                      <a:lnTo>
                        <a:pt x="9" y="105"/>
                      </a:lnTo>
                      <a:lnTo>
                        <a:pt x="4" y="112"/>
                      </a:lnTo>
                      <a:lnTo>
                        <a:pt x="3" y="116"/>
                      </a:lnTo>
                      <a:lnTo>
                        <a:pt x="7" y="125"/>
                      </a:lnTo>
                      <a:lnTo>
                        <a:pt x="9" y="133"/>
                      </a:lnTo>
                      <a:lnTo>
                        <a:pt x="9" y="135"/>
                      </a:lnTo>
                      <a:lnTo>
                        <a:pt x="9" y="138"/>
                      </a:lnTo>
                      <a:lnTo>
                        <a:pt x="10" y="144"/>
                      </a:lnTo>
                      <a:lnTo>
                        <a:pt x="22" y="144"/>
                      </a:lnTo>
                      <a:lnTo>
                        <a:pt x="25" y="151"/>
                      </a:lnTo>
                      <a:lnTo>
                        <a:pt x="24" y="155"/>
                      </a:lnTo>
                      <a:lnTo>
                        <a:pt x="26" y="161"/>
                      </a:lnTo>
                      <a:lnTo>
                        <a:pt x="25" y="164"/>
                      </a:lnTo>
                      <a:lnTo>
                        <a:pt x="14" y="181"/>
                      </a:lnTo>
                      <a:lnTo>
                        <a:pt x="33" y="188"/>
                      </a:lnTo>
                      <a:lnTo>
                        <a:pt x="50" y="187"/>
                      </a:lnTo>
                      <a:lnTo>
                        <a:pt x="54" y="186"/>
                      </a:lnTo>
                      <a:lnTo>
                        <a:pt x="59" y="186"/>
                      </a:lnTo>
                      <a:lnTo>
                        <a:pt x="60" y="184"/>
                      </a:lnTo>
                      <a:lnTo>
                        <a:pt x="66" y="182"/>
                      </a:lnTo>
                      <a:lnTo>
                        <a:pt x="73" y="182"/>
                      </a:lnTo>
                      <a:lnTo>
                        <a:pt x="78" y="182"/>
                      </a:lnTo>
                      <a:lnTo>
                        <a:pt x="82" y="182"/>
                      </a:lnTo>
                      <a:lnTo>
                        <a:pt x="88" y="179"/>
                      </a:lnTo>
                      <a:lnTo>
                        <a:pt x="88" y="175"/>
                      </a:lnTo>
                      <a:lnTo>
                        <a:pt x="88" y="172"/>
                      </a:lnTo>
                      <a:lnTo>
                        <a:pt x="88" y="168"/>
                      </a:lnTo>
                      <a:lnTo>
                        <a:pt x="87" y="163"/>
                      </a:lnTo>
                      <a:lnTo>
                        <a:pt x="87" y="158"/>
                      </a:lnTo>
                      <a:lnTo>
                        <a:pt x="88" y="156"/>
                      </a:lnTo>
                      <a:lnTo>
                        <a:pt x="91" y="154"/>
                      </a:lnTo>
                      <a:lnTo>
                        <a:pt x="92" y="152"/>
                      </a:lnTo>
                      <a:lnTo>
                        <a:pt x="92" y="149"/>
                      </a:lnTo>
                      <a:lnTo>
                        <a:pt x="96" y="148"/>
                      </a:lnTo>
                      <a:lnTo>
                        <a:pt x="98" y="150"/>
                      </a:lnTo>
                      <a:lnTo>
                        <a:pt x="103" y="147"/>
                      </a:lnTo>
                      <a:lnTo>
                        <a:pt x="105" y="144"/>
                      </a:lnTo>
                      <a:lnTo>
                        <a:pt x="102" y="144"/>
                      </a:lnTo>
                      <a:lnTo>
                        <a:pt x="108" y="139"/>
                      </a:lnTo>
                      <a:lnTo>
                        <a:pt x="109" y="137"/>
                      </a:lnTo>
                      <a:lnTo>
                        <a:pt x="112" y="137"/>
                      </a:lnTo>
                      <a:lnTo>
                        <a:pt x="113" y="137"/>
                      </a:lnTo>
                      <a:lnTo>
                        <a:pt x="117" y="138"/>
                      </a:lnTo>
                      <a:lnTo>
                        <a:pt x="117" y="136"/>
                      </a:lnTo>
                      <a:lnTo>
                        <a:pt x="119" y="136"/>
                      </a:lnTo>
                      <a:lnTo>
                        <a:pt x="122" y="140"/>
                      </a:lnTo>
                      <a:lnTo>
                        <a:pt x="124" y="134"/>
                      </a:lnTo>
                      <a:lnTo>
                        <a:pt x="123" y="127"/>
                      </a:lnTo>
                      <a:lnTo>
                        <a:pt x="124" y="125"/>
                      </a:lnTo>
                      <a:lnTo>
                        <a:pt x="125" y="123"/>
                      </a:lnTo>
                      <a:lnTo>
                        <a:pt x="126" y="119"/>
                      </a:lnTo>
                      <a:lnTo>
                        <a:pt x="126" y="113"/>
                      </a:lnTo>
                      <a:lnTo>
                        <a:pt x="127" y="110"/>
                      </a:lnTo>
                      <a:lnTo>
                        <a:pt x="130" y="110"/>
                      </a:lnTo>
                      <a:lnTo>
                        <a:pt x="133" y="108"/>
                      </a:lnTo>
                      <a:lnTo>
                        <a:pt x="134" y="105"/>
                      </a:lnTo>
                      <a:lnTo>
                        <a:pt x="133" y="100"/>
                      </a:lnTo>
                      <a:lnTo>
                        <a:pt x="130" y="99"/>
                      </a:lnTo>
                      <a:lnTo>
                        <a:pt x="128" y="94"/>
                      </a:lnTo>
                      <a:lnTo>
                        <a:pt x="131" y="92"/>
                      </a:lnTo>
                      <a:lnTo>
                        <a:pt x="137" y="94"/>
                      </a:lnTo>
                      <a:lnTo>
                        <a:pt x="142" y="94"/>
                      </a:lnTo>
                      <a:lnTo>
                        <a:pt x="146" y="87"/>
                      </a:lnTo>
                      <a:lnTo>
                        <a:pt x="146" y="82"/>
                      </a:lnTo>
                      <a:lnTo>
                        <a:pt x="142" y="79"/>
                      </a:lnTo>
                      <a:lnTo>
                        <a:pt x="149" y="68"/>
                      </a:lnTo>
                      <a:lnTo>
                        <a:pt x="148" y="61"/>
                      </a:lnTo>
                      <a:lnTo>
                        <a:pt x="142" y="50"/>
                      </a:lnTo>
                      <a:lnTo>
                        <a:pt x="145" y="47"/>
                      </a:lnTo>
                      <a:lnTo>
                        <a:pt x="147" y="43"/>
                      </a:lnTo>
                      <a:lnTo>
                        <a:pt x="151" y="43"/>
                      </a:lnTo>
                      <a:lnTo>
                        <a:pt x="154" y="39"/>
                      </a:lnTo>
                      <a:lnTo>
                        <a:pt x="159" y="36"/>
                      </a:lnTo>
                      <a:lnTo>
                        <a:pt x="162" y="38"/>
                      </a:lnTo>
                      <a:lnTo>
                        <a:pt x="167" y="37"/>
                      </a:lnTo>
                      <a:lnTo>
                        <a:pt x="176" y="35"/>
                      </a:lnTo>
                      <a:lnTo>
                        <a:pt x="183" y="3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57" name="Line 558">
                  <a:extLst>
                    <a:ext uri="{FF2B5EF4-FFF2-40B4-BE49-F238E27FC236}">
                      <a16:creationId xmlns:a16="http://schemas.microsoft.com/office/drawing/2014/main" id="{C09BA56D-8F33-4F8D-B072-A73AF778386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36" y="1755"/>
                  <a:ext cx="0" cy="0"/>
                </a:xfrm>
                <a:prstGeom prst="lin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58" name="Line 559">
                  <a:extLst>
                    <a:ext uri="{FF2B5EF4-FFF2-40B4-BE49-F238E27FC236}">
                      <a16:creationId xmlns:a16="http://schemas.microsoft.com/office/drawing/2014/main" id="{DF0E6B74-210E-4014-9A9D-19E8AB81C18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36" y="1755"/>
                  <a:ext cx="0" cy="0"/>
                </a:xfrm>
                <a:prstGeom prst="line">
                  <a:avLst/>
                </a:pr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59" name="Freeform 560">
                  <a:extLst>
                    <a:ext uri="{FF2B5EF4-FFF2-40B4-BE49-F238E27FC236}">
                      <a16:creationId xmlns:a16="http://schemas.microsoft.com/office/drawing/2014/main" id="{9E17BF10-5A20-47D0-BE12-138079C033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52" y="1756"/>
                  <a:ext cx="4" cy="5"/>
                </a:xfrm>
                <a:custGeom>
                  <a:avLst/>
                  <a:gdLst>
                    <a:gd name="T0" fmla="*/ 0 w 4"/>
                    <a:gd name="T1" fmla="*/ 3 h 5"/>
                    <a:gd name="T2" fmla="*/ 1 w 4"/>
                    <a:gd name="T3" fmla="*/ 5 h 5"/>
                    <a:gd name="T4" fmla="*/ 2 w 4"/>
                    <a:gd name="T5" fmla="*/ 2 h 5"/>
                    <a:gd name="T6" fmla="*/ 4 w 4"/>
                    <a:gd name="T7" fmla="*/ 2 h 5"/>
                    <a:gd name="T8" fmla="*/ 3 w 4"/>
                    <a:gd name="T9" fmla="*/ 0 h 5"/>
                    <a:gd name="T10" fmla="*/ 1 w 4"/>
                    <a:gd name="T11" fmla="*/ 1 h 5"/>
                    <a:gd name="T12" fmla="*/ 0 w 4"/>
                    <a:gd name="T13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5">
                      <a:moveTo>
                        <a:pt x="0" y="3"/>
                      </a:moveTo>
                      <a:lnTo>
                        <a:pt x="1" y="5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60" name="Freeform 561">
                  <a:extLst>
                    <a:ext uri="{FF2B5EF4-FFF2-40B4-BE49-F238E27FC236}">
                      <a16:creationId xmlns:a16="http://schemas.microsoft.com/office/drawing/2014/main" id="{DCD1C70F-7831-422A-8464-F0C090C8EB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0" y="1734"/>
                  <a:ext cx="17" cy="24"/>
                </a:xfrm>
                <a:custGeom>
                  <a:avLst/>
                  <a:gdLst>
                    <a:gd name="T0" fmla="*/ 0 w 17"/>
                    <a:gd name="T1" fmla="*/ 11 h 24"/>
                    <a:gd name="T2" fmla="*/ 2 w 17"/>
                    <a:gd name="T3" fmla="*/ 12 h 24"/>
                    <a:gd name="T4" fmla="*/ 1 w 17"/>
                    <a:gd name="T5" fmla="*/ 16 h 24"/>
                    <a:gd name="T6" fmla="*/ 3 w 17"/>
                    <a:gd name="T7" fmla="*/ 18 h 24"/>
                    <a:gd name="T8" fmla="*/ 5 w 17"/>
                    <a:gd name="T9" fmla="*/ 18 h 24"/>
                    <a:gd name="T10" fmla="*/ 8 w 17"/>
                    <a:gd name="T11" fmla="*/ 19 h 24"/>
                    <a:gd name="T12" fmla="*/ 9 w 17"/>
                    <a:gd name="T13" fmla="*/ 21 h 24"/>
                    <a:gd name="T14" fmla="*/ 7 w 17"/>
                    <a:gd name="T15" fmla="*/ 23 h 24"/>
                    <a:gd name="T16" fmla="*/ 8 w 17"/>
                    <a:gd name="T17" fmla="*/ 24 h 24"/>
                    <a:gd name="T18" fmla="*/ 10 w 17"/>
                    <a:gd name="T19" fmla="*/ 24 h 24"/>
                    <a:gd name="T20" fmla="*/ 12 w 17"/>
                    <a:gd name="T21" fmla="*/ 22 h 24"/>
                    <a:gd name="T22" fmla="*/ 11 w 17"/>
                    <a:gd name="T23" fmla="*/ 20 h 24"/>
                    <a:gd name="T24" fmla="*/ 14 w 17"/>
                    <a:gd name="T25" fmla="*/ 18 h 24"/>
                    <a:gd name="T26" fmla="*/ 16 w 17"/>
                    <a:gd name="T27" fmla="*/ 17 h 24"/>
                    <a:gd name="T28" fmla="*/ 15 w 17"/>
                    <a:gd name="T29" fmla="*/ 15 h 24"/>
                    <a:gd name="T30" fmla="*/ 13 w 17"/>
                    <a:gd name="T31" fmla="*/ 13 h 24"/>
                    <a:gd name="T32" fmla="*/ 13 w 17"/>
                    <a:gd name="T33" fmla="*/ 11 h 24"/>
                    <a:gd name="T34" fmla="*/ 16 w 17"/>
                    <a:gd name="T35" fmla="*/ 10 h 24"/>
                    <a:gd name="T36" fmla="*/ 17 w 17"/>
                    <a:gd name="T37" fmla="*/ 6 h 24"/>
                    <a:gd name="T38" fmla="*/ 17 w 17"/>
                    <a:gd name="T39" fmla="*/ 2 h 24"/>
                    <a:gd name="T40" fmla="*/ 16 w 17"/>
                    <a:gd name="T41" fmla="*/ 0 h 24"/>
                    <a:gd name="T42" fmla="*/ 13 w 17"/>
                    <a:gd name="T43" fmla="*/ 0 h 24"/>
                    <a:gd name="T44" fmla="*/ 9 w 17"/>
                    <a:gd name="T45" fmla="*/ 0 h 24"/>
                    <a:gd name="T46" fmla="*/ 7 w 17"/>
                    <a:gd name="T47" fmla="*/ 4 h 24"/>
                    <a:gd name="T48" fmla="*/ 8 w 17"/>
                    <a:gd name="T49" fmla="*/ 5 h 24"/>
                    <a:gd name="T50" fmla="*/ 10 w 17"/>
                    <a:gd name="T51" fmla="*/ 7 h 24"/>
                    <a:gd name="T52" fmla="*/ 10 w 17"/>
                    <a:gd name="T53" fmla="*/ 9 h 24"/>
                    <a:gd name="T54" fmla="*/ 9 w 17"/>
                    <a:gd name="T55" fmla="*/ 8 h 24"/>
                    <a:gd name="T56" fmla="*/ 8 w 17"/>
                    <a:gd name="T57" fmla="*/ 9 h 24"/>
                    <a:gd name="T58" fmla="*/ 6 w 17"/>
                    <a:gd name="T59" fmla="*/ 7 h 24"/>
                    <a:gd name="T60" fmla="*/ 6 w 17"/>
                    <a:gd name="T61" fmla="*/ 6 h 24"/>
                    <a:gd name="T62" fmla="*/ 4 w 17"/>
                    <a:gd name="T63" fmla="*/ 4 h 24"/>
                    <a:gd name="T64" fmla="*/ 3 w 17"/>
                    <a:gd name="T65" fmla="*/ 4 h 24"/>
                    <a:gd name="T66" fmla="*/ 2 w 17"/>
                    <a:gd name="T67" fmla="*/ 7 h 24"/>
                    <a:gd name="T68" fmla="*/ 0 w 17"/>
                    <a:gd name="T69" fmla="*/ 7 h 24"/>
                    <a:gd name="T70" fmla="*/ 0 w 17"/>
                    <a:gd name="T71" fmla="*/ 11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7" h="24">
                      <a:moveTo>
                        <a:pt x="0" y="11"/>
                      </a:moveTo>
                      <a:lnTo>
                        <a:pt x="2" y="12"/>
                      </a:lnTo>
                      <a:lnTo>
                        <a:pt x="1" y="16"/>
                      </a:lnTo>
                      <a:lnTo>
                        <a:pt x="3" y="18"/>
                      </a:lnTo>
                      <a:lnTo>
                        <a:pt x="5" y="18"/>
                      </a:lnTo>
                      <a:lnTo>
                        <a:pt x="8" y="19"/>
                      </a:lnTo>
                      <a:lnTo>
                        <a:pt x="9" y="21"/>
                      </a:lnTo>
                      <a:lnTo>
                        <a:pt x="7" y="23"/>
                      </a:lnTo>
                      <a:lnTo>
                        <a:pt x="8" y="24"/>
                      </a:lnTo>
                      <a:lnTo>
                        <a:pt x="10" y="24"/>
                      </a:lnTo>
                      <a:lnTo>
                        <a:pt x="12" y="22"/>
                      </a:lnTo>
                      <a:lnTo>
                        <a:pt x="11" y="20"/>
                      </a:lnTo>
                      <a:lnTo>
                        <a:pt x="14" y="18"/>
                      </a:lnTo>
                      <a:lnTo>
                        <a:pt x="16" y="17"/>
                      </a:lnTo>
                      <a:lnTo>
                        <a:pt x="15" y="15"/>
                      </a:lnTo>
                      <a:lnTo>
                        <a:pt x="13" y="13"/>
                      </a:lnTo>
                      <a:lnTo>
                        <a:pt x="13" y="11"/>
                      </a:lnTo>
                      <a:lnTo>
                        <a:pt x="16" y="10"/>
                      </a:lnTo>
                      <a:lnTo>
                        <a:pt x="17" y="6"/>
                      </a:lnTo>
                      <a:lnTo>
                        <a:pt x="17" y="2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9" y="0"/>
                      </a:lnTo>
                      <a:lnTo>
                        <a:pt x="7" y="4"/>
                      </a:lnTo>
                      <a:lnTo>
                        <a:pt x="8" y="5"/>
                      </a:lnTo>
                      <a:lnTo>
                        <a:pt x="10" y="7"/>
                      </a:lnTo>
                      <a:lnTo>
                        <a:pt x="10" y="9"/>
                      </a:lnTo>
                      <a:lnTo>
                        <a:pt x="9" y="8"/>
                      </a:lnTo>
                      <a:lnTo>
                        <a:pt x="8" y="9"/>
                      </a:lnTo>
                      <a:lnTo>
                        <a:pt x="6" y="7"/>
                      </a:lnTo>
                      <a:lnTo>
                        <a:pt x="6" y="6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61" name="Freeform 562">
                  <a:extLst>
                    <a:ext uri="{FF2B5EF4-FFF2-40B4-BE49-F238E27FC236}">
                      <a16:creationId xmlns:a16="http://schemas.microsoft.com/office/drawing/2014/main" id="{EBE0F733-0362-4C38-AB96-FEE176CB75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57" y="1741"/>
                  <a:ext cx="1" cy="5"/>
                </a:xfrm>
                <a:custGeom>
                  <a:avLst/>
                  <a:gdLst>
                    <a:gd name="T0" fmla="*/ 0 w 1"/>
                    <a:gd name="T1" fmla="*/ 0 h 5"/>
                    <a:gd name="T2" fmla="*/ 0 w 1"/>
                    <a:gd name="T3" fmla="*/ 4 h 5"/>
                    <a:gd name="T4" fmla="*/ 1 w 1"/>
                    <a:gd name="T5" fmla="*/ 5 h 5"/>
                    <a:gd name="T6" fmla="*/ 0 w 1"/>
                    <a:gd name="T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5">
                      <a:moveTo>
                        <a:pt x="0" y="0"/>
                      </a:moveTo>
                      <a:lnTo>
                        <a:pt x="0" y="4"/>
                      </a:lnTo>
                      <a:lnTo>
                        <a:pt x="1" y="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62" name="Freeform 563">
                  <a:extLst>
                    <a:ext uri="{FF2B5EF4-FFF2-40B4-BE49-F238E27FC236}">
                      <a16:creationId xmlns:a16="http://schemas.microsoft.com/office/drawing/2014/main" id="{A91F97DC-269E-4D22-B4A8-25F5E02734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85" y="1749"/>
                  <a:ext cx="5" cy="9"/>
                </a:xfrm>
                <a:custGeom>
                  <a:avLst/>
                  <a:gdLst>
                    <a:gd name="T0" fmla="*/ 5 w 5"/>
                    <a:gd name="T1" fmla="*/ 6 h 9"/>
                    <a:gd name="T2" fmla="*/ 3 w 5"/>
                    <a:gd name="T3" fmla="*/ 2 h 9"/>
                    <a:gd name="T4" fmla="*/ 0 w 5"/>
                    <a:gd name="T5" fmla="*/ 0 h 9"/>
                    <a:gd name="T6" fmla="*/ 0 w 5"/>
                    <a:gd name="T7" fmla="*/ 5 h 9"/>
                    <a:gd name="T8" fmla="*/ 0 w 5"/>
                    <a:gd name="T9" fmla="*/ 8 h 9"/>
                    <a:gd name="T10" fmla="*/ 5 w 5"/>
                    <a:gd name="T11" fmla="*/ 9 h 9"/>
                    <a:gd name="T12" fmla="*/ 5 w 5"/>
                    <a:gd name="T13" fmla="*/ 6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9">
                      <a:moveTo>
                        <a:pt x="5" y="6"/>
                      </a:moveTo>
                      <a:lnTo>
                        <a:pt x="3" y="2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5" y="9"/>
                      </a:lnTo>
                      <a:lnTo>
                        <a:pt x="5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63" name="Freeform 564">
                  <a:extLst>
                    <a:ext uri="{FF2B5EF4-FFF2-40B4-BE49-F238E27FC236}">
                      <a16:creationId xmlns:a16="http://schemas.microsoft.com/office/drawing/2014/main" id="{4AE8E9F9-E648-414A-8F86-552A66ECEB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3" y="1745"/>
                  <a:ext cx="13" cy="13"/>
                </a:xfrm>
                <a:custGeom>
                  <a:avLst/>
                  <a:gdLst>
                    <a:gd name="T0" fmla="*/ 13 w 13"/>
                    <a:gd name="T1" fmla="*/ 9 h 13"/>
                    <a:gd name="T2" fmla="*/ 12 w 13"/>
                    <a:gd name="T3" fmla="*/ 7 h 13"/>
                    <a:gd name="T4" fmla="*/ 10 w 13"/>
                    <a:gd name="T5" fmla="*/ 1 h 13"/>
                    <a:gd name="T6" fmla="*/ 8 w 13"/>
                    <a:gd name="T7" fmla="*/ 2 h 13"/>
                    <a:gd name="T8" fmla="*/ 5 w 13"/>
                    <a:gd name="T9" fmla="*/ 0 h 13"/>
                    <a:gd name="T10" fmla="*/ 1 w 13"/>
                    <a:gd name="T11" fmla="*/ 1 h 13"/>
                    <a:gd name="T12" fmla="*/ 0 w 13"/>
                    <a:gd name="T13" fmla="*/ 5 h 13"/>
                    <a:gd name="T14" fmla="*/ 2 w 13"/>
                    <a:gd name="T15" fmla="*/ 9 h 13"/>
                    <a:gd name="T16" fmla="*/ 4 w 13"/>
                    <a:gd name="T17" fmla="*/ 12 h 13"/>
                    <a:gd name="T18" fmla="*/ 6 w 13"/>
                    <a:gd name="T19" fmla="*/ 12 h 13"/>
                    <a:gd name="T20" fmla="*/ 8 w 13"/>
                    <a:gd name="T21" fmla="*/ 13 h 13"/>
                    <a:gd name="T22" fmla="*/ 11 w 13"/>
                    <a:gd name="T23" fmla="*/ 13 h 13"/>
                    <a:gd name="T24" fmla="*/ 13 w 13"/>
                    <a:gd name="T25" fmla="*/ 9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3" h="13">
                      <a:moveTo>
                        <a:pt x="13" y="9"/>
                      </a:moveTo>
                      <a:lnTo>
                        <a:pt x="12" y="7"/>
                      </a:lnTo>
                      <a:lnTo>
                        <a:pt x="10" y="1"/>
                      </a:lnTo>
                      <a:lnTo>
                        <a:pt x="8" y="2"/>
                      </a:lnTo>
                      <a:lnTo>
                        <a:pt x="5" y="0"/>
                      </a:lnTo>
                      <a:lnTo>
                        <a:pt x="1" y="1"/>
                      </a:lnTo>
                      <a:lnTo>
                        <a:pt x="0" y="5"/>
                      </a:lnTo>
                      <a:lnTo>
                        <a:pt x="2" y="9"/>
                      </a:lnTo>
                      <a:lnTo>
                        <a:pt x="4" y="12"/>
                      </a:lnTo>
                      <a:lnTo>
                        <a:pt x="6" y="12"/>
                      </a:lnTo>
                      <a:lnTo>
                        <a:pt x="8" y="13"/>
                      </a:lnTo>
                      <a:lnTo>
                        <a:pt x="11" y="13"/>
                      </a:lnTo>
                      <a:lnTo>
                        <a:pt x="13" y="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64" name="Freeform 565">
                  <a:extLst>
                    <a:ext uri="{FF2B5EF4-FFF2-40B4-BE49-F238E27FC236}">
                      <a16:creationId xmlns:a16="http://schemas.microsoft.com/office/drawing/2014/main" id="{8133EB20-EBEA-4C11-BAFA-0BF2693060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9" y="1758"/>
                  <a:ext cx="13" cy="10"/>
                </a:xfrm>
                <a:custGeom>
                  <a:avLst/>
                  <a:gdLst>
                    <a:gd name="T0" fmla="*/ 1 w 13"/>
                    <a:gd name="T1" fmla="*/ 5 h 10"/>
                    <a:gd name="T2" fmla="*/ 0 w 13"/>
                    <a:gd name="T3" fmla="*/ 5 h 10"/>
                    <a:gd name="T4" fmla="*/ 1 w 13"/>
                    <a:gd name="T5" fmla="*/ 7 h 10"/>
                    <a:gd name="T6" fmla="*/ 4 w 13"/>
                    <a:gd name="T7" fmla="*/ 9 h 10"/>
                    <a:gd name="T8" fmla="*/ 8 w 13"/>
                    <a:gd name="T9" fmla="*/ 9 h 10"/>
                    <a:gd name="T10" fmla="*/ 10 w 13"/>
                    <a:gd name="T11" fmla="*/ 7 h 10"/>
                    <a:gd name="T12" fmla="*/ 11 w 13"/>
                    <a:gd name="T13" fmla="*/ 9 h 10"/>
                    <a:gd name="T14" fmla="*/ 11 w 13"/>
                    <a:gd name="T15" fmla="*/ 10 h 10"/>
                    <a:gd name="T16" fmla="*/ 11 w 13"/>
                    <a:gd name="T17" fmla="*/ 7 h 10"/>
                    <a:gd name="T18" fmla="*/ 13 w 13"/>
                    <a:gd name="T19" fmla="*/ 4 h 10"/>
                    <a:gd name="T20" fmla="*/ 12 w 13"/>
                    <a:gd name="T21" fmla="*/ 1 h 10"/>
                    <a:gd name="T22" fmla="*/ 11 w 13"/>
                    <a:gd name="T23" fmla="*/ 2 h 10"/>
                    <a:gd name="T24" fmla="*/ 9 w 13"/>
                    <a:gd name="T25" fmla="*/ 2 h 10"/>
                    <a:gd name="T26" fmla="*/ 8 w 13"/>
                    <a:gd name="T27" fmla="*/ 4 h 10"/>
                    <a:gd name="T28" fmla="*/ 7 w 13"/>
                    <a:gd name="T29" fmla="*/ 4 h 10"/>
                    <a:gd name="T30" fmla="*/ 5 w 13"/>
                    <a:gd name="T31" fmla="*/ 5 h 10"/>
                    <a:gd name="T32" fmla="*/ 3 w 13"/>
                    <a:gd name="T33" fmla="*/ 0 h 10"/>
                    <a:gd name="T34" fmla="*/ 1 w 13"/>
                    <a:gd name="T35" fmla="*/ 1 h 10"/>
                    <a:gd name="T36" fmla="*/ 1 w 13"/>
                    <a:gd name="T37" fmla="*/ 4 h 10"/>
                    <a:gd name="T38" fmla="*/ 1 w 13"/>
                    <a:gd name="T39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3" h="10">
                      <a:moveTo>
                        <a:pt x="1" y="5"/>
                      </a:moveTo>
                      <a:lnTo>
                        <a:pt x="0" y="5"/>
                      </a:lnTo>
                      <a:lnTo>
                        <a:pt x="1" y="7"/>
                      </a:lnTo>
                      <a:lnTo>
                        <a:pt x="4" y="9"/>
                      </a:lnTo>
                      <a:lnTo>
                        <a:pt x="8" y="9"/>
                      </a:lnTo>
                      <a:lnTo>
                        <a:pt x="10" y="7"/>
                      </a:lnTo>
                      <a:lnTo>
                        <a:pt x="11" y="9"/>
                      </a:lnTo>
                      <a:lnTo>
                        <a:pt x="11" y="10"/>
                      </a:lnTo>
                      <a:lnTo>
                        <a:pt x="11" y="7"/>
                      </a:lnTo>
                      <a:lnTo>
                        <a:pt x="13" y="4"/>
                      </a:lnTo>
                      <a:lnTo>
                        <a:pt x="12" y="1"/>
                      </a:lnTo>
                      <a:lnTo>
                        <a:pt x="11" y="2"/>
                      </a:lnTo>
                      <a:lnTo>
                        <a:pt x="9" y="2"/>
                      </a:lnTo>
                      <a:lnTo>
                        <a:pt x="8" y="4"/>
                      </a:lnTo>
                      <a:lnTo>
                        <a:pt x="7" y="4"/>
                      </a:lnTo>
                      <a:lnTo>
                        <a:pt x="5" y="5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1" y="4"/>
                      </a:lnTo>
                      <a:lnTo>
                        <a:pt x="1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65" name="Freeform 566">
                  <a:extLst>
                    <a:ext uri="{FF2B5EF4-FFF2-40B4-BE49-F238E27FC236}">
                      <a16:creationId xmlns:a16="http://schemas.microsoft.com/office/drawing/2014/main" id="{D67C9DB1-1CA9-45BF-B03B-E381D4148F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65" y="1765"/>
                  <a:ext cx="7" cy="10"/>
                </a:xfrm>
                <a:custGeom>
                  <a:avLst/>
                  <a:gdLst>
                    <a:gd name="T0" fmla="*/ 1 w 7"/>
                    <a:gd name="T1" fmla="*/ 5 h 10"/>
                    <a:gd name="T2" fmla="*/ 0 w 7"/>
                    <a:gd name="T3" fmla="*/ 7 h 10"/>
                    <a:gd name="T4" fmla="*/ 1 w 7"/>
                    <a:gd name="T5" fmla="*/ 9 h 10"/>
                    <a:gd name="T6" fmla="*/ 3 w 7"/>
                    <a:gd name="T7" fmla="*/ 10 h 10"/>
                    <a:gd name="T8" fmla="*/ 6 w 7"/>
                    <a:gd name="T9" fmla="*/ 7 h 10"/>
                    <a:gd name="T10" fmla="*/ 7 w 7"/>
                    <a:gd name="T11" fmla="*/ 7 h 10"/>
                    <a:gd name="T12" fmla="*/ 7 w 7"/>
                    <a:gd name="T13" fmla="*/ 6 h 10"/>
                    <a:gd name="T14" fmla="*/ 6 w 7"/>
                    <a:gd name="T15" fmla="*/ 4 h 10"/>
                    <a:gd name="T16" fmla="*/ 6 w 7"/>
                    <a:gd name="T17" fmla="*/ 0 h 10"/>
                    <a:gd name="T18" fmla="*/ 5 w 7"/>
                    <a:gd name="T19" fmla="*/ 0 h 10"/>
                    <a:gd name="T20" fmla="*/ 3 w 7"/>
                    <a:gd name="T21" fmla="*/ 0 h 10"/>
                    <a:gd name="T22" fmla="*/ 2 w 7"/>
                    <a:gd name="T23" fmla="*/ 0 h 10"/>
                    <a:gd name="T24" fmla="*/ 1 w 7"/>
                    <a:gd name="T25" fmla="*/ 0 h 10"/>
                    <a:gd name="T26" fmla="*/ 1 w 7"/>
                    <a:gd name="T27" fmla="*/ 3 h 10"/>
                    <a:gd name="T28" fmla="*/ 3 w 7"/>
                    <a:gd name="T29" fmla="*/ 3 h 10"/>
                    <a:gd name="T30" fmla="*/ 2 w 7"/>
                    <a:gd name="T31" fmla="*/ 4 h 10"/>
                    <a:gd name="T32" fmla="*/ 1 w 7"/>
                    <a:gd name="T33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7" h="10">
                      <a:moveTo>
                        <a:pt x="1" y="5"/>
                      </a:moveTo>
                      <a:lnTo>
                        <a:pt x="0" y="7"/>
                      </a:lnTo>
                      <a:lnTo>
                        <a:pt x="1" y="9"/>
                      </a:lnTo>
                      <a:lnTo>
                        <a:pt x="3" y="10"/>
                      </a:lnTo>
                      <a:lnTo>
                        <a:pt x="6" y="7"/>
                      </a:lnTo>
                      <a:lnTo>
                        <a:pt x="7" y="7"/>
                      </a:lnTo>
                      <a:lnTo>
                        <a:pt x="7" y="6"/>
                      </a:lnTo>
                      <a:lnTo>
                        <a:pt x="6" y="4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2" y="4"/>
                      </a:lnTo>
                      <a:lnTo>
                        <a:pt x="1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66" name="Freeform 567">
                  <a:extLst>
                    <a:ext uri="{FF2B5EF4-FFF2-40B4-BE49-F238E27FC236}">
                      <a16:creationId xmlns:a16="http://schemas.microsoft.com/office/drawing/2014/main" id="{478AB50A-8CC1-4BA1-A5C6-63A8C312A8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5" y="1701"/>
                  <a:ext cx="5" cy="2"/>
                </a:xfrm>
                <a:custGeom>
                  <a:avLst/>
                  <a:gdLst>
                    <a:gd name="T0" fmla="*/ 0 w 5"/>
                    <a:gd name="T1" fmla="*/ 2 h 2"/>
                    <a:gd name="T2" fmla="*/ 2 w 5"/>
                    <a:gd name="T3" fmla="*/ 2 h 2"/>
                    <a:gd name="T4" fmla="*/ 5 w 5"/>
                    <a:gd name="T5" fmla="*/ 0 h 2"/>
                    <a:gd name="T6" fmla="*/ 1 w 5"/>
                    <a:gd name="T7" fmla="*/ 0 h 2"/>
                    <a:gd name="T8" fmla="*/ 0 w 5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5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67" name="Freeform 568">
                  <a:extLst>
                    <a:ext uri="{FF2B5EF4-FFF2-40B4-BE49-F238E27FC236}">
                      <a16:creationId xmlns:a16="http://schemas.microsoft.com/office/drawing/2014/main" id="{0051A6D3-65CC-4809-9077-B380E003AC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09" y="1714"/>
                  <a:ext cx="5" cy="5"/>
                </a:xfrm>
                <a:custGeom>
                  <a:avLst/>
                  <a:gdLst>
                    <a:gd name="T0" fmla="*/ 0 w 5"/>
                    <a:gd name="T1" fmla="*/ 2 h 5"/>
                    <a:gd name="T2" fmla="*/ 1 w 5"/>
                    <a:gd name="T3" fmla="*/ 5 h 5"/>
                    <a:gd name="T4" fmla="*/ 2 w 5"/>
                    <a:gd name="T5" fmla="*/ 4 h 5"/>
                    <a:gd name="T6" fmla="*/ 4 w 5"/>
                    <a:gd name="T7" fmla="*/ 1 h 5"/>
                    <a:gd name="T8" fmla="*/ 5 w 5"/>
                    <a:gd name="T9" fmla="*/ 0 h 5"/>
                    <a:gd name="T10" fmla="*/ 3 w 5"/>
                    <a:gd name="T11" fmla="*/ 0 h 5"/>
                    <a:gd name="T12" fmla="*/ 0 w 5"/>
                    <a:gd name="T13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5">
                      <a:moveTo>
                        <a:pt x="0" y="2"/>
                      </a:moveTo>
                      <a:lnTo>
                        <a:pt x="1" y="5"/>
                      </a:lnTo>
                      <a:lnTo>
                        <a:pt x="2" y="4"/>
                      </a:lnTo>
                      <a:lnTo>
                        <a:pt x="4" y="1"/>
                      </a:ln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68" name="Freeform 569">
                  <a:extLst>
                    <a:ext uri="{FF2B5EF4-FFF2-40B4-BE49-F238E27FC236}">
                      <a16:creationId xmlns:a16="http://schemas.microsoft.com/office/drawing/2014/main" id="{590CE03B-D49F-4C5D-A19E-5CE812AD1E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5" y="1755"/>
                  <a:ext cx="4" cy="8"/>
                </a:xfrm>
                <a:custGeom>
                  <a:avLst/>
                  <a:gdLst>
                    <a:gd name="T0" fmla="*/ 2 w 5"/>
                    <a:gd name="T1" fmla="*/ 8 h 11"/>
                    <a:gd name="T2" fmla="*/ 5 w 5"/>
                    <a:gd name="T3" fmla="*/ 3 h 11"/>
                    <a:gd name="T4" fmla="*/ 2 w 5"/>
                    <a:gd name="T5" fmla="*/ 0 h 11"/>
                    <a:gd name="T6" fmla="*/ 1 w 5"/>
                    <a:gd name="T7" fmla="*/ 6 h 11"/>
                    <a:gd name="T8" fmla="*/ 0 w 5"/>
                    <a:gd name="T9" fmla="*/ 9 h 11"/>
                    <a:gd name="T10" fmla="*/ 0 w 5"/>
                    <a:gd name="T11" fmla="*/ 11 h 11"/>
                    <a:gd name="T12" fmla="*/ 2 w 5"/>
                    <a:gd name="T13" fmla="*/ 8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11">
                      <a:moveTo>
                        <a:pt x="2" y="8"/>
                      </a:move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5" y="3"/>
                        <a:pt x="2" y="0"/>
                        <a:pt x="2" y="0"/>
                      </a:cubicBezTo>
                      <a:cubicBezTo>
                        <a:pt x="1" y="6"/>
                        <a:pt x="1" y="6"/>
                        <a:pt x="1" y="6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11"/>
                        <a:pt x="0" y="11"/>
                        <a:pt x="0" y="11"/>
                      </a:cubicBezTo>
                      <a:lnTo>
                        <a:pt x="2" y="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69" name="Freeform 570">
                  <a:extLst>
                    <a:ext uri="{FF2B5EF4-FFF2-40B4-BE49-F238E27FC236}">
                      <a16:creationId xmlns:a16="http://schemas.microsoft.com/office/drawing/2014/main" id="{2A890E94-4F37-4F1D-A40D-4E4E465B41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03" y="1691"/>
                  <a:ext cx="30" cy="30"/>
                </a:xfrm>
                <a:custGeom>
                  <a:avLst/>
                  <a:gdLst>
                    <a:gd name="T0" fmla="*/ 29 w 30"/>
                    <a:gd name="T1" fmla="*/ 0 h 30"/>
                    <a:gd name="T2" fmla="*/ 25 w 30"/>
                    <a:gd name="T3" fmla="*/ 5 h 30"/>
                    <a:gd name="T4" fmla="*/ 22 w 30"/>
                    <a:gd name="T5" fmla="*/ 7 h 30"/>
                    <a:gd name="T6" fmla="*/ 19 w 30"/>
                    <a:gd name="T7" fmla="*/ 7 h 30"/>
                    <a:gd name="T8" fmla="*/ 17 w 30"/>
                    <a:gd name="T9" fmla="*/ 10 h 30"/>
                    <a:gd name="T10" fmla="*/ 16 w 30"/>
                    <a:gd name="T11" fmla="*/ 14 h 30"/>
                    <a:gd name="T12" fmla="*/ 13 w 30"/>
                    <a:gd name="T13" fmla="*/ 16 h 30"/>
                    <a:gd name="T14" fmla="*/ 10 w 30"/>
                    <a:gd name="T15" fmla="*/ 16 h 30"/>
                    <a:gd name="T16" fmla="*/ 6 w 30"/>
                    <a:gd name="T17" fmla="*/ 20 h 30"/>
                    <a:gd name="T18" fmla="*/ 5 w 30"/>
                    <a:gd name="T19" fmla="*/ 19 h 30"/>
                    <a:gd name="T20" fmla="*/ 3 w 30"/>
                    <a:gd name="T21" fmla="*/ 19 h 30"/>
                    <a:gd name="T22" fmla="*/ 2 w 30"/>
                    <a:gd name="T23" fmla="*/ 23 h 30"/>
                    <a:gd name="T24" fmla="*/ 0 w 30"/>
                    <a:gd name="T25" fmla="*/ 26 h 30"/>
                    <a:gd name="T26" fmla="*/ 2 w 30"/>
                    <a:gd name="T27" fmla="*/ 27 h 30"/>
                    <a:gd name="T28" fmla="*/ 3 w 30"/>
                    <a:gd name="T29" fmla="*/ 26 h 30"/>
                    <a:gd name="T30" fmla="*/ 6 w 30"/>
                    <a:gd name="T31" fmla="*/ 30 h 30"/>
                    <a:gd name="T32" fmla="*/ 5 w 30"/>
                    <a:gd name="T33" fmla="*/ 26 h 30"/>
                    <a:gd name="T34" fmla="*/ 6 w 30"/>
                    <a:gd name="T35" fmla="*/ 23 h 30"/>
                    <a:gd name="T36" fmla="*/ 11 w 30"/>
                    <a:gd name="T37" fmla="*/ 19 h 30"/>
                    <a:gd name="T38" fmla="*/ 11 w 30"/>
                    <a:gd name="T39" fmla="*/ 20 h 30"/>
                    <a:gd name="T40" fmla="*/ 13 w 30"/>
                    <a:gd name="T41" fmla="*/ 20 h 30"/>
                    <a:gd name="T42" fmla="*/ 16 w 30"/>
                    <a:gd name="T43" fmla="*/ 20 h 30"/>
                    <a:gd name="T44" fmla="*/ 19 w 30"/>
                    <a:gd name="T45" fmla="*/ 19 h 30"/>
                    <a:gd name="T46" fmla="*/ 21 w 30"/>
                    <a:gd name="T47" fmla="*/ 19 h 30"/>
                    <a:gd name="T48" fmla="*/ 23 w 30"/>
                    <a:gd name="T49" fmla="*/ 21 h 30"/>
                    <a:gd name="T50" fmla="*/ 25 w 30"/>
                    <a:gd name="T51" fmla="*/ 20 h 30"/>
                    <a:gd name="T52" fmla="*/ 28 w 30"/>
                    <a:gd name="T53" fmla="*/ 14 h 30"/>
                    <a:gd name="T54" fmla="*/ 27 w 30"/>
                    <a:gd name="T55" fmla="*/ 11 h 30"/>
                    <a:gd name="T56" fmla="*/ 28 w 30"/>
                    <a:gd name="T57" fmla="*/ 9 h 30"/>
                    <a:gd name="T58" fmla="*/ 27 w 30"/>
                    <a:gd name="T59" fmla="*/ 6 h 30"/>
                    <a:gd name="T60" fmla="*/ 30 w 30"/>
                    <a:gd name="T61" fmla="*/ 2 h 30"/>
                    <a:gd name="T62" fmla="*/ 29 w 30"/>
                    <a:gd name="T63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30" h="30">
                      <a:moveTo>
                        <a:pt x="29" y="0"/>
                      </a:moveTo>
                      <a:lnTo>
                        <a:pt x="25" y="5"/>
                      </a:lnTo>
                      <a:lnTo>
                        <a:pt x="22" y="7"/>
                      </a:lnTo>
                      <a:lnTo>
                        <a:pt x="19" y="7"/>
                      </a:lnTo>
                      <a:lnTo>
                        <a:pt x="17" y="10"/>
                      </a:lnTo>
                      <a:lnTo>
                        <a:pt x="16" y="14"/>
                      </a:lnTo>
                      <a:lnTo>
                        <a:pt x="13" y="16"/>
                      </a:lnTo>
                      <a:lnTo>
                        <a:pt x="10" y="16"/>
                      </a:lnTo>
                      <a:lnTo>
                        <a:pt x="6" y="20"/>
                      </a:lnTo>
                      <a:lnTo>
                        <a:pt x="5" y="19"/>
                      </a:lnTo>
                      <a:lnTo>
                        <a:pt x="3" y="19"/>
                      </a:lnTo>
                      <a:lnTo>
                        <a:pt x="2" y="23"/>
                      </a:lnTo>
                      <a:lnTo>
                        <a:pt x="0" y="26"/>
                      </a:lnTo>
                      <a:lnTo>
                        <a:pt x="2" y="27"/>
                      </a:lnTo>
                      <a:lnTo>
                        <a:pt x="3" y="26"/>
                      </a:lnTo>
                      <a:lnTo>
                        <a:pt x="6" y="30"/>
                      </a:lnTo>
                      <a:lnTo>
                        <a:pt x="5" y="26"/>
                      </a:lnTo>
                      <a:lnTo>
                        <a:pt x="6" y="23"/>
                      </a:lnTo>
                      <a:lnTo>
                        <a:pt x="11" y="19"/>
                      </a:lnTo>
                      <a:lnTo>
                        <a:pt x="11" y="20"/>
                      </a:lnTo>
                      <a:lnTo>
                        <a:pt x="13" y="20"/>
                      </a:lnTo>
                      <a:lnTo>
                        <a:pt x="16" y="20"/>
                      </a:lnTo>
                      <a:lnTo>
                        <a:pt x="19" y="19"/>
                      </a:lnTo>
                      <a:lnTo>
                        <a:pt x="21" y="19"/>
                      </a:lnTo>
                      <a:lnTo>
                        <a:pt x="23" y="21"/>
                      </a:lnTo>
                      <a:lnTo>
                        <a:pt x="25" y="20"/>
                      </a:lnTo>
                      <a:lnTo>
                        <a:pt x="28" y="14"/>
                      </a:lnTo>
                      <a:lnTo>
                        <a:pt x="27" y="11"/>
                      </a:lnTo>
                      <a:lnTo>
                        <a:pt x="28" y="9"/>
                      </a:lnTo>
                      <a:lnTo>
                        <a:pt x="27" y="6"/>
                      </a:lnTo>
                      <a:lnTo>
                        <a:pt x="30" y="2"/>
                      </a:lnTo>
                      <a:lnTo>
                        <a:pt x="29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70" name="Freeform 571">
                  <a:extLst>
                    <a:ext uri="{FF2B5EF4-FFF2-40B4-BE49-F238E27FC236}">
                      <a16:creationId xmlns:a16="http://schemas.microsoft.com/office/drawing/2014/main" id="{C714620E-5EEC-443B-9C92-ACE3CA776F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0" y="1760"/>
                  <a:ext cx="3" cy="2"/>
                </a:xfrm>
                <a:custGeom>
                  <a:avLst/>
                  <a:gdLst>
                    <a:gd name="T0" fmla="*/ 3 w 3"/>
                    <a:gd name="T1" fmla="*/ 2 h 2"/>
                    <a:gd name="T2" fmla="*/ 3 w 3"/>
                    <a:gd name="T3" fmla="*/ 2 h 2"/>
                    <a:gd name="T4" fmla="*/ 0 w 3"/>
                    <a:gd name="T5" fmla="*/ 0 h 2"/>
                    <a:gd name="T6" fmla="*/ 3 w 3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3" y="2"/>
                      </a:moveTo>
                      <a:lnTo>
                        <a:pt x="3" y="2"/>
                      </a:lnTo>
                      <a:lnTo>
                        <a:pt x="0" y="0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71" name="Freeform 572">
                  <a:extLst>
                    <a:ext uri="{FF2B5EF4-FFF2-40B4-BE49-F238E27FC236}">
                      <a16:creationId xmlns:a16="http://schemas.microsoft.com/office/drawing/2014/main" id="{C12933B4-711B-4612-93A9-29C7084D44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2" y="1734"/>
                  <a:ext cx="2" cy="7"/>
                </a:xfrm>
                <a:custGeom>
                  <a:avLst/>
                  <a:gdLst>
                    <a:gd name="T0" fmla="*/ 2 w 2"/>
                    <a:gd name="T1" fmla="*/ 5 h 7"/>
                    <a:gd name="T2" fmla="*/ 1 w 2"/>
                    <a:gd name="T3" fmla="*/ 0 h 7"/>
                    <a:gd name="T4" fmla="*/ 1 w 2"/>
                    <a:gd name="T5" fmla="*/ 5 h 7"/>
                    <a:gd name="T6" fmla="*/ 0 w 2"/>
                    <a:gd name="T7" fmla="*/ 7 h 7"/>
                    <a:gd name="T8" fmla="*/ 2 w 2"/>
                    <a:gd name="T9" fmla="*/ 7 h 7"/>
                    <a:gd name="T10" fmla="*/ 2 w 2"/>
                    <a:gd name="T11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7">
                      <a:moveTo>
                        <a:pt x="2" y="5"/>
                      </a:moveTo>
                      <a:lnTo>
                        <a:pt x="1" y="0"/>
                      </a:lnTo>
                      <a:lnTo>
                        <a:pt x="1" y="5"/>
                      </a:lnTo>
                      <a:lnTo>
                        <a:pt x="0" y="7"/>
                      </a:lnTo>
                      <a:lnTo>
                        <a:pt x="2" y="7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72" name="Freeform 573">
                  <a:extLst>
                    <a:ext uri="{FF2B5EF4-FFF2-40B4-BE49-F238E27FC236}">
                      <a16:creationId xmlns:a16="http://schemas.microsoft.com/office/drawing/2014/main" id="{C7B1BAED-9278-47FA-9B7F-386D3C9733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01" y="1712"/>
                  <a:ext cx="37" cy="50"/>
                </a:xfrm>
                <a:custGeom>
                  <a:avLst/>
                  <a:gdLst>
                    <a:gd name="T0" fmla="*/ 18 w 37"/>
                    <a:gd name="T1" fmla="*/ 50 h 50"/>
                    <a:gd name="T2" fmla="*/ 20 w 37"/>
                    <a:gd name="T3" fmla="*/ 49 h 50"/>
                    <a:gd name="T4" fmla="*/ 19 w 37"/>
                    <a:gd name="T5" fmla="*/ 44 h 50"/>
                    <a:gd name="T6" fmla="*/ 18 w 37"/>
                    <a:gd name="T7" fmla="*/ 42 h 50"/>
                    <a:gd name="T8" fmla="*/ 20 w 37"/>
                    <a:gd name="T9" fmla="*/ 38 h 50"/>
                    <a:gd name="T10" fmla="*/ 18 w 37"/>
                    <a:gd name="T11" fmla="*/ 35 h 50"/>
                    <a:gd name="T12" fmla="*/ 22 w 37"/>
                    <a:gd name="T13" fmla="*/ 30 h 50"/>
                    <a:gd name="T14" fmla="*/ 26 w 37"/>
                    <a:gd name="T15" fmla="*/ 29 h 50"/>
                    <a:gd name="T16" fmla="*/ 28 w 37"/>
                    <a:gd name="T17" fmla="*/ 22 h 50"/>
                    <a:gd name="T18" fmla="*/ 29 w 37"/>
                    <a:gd name="T19" fmla="*/ 18 h 50"/>
                    <a:gd name="T20" fmla="*/ 33 w 37"/>
                    <a:gd name="T21" fmla="*/ 19 h 50"/>
                    <a:gd name="T22" fmla="*/ 35 w 37"/>
                    <a:gd name="T23" fmla="*/ 19 h 50"/>
                    <a:gd name="T24" fmla="*/ 37 w 37"/>
                    <a:gd name="T25" fmla="*/ 15 h 50"/>
                    <a:gd name="T26" fmla="*/ 33 w 37"/>
                    <a:gd name="T27" fmla="*/ 12 h 50"/>
                    <a:gd name="T28" fmla="*/ 28 w 37"/>
                    <a:gd name="T29" fmla="*/ 11 h 50"/>
                    <a:gd name="T30" fmla="*/ 25 w 37"/>
                    <a:gd name="T31" fmla="*/ 8 h 50"/>
                    <a:gd name="T32" fmla="*/ 27 w 37"/>
                    <a:gd name="T33" fmla="*/ 2 h 50"/>
                    <a:gd name="T34" fmla="*/ 20 w 37"/>
                    <a:gd name="T35" fmla="*/ 1 h 50"/>
                    <a:gd name="T36" fmla="*/ 15 w 37"/>
                    <a:gd name="T37" fmla="*/ 2 h 50"/>
                    <a:gd name="T38" fmla="*/ 17 w 37"/>
                    <a:gd name="T39" fmla="*/ 6 h 50"/>
                    <a:gd name="T40" fmla="*/ 18 w 37"/>
                    <a:gd name="T41" fmla="*/ 11 h 50"/>
                    <a:gd name="T42" fmla="*/ 16 w 37"/>
                    <a:gd name="T43" fmla="*/ 11 h 50"/>
                    <a:gd name="T44" fmla="*/ 13 w 37"/>
                    <a:gd name="T45" fmla="*/ 10 h 50"/>
                    <a:gd name="T46" fmla="*/ 13 w 37"/>
                    <a:gd name="T47" fmla="*/ 5 h 50"/>
                    <a:gd name="T48" fmla="*/ 10 w 37"/>
                    <a:gd name="T49" fmla="*/ 8 h 50"/>
                    <a:gd name="T50" fmla="*/ 9 w 37"/>
                    <a:gd name="T51" fmla="*/ 13 h 50"/>
                    <a:gd name="T52" fmla="*/ 5 w 37"/>
                    <a:gd name="T53" fmla="*/ 11 h 50"/>
                    <a:gd name="T54" fmla="*/ 1 w 37"/>
                    <a:gd name="T55" fmla="*/ 12 h 50"/>
                    <a:gd name="T56" fmla="*/ 4 w 37"/>
                    <a:gd name="T57" fmla="*/ 18 h 50"/>
                    <a:gd name="T58" fmla="*/ 1 w 37"/>
                    <a:gd name="T59" fmla="*/ 17 h 50"/>
                    <a:gd name="T60" fmla="*/ 4 w 37"/>
                    <a:gd name="T61" fmla="*/ 22 h 50"/>
                    <a:gd name="T62" fmla="*/ 5 w 37"/>
                    <a:gd name="T63" fmla="*/ 28 h 50"/>
                    <a:gd name="T64" fmla="*/ 0 w 37"/>
                    <a:gd name="T65" fmla="*/ 35 h 50"/>
                    <a:gd name="T66" fmla="*/ 4 w 37"/>
                    <a:gd name="T67" fmla="*/ 35 h 50"/>
                    <a:gd name="T68" fmla="*/ 7 w 37"/>
                    <a:gd name="T69" fmla="*/ 43 h 50"/>
                    <a:gd name="T70" fmla="*/ 7 w 37"/>
                    <a:gd name="T71" fmla="*/ 47 h 50"/>
                    <a:gd name="T72" fmla="*/ 16 w 37"/>
                    <a:gd name="T73" fmla="*/ 49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37" h="50">
                      <a:moveTo>
                        <a:pt x="16" y="49"/>
                      </a:moveTo>
                      <a:lnTo>
                        <a:pt x="18" y="50"/>
                      </a:lnTo>
                      <a:lnTo>
                        <a:pt x="20" y="49"/>
                      </a:lnTo>
                      <a:lnTo>
                        <a:pt x="20" y="49"/>
                      </a:lnTo>
                      <a:lnTo>
                        <a:pt x="21" y="46"/>
                      </a:lnTo>
                      <a:lnTo>
                        <a:pt x="19" y="44"/>
                      </a:lnTo>
                      <a:lnTo>
                        <a:pt x="18" y="44"/>
                      </a:lnTo>
                      <a:lnTo>
                        <a:pt x="18" y="42"/>
                      </a:lnTo>
                      <a:lnTo>
                        <a:pt x="19" y="40"/>
                      </a:lnTo>
                      <a:lnTo>
                        <a:pt x="20" y="38"/>
                      </a:lnTo>
                      <a:lnTo>
                        <a:pt x="18" y="37"/>
                      </a:lnTo>
                      <a:lnTo>
                        <a:pt x="18" y="35"/>
                      </a:lnTo>
                      <a:lnTo>
                        <a:pt x="24" y="32"/>
                      </a:lnTo>
                      <a:lnTo>
                        <a:pt x="22" y="30"/>
                      </a:lnTo>
                      <a:lnTo>
                        <a:pt x="25" y="28"/>
                      </a:lnTo>
                      <a:lnTo>
                        <a:pt x="26" y="29"/>
                      </a:lnTo>
                      <a:lnTo>
                        <a:pt x="28" y="27"/>
                      </a:lnTo>
                      <a:lnTo>
                        <a:pt x="28" y="22"/>
                      </a:lnTo>
                      <a:lnTo>
                        <a:pt x="28" y="19"/>
                      </a:lnTo>
                      <a:lnTo>
                        <a:pt x="29" y="18"/>
                      </a:lnTo>
                      <a:lnTo>
                        <a:pt x="32" y="17"/>
                      </a:lnTo>
                      <a:lnTo>
                        <a:pt x="33" y="19"/>
                      </a:lnTo>
                      <a:lnTo>
                        <a:pt x="34" y="19"/>
                      </a:lnTo>
                      <a:lnTo>
                        <a:pt x="35" y="19"/>
                      </a:lnTo>
                      <a:lnTo>
                        <a:pt x="36" y="18"/>
                      </a:lnTo>
                      <a:lnTo>
                        <a:pt x="37" y="15"/>
                      </a:lnTo>
                      <a:lnTo>
                        <a:pt x="35" y="12"/>
                      </a:lnTo>
                      <a:lnTo>
                        <a:pt x="33" y="12"/>
                      </a:lnTo>
                      <a:lnTo>
                        <a:pt x="30" y="12"/>
                      </a:lnTo>
                      <a:lnTo>
                        <a:pt x="28" y="11"/>
                      </a:lnTo>
                      <a:lnTo>
                        <a:pt x="27" y="8"/>
                      </a:lnTo>
                      <a:lnTo>
                        <a:pt x="25" y="8"/>
                      </a:lnTo>
                      <a:lnTo>
                        <a:pt x="27" y="5"/>
                      </a:lnTo>
                      <a:lnTo>
                        <a:pt x="27" y="2"/>
                      </a:lnTo>
                      <a:lnTo>
                        <a:pt x="24" y="0"/>
                      </a:lnTo>
                      <a:lnTo>
                        <a:pt x="20" y="1"/>
                      </a:lnTo>
                      <a:lnTo>
                        <a:pt x="18" y="2"/>
                      </a:lnTo>
                      <a:lnTo>
                        <a:pt x="15" y="2"/>
                      </a:lnTo>
                      <a:lnTo>
                        <a:pt x="14" y="2"/>
                      </a:lnTo>
                      <a:lnTo>
                        <a:pt x="17" y="6"/>
                      </a:lnTo>
                      <a:lnTo>
                        <a:pt x="16" y="8"/>
                      </a:lnTo>
                      <a:lnTo>
                        <a:pt x="18" y="11"/>
                      </a:lnTo>
                      <a:lnTo>
                        <a:pt x="18" y="12"/>
                      </a:lnTo>
                      <a:lnTo>
                        <a:pt x="16" y="11"/>
                      </a:lnTo>
                      <a:lnTo>
                        <a:pt x="14" y="12"/>
                      </a:lnTo>
                      <a:lnTo>
                        <a:pt x="13" y="10"/>
                      </a:lnTo>
                      <a:lnTo>
                        <a:pt x="14" y="8"/>
                      </a:lnTo>
                      <a:lnTo>
                        <a:pt x="13" y="5"/>
                      </a:lnTo>
                      <a:lnTo>
                        <a:pt x="12" y="5"/>
                      </a:lnTo>
                      <a:lnTo>
                        <a:pt x="10" y="8"/>
                      </a:lnTo>
                      <a:lnTo>
                        <a:pt x="11" y="11"/>
                      </a:lnTo>
                      <a:lnTo>
                        <a:pt x="9" y="13"/>
                      </a:lnTo>
                      <a:lnTo>
                        <a:pt x="7" y="11"/>
                      </a:lnTo>
                      <a:lnTo>
                        <a:pt x="5" y="11"/>
                      </a:lnTo>
                      <a:lnTo>
                        <a:pt x="4" y="10"/>
                      </a:lnTo>
                      <a:lnTo>
                        <a:pt x="1" y="12"/>
                      </a:lnTo>
                      <a:lnTo>
                        <a:pt x="4" y="15"/>
                      </a:lnTo>
                      <a:lnTo>
                        <a:pt x="4" y="18"/>
                      </a:lnTo>
                      <a:lnTo>
                        <a:pt x="3" y="16"/>
                      </a:lnTo>
                      <a:lnTo>
                        <a:pt x="1" y="17"/>
                      </a:lnTo>
                      <a:lnTo>
                        <a:pt x="2" y="21"/>
                      </a:lnTo>
                      <a:lnTo>
                        <a:pt x="4" y="22"/>
                      </a:lnTo>
                      <a:lnTo>
                        <a:pt x="4" y="26"/>
                      </a:lnTo>
                      <a:lnTo>
                        <a:pt x="5" y="28"/>
                      </a:lnTo>
                      <a:lnTo>
                        <a:pt x="1" y="30"/>
                      </a:lnTo>
                      <a:lnTo>
                        <a:pt x="0" y="35"/>
                      </a:lnTo>
                      <a:lnTo>
                        <a:pt x="1" y="36"/>
                      </a:lnTo>
                      <a:lnTo>
                        <a:pt x="4" y="35"/>
                      </a:lnTo>
                      <a:lnTo>
                        <a:pt x="7" y="39"/>
                      </a:lnTo>
                      <a:lnTo>
                        <a:pt x="7" y="43"/>
                      </a:lnTo>
                      <a:lnTo>
                        <a:pt x="7" y="45"/>
                      </a:lnTo>
                      <a:lnTo>
                        <a:pt x="7" y="47"/>
                      </a:lnTo>
                      <a:lnTo>
                        <a:pt x="11" y="47"/>
                      </a:lnTo>
                      <a:lnTo>
                        <a:pt x="16" y="4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73" name="Freeform 574">
                  <a:extLst>
                    <a:ext uri="{FF2B5EF4-FFF2-40B4-BE49-F238E27FC236}">
                      <a16:creationId xmlns:a16="http://schemas.microsoft.com/office/drawing/2014/main" id="{4B44DF65-74FD-4AD5-9808-BE8499A95C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67" y="1370"/>
                  <a:ext cx="17" cy="21"/>
                </a:xfrm>
                <a:custGeom>
                  <a:avLst/>
                  <a:gdLst>
                    <a:gd name="T0" fmla="*/ 7 w 17"/>
                    <a:gd name="T1" fmla="*/ 19 h 21"/>
                    <a:gd name="T2" fmla="*/ 9 w 17"/>
                    <a:gd name="T3" fmla="*/ 17 h 21"/>
                    <a:gd name="T4" fmla="*/ 12 w 17"/>
                    <a:gd name="T5" fmla="*/ 15 h 21"/>
                    <a:gd name="T6" fmla="*/ 17 w 17"/>
                    <a:gd name="T7" fmla="*/ 9 h 21"/>
                    <a:gd name="T8" fmla="*/ 13 w 17"/>
                    <a:gd name="T9" fmla="*/ 4 h 21"/>
                    <a:gd name="T10" fmla="*/ 11 w 17"/>
                    <a:gd name="T11" fmla="*/ 2 h 21"/>
                    <a:gd name="T12" fmla="*/ 11 w 17"/>
                    <a:gd name="T13" fmla="*/ 5 h 21"/>
                    <a:gd name="T14" fmla="*/ 13 w 17"/>
                    <a:gd name="T15" fmla="*/ 8 h 21"/>
                    <a:gd name="T16" fmla="*/ 8 w 17"/>
                    <a:gd name="T17" fmla="*/ 8 h 21"/>
                    <a:gd name="T18" fmla="*/ 7 w 17"/>
                    <a:gd name="T19" fmla="*/ 12 h 21"/>
                    <a:gd name="T20" fmla="*/ 6 w 17"/>
                    <a:gd name="T21" fmla="*/ 9 h 21"/>
                    <a:gd name="T22" fmla="*/ 7 w 17"/>
                    <a:gd name="T23" fmla="*/ 0 h 21"/>
                    <a:gd name="T24" fmla="*/ 4 w 17"/>
                    <a:gd name="T25" fmla="*/ 6 h 21"/>
                    <a:gd name="T26" fmla="*/ 4 w 17"/>
                    <a:gd name="T27" fmla="*/ 9 h 21"/>
                    <a:gd name="T28" fmla="*/ 2 w 17"/>
                    <a:gd name="T29" fmla="*/ 12 h 21"/>
                    <a:gd name="T30" fmla="*/ 3 w 17"/>
                    <a:gd name="T31" fmla="*/ 16 h 21"/>
                    <a:gd name="T32" fmla="*/ 1 w 17"/>
                    <a:gd name="T33" fmla="*/ 16 h 21"/>
                    <a:gd name="T34" fmla="*/ 0 w 17"/>
                    <a:gd name="T35" fmla="*/ 21 h 21"/>
                    <a:gd name="T36" fmla="*/ 2 w 17"/>
                    <a:gd name="T37" fmla="*/ 21 h 21"/>
                    <a:gd name="T38" fmla="*/ 6 w 17"/>
                    <a:gd name="T39" fmla="*/ 16 h 21"/>
                    <a:gd name="T40" fmla="*/ 5 w 17"/>
                    <a:gd name="T41" fmla="*/ 19 h 21"/>
                    <a:gd name="T42" fmla="*/ 7 w 17"/>
                    <a:gd name="T43" fmla="*/ 19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7" h="21">
                      <a:moveTo>
                        <a:pt x="7" y="19"/>
                      </a:moveTo>
                      <a:lnTo>
                        <a:pt x="9" y="17"/>
                      </a:lnTo>
                      <a:lnTo>
                        <a:pt x="12" y="15"/>
                      </a:lnTo>
                      <a:lnTo>
                        <a:pt x="17" y="9"/>
                      </a:lnTo>
                      <a:lnTo>
                        <a:pt x="13" y="4"/>
                      </a:lnTo>
                      <a:lnTo>
                        <a:pt x="11" y="2"/>
                      </a:lnTo>
                      <a:lnTo>
                        <a:pt x="11" y="5"/>
                      </a:lnTo>
                      <a:lnTo>
                        <a:pt x="13" y="8"/>
                      </a:lnTo>
                      <a:lnTo>
                        <a:pt x="8" y="8"/>
                      </a:lnTo>
                      <a:lnTo>
                        <a:pt x="7" y="12"/>
                      </a:lnTo>
                      <a:lnTo>
                        <a:pt x="6" y="9"/>
                      </a:lnTo>
                      <a:lnTo>
                        <a:pt x="7" y="0"/>
                      </a:lnTo>
                      <a:lnTo>
                        <a:pt x="4" y="6"/>
                      </a:lnTo>
                      <a:lnTo>
                        <a:pt x="4" y="9"/>
                      </a:lnTo>
                      <a:lnTo>
                        <a:pt x="2" y="12"/>
                      </a:lnTo>
                      <a:lnTo>
                        <a:pt x="3" y="16"/>
                      </a:lnTo>
                      <a:lnTo>
                        <a:pt x="1" y="16"/>
                      </a:lnTo>
                      <a:lnTo>
                        <a:pt x="0" y="21"/>
                      </a:lnTo>
                      <a:lnTo>
                        <a:pt x="2" y="21"/>
                      </a:lnTo>
                      <a:lnTo>
                        <a:pt x="6" y="16"/>
                      </a:lnTo>
                      <a:lnTo>
                        <a:pt x="5" y="19"/>
                      </a:lnTo>
                      <a:lnTo>
                        <a:pt x="7" y="1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74" name="Freeform 575">
                  <a:extLst>
                    <a:ext uri="{FF2B5EF4-FFF2-40B4-BE49-F238E27FC236}">
                      <a16:creationId xmlns:a16="http://schemas.microsoft.com/office/drawing/2014/main" id="{F226E377-0C6F-431F-846A-2645C893D3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48" y="1312"/>
                  <a:ext cx="6" cy="10"/>
                </a:xfrm>
                <a:custGeom>
                  <a:avLst/>
                  <a:gdLst>
                    <a:gd name="T0" fmla="*/ 3 w 6"/>
                    <a:gd name="T1" fmla="*/ 10 h 10"/>
                    <a:gd name="T2" fmla="*/ 4 w 6"/>
                    <a:gd name="T3" fmla="*/ 7 h 10"/>
                    <a:gd name="T4" fmla="*/ 6 w 6"/>
                    <a:gd name="T5" fmla="*/ 4 h 10"/>
                    <a:gd name="T6" fmla="*/ 6 w 6"/>
                    <a:gd name="T7" fmla="*/ 0 h 10"/>
                    <a:gd name="T8" fmla="*/ 0 w 6"/>
                    <a:gd name="T9" fmla="*/ 5 h 10"/>
                    <a:gd name="T10" fmla="*/ 3 w 6"/>
                    <a:gd name="T1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10">
                      <a:moveTo>
                        <a:pt x="3" y="10"/>
                      </a:moveTo>
                      <a:lnTo>
                        <a:pt x="4" y="7"/>
                      </a:lnTo>
                      <a:lnTo>
                        <a:pt x="6" y="4"/>
                      </a:lnTo>
                      <a:lnTo>
                        <a:pt x="6" y="0"/>
                      </a:lnTo>
                      <a:lnTo>
                        <a:pt x="0" y="5"/>
                      </a:lnTo>
                      <a:lnTo>
                        <a:pt x="3" y="1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75" name="Freeform 576">
                  <a:extLst>
                    <a:ext uri="{FF2B5EF4-FFF2-40B4-BE49-F238E27FC236}">
                      <a16:creationId xmlns:a16="http://schemas.microsoft.com/office/drawing/2014/main" id="{62E26514-AE21-40F1-B8C1-10592341CC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62" y="1382"/>
                  <a:ext cx="4" cy="4"/>
                </a:xfrm>
                <a:custGeom>
                  <a:avLst/>
                  <a:gdLst>
                    <a:gd name="T0" fmla="*/ 2 w 4"/>
                    <a:gd name="T1" fmla="*/ 0 h 4"/>
                    <a:gd name="T2" fmla="*/ 0 w 4"/>
                    <a:gd name="T3" fmla="*/ 4 h 4"/>
                    <a:gd name="T4" fmla="*/ 4 w 4"/>
                    <a:gd name="T5" fmla="*/ 3 h 4"/>
                    <a:gd name="T6" fmla="*/ 2 w 4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4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4" y="3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76" name="Freeform 577">
                  <a:extLst>
                    <a:ext uri="{FF2B5EF4-FFF2-40B4-BE49-F238E27FC236}">
                      <a16:creationId xmlns:a16="http://schemas.microsoft.com/office/drawing/2014/main" id="{D6F5B623-BC96-4B0D-BAEB-C39166D142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60" y="1427"/>
                  <a:ext cx="2" cy="4"/>
                </a:xfrm>
                <a:custGeom>
                  <a:avLst/>
                  <a:gdLst>
                    <a:gd name="T0" fmla="*/ 1 w 2"/>
                    <a:gd name="T1" fmla="*/ 4 h 4"/>
                    <a:gd name="T2" fmla="*/ 2 w 2"/>
                    <a:gd name="T3" fmla="*/ 0 h 4"/>
                    <a:gd name="T4" fmla="*/ 0 w 2"/>
                    <a:gd name="T5" fmla="*/ 0 h 4"/>
                    <a:gd name="T6" fmla="*/ 0 w 2"/>
                    <a:gd name="T7" fmla="*/ 2 h 4"/>
                    <a:gd name="T8" fmla="*/ 1 w 2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4">
                      <a:moveTo>
                        <a:pt x="1" y="4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77" name="Freeform 578">
                  <a:extLst>
                    <a:ext uri="{FF2B5EF4-FFF2-40B4-BE49-F238E27FC236}">
                      <a16:creationId xmlns:a16="http://schemas.microsoft.com/office/drawing/2014/main" id="{D930A073-DCC4-4C7B-96BB-C1011DA1AF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59" y="1387"/>
                  <a:ext cx="7" cy="8"/>
                </a:xfrm>
                <a:custGeom>
                  <a:avLst/>
                  <a:gdLst>
                    <a:gd name="T0" fmla="*/ 7 w 7"/>
                    <a:gd name="T1" fmla="*/ 6 h 8"/>
                    <a:gd name="T2" fmla="*/ 7 w 7"/>
                    <a:gd name="T3" fmla="*/ 0 h 8"/>
                    <a:gd name="T4" fmla="*/ 1 w 7"/>
                    <a:gd name="T5" fmla="*/ 5 h 8"/>
                    <a:gd name="T6" fmla="*/ 0 w 7"/>
                    <a:gd name="T7" fmla="*/ 8 h 8"/>
                    <a:gd name="T8" fmla="*/ 4 w 7"/>
                    <a:gd name="T9" fmla="*/ 5 h 8"/>
                    <a:gd name="T10" fmla="*/ 7 w 7"/>
                    <a:gd name="T11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8">
                      <a:moveTo>
                        <a:pt x="7" y="6"/>
                      </a:moveTo>
                      <a:lnTo>
                        <a:pt x="7" y="0"/>
                      </a:lnTo>
                      <a:lnTo>
                        <a:pt x="1" y="5"/>
                      </a:lnTo>
                      <a:lnTo>
                        <a:pt x="0" y="8"/>
                      </a:lnTo>
                      <a:lnTo>
                        <a:pt x="4" y="5"/>
                      </a:lnTo>
                      <a:lnTo>
                        <a:pt x="7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78" name="Freeform 579">
                  <a:extLst>
                    <a:ext uri="{FF2B5EF4-FFF2-40B4-BE49-F238E27FC236}">
                      <a16:creationId xmlns:a16="http://schemas.microsoft.com/office/drawing/2014/main" id="{D04C1CCD-05E5-4DFD-AC7C-6137AC04F0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60" y="1370"/>
                  <a:ext cx="9" cy="12"/>
                </a:xfrm>
                <a:custGeom>
                  <a:avLst/>
                  <a:gdLst>
                    <a:gd name="T0" fmla="*/ 9 w 9"/>
                    <a:gd name="T1" fmla="*/ 5 h 12"/>
                    <a:gd name="T2" fmla="*/ 7 w 9"/>
                    <a:gd name="T3" fmla="*/ 0 h 12"/>
                    <a:gd name="T4" fmla="*/ 6 w 9"/>
                    <a:gd name="T5" fmla="*/ 1 h 12"/>
                    <a:gd name="T6" fmla="*/ 7 w 9"/>
                    <a:gd name="T7" fmla="*/ 2 h 12"/>
                    <a:gd name="T8" fmla="*/ 4 w 9"/>
                    <a:gd name="T9" fmla="*/ 5 h 12"/>
                    <a:gd name="T10" fmla="*/ 1 w 9"/>
                    <a:gd name="T11" fmla="*/ 5 h 12"/>
                    <a:gd name="T12" fmla="*/ 0 w 9"/>
                    <a:gd name="T13" fmla="*/ 9 h 12"/>
                    <a:gd name="T14" fmla="*/ 1 w 9"/>
                    <a:gd name="T15" fmla="*/ 11 h 12"/>
                    <a:gd name="T16" fmla="*/ 5 w 9"/>
                    <a:gd name="T17" fmla="*/ 7 h 12"/>
                    <a:gd name="T18" fmla="*/ 7 w 9"/>
                    <a:gd name="T19" fmla="*/ 7 h 12"/>
                    <a:gd name="T20" fmla="*/ 4 w 9"/>
                    <a:gd name="T21" fmla="*/ 10 h 12"/>
                    <a:gd name="T22" fmla="*/ 5 w 9"/>
                    <a:gd name="T23" fmla="*/ 12 h 12"/>
                    <a:gd name="T24" fmla="*/ 9 w 9"/>
                    <a:gd name="T25" fmla="*/ 10 h 12"/>
                    <a:gd name="T26" fmla="*/ 9 w 9"/>
                    <a:gd name="T27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" h="12">
                      <a:moveTo>
                        <a:pt x="9" y="5"/>
                      </a:moveTo>
                      <a:lnTo>
                        <a:pt x="7" y="0"/>
                      </a:lnTo>
                      <a:lnTo>
                        <a:pt x="6" y="1"/>
                      </a:lnTo>
                      <a:lnTo>
                        <a:pt x="7" y="2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0" y="9"/>
                      </a:lnTo>
                      <a:lnTo>
                        <a:pt x="1" y="11"/>
                      </a:lnTo>
                      <a:lnTo>
                        <a:pt x="5" y="7"/>
                      </a:lnTo>
                      <a:lnTo>
                        <a:pt x="7" y="7"/>
                      </a:lnTo>
                      <a:lnTo>
                        <a:pt x="4" y="10"/>
                      </a:lnTo>
                      <a:lnTo>
                        <a:pt x="5" y="12"/>
                      </a:lnTo>
                      <a:lnTo>
                        <a:pt x="9" y="10"/>
                      </a:lnTo>
                      <a:lnTo>
                        <a:pt x="9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79" name="Freeform 580">
                  <a:extLst>
                    <a:ext uri="{FF2B5EF4-FFF2-40B4-BE49-F238E27FC236}">
                      <a16:creationId xmlns:a16="http://schemas.microsoft.com/office/drawing/2014/main" id="{1F0EEC80-FEFE-4424-AF59-6C71FD49F2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79" y="1368"/>
                  <a:ext cx="5" cy="4"/>
                </a:xfrm>
                <a:custGeom>
                  <a:avLst/>
                  <a:gdLst>
                    <a:gd name="T0" fmla="*/ 5 w 5"/>
                    <a:gd name="T1" fmla="*/ 2 h 4"/>
                    <a:gd name="T2" fmla="*/ 2 w 5"/>
                    <a:gd name="T3" fmla="*/ 0 h 4"/>
                    <a:gd name="T4" fmla="*/ 0 w 5"/>
                    <a:gd name="T5" fmla="*/ 1 h 4"/>
                    <a:gd name="T6" fmla="*/ 1 w 5"/>
                    <a:gd name="T7" fmla="*/ 3 h 4"/>
                    <a:gd name="T8" fmla="*/ 5 w 5"/>
                    <a:gd name="T9" fmla="*/ 4 h 4"/>
                    <a:gd name="T10" fmla="*/ 5 w 5"/>
                    <a:gd name="T11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4">
                      <a:moveTo>
                        <a:pt x="5" y="2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5" y="4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80" name="Freeform 581">
                  <a:extLst>
                    <a:ext uri="{FF2B5EF4-FFF2-40B4-BE49-F238E27FC236}">
                      <a16:creationId xmlns:a16="http://schemas.microsoft.com/office/drawing/2014/main" id="{EBC44692-6DBC-4264-9A7F-C4DF65E370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2" y="1456"/>
                  <a:ext cx="3" cy="8"/>
                </a:xfrm>
                <a:custGeom>
                  <a:avLst/>
                  <a:gdLst>
                    <a:gd name="T0" fmla="*/ 0 w 3"/>
                    <a:gd name="T1" fmla="*/ 4 h 8"/>
                    <a:gd name="T2" fmla="*/ 1 w 3"/>
                    <a:gd name="T3" fmla="*/ 8 h 8"/>
                    <a:gd name="T4" fmla="*/ 3 w 3"/>
                    <a:gd name="T5" fmla="*/ 3 h 8"/>
                    <a:gd name="T6" fmla="*/ 3 w 3"/>
                    <a:gd name="T7" fmla="*/ 0 h 8"/>
                    <a:gd name="T8" fmla="*/ 0 w 3"/>
                    <a:gd name="T9" fmla="*/ 4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8">
                      <a:moveTo>
                        <a:pt x="0" y="4"/>
                      </a:moveTo>
                      <a:lnTo>
                        <a:pt x="1" y="8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81" name="Freeform 582">
                  <a:extLst>
                    <a:ext uri="{FF2B5EF4-FFF2-40B4-BE49-F238E27FC236}">
                      <a16:creationId xmlns:a16="http://schemas.microsoft.com/office/drawing/2014/main" id="{725718D1-BF65-4DAB-AB21-27967678F3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4" y="1464"/>
                  <a:ext cx="4" cy="4"/>
                </a:xfrm>
                <a:custGeom>
                  <a:avLst/>
                  <a:gdLst>
                    <a:gd name="T0" fmla="*/ 0 w 4"/>
                    <a:gd name="T1" fmla="*/ 4 h 4"/>
                    <a:gd name="T2" fmla="*/ 4 w 4"/>
                    <a:gd name="T3" fmla="*/ 1 h 4"/>
                    <a:gd name="T4" fmla="*/ 1 w 4"/>
                    <a:gd name="T5" fmla="*/ 0 h 4"/>
                    <a:gd name="T6" fmla="*/ 0 w 4"/>
                    <a:gd name="T7" fmla="*/ 1 h 4"/>
                    <a:gd name="T8" fmla="*/ 0 w 4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4">
                      <a:moveTo>
                        <a:pt x="0" y="4"/>
                      </a:moveTo>
                      <a:lnTo>
                        <a:pt x="4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82" name="Freeform 583">
                  <a:extLst>
                    <a:ext uri="{FF2B5EF4-FFF2-40B4-BE49-F238E27FC236}">
                      <a16:creationId xmlns:a16="http://schemas.microsoft.com/office/drawing/2014/main" id="{D15719C3-8911-4993-85BB-91831CBBA7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1396"/>
                  <a:ext cx="2" cy="4"/>
                </a:xfrm>
                <a:custGeom>
                  <a:avLst/>
                  <a:gdLst>
                    <a:gd name="T0" fmla="*/ 2 w 2"/>
                    <a:gd name="T1" fmla="*/ 4 h 4"/>
                    <a:gd name="T2" fmla="*/ 2 w 2"/>
                    <a:gd name="T3" fmla="*/ 2 h 4"/>
                    <a:gd name="T4" fmla="*/ 2 w 2"/>
                    <a:gd name="T5" fmla="*/ 0 h 4"/>
                    <a:gd name="T6" fmla="*/ 0 w 2"/>
                    <a:gd name="T7" fmla="*/ 3 h 4"/>
                    <a:gd name="T8" fmla="*/ 2 w 2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4">
                      <a:moveTo>
                        <a:pt x="2" y="4"/>
                      </a:move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83" name="Freeform 584">
                  <a:extLst>
                    <a:ext uri="{FF2B5EF4-FFF2-40B4-BE49-F238E27FC236}">
                      <a16:creationId xmlns:a16="http://schemas.microsoft.com/office/drawing/2014/main" id="{678B30F2-6C96-4C22-B3EA-1C2B461911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2" y="1412"/>
                  <a:ext cx="2" cy="3"/>
                </a:xfrm>
                <a:custGeom>
                  <a:avLst/>
                  <a:gdLst>
                    <a:gd name="T0" fmla="*/ 1 w 2"/>
                    <a:gd name="T1" fmla="*/ 0 h 3"/>
                    <a:gd name="T2" fmla="*/ 0 w 2"/>
                    <a:gd name="T3" fmla="*/ 2 h 3"/>
                    <a:gd name="T4" fmla="*/ 1 w 2"/>
                    <a:gd name="T5" fmla="*/ 3 h 3"/>
                    <a:gd name="T6" fmla="*/ 2 w 2"/>
                    <a:gd name="T7" fmla="*/ 1 h 3"/>
                    <a:gd name="T8" fmla="*/ 1 w 2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1" y="0"/>
                      </a:move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2" y="1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84" name="Freeform 585">
                  <a:extLst>
                    <a:ext uri="{FF2B5EF4-FFF2-40B4-BE49-F238E27FC236}">
                      <a16:creationId xmlns:a16="http://schemas.microsoft.com/office/drawing/2014/main" id="{0EEE493F-95FD-4956-8880-8BA5C8AE1A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52" y="1393"/>
                  <a:ext cx="5" cy="7"/>
                </a:xfrm>
                <a:custGeom>
                  <a:avLst/>
                  <a:gdLst>
                    <a:gd name="T0" fmla="*/ 0 w 5"/>
                    <a:gd name="T1" fmla="*/ 7 h 7"/>
                    <a:gd name="T2" fmla="*/ 5 w 5"/>
                    <a:gd name="T3" fmla="*/ 3 h 7"/>
                    <a:gd name="T4" fmla="*/ 5 w 5"/>
                    <a:gd name="T5" fmla="*/ 0 h 7"/>
                    <a:gd name="T6" fmla="*/ 1 w 5"/>
                    <a:gd name="T7" fmla="*/ 1 h 7"/>
                    <a:gd name="T8" fmla="*/ 0 w 5"/>
                    <a:gd name="T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7">
                      <a:moveTo>
                        <a:pt x="0" y="7"/>
                      </a:move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1" y="1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85" name="Freeform 586">
                  <a:extLst>
                    <a:ext uri="{FF2B5EF4-FFF2-40B4-BE49-F238E27FC236}">
                      <a16:creationId xmlns:a16="http://schemas.microsoft.com/office/drawing/2014/main" id="{6A8D02AD-D586-44D6-AEDF-E8C432D0BC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13" y="1323"/>
                  <a:ext cx="6" cy="11"/>
                </a:xfrm>
                <a:custGeom>
                  <a:avLst/>
                  <a:gdLst>
                    <a:gd name="T0" fmla="*/ 6 w 6"/>
                    <a:gd name="T1" fmla="*/ 9 h 11"/>
                    <a:gd name="T2" fmla="*/ 5 w 6"/>
                    <a:gd name="T3" fmla="*/ 7 h 11"/>
                    <a:gd name="T4" fmla="*/ 3 w 6"/>
                    <a:gd name="T5" fmla="*/ 4 h 11"/>
                    <a:gd name="T6" fmla="*/ 2 w 6"/>
                    <a:gd name="T7" fmla="*/ 0 h 11"/>
                    <a:gd name="T8" fmla="*/ 0 w 6"/>
                    <a:gd name="T9" fmla="*/ 1 h 11"/>
                    <a:gd name="T10" fmla="*/ 1 w 6"/>
                    <a:gd name="T11" fmla="*/ 6 h 11"/>
                    <a:gd name="T12" fmla="*/ 1 w 6"/>
                    <a:gd name="T13" fmla="*/ 9 h 11"/>
                    <a:gd name="T14" fmla="*/ 5 w 6"/>
                    <a:gd name="T15" fmla="*/ 11 h 11"/>
                    <a:gd name="T16" fmla="*/ 6 w 6"/>
                    <a:gd name="T17" fmla="*/ 9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11">
                      <a:moveTo>
                        <a:pt x="6" y="9"/>
                      </a:moveTo>
                      <a:lnTo>
                        <a:pt x="5" y="7"/>
                      </a:lnTo>
                      <a:lnTo>
                        <a:pt x="3" y="4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1" y="6"/>
                      </a:lnTo>
                      <a:lnTo>
                        <a:pt x="1" y="9"/>
                      </a:lnTo>
                      <a:lnTo>
                        <a:pt x="5" y="11"/>
                      </a:lnTo>
                      <a:lnTo>
                        <a:pt x="6" y="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86" name="Freeform 587">
                  <a:extLst>
                    <a:ext uri="{FF2B5EF4-FFF2-40B4-BE49-F238E27FC236}">
                      <a16:creationId xmlns:a16="http://schemas.microsoft.com/office/drawing/2014/main" id="{BFAB6964-9571-44FA-A334-7D21F29B3D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5" y="1333"/>
                  <a:ext cx="8" cy="8"/>
                </a:xfrm>
                <a:custGeom>
                  <a:avLst/>
                  <a:gdLst>
                    <a:gd name="T0" fmla="*/ 7 w 8"/>
                    <a:gd name="T1" fmla="*/ 1 h 8"/>
                    <a:gd name="T2" fmla="*/ 5 w 8"/>
                    <a:gd name="T3" fmla="*/ 2 h 8"/>
                    <a:gd name="T4" fmla="*/ 4 w 8"/>
                    <a:gd name="T5" fmla="*/ 0 h 8"/>
                    <a:gd name="T6" fmla="*/ 0 w 8"/>
                    <a:gd name="T7" fmla="*/ 4 h 8"/>
                    <a:gd name="T8" fmla="*/ 4 w 8"/>
                    <a:gd name="T9" fmla="*/ 8 h 8"/>
                    <a:gd name="T10" fmla="*/ 5 w 8"/>
                    <a:gd name="T11" fmla="*/ 8 h 8"/>
                    <a:gd name="T12" fmla="*/ 7 w 8"/>
                    <a:gd name="T13" fmla="*/ 7 h 8"/>
                    <a:gd name="T14" fmla="*/ 6 w 8"/>
                    <a:gd name="T15" fmla="*/ 4 h 8"/>
                    <a:gd name="T16" fmla="*/ 8 w 8"/>
                    <a:gd name="T17" fmla="*/ 2 h 8"/>
                    <a:gd name="T18" fmla="*/ 7 w 8"/>
                    <a:gd name="T1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" h="8">
                      <a:moveTo>
                        <a:pt x="7" y="1"/>
                      </a:moveTo>
                      <a:lnTo>
                        <a:pt x="5" y="2"/>
                      </a:lnTo>
                      <a:lnTo>
                        <a:pt x="4" y="0"/>
                      </a:lnTo>
                      <a:lnTo>
                        <a:pt x="0" y="4"/>
                      </a:lnTo>
                      <a:lnTo>
                        <a:pt x="4" y="8"/>
                      </a:lnTo>
                      <a:lnTo>
                        <a:pt x="5" y="8"/>
                      </a:lnTo>
                      <a:lnTo>
                        <a:pt x="7" y="7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7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87" name="Freeform 588">
                  <a:extLst>
                    <a:ext uri="{FF2B5EF4-FFF2-40B4-BE49-F238E27FC236}">
                      <a16:creationId xmlns:a16="http://schemas.microsoft.com/office/drawing/2014/main" id="{60159CF5-993B-4BCC-BAD5-4A0404AF5A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38" y="1304"/>
                  <a:ext cx="15" cy="12"/>
                </a:xfrm>
                <a:custGeom>
                  <a:avLst/>
                  <a:gdLst>
                    <a:gd name="T0" fmla="*/ 8 w 15"/>
                    <a:gd name="T1" fmla="*/ 4 h 12"/>
                    <a:gd name="T2" fmla="*/ 6 w 15"/>
                    <a:gd name="T3" fmla="*/ 7 h 12"/>
                    <a:gd name="T4" fmla="*/ 5 w 15"/>
                    <a:gd name="T5" fmla="*/ 5 h 12"/>
                    <a:gd name="T6" fmla="*/ 2 w 15"/>
                    <a:gd name="T7" fmla="*/ 7 h 12"/>
                    <a:gd name="T8" fmla="*/ 0 w 15"/>
                    <a:gd name="T9" fmla="*/ 6 h 12"/>
                    <a:gd name="T10" fmla="*/ 1 w 15"/>
                    <a:gd name="T11" fmla="*/ 10 h 12"/>
                    <a:gd name="T12" fmla="*/ 5 w 15"/>
                    <a:gd name="T13" fmla="*/ 12 h 12"/>
                    <a:gd name="T14" fmla="*/ 7 w 15"/>
                    <a:gd name="T15" fmla="*/ 11 h 12"/>
                    <a:gd name="T16" fmla="*/ 15 w 15"/>
                    <a:gd name="T17" fmla="*/ 2 h 12"/>
                    <a:gd name="T18" fmla="*/ 14 w 15"/>
                    <a:gd name="T19" fmla="*/ 0 h 12"/>
                    <a:gd name="T20" fmla="*/ 9 w 15"/>
                    <a:gd name="T21" fmla="*/ 6 h 12"/>
                    <a:gd name="T22" fmla="*/ 8 w 15"/>
                    <a:gd name="T23" fmla="*/ 4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5" h="12">
                      <a:moveTo>
                        <a:pt x="8" y="4"/>
                      </a:moveTo>
                      <a:lnTo>
                        <a:pt x="6" y="7"/>
                      </a:lnTo>
                      <a:lnTo>
                        <a:pt x="5" y="5"/>
                      </a:lnTo>
                      <a:lnTo>
                        <a:pt x="2" y="7"/>
                      </a:lnTo>
                      <a:lnTo>
                        <a:pt x="0" y="6"/>
                      </a:lnTo>
                      <a:lnTo>
                        <a:pt x="1" y="10"/>
                      </a:lnTo>
                      <a:lnTo>
                        <a:pt x="5" y="12"/>
                      </a:lnTo>
                      <a:lnTo>
                        <a:pt x="7" y="11"/>
                      </a:lnTo>
                      <a:lnTo>
                        <a:pt x="15" y="2"/>
                      </a:lnTo>
                      <a:lnTo>
                        <a:pt x="14" y="0"/>
                      </a:lnTo>
                      <a:lnTo>
                        <a:pt x="9" y="6"/>
                      </a:lnTo>
                      <a:lnTo>
                        <a:pt x="8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88" name="Freeform 589">
                  <a:extLst>
                    <a:ext uri="{FF2B5EF4-FFF2-40B4-BE49-F238E27FC236}">
                      <a16:creationId xmlns:a16="http://schemas.microsoft.com/office/drawing/2014/main" id="{E173D330-65E3-407F-910A-45D9B65F22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42" y="1320"/>
                  <a:ext cx="6" cy="4"/>
                </a:xfrm>
                <a:custGeom>
                  <a:avLst/>
                  <a:gdLst>
                    <a:gd name="T0" fmla="*/ 2 w 6"/>
                    <a:gd name="T1" fmla="*/ 0 h 4"/>
                    <a:gd name="T2" fmla="*/ 0 w 6"/>
                    <a:gd name="T3" fmla="*/ 1 h 4"/>
                    <a:gd name="T4" fmla="*/ 3 w 6"/>
                    <a:gd name="T5" fmla="*/ 3 h 4"/>
                    <a:gd name="T6" fmla="*/ 6 w 6"/>
                    <a:gd name="T7" fmla="*/ 4 h 4"/>
                    <a:gd name="T8" fmla="*/ 6 w 6"/>
                    <a:gd name="T9" fmla="*/ 1 h 4"/>
                    <a:gd name="T10" fmla="*/ 5 w 6"/>
                    <a:gd name="T11" fmla="*/ 0 h 4"/>
                    <a:gd name="T12" fmla="*/ 2 w 6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3" y="3"/>
                      </a:lnTo>
                      <a:lnTo>
                        <a:pt x="6" y="4"/>
                      </a:lnTo>
                      <a:lnTo>
                        <a:pt x="6" y="1"/>
                      </a:lnTo>
                      <a:lnTo>
                        <a:pt x="5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89" name="Freeform 590">
                  <a:extLst>
                    <a:ext uri="{FF2B5EF4-FFF2-40B4-BE49-F238E27FC236}">
                      <a16:creationId xmlns:a16="http://schemas.microsoft.com/office/drawing/2014/main" id="{40ECE1F8-7217-4F27-A2C4-5954645EED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97" y="1341"/>
                  <a:ext cx="11" cy="10"/>
                </a:xfrm>
                <a:custGeom>
                  <a:avLst/>
                  <a:gdLst>
                    <a:gd name="T0" fmla="*/ 9 w 11"/>
                    <a:gd name="T1" fmla="*/ 0 h 10"/>
                    <a:gd name="T2" fmla="*/ 7 w 11"/>
                    <a:gd name="T3" fmla="*/ 3 h 10"/>
                    <a:gd name="T4" fmla="*/ 4 w 11"/>
                    <a:gd name="T5" fmla="*/ 3 h 10"/>
                    <a:gd name="T6" fmla="*/ 4 w 11"/>
                    <a:gd name="T7" fmla="*/ 6 h 10"/>
                    <a:gd name="T8" fmla="*/ 0 w 11"/>
                    <a:gd name="T9" fmla="*/ 7 h 10"/>
                    <a:gd name="T10" fmla="*/ 3 w 11"/>
                    <a:gd name="T11" fmla="*/ 10 h 10"/>
                    <a:gd name="T12" fmla="*/ 5 w 11"/>
                    <a:gd name="T13" fmla="*/ 10 h 10"/>
                    <a:gd name="T14" fmla="*/ 9 w 11"/>
                    <a:gd name="T15" fmla="*/ 10 h 10"/>
                    <a:gd name="T16" fmla="*/ 8 w 11"/>
                    <a:gd name="T17" fmla="*/ 7 h 10"/>
                    <a:gd name="T18" fmla="*/ 11 w 11"/>
                    <a:gd name="T19" fmla="*/ 4 h 10"/>
                    <a:gd name="T20" fmla="*/ 9 w 11"/>
                    <a:gd name="T21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" h="10">
                      <a:moveTo>
                        <a:pt x="9" y="0"/>
                      </a:moveTo>
                      <a:lnTo>
                        <a:pt x="7" y="3"/>
                      </a:lnTo>
                      <a:lnTo>
                        <a:pt x="4" y="3"/>
                      </a:lnTo>
                      <a:lnTo>
                        <a:pt x="4" y="6"/>
                      </a:lnTo>
                      <a:lnTo>
                        <a:pt x="0" y="7"/>
                      </a:lnTo>
                      <a:lnTo>
                        <a:pt x="3" y="10"/>
                      </a:lnTo>
                      <a:lnTo>
                        <a:pt x="5" y="10"/>
                      </a:lnTo>
                      <a:lnTo>
                        <a:pt x="9" y="10"/>
                      </a:lnTo>
                      <a:lnTo>
                        <a:pt x="8" y="7"/>
                      </a:lnTo>
                      <a:lnTo>
                        <a:pt x="11" y="4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90" name="Freeform 591">
                  <a:extLst>
                    <a:ext uri="{FF2B5EF4-FFF2-40B4-BE49-F238E27FC236}">
                      <a16:creationId xmlns:a16="http://schemas.microsoft.com/office/drawing/2014/main" id="{947C3DA7-F702-4746-8FA8-EF701296C6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23" y="1326"/>
                  <a:ext cx="5" cy="11"/>
                </a:xfrm>
                <a:custGeom>
                  <a:avLst/>
                  <a:gdLst>
                    <a:gd name="T0" fmla="*/ 1 w 5"/>
                    <a:gd name="T1" fmla="*/ 0 h 11"/>
                    <a:gd name="T2" fmla="*/ 0 w 5"/>
                    <a:gd name="T3" fmla="*/ 2 h 11"/>
                    <a:gd name="T4" fmla="*/ 0 w 5"/>
                    <a:gd name="T5" fmla="*/ 8 h 11"/>
                    <a:gd name="T6" fmla="*/ 2 w 5"/>
                    <a:gd name="T7" fmla="*/ 8 h 11"/>
                    <a:gd name="T8" fmla="*/ 3 w 5"/>
                    <a:gd name="T9" fmla="*/ 11 h 11"/>
                    <a:gd name="T10" fmla="*/ 5 w 5"/>
                    <a:gd name="T11" fmla="*/ 8 h 11"/>
                    <a:gd name="T12" fmla="*/ 3 w 5"/>
                    <a:gd name="T13" fmla="*/ 6 h 11"/>
                    <a:gd name="T14" fmla="*/ 4 w 5"/>
                    <a:gd name="T15" fmla="*/ 2 h 11"/>
                    <a:gd name="T16" fmla="*/ 1 w 5"/>
                    <a:gd name="T17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11">
                      <a:moveTo>
                        <a:pt x="1" y="0"/>
                      </a:move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2" y="8"/>
                      </a:lnTo>
                      <a:lnTo>
                        <a:pt x="3" y="11"/>
                      </a:lnTo>
                      <a:lnTo>
                        <a:pt x="5" y="8"/>
                      </a:lnTo>
                      <a:lnTo>
                        <a:pt x="3" y="6"/>
                      </a:lnTo>
                      <a:lnTo>
                        <a:pt x="4" y="2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91" name="Freeform 592">
                  <a:extLst>
                    <a:ext uri="{FF2B5EF4-FFF2-40B4-BE49-F238E27FC236}">
                      <a16:creationId xmlns:a16="http://schemas.microsoft.com/office/drawing/2014/main" id="{8132BD33-7EDF-4AC5-A628-33E2350C13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85" y="1349"/>
                  <a:ext cx="12" cy="19"/>
                </a:xfrm>
                <a:custGeom>
                  <a:avLst/>
                  <a:gdLst>
                    <a:gd name="T0" fmla="*/ 9 w 12"/>
                    <a:gd name="T1" fmla="*/ 13 h 19"/>
                    <a:gd name="T2" fmla="*/ 12 w 12"/>
                    <a:gd name="T3" fmla="*/ 13 h 19"/>
                    <a:gd name="T4" fmla="*/ 11 w 12"/>
                    <a:gd name="T5" fmla="*/ 10 h 19"/>
                    <a:gd name="T6" fmla="*/ 12 w 12"/>
                    <a:gd name="T7" fmla="*/ 8 h 19"/>
                    <a:gd name="T8" fmla="*/ 11 w 12"/>
                    <a:gd name="T9" fmla="*/ 4 h 19"/>
                    <a:gd name="T10" fmla="*/ 10 w 12"/>
                    <a:gd name="T11" fmla="*/ 3 h 19"/>
                    <a:gd name="T12" fmla="*/ 9 w 12"/>
                    <a:gd name="T13" fmla="*/ 1 h 19"/>
                    <a:gd name="T14" fmla="*/ 4 w 12"/>
                    <a:gd name="T15" fmla="*/ 0 h 19"/>
                    <a:gd name="T16" fmla="*/ 5 w 12"/>
                    <a:gd name="T17" fmla="*/ 4 h 19"/>
                    <a:gd name="T18" fmla="*/ 3 w 12"/>
                    <a:gd name="T19" fmla="*/ 2 h 19"/>
                    <a:gd name="T20" fmla="*/ 1 w 12"/>
                    <a:gd name="T21" fmla="*/ 6 h 19"/>
                    <a:gd name="T22" fmla="*/ 5 w 12"/>
                    <a:gd name="T23" fmla="*/ 8 h 19"/>
                    <a:gd name="T24" fmla="*/ 1 w 12"/>
                    <a:gd name="T25" fmla="*/ 8 h 19"/>
                    <a:gd name="T26" fmla="*/ 0 w 12"/>
                    <a:gd name="T27" fmla="*/ 12 h 19"/>
                    <a:gd name="T28" fmla="*/ 3 w 12"/>
                    <a:gd name="T29" fmla="*/ 13 h 19"/>
                    <a:gd name="T30" fmla="*/ 0 w 12"/>
                    <a:gd name="T31" fmla="*/ 16 h 19"/>
                    <a:gd name="T32" fmla="*/ 3 w 12"/>
                    <a:gd name="T33" fmla="*/ 16 h 19"/>
                    <a:gd name="T34" fmla="*/ 3 w 12"/>
                    <a:gd name="T35" fmla="*/ 19 h 19"/>
                    <a:gd name="T36" fmla="*/ 4 w 12"/>
                    <a:gd name="T37" fmla="*/ 19 h 19"/>
                    <a:gd name="T38" fmla="*/ 5 w 12"/>
                    <a:gd name="T39" fmla="*/ 15 h 19"/>
                    <a:gd name="T40" fmla="*/ 8 w 12"/>
                    <a:gd name="T41" fmla="*/ 16 h 19"/>
                    <a:gd name="T42" fmla="*/ 9 w 12"/>
                    <a:gd name="T43" fmla="*/ 13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2" h="19">
                      <a:moveTo>
                        <a:pt x="9" y="13"/>
                      </a:moveTo>
                      <a:lnTo>
                        <a:pt x="12" y="13"/>
                      </a:lnTo>
                      <a:lnTo>
                        <a:pt x="11" y="10"/>
                      </a:lnTo>
                      <a:lnTo>
                        <a:pt x="12" y="8"/>
                      </a:lnTo>
                      <a:lnTo>
                        <a:pt x="11" y="4"/>
                      </a:lnTo>
                      <a:lnTo>
                        <a:pt x="10" y="3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5" y="4"/>
                      </a:lnTo>
                      <a:lnTo>
                        <a:pt x="3" y="2"/>
                      </a:lnTo>
                      <a:lnTo>
                        <a:pt x="1" y="6"/>
                      </a:lnTo>
                      <a:lnTo>
                        <a:pt x="5" y="8"/>
                      </a:lnTo>
                      <a:lnTo>
                        <a:pt x="1" y="8"/>
                      </a:lnTo>
                      <a:lnTo>
                        <a:pt x="0" y="12"/>
                      </a:lnTo>
                      <a:lnTo>
                        <a:pt x="3" y="13"/>
                      </a:lnTo>
                      <a:lnTo>
                        <a:pt x="0" y="16"/>
                      </a:lnTo>
                      <a:lnTo>
                        <a:pt x="3" y="16"/>
                      </a:lnTo>
                      <a:lnTo>
                        <a:pt x="3" y="19"/>
                      </a:lnTo>
                      <a:lnTo>
                        <a:pt x="4" y="19"/>
                      </a:lnTo>
                      <a:lnTo>
                        <a:pt x="5" y="15"/>
                      </a:lnTo>
                      <a:lnTo>
                        <a:pt x="8" y="16"/>
                      </a:lnTo>
                      <a:lnTo>
                        <a:pt x="9" y="1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92" name="Freeform 593">
                  <a:extLst>
                    <a:ext uri="{FF2B5EF4-FFF2-40B4-BE49-F238E27FC236}">
                      <a16:creationId xmlns:a16="http://schemas.microsoft.com/office/drawing/2014/main" id="{5E08E534-FC03-4623-A5E0-2B358F8488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8" y="1325"/>
                  <a:ext cx="2" cy="3"/>
                </a:xfrm>
                <a:custGeom>
                  <a:avLst/>
                  <a:gdLst>
                    <a:gd name="T0" fmla="*/ 0 w 2"/>
                    <a:gd name="T1" fmla="*/ 1 h 3"/>
                    <a:gd name="T2" fmla="*/ 1 w 2"/>
                    <a:gd name="T3" fmla="*/ 3 h 3"/>
                    <a:gd name="T4" fmla="*/ 2 w 2"/>
                    <a:gd name="T5" fmla="*/ 0 h 3"/>
                    <a:gd name="T6" fmla="*/ 0 w 2"/>
                    <a:gd name="T7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1"/>
                      </a:moveTo>
                      <a:lnTo>
                        <a:pt x="1" y="3"/>
                      </a:lnTo>
                      <a:lnTo>
                        <a:pt x="2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93" name="Freeform 594">
                  <a:extLst>
                    <a:ext uri="{FF2B5EF4-FFF2-40B4-BE49-F238E27FC236}">
                      <a16:creationId xmlns:a16="http://schemas.microsoft.com/office/drawing/2014/main" id="{2C681E93-D7A0-4602-9336-899864408D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3" y="1330"/>
                  <a:ext cx="4" cy="5"/>
                </a:xfrm>
                <a:custGeom>
                  <a:avLst/>
                  <a:gdLst>
                    <a:gd name="T0" fmla="*/ 5 w 5"/>
                    <a:gd name="T1" fmla="*/ 0 h 7"/>
                    <a:gd name="T2" fmla="*/ 1 w 5"/>
                    <a:gd name="T3" fmla="*/ 2 h 7"/>
                    <a:gd name="T4" fmla="*/ 0 w 5"/>
                    <a:gd name="T5" fmla="*/ 7 h 7"/>
                    <a:gd name="T6" fmla="*/ 5 w 5"/>
                    <a:gd name="T7" fmla="*/ 3 h 7"/>
                    <a:gd name="T8" fmla="*/ 5 w 5"/>
                    <a:gd name="T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7">
                      <a:moveTo>
                        <a:pt x="5" y="0"/>
                      </a:move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1" y="7"/>
                        <a:pt x="5" y="3"/>
                        <a:pt x="5" y="3"/>
                      </a:cubicBez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94" name="Freeform 595">
                  <a:extLst>
                    <a:ext uri="{FF2B5EF4-FFF2-40B4-BE49-F238E27FC236}">
                      <a16:creationId xmlns:a16="http://schemas.microsoft.com/office/drawing/2014/main" id="{D99C3E9F-6139-414F-B122-38FAAE2DC4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88" y="1372"/>
                  <a:ext cx="2" cy="3"/>
                </a:xfrm>
                <a:custGeom>
                  <a:avLst/>
                  <a:gdLst>
                    <a:gd name="T0" fmla="*/ 0 w 2"/>
                    <a:gd name="T1" fmla="*/ 3 h 3"/>
                    <a:gd name="T2" fmla="*/ 2 w 2"/>
                    <a:gd name="T3" fmla="*/ 2 h 3"/>
                    <a:gd name="T4" fmla="*/ 0 w 2"/>
                    <a:gd name="T5" fmla="*/ 0 h 3"/>
                    <a:gd name="T6" fmla="*/ 0 w 2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3"/>
                      </a:move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95" name="Freeform 596">
                  <a:extLst>
                    <a:ext uri="{FF2B5EF4-FFF2-40B4-BE49-F238E27FC236}">
                      <a16:creationId xmlns:a16="http://schemas.microsoft.com/office/drawing/2014/main" id="{F45AF05A-1673-49A9-BA44-EA3924FD70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69" y="1358"/>
                  <a:ext cx="9" cy="14"/>
                </a:xfrm>
                <a:custGeom>
                  <a:avLst/>
                  <a:gdLst>
                    <a:gd name="T0" fmla="*/ 6 w 9"/>
                    <a:gd name="T1" fmla="*/ 5 h 14"/>
                    <a:gd name="T2" fmla="*/ 9 w 9"/>
                    <a:gd name="T3" fmla="*/ 3 h 14"/>
                    <a:gd name="T4" fmla="*/ 8 w 9"/>
                    <a:gd name="T5" fmla="*/ 0 h 14"/>
                    <a:gd name="T6" fmla="*/ 5 w 9"/>
                    <a:gd name="T7" fmla="*/ 1 h 14"/>
                    <a:gd name="T8" fmla="*/ 5 w 9"/>
                    <a:gd name="T9" fmla="*/ 4 h 14"/>
                    <a:gd name="T10" fmla="*/ 1 w 9"/>
                    <a:gd name="T11" fmla="*/ 8 h 14"/>
                    <a:gd name="T12" fmla="*/ 0 w 9"/>
                    <a:gd name="T13" fmla="*/ 13 h 14"/>
                    <a:gd name="T14" fmla="*/ 2 w 9"/>
                    <a:gd name="T15" fmla="*/ 14 h 14"/>
                    <a:gd name="T16" fmla="*/ 5 w 9"/>
                    <a:gd name="T17" fmla="*/ 9 h 14"/>
                    <a:gd name="T18" fmla="*/ 6 w 9"/>
                    <a:gd name="T19" fmla="*/ 5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" h="14">
                      <a:moveTo>
                        <a:pt x="6" y="5"/>
                      </a:moveTo>
                      <a:lnTo>
                        <a:pt x="9" y="3"/>
                      </a:lnTo>
                      <a:lnTo>
                        <a:pt x="8" y="0"/>
                      </a:lnTo>
                      <a:lnTo>
                        <a:pt x="5" y="1"/>
                      </a:lnTo>
                      <a:lnTo>
                        <a:pt x="5" y="4"/>
                      </a:lnTo>
                      <a:lnTo>
                        <a:pt x="1" y="8"/>
                      </a:lnTo>
                      <a:lnTo>
                        <a:pt x="0" y="13"/>
                      </a:lnTo>
                      <a:lnTo>
                        <a:pt x="2" y="14"/>
                      </a:lnTo>
                      <a:lnTo>
                        <a:pt x="5" y="9"/>
                      </a:lnTo>
                      <a:lnTo>
                        <a:pt x="6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96" name="Freeform 597">
                  <a:extLst>
                    <a:ext uri="{FF2B5EF4-FFF2-40B4-BE49-F238E27FC236}">
                      <a16:creationId xmlns:a16="http://schemas.microsoft.com/office/drawing/2014/main" id="{CC78239A-F284-4CE3-ACEC-0EC3DC796E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62" y="1629"/>
                  <a:ext cx="3" cy="3"/>
                </a:xfrm>
                <a:custGeom>
                  <a:avLst/>
                  <a:gdLst>
                    <a:gd name="T0" fmla="*/ 2 w 3"/>
                    <a:gd name="T1" fmla="*/ 3 h 3"/>
                    <a:gd name="T2" fmla="*/ 3 w 3"/>
                    <a:gd name="T3" fmla="*/ 0 h 3"/>
                    <a:gd name="T4" fmla="*/ 0 w 3"/>
                    <a:gd name="T5" fmla="*/ 2 h 3"/>
                    <a:gd name="T6" fmla="*/ 2 w 3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3">
                      <a:moveTo>
                        <a:pt x="2" y="3"/>
                      </a:move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97" name="Freeform 598">
                  <a:extLst>
                    <a:ext uri="{FF2B5EF4-FFF2-40B4-BE49-F238E27FC236}">
                      <a16:creationId xmlns:a16="http://schemas.microsoft.com/office/drawing/2014/main" id="{25A85210-39C7-4DE4-B718-28A588276D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7" y="1582"/>
                  <a:ext cx="3" cy="3"/>
                </a:xfrm>
                <a:custGeom>
                  <a:avLst/>
                  <a:gdLst>
                    <a:gd name="T0" fmla="*/ 3 w 3"/>
                    <a:gd name="T1" fmla="*/ 3 h 3"/>
                    <a:gd name="T2" fmla="*/ 0 w 3"/>
                    <a:gd name="T3" fmla="*/ 0 h 3"/>
                    <a:gd name="T4" fmla="*/ 1 w 3"/>
                    <a:gd name="T5" fmla="*/ 3 h 3"/>
                    <a:gd name="T6" fmla="*/ 3 w 3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0" y="0"/>
                      </a:lnTo>
                      <a:lnTo>
                        <a:pt x="1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98" name="Freeform 599">
                  <a:extLst>
                    <a:ext uri="{FF2B5EF4-FFF2-40B4-BE49-F238E27FC236}">
                      <a16:creationId xmlns:a16="http://schemas.microsoft.com/office/drawing/2014/main" id="{421D4DDE-95DF-4CE4-878F-1F4315FB73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62" y="1637"/>
                  <a:ext cx="4" cy="4"/>
                </a:xfrm>
                <a:custGeom>
                  <a:avLst/>
                  <a:gdLst>
                    <a:gd name="T0" fmla="*/ 1 w 5"/>
                    <a:gd name="T1" fmla="*/ 0 h 5"/>
                    <a:gd name="T2" fmla="*/ 3 w 5"/>
                    <a:gd name="T3" fmla="*/ 5 h 5"/>
                    <a:gd name="T4" fmla="*/ 5 w 5"/>
                    <a:gd name="T5" fmla="*/ 2 h 5"/>
                    <a:gd name="T6" fmla="*/ 3 w 5"/>
                    <a:gd name="T7" fmla="*/ 0 h 5"/>
                    <a:gd name="T8" fmla="*/ 1 w 5"/>
                    <a:gd name="T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5">
                      <a:moveTo>
                        <a:pt x="1" y="0"/>
                      </a:move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5" y="2"/>
                        <a:pt x="5" y="2"/>
                        <a:pt x="5" y="2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0" y="0"/>
                        <a:pt x="1" y="0"/>
                      </a:cubicBez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99" name="Freeform 600">
                  <a:extLst>
                    <a:ext uri="{FF2B5EF4-FFF2-40B4-BE49-F238E27FC236}">
                      <a16:creationId xmlns:a16="http://schemas.microsoft.com/office/drawing/2014/main" id="{E1390A93-00C7-4FD4-B51A-FDA92569DF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8" y="1577"/>
                  <a:ext cx="3" cy="4"/>
                </a:xfrm>
                <a:custGeom>
                  <a:avLst/>
                  <a:gdLst>
                    <a:gd name="T0" fmla="*/ 0 w 3"/>
                    <a:gd name="T1" fmla="*/ 0 h 4"/>
                    <a:gd name="T2" fmla="*/ 2 w 3"/>
                    <a:gd name="T3" fmla="*/ 4 h 4"/>
                    <a:gd name="T4" fmla="*/ 3 w 3"/>
                    <a:gd name="T5" fmla="*/ 2 h 4"/>
                    <a:gd name="T6" fmla="*/ 0 w 3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4">
                      <a:moveTo>
                        <a:pt x="0" y="0"/>
                      </a:moveTo>
                      <a:lnTo>
                        <a:pt x="2" y="4"/>
                      </a:lnTo>
                      <a:lnTo>
                        <a:pt x="3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00" name="Freeform 601">
                  <a:extLst>
                    <a:ext uri="{FF2B5EF4-FFF2-40B4-BE49-F238E27FC236}">
                      <a16:creationId xmlns:a16="http://schemas.microsoft.com/office/drawing/2014/main" id="{C74B4FAD-7F29-4031-A442-61E7548AEE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66" y="1631"/>
                  <a:ext cx="1" cy="3"/>
                </a:xfrm>
                <a:custGeom>
                  <a:avLst/>
                  <a:gdLst>
                    <a:gd name="T0" fmla="*/ 1 w 1"/>
                    <a:gd name="T1" fmla="*/ 0 h 3"/>
                    <a:gd name="T2" fmla="*/ 0 w 1"/>
                    <a:gd name="T3" fmla="*/ 3 h 3"/>
                    <a:gd name="T4" fmla="*/ 1 w 1"/>
                    <a:gd name="T5" fmla="*/ 2 h 3"/>
                    <a:gd name="T6" fmla="*/ 1 w 1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3">
                      <a:moveTo>
                        <a:pt x="1" y="0"/>
                      </a:move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01" name="Freeform 602">
                  <a:extLst>
                    <a:ext uri="{FF2B5EF4-FFF2-40B4-BE49-F238E27FC236}">
                      <a16:creationId xmlns:a16="http://schemas.microsoft.com/office/drawing/2014/main" id="{83B47C0D-045D-46DE-8C90-8B5AF27D9A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8" y="1612"/>
                  <a:ext cx="2" cy="4"/>
                </a:xfrm>
                <a:custGeom>
                  <a:avLst/>
                  <a:gdLst>
                    <a:gd name="T0" fmla="*/ 0 w 2"/>
                    <a:gd name="T1" fmla="*/ 3 h 5"/>
                    <a:gd name="T2" fmla="*/ 2 w 2"/>
                    <a:gd name="T3" fmla="*/ 5 h 5"/>
                    <a:gd name="T4" fmla="*/ 2 w 2"/>
                    <a:gd name="T5" fmla="*/ 0 h 5"/>
                    <a:gd name="T6" fmla="*/ 0 w 2"/>
                    <a:gd name="T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5">
                      <a:moveTo>
                        <a:pt x="0" y="3"/>
                      </a:move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5"/>
                        <a:pt x="2" y="0"/>
                        <a:pt x="2" y="0"/>
                      </a:cubicBez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02" name="Freeform 603">
                  <a:extLst>
                    <a:ext uri="{FF2B5EF4-FFF2-40B4-BE49-F238E27FC236}">
                      <a16:creationId xmlns:a16="http://schemas.microsoft.com/office/drawing/2014/main" id="{D169E798-6DE7-4A91-AA9C-3184617FC3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6" y="1607"/>
                  <a:ext cx="3" cy="3"/>
                </a:xfrm>
                <a:custGeom>
                  <a:avLst/>
                  <a:gdLst>
                    <a:gd name="T0" fmla="*/ 3 w 3"/>
                    <a:gd name="T1" fmla="*/ 1 h 3"/>
                    <a:gd name="T2" fmla="*/ 2 w 3"/>
                    <a:gd name="T3" fmla="*/ 0 h 3"/>
                    <a:gd name="T4" fmla="*/ 0 w 3"/>
                    <a:gd name="T5" fmla="*/ 2 h 3"/>
                    <a:gd name="T6" fmla="*/ 1 w 3"/>
                    <a:gd name="T7" fmla="*/ 3 h 3"/>
                    <a:gd name="T8" fmla="*/ 3 w 3"/>
                    <a:gd name="T9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3" y="1"/>
                      </a:move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03" name="Freeform 604">
                  <a:extLst>
                    <a:ext uri="{FF2B5EF4-FFF2-40B4-BE49-F238E27FC236}">
                      <a16:creationId xmlns:a16="http://schemas.microsoft.com/office/drawing/2014/main" id="{A804D9C9-B674-4080-A887-4B0A8BBEA6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8" y="1623"/>
                  <a:ext cx="3" cy="3"/>
                </a:xfrm>
                <a:custGeom>
                  <a:avLst/>
                  <a:gdLst>
                    <a:gd name="T0" fmla="*/ 2 w 3"/>
                    <a:gd name="T1" fmla="*/ 3 h 3"/>
                    <a:gd name="T2" fmla="*/ 3 w 3"/>
                    <a:gd name="T3" fmla="*/ 0 h 3"/>
                    <a:gd name="T4" fmla="*/ 0 w 3"/>
                    <a:gd name="T5" fmla="*/ 1 h 3"/>
                    <a:gd name="T6" fmla="*/ 2 w 3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3">
                      <a:moveTo>
                        <a:pt x="2" y="3"/>
                      </a:move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2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04" name="Freeform 605">
                  <a:extLst>
                    <a:ext uri="{FF2B5EF4-FFF2-40B4-BE49-F238E27FC236}">
                      <a16:creationId xmlns:a16="http://schemas.microsoft.com/office/drawing/2014/main" id="{ACBD1FBC-53F2-4128-88B9-50DF2E3B33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64" y="1622"/>
                  <a:ext cx="3" cy="6"/>
                </a:xfrm>
                <a:custGeom>
                  <a:avLst/>
                  <a:gdLst>
                    <a:gd name="T0" fmla="*/ 1 w 3"/>
                    <a:gd name="T1" fmla="*/ 8 h 8"/>
                    <a:gd name="T2" fmla="*/ 3 w 3"/>
                    <a:gd name="T3" fmla="*/ 4 h 8"/>
                    <a:gd name="T4" fmla="*/ 0 w 3"/>
                    <a:gd name="T5" fmla="*/ 0 h 8"/>
                    <a:gd name="T6" fmla="*/ 1 w 3"/>
                    <a:gd name="T7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8">
                      <a:moveTo>
                        <a:pt x="1" y="8"/>
                      </a:moveTo>
                      <a:cubicBezTo>
                        <a:pt x="3" y="4"/>
                        <a:pt x="3" y="4"/>
                        <a:pt x="3" y="4"/>
                      </a:cubicBezTo>
                      <a:cubicBezTo>
                        <a:pt x="3" y="4"/>
                        <a:pt x="0" y="0"/>
                        <a:pt x="0" y="0"/>
                      </a:cubicBezTo>
                      <a:lnTo>
                        <a:pt x="1" y="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05" name="Freeform 606">
                  <a:extLst>
                    <a:ext uri="{FF2B5EF4-FFF2-40B4-BE49-F238E27FC236}">
                      <a16:creationId xmlns:a16="http://schemas.microsoft.com/office/drawing/2014/main" id="{CA842483-1047-42BB-AC9C-1B00968C1F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9" y="1619"/>
                  <a:ext cx="2" cy="1"/>
                </a:xfrm>
                <a:custGeom>
                  <a:avLst/>
                  <a:gdLst>
                    <a:gd name="T0" fmla="*/ 1 w 2"/>
                    <a:gd name="T1" fmla="*/ 1 h 1"/>
                    <a:gd name="T2" fmla="*/ 2 w 2"/>
                    <a:gd name="T3" fmla="*/ 0 h 1"/>
                    <a:gd name="T4" fmla="*/ 0 w 2"/>
                    <a:gd name="T5" fmla="*/ 0 h 1"/>
                    <a:gd name="T6" fmla="*/ 1 w 2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1" y="1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23" name="Group 808">
                <a:extLst>
                  <a:ext uri="{FF2B5EF4-FFF2-40B4-BE49-F238E27FC236}">
                    <a16:creationId xmlns:a16="http://schemas.microsoft.com/office/drawing/2014/main" id="{02DEB6C2-5DC7-4A39-89A0-0E61F103CA6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116513" y="2047875"/>
                <a:ext cx="2006600" cy="1993900"/>
                <a:chOff x="3223" y="1290"/>
                <a:chExt cx="1264" cy="1256"/>
              </a:xfrm>
              <a:grpFill/>
            </p:grpSpPr>
            <p:sp>
              <p:nvSpPr>
                <p:cNvPr id="906" name="Freeform 608">
                  <a:extLst>
                    <a:ext uri="{FF2B5EF4-FFF2-40B4-BE49-F238E27FC236}">
                      <a16:creationId xmlns:a16="http://schemas.microsoft.com/office/drawing/2014/main" id="{FF0DFAAD-BB83-4825-97F0-1238372816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4" y="1398"/>
                  <a:ext cx="3" cy="8"/>
                </a:xfrm>
                <a:custGeom>
                  <a:avLst/>
                  <a:gdLst>
                    <a:gd name="T0" fmla="*/ 3 w 3"/>
                    <a:gd name="T1" fmla="*/ 0 h 8"/>
                    <a:gd name="T2" fmla="*/ 0 w 3"/>
                    <a:gd name="T3" fmla="*/ 5 h 8"/>
                    <a:gd name="T4" fmla="*/ 0 w 3"/>
                    <a:gd name="T5" fmla="*/ 8 h 8"/>
                    <a:gd name="T6" fmla="*/ 3 w 3"/>
                    <a:gd name="T7" fmla="*/ 5 h 8"/>
                    <a:gd name="T8" fmla="*/ 3 w 3"/>
                    <a:gd name="T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8">
                      <a:moveTo>
                        <a:pt x="3" y="0"/>
                      </a:move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3" y="5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07" name="Freeform 609">
                  <a:extLst>
                    <a:ext uri="{FF2B5EF4-FFF2-40B4-BE49-F238E27FC236}">
                      <a16:creationId xmlns:a16="http://schemas.microsoft.com/office/drawing/2014/main" id="{32D1548A-A1B1-4D30-97BE-6020D550A9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9" y="1494"/>
                  <a:ext cx="7" cy="6"/>
                </a:xfrm>
                <a:custGeom>
                  <a:avLst/>
                  <a:gdLst>
                    <a:gd name="T0" fmla="*/ 1 w 7"/>
                    <a:gd name="T1" fmla="*/ 2 h 6"/>
                    <a:gd name="T2" fmla="*/ 0 w 7"/>
                    <a:gd name="T3" fmla="*/ 5 h 6"/>
                    <a:gd name="T4" fmla="*/ 2 w 7"/>
                    <a:gd name="T5" fmla="*/ 5 h 6"/>
                    <a:gd name="T6" fmla="*/ 3 w 7"/>
                    <a:gd name="T7" fmla="*/ 6 h 6"/>
                    <a:gd name="T8" fmla="*/ 4 w 7"/>
                    <a:gd name="T9" fmla="*/ 5 h 6"/>
                    <a:gd name="T10" fmla="*/ 7 w 7"/>
                    <a:gd name="T11" fmla="*/ 0 h 6"/>
                    <a:gd name="T12" fmla="*/ 5 w 7"/>
                    <a:gd name="T13" fmla="*/ 2 h 6"/>
                    <a:gd name="T14" fmla="*/ 1 w 7"/>
                    <a:gd name="T15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6">
                      <a:moveTo>
                        <a:pt x="1" y="2"/>
                      </a:move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3" y="6"/>
                      </a:lnTo>
                      <a:lnTo>
                        <a:pt x="4" y="5"/>
                      </a:lnTo>
                      <a:lnTo>
                        <a:pt x="7" y="0"/>
                      </a:lnTo>
                      <a:lnTo>
                        <a:pt x="5" y="2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08" name="Freeform 610">
                  <a:extLst>
                    <a:ext uri="{FF2B5EF4-FFF2-40B4-BE49-F238E27FC236}">
                      <a16:creationId xmlns:a16="http://schemas.microsoft.com/office/drawing/2014/main" id="{7C2C92D2-914F-4849-84CF-5FEA7635AF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7" y="1472"/>
                  <a:ext cx="3" cy="4"/>
                </a:xfrm>
                <a:custGeom>
                  <a:avLst/>
                  <a:gdLst>
                    <a:gd name="T0" fmla="*/ 3 w 3"/>
                    <a:gd name="T1" fmla="*/ 1 h 4"/>
                    <a:gd name="T2" fmla="*/ 2 w 3"/>
                    <a:gd name="T3" fmla="*/ 0 h 4"/>
                    <a:gd name="T4" fmla="*/ 0 w 3"/>
                    <a:gd name="T5" fmla="*/ 3 h 4"/>
                    <a:gd name="T6" fmla="*/ 2 w 3"/>
                    <a:gd name="T7" fmla="*/ 4 h 4"/>
                    <a:gd name="T8" fmla="*/ 3 w 3"/>
                    <a:gd name="T9" fmla="*/ 3 h 4"/>
                    <a:gd name="T10" fmla="*/ 3 w 3"/>
                    <a:gd name="T11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4">
                      <a:moveTo>
                        <a:pt x="3" y="1"/>
                      </a:move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3" y="3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09" name="Freeform 611">
                  <a:extLst>
                    <a:ext uri="{FF2B5EF4-FFF2-40B4-BE49-F238E27FC236}">
                      <a16:creationId xmlns:a16="http://schemas.microsoft.com/office/drawing/2014/main" id="{21B74DEE-CAFE-47D4-870F-11181C57FC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64" y="1570"/>
                  <a:ext cx="3" cy="3"/>
                </a:xfrm>
                <a:custGeom>
                  <a:avLst/>
                  <a:gdLst>
                    <a:gd name="T0" fmla="*/ 3 w 3"/>
                    <a:gd name="T1" fmla="*/ 0 h 3"/>
                    <a:gd name="T2" fmla="*/ 0 w 3"/>
                    <a:gd name="T3" fmla="*/ 3 h 3"/>
                    <a:gd name="T4" fmla="*/ 3 w 3"/>
                    <a:gd name="T5" fmla="*/ 2 h 3"/>
                    <a:gd name="T6" fmla="*/ 3 w 3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3"/>
                      </a:lnTo>
                      <a:lnTo>
                        <a:pt x="3" y="2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10" name="Freeform 612">
                  <a:extLst>
                    <a:ext uri="{FF2B5EF4-FFF2-40B4-BE49-F238E27FC236}">
                      <a16:creationId xmlns:a16="http://schemas.microsoft.com/office/drawing/2014/main" id="{B15C7FAB-36D8-4CF1-BA45-4CE5CFA8FA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68" y="1656"/>
                  <a:ext cx="2" cy="3"/>
                </a:xfrm>
                <a:custGeom>
                  <a:avLst/>
                  <a:gdLst>
                    <a:gd name="T0" fmla="*/ 1 w 2"/>
                    <a:gd name="T1" fmla="*/ 0 h 3"/>
                    <a:gd name="T2" fmla="*/ 0 w 2"/>
                    <a:gd name="T3" fmla="*/ 3 h 3"/>
                    <a:gd name="T4" fmla="*/ 2 w 2"/>
                    <a:gd name="T5" fmla="*/ 2 h 3"/>
                    <a:gd name="T6" fmla="*/ 1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1" y="0"/>
                      </a:moveTo>
                      <a:lnTo>
                        <a:pt x="0" y="3"/>
                      </a:lnTo>
                      <a:lnTo>
                        <a:pt x="2" y="2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11" name="Freeform 613">
                  <a:extLst>
                    <a:ext uri="{FF2B5EF4-FFF2-40B4-BE49-F238E27FC236}">
                      <a16:creationId xmlns:a16="http://schemas.microsoft.com/office/drawing/2014/main" id="{1734D3C6-8EC8-4CE6-A66C-199D06828F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5" y="1489"/>
                  <a:ext cx="5" cy="4"/>
                </a:xfrm>
                <a:custGeom>
                  <a:avLst/>
                  <a:gdLst>
                    <a:gd name="T0" fmla="*/ 5 w 5"/>
                    <a:gd name="T1" fmla="*/ 0 h 4"/>
                    <a:gd name="T2" fmla="*/ 1 w 5"/>
                    <a:gd name="T3" fmla="*/ 1 h 4"/>
                    <a:gd name="T4" fmla="*/ 0 w 5"/>
                    <a:gd name="T5" fmla="*/ 4 h 4"/>
                    <a:gd name="T6" fmla="*/ 1 w 5"/>
                    <a:gd name="T7" fmla="*/ 4 h 4"/>
                    <a:gd name="T8" fmla="*/ 5 w 5"/>
                    <a:gd name="T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4">
                      <a:moveTo>
                        <a:pt x="5" y="0"/>
                      </a:moveTo>
                      <a:lnTo>
                        <a:pt x="1" y="1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12" name="Freeform 614">
                  <a:extLst>
                    <a:ext uri="{FF2B5EF4-FFF2-40B4-BE49-F238E27FC236}">
                      <a16:creationId xmlns:a16="http://schemas.microsoft.com/office/drawing/2014/main" id="{74EC42A2-A3DF-4F65-9D4C-CED8AADFE7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98" y="1534"/>
                  <a:ext cx="9" cy="7"/>
                </a:xfrm>
                <a:custGeom>
                  <a:avLst/>
                  <a:gdLst>
                    <a:gd name="T0" fmla="*/ 3 w 9"/>
                    <a:gd name="T1" fmla="*/ 5 h 7"/>
                    <a:gd name="T2" fmla="*/ 7 w 9"/>
                    <a:gd name="T3" fmla="*/ 6 h 7"/>
                    <a:gd name="T4" fmla="*/ 9 w 9"/>
                    <a:gd name="T5" fmla="*/ 3 h 7"/>
                    <a:gd name="T6" fmla="*/ 7 w 9"/>
                    <a:gd name="T7" fmla="*/ 0 h 7"/>
                    <a:gd name="T8" fmla="*/ 5 w 9"/>
                    <a:gd name="T9" fmla="*/ 1 h 7"/>
                    <a:gd name="T10" fmla="*/ 4 w 9"/>
                    <a:gd name="T11" fmla="*/ 3 h 7"/>
                    <a:gd name="T12" fmla="*/ 2 w 9"/>
                    <a:gd name="T13" fmla="*/ 3 h 7"/>
                    <a:gd name="T14" fmla="*/ 0 w 9"/>
                    <a:gd name="T15" fmla="*/ 7 h 7"/>
                    <a:gd name="T16" fmla="*/ 2 w 9"/>
                    <a:gd name="T17" fmla="*/ 7 h 7"/>
                    <a:gd name="T18" fmla="*/ 3 w 9"/>
                    <a:gd name="T19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" h="7">
                      <a:moveTo>
                        <a:pt x="3" y="5"/>
                      </a:moveTo>
                      <a:lnTo>
                        <a:pt x="7" y="6"/>
                      </a:lnTo>
                      <a:lnTo>
                        <a:pt x="9" y="3"/>
                      </a:lnTo>
                      <a:lnTo>
                        <a:pt x="7" y="0"/>
                      </a:lnTo>
                      <a:lnTo>
                        <a:pt x="5" y="1"/>
                      </a:ln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0" y="7"/>
                      </a:lnTo>
                      <a:lnTo>
                        <a:pt x="2" y="7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13" name="Freeform 615">
                  <a:extLst>
                    <a:ext uri="{FF2B5EF4-FFF2-40B4-BE49-F238E27FC236}">
                      <a16:creationId xmlns:a16="http://schemas.microsoft.com/office/drawing/2014/main" id="{31C57F19-A639-46CF-94ED-82628A7916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91" y="1539"/>
                  <a:ext cx="4" cy="4"/>
                </a:xfrm>
                <a:custGeom>
                  <a:avLst/>
                  <a:gdLst>
                    <a:gd name="T0" fmla="*/ 5 w 5"/>
                    <a:gd name="T1" fmla="*/ 3 h 5"/>
                    <a:gd name="T2" fmla="*/ 4 w 5"/>
                    <a:gd name="T3" fmla="*/ 0 h 5"/>
                    <a:gd name="T4" fmla="*/ 0 w 5"/>
                    <a:gd name="T5" fmla="*/ 0 h 5"/>
                    <a:gd name="T6" fmla="*/ 4 w 5"/>
                    <a:gd name="T7" fmla="*/ 5 h 5"/>
                    <a:gd name="T8" fmla="*/ 5 w 5"/>
                    <a:gd name="T9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5">
                      <a:moveTo>
                        <a:pt x="5" y="3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4" y="5"/>
                        <a:pt x="5" y="3"/>
                        <a:pt x="5" y="3"/>
                      </a:cubicBez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14" name="Freeform 616">
                  <a:extLst>
                    <a:ext uri="{FF2B5EF4-FFF2-40B4-BE49-F238E27FC236}">
                      <a16:creationId xmlns:a16="http://schemas.microsoft.com/office/drawing/2014/main" id="{5A926DC5-A3CA-4DCC-A589-E4C047E866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69" y="1568"/>
                  <a:ext cx="3" cy="4"/>
                </a:xfrm>
                <a:custGeom>
                  <a:avLst/>
                  <a:gdLst>
                    <a:gd name="T0" fmla="*/ 3 w 3"/>
                    <a:gd name="T1" fmla="*/ 3 h 4"/>
                    <a:gd name="T2" fmla="*/ 1 w 3"/>
                    <a:gd name="T3" fmla="*/ 1 h 4"/>
                    <a:gd name="T4" fmla="*/ 0 w 3"/>
                    <a:gd name="T5" fmla="*/ 0 h 4"/>
                    <a:gd name="T6" fmla="*/ 0 w 3"/>
                    <a:gd name="T7" fmla="*/ 4 h 4"/>
                    <a:gd name="T8" fmla="*/ 3 w 3"/>
                    <a:gd name="T9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3"/>
                      </a:moveTo>
                      <a:lnTo>
                        <a:pt x="1" y="1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15" name="Freeform 617">
                  <a:extLst>
                    <a:ext uri="{FF2B5EF4-FFF2-40B4-BE49-F238E27FC236}">
                      <a16:creationId xmlns:a16="http://schemas.microsoft.com/office/drawing/2014/main" id="{BF604C3E-7278-4637-898D-7E1D6929D5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94" y="1544"/>
                  <a:ext cx="3" cy="4"/>
                </a:xfrm>
                <a:custGeom>
                  <a:avLst/>
                  <a:gdLst>
                    <a:gd name="T0" fmla="*/ 2 w 4"/>
                    <a:gd name="T1" fmla="*/ 6 h 6"/>
                    <a:gd name="T2" fmla="*/ 4 w 4"/>
                    <a:gd name="T3" fmla="*/ 4 h 6"/>
                    <a:gd name="T4" fmla="*/ 3 w 4"/>
                    <a:gd name="T5" fmla="*/ 0 h 6"/>
                    <a:gd name="T6" fmla="*/ 0 w 4"/>
                    <a:gd name="T7" fmla="*/ 4 h 6"/>
                    <a:gd name="T8" fmla="*/ 2 w 4"/>
                    <a:gd name="T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2" y="6"/>
                      </a:move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0" y="4"/>
                        <a:pt x="0" y="4"/>
                      </a:cubicBezTo>
                      <a:lnTo>
                        <a:pt x="2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16" name="Freeform 618">
                  <a:extLst>
                    <a:ext uri="{FF2B5EF4-FFF2-40B4-BE49-F238E27FC236}">
                      <a16:creationId xmlns:a16="http://schemas.microsoft.com/office/drawing/2014/main" id="{53659E43-A5B8-40BE-9842-D9E5959589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98" y="1530"/>
                  <a:ext cx="6" cy="4"/>
                </a:xfrm>
                <a:custGeom>
                  <a:avLst/>
                  <a:gdLst>
                    <a:gd name="T0" fmla="*/ 6 w 6"/>
                    <a:gd name="T1" fmla="*/ 1 h 4"/>
                    <a:gd name="T2" fmla="*/ 3 w 6"/>
                    <a:gd name="T3" fmla="*/ 0 h 4"/>
                    <a:gd name="T4" fmla="*/ 0 w 6"/>
                    <a:gd name="T5" fmla="*/ 4 h 4"/>
                    <a:gd name="T6" fmla="*/ 3 w 6"/>
                    <a:gd name="T7" fmla="*/ 4 h 4"/>
                    <a:gd name="T8" fmla="*/ 6 w 6"/>
                    <a:gd name="T9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4">
                      <a:moveTo>
                        <a:pt x="6" y="1"/>
                      </a:moveTo>
                      <a:lnTo>
                        <a:pt x="3" y="0"/>
                      </a:lnTo>
                      <a:lnTo>
                        <a:pt x="0" y="4"/>
                      </a:lnTo>
                      <a:lnTo>
                        <a:pt x="3" y="4"/>
                      </a:lnTo>
                      <a:lnTo>
                        <a:pt x="6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17" name="Freeform 619">
                  <a:extLst>
                    <a:ext uri="{FF2B5EF4-FFF2-40B4-BE49-F238E27FC236}">
                      <a16:creationId xmlns:a16="http://schemas.microsoft.com/office/drawing/2014/main" id="{74B1D5C9-D464-4E35-BB40-1BCBE88683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12" y="1337"/>
                  <a:ext cx="3" cy="4"/>
                </a:xfrm>
                <a:custGeom>
                  <a:avLst/>
                  <a:gdLst>
                    <a:gd name="T0" fmla="*/ 1 w 3"/>
                    <a:gd name="T1" fmla="*/ 0 h 4"/>
                    <a:gd name="T2" fmla="*/ 0 w 3"/>
                    <a:gd name="T3" fmla="*/ 4 h 4"/>
                    <a:gd name="T4" fmla="*/ 3 w 3"/>
                    <a:gd name="T5" fmla="*/ 3 h 4"/>
                    <a:gd name="T6" fmla="*/ 1 w 3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4">
                      <a:moveTo>
                        <a:pt x="1" y="0"/>
                      </a:moveTo>
                      <a:lnTo>
                        <a:pt x="0" y="4"/>
                      </a:lnTo>
                      <a:lnTo>
                        <a:pt x="3" y="3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18" name="Freeform 620">
                  <a:extLst>
                    <a:ext uri="{FF2B5EF4-FFF2-40B4-BE49-F238E27FC236}">
                      <a16:creationId xmlns:a16="http://schemas.microsoft.com/office/drawing/2014/main" id="{4EC0456D-2923-4404-A700-49D53EF528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8" y="1298"/>
                  <a:ext cx="4" cy="5"/>
                </a:xfrm>
                <a:custGeom>
                  <a:avLst/>
                  <a:gdLst>
                    <a:gd name="T0" fmla="*/ 0 w 4"/>
                    <a:gd name="T1" fmla="*/ 1 h 5"/>
                    <a:gd name="T2" fmla="*/ 2 w 4"/>
                    <a:gd name="T3" fmla="*/ 5 h 5"/>
                    <a:gd name="T4" fmla="*/ 3 w 4"/>
                    <a:gd name="T5" fmla="*/ 4 h 5"/>
                    <a:gd name="T6" fmla="*/ 4 w 4"/>
                    <a:gd name="T7" fmla="*/ 2 h 5"/>
                    <a:gd name="T8" fmla="*/ 3 w 4"/>
                    <a:gd name="T9" fmla="*/ 0 h 5"/>
                    <a:gd name="T10" fmla="*/ 0 w 4"/>
                    <a:gd name="T11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5">
                      <a:moveTo>
                        <a:pt x="0" y="1"/>
                      </a:moveTo>
                      <a:lnTo>
                        <a:pt x="2" y="5"/>
                      </a:lnTo>
                      <a:lnTo>
                        <a:pt x="3" y="4"/>
                      </a:lnTo>
                      <a:lnTo>
                        <a:pt x="4" y="2"/>
                      </a:lnTo>
                      <a:lnTo>
                        <a:pt x="3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19" name="Freeform 621">
                  <a:extLst>
                    <a:ext uri="{FF2B5EF4-FFF2-40B4-BE49-F238E27FC236}">
                      <a16:creationId xmlns:a16="http://schemas.microsoft.com/office/drawing/2014/main" id="{DC4735C6-4ABC-4463-BCB5-69A437B316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6" y="1293"/>
                  <a:ext cx="3" cy="2"/>
                </a:xfrm>
                <a:custGeom>
                  <a:avLst/>
                  <a:gdLst>
                    <a:gd name="T0" fmla="*/ 2 w 3"/>
                    <a:gd name="T1" fmla="*/ 2 h 2"/>
                    <a:gd name="T2" fmla="*/ 3 w 3"/>
                    <a:gd name="T3" fmla="*/ 0 h 2"/>
                    <a:gd name="T4" fmla="*/ 1 w 3"/>
                    <a:gd name="T5" fmla="*/ 0 h 2"/>
                    <a:gd name="T6" fmla="*/ 0 w 3"/>
                    <a:gd name="T7" fmla="*/ 2 h 2"/>
                    <a:gd name="T8" fmla="*/ 2 w 3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2">
                      <a:moveTo>
                        <a:pt x="2" y="2"/>
                      </a:move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20" name="Freeform 622">
                  <a:extLst>
                    <a:ext uri="{FF2B5EF4-FFF2-40B4-BE49-F238E27FC236}">
                      <a16:creationId xmlns:a16="http://schemas.microsoft.com/office/drawing/2014/main" id="{900A6929-73AC-4535-82DD-77F6795262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9" y="1290"/>
                  <a:ext cx="285" cy="398"/>
                </a:xfrm>
                <a:custGeom>
                  <a:avLst/>
                  <a:gdLst>
                    <a:gd name="T0" fmla="*/ 88 w 285"/>
                    <a:gd name="T1" fmla="*/ 316 h 398"/>
                    <a:gd name="T2" fmla="*/ 88 w 285"/>
                    <a:gd name="T3" fmla="*/ 231 h 398"/>
                    <a:gd name="T4" fmla="*/ 111 w 285"/>
                    <a:gd name="T5" fmla="*/ 165 h 398"/>
                    <a:gd name="T6" fmla="*/ 136 w 285"/>
                    <a:gd name="T7" fmla="*/ 106 h 398"/>
                    <a:gd name="T8" fmla="*/ 161 w 285"/>
                    <a:gd name="T9" fmla="*/ 96 h 398"/>
                    <a:gd name="T10" fmla="*/ 172 w 285"/>
                    <a:gd name="T11" fmla="*/ 75 h 398"/>
                    <a:gd name="T12" fmla="*/ 209 w 285"/>
                    <a:gd name="T13" fmla="*/ 80 h 398"/>
                    <a:gd name="T14" fmla="*/ 230 w 285"/>
                    <a:gd name="T15" fmla="*/ 47 h 398"/>
                    <a:gd name="T16" fmla="*/ 266 w 285"/>
                    <a:gd name="T17" fmla="*/ 60 h 398"/>
                    <a:gd name="T18" fmla="*/ 278 w 285"/>
                    <a:gd name="T19" fmla="*/ 45 h 398"/>
                    <a:gd name="T20" fmla="*/ 266 w 285"/>
                    <a:gd name="T21" fmla="*/ 44 h 398"/>
                    <a:gd name="T22" fmla="*/ 285 w 285"/>
                    <a:gd name="T23" fmla="*/ 26 h 398"/>
                    <a:gd name="T24" fmla="*/ 266 w 285"/>
                    <a:gd name="T25" fmla="*/ 15 h 398"/>
                    <a:gd name="T26" fmla="*/ 252 w 285"/>
                    <a:gd name="T27" fmla="*/ 19 h 398"/>
                    <a:gd name="T28" fmla="*/ 243 w 285"/>
                    <a:gd name="T29" fmla="*/ 19 h 398"/>
                    <a:gd name="T30" fmla="*/ 243 w 285"/>
                    <a:gd name="T31" fmla="*/ 3 h 398"/>
                    <a:gd name="T32" fmla="*/ 236 w 285"/>
                    <a:gd name="T33" fmla="*/ 14 h 398"/>
                    <a:gd name="T34" fmla="*/ 227 w 285"/>
                    <a:gd name="T35" fmla="*/ 18 h 398"/>
                    <a:gd name="T36" fmla="*/ 215 w 285"/>
                    <a:gd name="T37" fmla="*/ 32 h 398"/>
                    <a:gd name="T38" fmla="*/ 209 w 285"/>
                    <a:gd name="T39" fmla="*/ 9 h 398"/>
                    <a:gd name="T40" fmla="*/ 202 w 285"/>
                    <a:gd name="T41" fmla="*/ 27 h 398"/>
                    <a:gd name="T42" fmla="*/ 191 w 285"/>
                    <a:gd name="T43" fmla="*/ 40 h 398"/>
                    <a:gd name="T44" fmla="*/ 178 w 285"/>
                    <a:gd name="T45" fmla="*/ 43 h 398"/>
                    <a:gd name="T46" fmla="*/ 166 w 285"/>
                    <a:gd name="T47" fmla="*/ 53 h 398"/>
                    <a:gd name="T48" fmla="*/ 157 w 285"/>
                    <a:gd name="T49" fmla="*/ 55 h 398"/>
                    <a:gd name="T50" fmla="*/ 153 w 285"/>
                    <a:gd name="T51" fmla="*/ 70 h 398"/>
                    <a:gd name="T52" fmla="*/ 142 w 285"/>
                    <a:gd name="T53" fmla="*/ 65 h 398"/>
                    <a:gd name="T54" fmla="*/ 132 w 285"/>
                    <a:gd name="T55" fmla="*/ 86 h 398"/>
                    <a:gd name="T56" fmla="*/ 136 w 285"/>
                    <a:gd name="T57" fmla="*/ 95 h 398"/>
                    <a:gd name="T58" fmla="*/ 125 w 285"/>
                    <a:gd name="T59" fmla="*/ 106 h 398"/>
                    <a:gd name="T60" fmla="*/ 116 w 285"/>
                    <a:gd name="T61" fmla="*/ 109 h 398"/>
                    <a:gd name="T62" fmla="*/ 113 w 285"/>
                    <a:gd name="T63" fmla="*/ 126 h 398"/>
                    <a:gd name="T64" fmla="*/ 113 w 285"/>
                    <a:gd name="T65" fmla="*/ 135 h 398"/>
                    <a:gd name="T66" fmla="*/ 98 w 285"/>
                    <a:gd name="T67" fmla="*/ 150 h 398"/>
                    <a:gd name="T68" fmla="*/ 91 w 285"/>
                    <a:gd name="T69" fmla="*/ 159 h 398"/>
                    <a:gd name="T70" fmla="*/ 91 w 285"/>
                    <a:gd name="T71" fmla="*/ 173 h 398"/>
                    <a:gd name="T72" fmla="*/ 88 w 285"/>
                    <a:gd name="T73" fmla="*/ 189 h 398"/>
                    <a:gd name="T74" fmla="*/ 82 w 285"/>
                    <a:gd name="T75" fmla="*/ 203 h 398"/>
                    <a:gd name="T76" fmla="*/ 68 w 285"/>
                    <a:gd name="T77" fmla="*/ 217 h 398"/>
                    <a:gd name="T78" fmla="*/ 55 w 285"/>
                    <a:gd name="T79" fmla="*/ 243 h 398"/>
                    <a:gd name="T80" fmla="*/ 72 w 285"/>
                    <a:gd name="T81" fmla="*/ 232 h 398"/>
                    <a:gd name="T82" fmla="*/ 60 w 285"/>
                    <a:gd name="T83" fmla="*/ 252 h 398"/>
                    <a:gd name="T84" fmla="*/ 46 w 285"/>
                    <a:gd name="T85" fmla="*/ 252 h 398"/>
                    <a:gd name="T86" fmla="*/ 46 w 285"/>
                    <a:gd name="T87" fmla="*/ 268 h 398"/>
                    <a:gd name="T88" fmla="*/ 32 w 285"/>
                    <a:gd name="T89" fmla="*/ 265 h 398"/>
                    <a:gd name="T90" fmla="*/ 30 w 285"/>
                    <a:gd name="T91" fmla="*/ 274 h 398"/>
                    <a:gd name="T92" fmla="*/ 25 w 285"/>
                    <a:gd name="T93" fmla="*/ 285 h 398"/>
                    <a:gd name="T94" fmla="*/ 8 w 285"/>
                    <a:gd name="T95" fmla="*/ 288 h 398"/>
                    <a:gd name="T96" fmla="*/ 19 w 285"/>
                    <a:gd name="T97" fmla="*/ 296 h 398"/>
                    <a:gd name="T98" fmla="*/ 4 w 285"/>
                    <a:gd name="T99" fmla="*/ 304 h 398"/>
                    <a:gd name="T100" fmla="*/ 17 w 285"/>
                    <a:gd name="T101" fmla="*/ 313 h 398"/>
                    <a:gd name="T102" fmla="*/ 33 w 285"/>
                    <a:gd name="T103" fmla="*/ 310 h 398"/>
                    <a:gd name="T104" fmla="*/ 11 w 285"/>
                    <a:gd name="T105" fmla="*/ 315 h 398"/>
                    <a:gd name="T106" fmla="*/ 2 w 285"/>
                    <a:gd name="T107" fmla="*/ 324 h 398"/>
                    <a:gd name="T108" fmla="*/ 15 w 285"/>
                    <a:gd name="T109" fmla="*/ 336 h 398"/>
                    <a:gd name="T110" fmla="*/ 15 w 285"/>
                    <a:gd name="T111" fmla="*/ 344 h 398"/>
                    <a:gd name="T112" fmla="*/ 5 w 285"/>
                    <a:gd name="T113" fmla="*/ 359 h 398"/>
                    <a:gd name="T114" fmla="*/ 22 w 285"/>
                    <a:gd name="T115" fmla="*/ 371 h 398"/>
                    <a:gd name="T116" fmla="*/ 23 w 285"/>
                    <a:gd name="T117" fmla="*/ 392 h 398"/>
                    <a:gd name="T118" fmla="*/ 42 w 285"/>
                    <a:gd name="T119" fmla="*/ 390 h 398"/>
                    <a:gd name="T120" fmla="*/ 57 w 285"/>
                    <a:gd name="T121" fmla="*/ 366 h 398"/>
                    <a:gd name="T122" fmla="*/ 66 w 285"/>
                    <a:gd name="T123" fmla="*/ 368 h 398"/>
                    <a:gd name="T124" fmla="*/ 72 w 285"/>
                    <a:gd name="T125" fmla="*/ 350 h 3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85" h="398">
                      <a:moveTo>
                        <a:pt x="84" y="373"/>
                      </a:moveTo>
                      <a:lnTo>
                        <a:pt x="86" y="370"/>
                      </a:lnTo>
                      <a:lnTo>
                        <a:pt x="85" y="359"/>
                      </a:lnTo>
                      <a:lnTo>
                        <a:pt x="83" y="355"/>
                      </a:lnTo>
                      <a:lnTo>
                        <a:pt x="84" y="351"/>
                      </a:lnTo>
                      <a:lnTo>
                        <a:pt x="86" y="351"/>
                      </a:lnTo>
                      <a:lnTo>
                        <a:pt x="84" y="347"/>
                      </a:lnTo>
                      <a:lnTo>
                        <a:pt x="85" y="345"/>
                      </a:lnTo>
                      <a:lnTo>
                        <a:pt x="90" y="344"/>
                      </a:lnTo>
                      <a:lnTo>
                        <a:pt x="91" y="342"/>
                      </a:lnTo>
                      <a:lnTo>
                        <a:pt x="91" y="338"/>
                      </a:lnTo>
                      <a:lnTo>
                        <a:pt x="93" y="334"/>
                      </a:lnTo>
                      <a:lnTo>
                        <a:pt x="91" y="330"/>
                      </a:lnTo>
                      <a:lnTo>
                        <a:pt x="90" y="322"/>
                      </a:lnTo>
                      <a:lnTo>
                        <a:pt x="88" y="316"/>
                      </a:lnTo>
                      <a:lnTo>
                        <a:pt x="88" y="313"/>
                      </a:lnTo>
                      <a:lnTo>
                        <a:pt x="94" y="310"/>
                      </a:lnTo>
                      <a:lnTo>
                        <a:pt x="94" y="305"/>
                      </a:lnTo>
                      <a:lnTo>
                        <a:pt x="95" y="301"/>
                      </a:lnTo>
                      <a:lnTo>
                        <a:pt x="91" y="295"/>
                      </a:lnTo>
                      <a:lnTo>
                        <a:pt x="86" y="292"/>
                      </a:lnTo>
                      <a:lnTo>
                        <a:pt x="86" y="286"/>
                      </a:lnTo>
                      <a:lnTo>
                        <a:pt x="87" y="279"/>
                      </a:lnTo>
                      <a:lnTo>
                        <a:pt x="86" y="273"/>
                      </a:lnTo>
                      <a:lnTo>
                        <a:pt x="84" y="268"/>
                      </a:lnTo>
                      <a:lnTo>
                        <a:pt x="86" y="263"/>
                      </a:lnTo>
                      <a:lnTo>
                        <a:pt x="85" y="254"/>
                      </a:lnTo>
                      <a:lnTo>
                        <a:pt x="84" y="245"/>
                      </a:lnTo>
                      <a:lnTo>
                        <a:pt x="85" y="237"/>
                      </a:lnTo>
                      <a:lnTo>
                        <a:pt x="88" y="231"/>
                      </a:lnTo>
                      <a:lnTo>
                        <a:pt x="91" y="229"/>
                      </a:lnTo>
                      <a:lnTo>
                        <a:pt x="94" y="230"/>
                      </a:lnTo>
                      <a:lnTo>
                        <a:pt x="100" y="230"/>
                      </a:lnTo>
                      <a:lnTo>
                        <a:pt x="102" y="226"/>
                      </a:lnTo>
                      <a:lnTo>
                        <a:pt x="101" y="220"/>
                      </a:lnTo>
                      <a:lnTo>
                        <a:pt x="100" y="217"/>
                      </a:lnTo>
                      <a:lnTo>
                        <a:pt x="101" y="213"/>
                      </a:lnTo>
                      <a:lnTo>
                        <a:pt x="105" y="199"/>
                      </a:lnTo>
                      <a:lnTo>
                        <a:pt x="105" y="191"/>
                      </a:lnTo>
                      <a:lnTo>
                        <a:pt x="107" y="183"/>
                      </a:lnTo>
                      <a:lnTo>
                        <a:pt x="108" y="179"/>
                      </a:lnTo>
                      <a:lnTo>
                        <a:pt x="108" y="174"/>
                      </a:lnTo>
                      <a:lnTo>
                        <a:pt x="106" y="172"/>
                      </a:lnTo>
                      <a:lnTo>
                        <a:pt x="106" y="168"/>
                      </a:lnTo>
                      <a:lnTo>
                        <a:pt x="111" y="165"/>
                      </a:lnTo>
                      <a:lnTo>
                        <a:pt x="115" y="164"/>
                      </a:lnTo>
                      <a:lnTo>
                        <a:pt x="118" y="161"/>
                      </a:lnTo>
                      <a:lnTo>
                        <a:pt x="118" y="158"/>
                      </a:lnTo>
                      <a:lnTo>
                        <a:pt x="122" y="150"/>
                      </a:lnTo>
                      <a:lnTo>
                        <a:pt x="126" y="143"/>
                      </a:lnTo>
                      <a:lnTo>
                        <a:pt x="127" y="139"/>
                      </a:lnTo>
                      <a:lnTo>
                        <a:pt x="126" y="134"/>
                      </a:lnTo>
                      <a:lnTo>
                        <a:pt x="124" y="132"/>
                      </a:lnTo>
                      <a:lnTo>
                        <a:pt x="124" y="124"/>
                      </a:lnTo>
                      <a:lnTo>
                        <a:pt x="126" y="123"/>
                      </a:lnTo>
                      <a:lnTo>
                        <a:pt x="128" y="120"/>
                      </a:lnTo>
                      <a:lnTo>
                        <a:pt x="129" y="116"/>
                      </a:lnTo>
                      <a:lnTo>
                        <a:pt x="130" y="115"/>
                      </a:lnTo>
                      <a:lnTo>
                        <a:pt x="133" y="109"/>
                      </a:lnTo>
                      <a:lnTo>
                        <a:pt x="136" y="106"/>
                      </a:lnTo>
                      <a:lnTo>
                        <a:pt x="139" y="109"/>
                      </a:lnTo>
                      <a:lnTo>
                        <a:pt x="139" y="110"/>
                      </a:lnTo>
                      <a:lnTo>
                        <a:pt x="142" y="109"/>
                      </a:lnTo>
                      <a:lnTo>
                        <a:pt x="144" y="107"/>
                      </a:lnTo>
                      <a:lnTo>
                        <a:pt x="142" y="104"/>
                      </a:lnTo>
                      <a:lnTo>
                        <a:pt x="143" y="103"/>
                      </a:lnTo>
                      <a:lnTo>
                        <a:pt x="143" y="100"/>
                      </a:lnTo>
                      <a:lnTo>
                        <a:pt x="144" y="99"/>
                      </a:lnTo>
                      <a:lnTo>
                        <a:pt x="142" y="94"/>
                      </a:lnTo>
                      <a:lnTo>
                        <a:pt x="143" y="93"/>
                      </a:lnTo>
                      <a:lnTo>
                        <a:pt x="148" y="93"/>
                      </a:lnTo>
                      <a:lnTo>
                        <a:pt x="150" y="91"/>
                      </a:lnTo>
                      <a:lnTo>
                        <a:pt x="155" y="92"/>
                      </a:lnTo>
                      <a:lnTo>
                        <a:pt x="158" y="95"/>
                      </a:lnTo>
                      <a:lnTo>
                        <a:pt x="161" y="96"/>
                      </a:lnTo>
                      <a:lnTo>
                        <a:pt x="164" y="97"/>
                      </a:lnTo>
                      <a:lnTo>
                        <a:pt x="165" y="96"/>
                      </a:lnTo>
                      <a:lnTo>
                        <a:pt x="166" y="98"/>
                      </a:lnTo>
                      <a:lnTo>
                        <a:pt x="166" y="93"/>
                      </a:lnTo>
                      <a:lnTo>
                        <a:pt x="164" y="91"/>
                      </a:lnTo>
                      <a:lnTo>
                        <a:pt x="165" y="85"/>
                      </a:lnTo>
                      <a:lnTo>
                        <a:pt x="167" y="84"/>
                      </a:lnTo>
                      <a:lnTo>
                        <a:pt x="167" y="81"/>
                      </a:lnTo>
                      <a:lnTo>
                        <a:pt x="164" y="79"/>
                      </a:lnTo>
                      <a:lnTo>
                        <a:pt x="164" y="75"/>
                      </a:lnTo>
                      <a:lnTo>
                        <a:pt x="167" y="77"/>
                      </a:lnTo>
                      <a:lnTo>
                        <a:pt x="171" y="76"/>
                      </a:lnTo>
                      <a:lnTo>
                        <a:pt x="171" y="75"/>
                      </a:lnTo>
                      <a:lnTo>
                        <a:pt x="171" y="75"/>
                      </a:lnTo>
                      <a:lnTo>
                        <a:pt x="172" y="75"/>
                      </a:lnTo>
                      <a:lnTo>
                        <a:pt x="174" y="75"/>
                      </a:lnTo>
                      <a:lnTo>
                        <a:pt x="174" y="75"/>
                      </a:lnTo>
                      <a:lnTo>
                        <a:pt x="174" y="72"/>
                      </a:lnTo>
                      <a:lnTo>
                        <a:pt x="174" y="69"/>
                      </a:lnTo>
                      <a:lnTo>
                        <a:pt x="176" y="67"/>
                      </a:lnTo>
                      <a:lnTo>
                        <a:pt x="178" y="68"/>
                      </a:lnTo>
                      <a:lnTo>
                        <a:pt x="181" y="72"/>
                      </a:lnTo>
                      <a:lnTo>
                        <a:pt x="187" y="77"/>
                      </a:lnTo>
                      <a:lnTo>
                        <a:pt x="188" y="81"/>
                      </a:lnTo>
                      <a:lnTo>
                        <a:pt x="190" y="85"/>
                      </a:lnTo>
                      <a:lnTo>
                        <a:pt x="194" y="86"/>
                      </a:lnTo>
                      <a:lnTo>
                        <a:pt x="201" y="86"/>
                      </a:lnTo>
                      <a:lnTo>
                        <a:pt x="204" y="82"/>
                      </a:lnTo>
                      <a:lnTo>
                        <a:pt x="206" y="80"/>
                      </a:lnTo>
                      <a:lnTo>
                        <a:pt x="209" y="80"/>
                      </a:lnTo>
                      <a:lnTo>
                        <a:pt x="214" y="84"/>
                      </a:lnTo>
                      <a:lnTo>
                        <a:pt x="217" y="85"/>
                      </a:lnTo>
                      <a:lnTo>
                        <a:pt x="219" y="81"/>
                      </a:lnTo>
                      <a:lnTo>
                        <a:pt x="220" y="80"/>
                      </a:lnTo>
                      <a:lnTo>
                        <a:pt x="223" y="77"/>
                      </a:lnTo>
                      <a:lnTo>
                        <a:pt x="225" y="78"/>
                      </a:lnTo>
                      <a:lnTo>
                        <a:pt x="227" y="75"/>
                      </a:lnTo>
                      <a:lnTo>
                        <a:pt x="229" y="73"/>
                      </a:lnTo>
                      <a:lnTo>
                        <a:pt x="227" y="71"/>
                      </a:lnTo>
                      <a:lnTo>
                        <a:pt x="226" y="65"/>
                      </a:lnTo>
                      <a:lnTo>
                        <a:pt x="226" y="57"/>
                      </a:lnTo>
                      <a:lnTo>
                        <a:pt x="228" y="54"/>
                      </a:lnTo>
                      <a:lnTo>
                        <a:pt x="226" y="51"/>
                      </a:lnTo>
                      <a:lnTo>
                        <a:pt x="228" y="50"/>
                      </a:lnTo>
                      <a:lnTo>
                        <a:pt x="230" y="47"/>
                      </a:lnTo>
                      <a:lnTo>
                        <a:pt x="230" y="44"/>
                      </a:lnTo>
                      <a:lnTo>
                        <a:pt x="233" y="43"/>
                      </a:lnTo>
                      <a:lnTo>
                        <a:pt x="236" y="44"/>
                      </a:lnTo>
                      <a:lnTo>
                        <a:pt x="239" y="43"/>
                      </a:lnTo>
                      <a:lnTo>
                        <a:pt x="239" y="41"/>
                      </a:lnTo>
                      <a:lnTo>
                        <a:pt x="241" y="39"/>
                      </a:lnTo>
                      <a:lnTo>
                        <a:pt x="247" y="38"/>
                      </a:lnTo>
                      <a:lnTo>
                        <a:pt x="250" y="40"/>
                      </a:lnTo>
                      <a:lnTo>
                        <a:pt x="253" y="46"/>
                      </a:lnTo>
                      <a:lnTo>
                        <a:pt x="255" y="48"/>
                      </a:lnTo>
                      <a:lnTo>
                        <a:pt x="258" y="50"/>
                      </a:lnTo>
                      <a:lnTo>
                        <a:pt x="263" y="51"/>
                      </a:lnTo>
                      <a:lnTo>
                        <a:pt x="264" y="53"/>
                      </a:lnTo>
                      <a:lnTo>
                        <a:pt x="266" y="57"/>
                      </a:lnTo>
                      <a:lnTo>
                        <a:pt x="266" y="60"/>
                      </a:lnTo>
                      <a:lnTo>
                        <a:pt x="264" y="65"/>
                      </a:lnTo>
                      <a:lnTo>
                        <a:pt x="264" y="72"/>
                      </a:lnTo>
                      <a:lnTo>
                        <a:pt x="266" y="72"/>
                      </a:lnTo>
                      <a:lnTo>
                        <a:pt x="266" y="65"/>
                      </a:lnTo>
                      <a:lnTo>
                        <a:pt x="270" y="61"/>
                      </a:lnTo>
                      <a:lnTo>
                        <a:pt x="273" y="61"/>
                      </a:lnTo>
                      <a:lnTo>
                        <a:pt x="275" y="57"/>
                      </a:lnTo>
                      <a:lnTo>
                        <a:pt x="275" y="52"/>
                      </a:lnTo>
                      <a:lnTo>
                        <a:pt x="277" y="52"/>
                      </a:lnTo>
                      <a:lnTo>
                        <a:pt x="280" y="53"/>
                      </a:lnTo>
                      <a:lnTo>
                        <a:pt x="281" y="51"/>
                      </a:lnTo>
                      <a:lnTo>
                        <a:pt x="281" y="47"/>
                      </a:lnTo>
                      <a:lnTo>
                        <a:pt x="281" y="47"/>
                      </a:lnTo>
                      <a:lnTo>
                        <a:pt x="281" y="47"/>
                      </a:lnTo>
                      <a:lnTo>
                        <a:pt x="278" y="45"/>
                      </a:lnTo>
                      <a:lnTo>
                        <a:pt x="278" y="45"/>
                      </a:lnTo>
                      <a:lnTo>
                        <a:pt x="277" y="46"/>
                      </a:lnTo>
                      <a:lnTo>
                        <a:pt x="277" y="47"/>
                      </a:lnTo>
                      <a:lnTo>
                        <a:pt x="275" y="47"/>
                      </a:lnTo>
                      <a:lnTo>
                        <a:pt x="275" y="44"/>
                      </a:lnTo>
                      <a:lnTo>
                        <a:pt x="273" y="44"/>
                      </a:lnTo>
                      <a:lnTo>
                        <a:pt x="274" y="47"/>
                      </a:lnTo>
                      <a:lnTo>
                        <a:pt x="273" y="50"/>
                      </a:lnTo>
                      <a:lnTo>
                        <a:pt x="272" y="49"/>
                      </a:lnTo>
                      <a:lnTo>
                        <a:pt x="271" y="47"/>
                      </a:lnTo>
                      <a:lnTo>
                        <a:pt x="269" y="48"/>
                      </a:lnTo>
                      <a:lnTo>
                        <a:pt x="268" y="51"/>
                      </a:lnTo>
                      <a:lnTo>
                        <a:pt x="268" y="47"/>
                      </a:lnTo>
                      <a:lnTo>
                        <a:pt x="267" y="44"/>
                      </a:lnTo>
                      <a:lnTo>
                        <a:pt x="266" y="44"/>
                      </a:lnTo>
                      <a:lnTo>
                        <a:pt x="264" y="40"/>
                      </a:lnTo>
                      <a:lnTo>
                        <a:pt x="264" y="39"/>
                      </a:lnTo>
                      <a:lnTo>
                        <a:pt x="261" y="40"/>
                      </a:lnTo>
                      <a:lnTo>
                        <a:pt x="259" y="39"/>
                      </a:lnTo>
                      <a:lnTo>
                        <a:pt x="256" y="38"/>
                      </a:lnTo>
                      <a:lnTo>
                        <a:pt x="254" y="36"/>
                      </a:lnTo>
                      <a:lnTo>
                        <a:pt x="254" y="35"/>
                      </a:lnTo>
                      <a:lnTo>
                        <a:pt x="259" y="37"/>
                      </a:lnTo>
                      <a:lnTo>
                        <a:pt x="262" y="36"/>
                      </a:lnTo>
                      <a:lnTo>
                        <a:pt x="265" y="37"/>
                      </a:lnTo>
                      <a:lnTo>
                        <a:pt x="271" y="37"/>
                      </a:lnTo>
                      <a:lnTo>
                        <a:pt x="275" y="36"/>
                      </a:lnTo>
                      <a:lnTo>
                        <a:pt x="277" y="30"/>
                      </a:lnTo>
                      <a:lnTo>
                        <a:pt x="282" y="28"/>
                      </a:lnTo>
                      <a:lnTo>
                        <a:pt x="285" y="26"/>
                      </a:lnTo>
                      <a:lnTo>
                        <a:pt x="285" y="25"/>
                      </a:lnTo>
                      <a:lnTo>
                        <a:pt x="283" y="24"/>
                      </a:lnTo>
                      <a:lnTo>
                        <a:pt x="282" y="23"/>
                      </a:lnTo>
                      <a:lnTo>
                        <a:pt x="281" y="22"/>
                      </a:lnTo>
                      <a:lnTo>
                        <a:pt x="278" y="23"/>
                      </a:lnTo>
                      <a:lnTo>
                        <a:pt x="275" y="19"/>
                      </a:lnTo>
                      <a:lnTo>
                        <a:pt x="273" y="19"/>
                      </a:lnTo>
                      <a:lnTo>
                        <a:pt x="271" y="22"/>
                      </a:lnTo>
                      <a:lnTo>
                        <a:pt x="269" y="22"/>
                      </a:lnTo>
                      <a:lnTo>
                        <a:pt x="268" y="21"/>
                      </a:lnTo>
                      <a:lnTo>
                        <a:pt x="271" y="19"/>
                      </a:lnTo>
                      <a:lnTo>
                        <a:pt x="271" y="16"/>
                      </a:lnTo>
                      <a:lnTo>
                        <a:pt x="268" y="16"/>
                      </a:lnTo>
                      <a:lnTo>
                        <a:pt x="268" y="15"/>
                      </a:lnTo>
                      <a:lnTo>
                        <a:pt x="266" y="15"/>
                      </a:lnTo>
                      <a:lnTo>
                        <a:pt x="264" y="19"/>
                      </a:lnTo>
                      <a:lnTo>
                        <a:pt x="263" y="19"/>
                      </a:lnTo>
                      <a:lnTo>
                        <a:pt x="264" y="16"/>
                      </a:lnTo>
                      <a:lnTo>
                        <a:pt x="262" y="16"/>
                      </a:lnTo>
                      <a:lnTo>
                        <a:pt x="261" y="18"/>
                      </a:lnTo>
                      <a:lnTo>
                        <a:pt x="260" y="18"/>
                      </a:lnTo>
                      <a:lnTo>
                        <a:pt x="259" y="16"/>
                      </a:lnTo>
                      <a:lnTo>
                        <a:pt x="261" y="15"/>
                      </a:lnTo>
                      <a:lnTo>
                        <a:pt x="261" y="13"/>
                      </a:lnTo>
                      <a:lnTo>
                        <a:pt x="258" y="11"/>
                      </a:lnTo>
                      <a:lnTo>
                        <a:pt x="256" y="10"/>
                      </a:lnTo>
                      <a:lnTo>
                        <a:pt x="254" y="12"/>
                      </a:lnTo>
                      <a:lnTo>
                        <a:pt x="254" y="16"/>
                      </a:lnTo>
                      <a:lnTo>
                        <a:pt x="252" y="17"/>
                      </a:lnTo>
                      <a:lnTo>
                        <a:pt x="252" y="19"/>
                      </a:lnTo>
                      <a:lnTo>
                        <a:pt x="254" y="24"/>
                      </a:lnTo>
                      <a:lnTo>
                        <a:pt x="253" y="26"/>
                      </a:lnTo>
                      <a:lnTo>
                        <a:pt x="252" y="27"/>
                      </a:lnTo>
                      <a:lnTo>
                        <a:pt x="250" y="25"/>
                      </a:lnTo>
                      <a:lnTo>
                        <a:pt x="249" y="24"/>
                      </a:lnTo>
                      <a:lnTo>
                        <a:pt x="248" y="26"/>
                      </a:lnTo>
                      <a:lnTo>
                        <a:pt x="246" y="25"/>
                      </a:lnTo>
                      <a:lnTo>
                        <a:pt x="243" y="27"/>
                      </a:lnTo>
                      <a:lnTo>
                        <a:pt x="245" y="23"/>
                      </a:lnTo>
                      <a:lnTo>
                        <a:pt x="247" y="22"/>
                      </a:lnTo>
                      <a:lnTo>
                        <a:pt x="249" y="19"/>
                      </a:lnTo>
                      <a:lnTo>
                        <a:pt x="248" y="17"/>
                      </a:lnTo>
                      <a:lnTo>
                        <a:pt x="247" y="17"/>
                      </a:lnTo>
                      <a:lnTo>
                        <a:pt x="244" y="20"/>
                      </a:lnTo>
                      <a:lnTo>
                        <a:pt x="243" y="19"/>
                      </a:lnTo>
                      <a:lnTo>
                        <a:pt x="243" y="17"/>
                      </a:lnTo>
                      <a:lnTo>
                        <a:pt x="245" y="16"/>
                      </a:lnTo>
                      <a:lnTo>
                        <a:pt x="245" y="14"/>
                      </a:lnTo>
                      <a:lnTo>
                        <a:pt x="243" y="13"/>
                      </a:lnTo>
                      <a:lnTo>
                        <a:pt x="243" y="13"/>
                      </a:lnTo>
                      <a:lnTo>
                        <a:pt x="244" y="12"/>
                      </a:lnTo>
                      <a:lnTo>
                        <a:pt x="245" y="13"/>
                      </a:lnTo>
                      <a:lnTo>
                        <a:pt x="248" y="13"/>
                      </a:lnTo>
                      <a:lnTo>
                        <a:pt x="250" y="7"/>
                      </a:lnTo>
                      <a:lnTo>
                        <a:pt x="250" y="5"/>
                      </a:lnTo>
                      <a:lnTo>
                        <a:pt x="247" y="6"/>
                      </a:lnTo>
                      <a:lnTo>
                        <a:pt x="245" y="5"/>
                      </a:lnTo>
                      <a:lnTo>
                        <a:pt x="246" y="3"/>
                      </a:lnTo>
                      <a:lnTo>
                        <a:pt x="245" y="0"/>
                      </a:lnTo>
                      <a:lnTo>
                        <a:pt x="243" y="3"/>
                      </a:lnTo>
                      <a:lnTo>
                        <a:pt x="242" y="2"/>
                      </a:lnTo>
                      <a:lnTo>
                        <a:pt x="240" y="0"/>
                      </a:lnTo>
                      <a:lnTo>
                        <a:pt x="238" y="3"/>
                      </a:lnTo>
                      <a:lnTo>
                        <a:pt x="238" y="4"/>
                      </a:lnTo>
                      <a:lnTo>
                        <a:pt x="240" y="7"/>
                      </a:lnTo>
                      <a:lnTo>
                        <a:pt x="239" y="9"/>
                      </a:lnTo>
                      <a:lnTo>
                        <a:pt x="238" y="9"/>
                      </a:lnTo>
                      <a:lnTo>
                        <a:pt x="236" y="6"/>
                      </a:lnTo>
                      <a:lnTo>
                        <a:pt x="234" y="7"/>
                      </a:lnTo>
                      <a:lnTo>
                        <a:pt x="233" y="9"/>
                      </a:lnTo>
                      <a:lnTo>
                        <a:pt x="234" y="11"/>
                      </a:lnTo>
                      <a:lnTo>
                        <a:pt x="236" y="11"/>
                      </a:lnTo>
                      <a:lnTo>
                        <a:pt x="237" y="12"/>
                      </a:lnTo>
                      <a:lnTo>
                        <a:pt x="237" y="13"/>
                      </a:lnTo>
                      <a:lnTo>
                        <a:pt x="236" y="14"/>
                      </a:lnTo>
                      <a:lnTo>
                        <a:pt x="236" y="17"/>
                      </a:lnTo>
                      <a:lnTo>
                        <a:pt x="233" y="18"/>
                      </a:lnTo>
                      <a:lnTo>
                        <a:pt x="233" y="20"/>
                      </a:lnTo>
                      <a:lnTo>
                        <a:pt x="234" y="21"/>
                      </a:lnTo>
                      <a:lnTo>
                        <a:pt x="233" y="23"/>
                      </a:lnTo>
                      <a:lnTo>
                        <a:pt x="233" y="26"/>
                      </a:lnTo>
                      <a:lnTo>
                        <a:pt x="233" y="27"/>
                      </a:lnTo>
                      <a:lnTo>
                        <a:pt x="231" y="25"/>
                      </a:lnTo>
                      <a:lnTo>
                        <a:pt x="229" y="27"/>
                      </a:lnTo>
                      <a:lnTo>
                        <a:pt x="229" y="28"/>
                      </a:lnTo>
                      <a:lnTo>
                        <a:pt x="227" y="30"/>
                      </a:lnTo>
                      <a:lnTo>
                        <a:pt x="227" y="27"/>
                      </a:lnTo>
                      <a:lnTo>
                        <a:pt x="229" y="20"/>
                      </a:lnTo>
                      <a:lnTo>
                        <a:pt x="227" y="20"/>
                      </a:lnTo>
                      <a:lnTo>
                        <a:pt x="227" y="18"/>
                      </a:lnTo>
                      <a:lnTo>
                        <a:pt x="229" y="16"/>
                      </a:lnTo>
                      <a:lnTo>
                        <a:pt x="229" y="11"/>
                      </a:lnTo>
                      <a:lnTo>
                        <a:pt x="228" y="9"/>
                      </a:lnTo>
                      <a:lnTo>
                        <a:pt x="226" y="9"/>
                      </a:lnTo>
                      <a:lnTo>
                        <a:pt x="223" y="16"/>
                      </a:lnTo>
                      <a:lnTo>
                        <a:pt x="223" y="20"/>
                      </a:lnTo>
                      <a:lnTo>
                        <a:pt x="219" y="26"/>
                      </a:lnTo>
                      <a:lnTo>
                        <a:pt x="219" y="30"/>
                      </a:lnTo>
                      <a:lnTo>
                        <a:pt x="219" y="32"/>
                      </a:lnTo>
                      <a:lnTo>
                        <a:pt x="219" y="35"/>
                      </a:lnTo>
                      <a:lnTo>
                        <a:pt x="216" y="40"/>
                      </a:lnTo>
                      <a:lnTo>
                        <a:pt x="213" y="41"/>
                      </a:lnTo>
                      <a:lnTo>
                        <a:pt x="213" y="38"/>
                      </a:lnTo>
                      <a:lnTo>
                        <a:pt x="212" y="36"/>
                      </a:lnTo>
                      <a:lnTo>
                        <a:pt x="215" y="32"/>
                      </a:lnTo>
                      <a:lnTo>
                        <a:pt x="215" y="29"/>
                      </a:lnTo>
                      <a:lnTo>
                        <a:pt x="216" y="27"/>
                      </a:lnTo>
                      <a:lnTo>
                        <a:pt x="215" y="23"/>
                      </a:lnTo>
                      <a:lnTo>
                        <a:pt x="219" y="18"/>
                      </a:lnTo>
                      <a:lnTo>
                        <a:pt x="219" y="15"/>
                      </a:lnTo>
                      <a:lnTo>
                        <a:pt x="220" y="14"/>
                      </a:lnTo>
                      <a:lnTo>
                        <a:pt x="219" y="13"/>
                      </a:lnTo>
                      <a:lnTo>
                        <a:pt x="217" y="12"/>
                      </a:lnTo>
                      <a:lnTo>
                        <a:pt x="215" y="9"/>
                      </a:lnTo>
                      <a:lnTo>
                        <a:pt x="214" y="10"/>
                      </a:lnTo>
                      <a:lnTo>
                        <a:pt x="215" y="13"/>
                      </a:lnTo>
                      <a:lnTo>
                        <a:pt x="212" y="15"/>
                      </a:lnTo>
                      <a:lnTo>
                        <a:pt x="212" y="12"/>
                      </a:lnTo>
                      <a:lnTo>
                        <a:pt x="211" y="10"/>
                      </a:lnTo>
                      <a:lnTo>
                        <a:pt x="209" y="9"/>
                      </a:lnTo>
                      <a:lnTo>
                        <a:pt x="207" y="10"/>
                      </a:lnTo>
                      <a:lnTo>
                        <a:pt x="207" y="15"/>
                      </a:lnTo>
                      <a:lnTo>
                        <a:pt x="206" y="16"/>
                      </a:lnTo>
                      <a:lnTo>
                        <a:pt x="205" y="15"/>
                      </a:lnTo>
                      <a:lnTo>
                        <a:pt x="204" y="13"/>
                      </a:lnTo>
                      <a:lnTo>
                        <a:pt x="202" y="15"/>
                      </a:lnTo>
                      <a:lnTo>
                        <a:pt x="203" y="16"/>
                      </a:lnTo>
                      <a:lnTo>
                        <a:pt x="206" y="19"/>
                      </a:lnTo>
                      <a:lnTo>
                        <a:pt x="207" y="22"/>
                      </a:lnTo>
                      <a:lnTo>
                        <a:pt x="206" y="23"/>
                      </a:lnTo>
                      <a:lnTo>
                        <a:pt x="205" y="21"/>
                      </a:lnTo>
                      <a:lnTo>
                        <a:pt x="203" y="23"/>
                      </a:lnTo>
                      <a:lnTo>
                        <a:pt x="203" y="25"/>
                      </a:lnTo>
                      <a:lnTo>
                        <a:pt x="204" y="26"/>
                      </a:lnTo>
                      <a:lnTo>
                        <a:pt x="202" y="27"/>
                      </a:lnTo>
                      <a:lnTo>
                        <a:pt x="200" y="25"/>
                      </a:lnTo>
                      <a:lnTo>
                        <a:pt x="199" y="25"/>
                      </a:lnTo>
                      <a:lnTo>
                        <a:pt x="198" y="29"/>
                      </a:lnTo>
                      <a:lnTo>
                        <a:pt x="195" y="30"/>
                      </a:lnTo>
                      <a:lnTo>
                        <a:pt x="195" y="31"/>
                      </a:lnTo>
                      <a:lnTo>
                        <a:pt x="197" y="32"/>
                      </a:lnTo>
                      <a:lnTo>
                        <a:pt x="194" y="34"/>
                      </a:lnTo>
                      <a:lnTo>
                        <a:pt x="194" y="37"/>
                      </a:lnTo>
                      <a:lnTo>
                        <a:pt x="195" y="39"/>
                      </a:lnTo>
                      <a:lnTo>
                        <a:pt x="194" y="41"/>
                      </a:lnTo>
                      <a:lnTo>
                        <a:pt x="196" y="42"/>
                      </a:lnTo>
                      <a:lnTo>
                        <a:pt x="197" y="44"/>
                      </a:lnTo>
                      <a:lnTo>
                        <a:pt x="196" y="45"/>
                      </a:lnTo>
                      <a:lnTo>
                        <a:pt x="192" y="44"/>
                      </a:lnTo>
                      <a:lnTo>
                        <a:pt x="191" y="40"/>
                      </a:lnTo>
                      <a:lnTo>
                        <a:pt x="190" y="40"/>
                      </a:lnTo>
                      <a:lnTo>
                        <a:pt x="191" y="37"/>
                      </a:lnTo>
                      <a:lnTo>
                        <a:pt x="189" y="37"/>
                      </a:lnTo>
                      <a:lnTo>
                        <a:pt x="187" y="37"/>
                      </a:lnTo>
                      <a:lnTo>
                        <a:pt x="184" y="37"/>
                      </a:lnTo>
                      <a:lnTo>
                        <a:pt x="180" y="32"/>
                      </a:lnTo>
                      <a:lnTo>
                        <a:pt x="178" y="32"/>
                      </a:lnTo>
                      <a:lnTo>
                        <a:pt x="177" y="34"/>
                      </a:lnTo>
                      <a:lnTo>
                        <a:pt x="176" y="32"/>
                      </a:lnTo>
                      <a:lnTo>
                        <a:pt x="174" y="34"/>
                      </a:lnTo>
                      <a:lnTo>
                        <a:pt x="171" y="35"/>
                      </a:lnTo>
                      <a:lnTo>
                        <a:pt x="171" y="37"/>
                      </a:lnTo>
                      <a:lnTo>
                        <a:pt x="174" y="40"/>
                      </a:lnTo>
                      <a:lnTo>
                        <a:pt x="176" y="40"/>
                      </a:lnTo>
                      <a:lnTo>
                        <a:pt x="178" y="43"/>
                      </a:lnTo>
                      <a:lnTo>
                        <a:pt x="181" y="43"/>
                      </a:lnTo>
                      <a:lnTo>
                        <a:pt x="179" y="46"/>
                      </a:lnTo>
                      <a:lnTo>
                        <a:pt x="179" y="49"/>
                      </a:lnTo>
                      <a:lnTo>
                        <a:pt x="181" y="52"/>
                      </a:lnTo>
                      <a:lnTo>
                        <a:pt x="181" y="54"/>
                      </a:lnTo>
                      <a:lnTo>
                        <a:pt x="179" y="53"/>
                      </a:lnTo>
                      <a:lnTo>
                        <a:pt x="178" y="49"/>
                      </a:lnTo>
                      <a:lnTo>
                        <a:pt x="175" y="48"/>
                      </a:lnTo>
                      <a:lnTo>
                        <a:pt x="174" y="46"/>
                      </a:lnTo>
                      <a:lnTo>
                        <a:pt x="173" y="49"/>
                      </a:lnTo>
                      <a:lnTo>
                        <a:pt x="171" y="51"/>
                      </a:lnTo>
                      <a:lnTo>
                        <a:pt x="171" y="47"/>
                      </a:lnTo>
                      <a:lnTo>
                        <a:pt x="168" y="49"/>
                      </a:lnTo>
                      <a:lnTo>
                        <a:pt x="168" y="51"/>
                      </a:lnTo>
                      <a:lnTo>
                        <a:pt x="166" y="53"/>
                      </a:lnTo>
                      <a:lnTo>
                        <a:pt x="166" y="56"/>
                      </a:lnTo>
                      <a:lnTo>
                        <a:pt x="169" y="58"/>
                      </a:lnTo>
                      <a:lnTo>
                        <a:pt x="170" y="61"/>
                      </a:lnTo>
                      <a:lnTo>
                        <a:pt x="167" y="60"/>
                      </a:lnTo>
                      <a:lnTo>
                        <a:pt x="167" y="59"/>
                      </a:lnTo>
                      <a:lnTo>
                        <a:pt x="164" y="62"/>
                      </a:lnTo>
                      <a:lnTo>
                        <a:pt x="164" y="65"/>
                      </a:lnTo>
                      <a:lnTo>
                        <a:pt x="161" y="68"/>
                      </a:lnTo>
                      <a:lnTo>
                        <a:pt x="160" y="66"/>
                      </a:lnTo>
                      <a:lnTo>
                        <a:pt x="163" y="65"/>
                      </a:lnTo>
                      <a:lnTo>
                        <a:pt x="162" y="61"/>
                      </a:lnTo>
                      <a:lnTo>
                        <a:pt x="164" y="57"/>
                      </a:lnTo>
                      <a:lnTo>
                        <a:pt x="163" y="47"/>
                      </a:lnTo>
                      <a:lnTo>
                        <a:pt x="160" y="49"/>
                      </a:lnTo>
                      <a:lnTo>
                        <a:pt x="157" y="55"/>
                      </a:lnTo>
                      <a:lnTo>
                        <a:pt x="157" y="59"/>
                      </a:lnTo>
                      <a:lnTo>
                        <a:pt x="158" y="61"/>
                      </a:lnTo>
                      <a:lnTo>
                        <a:pt x="156" y="65"/>
                      </a:lnTo>
                      <a:lnTo>
                        <a:pt x="155" y="61"/>
                      </a:lnTo>
                      <a:lnTo>
                        <a:pt x="157" y="58"/>
                      </a:lnTo>
                      <a:lnTo>
                        <a:pt x="156" y="53"/>
                      </a:lnTo>
                      <a:lnTo>
                        <a:pt x="154" y="53"/>
                      </a:lnTo>
                      <a:lnTo>
                        <a:pt x="152" y="54"/>
                      </a:lnTo>
                      <a:lnTo>
                        <a:pt x="150" y="59"/>
                      </a:lnTo>
                      <a:lnTo>
                        <a:pt x="151" y="62"/>
                      </a:lnTo>
                      <a:lnTo>
                        <a:pt x="151" y="65"/>
                      </a:lnTo>
                      <a:lnTo>
                        <a:pt x="154" y="68"/>
                      </a:lnTo>
                      <a:lnTo>
                        <a:pt x="156" y="71"/>
                      </a:lnTo>
                      <a:lnTo>
                        <a:pt x="154" y="75"/>
                      </a:lnTo>
                      <a:lnTo>
                        <a:pt x="153" y="70"/>
                      </a:lnTo>
                      <a:lnTo>
                        <a:pt x="150" y="68"/>
                      </a:lnTo>
                      <a:lnTo>
                        <a:pt x="148" y="62"/>
                      </a:lnTo>
                      <a:lnTo>
                        <a:pt x="147" y="61"/>
                      </a:lnTo>
                      <a:lnTo>
                        <a:pt x="143" y="63"/>
                      </a:lnTo>
                      <a:lnTo>
                        <a:pt x="143" y="65"/>
                      </a:lnTo>
                      <a:lnTo>
                        <a:pt x="147" y="68"/>
                      </a:lnTo>
                      <a:lnTo>
                        <a:pt x="149" y="69"/>
                      </a:lnTo>
                      <a:lnTo>
                        <a:pt x="150" y="70"/>
                      </a:lnTo>
                      <a:lnTo>
                        <a:pt x="147" y="70"/>
                      </a:lnTo>
                      <a:lnTo>
                        <a:pt x="145" y="71"/>
                      </a:lnTo>
                      <a:lnTo>
                        <a:pt x="146" y="74"/>
                      </a:lnTo>
                      <a:lnTo>
                        <a:pt x="143" y="72"/>
                      </a:lnTo>
                      <a:lnTo>
                        <a:pt x="143" y="68"/>
                      </a:lnTo>
                      <a:lnTo>
                        <a:pt x="142" y="67"/>
                      </a:lnTo>
                      <a:lnTo>
                        <a:pt x="142" y="65"/>
                      </a:lnTo>
                      <a:lnTo>
                        <a:pt x="140" y="66"/>
                      </a:lnTo>
                      <a:lnTo>
                        <a:pt x="139" y="70"/>
                      </a:lnTo>
                      <a:lnTo>
                        <a:pt x="140" y="72"/>
                      </a:lnTo>
                      <a:lnTo>
                        <a:pt x="140" y="75"/>
                      </a:lnTo>
                      <a:lnTo>
                        <a:pt x="138" y="75"/>
                      </a:lnTo>
                      <a:lnTo>
                        <a:pt x="136" y="75"/>
                      </a:lnTo>
                      <a:lnTo>
                        <a:pt x="133" y="78"/>
                      </a:lnTo>
                      <a:lnTo>
                        <a:pt x="134" y="79"/>
                      </a:lnTo>
                      <a:lnTo>
                        <a:pt x="136" y="79"/>
                      </a:lnTo>
                      <a:lnTo>
                        <a:pt x="137" y="82"/>
                      </a:lnTo>
                      <a:lnTo>
                        <a:pt x="135" y="82"/>
                      </a:lnTo>
                      <a:lnTo>
                        <a:pt x="133" y="83"/>
                      </a:lnTo>
                      <a:lnTo>
                        <a:pt x="135" y="85"/>
                      </a:lnTo>
                      <a:lnTo>
                        <a:pt x="134" y="86"/>
                      </a:lnTo>
                      <a:lnTo>
                        <a:pt x="132" y="86"/>
                      </a:lnTo>
                      <a:lnTo>
                        <a:pt x="132" y="88"/>
                      </a:lnTo>
                      <a:lnTo>
                        <a:pt x="133" y="89"/>
                      </a:lnTo>
                      <a:lnTo>
                        <a:pt x="131" y="89"/>
                      </a:lnTo>
                      <a:lnTo>
                        <a:pt x="130" y="87"/>
                      </a:lnTo>
                      <a:lnTo>
                        <a:pt x="128" y="88"/>
                      </a:lnTo>
                      <a:lnTo>
                        <a:pt x="126" y="91"/>
                      </a:lnTo>
                      <a:lnTo>
                        <a:pt x="127" y="92"/>
                      </a:lnTo>
                      <a:lnTo>
                        <a:pt x="126" y="93"/>
                      </a:lnTo>
                      <a:lnTo>
                        <a:pt x="123" y="93"/>
                      </a:lnTo>
                      <a:lnTo>
                        <a:pt x="122" y="96"/>
                      </a:lnTo>
                      <a:lnTo>
                        <a:pt x="124" y="98"/>
                      </a:lnTo>
                      <a:lnTo>
                        <a:pt x="130" y="96"/>
                      </a:lnTo>
                      <a:lnTo>
                        <a:pt x="132" y="96"/>
                      </a:lnTo>
                      <a:lnTo>
                        <a:pt x="134" y="95"/>
                      </a:lnTo>
                      <a:lnTo>
                        <a:pt x="136" y="95"/>
                      </a:lnTo>
                      <a:lnTo>
                        <a:pt x="136" y="97"/>
                      </a:lnTo>
                      <a:lnTo>
                        <a:pt x="134" y="99"/>
                      </a:lnTo>
                      <a:lnTo>
                        <a:pt x="133" y="104"/>
                      </a:lnTo>
                      <a:lnTo>
                        <a:pt x="133" y="105"/>
                      </a:lnTo>
                      <a:lnTo>
                        <a:pt x="132" y="103"/>
                      </a:lnTo>
                      <a:lnTo>
                        <a:pt x="132" y="101"/>
                      </a:lnTo>
                      <a:lnTo>
                        <a:pt x="129" y="102"/>
                      </a:lnTo>
                      <a:lnTo>
                        <a:pt x="128" y="100"/>
                      </a:lnTo>
                      <a:lnTo>
                        <a:pt x="126" y="100"/>
                      </a:lnTo>
                      <a:lnTo>
                        <a:pt x="126" y="102"/>
                      </a:lnTo>
                      <a:lnTo>
                        <a:pt x="126" y="103"/>
                      </a:lnTo>
                      <a:lnTo>
                        <a:pt x="123" y="102"/>
                      </a:lnTo>
                      <a:lnTo>
                        <a:pt x="122" y="103"/>
                      </a:lnTo>
                      <a:lnTo>
                        <a:pt x="124" y="104"/>
                      </a:lnTo>
                      <a:lnTo>
                        <a:pt x="125" y="106"/>
                      </a:lnTo>
                      <a:lnTo>
                        <a:pt x="123" y="107"/>
                      </a:lnTo>
                      <a:lnTo>
                        <a:pt x="122" y="109"/>
                      </a:lnTo>
                      <a:lnTo>
                        <a:pt x="123" y="111"/>
                      </a:lnTo>
                      <a:lnTo>
                        <a:pt x="122" y="113"/>
                      </a:lnTo>
                      <a:lnTo>
                        <a:pt x="121" y="110"/>
                      </a:lnTo>
                      <a:lnTo>
                        <a:pt x="122" y="107"/>
                      </a:lnTo>
                      <a:lnTo>
                        <a:pt x="119" y="105"/>
                      </a:lnTo>
                      <a:lnTo>
                        <a:pt x="118" y="107"/>
                      </a:lnTo>
                      <a:lnTo>
                        <a:pt x="115" y="108"/>
                      </a:lnTo>
                      <a:lnTo>
                        <a:pt x="115" y="106"/>
                      </a:lnTo>
                      <a:lnTo>
                        <a:pt x="115" y="104"/>
                      </a:lnTo>
                      <a:lnTo>
                        <a:pt x="114" y="104"/>
                      </a:lnTo>
                      <a:lnTo>
                        <a:pt x="112" y="107"/>
                      </a:lnTo>
                      <a:lnTo>
                        <a:pt x="113" y="109"/>
                      </a:lnTo>
                      <a:lnTo>
                        <a:pt x="116" y="109"/>
                      </a:lnTo>
                      <a:lnTo>
                        <a:pt x="119" y="111"/>
                      </a:lnTo>
                      <a:lnTo>
                        <a:pt x="118" y="113"/>
                      </a:lnTo>
                      <a:lnTo>
                        <a:pt x="112" y="114"/>
                      </a:lnTo>
                      <a:lnTo>
                        <a:pt x="112" y="113"/>
                      </a:lnTo>
                      <a:lnTo>
                        <a:pt x="109" y="113"/>
                      </a:lnTo>
                      <a:lnTo>
                        <a:pt x="108" y="116"/>
                      </a:lnTo>
                      <a:lnTo>
                        <a:pt x="110" y="119"/>
                      </a:lnTo>
                      <a:lnTo>
                        <a:pt x="108" y="121"/>
                      </a:lnTo>
                      <a:lnTo>
                        <a:pt x="110" y="121"/>
                      </a:lnTo>
                      <a:lnTo>
                        <a:pt x="112" y="117"/>
                      </a:lnTo>
                      <a:lnTo>
                        <a:pt x="115" y="117"/>
                      </a:lnTo>
                      <a:lnTo>
                        <a:pt x="116" y="120"/>
                      </a:lnTo>
                      <a:lnTo>
                        <a:pt x="112" y="120"/>
                      </a:lnTo>
                      <a:lnTo>
                        <a:pt x="112" y="123"/>
                      </a:lnTo>
                      <a:lnTo>
                        <a:pt x="113" y="126"/>
                      </a:lnTo>
                      <a:lnTo>
                        <a:pt x="116" y="128"/>
                      </a:lnTo>
                      <a:lnTo>
                        <a:pt x="116" y="130"/>
                      </a:lnTo>
                      <a:lnTo>
                        <a:pt x="114" y="129"/>
                      </a:lnTo>
                      <a:lnTo>
                        <a:pt x="112" y="129"/>
                      </a:lnTo>
                      <a:lnTo>
                        <a:pt x="110" y="126"/>
                      </a:lnTo>
                      <a:lnTo>
                        <a:pt x="109" y="126"/>
                      </a:lnTo>
                      <a:lnTo>
                        <a:pt x="108" y="128"/>
                      </a:lnTo>
                      <a:lnTo>
                        <a:pt x="109" y="130"/>
                      </a:lnTo>
                      <a:lnTo>
                        <a:pt x="107" y="130"/>
                      </a:lnTo>
                      <a:lnTo>
                        <a:pt x="105" y="132"/>
                      </a:lnTo>
                      <a:lnTo>
                        <a:pt x="105" y="134"/>
                      </a:lnTo>
                      <a:lnTo>
                        <a:pt x="107" y="136"/>
                      </a:lnTo>
                      <a:lnTo>
                        <a:pt x="109" y="134"/>
                      </a:lnTo>
                      <a:lnTo>
                        <a:pt x="111" y="136"/>
                      </a:lnTo>
                      <a:lnTo>
                        <a:pt x="113" y="135"/>
                      </a:lnTo>
                      <a:lnTo>
                        <a:pt x="114" y="137"/>
                      </a:lnTo>
                      <a:lnTo>
                        <a:pt x="115" y="139"/>
                      </a:lnTo>
                      <a:lnTo>
                        <a:pt x="115" y="141"/>
                      </a:lnTo>
                      <a:lnTo>
                        <a:pt x="112" y="137"/>
                      </a:lnTo>
                      <a:lnTo>
                        <a:pt x="109" y="137"/>
                      </a:lnTo>
                      <a:lnTo>
                        <a:pt x="108" y="139"/>
                      </a:lnTo>
                      <a:lnTo>
                        <a:pt x="104" y="140"/>
                      </a:lnTo>
                      <a:lnTo>
                        <a:pt x="104" y="142"/>
                      </a:lnTo>
                      <a:lnTo>
                        <a:pt x="101" y="144"/>
                      </a:lnTo>
                      <a:lnTo>
                        <a:pt x="101" y="143"/>
                      </a:lnTo>
                      <a:lnTo>
                        <a:pt x="97" y="144"/>
                      </a:lnTo>
                      <a:lnTo>
                        <a:pt x="95" y="145"/>
                      </a:lnTo>
                      <a:lnTo>
                        <a:pt x="94" y="147"/>
                      </a:lnTo>
                      <a:lnTo>
                        <a:pt x="97" y="147"/>
                      </a:lnTo>
                      <a:lnTo>
                        <a:pt x="98" y="150"/>
                      </a:lnTo>
                      <a:lnTo>
                        <a:pt x="97" y="151"/>
                      </a:lnTo>
                      <a:lnTo>
                        <a:pt x="95" y="150"/>
                      </a:lnTo>
                      <a:lnTo>
                        <a:pt x="94" y="151"/>
                      </a:lnTo>
                      <a:lnTo>
                        <a:pt x="97" y="153"/>
                      </a:lnTo>
                      <a:lnTo>
                        <a:pt x="96" y="154"/>
                      </a:lnTo>
                      <a:lnTo>
                        <a:pt x="93" y="154"/>
                      </a:lnTo>
                      <a:lnTo>
                        <a:pt x="93" y="153"/>
                      </a:lnTo>
                      <a:lnTo>
                        <a:pt x="92" y="154"/>
                      </a:lnTo>
                      <a:lnTo>
                        <a:pt x="94" y="155"/>
                      </a:lnTo>
                      <a:lnTo>
                        <a:pt x="93" y="157"/>
                      </a:lnTo>
                      <a:lnTo>
                        <a:pt x="93" y="158"/>
                      </a:lnTo>
                      <a:lnTo>
                        <a:pt x="94" y="158"/>
                      </a:lnTo>
                      <a:lnTo>
                        <a:pt x="93" y="160"/>
                      </a:lnTo>
                      <a:lnTo>
                        <a:pt x="91" y="160"/>
                      </a:lnTo>
                      <a:lnTo>
                        <a:pt x="91" y="159"/>
                      </a:lnTo>
                      <a:lnTo>
                        <a:pt x="91" y="161"/>
                      </a:lnTo>
                      <a:lnTo>
                        <a:pt x="90" y="163"/>
                      </a:lnTo>
                      <a:lnTo>
                        <a:pt x="91" y="164"/>
                      </a:lnTo>
                      <a:lnTo>
                        <a:pt x="94" y="165"/>
                      </a:lnTo>
                      <a:lnTo>
                        <a:pt x="95" y="167"/>
                      </a:lnTo>
                      <a:lnTo>
                        <a:pt x="97" y="168"/>
                      </a:lnTo>
                      <a:lnTo>
                        <a:pt x="99" y="166"/>
                      </a:lnTo>
                      <a:lnTo>
                        <a:pt x="97" y="168"/>
                      </a:lnTo>
                      <a:lnTo>
                        <a:pt x="97" y="170"/>
                      </a:lnTo>
                      <a:lnTo>
                        <a:pt x="94" y="170"/>
                      </a:lnTo>
                      <a:lnTo>
                        <a:pt x="94" y="168"/>
                      </a:lnTo>
                      <a:lnTo>
                        <a:pt x="90" y="168"/>
                      </a:lnTo>
                      <a:lnTo>
                        <a:pt x="88" y="172"/>
                      </a:lnTo>
                      <a:lnTo>
                        <a:pt x="88" y="172"/>
                      </a:lnTo>
                      <a:lnTo>
                        <a:pt x="91" y="173"/>
                      </a:lnTo>
                      <a:lnTo>
                        <a:pt x="91" y="175"/>
                      </a:lnTo>
                      <a:lnTo>
                        <a:pt x="92" y="176"/>
                      </a:lnTo>
                      <a:lnTo>
                        <a:pt x="92" y="179"/>
                      </a:lnTo>
                      <a:lnTo>
                        <a:pt x="91" y="177"/>
                      </a:lnTo>
                      <a:lnTo>
                        <a:pt x="90" y="177"/>
                      </a:lnTo>
                      <a:lnTo>
                        <a:pt x="88" y="179"/>
                      </a:lnTo>
                      <a:lnTo>
                        <a:pt x="88" y="181"/>
                      </a:lnTo>
                      <a:lnTo>
                        <a:pt x="88" y="182"/>
                      </a:lnTo>
                      <a:lnTo>
                        <a:pt x="89" y="183"/>
                      </a:lnTo>
                      <a:lnTo>
                        <a:pt x="89" y="185"/>
                      </a:lnTo>
                      <a:lnTo>
                        <a:pt x="88" y="185"/>
                      </a:lnTo>
                      <a:lnTo>
                        <a:pt x="87" y="184"/>
                      </a:lnTo>
                      <a:lnTo>
                        <a:pt x="85" y="185"/>
                      </a:lnTo>
                      <a:lnTo>
                        <a:pt x="86" y="188"/>
                      </a:lnTo>
                      <a:lnTo>
                        <a:pt x="88" y="189"/>
                      </a:lnTo>
                      <a:lnTo>
                        <a:pt x="88" y="189"/>
                      </a:lnTo>
                      <a:lnTo>
                        <a:pt x="88" y="192"/>
                      </a:lnTo>
                      <a:lnTo>
                        <a:pt x="85" y="189"/>
                      </a:lnTo>
                      <a:lnTo>
                        <a:pt x="84" y="190"/>
                      </a:lnTo>
                      <a:lnTo>
                        <a:pt x="84" y="192"/>
                      </a:lnTo>
                      <a:lnTo>
                        <a:pt x="84" y="193"/>
                      </a:lnTo>
                      <a:lnTo>
                        <a:pt x="84" y="196"/>
                      </a:lnTo>
                      <a:lnTo>
                        <a:pt x="85" y="199"/>
                      </a:lnTo>
                      <a:lnTo>
                        <a:pt x="88" y="199"/>
                      </a:lnTo>
                      <a:lnTo>
                        <a:pt x="88" y="196"/>
                      </a:lnTo>
                      <a:lnTo>
                        <a:pt x="90" y="196"/>
                      </a:lnTo>
                      <a:lnTo>
                        <a:pt x="88" y="200"/>
                      </a:lnTo>
                      <a:lnTo>
                        <a:pt x="87" y="200"/>
                      </a:lnTo>
                      <a:lnTo>
                        <a:pt x="84" y="203"/>
                      </a:lnTo>
                      <a:lnTo>
                        <a:pt x="82" y="203"/>
                      </a:lnTo>
                      <a:lnTo>
                        <a:pt x="81" y="204"/>
                      </a:lnTo>
                      <a:lnTo>
                        <a:pt x="81" y="206"/>
                      </a:lnTo>
                      <a:lnTo>
                        <a:pt x="78" y="207"/>
                      </a:lnTo>
                      <a:lnTo>
                        <a:pt x="77" y="209"/>
                      </a:lnTo>
                      <a:lnTo>
                        <a:pt x="78" y="210"/>
                      </a:lnTo>
                      <a:lnTo>
                        <a:pt x="77" y="211"/>
                      </a:lnTo>
                      <a:lnTo>
                        <a:pt x="74" y="212"/>
                      </a:lnTo>
                      <a:lnTo>
                        <a:pt x="73" y="214"/>
                      </a:lnTo>
                      <a:lnTo>
                        <a:pt x="73" y="216"/>
                      </a:lnTo>
                      <a:lnTo>
                        <a:pt x="76" y="216"/>
                      </a:lnTo>
                      <a:lnTo>
                        <a:pt x="74" y="218"/>
                      </a:lnTo>
                      <a:lnTo>
                        <a:pt x="73" y="221"/>
                      </a:lnTo>
                      <a:lnTo>
                        <a:pt x="70" y="221"/>
                      </a:lnTo>
                      <a:lnTo>
                        <a:pt x="70" y="219"/>
                      </a:lnTo>
                      <a:lnTo>
                        <a:pt x="68" y="217"/>
                      </a:lnTo>
                      <a:lnTo>
                        <a:pt x="67" y="219"/>
                      </a:lnTo>
                      <a:lnTo>
                        <a:pt x="66" y="219"/>
                      </a:lnTo>
                      <a:lnTo>
                        <a:pt x="67" y="221"/>
                      </a:lnTo>
                      <a:lnTo>
                        <a:pt x="65" y="223"/>
                      </a:lnTo>
                      <a:lnTo>
                        <a:pt x="65" y="224"/>
                      </a:lnTo>
                      <a:lnTo>
                        <a:pt x="66" y="226"/>
                      </a:lnTo>
                      <a:lnTo>
                        <a:pt x="63" y="226"/>
                      </a:lnTo>
                      <a:lnTo>
                        <a:pt x="61" y="227"/>
                      </a:lnTo>
                      <a:lnTo>
                        <a:pt x="61" y="230"/>
                      </a:lnTo>
                      <a:lnTo>
                        <a:pt x="59" y="232"/>
                      </a:lnTo>
                      <a:lnTo>
                        <a:pt x="59" y="234"/>
                      </a:lnTo>
                      <a:lnTo>
                        <a:pt x="59" y="237"/>
                      </a:lnTo>
                      <a:lnTo>
                        <a:pt x="56" y="239"/>
                      </a:lnTo>
                      <a:lnTo>
                        <a:pt x="54" y="241"/>
                      </a:lnTo>
                      <a:lnTo>
                        <a:pt x="55" y="243"/>
                      </a:lnTo>
                      <a:lnTo>
                        <a:pt x="58" y="241"/>
                      </a:lnTo>
                      <a:lnTo>
                        <a:pt x="60" y="241"/>
                      </a:lnTo>
                      <a:lnTo>
                        <a:pt x="59" y="243"/>
                      </a:lnTo>
                      <a:lnTo>
                        <a:pt x="57" y="244"/>
                      </a:lnTo>
                      <a:lnTo>
                        <a:pt x="57" y="247"/>
                      </a:lnTo>
                      <a:lnTo>
                        <a:pt x="59" y="249"/>
                      </a:lnTo>
                      <a:lnTo>
                        <a:pt x="62" y="248"/>
                      </a:lnTo>
                      <a:lnTo>
                        <a:pt x="65" y="247"/>
                      </a:lnTo>
                      <a:lnTo>
                        <a:pt x="69" y="242"/>
                      </a:lnTo>
                      <a:lnTo>
                        <a:pt x="69" y="240"/>
                      </a:lnTo>
                      <a:lnTo>
                        <a:pt x="67" y="241"/>
                      </a:lnTo>
                      <a:lnTo>
                        <a:pt x="69" y="237"/>
                      </a:lnTo>
                      <a:lnTo>
                        <a:pt x="70" y="234"/>
                      </a:lnTo>
                      <a:lnTo>
                        <a:pt x="70" y="234"/>
                      </a:lnTo>
                      <a:lnTo>
                        <a:pt x="72" y="232"/>
                      </a:lnTo>
                      <a:lnTo>
                        <a:pt x="74" y="233"/>
                      </a:lnTo>
                      <a:lnTo>
                        <a:pt x="76" y="232"/>
                      </a:lnTo>
                      <a:lnTo>
                        <a:pt x="72" y="235"/>
                      </a:lnTo>
                      <a:lnTo>
                        <a:pt x="71" y="237"/>
                      </a:lnTo>
                      <a:lnTo>
                        <a:pt x="75" y="239"/>
                      </a:lnTo>
                      <a:lnTo>
                        <a:pt x="74" y="241"/>
                      </a:lnTo>
                      <a:lnTo>
                        <a:pt x="72" y="241"/>
                      </a:lnTo>
                      <a:lnTo>
                        <a:pt x="68" y="246"/>
                      </a:lnTo>
                      <a:lnTo>
                        <a:pt x="70" y="248"/>
                      </a:lnTo>
                      <a:lnTo>
                        <a:pt x="69" y="250"/>
                      </a:lnTo>
                      <a:lnTo>
                        <a:pt x="70" y="253"/>
                      </a:lnTo>
                      <a:lnTo>
                        <a:pt x="67" y="253"/>
                      </a:lnTo>
                      <a:lnTo>
                        <a:pt x="65" y="251"/>
                      </a:lnTo>
                      <a:lnTo>
                        <a:pt x="62" y="251"/>
                      </a:lnTo>
                      <a:lnTo>
                        <a:pt x="60" y="252"/>
                      </a:lnTo>
                      <a:lnTo>
                        <a:pt x="60" y="255"/>
                      </a:lnTo>
                      <a:lnTo>
                        <a:pt x="58" y="257"/>
                      </a:lnTo>
                      <a:lnTo>
                        <a:pt x="56" y="258"/>
                      </a:lnTo>
                      <a:lnTo>
                        <a:pt x="57" y="256"/>
                      </a:lnTo>
                      <a:lnTo>
                        <a:pt x="59" y="254"/>
                      </a:lnTo>
                      <a:lnTo>
                        <a:pt x="56" y="252"/>
                      </a:lnTo>
                      <a:lnTo>
                        <a:pt x="56" y="249"/>
                      </a:lnTo>
                      <a:lnTo>
                        <a:pt x="55" y="246"/>
                      </a:lnTo>
                      <a:lnTo>
                        <a:pt x="53" y="246"/>
                      </a:lnTo>
                      <a:lnTo>
                        <a:pt x="52" y="248"/>
                      </a:lnTo>
                      <a:lnTo>
                        <a:pt x="49" y="248"/>
                      </a:lnTo>
                      <a:lnTo>
                        <a:pt x="49" y="250"/>
                      </a:lnTo>
                      <a:lnTo>
                        <a:pt x="53" y="250"/>
                      </a:lnTo>
                      <a:lnTo>
                        <a:pt x="49" y="254"/>
                      </a:lnTo>
                      <a:lnTo>
                        <a:pt x="46" y="252"/>
                      </a:lnTo>
                      <a:lnTo>
                        <a:pt x="45" y="253"/>
                      </a:lnTo>
                      <a:lnTo>
                        <a:pt x="42" y="256"/>
                      </a:lnTo>
                      <a:lnTo>
                        <a:pt x="43" y="256"/>
                      </a:lnTo>
                      <a:lnTo>
                        <a:pt x="45" y="255"/>
                      </a:lnTo>
                      <a:lnTo>
                        <a:pt x="46" y="256"/>
                      </a:lnTo>
                      <a:lnTo>
                        <a:pt x="42" y="258"/>
                      </a:lnTo>
                      <a:lnTo>
                        <a:pt x="42" y="261"/>
                      </a:lnTo>
                      <a:lnTo>
                        <a:pt x="40" y="259"/>
                      </a:lnTo>
                      <a:lnTo>
                        <a:pt x="39" y="259"/>
                      </a:lnTo>
                      <a:lnTo>
                        <a:pt x="38" y="261"/>
                      </a:lnTo>
                      <a:lnTo>
                        <a:pt x="41" y="262"/>
                      </a:lnTo>
                      <a:lnTo>
                        <a:pt x="45" y="262"/>
                      </a:lnTo>
                      <a:lnTo>
                        <a:pt x="44" y="265"/>
                      </a:lnTo>
                      <a:lnTo>
                        <a:pt x="46" y="265"/>
                      </a:lnTo>
                      <a:lnTo>
                        <a:pt x="46" y="268"/>
                      </a:lnTo>
                      <a:lnTo>
                        <a:pt x="42" y="267"/>
                      </a:lnTo>
                      <a:lnTo>
                        <a:pt x="42" y="265"/>
                      </a:lnTo>
                      <a:lnTo>
                        <a:pt x="39" y="265"/>
                      </a:lnTo>
                      <a:lnTo>
                        <a:pt x="37" y="261"/>
                      </a:lnTo>
                      <a:lnTo>
                        <a:pt x="36" y="260"/>
                      </a:lnTo>
                      <a:lnTo>
                        <a:pt x="36" y="260"/>
                      </a:lnTo>
                      <a:lnTo>
                        <a:pt x="35" y="262"/>
                      </a:lnTo>
                      <a:lnTo>
                        <a:pt x="37" y="266"/>
                      </a:lnTo>
                      <a:lnTo>
                        <a:pt x="40" y="268"/>
                      </a:lnTo>
                      <a:lnTo>
                        <a:pt x="42" y="269"/>
                      </a:lnTo>
                      <a:lnTo>
                        <a:pt x="43" y="271"/>
                      </a:lnTo>
                      <a:lnTo>
                        <a:pt x="41" y="271"/>
                      </a:lnTo>
                      <a:lnTo>
                        <a:pt x="37" y="269"/>
                      </a:lnTo>
                      <a:lnTo>
                        <a:pt x="33" y="264"/>
                      </a:lnTo>
                      <a:lnTo>
                        <a:pt x="32" y="265"/>
                      </a:lnTo>
                      <a:lnTo>
                        <a:pt x="29" y="263"/>
                      </a:lnTo>
                      <a:lnTo>
                        <a:pt x="27" y="263"/>
                      </a:lnTo>
                      <a:lnTo>
                        <a:pt x="25" y="262"/>
                      </a:lnTo>
                      <a:lnTo>
                        <a:pt x="25" y="263"/>
                      </a:lnTo>
                      <a:lnTo>
                        <a:pt x="25" y="266"/>
                      </a:lnTo>
                      <a:lnTo>
                        <a:pt x="23" y="268"/>
                      </a:lnTo>
                      <a:lnTo>
                        <a:pt x="25" y="270"/>
                      </a:lnTo>
                      <a:lnTo>
                        <a:pt x="30" y="268"/>
                      </a:lnTo>
                      <a:lnTo>
                        <a:pt x="31" y="270"/>
                      </a:lnTo>
                      <a:lnTo>
                        <a:pt x="29" y="272"/>
                      </a:lnTo>
                      <a:lnTo>
                        <a:pt x="30" y="272"/>
                      </a:lnTo>
                      <a:lnTo>
                        <a:pt x="33" y="270"/>
                      </a:lnTo>
                      <a:lnTo>
                        <a:pt x="35" y="270"/>
                      </a:lnTo>
                      <a:lnTo>
                        <a:pt x="34" y="272"/>
                      </a:lnTo>
                      <a:lnTo>
                        <a:pt x="30" y="274"/>
                      </a:lnTo>
                      <a:lnTo>
                        <a:pt x="29" y="277"/>
                      </a:lnTo>
                      <a:lnTo>
                        <a:pt x="25" y="276"/>
                      </a:lnTo>
                      <a:lnTo>
                        <a:pt x="23" y="272"/>
                      </a:lnTo>
                      <a:lnTo>
                        <a:pt x="22" y="272"/>
                      </a:lnTo>
                      <a:lnTo>
                        <a:pt x="21" y="274"/>
                      </a:lnTo>
                      <a:lnTo>
                        <a:pt x="18" y="272"/>
                      </a:lnTo>
                      <a:lnTo>
                        <a:pt x="17" y="273"/>
                      </a:lnTo>
                      <a:lnTo>
                        <a:pt x="16" y="272"/>
                      </a:lnTo>
                      <a:lnTo>
                        <a:pt x="14" y="273"/>
                      </a:lnTo>
                      <a:lnTo>
                        <a:pt x="15" y="275"/>
                      </a:lnTo>
                      <a:lnTo>
                        <a:pt x="18" y="275"/>
                      </a:lnTo>
                      <a:lnTo>
                        <a:pt x="22" y="278"/>
                      </a:lnTo>
                      <a:lnTo>
                        <a:pt x="25" y="280"/>
                      </a:lnTo>
                      <a:lnTo>
                        <a:pt x="24" y="282"/>
                      </a:lnTo>
                      <a:lnTo>
                        <a:pt x="25" y="285"/>
                      </a:lnTo>
                      <a:lnTo>
                        <a:pt x="23" y="286"/>
                      </a:lnTo>
                      <a:lnTo>
                        <a:pt x="22" y="285"/>
                      </a:lnTo>
                      <a:lnTo>
                        <a:pt x="22" y="280"/>
                      </a:lnTo>
                      <a:lnTo>
                        <a:pt x="20" y="279"/>
                      </a:lnTo>
                      <a:lnTo>
                        <a:pt x="17" y="280"/>
                      </a:lnTo>
                      <a:lnTo>
                        <a:pt x="18" y="282"/>
                      </a:lnTo>
                      <a:lnTo>
                        <a:pt x="18" y="284"/>
                      </a:lnTo>
                      <a:lnTo>
                        <a:pt x="15" y="282"/>
                      </a:lnTo>
                      <a:lnTo>
                        <a:pt x="12" y="285"/>
                      </a:lnTo>
                      <a:lnTo>
                        <a:pt x="15" y="287"/>
                      </a:lnTo>
                      <a:lnTo>
                        <a:pt x="12" y="287"/>
                      </a:lnTo>
                      <a:lnTo>
                        <a:pt x="11" y="288"/>
                      </a:lnTo>
                      <a:lnTo>
                        <a:pt x="10" y="285"/>
                      </a:lnTo>
                      <a:lnTo>
                        <a:pt x="6" y="285"/>
                      </a:lnTo>
                      <a:lnTo>
                        <a:pt x="8" y="288"/>
                      </a:lnTo>
                      <a:lnTo>
                        <a:pt x="6" y="289"/>
                      </a:lnTo>
                      <a:lnTo>
                        <a:pt x="5" y="286"/>
                      </a:lnTo>
                      <a:lnTo>
                        <a:pt x="3" y="283"/>
                      </a:lnTo>
                      <a:lnTo>
                        <a:pt x="1" y="284"/>
                      </a:lnTo>
                      <a:lnTo>
                        <a:pt x="1" y="285"/>
                      </a:lnTo>
                      <a:lnTo>
                        <a:pt x="4" y="289"/>
                      </a:lnTo>
                      <a:lnTo>
                        <a:pt x="3" y="291"/>
                      </a:lnTo>
                      <a:lnTo>
                        <a:pt x="4" y="292"/>
                      </a:lnTo>
                      <a:lnTo>
                        <a:pt x="8" y="291"/>
                      </a:lnTo>
                      <a:lnTo>
                        <a:pt x="11" y="292"/>
                      </a:lnTo>
                      <a:lnTo>
                        <a:pt x="15" y="294"/>
                      </a:lnTo>
                      <a:lnTo>
                        <a:pt x="18" y="294"/>
                      </a:lnTo>
                      <a:lnTo>
                        <a:pt x="19" y="293"/>
                      </a:lnTo>
                      <a:lnTo>
                        <a:pt x="22" y="293"/>
                      </a:lnTo>
                      <a:lnTo>
                        <a:pt x="19" y="296"/>
                      </a:lnTo>
                      <a:lnTo>
                        <a:pt x="15" y="296"/>
                      </a:lnTo>
                      <a:lnTo>
                        <a:pt x="14" y="296"/>
                      </a:lnTo>
                      <a:lnTo>
                        <a:pt x="10" y="294"/>
                      </a:lnTo>
                      <a:lnTo>
                        <a:pt x="7" y="295"/>
                      </a:lnTo>
                      <a:lnTo>
                        <a:pt x="5" y="294"/>
                      </a:lnTo>
                      <a:lnTo>
                        <a:pt x="4" y="296"/>
                      </a:lnTo>
                      <a:lnTo>
                        <a:pt x="1" y="296"/>
                      </a:lnTo>
                      <a:lnTo>
                        <a:pt x="0" y="298"/>
                      </a:lnTo>
                      <a:lnTo>
                        <a:pt x="4" y="300"/>
                      </a:lnTo>
                      <a:lnTo>
                        <a:pt x="3" y="303"/>
                      </a:lnTo>
                      <a:lnTo>
                        <a:pt x="5" y="303"/>
                      </a:lnTo>
                      <a:lnTo>
                        <a:pt x="7" y="302"/>
                      </a:lnTo>
                      <a:lnTo>
                        <a:pt x="11" y="302"/>
                      </a:lnTo>
                      <a:lnTo>
                        <a:pt x="8" y="304"/>
                      </a:lnTo>
                      <a:lnTo>
                        <a:pt x="4" y="304"/>
                      </a:lnTo>
                      <a:lnTo>
                        <a:pt x="3" y="305"/>
                      </a:lnTo>
                      <a:lnTo>
                        <a:pt x="1" y="305"/>
                      </a:lnTo>
                      <a:lnTo>
                        <a:pt x="1" y="306"/>
                      </a:lnTo>
                      <a:lnTo>
                        <a:pt x="4" y="306"/>
                      </a:lnTo>
                      <a:lnTo>
                        <a:pt x="5" y="306"/>
                      </a:lnTo>
                      <a:lnTo>
                        <a:pt x="3" y="309"/>
                      </a:lnTo>
                      <a:lnTo>
                        <a:pt x="1" y="309"/>
                      </a:lnTo>
                      <a:lnTo>
                        <a:pt x="2" y="310"/>
                      </a:lnTo>
                      <a:lnTo>
                        <a:pt x="3" y="311"/>
                      </a:lnTo>
                      <a:lnTo>
                        <a:pt x="4" y="313"/>
                      </a:lnTo>
                      <a:lnTo>
                        <a:pt x="8" y="313"/>
                      </a:lnTo>
                      <a:lnTo>
                        <a:pt x="9" y="312"/>
                      </a:lnTo>
                      <a:lnTo>
                        <a:pt x="13" y="311"/>
                      </a:lnTo>
                      <a:lnTo>
                        <a:pt x="16" y="312"/>
                      </a:lnTo>
                      <a:lnTo>
                        <a:pt x="17" y="313"/>
                      </a:lnTo>
                      <a:lnTo>
                        <a:pt x="19" y="311"/>
                      </a:lnTo>
                      <a:lnTo>
                        <a:pt x="19" y="309"/>
                      </a:lnTo>
                      <a:lnTo>
                        <a:pt x="21" y="309"/>
                      </a:lnTo>
                      <a:lnTo>
                        <a:pt x="22" y="310"/>
                      </a:lnTo>
                      <a:lnTo>
                        <a:pt x="24" y="310"/>
                      </a:lnTo>
                      <a:lnTo>
                        <a:pt x="27" y="307"/>
                      </a:lnTo>
                      <a:lnTo>
                        <a:pt x="29" y="308"/>
                      </a:lnTo>
                      <a:lnTo>
                        <a:pt x="28" y="310"/>
                      </a:lnTo>
                      <a:lnTo>
                        <a:pt x="26" y="311"/>
                      </a:lnTo>
                      <a:lnTo>
                        <a:pt x="29" y="312"/>
                      </a:lnTo>
                      <a:lnTo>
                        <a:pt x="30" y="310"/>
                      </a:lnTo>
                      <a:lnTo>
                        <a:pt x="29" y="308"/>
                      </a:lnTo>
                      <a:lnTo>
                        <a:pt x="32" y="305"/>
                      </a:lnTo>
                      <a:lnTo>
                        <a:pt x="31" y="307"/>
                      </a:lnTo>
                      <a:lnTo>
                        <a:pt x="33" y="310"/>
                      </a:lnTo>
                      <a:lnTo>
                        <a:pt x="32" y="313"/>
                      </a:lnTo>
                      <a:lnTo>
                        <a:pt x="28" y="314"/>
                      </a:lnTo>
                      <a:lnTo>
                        <a:pt x="26" y="316"/>
                      </a:lnTo>
                      <a:lnTo>
                        <a:pt x="27" y="317"/>
                      </a:lnTo>
                      <a:lnTo>
                        <a:pt x="25" y="320"/>
                      </a:lnTo>
                      <a:lnTo>
                        <a:pt x="22" y="320"/>
                      </a:lnTo>
                      <a:lnTo>
                        <a:pt x="22" y="318"/>
                      </a:lnTo>
                      <a:lnTo>
                        <a:pt x="24" y="317"/>
                      </a:lnTo>
                      <a:lnTo>
                        <a:pt x="24" y="313"/>
                      </a:lnTo>
                      <a:lnTo>
                        <a:pt x="21" y="313"/>
                      </a:lnTo>
                      <a:lnTo>
                        <a:pt x="18" y="317"/>
                      </a:lnTo>
                      <a:lnTo>
                        <a:pt x="18" y="318"/>
                      </a:lnTo>
                      <a:lnTo>
                        <a:pt x="16" y="315"/>
                      </a:lnTo>
                      <a:lnTo>
                        <a:pt x="14" y="314"/>
                      </a:lnTo>
                      <a:lnTo>
                        <a:pt x="11" y="315"/>
                      </a:lnTo>
                      <a:lnTo>
                        <a:pt x="8" y="314"/>
                      </a:lnTo>
                      <a:lnTo>
                        <a:pt x="5" y="317"/>
                      </a:lnTo>
                      <a:lnTo>
                        <a:pt x="4" y="317"/>
                      </a:lnTo>
                      <a:lnTo>
                        <a:pt x="1" y="315"/>
                      </a:lnTo>
                      <a:lnTo>
                        <a:pt x="1" y="315"/>
                      </a:lnTo>
                      <a:lnTo>
                        <a:pt x="2" y="318"/>
                      </a:lnTo>
                      <a:lnTo>
                        <a:pt x="1" y="320"/>
                      </a:lnTo>
                      <a:lnTo>
                        <a:pt x="2" y="321"/>
                      </a:lnTo>
                      <a:lnTo>
                        <a:pt x="4" y="320"/>
                      </a:lnTo>
                      <a:lnTo>
                        <a:pt x="5" y="319"/>
                      </a:lnTo>
                      <a:lnTo>
                        <a:pt x="7" y="319"/>
                      </a:lnTo>
                      <a:lnTo>
                        <a:pt x="5" y="321"/>
                      </a:lnTo>
                      <a:lnTo>
                        <a:pt x="5" y="324"/>
                      </a:lnTo>
                      <a:lnTo>
                        <a:pt x="4" y="326"/>
                      </a:lnTo>
                      <a:lnTo>
                        <a:pt x="2" y="324"/>
                      </a:lnTo>
                      <a:lnTo>
                        <a:pt x="4" y="328"/>
                      </a:lnTo>
                      <a:lnTo>
                        <a:pt x="5" y="330"/>
                      </a:lnTo>
                      <a:lnTo>
                        <a:pt x="9" y="324"/>
                      </a:lnTo>
                      <a:lnTo>
                        <a:pt x="11" y="326"/>
                      </a:lnTo>
                      <a:lnTo>
                        <a:pt x="11" y="327"/>
                      </a:lnTo>
                      <a:lnTo>
                        <a:pt x="11" y="330"/>
                      </a:lnTo>
                      <a:lnTo>
                        <a:pt x="8" y="332"/>
                      </a:lnTo>
                      <a:lnTo>
                        <a:pt x="8" y="333"/>
                      </a:lnTo>
                      <a:lnTo>
                        <a:pt x="10" y="334"/>
                      </a:lnTo>
                      <a:lnTo>
                        <a:pt x="9" y="335"/>
                      </a:lnTo>
                      <a:lnTo>
                        <a:pt x="11" y="338"/>
                      </a:lnTo>
                      <a:lnTo>
                        <a:pt x="10" y="341"/>
                      </a:lnTo>
                      <a:lnTo>
                        <a:pt x="11" y="341"/>
                      </a:lnTo>
                      <a:lnTo>
                        <a:pt x="12" y="337"/>
                      </a:lnTo>
                      <a:lnTo>
                        <a:pt x="15" y="336"/>
                      </a:lnTo>
                      <a:lnTo>
                        <a:pt x="15" y="333"/>
                      </a:lnTo>
                      <a:lnTo>
                        <a:pt x="20" y="330"/>
                      </a:lnTo>
                      <a:lnTo>
                        <a:pt x="22" y="330"/>
                      </a:lnTo>
                      <a:lnTo>
                        <a:pt x="25" y="330"/>
                      </a:lnTo>
                      <a:lnTo>
                        <a:pt x="23" y="331"/>
                      </a:lnTo>
                      <a:lnTo>
                        <a:pt x="21" y="334"/>
                      </a:lnTo>
                      <a:lnTo>
                        <a:pt x="21" y="337"/>
                      </a:lnTo>
                      <a:lnTo>
                        <a:pt x="22" y="340"/>
                      </a:lnTo>
                      <a:lnTo>
                        <a:pt x="19" y="337"/>
                      </a:lnTo>
                      <a:lnTo>
                        <a:pt x="19" y="334"/>
                      </a:lnTo>
                      <a:lnTo>
                        <a:pt x="18" y="334"/>
                      </a:lnTo>
                      <a:lnTo>
                        <a:pt x="15" y="338"/>
                      </a:lnTo>
                      <a:lnTo>
                        <a:pt x="14" y="339"/>
                      </a:lnTo>
                      <a:lnTo>
                        <a:pt x="17" y="340"/>
                      </a:lnTo>
                      <a:lnTo>
                        <a:pt x="15" y="344"/>
                      </a:lnTo>
                      <a:lnTo>
                        <a:pt x="13" y="344"/>
                      </a:lnTo>
                      <a:lnTo>
                        <a:pt x="11" y="346"/>
                      </a:lnTo>
                      <a:lnTo>
                        <a:pt x="13" y="347"/>
                      </a:lnTo>
                      <a:lnTo>
                        <a:pt x="17" y="347"/>
                      </a:lnTo>
                      <a:lnTo>
                        <a:pt x="18" y="348"/>
                      </a:lnTo>
                      <a:lnTo>
                        <a:pt x="15" y="349"/>
                      </a:lnTo>
                      <a:lnTo>
                        <a:pt x="15" y="351"/>
                      </a:lnTo>
                      <a:lnTo>
                        <a:pt x="14" y="353"/>
                      </a:lnTo>
                      <a:lnTo>
                        <a:pt x="11" y="351"/>
                      </a:lnTo>
                      <a:lnTo>
                        <a:pt x="10" y="351"/>
                      </a:lnTo>
                      <a:lnTo>
                        <a:pt x="9" y="354"/>
                      </a:lnTo>
                      <a:lnTo>
                        <a:pt x="8" y="351"/>
                      </a:lnTo>
                      <a:lnTo>
                        <a:pt x="7" y="352"/>
                      </a:lnTo>
                      <a:lnTo>
                        <a:pt x="4" y="356"/>
                      </a:lnTo>
                      <a:lnTo>
                        <a:pt x="5" y="359"/>
                      </a:lnTo>
                      <a:lnTo>
                        <a:pt x="9" y="364"/>
                      </a:lnTo>
                      <a:lnTo>
                        <a:pt x="10" y="361"/>
                      </a:lnTo>
                      <a:lnTo>
                        <a:pt x="11" y="362"/>
                      </a:lnTo>
                      <a:lnTo>
                        <a:pt x="13" y="361"/>
                      </a:lnTo>
                      <a:lnTo>
                        <a:pt x="12" y="360"/>
                      </a:lnTo>
                      <a:lnTo>
                        <a:pt x="13" y="357"/>
                      </a:lnTo>
                      <a:lnTo>
                        <a:pt x="16" y="359"/>
                      </a:lnTo>
                      <a:lnTo>
                        <a:pt x="15" y="360"/>
                      </a:lnTo>
                      <a:lnTo>
                        <a:pt x="17" y="362"/>
                      </a:lnTo>
                      <a:lnTo>
                        <a:pt x="16" y="365"/>
                      </a:lnTo>
                      <a:lnTo>
                        <a:pt x="14" y="367"/>
                      </a:lnTo>
                      <a:lnTo>
                        <a:pt x="16" y="372"/>
                      </a:lnTo>
                      <a:lnTo>
                        <a:pt x="17" y="370"/>
                      </a:lnTo>
                      <a:lnTo>
                        <a:pt x="21" y="368"/>
                      </a:lnTo>
                      <a:lnTo>
                        <a:pt x="22" y="371"/>
                      </a:lnTo>
                      <a:lnTo>
                        <a:pt x="19" y="372"/>
                      </a:lnTo>
                      <a:lnTo>
                        <a:pt x="18" y="372"/>
                      </a:lnTo>
                      <a:lnTo>
                        <a:pt x="19" y="375"/>
                      </a:lnTo>
                      <a:lnTo>
                        <a:pt x="18" y="376"/>
                      </a:lnTo>
                      <a:lnTo>
                        <a:pt x="14" y="372"/>
                      </a:lnTo>
                      <a:lnTo>
                        <a:pt x="12" y="373"/>
                      </a:lnTo>
                      <a:lnTo>
                        <a:pt x="11" y="372"/>
                      </a:lnTo>
                      <a:lnTo>
                        <a:pt x="8" y="372"/>
                      </a:lnTo>
                      <a:lnTo>
                        <a:pt x="8" y="374"/>
                      </a:lnTo>
                      <a:lnTo>
                        <a:pt x="7" y="376"/>
                      </a:lnTo>
                      <a:lnTo>
                        <a:pt x="10" y="383"/>
                      </a:lnTo>
                      <a:lnTo>
                        <a:pt x="13" y="384"/>
                      </a:lnTo>
                      <a:lnTo>
                        <a:pt x="17" y="388"/>
                      </a:lnTo>
                      <a:lnTo>
                        <a:pt x="22" y="390"/>
                      </a:lnTo>
                      <a:lnTo>
                        <a:pt x="23" y="392"/>
                      </a:lnTo>
                      <a:lnTo>
                        <a:pt x="22" y="393"/>
                      </a:lnTo>
                      <a:lnTo>
                        <a:pt x="24" y="396"/>
                      </a:lnTo>
                      <a:lnTo>
                        <a:pt x="25" y="394"/>
                      </a:lnTo>
                      <a:lnTo>
                        <a:pt x="25" y="391"/>
                      </a:lnTo>
                      <a:lnTo>
                        <a:pt x="26" y="391"/>
                      </a:lnTo>
                      <a:lnTo>
                        <a:pt x="29" y="392"/>
                      </a:lnTo>
                      <a:lnTo>
                        <a:pt x="28" y="393"/>
                      </a:lnTo>
                      <a:lnTo>
                        <a:pt x="31" y="398"/>
                      </a:lnTo>
                      <a:lnTo>
                        <a:pt x="32" y="396"/>
                      </a:lnTo>
                      <a:lnTo>
                        <a:pt x="33" y="396"/>
                      </a:lnTo>
                      <a:lnTo>
                        <a:pt x="36" y="396"/>
                      </a:lnTo>
                      <a:lnTo>
                        <a:pt x="39" y="392"/>
                      </a:lnTo>
                      <a:lnTo>
                        <a:pt x="39" y="392"/>
                      </a:lnTo>
                      <a:lnTo>
                        <a:pt x="41" y="390"/>
                      </a:lnTo>
                      <a:lnTo>
                        <a:pt x="42" y="390"/>
                      </a:lnTo>
                      <a:lnTo>
                        <a:pt x="42" y="392"/>
                      </a:lnTo>
                      <a:lnTo>
                        <a:pt x="44" y="392"/>
                      </a:lnTo>
                      <a:lnTo>
                        <a:pt x="49" y="387"/>
                      </a:lnTo>
                      <a:lnTo>
                        <a:pt x="49" y="385"/>
                      </a:lnTo>
                      <a:lnTo>
                        <a:pt x="46" y="382"/>
                      </a:lnTo>
                      <a:lnTo>
                        <a:pt x="50" y="385"/>
                      </a:lnTo>
                      <a:lnTo>
                        <a:pt x="53" y="381"/>
                      </a:lnTo>
                      <a:lnTo>
                        <a:pt x="53" y="379"/>
                      </a:lnTo>
                      <a:lnTo>
                        <a:pt x="54" y="379"/>
                      </a:lnTo>
                      <a:lnTo>
                        <a:pt x="54" y="376"/>
                      </a:lnTo>
                      <a:lnTo>
                        <a:pt x="56" y="374"/>
                      </a:lnTo>
                      <a:lnTo>
                        <a:pt x="58" y="374"/>
                      </a:lnTo>
                      <a:lnTo>
                        <a:pt x="59" y="372"/>
                      </a:lnTo>
                      <a:lnTo>
                        <a:pt x="56" y="368"/>
                      </a:lnTo>
                      <a:lnTo>
                        <a:pt x="57" y="366"/>
                      </a:lnTo>
                      <a:lnTo>
                        <a:pt x="56" y="363"/>
                      </a:lnTo>
                      <a:lnTo>
                        <a:pt x="53" y="361"/>
                      </a:lnTo>
                      <a:lnTo>
                        <a:pt x="53" y="358"/>
                      </a:lnTo>
                      <a:lnTo>
                        <a:pt x="55" y="359"/>
                      </a:lnTo>
                      <a:lnTo>
                        <a:pt x="57" y="362"/>
                      </a:lnTo>
                      <a:lnTo>
                        <a:pt x="58" y="367"/>
                      </a:lnTo>
                      <a:lnTo>
                        <a:pt x="60" y="368"/>
                      </a:lnTo>
                      <a:lnTo>
                        <a:pt x="61" y="368"/>
                      </a:lnTo>
                      <a:lnTo>
                        <a:pt x="60" y="371"/>
                      </a:lnTo>
                      <a:lnTo>
                        <a:pt x="62" y="372"/>
                      </a:lnTo>
                      <a:lnTo>
                        <a:pt x="65" y="371"/>
                      </a:lnTo>
                      <a:lnTo>
                        <a:pt x="64" y="369"/>
                      </a:lnTo>
                      <a:lnTo>
                        <a:pt x="63" y="368"/>
                      </a:lnTo>
                      <a:lnTo>
                        <a:pt x="63" y="366"/>
                      </a:lnTo>
                      <a:lnTo>
                        <a:pt x="66" y="368"/>
                      </a:lnTo>
                      <a:lnTo>
                        <a:pt x="66" y="370"/>
                      </a:lnTo>
                      <a:lnTo>
                        <a:pt x="70" y="365"/>
                      </a:lnTo>
                      <a:lnTo>
                        <a:pt x="70" y="362"/>
                      </a:lnTo>
                      <a:lnTo>
                        <a:pt x="70" y="359"/>
                      </a:lnTo>
                      <a:lnTo>
                        <a:pt x="68" y="358"/>
                      </a:lnTo>
                      <a:lnTo>
                        <a:pt x="67" y="356"/>
                      </a:lnTo>
                      <a:lnTo>
                        <a:pt x="68" y="355"/>
                      </a:lnTo>
                      <a:lnTo>
                        <a:pt x="68" y="354"/>
                      </a:lnTo>
                      <a:lnTo>
                        <a:pt x="70" y="353"/>
                      </a:lnTo>
                      <a:lnTo>
                        <a:pt x="70" y="352"/>
                      </a:lnTo>
                      <a:lnTo>
                        <a:pt x="70" y="350"/>
                      </a:lnTo>
                      <a:lnTo>
                        <a:pt x="70" y="347"/>
                      </a:lnTo>
                      <a:lnTo>
                        <a:pt x="71" y="344"/>
                      </a:lnTo>
                      <a:lnTo>
                        <a:pt x="74" y="347"/>
                      </a:lnTo>
                      <a:lnTo>
                        <a:pt x="72" y="350"/>
                      </a:lnTo>
                      <a:lnTo>
                        <a:pt x="73" y="355"/>
                      </a:lnTo>
                      <a:lnTo>
                        <a:pt x="72" y="357"/>
                      </a:lnTo>
                      <a:lnTo>
                        <a:pt x="74" y="360"/>
                      </a:lnTo>
                      <a:lnTo>
                        <a:pt x="74" y="362"/>
                      </a:lnTo>
                      <a:lnTo>
                        <a:pt x="77" y="366"/>
                      </a:lnTo>
                      <a:lnTo>
                        <a:pt x="81" y="365"/>
                      </a:lnTo>
                      <a:lnTo>
                        <a:pt x="81" y="367"/>
                      </a:lnTo>
                      <a:lnTo>
                        <a:pt x="81" y="368"/>
                      </a:lnTo>
                      <a:lnTo>
                        <a:pt x="83" y="370"/>
                      </a:lnTo>
                      <a:lnTo>
                        <a:pt x="84" y="37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21" name="Freeform 623">
                  <a:extLst>
                    <a:ext uri="{FF2B5EF4-FFF2-40B4-BE49-F238E27FC236}">
                      <a16:creationId xmlns:a16="http://schemas.microsoft.com/office/drawing/2014/main" id="{17ABCEDB-49CC-4920-B092-C5D3815289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71" y="1290"/>
                  <a:ext cx="11" cy="10"/>
                </a:xfrm>
                <a:custGeom>
                  <a:avLst/>
                  <a:gdLst>
                    <a:gd name="T0" fmla="*/ 0 w 11"/>
                    <a:gd name="T1" fmla="*/ 6 h 10"/>
                    <a:gd name="T2" fmla="*/ 4 w 11"/>
                    <a:gd name="T3" fmla="*/ 7 h 10"/>
                    <a:gd name="T4" fmla="*/ 7 w 11"/>
                    <a:gd name="T5" fmla="*/ 10 h 10"/>
                    <a:gd name="T6" fmla="*/ 10 w 11"/>
                    <a:gd name="T7" fmla="*/ 9 h 10"/>
                    <a:gd name="T8" fmla="*/ 11 w 11"/>
                    <a:gd name="T9" fmla="*/ 6 h 10"/>
                    <a:gd name="T10" fmla="*/ 7 w 11"/>
                    <a:gd name="T11" fmla="*/ 6 h 10"/>
                    <a:gd name="T12" fmla="*/ 10 w 11"/>
                    <a:gd name="T13" fmla="*/ 3 h 10"/>
                    <a:gd name="T14" fmla="*/ 7 w 11"/>
                    <a:gd name="T15" fmla="*/ 2 h 10"/>
                    <a:gd name="T16" fmla="*/ 6 w 11"/>
                    <a:gd name="T17" fmla="*/ 0 h 10"/>
                    <a:gd name="T18" fmla="*/ 5 w 11"/>
                    <a:gd name="T19" fmla="*/ 3 h 10"/>
                    <a:gd name="T20" fmla="*/ 4 w 11"/>
                    <a:gd name="T21" fmla="*/ 5 h 10"/>
                    <a:gd name="T22" fmla="*/ 2 w 11"/>
                    <a:gd name="T23" fmla="*/ 3 h 10"/>
                    <a:gd name="T24" fmla="*/ 1 w 11"/>
                    <a:gd name="T25" fmla="*/ 5 h 10"/>
                    <a:gd name="T26" fmla="*/ 0 w 11"/>
                    <a:gd name="T27" fmla="*/ 6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" h="10">
                      <a:moveTo>
                        <a:pt x="0" y="6"/>
                      </a:moveTo>
                      <a:lnTo>
                        <a:pt x="4" y="7"/>
                      </a:lnTo>
                      <a:lnTo>
                        <a:pt x="7" y="10"/>
                      </a:lnTo>
                      <a:lnTo>
                        <a:pt x="10" y="9"/>
                      </a:lnTo>
                      <a:lnTo>
                        <a:pt x="11" y="6"/>
                      </a:lnTo>
                      <a:lnTo>
                        <a:pt x="7" y="6"/>
                      </a:lnTo>
                      <a:lnTo>
                        <a:pt x="10" y="3"/>
                      </a:lnTo>
                      <a:lnTo>
                        <a:pt x="7" y="2"/>
                      </a:lnTo>
                      <a:lnTo>
                        <a:pt x="6" y="0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2" y="3"/>
                      </a:lnTo>
                      <a:lnTo>
                        <a:pt x="1" y="5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22" name="Freeform 624">
                  <a:extLst>
                    <a:ext uri="{FF2B5EF4-FFF2-40B4-BE49-F238E27FC236}">
                      <a16:creationId xmlns:a16="http://schemas.microsoft.com/office/drawing/2014/main" id="{0CDF3DB7-AD49-45F3-87EA-09CF2F96BE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4" y="1306"/>
                  <a:ext cx="7" cy="8"/>
                </a:xfrm>
                <a:custGeom>
                  <a:avLst/>
                  <a:gdLst>
                    <a:gd name="T0" fmla="*/ 3 w 9"/>
                    <a:gd name="T1" fmla="*/ 10 h 10"/>
                    <a:gd name="T2" fmla="*/ 8 w 9"/>
                    <a:gd name="T3" fmla="*/ 8 h 10"/>
                    <a:gd name="T4" fmla="*/ 9 w 9"/>
                    <a:gd name="T5" fmla="*/ 4 h 10"/>
                    <a:gd name="T6" fmla="*/ 5 w 9"/>
                    <a:gd name="T7" fmla="*/ 0 h 10"/>
                    <a:gd name="T8" fmla="*/ 0 w 9"/>
                    <a:gd name="T9" fmla="*/ 2 h 10"/>
                    <a:gd name="T10" fmla="*/ 2 w 9"/>
                    <a:gd name="T11" fmla="*/ 6 h 10"/>
                    <a:gd name="T12" fmla="*/ 3 w 9"/>
                    <a:gd name="T13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10">
                      <a:moveTo>
                        <a:pt x="3" y="10"/>
                      </a:moveTo>
                      <a:cubicBezTo>
                        <a:pt x="8" y="8"/>
                        <a:pt x="8" y="8"/>
                        <a:pt x="8" y="8"/>
                      </a:cubicBezTo>
                      <a:cubicBezTo>
                        <a:pt x="9" y="4"/>
                        <a:pt x="9" y="4"/>
                        <a:pt x="9" y="4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5" y="0"/>
                        <a:pt x="0" y="2"/>
                        <a:pt x="0" y="2"/>
                      </a:cubicBezTo>
                      <a:cubicBezTo>
                        <a:pt x="2" y="6"/>
                        <a:pt x="2" y="6"/>
                        <a:pt x="2" y="6"/>
                      </a:cubicBezTo>
                      <a:lnTo>
                        <a:pt x="3" y="1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23" name="Rectangle 625">
                  <a:extLst>
                    <a:ext uri="{FF2B5EF4-FFF2-40B4-BE49-F238E27FC236}">
                      <a16:creationId xmlns:a16="http://schemas.microsoft.com/office/drawing/2014/main" id="{8D90CCFD-28F8-4B70-BAD4-B29A7861BA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41" y="1682"/>
                  <a:ext cx="2" cy="3"/>
                </a:xfrm>
                <a:prstGeom prst="rect">
                  <a:avLst/>
                </a:pr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24" name="Freeform 626">
                  <a:extLst>
                    <a:ext uri="{FF2B5EF4-FFF2-40B4-BE49-F238E27FC236}">
                      <a16:creationId xmlns:a16="http://schemas.microsoft.com/office/drawing/2014/main" id="{E127AC03-E2B5-4D74-9910-2563792E78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23" y="1644"/>
                  <a:ext cx="6" cy="9"/>
                </a:xfrm>
                <a:custGeom>
                  <a:avLst/>
                  <a:gdLst>
                    <a:gd name="T0" fmla="*/ 3 w 6"/>
                    <a:gd name="T1" fmla="*/ 9 h 9"/>
                    <a:gd name="T2" fmla="*/ 3 w 6"/>
                    <a:gd name="T3" fmla="*/ 5 h 9"/>
                    <a:gd name="T4" fmla="*/ 6 w 6"/>
                    <a:gd name="T5" fmla="*/ 2 h 9"/>
                    <a:gd name="T6" fmla="*/ 6 w 6"/>
                    <a:gd name="T7" fmla="*/ 0 h 9"/>
                    <a:gd name="T8" fmla="*/ 3 w 6"/>
                    <a:gd name="T9" fmla="*/ 0 h 9"/>
                    <a:gd name="T10" fmla="*/ 0 w 6"/>
                    <a:gd name="T11" fmla="*/ 4 h 9"/>
                    <a:gd name="T12" fmla="*/ 2 w 6"/>
                    <a:gd name="T13" fmla="*/ 8 h 9"/>
                    <a:gd name="T14" fmla="*/ 3 w 6"/>
                    <a:gd name="T1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9">
                      <a:moveTo>
                        <a:pt x="3" y="9"/>
                      </a:moveTo>
                      <a:lnTo>
                        <a:pt x="3" y="5"/>
                      </a:lnTo>
                      <a:lnTo>
                        <a:pt x="6" y="2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4"/>
                      </a:lnTo>
                      <a:lnTo>
                        <a:pt x="2" y="8"/>
                      </a:lnTo>
                      <a:lnTo>
                        <a:pt x="3" y="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25" name="Freeform 627">
                  <a:extLst>
                    <a:ext uri="{FF2B5EF4-FFF2-40B4-BE49-F238E27FC236}">
                      <a16:creationId xmlns:a16="http://schemas.microsoft.com/office/drawing/2014/main" id="{9831CDBF-C771-40FF-9D7E-70DC6C7558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7" y="1365"/>
                  <a:ext cx="141" cy="383"/>
                </a:xfrm>
                <a:custGeom>
                  <a:avLst/>
                  <a:gdLst>
                    <a:gd name="T0" fmla="*/ 134 w 141"/>
                    <a:gd name="T1" fmla="*/ 73 h 383"/>
                    <a:gd name="T2" fmla="*/ 133 w 141"/>
                    <a:gd name="T3" fmla="*/ 52 h 383"/>
                    <a:gd name="T4" fmla="*/ 130 w 141"/>
                    <a:gd name="T5" fmla="*/ 32 h 383"/>
                    <a:gd name="T6" fmla="*/ 120 w 141"/>
                    <a:gd name="T7" fmla="*/ 23 h 383"/>
                    <a:gd name="T8" fmla="*/ 100 w 141"/>
                    <a:gd name="T9" fmla="*/ 6 h 383"/>
                    <a:gd name="T10" fmla="*/ 86 w 141"/>
                    <a:gd name="T11" fmla="*/ 4 h 383"/>
                    <a:gd name="T12" fmla="*/ 88 w 141"/>
                    <a:gd name="T13" fmla="*/ 23 h 383"/>
                    <a:gd name="T14" fmla="*/ 72 w 141"/>
                    <a:gd name="T15" fmla="*/ 16 h 383"/>
                    <a:gd name="T16" fmla="*/ 65 w 141"/>
                    <a:gd name="T17" fmla="*/ 28 h 383"/>
                    <a:gd name="T18" fmla="*/ 58 w 141"/>
                    <a:gd name="T19" fmla="*/ 31 h 383"/>
                    <a:gd name="T20" fmla="*/ 46 w 141"/>
                    <a:gd name="T21" fmla="*/ 49 h 383"/>
                    <a:gd name="T22" fmla="*/ 40 w 141"/>
                    <a:gd name="T23" fmla="*/ 83 h 383"/>
                    <a:gd name="T24" fmla="*/ 30 w 141"/>
                    <a:gd name="T25" fmla="*/ 99 h 383"/>
                    <a:gd name="T26" fmla="*/ 22 w 141"/>
                    <a:gd name="T27" fmla="*/ 142 h 383"/>
                    <a:gd name="T28" fmla="*/ 10 w 141"/>
                    <a:gd name="T29" fmla="*/ 156 h 383"/>
                    <a:gd name="T30" fmla="*/ 8 w 141"/>
                    <a:gd name="T31" fmla="*/ 198 h 383"/>
                    <a:gd name="T32" fmla="*/ 16 w 141"/>
                    <a:gd name="T33" fmla="*/ 230 h 383"/>
                    <a:gd name="T34" fmla="*/ 15 w 141"/>
                    <a:gd name="T35" fmla="*/ 259 h 383"/>
                    <a:gd name="T36" fmla="*/ 8 w 141"/>
                    <a:gd name="T37" fmla="*/ 276 h 383"/>
                    <a:gd name="T38" fmla="*/ 5 w 141"/>
                    <a:gd name="T39" fmla="*/ 295 h 383"/>
                    <a:gd name="T40" fmla="*/ 3 w 141"/>
                    <a:gd name="T41" fmla="*/ 310 h 383"/>
                    <a:gd name="T42" fmla="*/ 6 w 141"/>
                    <a:gd name="T43" fmla="*/ 310 h 383"/>
                    <a:gd name="T44" fmla="*/ 6 w 141"/>
                    <a:gd name="T45" fmla="*/ 320 h 383"/>
                    <a:gd name="T46" fmla="*/ 11 w 141"/>
                    <a:gd name="T47" fmla="*/ 336 h 383"/>
                    <a:gd name="T48" fmla="*/ 22 w 141"/>
                    <a:gd name="T49" fmla="*/ 356 h 383"/>
                    <a:gd name="T50" fmla="*/ 21 w 141"/>
                    <a:gd name="T51" fmla="*/ 366 h 383"/>
                    <a:gd name="T52" fmla="*/ 29 w 141"/>
                    <a:gd name="T53" fmla="*/ 383 h 383"/>
                    <a:gd name="T54" fmla="*/ 42 w 141"/>
                    <a:gd name="T55" fmla="*/ 369 h 383"/>
                    <a:gd name="T56" fmla="*/ 59 w 141"/>
                    <a:gd name="T57" fmla="*/ 366 h 383"/>
                    <a:gd name="T58" fmla="*/ 68 w 141"/>
                    <a:gd name="T59" fmla="*/ 344 h 383"/>
                    <a:gd name="T60" fmla="*/ 66 w 141"/>
                    <a:gd name="T61" fmla="*/ 326 h 383"/>
                    <a:gd name="T62" fmla="*/ 71 w 141"/>
                    <a:gd name="T63" fmla="*/ 313 h 383"/>
                    <a:gd name="T64" fmla="*/ 68 w 141"/>
                    <a:gd name="T65" fmla="*/ 303 h 383"/>
                    <a:gd name="T66" fmla="*/ 74 w 141"/>
                    <a:gd name="T67" fmla="*/ 298 h 383"/>
                    <a:gd name="T68" fmla="*/ 79 w 141"/>
                    <a:gd name="T69" fmla="*/ 297 h 383"/>
                    <a:gd name="T70" fmla="*/ 85 w 141"/>
                    <a:gd name="T71" fmla="*/ 285 h 383"/>
                    <a:gd name="T72" fmla="*/ 71 w 141"/>
                    <a:gd name="T73" fmla="*/ 283 h 383"/>
                    <a:gd name="T74" fmla="*/ 59 w 141"/>
                    <a:gd name="T75" fmla="*/ 280 h 383"/>
                    <a:gd name="T76" fmla="*/ 70 w 141"/>
                    <a:gd name="T77" fmla="*/ 276 h 383"/>
                    <a:gd name="T78" fmla="*/ 80 w 141"/>
                    <a:gd name="T79" fmla="*/ 279 h 383"/>
                    <a:gd name="T80" fmla="*/ 92 w 141"/>
                    <a:gd name="T81" fmla="*/ 268 h 383"/>
                    <a:gd name="T82" fmla="*/ 80 w 141"/>
                    <a:gd name="T83" fmla="*/ 250 h 383"/>
                    <a:gd name="T84" fmla="*/ 71 w 141"/>
                    <a:gd name="T85" fmla="*/ 246 h 383"/>
                    <a:gd name="T86" fmla="*/ 70 w 141"/>
                    <a:gd name="T87" fmla="*/ 231 h 383"/>
                    <a:gd name="T88" fmla="*/ 72 w 141"/>
                    <a:gd name="T89" fmla="*/ 220 h 383"/>
                    <a:gd name="T90" fmla="*/ 67 w 141"/>
                    <a:gd name="T91" fmla="*/ 198 h 383"/>
                    <a:gd name="T92" fmla="*/ 78 w 141"/>
                    <a:gd name="T93" fmla="*/ 190 h 383"/>
                    <a:gd name="T94" fmla="*/ 84 w 141"/>
                    <a:gd name="T95" fmla="*/ 180 h 383"/>
                    <a:gd name="T96" fmla="*/ 90 w 141"/>
                    <a:gd name="T97" fmla="*/ 173 h 383"/>
                    <a:gd name="T98" fmla="*/ 100 w 141"/>
                    <a:gd name="T99" fmla="*/ 166 h 383"/>
                    <a:gd name="T100" fmla="*/ 109 w 141"/>
                    <a:gd name="T101" fmla="*/ 153 h 383"/>
                    <a:gd name="T102" fmla="*/ 111 w 141"/>
                    <a:gd name="T103" fmla="*/ 138 h 383"/>
                    <a:gd name="T104" fmla="*/ 110 w 141"/>
                    <a:gd name="T105" fmla="*/ 128 h 383"/>
                    <a:gd name="T106" fmla="*/ 109 w 141"/>
                    <a:gd name="T107" fmla="*/ 115 h 383"/>
                    <a:gd name="T108" fmla="*/ 112 w 141"/>
                    <a:gd name="T109" fmla="*/ 112 h 383"/>
                    <a:gd name="T110" fmla="*/ 116 w 141"/>
                    <a:gd name="T111" fmla="*/ 107 h 383"/>
                    <a:gd name="T112" fmla="*/ 125 w 141"/>
                    <a:gd name="T113" fmla="*/ 99 h 383"/>
                    <a:gd name="T114" fmla="*/ 137 w 141"/>
                    <a:gd name="T115" fmla="*/ 101 h 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41" h="383">
                      <a:moveTo>
                        <a:pt x="140" y="95"/>
                      </a:moveTo>
                      <a:lnTo>
                        <a:pt x="138" y="89"/>
                      </a:lnTo>
                      <a:lnTo>
                        <a:pt x="134" y="87"/>
                      </a:lnTo>
                      <a:lnTo>
                        <a:pt x="134" y="83"/>
                      </a:lnTo>
                      <a:lnTo>
                        <a:pt x="134" y="80"/>
                      </a:lnTo>
                      <a:lnTo>
                        <a:pt x="134" y="73"/>
                      </a:lnTo>
                      <a:lnTo>
                        <a:pt x="134" y="71"/>
                      </a:lnTo>
                      <a:lnTo>
                        <a:pt x="134" y="68"/>
                      </a:lnTo>
                      <a:lnTo>
                        <a:pt x="134" y="62"/>
                      </a:lnTo>
                      <a:lnTo>
                        <a:pt x="132" y="59"/>
                      </a:lnTo>
                      <a:lnTo>
                        <a:pt x="131" y="55"/>
                      </a:lnTo>
                      <a:lnTo>
                        <a:pt x="133" y="52"/>
                      </a:lnTo>
                      <a:lnTo>
                        <a:pt x="132" y="48"/>
                      </a:lnTo>
                      <a:lnTo>
                        <a:pt x="128" y="48"/>
                      </a:lnTo>
                      <a:lnTo>
                        <a:pt x="128" y="45"/>
                      </a:lnTo>
                      <a:lnTo>
                        <a:pt x="129" y="41"/>
                      </a:lnTo>
                      <a:lnTo>
                        <a:pt x="128" y="35"/>
                      </a:lnTo>
                      <a:lnTo>
                        <a:pt x="130" y="32"/>
                      </a:lnTo>
                      <a:lnTo>
                        <a:pt x="128" y="30"/>
                      </a:lnTo>
                      <a:lnTo>
                        <a:pt x="126" y="30"/>
                      </a:lnTo>
                      <a:lnTo>
                        <a:pt x="124" y="26"/>
                      </a:lnTo>
                      <a:lnTo>
                        <a:pt x="123" y="26"/>
                      </a:lnTo>
                      <a:lnTo>
                        <a:pt x="121" y="26"/>
                      </a:lnTo>
                      <a:lnTo>
                        <a:pt x="120" y="23"/>
                      </a:lnTo>
                      <a:lnTo>
                        <a:pt x="117" y="19"/>
                      </a:lnTo>
                      <a:lnTo>
                        <a:pt x="116" y="18"/>
                      </a:lnTo>
                      <a:lnTo>
                        <a:pt x="113" y="17"/>
                      </a:lnTo>
                      <a:lnTo>
                        <a:pt x="108" y="16"/>
                      </a:lnTo>
                      <a:lnTo>
                        <a:pt x="104" y="13"/>
                      </a:lnTo>
                      <a:lnTo>
                        <a:pt x="100" y="6"/>
                      </a:lnTo>
                      <a:lnTo>
                        <a:pt x="96" y="3"/>
                      </a:lnTo>
                      <a:lnTo>
                        <a:pt x="93" y="0"/>
                      </a:lnTo>
                      <a:lnTo>
                        <a:pt x="93" y="1"/>
                      </a:lnTo>
                      <a:lnTo>
                        <a:pt x="89" y="2"/>
                      </a:lnTo>
                      <a:lnTo>
                        <a:pt x="86" y="0"/>
                      </a:lnTo>
                      <a:lnTo>
                        <a:pt x="86" y="4"/>
                      </a:lnTo>
                      <a:lnTo>
                        <a:pt x="89" y="6"/>
                      </a:lnTo>
                      <a:lnTo>
                        <a:pt x="89" y="9"/>
                      </a:lnTo>
                      <a:lnTo>
                        <a:pt x="87" y="10"/>
                      </a:lnTo>
                      <a:lnTo>
                        <a:pt x="86" y="16"/>
                      </a:lnTo>
                      <a:lnTo>
                        <a:pt x="88" y="18"/>
                      </a:lnTo>
                      <a:lnTo>
                        <a:pt x="88" y="23"/>
                      </a:lnTo>
                      <a:lnTo>
                        <a:pt x="87" y="21"/>
                      </a:lnTo>
                      <a:lnTo>
                        <a:pt x="86" y="22"/>
                      </a:lnTo>
                      <a:lnTo>
                        <a:pt x="83" y="21"/>
                      </a:lnTo>
                      <a:lnTo>
                        <a:pt x="80" y="20"/>
                      </a:lnTo>
                      <a:lnTo>
                        <a:pt x="77" y="17"/>
                      </a:lnTo>
                      <a:lnTo>
                        <a:pt x="72" y="16"/>
                      </a:lnTo>
                      <a:lnTo>
                        <a:pt x="70" y="18"/>
                      </a:lnTo>
                      <a:lnTo>
                        <a:pt x="65" y="18"/>
                      </a:lnTo>
                      <a:lnTo>
                        <a:pt x="64" y="19"/>
                      </a:lnTo>
                      <a:lnTo>
                        <a:pt x="66" y="24"/>
                      </a:lnTo>
                      <a:lnTo>
                        <a:pt x="65" y="25"/>
                      </a:lnTo>
                      <a:lnTo>
                        <a:pt x="65" y="28"/>
                      </a:lnTo>
                      <a:lnTo>
                        <a:pt x="64" y="29"/>
                      </a:lnTo>
                      <a:lnTo>
                        <a:pt x="66" y="32"/>
                      </a:lnTo>
                      <a:lnTo>
                        <a:pt x="64" y="34"/>
                      </a:lnTo>
                      <a:lnTo>
                        <a:pt x="61" y="35"/>
                      </a:lnTo>
                      <a:lnTo>
                        <a:pt x="61" y="34"/>
                      </a:lnTo>
                      <a:lnTo>
                        <a:pt x="58" y="31"/>
                      </a:lnTo>
                      <a:lnTo>
                        <a:pt x="55" y="34"/>
                      </a:lnTo>
                      <a:lnTo>
                        <a:pt x="52" y="40"/>
                      </a:lnTo>
                      <a:lnTo>
                        <a:pt x="51" y="41"/>
                      </a:lnTo>
                      <a:lnTo>
                        <a:pt x="50" y="45"/>
                      </a:lnTo>
                      <a:lnTo>
                        <a:pt x="48" y="48"/>
                      </a:lnTo>
                      <a:lnTo>
                        <a:pt x="46" y="49"/>
                      </a:lnTo>
                      <a:lnTo>
                        <a:pt x="46" y="57"/>
                      </a:lnTo>
                      <a:lnTo>
                        <a:pt x="48" y="59"/>
                      </a:lnTo>
                      <a:lnTo>
                        <a:pt x="49" y="64"/>
                      </a:lnTo>
                      <a:lnTo>
                        <a:pt x="48" y="68"/>
                      </a:lnTo>
                      <a:lnTo>
                        <a:pt x="44" y="75"/>
                      </a:lnTo>
                      <a:lnTo>
                        <a:pt x="40" y="83"/>
                      </a:lnTo>
                      <a:lnTo>
                        <a:pt x="40" y="86"/>
                      </a:lnTo>
                      <a:lnTo>
                        <a:pt x="37" y="89"/>
                      </a:lnTo>
                      <a:lnTo>
                        <a:pt x="33" y="90"/>
                      </a:lnTo>
                      <a:lnTo>
                        <a:pt x="28" y="93"/>
                      </a:lnTo>
                      <a:lnTo>
                        <a:pt x="28" y="97"/>
                      </a:lnTo>
                      <a:lnTo>
                        <a:pt x="30" y="99"/>
                      </a:lnTo>
                      <a:lnTo>
                        <a:pt x="30" y="104"/>
                      </a:lnTo>
                      <a:lnTo>
                        <a:pt x="29" y="108"/>
                      </a:lnTo>
                      <a:lnTo>
                        <a:pt x="27" y="116"/>
                      </a:lnTo>
                      <a:lnTo>
                        <a:pt x="27" y="124"/>
                      </a:lnTo>
                      <a:lnTo>
                        <a:pt x="23" y="138"/>
                      </a:lnTo>
                      <a:lnTo>
                        <a:pt x="22" y="142"/>
                      </a:lnTo>
                      <a:lnTo>
                        <a:pt x="23" y="145"/>
                      </a:lnTo>
                      <a:lnTo>
                        <a:pt x="24" y="151"/>
                      </a:lnTo>
                      <a:lnTo>
                        <a:pt x="22" y="155"/>
                      </a:lnTo>
                      <a:lnTo>
                        <a:pt x="16" y="155"/>
                      </a:lnTo>
                      <a:lnTo>
                        <a:pt x="13" y="154"/>
                      </a:lnTo>
                      <a:lnTo>
                        <a:pt x="10" y="156"/>
                      </a:lnTo>
                      <a:lnTo>
                        <a:pt x="7" y="162"/>
                      </a:lnTo>
                      <a:lnTo>
                        <a:pt x="6" y="170"/>
                      </a:lnTo>
                      <a:lnTo>
                        <a:pt x="7" y="179"/>
                      </a:lnTo>
                      <a:lnTo>
                        <a:pt x="8" y="188"/>
                      </a:lnTo>
                      <a:lnTo>
                        <a:pt x="6" y="193"/>
                      </a:lnTo>
                      <a:lnTo>
                        <a:pt x="8" y="198"/>
                      </a:lnTo>
                      <a:lnTo>
                        <a:pt x="9" y="204"/>
                      </a:lnTo>
                      <a:lnTo>
                        <a:pt x="8" y="211"/>
                      </a:lnTo>
                      <a:lnTo>
                        <a:pt x="8" y="217"/>
                      </a:lnTo>
                      <a:lnTo>
                        <a:pt x="13" y="220"/>
                      </a:lnTo>
                      <a:lnTo>
                        <a:pt x="17" y="226"/>
                      </a:lnTo>
                      <a:lnTo>
                        <a:pt x="16" y="230"/>
                      </a:lnTo>
                      <a:lnTo>
                        <a:pt x="16" y="235"/>
                      </a:lnTo>
                      <a:lnTo>
                        <a:pt x="10" y="238"/>
                      </a:lnTo>
                      <a:lnTo>
                        <a:pt x="10" y="241"/>
                      </a:lnTo>
                      <a:lnTo>
                        <a:pt x="12" y="247"/>
                      </a:lnTo>
                      <a:lnTo>
                        <a:pt x="13" y="255"/>
                      </a:lnTo>
                      <a:lnTo>
                        <a:pt x="15" y="259"/>
                      </a:lnTo>
                      <a:lnTo>
                        <a:pt x="13" y="263"/>
                      </a:lnTo>
                      <a:lnTo>
                        <a:pt x="13" y="267"/>
                      </a:lnTo>
                      <a:lnTo>
                        <a:pt x="12" y="269"/>
                      </a:lnTo>
                      <a:lnTo>
                        <a:pt x="7" y="270"/>
                      </a:lnTo>
                      <a:lnTo>
                        <a:pt x="6" y="272"/>
                      </a:lnTo>
                      <a:lnTo>
                        <a:pt x="8" y="276"/>
                      </a:lnTo>
                      <a:lnTo>
                        <a:pt x="6" y="276"/>
                      </a:lnTo>
                      <a:lnTo>
                        <a:pt x="5" y="280"/>
                      </a:lnTo>
                      <a:lnTo>
                        <a:pt x="7" y="284"/>
                      </a:lnTo>
                      <a:lnTo>
                        <a:pt x="8" y="295"/>
                      </a:lnTo>
                      <a:lnTo>
                        <a:pt x="6" y="298"/>
                      </a:lnTo>
                      <a:lnTo>
                        <a:pt x="5" y="295"/>
                      </a:lnTo>
                      <a:lnTo>
                        <a:pt x="3" y="293"/>
                      </a:lnTo>
                      <a:lnTo>
                        <a:pt x="3" y="293"/>
                      </a:lnTo>
                      <a:lnTo>
                        <a:pt x="0" y="295"/>
                      </a:lnTo>
                      <a:lnTo>
                        <a:pt x="1" y="303"/>
                      </a:lnTo>
                      <a:lnTo>
                        <a:pt x="2" y="304"/>
                      </a:lnTo>
                      <a:lnTo>
                        <a:pt x="3" y="310"/>
                      </a:lnTo>
                      <a:lnTo>
                        <a:pt x="4" y="311"/>
                      </a:lnTo>
                      <a:lnTo>
                        <a:pt x="5" y="312"/>
                      </a:lnTo>
                      <a:lnTo>
                        <a:pt x="5" y="316"/>
                      </a:lnTo>
                      <a:lnTo>
                        <a:pt x="8" y="314"/>
                      </a:lnTo>
                      <a:lnTo>
                        <a:pt x="6" y="312"/>
                      </a:lnTo>
                      <a:lnTo>
                        <a:pt x="6" y="310"/>
                      </a:lnTo>
                      <a:lnTo>
                        <a:pt x="7" y="310"/>
                      </a:lnTo>
                      <a:lnTo>
                        <a:pt x="7" y="311"/>
                      </a:lnTo>
                      <a:lnTo>
                        <a:pt x="10" y="313"/>
                      </a:lnTo>
                      <a:lnTo>
                        <a:pt x="10" y="314"/>
                      </a:lnTo>
                      <a:lnTo>
                        <a:pt x="7" y="317"/>
                      </a:lnTo>
                      <a:lnTo>
                        <a:pt x="6" y="320"/>
                      </a:lnTo>
                      <a:lnTo>
                        <a:pt x="7" y="323"/>
                      </a:lnTo>
                      <a:lnTo>
                        <a:pt x="7" y="326"/>
                      </a:lnTo>
                      <a:lnTo>
                        <a:pt x="6" y="328"/>
                      </a:lnTo>
                      <a:lnTo>
                        <a:pt x="7" y="331"/>
                      </a:lnTo>
                      <a:lnTo>
                        <a:pt x="10" y="331"/>
                      </a:lnTo>
                      <a:lnTo>
                        <a:pt x="11" y="336"/>
                      </a:lnTo>
                      <a:lnTo>
                        <a:pt x="13" y="337"/>
                      </a:lnTo>
                      <a:lnTo>
                        <a:pt x="15" y="343"/>
                      </a:lnTo>
                      <a:lnTo>
                        <a:pt x="16" y="349"/>
                      </a:lnTo>
                      <a:lnTo>
                        <a:pt x="18" y="349"/>
                      </a:lnTo>
                      <a:lnTo>
                        <a:pt x="19" y="353"/>
                      </a:lnTo>
                      <a:lnTo>
                        <a:pt x="22" y="356"/>
                      </a:lnTo>
                      <a:lnTo>
                        <a:pt x="24" y="354"/>
                      </a:lnTo>
                      <a:lnTo>
                        <a:pt x="26" y="358"/>
                      </a:lnTo>
                      <a:lnTo>
                        <a:pt x="23" y="362"/>
                      </a:lnTo>
                      <a:lnTo>
                        <a:pt x="20" y="363"/>
                      </a:lnTo>
                      <a:lnTo>
                        <a:pt x="20" y="365"/>
                      </a:lnTo>
                      <a:lnTo>
                        <a:pt x="21" y="366"/>
                      </a:lnTo>
                      <a:lnTo>
                        <a:pt x="22" y="369"/>
                      </a:lnTo>
                      <a:lnTo>
                        <a:pt x="24" y="370"/>
                      </a:lnTo>
                      <a:lnTo>
                        <a:pt x="26" y="379"/>
                      </a:lnTo>
                      <a:lnTo>
                        <a:pt x="24" y="382"/>
                      </a:lnTo>
                      <a:lnTo>
                        <a:pt x="26" y="383"/>
                      </a:lnTo>
                      <a:lnTo>
                        <a:pt x="29" y="383"/>
                      </a:lnTo>
                      <a:lnTo>
                        <a:pt x="36" y="381"/>
                      </a:lnTo>
                      <a:lnTo>
                        <a:pt x="39" y="383"/>
                      </a:lnTo>
                      <a:lnTo>
                        <a:pt x="42" y="380"/>
                      </a:lnTo>
                      <a:lnTo>
                        <a:pt x="42" y="376"/>
                      </a:lnTo>
                      <a:lnTo>
                        <a:pt x="41" y="375"/>
                      </a:lnTo>
                      <a:lnTo>
                        <a:pt x="42" y="369"/>
                      </a:lnTo>
                      <a:lnTo>
                        <a:pt x="47" y="369"/>
                      </a:lnTo>
                      <a:lnTo>
                        <a:pt x="48" y="363"/>
                      </a:lnTo>
                      <a:lnTo>
                        <a:pt x="48" y="366"/>
                      </a:lnTo>
                      <a:lnTo>
                        <a:pt x="54" y="367"/>
                      </a:lnTo>
                      <a:lnTo>
                        <a:pt x="57" y="365"/>
                      </a:lnTo>
                      <a:lnTo>
                        <a:pt x="59" y="366"/>
                      </a:lnTo>
                      <a:lnTo>
                        <a:pt x="61" y="369"/>
                      </a:lnTo>
                      <a:lnTo>
                        <a:pt x="64" y="364"/>
                      </a:lnTo>
                      <a:lnTo>
                        <a:pt x="65" y="357"/>
                      </a:lnTo>
                      <a:lnTo>
                        <a:pt x="67" y="355"/>
                      </a:lnTo>
                      <a:lnTo>
                        <a:pt x="68" y="346"/>
                      </a:lnTo>
                      <a:lnTo>
                        <a:pt x="68" y="344"/>
                      </a:lnTo>
                      <a:lnTo>
                        <a:pt x="66" y="341"/>
                      </a:lnTo>
                      <a:lnTo>
                        <a:pt x="66" y="338"/>
                      </a:lnTo>
                      <a:lnTo>
                        <a:pt x="69" y="335"/>
                      </a:lnTo>
                      <a:lnTo>
                        <a:pt x="67" y="331"/>
                      </a:lnTo>
                      <a:lnTo>
                        <a:pt x="69" y="328"/>
                      </a:lnTo>
                      <a:lnTo>
                        <a:pt x="66" y="326"/>
                      </a:lnTo>
                      <a:lnTo>
                        <a:pt x="68" y="323"/>
                      </a:lnTo>
                      <a:lnTo>
                        <a:pt x="65" y="320"/>
                      </a:lnTo>
                      <a:lnTo>
                        <a:pt x="68" y="321"/>
                      </a:lnTo>
                      <a:lnTo>
                        <a:pt x="72" y="321"/>
                      </a:lnTo>
                      <a:lnTo>
                        <a:pt x="69" y="317"/>
                      </a:lnTo>
                      <a:lnTo>
                        <a:pt x="71" y="313"/>
                      </a:lnTo>
                      <a:lnTo>
                        <a:pt x="70" y="311"/>
                      </a:lnTo>
                      <a:lnTo>
                        <a:pt x="66" y="309"/>
                      </a:lnTo>
                      <a:lnTo>
                        <a:pt x="72" y="309"/>
                      </a:lnTo>
                      <a:lnTo>
                        <a:pt x="68" y="306"/>
                      </a:lnTo>
                      <a:lnTo>
                        <a:pt x="66" y="305"/>
                      </a:lnTo>
                      <a:lnTo>
                        <a:pt x="68" y="303"/>
                      </a:lnTo>
                      <a:lnTo>
                        <a:pt x="69" y="303"/>
                      </a:lnTo>
                      <a:lnTo>
                        <a:pt x="70" y="304"/>
                      </a:lnTo>
                      <a:lnTo>
                        <a:pt x="72" y="302"/>
                      </a:lnTo>
                      <a:lnTo>
                        <a:pt x="72" y="300"/>
                      </a:lnTo>
                      <a:lnTo>
                        <a:pt x="74" y="302"/>
                      </a:lnTo>
                      <a:lnTo>
                        <a:pt x="74" y="298"/>
                      </a:lnTo>
                      <a:lnTo>
                        <a:pt x="76" y="296"/>
                      </a:lnTo>
                      <a:lnTo>
                        <a:pt x="78" y="296"/>
                      </a:lnTo>
                      <a:lnTo>
                        <a:pt x="78" y="293"/>
                      </a:lnTo>
                      <a:lnTo>
                        <a:pt x="79" y="292"/>
                      </a:lnTo>
                      <a:lnTo>
                        <a:pt x="79" y="293"/>
                      </a:lnTo>
                      <a:lnTo>
                        <a:pt x="79" y="297"/>
                      </a:lnTo>
                      <a:lnTo>
                        <a:pt x="81" y="297"/>
                      </a:lnTo>
                      <a:lnTo>
                        <a:pt x="83" y="292"/>
                      </a:lnTo>
                      <a:lnTo>
                        <a:pt x="85" y="292"/>
                      </a:lnTo>
                      <a:lnTo>
                        <a:pt x="87" y="290"/>
                      </a:lnTo>
                      <a:lnTo>
                        <a:pt x="86" y="286"/>
                      </a:lnTo>
                      <a:lnTo>
                        <a:pt x="85" y="285"/>
                      </a:lnTo>
                      <a:lnTo>
                        <a:pt x="82" y="283"/>
                      </a:lnTo>
                      <a:lnTo>
                        <a:pt x="79" y="286"/>
                      </a:lnTo>
                      <a:lnTo>
                        <a:pt x="78" y="285"/>
                      </a:lnTo>
                      <a:lnTo>
                        <a:pt x="75" y="286"/>
                      </a:lnTo>
                      <a:lnTo>
                        <a:pt x="73" y="283"/>
                      </a:lnTo>
                      <a:lnTo>
                        <a:pt x="71" y="283"/>
                      </a:lnTo>
                      <a:lnTo>
                        <a:pt x="68" y="281"/>
                      </a:lnTo>
                      <a:lnTo>
                        <a:pt x="65" y="281"/>
                      </a:lnTo>
                      <a:lnTo>
                        <a:pt x="65" y="283"/>
                      </a:lnTo>
                      <a:lnTo>
                        <a:pt x="64" y="282"/>
                      </a:lnTo>
                      <a:lnTo>
                        <a:pt x="59" y="281"/>
                      </a:lnTo>
                      <a:lnTo>
                        <a:pt x="59" y="280"/>
                      </a:lnTo>
                      <a:lnTo>
                        <a:pt x="61" y="280"/>
                      </a:lnTo>
                      <a:lnTo>
                        <a:pt x="64" y="280"/>
                      </a:lnTo>
                      <a:lnTo>
                        <a:pt x="65" y="277"/>
                      </a:lnTo>
                      <a:lnTo>
                        <a:pt x="67" y="279"/>
                      </a:lnTo>
                      <a:lnTo>
                        <a:pt x="69" y="278"/>
                      </a:lnTo>
                      <a:lnTo>
                        <a:pt x="70" y="276"/>
                      </a:lnTo>
                      <a:lnTo>
                        <a:pt x="72" y="276"/>
                      </a:lnTo>
                      <a:lnTo>
                        <a:pt x="73" y="278"/>
                      </a:lnTo>
                      <a:lnTo>
                        <a:pt x="75" y="278"/>
                      </a:lnTo>
                      <a:lnTo>
                        <a:pt x="75" y="276"/>
                      </a:lnTo>
                      <a:lnTo>
                        <a:pt x="77" y="277"/>
                      </a:lnTo>
                      <a:lnTo>
                        <a:pt x="80" y="279"/>
                      </a:lnTo>
                      <a:lnTo>
                        <a:pt x="79" y="281"/>
                      </a:lnTo>
                      <a:lnTo>
                        <a:pt x="82" y="283"/>
                      </a:lnTo>
                      <a:lnTo>
                        <a:pt x="86" y="281"/>
                      </a:lnTo>
                      <a:lnTo>
                        <a:pt x="87" y="278"/>
                      </a:lnTo>
                      <a:lnTo>
                        <a:pt x="90" y="273"/>
                      </a:lnTo>
                      <a:lnTo>
                        <a:pt x="92" y="268"/>
                      </a:lnTo>
                      <a:lnTo>
                        <a:pt x="89" y="265"/>
                      </a:lnTo>
                      <a:lnTo>
                        <a:pt x="89" y="262"/>
                      </a:lnTo>
                      <a:lnTo>
                        <a:pt x="85" y="259"/>
                      </a:lnTo>
                      <a:lnTo>
                        <a:pt x="86" y="258"/>
                      </a:lnTo>
                      <a:lnTo>
                        <a:pt x="81" y="253"/>
                      </a:lnTo>
                      <a:lnTo>
                        <a:pt x="80" y="250"/>
                      </a:lnTo>
                      <a:lnTo>
                        <a:pt x="79" y="248"/>
                      </a:lnTo>
                      <a:lnTo>
                        <a:pt x="75" y="252"/>
                      </a:lnTo>
                      <a:lnTo>
                        <a:pt x="75" y="248"/>
                      </a:lnTo>
                      <a:lnTo>
                        <a:pt x="73" y="249"/>
                      </a:lnTo>
                      <a:lnTo>
                        <a:pt x="73" y="246"/>
                      </a:lnTo>
                      <a:lnTo>
                        <a:pt x="71" y="246"/>
                      </a:lnTo>
                      <a:lnTo>
                        <a:pt x="69" y="243"/>
                      </a:lnTo>
                      <a:lnTo>
                        <a:pt x="68" y="242"/>
                      </a:lnTo>
                      <a:lnTo>
                        <a:pt x="70" y="238"/>
                      </a:lnTo>
                      <a:lnTo>
                        <a:pt x="68" y="235"/>
                      </a:lnTo>
                      <a:lnTo>
                        <a:pt x="70" y="234"/>
                      </a:lnTo>
                      <a:lnTo>
                        <a:pt x="70" y="231"/>
                      </a:lnTo>
                      <a:lnTo>
                        <a:pt x="68" y="231"/>
                      </a:lnTo>
                      <a:lnTo>
                        <a:pt x="70" y="228"/>
                      </a:lnTo>
                      <a:lnTo>
                        <a:pt x="69" y="222"/>
                      </a:lnTo>
                      <a:lnTo>
                        <a:pt x="69" y="221"/>
                      </a:lnTo>
                      <a:lnTo>
                        <a:pt x="72" y="224"/>
                      </a:lnTo>
                      <a:lnTo>
                        <a:pt x="72" y="220"/>
                      </a:lnTo>
                      <a:lnTo>
                        <a:pt x="69" y="217"/>
                      </a:lnTo>
                      <a:lnTo>
                        <a:pt x="70" y="212"/>
                      </a:lnTo>
                      <a:lnTo>
                        <a:pt x="70" y="208"/>
                      </a:lnTo>
                      <a:lnTo>
                        <a:pt x="71" y="207"/>
                      </a:lnTo>
                      <a:lnTo>
                        <a:pt x="70" y="203"/>
                      </a:lnTo>
                      <a:lnTo>
                        <a:pt x="67" y="198"/>
                      </a:lnTo>
                      <a:lnTo>
                        <a:pt x="69" y="199"/>
                      </a:lnTo>
                      <a:lnTo>
                        <a:pt x="73" y="198"/>
                      </a:lnTo>
                      <a:lnTo>
                        <a:pt x="75" y="194"/>
                      </a:lnTo>
                      <a:lnTo>
                        <a:pt x="75" y="191"/>
                      </a:lnTo>
                      <a:lnTo>
                        <a:pt x="75" y="190"/>
                      </a:lnTo>
                      <a:lnTo>
                        <a:pt x="78" y="190"/>
                      </a:lnTo>
                      <a:lnTo>
                        <a:pt x="82" y="186"/>
                      </a:lnTo>
                      <a:lnTo>
                        <a:pt x="82" y="184"/>
                      </a:lnTo>
                      <a:lnTo>
                        <a:pt x="79" y="183"/>
                      </a:lnTo>
                      <a:lnTo>
                        <a:pt x="81" y="181"/>
                      </a:lnTo>
                      <a:lnTo>
                        <a:pt x="82" y="179"/>
                      </a:lnTo>
                      <a:lnTo>
                        <a:pt x="84" y="180"/>
                      </a:lnTo>
                      <a:lnTo>
                        <a:pt x="85" y="180"/>
                      </a:lnTo>
                      <a:lnTo>
                        <a:pt x="86" y="176"/>
                      </a:lnTo>
                      <a:lnTo>
                        <a:pt x="87" y="176"/>
                      </a:lnTo>
                      <a:lnTo>
                        <a:pt x="88" y="179"/>
                      </a:lnTo>
                      <a:lnTo>
                        <a:pt x="90" y="176"/>
                      </a:lnTo>
                      <a:lnTo>
                        <a:pt x="90" y="173"/>
                      </a:lnTo>
                      <a:lnTo>
                        <a:pt x="91" y="169"/>
                      </a:lnTo>
                      <a:lnTo>
                        <a:pt x="93" y="169"/>
                      </a:lnTo>
                      <a:lnTo>
                        <a:pt x="93" y="172"/>
                      </a:lnTo>
                      <a:lnTo>
                        <a:pt x="96" y="172"/>
                      </a:lnTo>
                      <a:lnTo>
                        <a:pt x="96" y="168"/>
                      </a:lnTo>
                      <a:lnTo>
                        <a:pt x="100" y="166"/>
                      </a:lnTo>
                      <a:lnTo>
                        <a:pt x="99" y="163"/>
                      </a:lnTo>
                      <a:lnTo>
                        <a:pt x="100" y="160"/>
                      </a:lnTo>
                      <a:lnTo>
                        <a:pt x="101" y="162"/>
                      </a:lnTo>
                      <a:lnTo>
                        <a:pt x="104" y="159"/>
                      </a:lnTo>
                      <a:lnTo>
                        <a:pt x="106" y="159"/>
                      </a:lnTo>
                      <a:lnTo>
                        <a:pt x="109" y="153"/>
                      </a:lnTo>
                      <a:lnTo>
                        <a:pt x="108" y="148"/>
                      </a:lnTo>
                      <a:lnTo>
                        <a:pt x="110" y="145"/>
                      </a:lnTo>
                      <a:lnTo>
                        <a:pt x="112" y="145"/>
                      </a:lnTo>
                      <a:lnTo>
                        <a:pt x="115" y="141"/>
                      </a:lnTo>
                      <a:lnTo>
                        <a:pt x="113" y="141"/>
                      </a:lnTo>
                      <a:lnTo>
                        <a:pt x="111" y="138"/>
                      </a:lnTo>
                      <a:lnTo>
                        <a:pt x="113" y="137"/>
                      </a:lnTo>
                      <a:lnTo>
                        <a:pt x="112" y="135"/>
                      </a:lnTo>
                      <a:lnTo>
                        <a:pt x="110" y="135"/>
                      </a:lnTo>
                      <a:lnTo>
                        <a:pt x="107" y="131"/>
                      </a:lnTo>
                      <a:lnTo>
                        <a:pt x="110" y="131"/>
                      </a:lnTo>
                      <a:lnTo>
                        <a:pt x="110" y="128"/>
                      </a:lnTo>
                      <a:lnTo>
                        <a:pt x="111" y="123"/>
                      </a:lnTo>
                      <a:lnTo>
                        <a:pt x="112" y="121"/>
                      </a:lnTo>
                      <a:lnTo>
                        <a:pt x="111" y="119"/>
                      </a:lnTo>
                      <a:lnTo>
                        <a:pt x="109" y="119"/>
                      </a:lnTo>
                      <a:lnTo>
                        <a:pt x="108" y="116"/>
                      </a:lnTo>
                      <a:lnTo>
                        <a:pt x="109" y="115"/>
                      </a:lnTo>
                      <a:lnTo>
                        <a:pt x="110" y="116"/>
                      </a:lnTo>
                      <a:lnTo>
                        <a:pt x="111" y="117"/>
                      </a:lnTo>
                      <a:lnTo>
                        <a:pt x="112" y="117"/>
                      </a:lnTo>
                      <a:lnTo>
                        <a:pt x="113" y="115"/>
                      </a:lnTo>
                      <a:lnTo>
                        <a:pt x="110" y="114"/>
                      </a:lnTo>
                      <a:lnTo>
                        <a:pt x="112" y="112"/>
                      </a:lnTo>
                      <a:lnTo>
                        <a:pt x="114" y="112"/>
                      </a:lnTo>
                      <a:lnTo>
                        <a:pt x="117" y="110"/>
                      </a:lnTo>
                      <a:lnTo>
                        <a:pt x="115" y="108"/>
                      </a:lnTo>
                      <a:lnTo>
                        <a:pt x="113" y="104"/>
                      </a:lnTo>
                      <a:lnTo>
                        <a:pt x="115" y="105"/>
                      </a:lnTo>
                      <a:lnTo>
                        <a:pt x="116" y="107"/>
                      </a:lnTo>
                      <a:lnTo>
                        <a:pt x="118" y="106"/>
                      </a:lnTo>
                      <a:lnTo>
                        <a:pt x="119" y="104"/>
                      </a:lnTo>
                      <a:lnTo>
                        <a:pt x="120" y="100"/>
                      </a:lnTo>
                      <a:lnTo>
                        <a:pt x="121" y="99"/>
                      </a:lnTo>
                      <a:lnTo>
                        <a:pt x="123" y="103"/>
                      </a:lnTo>
                      <a:lnTo>
                        <a:pt x="125" y="99"/>
                      </a:lnTo>
                      <a:lnTo>
                        <a:pt x="126" y="102"/>
                      </a:lnTo>
                      <a:lnTo>
                        <a:pt x="128" y="103"/>
                      </a:lnTo>
                      <a:lnTo>
                        <a:pt x="130" y="100"/>
                      </a:lnTo>
                      <a:lnTo>
                        <a:pt x="132" y="102"/>
                      </a:lnTo>
                      <a:lnTo>
                        <a:pt x="135" y="99"/>
                      </a:lnTo>
                      <a:lnTo>
                        <a:pt x="137" y="101"/>
                      </a:lnTo>
                      <a:lnTo>
                        <a:pt x="139" y="102"/>
                      </a:lnTo>
                      <a:lnTo>
                        <a:pt x="141" y="100"/>
                      </a:lnTo>
                      <a:lnTo>
                        <a:pt x="141" y="100"/>
                      </a:lnTo>
                      <a:lnTo>
                        <a:pt x="141" y="97"/>
                      </a:lnTo>
                      <a:lnTo>
                        <a:pt x="140" y="9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26" name="Freeform 628">
                  <a:extLst>
                    <a:ext uri="{FF2B5EF4-FFF2-40B4-BE49-F238E27FC236}">
                      <a16:creationId xmlns:a16="http://schemas.microsoft.com/office/drawing/2014/main" id="{98F387A7-55FD-4E0D-A9C9-A1CB959654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24" y="1689"/>
                  <a:ext cx="12" cy="25"/>
                </a:xfrm>
                <a:custGeom>
                  <a:avLst/>
                  <a:gdLst>
                    <a:gd name="T0" fmla="*/ 3 w 12"/>
                    <a:gd name="T1" fmla="*/ 18 h 25"/>
                    <a:gd name="T2" fmla="*/ 5 w 12"/>
                    <a:gd name="T3" fmla="*/ 18 h 25"/>
                    <a:gd name="T4" fmla="*/ 4 w 12"/>
                    <a:gd name="T5" fmla="*/ 21 h 25"/>
                    <a:gd name="T6" fmla="*/ 2 w 12"/>
                    <a:gd name="T7" fmla="*/ 23 h 25"/>
                    <a:gd name="T8" fmla="*/ 2 w 12"/>
                    <a:gd name="T9" fmla="*/ 25 h 25"/>
                    <a:gd name="T10" fmla="*/ 6 w 12"/>
                    <a:gd name="T11" fmla="*/ 24 h 25"/>
                    <a:gd name="T12" fmla="*/ 6 w 12"/>
                    <a:gd name="T13" fmla="*/ 21 h 25"/>
                    <a:gd name="T14" fmla="*/ 6 w 12"/>
                    <a:gd name="T15" fmla="*/ 21 h 25"/>
                    <a:gd name="T16" fmla="*/ 6 w 12"/>
                    <a:gd name="T17" fmla="*/ 18 h 25"/>
                    <a:gd name="T18" fmla="*/ 9 w 12"/>
                    <a:gd name="T19" fmla="*/ 15 h 25"/>
                    <a:gd name="T20" fmla="*/ 9 w 12"/>
                    <a:gd name="T21" fmla="*/ 13 h 25"/>
                    <a:gd name="T22" fmla="*/ 12 w 12"/>
                    <a:gd name="T23" fmla="*/ 11 h 25"/>
                    <a:gd name="T24" fmla="*/ 11 w 12"/>
                    <a:gd name="T25" fmla="*/ 9 h 25"/>
                    <a:gd name="T26" fmla="*/ 9 w 12"/>
                    <a:gd name="T27" fmla="*/ 7 h 25"/>
                    <a:gd name="T28" fmla="*/ 10 w 12"/>
                    <a:gd name="T29" fmla="*/ 4 h 25"/>
                    <a:gd name="T30" fmla="*/ 11 w 12"/>
                    <a:gd name="T31" fmla="*/ 2 h 25"/>
                    <a:gd name="T32" fmla="*/ 12 w 12"/>
                    <a:gd name="T33" fmla="*/ 0 h 25"/>
                    <a:gd name="T34" fmla="*/ 10 w 12"/>
                    <a:gd name="T35" fmla="*/ 0 h 25"/>
                    <a:gd name="T36" fmla="*/ 9 w 12"/>
                    <a:gd name="T37" fmla="*/ 0 h 25"/>
                    <a:gd name="T38" fmla="*/ 6 w 12"/>
                    <a:gd name="T39" fmla="*/ 0 h 25"/>
                    <a:gd name="T40" fmla="*/ 4 w 12"/>
                    <a:gd name="T41" fmla="*/ 4 h 25"/>
                    <a:gd name="T42" fmla="*/ 2 w 12"/>
                    <a:gd name="T43" fmla="*/ 7 h 25"/>
                    <a:gd name="T44" fmla="*/ 1 w 12"/>
                    <a:gd name="T45" fmla="*/ 9 h 25"/>
                    <a:gd name="T46" fmla="*/ 2 w 12"/>
                    <a:gd name="T47" fmla="*/ 13 h 25"/>
                    <a:gd name="T48" fmla="*/ 0 w 12"/>
                    <a:gd name="T49" fmla="*/ 14 h 25"/>
                    <a:gd name="T50" fmla="*/ 3 w 12"/>
                    <a:gd name="T51" fmla="*/ 18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2" h="25">
                      <a:moveTo>
                        <a:pt x="3" y="18"/>
                      </a:moveTo>
                      <a:lnTo>
                        <a:pt x="5" y="18"/>
                      </a:lnTo>
                      <a:lnTo>
                        <a:pt x="4" y="21"/>
                      </a:lnTo>
                      <a:lnTo>
                        <a:pt x="2" y="23"/>
                      </a:lnTo>
                      <a:lnTo>
                        <a:pt x="2" y="25"/>
                      </a:lnTo>
                      <a:lnTo>
                        <a:pt x="6" y="24"/>
                      </a:lnTo>
                      <a:lnTo>
                        <a:pt x="6" y="21"/>
                      </a:lnTo>
                      <a:lnTo>
                        <a:pt x="6" y="21"/>
                      </a:lnTo>
                      <a:lnTo>
                        <a:pt x="6" y="18"/>
                      </a:lnTo>
                      <a:lnTo>
                        <a:pt x="9" y="15"/>
                      </a:lnTo>
                      <a:lnTo>
                        <a:pt x="9" y="13"/>
                      </a:lnTo>
                      <a:lnTo>
                        <a:pt x="12" y="11"/>
                      </a:lnTo>
                      <a:lnTo>
                        <a:pt x="11" y="9"/>
                      </a:lnTo>
                      <a:lnTo>
                        <a:pt x="9" y="7"/>
                      </a:lnTo>
                      <a:lnTo>
                        <a:pt x="10" y="4"/>
                      </a:lnTo>
                      <a:lnTo>
                        <a:pt x="11" y="2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9" y="0"/>
                      </a:lnTo>
                      <a:lnTo>
                        <a:pt x="6" y="0"/>
                      </a:lnTo>
                      <a:lnTo>
                        <a:pt x="4" y="4"/>
                      </a:lnTo>
                      <a:lnTo>
                        <a:pt x="2" y="7"/>
                      </a:lnTo>
                      <a:lnTo>
                        <a:pt x="1" y="9"/>
                      </a:lnTo>
                      <a:lnTo>
                        <a:pt x="2" y="13"/>
                      </a:lnTo>
                      <a:lnTo>
                        <a:pt x="0" y="14"/>
                      </a:lnTo>
                      <a:lnTo>
                        <a:pt x="3" y="1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27" name="Freeform 629">
                  <a:extLst>
                    <a:ext uri="{FF2B5EF4-FFF2-40B4-BE49-F238E27FC236}">
                      <a16:creationId xmlns:a16="http://schemas.microsoft.com/office/drawing/2014/main" id="{5F974A2D-A2F8-40DC-94E1-C1B58A90DD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5" y="1703"/>
                  <a:ext cx="7" cy="28"/>
                </a:xfrm>
                <a:custGeom>
                  <a:avLst/>
                  <a:gdLst>
                    <a:gd name="T0" fmla="*/ 1 w 7"/>
                    <a:gd name="T1" fmla="*/ 11 h 28"/>
                    <a:gd name="T2" fmla="*/ 0 w 7"/>
                    <a:gd name="T3" fmla="*/ 21 h 28"/>
                    <a:gd name="T4" fmla="*/ 0 w 7"/>
                    <a:gd name="T5" fmla="*/ 24 h 28"/>
                    <a:gd name="T6" fmla="*/ 0 w 7"/>
                    <a:gd name="T7" fmla="*/ 26 h 28"/>
                    <a:gd name="T8" fmla="*/ 1 w 7"/>
                    <a:gd name="T9" fmla="*/ 28 h 28"/>
                    <a:gd name="T10" fmla="*/ 3 w 7"/>
                    <a:gd name="T11" fmla="*/ 24 h 28"/>
                    <a:gd name="T12" fmla="*/ 4 w 7"/>
                    <a:gd name="T13" fmla="*/ 19 h 28"/>
                    <a:gd name="T14" fmla="*/ 4 w 7"/>
                    <a:gd name="T15" fmla="*/ 14 h 28"/>
                    <a:gd name="T16" fmla="*/ 6 w 7"/>
                    <a:gd name="T17" fmla="*/ 7 h 28"/>
                    <a:gd name="T18" fmla="*/ 7 w 7"/>
                    <a:gd name="T19" fmla="*/ 3 h 28"/>
                    <a:gd name="T20" fmla="*/ 5 w 7"/>
                    <a:gd name="T21" fmla="*/ 0 h 28"/>
                    <a:gd name="T22" fmla="*/ 4 w 7"/>
                    <a:gd name="T23" fmla="*/ 4 h 28"/>
                    <a:gd name="T24" fmla="*/ 4 w 7"/>
                    <a:gd name="T25" fmla="*/ 5 h 28"/>
                    <a:gd name="T26" fmla="*/ 3 w 7"/>
                    <a:gd name="T27" fmla="*/ 11 h 28"/>
                    <a:gd name="T28" fmla="*/ 1 w 7"/>
                    <a:gd name="T29" fmla="*/ 11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" h="28">
                      <a:moveTo>
                        <a:pt x="1" y="11"/>
                      </a:moveTo>
                      <a:lnTo>
                        <a:pt x="0" y="21"/>
                      </a:lnTo>
                      <a:lnTo>
                        <a:pt x="0" y="24"/>
                      </a:lnTo>
                      <a:lnTo>
                        <a:pt x="0" y="26"/>
                      </a:lnTo>
                      <a:lnTo>
                        <a:pt x="1" y="28"/>
                      </a:lnTo>
                      <a:lnTo>
                        <a:pt x="3" y="24"/>
                      </a:lnTo>
                      <a:lnTo>
                        <a:pt x="4" y="19"/>
                      </a:lnTo>
                      <a:lnTo>
                        <a:pt x="4" y="14"/>
                      </a:lnTo>
                      <a:lnTo>
                        <a:pt x="6" y="7"/>
                      </a:lnTo>
                      <a:lnTo>
                        <a:pt x="7" y="3"/>
                      </a:lnTo>
                      <a:lnTo>
                        <a:pt x="5" y="0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11"/>
                      </a:lnTo>
                      <a:lnTo>
                        <a:pt x="1" y="1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28" name="Freeform 630">
                  <a:extLst>
                    <a:ext uri="{FF2B5EF4-FFF2-40B4-BE49-F238E27FC236}">
                      <a16:creationId xmlns:a16="http://schemas.microsoft.com/office/drawing/2014/main" id="{58D6DF5D-4A80-4DF7-834C-3F06392836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36" y="1685"/>
                  <a:ext cx="5" cy="4"/>
                </a:xfrm>
                <a:custGeom>
                  <a:avLst/>
                  <a:gdLst>
                    <a:gd name="T0" fmla="*/ 0 w 5"/>
                    <a:gd name="T1" fmla="*/ 2 h 4"/>
                    <a:gd name="T2" fmla="*/ 1 w 5"/>
                    <a:gd name="T3" fmla="*/ 4 h 4"/>
                    <a:gd name="T4" fmla="*/ 3 w 5"/>
                    <a:gd name="T5" fmla="*/ 2 h 4"/>
                    <a:gd name="T6" fmla="*/ 5 w 5"/>
                    <a:gd name="T7" fmla="*/ 1 h 4"/>
                    <a:gd name="T8" fmla="*/ 4 w 5"/>
                    <a:gd name="T9" fmla="*/ 0 h 4"/>
                    <a:gd name="T10" fmla="*/ 1 w 5"/>
                    <a:gd name="T11" fmla="*/ 1 h 4"/>
                    <a:gd name="T12" fmla="*/ 0 w 5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0" y="2"/>
                      </a:moveTo>
                      <a:lnTo>
                        <a:pt x="1" y="4"/>
                      </a:lnTo>
                      <a:lnTo>
                        <a:pt x="3" y="2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29" name="Freeform 631">
                  <a:extLst>
                    <a:ext uri="{FF2B5EF4-FFF2-40B4-BE49-F238E27FC236}">
                      <a16:creationId xmlns:a16="http://schemas.microsoft.com/office/drawing/2014/main" id="{A9A643E9-0A86-4308-A189-0ADF69E47B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35" y="1671"/>
                  <a:ext cx="2" cy="4"/>
                </a:xfrm>
                <a:custGeom>
                  <a:avLst/>
                  <a:gdLst>
                    <a:gd name="T0" fmla="*/ 0 w 2"/>
                    <a:gd name="T1" fmla="*/ 1 h 4"/>
                    <a:gd name="T2" fmla="*/ 2 w 2"/>
                    <a:gd name="T3" fmla="*/ 4 h 4"/>
                    <a:gd name="T4" fmla="*/ 2 w 2"/>
                    <a:gd name="T5" fmla="*/ 1 h 4"/>
                    <a:gd name="T6" fmla="*/ 2 w 2"/>
                    <a:gd name="T7" fmla="*/ 0 h 4"/>
                    <a:gd name="T8" fmla="*/ 0 w 2"/>
                    <a:gd name="T9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4">
                      <a:moveTo>
                        <a:pt x="0" y="1"/>
                      </a:moveTo>
                      <a:lnTo>
                        <a:pt x="2" y="4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30" name="Freeform 632">
                  <a:extLst>
                    <a:ext uri="{FF2B5EF4-FFF2-40B4-BE49-F238E27FC236}">
                      <a16:creationId xmlns:a16="http://schemas.microsoft.com/office/drawing/2014/main" id="{B894B16B-B9A0-42C3-8305-2D390404A1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74" y="1623"/>
                  <a:ext cx="1" cy="2"/>
                </a:xfrm>
                <a:custGeom>
                  <a:avLst/>
                  <a:gdLst>
                    <a:gd name="T0" fmla="*/ 0 w 2"/>
                    <a:gd name="T1" fmla="*/ 3 h 3"/>
                    <a:gd name="T2" fmla="*/ 2 w 2"/>
                    <a:gd name="T3" fmla="*/ 3 h 3"/>
                    <a:gd name="T4" fmla="*/ 0 w 2"/>
                    <a:gd name="T5" fmla="*/ 0 h 3"/>
                    <a:gd name="T6" fmla="*/ 0 w 2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3"/>
                      </a:moveTo>
                      <a:cubicBezTo>
                        <a:pt x="2" y="3"/>
                        <a:pt x="2" y="3"/>
                        <a:pt x="2" y="3"/>
                      </a:cubicBezTo>
                      <a:cubicBezTo>
                        <a:pt x="2" y="3"/>
                        <a:pt x="0" y="0"/>
                        <a:pt x="0" y="0"/>
                      </a:cubicBez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31" name="Freeform 633">
                  <a:extLst>
                    <a:ext uri="{FF2B5EF4-FFF2-40B4-BE49-F238E27FC236}">
                      <a16:creationId xmlns:a16="http://schemas.microsoft.com/office/drawing/2014/main" id="{B21915D4-2B46-48FF-AEF9-04DC857FDF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75" y="1627"/>
                  <a:ext cx="3" cy="4"/>
                </a:xfrm>
                <a:custGeom>
                  <a:avLst/>
                  <a:gdLst>
                    <a:gd name="T0" fmla="*/ 3 w 3"/>
                    <a:gd name="T1" fmla="*/ 2 h 4"/>
                    <a:gd name="T2" fmla="*/ 3 w 3"/>
                    <a:gd name="T3" fmla="*/ 0 h 4"/>
                    <a:gd name="T4" fmla="*/ 2 w 3"/>
                    <a:gd name="T5" fmla="*/ 1 h 4"/>
                    <a:gd name="T6" fmla="*/ 0 w 3"/>
                    <a:gd name="T7" fmla="*/ 2 h 4"/>
                    <a:gd name="T8" fmla="*/ 2 w 3"/>
                    <a:gd name="T9" fmla="*/ 4 h 4"/>
                    <a:gd name="T10" fmla="*/ 3 w 3"/>
                    <a:gd name="T11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4">
                      <a:moveTo>
                        <a:pt x="3" y="2"/>
                      </a:moveTo>
                      <a:lnTo>
                        <a:pt x="3" y="0"/>
                      </a:lnTo>
                      <a:lnTo>
                        <a:pt x="2" y="1"/>
                      </a:lnTo>
                      <a:lnTo>
                        <a:pt x="0" y="2"/>
                      </a:lnTo>
                      <a:lnTo>
                        <a:pt x="2" y="4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32" name="Freeform 634">
                  <a:extLst>
                    <a:ext uri="{FF2B5EF4-FFF2-40B4-BE49-F238E27FC236}">
                      <a16:creationId xmlns:a16="http://schemas.microsoft.com/office/drawing/2014/main" id="{DE050F56-E2B5-47E8-BD7B-539F2A2E67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0" y="1533"/>
                  <a:ext cx="2" cy="3"/>
                </a:xfrm>
                <a:custGeom>
                  <a:avLst/>
                  <a:gdLst>
                    <a:gd name="T0" fmla="*/ 2 w 2"/>
                    <a:gd name="T1" fmla="*/ 2 h 3"/>
                    <a:gd name="T2" fmla="*/ 0 w 2"/>
                    <a:gd name="T3" fmla="*/ 0 h 3"/>
                    <a:gd name="T4" fmla="*/ 0 w 2"/>
                    <a:gd name="T5" fmla="*/ 2 h 3"/>
                    <a:gd name="T6" fmla="*/ 0 w 2"/>
                    <a:gd name="T7" fmla="*/ 3 h 3"/>
                    <a:gd name="T8" fmla="*/ 2 w 2"/>
                    <a:gd name="T9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33" name="Freeform 635">
                  <a:extLst>
                    <a:ext uri="{FF2B5EF4-FFF2-40B4-BE49-F238E27FC236}">
                      <a16:creationId xmlns:a16="http://schemas.microsoft.com/office/drawing/2014/main" id="{18A6AE76-4DFC-4098-8DA5-FC3FC31F92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3" y="1613"/>
                  <a:ext cx="2" cy="5"/>
                </a:xfrm>
                <a:custGeom>
                  <a:avLst/>
                  <a:gdLst>
                    <a:gd name="T0" fmla="*/ 2 w 2"/>
                    <a:gd name="T1" fmla="*/ 4 h 5"/>
                    <a:gd name="T2" fmla="*/ 0 w 2"/>
                    <a:gd name="T3" fmla="*/ 0 h 5"/>
                    <a:gd name="T4" fmla="*/ 0 w 2"/>
                    <a:gd name="T5" fmla="*/ 4 h 5"/>
                    <a:gd name="T6" fmla="*/ 1 w 2"/>
                    <a:gd name="T7" fmla="*/ 5 h 5"/>
                    <a:gd name="T8" fmla="*/ 2 w 2"/>
                    <a:gd name="T9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5">
                      <a:moveTo>
                        <a:pt x="2" y="4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1" y="5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34" name="Freeform 636">
                  <a:extLst>
                    <a:ext uri="{FF2B5EF4-FFF2-40B4-BE49-F238E27FC236}">
                      <a16:creationId xmlns:a16="http://schemas.microsoft.com/office/drawing/2014/main" id="{C95B27BB-27C3-4DAC-A0D2-5A2B8E00CA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8" y="1618"/>
                  <a:ext cx="5" cy="5"/>
                </a:xfrm>
                <a:custGeom>
                  <a:avLst/>
                  <a:gdLst>
                    <a:gd name="T0" fmla="*/ 0 w 5"/>
                    <a:gd name="T1" fmla="*/ 3 h 5"/>
                    <a:gd name="T2" fmla="*/ 2 w 5"/>
                    <a:gd name="T3" fmla="*/ 5 h 5"/>
                    <a:gd name="T4" fmla="*/ 4 w 5"/>
                    <a:gd name="T5" fmla="*/ 2 h 5"/>
                    <a:gd name="T6" fmla="*/ 5 w 5"/>
                    <a:gd name="T7" fmla="*/ 0 h 5"/>
                    <a:gd name="T8" fmla="*/ 0 w 5"/>
                    <a:gd name="T9" fmla="*/ 2 h 5"/>
                    <a:gd name="T10" fmla="*/ 0 w 5"/>
                    <a:gd name="T11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5">
                      <a:moveTo>
                        <a:pt x="0" y="3"/>
                      </a:moveTo>
                      <a:lnTo>
                        <a:pt x="2" y="5"/>
                      </a:lnTo>
                      <a:lnTo>
                        <a:pt x="4" y="2"/>
                      </a:ln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35" name="Freeform 637">
                  <a:extLst>
                    <a:ext uri="{FF2B5EF4-FFF2-40B4-BE49-F238E27FC236}">
                      <a16:creationId xmlns:a16="http://schemas.microsoft.com/office/drawing/2014/main" id="{D82D8804-0275-44D0-B069-FA46C4827B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6" y="1615"/>
                  <a:ext cx="3" cy="2"/>
                </a:xfrm>
                <a:custGeom>
                  <a:avLst/>
                  <a:gdLst>
                    <a:gd name="T0" fmla="*/ 0 w 4"/>
                    <a:gd name="T1" fmla="*/ 0 h 2"/>
                    <a:gd name="T2" fmla="*/ 2 w 4"/>
                    <a:gd name="T3" fmla="*/ 2 h 2"/>
                    <a:gd name="T4" fmla="*/ 4 w 4"/>
                    <a:gd name="T5" fmla="*/ 1 h 2"/>
                    <a:gd name="T6" fmla="*/ 0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0" y="0"/>
                      </a:moveTo>
                      <a:cubicBezTo>
                        <a:pt x="0" y="0"/>
                        <a:pt x="2" y="2"/>
                        <a:pt x="2" y="2"/>
                      </a:cubicBezTo>
                      <a:cubicBezTo>
                        <a:pt x="4" y="1"/>
                        <a:pt x="4" y="1"/>
                        <a:pt x="4" y="1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36" name="Freeform 638">
                  <a:extLst>
                    <a:ext uri="{FF2B5EF4-FFF2-40B4-BE49-F238E27FC236}">
                      <a16:creationId xmlns:a16="http://schemas.microsoft.com/office/drawing/2014/main" id="{4A6A660C-68D3-4C86-9A54-EBC1631793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37" y="1616"/>
                  <a:ext cx="10" cy="13"/>
                </a:xfrm>
                <a:custGeom>
                  <a:avLst/>
                  <a:gdLst>
                    <a:gd name="T0" fmla="*/ 0 w 10"/>
                    <a:gd name="T1" fmla="*/ 4 h 13"/>
                    <a:gd name="T2" fmla="*/ 0 w 10"/>
                    <a:gd name="T3" fmla="*/ 6 h 13"/>
                    <a:gd name="T4" fmla="*/ 1 w 10"/>
                    <a:gd name="T5" fmla="*/ 8 h 13"/>
                    <a:gd name="T6" fmla="*/ 3 w 10"/>
                    <a:gd name="T7" fmla="*/ 10 h 13"/>
                    <a:gd name="T8" fmla="*/ 6 w 10"/>
                    <a:gd name="T9" fmla="*/ 11 h 13"/>
                    <a:gd name="T10" fmla="*/ 8 w 10"/>
                    <a:gd name="T11" fmla="*/ 13 h 13"/>
                    <a:gd name="T12" fmla="*/ 10 w 10"/>
                    <a:gd name="T13" fmla="*/ 12 h 13"/>
                    <a:gd name="T14" fmla="*/ 9 w 10"/>
                    <a:gd name="T15" fmla="*/ 9 h 13"/>
                    <a:gd name="T16" fmla="*/ 7 w 10"/>
                    <a:gd name="T17" fmla="*/ 9 h 13"/>
                    <a:gd name="T18" fmla="*/ 6 w 10"/>
                    <a:gd name="T19" fmla="*/ 7 h 13"/>
                    <a:gd name="T20" fmla="*/ 6 w 10"/>
                    <a:gd name="T21" fmla="*/ 5 h 13"/>
                    <a:gd name="T22" fmla="*/ 9 w 10"/>
                    <a:gd name="T23" fmla="*/ 5 h 13"/>
                    <a:gd name="T24" fmla="*/ 8 w 10"/>
                    <a:gd name="T25" fmla="*/ 3 h 13"/>
                    <a:gd name="T26" fmla="*/ 4 w 10"/>
                    <a:gd name="T27" fmla="*/ 0 h 13"/>
                    <a:gd name="T28" fmla="*/ 3 w 10"/>
                    <a:gd name="T29" fmla="*/ 0 h 13"/>
                    <a:gd name="T30" fmla="*/ 3 w 10"/>
                    <a:gd name="T31" fmla="*/ 2 h 13"/>
                    <a:gd name="T32" fmla="*/ 4 w 10"/>
                    <a:gd name="T33" fmla="*/ 4 h 13"/>
                    <a:gd name="T34" fmla="*/ 3 w 10"/>
                    <a:gd name="T35" fmla="*/ 5 h 13"/>
                    <a:gd name="T36" fmla="*/ 0 w 10"/>
                    <a:gd name="T37" fmla="*/ 4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0" h="13">
                      <a:moveTo>
                        <a:pt x="0" y="4"/>
                      </a:moveTo>
                      <a:lnTo>
                        <a:pt x="0" y="6"/>
                      </a:lnTo>
                      <a:lnTo>
                        <a:pt x="1" y="8"/>
                      </a:lnTo>
                      <a:lnTo>
                        <a:pt x="3" y="10"/>
                      </a:lnTo>
                      <a:lnTo>
                        <a:pt x="6" y="11"/>
                      </a:lnTo>
                      <a:lnTo>
                        <a:pt x="8" y="13"/>
                      </a:lnTo>
                      <a:lnTo>
                        <a:pt x="10" y="12"/>
                      </a:lnTo>
                      <a:lnTo>
                        <a:pt x="9" y="9"/>
                      </a:lnTo>
                      <a:lnTo>
                        <a:pt x="7" y="9"/>
                      </a:lnTo>
                      <a:lnTo>
                        <a:pt x="6" y="7"/>
                      </a:lnTo>
                      <a:lnTo>
                        <a:pt x="6" y="5"/>
                      </a:lnTo>
                      <a:lnTo>
                        <a:pt x="9" y="5"/>
                      </a:lnTo>
                      <a:lnTo>
                        <a:pt x="8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4" y="4"/>
                      </a:lnTo>
                      <a:lnTo>
                        <a:pt x="3" y="5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37" name="Freeform 639">
                  <a:extLst>
                    <a:ext uri="{FF2B5EF4-FFF2-40B4-BE49-F238E27FC236}">
                      <a16:creationId xmlns:a16="http://schemas.microsoft.com/office/drawing/2014/main" id="{113A12D5-710D-4E66-9713-20EA1B24D4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30" y="1328"/>
                  <a:ext cx="142" cy="306"/>
                </a:xfrm>
                <a:custGeom>
                  <a:avLst/>
                  <a:gdLst>
                    <a:gd name="T0" fmla="*/ 178 w 183"/>
                    <a:gd name="T1" fmla="*/ 300 h 394"/>
                    <a:gd name="T2" fmla="*/ 161 w 183"/>
                    <a:gd name="T3" fmla="*/ 251 h 394"/>
                    <a:gd name="T4" fmla="*/ 158 w 183"/>
                    <a:gd name="T5" fmla="*/ 223 h 394"/>
                    <a:gd name="T6" fmla="*/ 150 w 183"/>
                    <a:gd name="T7" fmla="*/ 204 h 394"/>
                    <a:gd name="T8" fmla="*/ 150 w 183"/>
                    <a:gd name="T9" fmla="*/ 174 h 394"/>
                    <a:gd name="T10" fmla="*/ 132 w 183"/>
                    <a:gd name="T11" fmla="*/ 122 h 394"/>
                    <a:gd name="T12" fmla="*/ 130 w 183"/>
                    <a:gd name="T13" fmla="*/ 89 h 394"/>
                    <a:gd name="T14" fmla="*/ 115 w 183"/>
                    <a:gd name="T15" fmla="*/ 66 h 394"/>
                    <a:gd name="T16" fmla="*/ 115 w 183"/>
                    <a:gd name="T17" fmla="*/ 46 h 394"/>
                    <a:gd name="T18" fmla="*/ 122 w 183"/>
                    <a:gd name="T19" fmla="*/ 24 h 394"/>
                    <a:gd name="T20" fmla="*/ 105 w 183"/>
                    <a:gd name="T21" fmla="*/ 10 h 394"/>
                    <a:gd name="T22" fmla="*/ 87 w 183"/>
                    <a:gd name="T23" fmla="*/ 6 h 394"/>
                    <a:gd name="T24" fmla="*/ 73 w 183"/>
                    <a:gd name="T25" fmla="*/ 15 h 394"/>
                    <a:gd name="T26" fmla="*/ 72 w 183"/>
                    <a:gd name="T27" fmla="*/ 42 h 394"/>
                    <a:gd name="T28" fmla="*/ 63 w 183"/>
                    <a:gd name="T29" fmla="*/ 54 h 394"/>
                    <a:gd name="T30" fmla="*/ 45 w 183"/>
                    <a:gd name="T31" fmla="*/ 54 h 394"/>
                    <a:gd name="T32" fmla="*/ 21 w 183"/>
                    <a:gd name="T33" fmla="*/ 55 h 394"/>
                    <a:gd name="T34" fmla="*/ 3 w 183"/>
                    <a:gd name="T35" fmla="*/ 40 h 394"/>
                    <a:gd name="T36" fmla="*/ 0 w 183"/>
                    <a:gd name="T37" fmla="*/ 48 h 394"/>
                    <a:gd name="T38" fmla="*/ 26 w 183"/>
                    <a:gd name="T39" fmla="*/ 69 h 394"/>
                    <a:gd name="T40" fmla="*/ 38 w 183"/>
                    <a:gd name="T41" fmla="*/ 81 h 394"/>
                    <a:gd name="T42" fmla="*/ 45 w 183"/>
                    <a:gd name="T43" fmla="*/ 93 h 394"/>
                    <a:gd name="T44" fmla="*/ 51 w 183"/>
                    <a:gd name="T45" fmla="*/ 115 h 394"/>
                    <a:gd name="T46" fmla="*/ 52 w 183"/>
                    <a:gd name="T47" fmla="*/ 139 h 394"/>
                    <a:gd name="T48" fmla="*/ 57 w 183"/>
                    <a:gd name="T49" fmla="*/ 162 h 394"/>
                    <a:gd name="T50" fmla="*/ 67 w 183"/>
                    <a:gd name="T51" fmla="*/ 179 h 394"/>
                    <a:gd name="T52" fmla="*/ 81 w 183"/>
                    <a:gd name="T53" fmla="*/ 193 h 394"/>
                    <a:gd name="T54" fmla="*/ 80 w 183"/>
                    <a:gd name="T55" fmla="*/ 207 h 394"/>
                    <a:gd name="T56" fmla="*/ 70 w 183"/>
                    <a:gd name="T57" fmla="*/ 214 h 394"/>
                    <a:gd name="T58" fmla="*/ 59 w 183"/>
                    <a:gd name="T59" fmla="*/ 233 h 394"/>
                    <a:gd name="T60" fmla="*/ 56 w 183"/>
                    <a:gd name="T61" fmla="*/ 243 h 394"/>
                    <a:gd name="T62" fmla="*/ 52 w 183"/>
                    <a:gd name="T63" fmla="*/ 259 h 394"/>
                    <a:gd name="T64" fmla="*/ 43 w 183"/>
                    <a:gd name="T65" fmla="*/ 263 h 394"/>
                    <a:gd name="T66" fmla="*/ 40 w 183"/>
                    <a:gd name="T67" fmla="*/ 271 h 394"/>
                    <a:gd name="T68" fmla="*/ 32 w 183"/>
                    <a:gd name="T69" fmla="*/ 272 h 394"/>
                    <a:gd name="T70" fmla="*/ 28 w 183"/>
                    <a:gd name="T71" fmla="*/ 287 h 394"/>
                    <a:gd name="T72" fmla="*/ 26 w 183"/>
                    <a:gd name="T73" fmla="*/ 301 h 394"/>
                    <a:gd name="T74" fmla="*/ 29 w 183"/>
                    <a:gd name="T75" fmla="*/ 312 h 394"/>
                    <a:gd name="T76" fmla="*/ 34 w 183"/>
                    <a:gd name="T77" fmla="*/ 330 h 394"/>
                    <a:gd name="T78" fmla="*/ 33 w 183"/>
                    <a:gd name="T79" fmla="*/ 354 h 394"/>
                    <a:gd name="T80" fmla="*/ 39 w 183"/>
                    <a:gd name="T81" fmla="*/ 365 h 394"/>
                    <a:gd name="T82" fmla="*/ 51 w 183"/>
                    <a:gd name="T83" fmla="*/ 372 h 394"/>
                    <a:gd name="T84" fmla="*/ 63 w 183"/>
                    <a:gd name="T85" fmla="*/ 371 h 394"/>
                    <a:gd name="T86" fmla="*/ 65 w 183"/>
                    <a:gd name="T87" fmla="*/ 393 h 394"/>
                    <a:gd name="T88" fmla="*/ 74 w 183"/>
                    <a:gd name="T89" fmla="*/ 387 h 394"/>
                    <a:gd name="T90" fmla="*/ 93 w 183"/>
                    <a:gd name="T91" fmla="*/ 374 h 394"/>
                    <a:gd name="T92" fmla="*/ 103 w 183"/>
                    <a:gd name="T93" fmla="*/ 375 h 394"/>
                    <a:gd name="T94" fmla="*/ 109 w 183"/>
                    <a:gd name="T95" fmla="*/ 365 h 394"/>
                    <a:gd name="T96" fmla="*/ 117 w 183"/>
                    <a:gd name="T97" fmla="*/ 370 h 394"/>
                    <a:gd name="T98" fmla="*/ 128 w 183"/>
                    <a:gd name="T99" fmla="*/ 367 h 394"/>
                    <a:gd name="T100" fmla="*/ 136 w 183"/>
                    <a:gd name="T101" fmla="*/ 363 h 394"/>
                    <a:gd name="T102" fmla="*/ 144 w 183"/>
                    <a:gd name="T103" fmla="*/ 358 h 3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83" h="394">
                      <a:moveTo>
                        <a:pt x="156" y="346"/>
                      </a:moveTo>
                      <a:cubicBezTo>
                        <a:pt x="161" y="335"/>
                        <a:pt x="161" y="335"/>
                        <a:pt x="161" y="335"/>
                      </a:cubicBezTo>
                      <a:cubicBezTo>
                        <a:pt x="166" y="326"/>
                        <a:pt x="166" y="326"/>
                        <a:pt x="166" y="326"/>
                      </a:cubicBezTo>
                      <a:cubicBezTo>
                        <a:pt x="170" y="315"/>
                        <a:pt x="170" y="315"/>
                        <a:pt x="170" y="315"/>
                      </a:cubicBezTo>
                      <a:cubicBezTo>
                        <a:pt x="178" y="300"/>
                        <a:pt x="178" y="300"/>
                        <a:pt x="178" y="300"/>
                      </a:cubicBezTo>
                      <a:cubicBezTo>
                        <a:pt x="183" y="285"/>
                        <a:pt x="183" y="285"/>
                        <a:pt x="183" y="285"/>
                      </a:cubicBezTo>
                      <a:cubicBezTo>
                        <a:pt x="182" y="278"/>
                        <a:pt x="182" y="278"/>
                        <a:pt x="182" y="278"/>
                      </a:cubicBezTo>
                      <a:cubicBezTo>
                        <a:pt x="174" y="267"/>
                        <a:pt x="174" y="267"/>
                        <a:pt x="174" y="267"/>
                      </a:cubicBezTo>
                      <a:cubicBezTo>
                        <a:pt x="169" y="265"/>
                        <a:pt x="169" y="265"/>
                        <a:pt x="169" y="265"/>
                      </a:cubicBezTo>
                      <a:cubicBezTo>
                        <a:pt x="161" y="251"/>
                        <a:pt x="161" y="251"/>
                        <a:pt x="161" y="251"/>
                      </a:cubicBezTo>
                      <a:cubicBezTo>
                        <a:pt x="162" y="245"/>
                        <a:pt x="162" y="245"/>
                        <a:pt x="162" y="245"/>
                      </a:cubicBezTo>
                      <a:cubicBezTo>
                        <a:pt x="166" y="239"/>
                        <a:pt x="166" y="239"/>
                        <a:pt x="166" y="239"/>
                      </a:cubicBezTo>
                      <a:cubicBezTo>
                        <a:pt x="165" y="233"/>
                        <a:pt x="165" y="233"/>
                        <a:pt x="165" y="233"/>
                      </a:cubicBezTo>
                      <a:cubicBezTo>
                        <a:pt x="160" y="228"/>
                        <a:pt x="160" y="228"/>
                        <a:pt x="160" y="228"/>
                      </a:cubicBezTo>
                      <a:cubicBezTo>
                        <a:pt x="158" y="223"/>
                        <a:pt x="158" y="223"/>
                        <a:pt x="158" y="223"/>
                      </a:cubicBezTo>
                      <a:cubicBezTo>
                        <a:pt x="157" y="215"/>
                        <a:pt x="157" y="215"/>
                        <a:pt x="157" y="215"/>
                      </a:cubicBezTo>
                      <a:cubicBezTo>
                        <a:pt x="159" y="213"/>
                        <a:pt x="159" y="213"/>
                        <a:pt x="159" y="213"/>
                      </a:cubicBezTo>
                      <a:cubicBezTo>
                        <a:pt x="157" y="209"/>
                        <a:pt x="157" y="209"/>
                        <a:pt x="157" y="209"/>
                      </a:cubicBezTo>
                      <a:cubicBezTo>
                        <a:pt x="153" y="208"/>
                        <a:pt x="153" y="208"/>
                        <a:pt x="153" y="208"/>
                      </a:cubicBezTo>
                      <a:cubicBezTo>
                        <a:pt x="150" y="204"/>
                        <a:pt x="150" y="204"/>
                        <a:pt x="150" y="204"/>
                      </a:cubicBezTo>
                      <a:cubicBezTo>
                        <a:pt x="150" y="197"/>
                        <a:pt x="150" y="197"/>
                        <a:pt x="150" y="197"/>
                      </a:cubicBezTo>
                      <a:cubicBezTo>
                        <a:pt x="153" y="193"/>
                        <a:pt x="153" y="193"/>
                        <a:pt x="153" y="193"/>
                      </a:cubicBezTo>
                      <a:cubicBezTo>
                        <a:pt x="149" y="192"/>
                        <a:pt x="149" y="192"/>
                        <a:pt x="149" y="192"/>
                      </a:cubicBezTo>
                      <a:cubicBezTo>
                        <a:pt x="149" y="188"/>
                        <a:pt x="149" y="188"/>
                        <a:pt x="149" y="188"/>
                      </a:cubicBezTo>
                      <a:cubicBezTo>
                        <a:pt x="150" y="174"/>
                        <a:pt x="150" y="174"/>
                        <a:pt x="150" y="174"/>
                      </a:cubicBezTo>
                      <a:cubicBezTo>
                        <a:pt x="153" y="173"/>
                        <a:pt x="153" y="173"/>
                        <a:pt x="153" y="173"/>
                      </a:cubicBezTo>
                      <a:cubicBezTo>
                        <a:pt x="145" y="150"/>
                        <a:pt x="145" y="150"/>
                        <a:pt x="145" y="150"/>
                      </a:cubicBezTo>
                      <a:cubicBezTo>
                        <a:pt x="138" y="134"/>
                        <a:pt x="138" y="134"/>
                        <a:pt x="138" y="134"/>
                      </a:cubicBezTo>
                      <a:cubicBezTo>
                        <a:pt x="136" y="128"/>
                        <a:pt x="136" y="128"/>
                        <a:pt x="136" y="128"/>
                      </a:cubicBezTo>
                      <a:cubicBezTo>
                        <a:pt x="132" y="122"/>
                        <a:pt x="132" y="122"/>
                        <a:pt x="132" y="122"/>
                      </a:cubicBezTo>
                      <a:cubicBezTo>
                        <a:pt x="135" y="112"/>
                        <a:pt x="135" y="112"/>
                        <a:pt x="135" y="112"/>
                      </a:cubicBezTo>
                      <a:cubicBezTo>
                        <a:pt x="139" y="104"/>
                        <a:pt x="139" y="104"/>
                        <a:pt x="139" y="104"/>
                      </a:cubicBezTo>
                      <a:cubicBezTo>
                        <a:pt x="140" y="98"/>
                        <a:pt x="140" y="98"/>
                        <a:pt x="140" y="98"/>
                      </a:cubicBezTo>
                      <a:cubicBezTo>
                        <a:pt x="138" y="95"/>
                        <a:pt x="138" y="95"/>
                        <a:pt x="138" y="95"/>
                      </a:cubicBezTo>
                      <a:cubicBezTo>
                        <a:pt x="130" y="89"/>
                        <a:pt x="130" y="89"/>
                        <a:pt x="130" y="89"/>
                      </a:cubicBezTo>
                      <a:cubicBezTo>
                        <a:pt x="128" y="85"/>
                        <a:pt x="128" y="85"/>
                        <a:pt x="128" y="85"/>
                      </a:cubicBezTo>
                      <a:cubicBezTo>
                        <a:pt x="126" y="80"/>
                        <a:pt x="126" y="80"/>
                        <a:pt x="126" y="80"/>
                      </a:cubicBezTo>
                      <a:cubicBezTo>
                        <a:pt x="121" y="77"/>
                        <a:pt x="121" y="77"/>
                        <a:pt x="121" y="77"/>
                      </a:cubicBezTo>
                      <a:cubicBezTo>
                        <a:pt x="118" y="76"/>
                        <a:pt x="118" y="76"/>
                        <a:pt x="118" y="76"/>
                      </a:cubicBezTo>
                      <a:cubicBezTo>
                        <a:pt x="115" y="66"/>
                        <a:pt x="115" y="66"/>
                        <a:pt x="115" y="66"/>
                      </a:cubicBezTo>
                      <a:cubicBezTo>
                        <a:pt x="112" y="63"/>
                        <a:pt x="112" y="63"/>
                        <a:pt x="112" y="63"/>
                      </a:cubicBezTo>
                      <a:cubicBezTo>
                        <a:pt x="114" y="55"/>
                        <a:pt x="114" y="55"/>
                        <a:pt x="114" y="55"/>
                      </a:cubicBezTo>
                      <a:cubicBezTo>
                        <a:pt x="115" y="49"/>
                        <a:pt x="115" y="49"/>
                        <a:pt x="115" y="49"/>
                      </a:cubicBezTo>
                      <a:cubicBezTo>
                        <a:pt x="112" y="48"/>
                        <a:pt x="112" y="48"/>
                        <a:pt x="112" y="48"/>
                      </a:cubicBezTo>
                      <a:cubicBezTo>
                        <a:pt x="115" y="46"/>
                        <a:pt x="115" y="46"/>
                        <a:pt x="115" y="46"/>
                      </a:cubicBezTo>
                      <a:cubicBezTo>
                        <a:pt x="119" y="43"/>
                        <a:pt x="119" y="43"/>
                        <a:pt x="119" y="43"/>
                      </a:cubicBezTo>
                      <a:cubicBezTo>
                        <a:pt x="119" y="43"/>
                        <a:pt x="119" y="43"/>
                        <a:pt x="119" y="43"/>
                      </a:cubicBezTo>
                      <a:cubicBezTo>
                        <a:pt x="119" y="34"/>
                        <a:pt x="119" y="34"/>
                        <a:pt x="119" y="34"/>
                      </a:cubicBezTo>
                      <a:cubicBezTo>
                        <a:pt x="122" y="28"/>
                        <a:pt x="122" y="28"/>
                        <a:pt x="122" y="28"/>
                      </a:cubicBezTo>
                      <a:cubicBezTo>
                        <a:pt x="122" y="24"/>
                        <a:pt x="122" y="24"/>
                        <a:pt x="122" y="24"/>
                      </a:cubicBezTo>
                      <a:cubicBezTo>
                        <a:pt x="119" y="19"/>
                        <a:pt x="119" y="19"/>
                        <a:pt x="119" y="19"/>
                      </a:cubicBezTo>
                      <a:cubicBezTo>
                        <a:pt x="118" y="16"/>
                        <a:pt x="118" y="16"/>
                        <a:pt x="118" y="16"/>
                      </a:cubicBezTo>
                      <a:cubicBezTo>
                        <a:pt x="112" y="15"/>
                        <a:pt x="112" y="15"/>
                        <a:pt x="112" y="15"/>
                      </a:cubicBezTo>
                      <a:cubicBezTo>
                        <a:pt x="108" y="13"/>
                        <a:pt x="108" y="13"/>
                        <a:pt x="108" y="13"/>
                      </a:cubicBezTo>
                      <a:cubicBezTo>
                        <a:pt x="105" y="10"/>
                        <a:pt x="105" y="10"/>
                        <a:pt x="105" y="10"/>
                      </a:cubicBezTo>
                      <a:cubicBezTo>
                        <a:pt x="101" y="3"/>
                        <a:pt x="101" y="3"/>
                        <a:pt x="101" y="3"/>
                      </a:cubicBezTo>
                      <a:cubicBezTo>
                        <a:pt x="97" y="0"/>
                        <a:pt x="97" y="0"/>
                        <a:pt x="97" y="0"/>
                      </a:cubicBezTo>
                      <a:cubicBezTo>
                        <a:pt x="90" y="1"/>
                        <a:pt x="90" y="1"/>
                        <a:pt x="90" y="1"/>
                      </a:cubicBezTo>
                      <a:cubicBezTo>
                        <a:pt x="87" y="4"/>
                        <a:pt x="87" y="4"/>
                        <a:pt x="87" y="4"/>
                      </a:cubicBezTo>
                      <a:cubicBezTo>
                        <a:pt x="87" y="6"/>
                        <a:pt x="87" y="6"/>
                        <a:pt x="87" y="6"/>
                      </a:cubicBezTo>
                      <a:cubicBezTo>
                        <a:pt x="84" y="7"/>
                        <a:pt x="84" y="7"/>
                        <a:pt x="84" y="7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6" y="8"/>
                        <a:pt x="76" y="8"/>
                        <a:pt x="76" y="8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3" y="15"/>
                        <a:pt x="73" y="15"/>
                        <a:pt x="73" y="15"/>
                      </a:cubicBezTo>
                      <a:cubicBezTo>
                        <a:pt x="71" y="17"/>
                        <a:pt x="71" y="17"/>
                        <a:pt x="71" y="17"/>
                      </a:cubicBezTo>
                      <a:cubicBezTo>
                        <a:pt x="73" y="20"/>
                        <a:pt x="73" y="20"/>
                        <a:pt x="73" y="20"/>
                      </a:cubicBezTo>
                      <a:cubicBezTo>
                        <a:pt x="71" y="24"/>
                        <a:pt x="71" y="24"/>
                        <a:pt x="71" y="24"/>
                      </a:cubicBezTo>
                      <a:cubicBezTo>
                        <a:pt x="71" y="35"/>
                        <a:pt x="71" y="35"/>
                        <a:pt x="71" y="35"/>
                      </a:cubicBezTo>
                      <a:cubicBezTo>
                        <a:pt x="72" y="42"/>
                        <a:pt x="72" y="42"/>
                        <a:pt x="72" y="42"/>
                      </a:cubicBezTo>
                      <a:cubicBezTo>
                        <a:pt x="74" y="45"/>
                        <a:pt x="74" y="45"/>
                        <a:pt x="74" y="45"/>
                      </a:cubicBezTo>
                      <a:cubicBezTo>
                        <a:pt x="72" y="48"/>
                        <a:pt x="72" y="48"/>
                        <a:pt x="72" y="48"/>
                      </a:cubicBezTo>
                      <a:cubicBezTo>
                        <a:pt x="69" y="51"/>
                        <a:pt x="69" y="51"/>
                        <a:pt x="69" y="51"/>
                      </a:cubicBezTo>
                      <a:cubicBezTo>
                        <a:pt x="66" y="50"/>
                        <a:pt x="66" y="50"/>
                        <a:pt x="66" y="50"/>
                      </a:cubicBezTo>
                      <a:cubicBezTo>
                        <a:pt x="63" y="54"/>
                        <a:pt x="63" y="54"/>
                        <a:pt x="63" y="54"/>
                      </a:cubicBezTo>
                      <a:cubicBezTo>
                        <a:pt x="61" y="55"/>
                        <a:pt x="61" y="55"/>
                        <a:pt x="61" y="55"/>
                      </a:cubicBezTo>
                      <a:cubicBezTo>
                        <a:pt x="59" y="60"/>
                        <a:pt x="59" y="60"/>
                        <a:pt x="59" y="60"/>
                      </a:cubicBezTo>
                      <a:cubicBezTo>
                        <a:pt x="55" y="59"/>
                        <a:pt x="55" y="59"/>
                        <a:pt x="55" y="59"/>
                      </a:cubicBezTo>
                      <a:cubicBezTo>
                        <a:pt x="48" y="54"/>
                        <a:pt x="48" y="54"/>
                        <a:pt x="48" y="54"/>
                      </a:cubicBezTo>
                      <a:cubicBezTo>
                        <a:pt x="45" y="54"/>
                        <a:pt x="45" y="54"/>
                        <a:pt x="45" y="54"/>
                      </a:cubicBezTo>
                      <a:cubicBezTo>
                        <a:pt x="42" y="57"/>
                        <a:pt x="42" y="57"/>
                        <a:pt x="42" y="57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29" y="62"/>
                        <a:pt x="29" y="62"/>
                        <a:pt x="29" y="62"/>
                      </a:cubicBezTo>
                      <a:cubicBezTo>
                        <a:pt x="24" y="60"/>
                        <a:pt x="24" y="60"/>
                        <a:pt x="24" y="60"/>
                      </a:cubicBezTo>
                      <a:cubicBezTo>
                        <a:pt x="21" y="55"/>
                        <a:pt x="21" y="55"/>
                        <a:pt x="21" y="55"/>
                      </a:cubicBezTo>
                      <a:cubicBezTo>
                        <a:pt x="20" y="50"/>
                        <a:pt x="20" y="50"/>
                        <a:pt x="20" y="50"/>
                      </a:cubicBezTo>
                      <a:cubicBezTo>
                        <a:pt x="12" y="43"/>
                        <a:pt x="12" y="43"/>
                        <a:pt x="12" y="43"/>
                      </a:cubicBezTo>
                      <a:cubicBezTo>
                        <a:pt x="9" y="38"/>
                        <a:pt x="9" y="38"/>
                        <a:pt x="9" y="38"/>
                      </a:cubicBezTo>
                      <a:cubicBezTo>
                        <a:pt x="6" y="37"/>
                        <a:pt x="6" y="37"/>
                        <a:pt x="6" y="37"/>
                      </a:cubicBezTo>
                      <a:cubicBezTo>
                        <a:pt x="3" y="40"/>
                        <a:pt x="3" y="40"/>
                        <a:pt x="3" y="40"/>
                      </a:cubicBezTo>
                      <a:cubicBezTo>
                        <a:pt x="3" y="43"/>
                        <a:pt x="3" y="43"/>
                        <a:pt x="3" y="43"/>
                      </a:cubicBezTo>
                      <a:cubicBezTo>
                        <a:pt x="4" y="47"/>
                        <a:pt x="4" y="47"/>
                        <a:pt x="4" y="47"/>
                      </a:cubicBezTo>
                      <a:cubicBezTo>
                        <a:pt x="3" y="48"/>
                        <a:pt x="3" y="48"/>
                        <a:pt x="3" y="48"/>
                      </a:cubicBezTo>
                      <a:cubicBezTo>
                        <a:pt x="1" y="47"/>
                        <a:pt x="1" y="47"/>
                        <a:pt x="1" y="47"/>
                      </a:cubicBezTo>
                      <a:cubicBezTo>
                        <a:pt x="0" y="48"/>
                        <a:pt x="0" y="48"/>
                        <a:pt x="0" y="48"/>
                      </a:cubicBezTo>
                      <a:cubicBezTo>
                        <a:pt x="3" y="52"/>
                        <a:pt x="3" y="52"/>
                        <a:pt x="3" y="52"/>
                      </a:cubicBezTo>
                      <a:cubicBezTo>
                        <a:pt x="8" y="55"/>
                        <a:pt x="8" y="55"/>
                        <a:pt x="8" y="55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19" y="68"/>
                        <a:pt x="19" y="68"/>
                        <a:pt x="19" y="68"/>
                      </a:cubicBezTo>
                      <a:cubicBezTo>
                        <a:pt x="26" y="69"/>
                        <a:pt x="26" y="69"/>
                        <a:pt x="26" y="69"/>
                      </a:cubicBezTo>
                      <a:cubicBezTo>
                        <a:pt x="29" y="71"/>
                        <a:pt x="29" y="71"/>
                        <a:pt x="29" y="71"/>
                      </a:cubicBezTo>
                      <a:cubicBezTo>
                        <a:pt x="31" y="72"/>
                        <a:pt x="31" y="72"/>
                        <a:pt x="31" y="72"/>
                      </a:cubicBezTo>
                      <a:cubicBezTo>
                        <a:pt x="35" y="77"/>
                        <a:pt x="35" y="77"/>
                        <a:pt x="35" y="77"/>
                      </a:cubicBezTo>
                      <a:cubicBezTo>
                        <a:pt x="36" y="81"/>
                        <a:pt x="36" y="81"/>
                        <a:pt x="36" y="81"/>
                      </a:cubicBezTo>
                      <a:cubicBezTo>
                        <a:pt x="38" y="81"/>
                        <a:pt x="38" y="81"/>
                        <a:pt x="38" y="81"/>
                      </a:cubicBezTo>
                      <a:cubicBezTo>
                        <a:pt x="39" y="81"/>
                        <a:pt x="39" y="81"/>
                        <a:pt x="39" y="81"/>
                      </a:cubicBezTo>
                      <a:cubicBezTo>
                        <a:pt x="42" y="86"/>
                        <a:pt x="42" y="86"/>
                        <a:pt x="42" y="86"/>
                      </a:cubicBezTo>
                      <a:cubicBezTo>
                        <a:pt x="45" y="86"/>
                        <a:pt x="45" y="86"/>
                        <a:pt x="45" y="86"/>
                      </a:cubicBezTo>
                      <a:cubicBezTo>
                        <a:pt x="47" y="89"/>
                        <a:pt x="47" y="89"/>
                        <a:pt x="47" y="89"/>
                      </a:cubicBezTo>
                      <a:cubicBezTo>
                        <a:pt x="45" y="93"/>
                        <a:pt x="45" y="93"/>
                        <a:pt x="45" y="93"/>
                      </a:cubicBezTo>
                      <a:cubicBezTo>
                        <a:pt x="46" y="100"/>
                        <a:pt x="46" y="100"/>
                        <a:pt x="46" y="100"/>
                      </a:cubicBezTo>
                      <a:cubicBezTo>
                        <a:pt x="45" y="105"/>
                        <a:pt x="45" y="105"/>
                        <a:pt x="45" y="105"/>
                      </a:cubicBezTo>
                      <a:cubicBezTo>
                        <a:pt x="45" y="109"/>
                        <a:pt x="45" y="109"/>
                        <a:pt x="45" y="109"/>
                      </a:cubicBezTo>
                      <a:cubicBezTo>
                        <a:pt x="50" y="109"/>
                        <a:pt x="50" y="109"/>
                        <a:pt x="50" y="109"/>
                      </a:cubicBezTo>
                      <a:cubicBezTo>
                        <a:pt x="51" y="115"/>
                        <a:pt x="51" y="115"/>
                        <a:pt x="51" y="115"/>
                      </a:cubicBezTo>
                      <a:cubicBezTo>
                        <a:pt x="49" y="118"/>
                        <a:pt x="49" y="118"/>
                        <a:pt x="49" y="118"/>
                      </a:cubicBezTo>
                      <a:cubicBezTo>
                        <a:pt x="50" y="124"/>
                        <a:pt x="50" y="124"/>
                        <a:pt x="50" y="124"/>
                      </a:cubicBezTo>
                      <a:cubicBezTo>
                        <a:pt x="52" y="127"/>
                        <a:pt x="52" y="127"/>
                        <a:pt x="52" y="127"/>
                      </a:cubicBezTo>
                      <a:cubicBezTo>
                        <a:pt x="53" y="135"/>
                        <a:pt x="53" y="135"/>
                        <a:pt x="53" y="135"/>
                      </a:cubicBezTo>
                      <a:cubicBezTo>
                        <a:pt x="52" y="139"/>
                        <a:pt x="52" y="139"/>
                        <a:pt x="52" y="139"/>
                      </a:cubicBezTo>
                      <a:cubicBezTo>
                        <a:pt x="53" y="142"/>
                        <a:pt x="53" y="142"/>
                        <a:pt x="53" y="142"/>
                      </a:cubicBezTo>
                      <a:cubicBezTo>
                        <a:pt x="53" y="151"/>
                        <a:pt x="53" y="151"/>
                        <a:pt x="53" y="151"/>
                      </a:cubicBezTo>
                      <a:cubicBezTo>
                        <a:pt x="52" y="154"/>
                        <a:pt x="52" y="154"/>
                        <a:pt x="52" y="154"/>
                      </a:cubicBezTo>
                      <a:cubicBezTo>
                        <a:pt x="53" y="160"/>
                        <a:pt x="53" y="160"/>
                        <a:pt x="53" y="160"/>
                      </a:cubicBezTo>
                      <a:cubicBezTo>
                        <a:pt x="57" y="162"/>
                        <a:pt x="57" y="162"/>
                        <a:pt x="57" y="162"/>
                      </a:cubicBezTo>
                      <a:cubicBezTo>
                        <a:pt x="60" y="170"/>
                        <a:pt x="60" y="170"/>
                        <a:pt x="60" y="170"/>
                      </a:cubicBezTo>
                      <a:cubicBezTo>
                        <a:pt x="62" y="172"/>
                        <a:pt x="62" y="172"/>
                        <a:pt x="62" y="172"/>
                      </a:cubicBezTo>
                      <a:cubicBezTo>
                        <a:pt x="62" y="177"/>
                        <a:pt x="62" y="177"/>
                        <a:pt x="62" y="177"/>
                      </a:cubicBezTo>
                      <a:cubicBezTo>
                        <a:pt x="63" y="179"/>
                        <a:pt x="63" y="179"/>
                        <a:pt x="63" y="179"/>
                      </a:cubicBezTo>
                      <a:cubicBezTo>
                        <a:pt x="67" y="179"/>
                        <a:pt x="67" y="179"/>
                        <a:pt x="67" y="179"/>
                      </a:cubicBezTo>
                      <a:cubicBezTo>
                        <a:pt x="70" y="183"/>
                        <a:pt x="70" y="183"/>
                        <a:pt x="70" y="183"/>
                      </a:cubicBezTo>
                      <a:cubicBezTo>
                        <a:pt x="77" y="183"/>
                        <a:pt x="77" y="183"/>
                        <a:pt x="77" y="183"/>
                      </a:cubicBezTo>
                      <a:cubicBezTo>
                        <a:pt x="81" y="188"/>
                        <a:pt x="81" y="188"/>
                        <a:pt x="81" y="188"/>
                      </a:cubicBezTo>
                      <a:cubicBezTo>
                        <a:pt x="79" y="190"/>
                        <a:pt x="79" y="190"/>
                        <a:pt x="79" y="190"/>
                      </a:cubicBezTo>
                      <a:cubicBezTo>
                        <a:pt x="81" y="193"/>
                        <a:pt x="81" y="193"/>
                        <a:pt x="81" y="193"/>
                      </a:cubicBezTo>
                      <a:cubicBezTo>
                        <a:pt x="81" y="199"/>
                        <a:pt x="81" y="199"/>
                        <a:pt x="81" y="199"/>
                      </a:cubicBezTo>
                      <a:cubicBezTo>
                        <a:pt x="80" y="201"/>
                        <a:pt x="80" y="201"/>
                        <a:pt x="80" y="201"/>
                      </a:cubicBezTo>
                      <a:cubicBezTo>
                        <a:pt x="85" y="207"/>
                        <a:pt x="85" y="207"/>
                        <a:pt x="85" y="207"/>
                      </a:cubicBezTo>
                      <a:cubicBezTo>
                        <a:pt x="81" y="206"/>
                        <a:pt x="81" y="206"/>
                        <a:pt x="81" y="206"/>
                      </a:cubicBezTo>
                      <a:cubicBezTo>
                        <a:pt x="80" y="207"/>
                        <a:pt x="80" y="207"/>
                        <a:pt x="80" y="207"/>
                      </a:cubicBezTo>
                      <a:cubicBezTo>
                        <a:pt x="84" y="211"/>
                        <a:pt x="84" y="211"/>
                        <a:pt x="84" y="211"/>
                      </a:cubicBezTo>
                      <a:cubicBezTo>
                        <a:pt x="84" y="214"/>
                        <a:pt x="84" y="214"/>
                        <a:pt x="84" y="214"/>
                      </a:cubicBezTo>
                      <a:cubicBezTo>
                        <a:pt x="79" y="210"/>
                        <a:pt x="79" y="210"/>
                        <a:pt x="79" y="210"/>
                      </a:cubicBezTo>
                      <a:cubicBezTo>
                        <a:pt x="74" y="210"/>
                        <a:pt x="74" y="210"/>
                        <a:pt x="74" y="210"/>
                      </a:cubicBezTo>
                      <a:cubicBezTo>
                        <a:pt x="70" y="214"/>
                        <a:pt x="70" y="214"/>
                        <a:pt x="70" y="214"/>
                      </a:cubicBezTo>
                      <a:cubicBezTo>
                        <a:pt x="70" y="218"/>
                        <a:pt x="70" y="218"/>
                        <a:pt x="70" y="218"/>
                      </a:cubicBezTo>
                      <a:cubicBezTo>
                        <a:pt x="66" y="222"/>
                        <a:pt x="66" y="222"/>
                        <a:pt x="66" y="222"/>
                      </a:cubicBezTo>
                      <a:cubicBezTo>
                        <a:pt x="66" y="225"/>
                        <a:pt x="66" y="225"/>
                        <a:pt x="66" y="225"/>
                      </a:cubicBezTo>
                      <a:cubicBezTo>
                        <a:pt x="65" y="226"/>
                        <a:pt x="65" y="226"/>
                        <a:pt x="65" y="226"/>
                      </a:cubicBezTo>
                      <a:cubicBezTo>
                        <a:pt x="59" y="233"/>
                        <a:pt x="59" y="233"/>
                        <a:pt x="59" y="233"/>
                      </a:cubicBezTo>
                      <a:cubicBezTo>
                        <a:pt x="58" y="240"/>
                        <a:pt x="58" y="240"/>
                        <a:pt x="58" y="240"/>
                      </a:cubicBezTo>
                      <a:cubicBezTo>
                        <a:pt x="57" y="241"/>
                        <a:pt x="57" y="241"/>
                        <a:pt x="57" y="241"/>
                      </a:cubicBezTo>
                      <a:cubicBezTo>
                        <a:pt x="56" y="239"/>
                        <a:pt x="56" y="239"/>
                        <a:pt x="56" y="239"/>
                      </a:cubicBezTo>
                      <a:cubicBezTo>
                        <a:pt x="54" y="239"/>
                        <a:pt x="54" y="239"/>
                        <a:pt x="54" y="239"/>
                      </a:cubicBezTo>
                      <a:cubicBezTo>
                        <a:pt x="56" y="243"/>
                        <a:pt x="56" y="243"/>
                        <a:pt x="56" y="243"/>
                      </a:cubicBezTo>
                      <a:cubicBezTo>
                        <a:pt x="55" y="247"/>
                        <a:pt x="55" y="247"/>
                        <a:pt x="55" y="247"/>
                      </a:cubicBezTo>
                      <a:cubicBezTo>
                        <a:pt x="51" y="247"/>
                        <a:pt x="51" y="247"/>
                        <a:pt x="51" y="247"/>
                      </a:cubicBezTo>
                      <a:cubicBezTo>
                        <a:pt x="49" y="251"/>
                        <a:pt x="49" y="251"/>
                        <a:pt x="49" y="251"/>
                      </a:cubicBezTo>
                      <a:cubicBezTo>
                        <a:pt x="50" y="256"/>
                        <a:pt x="50" y="256"/>
                        <a:pt x="50" y="256"/>
                      </a:cubicBezTo>
                      <a:cubicBezTo>
                        <a:pt x="52" y="259"/>
                        <a:pt x="52" y="259"/>
                        <a:pt x="52" y="259"/>
                      </a:cubicBezTo>
                      <a:cubicBezTo>
                        <a:pt x="48" y="257"/>
                        <a:pt x="48" y="257"/>
                        <a:pt x="48" y="257"/>
                      </a:cubicBezTo>
                      <a:cubicBezTo>
                        <a:pt x="47" y="255"/>
                        <a:pt x="47" y="255"/>
                        <a:pt x="47" y="255"/>
                      </a:cubicBezTo>
                      <a:cubicBezTo>
                        <a:pt x="44" y="256"/>
                        <a:pt x="44" y="256"/>
                        <a:pt x="44" y="256"/>
                      </a:cubicBezTo>
                      <a:cubicBezTo>
                        <a:pt x="43" y="261"/>
                        <a:pt x="43" y="261"/>
                        <a:pt x="43" y="261"/>
                      </a:cubicBezTo>
                      <a:cubicBezTo>
                        <a:pt x="43" y="263"/>
                        <a:pt x="43" y="263"/>
                        <a:pt x="43" y="263"/>
                      </a:cubicBezTo>
                      <a:cubicBezTo>
                        <a:pt x="41" y="262"/>
                        <a:pt x="41" y="262"/>
                        <a:pt x="41" y="262"/>
                      </a:cubicBezTo>
                      <a:cubicBezTo>
                        <a:pt x="40" y="263"/>
                        <a:pt x="40" y="263"/>
                        <a:pt x="40" y="263"/>
                      </a:cubicBezTo>
                      <a:cubicBezTo>
                        <a:pt x="42" y="266"/>
                        <a:pt x="42" y="266"/>
                        <a:pt x="42" y="266"/>
                      </a:cubicBezTo>
                      <a:cubicBezTo>
                        <a:pt x="43" y="268"/>
                        <a:pt x="43" y="268"/>
                        <a:pt x="43" y="268"/>
                      </a:cubicBezTo>
                      <a:cubicBezTo>
                        <a:pt x="40" y="271"/>
                        <a:pt x="40" y="271"/>
                        <a:pt x="40" y="271"/>
                      </a:cubicBezTo>
                      <a:cubicBezTo>
                        <a:pt x="39" y="273"/>
                        <a:pt x="39" y="273"/>
                        <a:pt x="39" y="273"/>
                      </a:cubicBezTo>
                      <a:cubicBezTo>
                        <a:pt x="36" y="276"/>
                        <a:pt x="36" y="276"/>
                        <a:pt x="36" y="276"/>
                      </a:cubicBezTo>
                      <a:cubicBezTo>
                        <a:pt x="34" y="274"/>
                        <a:pt x="34" y="274"/>
                        <a:pt x="34" y="274"/>
                      </a:cubicBezTo>
                      <a:cubicBezTo>
                        <a:pt x="34" y="273"/>
                        <a:pt x="34" y="273"/>
                        <a:pt x="34" y="273"/>
                      </a:cubicBezTo>
                      <a:cubicBezTo>
                        <a:pt x="32" y="272"/>
                        <a:pt x="32" y="272"/>
                        <a:pt x="32" y="272"/>
                      </a:cubicBezTo>
                      <a:cubicBezTo>
                        <a:pt x="29" y="273"/>
                        <a:pt x="29" y="273"/>
                        <a:pt x="29" y="273"/>
                      </a:cubicBezTo>
                      <a:cubicBezTo>
                        <a:pt x="30" y="277"/>
                        <a:pt x="30" y="277"/>
                        <a:pt x="30" y="277"/>
                      </a:cubicBezTo>
                      <a:cubicBezTo>
                        <a:pt x="28" y="279"/>
                        <a:pt x="28" y="279"/>
                        <a:pt x="28" y="279"/>
                      </a:cubicBezTo>
                      <a:cubicBezTo>
                        <a:pt x="29" y="283"/>
                        <a:pt x="29" y="283"/>
                        <a:pt x="29" y="283"/>
                      </a:cubicBezTo>
                      <a:cubicBezTo>
                        <a:pt x="28" y="287"/>
                        <a:pt x="28" y="287"/>
                        <a:pt x="28" y="287"/>
                      </a:cubicBezTo>
                      <a:cubicBezTo>
                        <a:pt x="26" y="288"/>
                        <a:pt x="26" y="288"/>
                        <a:pt x="26" y="288"/>
                      </a:cubicBezTo>
                      <a:cubicBezTo>
                        <a:pt x="24" y="291"/>
                        <a:pt x="24" y="291"/>
                        <a:pt x="24" y="291"/>
                      </a:cubicBezTo>
                      <a:cubicBezTo>
                        <a:pt x="26" y="296"/>
                        <a:pt x="26" y="296"/>
                        <a:pt x="26" y="296"/>
                      </a:cubicBezTo>
                      <a:cubicBezTo>
                        <a:pt x="27" y="297"/>
                        <a:pt x="27" y="297"/>
                        <a:pt x="27" y="297"/>
                      </a:cubicBezTo>
                      <a:cubicBezTo>
                        <a:pt x="26" y="301"/>
                        <a:pt x="26" y="301"/>
                        <a:pt x="26" y="301"/>
                      </a:cubicBezTo>
                      <a:cubicBezTo>
                        <a:pt x="26" y="304"/>
                        <a:pt x="26" y="304"/>
                        <a:pt x="26" y="304"/>
                      </a:cubicBezTo>
                      <a:cubicBezTo>
                        <a:pt x="29" y="303"/>
                        <a:pt x="29" y="303"/>
                        <a:pt x="29" y="303"/>
                      </a:cubicBezTo>
                      <a:cubicBezTo>
                        <a:pt x="31" y="305"/>
                        <a:pt x="31" y="305"/>
                        <a:pt x="31" y="305"/>
                      </a:cubicBezTo>
                      <a:cubicBezTo>
                        <a:pt x="30" y="310"/>
                        <a:pt x="30" y="310"/>
                        <a:pt x="30" y="310"/>
                      </a:cubicBezTo>
                      <a:cubicBezTo>
                        <a:pt x="29" y="312"/>
                        <a:pt x="29" y="312"/>
                        <a:pt x="29" y="312"/>
                      </a:cubicBezTo>
                      <a:cubicBezTo>
                        <a:pt x="30" y="316"/>
                        <a:pt x="30" y="316"/>
                        <a:pt x="30" y="316"/>
                      </a:cubicBezTo>
                      <a:cubicBezTo>
                        <a:pt x="30" y="318"/>
                        <a:pt x="30" y="318"/>
                        <a:pt x="30" y="318"/>
                      </a:cubicBezTo>
                      <a:cubicBezTo>
                        <a:pt x="33" y="325"/>
                        <a:pt x="33" y="325"/>
                        <a:pt x="33" y="325"/>
                      </a:cubicBezTo>
                      <a:cubicBezTo>
                        <a:pt x="35" y="327"/>
                        <a:pt x="35" y="327"/>
                        <a:pt x="35" y="327"/>
                      </a:cubicBezTo>
                      <a:cubicBezTo>
                        <a:pt x="34" y="330"/>
                        <a:pt x="34" y="330"/>
                        <a:pt x="34" y="330"/>
                      </a:cubicBezTo>
                      <a:cubicBezTo>
                        <a:pt x="36" y="335"/>
                        <a:pt x="36" y="335"/>
                        <a:pt x="36" y="335"/>
                      </a:cubicBezTo>
                      <a:cubicBezTo>
                        <a:pt x="34" y="336"/>
                        <a:pt x="34" y="336"/>
                        <a:pt x="34" y="336"/>
                      </a:cubicBezTo>
                      <a:cubicBezTo>
                        <a:pt x="34" y="343"/>
                        <a:pt x="34" y="343"/>
                        <a:pt x="34" y="343"/>
                      </a:cubicBezTo>
                      <a:cubicBezTo>
                        <a:pt x="33" y="345"/>
                        <a:pt x="33" y="345"/>
                        <a:pt x="33" y="345"/>
                      </a:cubicBezTo>
                      <a:cubicBezTo>
                        <a:pt x="33" y="354"/>
                        <a:pt x="33" y="354"/>
                        <a:pt x="33" y="354"/>
                      </a:cubicBezTo>
                      <a:cubicBezTo>
                        <a:pt x="35" y="358"/>
                        <a:pt x="35" y="358"/>
                        <a:pt x="35" y="358"/>
                      </a:cubicBezTo>
                      <a:cubicBezTo>
                        <a:pt x="33" y="362"/>
                        <a:pt x="33" y="362"/>
                        <a:pt x="33" y="362"/>
                      </a:cubicBezTo>
                      <a:cubicBezTo>
                        <a:pt x="33" y="366"/>
                        <a:pt x="33" y="366"/>
                        <a:pt x="33" y="366"/>
                      </a:cubicBezTo>
                      <a:cubicBezTo>
                        <a:pt x="34" y="368"/>
                        <a:pt x="34" y="368"/>
                        <a:pt x="34" y="368"/>
                      </a:cubicBezTo>
                      <a:cubicBezTo>
                        <a:pt x="39" y="365"/>
                        <a:pt x="39" y="365"/>
                        <a:pt x="39" y="365"/>
                      </a:cubicBezTo>
                      <a:cubicBezTo>
                        <a:pt x="41" y="367"/>
                        <a:pt x="41" y="367"/>
                        <a:pt x="41" y="367"/>
                      </a:cubicBezTo>
                      <a:cubicBezTo>
                        <a:pt x="42" y="364"/>
                        <a:pt x="42" y="364"/>
                        <a:pt x="42" y="364"/>
                      </a:cubicBezTo>
                      <a:cubicBezTo>
                        <a:pt x="46" y="370"/>
                        <a:pt x="46" y="370"/>
                        <a:pt x="46" y="370"/>
                      </a:cubicBezTo>
                      <a:cubicBezTo>
                        <a:pt x="49" y="369"/>
                        <a:pt x="49" y="369"/>
                        <a:pt x="49" y="369"/>
                      </a:cubicBezTo>
                      <a:cubicBezTo>
                        <a:pt x="51" y="372"/>
                        <a:pt x="51" y="372"/>
                        <a:pt x="51" y="372"/>
                      </a:cubicBezTo>
                      <a:cubicBezTo>
                        <a:pt x="56" y="371"/>
                        <a:pt x="56" y="371"/>
                        <a:pt x="56" y="371"/>
                      </a:cubicBezTo>
                      <a:cubicBezTo>
                        <a:pt x="58" y="372"/>
                        <a:pt x="58" y="372"/>
                        <a:pt x="58" y="372"/>
                      </a:cubicBezTo>
                      <a:cubicBezTo>
                        <a:pt x="56" y="375"/>
                        <a:pt x="56" y="375"/>
                        <a:pt x="56" y="375"/>
                      </a:cubicBezTo>
                      <a:cubicBezTo>
                        <a:pt x="58" y="375"/>
                        <a:pt x="58" y="375"/>
                        <a:pt x="58" y="375"/>
                      </a:cubicBezTo>
                      <a:cubicBezTo>
                        <a:pt x="63" y="371"/>
                        <a:pt x="63" y="371"/>
                        <a:pt x="63" y="371"/>
                      </a:cubicBezTo>
                      <a:cubicBezTo>
                        <a:pt x="63" y="374"/>
                        <a:pt x="63" y="374"/>
                        <a:pt x="63" y="374"/>
                      </a:cubicBezTo>
                      <a:cubicBezTo>
                        <a:pt x="61" y="378"/>
                        <a:pt x="61" y="378"/>
                        <a:pt x="61" y="378"/>
                      </a:cubicBezTo>
                      <a:cubicBezTo>
                        <a:pt x="65" y="386"/>
                        <a:pt x="65" y="386"/>
                        <a:pt x="65" y="386"/>
                      </a:cubicBezTo>
                      <a:cubicBezTo>
                        <a:pt x="66" y="388"/>
                        <a:pt x="66" y="388"/>
                        <a:pt x="66" y="388"/>
                      </a:cubicBezTo>
                      <a:cubicBezTo>
                        <a:pt x="65" y="393"/>
                        <a:pt x="65" y="393"/>
                        <a:pt x="65" y="393"/>
                      </a:cubicBezTo>
                      <a:cubicBezTo>
                        <a:pt x="66" y="394"/>
                        <a:pt x="66" y="394"/>
                        <a:pt x="66" y="394"/>
                      </a:cubicBezTo>
                      <a:cubicBezTo>
                        <a:pt x="68" y="387"/>
                        <a:pt x="68" y="387"/>
                        <a:pt x="68" y="387"/>
                      </a:cubicBezTo>
                      <a:cubicBezTo>
                        <a:pt x="70" y="386"/>
                        <a:pt x="70" y="386"/>
                        <a:pt x="70" y="386"/>
                      </a:cubicBezTo>
                      <a:cubicBezTo>
                        <a:pt x="71" y="389"/>
                        <a:pt x="71" y="389"/>
                        <a:pt x="71" y="389"/>
                      </a:cubicBezTo>
                      <a:cubicBezTo>
                        <a:pt x="74" y="387"/>
                        <a:pt x="74" y="387"/>
                        <a:pt x="74" y="387"/>
                      </a:cubicBezTo>
                      <a:cubicBezTo>
                        <a:pt x="76" y="387"/>
                        <a:pt x="76" y="387"/>
                        <a:pt x="76" y="387"/>
                      </a:cubicBezTo>
                      <a:cubicBezTo>
                        <a:pt x="82" y="382"/>
                        <a:pt x="82" y="382"/>
                        <a:pt x="82" y="382"/>
                      </a:cubicBezTo>
                      <a:cubicBezTo>
                        <a:pt x="86" y="382"/>
                        <a:pt x="86" y="382"/>
                        <a:pt x="86" y="382"/>
                      </a:cubicBezTo>
                      <a:cubicBezTo>
                        <a:pt x="93" y="376"/>
                        <a:pt x="93" y="376"/>
                        <a:pt x="93" y="376"/>
                      </a:cubicBezTo>
                      <a:cubicBezTo>
                        <a:pt x="93" y="374"/>
                        <a:pt x="93" y="374"/>
                        <a:pt x="93" y="374"/>
                      </a:cubicBezTo>
                      <a:cubicBezTo>
                        <a:pt x="98" y="376"/>
                        <a:pt x="98" y="376"/>
                        <a:pt x="98" y="376"/>
                      </a:cubicBezTo>
                      <a:cubicBezTo>
                        <a:pt x="101" y="375"/>
                        <a:pt x="101" y="375"/>
                        <a:pt x="101" y="375"/>
                      </a:cubicBezTo>
                      <a:cubicBezTo>
                        <a:pt x="104" y="370"/>
                        <a:pt x="104" y="370"/>
                        <a:pt x="104" y="370"/>
                      </a:cubicBezTo>
                      <a:cubicBezTo>
                        <a:pt x="105" y="371"/>
                        <a:pt x="105" y="371"/>
                        <a:pt x="105" y="371"/>
                      </a:cubicBezTo>
                      <a:cubicBezTo>
                        <a:pt x="103" y="375"/>
                        <a:pt x="103" y="375"/>
                        <a:pt x="103" y="375"/>
                      </a:cubicBezTo>
                      <a:cubicBezTo>
                        <a:pt x="105" y="376"/>
                        <a:pt x="105" y="376"/>
                        <a:pt x="105" y="376"/>
                      </a:cubicBezTo>
                      <a:cubicBezTo>
                        <a:pt x="107" y="371"/>
                        <a:pt x="107" y="371"/>
                        <a:pt x="107" y="371"/>
                      </a:cubicBezTo>
                      <a:cubicBezTo>
                        <a:pt x="109" y="371"/>
                        <a:pt x="109" y="371"/>
                        <a:pt x="109" y="371"/>
                      </a:cubicBezTo>
                      <a:cubicBezTo>
                        <a:pt x="107" y="367"/>
                        <a:pt x="107" y="367"/>
                        <a:pt x="107" y="367"/>
                      </a:cubicBezTo>
                      <a:cubicBezTo>
                        <a:pt x="109" y="365"/>
                        <a:pt x="109" y="365"/>
                        <a:pt x="109" y="365"/>
                      </a:cubicBezTo>
                      <a:cubicBezTo>
                        <a:pt x="110" y="369"/>
                        <a:pt x="110" y="369"/>
                        <a:pt x="110" y="369"/>
                      </a:cubicBezTo>
                      <a:cubicBezTo>
                        <a:pt x="112" y="370"/>
                        <a:pt x="112" y="370"/>
                        <a:pt x="112" y="370"/>
                      </a:cubicBezTo>
                      <a:cubicBezTo>
                        <a:pt x="113" y="367"/>
                        <a:pt x="113" y="367"/>
                        <a:pt x="113" y="367"/>
                      </a:cubicBezTo>
                      <a:cubicBezTo>
                        <a:pt x="115" y="371"/>
                        <a:pt x="115" y="371"/>
                        <a:pt x="115" y="371"/>
                      </a:cubicBezTo>
                      <a:cubicBezTo>
                        <a:pt x="117" y="370"/>
                        <a:pt x="117" y="370"/>
                        <a:pt x="117" y="370"/>
                      </a:cubicBezTo>
                      <a:cubicBezTo>
                        <a:pt x="118" y="367"/>
                        <a:pt x="118" y="367"/>
                        <a:pt x="118" y="367"/>
                      </a:cubicBezTo>
                      <a:cubicBezTo>
                        <a:pt x="120" y="368"/>
                        <a:pt x="120" y="368"/>
                        <a:pt x="120" y="368"/>
                      </a:cubicBezTo>
                      <a:cubicBezTo>
                        <a:pt x="121" y="370"/>
                        <a:pt x="121" y="370"/>
                        <a:pt x="121" y="370"/>
                      </a:cubicBezTo>
                      <a:cubicBezTo>
                        <a:pt x="123" y="368"/>
                        <a:pt x="123" y="368"/>
                        <a:pt x="123" y="368"/>
                      </a:cubicBezTo>
                      <a:cubicBezTo>
                        <a:pt x="128" y="367"/>
                        <a:pt x="128" y="367"/>
                        <a:pt x="128" y="367"/>
                      </a:cubicBezTo>
                      <a:cubicBezTo>
                        <a:pt x="130" y="369"/>
                        <a:pt x="130" y="369"/>
                        <a:pt x="130" y="369"/>
                      </a:cubicBezTo>
                      <a:cubicBezTo>
                        <a:pt x="136" y="368"/>
                        <a:pt x="136" y="368"/>
                        <a:pt x="136" y="368"/>
                      </a:cubicBezTo>
                      <a:cubicBezTo>
                        <a:pt x="136" y="366"/>
                        <a:pt x="136" y="366"/>
                        <a:pt x="136" y="366"/>
                      </a:cubicBezTo>
                      <a:cubicBezTo>
                        <a:pt x="135" y="364"/>
                        <a:pt x="135" y="364"/>
                        <a:pt x="135" y="364"/>
                      </a:cubicBezTo>
                      <a:cubicBezTo>
                        <a:pt x="136" y="363"/>
                        <a:pt x="136" y="363"/>
                        <a:pt x="136" y="363"/>
                      </a:cubicBezTo>
                      <a:cubicBezTo>
                        <a:pt x="139" y="364"/>
                        <a:pt x="139" y="364"/>
                        <a:pt x="139" y="364"/>
                      </a:cubicBezTo>
                      <a:cubicBezTo>
                        <a:pt x="139" y="367"/>
                        <a:pt x="139" y="367"/>
                        <a:pt x="139" y="367"/>
                      </a:cubicBezTo>
                      <a:cubicBezTo>
                        <a:pt x="143" y="368"/>
                        <a:pt x="143" y="368"/>
                        <a:pt x="143" y="368"/>
                      </a:cubicBezTo>
                      <a:cubicBezTo>
                        <a:pt x="143" y="368"/>
                        <a:pt x="144" y="366"/>
                        <a:pt x="144" y="364"/>
                      </a:cubicBezTo>
                      <a:cubicBezTo>
                        <a:pt x="144" y="358"/>
                        <a:pt x="144" y="358"/>
                        <a:pt x="144" y="358"/>
                      </a:cubicBezTo>
                      <a:cubicBezTo>
                        <a:pt x="152" y="348"/>
                        <a:pt x="152" y="348"/>
                        <a:pt x="152" y="348"/>
                      </a:cubicBezTo>
                      <a:lnTo>
                        <a:pt x="156" y="34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38" name="Freeform 640">
                  <a:extLst>
                    <a:ext uri="{FF2B5EF4-FFF2-40B4-BE49-F238E27FC236}">
                      <a16:creationId xmlns:a16="http://schemas.microsoft.com/office/drawing/2014/main" id="{DB7325AB-0F0A-48ED-B670-BA0EAF21C6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84" y="1483"/>
                  <a:ext cx="7" cy="6"/>
                </a:xfrm>
                <a:custGeom>
                  <a:avLst/>
                  <a:gdLst>
                    <a:gd name="T0" fmla="*/ 7 w 7"/>
                    <a:gd name="T1" fmla="*/ 1 h 6"/>
                    <a:gd name="T2" fmla="*/ 3 w 7"/>
                    <a:gd name="T3" fmla="*/ 0 h 6"/>
                    <a:gd name="T4" fmla="*/ 0 w 7"/>
                    <a:gd name="T5" fmla="*/ 2 h 6"/>
                    <a:gd name="T6" fmla="*/ 2 w 7"/>
                    <a:gd name="T7" fmla="*/ 6 h 6"/>
                    <a:gd name="T8" fmla="*/ 4 w 7"/>
                    <a:gd name="T9" fmla="*/ 6 h 6"/>
                    <a:gd name="T10" fmla="*/ 5 w 7"/>
                    <a:gd name="T11" fmla="*/ 4 h 6"/>
                    <a:gd name="T12" fmla="*/ 4 w 7"/>
                    <a:gd name="T13" fmla="*/ 3 h 6"/>
                    <a:gd name="T14" fmla="*/ 7 w 7"/>
                    <a:gd name="T15" fmla="*/ 2 h 6"/>
                    <a:gd name="T16" fmla="*/ 7 w 7"/>
                    <a:gd name="T17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6">
                      <a:moveTo>
                        <a:pt x="7" y="1"/>
                      </a:move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5" y="4"/>
                      </a:lnTo>
                      <a:lnTo>
                        <a:pt x="4" y="3"/>
                      </a:lnTo>
                      <a:lnTo>
                        <a:pt x="7" y="2"/>
                      </a:lnTo>
                      <a:lnTo>
                        <a:pt x="7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39" name="Freeform 641">
                  <a:extLst>
                    <a:ext uri="{FF2B5EF4-FFF2-40B4-BE49-F238E27FC236}">
                      <a16:creationId xmlns:a16="http://schemas.microsoft.com/office/drawing/2014/main" id="{4EC30948-5A64-4EB3-9F28-95928A724E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48" y="1538"/>
                  <a:ext cx="4" cy="4"/>
                </a:xfrm>
                <a:custGeom>
                  <a:avLst/>
                  <a:gdLst>
                    <a:gd name="T0" fmla="*/ 0 w 4"/>
                    <a:gd name="T1" fmla="*/ 3 h 4"/>
                    <a:gd name="T2" fmla="*/ 2 w 4"/>
                    <a:gd name="T3" fmla="*/ 4 h 4"/>
                    <a:gd name="T4" fmla="*/ 4 w 4"/>
                    <a:gd name="T5" fmla="*/ 3 h 4"/>
                    <a:gd name="T6" fmla="*/ 4 w 4"/>
                    <a:gd name="T7" fmla="*/ 0 h 4"/>
                    <a:gd name="T8" fmla="*/ 2 w 4"/>
                    <a:gd name="T9" fmla="*/ 1 h 4"/>
                    <a:gd name="T10" fmla="*/ 1 w 4"/>
                    <a:gd name="T11" fmla="*/ 0 h 4"/>
                    <a:gd name="T12" fmla="*/ 0 w 4"/>
                    <a:gd name="T13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4">
                      <a:moveTo>
                        <a:pt x="0" y="3"/>
                      </a:move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40" name="Freeform 642">
                  <a:extLst>
                    <a:ext uri="{FF2B5EF4-FFF2-40B4-BE49-F238E27FC236}">
                      <a16:creationId xmlns:a16="http://schemas.microsoft.com/office/drawing/2014/main" id="{925F0E28-7D89-45F9-9994-C3C995AD7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9" y="1666"/>
                  <a:ext cx="16" cy="20"/>
                </a:xfrm>
                <a:custGeom>
                  <a:avLst/>
                  <a:gdLst>
                    <a:gd name="T0" fmla="*/ 9 w 16"/>
                    <a:gd name="T1" fmla="*/ 1 h 20"/>
                    <a:gd name="T2" fmla="*/ 7 w 16"/>
                    <a:gd name="T3" fmla="*/ 0 h 20"/>
                    <a:gd name="T4" fmla="*/ 6 w 16"/>
                    <a:gd name="T5" fmla="*/ 2 h 20"/>
                    <a:gd name="T6" fmla="*/ 5 w 16"/>
                    <a:gd name="T7" fmla="*/ 3 h 20"/>
                    <a:gd name="T8" fmla="*/ 3 w 16"/>
                    <a:gd name="T9" fmla="*/ 4 h 20"/>
                    <a:gd name="T10" fmla="*/ 2 w 16"/>
                    <a:gd name="T11" fmla="*/ 3 h 20"/>
                    <a:gd name="T12" fmla="*/ 2 w 16"/>
                    <a:gd name="T13" fmla="*/ 2 h 20"/>
                    <a:gd name="T14" fmla="*/ 2 w 16"/>
                    <a:gd name="T15" fmla="*/ 3 h 20"/>
                    <a:gd name="T16" fmla="*/ 0 w 16"/>
                    <a:gd name="T17" fmla="*/ 4 h 20"/>
                    <a:gd name="T18" fmla="*/ 2 w 16"/>
                    <a:gd name="T19" fmla="*/ 5 h 20"/>
                    <a:gd name="T20" fmla="*/ 2 w 16"/>
                    <a:gd name="T21" fmla="*/ 6 h 20"/>
                    <a:gd name="T22" fmla="*/ 0 w 16"/>
                    <a:gd name="T23" fmla="*/ 8 h 20"/>
                    <a:gd name="T24" fmla="*/ 0 w 16"/>
                    <a:gd name="T25" fmla="*/ 10 h 20"/>
                    <a:gd name="T26" fmla="*/ 2 w 16"/>
                    <a:gd name="T27" fmla="*/ 10 h 20"/>
                    <a:gd name="T28" fmla="*/ 5 w 16"/>
                    <a:gd name="T29" fmla="*/ 13 h 20"/>
                    <a:gd name="T30" fmla="*/ 4 w 16"/>
                    <a:gd name="T31" fmla="*/ 16 h 20"/>
                    <a:gd name="T32" fmla="*/ 3 w 16"/>
                    <a:gd name="T33" fmla="*/ 15 h 20"/>
                    <a:gd name="T34" fmla="*/ 2 w 16"/>
                    <a:gd name="T35" fmla="*/ 20 h 20"/>
                    <a:gd name="T36" fmla="*/ 3 w 16"/>
                    <a:gd name="T37" fmla="*/ 20 h 20"/>
                    <a:gd name="T38" fmla="*/ 5 w 16"/>
                    <a:gd name="T39" fmla="*/ 17 h 20"/>
                    <a:gd name="T40" fmla="*/ 5 w 16"/>
                    <a:gd name="T41" fmla="*/ 16 h 20"/>
                    <a:gd name="T42" fmla="*/ 7 w 16"/>
                    <a:gd name="T43" fmla="*/ 11 h 20"/>
                    <a:gd name="T44" fmla="*/ 11 w 16"/>
                    <a:gd name="T45" fmla="*/ 10 h 20"/>
                    <a:gd name="T46" fmla="*/ 13 w 16"/>
                    <a:gd name="T47" fmla="*/ 8 h 20"/>
                    <a:gd name="T48" fmla="*/ 14 w 16"/>
                    <a:gd name="T49" fmla="*/ 5 h 20"/>
                    <a:gd name="T50" fmla="*/ 16 w 16"/>
                    <a:gd name="T51" fmla="*/ 6 h 20"/>
                    <a:gd name="T52" fmla="*/ 16 w 16"/>
                    <a:gd name="T53" fmla="*/ 5 h 20"/>
                    <a:gd name="T54" fmla="*/ 16 w 16"/>
                    <a:gd name="T55" fmla="*/ 4 h 20"/>
                    <a:gd name="T56" fmla="*/ 15 w 16"/>
                    <a:gd name="T57" fmla="*/ 3 h 20"/>
                    <a:gd name="T58" fmla="*/ 13 w 16"/>
                    <a:gd name="T59" fmla="*/ 1 h 20"/>
                    <a:gd name="T60" fmla="*/ 9 w 16"/>
                    <a:gd name="T61" fmla="*/ 1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6" h="20">
                      <a:moveTo>
                        <a:pt x="9" y="1"/>
                      </a:moveTo>
                      <a:lnTo>
                        <a:pt x="7" y="0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3" y="4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0" y="4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2" y="10"/>
                      </a:lnTo>
                      <a:lnTo>
                        <a:pt x="5" y="13"/>
                      </a:lnTo>
                      <a:lnTo>
                        <a:pt x="4" y="16"/>
                      </a:lnTo>
                      <a:lnTo>
                        <a:pt x="3" y="15"/>
                      </a:lnTo>
                      <a:lnTo>
                        <a:pt x="2" y="20"/>
                      </a:lnTo>
                      <a:lnTo>
                        <a:pt x="3" y="20"/>
                      </a:lnTo>
                      <a:lnTo>
                        <a:pt x="5" y="17"/>
                      </a:lnTo>
                      <a:lnTo>
                        <a:pt x="5" y="16"/>
                      </a:lnTo>
                      <a:lnTo>
                        <a:pt x="7" y="11"/>
                      </a:lnTo>
                      <a:lnTo>
                        <a:pt x="11" y="10"/>
                      </a:lnTo>
                      <a:lnTo>
                        <a:pt x="13" y="8"/>
                      </a:lnTo>
                      <a:lnTo>
                        <a:pt x="14" y="5"/>
                      </a:lnTo>
                      <a:lnTo>
                        <a:pt x="16" y="6"/>
                      </a:lnTo>
                      <a:lnTo>
                        <a:pt x="16" y="5"/>
                      </a:lnTo>
                      <a:lnTo>
                        <a:pt x="16" y="4"/>
                      </a:lnTo>
                      <a:lnTo>
                        <a:pt x="15" y="3"/>
                      </a:lnTo>
                      <a:lnTo>
                        <a:pt x="13" y="1"/>
                      </a:lnTo>
                      <a:lnTo>
                        <a:pt x="9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41" name="Freeform 643">
                  <a:extLst>
                    <a:ext uri="{FF2B5EF4-FFF2-40B4-BE49-F238E27FC236}">
                      <a16:creationId xmlns:a16="http://schemas.microsoft.com/office/drawing/2014/main" id="{64F691A7-16F2-4818-B17A-BAD6F75281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88" y="1635"/>
                  <a:ext cx="56" cy="62"/>
                </a:xfrm>
                <a:custGeom>
                  <a:avLst/>
                  <a:gdLst>
                    <a:gd name="T0" fmla="*/ 21 w 56"/>
                    <a:gd name="T1" fmla="*/ 45 h 62"/>
                    <a:gd name="T2" fmla="*/ 27 w 56"/>
                    <a:gd name="T3" fmla="*/ 48 h 62"/>
                    <a:gd name="T4" fmla="*/ 30 w 56"/>
                    <a:gd name="T5" fmla="*/ 47 h 62"/>
                    <a:gd name="T6" fmla="*/ 32 w 56"/>
                    <a:gd name="T7" fmla="*/ 50 h 62"/>
                    <a:gd name="T8" fmla="*/ 39 w 56"/>
                    <a:gd name="T9" fmla="*/ 57 h 62"/>
                    <a:gd name="T10" fmla="*/ 43 w 56"/>
                    <a:gd name="T11" fmla="*/ 62 h 62"/>
                    <a:gd name="T12" fmla="*/ 52 w 56"/>
                    <a:gd name="T13" fmla="*/ 60 h 62"/>
                    <a:gd name="T14" fmla="*/ 54 w 56"/>
                    <a:gd name="T15" fmla="*/ 53 h 62"/>
                    <a:gd name="T16" fmla="*/ 56 w 56"/>
                    <a:gd name="T17" fmla="*/ 47 h 62"/>
                    <a:gd name="T18" fmla="*/ 51 w 56"/>
                    <a:gd name="T19" fmla="*/ 20 h 62"/>
                    <a:gd name="T20" fmla="*/ 53 w 56"/>
                    <a:gd name="T21" fmla="*/ 14 h 62"/>
                    <a:gd name="T22" fmla="*/ 56 w 56"/>
                    <a:gd name="T23" fmla="*/ 10 h 62"/>
                    <a:gd name="T24" fmla="*/ 55 w 56"/>
                    <a:gd name="T25" fmla="*/ 6 h 62"/>
                    <a:gd name="T26" fmla="*/ 43 w 56"/>
                    <a:gd name="T27" fmla="*/ 8 h 62"/>
                    <a:gd name="T28" fmla="*/ 32 w 56"/>
                    <a:gd name="T29" fmla="*/ 4 h 62"/>
                    <a:gd name="T30" fmla="*/ 28 w 56"/>
                    <a:gd name="T31" fmla="*/ 3 h 62"/>
                    <a:gd name="T32" fmla="*/ 25 w 56"/>
                    <a:gd name="T33" fmla="*/ 3 h 62"/>
                    <a:gd name="T34" fmla="*/ 22 w 56"/>
                    <a:gd name="T35" fmla="*/ 3 h 62"/>
                    <a:gd name="T36" fmla="*/ 21 w 56"/>
                    <a:gd name="T37" fmla="*/ 7 h 62"/>
                    <a:gd name="T38" fmla="*/ 15 w 56"/>
                    <a:gd name="T39" fmla="*/ 6 h 62"/>
                    <a:gd name="T40" fmla="*/ 14 w 56"/>
                    <a:gd name="T41" fmla="*/ 8 h 62"/>
                    <a:gd name="T42" fmla="*/ 8 w 56"/>
                    <a:gd name="T43" fmla="*/ 8 h 62"/>
                    <a:gd name="T44" fmla="*/ 6 w 56"/>
                    <a:gd name="T45" fmla="*/ 10 h 62"/>
                    <a:gd name="T46" fmla="*/ 0 w 56"/>
                    <a:gd name="T47" fmla="*/ 16 h 62"/>
                    <a:gd name="T48" fmla="*/ 2 w 56"/>
                    <a:gd name="T49" fmla="*/ 27 h 62"/>
                    <a:gd name="T50" fmla="*/ 5 w 56"/>
                    <a:gd name="T51" fmla="*/ 27 h 62"/>
                    <a:gd name="T52" fmla="*/ 2 w 56"/>
                    <a:gd name="T53" fmla="*/ 30 h 62"/>
                    <a:gd name="T54" fmla="*/ 4 w 56"/>
                    <a:gd name="T55" fmla="*/ 38 h 62"/>
                    <a:gd name="T56" fmla="*/ 10 w 56"/>
                    <a:gd name="T57" fmla="*/ 42 h 62"/>
                    <a:gd name="T58" fmla="*/ 13 w 56"/>
                    <a:gd name="T59" fmla="*/ 37 h 62"/>
                    <a:gd name="T60" fmla="*/ 12 w 56"/>
                    <a:gd name="T61" fmla="*/ 47 h 62"/>
                    <a:gd name="T62" fmla="*/ 14 w 56"/>
                    <a:gd name="T63" fmla="*/ 4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56" h="62">
                      <a:moveTo>
                        <a:pt x="18" y="46"/>
                      </a:moveTo>
                      <a:lnTo>
                        <a:pt x="21" y="45"/>
                      </a:lnTo>
                      <a:lnTo>
                        <a:pt x="25" y="48"/>
                      </a:lnTo>
                      <a:lnTo>
                        <a:pt x="27" y="48"/>
                      </a:lnTo>
                      <a:lnTo>
                        <a:pt x="28" y="45"/>
                      </a:lnTo>
                      <a:lnTo>
                        <a:pt x="30" y="47"/>
                      </a:lnTo>
                      <a:lnTo>
                        <a:pt x="31" y="49"/>
                      </a:lnTo>
                      <a:lnTo>
                        <a:pt x="32" y="50"/>
                      </a:lnTo>
                      <a:lnTo>
                        <a:pt x="37" y="53"/>
                      </a:lnTo>
                      <a:lnTo>
                        <a:pt x="39" y="57"/>
                      </a:lnTo>
                      <a:lnTo>
                        <a:pt x="41" y="58"/>
                      </a:lnTo>
                      <a:lnTo>
                        <a:pt x="43" y="62"/>
                      </a:lnTo>
                      <a:lnTo>
                        <a:pt x="48" y="59"/>
                      </a:lnTo>
                      <a:lnTo>
                        <a:pt x="52" y="60"/>
                      </a:lnTo>
                      <a:lnTo>
                        <a:pt x="55" y="57"/>
                      </a:lnTo>
                      <a:lnTo>
                        <a:pt x="54" y="53"/>
                      </a:lnTo>
                      <a:lnTo>
                        <a:pt x="56" y="51"/>
                      </a:lnTo>
                      <a:lnTo>
                        <a:pt x="56" y="47"/>
                      </a:lnTo>
                      <a:lnTo>
                        <a:pt x="50" y="34"/>
                      </a:lnTo>
                      <a:lnTo>
                        <a:pt x="51" y="20"/>
                      </a:lnTo>
                      <a:lnTo>
                        <a:pt x="52" y="20"/>
                      </a:lnTo>
                      <a:lnTo>
                        <a:pt x="53" y="14"/>
                      </a:lnTo>
                      <a:lnTo>
                        <a:pt x="56" y="11"/>
                      </a:lnTo>
                      <a:lnTo>
                        <a:pt x="56" y="10"/>
                      </a:lnTo>
                      <a:lnTo>
                        <a:pt x="56" y="10"/>
                      </a:lnTo>
                      <a:lnTo>
                        <a:pt x="55" y="6"/>
                      </a:lnTo>
                      <a:lnTo>
                        <a:pt x="54" y="8"/>
                      </a:lnTo>
                      <a:lnTo>
                        <a:pt x="43" y="8"/>
                      </a:lnTo>
                      <a:lnTo>
                        <a:pt x="38" y="4"/>
                      </a:lnTo>
                      <a:lnTo>
                        <a:pt x="32" y="4"/>
                      </a:lnTo>
                      <a:lnTo>
                        <a:pt x="30" y="3"/>
                      </a:lnTo>
                      <a:lnTo>
                        <a:pt x="28" y="3"/>
                      </a:lnTo>
                      <a:lnTo>
                        <a:pt x="25" y="0"/>
                      </a:lnTo>
                      <a:lnTo>
                        <a:pt x="25" y="3"/>
                      </a:lnTo>
                      <a:lnTo>
                        <a:pt x="22" y="2"/>
                      </a:lnTo>
                      <a:lnTo>
                        <a:pt x="22" y="3"/>
                      </a:lnTo>
                      <a:lnTo>
                        <a:pt x="24" y="5"/>
                      </a:lnTo>
                      <a:lnTo>
                        <a:pt x="21" y="7"/>
                      </a:lnTo>
                      <a:lnTo>
                        <a:pt x="20" y="6"/>
                      </a:lnTo>
                      <a:lnTo>
                        <a:pt x="15" y="6"/>
                      </a:lnTo>
                      <a:lnTo>
                        <a:pt x="14" y="4"/>
                      </a:lnTo>
                      <a:lnTo>
                        <a:pt x="14" y="8"/>
                      </a:lnTo>
                      <a:lnTo>
                        <a:pt x="11" y="7"/>
                      </a:lnTo>
                      <a:lnTo>
                        <a:pt x="8" y="8"/>
                      </a:lnTo>
                      <a:lnTo>
                        <a:pt x="7" y="11"/>
                      </a:lnTo>
                      <a:lnTo>
                        <a:pt x="6" y="10"/>
                      </a:lnTo>
                      <a:lnTo>
                        <a:pt x="1" y="13"/>
                      </a:lnTo>
                      <a:lnTo>
                        <a:pt x="0" y="16"/>
                      </a:lnTo>
                      <a:lnTo>
                        <a:pt x="0" y="27"/>
                      </a:lnTo>
                      <a:lnTo>
                        <a:pt x="2" y="27"/>
                      </a:lnTo>
                      <a:lnTo>
                        <a:pt x="3" y="27"/>
                      </a:lnTo>
                      <a:lnTo>
                        <a:pt x="5" y="27"/>
                      </a:lnTo>
                      <a:lnTo>
                        <a:pt x="4" y="29"/>
                      </a:lnTo>
                      <a:lnTo>
                        <a:pt x="2" y="30"/>
                      </a:lnTo>
                      <a:lnTo>
                        <a:pt x="2" y="34"/>
                      </a:lnTo>
                      <a:lnTo>
                        <a:pt x="4" y="38"/>
                      </a:lnTo>
                      <a:lnTo>
                        <a:pt x="8" y="43"/>
                      </a:lnTo>
                      <a:lnTo>
                        <a:pt x="10" y="42"/>
                      </a:lnTo>
                      <a:lnTo>
                        <a:pt x="10" y="39"/>
                      </a:lnTo>
                      <a:lnTo>
                        <a:pt x="13" y="37"/>
                      </a:lnTo>
                      <a:lnTo>
                        <a:pt x="14" y="39"/>
                      </a:lnTo>
                      <a:lnTo>
                        <a:pt x="12" y="47"/>
                      </a:lnTo>
                      <a:lnTo>
                        <a:pt x="12" y="50"/>
                      </a:lnTo>
                      <a:lnTo>
                        <a:pt x="14" y="49"/>
                      </a:lnTo>
                      <a:lnTo>
                        <a:pt x="18" y="4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42" name="Freeform 644">
                  <a:extLst>
                    <a:ext uri="{FF2B5EF4-FFF2-40B4-BE49-F238E27FC236}">
                      <a16:creationId xmlns:a16="http://schemas.microsoft.com/office/drawing/2014/main" id="{0F82C4EF-91FE-4C18-9B92-7530907B99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83" y="1655"/>
                  <a:ext cx="3" cy="3"/>
                </a:xfrm>
                <a:custGeom>
                  <a:avLst/>
                  <a:gdLst>
                    <a:gd name="T0" fmla="*/ 2 w 3"/>
                    <a:gd name="T1" fmla="*/ 0 h 3"/>
                    <a:gd name="T2" fmla="*/ 0 w 3"/>
                    <a:gd name="T3" fmla="*/ 0 h 3"/>
                    <a:gd name="T4" fmla="*/ 1 w 3"/>
                    <a:gd name="T5" fmla="*/ 3 h 3"/>
                    <a:gd name="T6" fmla="*/ 3 w 3"/>
                    <a:gd name="T7" fmla="*/ 2 h 3"/>
                    <a:gd name="T8" fmla="*/ 2 w 3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1" y="3"/>
                      </a:lnTo>
                      <a:lnTo>
                        <a:pt x="3" y="2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43" name="Freeform 645">
                  <a:extLst>
                    <a:ext uri="{FF2B5EF4-FFF2-40B4-BE49-F238E27FC236}">
                      <a16:creationId xmlns:a16="http://schemas.microsoft.com/office/drawing/2014/main" id="{A77F5866-4E4B-4F03-949D-6579FDFC09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71" y="1655"/>
                  <a:ext cx="12" cy="9"/>
                </a:xfrm>
                <a:custGeom>
                  <a:avLst/>
                  <a:gdLst>
                    <a:gd name="T0" fmla="*/ 0 w 12"/>
                    <a:gd name="T1" fmla="*/ 7 h 9"/>
                    <a:gd name="T2" fmla="*/ 3 w 12"/>
                    <a:gd name="T3" fmla="*/ 5 h 9"/>
                    <a:gd name="T4" fmla="*/ 5 w 12"/>
                    <a:gd name="T5" fmla="*/ 5 h 9"/>
                    <a:gd name="T6" fmla="*/ 7 w 12"/>
                    <a:gd name="T7" fmla="*/ 9 h 9"/>
                    <a:gd name="T8" fmla="*/ 8 w 12"/>
                    <a:gd name="T9" fmla="*/ 7 h 9"/>
                    <a:gd name="T10" fmla="*/ 11 w 12"/>
                    <a:gd name="T11" fmla="*/ 5 h 9"/>
                    <a:gd name="T12" fmla="*/ 12 w 12"/>
                    <a:gd name="T13" fmla="*/ 5 h 9"/>
                    <a:gd name="T14" fmla="*/ 11 w 12"/>
                    <a:gd name="T15" fmla="*/ 2 h 9"/>
                    <a:gd name="T16" fmla="*/ 8 w 12"/>
                    <a:gd name="T17" fmla="*/ 2 h 9"/>
                    <a:gd name="T18" fmla="*/ 7 w 12"/>
                    <a:gd name="T19" fmla="*/ 0 h 9"/>
                    <a:gd name="T20" fmla="*/ 6 w 12"/>
                    <a:gd name="T21" fmla="*/ 0 h 9"/>
                    <a:gd name="T22" fmla="*/ 5 w 12"/>
                    <a:gd name="T23" fmla="*/ 1 h 9"/>
                    <a:gd name="T24" fmla="*/ 4 w 12"/>
                    <a:gd name="T25" fmla="*/ 3 h 9"/>
                    <a:gd name="T26" fmla="*/ 0 w 12"/>
                    <a:gd name="T27" fmla="*/ 6 h 9"/>
                    <a:gd name="T28" fmla="*/ 0 w 12"/>
                    <a:gd name="T29" fmla="*/ 7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" h="9">
                      <a:moveTo>
                        <a:pt x="0" y="7"/>
                      </a:move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7" y="9"/>
                      </a:lnTo>
                      <a:lnTo>
                        <a:pt x="8" y="7"/>
                      </a:lnTo>
                      <a:lnTo>
                        <a:pt x="11" y="5"/>
                      </a:lnTo>
                      <a:lnTo>
                        <a:pt x="12" y="5"/>
                      </a:lnTo>
                      <a:lnTo>
                        <a:pt x="11" y="2"/>
                      </a:lnTo>
                      <a:lnTo>
                        <a:pt x="8" y="2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5" y="1"/>
                      </a:lnTo>
                      <a:lnTo>
                        <a:pt x="4" y="3"/>
                      </a:lnTo>
                      <a:lnTo>
                        <a:pt x="0" y="6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44" name="Freeform 646">
                  <a:extLst>
                    <a:ext uri="{FF2B5EF4-FFF2-40B4-BE49-F238E27FC236}">
                      <a16:creationId xmlns:a16="http://schemas.microsoft.com/office/drawing/2014/main" id="{005E2C65-64D3-4D27-A393-F2B5BE4E17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83" y="1664"/>
                  <a:ext cx="5" cy="5"/>
                </a:xfrm>
                <a:custGeom>
                  <a:avLst/>
                  <a:gdLst>
                    <a:gd name="T0" fmla="*/ 0 w 5"/>
                    <a:gd name="T1" fmla="*/ 2 h 5"/>
                    <a:gd name="T2" fmla="*/ 4 w 5"/>
                    <a:gd name="T3" fmla="*/ 5 h 5"/>
                    <a:gd name="T4" fmla="*/ 5 w 5"/>
                    <a:gd name="T5" fmla="*/ 4 h 5"/>
                    <a:gd name="T6" fmla="*/ 4 w 5"/>
                    <a:gd name="T7" fmla="*/ 1 h 5"/>
                    <a:gd name="T8" fmla="*/ 0 w 5"/>
                    <a:gd name="T9" fmla="*/ 0 h 5"/>
                    <a:gd name="T10" fmla="*/ 0 w 5"/>
                    <a:gd name="T11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5">
                      <a:moveTo>
                        <a:pt x="0" y="2"/>
                      </a:moveTo>
                      <a:lnTo>
                        <a:pt x="4" y="5"/>
                      </a:lnTo>
                      <a:lnTo>
                        <a:pt x="5" y="4"/>
                      </a:lnTo>
                      <a:lnTo>
                        <a:pt x="4" y="1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45" name="Freeform 647">
                  <a:extLst>
                    <a:ext uri="{FF2B5EF4-FFF2-40B4-BE49-F238E27FC236}">
                      <a16:creationId xmlns:a16="http://schemas.microsoft.com/office/drawing/2014/main" id="{D964DCAC-69C9-4DFC-9DAD-EAF16B84A2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1" y="1680"/>
                  <a:ext cx="90" cy="58"/>
                </a:xfrm>
                <a:custGeom>
                  <a:avLst/>
                  <a:gdLst>
                    <a:gd name="T0" fmla="*/ 11 w 90"/>
                    <a:gd name="T1" fmla="*/ 43 h 58"/>
                    <a:gd name="T2" fmla="*/ 22 w 90"/>
                    <a:gd name="T3" fmla="*/ 41 h 58"/>
                    <a:gd name="T4" fmla="*/ 27 w 90"/>
                    <a:gd name="T5" fmla="*/ 43 h 58"/>
                    <a:gd name="T6" fmla="*/ 33 w 90"/>
                    <a:gd name="T7" fmla="*/ 40 h 58"/>
                    <a:gd name="T8" fmla="*/ 36 w 90"/>
                    <a:gd name="T9" fmla="*/ 42 h 58"/>
                    <a:gd name="T10" fmla="*/ 43 w 90"/>
                    <a:gd name="T11" fmla="*/ 45 h 58"/>
                    <a:gd name="T12" fmla="*/ 48 w 90"/>
                    <a:gd name="T13" fmla="*/ 42 h 58"/>
                    <a:gd name="T14" fmla="*/ 58 w 90"/>
                    <a:gd name="T15" fmla="*/ 46 h 58"/>
                    <a:gd name="T16" fmla="*/ 65 w 90"/>
                    <a:gd name="T17" fmla="*/ 51 h 58"/>
                    <a:gd name="T18" fmla="*/ 72 w 90"/>
                    <a:gd name="T19" fmla="*/ 58 h 58"/>
                    <a:gd name="T20" fmla="*/ 73 w 90"/>
                    <a:gd name="T21" fmla="*/ 58 h 58"/>
                    <a:gd name="T22" fmla="*/ 84 w 90"/>
                    <a:gd name="T23" fmla="*/ 55 h 58"/>
                    <a:gd name="T24" fmla="*/ 87 w 90"/>
                    <a:gd name="T25" fmla="*/ 49 h 58"/>
                    <a:gd name="T26" fmla="*/ 90 w 90"/>
                    <a:gd name="T27" fmla="*/ 45 h 58"/>
                    <a:gd name="T28" fmla="*/ 88 w 90"/>
                    <a:gd name="T29" fmla="*/ 37 h 58"/>
                    <a:gd name="T30" fmla="*/ 86 w 90"/>
                    <a:gd name="T31" fmla="*/ 30 h 58"/>
                    <a:gd name="T32" fmla="*/ 84 w 90"/>
                    <a:gd name="T33" fmla="*/ 24 h 58"/>
                    <a:gd name="T34" fmla="*/ 82 w 90"/>
                    <a:gd name="T35" fmla="*/ 20 h 58"/>
                    <a:gd name="T36" fmla="*/ 82 w 90"/>
                    <a:gd name="T37" fmla="*/ 16 h 58"/>
                    <a:gd name="T38" fmla="*/ 70 w 90"/>
                    <a:gd name="T39" fmla="*/ 17 h 58"/>
                    <a:gd name="T40" fmla="*/ 66 w 90"/>
                    <a:gd name="T41" fmla="*/ 12 h 58"/>
                    <a:gd name="T42" fmla="*/ 59 w 90"/>
                    <a:gd name="T43" fmla="*/ 5 h 58"/>
                    <a:gd name="T44" fmla="*/ 57 w 90"/>
                    <a:gd name="T45" fmla="*/ 2 h 58"/>
                    <a:gd name="T46" fmla="*/ 54 w 90"/>
                    <a:gd name="T47" fmla="*/ 3 h 58"/>
                    <a:gd name="T48" fmla="*/ 48 w 90"/>
                    <a:gd name="T49" fmla="*/ 0 h 58"/>
                    <a:gd name="T50" fmla="*/ 41 w 90"/>
                    <a:gd name="T51" fmla="*/ 4 h 58"/>
                    <a:gd name="T52" fmla="*/ 39 w 90"/>
                    <a:gd name="T53" fmla="*/ 9 h 58"/>
                    <a:gd name="T54" fmla="*/ 39 w 90"/>
                    <a:gd name="T55" fmla="*/ 23 h 58"/>
                    <a:gd name="T56" fmla="*/ 31 w 90"/>
                    <a:gd name="T57" fmla="*/ 28 h 58"/>
                    <a:gd name="T58" fmla="*/ 27 w 90"/>
                    <a:gd name="T59" fmla="*/ 21 h 58"/>
                    <a:gd name="T60" fmla="*/ 21 w 90"/>
                    <a:gd name="T61" fmla="*/ 8 h 58"/>
                    <a:gd name="T62" fmla="*/ 17 w 90"/>
                    <a:gd name="T63" fmla="*/ 11 h 58"/>
                    <a:gd name="T64" fmla="*/ 12 w 90"/>
                    <a:gd name="T65" fmla="*/ 13 h 58"/>
                    <a:gd name="T66" fmla="*/ 7 w 90"/>
                    <a:gd name="T67" fmla="*/ 18 h 58"/>
                    <a:gd name="T68" fmla="*/ 6 w 90"/>
                    <a:gd name="T69" fmla="*/ 20 h 58"/>
                    <a:gd name="T70" fmla="*/ 2 w 90"/>
                    <a:gd name="T71" fmla="*/ 32 h 58"/>
                    <a:gd name="T72" fmla="*/ 2 w 90"/>
                    <a:gd name="T73" fmla="*/ 38 h 58"/>
                    <a:gd name="T74" fmla="*/ 2 w 90"/>
                    <a:gd name="T75" fmla="*/ 49 h 58"/>
                    <a:gd name="T76" fmla="*/ 3 w 90"/>
                    <a:gd name="T77" fmla="*/ 51 h 58"/>
                    <a:gd name="T78" fmla="*/ 7 w 90"/>
                    <a:gd name="T79" fmla="*/ 47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90" h="58">
                      <a:moveTo>
                        <a:pt x="7" y="47"/>
                      </a:moveTo>
                      <a:lnTo>
                        <a:pt x="11" y="43"/>
                      </a:lnTo>
                      <a:lnTo>
                        <a:pt x="17" y="40"/>
                      </a:lnTo>
                      <a:lnTo>
                        <a:pt x="22" y="41"/>
                      </a:lnTo>
                      <a:lnTo>
                        <a:pt x="25" y="41"/>
                      </a:lnTo>
                      <a:lnTo>
                        <a:pt x="27" y="43"/>
                      </a:lnTo>
                      <a:lnTo>
                        <a:pt x="30" y="40"/>
                      </a:lnTo>
                      <a:lnTo>
                        <a:pt x="33" y="40"/>
                      </a:lnTo>
                      <a:lnTo>
                        <a:pt x="34" y="42"/>
                      </a:lnTo>
                      <a:lnTo>
                        <a:pt x="36" y="42"/>
                      </a:lnTo>
                      <a:lnTo>
                        <a:pt x="38" y="45"/>
                      </a:lnTo>
                      <a:lnTo>
                        <a:pt x="43" y="45"/>
                      </a:lnTo>
                      <a:lnTo>
                        <a:pt x="44" y="46"/>
                      </a:lnTo>
                      <a:lnTo>
                        <a:pt x="48" y="42"/>
                      </a:lnTo>
                      <a:lnTo>
                        <a:pt x="54" y="45"/>
                      </a:lnTo>
                      <a:lnTo>
                        <a:pt x="58" y="46"/>
                      </a:lnTo>
                      <a:lnTo>
                        <a:pt x="62" y="51"/>
                      </a:lnTo>
                      <a:lnTo>
                        <a:pt x="65" y="51"/>
                      </a:lnTo>
                      <a:lnTo>
                        <a:pt x="68" y="57"/>
                      </a:lnTo>
                      <a:lnTo>
                        <a:pt x="72" y="58"/>
                      </a:lnTo>
                      <a:lnTo>
                        <a:pt x="73" y="58"/>
                      </a:lnTo>
                      <a:lnTo>
                        <a:pt x="73" y="58"/>
                      </a:lnTo>
                      <a:lnTo>
                        <a:pt x="78" y="56"/>
                      </a:lnTo>
                      <a:lnTo>
                        <a:pt x="84" y="55"/>
                      </a:lnTo>
                      <a:lnTo>
                        <a:pt x="84" y="51"/>
                      </a:lnTo>
                      <a:lnTo>
                        <a:pt x="87" y="49"/>
                      </a:lnTo>
                      <a:lnTo>
                        <a:pt x="88" y="46"/>
                      </a:lnTo>
                      <a:lnTo>
                        <a:pt x="90" y="45"/>
                      </a:lnTo>
                      <a:lnTo>
                        <a:pt x="90" y="40"/>
                      </a:lnTo>
                      <a:lnTo>
                        <a:pt x="88" y="37"/>
                      </a:lnTo>
                      <a:lnTo>
                        <a:pt x="86" y="33"/>
                      </a:lnTo>
                      <a:lnTo>
                        <a:pt x="86" y="30"/>
                      </a:lnTo>
                      <a:lnTo>
                        <a:pt x="83" y="27"/>
                      </a:lnTo>
                      <a:lnTo>
                        <a:pt x="84" y="24"/>
                      </a:lnTo>
                      <a:lnTo>
                        <a:pt x="83" y="22"/>
                      </a:lnTo>
                      <a:lnTo>
                        <a:pt x="82" y="20"/>
                      </a:lnTo>
                      <a:lnTo>
                        <a:pt x="83" y="19"/>
                      </a:lnTo>
                      <a:lnTo>
                        <a:pt x="82" y="16"/>
                      </a:lnTo>
                      <a:lnTo>
                        <a:pt x="75" y="14"/>
                      </a:lnTo>
                      <a:lnTo>
                        <a:pt x="70" y="17"/>
                      </a:lnTo>
                      <a:lnTo>
                        <a:pt x="68" y="13"/>
                      </a:lnTo>
                      <a:lnTo>
                        <a:pt x="66" y="12"/>
                      </a:lnTo>
                      <a:lnTo>
                        <a:pt x="64" y="8"/>
                      </a:lnTo>
                      <a:lnTo>
                        <a:pt x="59" y="5"/>
                      </a:lnTo>
                      <a:lnTo>
                        <a:pt x="58" y="4"/>
                      </a:lnTo>
                      <a:lnTo>
                        <a:pt x="57" y="2"/>
                      </a:lnTo>
                      <a:lnTo>
                        <a:pt x="55" y="0"/>
                      </a:lnTo>
                      <a:lnTo>
                        <a:pt x="54" y="3"/>
                      </a:lnTo>
                      <a:lnTo>
                        <a:pt x="52" y="3"/>
                      </a:lnTo>
                      <a:lnTo>
                        <a:pt x="48" y="0"/>
                      </a:lnTo>
                      <a:lnTo>
                        <a:pt x="45" y="1"/>
                      </a:lnTo>
                      <a:lnTo>
                        <a:pt x="41" y="4"/>
                      </a:lnTo>
                      <a:lnTo>
                        <a:pt x="39" y="5"/>
                      </a:lnTo>
                      <a:lnTo>
                        <a:pt x="39" y="9"/>
                      </a:lnTo>
                      <a:lnTo>
                        <a:pt x="41" y="16"/>
                      </a:lnTo>
                      <a:lnTo>
                        <a:pt x="39" y="23"/>
                      </a:lnTo>
                      <a:lnTo>
                        <a:pt x="34" y="28"/>
                      </a:lnTo>
                      <a:lnTo>
                        <a:pt x="31" y="28"/>
                      </a:lnTo>
                      <a:lnTo>
                        <a:pt x="28" y="24"/>
                      </a:lnTo>
                      <a:lnTo>
                        <a:pt x="27" y="21"/>
                      </a:lnTo>
                      <a:lnTo>
                        <a:pt x="21" y="13"/>
                      </a:lnTo>
                      <a:lnTo>
                        <a:pt x="21" y="8"/>
                      </a:lnTo>
                      <a:lnTo>
                        <a:pt x="20" y="8"/>
                      </a:lnTo>
                      <a:lnTo>
                        <a:pt x="17" y="11"/>
                      </a:lnTo>
                      <a:lnTo>
                        <a:pt x="14" y="12"/>
                      </a:lnTo>
                      <a:lnTo>
                        <a:pt x="12" y="13"/>
                      </a:lnTo>
                      <a:lnTo>
                        <a:pt x="9" y="14"/>
                      </a:lnTo>
                      <a:lnTo>
                        <a:pt x="7" y="18"/>
                      </a:lnTo>
                      <a:lnTo>
                        <a:pt x="7" y="21"/>
                      </a:lnTo>
                      <a:lnTo>
                        <a:pt x="6" y="20"/>
                      </a:lnTo>
                      <a:lnTo>
                        <a:pt x="6" y="27"/>
                      </a:lnTo>
                      <a:lnTo>
                        <a:pt x="2" y="32"/>
                      </a:lnTo>
                      <a:lnTo>
                        <a:pt x="2" y="35"/>
                      </a:lnTo>
                      <a:lnTo>
                        <a:pt x="2" y="38"/>
                      </a:lnTo>
                      <a:lnTo>
                        <a:pt x="0" y="40"/>
                      </a:lnTo>
                      <a:lnTo>
                        <a:pt x="2" y="49"/>
                      </a:lnTo>
                      <a:lnTo>
                        <a:pt x="3" y="51"/>
                      </a:lnTo>
                      <a:lnTo>
                        <a:pt x="3" y="51"/>
                      </a:lnTo>
                      <a:lnTo>
                        <a:pt x="6" y="51"/>
                      </a:lnTo>
                      <a:lnTo>
                        <a:pt x="7" y="4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46" name="Freeform 648">
                  <a:extLst>
                    <a:ext uri="{FF2B5EF4-FFF2-40B4-BE49-F238E27FC236}">
                      <a16:creationId xmlns:a16="http://schemas.microsoft.com/office/drawing/2014/main" id="{A71B4102-4517-4E2B-892B-657BA4655B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4" y="1720"/>
                  <a:ext cx="70" cy="62"/>
                </a:xfrm>
                <a:custGeom>
                  <a:avLst/>
                  <a:gdLst>
                    <a:gd name="T0" fmla="*/ 29 w 70"/>
                    <a:gd name="T1" fmla="*/ 48 h 62"/>
                    <a:gd name="T2" fmla="*/ 31 w 70"/>
                    <a:gd name="T3" fmla="*/ 48 h 62"/>
                    <a:gd name="T4" fmla="*/ 32 w 70"/>
                    <a:gd name="T5" fmla="*/ 54 h 62"/>
                    <a:gd name="T6" fmla="*/ 32 w 70"/>
                    <a:gd name="T7" fmla="*/ 58 h 62"/>
                    <a:gd name="T8" fmla="*/ 34 w 70"/>
                    <a:gd name="T9" fmla="*/ 62 h 62"/>
                    <a:gd name="T10" fmla="*/ 37 w 70"/>
                    <a:gd name="T11" fmla="*/ 59 h 62"/>
                    <a:gd name="T12" fmla="*/ 42 w 70"/>
                    <a:gd name="T13" fmla="*/ 57 h 62"/>
                    <a:gd name="T14" fmla="*/ 46 w 70"/>
                    <a:gd name="T15" fmla="*/ 59 h 62"/>
                    <a:gd name="T16" fmla="*/ 49 w 70"/>
                    <a:gd name="T17" fmla="*/ 57 h 62"/>
                    <a:gd name="T18" fmla="*/ 52 w 70"/>
                    <a:gd name="T19" fmla="*/ 57 h 62"/>
                    <a:gd name="T20" fmla="*/ 51 w 70"/>
                    <a:gd name="T21" fmla="*/ 52 h 62"/>
                    <a:gd name="T22" fmla="*/ 55 w 70"/>
                    <a:gd name="T23" fmla="*/ 52 h 62"/>
                    <a:gd name="T24" fmla="*/ 56 w 70"/>
                    <a:gd name="T25" fmla="*/ 47 h 62"/>
                    <a:gd name="T26" fmla="*/ 59 w 70"/>
                    <a:gd name="T27" fmla="*/ 46 h 62"/>
                    <a:gd name="T28" fmla="*/ 59 w 70"/>
                    <a:gd name="T29" fmla="*/ 49 h 62"/>
                    <a:gd name="T30" fmla="*/ 63 w 70"/>
                    <a:gd name="T31" fmla="*/ 49 h 62"/>
                    <a:gd name="T32" fmla="*/ 63 w 70"/>
                    <a:gd name="T33" fmla="*/ 45 h 62"/>
                    <a:gd name="T34" fmla="*/ 59 w 70"/>
                    <a:gd name="T35" fmla="*/ 42 h 62"/>
                    <a:gd name="T36" fmla="*/ 60 w 70"/>
                    <a:gd name="T37" fmla="*/ 37 h 62"/>
                    <a:gd name="T38" fmla="*/ 62 w 70"/>
                    <a:gd name="T39" fmla="*/ 37 h 62"/>
                    <a:gd name="T40" fmla="*/ 65 w 70"/>
                    <a:gd name="T41" fmla="*/ 31 h 62"/>
                    <a:gd name="T42" fmla="*/ 70 w 70"/>
                    <a:gd name="T43" fmla="*/ 28 h 62"/>
                    <a:gd name="T44" fmla="*/ 70 w 70"/>
                    <a:gd name="T45" fmla="*/ 25 h 62"/>
                    <a:gd name="T46" fmla="*/ 67 w 70"/>
                    <a:gd name="T47" fmla="*/ 24 h 62"/>
                    <a:gd name="T48" fmla="*/ 70 w 70"/>
                    <a:gd name="T49" fmla="*/ 18 h 62"/>
                    <a:gd name="T50" fmla="*/ 69 w 70"/>
                    <a:gd name="T51" fmla="*/ 18 h 62"/>
                    <a:gd name="T52" fmla="*/ 65 w 70"/>
                    <a:gd name="T53" fmla="*/ 17 h 62"/>
                    <a:gd name="T54" fmla="*/ 62 w 70"/>
                    <a:gd name="T55" fmla="*/ 11 h 62"/>
                    <a:gd name="T56" fmla="*/ 59 w 70"/>
                    <a:gd name="T57" fmla="*/ 11 h 62"/>
                    <a:gd name="T58" fmla="*/ 55 w 70"/>
                    <a:gd name="T59" fmla="*/ 6 h 62"/>
                    <a:gd name="T60" fmla="*/ 51 w 70"/>
                    <a:gd name="T61" fmla="*/ 5 h 62"/>
                    <a:gd name="T62" fmla="*/ 45 w 70"/>
                    <a:gd name="T63" fmla="*/ 2 h 62"/>
                    <a:gd name="T64" fmla="*/ 41 w 70"/>
                    <a:gd name="T65" fmla="*/ 6 h 62"/>
                    <a:gd name="T66" fmla="*/ 40 w 70"/>
                    <a:gd name="T67" fmla="*/ 5 h 62"/>
                    <a:gd name="T68" fmla="*/ 35 w 70"/>
                    <a:gd name="T69" fmla="*/ 5 h 62"/>
                    <a:gd name="T70" fmla="*/ 33 w 70"/>
                    <a:gd name="T71" fmla="*/ 2 h 62"/>
                    <a:gd name="T72" fmla="*/ 31 w 70"/>
                    <a:gd name="T73" fmla="*/ 2 h 62"/>
                    <a:gd name="T74" fmla="*/ 30 w 70"/>
                    <a:gd name="T75" fmla="*/ 0 h 62"/>
                    <a:gd name="T76" fmla="*/ 27 w 70"/>
                    <a:gd name="T77" fmla="*/ 0 h 62"/>
                    <a:gd name="T78" fmla="*/ 24 w 70"/>
                    <a:gd name="T79" fmla="*/ 3 h 62"/>
                    <a:gd name="T80" fmla="*/ 22 w 70"/>
                    <a:gd name="T81" fmla="*/ 1 h 62"/>
                    <a:gd name="T82" fmla="*/ 19 w 70"/>
                    <a:gd name="T83" fmla="*/ 1 h 62"/>
                    <a:gd name="T84" fmla="*/ 14 w 70"/>
                    <a:gd name="T85" fmla="*/ 0 h 62"/>
                    <a:gd name="T86" fmla="*/ 8 w 70"/>
                    <a:gd name="T87" fmla="*/ 3 h 62"/>
                    <a:gd name="T88" fmla="*/ 4 w 70"/>
                    <a:gd name="T89" fmla="*/ 7 h 62"/>
                    <a:gd name="T90" fmla="*/ 3 w 70"/>
                    <a:gd name="T91" fmla="*/ 11 h 62"/>
                    <a:gd name="T92" fmla="*/ 0 w 70"/>
                    <a:gd name="T93" fmla="*/ 11 h 62"/>
                    <a:gd name="T94" fmla="*/ 0 w 70"/>
                    <a:gd name="T95" fmla="*/ 16 h 62"/>
                    <a:gd name="T96" fmla="*/ 1 w 70"/>
                    <a:gd name="T97" fmla="*/ 21 h 62"/>
                    <a:gd name="T98" fmla="*/ 0 w 70"/>
                    <a:gd name="T99" fmla="*/ 23 h 62"/>
                    <a:gd name="T100" fmla="*/ 1 w 70"/>
                    <a:gd name="T101" fmla="*/ 24 h 62"/>
                    <a:gd name="T102" fmla="*/ 6 w 70"/>
                    <a:gd name="T103" fmla="*/ 22 h 62"/>
                    <a:gd name="T104" fmla="*/ 10 w 70"/>
                    <a:gd name="T105" fmla="*/ 28 h 62"/>
                    <a:gd name="T106" fmla="*/ 14 w 70"/>
                    <a:gd name="T107" fmla="*/ 31 h 62"/>
                    <a:gd name="T108" fmla="*/ 19 w 70"/>
                    <a:gd name="T109" fmla="*/ 29 h 62"/>
                    <a:gd name="T110" fmla="*/ 21 w 70"/>
                    <a:gd name="T111" fmla="*/ 31 h 62"/>
                    <a:gd name="T112" fmla="*/ 21 w 70"/>
                    <a:gd name="T113" fmla="*/ 34 h 62"/>
                    <a:gd name="T114" fmla="*/ 23 w 70"/>
                    <a:gd name="T115" fmla="*/ 35 h 62"/>
                    <a:gd name="T116" fmla="*/ 24 w 70"/>
                    <a:gd name="T117" fmla="*/ 36 h 62"/>
                    <a:gd name="T118" fmla="*/ 23 w 70"/>
                    <a:gd name="T119" fmla="*/ 39 h 62"/>
                    <a:gd name="T120" fmla="*/ 23 w 70"/>
                    <a:gd name="T121" fmla="*/ 45 h 62"/>
                    <a:gd name="T122" fmla="*/ 26 w 70"/>
                    <a:gd name="T123" fmla="*/ 45 h 62"/>
                    <a:gd name="T124" fmla="*/ 29 w 70"/>
                    <a:gd name="T125" fmla="*/ 48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0" h="62">
                      <a:moveTo>
                        <a:pt x="29" y="48"/>
                      </a:moveTo>
                      <a:lnTo>
                        <a:pt x="31" y="48"/>
                      </a:lnTo>
                      <a:lnTo>
                        <a:pt x="32" y="54"/>
                      </a:lnTo>
                      <a:lnTo>
                        <a:pt x="32" y="58"/>
                      </a:lnTo>
                      <a:lnTo>
                        <a:pt x="34" y="62"/>
                      </a:lnTo>
                      <a:lnTo>
                        <a:pt x="37" y="59"/>
                      </a:lnTo>
                      <a:lnTo>
                        <a:pt x="42" y="57"/>
                      </a:lnTo>
                      <a:lnTo>
                        <a:pt x="46" y="59"/>
                      </a:lnTo>
                      <a:lnTo>
                        <a:pt x="49" y="57"/>
                      </a:lnTo>
                      <a:lnTo>
                        <a:pt x="52" y="57"/>
                      </a:lnTo>
                      <a:lnTo>
                        <a:pt x="51" y="52"/>
                      </a:lnTo>
                      <a:lnTo>
                        <a:pt x="55" y="52"/>
                      </a:lnTo>
                      <a:lnTo>
                        <a:pt x="56" y="47"/>
                      </a:lnTo>
                      <a:lnTo>
                        <a:pt x="59" y="46"/>
                      </a:lnTo>
                      <a:lnTo>
                        <a:pt x="59" y="49"/>
                      </a:lnTo>
                      <a:lnTo>
                        <a:pt x="63" y="49"/>
                      </a:lnTo>
                      <a:lnTo>
                        <a:pt x="63" y="45"/>
                      </a:lnTo>
                      <a:lnTo>
                        <a:pt x="59" y="42"/>
                      </a:lnTo>
                      <a:lnTo>
                        <a:pt x="60" y="37"/>
                      </a:lnTo>
                      <a:lnTo>
                        <a:pt x="62" y="37"/>
                      </a:lnTo>
                      <a:lnTo>
                        <a:pt x="65" y="31"/>
                      </a:lnTo>
                      <a:lnTo>
                        <a:pt x="70" y="28"/>
                      </a:lnTo>
                      <a:lnTo>
                        <a:pt x="70" y="25"/>
                      </a:lnTo>
                      <a:lnTo>
                        <a:pt x="67" y="24"/>
                      </a:lnTo>
                      <a:lnTo>
                        <a:pt x="70" y="18"/>
                      </a:lnTo>
                      <a:lnTo>
                        <a:pt x="69" y="18"/>
                      </a:lnTo>
                      <a:lnTo>
                        <a:pt x="65" y="17"/>
                      </a:lnTo>
                      <a:lnTo>
                        <a:pt x="62" y="11"/>
                      </a:lnTo>
                      <a:lnTo>
                        <a:pt x="59" y="11"/>
                      </a:lnTo>
                      <a:lnTo>
                        <a:pt x="55" y="6"/>
                      </a:lnTo>
                      <a:lnTo>
                        <a:pt x="51" y="5"/>
                      </a:lnTo>
                      <a:lnTo>
                        <a:pt x="45" y="2"/>
                      </a:lnTo>
                      <a:lnTo>
                        <a:pt x="41" y="6"/>
                      </a:lnTo>
                      <a:lnTo>
                        <a:pt x="40" y="5"/>
                      </a:lnTo>
                      <a:lnTo>
                        <a:pt x="35" y="5"/>
                      </a:lnTo>
                      <a:lnTo>
                        <a:pt x="33" y="2"/>
                      </a:lnTo>
                      <a:lnTo>
                        <a:pt x="31" y="2"/>
                      </a:lnTo>
                      <a:lnTo>
                        <a:pt x="30" y="0"/>
                      </a:lnTo>
                      <a:lnTo>
                        <a:pt x="27" y="0"/>
                      </a:lnTo>
                      <a:lnTo>
                        <a:pt x="24" y="3"/>
                      </a:lnTo>
                      <a:lnTo>
                        <a:pt x="22" y="1"/>
                      </a:lnTo>
                      <a:lnTo>
                        <a:pt x="19" y="1"/>
                      </a:lnTo>
                      <a:lnTo>
                        <a:pt x="14" y="0"/>
                      </a:lnTo>
                      <a:lnTo>
                        <a:pt x="8" y="3"/>
                      </a:lnTo>
                      <a:lnTo>
                        <a:pt x="4" y="7"/>
                      </a:lnTo>
                      <a:lnTo>
                        <a:pt x="3" y="11"/>
                      </a:lnTo>
                      <a:lnTo>
                        <a:pt x="0" y="11"/>
                      </a:lnTo>
                      <a:lnTo>
                        <a:pt x="0" y="16"/>
                      </a:lnTo>
                      <a:lnTo>
                        <a:pt x="1" y="21"/>
                      </a:lnTo>
                      <a:lnTo>
                        <a:pt x="0" y="23"/>
                      </a:lnTo>
                      <a:lnTo>
                        <a:pt x="1" y="24"/>
                      </a:lnTo>
                      <a:lnTo>
                        <a:pt x="6" y="22"/>
                      </a:lnTo>
                      <a:lnTo>
                        <a:pt x="10" y="28"/>
                      </a:lnTo>
                      <a:lnTo>
                        <a:pt x="14" y="31"/>
                      </a:lnTo>
                      <a:lnTo>
                        <a:pt x="19" y="29"/>
                      </a:lnTo>
                      <a:lnTo>
                        <a:pt x="21" y="31"/>
                      </a:lnTo>
                      <a:lnTo>
                        <a:pt x="21" y="34"/>
                      </a:lnTo>
                      <a:lnTo>
                        <a:pt x="23" y="35"/>
                      </a:lnTo>
                      <a:lnTo>
                        <a:pt x="24" y="36"/>
                      </a:lnTo>
                      <a:lnTo>
                        <a:pt x="23" y="39"/>
                      </a:lnTo>
                      <a:lnTo>
                        <a:pt x="23" y="45"/>
                      </a:lnTo>
                      <a:lnTo>
                        <a:pt x="26" y="45"/>
                      </a:lnTo>
                      <a:lnTo>
                        <a:pt x="29" y="4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47" name="Freeform 649">
                  <a:extLst>
                    <a:ext uri="{FF2B5EF4-FFF2-40B4-BE49-F238E27FC236}">
                      <a16:creationId xmlns:a16="http://schemas.microsoft.com/office/drawing/2014/main" id="{554323F2-0B48-4ABE-9ACD-5AEECCFD98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98" y="1724"/>
                  <a:ext cx="119" cy="110"/>
                </a:xfrm>
                <a:custGeom>
                  <a:avLst/>
                  <a:gdLst>
                    <a:gd name="T0" fmla="*/ 47 w 119"/>
                    <a:gd name="T1" fmla="*/ 7 h 110"/>
                    <a:gd name="T2" fmla="*/ 41 w 119"/>
                    <a:gd name="T3" fmla="*/ 12 h 110"/>
                    <a:gd name="T4" fmla="*/ 36 w 119"/>
                    <a:gd name="T5" fmla="*/ 14 h 110"/>
                    <a:gd name="T6" fmla="*/ 36 w 119"/>
                    <a:gd name="T7" fmla="*/ 21 h 110"/>
                    <a:gd name="T8" fmla="*/ 31 w 119"/>
                    <a:gd name="T9" fmla="*/ 27 h 110"/>
                    <a:gd name="T10" fmla="*/ 26 w 119"/>
                    <a:gd name="T11" fmla="*/ 33 h 110"/>
                    <a:gd name="T12" fmla="*/ 29 w 119"/>
                    <a:gd name="T13" fmla="*/ 41 h 110"/>
                    <a:gd name="T14" fmla="*/ 25 w 119"/>
                    <a:gd name="T15" fmla="*/ 45 h 110"/>
                    <a:gd name="T16" fmla="*/ 22 w 119"/>
                    <a:gd name="T17" fmla="*/ 43 h 110"/>
                    <a:gd name="T18" fmla="*/ 17 w 119"/>
                    <a:gd name="T19" fmla="*/ 48 h 110"/>
                    <a:gd name="T20" fmla="*/ 15 w 119"/>
                    <a:gd name="T21" fmla="*/ 53 h 110"/>
                    <a:gd name="T22" fmla="*/ 8 w 119"/>
                    <a:gd name="T23" fmla="*/ 53 h 110"/>
                    <a:gd name="T24" fmla="*/ 0 w 119"/>
                    <a:gd name="T25" fmla="*/ 58 h 110"/>
                    <a:gd name="T26" fmla="*/ 3 w 119"/>
                    <a:gd name="T27" fmla="*/ 67 h 110"/>
                    <a:gd name="T28" fmla="*/ 5 w 119"/>
                    <a:gd name="T29" fmla="*/ 75 h 110"/>
                    <a:gd name="T30" fmla="*/ 8 w 119"/>
                    <a:gd name="T31" fmla="*/ 86 h 110"/>
                    <a:gd name="T32" fmla="*/ 2 w 119"/>
                    <a:gd name="T33" fmla="*/ 92 h 110"/>
                    <a:gd name="T34" fmla="*/ 6 w 119"/>
                    <a:gd name="T35" fmla="*/ 103 h 110"/>
                    <a:gd name="T36" fmla="*/ 8 w 119"/>
                    <a:gd name="T37" fmla="*/ 104 h 110"/>
                    <a:gd name="T38" fmla="*/ 15 w 119"/>
                    <a:gd name="T39" fmla="*/ 105 h 110"/>
                    <a:gd name="T40" fmla="*/ 30 w 119"/>
                    <a:gd name="T41" fmla="*/ 103 h 110"/>
                    <a:gd name="T42" fmla="*/ 35 w 119"/>
                    <a:gd name="T43" fmla="*/ 100 h 110"/>
                    <a:gd name="T44" fmla="*/ 46 w 119"/>
                    <a:gd name="T45" fmla="*/ 104 h 110"/>
                    <a:gd name="T46" fmla="*/ 50 w 119"/>
                    <a:gd name="T47" fmla="*/ 108 h 110"/>
                    <a:gd name="T48" fmla="*/ 57 w 119"/>
                    <a:gd name="T49" fmla="*/ 108 h 110"/>
                    <a:gd name="T50" fmla="*/ 60 w 119"/>
                    <a:gd name="T51" fmla="*/ 107 h 110"/>
                    <a:gd name="T52" fmla="*/ 67 w 119"/>
                    <a:gd name="T53" fmla="*/ 109 h 110"/>
                    <a:gd name="T54" fmla="*/ 75 w 119"/>
                    <a:gd name="T55" fmla="*/ 106 h 110"/>
                    <a:gd name="T56" fmla="*/ 78 w 119"/>
                    <a:gd name="T57" fmla="*/ 110 h 110"/>
                    <a:gd name="T58" fmla="*/ 84 w 119"/>
                    <a:gd name="T59" fmla="*/ 107 h 110"/>
                    <a:gd name="T60" fmla="*/ 90 w 119"/>
                    <a:gd name="T61" fmla="*/ 107 h 110"/>
                    <a:gd name="T62" fmla="*/ 95 w 119"/>
                    <a:gd name="T63" fmla="*/ 109 h 110"/>
                    <a:gd name="T64" fmla="*/ 98 w 119"/>
                    <a:gd name="T65" fmla="*/ 97 h 110"/>
                    <a:gd name="T66" fmla="*/ 108 w 119"/>
                    <a:gd name="T67" fmla="*/ 94 h 110"/>
                    <a:gd name="T68" fmla="*/ 108 w 119"/>
                    <a:gd name="T69" fmla="*/ 90 h 110"/>
                    <a:gd name="T70" fmla="*/ 105 w 119"/>
                    <a:gd name="T71" fmla="*/ 81 h 110"/>
                    <a:gd name="T72" fmla="*/ 102 w 119"/>
                    <a:gd name="T73" fmla="*/ 72 h 110"/>
                    <a:gd name="T74" fmla="*/ 107 w 119"/>
                    <a:gd name="T75" fmla="*/ 72 h 110"/>
                    <a:gd name="T76" fmla="*/ 117 w 119"/>
                    <a:gd name="T77" fmla="*/ 65 h 110"/>
                    <a:gd name="T78" fmla="*/ 115 w 119"/>
                    <a:gd name="T79" fmla="*/ 61 h 110"/>
                    <a:gd name="T80" fmla="*/ 109 w 119"/>
                    <a:gd name="T81" fmla="*/ 52 h 110"/>
                    <a:gd name="T82" fmla="*/ 103 w 119"/>
                    <a:gd name="T83" fmla="*/ 45 h 110"/>
                    <a:gd name="T84" fmla="*/ 97 w 119"/>
                    <a:gd name="T85" fmla="*/ 36 h 110"/>
                    <a:gd name="T86" fmla="*/ 91 w 119"/>
                    <a:gd name="T87" fmla="*/ 28 h 110"/>
                    <a:gd name="T88" fmla="*/ 89 w 119"/>
                    <a:gd name="T89" fmla="*/ 19 h 110"/>
                    <a:gd name="T90" fmla="*/ 90 w 119"/>
                    <a:gd name="T91" fmla="*/ 10 h 110"/>
                    <a:gd name="T92" fmla="*/ 81 w 119"/>
                    <a:gd name="T93" fmla="*/ 8 h 110"/>
                    <a:gd name="T94" fmla="*/ 76 w 119"/>
                    <a:gd name="T95" fmla="*/ 7 h 110"/>
                    <a:gd name="T96" fmla="*/ 70 w 119"/>
                    <a:gd name="T97" fmla="*/ 4 h 110"/>
                    <a:gd name="T98" fmla="*/ 63 w 119"/>
                    <a:gd name="T99" fmla="*/ 6 h 110"/>
                    <a:gd name="T100" fmla="*/ 57 w 119"/>
                    <a:gd name="T101" fmla="*/ 3 h 110"/>
                    <a:gd name="T102" fmla="*/ 51 w 119"/>
                    <a:gd name="T103" fmla="*/ 2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19" h="110">
                      <a:moveTo>
                        <a:pt x="50" y="5"/>
                      </a:moveTo>
                      <a:lnTo>
                        <a:pt x="47" y="7"/>
                      </a:lnTo>
                      <a:lnTo>
                        <a:pt x="47" y="11"/>
                      </a:lnTo>
                      <a:lnTo>
                        <a:pt x="41" y="12"/>
                      </a:lnTo>
                      <a:lnTo>
                        <a:pt x="36" y="14"/>
                      </a:lnTo>
                      <a:lnTo>
                        <a:pt x="36" y="14"/>
                      </a:lnTo>
                      <a:lnTo>
                        <a:pt x="33" y="20"/>
                      </a:lnTo>
                      <a:lnTo>
                        <a:pt x="36" y="21"/>
                      </a:lnTo>
                      <a:lnTo>
                        <a:pt x="36" y="24"/>
                      </a:lnTo>
                      <a:lnTo>
                        <a:pt x="31" y="27"/>
                      </a:lnTo>
                      <a:lnTo>
                        <a:pt x="28" y="33"/>
                      </a:lnTo>
                      <a:lnTo>
                        <a:pt x="26" y="33"/>
                      </a:lnTo>
                      <a:lnTo>
                        <a:pt x="25" y="38"/>
                      </a:lnTo>
                      <a:lnTo>
                        <a:pt x="29" y="41"/>
                      </a:lnTo>
                      <a:lnTo>
                        <a:pt x="29" y="45"/>
                      </a:lnTo>
                      <a:lnTo>
                        <a:pt x="25" y="45"/>
                      </a:lnTo>
                      <a:lnTo>
                        <a:pt x="25" y="42"/>
                      </a:lnTo>
                      <a:lnTo>
                        <a:pt x="22" y="43"/>
                      </a:lnTo>
                      <a:lnTo>
                        <a:pt x="21" y="48"/>
                      </a:lnTo>
                      <a:lnTo>
                        <a:pt x="17" y="48"/>
                      </a:lnTo>
                      <a:lnTo>
                        <a:pt x="18" y="53"/>
                      </a:lnTo>
                      <a:lnTo>
                        <a:pt x="15" y="53"/>
                      </a:lnTo>
                      <a:lnTo>
                        <a:pt x="12" y="55"/>
                      </a:lnTo>
                      <a:lnTo>
                        <a:pt x="8" y="53"/>
                      </a:lnTo>
                      <a:lnTo>
                        <a:pt x="3" y="55"/>
                      </a:lnTo>
                      <a:lnTo>
                        <a:pt x="0" y="58"/>
                      </a:lnTo>
                      <a:lnTo>
                        <a:pt x="1" y="59"/>
                      </a:lnTo>
                      <a:lnTo>
                        <a:pt x="3" y="67"/>
                      </a:lnTo>
                      <a:lnTo>
                        <a:pt x="5" y="70"/>
                      </a:lnTo>
                      <a:lnTo>
                        <a:pt x="5" y="75"/>
                      </a:lnTo>
                      <a:lnTo>
                        <a:pt x="7" y="76"/>
                      </a:lnTo>
                      <a:lnTo>
                        <a:pt x="8" y="86"/>
                      </a:lnTo>
                      <a:lnTo>
                        <a:pt x="4" y="88"/>
                      </a:lnTo>
                      <a:lnTo>
                        <a:pt x="2" y="92"/>
                      </a:lnTo>
                      <a:lnTo>
                        <a:pt x="4" y="97"/>
                      </a:lnTo>
                      <a:lnTo>
                        <a:pt x="6" y="103"/>
                      </a:lnTo>
                      <a:lnTo>
                        <a:pt x="6" y="104"/>
                      </a:lnTo>
                      <a:lnTo>
                        <a:pt x="8" y="104"/>
                      </a:lnTo>
                      <a:lnTo>
                        <a:pt x="13" y="107"/>
                      </a:lnTo>
                      <a:lnTo>
                        <a:pt x="15" y="105"/>
                      </a:lnTo>
                      <a:lnTo>
                        <a:pt x="25" y="103"/>
                      </a:lnTo>
                      <a:lnTo>
                        <a:pt x="30" y="103"/>
                      </a:lnTo>
                      <a:lnTo>
                        <a:pt x="32" y="100"/>
                      </a:lnTo>
                      <a:lnTo>
                        <a:pt x="35" y="100"/>
                      </a:lnTo>
                      <a:lnTo>
                        <a:pt x="38" y="103"/>
                      </a:lnTo>
                      <a:lnTo>
                        <a:pt x="46" y="104"/>
                      </a:lnTo>
                      <a:lnTo>
                        <a:pt x="49" y="107"/>
                      </a:lnTo>
                      <a:lnTo>
                        <a:pt x="50" y="108"/>
                      </a:lnTo>
                      <a:lnTo>
                        <a:pt x="55" y="106"/>
                      </a:lnTo>
                      <a:lnTo>
                        <a:pt x="57" y="108"/>
                      </a:lnTo>
                      <a:lnTo>
                        <a:pt x="60" y="108"/>
                      </a:lnTo>
                      <a:lnTo>
                        <a:pt x="60" y="107"/>
                      </a:lnTo>
                      <a:lnTo>
                        <a:pt x="65" y="107"/>
                      </a:lnTo>
                      <a:lnTo>
                        <a:pt x="67" y="109"/>
                      </a:lnTo>
                      <a:lnTo>
                        <a:pt x="71" y="106"/>
                      </a:lnTo>
                      <a:lnTo>
                        <a:pt x="75" y="106"/>
                      </a:lnTo>
                      <a:lnTo>
                        <a:pt x="76" y="110"/>
                      </a:lnTo>
                      <a:lnTo>
                        <a:pt x="78" y="110"/>
                      </a:lnTo>
                      <a:lnTo>
                        <a:pt x="81" y="107"/>
                      </a:lnTo>
                      <a:lnTo>
                        <a:pt x="84" y="107"/>
                      </a:lnTo>
                      <a:lnTo>
                        <a:pt x="86" y="108"/>
                      </a:lnTo>
                      <a:lnTo>
                        <a:pt x="90" y="107"/>
                      </a:lnTo>
                      <a:lnTo>
                        <a:pt x="92" y="109"/>
                      </a:lnTo>
                      <a:lnTo>
                        <a:pt x="95" y="109"/>
                      </a:lnTo>
                      <a:lnTo>
                        <a:pt x="96" y="103"/>
                      </a:lnTo>
                      <a:lnTo>
                        <a:pt x="98" y="97"/>
                      </a:lnTo>
                      <a:lnTo>
                        <a:pt x="102" y="96"/>
                      </a:lnTo>
                      <a:lnTo>
                        <a:pt x="108" y="94"/>
                      </a:lnTo>
                      <a:lnTo>
                        <a:pt x="108" y="94"/>
                      </a:lnTo>
                      <a:lnTo>
                        <a:pt x="108" y="90"/>
                      </a:lnTo>
                      <a:lnTo>
                        <a:pt x="105" y="86"/>
                      </a:lnTo>
                      <a:lnTo>
                        <a:pt x="105" y="81"/>
                      </a:lnTo>
                      <a:lnTo>
                        <a:pt x="102" y="76"/>
                      </a:lnTo>
                      <a:lnTo>
                        <a:pt x="102" y="72"/>
                      </a:lnTo>
                      <a:lnTo>
                        <a:pt x="104" y="69"/>
                      </a:lnTo>
                      <a:lnTo>
                        <a:pt x="107" y="72"/>
                      </a:lnTo>
                      <a:lnTo>
                        <a:pt x="114" y="71"/>
                      </a:lnTo>
                      <a:lnTo>
                        <a:pt x="117" y="65"/>
                      </a:lnTo>
                      <a:lnTo>
                        <a:pt x="119" y="64"/>
                      </a:lnTo>
                      <a:lnTo>
                        <a:pt x="115" y="61"/>
                      </a:lnTo>
                      <a:lnTo>
                        <a:pt x="115" y="58"/>
                      </a:lnTo>
                      <a:lnTo>
                        <a:pt x="109" y="52"/>
                      </a:lnTo>
                      <a:lnTo>
                        <a:pt x="105" y="50"/>
                      </a:lnTo>
                      <a:lnTo>
                        <a:pt x="103" y="45"/>
                      </a:lnTo>
                      <a:lnTo>
                        <a:pt x="101" y="42"/>
                      </a:lnTo>
                      <a:lnTo>
                        <a:pt x="97" y="36"/>
                      </a:lnTo>
                      <a:lnTo>
                        <a:pt x="95" y="31"/>
                      </a:lnTo>
                      <a:lnTo>
                        <a:pt x="91" y="28"/>
                      </a:lnTo>
                      <a:lnTo>
                        <a:pt x="91" y="22"/>
                      </a:lnTo>
                      <a:lnTo>
                        <a:pt x="89" y="19"/>
                      </a:lnTo>
                      <a:lnTo>
                        <a:pt x="91" y="14"/>
                      </a:lnTo>
                      <a:lnTo>
                        <a:pt x="90" y="10"/>
                      </a:lnTo>
                      <a:lnTo>
                        <a:pt x="84" y="8"/>
                      </a:lnTo>
                      <a:lnTo>
                        <a:pt x="81" y="8"/>
                      </a:lnTo>
                      <a:lnTo>
                        <a:pt x="80" y="5"/>
                      </a:lnTo>
                      <a:lnTo>
                        <a:pt x="76" y="7"/>
                      </a:lnTo>
                      <a:lnTo>
                        <a:pt x="72" y="10"/>
                      </a:lnTo>
                      <a:lnTo>
                        <a:pt x="70" y="4"/>
                      </a:lnTo>
                      <a:lnTo>
                        <a:pt x="67" y="4"/>
                      </a:lnTo>
                      <a:lnTo>
                        <a:pt x="63" y="6"/>
                      </a:lnTo>
                      <a:lnTo>
                        <a:pt x="60" y="0"/>
                      </a:lnTo>
                      <a:lnTo>
                        <a:pt x="57" y="3"/>
                      </a:lnTo>
                      <a:lnTo>
                        <a:pt x="54" y="1"/>
                      </a:lnTo>
                      <a:lnTo>
                        <a:pt x="51" y="2"/>
                      </a:lnTo>
                      <a:lnTo>
                        <a:pt x="50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48" name="Freeform 650">
                  <a:extLst>
                    <a:ext uri="{FF2B5EF4-FFF2-40B4-BE49-F238E27FC236}">
                      <a16:creationId xmlns:a16="http://schemas.microsoft.com/office/drawing/2014/main" id="{B19C29B6-EAF6-42FB-83DE-F0FFB9AAC0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89" y="1812"/>
                  <a:ext cx="233" cy="174"/>
                </a:xfrm>
                <a:custGeom>
                  <a:avLst/>
                  <a:gdLst>
                    <a:gd name="T0" fmla="*/ 230 w 233"/>
                    <a:gd name="T1" fmla="*/ 91 h 174"/>
                    <a:gd name="T2" fmla="*/ 231 w 233"/>
                    <a:gd name="T3" fmla="*/ 69 h 174"/>
                    <a:gd name="T4" fmla="*/ 228 w 233"/>
                    <a:gd name="T5" fmla="*/ 58 h 174"/>
                    <a:gd name="T6" fmla="*/ 211 w 233"/>
                    <a:gd name="T7" fmla="*/ 53 h 174"/>
                    <a:gd name="T8" fmla="*/ 194 w 233"/>
                    <a:gd name="T9" fmla="*/ 39 h 174"/>
                    <a:gd name="T10" fmla="*/ 177 w 233"/>
                    <a:gd name="T11" fmla="*/ 41 h 174"/>
                    <a:gd name="T12" fmla="*/ 164 w 233"/>
                    <a:gd name="T13" fmla="*/ 27 h 174"/>
                    <a:gd name="T14" fmla="*/ 151 w 233"/>
                    <a:gd name="T15" fmla="*/ 12 h 174"/>
                    <a:gd name="T16" fmla="*/ 131 w 233"/>
                    <a:gd name="T17" fmla="*/ 3 h 174"/>
                    <a:gd name="T18" fmla="*/ 117 w 233"/>
                    <a:gd name="T19" fmla="*/ 6 h 174"/>
                    <a:gd name="T20" fmla="*/ 104 w 233"/>
                    <a:gd name="T21" fmla="*/ 21 h 174"/>
                    <a:gd name="T22" fmla="*/ 90 w 233"/>
                    <a:gd name="T23" fmla="*/ 19 h 174"/>
                    <a:gd name="T24" fmla="*/ 76 w 233"/>
                    <a:gd name="T25" fmla="*/ 21 h 174"/>
                    <a:gd name="T26" fmla="*/ 64 w 233"/>
                    <a:gd name="T27" fmla="*/ 18 h 174"/>
                    <a:gd name="T28" fmla="*/ 44 w 233"/>
                    <a:gd name="T29" fmla="*/ 12 h 174"/>
                    <a:gd name="T30" fmla="*/ 22 w 233"/>
                    <a:gd name="T31" fmla="*/ 19 h 174"/>
                    <a:gd name="T32" fmla="*/ 17 w 233"/>
                    <a:gd name="T33" fmla="*/ 29 h 174"/>
                    <a:gd name="T34" fmla="*/ 22 w 233"/>
                    <a:gd name="T35" fmla="*/ 43 h 174"/>
                    <a:gd name="T36" fmla="*/ 7 w 233"/>
                    <a:gd name="T37" fmla="*/ 68 h 174"/>
                    <a:gd name="T38" fmla="*/ 1 w 233"/>
                    <a:gd name="T39" fmla="*/ 91 h 174"/>
                    <a:gd name="T40" fmla="*/ 11 w 233"/>
                    <a:gd name="T41" fmla="*/ 101 h 174"/>
                    <a:gd name="T42" fmla="*/ 29 w 233"/>
                    <a:gd name="T43" fmla="*/ 105 h 174"/>
                    <a:gd name="T44" fmla="*/ 43 w 233"/>
                    <a:gd name="T45" fmla="*/ 104 h 174"/>
                    <a:gd name="T46" fmla="*/ 58 w 233"/>
                    <a:gd name="T47" fmla="*/ 92 h 174"/>
                    <a:gd name="T48" fmla="*/ 65 w 233"/>
                    <a:gd name="T49" fmla="*/ 88 h 174"/>
                    <a:gd name="T50" fmla="*/ 79 w 233"/>
                    <a:gd name="T51" fmla="*/ 95 h 174"/>
                    <a:gd name="T52" fmla="*/ 93 w 233"/>
                    <a:gd name="T53" fmla="*/ 102 h 174"/>
                    <a:gd name="T54" fmla="*/ 101 w 233"/>
                    <a:gd name="T55" fmla="*/ 119 h 174"/>
                    <a:gd name="T56" fmla="*/ 107 w 233"/>
                    <a:gd name="T57" fmla="*/ 133 h 174"/>
                    <a:gd name="T58" fmla="*/ 93 w 233"/>
                    <a:gd name="T59" fmla="*/ 138 h 174"/>
                    <a:gd name="T60" fmla="*/ 86 w 233"/>
                    <a:gd name="T61" fmla="*/ 150 h 174"/>
                    <a:gd name="T62" fmla="*/ 98 w 233"/>
                    <a:gd name="T63" fmla="*/ 156 h 174"/>
                    <a:gd name="T64" fmla="*/ 104 w 233"/>
                    <a:gd name="T65" fmla="*/ 153 h 174"/>
                    <a:gd name="T66" fmla="*/ 113 w 233"/>
                    <a:gd name="T67" fmla="*/ 143 h 174"/>
                    <a:gd name="T68" fmla="*/ 118 w 233"/>
                    <a:gd name="T69" fmla="*/ 129 h 174"/>
                    <a:gd name="T70" fmla="*/ 128 w 233"/>
                    <a:gd name="T71" fmla="*/ 128 h 174"/>
                    <a:gd name="T72" fmla="*/ 136 w 233"/>
                    <a:gd name="T73" fmla="*/ 128 h 174"/>
                    <a:gd name="T74" fmla="*/ 128 w 233"/>
                    <a:gd name="T75" fmla="*/ 130 h 174"/>
                    <a:gd name="T76" fmla="*/ 135 w 233"/>
                    <a:gd name="T77" fmla="*/ 135 h 174"/>
                    <a:gd name="T78" fmla="*/ 143 w 233"/>
                    <a:gd name="T79" fmla="*/ 139 h 174"/>
                    <a:gd name="T80" fmla="*/ 154 w 233"/>
                    <a:gd name="T81" fmla="*/ 140 h 174"/>
                    <a:gd name="T82" fmla="*/ 146 w 233"/>
                    <a:gd name="T83" fmla="*/ 151 h 174"/>
                    <a:gd name="T84" fmla="*/ 152 w 233"/>
                    <a:gd name="T85" fmla="*/ 157 h 174"/>
                    <a:gd name="T86" fmla="*/ 157 w 233"/>
                    <a:gd name="T87" fmla="*/ 174 h 174"/>
                    <a:gd name="T88" fmla="*/ 180 w 233"/>
                    <a:gd name="T89" fmla="*/ 161 h 174"/>
                    <a:gd name="T90" fmla="*/ 194 w 233"/>
                    <a:gd name="T91" fmla="*/ 154 h 174"/>
                    <a:gd name="T92" fmla="*/ 187 w 233"/>
                    <a:gd name="T93" fmla="*/ 155 h 174"/>
                    <a:gd name="T94" fmla="*/ 173 w 233"/>
                    <a:gd name="T95" fmla="*/ 146 h 174"/>
                    <a:gd name="T96" fmla="*/ 174 w 233"/>
                    <a:gd name="T97" fmla="*/ 150 h 174"/>
                    <a:gd name="T98" fmla="*/ 173 w 233"/>
                    <a:gd name="T99" fmla="*/ 150 h 174"/>
                    <a:gd name="T100" fmla="*/ 167 w 233"/>
                    <a:gd name="T101" fmla="*/ 149 h 174"/>
                    <a:gd name="T102" fmla="*/ 164 w 233"/>
                    <a:gd name="T103" fmla="*/ 143 h 174"/>
                    <a:gd name="T104" fmla="*/ 159 w 233"/>
                    <a:gd name="T105" fmla="*/ 139 h 174"/>
                    <a:gd name="T106" fmla="*/ 169 w 233"/>
                    <a:gd name="T107" fmla="*/ 136 h 174"/>
                    <a:gd name="T108" fmla="*/ 173 w 233"/>
                    <a:gd name="T109" fmla="*/ 135 h 174"/>
                    <a:gd name="T110" fmla="*/ 178 w 233"/>
                    <a:gd name="T111" fmla="*/ 129 h 174"/>
                    <a:gd name="T112" fmla="*/ 180 w 233"/>
                    <a:gd name="T113" fmla="*/ 129 h 174"/>
                    <a:gd name="T114" fmla="*/ 193 w 233"/>
                    <a:gd name="T115" fmla="*/ 126 h 174"/>
                    <a:gd name="T116" fmla="*/ 204 w 233"/>
                    <a:gd name="T117" fmla="*/ 114 h 174"/>
                    <a:gd name="T118" fmla="*/ 215 w 233"/>
                    <a:gd name="T119" fmla="*/ 113 h 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33" h="174">
                      <a:moveTo>
                        <a:pt x="218" y="105"/>
                      </a:moveTo>
                      <a:lnTo>
                        <a:pt x="221" y="98"/>
                      </a:lnTo>
                      <a:lnTo>
                        <a:pt x="228" y="98"/>
                      </a:lnTo>
                      <a:lnTo>
                        <a:pt x="231" y="96"/>
                      </a:lnTo>
                      <a:lnTo>
                        <a:pt x="230" y="91"/>
                      </a:lnTo>
                      <a:lnTo>
                        <a:pt x="231" y="85"/>
                      </a:lnTo>
                      <a:lnTo>
                        <a:pt x="231" y="81"/>
                      </a:lnTo>
                      <a:lnTo>
                        <a:pt x="227" y="77"/>
                      </a:lnTo>
                      <a:lnTo>
                        <a:pt x="228" y="70"/>
                      </a:lnTo>
                      <a:lnTo>
                        <a:pt x="231" y="69"/>
                      </a:lnTo>
                      <a:lnTo>
                        <a:pt x="233" y="65"/>
                      </a:lnTo>
                      <a:lnTo>
                        <a:pt x="233" y="60"/>
                      </a:lnTo>
                      <a:lnTo>
                        <a:pt x="231" y="59"/>
                      </a:lnTo>
                      <a:lnTo>
                        <a:pt x="230" y="55"/>
                      </a:lnTo>
                      <a:lnTo>
                        <a:pt x="228" y="58"/>
                      </a:lnTo>
                      <a:lnTo>
                        <a:pt x="224" y="57"/>
                      </a:lnTo>
                      <a:lnTo>
                        <a:pt x="220" y="54"/>
                      </a:lnTo>
                      <a:lnTo>
                        <a:pt x="217" y="55"/>
                      </a:lnTo>
                      <a:lnTo>
                        <a:pt x="214" y="53"/>
                      </a:lnTo>
                      <a:lnTo>
                        <a:pt x="211" y="53"/>
                      </a:lnTo>
                      <a:lnTo>
                        <a:pt x="205" y="51"/>
                      </a:lnTo>
                      <a:lnTo>
                        <a:pt x="204" y="53"/>
                      </a:lnTo>
                      <a:lnTo>
                        <a:pt x="202" y="50"/>
                      </a:lnTo>
                      <a:lnTo>
                        <a:pt x="197" y="47"/>
                      </a:lnTo>
                      <a:lnTo>
                        <a:pt x="194" y="39"/>
                      </a:lnTo>
                      <a:lnTo>
                        <a:pt x="193" y="40"/>
                      </a:lnTo>
                      <a:lnTo>
                        <a:pt x="187" y="43"/>
                      </a:lnTo>
                      <a:lnTo>
                        <a:pt x="184" y="43"/>
                      </a:lnTo>
                      <a:lnTo>
                        <a:pt x="181" y="44"/>
                      </a:lnTo>
                      <a:lnTo>
                        <a:pt x="177" y="41"/>
                      </a:lnTo>
                      <a:lnTo>
                        <a:pt x="175" y="45"/>
                      </a:lnTo>
                      <a:lnTo>
                        <a:pt x="169" y="37"/>
                      </a:lnTo>
                      <a:lnTo>
                        <a:pt x="167" y="32"/>
                      </a:lnTo>
                      <a:lnTo>
                        <a:pt x="167" y="27"/>
                      </a:lnTo>
                      <a:lnTo>
                        <a:pt x="164" y="27"/>
                      </a:lnTo>
                      <a:lnTo>
                        <a:pt x="164" y="23"/>
                      </a:lnTo>
                      <a:lnTo>
                        <a:pt x="161" y="20"/>
                      </a:lnTo>
                      <a:lnTo>
                        <a:pt x="153" y="22"/>
                      </a:lnTo>
                      <a:lnTo>
                        <a:pt x="149" y="15"/>
                      </a:lnTo>
                      <a:lnTo>
                        <a:pt x="151" y="12"/>
                      </a:lnTo>
                      <a:lnTo>
                        <a:pt x="148" y="9"/>
                      </a:lnTo>
                      <a:lnTo>
                        <a:pt x="145" y="1"/>
                      </a:lnTo>
                      <a:lnTo>
                        <a:pt x="142" y="1"/>
                      </a:lnTo>
                      <a:lnTo>
                        <a:pt x="139" y="3"/>
                      </a:lnTo>
                      <a:lnTo>
                        <a:pt x="131" y="3"/>
                      </a:lnTo>
                      <a:lnTo>
                        <a:pt x="124" y="0"/>
                      </a:lnTo>
                      <a:lnTo>
                        <a:pt x="123" y="2"/>
                      </a:lnTo>
                      <a:lnTo>
                        <a:pt x="123" y="6"/>
                      </a:lnTo>
                      <a:lnTo>
                        <a:pt x="120" y="7"/>
                      </a:lnTo>
                      <a:lnTo>
                        <a:pt x="117" y="6"/>
                      </a:lnTo>
                      <a:lnTo>
                        <a:pt x="117" y="6"/>
                      </a:lnTo>
                      <a:lnTo>
                        <a:pt x="111" y="8"/>
                      </a:lnTo>
                      <a:lnTo>
                        <a:pt x="107" y="9"/>
                      </a:lnTo>
                      <a:lnTo>
                        <a:pt x="105" y="15"/>
                      </a:lnTo>
                      <a:lnTo>
                        <a:pt x="104" y="21"/>
                      </a:lnTo>
                      <a:lnTo>
                        <a:pt x="101" y="21"/>
                      </a:lnTo>
                      <a:lnTo>
                        <a:pt x="99" y="19"/>
                      </a:lnTo>
                      <a:lnTo>
                        <a:pt x="95" y="20"/>
                      </a:lnTo>
                      <a:lnTo>
                        <a:pt x="93" y="19"/>
                      </a:lnTo>
                      <a:lnTo>
                        <a:pt x="90" y="19"/>
                      </a:lnTo>
                      <a:lnTo>
                        <a:pt x="87" y="22"/>
                      </a:lnTo>
                      <a:lnTo>
                        <a:pt x="85" y="22"/>
                      </a:lnTo>
                      <a:lnTo>
                        <a:pt x="84" y="18"/>
                      </a:lnTo>
                      <a:lnTo>
                        <a:pt x="80" y="18"/>
                      </a:lnTo>
                      <a:lnTo>
                        <a:pt x="76" y="21"/>
                      </a:lnTo>
                      <a:lnTo>
                        <a:pt x="74" y="19"/>
                      </a:lnTo>
                      <a:lnTo>
                        <a:pt x="69" y="19"/>
                      </a:lnTo>
                      <a:lnTo>
                        <a:pt x="69" y="20"/>
                      </a:lnTo>
                      <a:lnTo>
                        <a:pt x="66" y="20"/>
                      </a:lnTo>
                      <a:lnTo>
                        <a:pt x="64" y="18"/>
                      </a:lnTo>
                      <a:lnTo>
                        <a:pt x="59" y="20"/>
                      </a:lnTo>
                      <a:lnTo>
                        <a:pt x="58" y="19"/>
                      </a:lnTo>
                      <a:lnTo>
                        <a:pt x="55" y="16"/>
                      </a:lnTo>
                      <a:lnTo>
                        <a:pt x="47" y="15"/>
                      </a:lnTo>
                      <a:lnTo>
                        <a:pt x="44" y="12"/>
                      </a:lnTo>
                      <a:lnTo>
                        <a:pt x="41" y="12"/>
                      </a:lnTo>
                      <a:lnTo>
                        <a:pt x="39" y="15"/>
                      </a:lnTo>
                      <a:lnTo>
                        <a:pt x="34" y="15"/>
                      </a:lnTo>
                      <a:lnTo>
                        <a:pt x="24" y="17"/>
                      </a:lnTo>
                      <a:lnTo>
                        <a:pt x="22" y="19"/>
                      </a:lnTo>
                      <a:lnTo>
                        <a:pt x="17" y="16"/>
                      </a:lnTo>
                      <a:lnTo>
                        <a:pt x="15" y="16"/>
                      </a:lnTo>
                      <a:lnTo>
                        <a:pt x="15" y="19"/>
                      </a:lnTo>
                      <a:lnTo>
                        <a:pt x="15" y="27"/>
                      </a:lnTo>
                      <a:lnTo>
                        <a:pt x="17" y="29"/>
                      </a:lnTo>
                      <a:lnTo>
                        <a:pt x="18" y="34"/>
                      </a:lnTo>
                      <a:lnTo>
                        <a:pt x="22" y="36"/>
                      </a:lnTo>
                      <a:lnTo>
                        <a:pt x="20" y="39"/>
                      </a:lnTo>
                      <a:lnTo>
                        <a:pt x="21" y="41"/>
                      </a:lnTo>
                      <a:lnTo>
                        <a:pt x="22" y="43"/>
                      </a:lnTo>
                      <a:lnTo>
                        <a:pt x="21" y="48"/>
                      </a:lnTo>
                      <a:lnTo>
                        <a:pt x="19" y="49"/>
                      </a:lnTo>
                      <a:lnTo>
                        <a:pt x="17" y="51"/>
                      </a:lnTo>
                      <a:lnTo>
                        <a:pt x="16" y="57"/>
                      </a:lnTo>
                      <a:lnTo>
                        <a:pt x="7" y="68"/>
                      </a:lnTo>
                      <a:lnTo>
                        <a:pt x="7" y="73"/>
                      </a:lnTo>
                      <a:lnTo>
                        <a:pt x="7" y="78"/>
                      </a:lnTo>
                      <a:lnTo>
                        <a:pt x="5" y="78"/>
                      </a:lnTo>
                      <a:lnTo>
                        <a:pt x="2" y="85"/>
                      </a:lnTo>
                      <a:lnTo>
                        <a:pt x="1" y="91"/>
                      </a:lnTo>
                      <a:lnTo>
                        <a:pt x="0" y="91"/>
                      </a:lnTo>
                      <a:lnTo>
                        <a:pt x="4" y="95"/>
                      </a:lnTo>
                      <a:lnTo>
                        <a:pt x="7" y="98"/>
                      </a:lnTo>
                      <a:lnTo>
                        <a:pt x="8" y="101"/>
                      </a:lnTo>
                      <a:lnTo>
                        <a:pt x="11" y="101"/>
                      </a:lnTo>
                      <a:lnTo>
                        <a:pt x="13" y="98"/>
                      </a:lnTo>
                      <a:lnTo>
                        <a:pt x="16" y="98"/>
                      </a:lnTo>
                      <a:lnTo>
                        <a:pt x="21" y="102"/>
                      </a:lnTo>
                      <a:lnTo>
                        <a:pt x="25" y="102"/>
                      </a:lnTo>
                      <a:lnTo>
                        <a:pt x="29" y="105"/>
                      </a:lnTo>
                      <a:lnTo>
                        <a:pt x="30" y="107"/>
                      </a:lnTo>
                      <a:lnTo>
                        <a:pt x="33" y="109"/>
                      </a:lnTo>
                      <a:lnTo>
                        <a:pt x="38" y="107"/>
                      </a:lnTo>
                      <a:lnTo>
                        <a:pt x="41" y="107"/>
                      </a:lnTo>
                      <a:lnTo>
                        <a:pt x="43" y="104"/>
                      </a:lnTo>
                      <a:lnTo>
                        <a:pt x="52" y="102"/>
                      </a:lnTo>
                      <a:lnTo>
                        <a:pt x="55" y="99"/>
                      </a:lnTo>
                      <a:lnTo>
                        <a:pt x="58" y="98"/>
                      </a:lnTo>
                      <a:lnTo>
                        <a:pt x="58" y="95"/>
                      </a:lnTo>
                      <a:lnTo>
                        <a:pt x="58" y="92"/>
                      </a:lnTo>
                      <a:lnTo>
                        <a:pt x="58" y="88"/>
                      </a:lnTo>
                      <a:lnTo>
                        <a:pt x="60" y="89"/>
                      </a:lnTo>
                      <a:lnTo>
                        <a:pt x="61" y="88"/>
                      </a:lnTo>
                      <a:lnTo>
                        <a:pt x="64" y="90"/>
                      </a:lnTo>
                      <a:lnTo>
                        <a:pt x="65" y="88"/>
                      </a:lnTo>
                      <a:lnTo>
                        <a:pt x="68" y="88"/>
                      </a:lnTo>
                      <a:lnTo>
                        <a:pt x="69" y="87"/>
                      </a:lnTo>
                      <a:lnTo>
                        <a:pt x="71" y="91"/>
                      </a:lnTo>
                      <a:lnTo>
                        <a:pt x="75" y="91"/>
                      </a:lnTo>
                      <a:lnTo>
                        <a:pt x="79" y="95"/>
                      </a:lnTo>
                      <a:lnTo>
                        <a:pt x="83" y="96"/>
                      </a:lnTo>
                      <a:lnTo>
                        <a:pt x="84" y="94"/>
                      </a:lnTo>
                      <a:lnTo>
                        <a:pt x="86" y="94"/>
                      </a:lnTo>
                      <a:lnTo>
                        <a:pt x="90" y="99"/>
                      </a:lnTo>
                      <a:lnTo>
                        <a:pt x="93" y="102"/>
                      </a:lnTo>
                      <a:lnTo>
                        <a:pt x="94" y="108"/>
                      </a:lnTo>
                      <a:lnTo>
                        <a:pt x="94" y="112"/>
                      </a:lnTo>
                      <a:lnTo>
                        <a:pt x="97" y="113"/>
                      </a:lnTo>
                      <a:lnTo>
                        <a:pt x="97" y="116"/>
                      </a:lnTo>
                      <a:lnTo>
                        <a:pt x="101" y="119"/>
                      </a:lnTo>
                      <a:lnTo>
                        <a:pt x="105" y="122"/>
                      </a:lnTo>
                      <a:lnTo>
                        <a:pt x="106" y="125"/>
                      </a:lnTo>
                      <a:lnTo>
                        <a:pt x="105" y="128"/>
                      </a:lnTo>
                      <a:lnTo>
                        <a:pt x="107" y="131"/>
                      </a:lnTo>
                      <a:lnTo>
                        <a:pt x="107" y="133"/>
                      </a:lnTo>
                      <a:lnTo>
                        <a:pt x="102" y="133"/>
                      </a:lnTo>
                      <a:lnTo>
                        <a:pt x="100" y="130"/>
                      </a:lnTo>
                      <a:lnTo>
                        <a:pt x="96" y="132"/>
                      </a:lnTo>
                      <a:lnTo>
                        <a:pt x="93" y="132"/>
                      </a:lnTo>
                      <a:lnTo>
                        <a:pt x="93" y="138"/>
                      </a:lnTo>
                      <a:lnTo>
                        <a:pt x="93" y="143"/>
                      </a:lnTo>
                      <a:lnTo>
                        <a:pt x="92" y="142"/>
                      </a:lnTo>
                      <a:lnTo>
                        <a:pt x="89" y="148"/>
                      </a:lnTo>
                      <a:lnTo>
                        <a:pt x="89" y="151"/>
                      </a:lnTo>
                      <a:lnTo>
                        <a:pt x="86" y="150"/>
                      </a:lnTo>
                      <a:lnTo>
                        <a:pt x="85" y="152"/>
                      </a:lnTo>
                      <a:lnTo>
                        <a:pt x="87" y="157"/>
                      </a:lnTo>
                      <a:lnTo>
                        <a:pt x="91" y="157"/>
                      </a:lnTo>
                      <a:lnTo>
                        <a:pt x="96" y="158"/>
                      </a:lnTo>
                      <a:lnTo>
                        <a:pt x="98" y="156"/>
                      </a:lnTo>
                      <a:lnTo>
                        <a:pt x="103" y="155"/>
                      </a:lnTo>
                      <a:lnTo>
                        <a:pt x="105" y="157"/>
                      </a:lnTo>
                      <a:lnTo>
                        <a:pt x="105" y="157"/>
                      </a:lnTo>
                      <a:lnTo>
                        <a:pt x="106" y="155"/>
                      </a:lnTo>
                      <a:lnTo>
                        <a:pt x="104" y="153"/>
                      </a:lnTo>
                      <a:lnTo>
                        <a:pt x="104" y="150"/>
                      </a:lnTo>
                      <a:lnTo>
                        <a:pt x="104" y="148"/>
                      </a:lnTo>
                      <a:lnTo>
                        <a:pt x="106" y="150"/>
                      </a:lnTo>
                      <a:lnTo>
                        <a:pt x="107" y="150"/>
                      </a:lnTo>
                      <a:lnTo>
                        <a:pt x="113" y="143"/>
                      </a:lnTo>
                      <a:lnTo>
                        <a:pt x="112" y="140"/>
                      </a:lnTo>
                      <a:lnTo>
                        <a:pt x="114" y="140"/>
                      </a:lnTo>
                      <a:lnTo>
                        <a:pt x="117" y="136"/>
                      </a:lnTo>
                      <a:lnTo>
                        <a:pt x="117" y="132"/>
                      </a:lnTo>
                      <a:lnTo>
                        <a:pt x="118" y="129"/>
                      </a:lnTo>
                      <a:lnTo>
                        <a:pt x="122" y="129"/>
                      </a:lnTo>
                      <a:lnTo>
                        <a:pt x="124" y="126"/>
                      </a:lnTo>
                      <a:lnTo>
                        <a:pt x="126" y="127"/>
                      </a:lnTo>
                      <a:lnTo>
                        <a:pt x="126" y="128"/>
                      </a:lnTo>
                      <a:lnTo>
                        <a:pt x="128" y="128"/>
                      </a:lnTo>
                      <a:lnTo>
                        <a:pt x="130" y="126"/>
                      </a:lnTo>
                      <a:lnTo>
                        <a:pt x="131" y="124"/>
                      </a:lnTo>
                      <a:lnTo>
                        <a:pt x="132" y="126"/>
                      </a:lnTo>
                      <a:lnTo>
                        <a:pt x="134" y="127"/>
                      </a:lnTo>
                      <a:lnTo>
                        <a:pt x="136" y="128"/>
                      </a:lnTo>
                      <a:lnTo>
                        <a:pt x="140" y="127"/>
                      </a:lnTo>
                      <a:lnTo>
                        <a:pt x="137" y="129"/>
                      </a:lnTo>
                      <a:lnTo>
                        <a:pt x="135" y="130"/>
                      </a:lnTo>
                      <a:lnTo>
                        <a:pt x="133" y="129"/>
                      </a:lnTo>
                      <a:lnTo>
                        <a:pt x="128" y="130"/>
                      </a:lnTo>
                      <a:lnTo>
                        <a:pt x="124" y="130"/>
                      </a:lnTo>
                      <a:lnTo>
                        <a:pt x="126" y="132"/>
                      </a:lnTo>
                      <a:lnTo>
                        <a:pt x="131" y="132"/>
                      </a:lnTo>
                      <a:lnTo>
                        <a:pt x="135" y="134"/>
                      </a:lnTo>
                      <a:lnTo>
                        <a:pt x="135" y="135"/>
                      </a:lnTo>
                      <a:lnTo>
                        <a:pt x="133" y="136"/>
                      </a:lnTo>
                      <a:lnTo>
                        <a:pt x="135" y="139"/>
                      </a:lnTo>
                      <a:lnTo>
                        <a:pt x="137" y="139"/>
                      </a:lnTo>
                      <a:lnTo>
                        <a:pt x="140" y="140"/>
                      </a:lnTo>
                      <a:lnTo>
                        <a:pt x="143" y="139"/>
                      </a:lnTo>
                      <a:lnTo>
                        <a:pt x="146" y="138"/>
                      </a:lnTo>
                      <a:lnTo>
                        <a:pt x="149" y="140"/>
                      </a:lnTo>
                      <a:lnTo>
                        <a:pt x="152" y="141"/>
                      </a:lnTo>
                      <a:lnTo>
                        <a:pt x="152" y="139"/>
                      </a:lnTo>
                      <a:lnTo>
                        <a:pt x="154" y="140"/>
                      </a:lnTo>
                      <a:lnTo>
                        <a:pt x="155" y="143"/>
                      </a:lnTo>
                      <a:lnTo>
                        <a:pt x="156" y="146"/>
                      </a:lnTo>
                      <a:lnTo>
                        <a:pt x="155" y="147"/>
                      </a:lnTo>
                      <a:lnTo>
                        <a:pt x="151" y="147"/>
                      </a:lnTo>
                      <a:lnTo>
                        <a:pt x="146" y="151"/>
                      </a:lnTo>
                      <a:lnTo>
                        <a:pt x="143" y="157"/>
                      </a:lnTo>
                      <a:lnTo>
                        <a:pt x="145" y="158"/>
                      </a:lnTo>
                      <a:lnTo>
                        <a:pt x="147" y="156"/>
                      </a:lnTo>
                      <a:lnTo>
                        <a:pt x="150" y="157"/>
                      </a:lnTo>
                      <a:lnTo>
                        <a:pt x="152" y="157"/>
                      </a:lnTo>
                      <a:lnTo>
                        <a:pt x="156" y="162"/>
                      </a:lnTo>
                      <a:lnTo>
                        <a:pt x="157" y="164"/>
                      </a:lnTo>
                      <a:lnTo>
                        <a:pt x="155" y="171"/>
                      </a:lnTo>
                      <a:lnTo>
                        <a:pt x="154" y="171"/>
                      </a:lnTo>
                      <a:lnTo>
                        <a:pt x="157" y="174"/>
                      </a:lnTo>
                      <a:lnTo>
                        <a:pt x="162" y="174"/>
                      </a:lnTo>
                      <a:lnTo>
                        <a:pt x="167" y="171"/>
                      </a:lnTo>
                      <a:lnTo>
                        <a:pt x="173" y="165"/>
                      </a:lnTo>
                      <a:lnTo>
                        <a:pt x="178" y="166"/>
                      </a:lnTo>
                      <a:lnTo>
                        <a:pt x="180" y="161"/>
                      </a:lnTo>
                      <a:lnTo>
                        <a:pt x="183" y="160"/>
                      </a:lnTo>
                      <a:lnTo>
                        <a:pt x="189" y="160"/>
                      </a:lnTo>
                      <a:lnTo>
                        <a:pt x="194" y="160"/>
                      </a:lnTo>
                      <a:lnTo>
                        <a:pt x="196" y="157"/>
                      </a:lnTo>
                      <a:lnTo>
                        <a:pt x="194" y="154"/>
                      </a:lnTo>
                      <a:lnTo>
                        <a:pt x="196" y="153"/>
                      </a:lnTo>
                      <a:lnTo>
                        <a:pt x="197" y="151"/>
                      </a:lnTo>
                      <a:lnTo>
                        <a:pt x="193" y="150"/>
                      </a:lnTo>
                      <a:lnTo>
                        <a:pt x="189" y="151"/>
                      </a:lnTo>
                      <a:lnTo>
                        <a:pt x="187" y="155"/>
                      </a:lnTo>
                      <a:lnTo>
                        <a:pt x="185" y="153"/>
                      </a:lnTo>
                      <a:lnTo>
                        <a:pt x="183" y="153"/>
                      </a:lnTo>
                      <a:lnTo>
                        <a:pt x="181" y="156"/>
                      </a:lnTo>
                      <a:lnTo>
                        <a:pt x="180" y="155"/>
                      </a:lnTo>
                      <a:lnTo>
                        <a:pt x="173" y="146"/>
                      </a:lnTo>
                      <a:lnTo>
                        <a:pt x="171" y="142"/>
                      </a:lnTo>
                      <a:lnTo>
                        <a:pt x="169" y="138"/>
                      </a:lnTo>
                      <a:lnTo>
                        <a:pt x="168" y="139"/>
                      </a:lnTo>
                      <a:lnTo>
                        <a:pt x="169" y="143"/>
                      </a:lnTo>
                      <a:lnTo>
                        <a:pt x="174" y="150"/>
                      </a:lnTo>
                      <a:lnTo>
                        <a:pt x="179" y="156"/>
                      </a:lnTo>
                      <a:lnTo>
                        <a:pt x="178" y="157"/>
                      </a:lnTo>
                      <a:lnTo>
                        <a:pt x="174" y="156"/>
                      </a:lnTo>
                      <a:lnTo>
                        <a:pt x="173" y="153"/>
                      </a:lnTo>
                      <a:lnTo>
                        <a:pt x="173" y="150"/>
                      </a:lnTo>
                      <a:lnTo>
                        <a:pt x="171" y="148"/>
                      </a:lnTo>
                      <a:lnTo>
                        <a:pt x="169" y="150"/>
                      </a:lnTo>
                      <a:lnTo>
                        <a:pt x="169" y="147"/>
                      </a:lnTo>
                      <a:lnTo>
                        <a:pt x="168" y="147"/>
                      </a:lnTo>
                      <a:lnTo>
                        <a:pt x="167" y="149"/>
                      </a:lnTo>
                      <a:lnTo>
                        <a:pt x="167" y="147"/>
                      </a:lnTo>
                      <a:lnTo>
                        <a:pt x="168" y="145"/>
                      </a:lnTo>
                      <a:lnTo>
                        <a:pt x="167" y="143"/>
                      </a:lnTo>
                      <a:lnTo>
                        <a:pt x="166" y="144"/>
                      </a:lnTo>
                      <a:lnTo>
                        <a:pt x="164" y="143"/>
                      </a:lnTo>
                      <a:lnTo>
                        <a:pt x="162" y="140"/>
                      </a:lnTo>
                      <a:lnTo>
                        <a:pt x="158" y="141"/>
                      </a:lnTo>
                      <a:lnTo>
                        <a:pt x="155" y="140"/>
                      </a:lnTo>
                      <a:lnTo>
                        <a:pt x="156" y="138"/>
                      </a:lnTo>
                      <a:lnTo>
                        <a:pt x="159" y="139"/>
                      </a:lnTo>
                      <a:lnTo>
                        <a:pt x="161" y="136"/>
                      </a:lnTo>
                      <a:lnTo>
                        <a:pt x="163" y="139"/>
                      </a:lnTo>
                      <a:lnTo>
                        <a:pt x="166" y="139"/>
                      </a:lnTo>
                      <a:lnTo>
                        <a:pt x="166" y="136"/>
                      </a:lnTo>
                      <a:lnTo>
                        <a:pt x="169" y="136"/>
                      </a:lnTo>
                      <a:lnTo>
                        <a:pt x="173" y="130"/>
                      </a:lnTo>
                      <a:lnTo>
                        <a:pt x="174" y="129"/>
                      </a:lnTo>
                      <a:lnTo>
                        <a:pt x="176" y="129"/>
                      </a:lnTo>
                      <a:lnTo>
                        <a:pt x="176" y="131"/>
                      </a:lnTo>
                      <a:lnTo>
                        <a:pt x="173" y="135"/>
                      </a:lnTo>
                      <a:lnTo>
                        <a:pt x="172" y="136"/>
                      </a:lnTo>
                      <a:lnTo>
                        <a:pt x="173" y="137"/>
                      </a:lnTo>
                      <a:lnTo>
                        <a:pt x="174" y="136"/>
                      </a:lnTo>
                      <a:lnTo>
                        <a:pt x="177" y="131"/>
                      </a:lnTo>
                      <a:lnTo>
                        <a:pt x="178" y="129"/>
                      </a:lnTo>
                      <a:lnTo>
                        <a:pt x="176" y="126"/>
                      </a:lnTo>
                      <a:lnTo>
                        <a:pt x="176" y="125"/>
                      </a:lnTo>
                      <a:lnTo>
                        <a:pt x="176" y="125"/>
                      </a:lnTo>
                      <a:lnTo>
                        <a:pt x="179" y="128"/>
                      </a:lnTo>
                      <a:lnTo>
                        <a:pt x="180" y="129"/>
                      </a:lnTo>
                      <a:lnTo>
                        <a:pt x="183" y="126"/>
                      </a:lnTo>
                      <a:lnTo>
                        <a:pt x="187" y="127"/>
                      </a:lnTo>
                      <a:lnTo>
                        <a:pt x="190" y="126"/>
                      </a:lnTo>
                      <a:lnTo>
                        <a:pt x="192" y="125"/>
                      </a:lnTo>
                      <a:lnTo>
                        <a:pt x="193" y="126"/>
                      </a:lnTo>
                      <a:lnTo>
                        <a:pt x="197" y="122"/>
                      </a:lnTo>
                      <a:lnTo>
                        <a:pt x="198" y="119"/>
                      </a:lnTo>
                      <a:lnTo>
                        <a:pt x="201" y="119"/>
                      </a:lnTo>
                      <a:lnTo>
                        <a:pt x="202" y="116"/>
                      </a:lnTo>
                      <a:lnTo>
                        <a:pt x="204" y="114"/>
                      </a:lnTo>
                      <a:lnTo>
                        <a:pt x="207" y="114"/>
                      </a:lnTo>
                      <a:lnTo>
                        <a:pt x="211" y="112"/>
                      </a:lnTo>
                      <a:lnTo>
                        <a:pt x="212" y="112"/>
                      </a:lnTo>
                      <a:lnTo>
                        <a:pt x="213" y="115"/>
                      </a:lnTo>
                      <a:lnTo>
                        <a:pt x="215" y="113"/>
                      </a:lnTo>
                      <a:lnTo>
                        <a:pt x="215" y="113"/>
                      </a:lnTo>
                      <a:lnTo>
                        <a:pt x="216" y="105"/>
                      </a:lnTo>
                      <a:lnTo>
                        <a:pt x="218" y="10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49" name="Freeform 651">
                  <a:extLst>
                    <a:ext uri="{FF2B5EF4-FFF2-40B4-BE49-F238E27FC236}">
                      <a16:creationId xmlns:a16="http://schemas.microsoft.com/office/drawing/2014/main" id="{07092B90-A75B-43B4-BBB6-C8E90880EF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47" y="1899"/>
                  <a:ext cx="49" cy="65"/>
                </a:xfrm>
                <a:custGeom>
                  <a:avLst/>
                  <a:gdLst>
                    <a:gd name="T0" fmla="*/ 8 w 49"/>
                    <a:gd name="T1" fmla="*/ 18 h 65"/>
                    <a:gd name="T2" fmla="*/ 14 w 49"/>
                    <a:gd name="T3" fmla="*/ 24 h 65"/>
                    <a:gd name="T4" fmla="*/ 14 w 49"/>
                    <a:gd name="T5" fmla="*/ 28 h 65"/>
                    <a:gd name="T6" fmla="*/ 21 w 49"/>
                    <a:gd name="T7" fmla="*/ 35 h 65"/>
                    <a:gd name="T8" fmla="*/ 23 w 49"/>
                    <a:gd name="T9" fmla="*/ 39 h 65"/>
                    <a:gd name="T10" fmla="*/ 25 w 49"/>
                    <a:gd name="T11" fmla="*/ 44 h 65"/>
                    <a:gd name="T12" fmla="*/ 25 w 49"/>
                    <a:gd name="T13" fmla="*/ 60 h 65"/>
                    <a:gd name="T14" fmla="*/ 26 w 49"/>
                    <a:gd name="T15" fmla="*/ 65 h 65"/>
                    <a:gd name="T16" fmla="*/ 27 w 49"/>
                    <a:gd name="T17" fmla="*/ 65 h 65"/>
                    <a:gd name="T18" fmla="*/ 28 w 49"/>
                    <a:gd name="T19" fmla="*/ 63 h 65"/>
                    <a:gd name="T20" fmla="*/ 31 w 49"/>
                    <a:gd name="T21" fmla="*/ 64 h 65"/>
                    <a:gd name="T22" fmla="*/ 31 w 49"/>
                    <a:gd name="T23" fmla="*/ 61 h 65"/>
                    <a:gd name="T24" fmla="*/ 34 w 49"/>
                    <a:gd name="T25" fmla="*/ 55 h 65"/>
                    <a:gd name="T26" fmla="*/ 35 w 49"/>
                    <a:gd name="T27" fmla="*/ 56 h 65"/>
                    <a:gd name="T28" fmla="*/ 35 w 49"/>
                    <a:gd name="T29" fmla="*/ 51 h 65"/>
                    <a:gd name="T30" fmla="*/ 35 w 49"/>
                    <a:gd name="T31" fmla="*/ 45 h 65"/>
                    <a:gd name="T32" fmla="*/ 38 w 49"/>
                    <a:gd name="T33" fmla="*/ 45 h 65"/>
                    <a:gd name="T34" fmla="*/ 42 w 49"/>
                    <a:gd name="T35" fmla="*/ 43 h 65"/>
                    <a:gd name="T36" fmla="*/ 44 w 49"/>
                    <a:gd name="T37" fmla="*/ 46 h 65"/>
                    <a:gd name="T38" fmla="*/ 49 w 49"/>
                    <a:gd name="T39" fmla="*/ 46 h 65"/>
                    <a:gd name="T40" fmla="*/ 49 w 49"/>
                    <a:gd name="T41" fmla="*/ 44 h 65"/>
                    <a:gd name="T42" fmla="*/ 47 w 49"/>
                    <a:gd name="T43" fmla="*/ 41 h 65"/>
                    <a:gd name="T44" fmla="*/ 48 w 49"/>
                    <a:gd name="T45" fmla="*/ 38 h 65"/>
                    <a:gd name="T46" fmla="*/ 47 w 49"/>
                    <a:gd name="T47" fmla="*/ 35 h 65"/>
                    <a:gd name="T48" fmla="*/ 43 w 49"/>
                    <a:gd name="T49" fmla="*/ 32 h 65"/>
                    <a:gd name="T50" fmla="*/ 39 w 49"/>
                    <a:gd name="T51" fmla="*/ 29 h 65"/>
                    <a:gd name="T52" fmla="*/ 39 w 49"/>
                    <a:gd name="T53" fmla="*/ 26 h 65"/>
                    <a:gd name="T54" fmla="*/ 36 w 49"/>
                    <a:gd name="T55" fmla="*/ 25 h 65"/>
                    <a:gd name="T56" fmla="*/ 36 w 49"/>
                    <a:gd name="T57" fmla="*/ 21 h 65"/>
                    <a:gd name="T58" fmla="*/ 35 w 49"/>
                    <a:gd name="T59" fmla="*/ 15 h 65"/>
                    <a:gd name="T60" fmla="*/ 32 w 49"/>
                    <a:gd name="T61" fmla="*/ 12 h 65"/>
                    <a:gd name="T62" fmla="*/ 28 w 49"/>
                    <a:gd name="T63" fmla="*/ 7 h 65"/>
                    <a:gd name="T64" fmla="*/ 26 w 49"/>
                    <a:gd name="T65" fmla="*/ 7 h 65"/>
                    <a:gd name="T66" fmla="*/ 25 w 49"/>
                    <a:gd name="T67" fmla="*/ 9 h 65"/>
                    <a:gd name="T68" fmla="*/ 21 w 49"/>
                    <a:gd name="T69" fmla="*/ 8 h 65"/>
                    <a:gd name="T70" fmla="*/ 17 w 49"/>
                    <a:gd name="T71" fmla="*/ 4 h 65"/>
                    <a:gd name="T72" fmla="*/ 13 w 49"/>
                    <a:gd name="T73" fmla="*/ 4 h 65"/>
                    <a:gd name="T74" fmla="*/ 11 w 49"/>
                    <a:gd name="T75" fmla="*/ 0 h 65"/>
                    <a:gd name="T76" fmla="*/ 10 w 49"/>
                    <a:gd name="T77" fmla="*/ 1 h 65"/>
                    <a:gd name="T78" fmla="*/ 7 w 49"/>
                    <a:gd name="T79" fmla="*/ 1 h 65"/>
                    <a:gd name="T80" fmla="*/ 6 w 49"/>
                    <a:gd name="T81" fmla="*/ 3 h 65"/>
                    <a:gd name="T82" fmla="*/ 3 w 49"/>
                    <a:gd name="T83" fmla="*/ 1 h 65"/>
                    <a:gd name="T84" fmla="*/ 2 w 49"/>
                    <a:gd name="T85" fmla="*/ 2 h 65"/>
                    <a:gd name="T86" fmla="*/ 0 w 49"/>
                    <a:gd name="T87" fmla="*/ 1 h 65"/>
                    <a:gd name="T88" fmla="*/ 0 w 49"/>
                    <a:gd name="T89" fmla="*/ 5 h 65"/>
                    <a:gd name="T90" fmla="*/ 0 w 49"/>
                    <a:gd name="T91" fmla="*/ 8 h 65"/>
                    <a:gd name="T92" fmla="*/ 0 w 49"/>
                    <a:gd name="T93" fmla="*/ 11 h 65"/>
                    <a:gd name="T94" fmla="*/ 6 w 49"/>
                    <a:gd name="T95" fmla="*/ 10 h 65"/>
                    <a:gd name="T96" fmla="*/ 8 w 49"/>
                    <a:gd name="T97" fmla="*/ 18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9" h="65">
                      <a:moveTo>
                        <a:pt x="8" y="18"/>
                      </a:moveTo>
                      <a:lnTo>
                        <a:pt x="14" y="24"/>
                      </a:lnTo>
                      <a:lnTo>
                        <a:pt x="14" y="28"/>
                      </a:lnTo>
                      <a:lnTo>
                        <a:pt x="21" y="35"/>
                      </a:lnTo>
                      <a:lnTo>
                        <a:pt x="23" y="39"/>
                      </a:lnTo>
                      <a:lnTo>
                        <a:pt x="25" y="44"/>
                      </a:lnTo>
                      <a:lnTo>
                        <a:pt x="25" y="60"/>
                      </a:lnTo>
                      <a:lnTo>
                        <a:pt x="26" y="65"/>
                      </a:lnTo>
                      <a:lnTo>
                        <a:pt x="27" y="65"/>
                      </a:lnTo>
                      <a:lnTo>
                        <a:pt x="28" y="63"/>
                      </a:lnTo>
                      <a:lnTo>
                        <a:pt x="31" y="64"/>
                      </a:lnTo>
                      <a:lnTo>
                        <a:pt x="31" y="61"/>
                      </a:lnTo>
                      <a:lnTo>
                        <a:pt x="34" y="55"/>
                      </a:lnTo>
                      <a:lnTo>
                        <a:pt x="35" y="56"/>
                      </a:lnTo>
                      <a:lnTo>
                        <a:pt x="35" y="51"/>
                      </a:lnTo>
                      <a:lnTo>
                        <a:pt x="35" y="45"/>
                      </a:lnTo>
                      <a:lnTo>
                        <a:pt x="38" y="45"/>
                      </a:lnTo>
                      <a:lnTo>
                        <a:pt x="42" y="43"/>
                      </a:lnTo>
                      <a:lnTo>
                        <a:pt x="44" y="46"/>
                      </a:lnTo>
                      <a:lnTo>
                        <a:pt x="49" y="46"/>
                      </a:lnTo>
                      <a:lnTo>
                        <a:pt x="49" y="44"/>
                      </a:lnTo>
                      <a:lnTo>
                        <a:pt x="47" y="41"/>
                      </a:lnTo>
                      <a:lnTo>
                        <a:pt x="48" y="38"/>
                      </a:lnTo>
                      <a:lnTo>
                        <a:pt x="47" y="35"/>
                      </a:lnTo>
                      <a:lnTo>
                        <a:pt x="43" y="32"/>
                      </a:lnTo>
                      <a:lnTo>
                        <a:pt x="39" y="29"/>
                      </a:lnTo>
                      <a:lnTo>
                        <a:pt x="39" y="26"/>
                      </a:lnTo>
                      <a:lnTo>
                        <a:pt x="36" y="25"/>
                      </a:lnTo>
                      <a:lnTo>
                        <a:pt x="36" y="21"/>
                      </a:lnTo>
                      <a:lnTo>
                        <a:pt x="35" y="15"/>
                      </a:lnTo>
                      <a:lnTo>
                        <a:pt x="32" y="12"/>
                      </a:lnTo>
                      <a:lnTo>
                        <a:pt x="28" y="7"/>
                      </a:lnTo>
                      <a:lnTo>
                        <a:pt x="26" y="7"/>
                      </a:lnTo>
                      <a:lnTo>
                        <a:pt x="25" y="9"/>
                      </a:lnTo>
                      <a:lnTo>
                        <a:pt x="21" y="8"/>
                      </a:lnTo>
                      <a:lnTo>
                        <a:pt x="17" y="4"/>
                      </a:lnTo>
                      <a:lnTo>
                        <a:pt x="13" y="4"/>
                      </a:lnTo>
                      <a:lnTo>
                        <a:pt x="11" y="0"/>
                      </a:lnTo>
                      <a:lnTo>
                        <a:pt x="10" y="1"/>
                      </a:lnTo>
                      <a:lnTo>
                        <a:pt x="7" y="1"/>
                      </a:lnTo>
                      <a:lnTo>
                        <a:pt x="6" y="3"/>
                      </a:lnTo>
                      <a:lnTo>
                        <a:pt x="3" y="1"/>
                      </a:lnTo>
                      <a:lnTo>
                        <a:pt x="2" y="2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0" y="11"/>
                      </a:lnTo>
                      <a:lnTo>
                        <a:pt x="6" y="10"/>
                      </a:lnTo>
                      <a:lnTo>
                        <a:pt x="8" y="1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50" name="Freeform 652">
                  <a:extLst>
                    <a:ext uri="{FF2B5EF4-FFF2-40B4-BE49-F238E27FC236}">
                      <a16:creationId xmlns:a16="http://schemas.microsoft.com/office/drawing/2014/main" id="{FF05E9CC-D4E6-406A-A5EE-3AFF546E47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9" y="1909"/>
                  <a:ext cx="125" cy="96"/>
                </a:xfrm>
                <a:custGeom>
                  <a:avLst/>
                  <a:gdLst>
                    <a:gd name="T0" fmla="*/ 116 w 125"/>
                    <a:gd name="T1" fmla="*/ 61 h 96"/>
                    <a:gd name="T2" fmla="*/ 107 w 125"/>
                    <a:gd name="T3" fmla="*/ 60 h 96"/>
                    <a:gd name="T4" fmla="*/ 103 w 125"/>
                    <a:gd name="T5" fmla="*/ 50 h 96"/>
                    <a:gd name="T6" fmla="*/ 101 w 125"/>
                    <a:gd name="T7" fmla="*/ 29 h 96"/>
                    <a:gd name="T8" fmla="*/ 92 w 125"/>
                    <a:gd name="T9" fmla="*/ 18 h 96"/>
                    <a:gd name="T10" fmla="*/ 86 w 125"/>
                    <a:gd name="T11" fmla="*/ 8 h 96"/>
                    <a:gd name="T12" fmla="*/ 75 w 125"/>
                    <a:gd name="T13" fmla="*/ 2 h 96"/>
                    <a:gd name="T14" fmla="*/ 63 w 125"/>
                    <a:gd name="T15" fmla="*/ 7 h 96"/>
                    <a:gd name="T16" fmla="*/ 58 w 125"/>
                    <a:gd name="T17" fmla="*/ 10 h 96"/>
                    <a:gd name="T18" fmla="*/ 50 w 125"/>
                    <a:gd name="T19" fmla="*/ 10 h 96"/>
                    <a:gd name="T20" fmla="*/ 45 w 125"/>
                    <a:gd name="T21" fmla="*/ 5 h 96"/>
                    <a:gd name="T22" fmla="*/ 36 w 125"/>
                    <a:gd name="T23" fmla="*/ 1 h 96"/>
                    <a:gd name="T24" fmla="*/ 31 w 125"/>
                    <a:gd name="T25" fmla="*/ 4 h 96"/>
                    <a:gd name="T26" fmla="*/ 29 w 125"/>
                    <a:gd name="T27" fmla="*/ 5 h 96"/>
                    <a:gd name="T28" fmla="*/ 24 w 125"/>
                    <a:gd name="T29" fmla="*/ 9 h 96"/>
                    <a:gd name="T30" fmla="*/ 18 w 125"/>
                    <a:gd name="T31" fmla="*/ 26 h 96"/>
                    <a:gd name="T32" fmla="*/ 13 w 125"/>
                    <a:gd name="T33" fmla="*/ 39 h 96"/>
                    <a:gd name="T34" fmla="*/ 7 w 125"/>
                    <a:gd name="T35" fmla="*/ 41 h 96"/>
                    <a:gd name="T36" fmla="*/ 3 w 125"/>
                    <a:gd name="T37" fmla="*/ 45 h 96"/>
                    <a:gd name="T38" fmla="*/ 3 w 125"/>
                    <a:gd name="T39" fmla="*/ 50 h 96"/>
                    <a:gd name="T40" fmla="*/ 9 w 125"/>
                    <a:gd name="T41" fmla="*/ 58 h 96"/>
                    <a:gd name="T42" fmla="*/ 13 w 125"/>
                    <a:gd name="T43" fmla="*/ 63 h 96"/>
                    <a:gd name="T44" fmla="*/ 15 w 125"/>
                    <a:gd name="T45" fmla="*/ 71 h 96"/>
                    <a:gd name="T46" fmla="*/ 20 w 125"/>
                    <a:gd name="T47" fmla="*/ 75 h 96"/>
                    <a:gd name="T48" fmla="*/ 24 w 125"/>
                    <a:gd name="T49" fmla="*/ 76 h 96"/>
                    <a:gd name="T50" fmla="*/ 29 w 125"/>
                    <a:gd name="T51" fmla="*/ 75 h 96"/>
                    <a:gd name="T52" fmla="*/ 32 w 125"/>
                    <a:gd name="T53" fmla="*/ 79 h 96"/>
                    <a:gd name="T54" fmla="*/ 33 w 125"/>
                    <a:gd name="T55" fmla="*/ 85 h 96"/>
                    <a:gd name="T56" fmla="*/ 39 w 125"/>
                    <a:gd name="T57" fmla="*/ 88 h 96"/>
                    <a:gd name="T58" fmla="*/ 37 w 125"/>
                    <a:gd name="T59" fmla="*/ 92 h 96"/>
                    <a:gd name="T60" fmla="*/ 42 w 125"/>
                    <a:gd name="T61" fmla="*/ 92 h 96"/>
                    <a:gd name="T62" fmla="*/ 47 w 125"/>
                    <a:gd name="T63" fmla="*/ 94 h 96"/>
                    <a:gd name="T64" fmla="*/ 54 w 125"/>
                    <a:gd name="T65" fmla="*/ 96 h 96"/>
                    <a:gd name="T66" fmla="*/ 61 w 125"/>
                    <a:gd name="T67" fmla="*/ 95 h 96"/>
                    <a:gd name="T68" fmla="*/ 66 w 125"/>
                    <a:gd name="T69" fmla="*/ 95 h 96"/>
                    <a:gd name="T70" fmla="*/ 74 w 125"/>
                    <a:gd name="T71" fmla="*/ 96 h 96"/>
                    <a:gd name="T72" fmla="*/ 79 w 125"/>
                    <a:gd name="T73" fmla="*/ 93 h 96"/>
                    <a:gd name="T74" fmla="*/ 89 w 125"/>
                    <a:gd name="T75" fmla="*/ 86 h 96"/>
                    <a:gd name="T76" fmla="*/ 96 w 125"/>
                    <a:gd name="T77" fmla="*/ 85 h 96"/>
                    <a:gd name="T78" fmla="*/ 103 w 125"/>
                    <a:gd name="T79" fmla="*/ 90 h 96"/>
                    <a:gd name="T80" fmla="*/ 109 w 125"/>
                    <a:gd name="T81" fmla="*/ 91 h 96"/>
                    <a:gd name="T82" fmla="*/ 113 w 125"/>
                    <a:gd name="T83" fmla="*/ 92 h 96"/>
                    <a:gd name="T84" fmla="*/ 113 w 125"/>
                    <a:gd name="T85" fmla="*/ 85 h 96"/>
                    <a:gd name="T86" fmla="*/ 113 w 125"/>
                    <a:gd name="T87" fmla="*/ 78 h 96"/>
                    <a:gd name="T88" fmla="*/ 115 w 125"/>
                    <a:gd name="T89" fmla="*/ 72 h 96"/>
                    <a:gd name="T90" fmla="*/ 123 w 125"/>
                    <a:gd name="T91" fmla="*/ 70 h 96"/>
                    <a:gd name="T92" fmla="*/ 125 w 125"/>
                    <a:gd name="T93" fmla="*/ 64 h 96"/>
                    <a:gd name="T94" fmla="*/ 125 w 125"/>
                    <a:gd name="T95" fmla="*/ 60 h 96"/>
                    <a:gd name="T96" fmla="*/ 118 w 125"/>
                    <a:gd name="T97" fmla="*/ 59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25" h="96">
                      <a:moveTo>
                        <a:pt x="118" y="59"/>
                      </a:moveTo>
                      <a:lnTo>
                        <a:pt x="116" y="61"/>
                      </a:lnTo>
                      <a:lnTo>
                        <a:pt x="111" y="60"/>
                      </a:lnTo>
                      <a:lnTo>
                        <a:pt x="107" y="60"/>
                      </a:lnTo>
                      <a:lnTo>
                        <a:pt x="104" y="55"/>
                      </a:lnTo>
                      <a:lnTo>
                        <a:pt x="103" y="50"/>
                      </a:lnTo>
                      <a:lnTo>
                        <a:pt x="103" y="34"/>
                      </a:lnTo>
                      <a:lnTo>
                        <a:pt x="101" y="29"/>
                      </a:lnTo>
                      <a:lnTo>
                        <a:pt x="99" y="25"/>
                      </a:lnTo>
                      <a:lnTo>
                        <a:pt x="92" y="18"/>
                      </a:lnTo>
                      <a:lnTo>
                        <a:pt x="92" y="14"/>
                      </a:lnTo>
                      <a:lnTo>
                        <a:pt x="86" y="8"/>
                      </a:lnTo>
                      <a:lnTo>
                        <a:pt x="84" y="0"/>
                      </a:lnTo>
                      <a:lnTo>
                        <a:pt x="75" y="2"/>
                      </a:lnTo>
                      <a:lnTo>
                        <a:pt x="72" y="5"/>
                      </a:lnTo>
                      <a:lnTo>
                        <a:pt x="63" y="7"/>
                      </a:lnTo>
                      <a:lnTo>
                        <a:pt x="61" y="10"/>
                      </a:lnTo>
                      <a:lnTo>
                        <a:pt x="58" y="10"/>
                      </a:lnTo>
                      <a:lnTo>
                        <a:pt x="53" y="12"/>
                      </a:lnTo>
                      <a:lnTo>
                        <a:pt x="50" y="10"/>
                      </a:lnTo>
                      <a:lnTo>
                        <a:pt x="49" y="8"/>
                      </a:lnTo>
                      <a:lnTo>
                        <a:pt x="45" y="5"/>
                      </a:lnTo>
                      <a:lnTo>
                        <a:pt x="41" y="5"/>
                      </a:lnTo>
                      <a:lnTo>
                        <a:pt x="36" y="1"/>
                      </a:lnTo>
                      <a:lnTo>
                        <a:pt x="33" y="1"/>
                      </a:lnTo>
                      <a:lnTo>
                        <a:pt x="31" y="4"/>
                      </a:lnTo>
                      <a:lnTo>
                        <a:pt x="28" y="4"/>
                      </a:lnTo>
                      <a:lnTo>
                        <a:pt x="29" y="5"/>
                      </a:lnTo>
                      <a:lnTo>
                        <a:pt x="27" y="8"/>
                      </a:lnTo>
                      <a:lnTo>
                        <a:pt x="24" y="9"/>
                      </a:lnTo>
                      <a:lnTo>
                        <a:pt x="21" y="16"/>
                      </a:lnTo>
                      <a:lnTo>
                        <a:pt x="18" y="26"/>
                      </a:lnTo>
                      <a:lnTo>
                        <a:pt x="13" y="36"/>
                      </a:lnTo>
                      <a:lnTo>
                        <a:pt x="13" y="39"/>
                      </a:lnTo>
                      <a:lnTo>
                        <a:pt x="11" y="42"/>
                      </a:lnTo>
                      <a:lnTo>
                        <a:pt x="7" y="41"/>
                      </a:lnTo>
                      <a:lnTo>
                        <a:pt x="6" y="44"/>
                      </a:lnTo>
                      <a:lnTo>
                        <a:pt x="3" y="45"/>
                      </a:lnTo>
                      <a:lnTo>
                        <a:pt x="0" y="49"/>
                      </a:lnTo>
                      <a:lnTo>
                        <a:pt x="3" y="50"/>
                      </a:lnTo>
                      <a:lnTo>
                        <a:pt x="4" y="52"/>
                      </a:lnTo>
                      <a:lnTo>
                        <a:pt x="9" y="58"/>
                      </a:lnTo>
                      <a:lnTo>
                        <a:pt x="9" y="61"/>
                      </a:lnTo>
                      <a:lnTo>
                        <a:pt x="13" y="63"/>
                      </a:lnTo>
                      <a:lnTo>
                        <a:pt x="16" y="67"/>
                      </a:lnTo>
                      <a:lnTo>
                        <a:pt x="15" y="71"/>
                      </a:lnTo>
                      <a:lnTo>
                        <a:pt x="16" y="73"/>
                      </a:lnTo>
                      <a:lnTo>
                        <a:pt x="20" y="75"/>
                      </a:lnTo>
                      <a:lnTo>
                        <a:pt x="22" y="77"/>
                      </a:lnTo>
                      <a:lnTo>
                        <a:pt x="24" y="76"/>
                      </a:lnTo>
                      <a:lnTo>
                        <a:pt x="26" y="78"/>
                      </a:lnTo>
                      <a:lnTo>
                        <a:pt x="29" y="75"/>
                      </a:lnTo>
                      <a:lnTo>
                        <a:pt x="34" y="76"/>
                      </a:lnTo>
                      <a:lnTo>
                        <a:pt x="32" y="79"/>
                      </a:lnTo>
                      <a:lnTo>
                        <a:pt x="32" y="82"/>
                      </a:lnTo>
                      <a:lnTo>
                        <a:pt x="33" y="85"/>
                      </a:lnTo>
                      <a:lnTo>
                        <a:pt x="37" y="86"/>
                      </a:lnTo>
                      <a:lnTo>
                        <a:pt x="39" y="88"/>
                      </a:lnTo>
                      <a:lnTo>
                        <a:pt x="38" y="90"/>
                      </a:lnTo>
                      <a:lnTo>
                        <a:pt x="37" y="92"/>
                      </a:lnTo>
                      <a:lnTo>
                        <a:pt x="39" y="95"/>
                      </a:lnTo>
                      <a:lnTo>
                        <a:pt x="42" y="92"/>
                      </a:lnTo>
                      <a:lnTo>
                        <a:pt x="46" y="93"/>
                      </a:lnTo>
                      <a:lnTo>
                        <a:pt x="47" y="94"/>
                      </a:lnTo>
                      <a:lnTo>
                        <a:pt x="49" y="94"/>
                      </a:lnTo>
                      <a:lnTo>
                        <a:pt x="54" y="96"/>
                      </a:lnTo>
                      <a:lnTo>
                        <a:pt x="58" y="94"/>
                      </a:lnTo>
                      <a:lnTo>
                        <a:pt x="61" y="95"/>
                      </a:lnTo>
                      <a:lnTo>
                        <a:pt x="63" y="94"/>
                      </a:lnTo>
                      <a:lnTo>
                        <a:pt x="66" y="95"/>
                      </a:lnTo>
                      <a:lnTo>
                        <a:pt x="68" y="95"/>
                      </a:lnTo>
                      <a:lnTo>
                        <a:pt x="74" y="96"/>
                      </a:lnTo>
                      <a:lnTo>
                        <a:pt x="75" y="94"/>
                      </a:lnTo>
                      <a:lnTo>
                        <a:pt x="79" y="93"/>
                      </a:lnTo>
                      <a:lnTo>
                        <a:pt x="80" y="91"/>
                      </a:lnTo>
                      <a:lnTo>
                        <a:pt x="89" y="86"/>
                      </a:lnTo>
                      <a:lnTo>
                        <a:pt x="92" y="85"/>
                      </a:lnTo>
                      <a:lnTo>
                        <a:pt x="96" y="85"/>
                      </a:lnTo>
                      <a:lnTo>
                        <a:pt x="101" y="88"/>
                      </a:lnTo>
                      <a:lnTo>
                        <a:pt x="103" y="90"/>
                      </a:lnTo>
                      <a:lnTo>
                        <a:pt x="106" y="88"/>
                      </a:lnTo>
                      <a:lnTo>
                        <a:pt x="109" y="91"/>
                      </a:lnTo>
                      <a:lnTo>
                        <a:pt x="110" y="92"/>
                      </a:lnTo>
                      <a:lnTo>
                        <a:pt x="113" y="92"/>
                      </a:lnTo>
                      <a:lnTo>
                        <a:pt x="112" y="88"/>
                      </a:lnTo>
                      <a:lnTo>
                        <a:pt x="113" y="85"/>
                      </a:lnTo>
                      <a:lnTo>
                        <a:pt x="113" y="81"/>
                      </a:lnTo>
                      <a:lnTo>
                        <a:pt x="113" y="78"/>
                      </a:lnTo>
                      <a:lnTo>
                        <a:pt x="114" y="76"/>
                      </a:lnTo>
                      <a:lnTo>
                        <a:pt x="115" y="72"/>
                      </a:lnTo>
                      <a:lnTo>
                        <a:pt x="120" y="71"/>
                      </a:lnTo>
                      <a:lnTo>
                        <a:pt x="123" y="70"/>
                      </a:lnTo>
                      <a:lnTo>
                        <a:pt x="125" y="67"/>
                      </a:lnTo>
                      <a:lnTo>
                        <a:pt x="125" y="64"/>
                      </a:lnTo>
                      <a:lnTo>
                        <a:pt x="123" y="63"/>
                      </a:lnTo>
                      <a:lnTo>
                        <a:pt x="125" y="60"/>
                      </a:lnTo>
                      <a:lnTo>
                        <a:pt x="123" y="58"/>
                      </a:lnTo>
                      <a:lnTo>
                        <a:pt x="118" y="5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51" name="Freeform 653">
                  <a:extLst>
                    <a:ext uri="{FF2B5EF4-FFF2-40B4-BE49-F238E27FC236}">
                      <a16:creationId xmlns:a16="http://schemas.microsoft.com/office/drawing/2014/main" id="{A0AA46DA-B92F-4C3B-A96B-D1046A0913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16" y="1903"/>
                  <a:ext cx="82" cy="63"/>
                </a:xfrm>
                <a:custGeom>
                  <a:avLst/>
                  <a:gdLst>
                    <a:gd name="T0" fmla="*/ 66 w 82"/>
                    <a:gd name="T1" fmla="*/ 1 h 63"/>
                    <a:gd name="T2" fmla="*/ 60 w 82"/>
                    <a:gd name="T3" fmla="*/ 2 h 63"/>
                    <a:gd name="T4" fmla="*/ 57 w 82"/>
                    <a:gd name="T5" fmla="*/ 0 h 63"/>
                    <a:gd name="T6" fmla="*/ 52 w 82"/>
                    <a:gd name="T7" fmla="*/ 1 h 63"/>
                    <a:gd name="T8" fmla="*/ 50 w 82"/>
                    <a:gd name="T9" fmla="*/ 6 h 63"/>
                    <a:gd name="T10" fmla="*/ 48 w 82"/>
                    <a:gd name="T11" fmla="*/ 8 h 63"/>
                    <a:gd name="T12" fmla="*/ 47 w 82"/>
                    <a:gd name="T13" fmla="*/ 11 h 63"/>
                    <a:gd name="T14" fmla="*/ 43 w 82"/>
                    <a:gd name="T15" fmla="*/ 7 h 63"/>
                    <a:gd name="T16" fmla="*/ 38 w 82"/>
                    <a:gd name="T17" fmla="*/ 11 h 63"/>
                    <a:gd name="T18" fmla="*/ 34 w 82"/>
                    <a:gd name="T19" fmla="*/ 13 h 63"/>
                    <a:gd name="T20" fmla="*/ 34 w 82"/>
                    <a:gd name="T21" fmla="*/ 16 h 63"/>
                    <a:gd name="T22" fmla="*/ 27 w 82"/>
                    <a:gd name="T23" fmla="*/ 17 h 63"/>
                    <a:gd name="T24" fmla="*/ 22 w 82"/>
                    <a:gd name="T25" fmla="*/ 18 h 63"/>
                    <a:gd name="T26" fmla="*/ 17 w 82"/>
                    <a:gd name="T27" fmla="*/ 18 h 63"/>
                    <a:gd name="T28" fmla="*/ 7 w 82"/>
                    <a:gd name="T29" fmla="*/ 11 h 63"/>
                    <a:gd name="T30" fmla="*/ 7 w 82"/>
                    <a:gd name="T31" fmla="*/ 14 h 63"/>
                    <a:gd name="T32" fmla="*/ 8 w 82"/>
                    <a:gd name="T33" fmla="*/ 17 h 63"/>
                    <a:gd name="T34" fmla="*/ 7 w 82"/>
                    <a:gd name="T35" fmla="*/ 20 h 63"/>
                    <a:gd name="T36" fmla="*/ 1 w 82"/>
                    <a:gd name="T37" fmla="*/ 20 h 63"/>
                    <a:gd name="T38" fmla="*/ 1 w 82"/>
                    <a:gd name="T39" fmla="*/ 21 h 63"/>
                    <a:gd name="T40" fmla="*/ 3 w 82"/>
                    <a:gd name="T41" fmla="*/ 25 h 63"/>
                    <a:gd name="T42" fmla="*/ 2 w 82"/>
                    <a:gd name="T43" fmla="*/ 29 h 63"/>
                    <a:gd name="T44" fmla="*/ 2 w 82"/>
                    <a:gd name="T45" fmla="*/ 32 h 63"/>
                    <a:gd name="T46" fmla="*/ 3 w 82"/>
                    <a:gd name="T47" fmla="*/ 35 h 63"/>
                    <a:gd name="T48" fmla="*/ 1 w 82"/>
                    <a:gd name="T49" fmla="*/ 38 h 63"/>
                    <a:gd name="T50" fmla="*/ 0 w 82"/>
                    <a:gd name="T51" fmla="*/ 38 h 63"/>
                    <a:gd name="T52" fmla="*/ 4 w 82"/>
                    <a:gd name="T53" fmla="*/ 44 h 63"/>
                    <a:gd name="T54" fmla="*/ 5 w 82"/>
                    <a:gd name="T55" fmla="*/ 49 h 63"/>
                    <a:gd name="T56" fmla="*/ 7 w 82"/>
                    <a:gd name="T57" fmla="*/ 50 h 63"/>
                    <a:gd name="T58" fmla="*/ 13 w 82"/>
                    <a:gd name="T59" fmla="*/ 56 h 63"/>
                    <a:gd name="T60" fmla="*/ 16 w 82"/>
                    <a:gd name="T61" fmla="*/ 58 h 63"/>
                    <a:gd name="T62" fmla="*/ 18 w 82"/>
                    <a:gd name="T63" fmla="*/ 60 h 63"/>
                    <a:gd name="T64" fmla="*/ 25 w 82"/>
                    <a:gd name="T65" fmla="*/ 62 h 63"/>
                    <a:gd name="T66" fmla="*/ 31 w 82"/>
                    <a:gd name="T67" fmla="*/ 63 h 63"/>
                    <a:gd name="T68" fmla="*/ 33 w 82"/>
                    <a:gd name="T69" fmla="*/ 60 h 63"/>
                    <a:gd name="T70" fmla="*/ 34 w 82"/>
                    <a:gd name="T71" fmla="*/ 61 h 63"/>
                    <a:gd name="T72" fmla="*/ 36 w 82"/>
                    <a:gd name="T73" fmla="*/ 59 h 63"/>
                    <a:gd name="T74" fmla="*/ 40 w 82"/>
                    <a:gd name="T75" fmla="*/ 56 h 63"/>
                    <a:gd name="T76" fmla="*/ 42 w 82"/>
                    <a:gd name="T77" fmla="*/ 57 h 63"/>
                    <a:gd name="T78" fmla="*/ 43 w 82"/>
                    <a:gd name="T79" fmla="*/ 56 h 63"/>
                    <a:gd name="T80" fmla="*/ 46 w 82"/>
                    <a:gd name="T81" fmla="*/ 52 h 63"/>
                    <a:gd name="T82" fmla="*/ 48 w 82"/>
                    <a:gd name="T83" fmla="*/ 53 h 63"/>
                    <a:gd name="T84" fmla="*/ 52 w 82"/>
                    <a:gd name="T85" fmla="*/ 54 h 63"/>
                    <a:gd name="T86" fmla="*/ 53 w 82"/>
                    <a:gd name="T87" fmla="*/ 55 h 63"/>
                    <a:gd name="T88" fmla="*/ 56 w 82"/>
                    <a:gd name="T89" fmla="*/ 51 h 63"/>
                    <a:gd name="T90" fmla="*/ 59 w 82"/>
                    <a:gd name="T91" fmla="*/ 50 h 63"/>
                    <a:gd name="T92" fmla="*/ 60 w 82"/>
                    <a:gd name="T93" fmla="*/ 47 h 63"/>
                    <a:gd name="T94" fmla="*/ 64 w 82"/>
                    <a:gd name="T95" fmla="*/ 48 h 63"/>
                    <a:gd name="T96" fmla="*/ 66 w 82"/>
                    <a:gd name="T97" fmla="*/ 45 h 63"/>
                    <a:gd name="T98" fmla="*/ 66 w 82"/>
                    <a:gd name="T99" fmla="*/ 42 h 63"/>
                    <a:gd name="T100" fmla="*/ 71 w 82"/>
                    <a:gd name="T101" fmla="*/ 32 h 63"/>
                    <a:gd name="T102" fmla="*/ 74 w 82"/>
                    <a:gd name="T103" fmla="*/ 22 h 63"/>
                    <a:gd name="T104" fmla="*/ 77 w 82"/>
                    <a:gd name="T105" fmla="*/ 15 h 63"/>
                    <a:gd name="T106" fmla="*/ 80 w 82"/>
                    <a:gd name="T107" fmla="*/ 14 h 63"/>
                    <a:gd name="T108" fmla="*/ 82 w 82"/>
                    <a:gd name="T109" fmla="*/ 11 h 63"/>
                    <a:gd name="T110" fmla="*/ 80 w 82"/>
                    <a:gd name="T111" fmla="*/ 7 h 63"/>
                    <a:gd name="T112" fmla="*/ 77 w 82"/>
                    <a:gd name="T113" fmla="*/ 4 h 63"/>
                    <a:gd name="T114" fmla="*/ 73 w 82"/>
                    <a:gd name="T115" fmla="*/ 0 h 63"/>
                    <a:gd name="T116" fmla="*/ 70 w 82"/>
                    <a:gd name="T117" fmla="*/ 3 h 63"/>
                    <a:gd name="T118" fmla="*/ 66 w 82"/>
                    <a:gd name="T119" fmla="*/ 1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2" h="63">
                      <a:moveTo>
                        <a:pt x="66" y="1"/>
                      </a:moveTo>
                      <a:lnTo>
                        <a:pt x="60" y="2"/>
                      </a:lnTo>
                      <a:lnTo>
                        <a:pt x="57" y="0"/>
                      </a:lnTo>
                      <a:lnTo>
                        <a:pt x="52" y="1"/>
                      </a:lnTo>
                      <a:lnTo>
                        <a:pt x="50" y="6"/>
                      </a:lnTo>
                      <a:lnTo>
                        <a:pt x="48" y="8"/>
                      </a:lnTo>
                      <a:lnTo>
                        <a:pt x="47" y="11"/>
                      </a:lnTo>
                      <a:lnTo>
                        <a:pt x="43" y="7"/>
                      </a:lnTo>
                      <a:lnTo>
                        <a:pt x="38" y="11"/>
                      </a:lnTo>
                      <a:lnTo>
                        <a:pt x="34" y="13"/>
                      </a:lnTo>
                      <a:lnTo>
                        <a:pt x="34" y="16"/>
                      </a:lnTo>
                      <a:lnTo>
                        <a:pt x="27" y="17"/>
                      </a:lnTo>
                      <a:lnTo>
                        <a:pt x="22" y="18"/>
                      </a:lnTo>
                      <a:lnTo>
                        <a:pt x="17" y="18"/>
                      </a:lnTo>
                      <a:lnTo>
                        <a:pt x="7" y="11"/>
                      </a:lnTo>
                      <a:lnTo>
                        <a:pt x="7" y="14"/>
                      </a:lnTo>
                      <a:lnTo>
                        <a:pt x="8" y="17"/>
                      </a:lnTo>
                      <a:lnTo>
                        <a:pt x="7" y="20"/>
                      </a:lnTo>
                      <a:lnTo>
                        <a:pt x="1" y="20"/>
                      </a:lnTo>
                      <a:lnTo>
                        <a:pt x="1" y="21"/>
                      </a:lnTo>
                      <a:lnTo>
                        <a:pt x="3" y="25"/>
                      </a:lnTo>
                      <a:lnTo>
                        <a:pt x="2" y="29"/>
                      </a:lnTo>
                      <a:lnTo>
                        <a:pt x="2" y="32"/>
                      </a:lnTo>
                      <a:lnTo>
                        <a:pt x="3" y="35"/>
                      </a:lnTo>
                      <a:lnTo>
                        <a:pt x="1" y="38"/>
                      </a:lnTo>
                      <a:lnTo>
                        <a:pt x="0" y="38"/>
                      </a:lnTo>
                      <a:lnTo>
                        <a:pt x="4" y="44"/>
                      </a:lnTo>
                      <a:lnTo>
                        <a:pt x="5" y="49"/>
                      </a:lnTo>
                      <a:lnTo>
                        <a:pt x="7" y="50"/>
                      </a:lnTo>
                      <a:lnTo>
                        <a:pt x="13" y="56"/>
                      </a:lnTo>
                      <a:lnTo>
                        <a:pt x="16" y="58"/>
                      </a:lnTo>
                      <a:lnTo>
                        <a:pt x="18" y="60"/>
                      </a:lnTo>
                      <a:lnTo>
                        <a:pt x="25" y="62"/>
                      </a:lnTo>
                      <a:lnTo>
                        <a:pt x="31" y="63"/>
                      </a:lnTo>
                      <a:lnTo>
                        <a:pt x="33" y="60"/>
                      </a:lnTo>
                      <a:lnTo>
                        <a:pt x="34" y="61"/>
                      </a:lnTo>
                      <a:lnTo>
                        <a:pt x="36" y="59"/>
                      </a:lnTo>
                      <a:lnTo>
                        <a:pt x="40" y="56"/>
                      </a:lnTo>
                      <a:lnTo>
                        <a:pt x="42" y="57"/>
                      </a:lnTo>
                      <a:lnTo>
                        <a:pt x="43" y="56"/>
                      </a:lnTo>
                      <a:lnTo>
                        <a:pt x="46" y="52"/>
                      </a:lnTo>
                      <a:lnTo>
                        <a:pt x="48" y="53"/>
                      </a:lnTo>
                      <a:lnTo>
                        <a:pt x="52" y="54"/>
                      </a:lnTo>
                      <a:lnTo>
                        <a:pt x="53" y="55"/>
                      </a:lnTo>
                      <a:lnTo>
                        <a:pt x="56" y="51"/>
                      </a:lnTo>
                      <a:lnTo>
                        <a:pt x="59" y="50"/>
                      </a:lnTo>
                      <a:lnTo>
                        <a:pt x="60" y="47"/>
                      </a:lnTo>
                      <a:lnTo>
                        <a:pt x="64" y="48"/>
                      </a:lnTo>
                      <a:lnTo>
                        <a:pt x="66" y="45"/>
                      </a:lnTo>
                      <a:lnTo>
                        <a:pt x="66" y="42"/>
                      </a:lnTo>
                      <a:lnTo>
                        <a:pt x="71" y="32"/>
                      </a:lnTo>
                      <a:lnTo>
                        <a:pt x="74" y="22"/>
                      </a:lnTo>
                      <a:lnTo>
                        <a:pt x="77" y="15"/>
                      </a:lnTo>
                      <a:lnTo>
                        <a:pt x="80" y="14"/>
                      </a:lnTo>
                      <a:lnTo>
                        <a:pt x="82" y="11"/>
                      </a:lnTo>
                      <a:lnTo>
                        <a:pt x="80" y="7"/>
                      </a:lnTo>
                      <a:lnTo>
                        <a:pt x="77" y="4"/>
                      </a:lnTo>
                      <a:lnTo>
                        <a:pt x="73" y="0"/>
                      </a:lnTo>
                      <a:lnTo>
                        <a:pt x="70" y="3"/>
                      </a:lnTo>
                      <a:lnTo>
                        <a:pt x="66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52" name="Freeform 654">
                  <a:extLst>
                    <a:ext uri="{FF2B5EF4-FFF2-40B4-BE49-F238E27FC236}">
                      <a16:creationId xmlns:a16="http://schemas.microsoft.com/office/drawing/2014/main" id="{3E603CB4-30A3-44AF-86CA-0B500D1741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23" y="1885"/>
                  <a:ext cx="71" cy="36"/>
                </a:xfrm>
                <a:custGeom>
                  <a:avLst/>
                  <a:gdLst>
                    <a:gd name="T0" fmla="*/ 65 w 71"/>
                    <a:gd name="T1" fmla="*/ 1 h 36"/>
                    <a:gd name="T2" fmla="*/ 59 w 71"/>
                    <a:gd name="T3" fmla="*/ 0 h 36"/>
                    <a:gd name="T4" fmla="*/ 57 w 71"/>
                    <a:gd name="T5" fmla="*/ 1 h 36"/>
                    <a:gd name="T6" fmla="*/ 55 w 71"/>
                    <a:gd name="T7" fmla="*/ 0 h 36"/>
                    <a:gd name="T8" fmla="*/ 53 w 71"/>
                    <a:gd name="T9" fmla="*/ 0 h 36"/>
                    <a:gd name="T10" fmla="*/ 51 w 71"/>
                    <a:gd name="T11" fmla="*/ 2 h 36"/>
                    <a:gd name="T12" fmla="*/ 49 w 71"/>
                    <a:gd name="T13" fmla="*/ 1 h 36"/>
                    <a:gd name="T14" fmla="*/ 45 w 71"/>
                    <a:gd name="T15" fmla="*/ 1 h 36"/>
                    <a:gd name="T16" fmla="*/ 44 w 71"/>
                    <a:gd name="T17" fmla="*/ 1 h 36"/>
                    <a:gd name="T18" fmla="*/ 41 w 71"/>
                    <a:gd name="T19" fmla="*/ 1 h 36"/>
                    <a:gd name="T20" fmla="*/ 40 w 71"/>
                    <a:gd name="T21" fmla="*/ 5 h 36"/>
                    <a:gd name="T22" fmla="*/ 37 w 71"/>
                    <a:gd name="T23" fmla="*/ 5 h 36"/>
                    <a:gd name="T24" fmla="*/ 36 w 71"/>
                    <a:gd name="T25" fmla="*/ 4 h 36"/>
                    <a:gd name="T26" fmla="*/ 36 w 71"/>
                    <a:gd name="T27" fmla="*/ 5 h 36"/>
                    <a:gd name="T28" fmla="*/ 30 w 71"/>
                    <a:gd name="T29" fmla="*/ 4 h 36"/>
                    <a:gd name="T30" fmla="*/ 27 w 71"/>
                    <a:gd name="T31" fmla="*/ 7 h 36"/>
                    <a:gd name="T32" fmla="*/ 23 w 71"/>
                    <a:gd name="T33" fmla="*/ 7 h 36"/>
                    <a:gd name="T34" fmla="*/ 19 w 71"/>
                    <a:gd name="T35" fmla="*/ 12 h 36"/>
                    <a:gd name="T36" fmla="*/ 14 w 71"/>
                    <a:gd name="T37" fmla="*/ 13 h 36"/>
                    <a:gd name="T38" fmla="*/ 9 w 71"/>
                    <a:gd name="T39" fmla="*/ 15 h 36"/>
                    <a:gd name="T40" fmla="*/ 7 w 71"/>
                    <a:gd name="T41" fmla="*/ 14 h 36"/>
                    <a:gd name="T42" fmla="*/ 4 w 71"/>
                    <a:gd name="T43" fmla="*/ 14 h 36"/>
                    <a:gd name="T44" fmla="*/ 0 w 71"/>
                    <a:gd name="T45" fmla="*/ 17 h 36"/>
                    <a:gd name="T46" fmla="*/ 0 w 71"/>
                    <a:gd name="T47" fmla="*/ 16 h 36"/>
                    <a:gd name="T48" fmla="*/ 0 w 71"/>
                    <a:gd name="T49" fmla="*/ 22 h 36"/>
                    <a:gd name="T50" fmla="*/ 0 w 71"/>
                    <a:gd name="T51" fmla="*/ 29 h 36"/>
                    <a:gd name="T52" fmla="*/ 10 w 71"/>
                    <a:gd name="T53" fmla="*/ 36 h 36"/>
                    <a:gd name="T54" fmla="*/ 15 w 71"/>
                    <a:gd name="T55" fmla="*/ 36 h 36"/>
                    <a:gd name="T56" fmla="*/ 20 w 71"/>
                    <a:gd name="T57" fmla="*/ 35 h 36"/>
                    <a:gd name="T58" fmla="*/ 27 w 71"/>
                    <a:gd name="T59" fmla="*/ 34 h 36"/>
                    <a:gd name="T60" fmla="*/ 27 w 71"/>
                    <a:gd name="T61" fmla="*/ 31 h 36"/>
                    <a:gd name="T62" fmla="*/ 31 w 71"/>
                    <a:gd name="T63" fmla="*/ 29 h 36"/>
                    <a:gd name="T64" fmla="*/ 36 w 71"/>
                    <a:gd name="T65" fmla="*/ 25 h 36"/>
                    <a:gd name="T66" fmla="*/ 40 w 71"/>
                    <a:gd name="T67" fmla="*/ 29 h 36"/>
                    <a:gd name="T68" fmla="*/ 41 w 71"/>
                    <a:gd name="T69" fmla="*/ 26 h 36"/>
                    <a:gd name="T70" fmla="*/ 43 w 71"/>
                    <a:gd name="T71" fmla="*/ 24 h 36"/>
                    <a:gd name="T72" fmla="*/ 45 w 71"/>
                    <a:gd name="T73" fmla="*/ 19 h 36"/>
                    <a:gd name="T74" fmla="*/ 50 w 71"/>
                    <a:gd name="T75" fmla="*/ 18 h 36"/>
                    <a:gd name="T76" fmla="*/ 53 w 71"/>
                    <a:gd name="T77" fmla="*/ 20 h 36"/>
                    <a:gd name="T78" fmla="*/ 59 w 71"/>
                    <a:gd name="T79" fmla="*/ 19 h 36"/>
                    <a:gd name="T80" fmla="*/ 63 w 71"/>
                    <a:gd name="T81" fmla="*/ 21 h 36"/>
                    <a:gd name="T82" fmla="*/ 67 w 71"/>
                    <a:gd name="T83" fmla="*/ 18 h 36"/>
                    <a:gd name="T84" fmla="*/ 68 w 71"/>
                    <a:gd name="T85" fmla="*/ 12 h 36"/>
                    <a:gd name="T86" fmla="*/ 71 w 71"/>
                    <a:gd name="T87" fmla="*/ 5 h 36"/>
                    <a:gd name="T88" fmla="*/ 70 w 71"/>
                    <a:gd name="T89" fmla="*/ 5 h 36"/>
                    <a:gd name="T90" fmla="*/ 65 w 71"/>
                    <a:gd name="T91" fmla="*/ 1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1" h="36">
                      <a:moveTo>
                        <a:pt x="65" y="1"/>
                      </a:moveTo>
                      <a:lnTo>
                        <a:pt x="59" y="0"/>
                      </a:lnTo>
                      <a:lnTo>
                        <a:pt x="57" y="1"/>
                      </a:lnTo>
                      <a:lnTo>
                        <a:pt x="55" y="0"/>
                      </a:lnTo>
                      <a:lnTo>
                        <a:pt x="53" y="0"/>
                      </a:lnTo>
                      <a:lnTo>
                        <a:pt x="51" y="2"/>
                      </a:lnTo>
                      <a:lnTo>
                        <a:pt x="49" y="1"/>
                      </a:lnTo>
                      <a:lnTo>
                        <a:pt x="45" y="1"/>
                      </a:lnTo>
                      <a:lnTo>
                        <a:pt x="44" y="1"/>
                      </a:lnTo>
                      <a:lnTo>
                        <a:pt x="41" y="1"/>
                      </a:lnTo>
                      <a:lnTo>
                        <a:pt x="40" y="5"/>
                      </a:lnTo>
                      <a:lnTo>
                        <a:pt x="37" y="5"/>
                      </a:lnTo>
                      <a:lnTo>
                        <a:pt x="36" y="4"/>
                      </a:lnTo>
                      <a:lnTo>
                        <a:pt x="36" y="5"/>
                      </a:lnTo>
                      <a:lnTo>
                        <a:pt x="30" y="4"/>
                      </a:lnTo>
                      <a:lnTo>
                        <a:pt x="27" y="7"/>
                      </a:lnTo>
                      <a:lnTo>
                        <a:pt x="23" y="7"/>
                      </a:lnTo>
                      <a:lnTo>
                        <a:pt x="19" y="12"/>
                      </a:lnTo>
                      <a:lnTo>
                        <a:pt x="14" y="13"/>
                      </a:lnTo>
                      <a:lnTo>
                        <a:pt x="9" y="15"/>
                      </a:lnTo>
                      <a:lnTo>
                        <a:pt x="7" y="14"/>
                      </a:lnTo>
                      <a:lnTo>
                        <a:pt x="4" y="14"/>
                      </a:lnTo>
                      <a:lnTo>
                        <a:pt x="0" y="17"/>
                      </a:lnTo>
                      <a:lnTo>
                        <a:pt x="0" y="16"/>
                      </a:lnTo>
                      <a:lnTo>
                        <a:pt x="0" y="22"/>
                      </a:lnTo>
                      <a:lnTo>
                        <a:pt x="0" y="29"/>
                      </a:lnTo>
                      <a:lnTo>
                        <a:pt x="10" y="36"/>
                      </a:lnTo>
                      <a:lnTo>
                        <a:pt x="15" y="36"/>
                      </a:lnTo>
                      <a:lnTo>
                        <a:pt x="20" y="35"/>
                      </a:lnTo>
                      <a:lnTo>
                        <a:pt x="27" y="34"/>
                      </a:lnTo>
                      <a:lnTo>
                        <a:pt x="27" y="31"/>
                      </a:lnTo>
                      <a:lnTo>
                        <a:pt x="31" y="29"/>
                      </a:lnTo>
                      <a:lnTo>
                        <a:pt x="36" y="25"/>
                      </a:lnTo>
                      <a:lnTo>
                        <a:pt x="40" y="29"/>
                      </a:lnTo>
                      <a:lnTo>
                        <a:pt x="41" y="26"/>
                      </a:lnTo>
                      <a:lnTo>
                        <a:pt x="43" y="24"/>
                      </a:lnTo>
                      <a:lnTo>
                        <a:pt x="45" y="19"/>
                      </a:lnTo>
                      <a:lnTo>
                        <a:pt x="50" y="18"/>
                      </a:lnTo>
                      <a:lnTo>
                        <a:pt x="53" y="20"/>
                      </a:lnTo>
                      <a:lnTo>
                        <a:pt x="59" y="19"/>
                      </a:lnTo>
                      <a:lnTo>
                        <a:pt x="63" y="21"/>
                      </a:lnTo>
                      <a:lnTo>
                        <a:pt x="67" y="18"/>
                      </a:lnTo>
                      <a:lnTo>
                        <a:pt x="68" y="12"/>
                      </a:lnTo>
                      <a:lnTo>
                        <a:pt x="71" y="5"/>
                      </a:lnTo>
                      <a:lnTo>
                        <a:pt x="70" y="5"/>
                      </a:lnTo>
                      <a:lnTo>
                        <a:pt x="65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53" name="Freeform 655">
                  <a:extLst>
                    <a:ext uri="{FF2B5EF4-FFF2-40B4-BE49-F238E27FC236}">
                      <a16:creationId xmlns:a16="http://schemas.microsoft.com/office/drawing/2014/main" id="{EFA6CB32-79E5-484D-88AB-41820F4D0F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00" y="1994"/>
                  <a:ext cx="82" cy="62"/>
                </a:xfrm>
                <a:custGeom>
                  <a:avLst/>
                  <a:gdLst>
                    <a:gd name="T0" fmla="*/ 75 w 82"/>
                    <a:gd name="T1" fmla="*/ 3 h 62"/>
                    <a:gd name="T2" fmla="*/ 70 w 82"/>
                    <a:gd name="T3" fmla="*/ 3 h 62"/>
                    <a:gd name="T4" fmla="*/ 61 w 82"/>
                    <a:gd name="T5" fmla="*/ 0 h 62"/>
                    <a:gd name="T6" fmla="*/ 49 w 82"/>
                    <a:gd name="T7" fmla="*/ 6 h 62"/>
                    <a:gd name="T8" fmla="*/ 44 w 82"/>
                    <a:gd name="T9" fmla="*/ 9 h 62"/>
                    <a:gd name="T10" fmla="*/ 37 w 82"/>
                    <a:gd name="T11" fmla="*/ 10 h 62"/>
                    <a:gd name="T12" fmla="*/ 32 w 82"/>
                    <a:gd name="T13" fmla="*/ 9 h 62"/>
                    <a:gd name="T14" fmla="*/ 27 w 82"/>
                    <a:gd name="T15" fmla="*/ 9 h 62"/>
                    <a:gd name="T16" fmla="*/ 18 w 82"/>
                    <a:gd name="T17" fmla="*/ 9 h 62"/>
                    <a:gd name="T18" fmla="*/ 15 w 82"/>
                    <a:gd name="T19" fmla="*/ 8 h 62"/>
                    <a:gd name="T20" fmla="*/ 8 w 82"/>
                    <a:gd name="T21" fmla="*/ 10 h 62"/>
                    <a:gd name="T22" fmla="*/ 7 w 82"/>
                    <a:gd name="T23" fmla="*/ 5 h 62"/>
                    <a:gd name="T24" fmla="*/ 6 w 82"/>
                    <a:gd name="T25" fmla="*/ 1 h 62"/>
                    <a:gd name="T26" fmla="*/ 2 w 82"/>
                    <a:gd name="T27" fmla="*/ 3 h 62"/>
                    <a:gd name="T28" fmla="*/ 2 w 82"/>
                    <a:gd name="T29" fmla="*/ 13 h 62"/>
                    <a:gd name="T30" fmla="*/ 8 w 82"/>
                    <a:gd name="T31" fmla="*/ 23 h 62"/>
                    <a:gd name="T32" fmla="*/ 2 w 82"/>
                    <a:gd name="T33" fmla="*/ 31 h 62"/>
                    <a:gd name="T34" fmla="*/ 4 w 82"/>
                    <a:gd name="T35" fmla="*/ 37 h 62"/>
                    <a:gd name="T36" fmla="*/ 3 w 82"/>
                    <a:gd name="T37" fmla="*/ 40 h 62"/>
                    <a:gd name="T38" fmla="*/ 13 w 82"/>
                    <a:gd name="T39" fmla="*/ 54 h 62"/>
                    <a:gd name="T40" fmla="*/ 13 w 82"/>
                    <a:gd name="T41" fmla="*/ 61 h 62"/>
                    <a:gd name="T42" fmla="*/ 15 w 82"/>
                    <a:gd name="T43" fmla="*/ 62 h 62"/>
                    <a:gd name="T44" fmla="*/ 23 w 82"/>
                    <a:gd name="T45" fmla="*/ 61 h 62"/>
                    <a:gd name="T46" fmla="*/ 29 w 82"/>
                    <a:gd name="T47" fmla="*/ 59 h 62"/>
                    <a:gd name="T48" fmla="*/ 34 w 82"/>
                    <a:gd name="T49" fmla="*/ 62 h 62"/>
                    <a:gd name="T50" fmla="*/ 38 w 82"/>
                    <a:gd name="T51" fmla="*/ 61 h 62"/>
                    <a:gd name="T52" fmla="*/ 43 w 82"/>
                    <a:gd name="T53" fmla="*/ 62 h 62"/>
                    <a:gd name="T54" fmla="*/ 51 w 82"/>
                    <a:gd name="T55" fmla="*/ 61 h 62"/>
                    <a:gd name="T56" fmla="*/ 52 w 82"/>
                    <a:gd name="T57" fmla="*/ 56 h 62"/>
                    <a:gd name="T58" fmla="*/ 56 w 82"/>
                    <a:gd name="T59" fmla="*/ 49 h 62"/>
                    <a:gd name="T60" fmla="*/ 58 w 82"/>
                    <a:gd name="T61" fmla="*/ 49 h 62"/>
                    <a:gd name="T62" fmla="*/ 62 w 82"/>
                    <a:gd name="T63" fmla="*/ 46 h 62"/>
                    <a:gd name="T64" fmla="*/ 68 w 82"/>
                    <a:gd name="T65" fmla="*/ 44 h 62"/>
                    <a:gd name="T66" fmla="*/ 74 w 82"/>
                    <a:gd name="T67" fmla="*/ 45 h 62"/>
                    <a:gd name="T68" fmla="*/ 77 w 82"/>
                    <a:gd name="T69" fmla="*/ 46 h 62"/>
                    <a:gd name="T70" fmla="*/ 72 w 82"/>
                    <a:gd name="T71" fmla="*/ 37 h 62"/>
                    <a:gd name="T72" fmla="*/ 69 w 82"/>
                    <a:gd name="T73" fmla="*/ 35 h 62"/>
                    <a:gd name="T74" fmla="*/ 74 w 82"/>
                    <a:gd name="T75" fmla="*/ 28 h 62"/>
                    <a:gd name="T76" fmla="*/ 77 w 82"/>
                    <a:gd name="T77" fmla="*/ 16 h 62"/>
                    <a:gd name="T78" fmla="*/ 82 w 82"/>
                    <a:gd name="T79" fmla="*/ 15 h 62"/>
                    <a:gd name="T80" fmla="*/ 82 w 82"/>
                    <a:gd name="T81" fmla="*/ 7 h 62"/>
                    <a:gd name="T82" fmla="*/ 78 w 82"/>
                    <a:gd name="T83" fmla="*/ 6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82" h="62">
                      <a:moveTo>
                        <a:pt x="78" y="6"/>
                      </a:moveTo>
                      <a:lnTo>
                        <a:pt x="75" y="3"/>
                      </a:lnTo>
                      <a:lnTo>
                        <a:pt x="72" y="5"/>
                      </a:lnTo>
                      <a:lnTo>
                        <a:pt x="70" y="3"/>
                      </a:lnTo>
                      <a:lnTo>
                        <a:pt x="65" y="0"/>
                      </a:lnTo>
                      <a:lnTo>
                        <a:pt x="61" y="0"/>
                      </a:lnTo>
                      <a:lnTo>
                        <a:pt x="58" y="1"/>
                      </a:lnTo>
                      <a:lnTo>
                        <a:pt x="49" y="6"/>
                      </a:lnTo>
                      <a:lnTo>
                        <a:pt x="48" y="8"/>
                      </a:lnTo>
                      <a:lnTo>
                        <a:pt x="44" y="9"/>
                      </a:lnTo>
                      <a:lnTo>
                        <a:pt x="43" y="11"/>
                      </a:lnTo>
                      <a:lnTo>
                        <a:pt x="37" y="10"/>
                      </a:lnTo>
                      <a:lnTo>
                        <a:pt x="35" y="10"/>
                      </a:lnTo>
                      <a:lnTo>
                        <a:pt x="32" y="9"/>
                      </a:lnTo>
                      <a:lnTo>
                        <a:pt x="30" y="10"/>
                      </a:lnTo>
                      <a:lnTo>
                        <a:pt x="27" y="9"/>
                      </a:lnTo>
                      <a:lnTo>
                        <a:pt x="23" y="11"/>
                      </a:lnTo>
                      <a:lnTo>
                        <a:pt x="18" y="9"/>
                      </a:lnTo>
                      <a:lnTo>
                        <a:pt x="16" y="9"/>
                      </a:lnTo>
                      <a:lnTo>
                        <a:pt x="15" y="8"/>
                      </a:lnTo>
                      <a:lnTo>
                        <a:pt x="11" y="7"/>
                      </a:lnTo>
                      <a:lnTo>
                        <a:pt x="8" y="10"/>
                      </a:lnTo>
                      <a:lnTo>
                        <a:pt x="6" y="7"/>
                      </a:lnTo>
                      <a:lnTo>
                        <a:pt x="7" y="5"/>
                      </a:lnTo>
                      <a:lnTo>
                        <a:pt x="8" y="3"/>
                      </a:lnTo>
                      <a:lnTo>
                        <a:pt x="6" y="1"/>
                      </a:lnTo>
                      <a:lnTo>
                        <a:pt x="2" y="0"/>
                      </a:lnTo>
                      <a:lnTo>
                        <a:pt x="2" y="3"/>
                      </a:lnTo>
                      <a:lnTo>
                        <a:pt x="0" y="6"/>
                      </a:lnTo>
                      <a:lnTo>
                        <a:pt x="2" y="13"/>
                      </a:lnTo>
                      <a:lnTo>
                        <a:pt x="6" y="18"/>
                      </a:lnTo>
                      <a:lnTo>
                        <a:pt x="8" y="23"/>
                      </a:lnTo>
                      <a:lnTo>
                        <a:pt x="7" y="26"/>
                      </a:lnTo>
                      <a:lnTo>
                        <a:pt x="2" y="31"/>
                      </a:lnTo>
                      <a:lnTo>
                        <a:pt x="2" y="34"/>
                      </a:lnTo>
                      <a:lnTo>
                        <a:pt x="4" y="37"/>
                      </a:lnTo>
                      <a:lnTo>
                        <a:pt x="3" y="40"/>
                      </a:lnTo>
                      <a:lnTo>
                        <a:pt x="3" y="40"/>
                      </a:lnTo>
                      <a:lnTo>
                        <a:pt x="9" y="46"/>
                      </a:lnTo>
                      <a:lnTo>
                        <a:pt x="13" y="54"/>
                      </a:lnTo>
                      <a:lnTo>
                        <a:pt x="13" y="58"/>
                      </a:lnTo>
                      <a:lnTo>
                        <a:pt x="13" y="61"/>
                      </a:lnTo>
                      <a:lnTo>
                        <a:pt x="13" y="61"/>
                      </a:lnTo>
                      <a:lnTo>
                        <a:pt x="15" y="62"/>
                      </a:lnTo>
                      <a:lnTo>
                        <a:pt x="20" y="62"/>
                      </a:lnTo>
                      <a:lnTo>
                        <a:pt x="23" y="61"/>
                      </a:lnTo>
                      <a:lnTo>
                        <a:pt x="26" y="58"/>
                      </a:lnTo>
                      <a:lnTo>
                        <a:pt x="29" y="59"/>
                      </a:lnTo>
                      <a:lnTo>
                        <a:pt x="33" y="59"/>
                      </a:lnTo>
                      <a:lnTo>
                        <a:pt x="34" y="62"/>
                      </a:lnTo>
                      <a:lnTo>
                        <a:pt x="36" y="62"/>
                      </a:lnTo>
                      <a:lnTo>
                        <a:pt x="38" y="61"/>
                      </a:lnTo>
                      <a:lnTo>
                        <a:pt x="40" y="61"/>
                      </a:lnTo>
                      <a:lnTo>
                        <a:pt x="43" y="62"/>
                      </a:lnTo>
                      <a:lnTo>
                        <a:pt x="46" y="61"/>
                      </a:lnTo>
                      <a:lnTo>
                        <a:pt x="51" y="61"/>
                      </a:lnTo>
                      <a:lnTo>
                        <a:pt x="54" y="59"/>
                      </a:lnTo>
                      <a:lnTo>
                        <a:pt x="52" y="56"/>
                      </a:lnTo>
                      <a:lnTo>
                        <a:pt x="53" y="52"/>
                      </a:lnTo>
                      <a:lnTo>
                        <a:pt x="56" y="49"/>
                      </a:lnTo>
                      <a:lnTo>
                        <a:pt x="58" y="49"/>
                      </a:lnTo>
                      <a:lnTo>
                        <a:pt x="58" y="49"/>
                      </a:lnTo>
                      <a:lnTo>
                        <a:pt x="60" y="46"/>
                      </a:lnTo>
                      <a:lnTo>
                        <a:pt x="62" y="46"/>
                      </a:lnTo>
                      <a:lnTo>
                        <a:pt x="64" y="44"/>
                      </a:lnTo>
                      <a:lnTo>
                        <a:pt x="68" y="44"/>
                      </a:lnTo>
                      <a:lnTo>
                        <a:pt x="72" y="47"/>
                      </a:lnTo>
                      <a:lnTo>
                        <a:pt x="74" y="45"/>
                      </a:lnTo>
                      <a:lnTo>
                        <a:pt x="77" y="46"/>
                      </a:lnTo>
                      <a:lnTo>
                        <a:pt x="77" y="46"/>
                      </a:lnTo>
                      <a:lnTo>
                        <a:pt x="75" y="42"/>
                      </a:lnTo>
                      <a:lnTo>
                        <a:pt x="72" y="37"/>
                      </a:lnTo>
                      <a:lnTo>
                        <a:pt x="70" y="37"/>
                      </a:lnTo>
                      <a:lnTo>
                        <a:pt x="69" y="35"/>
                      </a:lnTo>
                      <a:lnTo>
                        <a:pt x="73" y="31"/>
                      </a:lnTo>
                      <a:lnTo>
                        <a:pt x="74" y="28"/>
                      </a:lnTo>
                      <a:lnTo>
                        <a:pt x="73" y="20"/>
                      </a:lnTo>
                      <a:lnTo>
                        <a:pt x="77" y="16"/>
                      </a:lnTo>
                      <a:lnTo>
                        <a:pt x="80" y="16"/>
                      </a:lnTo>
                      <a:lnTo>
                        <a:pt x="82" y="15"/>
                      </a:lnTo>
                      <a:lnTo>
                        <a:pt x="82" y="8"/>
                      </a:lnTo>
                      <a:lnTo>
                        <a:pt x="82" y="7"/>
                      </a:lnTo>
                      <a:lnTo>
                        <a:pt x="79" y="7"/>
                      </a:lnTo>
                      <a:lnTo>
                        <a:pt x="78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54" name="Freeform 656">
                  <a:extLst>
                    <a:ext uri="{FF2B5EF4-FFF2-40B4-BE49-F238E27FC236}">
                      <a16:creationId xmlns:a16="http://schemas.microsoft.com/office/drawing/2014/main" id="{D940FA3B-EA8F-4B89-B727-B60FC6B87A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78" y="2034"/>
                  <a:ext cx="35" cy="35"/>
                </a:xfrm>
                <a:custGeom>
                  <a:avLst/>
                  <a:gdLst>
                    <a:gd name="T0" fmla="*/ 19 w 35"/>
                    <a:gd name="T1" fmla="*/ 2 h 35"/>
                    <a:gd name="T2" fmla="*/ 16 w 35"/>
                    <a:gd name="T3" fmla="*/ 1 h 35"/>
                    <a:gd name="T4" fmla="*/ 10 w 35"/>
                    <a:gd name="T5" fmla="*/ 3 h 35"/>
                    <a:gd name="T6" fmla="*/ 8 w 35"/>
                    <a:gd name="T7" fmla="*/ 5 h 35"/>
                    <a:gd name="T8" fmla="*/ 6 w 35"/>
                    <a:gd name="T9" fmla="*/ 6 h 35"/>
                    <a:gd name="T10" fmla="*/ 2 w 35"/>
                    <a:gd name="T11" fmla="*/ 8 h 35"/>
                    <a:gd name="T12" fmla="*/ 3 w 35"/>
                    <a:gd name="T13" fmla="*/ 11 h 35"/>
                    <a:gd name="T14" fmla="*/ 1 w 35"/>
                    <a:gd name="T15" fmla="*/ 12 h 35"/>
                    <a:gd name="T16" fmla="*/ 1 w 35"/>
                    <a:gd name="T17" fmla="*/ 12 h 35"/>
                    <a:gd name="T18" fmla="*/ 0 w 35"/>
                    <a:gd name="T19" fmla="*/ 18 h 35"/>
                    <a:gd name="T20" fmla="*/ 1 w 35"/>
                    <a:gd name="T21" fmla="*/ 24 h 35"/>
                    <a:gd name="T22" fmla="*/ 4 w 35"/>
                    <a:gd name="T23" fmla="*/ 28 h 35"/>
                    <a:gd name="T24" fmla="*/ 5 w 35"/>
                    <a:gd name="T25" fmla="*/ 32 h 35"/>
                    <a:gd name="T26" fmla="*/ 8 w 35"/>
                    <a:gd name="T27" fmla="*/ 35 h 35"/>
                    <a:gd name="T28" fmla="*/ 8 w 35"/>
                    <a:gd name="T29" fmla="*/ 35 h 35"/>
                    <a:gd name="T30" fmla="*/ 14 w 35"/>
                    <a:gd name="T31" fmla="*/ 31 h 35"/>
                    <a:gd name="T32" fmla="*/ 17 w 35"/>
                    <a:gd name="T33" fmla="*/ 29 h 35"/>
                    <a:gd name="T34" fmla="*/ 18 w 35"/>
                    <a:gd name="T35" fmla="*/ 28 h 35"/>
                    <a:gd name="T36" fmla="*/ 21 w 35"/>
                    <a:gd name="T37" fmla="*/ 25 h 35"/>
                    <a:gd name="T38" fmla="*/ 28 w 35"/>
                    <a:gd name="T39" fmla="*/ 26 h 35"/>
                    <a:gd name="T40" fmla="*/ 31 w 35"/>
                    <a:gd name="T41" fmla="*/ 24 h 35"/>
                    <a:gd name="T42" fmla="*/ 34 w 35"/>
                    <a:gd name="T43" fmla="*/ 23 h 35"/>
                    <a:gd name="T44" fmla="*/ 35 w 35"/>
                    <a:gd name="T45" fmla="*/ 21 h 35"/>
                    <a:gd name="T46" fmla="*/ 35 w 35"/>
                    <a:gd name="T47" fmla="*/ 18 h 35"/>
                    <a:gd name="T48" fmla="*/ 35 w 35"/>
                    <a:gd name="T49" fmla="*/ 14 h 35"/>
                    <a:gd name="T50" fmla="*/ 31 w 35"/>
                    <a:gd name="T51" fmla="*/ 6 h 35"/>
                    <a:gd name="T52" fmla="*/ 25 w 35"/>
                    <a:gd name="T53" fmla="*/ 0 h 35"/>
                    <a:gd name="T54" fmla="*/ 23 w 35"/>
                    <a:gd name="T55" fmla="*/ 0 h 35"/>
                    <a:gd name="T56" fmla="*/ 19 w 35"/>
                    <a:gd name="T57" fmla="*/ 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9" y="2"/>
                      </a:moveTo>
                      <a:lnTo>
                        <a:pt x="16" y="1"/>
                      </a:lnTo>
                      <a:lnTo>
                        <a:pt x="10" y="3"/>
                      </a:lnTo>
                      <a:lnTo>
                        <a:pt x="8" y="5"/>
                      </a:lnTo>
                      <a:lnTo>
                        <a:pt x="6" y="6"/>
                      </a:lnTo>
                      <a:lnTo>
                        <a:pt x="2" y="8"/>
                      </a:lnTo>
                      <a:lnTo>
                        <a:pt x="3" y="11"/>
                      </a:lnTo>
                      <a:lnTo>
                        <a:pt x="1" y="12"/>
                      </a:lnTo>
                      <a:lnTo>
                        <a:pt x="1" y="12"/>
                      </a:lnTo>
                      <a:lnTo>
                        <a:pt x="0" y="18"/>
                      </a:lnTo>
                      <a:lnTo>
                        <a:pt x="1" y="24"/>
                      </a:lnTo>
                      <a:lnTo>
                        <a:pt x="4" y="28"/>
                      </a:lnTo>
                      <a:lnTo>
                        <a:pt x="5" y="32"/>
                      </a:lnTo>
                      <a:lnTo>
                        <a:pt x="8" y="35"/>
                      </a:lnTo>
                      <a:lnTo>
                        <a:pt x="8" y="35"/>
                      </a:lnTo>
                      <a:lnTo>
                        <a:pt x="14" y="31"/>
                      </a:lnTo>
                      <a:lnTo>
                        <a:pt x="17" y="29"/>
                      </a:lnTo>
                      <a:lnTo>
                        <a:pt x="18" y="28"/>
                      </a:lnTo>
                      <a:lnTo>
                        <a:pt x="21" y="25"/>
                      </a:lnTo>
                      <a:lnTo>
                        <a:pt x="28" y="26"/>
                      </a:lnTo>
                      <a:lnTo>
                        <a:pt x="31" y="24"/>
                      </a:lnTo>
                      <a:lnTo>
                        <a:pt x="34" y="23"/>
                      </a:lnTo>
                      <a:lnTo>
                        <a:pt x="35" y="21"/>
                      </a:lnTo>
                      <a:lnTo>
                        <a:pt x="35" y="18"/>
                      </a:lnTo>
                      <a:lnTo>
                        <a:pt x="35" y="14"/>
                      </a:lnTo>
                      <a:lnTo>
                        <a:pt x="31" y="6"/>
                      </a:lnTo>
                      <a:lnTo>
                        <a:pt x="25" y="0"/>
                      </a:lnTo>
                      <a:lnTo>
                        <a:pt x="23" y="0"/>
                      </a:lnTo>
                      <a:lnTo>
                        <a:pt x="19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55" name="Freeform 657">
                  <a:extLst>
                    <a:ext uri="{FF2B5EF4-FFF2-40B4-BE49-F238E27FC236}">
                      <a16:creationId xmlns:a16="http://schemas.microsoft.com/office/drawing/2014/main" id="{FC88480A-F4FB-4606-AE8C-C90BA0B26C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0" y="2029"/>
                  <a:ext cx="26" cy="62"/>
                </a:xfrm>
                <a:custGeom>
                  <a:avLst/>
                  <a:gdLst>
                    <a:gd name="T0" fmla="*/ 18 w 26"/>
                    <a:gd name="T1" fmla="*/ 56 h 62"/>
                    <a:gd name="T2" fmla="*/ 18 w 26"/>
                    <a:gd name="T3" fmla="*/ 52 h 62"/>
                    <a:gd name="T4" fmla="*/ 23 w 26"/>
                    <a:gd name="T5" fmla="*/ 50 h 62"/>
                    <a:gd name="T6" fmla="*/ 25 w 26"/>
                    <a:gd name="T7" fmla="*/ 44 h 62"/>
                    <a:gd name="T8" fmla="*/ 26 w 26"/>
                    <a:gd name="T9" fmla="*/ 40 h 62"/>
                    <a:gd name="T10" fmla="*/ 23 w 26"/>
                    <a:gd name="T11" fmla="*/ 37 h 62"/>
                    <a:gd name="T12" fmla="*/ 22 w 26"/>
                    <a:gd name="T13" fmla="*/ 33 h 62"/>
                    <a:gd name="T14" fmla="*/ 19 w 26"/>
                    <a:gd name="T15" fmla="*/ 29 h 62"/>
                    <a:gd name="T16" fmla="*/ 18 w 26"/>
                    <a:gd name="T17" fmla="*/ 23 h 62"/>
                    <a:gd name="T18" fmla="*/ 19 w 26"/>
                    <a:gd name="T19" fmla="*/ 17 h 62"/>
                    <a:gd name="T20" fmla="*/ 18 w 26"/>
                    <a:gd name="T21" fmla="*/ 16 h 62"/>
                    <a:gd name="T22" fmla="*/ 18 w 26"/>
                    <a:gd name="T23" fmla="*/ 10 h 62"/>
                    <a:gd name="T24" fmla="*/ 18 w 26"/>
                    <a:gd name="T25" fmla="*/ 8 h 62"/>
                    <a:gd name="T26" fmla="*/ 15 w 26"/>
                    <a:gd name="T27" fmla="*/ 5 h 62"/>
                    <a:gd name="T28" fmla="*/ 14 w 26"/>
                    <a:gd name="T29" fmla="*/ 5 h 62"/>
                    <a:gd name="T30" fmla="*/ 11 w 26"/>
                    <a:gd name="T31" fmla="*/ 1 h 62"/>
                    <a:gd name="T32" fmla="*/ 11 w 26"/>
                    <a:gd name="T33" fmla="*/ 0 h 62"/>
                    <a:gd name="T34" fmla="*/ 11 w 26"/>
                    <a:gd name="T35" fmla="*/ 0 h 62"/>
                    <a:gd name="T36" fmla="*/ 8 w 26"/>
                    <a:gd name="T37" fmla="*/ 4 h 62"/>
                    <a:gd name="T38" fmla="*/ 6 w 26"/>
                    <a:gd name="T39" fmla="*/ 1 h 62"/>
                    <a:gd name="T40" fmla="*/ 5 w 26"/>
                    <a:gd name="T41" fmla="*/ 1 h 62"/>
                    <a:gd name="T42" fmla="*/ 2 w 26"/>
                    <a:gd name="T43" fmla="*/ 5 h 62"/>
                    <a:gd name="T44" fmla="*/ 1 w 26"/>
                    <a:gd name="T45" fmla="*/ 10 h 62"/>
                    <a:gd name="T46" fmla="*/ 0 w 26"/>
                    <a:gd name="T47" fmla="*/ 16 h 62"/>
                    <a:gd name="T48" fmla="*/ 4 w 26"/>
                    <a:gd name="T49" fmla="*/ 19 h 62"/>
                    <a:gd name="T50" fmla="*/ 4 w 26"/>
                    <a:gd name="T51" fmla="*/ 21 h 62"/>
                    <a:gd name="T52" fmla="*/ 2 w 26"/>
                    <a:gd name="T53" fmla="*/ 22 h 62"/>
                    <a:gd name="T54" fmla="*/ 1 w 26"/>
                    <a:gd name="T55" fmla="*/ 30 h 62"/>
                    <a:gd name="T56" fmla="*/ 3 w 26"/>
                    <a:gd name="T57" fmla="*/ 35 h 62"/>
                    <a:gd name="T58" fmla="*/ 1 w 26"/>
                    <a:gd name="T59" fmla="*/ 38 h 62"/>
                    <a:gd name="T60" fmla="*/ 1 w 26"/>
                    <a:gd name="T61" fmla="*/ 43 h 62"/>
                    <a:gd name="T62" fmla="*/ 3 w 26"/>
                    <a:gd name="T63" fmla="*/ 46 h 62"/>
                    <a:gd name="T64" fmla="*/ 2 w 26"/>
                    <a:gd name="T65" fmla="*/ 50 h 62"/>
                    <a:gd name="T66" fmla="*/ 4 w 26"/>
                    <a:gd name="T67" fmla="*/ 51 h 62"/>
                    <a:gd name="T68" fmla="*/ 8 w 26"/>
                    <a:gd name="T69" fmla="*/ 52 h 62"/>
                    <a:gd name="T70" fmla="*/ 11 w 26"/>
                    <a:gd name="T71" fmla="*/ 60 h 62"/>
                    <a:gd name="T72" fmla="*/ 14 w 26"/>
                    <a:gd name="T73" fmla="*/ 62 h 62"/>
                    <a:gd name="T74" fmla="*/ 15 w 26"/>
                    <a:gd name="T75" fmla="*/ 61 h 62"/>
                    <a:gd name="T76" fmla="*/ 18 w 26"/>
                    <a:gd name="T77" fmla="*/ 56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26" h="62">
                      <a:moveTo>
                        <a:pt x="18" y="56"/>
                      </a:moveTo>
                      <a:lnTo>
                        <a:pt x="18" y="52"/>
                      </a:lnTo>
                      <a:lnTo>
                        <a:pt x="23" y="50"/>
                      </a:lnTo>
                      <a:lnTo>
                        <a:pt x="25" y="44"/>
                      </a:lnTo>
                      <a:lnTo>
                        <a:pt x="26" y="40"/>
                      </a:lnTo>
                      <a:lnTo>
                        <a:pt x="23" y="37"/>
                      </a:lnTo>
                      <a:lnTo>
                        <a:pt x="22" y="33"/>
                      </a:lnTo>
                      <a:lnTo>
                        <a:pt x="19" y="29"/>
                      </a:lnTo>
                      <a:lnTo>
                        <a:pt x="18" y="23"/>
                      </a:lnTo>
                      <a:lnTo>
                        <a:pt x="19" y="17"/>
                      </a:lnTo>
                      <a:lnTo>
                        <a:pt x="18" y="16"/>
                      </a:lnTo>
                      <a:lnTo>
                        <a:pt x="18" y="10"/>
                      </a:lnTo>
                      <a:lnTo>
                        <a:pt x="18" y="8"/>
                      </a:lnTo>
                      <a:lnTo>
                        <a:pt x="15" y="5"/>
                      </a:lnTo>
                      <a:lnTo>
                        <a:pt x="14" y="5"/>
                      </a:lnTo>
                      <a:lnTo>
                        <a:pt x="11" y="1"/>
                      </a:ln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8" y="4"/>
                      </a:lnTo>
                      <a:lnTo>
                        <a:pt x="6" y="1"/>
                      </a:lnTo>
                      <a:lnTo>
                        <a:pt x="5" y="1"/>
                      </a:lnTo>
                      <a:lnTo>
                        <a:pt x="2" y="5"/>
                      </a:lnTo>
                      <a:lnTo>
                        <a:pt x="1" y="10"/>
                      </a:lnTo>
                      <a:lnTo>
                        <a:pt x="0" y="16"/>
                      </a:lnTo>
                      <a:lnTo>
                        <a:pt x="4" y="19"/>
                      </a:lnTo>
                      <a:lnTo>
                        <a:pt x="4" y="21"/>
                      </a:lnTo>
                      <a:lnTo>
                        <a:pt x="2" y="22"/>
                      </a:lnTo>
                      <a:lnTo>
                        <a:pt x="1" y="30"/>
                      </a:lnTo>
                      <a:lnTo>
                        <a:pt x="3" y="35"/>
                      </a:lnTo>
                      <a:lnTo>
                        <a:pt x="1" y="38"/>
                      </a:lnTo>
                      <a:lnTo>
                        <a:pt x="1" y="43"/>
                      </a:lnTo>
                      <a:lnTo>
                        <a:pt x="3" y="46"/>
                      </a:lnTo>
                      <a:lnTo>
                        <a:pt x="2" y="50"/>
                      </a:lnTo>
                      <a:lnTo>
                        <a:pt x="4" y="51"/>
                      </a:lnTo>
                      <a:lnTo>
                        <a:pt x="8" y="52"/>
                      </a:lnTo>
                      <a:lnTo>
                        <a:pt x="11" y="60"/>
                      </a:lnTo>
                      <a:lnTo>
                        <a:pt x="14" y="62"/>
                      </a:lnTo>
                      <a:lnTo>
                        <a:pt x="15" y="61"/>
                      </a:lnTo>
                      <a:lnTo>
                        <a:pt x="18" y="5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56" name="Freeform 658">
                  <a:extLst>
                    <a:ext uri="{FF2B5EF4-FFF2-40B4-BE49-F238E27FC236}">
                      <a16:creationId xmlns:a16="http://schemas.microsoft.com/office/drawing/2014/main" id="{4F628E29-1BC7-4063-A367-F883F94610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0" y="1955"/>
                  <a:ext cx="58" cy="91"/>
                </a:xfrm>
                <a:custGeom>
                  <a:avLst/>
                  <a:gdLst>
                    <a:gd name="T0" fmla="*/ 12 w 58"/>
                    <a:gd name="T1" fmla="*/ 0 h 91"/>
                    <a:gd name="T2" fmla="*/ 8 w 58"/>
                    <a:gd name="T3" fmla="*/ 5 h 91"/>
                    <a:gd name="T4" fmla="*/ 2 w 58"/>
                    <a:gd name="T5" fmla="*/ 7 h 91"/>
                    <a:gd name="T6" fmla="*/ 0 w 58"/>
                    <a:gd name="T7" fmla="*/ 10 h 91"/>
                    <a:gd name="T8" fmla="*/ 4 w 58"/>
                    <a:gd name="T9" fmla="*/ 19 h 91"/>
                    <a:gd name="T10" fmla="*/ 7 w 58"/>
                    <a:gd name="T11" fmla="*/ 21 h 91"/>
                    <a:gd name="T12" fmla="*/ 6 w 58"/>
                    <a:gd name="T13" fmla="*/ 22 h 91"/>
                    <a:gd name="T14" fmla="*/ 4 w 58"/>
                    <a:gd name="T15" fmla="*/ 26 h 91"/>
                    <a:gd name="T16" fmla="*/ 6 w 58"/>
                    <a:gd name="T17" fmla="*/ 27 h 91"/>
                    <a:gd name="T18" fmla="*/ 7 w 58"/>
                    <a:gd name="T19" fmla="*/ 31 h 91"/>
                    <a:gd name="T20" fmla="*/ 4 w 58"/>
                    <a:gd name="T21" fmla="*/ 38 h 91"/>
                    <a:gd name="T22" fmla="*/ 11 w 58"/>
                    <a:gd name="T23" fmla="*/ 42 h 91"/>
                    <a:gd name="T24" fmla="*/ 11 w 58"/>
                    <a:gd name="T25" fmla="*/ 46 h 91"/>
                    <a:gd name="T26" fmla="*/ 7 w 58"/>
                    <a:gd name="T27" fmla="*/ 46 h 91"/>
                    <a:gd name="T28" fmla="*/ 11 w 58"/>
                    <a:gd name="T29" fmla="*/ 54 h 91"/>
                    <a:gd name="T30" fmla="*/ 12 w 58"/>
                    <a:gd name="T31" fmla="*/ 59 h 91"/>
                    <a:gd name="T32" fmla="*/ 14 w 58"/>
                    <a:gd name="T33" fmla="*/ 63 h 91"/>
                    <a:gd name="T34" fmla="*/ 19 w 58"/>
                    <a:gd name="T35" fmla="*/ 66 h 91"/>
                    <a:gd name="T36" fmla="*/ 23 w 58"/>
                    <a:gd name="T37" fmla="*/ 70 h 91"/>
                    <a:gd name="T38" fmla="*/ 21 w 58"/>
                    <a:gd name="T39" fmla="*/ 74 h 91"/>
                    <a:gd name="T40" fmla="*/ 24 w 58"/>
                    <a:gd name="T41" fmla="*/ 79 h 91"/>
                    <a:gd name="T42" fmla="*/ 28 w 58"/>
                    <a:gd name="T43" fmla="*/ 82 h 91"/>
                    <a:gd name="T44" fmla="*/ 28 w 58"/>
                    <a:gd name="T45" fmla="*/ 90 h 91"/>
                    <a:gd name="T46" fmla="*/ 31 w 58"/>
                    <a:gd name="T47" fmla="*/ 90 h 91"/>
                    <a:gd name="T48" fmla="*/ 34 w 58"/>
                    <a:gd name="T49" fmla="*/ 85 h 91"/>
                    <a:gd name="T50" fmla="*/ 38 w 58"/>
                    <a:gd name="T51" fmla="*/ 82 h 91"/>
                    <a:gd name="T52" fmla="*/ 47 w 58"/>
                    <a:gd name="T53" fmla="*/ 81 h 91"/>
                    <a:gd name="T54" fmla="*/ 53 w 58"/>
                    <a:gd name="T55" fmla="*/ 79 h 91"/>
                    <a:gd name="T56" fmla="*/ 54 w 58"/>
                    <a:gd name="T57" fmla="*/ 76 h 91"/>
                    <a:gd name="T58" fmla="*/ 52 w 58"/>
                    <a:gd name="T59" fmla="*/ 70 h 91"/>
                    <a:gd name="T60" fmla="*/ 58 w 58"/>
                    <a:gd name="T61" fmla="*/ 62 h 91"/>
                    <a:gd name="T62" fmla="*/ 52 w 58"/>
                    <a:gd name="T63" fmla="*/ 52 h 91"/>
                    <a:gd name="T64" fmla="*/ 52 w 58"/>
                    <a:gd name="T65" fmla="*/ 42 h 91"/>
                    <a:gd name="T66" fmla="*/ 51 w 58"/>
                    <a:gd name="T67" fmla="*/ 36 h 91"/>
                    <a:gd name="T68" fmla="*/ 53 w 58"/>
                    <a:gd name="T69" fmla="*/ 30 h 91"/>
                    <a:gd name="T70" fmla="*/ 45 w 58"/>
                    <a:gd name="T71" fmla="*/ 32 h 91"/>
                    <a:gd name="T72" fmla="*/ 41 w 58"/>
                    <a:gd name="T73" fmla="*/ 31 h 91"/>
                    <a:gd name="T74" fmla="*/ 35 w 58"/>
                    <a:gd name="T75" fmla="*/ 27 h 91"/>
                    <a:gd name="T76" fmla="*/ 35 w 58"/>
                    <a:gd name="T77" fmla="*/ 21 h 91"/>
                    <a:gd name="T78" fmla="*/ 28 w 58"/>
                    <a:gd name="T79" fmla="*/ 15 h 91"/>
                    <a:gd name="T80" fmla="*/ 23 w 58"/>
                    <a:gd name="T81" fmla="*/ 6 h 91"/>
                    <a:gd name="T82" fmla="*/ 19 w 58"/>
                    <a:gd name="T83" fmla="*/ 3 h 91"/>
                    <a:gd name="T84" fmla="*/ 14 w 58"/>
                    <a:gd name="T85" fmla="*/ 1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58" h="91">
                      <a:moveTo>
                        <a:pt x="14" y="1"/>
                      </a:moveTo>
                      <a:lnTo>
                        <a:pt x="12" y="0"/>
                      </a:lnTo>
                      <a:lnTo>
                        <a:pt x="9" y="4"/>
                      </a:lnTo>
                      <a:lnTo>
                        <a:pt x="8" y="5"/>
                      </a:lnTo>
                      <a:lnTo>
                        <a:pt x="6" y="4"/>
                      </a:lnTo>
                      <a:lnTo>
                        <a:pt x="2" y="7"/>
                      </a:lnTo>
                      <a:lnTo>
                        <a:pt x="0" y="9"/>
                      </a:lnTo>
                      <a:lnTo>
                        <a:pt x="0" y="10"/>
                      </a:lnTo>
                      <a:lnTo>
                        <a:pt x="3" y="14"/>
                      </a:lnTo>
                      <a:lnTo>
                        <a:pt x="4" y="19"/>
                      </a:lnTo>
                      <a:lnTo>
                        <a:pt x="4" y="21"/>
                      </a:lnTo>
                      <a:lnTo>
                        <a:pt x="7" y="21"/>
                      </a:lnTo>
                      <a:lnTo>
                        <a:pt x="7" y="22"/>
                      </a:lnTo>
                      <a:lnTo>
                        <a:pt x="6" y="22"/>
                      </a:lnTo>
                      <a:lnTo>
                        <a:pt x="4" y="24"/>
                      </a:lnTo>
                      <a:lnTo>
                        <a:pt x="4" y="26"/>
                      </a:lnTo>
                      <a:lnTo>
                        <a:pt x="4" y="28"/>
                      </a:lnTo>
                      <a:lnTo>
                        <a:pt x="6" y="27"/>
                      </a:lnTo>
                      <a:lnTo>
                        <a:pt x="7" y="27"/>
                      </a:lnTo>
                      <a:lnTo>
                        <a:pt x="7" y="31"/>
                      </a:lnTo>
                      <a:lnTo>
                        <a:pt x="4" y="36"/>
                      </a:lnTo>
                      <a:lnTo>
                        <a:pt x="4" y="38"/>
                      </a:lnTo>
                      <a:lnTo>
                        <a:pt x="8" y="42"/>
                      </a:lnTo>
                      <a:lnTo>
                        <a:pt x="11" y="42"/>
                      </a:lnTo>
                      <a:lnTo>
                        <a:pt x="12" y="45"/>
                      </a:lnTo>
                      <a:lnTo>
                        <a:pt x="11" y="46"/>
                      </a:lnTo>
                      <a:lnTo>
                        <a:pt x="8" y="45"/>
                      </a:lnTo>
                      <a:lnTo>
                        <a:pt x="7" y="46"/>
                      </a:lnTo>
                      <a:lnTo>
                        <a:pt x="7" y="50"/>
                      </a:lnTo>
                      <a:lnTo>
                        <a:pt x="11" y="54"/>
                      </a:lnTo>
                      <a:lnTo>
                        <a:pt x="10" y="55"/>
                      </a:lnTo>
                      <a:lnTo>
                        <a:pt x="12" y="59"/>
                      </a:lnTo>
                      <a:lnTo>
                        <a:pt x="12" y="62"/>
                      </a:lnTo>
                      <a:lnTo>
                        <a:pt x="14" y="63"/>
                      </a:lnTo>
                      <a:lnTo>
                        <a:pt x="17" y="63"/>
                      </a:lnTo>
                      <a:lnTo>
                        <a:pt x="19" y="66"/>
                      </a:lnTo>
                      <a:lnTo>
                        <a:pt x="23" y="66"/>
                      </a:lnTo>
                      <a:lnTo>
                        <a:pt x="23" y="70"/>
                      </a:lnTo>
                      <a:lnTo>
                        <a:pt x="21" y="73"/>
                      </a:lnTo>
                      <a:lnTo>
                        <a:pt x="21" y="74"/>
                      </a:lnTo>
                      <a:lnTo>
                        <a:pt x="21" y="75"/>
                      </a:lnTo>
                      <a:lnTo>
                        <a:pt x="24" y="79"/>
                      </a:lnTo>
                      <a:lnTo>
                        <a:pt x="25" y="79"/>
                      </a:lnTo>
                      <a:lnTo>
                        <a:pt x="28" y="82"/>
                      </a:lnTo>
                      <a:lnTo>
                        <a:pt x="28" y="84"/>
                      </a:lnTo>
                      <a:lnTo>
                        <a:pt x="28" y="90"/>
                      </a:lnTo>
                      <a:lnTo>
                        <a:pt x="29" y="91"/>
                      </a:lnTo>
                      <a:lnTo>
                        <a:pt x="31" y="90"/>
                      </a:lnTo>
                      <a:lnTo>
                        <a:pt x="30" y="87"/>
                      </a:lnTo>
                      <a:lnTo>
                        <a:pt x="34" y="85"/>
                      </a:lnTo>
                      <a:lnTo>
                        <a:pt x="36" y="84"/>
                      </a:lnTo>
                      <a:lnTo>
                        <a:pt x="38" y="82"/>
                      </a:lnTo>
                      <a:lnTo>
                        <a:pt x="44" y="80"/>
                      </a:lnTo>
                      <a:lnTo>
                        <a:pt x="47" y="81"/>
                      </a:lnTo>
                      <a:lnTo>
                        <a:pt x="51" y="79"/>
                      </a:lnTo>
                      <a:lnTo>
                        <a:pt x="53" y="79"/>
                      </a:lnTo>
                      <a:lnTo>
                        <a:pt x="53" y="79"/>
                      </a:lnTo>
                      <a:lnTo>
                        <a:pt x="54" y="76"/>
                      </a:lnTo>
                      <a:lnTo>
                        <a:pt x="52" y="73"/>
                      </a:lnTo>
                      <a:lnTo>
                        <a:pt x="52" y="70"/>
                      </a:lnTo>
                      <a:lnTo>
                        <a:pt x="57" y="65"/>
                      </a:lnTo>
                      <a:lnTo>
                        <a:pt x="58" y="62"/>
                      </a:lnTo>
                      <a:lnTo>
                        <a:pt x="56" y="57"/>
                      </a:lnTo>
                      <a:lnTo>
                        <a:pt x="52" y="52"/>
                      </a:lnTo>
                      <a:lnTo>
                        <a:pt x="50" y="45"/>
                      </a:lnTo>
                      <a:lnTo>
                        <a:pt x="52" y="42"/>
                      </a:lnTo>
                      <a:lnTo>
                        <a:pt x="52" y="39"/>
                      </a:lnTo>
                      <a:lnTo>
                        <a:pt x="51" y="36"/>
                      </a:lnTo>
                      <a:lnTo>
                        <a:pt x="51" y="33"/>
                      </a:lnTo>
                      <a:lnTo>
                        <a:pt x="53" y="30"/>
                      </a:lnTo>
                      <a:lnTo>
                        <a:pt x="48" y="29"/>
                      </a:lnTo>
                      <a:lnTo>
                        <a:pt x="45" y="32"/>
                      </a:lnTo>
                      <a:lnTo>
                        <a:pt x="43" y="30"/>
                      </a:lnTo>
                      <a:lnTo>
                        <a:pt x="41" y="31"/>
                      </a:lnTo>
                      <a:lnTo>
                        <a:pt x="39" y="29"/>
                      </a:lnTo>
                      <a:lnTo>
                        <a:pt x="35" y="27"/>
                      </a:lnTo>
                      <a:lnTo>
                        <a:pt x="34" y="25"/>
                      </a:lnTo>
                      <a:lnTo>
                        <a:pt x="35" y="21"/>
                      </a:lnTo>
                      <a:lnTo>
                        <a:pt x="32" y="17"/>
                      </a:lnTo>
                      <a:lnTo>
                        <a:pt x="28" y="15"/>
                      </a:lnTo>
                      <a:lnTo>
                        <a:pt x="28" y="12"/>
                      </a:lnTo>
                      <a:lnTo>
                        <a:pt x="23" y="6"/>
                      </a:lnTo>
                      <a:lnTo>
                        <a:pt x="22" y="4"/>
                      </a:lnTo>
                      <a:lnTo>
                        <a:pt x="19" y="3"/>
                      </a:lnTo>
                      <a:lnTo>
                        <a:pt x="18" y="2"/>
                      </a:lnTo>
                      <a:lnTo>
                        <a:pt x="14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57" name="Freeform 659">
                  <a:extLst>
                    <a:ext uri="{FF2B5EF4-FFF2-40B4-BE49-F238E27FC236}">
                      <a16:creationId xmlns:a16="http://schemas.microsoft.com/office/drawing/2014/main" id="{74A41D40-D220-43FD-8501-2B09A71115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47" y="2007"/>
                  <a:ext cx="26" cy="38"/>
                </a:xfrm>
                <a:custGeom>
                  <a:avLst/>
                  <a:gdLst>
                    <a:gd name="T0" fmla="*/ 15 w 26"/>
                    <a:gd name="T1" fmla="*/ 27 h 38"/>
                    <a:gd name="T2" fmla="*/ 18 w 26"/>
                    <a:gd name="T3" fmla="*/ 23 h 38"/>
                    <a:gd name="T4" fmla="*/ 19 w 26"/>
                    <a:gd name="T5" fmla="*/ 23 h 38"/>
                    <a:gd name="T6" fmla="*/ 21 w 26"/>
                    <a:gd name="T7" fmla="*/ 26 h 38"/>
                    <a:gd name="T8" fmla="*/ 24 w 26"/>
                    <a:gd name="T9" fmla="*/ 22 h 38"/>
                    <a:gd name="T10" fmla="*/ 24 w 26"/>
                    <a:gd name="T11" fmla="*/ 21 h 38"/>
                    <a:gd name="T12" fmla="*/ 26 w 26"/>
                    <a:gd name="T13" fmla="*/ 18 h 38"/>
                    <a:gd name="T14" fmla="*/ 26 w 26"/>
                    <a:gd name="T15" fmla="*/ 14 h 38"/>
                    <a:gd name="T16" fmla="*/ 22 w 26"/>
                    <a:gd name="T17" fmla="*/ 14 h 38"/>
                    <a:gd name="T18" fmla="*/ 20 w 26"/>
                    <a:gd name="T19" fmla="*/ 11 h 38"/>
                    <a:gd name="T20" fmla="*/ 17 w 26"/>
                    <a:gd name="T21" fmla="*/ 11 h 38"/>
                    <a:gd name="T22" fmla="*/ 15 w 26"/>
                    <a:gd name="T23" fmla="*/ 10 h 38"/>
                    <a:gd name="T24" fmla="*/ 15 w 26"/>
                    <a:gd name="T25" fmla="*/ 7 h 38"/>
                    <a:gd name="T26" fmla="*/ 13 w 26"/>
                    <a:gd name="T27" fmla="*/ 3 h 38"/>
                    <a:gd name="T28" fmla="*/ 12 w 26"/>
                    <a:gd name="T29" fmla="*/ 3 h 38"/>
                    <a:gd name="T30" fmla="*/ 10 w 26"/>
                    <a:gd name="T31" fmla="*/ 3 h 38"/>
                    <a:gd name="T32" fmla="*/ 7 w 26"/>
                    <a:gd name="T33" fmla="*/ 0 h 38"/>
                    <a:gd name="T34" fmla="*/ 5 w 26"/>
                    <a:gd name="T35" fmla="*/ 2 h 38"/>
                    <a:gd name="T36" fmla="*/ 5 w 26"/>
                    <a:gd name="T37" fmla="*/ 4 h 38"/>
                    <a:gd name="T38" fmla="*/ 8 w 26"/>
                    <a:gd name="T39" fmla="*/ 7 h 38"/>
                    <a:gd name="T40" fmla="*/ 9 w 26"/>
                    <a:gd name="T41" fmla="*/ 9 h 38"/>
                    <a:gd name="T42" fmla="*/ 7 w 26"/>
                    <a:gd name="T43" fmla="*/ 10 h 38"/>
                    <a:gd name="T44" fmla="*/ 4 w 26"/>
                    <a:gd name="T45" fmla="*/ 10 h 38"/>
                    <a:gd name="T46" fmla="*/ 3 w 26"/>
                    <a:gd name="T47" fmla="*/ 14 h 38"/>
                    <a:gd name="T48" fmla="*/ 3 w 26"/>
                    <a:gd name="T49" fmla="*/ 18 h 38"/>
                    <a:gd name="T50" fmla="*/ 2 w 26"/>
                    <a:gd name="T51" fmla="*/ 22 h 38"/>
                    <a:gd name="T52" fmla="*/ 0 w 26"/>
                    <a:gd name="T53" fmla="*/ 23 h 38"/>
                    <a:gd name="T54" fmla="*/ 1 w 26"/>
                    <a:gd name="T55" fmla="*/ 24 h 38"/>
                    <a:gd name="T56" fmla="*/ 4 w 26"/>
                    <a:gd name="T57" fmla="*/ 26 h 38"/>
                    <a:gd name="T58" fmla="*/ 10 w 26"/>
                    <a:gd name="T59" fmla="*/ 34 h 38"/>
                    <a:gd name="T60" fmla="*/ 10 w 26"/>
                    <a:gd name="T61" fmla="*/ 36 h 38"/>
                    <a:gd name="T62" fmla="*/ 13 w 26"/>
                    <a:gd name="T63" fmla="*/ 38 h 38"/>
                    <a:gd name="T64" fmla="*/ 14 w 26"/>
                    <a:gd name="T65" fmla="*/ 32 h 38"/>
                    <a:gd name="T66" fmla="*/ 15 w 26"/>
                    <a:gd name="T67" fmla="*/ 27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6" h="38">
                      <a:moveTo>
                        <a:pt x="15" y="27"/>
                      </a:moveTo>
                      <a:lnTo>
                        <a:pt x="18" y="23"/>
                      </a:lnTo>
                      <a:lnTo>
                        <a:pt x="19" y="23"/>
                      </a:lnTo>
                      <a:lnTo>
                        <a:pt x="21" y="26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6" y="18"/>
                      </a:lnTo>
                      <a:lnTo>
                        <a:pt x="26" y="14"/>
                      </a:lnTo>
                      <a:lnTo>
                        <a:pt x="22" y="14"/>
                      </a:lnTo>
                      <a:lnTo>
                        <a:pt x="20" y="11"/>
                      </a:lnTo>
                      <a:lnTo>
                        <a:pt x="17" y="11"/>
                      </a:lnTo>
                      <a:lnTo>
                        <a:pt x="15" y="10"/>
                      </a:lnTo>
                      <a:lnTo>
                        <a:pt x="15" y="7"/>
                      </a:lnTo>
                      <a:lnTo>
                        <a:pt x="13" y="3"/>
                      </a:lnTo>
                      <a:lnTo>
                        <a:pt x="12" y="3"/>
                      </a:lnTo>
                      <a:lnTo>
                        <a:pt x="10" y="3"/>
                      </a:lnTo>
                      <a:lnTo>
                        <a:pt x="7" y="0"/>
                      </a:lnTo>
                      <a:lnTo>
                        <a:pt x="5" y="2"/>
                      </a:lnTo>
                      <a:lnTo>
                        <a:pt x="5" y="4"/>
                      </a:lnTo>
                      <a:lnTo>
                        <a:pt x="8" y="7"/>
                      </a:lnTo>
                      <a:lnTo>
                        <a:pt x="9" y="9"/>
                      </a:lnTo>
                      <a:lnTo>
                        <a:pt x="7" y="10"/>
                      </a:lnTo>
                      <a:lnTo>
                        <a:pt x="4" y="10"/>
                      </a:lnTo>
                      <a:lnTo>
                        <a:pt x="3" y="14"/>
                      </a:lnTo>
                      <a:lnTo>
                        <a:pt x="3" y="18"/>
                      </a:lnTo>
                      <a:lnTo>
                        <a:pt x="2" y="22"/>
                      </a:lnTo>
                      <a:lnTo>
                        <a:pt x="0" y="23"/>
                      </a:lnTo>
                      <a:lnTo>
                        <a:pt x="1" y="24"/>
                      </a:lnTo>
                      <a:lnTo>
                        <a:pt x="4" y="26"/>
                      </a:lnTo>
                      <a:lnTo>
                        <a:pt x="10" y="34"/>
                      </a:lnTo>
                      <a:lnTo>
                        <a:pt x="10" y="36"/>
                      </a:lnTo>
                      <a:lnTo>
                        <a:pt x="13" y="38"/>
                      </a:lnTo>
                      <a:lnTo>
                        <a:pt x="14" y="32"/>
                      </a:lnTo>
                      <a:lnTo>
                        <a:pt x="15" y="2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58" name="Freeform 660">
                  <a:extLst>
                    <a:ext uri="{FF2B5EF4-FFF2-40B4-BE49-F238E27FC236}">
                      <a16:creationId xmlns:a16="http://schemas.microsoft.com/office/drawing/2014/main" id="{5EB87DFF-89EC-43E4-9BF1-6406A94084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91" y="1983"/>
                  <a:ext cx="4" cy="8"/>
                </a:xfrm>
                <a:custGeom>
                  <a:avLst/>
                  <a:gdLst>
                    <a:gd name="T0" fmla="*/ 4 w 4"/>
                    <a:gd name="T1" fmla="*/ 8 h 8"/>
                    <a:gd name="T2" fmla="*/ 4 w 4"/>
                    <a:gd name="T3" fmla="*/ 8 h 8"/>
                    <a:gd name="T4" fmla="*/ 4 w 4"/>
                    <a:gd name="T5" fmla="*/ 3 h 8"/>
                    <a:gd name="T6" fmla="*/ 0 w 4"/>
                    <a:gd name="T7" fmla="*/ 0 h 8"/>
                    <a:gd name="T8" fmla="*/ 1 w 4"/>
                    <a:gd name="T9" fmla="*/ 4 h 8"/>
                    <a:gd name="T10" fmla="*/ 1 w 4"/>
                    <a:gd name="T11" fmla="*/ 5 h 8"/>
                    <a:gd name="T12" fmla="*/ 4 w 4"/>
                    <a:gd name="T1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8">
                      <a:moveTo>
                        <a:pt x="4" y="8"/>
                      </a:moveTo>
                      <a:lnTo>
                        <a:pt x="4" y="8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4" y="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59" name="Freeform 661">
                  <a:extLst>
                    <a:ext uri="{FF2B5EF4-FFF2-40B4-BE49-F238E27FC236}">
                      <a16:creationId xmlns:a16="http://schemas.microsoft.com/office/drawing/2014/main" id="{686A67DD-CE00-4E65-B12F-202EE06302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21" y="2018"/>
                  <a:ext cx="7" cy="2"/>
                </a:xfrm>
                <a:custGeom>
                  <a:avLst/>
                  <a:gdLst>
                    <a:gd name="T0" fmla="*/ 4 w 7"/>
                    <a:gd name="T1" fmla="*/ 2 h 2"/>
                    <a:gd name="T2" fmla="*/ 7 w 7"/>
                    <a:gd name="T3" fmla="*/ 0 h 2"/>
                    <a:gd name="T4" fmla="*/ 0 w 7"/>
                    <a:gd name="T5" fmla="*/ 0 h 2"/>
                    <a:gd name="T6" fmla="*/ 4 w 7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2">
                      <a:moveTo>
                        <a:pt x="4" y="2"/>
                      </a:move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60" name="Freeform 662">
                  <a:extLst>
                    <a:ext uri="{FF2B5EF4-FFF2-40B4-BE49-F238E27FC236}">
                      <a16:creationId xmlns:a16="http://schemas.microsoft.com/office/drawing/2014/main" id="{B2E59AEF-24A1-420F-BA3C-C65A274C23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21" y="2014"/>
                  <a:ext cx="7" cy="3"/>
                </a:xfrm>
                <a:custGeom>
                  <a:avLst/>
                  <a:gdLst>
                    <a:gd name="T0" fmla="*/ 7 w 7"/>
                    <a:gd name="T1" fmla="*/ 1 h 3"/>
                    <a:gd name="T2" fmla="*/ 5 w 7"/>
                    <a:gd name="T3" fmla="*/ 0 h 3"/>
                    <a:gd name="T4" fmla="*/ 0 w 7"/>
                    <a:gd name="T5" fmla="*/ 0 h 3"/>
                    <a:gd name="T6" fmla="*/ 2 w 7"/>
                    <a:gd name="T7" fmla="*/ 2 h 3"/>
                    <a:gd name="T8" fmla="*/ 4 w 7"/>
                    <a:gd name="T9" fmla="*/ 3 h 3"/>
                    <a:gd name="T10" fmla="*/ 7 w 7"/>
                    <a:gd name="T11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3">
                      <a:moveTo>
                        <a:pt x="7" y="1"/>
                      </a:move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4" y="3"/>
                      </a:lnTo>
                      <a:lnTo>
                        <a:pt x="7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61" name="Freeform 663">
                  <a:extLst>
                    <a:ext uri="{FF2B5EF4-FFF2-40B4-BE49-F238E27FC236}">
                      <a16:creationId xmlns:a16="http://schemas.microsoft.com/office/drawing/2014/main" id="{D3B593AA-2871-49FE-9F34-212E464500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95" y="1993"/>
                  <a:ext cx="3" cy="3"/>
                </a:xfrm>
                <a:custGeom>
                  <a:avLst/>
                  <a:gdLst>
                    <a:gd name="T0" fmla="*/ 3 w 3"/>
                    <a:gd name="T1" fmla="*/ 0 h 3"/>
                    <a:gd name="T2" fmla="*/ 0 w 3"/>
                    <a:gd name="T3" fmla="*/ 0 h 3"/>
                    <a:gd name="T4" fmla="*/ 3 w 3"/>
                    <a:gd name="T5" fmla="*/ 3 h 3"/>
                    <a:gd name="T6" fmla="*/ 3 w 3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3" y="3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62" name="Freeform 664">
                  <a:extLst>
                    <a:ext uri="{FF2B5EF4-FFF2-40B4-BE49-F238E27FC236}">
                      <a16:creationId xmlns:a16="http://schemas.microsoft.com/office/drawing/2014/main" id="{2040CDC2-55BD-4177-BCE3-2CEB4F2B5A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24" y="2021"/>
                  <a:ext cx="7" cy="3"/>
                </a:xfrm>
                <a:custGeom>
                  <a:avLst/>
                  <a:gdLst>
                    <a:gd name="T0" fmla="*/ 9 w 9"/>
                    <a:gd name="T1" fmla="*/ 3 h 3"/>
                    <a:gd name="T2" fmla="*/ 6 w 9"/>
                    <a:gd name="T3" fmla="*/ 0 h 3"/>
                    <a:gd name="T4" fmla="*/ 0 w 9"/>
                    <a:gd name="T5" fmla="*/ 0 h 3"/>
                    <a:gd name="T6" fmla="*/ 3 w 9"/>
                    <a:gd name="T7" fmla="*/ 2 h 3"/>
                    <a:gd name="T8" fmla="*/ 9 w 9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3">
                      <a:moveTo>
                        <a:pt x="9" y="3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6" y="0"/>
                        <a:pt x="0" y="0"/>
                        <a:pt x="0" y="0"/>
                      </a:cubicBezTo>
                      <a:cubicBezTo>
                        <a:pt x="3" y="2"/>
                        <a:pt x="3" y="2"/>
                        <a:pt x="3" y="2"/>
                      </a:cubicBezTo>
                      <a:lnTo>
                        <a:pt x="9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63" name="Freeform 665">
                  <a:extLst>
                    <a:ext uri="{FF2B5EF4-FFF2-40B4-BE49-F238E27FC236}">
                      <a16:creationId xmlns:a16="http://schemas.microsoft.com/office/drawing/2014/main" id="{60DE6CAF-F770-484D-B85C-2DAD880135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1" y="1993"/>
                  <a:ext cx="4" cy="4"/>
                </a:xfrm>
                <a:custGeom>
                  <a:avLst/>
                  <a:gdLst>
                    <a:gd name="T0" fmla="*/ 4 w 4"/>
                    <a:gd name="T1" fmla="*/ 3 h 4"/>
                    <a:gd name="T2" fmla="*/ 1 w 4"/>
                    <a:gd name="T3" fmla="*/ 0 h 4"/>
                    <a:gd name="T4" fmla="*/ 0 w 4"/>
                    <a:gd name="T5" fmla="*/ 0 h 4"/>
                    <a:gd name="T6" fmla="*/ 2 w 4"/>
                    <a:gd name="T7" fmla="*/ 4 h 4"/>
                    <a:gd name="T8" fmla="*/ 4 w 4"/>
                    <a:gd name="T9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4">
                      <a:moveTo>
                        <a:pt x="4" y="3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2" y="4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64" name="Freeform 666">
                  <a:extLst>
                    <a:ext uri="{FF2B5EF4-FFF2-40B4-BE49-F238E27FC236}">
                      <a16:creationId xmlns:a16="http://schemas.microsoft.com/office/drawing/2014/main" id="{7FD7A54F-1E1D-4F6B-803B-BC4F254D54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92" y="1976"/>
                  <a:ext cx="5" cy="9"/>
                </a:xfrm>
                <a:custGeom>
                  <a:avLst/>
                  <a:gdLst>
                    <a:gd name="T0" fmla="*/ 2 w 7"/>
                    <a:gd name="T1" fmla="*/ 0 h 11"/>
                    <a:gd name="T2" fmla="*/ 0 w 7"/>
                    <a:gd name="T3" fmla="*/ 2 h 11"/>
                    <a:gd name="T4" fmla="*/ 1 w 7"/>
                    <a:gd name="T5" fmla="*/ 8 h 11"/>
                    <a:gd name="T6" fmla="*/ 3 w 7"/>
                    <a:gd name="T7" fmla="*/ 9 h 11"/>
                    <a:gd name="T8" fmla="*/ 5 w 7"/>
                    <a:gd name="T9" fmla="*/ 11 h 11"/>
                    <a:gd name="T10" fmla="*/ 7 w 7"/>
                    <a:gd name="T11" fmla="*/ 10 h 11"/>
                    <a:gd name="T12" fmla="*/ 2 w 7"/>
                    <a:gd name="T13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11">
                      <a:moveTo>
                        <a:pt x="2" y="0"/>
                      </a:moveTo>
                      <a:cubicBezTo>
                        <a:pt x="2" y="0"/>
                        <a:pt x="0" y="2"/>
                        <a:pt x="0" y="2"/>
                      </a:cubicBezTo>
                      <a:cubicBezTo>
                        <a:pt x="1" y="8"/>
                        <a:pt x="1" y="8"/>
                        <a:pt x="1" y="8"/>
                      </a:cubicBezTo>
                      <a:cubicBezTo>
                        <a:pt x="3" y="9"/>
                        <a:pt x="3" y="9"/>
                        <a:pt x="3" y="9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7" y="10"/>
                        <a:pt x="7" y="10"/>
                        <a:pt x="7" y="10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65" name="Freeform 667">
                  <a:extLst>
                    <a:ext uri="{FF2B5EF4-FFF2-40B4-BE49-F238E27FC236}">
                      <a16:creationId xmlns:a16="http://schemas.microsoft.com/office/drawing/2014/main" id="{9273BDB9-99A8-40CF-A19E-D7C210E731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81" y="1952"/>
                  <a:ext cx="76" cy="72"/>
                </a:xfrm>
                <a:custGeom>
                  <a:avLst/>
                  <a:gdLst>
                    <a:gd name="T0" fmla="*/ 46 w 76"/>
                    <a:gd name="T1" fmla="*/ 56 h 72"/>
                    <a:gd name="T2" fmla="*/ 35 w 76"/>
                    <a:gd name="T3" fmla="*/ 42 h 72"/>
                    <a:gd name="T4" fmla="*/ 33 w 76"/>
                    <a:gd name="T5" fmla="*/ 38 h 72"/>
                    <a:gd name="T6" fmla="*/ 30 w 76"/>
                    <a:gd name="T7" fmla="*/ 31 h 72"/>
                    <a:gd name="T8" fmla="*/ 28 w 76"/>
                    <a:gd name="T9" fmla="*/ 29 h 72"/>
                    <a:gd name="T10" fmla="*/ 29 w 76"/>
                    <a:gd name="T11" fmla="*/ 24 h 72"/>
                    <a:gd name="T12" fmla="*/ 34 w 76"/>
                    <a:gd name="T13" fmla="*/ 24 h 72"/>
                    <a:gd name="T14" fmla="*/ 37 w 76"/>
                    <a:gd name="T15" fmla="*/ 27 h 72"/>
                    <a:gd name="T16" fmla="*/ 39 w 76"/>
                    <a:gd name="T17" fmla="*/ 24 h 72"/>
                    <a:gd name="T18" fmla="*/ 42 w 76"/>
                    <a:gd name="T19" fmla="*/ 22 h 72"/>
                    <a:gd name="T20" fmla="*/ 45 w 76"/>
                    <a:gd name="T21" fmla="*/ 22 h 72"/>
                    <a:gd name="T22" fmla="*/ 49 w 76"/>
                    <a:gd name="T23" fmla="*/ 26 h 72"/>
                    <a:gd name="T24" fmla="*/ 54 w 76"/>
                    <a:gd name="T25" fmla="*/ 25 h 72"/>
                    <a:gd name="T26" fmla="*/ 57 w 76"/>
                    <a:gd name="T27" fmla="*/ 25 h 72"/>
                    <a:gd name="T28" fmla="*/ 63 w 76"/>
                    <a:gd name="T29" fmla="*/ 26 h 72"/>
                    <a:gd name="T30" fmla="*/ 68 w 76"/>
                    <a:gd name="T31" fmla="*/ 29 h 72"/>
                    <a:gd name="T32" fmla="*/ 73 w 76"/>
                    <a:gd name="T33" fmla="*/ 29 h 72"/>
                    <a:gd name="T34" fmla="*/ 75 w 76"/>
                    <a:gd name="T35" fmla="*/ 25 h 72"/>
                    <a:gd name="T36" fmla="*/ 76 w 76"/>
                    <a:gd name="T37" fmla="*/ 24 h 72"/>
                    <a:gd name="T38" fmla="*/ 73 w 76"/>
                    <a:gd name="T39" fmla="*/ 22 h 72"/>
                    <a:gd name="T40" fmla="*/ 69 w 76"/>
                    <a:gd name="T41" fmla="*/ 13 h 72"/>
                    <a:gd name="T42" fmla="*/ 66 w 76"/>
                    <a:gd name="T43" fmla="*/ 14 h 72"/>
                    <a:gd name="T44" fmla="*/ 53 w 76"/>
                    <a:gd name="T45" fmla="*/ 11 h 72"/>
                    <a:gd name="T46" fmla="*/ 48 w 76"/>
                    <a:gd name="T47" fmla="*/ 7 h 72"/>
                    <a:gd name="T48" fmla="*/ 40 w 76"/>
                    <a:gd name="T49" fmla="*/ 0 h 72"/>
                    <a:gd name="T50" fmla="*/ 34 w 76"/>
                    <a:gd name="T51" fmla="*/ 1 h 72"/>
                    <a:gd name="T52" fmla="*/ 24 w 76"/>
                    <a:gd name="T53" fmla="*/ 11 h 72"/>
                    <a:gd name="T54" fmla="*/ 19 w 76"/>
                    <a:gd name="T55" fmla="*/ 20 h 72"/>
                    <a:gd name="T56" fmla="*/ 11 w 76"/>
                    <a:gd name="T57" fmla="*/ 17 h 72"/>
                    <a:gd name="T58" fmla="*/ 4 w 76"/>
                    <a:gd name="T59" fmla="*/ 21 h 72"/>
                    <a:gd name="T60" fmla="*/ 0 w 76"/>
                    <a:gd name="T61" fmla="*/ 22 h 72"/>
                    <a:gd name="T62" fmla="*/ 4 w 76"/>
                    <a:gd name="T63" fmla="*/ 32 h 72"/>
                    <a:gd name="T64" fmla="*/ 4 w 76"/>
                    <a:gd name="T65" fmla="*/ 34 h 72"/>
                    <a:gd name="T66" fmla="*/ 8 w 76"/>
                    <a:gd name="T67" fmla="*/ 24 h 72"/>
                    <a:gd name="T68" fmla="*/ 14 w 76"/>
                    <a:gd name="T69" fmla="*/ 21 h 72"/>
                    <a:gd name="T70" fmla="*/ 17 w 76"/>
                    <a:gd name="T71" fmla="*/ 27 h 72"/>
                    <a:gd name="T72" fmla="*/ 21 w 76"/>
                    <a:gd name="T73" fmla="*/ 37 h 72"/>
                    <a:gd name="T74" fmla="*/ 26 w 76"/>
                    <a:gd name="T75" fmla="*/ 42 h 72"/>
                    <a:gd name="T76" fmla="*/ 26 w 76"/>
                    <a:gd name="T77" fmla="*/ 45 h 72"/>
                    <a:gd name="T78" fmla="*/ 22 w 76"/>
                    <a:gd name="T79" fmla="*/ 48 h 72"/>
                    <a:gd name="T80" fmla="*/ 27 w 76"/>
                    <a:gd name="T81" fmla="*/ 51 h 72"/>
                    <a:gd name="T82" fmla="*/ 33 w 76"/>
                    <a:gd name="T83" fmla="*/ 55 h 72"/>
                    <a:gd name="T84" fmla="*/ 35 w 76"/>
                    <a:gd name="T85" fmla="*/ 60 h 72"/>
                    <a:gd name="T86" fmla="*/ 45 w 76"/>
                    <a:gd name="T87" fmla="*/ 60 h 72"/>
                    <a:gd name="T88" fmla="*/ 56 w 76"/>
                    <a:gd name="T89" fmla="*/ 71 h 72"/>
                    <a:gd name="T90" fmla="*/ 50 w 76"/>
                    <a:gd name="T91" fmla="*/ 69 h 72"/>
                    <a:gd name="T92" fmla="*/ 55 w 76"/>
                    <a:gd name="T93" fmla="*/ 72 h 72"/>
                    <a:gd name="T94" fmla="*/ 56 w 76"/>
                    <a:gd name="T95" fmla="*/ 69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6" h="72">
                      <a:moveTo>
                        <a:pt x="56" y="69"/>
                      </a:moveTo>
                      <a:lnTo>
                        <a:pt x="46" y="56"/>
                      </a:lnTo>
                      <a:lnTo>
                        <a:pt x="35" y="44"/>
                      </a:lnTo>
                      <a:lnTo>
                        <a:pt x="35" y="42"/>
                      </a:lnTo>
                      <a:lnTo>
                        <a:pt x="35" y="41"/>
                      </a:lnTo>
                      <a:lnTo>
                        <a:pt x="33" y="38"/>
                      </a:lnTo>
                      <a:lnTo>
                        <a:pt x="33" y="35"/>
                      </a:lnTo>
                      <a:lnTo>
                        <a:pt x="30" y="31"/>
                      </a:lnTo>
                      <a:lnTo>
                        <a:pt x="28" y="31"/>
                      </a:lnTo>
                      <a:lnTo>
                        <a:pt x="28" y="29"/>
                      </a:lnTo>
                      <a:lnTo>
                        <a:pt x="29" y="27"/>
                      </a:lnTo>
                      <a:lnTo>
                        <a:pt x="29" y="24"/>
                      </a:lnTo>
                      <a:lnTo>
                        <a:pt x="30" y="21"/>
                      </a:lnTo>
                      <a:lnTo>
                        <a:pt x="34" y="24"/>
                      </a:lnTo>
                      <a:lnTo>
                        <a:pt x="35" y="27"/>
                      </a:lnTo>
                      <a:lnTo>
                        <a:pt x="37" y="27"/>
                      </a:lnTo>
                      <a:lnTo>
                        <a:pt x="37" y="24"/>
                      </a:lnTo>
                      <a:lnTo>
                        <a:pt x="39" y="24"/>
                      </a:lnTo>
                      <a:lnTo>
                        <a:pt x="41" y="24"/>
                      </a:lnTo>
                      <a:lnTo>
                        <a:pt x="42" y="22"/>
                      </a:lnTo>
                      <a:lnTo>
                        <a:pt x="45" y="24"/>
                      </a:lnTo>
                      <a:lnTo>
                        <a:pt x="45" y="22"/>
                      </a:lnTo>
                      <a:lnTo>
                        <a:pt x="48" y="23"/>
                      </a:lnTo>
                      <a:lnTo>
                        <a:pt x="49" y="26"/>
                      </a:lnTo>
                      <a:lnTo>
                        <a:pt x="51" y="24"/>
                      </a:lnTo>
                      <a:lnTo>
                        <a:pt x="54" y="25"/>
                      </a:lnTo>
                      <a:lnTo>
                        <a:pt x="56" y="24"/>
                      </a:lnTo>
                      <a:lnTo>
                        <a:pt x="57" y="25"/>
                      </a:lnTo>
                      <a:lnTo>
                        <a:pt x="61" y="25"/>
                      </a:lnTo>
                      <a:lnTo>
                        <a:pt x="63" y="26"/>
                      </a:lnTo>
                      <a:lnTo>
                        <a:pt x="66" y="26"/>
                      </a:lnTo>
                      <a:lnTo>
                        <a:pt x="68" y="29"/>
                      </a:lnTo>
                      <a:lnTo>
                        <a:pt x="73" y="29"/>
                      </a:lnTo>
                      <a:lnTo>
                        <a:pt x="73" y="29"/>
                      </a:lnTo>
                      <a:lnTo>
                        <a:pt x="73" y="27"/>
                      </a:lnTo>
                      <a:lnTo>
                        <a:pt x="75" y="25"/>
                      </a:lnTo>
                      <a:lnTo>
                        <a:pt x="76" y="25"/>
                      </a:lnTo>
                      <a:lnTo>
                        <a:pt x="76" y="24"/>
                      </a:lnTo>
                      <a:lnTo>
                        <a:pt x="73" y="24"/>
                      </a:lnTo>
                      <a:lnTo>
                        <a:pt x="73" y="22"/>
                      </a:lnTo>
                      <a:lnTo>
                        <a:pt x="72" y="17"/>
                      </a:lnTo>
                      <a:lnTo>
                        <a:pt x="69" y="13"/>
                      </a:lnTo>
                      <a:lnTo>
                        <a:pt x="68" y="11"/>
                      </a:lnTo>
                      <a:lnTo>
                        <a:pt x="66" y="14"/>
                      </a:lnTo>
                      <a:lnTo>
                        <a:pt x="60" y="13"/>
                      </a:lnTo>
                      <a:lnTo>
                        <a:pt x="53" y="11"/>
                      </a:lnTo>
                      <a:lnTo>
                        <a:pt x="51" y="9"/>
                      </a:lnTo>
                      <a:lnTo>
                        <a:pt x="48" y="7"/>
                      </a:lnTo>
                      <a:lnTo>
                        <a:pt x="42" y="1"/>
                      </a:lnTo>
                      <a:lnTo>
                        <a:pt x="40" y="0"/>
                      </a:lnTo>
                      <a:lnTo>
                        <a:pt x="40" y="1"/>
                      </a:lnTo>
                      <a:lnTo>
                        <a:pt x="34" y="1"/>
                      </a:lnTo>
                      <a:lnTo>
                        <a:pt x="25" y="7"/>
                      </a:lnTo>
                      <a:lnTo>
                        <a:pt x="24" y="11"/>
                      </a:lnTo>
                      <a:lnTo>
                        <a:pt x="20" y="13"/>
                      </a:lnTo>
                      <a:lnTo>
                        <a:pt x="19" y="20"/>
                      </a:lnTo>
                      <a:lnTo>
                        <a:pt x="16" y="20"/>
                      </a:lnTo>
                      <a:lnTo>
                        <a:pt x="11" y="17"/>
                      </a:lnTo>
                      <a:lnTo>
                        <a:pt x="8" y="17"/>
                      </a:lnTo>
                      <a:lnTo>
                        <a:pt x="4" y="21"/>
                      </a:lnTo>
                      <a:lnTo>
                        <a:pt x="0" y="21"/>
                      </a:lnTo>
                      <a:lnTo>
                        <a:pt x="0" y="22"/>
                      </a:lnTo>
                      <a:lnTo>
                        <a:pt x="0" y="28"/>
                      </a:lnTo>
                      <a:lnTo>
                        <a:pt x="4" y="32"/>
                      </a:lnTo>
                      <a:lnTo>
                        <a:pt x="4" y="33"/>
                      </a:lnTo>
                      <a:lnTo>
                        <a:pt x="4" y="34"/>
                      </a:lnTo>
                      <a:lnTo>
                        <a:pt x="8" y="27"/>
                      </a:lnTo>
                      <a:lnTo>
                        <a:pt x="8" y="24"/>
                      </a:lnTo>
                      <a:lnTo>
                        <a:pt x="11" y="21"/>
                      </a:lnTo>
                      <a:lnTo>
                        <a:pt x="14" y="21"/>
                      </a:lnTo>
                      <a:lnTo>
                        <a:pt x="14" y="24"/>
                      </a:lnTo>
                      <a:lnTo>
                        <a:pt x="17" y="27"/>
                      </a:lnTo>
                      <a:lnTo>
                        <a:pt x="18" y="32"/>
                      </a:lnTo>
                      <a:lnTo>
                        <a:pt x="21" y="37"/>
                      </a:lnTo>
                      <a:lnTo>
                        <a:pt x="24" y="41"/>
                      </a:lnTo>
                      <a:lnTo>
                        <a:pt x="26" y="42"/>
                      </a:lnTo>
                      <a:lnTo>
                        <a:pt x="28" y="45"/>
                      </a:lnTo>
                      <a:lnTo>
                        <a:pt x="26" y="45"/>
                      </a:lnTo>
                      <a:lnTo>
                        <a:pt x="24" y="45"/>
                      </a:lnTo>
                      <a:lnTo>
                        <a:pt x="22" y="48"/>
                      </a:lnTo>
                      <a:lnTo>
                        <a:pt x="24" y="51"/>
                      </a:lnTo>
                      <a:lnTo>
                        <a:pt x="27" y="51"/>
                      </a:lnTo>
                      <a:lnTo>
                        <a:pt x="30" y="54"/>
                      </a:lnTo>
                      <a:lnTo>
                        <a:pt x="33" y="55"/>
                      </a:lnTo>
                      <a:lnTo>
                        <a:pt x="34" y="58"/>
                      </a:lnTo>
                      <a:lnTo>
                        <a:pt x="35" y="60"/>
                      </a:lnTo>
                      <a:lnTo>
                        <a:pt x="39" y="59"/>
                      </a:lnTo>
                      <a:lnTo>
                        <a:pt x="45" y="60"/>
                      </a:lnTo>
                      <a:lnTo>
                        <a:pt x="49" y="62"/>
                      </a:lnTo>
                      <a:lnTo>
                        <a:pt x="56" y="71"/>
                      </a:lnTo>
                      <a:lnTo>
                        <a:pt x="53" y="71"/>
                      </a:lnTo>
                      <a:lnTo>
                        <a:pt x="50" y="69"/>
                      </a:lnTo>
                      <a:lnTo>
                        <a:pt x="52" y="72"/>
                      </a:lnTo>
                      <a:lnTo>
                        <a:pt x="55" y="72"/>
                      </a:lnTo>
                      <a:lnTo>
                        <a:pt x="55" y="72"/>
                      </a:lnTo>
                      <a:lnTo>
                        <a:pt x="56" y="6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66" name="Freeform 668">
                  <a:extLst>
                    <a:ext uri="{FF2B5EF4-FFF2-40B4-BE49-F238E27FC236}">
                      <a16:creationId xmlns:a16="http://schemas.microsoft.com/office/drawing/2014/main" id="{8FE1CA88-7B3A-4210-B00F-1420A08F8C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99" y="1998"/>
                  <a:ext cx="4" cy="5"/>
                </a:xfrm>
                <a:custGeom>
                  <a:avLst/>
                  <a:gdLst>
                    <a:gd name="T0" fmla="*/ 4 w 4"/>
                    <a:gd name="T1" fmla="*/ 5 h 5"/>
                    <a:gd name="T2" fmla="*/ 3 w 4"/>
                    <a:gd name="T3" fmla="*/ 3 h 5"/>
                    <a:gd name="T4" fmla="*/ 0 w 4"/>
                    <a:gd name="T5" fmla="*/ 0 h 5"/>
                    <a:gd name="T6" fmla="*/ 4 w 4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5">
                      <a:moveTo>
                        <a:pt x="4" y="5"/>
                      </a:moveTo>
                      <a:lnTo>
                        <a:pt x="3" y="3"/>
                      </a:lnTo>
                      <a:lnTo>
                        <a:pt x="0" y="0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67" name="Freeform 669">
                  <a:extLst>
                    <a:ext uri="{FF2B5EF4-FFF2-40B4-BE49-F238E27FC236}">
                      <a16:creationId xmlns:a16="http://schemas.microsoft.com/office/drawing/2014/main" id="{63F71580-5DFF-452A-B45E-84EA265E27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98" y="1988"/>
                  <a:ext cx="4" cy="3"/>
                </a:xfrm>
                <a:custGeom>
                  <a:avLst/>
                  <a:gdLst>
                    <a:gd name="T0" fmla="*/ 0 w 4"/>
                    <a:gd name="T1" fmla="*/ 0 h 3"/>
                    <a:gd name="T2" fmla="*/ 0 w 4"/>
                    <a:gd name="T3" fmla="*/ 2 h 3"/>
                    <a:gd name="T4" fmla="*/ 4 w 4"/>
                    <a:gd name="T5" fmla="*/ 3 h 3"/>
                    <a:gd name="T6" fmla="*/ 0 w 4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4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68" name="Freeform 670">
                  <a:extLst>
                    <a:ext uri="{FF2B5EF4-FFF2-40B4-BE49-F238E27FC236}">
                      <a16:creationId xmlns:a16="http://schemas.microsoft.com/office/drawing/2014/main" id="{D948367C-4850-4F27-8497-76F379F5DF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9" y="1973"/>
                  <a:ext cx="53" cy="57"/>
                </a:xfrm>
                <a:custGeom>
                  <a:avLst/>
                  <a:gdLst>
                    <a:gd name="T0" fmla="*/ 41 w 53"/>
                    <a:gd name="T1" fmla="*/ 48 h 57"/>
                    <a:gd name="T2" fmla="*/ 45 w 53"/>
                    <a:gd name="T3" fmla="*/ 44 h 57"/>
                    <a:gd name="T4" fmla="*/ 46 w 53"/>
                    <a:gd name="T5" fmla="*/ 41 h 57"/>
                    <a:gd name="T6" fmla="*/ 43 w 53"/>
                    <a:gd name="T7" fmla="*/ 36 h 57"/>
                    <a:gd name="T8" fmla="*/ 48 w 53"/>
                    <a:gd name="T9" fmla="*/ 37 h 57"/>
                    <a:gd name="T10" fmla="*/ 52 w 53"/>
                    <a:gd name="T11" fmla="*/ 36 h 57"/>
                    <a:gd name="T12" fmla="*/ 48 w 53"/>
                    <a:gd name="T13" fmla="*/ 28 h 57"/>
                    <a:gd name="T14" fmla="*/ 52 w 53"/>
                    <a:gd name="T15" fmla="*/ 28 h 57"/>
                    <a:gd name="T16" fmla="*/ 52 w 53"/>
                    <a:gd name="T17" fmla="*/ 24 h 57"/>
                    <a:gd name="T18" fmla="*/ 45 w 53"/>
                    <a:gd name="T19" fmla="*/ 20 h 57"/>
                    <a:gd name="T20" fmla="*/ 48 w 53"/>
                    <a:gd name="T21" fmla="*/ 13 h 57"/>
                    <a:gd name="T22" fmla="*/ 47 w 53"/>
                    <a:gd name="T23" fmla="*/ 9 h 57"/>
                    <a:gd name="T24" fmla="*/ 45 w 53"/>
                    <a:gd name="T25" fmla="*/ 8 h 57"/>
                    <a:gd name="T26" fmla="*/ 38 w 53"/>
                    <a:gd name="T27" fmla="*/ 5 h 57"/>
                    <a:gd name="T28" fmla="*/ 33 w 53"/>
                    <a:gd name="T29" fmla="*/ 4 h 57"/>
                    <a:gd name="T30" fmla="*/ 28 w 53"/>
                    <a:gd name="T31" fmla="*/ 3 h 57"/>
                    <a:gd name="T32" fmla="*/ 23 w 53"/>
                    <a:gd name="T33" fmla="*/ 3 h 57"/>
                    <a:gd name="T34" fmla="*/ 20 w 53"/>
                    <a:gd name="T35" fmla="*/ 2 h 57"/>
                    <a:gd name="T36" fmla="*/ 17 w 53"/>
                    <a:gd name="T37" fmla="*/ 3 h 57"/>
                    <a:gd name="T38" fmla="*/ 13 w 53"/>
                    <a:gd name="T39" fmla="*/ 3 h 57"/>
                    <a:gd name="T40" fmla="*/ 9 w 53"/>
                    <a:gd name="T41" fmla="*/ 3 h 57"/>
                    <a:gd name="T42" fmla="*/ 7 w 53"/>
                    <a:gd name="T43" fmla="*/ 6 h 57"/>
                    <a:gd name="T44" fmla="*/ 2 w 53"/>
                    <a:gd name="T45" fmla="*/ 0 h 57"/>
                    <a:gd name="T46" fmla="*/ 1 w 53"/>
                    <a:gd name="T47" fmla="*/ 6 h 57"/>
                    <a:gd name="T48" fmla="*/ 0 w 53"/>
                    <a:gd name="T49" fmla="*/ 10 h 57"/>
                    <a:gd name="T50" fmla="*/ 5 w 53"/>
                    <a:gd name="T51" fmla="*/ 14 h 57"/>
                    <a:gd name="T52" fmla="*/ 7 w 53"/>
                    <a:gd name="T53" fmla="*/ 20 h 57"/>
                    <a:gd name="T54" fmla="*/ 7 w 53"/>
                    <a:gd name="T55" fmla="*/ 23 h 57"/>
                    <a:gd name="T56" fmla="*/ 28 w 53"/>
                    <a:gd name="T57" fmla="*/ 48 h 57"/>
                    <a:gd name="T58" fmla="*/ 27 w 53"/>
                    <a:gd name="T59" fmla="*/ 51 h 57"/>
                    <a:gd name="T60" fmla="*/ 34 w 53"/>
                    <a:gd name="T61" fmla="*/ 53 h 57"/>
                    <a:gd name="T62" fmla="*/ 38 w 53"/>
                    <a:gd name="T63" fmla="*/ 57 h 57"/>
                    <a:gd name="T64" fmla="*/ 41 w 53"/>
                    <a:gd name="T65" fmla="*/ 52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53" h="57">
                      <a:moveTo>
                        <a:pt x="41" y="52"/>
                      </a:moveTo>
                      <a:lnTo>
                        <a:pt x="41" y="48"/>
                      </a:lnTo>
                      <a:lnTo>
                        <a:pt x="42" y="44"/>
                      </a:lnTo>
                      <a:lnTo>
                        <a:pt x="45" y="44"/>
                      </a:lnTo>
                      <a:lnTo>
                        <a:pt x="47" y="43"/>
                      </a:lnTo>
                      <a:lnTo>
                        <a:pt x="46" y="41"/>
                      </a:lnTo>
                      <a:lnTo>
                        <a:pt x="43" y="38"/>
                      </a:lnTo>
                      <a:lnTo>
                        <a:pt x="43" y="36"/>
                      </a:lnTo>
                      <a:lnTo>
                        <a:pt x="45" y="34"/>
                      </a:lnTo>
                      <a:lnTo>
                        <a:pt x="48" y="37"/>
                      </a:lnTo>
                      <a:lnTo>
                        <a:pt x="50" y="37"/>
                      </a:lnTo>
                      <a:lnTo>
                        <a:pt x="52" y="36"/>
                      </a:lnTo>
                      <a:lnTo>
                        <a:pt x="48" y="32"/>
                      </a:lnTo>
                      <a:lnTo>
                        <a:pt x="48" y="28"/>
                      </a:lnTo>
                      <a:lnTo>
                        <a:pt x="49" y="27"/>
                      </a:lnTo>
                      <a:lnTo>
                        <a:pt x="52" y="28"/>
                      </a:lnTo>
                      <a:lnTo>
                        <a:pt x="53" y="27"/>
                      </a:lnTo>
                      <a:lnTo>
                        <a:pt x="52" y="24"/>
                      </a:lnTo>
                      <a:lnTo>
                        <a:pt x="49" y="24"/>
                      </a:lnTo>
                      <a:lnTo>
                        <a:pt x="45" y="20"/>
                      </a:lnTo>
                      <a:lnTo>
                        <a:pt x="45" y="18"/>
                      </a:lnTo>
                      <a:lnTo>
                        <a:pt x="48" y="13"/>
                      </a:lnTo>
                      <a:lnTo>
                        <a:pt x="48" y="9"/>
                      </a:lnTo>
                      <a:lnTo>
                        <a:pt x="47" y="9"/>
                      </a:lnTo>
                      <a:lnTo>
                        <a:pt x="45" y="10"/>
                      </a:lnTo>
                      <a:lnTo>
                        <a:pt x="45" y="8"/>
                      </a:lnTo>
                      <a:lnTo>
                        <a:pt x="40" y="8"/>
                      </a:lnTo>
                      <a:lnTo>
                        <a:pt x="38" y="5"/>
                      </a:lnTo>
                      <a:lnTo>
                        <a:pt x="35" y="5"/>
                      </a:lnTo>
                      <a:lnTo>
                        <a:pt x="33" y="4"/>
                      </a:lnTo>
                      <a:lnTo>
                        <a:pt x="29" y="4"/>
                      </a:lnTo>
                      <a:lnTo>
                        <a:pt x="28" y="3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1" y="5"/>
                      </a:lnTo>
                      <a:lnTo>
                        <a:pt x="20" y="2"/>
                      </a:lnTo>
                      <a:lnTo>
                        <a:pt x="17" y="1"/>
                      </a:lnTo>
                      <a:lnTo>
                        <a:pt x="17" y="3"/>
                      </a:lnTo>
                      <a:lnTo>
                        <a:pt x="14" y="1"/>
                      </a:lnTo>
                      <a:lnTo>
                        <a:pt x="13" y="3"/>
                      </a:lnTo>
                      <a:lnTo>
                        <a:pt x="11" y="3"/>
                      </a:lnTo>
                      <a:lnTo>
                        <a:pt x="9" y="3"/>
                      </a:lnTo>
                      <a:lnTo>
                        <a:pt x="9" y="6"/>
                      </a:lnTo>
                      <a:lnTo>
                        <a:pt x="7" y="6"/>
                      </a:lnTo>
                      <a:lnTo>
                        <a:pt x="6" y="3"/>
                      </a:lnTo>
                      <a:lnTo>
                        <a:pt x="2" y="0"/>
                      </a:lnTo>
                      <a:lnTo>
                        <a:pt x="1" y="3"/>
                      </a:lnTo>
                      <a:lnTo>
                        <a:pt x="1" y="6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2" y="10"/>
                      </a:lnTo>
                      <a:lnTo>
                        <a:pt x="5" y="14"/>
                      </a:lnTo>
                      <a:lnTo>
                        <a:pt x="5" y="17"/>
                      </a:lnTo>
                      <a:lnTo>
                        <a:pt x="7" y="20"/>
                      </a:lnTo>
                      <a:lnTo>
                        <a:pt x="7" y="21"/>
                      </a:lnTo>
                      <a:lnTo>
                        <a:pt x="7" y="23"/>
                      </a:lnTo>
                      <a:lnTo>
                        <a:pt x="18" y="35"/>
                      </a:lnTo>
                      <a:lnTo>
                        <a:pt x="28" y="48"/>
                      </a:lnTo>
                      <a:lnTo>
                        <a:pt x="27" y="51"/>
                      </a:lnTo>
                      <a:lnTo>
                        <a:pt x="27" y="51"/>
                      </a:lnTo>
                      <a:lnTo>
                        <a:pt x="28" y="51"/>
                      </a:lnTo>
                      <a:lnTo>
                        <a:pt x="34" y="53"/>
                      </a:lnTo>
                      <a:lnTo>
                        <a:pt x="35" y="52"/>
                      </a:lnTo>
                      <a:lnTo>
                        <a:pt x="38" y="57"/>
                      </a:lnTo>
                      <a:lnTo>
                        <a:pt x="40" y="56"/>
                      </a:lnTo>
                      <a:lnTo>
                        <a:pt x="41" y="5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69" name="Freeform 671">
                  <a:extLst>
                    <a:ext uri="{FF2B5EF4-FFF2-40B4-BE49-F238E27FC236}">
                      <a16:creationId xmlns:a16="http://schemas.microsoft.com/office/drawing/2014/main" id="{6B313741-9B9A-4BCF-8AAF-F9035CF19A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79" y="1941"/>
                  <a:ext cx="42" cy="32"/>
                </a:xfrm>
                <a:custGeom>
                  <a:avLst/>
                  <a:gdLst>
                    <a:gd name="T0" fmla="*/ 10 w 42"/>
                    <a:gd name="T1" fmla="*/ 28 h 32"/>
                    <a:gd name="T2" fmla="*/ 13 w 42"/>
                    <a:gd name="T3" fmla="*/ 28 h 32"/>
                    <a:gd name="T4" fmla="*/ 18 w 42"/>
                    <a:gd name="T5" fmla="*/ 31 h 32"/>
                    <a:gd name="T6" fmla="*/ 21 w 42"/>
                    <a:gd name="T7" fmla="*/ 31 h 32"/>
                    <a:gd name="T8" fmla="*/ 22 w 42"/>
                    <a:gd name="T9" fmla="*/ 24 h 32"/>
                    <a:gd name="T10" fmla="*/ 26 w 42"/>
                    <a:gd name="T11" fmla="*/ 22 h 32"/>
                    <a:gd name="T12" fmla="*/ 27 w 42"/>
                    <a:gd name="T13" fmla="*/ 18 h 32"/>
                    <a:gd name="T14" fmla="*/ 36 w 42"/>
                    <a:gd name="T15" fmla="*/ 12 h 32"/>
                    <a:gd name="T16" fmla="*/ 42 w 42"/>
                    <a:gd name="T17" fmla="*/ 12 h 32"/>
                    <a:gd name="T18" fmla="*/ 41 w 42"/>
                    <a:gd name="T19" fmla="*/ 6 h 32"/>
                    <a:gd name="T20" fmla="*/ 37 w 42"/>
                    <a:gd name="T21" fmla="*/ 0 h 32"/>
                    <a:gd name="T22" fmla="*/ 34 w 42"/>
                    <a:gd name="T23" fmla="*/ 2 h 32"/>
                    <a:gd name="T24" fmla="*/ 28 w 42"/>
                    <a:gd name="T25" fmla="*/ 7 h 32"/>
                    <a:gd name="T26" fmla="*/ 26 w 42"/>
                    <a:gd name="T27" fmla="*/ 6 h 32"/>
                    <a:gd name="T28" fmla="*/ 24 w 42"/>
                    <a:gd name="T29" fmla="*/ 7 h 32"/>
                    <a:gd name="T30" fmla="*/ 21 w 42"/>
                    <a:gd name="T31" fmla="*/ 8 h 32"/>
                    <a:gd name="T32" fmla="*/ 18 w 42"/>
                    <a:gd name="T33" fmla="*/ 8 h 32"/>
                    <a:gd name="T34" fmla="*/ 15 w 42"/>
                    <a:gd name="T35" fmla="*/ 10 h 32"/>
                    <a:gd name="T36" fmla="*/ 13 w 42"/>
                    <a:gd name="T37" fmla="*/ 7 h 32"/>
                    <a:gd name="T38" fmla="*/ 6 w 42"/>
                    <a:gd name="T39" fmla="*/ 7 h 32"/>
                    <a:gd name="T40" fmla="*/ 4 w 42"/>
                    <a:gd name="T41" fmla="*/ 7 h 32"/>
                    <a:gd name="T42" fmla="*/ 1 w 42"/>
                    <a:gd name="T43" fmla="*/ 13 h 32"/>
                    <a:gd name="T44" fmla="*/ 2 w 42"/>
                    <a:gd name="T45" fmla="*/ 15 h 32"/>
                    <a:gd name="T46" fmla="*/ 0 w 42"/>
                    <a:gd name="T47" fmla="*/ 19 h 32"/>
                    <a:gd name="T48" fmla="*/ 1 w 42"/>
                    <a:gd name="T49" fmla="*/ 24 h 32"/>
                    <a:gd name="T50" fmla="*/ 1 w 42"/>
                    <a:gd name="T51" fmla="*/ 24 h 32"/>
                    <a:gd name="T52" fmla="*/ 4 w 42"/>
                    <a:gd name="T53" fmla="*/ 26 h 32"/>
                    <a:gd name="T54" fmla="*/ 4 w 42"/>
                    <a:gd name="T55" fmla="*/ 28 h 32"/>
                    <a:gd name="T56" fmla="*/ 2 w 42"/>
                    <a:gd name="T57" fmla="*/ 29 h 32"/>
                    <a:gd name="T58" fmla="*/ 2 w 42"/>
                    <a:gd name="T59" fmla="*/ 32 h 32"/>
                    <a:gd name="T60" fmla="*/ 6 w 42"/>
                    <a:gd name="T61" fmla="*/ 32 h 32"/>
                    <a:gd name="T62" fmla="*/ 10 w 42"/>
                    <a:gd name="T63" fmla="*/ 28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42" h="32">
                      <a:moveTo>
                        <a:pt x="10" y="28"/>
                      </a:moveTo>
                      <a:lnTo>
                        <a:pt x="13" y="28"/>
                      </a:lnTo>
                      <a:lnTo>
                        <a:pt x="18" y="31"/>
                      </a:lnTo>
                      <a:lnTo>
                        <a:pt x="21" y="31"/>
                      </a:lnTo>
                      <a:lnTo>
                        <a:pt x="22" y="24"/>
                      </a:lnTo>
                      <a:lnTo>
                        <a:pt x="26" y="22"/>
                      </a:lnTo>
                      <a:lnTo>
                        <a:pt x="27" y="18"/>
                      </a:lnTo>
                      <a:lnTo>
                        <a:pt x="36" y="12"/>
                      </a:lnTo>
                      <a:lnTo>
                        <a:pt x="42" y="12"/>
                      </a:lnTo>
                      <a:lnTo>
                        <a:pt x="41" y="6"/>
                      </a:lnTo>
                      <a:lnTo>
                        <a:pt x="37" y="0"/>
                      </a:lnTo>
                      <a:lnTo>
                        <a:pt x="34" y="2"/>
                      </a:lnTo>
                      <a:lnTo>
                        <a:pt x="28" y="7"/>
                      </a:lnTo>
                      <a:lnTo>
                        <a:pt x="26" y="6"/>
                      </a:lnTo>
                      <a:lnTo>
                        <a:pt x="24" y="7"/>
                      </a:lnTo>
                      <a:lnTo>
                        <a:pt x="21" y="8"/>
                      </a:lnTo>
                      <a:lnTo>
                        <a:pt x="18" y="8"/>
                      </a:lnTo>
                      <a:lnTo>
                        <a:pt x="15" y="10"/>
                      </a:lnTo>
                      <a:lnTo>
                        <a:pt x="13" y="7"/>
                      </a:lnTo>
                      <a:lnTo>
                        <a:pt x="6" y="7"/>
                      </a:lnTo>
                      <a:lnTo>
                        <a:pt x="4" y="7"/>
                      </a:lnTo>
                      <a:lnTo>
                        <a:pt x="1" y="13"/>
                      </a:lnTo>
                      <a:lnTo>
                        <a:pt x="2" y="15"/>
                      </a:lnTo>
                      <a:lnTo>
                        <a:pt x="0" y="19"/>
                      </a:lnTo>
                      <a:lnTo>
                        <a:pt x="1" y="24"/>
                      </a:lnTo>
                      <a:lnTo>
                        <a:pt x="1" y="24"/>
                      </a:lnTo>
                      <a:lnTo>
                        <a:pt x="4" y="26"/>
                      </a:lnTo>
                      <a:lnTo>
                        <a:pt x="4" y="28"/>
                      </a:lnTo>
                      <a:lnTo>
                        <a:pt x="2" y="29"/>
                      </a:lnTo>
                      <a:lnTo>
                        <a:pt x="2" y="32"/>
                      </a:lnTo>
                      <a:lnTo>
                        <a:pt x="6" y="32"/>
                      </a:lnTo>
                      <a:lnTo>
                        <a:pt x="10" y="2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70" name="Freeform 672">
                  <a:extLst>
                    <a:ext uri="{FF2B5EF4-FFF2-40B4-BE49-F238E27FC236}">
                      <a16:creationId xmlns:a16="http://schemas.microsoft.com/office/drawing/2014/main" id="{1C73374E-5F91-497D-AC6C-F35B8C3981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6" y="1894"/>
                  <a:ext cx="98" cy="57"/>
                </a:xfrm>
                <a:custGeom>
                  <a:avLst/>
                  <a:gdLst>
                    <a:gd name="T0" fmla="*/ 92 w 98"/>
                    <a:gd name="T1" fmla="*/ 41 h 57"/>
                    <a:gd name="T2" fmla="*/ 93 w 98"/>
                    <a:gd name="T3" fmla="*/ 34 h 57"/>
                    <a:gd name="T4" fmla="*/ 91 w 98"/>
                    <a:gd name="T5" fmla="*/ 29 h 57"/>
                    <a:gd name="T6" fmla="*/ 98 w 98"/>
                    <a:gd name="T7" fmla="*/ 26 h 57"/>
                    <a:gd name="T8" fmla="*/ 97 w 98"/>
                    <a:gd name="T9" fmla="*/ 20 h 57"/>
                    <a:gd name="T10" fmla="*/ 97 w 98"/>
                    <a:gd name="T11" fmla="*/ 7 h 57"/>
                    <a:gd name="T12" fmla="*/ 89 w 98"/>
                    <a:gd name="T13" fmla="*/ 4 h 57"/>
                    <a:gd name="T14" fmla="*/ 81 w 98"/>
                    <a:gd name="T15" fmla="*/ 4 h 57"/>
                    <a:gd name="T16" fmla="*/ 72 w 98"/>
                    <a:gd name="T17" fmla="*/ 1 h 57"/>
                    <a:gd name="T18" fmla="*/ 69 w 98"/>
                    <a:gd name="T19" fmla="*/ 3 h 57"/>
                    <a:gd name="T20" fmla="*/ 67 w 98"/>
                    <a:gd name="T21" fmla="*/ 7 h 57"/>
                    <a:gd name="T22" fmla="*/ 62 w 98"/>
                    <a:gd name="T23" fmla="*/ 9 h 57"/>
                    <a:gd name="T24" fmla="*/ 52 w 98"/>
                    <a:gd name="T25" fmla="*/ 4 h 57"/>
                    <a:gd name="T26" fmla="*/ 52 w 98"/>
                    <a:gd name="T27" fmla="*/ 10 h 57"/>
                    <a:gd name="T28" fmla="*/ 48 w 98"/>
                    <a:gd name="T29" fmla="*/ 14 h 57"/>
                    <a:gd name="T30" fmla="*/ 41 w 98"/>
                    <a:gd name="T31" fmla="*/ 22 h 57"/>
                    <a:gd name="T32" fmla="*/ 45 w 98"/>
                    <a:gd name="T33" fmla="*/ 26 h 57"/>
                    <a:gd name="T34" fmla="*/ 44 w 98"/>
                    <a:gd name="T35" fmla="*/ 30 h 57"/>
                    <a:gd name="T36" fmla="*/ 38 w 98"/>
                    <a:gd name="T37" fmla="*/ 29 h 57"/>
                    <a:gd name="T38" fmla="*/ 32 w 98"/>
                    <a:gd name="T39" fmla="*/ 29 h 57"/>
                    <a:gd name="T40" fmla="*/ 25 w 98"/>
                    <a:gd name="T41" fmla="*/ 33 h 57"/>
                    <a:gd name="T42" fmla="*/ 21 w 98"/>
                    <a:gd name="T43" fmla="*/ 33 h 57"/>
                    <a:gd name="T44" fmla="*/ 14 w 98"/>
                    <a:gd name="T45" fmla="*/ 30 h 57"/>
                    <a:gd name="T46" fmla="*/ 11 w 98"/>
                    <a:gd name="T47" fmla="*/ 34 h 57"/>
                    <a:gd name="T48" fmla="*/ 7 w 98"/>
                    <a:gd name="T49" fmla="*/ 34 h 57"/>
                    <a:gd name="T50" fmla="*/ 2 w 98"/>
                    <a:gd name="T51" fmla="*/ 32 h 57"/>
                    <a:gd name="T52" fmla="*/ 0 w 98"/>
                    <a:gd name="T53" fmla="*/ 33 h 57"/>
                    <a:gd name="T54" fmla="*/ 1 w 98"/>
                    <a:gd name="T55" fmla="*/ 37 h 57"/>
                    <a:gd name="T56" fmla="*/ 3 w 98"/>
                    <a:gd name="T57" fmla="*/ 41 h 57"/>
                    <a:gd name="T58" fmla="*/ 7 w 98"/>
                    <a:gd name="T59" fmla="*/ 40 h 57"/>
                    <a:gd name="T60" fmla="*/ 12 w 98"/>
                    <a:gd name="T61" fmla="*/ 41 h 57"/>
                    <a:gd name="T62" fmla="*/ 16 w 98"/>
                    <a:gd name="T63" fmla="*/ 44 h 57"/>
                    <a:gd name="T64" fmla="*/ 21 w 98"/>
                    <a:gd name="T65" fmla="*/ 47 h 57"/>
                    <a:gd name="T66" fmla="*/ 31 w 98"/>
                    <a:gd name="T67" fmla="*/ 43 h 57"/>
                    <a:gd name="T68" fmla="*/ 35 w 98"/>
                    <a:gd name="T69" fmla="*/ 45 h 57"/>
                    <a:gd name="T70" fmla="*/ 51 w 98"/>
                    <a:gd name="T71" fmla="*/ 52 h 57"/>
                    <a:gd name="T72" fmla="*/ 58 w 98"/>
                    <a:gd name="T73" fmla="*/ 54 h 57"/>
                    <a:gd name="T74" fmla="*/ 59 w 98"/>
                    <a:gd name="T75" fmla="*/ 54 h 57"/>
                    <a:gd name="T76" fmla="*/ 68 w 98"/>
                    <a:gd name="T77" fmla="*/ 57 h 57"/>
                    <a:gd name="T78" fmla="*/ 74 w 98"/>
                    <a:gd name="T79" fmla="*/ 55 h 57"/>
                    <a:gd name="T80" fmla="*/ 79 w 98"/>
                    <a:gd name="T81" fmla="*/ 53 h 57"/>
                    <a:gd name="T82" fmla="*/ 87 w 98"/>
                    <a:gd name="T83" fmla="*/ 49 h 57"/>
                    <a:gd name="T84" fmla="*/ 91 w 98"/>
                    <a:gd name="T85" fmla="*/ 4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8" h="57">
                      <a:moveTo>
                        <a:pt x="93" y="44"/>
                      </a:moveTo>
                      <a:lnTo>
                        <a:pt x="92" y="41"/>
                      </a:lnTo>
                      <a:lnTo>
                        <a:pt x="92" y="38"/>
                      </a:lnTo>
                      <a:lnTo>
                        <a:pt x="93" y="34"/>
                      </a:lnTo>
                      <a:lnTo>
                        <a:pt x="91" y="30"/>
                      </a:lnTo>
                      <a:lnTo>
                        <a:pt x="91" y="29"/>
                      </a:lnTo>
                      <a:lnTo>
                        <a:pt x="97" y="29"/>
                      </a:lnTo>
                      <a:lnTo>
                        <a:pt x="98" y="26"/>
                      </a:lnTo>
                      <a:lnTo>
                        <a:pt x="97" y="23"/>
                      </a:lnTo>
                      <a:lnTo>
                        <a:pt x="97" y="20"/>
                      </a:lnTo>
                      <a:lnTo>
                        <a:pt x="97" y="13"/>
                      </a:lnTo>
                      <a:lnTo>
                        <a:pt x="97" y="7"/>
                      </a:lnTo>
                      <a:lnTo>
                        <a:pt x="91" y="6"/>
                      </a:lnTo>
                      <a:lnTo>
                        <a:pt x="89" y="4"/>
                      </a:lnTo>
                      <a:lnTo>
                        <a:pt x="85" y="5"/>
                      </a:lnTo>
                      <a:lnTo>
                        <a:pt x="81" y="4"/>
                      </a:lnTo>
                      <a:lnTo>
                        <a:pt x="78" y="2"/>
                      </a:lnTo>
                      <a:lnTo>
                        <a:pt x="72" y="1"/>
                      </a:lnTo>
                      <a:lnTo>
                        <a:pt x="69" y="0"/>
                      </a:lnTo>
                      <a:lnTo>
                        <a:pt x="69" y="3"/>
                      </a:lnTo>
                      <a:lnTo>
                        <a:pt x="67" y="5"/>
                      </a:lnTo>
                      <a:lnTo>
                        <a:pt x="67" y="7"/>
                      </a:lnTo>
                      <a:lnTo>
                        <a:pt x="63" y="7"/>
                      </a:lnTo>
                      <a:lnTo>
                        <a:pt x="62" y="9"/>
                      </a:lnTo>
                      <a:lnTo>
                        <a:pt x="55" y="4"/>
                      </a:lnTo>
                      <a:lnTo>
                        <a:pt x="52" y="4"/>
                      </a:lnTo>
                      <a:lnTo>
                        <a:pt x="52" y="7"/>
                      </a:lnTo>
                      <a:lnTo>
                        <a:pt x="52" y="10"/>
                      </a:lnTo>
                      <a:lnTo>
                        <a:pt x="50" y="10"/>
                      </a:lnTo>
                      <a:lnTo>
                        <a:pt x="48" y="14"/>
                      </a:lnTo>
                      <a:lnTo>
                        <a:pt x="45" y="16"/>
                      </a:lnTo>
                      <a:lnTo>
                        <a:pt x="41" y="22"/>
                      </a:lnTo>
                      <a:lnTo>
                        <a:pt x="41" y="24"/>
                      </a:lnTo>
                      <a:lnTo>
                        <a:pt x="45" y="26"/>
                      </a:lnTo>
                      <a:lnTo>
                        <a:pt x="45" y="29"/>
                      </a:lnTo>
                      <a:lnTo>
                        <a:pt x="44" y="30"/>
                      </a:lnTo>
                      <a:lnTo>
                        <a:pt x="41" y="28"/>
                      </a:lnTo>
                      <a:lnTo>
                        <a:pt x="38" y="29"/>
                      </a:lnTo>
                      <a:lnTo>
                        <a:pt x="34" y="28"/>
                      </a:lnTo>
                      <a:lnTo>
                        <a:pt x="32" y="29"/>
                      </a:lnTo>
                      <a:lnTo>
                        <a:pt x="27" y="32"/>
                      </a:lnTo>
                      <a:lnTo>
                        <a:pt x="25" y="33"/>
                      </a:lnTo>
                      <a:lnTo>
                        <a:pt x="23" y="32"/>
                      </a:lnTo>
                      <a:lnTo>
                        <a:pt x="21" y="33"/>
                      </a:lnTo>
                      <a:lnTo>
                        <a:pt x="18" y="31"/>
                      </a:lnTo>
                      <a:lnTo>
                        <a:pt x="14" y="30"/>
                      </a:lnTo>
                      <a:lnTo>
                        <a:pt x="10" y="31"/>
                      </a:lnTo>
                      <a:lnTo>
                        <a:pt x="11" y="34"/>
                      </a:lnTo>
                      <a:lnTo>
                        <a:pt x="10" y="34"/>
                      </a:lnTo>
                      <a:lnTo>
                        <a:pt x="7" y="34"/>
                      </a:lnTo>
                      <a:lnTo>
                        <a:pt x="4" y="31"/>
                      </a:lnTo>
                      <a:lnTo>
                        <a:pt x="2" y="32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1" y="34"/>
                      </a:lnTo>
                      <a:lnTo>
                        <a:pt x="1" y="37"/>
                      </a:lnTo>
                      <a:lnTo>
                        <a:pt x="3" y="38"/>
                      </a:lnTo>
                      <a:lnTo>
                        <a:pt x="3" y="41"/>
                      </a:lnTo>
                      <a:lnTo>
                        <a:pt x="5" y="41"/>
                      </a:lnTo>
                      <a:lnTo>
                        <a:pt x="7" y="40"/>
                      </a:lnTo>
                      <a:lnTo>
                        <a:pt x="10" y="44"/>
                      </a:lnTo>
                      <a:lnTo>
                        <a:pt x="12" y="41"/>
                      </a:lnTo>
                      <a:lnTo>
                        <a:pt x="14" y="41"/>
                      </a:lnTo>
                      <a:lnTo>
                        <a:pt x="16" y="44"/>
                      </a:lnTo>
                      <a:lnTo>
                        <a:pt x="16" y="44"/>
                      </a:lnTo>
                      <a:lnTo>
                        <a:pt x="21" y="47"/>
                      </a:lnTo>
                      <a:lnTo>
                        <a:pt x="27" y="41"/>
                      </a:lnTo>
                      <a:lnTo>
                        <a:pt x="31" y="43"/>
                      </a:lnTo>
                      <a:lnTo>
                        <a:pt x="35" y="42"/>
                      </a:lnTo>
                      <a:lnTo>
                        <a:pt x="35" y="45"/>
                      </a:lnTo>
                      <a:lnTo>
                        <a:pt x="42" y="51"/>
                      </a:lnTo>
                      <a:lnTo>
                        <a:pt x="51" y="52"/>
                      </a:lnTo>
                      <a:lnTo>
                        <a:pt x="55" y="52"/>
                      </a:lnTo>
                      <a:lnTo>
                        <a:pt x="58" y="54"/>
                      </a:lnTo>
                      <a:lnTo>
                        <a:pt x="57" y="54"/>
                      </a:lnTo>
                      <a:lnTo>
                        <a:pt x="59" y="54"/>
                      </a:lnTo>
                      <a:lnTo>
                        <a:pt x="66" y="54"/>
                      </a:lnTo>
                      <a:lnTo>
                        <a:pt x="68" y="57"/>
                      </a:lnTo>
                      <a:lnTo>
                        <a:pt x="71" y="55"/>
                      </a:lnTo>
                      <a:lnTo>
                        <a:pt x="74" y="55"/>
                      </a:lnTo>
                      <a:lnTo>
                        <a:pt x="77" y="54"/>
                      </a:lnTo>
                      <a:lnTo>
                        <a:pt x="79" y="53"/>
                      </a:lnTo>
                      <a:lnTo>
                        <a:pt x="81" y="54"/>
                      </a:lnTo>
                      <a:lnTo>
                        <a:pt x="87" y="49"/>
                      </a:lnTo>
                      <a:lnTo>
                        <a:pt x="90" y="47"/>
                      </a:lnTo>
                      <a:lnTo>
                        <a:pt x="91" y="47"/>
                      </a:lnTo>
                      <a:lnTo>
                        <a:pt x="93" y="4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71" name="Freeform 673">
                  <a:extLst>
                    <a:ext uri="{FF2B5EF4-FFF2-40B4-BE49-F238E27FC236}">
                      <a16:creationId xmlns:a16="http://schemas.microsoft.com/office/drawing/2014/main" id="{BC59477C-BD91-4C63-914A-44E58FDCD3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81" y="1758"/>
                  <a:ext cx="130" cy="132"/>
                </a:xfrm>
                <a:custGeom>
                  <a:avLst/>
                  <a:gdLst>
                    <a:gd name="T0" fmla="*/ 0 w 130"/>
                    <a:gd name="T1" fmla="*/ 47 h 132"/>
                    <a:gd name="T2" fmla="*/ 4 w 130"/>
                    <a:gd name="T3" fmla="*/ 55 h 132"/>
                    <a:gd name="T4" fmla="*/ 6 w 130"/>
                    <a:gd name="T5" fmla="*/ 61 h 132"/>
                    <a:gd name="T6" fmla="*/ 7 w 130"/>
                    <a:gd name="T7" fmla="*/ 67 h 132"/>
                    <a:gd name="T8" fmla="*/ 9 w 130"/>
                    <a:gd name="T9" fmla="*/ 77 h 132"/>
                    <a:gd name="T10" fmla="*/ 12 w 130"/>
                    <a:gd name="T11" fmla="*/ 81 h 132"/>
                    <a:gd name="T12" fmla="*/ 12 w 130"/>
                    <a:gd name="T13" fmla="*/ 92 h 132"/>
                    <a:gd name="T14" fmla="*/ 14 w 130"/>
                    <a:gd name="T15" fmla="*/ 93 h 132"/>
                    <a:gd name="T16" fmla="*/ 17 w 130"/>
                    <a:gd name="T17" fmla="*/ 92 h 132"/>
                    <a:gd name="T18" fmla="*/ 24 w 130"/>
                    <a:gd name="T19" fmla="*/ 95 h 132"/>
                    <a:gd name="T20" fmla="*/ 28 w 130"/>
                    <a:gd name="T21" fmla="*/ 98 h 132"/>
                    <a:gd name="T22" fmla="*/ 29 w 130"/>
                    <a:gd name="T23" fmla="*/ 104 h 132"/>
                    <a:gd name="T24" fmla="*/ 31 w 130"/>
                    <a:gd name="T25" fmla="*/ 107 h 132"/>
                    <a:gd name="T26" fmla="*/ 33 w 130"/>
                    <a:gd name="T27" fmla="*/ 111 h 132"/>
                    <a:gd name="T28" fmla="*/ 36 w 130"/>
                    <a:gd name="T29" fmla="*/ 109 h 132"/>
                    <a:gd name="T30" fmla="*/ 34 w 130"/>
                    <a:gd name="T31" fmla="*/ 103 h 132"/>
                    <a:gd name="T32" fmla="*/ 45 w 130"/>
                    <a:gd name="T33" fmla="*/ 107 h 132"/>
                    <a:gd name="T34" fmla="*/ 47 w 130"/>
                    <a:gd name="T35" fmla="*/ 112 h 132"/>
                    <a:gd name="T36" fmla="*/ 56 w 130"/>
                    <a:gd name="T37" fmla="*/ 113 h 132"/>
                    <a:gd name="T38" fmla="*/ 68 w 130"/>
                    <a:gd name="T39" fmla="*/ 125 h 132"/>
                    <a:gd name="T40" fmla="*/ 72 w 130"/>
                    <a:gd name="T41" fmla="*/ 124 h 132"/>
                    <a:gd name="T42" fmla="*/ 77 w 130"/>
                    <a:gd name="T43" fmla="*/ 127 h 132"/>
                    <a:gd name="T44" fmla="*/ 79 w 130"/>
                    <a:gd name="T45" fmla="*/ 132 h 132"/>
                    <a:gd name="T46" fmla="*/ 83 w 130"/>
                    <a:gd name="T47" fmla="*/ 128 h 132"/>
                    <a:gd name="T48" fmla="*/ 87 w 130"/>
                    <a:gd name="T49" fmla="*/ 128 h 132"/>
                    <a:gd name="T50" fmla="*/ 93 w 130"/>
                    <a:gd name="T51" fmla="*/ 129 h 132"/>
                    <a:gd name="T52" fmla="*/ 97 w 130"/>
                    <a:gd name="T53" fmla="*/ 127 h 132"/>
                    <a:gd name="T54" fmla="*/ 101 w 130"/>
                    <a:gd name="T55" fmla="*/ 127 h 132"/>
                    <a:gd name="T56" fmla="*/ 112 w 130"/>
                    <a:gd name="T57" fmla="*/ 132 h 132"/>
                    <a:gd name="T58" fmla="*/ 115 w 130"/>
                    <a:gd name="T59" fmla="*/ 127 h 132"/>
                    <a:gd name="T60" fmla="*/ 124 w 130"/>
                    <a:gd name="T61" fmla="*/ 111 h 132"/>
                    <a:gd name="T62" fmla="*/ 127 w 130"/>
                    <a:gd name="T63" fmla="*/ 103 h 132"/>
                    <a:gd name="T64" fmla="*/ 130 w 130"/>
                    <a:gd name="T65" fmla="*/ 97 h 132"/>
                    <a:gd name="T66" fmla="*/ 128 w 130"/>
                    <a:gd name="T67" fmla="*/ 93 h 132"/>
                    <a:gd name="T68" fmla="*/ 126 w 130"/>
                    <a:gd name="T69" fmla="*/ 88 h 132"/>
                    <a:gd name="T70" fmla="*/ 123 w 130"/>
                    <a:gd name="T71" fmla="*/ 81 h 132"/>
                    <a:gd name="T72" fmla="*/ 123 w 130"/>
                    <a:gd name="T73" fmla="*/ 70 h 132"/>
                    <a:gd name="T74" fmla="*/ 121 w 130"/>
                    <a:gd name="T75" fmla="*/ 63 h 132"/>
                    <a:gd name="T76" fmla="*/ 121 w 130"/>
                    <a:gd name="T77" fmla="*/ 54 h 132"/>
                    <a:gd name="T78" fmla="*/ 124 w 130"/>
                    <a:gd name="T79" fmla="*/ 42 h 132"/>
                    <a:gd name="T80" fmla="*/ 122 w 130"/>
                    <a:gd name="T81" fmla="*/ 36 h 132"/>
                    <a:gd name="T82" fmla="*/ 118 w 130"/>
                    <a:gd name="T83" fmla="*/ 25 h 132"/>
                    <a:gd name="T84" fmla="*/ 115 w 130"/>
                    <a:gd name="T85" fmla="*/ 16 h 132"/>
                    <a:gd name="T86" fmla="*/ 112 w 130"/>
                    <a:gd name="T87" fmla="*/ 10 h 132"/>
                    <a:gd name="T88" fmla="*/ 106 w 130"/>
                    <a:gd name="T89" fmla="*/ 7 h 132"/>
                    <a:gd name="T90" fmla="*/ 73 w 130"/>
                    <a:gd name="T91" fmla="*/ 7 h 132"/>
                    <a:gd name="T92" fmla="*/ 66 w 130"/>
                    <a:gd name="T93" fmla="*/ 14 h 132"/>
                    <a:gd name="T94" fmla="*/ 61 w 130"/>
                    <a:gd name="T95" fmla="*/ 14 h 132"/>
                    <a:gd name="T96" fmla="*/ 69 w 130"/>
                    <a:gd name="T97" fmla="*/ 6 h 132"/>
                    <a:gd name="T98" fmla="*/ 64 w 130"/>
                    <a:gd name="T99" fmla="*/ 10 h 132"/>
                    <a:gd name="T100" fmla="*/ 53 w 130"/>
                    <a:gd name="T101" fmla="*/ 11 h 132"/>
                    <a:gd name="T102" fmla="*/ 52 w 130"/>
                    <a:gd name="T103" fmla="*/ 4 h 132"/>
                    <a:gd name="T104" fmla="*/ 57 w 130"/>
                    <a:gd name="T105" fmla="*/ 6 h 132"/>
                    <a:gd name="T106" fmla="*/ 53 w 130"/>
                    <a:gd name="T107" fmla="*/ 2 h 132"/>
                    <a:gd name="T108" fmla="*/ 41 w 130"/>
                    <a:gd name="T109" fmla="*/ 4 h 132"/>
                    <a:gd name="T110" fmla="*/ 32 w 130"/>
                    <a:gd name="T111" fmla="*/ 5 h 132"/>
                    <a:gd name="T112" fmla="*/ 26 w 130"/>
                    <a:gd name="T113" fmla="*/ 9 h 132"/>
                    <a:gd name="T114" fmla="*/ 24 w 130"/>
                    <a:gd name="T115" fmla="*/ 15 h 132"/>
                    <a:gd name="T116" fmla="*/ 12 w 130"/>
                    <a:gd name="T117" fmla="*/ 20 h 132"/>
                    <a:gd name="T118" fmla="*/ 7 w 130"/>
                    <a:gd name="T119" fmla="*/ 25 h 132"/>
                    <a:gd name="T120" fmla="*/ 4 w 130"/>
                    <a:gd name="T121" fmla="*/ 29 h 132"/>
                    <a:gd name="T122" fmla="*/ 3 w 130"/>
                    <a:gd name="T123" fmla="*/ 31 h 132"/>
                    <a:gd name="T124" fmla="*/ 4 w 130"/>
                    <a:gd name="T125" fmla="*/ 44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30" h="132">
                      <a:moveTo>
                        <a:pt x="4" y="44"/>
                      </a:moveTo>
                      <a:lnTo>
                        <a:pt x="0" y="47"/>
                      </a:lnTo>
                      <a:lnTo>
                        <a:pt x="0" y="49"/>
                      </a:lnTo>
                      <a:lnTo>
                        <a:pt x="4" y="55"/>
                      </a:lnTo>
                      <a:lnTo>
                        <a:pt x="4" y="58"/>
                      </a:lnTo>
                      <a:lnTo>
                        <a:pt x="6" y="61"/>
                      </a:lnTo>
                      <a:lnTo>
                        <a:pt x="6" y="64"/>
                      </a:lnTo>
                      <a:lnTo>
                        <a:pt x="7" y="67"/>
                      </a:lnTo>
                      <a:lnTo>
                        <a:pt x="6" y="70"/>
                      </a:lnTo>
                      <a:lnTo>
                        <a:pt x="9" y="77"/>
                      </a:lnTo>
                      <a:lnTo>
                        <a:pt x="11" y="79"/>
                      </a:lnTo>
                      <a:lnTo>
                        <a:pt x="12" y="81"/>
                      </a:lnTo>
                      <a:lnTo>
                        <a:pt x="13" y="90"/>
                      </a:lnTo>
                      <a:lnTo>
                        <a:pt x="12" y="92"/>
                      </a:lnTo>
                      <a:lnTo>
                        <a:pt x="13" y="94"/>
                      </a:lnTo>
                      <a:lnTo>
                        <a:pt x="14" y="93"/>
                      </a:lnTo>
                      <a:lnTo>
                        <a:pt x="17" y="93"/>
                      </a:lnTo>
                      <a:lnTo>
                        <a:pt x="17" y="92"/>
                      </a:lnTo>
                      <a:lnTo>
                        <a:pt x="24" y="94"/>
                      </a:lnTo>
                      <a:lnTo>
                        <a:pt x="24" y="95"/>
                      </a:lnTo>
                      <a:lnTo>
                        <a:pt x="26" y="98"/>
                      </a:lnTo>
                      <a:lnTo>
                        <a:pt x="28" y="98"/>
                      </a:lnTo>
                      <a:lnTo>
                        <a:pt x="30" y="100"/>
                      </a:lnTo>
                      <a:lnTo>
                        <a:pt x="29" y="104"/>
                      </a:lnTo>
                      <a:lnTo>
                        <a:pt x="30" y="106"/>
                      </a:lnTo>
                      <a:lnTo>
                        <a:pt x="31" y="107"/>
                      </a:lnTo>
                      <a:lnTo>
                        <a:pt x="31" y="110"/>
                      </a:lnTo>
                      <a:lnTo>
                        <a:pt x="33" y="111"/>
                      </a:lnTo>
                      <a:lnTo>
                        <a:pt x="34" y="109"/>
                      </a:lnTo>
                      <a:lnTo>
                        <a:pt x="36" y="109"/>
                      </a:lnTo>
                      <a:lnTo>
                        <a:pt x="33" y="104"/>
                      </a:lnTo>
                      <a:lnTo>
                        <a:pt x="34" y="103"/>
                      </a:lnTo>
                      <a:lnTo>
                        <a:pt x="41" y="107"/>
                      </a:lnTo>
                      <a:lnTo>
                        <a:pt x="45" y="107"/>
                      </a:lnTo>
                      <a:lnTo>
                        <a:pt x="44" y="110"/>
                      </a:lnTo>
                      <a:lnTo>
                        <a:pt x="47" y="112"/>
                      </a:lnTo>
                      <a:lnTo>
                        <a:pt x="52" y="111"/>
                      </a:lnTo>
                      <a:lnTo>
                        <a:pt x="56" y="113"/>
                      </a:lnTo>
                      <a:lnTo>
                        <a:pt x="65" y="120"/>
                      </a:lnTo>
                      <a:lnTo>
                        <a:pt x="68" y="125"/>
                      </a:lnTo>
                      <a:lnTo>
                        <a:pt x="70" y="125"/>
                      </a:lnTo>
                      <a:lnTo>
                        <a:pt x="72" y="124"/>
                      </a:lnTo>
                      <a:lnTo>
                        <a:pt x="75" y="124"/>
                      </a:lnTo>
                      <a:lnTo>
                        <a:pt x="77" y="127"/>
                      </a:lnTo>
                      <a:lnTo>
                        <a:pt x="78" y="131"/>
                      </a:lnTo>
                      <a:lnTo>
                        <a:pt x="79" y="132"/>
                      </a:lnTo>
                      <a:lnTo>
                        <a:pt x="82" y="132"/>
                      </a:lnTo>
                      <a:lnTo>
                        <a:pt x="83" y="128"/>
                      </a:lnTo>
                      <a:lnTo>
                        <a:pt x="86" y="128"/>
                      </a:lnTo>
                      <a:lnTo>
                        <a:pt x="87" y="128"/>
                      </a:lnTo>
                      <a:lnTo>
                        <a:pt x="91" y="128"/>
                      </a:lnTo>
                      <a:lnTo>
                        <a:pt x="93" y="129"/>
                      </a:lnTo>
                      <a:lnTo>
                        <a:pt x="95" y="127"/>
                      </a:lnTo>
                      <a:lnTo>
                        <a:pt x="97" y="127"/>
                      </a:lnTo>
                      <a:lnTo>
                        <a:pt x="99" y="128"/>
                      </a:lnTo>
                      <a:lnTo>
                        <a:pt x="101" y="127"/>
                      </a:lnTo>
                      <a:lnTo>
                        <a:pt x="107" y="128"/>
                      </a:lnTo>
                      <a:lnTo>
                        <a:pt x="112" y="132"/>
                      </a:lnTo>
                      <a:lnTo>
                        <a:pt x="115" y="132"/>
                      </a:lnTo>
                      <a:lnTo>
                        <a:pt x="115" y="127"/>
                      </a:lnTo>
                      <a:lnTo>
                        <a:pt x="115" y="122"/>
                      </a:lnTo>
                      <a:lnTo>
                        <a:pt x="124" y="111"/>
                      </a:lnTo>
                      <a:lnTo>
                        <a:pt x="125" y="105"/>
                      </a:lnTo>
                      <a:lnTo>
                        <a:pt x="127" y="103"/>
                      </a:lnTo>
                      <a:lnTo>
                        <a:pt x="129" y="102"/>
                      </a:lnTo>
                      <a:lnTo>
                        <a:pt x="130" y="97"/>
                      </a:lnTo>
                      <a:lnTo>
                        <a:pt x="129" y="95"/>
                      </a:lnTo>
                      <a:lnTo>
                        <a:pt x="128" y="93"/>
                      </a:lnTo>
                      <a:lnTo>
                        <a:pt x="130" y="90"/>
                      </a:lnTo>
                      <a:lnTo>
                        <a:pt x="126" y="88"/>
                      </a:lnTo>
                      <a:lnTo>
                        <a:pt x="125" y="83"/>
                      </a:lnTo>
                      <a:lnTo>
                        <a:pt x="123" y="81"/>
                      </a:lnTo>
                      <a:lnTo>
                        <a:pt x="123" y="73"/>
                      </a:lnTo>
                      <a:lnTo>
                        <a:pt x="123" y="70"/>
                      </a:lnTo>
                      <a:lnTo>
                        <a:pt x="123" y="69"/>
                      </a:lnTo>
                      <a:lnTo>
                        <a:pt x="121" y="63"/>
                      </a:lnTo>
                      <a:lnTo>
                        <a:pt x="119" y="58"/>
                      </a:lnTo>
                      <a:lnTo>
                        <a:pt x="121" y="54"/>
                      </a:lnTo>
                      <a:lnTo>
                        <a:pt x="125" y="52"/>
                      </a:lnTo>
                      <a:lnTo>
                        <a:pt x="124" y="42"/>
                      </a:lnTo>
                      <a:lnTo>
                        <a:pt x="122" y="41"/>
                      </a:lnTo>
                      <a:lnTo>
                        <a:pt x="122" y="36"/>
                      </a:lnTo>
                      <a:lnTo>
                        <a:pt x="120" y="33"/>
                      </a:lnTo>
                      <a:lnTo>
                        <a:pt x="118" y="25"/>
                      </a:lnTo>
                      <a:lnTo>
                        <a:pt x="115" y="20"/>
                      </a:lnTo>
                      <a:lnTo>
                        <a:pt x="115" y="16"/>
                      </a:lnTo>
                      <a:lnTo>
                        <a:pt x="114" y="10"/>
                      </a:lnTo>
                      <a:lnTo>
                        <a:pt x="112" y="10"/>
                      </a:lnTo>
                      <a:lnTo>
                        <a:pt x="109" y="7"/>
                      </a:lnTo>
                      <a:lnTo>
                        <a:pt x="106" y="7"/>
                      </a:lnTo>
                      <a:lnTo>
                        <a:pt x="90" y="9"/>
                      </a:lnTo>
                      <a:lnTo>
                        <a:pt x="73" y="7"/>
                      </a:lnTo>
                      <a:lnTo>
                        <a:pt x="71" y="8"/>
                      </a:lnTo>
                      <a:lnTo>
                        <a:pt x="66" y="14"/>
                      </a:lnTo>
                      <a:lnTo>
                        <a:pt x="62" y="14"/>
                      </a:lnTo>
                      <a:lnTo>
                        <a:pt x="61" y="14"/>
                      </a:lnTo>
                      <a:lnTo>
                        <a:pt x="65" y="11"/>
                      </a:lnTo>
                      <a:lnTo>
                        <a:pt x="69" y="6"/>
                      </a:lnTo>
                      <a:lnTo>
                        <a:pt x="67" y="6"/>
                      </a:lnTo>
                      <a:lnTo>
                        <a:pt x="64" y="10"/>
                      </a:lnTo>
                      <a:lnTo>
                        <a:pt x="59" y="13"/>
                      </a:lnTo>
                      <a:lnTo>
                        <a:pt x="53" y="11"/>
                      </a:lnTo>
                      <a:lnTo>
                        <a:pt x="52" y="7"/>
                      </a:lnTo>
                      <a:lnTo>
                        <a:pt x="52" y="4"/>
                      </a:lnTo>
                      <a:lnTo>
                        <a:pt x="56" y="4"/>
                      </a:lnTo>
                      <a:lnTo>
                        <a:pt x="57" y="6"/>
                      </a:lnTo>
                      <a:lnTo>
                        <a:pt x="58" y="4"/>
                      </a:lnTo>
                      <a:lnTo>
                        <a:pt x="53" y="2"/>
                      </a:lnTo>
                      <a:lnTo>
                        <a:pt x="46" y="0"/>
                      </a:lnTo>
                      <a:lnTo>
                        <a:pt x="41" y="4"/>
                      </a:lnTo>
                      <a:lnTo>
                        <a:pt x="37" y="3"/>
                      </a:lnTo>
                      <a:lnTo>
                        <a:pt x="32" y="5"/>
                      </a:lnTo>
                      <a:lnTo>
                        <a:pt x="30" y="9"/>
                      </a:lnTo>
                      <a:lnTo>
                        <a:pt x="26" y="9"/>
                      </a:lnTo>
                      <a:lnTo>
                        <a:pt x="24" y="13"/>
                      </a:lnTo>
                      <a:lnTo>
                        <a:pt x="24" y="15"/>
                      </a:lnTo>
                      <a:lnTo>
                        <a:pt x="19" y="15"/>
                      </a:lnTo>
                      <a:lnTo>
                        <a:pt x="12" y="20"/>
                      </a:lnTo>
                      <a:lnTo>
                        <a:pt x="8" y="21"/>
                      </a:lnTo>
                      <a:lnTo>
                        <a:pt x="7" y="25"/>
                      </a:lnTo>
                      <a:lnTo>
                        <a:pt x="5" y="28"/>
                      </a:lnTo>
                      <a:lnTo>
                        <a:pt x="4" y="29"/>
                      </a:lnTo>
                      <a:lnTo>
                        <a:pt x="4" y="31"/>
                      </a:lnTo>
                      <a:lnTo>
                        <a:pt x="3" y="31"/>
                      </a:lnTo>
                      <a:lnTo>
                        <a:pt x="4" y="38"/>
                      </a:lnTo>
                      <a:lnTo>
                        <a:pt x="4" y="4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72" name="Freeform 674">
                  <a:extLst>
                    <a:ext uri="{FF2B5EF4-FFF2-40B4-BE49-F238E27FC236}">
                      <a16:creationId xmlns:a16="http://schemas.microsoft.com/office/drawing/2014/main" id="{9D6CF212-8777-4B55-A71E-EC144746EA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55" y="1849"/>
                  <a:ext cx="104" cy="54"/>
                </a:xfrm>
                <a:custGeom>
                  <a:avLst/>
                  <a:gdLst>
                    <a:gd name="T0" fmla="*/ 34 w 104"/>
                    <a:gd name="T1" fmla="*/ 52 h 54"/>
                    <a:gd name="T2" fmla="*/ 38 w 104"/>
                    <a:gd name="T3" fmla="*/ 50 h 54"/>
                    <a:gd name="T4" fmla="*/ 40 w 104"/>
                    <a:gd name="T5" fmla="*/ 45 h 54"/>
                    <a:gd name="T6" fmla="*/ 49 w 104"/>
                    <a:gd name="T7" fmla="*/ 47 h 54"/>
                    <a:gd name="T8" fmla="*/ 56 w 104"/>
                    <a:gd name="T9" fmla="*/ 50 h 54"/>
                    <a:gd name="T10" fmla="*/ 62 w 104"/>
                    <a:gd name="T11" fmla="*/ 51 h 54"/>
                    <a:gd name="T12" fmla="*/ 68 w 104"/>
                    <a:gd name="T13" fmla="*/ 53 h 54"/>
                    <a:gd name="T14" fmla="*/ 75 w 104"/>
                    <a:gd name="T15" fmla="*/ 50 h 54"/>
                    <a:gd name="T16" fmla="*/ 82 w 104"/>
                    <a:gd name="T17" fmla="*/ 49 h 54"/>
                    <a:gd name="T18" fmla="*/ 91 w 104"/>
                    <a:gd name="T19" fmla="*/ 43 h 54"/>
                    <a:gd name="T20" fmla="*/ 98 w 104"/>
                    <a:gd name="T21" fmla="*/ 40 h 54"/>
                    <a:gd name="T22" fmla="*/ 103 w 104"/>
                    <a:gd name="T23" fmla="*/ 36 h 54"/>
                    <a:gd name="T24" fmla="*/ 98 w 104"/>
                    <a:gd name="T25" fmla="*/ 33 h 54"/>
                    <a:gd name="T26" fmla="*/ 94 w 104"/>
                    <a:gd name="T27" fmla="*/ 34 h 54"/>
                    <a:gd name="T28" fmla="*/ 82 w 104"/>
                    <a:gd name="T29" fmla="*/ 22 h 54"/>
                    <a:gd name="T30" fmla="*/ 73 w 104"/>
                    <a:gd name="T31" fmla="*/ 21 h 54"/>
                    <a:gd name="T32" fmla="*/ 71 w 104"/>
                    <a:gd name="T33" fmla="*/ 16 h 54"/>
                    <a:gd name="T34" fmla="*/ 60 w 104"/>
                    <a:gd name="T35" fmla="*/ 12 h 54"/>
                    <a:gd name="T36" fmla="*/ 62 w 104"/>
                    <a:gd name="T37" fmla="*/ 18 h 54"/>
                    <a:gd name="T38" fmla="*/ 59 w 104"/>
                    <a:gd name="T39" fmla="*/ 20 h 54"/>
                    <a:gd name="T40" fmla="*/ 57 w 104"/>
                    <a:gd name="T41" fmla="*/ 16 h 54"/>
                    <a:gd name="T42" fmla="*/ 55 w 104"/>
                    <a:gd name="T43" fmla="*/ 13 h 54"/>
                    <a:gd name="T44" fmla="*/ 54 w 104"/>
                    <a:gd name="T45" fmla="*/ 7 h 54"/>
                    <a:gd name="T46" fmla="*/ 50 w 104"/>
                    <a:gd name="T47" fmla="*/ 4 h 54"/>
                    <a:gd name="T48" fmla="*/ 43 w 104"/>
                    <a:gd name="T49" fmla="*/ 1 h 54"/>
                    <a:gd name="T50" fmla="*/ 40 w 104"/>
                    <a:gd name="T51" fmla="*/ 2 h 54"/>
                    <a:gd name="T52" fmla="*/ 38 w 104"/>
                    <a:gd name="T53" fmla="*/ 1 h 54"/>
                    <a:gd name="T54" fmla="*/ 35 w 104"/>
                    <a:gd name="T55" fmla="*/ 0 h 54"/>
                    <a:gd name="T56" fmla="*/ 29 w 104"/>
                    <a:gd name="T57" fmla="*/ 1 h 54"/>
                    <a:gd name="T58" fmla="*/ 26 w 104"/>
                    <a:gd name="T59" fmla="*/ 6 h 54"/>
                    <a:gd name="T60" fmla="*/ 20 w 104"/>
                    <a:gd name="T61" fmla="*/ 5 h 54"/>
                    <a:gd name="T62" fmla="*/ 16 w 104"/>
                    <a:gd name="T63" fmla="*/ 8 h 54"/>
                    <a:gd name="T64" fmla="*/ 10 w 104"/>
                    <a:gd name="T65" fmla="*/ 12 h 54"/>
                    <a:gd name="T66" fmla="*/ 3 w 104"/>
                    <a:gd name="T67" fmla="*/ 16 h 54"/>
                    <a:gd name="T68" fmla="*/ 0 w 104"/>
                    <a:gd name="T69" fmla="*/ 16 h 54"/>
                    <a:gd name="T70" fmla="*/ 4 w 104"/>
                    <a:gd name="T71" fmla="*/ 21 h 54"/>
                    <a:gd name="T72" fmla="*/ 7 w 104"/>
                    <a:gd name="T73" fmla="*/ 30 h 54"/>
                    <a:gd name="T74" fmla="*/ 10 w 104"/>
                    <a:gd name="T75" fmla="*/ 35 h 54"/>
                    <a:gd name="T76" fmla="*/ 18 w 104"/>
                    <a:gd name="T77" fmla="*/ 41 h 54"/>
                    <a:gd name="T78" fmla="*/ 23 w 104"/>
                    <a:gd name="T79" fmla="*/ 49 h 54"/>
                    <a:gd name="T80" fmla="*/ 33 w 104"/>
                    <a:gd name="T81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04" h="54">
                      <a:moveTo>
                        <a:pt x="33" y="54"/>
                      </a:moveTo>
                      <a:lnTo>
                        <a:pt x="34" y="52"/>
                      </a:lnTo>
                      <a:lnTo>
                        <a:pt x="38" y="52"/>
                      </a:lnTo>
                      <a:lnTo>
                        <a:pt x="38" y="50"/>
                      </a:lnTo>
                      <a:lnTo>
                        <a:pt x="40" y="48"/>
                      </a:lnTo>
                      <a:lnTo>
                        <a:pt x="40" y="45"/>
                      </a:lnTo>
                      <a:lnTo>
                        <a:pt x="43" y="46"/>
                      </a:lnTo>
                      <a:lnTo>
                        <a:pt x="49" y="47"/>
                      </a:lnTo>
                      <a:lnTo>
                        <a:pt x="52" y="49"/>
                      </a:lnTo>
                      <a:lnTo>
                        <a:pt x="56" y="50"/>
                      </a:lnTo>
                      <a:lnTo>
                        <a:pt x="60" y="49"/>
                      </a:lnTo>
                      <a:lnTo>
                        <a:pt x="62" y="51"/>
                      </a:lnTo>
                      <a:lnTo>
                        <a:pt x="68" y="52"/>
                      </a:lnTo>
                      <a:lnTo>
                        <a:pt x="68" y="53"/>
                      </a:lnTo>
                      <a:lnTo>
                        <a:pt x="72" y="50"/>
                      </a:lnTo>
                      <a:lnTo>
                        <a:pt x="75" y="50"/>
                      </a:lnTo>
                      <a:lnTo>
                        <a:pt x="77" y="51"/>
                      </a:lnTo>
                      <a:lnTo>
                        <a:pt x="82" y="49"/>
                      </a:lnTo>
                      <a:lnTo>
                        <a:pt x="87" y="48"/>
                      </a:lnTo>
                      <a:lnTo>
                        <a:pt x="91" y="43"/>
                      </a:lnTo>
                      <a:lnTo>
                        <a:pt x="95" y="43"/>
                      </a:lnTo>
                      <a:lnTo>
                        <a:pt x="98" y="40"/>
                      </a:lnTo>
                      <a:lnTo>
                        <a:pt x="104" y="41"/>
                      </a:lnTo>
                      <a:lnTo>
                        <a:pt x="103" y="36"/>
                      </a:lnTo>
                      <a:lnTo>
                        <a:pt x="101" y="33"/>
                      </a:lnTo>
                      <a:lnTo>
                        <a:pt x="98" y="33"/>
                      </a:lnTo>
                      <a:lnTo>
                        <a:pt x="96" y="34"/>
                      </a:lnTo>
                      <a:lnTo>
                        <a:pt x="94" y="34"/>
                      </a:lnTo>
                      <a:lnTo>
                        <a:pt x="91" y="29"/>
                      </a:lnTo>
                      <a:lnTo>
                        <a:pt x="82" y="22"/>
                      </a:lnTo>
                      <a:lnTo>
                        <a:pt x="78" y="20"/>
                      </a:lnTo>
                      <a:lnTo>
                        <a:pt x="73" y="21"/>
                      </a:lnTo>
                      <a:lnTo>
                        <a:pt x="70" y="19"/>
                      </a:lnTo>
                      <a:lnTo>
                        <a:pt x="71" y="16"/>
                      </a:lnTo>
                      <a:lnTo>
                        <a:pt x="67" y="16"/>
                      </a:lnTo>
                      <a:lnTo>
                        <a:pt x="60" y="12"/>
                      </a:lnTo>
                      <a:lnTo>
                        <a:pt x="59" y="13"/>
                      </a:lnTo>
                      <a:lnTo>
                        <a:pt x="62" y="18"/>
                      </a:lnTo>
                      <a:lnTo>
                        <a:pt x="60" y="18"/>
                      </a:lnTo>
                      <a:lnTo>
                        <a:pt x="59" y="20"/>
                      </a:lnTo>
                      <a:lnTo>
                        <a:pt x="57" y="19"/>
                      </a:lnTo>
                      <a:lnTo>
                        <a:pt x="57" y="16"/>
                      </a:lnTo>
                      <a:lnTo>
                        <a:pt x="56" y="15"/>
                      </a:lnTo>
                      <a:lnTo>
                        <a:pt x="55" y="13"/>
                      </a:lnTo>
                      <a:lnTo>
                        <a:pt x="56" y="9"/>
                      </a:lnTo>
                      <a:lnTo>
                        <a:pt x="54" y="7"/>
                      </a:lnTo>
                      <a:lnTo>
                        <a:pt x="52" y="7"/>
                      </a:lnTo>
                      <a:lnTo>
                        <a:pt x="50" y="4"/>
                      </a:lnTo>
                      <a:lnTo>
                        <a:pt x="50" y="3"/>
                      </a:lnTo>
                      <a:lnTo>
                        <a:pt x="43" y="1"/>
                      </a:lnTo>
                      <a:lnTo>
                        <a:pt x="43" y="2"/>
                      </a:lnTo>
                      <a:lnTo>
                        <a:pt x="40" y="2"/>
                      </a:lnTo>
                      <a:lnTo>
                        <a:pt x="39" y="3"/>
                      </a:lnTo>
                      <a:lnTo>
                        <a:pt x="38" y="1"/>
                      </a:lnTo>
                      <a:lnTo>
                        <a:pt x="37" y="2"/>
                      </a:lnTo>
                      <a:lnTo>
                        <a:pt x="35" y="0"/>
                      </a:lnTo>
                      <a:lnTo>
                        <a:pt x="33" y="2"/>
                      </a:lnTo>
                      <a:lnTo>
                        <a:pt x="29" y="1"/>
                      </a:lnTo>
                      <a:lnTo>
                        <a:pt x="29" y="4"/>
                      </a:lnTo>
                      <a:lnTo>
                        <a:pt x="26" y="6"/>
                      </a:lnTo>
                      <a:lnTo>
                        <a:pt x="25" y="5"/>
                      </a:lnTo>
                      <a:lnTo>
                        <a:pt x="20" y="5"/>
                      </a:lnTo>
                      <a:lnTo>
                        <a:pt x="19" y="8"/>
                      </a:lnTo>
                      <a:lnTo>
                        <a:pt x="16" y="8"/>
                      </a:lnTo>
                      <a:lnTo>
                        <a:pt x="12" y="12"/>
                      </a:lnTo>
                      <a:lnTo>
                        <a:pt x="10" y="12"/>
                      </a:lnTo>
                      <a:lnTo>
                        <a:pt x="5" y="17"/>
                      </a:lnTo>
                      <a:lnTo>
                        <a:pt x="3" y="16"/>
                      </a:lnTo>
                      <a:lnTo>
                        <a:pt x="2" y="15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4" y="21"/>
                      </a:lnTo>
                      <a:lnTo>
                        <a:pt x="7" y="27"/>
                      </a:lnTo>
                      <a:lnTo>
                        <a:pt x="7" y="30"/>
                      </a:lnTo>
                      <a:lnTo>
                        <a:pt x="8" y="34"/>
                      </a:lnTo>
                      <a:lnTo>
                        <a:pt x="10" y="35"/>
                      </a:lnTo>
                      <a:lnTo>
                        <a:pt x="16" y="39"/>
                      </a:lnTo>
                      <a:lnTo>
                        <a:pt x="18" y="41"/>
                      </a:lnTo>
                      <a:lnTo>
                        <a:pt x="23" y="49"/>
                      </a:lnTo>
                      <a:lnTo>
                        <a:pt x="23" y="49"/>
                      </a:lnTo>
                      <a:lnTo>
                        <a:pt x="26" y="49"/>
                      </a:lnTo>
                      <a:lnTo>
                        <a:pt x="33" y="5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73" name="Freeform 675">
                  <a:extLst>
                    <a:ext uri="{FF2B5EF4-FFF2-40B4-BE49-F238E27FC236}">
                      <a16:creationId xmlns:a16="http://schemas.microsoft.com/office/drawing/2014/main" id="{074A5EDA-E705-426C-B4E2-382949E23E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75" y="1759"/>
                  <a:ext cx="119" cy="169"/>
                </a:xfrm>
                <a:custGeom>
                  <a:avLst/>
                  <a:gdLst>
                    <a:gd name="T0" fmla="*/ 17 w 119"/>
                    <a:gd name="T1" fmla="*/ 53 h 169"/>
                    <a:gd name="T2" fmla="*/ 12 w 119"/>
                    <a:gd name="T3" fmla="*/ 59 h 169"/>
                    <a:gd name="T4" fmla="*/ 16 w 119"/>
                    <a:gd name="T5" fmla="*/ 66 h 169"/>
                    <a:gd name="T6" fmla="*/ 9 w 119"/>
                    <a:gd name="T7" fmla="*/ 71 h 169"/>
                    <a:gd name="T8" fmla="*/ 3 w 119"/>
                    <a:gd name="T9" fmla="*/ 83 h 169"/>
                    <a:gd name="T10" fmla="*/ 0 w 119"/>
                    <a:gd name="T11" fmla="*/ 96 h 169"/>
                    <a:gd name="T12" fmla="*/ 2 w 119"/>
                    <a:gd name="T13" fmla="*/ 110 h 169"/>
                    <a:gd name="T14" fmla="*/ 9 w 119"/>
                    <a:gd name="T15" fmla="*/ 120 h 169"/>
                    <a:gd name="T16" fmla="*/ 11 w 119"/>
                    <a:gd name="T17" fmla="*/ 131 h 169"/>
                    <a:gd name="T18" fmla="*/ 20 w 119"/>
                    <a:gd name="T19" fmla="*/ 133 h 169"/>
                    <a:gd name="T20" fmla="*/ 32 w 119"/>
                    <a:gd name="T21" fmla="*/ 136 h 169"/>
                    <a:gd name="T22" fmla="*/ 25 w 119"/>
                    <a:gd name="T23" fmla="*/ 150 h 169"/>
                    <a:gd name="T24" fmla="*/ 27 w 119"/>
                    <a:gd name="T25" fmla="*/ 165 h 169"/>
                    <a:gd name="T26" fmla="*/ 36 w 119"/>
                    <a:gd name="T27" fmla="*/ 166 h 169"/>
                    <a:gd name="T28" fmla="*/ 40 w 119"/>
                    <a:gd name="T29" fmla="*/ 164 h 169"/>
                    <a:gd name="T30" fmla="*/ 49 w 119"/>
                    <a:gd name="T31" fmla="*/ 167 h 169"/>
                    <a:gd name="T32" fmla="*/ 55 w 119"/>
                    <a:gd name="T33" fmla="*/ 166 h 169"/>
                    <a:gd name="T34" fmla="*/ 61 w 119"/>
                    <a:gd name="T35" fmla="*/ 166 h 169"/>
                    <a:gd name="T36" fmla="*/ 74 w 119"/>
                    <a:gd name="T37" fmla="*/ 167 h 169"/>
                    <a:gd name="T38" fmla="*/ 85 w 119"/>
                    <a:gd name="T39" fmla="*/ 163 h 169"/>
                    <a:gd name="T40" fmla="*/ 96 w 119"/>
                    <a:gd name="T41" fmla="*/ 164 h 169"/>
                    <a:gd name="T42" fmla="*/ 96 w 119"/>
                    <a:gd name="T43" fmla="*/ 151 h 169"/>
                    <a:gd name="T44" fmla="*/ 103 w 119"/>
                    <a:gd name="T45" fmla="*/ 142 h 169"/>
                    <a:gd name="T46" fmla="*/ 96 w 119"/>
                    <a:gd name="T47" fmla="*/ 129 h 169"/>
                    <a:gd name="T48" fmla="*/ 87 w 119"/>
                    <a:gd name="T49" fmla="*/ 117 h 169"/>
                    <a:gd name="T50" fmla="*/ 82 w 119"/>
                    <a:gd name="T51" fmla="*/ 105 h 169"/>
                    <a:gd name="T52" fmla="*/ 92 w 119"/>
                    <a:gd name="T53" fmla="*/ 102 h 169"/>
                    <a:gd name="T54" fmla="*/ 105 w 119"/>
                    <a:gd name="T55" fmla="*/ 95 h 169"/>
                    <a:gd name="T56" fmla="*/ 113 w 119"/>
                    <a:gd name="T57" fmla="*/ 92 h 169"/>
                    <a:gd name="T58" fmla="*/ 119 w 119"/>
                    <a:gd name="T59" fmla="*/ 89 h 169"/>
                    <a:gd name="T60" fmla="*/ 112 w 119"/>
                    <a:gd name="T61" fmla="*/ 69 h 169"/>
                    <a:gd name="T62" fmla="*/ 110 w 119"/>
                    <a:gd name="T63" fmla="*/ 57 h 169"/>
                    <a:gd name="T64" fmla="*/ 110 w 119"/>
                    <a:gd name="T65" fmla="*/ 43 h 169"/>
                    <a:gd name="T66" fmla="*/ 105 w 119"/>
                    <a:gd name="T67" fmla="*/ 28 h 169"/>
                    <a:gd name="T68" fmla="*/ 99 w 119"/>
                    <a:gd name="T69" fmla="*/ 20 h 169"/>
                    <a:gd name="T70" fmla="*/ 89 w 119"/>
                    <a:gd name="T71" fmla="*/ 14 h 169"/>
                    <a:gd name="T72" fmla="*/ 81 w 119"/>
                    <a:gd name="T73" fmla="*/ 17 h 169"/>
                    <a:gd name="T74" fmla="*/ 86 w 119"/>
                    <a:gd name="T75" fmla="*/ 13 h 169"/>
                    <a:gd name="T76" fmla="*/ 78 w 119"/>
                    <a:gd name="T77" fmla="*/ 17 h 169"/>
                    <a:gd name="T78" fmla="*/ 71 w 119"/>
                    <a:gd name="T79" fmla="*/ 24 h 169"/>
                    <a:gd name="T80" fmla="*/ 63 w 119"/>
                    <a:gd name="T81" fmla="*/ 24 h 169"/>
                    <a:gd name="T82" fmla="*/ 65 w 119"/>
                    <a:gd name="T83" fmla="*/ 17 h 169"/>
                    <a:gd name="T84" fmla="*/ 61 w 119"/>
                    <a:gd name="T85" fmla="*/ 17 h 169"/>
                    <a:gd name="T86" fmla="*/ 54 w 119"/>
                    <a:gd name="T87" fmla="*/ 15 h 169"/>
                    <a:gd name="T88" fmla="*/ 49 w 119"/>
                    <a:gd name="T89" fmla="*/ 12 h 169"/>
                    <a:gd name="T90" fmla="*/ 46 w 119"/>
                    <a:gd name="T91" fmla="*/ 2 h 169"/>
                    <a:gd name="T92" fmla="*/ 33 w 119"/>
                    <a:gd name="T93" fmla="*/ 0 h 169"/>
                    <a:gd name="T94" fmla="*/ 37 w 119"/>
                    <a:gd name="T95" fmla="*/ 6 h 169"/>
                    <a:gd name="T96" fmla="*/ 34 w 119"/>
                    <a:gd name="T97" fmla="*/ 13 h 169"/>
                    <a:gd name="T98" fmla="*/ 40 w 119"/>
                    <a:gd name="T99" fmla="*/ 20 h 169"/>
                    <a:gd name="T100" fmla="*/ 43 w 119"/>
                    <a:gd name="T101" fmla="*/ 27 h 169"/>
                    <a:gd name="T102" fmla="*/ 42 w 119"/>
                    <a:gd name="T103" fmla="*/ 27 h 169"/>
                    <a:gd name="T104" fmla="*/ 33 w 119"/>
                    <a:gd name="T105" fmla="*/ 31 h 169"/>
                    <a:gd name="T106" fmla="*/ 32 w 119"/>
                    <a:gd name="T107" fmla="*/ 38 h 169"/>
                    <a:gd name="T108" fmla="*/ 29 w 119"/>
                    <a:gd name="T109" fmla="*/ 35 h 169"/>
                    <a:gd name="T110" fmla="*/ 26 w 119"/>
                    <a:gd name="T111" fmla="*/ 33 h 169"/>
                    <a:gd name="T112" fmla="*/ 15 w 119"/>
                    <a:gd name="T113" fmla="*/ 36 h 169"/>
                    <a:gd name="T114" fmla="*/ 20 w 119"/>
                    <a:gd name="T115" fmla="*/ 43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19" h="169">
                      <a:moveTo>
                        <a:pt x="19" y="45"/>
                      </a:moveTo>
                      <a:lnTo>
                        <a:pt x="19" y="47"/>
                      </a:lnTo>
                      <a:lnTo>
                        <a:pt x="17" y="50"/>
                      </a:lnTo>
                      <a:lnTo>
                        <a:pt x="17" y="53"/>
                      </a:lnTo>
                      <a:lnTo>
                        <a:pt x="16" y="55"/>
                      </a:lnTo>
                      <a:lnTo>
                        <a:pt x="13" y="53"/>
                      </a:lnTo>
                      <a:lnTo>
                        <a:pt x="11" y="57"/>
                      </a:lnTo>
                      <a:lnTo>
                        <a:pt x="12" y="59"/>
                      </a:lnTo>
                      <a:lnTo>
                        <a:pt x="15" y="58"/>
                      </a:lnTo>
                      <a:lnTo>
                        <a:pt x="16" y="60"/>
                      </a:lnTo>
                      <a:lnTo>
                        <a:pt x="16" y="62"/>
                      </a:lnTo>
                      <a:lnTo>
                        <a:pt x="16" y="66"/>
                      </a:lnTo>
                      <a:lnTo>
                        <a:pt x="13" y="68"/>
                      </a:lnTo>
                      <a:lnTo>
                        <a:pt x="15" y="71"/>
                      </a:lnTo>
                      <a:lnTo>
                        <a:pt x="13" y="72"/>
                      </a:lnTo>
                      <a:lnTo>
                        <a:pt x="9" y="71"/>
                      </a:lnTo>
                      <a:lnTo>
                        <a:pt x="6" y="72"/>
                      </a:lnTo>
                      <a:lnTo>
                        <a:pt x="4" y="75"/>
                      </a:lnTo>
                      <a:lnTo>
                        <a:pt x="2" y="79"/>
                      </a:lnTo>
                      <a:lnTo>
                        <a:pt x="3" y="83"/>
                      </a:lnTo>
                      <a:lnTo>
                        <a:pt x="2" y="89"/>
                      </a:lnTo>
                      <a:lnTo>
                        <a:pt x="1" y="93"/>
                      </a:lnTo>
                      <a:lnTo>
                        <a:pt x="1" y="93"/>
                      </a:lnTo>
                      <a:lnTo>
                        <a:pt x="0" y="96"/>
                      </a:lnTo>
                      <a:lnTo>
                        <a:pt x="2" y="100"/>
                      </a:lnTo>
                      <a:lnTo>
                        <a:pt x="2" y="103"/>
                      </a:lnTo>
                      <a:lnTo>
                        <a:pt x="4" y="106"/>
                      </a:lnTo>
                      <a:lnTo>
                        <a:pt x="2" y="110"/>
                      </a:lnTo>
                      <a:lnTo>
                        <a:pt x="3" y="110"/>
                      </a:lnTo>
                      <a:lnTo>
                        <a:pt x="6" y="116"/>
                      </a:lnTo>
                      <a:lnTo>
                        <a:pt x="7" y="119"/>
                      </a:lnTo>
                      <a:lnTo>
                        <a:pt x="9" y="120"/>
                      </a:lnTo>
                      <a:lnTo>
                        <a:pt x="9" y="126"/>
                      </a:lnTo>
                      <a:lnTo>
                        <a:pt x="9" y="126"/>
                      </a:lnTo>
                      <a:lnTo>
                        <a:pt x="11" y="128"/>
                      </a:lnTo>
                      <a:lnTo>
                        <a:pt x="11" y="131"/>
                      </a:lnTo>
                      <a:lnTo>
                        <a:pt x="13" y="133"/>
                      </a:lnTo>
                      <a:lnTo>
                        <a:pt x="16" y="132"/>
                      </a:lnTo>
                      <a:lnTo>
                        <a:pt x="19" y="132"/>
                      </a:lnTo>
                      <a:lnTo>
                        <a:pt x="20" y="133"/>
                      </a:lnTo>
                      <a:lnTo>
                        <a:pt x="23" y="132"/>
                      </a:lnTo>
                      <a:lnTo>
                        <a:pt x="26" y="134"/>
                      </a:lnTo>
                      <a:lnTo>
                        <a:pt x="29" y="134"/>
                      </a:lnTo>
                      <a:lnTo>
                        <a:pt x="32" y="136"/>
                      </a:lnTo>
                      <a:lnTo>
                        <a:pt x="28" y="140"/>
                      </a:lnTo>
                      <a:lnTo>
                        <a:pt x="26" y="145"/>
                      </a:lnTo>
                      <a:lnTo>
                        <a:pt x="26" y="148"/>
                      </a:lnTo>
                      <a:lnTo>
                        <a:pt x="25" y="150"/>
                      </a:lnTo>
                      <a:lnTo>
                        <a:pt x="23" y="155"/>
                      </a:lnTo>
                      <a:lnTo>
                        <a:pt x="23" y="161"/>
                      </a:lnTo>
                      <a:lnTo>
                        <a:pt x="26" y="162"/>
                      </a:lnTo>
                      <a:lnTo>
                        <a:pt x="27" y="165"/>
                      </a:lnTo>
                      <a:lnTo>
                        <a:pt x="27" y="165"/>
                      </a:lnTo>
                      <a:lnTo>
                        <a:pt x="30" y="166"/>
                      </a:lnTo>
                      <a:lnTo>
                        <a:pt x="32" y="165"/>
                      </a:lnTo>
                      <a:lnTo>
                        <a:pt x="36" y="166"/>
                      </a:lnTo>
                      <a:lnTo>
                        <a:pt x="37" y="164"/>
                      </a:lnTo>
                      <a:lnTo>
                        <a:pt x="37" y="162"/>
                      </a:lnTo>
                      <a:lnTo>
                        <a:pt x="39" y="161"/>
                      </a:lnTo>
                      <a:lnTo>
                        <a:pt x="40" y="164"/>
                      </a:lnTo>
                      <a:lnTo>
                        <a:pt x="42" y="165"/>
                      </a:lnTo>
                      <a:lnTo>
                        <a:pt x="44" y="163"/>
                      </a:lnTo>
                      <a:lnTo>
                        <a:pt x="45" y="163"/>
                      </a:lnTo>
                      <a:lnTo>
                        <a:pt x="49" y="167"/>
                      </a:lnTo>
                      <a:lnTo>
                        <a:pt x="51" y="168"/>
                      </a:lnTo>
                      <a:lnTo>
                        <a:pt x="51" y="168"/>
                      </a:lnTo>
                      <a:lnTo>
                        <a:pt x="53" y="167"/>
                      </a:lnTo>
                      <a:lnTo>
                        <a:pt x="55" y="166"/>
                      </a:lnTo>
                      <a:lnTo>
                        <a:pt x="58" y="169"/>
                      </a:lnTo>
                      <a:lnTo>
                        <a:pt x="61" y="169"/>
                      </a:lnTo>
                      <a:lnTo>
                        <a:pt x="62" y="169"/>
                      </a:lnTo>
                      <a:lnTo>
                        <a:pt x="61" y="166"/>
                      </a:lnTo>
                      <a:lnTo>
                        <a:pt x="65" y="165"/>
                      </a:lnTo>
                      <a:lnTo>
                        <a:pt x="69" y="166"/>
                      </a:lnTo>
                      <a:lnTo>
                        <a:pt x="72" y="168"/>
                      </a:lnTo>
                      <a:lnTo>
                        <a:pt x="74" y="167"/>
                      </a:lnTo>
                      <a:lnTo>
                        <a:pt x="76" y="168"/>
                      </a:lnTo>
                      <a:lnTo>
                        <a:pt x="78" y="167"/>
                      </a:lnTo>
                      <a:lnTo>
                        <a:pt x="83" y="164"/>
                      </a:lnTo>
                      <a:lnTo>
                        <a:pt x="85" y="163"/>
                      </a:lnTo>
                      <a:lnTo>
                        <a:pt x="89" y="164"/>
                      </a:lnTo>
                      <a:lnTo>
                        <a:pt x="92" y="163"/>
                      </a:lnTo>
                      <a:lnTo>
                        <a:pt x="95" y="165"/>
                      </a:lnTo>
                      <a:lnTo>
                        <a:pt x="96" y="164"/>
                      </a:lnTo>
                      <a:lnTo>
                        <a:pt x="96" y="161"/>
                      </a:lnTo>
                      <a:lnTo>
                        <a:pt x="92" y="159"/>
                      </a:lnTo>
                      <a:lnTo>
                        <a:pt x="92" y="157"/>
                      </a:lnTo>
                      <a:lnTo>
                        <a:pt x="96" y="151"/>
                      </a:lnTo>
                      <a:lnTo>
                        <a:pt x="99" y="149"/>
                      </a:lnTo>
                      <a:lnTo>
                        <a:pt x="101" y="145"/>
                      </a:lnTo>
                      <a:lnTo>
                        <a:pt x="103" y="145"/>
                      </a:lnTo>
                      <a:lnTo>
                        <a:pt x="103" y="142"/>
                      </a:lnTo>
                      <a:lnTo>
                        <a:pt x="103" y="139"/>
                      </a:lnTo>
                      <a:lnTo>
                        <a:pt x="103" y="139"/>
                      </a:lnTo>
                      <a:lnTo>
                        <a:pt x="98" y="131"/>
                      </a:lnTo>
                      <a:lnTo>
                        <a:pt x="96" y="129"/>
                      </a:lnTo>
                      <a:lnTo>
                        <a:pt x="90" y="125"/>
                      </a:lnTo>
                      <a:lnTo>
                        <a:pt x="88" y="124"/>
                      </a:lnTo>
                      <a:lnTo>
                        <a:pt x="87" y="120"/>
                      </a:lnTo>
                      <a:lnTo>
                        <a:pt x="87" y="117"/>
                      </a:lnTo>
                      <a:lnTo>
                        <a:pt x="84" y="111"/>
                      </a:lnTo>
                      <a:lnTo>
                        <a:pt x="80" y="108"/>
                      </a:lnTo>
                      <a:lnTo>
                        <a:pt x="80" y="106"/>
                      </a:lnTo>
                      <a:lnTo>
                        <a:pt x="82" y="105"/>
                      </a:lnTo>
                      <a:lnTo>
                        <a:pt x="83" y="106"/>
                      </a:lnTo>
                      <a:lnTo>
                        <a:pt x="85" y="107"/>
                      </a:lnTo>
                      <a:lnTo>
                        <a:pt x="90" y="102"/>
                      </a:lnTo>
                      <a:lnTo>
                        <a:pt x="92" y="102"/>
                      </a:lnTo>
                      <a:lnTo>
                        <a:pt x="96" y="98"/>
                      </a:lnTo>
                      <a:lnTo>
                        <a:pt x="99" y="98"/>
                      </a:lnTo>
                      <a:lnTo>
                        <a:pt x="100" y="95"/>
                      </a:lnTo>
                      <a:lnTo>
                        <a:pt x="105" y="95"/>
                      </a:lnTo>
                      <a:lnTo>
                        <a:pt x="106" y="96"/>
                      </a:lnTo>
                      <a:lnTo>
                        <a:pt x="109" y="94"/>
                      </a:lnTo>
                      <a:lnTo>
                        <a:pt x="109" y="91"/>
                      </a:lnTo>
                      <a:lnTo>
                        <a:pt x="113" y="92"/>
                      </a:lnTo>
                      <a:lnTo>
                        <a:pt x="115" y="90"/>
                      </a:lnTo>
                      <a:lnTo>
                        <a:pt x="117" y="92"/>
                      </a:lnTo>
                      <a:lnTo>
                        <a:pt x="118" y="91"/>
                      </a:lnTo>
                      <a:lnTo>
                        <a:pt x="119" y="89"/>
                      </a:lnTo>
                      <a:lnTo>
                        <a:pt x="118" y="80"/>
                      </a:lnTo>
                      <a:lnTo>
                        <a:pt x="117" y="78"/>
                      </a:lnTo>
                      <a:lnTo>
                        <a:pt x="115" y="76"/>
                      </a:lnTo>
                      <a:lnTo>
                        <a:pt x="112" y="69"/>
                      </a:lnTo>
                      <a:lnTo>
                        <a:pt x="113" y="66"/>
                      </a:lnTo>
                      <a:lnTo>
                        <a:pt x="112" y="63"/>
                      </a:lnTo>
                      <a:lnTo>
                        <a:pt x="112" y="60"/>
                      </a:lnTo>
                      <a:lnTo>
                        <a:pt x="110" y="57"/>
                      </a:lnTo>
                      <a:lnTo>
                        <a:pt x="110" y="54"/>
                      </a:lnTo>
                      <a:lnTo>
                        <a:pt x="106" y="48"/>
                      </a:lnTo>
                      <a:lnTo>
                        <a:pt x="106" y="46"/>
                      </a:lnTo>
                      <a:lnTo>
                        <a:pt x="110" y="43"/>
                      </a:lnTo>
                      <a:lnTo>
                        <a:pt x="110" y="37"/>
                      </a:lnTo>
                      <a:lnTo>
                        <a:pt x="109" y="30"/>
                      </a:lnTo>
                      <a:lnTo>
                        <a:pt x="106" y="30"/>
                      </a:lnTo>
                      <a:lnTo>
                        <a:pt x="105" y="28"/>
                      </a:lnTo>
                      <a:lnTo>
                        <a:pt x="103" y="29"/>
                      </a:lnTo>
                      <a:lnTo>
                        <a:pt x="100" y="27"/>
                      </a:lnTo>
                      <a:lnTo>
                        <a:pt x="100" y="23"/>
                      </a:lnTo>
                      <a:lnTo>
                        <a:pt x="99" y="20"/>
                      </a:lnTo>
                      <a:lnTo>
                        <a:pt x="96" y="20"/>
                      </a:lnTo>
                      <a:lnTo>
                        <a:pt x="92" y="17"/>
                      </a:lnTo>
                      <a:lnTo>
                        <a:pt x="90" y="16"/>
                      </a:lnTo>
                      <a:lnTo>
                        <a:pt x="89" y="14"/>
                      </a:lnTo>
                      <a:lnTo>
                        <a:pt x="88" y="15"/>
                      </a:lnTo>
                      <a:lnTo>
                        <a:pt x="85" y="15"/>
                      </a:lnTo>
                      <a:lnTo>
                        <a:pt x="82" y="18"/>
                      </a:lnTo>
                      <a:lnTo>
                        <a:pt x="81" y="17"/>
                      </a:lnTo>
                      <a:lnTo>
                        <a:pt x="82" y="15"/>
                      </a:lnTo>
                      <a:lnTo>
                        <a:pt x="82" y="15"/>
                      </a:lnTo>
                      <a:lnTo>
                        <a:pt x="84" y="14"/>
                      </a:lnTo>
                      <a:lnTo>
                        <a:pt x="86" y="13"/>
                      </a:lnTo>
                      <a:lnTo>
                        <a:pt x="83" y="12"/>
                      </a:lnTo>
                      <a:lnTo>
                        <a:pt x="82" y="13"/>
                      </a:lnTo>
                      <a:lnTo>
                        <a:pt x="82" y="14"/>
                      </a:lnTo>
                      <a:lnTo>
                        <a:pt x="78" y="17"/>
                      </a:lnTo>
                      <a:lnTo>
                        <a:pt x="78" y="18"/>
                      </a:lnTo>
                      <a:lnTo>
                        <a:pt x="73" y="19"/>
                      </a:lnTo>
                      <a:lnTo>
                        <a:pt x="72" y="22"/>
                      </a:lnTo>
                      <a:lnTo>
                        <a:pt x="71" y="24"/>
                      </a:lnTo>
                      <a:lnTo>
                        <a:pt x="68" y="25"/>
                      </a:lnTo>
                      <a:lnTo>
                        <a:pt x="67" y="23"/>
                      </a:lnTo>
                      <a:lnTo>
                        <a:pt x="65" y="23"/>
                      </a:lnTo>
                      <a:lnTo>
                        <a:pt x="63" y="24"/>
                      </a:lnTo>
                      <a:lnTo>
                        <a:pt x="60" y="22"/>
                      </a:lnTo>
                      <a:lnTo>
                        <a:pt x="62" y="20"/>
                      </a:lnTo>
                      <a:lnTo>
                        <a:pt x="64" y="20"/>
                      </a:lnTo>
                      <a:lnTo>
                        <a:pt x="65" y="17"/>
                      </a:lnTo>
                      <a:lnTo>
                        <a:pt x="65" y="15"/>
                      </a:lnTo>
                      <a:lnTo>
                        <a:pt x="65" y="14"/>
                      </a:lnTo>
                      <a:lnTo>
                        <a:pt x="62" y="16"/>
                      </a:lnTo>
                      <a:lnTo>
                        <a:pt x="61" y="17"/>
                      </a:lnTo>
                      <a:lnTo>
                        <a:pt x="58" y="14"/>
                      </a:lnTo>
                      <a:lnTo>
                        <a:pt x="57" y="13"/>
                      </a:lnTo>
                      <a:lnTo>
                        <a:pt x="55" y="13"/>
                      </a:lnTo>
                      <a:lnTo>
                        <a:pt x="54" y="15"/>
                      </a:lnTo>
                      <a:lnTo>
                        <a:pt x="53" y="17"/>
                      </a:lnTo>
                      <a:lnTo>
                        <a:pt x="51" y="14"/>
                      </a:lnTo>
                      <a:lnTo>
                        <a:pt x="50" y="13"/>
                      </a:lnTo>
                      <a:lnTo>
                        <a:pt x="49" y="12"/>
                      </a:lnTo>
                      <a:lnTo>
                        <a:pt x="50" y="10"/>
                      </a:lnTo>
                      <a:lnTo>
                        <a:pt x="51" y="6"/>
                      </a:lnTo>
                      <a:lnTo>
                        <a:pt x="49" y="6"/>
                      </a:lnTo>
                      <a:lnTo>
                        <a:pt x="46" y="2"/>
                      </a:lnTo>
                      <a:lnTo>
                        <a:pt x="44" y="3"/>
                      </a:lnTo>
                      <a:lnTo>
                        <a:pt x="42" y="2"/>
                      </a:lnTo>
                      <a:lnTo>
                        <a:pt x="37" y="0"/>
                      </a:lnTo>
                      <a:lnTo>
                        <a:pt x="33" y="0"/>
                      </a:lnTo>
                      <a:lnTo>
                        <a:pt x="33" y="1"/>
                      </a:lnTo>
                      <a:lnTo>
                        <a:pt x="33" y="4"/>
                      </a:lnTo>
                      <a:lnTo>
                        <a:pt x="35" y="6"/>
                      </a:lnTo>
                      <a:lnTo>
                        <a:pt x="37" y="6"/>
                      </a:lnTo>
                      <a:lnTo>
                        <a:pt x="37" y="8"/>
                      </a:lnTo>
                      <a:lnTo>
                        <a:pt x="40" y="11"/>
                      </a:lnTo>
                      <a:lnTo>
                        <a:pt x="37" y="13"/>
                      </a:lnTo>
                      <a:lnTo>
                        <a:pt x="34" y="13"/>
                      </a:lnTo>
                      <a:lnTo>
                        <a:pt x="34" y="16"/>
                      </a:lnTo>
                      <a:lnTo>
                        <a:pt x="37" y="14"/>
                      </a:lnTo>
                      <a:lnTo>
                        <a:pt x="37" y="18"/>
                      </a:lnTo>
                      <a:lnTo>
                        <a:pt x="40" y="20"/>
                      </a:lnTo>
                      <a:lnTo>
                        <a:pt x="37" y="22"/>
                      </a:lnTo>
                      <a:lnTo>
                        <a:pt x="37" y="24"/>
                      </a:lnTo>
                      <a:lnTo>
                        <a:pt x="39" y="26"/>
                      </a:lnTo>
                      <a:lnTo>
                        <a:pt x="43" y="27"/>
                      </a:lnTo>
                      <a:lnTo>
                        <a:pt x="47" y="32"/>
                      </a:lnTo>
                      <a:lnTo>
                        <a:pt x="53" y="34"/>
                      </a:lnTo>
                      <a:lnTo>
                        <a:pt x="47" y="34"/>
                      </a:lnTo>
                      <a:lnTo>
                        <a:pt x="42" y="27"/>
                      </a:lnTo>
                      <a:lnTo>
                        <a:pt x="40" y="29"/>
                      </a:lnTo>
                      <a:lnTo>
                        <a:pt x="37" y="27"/>
                      </a:lnTo>
                      <a:lnTo>
                        <a:pt x="35" y="28"/>
                      </a:lnTo>
                      <a:lnTo>
                        <a:pt x="33" y="31"/>
                      </a:lnTo>
                      <a:lnTo>
                        <a:pt x="33" y="34"/>
                      </a:lnTo>
                      <a:lnTo>
                        <a:pt x="33" y="39"/>
                      </a:lnTo>
                      <a:lnTo>
                        <a:pt x="35" y="42"/>
                      </a:lnTo>
                      <a:lnTo>
                        <a:pt x="32" y="38"/>
                      </a:lnTo>
                      <a:lnTo>
                        <a:pt x="32" y="34"/>
                      </a:lnTo>
                      <a:lnTo>
                        <a:pt x="30" y="32"/>
                      </a:lnTo>
                      <a:lnTo>
                        <a:pt x="29" y="33"/>
                      </a:lnTo>
                      <a:lnTo>
                        <a:pt x="29" y="35"/>
                      </a:lnTo>
                      <a:lnTo>
                        <a:pt x="30" y="38"/>
                      </a:lnTo>
                      <a:lnTo>
                        <a:pt x="29" y="40"/>
                      </a:lnTo>
                      <a:lnTo>
                        <a:pt x="26" y="37"/>
                      </a:lnTo>
                      <a:lnTo>
                        <a:pt x="26" y="33"/>
                      </a:lnTo>
                      <a:lnTo>
                        <a:pt x="23" y="30"/>
                      </a:lnTo>
                      <a:lnTo>
                        <a:pt x="22" y="31"/>
                      </a:lnTo>
                      <a:lnTo>
                        <a:pt x="15" y="33"/>
                      </a:lnTo>
                      <a:lnTo>
                        <a:pt x="15" y="36"/>
                      </a:lnTo>
                      <a:lnTo>
                        <a:pt x="16" y="39"/>
                      </a:lnTo>
                      <a:lnTo>
                        <a:pt x="19" y="40"/>
                      </a:lnTo>
                      <a:lnTo>
                        <a:pt x="20" y="43"/>
                      </a:lnTo>
                      <a:lnTo>
                        <a:pt x="20" y="43"/>
                      </a:lnTo>
                      <a:lnTo>
                        <a:pt x="20" y="44"/>
                      </a:lnTo>
                      <a:lnTo>
                        <a:pt x="19" y="4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74" name="Freeform 676">
                  <a:extLst>
                    <a:ext uri="{FF2B5EF4-FFF2-40B4-BE49-F238E27FC236}">
                      <a16:creationId xmlns:a16="http://schemas.microsoft.com/office/drawing/2014/main" id="{3DB93A14-E45D-47AB-B1DF-39602888C1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6" y="1931"/>
                  <a:ext cx="3" cy="4"/>
                </a:xfrm>
                <a:custGeom>
                  <a:avLst/>
                  <a:gdLst>
                    <a:gd name="T0" fmla="*/ 0 w 3"/>
                    <a:gd name="T1" fmla="*/ 3 h 4"/>
                    <a:gd name="T2" fmla="*/ 1 w 3"/>
                    <a:gd name="T3" fmla="*/ 4 h 4"/>
                    <a:gd name="T4" fmla="*/ 3 w 3"/>
                    <a:gd name="T5" fmla="*/ 4 h 4"/>
                    <a:gd name="T6" fmla="*/ 3 w 3"/>
                    <a:gd name="T7" fmla="*/ 1 h 4"/>
                    <a:gd name="T8" fmla="*/ 1 w 3"/>
                    <a:gd name="T9" fmla="*/ 0 h 4"/>
                    <a:gd name="T10" fmla="*/ 1 w 3"/>
                    <a:gd name="T11" fmla="*/ 0 h 4"/>
                    <a:gd name="T12" fmla="*/ 0 w 3"/>
                    <a:gd name="T13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4">
                      <a:moveTo>
                        <a:pt x="0" y="3"/>
                      </a:moveTo>
                      <a:lnTo>
                        <a:pt x="1" y="4"/>
                      </a:lnTo>
                      <a:lnTo>
                        <a:pt x="3" y="4"/>
                      </a:lnTo>
                      <a:lnTo>
                        <a:pt x="3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75" name="Freeform 677">
                  <a:extLst>
                    <a:ext uri="{FF2B5EF4-FFF2-40B4-BE49-F238E27FC236}">
                      <a16:creationId xmlns:a16="http://schemas.microsoft.com/office/drawing/2014/main" id="{F2F71210-9493-457E-9044-C174567A47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78" y="1920"/>
                  <a:ext cx="64" cy="43"/>
                </a:xfrm>
                <a:custGeom>
                  <a:avLst/>
                  <a:gdLst>
                    <a:gd name="T0" fmla="*/ 60 w 64"/>
                    <a:gd name="T1" fmla="*/ 15 h 43"/>
                    <a:gd name="T2" fmla="*/ 55 w 64"/>
                    <a:gd name="T3" fmla="*/ 14 h 43"/>
                    <a:gd name="T4" fmla="*/ 51 w 64"/>
                    <a:gd name="T5" fmla="*/ 15 h 43"/>
                    <a:gd name="T6" fmla="*/ 48 w 64"/>
                    <a:gd name="T7" fmla="*/ 14 h 43"/>
                    <a:gd name="T8" fmla="*/ 49 w 64"/>
                    <a:gd name="T9" fmla="*/ 8 h 43"/>
                    <a:gd name="T10" fmla="*/ 42 w 64"/>
                    <a:gd name="T11" fmla="*/ 2 h 43"/>
                    <a:gd name="T12" fmla="*/ 39 w 64"/>
                    <a:gd name="T13" fmla="*/ 4 h 43"/>
                    <a:gd name="T14" fmla="*/ 36 w 64"/>
                    <a:gd name="T15" fmla="*/ 0 h 43"/>
                    <a:gd name="T16" fmla="*/ 34 w 64"/>
                    <a:gd name="T17" fmla="*/ 3 h 43"/>
                    <a:gd name="T18" fmla="*/ 29 w 64"/>
                    <a:gd name="T19" fmla="*/ 4 h 43"/>
                    <a:gd name="T20" fmla="*/ 24 w 64"/>
                    <a:gd name="T21" fmla="*/ 4 h 43"/>
                    <a:gd name="T22" fmla="*/ 17 w 64"/>
                    <a:gd name="T23" fmla="*/ 6 h 43"/>
                    <a:gd name="T24" fmla="*/ 13 w 64"/>
                    <a:gd name="T25" fmla="*/ 4 h 43"/>
                    <a:gd name="T26" fmla="*/ 14 w 64"/>
                    <a:gd name="T27" fmla="*/ 8 h 43"/>
                    <a:gd name="T28" fmla="*/ 13 w 64"/>
                    <a:gd name="T29" fmla="*/ 13 h 43"/>
                    <a:gd name="T30" fmla="*/ 7 w 64"/>
                    <a:gd name="T31" fmla="*/ 18 h 43"/>
                    <a:gd name="T32" fmla="*/ 3 w 64"/>
                    <a:gd name="T33" fmla="*/ 31 h 43"/>
                    <a:gd name="T34" fmla="*/ 2 w 64"/>
                    <a:gd name="T35" fmla="*/ 34 h 43"/>
                    <a:gd name="T36" fmla="*/ 0 w 64"/>
                    <a:gd name="T37" fmla="*/ 37 h 43"/>
                    <a:gd name="T38" fmla="*/ 6 w 64"/>
                    <a:gd name="T39" fmla="*/ 36 h 43"/>
                    <a:gd name="T40" fmla="*/ 7 w 64"/>
                    <a:gd name="T41" fmla="*/ 30 h 43"/>
                    <a:gd name="T42" fmla="*/ 13 w 64"/>
                    <a:gd name="T43" fmla="*/ 33 h 43"/>
                    <a:gd name="T44" fmla="*/ 16 w 64"/>
                    <a:gd name="T45" fmla="*/ 39 h 43"/>
                    <a:gd name="T46" fmla="*/ 19 w 64"/>
                    <a:gd name="T47" fmla="*/ 43 h 43"/>
                    <a:gd name="T48" fmla="*/ 28 w 64"/>
                    <a:gd name="T49" fmla="*/ 40 h 43"/>
                    <a:gd name="T50" fmla="*/ 37 w 64"/>
                    <a:gd name="T51" fmla="*/ 32 h 43"/>
                    <a:gd name="T52" fmla="*/ 41 w 64"/>
                    <a:gd name="T53" fmla="*/ 39 h 43"/>
                    <a:gd name="T54" fmla="*/ 45 w 64"/>
                    <a:gd name="T55" fmla="*/ 36 h 43"/>
                    <a:gd name="T56" fmla="*/ 51 w 64"/>
                    <a:gd name="T57" fmla="*/ 33 h 43"/>
                    <a:gd name="T58" fmla="*/ 56 w 64"/>
                    <a:gd name="T59" fmla="*/ 35 h 43"/>
                    <a:gd name="T60" fmla="*/ 62 w 64"/>
                    <a:gd name="T61" fmla="*/ 28 h 43"/>
                    <a:gd name="T62" fmla="*/ 64 w 64"/>
                    <a:gd name="T63" fmla="*/ 18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4" h="43">
                      <a:moveTo>
                        <a:pt x="62" y="15"/>
                      </a:moveTo>
                      <a:lnTo>
                        <a:pt x="60" y="15"/>
                      </a:lnTo>
                      <a:lnTo>
                        <a:pt x="58" y="18"/>
                      </a:lnTo>
                      <a:lnTo>
                        <a:pt x="55" y="14"/>
                      </a:lnTo>
                      <a:lnTo>
                        <a:pt x="53" y="15"/>
                      </a:lnTo>
                      <a:lnTo>
                        <a:pt x="51" y="15"/>
                      </a:lnTo>
                      <a:lnTo>
                        <a:pt x="49" y="15"/>
                      </a:lnTo>
                      <a:lnTo>
                        <a:pt x="48" y="14"/>
                      </a:lnTo>
                      <a:lnTo>
                        <a:pt x="49" y="11"/>
                      </a:lnTo>
                      <a:lnTo>
                        <a:pt x="49" y="8"/>
                      </a:lnTo>
                      <a:lnTo>
                        <a:pt x="46" y="6"/>
                      </a:lnTo>
                      <a:lnTo>
                        <a:pt x="42" y="2"/>
                      </a:lnTo>
                      <a:lnTo>
                        <a:pt x="41" y="2"/>
                      </a:lnTo>
                      <a:lnTo>
                        <a:pt x="39" y="4"/>
                      </a:lnTo>
                      <a:lnTo>
                        <a:pt x="37" y="3"/>
                      </a:lnTo>
                      <a:lnTo>
                        <a:pt x="36" y="0"/>
                      </a:lnTo>
                      <a:lnTo>
                        <a:pt x="34" y="1"/>
                      </a:lnTo>
                      <a:lnTo>
                        <a:pt x="34" y="3"/>
                      </a:lnTo>
                      <a:lnTo>
                        <a:pt x="33" y="5"/>
                      </a:lnTo>
                      <a:lnTo>
                        <a:pt x="29" y="4"/>
                      </a:lnTo>
                      <a:lnTo>
                        <a:pt x="27" y="5"/>
                      </a:lnTo>
                      <a:lnTo>
                        <a:pt x="24" y="4"/>
                      </a:lnTo>
                      <a:lnTo>
                        <a:pt x="20" y="7"/>
                      </a:lnTo>
                      <a:lnTo>
                        <a:pt x="17" y="6"/>
                      </a:lnTo>
                      <a:lnTo>
                        <a:pt x="17" y="4"/>
                      </a:lnTo>
                      <a:lnTo>
                        <a:pt x="13" y="4"/>
                      </a:lnTo>
                      <a:lnTo>
                        <a:pt x="11" y="7"/>
                      </a:lnTo>
                      <a:lnTo>
                        <a:pt x="14" y="8"/>
                      </a:lnTo>
                      <a:lnTo>
                        <a:pt x="15" y="12"/>
                      </a:lnTo>
                      <a:lnTo>
                        <a:pt x="13" y="13"/>
                      </a:lnTo>
                      <a:lnTo>
                        <a:pt x="10" y="18"/>
                      </a:lnTo>
                      <a:lnTo>
                        <a:pt x="7" y="18"/>
                      </a:lnTo>
                      <a:lnTo>
                        <a:pt x="4" y="25"/>
                      </a:lnTo>
                      <a:lnTo>
                        <a:pt x="3" y="31"/>
                      </a:lnTo>
                      <a:lnTo>
                        <a:pt x="3" y="34"/>
                      </a:lnTo>
                      <a:lnTo>
                        <a:pt x="2" y="34"/>
                      </a:lnTo>
                      <a:lnTo>
                        <a:pt x="0" y="35"/>
                      </a:lnTo>
                      <a:lnTo>
                        <a:pt x="0" y="37"/>
                      </a:lnTo>
                      <a:lnTo>
                        <a:pt x="3" y="38"/>
                      </a:lnTo>
                      <a:lnTo>
                        <a:pt x="6" y="36"/>
                      </a:lnTo>
                      <a:lnTo>
                        <a:pt x="6" y="32"/>
                      </a:lnTo>
                      <a:lnTo>
                        <a:pt x="7" y="30"/>
                      </a:lnTo>
                      <a:lnTo>
                        <a:pt x="12" y="30"/>
                      </a:lnTo>
                      <a:lnTo>
                        <a:pt x="13" y="33"/>
                      </a:lnTo>
                      <a:lnTo>
                        <a:pt x="14" y="37"/>
                      </a:lnTo>
                      <a:lnTo>
                        <a:pt x="16" y="39"/>
                      </a:lnTo>
                      <a:lnTo>
                        <a:pt x="16" y="42"/>
                      </a:lnTo>
                      <a:lnTo>
                        <a:pt x="19" y="43"/>
                      </a:lnTo>
                      <a:lnTo>
                        <a:pt x="24" y="39"/>
                      </a:lnTo>
                      <a:lnTo>
                        <a:pt x="28" y="40"/>
                      </a:lnTo>
                      <a:lnTo>
                        <a:pt x="34" y="30"/>
                      </a:lnTo>
                      <a:lnTo>
                        <a:pt x="37" y="32"/>
                      </a:lnTo>
                      <a:lnTo>
                        <a:pt x="36" y="36"/>
                      </a:lnTo>
                      <a:lnTo>
                        <a:pt x="41" y="39"/>
                      </a:lnTo>
                      <a:lnTo>
                        <a:pt x="42" y="42"/>
                      </a:lnTo>
                      <a:lnTo>
                        <a:pt x="45" y="36"/>
                      </a:lnTo>
                      <a:lnTo>
                        <a:pt x="45" y="32"/>
                      </a:lnTo>
                      <a:lnTo>
                        <a:pt x="51" y="33"/>
                      </a:lnTo>
                      <a:lnTo>
                        <a:pt x="54" y="33"/>
                      </a:lnTo>
                      <a:lnTo>
                        <a:pt x="56" y="35"/>
                      </a:lnTo>
                      <a:lnTo>
                        <a:pt x="57" y="29"/>
                      </a:lnTo>
                      <a:lnTo>
                        <a:pt x="62" y="28"/>
                      </a:lnTo>
                      <a:lnTo>
                        <a:pt x="61" y="22"/>
                      </a:lnTo>
                      <a:lnTo>
                        <a:pt x="64" y="18"/>
                      </a:lnTo>
                      <a:lnTo>
                        <a:pt x="62" y="1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76" name="Freeform 678">
                  <a:extLst>
                    <a:ext uri="{FF2B5EF4-FFF2-40B4-BE49-F238E27FC236}">
                      <a16:creationId xmlns:a16="http://schemas.microsoft.com/office/drawing/2014/main" id="{5362BB9F-2760-49EF-BA70-8C1A0DEAE2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49" y="1836"/>
                  <a:ext cx="4" cy="2"/>
                </a:xfrm>
                <a:custGeom>
                  <a:avLst/>
                  <a:gdLst>
                    <a:gd name="T0" fmla="*/ 2 w 4"/>
                    <a:gd name="T1" fmla="*/ 2 h 2"/>
                    <a:gd name="T2" fmla="*/ 4 w 4"/>
                    <a:gd name="T3" fmla="*/ 2 h 2"/>
                    <a:gd name="T4" fmla="*/ 2 w 4"/>
                    <a:gd name="T5" fmla="*/ 0 h 2"/>
                    <a:gd name="T6" fmla="*/ 0 w 4"/>
                    <a:gd name="T7" fmla="*/ 1 h 2"/>
                    <a:gd name="T8" fmla="*/ 1 w 4"/>
                    <a:gd name="T9" fmla="*/ 2 h 2"/>
                    <a:gd name="T10" fmla="*/ 2 w 4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2">
                      <a:moveTo>
                        <a:pt x="2" y="2"/>
                      </a:move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1" y="2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77" name="Freeform 679">
                  <a:extLst>
                    <a:ext uri="{FF2B5EF4-FFF2-40B4-BE49-F238E27FC236}">
                      <a16:creationId xmlns:a16="http://schemas.microsoft.com/office/drawing/2014/main" id="{CD114FD4-CB33-4C86-A354-DCE474CBC7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0" y="1834"/>
                  <a:ext cx="5" cy="2"/>
                </a:xfrm>
                <a:custGeom>
                  <a:avLst/>
                  <a:gdLst>
                    <a:gd name="T0" fmla="*/ 2 w 5"/>
                    <a:gd name="T1" fmla="*/ 0 h 2"/>
                    <a:gd name="T2" fmla="*/ 3 w 5"/>
                    <a:gd name="T3" fmla="*/ 1 h 2"/>
                    <a:gd name="T4" fmla="*/ 4 w 5"/>
                    <a:gd name="T5" fmla="*/ 2 h 2"/>
                    <a:gd name="T6" fmla="*/ 5 w 5"/>
                    <a:gd name="T7" fmla="*/ 1 h 2"/>
                    <a:gd name="T8" fmla="*/ 2 w 5"/>
                    <a:gd name="T9" fmla="*/ 0 h 2"/>
                    <a:gd name="T10" fmla="*/ 0 w 5"/>
                    <a:gd name="T11" fmla="*/ 0 h 2"/>
                    <a:gd name="T12" fmla="*/ 0 w 5"/>
                    <a:gd name="T13" fmla="*/ 1 h 2"/>
                    <a:gd name="T14" fmla="*/ 2 w 5"/>
                    <a:gd name="T1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2">
                      <a:moveTo>
                        <a:pt x="2" y="0"/>
                      </a:moveTo>
                      <a:lnTo>
                        <a:pt x="3" y="1"/>
                      </a:lnTo>
                      <a:lnTo>
                        <a:pt x="4" y="2"/>
                      </a:lnTo>
                      <a:lnTo>
                        <a:pt x="5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78" name="Freeform 680">
                  <a:extLst>
                    <a:ext uri="{FF2B5EF4-FFF2-40B4-BE49-F238E27FC236}">
                      <a16:creationId xmlns:a16="http://schemas.microsoft.com/office/drawing/2014/main" id="{0F21DEA5-CF24-4467-89A6-1E35B0441F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44" y="1796"/>
                  <a:ext cx="51" cy="56"/>
                </a:xfrm>
                <a:custGeom>
                  <a:avLst/>
                  <a:gdLst>
                    <a:gd name="T0" fmla="*/ 6 w 51"/>
                    <a:gd name="T1" fmla="*/ 50 h 56"/>
                    <a:gd name="T2" fmla="*/ 8 w 51"/>
                    <a:gd name="T3" fmla="*/ 50 h 56"/>
                    <a:gd name="T4" fmla="*/ 12 w 51"/>
                    <a:gd name="T5" fmla="*/ 49 h 56"/>
                    <a:gd name="T6" fmla="*/ 14 w 51"/>
                    <a:gd name="T7" fmla="*/ 45 h 56"/>
                    <a:gd name="T8" fmla="*/ 21 w 51"/>
                    <a:gd name="T9" fmla="*/ 48 h 56"/>
                    <a:gd name="T10" fmla="*/ 24 w 51"/>
                    <a:gd name="T11" fmla="*/ 50 h 56"/>
                    <a:gd name="T12" fmla="*/ 30 w 51"/>
                    <a:gd name="T13" fmla="*/ 52 h 56"/>
                    <a:gd name="T14" fmla="*/ 32 w 51"/>
                    <a:gd name="T15" fmla="*/ 56 h 56"/>
                    <a:gd name="T16" fmla="*/ 34 w 51"/>
                    <a:gd name="T17" fmla="*/ 46 h 56"/>
                    <a:gd name="T18" fmla="*/ 35 w 51"/>
                    <a:gd name="T19" fmla="*/ 38 h 56"/>
                    <a:gd name="T20" fmla="*/ 40 w 51"/>
                    <a:gd name="T21" fmla="*/ 34 h 56"/>
                    <a:gd name="T22" fmla="*/ 46 w 51"/>
                    <a:gd name="T23" fmla="*/ 34 h 56"/>
                    <a:gd name="T24" fmla="*/ 47 w 51"/>
                    <a:gd name="T25" fmla="*/ 29 h 56"/>
                    <a:gd name="T26" fmla="*/ 47 w 51"/>
                    <a:gd name="T27" fmla="*/ 23 h 56"/>
                    <a:gd name="T28" fmla="*/ 43 w 51"/>
                    <a:gd name="T29" fmla="*/ 22 h 56"/>
                    <a:gd name="T30" fmla="*/ 44 w 51"/>
                    <a:gd name="T31" fmla="*/ 16 h 56"/>
                    <a:gd name="T32" fmla="*/ 48 w 51"/>
                    <a:gd name="T33" fmla="*/ 16 h 56"/>
                    <a:gd name="T34" fmla="*/ 50 w 51"/>
                    <a:gd name="T35" fmla="*/ 10 h 56"/>
                    <a:gd name="T36" fmla="*/ 51 w 51"/>
                    <a:gd name="T37" fmla="*/ 7 h 56"/>
                    <a:gd name="T38" fmla="*/ 47 w 51"/>
                    <a:gd name="T39" fmla="*/ 5 h 56"/>
                    <a:gd name="T40" fmla="*/ 42 w 51"/>
                    <a:gd name="T41" fmla="*/ 0 h 56"/>
                    <a:gd name="T42" fmla="*/ 35 w 51"/>
                    <a:gd name="T43" fmla="*/ 4 h 56"/>
                    <a:gd name="T44" fmla="*/ 31 w 51"/>
                    <a:gd name="T45" fmla="*/ 4 h 56"/>
                    <a:gd name="T46" fmla="*/ 25 w 51"/>
                    <a:gd name="T47" fmla="*/ 8 h 56"/>
                    <a:gd name="T48" fmla="*/ 19 w 51"/>
                    <a:gd name="T49" fmla="*/ 11 h 56"/>
                    <a:gd name="T50" fmla="*/ 16 w 51"/>
                    <a:gd name="T51" fmla="*/ 16 h 56"/>
                    <a:gd name="T52" fmla="*/ 13 w 51"/>
                    <a:gd name="T53" fmla="*/ 22 h 56"/>
                    <a:gd name="T54" fmla="*/ 12 w 51"/>
                    <a:gd name="T55" fmla="*/ 29 h 56"/>
                    <a:gd name="T56" fmla="*/ 9 w 51"/>
                    <a:gd name="T57" fmla="*/ 33 h 56"/>
                    <a:gd name="T58" fmla="*/ 12 w 51"/>
                    <a:gd name="T59" fmla="*/ 39 h 56"/>
                    <a:gd name="T60" fmla="*/ 12 w 51"/>
                    <a:gd name="T61" fmla="*/ 40 h 56"/>
                    <a:gd name="T62" fmla="*/ 9 w 51"/>
                    <a:gd name="T63" fmla="*/ 42 h 56"/>
                    <a:gd name="T64" fmla="*/ 12 w 51"/>
                    <a:gd name="T65" fmla="*/ 45 h 56"/>
                    <a:gd name="T66" fmla="*/ 9 w 51"/>
                    <a:gd name="T67" fmla="*/ 46 h 56"/>
                    <a:gd name="T68" fmla="*/ 5 w 51"/>
                    <a:gd name="T69" fmla="*/ 42 h 56"/>
                    <a:gd name="T70" fmla="*/ 3 w 51"/>
                    <a:gd name="T71" fmla="*/ 45 h 56"/>
                    <a:gd name="T72" fmla="*/ 7 w 51"/>
                    <a:gd name="T73" fmla="*/ 48 h 56"/>
                    <a:gd name="T74" fmla="*/ 11 w 51"/>
                    <a:gd name="T75" fmla="*/ 49 h 56"/>
                    <a:gd name="T76" fmla="*/ 6 w 51"/>
                    <a:gd name="T77" fmla="*/ 49 h 56"/>
                    <a:gd name="T78" fmla="*/ 0 w 51"/>
                    <a:gd name="T79" fmla="*/ 47 h 56"/>
                    <a:gd name="T80" fmla="*/ 2 w 51"/>
                    <a:gd name="T81" fmla="*/ 48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51" h="56">
                      <a:moveTo>
                        <a:pt x="3" y="50"/>
                      </a:moveTo>
                      <a:lnTo>
                        <a:pt x="6" y="50"/>
                      </a:lnTo>
                      <a:lnTo>
                        <a:pt x="6" y="52"/>
                      </a:lnTo>
                      <a:lnTo>
                        <a:pt x="8" y="50"/>
                      </a:lnTo>
                      <a:lnTo>
                        <a:pt x="11" y="49"/>
                      </a:lnTo>
                      <a:lnTo>
                        <a:pt x="12" y="49"/>
                      </a:lnTo>
                      <a:lnTo>
                        <a:pt x="13" y="48"/>
                      </a:lnTo>
                      <a:lnTo>
                        <a:pt x="14" y="45"/>
                      </a:lnTo>
                      <a:lnTo>
                        <a:pt x="19" y="45"/>
                      </a:lnTo>
                      <a:lnTo>
                        <a:pt x="21" y="48"/>
                      </a:lnTo>
                      <a:lnTo>
                        <a:pt x="23" y="48"/>
                      </a:lnTo>
                      <a:lnTo>
                        <a:pt x="24" y="50"/>
                      </a:lnTo>
                      <a:lnTo>
                        <a:pt x="28" y="50"/>
                      </a:lnTo>
                      <a:lnTo>
                        <a:pt x="30" y="52"/>
                      </a:lnTo>
                      <a:lnTo>
                        <a:pt x="30" y="55"/>
                      </a:lnTo>
                      <a:lnTo>
                        <a:pt x="32" y="56"/>
                      </a:lnTo>
                      <a:lnTo>
                        <a:pt x="33" y="52"/>
                      </a:lnTo>
                      <a:lnTo>
                        <a:pt x="34" y="46"/>
                      </a:lnTo>
                      <a:lnTo>
                        <a:pt x="33" y="42"/>
                      </a:lnTo>
                      <a:lnTo>
                        <a:pt x="35" y="38"/>
                      </a:lnTo>
                      <a:lnTo>
                        <a:pt x="37" y="35"/>
                      </a:lnTo>
                      <a:lnTo>
                        <a:pt x="40" y="34"/>
                      </a:lnTo>
                      <a:lnTo>
                        <a:pt x="44" y="35"/>
                      </a:lnTo>
                      <a:lnTo>
                        <a:pt x="46" y="34"/>
                      </a:lnTo>
                      <a:lnTo>
                        <a:pt x="44" y="31"/>
                      </a:lnTo>
                      <a:lnTo>
                        <a:pt x="47" y="29"/>
                      </a:lnTo>
                      <a:lnTo>
                        <a:pt x="47" y="25"/>
                      </a:lnTo>
                      <a:lnTo>
                        <a:pt x="47" y="23"/>
                      </a:lnTo>
                      <a:lnTo>
                        <a:pt x="46" y="21"/>
                      </a:lnTo>
                      <a:lnTo>
                        <a:pt x="43" y="22"/>
                      </a:lnTo>
                      <a:lnTo>
                        <a:pt x="42" y="20"/>
                      </a:lnTo>
                      <a:lnTo>
                        <a:pt x="44" y="16"/>
                      </a:lnTo>
                      <a:lnTo>
                        <a:pt x="47" y="18"/>
                      </a:lnTo>
                      <a:lnTo>
                        <a:pt x="48" y="16"/>
                      </a:lnTo>
                      <a:lnTo>
                        <a:pt x="48" y="13"/>
                      </a:lnTo>
                      <a:lnTo>
                        <a:pt x="50" y="10"/>
                      </a:lnTo>
                      <a:lnTo>
                        <a:pt x="50" y="8"/>
                      </a:lnTo>
                      <a:lnTo>
                        <a:pt x="51" y="7"/>
                      </a:lnTo>
                      <a:lnTo>
                        <a:pt x="51" y="6"/>
                      </a:lnTo>
                      <a:lnTo>
                        <a:pt x="47" y="5"/>
                      </a:lnTo>
                      <a:lnTo>
                        <a:pt x="46" y="3"/>
                      </a:lnTo>
                      <a:lnTo>
                        <a:pt x="42" y="0"/>
                      </a:lnTo>
                      <a:lnTo>
                        <a:pt x="37" y="1"/>
                      </a:lnTo>
                      <a:lnTo>
                        <a:pt x="35" y="4"/>
                      </a:lnTo>
                      <a:lnTo>
                        <a:pt x="33" y="2"/>
                      </a:lnTo>
                      <a:lnTo>
                        <a:pt x="31" y="4"/>
                      </a:lnTo>
                      <a:lnTo>
                        <a:pt x="28" y="4"/>
                      </a:lnTo>
                      <a:lnTo>
                        <a:pt x="25" y="8"/>
                      </a:lnTo>
                      <a:lnTo>
                        <a:pt x="19" y="11"/>
                      </a:lnTo>
                      <a:lnTo>
                        <a:pt x="19" y="11"/>
                      </a:lnTo>
                      <a:lnTo>
                        <a:pt x="16" y="12"/>
                      </a:lnTo>
                      <a:lnTo>
                        <a:pt x="16" y="16"/>
                      </a:lnTo>
                      <a:lnTo>
                        <a:pt x="12" y="18"/>
                      </a:lnTo>
                      <a:lnTo>
                        <a:pt x="13" y="22"/>
                      </a:lnTo>
                      <a:lnTo>
                        <a:pt x="12" y="26"/>
                      </a:lnTo>
                      <a:lnTo>
                        <a:pt x="12" y="29"/>
                      </a:lnTo>
                      <a:lnTo>
                        <a:pt x="10" y="31"/>
                      </a:lnTo>
                      <a:lnTo>
                        <a:pt x="9" y="33"/>
                      </a:lnTo>
                      <a:lnTo>
                        <a:pt x="9" y="35"/>
                      </a:lnTo>
                      <a:lnTo>
                        <a:pt x="12" y="39"/>
                      </a:lnTo>
                      <a:lnTo>
                        <a:pt x="15" y="40"/>
                      </a:lnTo>
                      <a:lnTo>
                        <a:pt x="12" y="40"/>
                      </a:lnTo>
                      <a:lnTo>
                        <a:pt x="10" y="42"/>
                      </a:lnTo>
                      <a:lnTo>
                        <a:pt x="9" y="42"/>
                      </a:lnTo>
                      <a:lnTo>
                        <a:pt x="10" y="45"/>
                      </a:lnTo>
                      <a:lnTo>
                        <a:pt x="12" y="45"/>
                      </a:lnTo>
                      <a:lnTo>
                        <a:pt x="12" y="46"/>
                      </a:lnTo>
                      <a:lnTo>
                        <a:pt x="9" y="46"/>
                      </a:lnTo>
                      <a:lnTo>
                        <a:pt x="7" y="44"/>
                      </a:lnTo>
                      <a:lnTo>
                        <a:pt x="5" y="42"/>
                      </a:lnTo>
                      <a:lnTo>
                        <a:pt x="2" y="43"/>
                      </a:lnTo>
                      <a:lnTo>
                        <a:pt x="3" y="45"/>
                      </a:lnTo>
                      <a:lnTo>
                        <a:pt x="6" y="45"/>
                      </a:lnTo>
                      <a:lnTo>
                        <a:pt x="7" y="48"/>
                      </a:lnTo>
                      <a:lnTo>
                        <a:pt x="8" y="47"/>
                      </a:lnTo>
                      <a:lnTo>
                        <a:pt x="11" y="49"/>
                      </a:lnTo>
                      <a:lnTo>
                        <a:pt x="8" y="48"/>
                      </a:lnTo>
                      <a:lnTo>
                        <a:pt x="6" y="49"/>
                      </a:lnTo>
                      <a:lnTo>
                        <a:pt x="2" y="47"/>
                      </a:lnTo>
                      <a:lnTo>
                        <a:pt x="0" y="47"/>
                      </a:lnTo>
                      <a:lnTo>
                        <a:pt x="0" y="47"/>
                      </a:lnTo>
                      <a:lnTo>
                        <a:pt x="2" y="48"/>
                      </a:lnTo>
                      <a:lnTo>
                        <a:pt x="3" y="5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79" name="Freeform 681">
                  <a:extLst>
                    <a:ext uri="{FF2B5EF4-FFF2-40B4-BE49-F238E27FC236}">
                      <a16:creationId xmlns:a16="http://schemas.microsoft.com/office/drawing/2014/main" id="{80438F4B-A964-4A55-ABB6-959779E523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39" y="1841"/>
                  <a:ext cx="40" cy="42"/>
                </a:xfrm>
                <a:custGeom>
                  <a:avLst/>
                  <a:gdLst>
                    <a:gd name="T0" fmla="*/ 3 w 40"/>
                    <a:gd name="T1" fmla="*/ 16 h 42"/>
                    <a:gd name="T2" fmla="*/ 6 w 40"/>
                    <a:gd name="T3" fmla="*/ 17 h 42"/>
                    <a:gd name="T4" fmla="*/ 7 w 40"/>
                    <a:gd name="T5" fmla="*/ 21 h 42"/>
                    <a:gd name="T6" fmla="*/ 11 w 40"/>
                    <a:gd name="T7" fmla="*/ 24 h 42"/>
                    <a:gd name="T8" fmla="*/ 12 w 40"/>
                    <a:gd name="T9" fmla="*/ 24 h 42"/>
                    <a:gd name="T10" fmla="*/ 14 w 40"/>
                    <a:gd name="T11" fmla="*/ 26 h 42"/>
                    <a:gd name="T12" fmla="*/ 16 w 40"/>
                    <a:gd name="T13" fmla="*/ 27 h 42"/>
                    <a:gd name="T14" fmla="*/ 16 w 40"/>
                    <a:gd name="T15" fmla="*/ 31 h 42"/>
                    <a:gd name="T16" fmla="*/ 19 w 40"/>
                    <a:gd name="T17" fmla="*/ 33 h 42"/>
                    <a:gd name="T18" fmla="*/ 21 w 40"/>
                    <a:gd name="T19" fmla="*/ 32 h 42"/>
                    <a:gd name="T20" fmla="*/ 22 w 40"/>
                    <a:gd name="T21" fmla="*/ 32 h 42"/>
                    <a:gd name="T22" fmla="*/ 24 w 40"/>
                    <a:gd name="T23" fmla="*/ 34 h 42"/>
                    <a:gd name="T24" fmla="*/ 25 w 40"/>
                    <a:gd name="T25" fmla="*/ 35 h 42"/>
                    <a:gd name="T26" fmla="*/ 28 w 40"/>
                    <a:gd name="T27" fmla="*/ 39 h 42"/>
                    <a:gd name="T28" fmla="*/ 31 w 40"/>
                    <a:gd name="T29" fmla="*/ 39 h 42"/>
                    <a:gd name="T30" fmla="*/ 34 w 40"/>
                    <a:gd name="T31" fmla="*/ 42 h 42"/>
                    <a:gd name="T32" fmla="*/ 35 w 40"/>
                    <a:gd name="T33" fmla="*/ 41 h 42"/>
                    <a:gd name="T34" fmla="*/ 37 w 40"/>
                    <a:gd name="T35" fmla="*/ 41 h 42"/>
                    <a:gd name="T36" fmla="*/ 37 w 40"/>
                    <a:gd name="T37" fmla="*/ 39 h 42"/>
                    <a:gd name="T38" fmla="*/ 36 w 40"/>
                    <a:gd name="T39" fmla="*/ 38 h 42"/>
                    <a:gd name="T40" fmla="*/ 36 w 40"/>
                    <a:gd name="T41" fmla="*/ 35 h 42"/>
                    <a:gd name="T42" fmla="*/ 35 w 40"/>
                    <a:gd name="T43" fmla="*/ 34 h 42"/>
                    <a:gd name="T44" fmla="*/ 37 w 40"/>
                    <a:gd name="T45" fmla="*/ 31 h 42"/>
                    <a:gd name="T46" fmla="*/ 38 w 40"/>
                    <a:gd name="T47" fmla="*/ 28 h 42"/>
                    <a:gd name="T48" fmla="*/ 38 w 40"/>
                    <a:gd name="T49" fmla="*/ 28 h 42"/>
                    <a:gd name="T50" fmla="*/ 40 w 40"/>
                    <a:gd name="T51" fmla="*/ 24 h 42"/>
                    <a:gd name="T52" fmla="*/ 38 w 40"/>
                    <a:gd name="T53" fmla="*/ 21 h 42"/>
                    <a:gd name="T54" fmla="*/ 38 w 40"/>
                    <a:gd name="T55" fmla="*/ 18 h 42"/>
                    <a:gd name="T56" fmla="*/ 36 w 40"/>
                    <a:gd name="T57" fmla="*/ 14 h 42"/>
                    <a:gd name="T58" fmla="*/ 37 w 40"/>
                    <a:gd name="T59" fmla="*/ 11 h 42"/>
                    <a:gd name="T60" fmla="*/ 37 w 40"/>
                    <a:gd name="T61" fmla="*/ 11 h 42"/>
                    <a:gd name="T62" fmla="*/ 35 w 40"/>
                    <a:gd name="T63" fmla="*/ 10 h 42"/>
                    <a:gd name="T64" fmla="*/ 35 w 40"/>
                    <a:gd name="T65" fmla="*/ 7 h 42"/>
                    <a:gd name="T66" fmla="*/ 33 w 40"/>
                    <a:gd name="T67" fmla="*/ 5 h 42"/>
                    <a:gd name="T68" fmla="*/ 29 w 40"/>
                    <a:gd name="T69" fmla="*/ 5 h 42"/>
                    <a:gd name="T70" fmla="*/ 28 w 40"/>
                    <a:gd name="T71" fmla="*/ 3 h 42"/>
                    <a:gd name="T72" fmla="*/ 26 w 40"/>
                    <a:gd name="T73" fmla="*/ 3 h 42"/>
                    <a:gd name="T74" fmla="*/ 24 w 40"/>
                    <a:gd name="T75" fmla="*/ 0 h 42"/>
                    <a:gd name="T76" fmla="*/ 19 w 40"/>
                    <a:gd name="T77" fmla="*/ 0 h 42"/>
                    <a:gd name="T78" fmla="*/ 18 w 40"/>
                    <a:gd name="T79" fmla="*/ 3 h 42"/>
                    <a:gd name="T80" fmla="*/ 17 w 40"/>
                    <a:gd name="T81" fmla="*/ 4 h 42"/>
                    <a:gd name="T82" fmla="*/ 16 w 40"/>
                    <a:gd name="T83" fmla="*/ 4 h 42"/>
                    <a:gd name="T84" fmla="*/ 13 w 40"/>
                    <a:gd name="T85" fmla="*/ 5 h 42"/>
                    <a:gd name="T86" fmla="*/ 11 w 40"/>
                    <a:gd name="T87" fmla="*/ 7 h 42"/>
                    <a:gd name="T88" fmla="*/ 11 w 40"/>
                    <a:gd name="T89" fmla="*/ 5 h 42"/>
                    <a:gd name="T90" fmla="*/ 8 w 40"/>
                    <a:gd name="T91" fmla="*/ 5 h 42"/>
                    <a:gd name="T92" fmla="*/ 7 w 40"/>
                    <a:gd name="T93" fmla="*/ 3 h 42"/>
                    <a:gd name="T94" fmla="*/ 5 w 40"/>
                    <a:gd name="T95" fmla="*/ 2 h 42"/>
                    <a:gd name="T96" fmla="*/ 2 w 40"/>
                    <a:gd name="T97" fmla="*/ 4 h 42"/>
                    <a:gd name="T98" fmla="*/ 0 w 40"/>
                    <a:gd name="T99" fmla="*/ 9 h 42"/>
                    <a:gd name="T100" fmla="*/ 2 w 40"/>
                    <a:gd name="T101" fmla="*/ 10 h 42"/>
                    <a:gd name="T102" fmla="*/ 3 w 40"/>
                    <a:gd name="T103" fmla="*/ 16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40" h="42">
                      <a:moveTo>
                        <a:pt x="3" y="16"/>
                      </a:moveTo>
                      <a:lnTo>
                        <a:pt x="6" y="17"/>
                      </a:lnTo>
                      <a:lnTo>
                        <a:pt x="7" y="21"/>
                      </a:lnTo>
                      <a:lnTo>
                        <a:pt x="11" y="24"/>
                      </a:lnTo>
                      <a:lnTo>
                        <a:pt x="12" y="24"/>
                      </a:lnTo>
                      <a:lnTo>
                        <a:pt x="14" y="26"/>
                      </a:lnTo>
                      <a:lnTo>
                        <a:pt x="16" y="27"/>
                      </a:lnTo>
                      <a:lnTo>
                        <a:pt x="16" y="31"/>
                      </a:lnTo>
                      <a:lnTo>
                        <a:pt x="19" y="33"/>
                      </a:lnTo>
                      <a:lnTo>
                        <a:pt x="21" y="32"/>
                      </a:lnTo>
                      <a:lnTo>
                        <a:pt x="22" y="32"/>
                      </a:lnTo>
                      <a:lnTo>
                        <a:pt x="24" y="34"/>
                      </a:lnTo>
                      <a:lnTo>
                        <a:pt x="25" y="35"/>
                      </a:lnTo>
                      <a:lnTo>
                        <a:pt x="28" y="39"/>
                      </a:lnTo>
                      <a:lnTo>
                        <a:pt x="31" y="39"/>
                      </a:lnTo>
                      <a:lnTo>
                        <a:pt x="34" y="42"/>
                      </a:lnTo>
                      <a:lnTo>
                        <a:pt x="35" y="41"/>
                      </a:lnTo>
                      <a:lnTo>
                        <a:pt x="37" y="41"/>
                      </a:lnTo>
                      <a:lnTo>
                        <a:pt x="37" y="39"/>
                      </a:lnTo>
                      <a:lnTo>
                        <a:pt x="36" y="38"/>
                      </a:lnTo>
                      <a:lnTo>
                        <a:pt x="36" y="35"/>
                      </a:lnTo>
                      <a:lnTo>
                        <a:pt x="35" y="34"/>
                      </a:lnTo>
                      <a:lnTo>
                        <a:pt x="37" y="31"/>
                      </a:lnTo>
                      <a:lnTo>
                        <a:pt x="38" y="28"/>
                      </a:lnTo>
                      <a:lnTo>
                        <a:pt x="38" y="28"/>
                      </a:lnTo>
                      <a:lnTo>
                        <a:pt x="40" y="24"/>
                      </a:lnTo>
                      <a:lnTo>
                        <a:pt x="38" y="21"/>
                      </a:lnTo>
                      <a:lnTo>
                        <a:pt x="38" y="18"/>
                      </a:lnTo>
                      <a:lnTo>
                        <a:pt x="36" y="14"/>
                      </a:lnTo>
                      <a:lnTo>
                        <a:pt x="37" y="11"/>
                      </a:lnTo>
                      <a:lnTo>
                        <a:pt x="37" y="11"/>
                      </a:lnTo>
                      <a:lnTo>
                        <a:pt x="35" y="10"/>
                      </a:lnTo>
                      <a:lnTo>
                        <a:pt x="35" y="7"/>
                      </a:lnTo>
                      <a:lnTo>
                        <a:pt x="33" y="5"/>
                      </a:lnTo>
                      <a:lnTo>
                        <a:pt x="29" y="5"/>
                      </a:lnTo>
                      <a:lnTo>
                        <a:pt x="28" y="3"/>
                      </a:lnTo>
                      <a:lnTo>
                        <a:pt x="26" y="3"/>
                      </a:lnTo>
                      <a:lnTo>
                        <a:pt x="24" y="0"/>
                      </a:lnTo>
                      <a:lnTo>
                        <a:pt x="19" y="0"/>
                      </a:lnTo>
                      <a:lnTo>
                        <a:pt x="18" y="3"/>
                      </a:lnTo>
                      <a:lnTo>
                        <a:pt x="17" y="4"/>
                      </a:lnTo>
                      <a:lnTo>
                        <a:pt x="16" y="4"/>
                      </a:lnTo>
                      <a:lnTo>
                        <a:pt x="13" y="5"/>
                      </a:lnTo>
                      <a:lnTo>
                        <a:pt x="11" y="7"/>
                      </a:lnTo>
                      <a:lnTo>
                        <a:pt x="11" y="5"/>
                      </a:lnTo>
                      <a:lnTo>
                        <a:pt x="8" y="5"/>
                      </a:lnTo>
                      <a:lnTo>
                        <a:pt x="7" y="3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9"/>
                      </a:lnTo>
                      <a:lnTo>
                        <a:pt x="2" y="10"/>
                      </a:lnTo>
                      <a:lnTo>
                        <a:pt x="3" y="1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80" name="Freeform 682">
                  <a:extLst>
                    <a:ext uri="{FF2B5EF4-FFF2-40B4-BE49-F238E27FC236}">
                      <a16:creationId xmlns:a16="http://schemas.microsoft.com/office/drawing/2014/main" id="{7A386248-BF36-4345-90EA-41C44A08B2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74" y="1869"/>
                  <a:ext cx="10" cy="17"/>
                </a:xfrm>
                <a:custGeom>
                  <a:avLst/>
                  <a:gdLst>
                    <a:gd name="T0" fmla="*/ 10 w 10"/>
                    <a:gd name="T1" fmla="*/ 10 h 17"/>
                    <a:gd name="T2" fmla="*/ 8 w 10"/>
                    <a:gd name="T3" fmla="*/ 9 h 17"/>
                    <a:gd name="T4" fmla="*/ 7 w 10"/>
                    <a:gd name="T5" fmla="*/ 6 h 17"/>
                    <a:gd name="T6" fmla="*/ 4 w 10"/>
                    <a:gd name="T7" fmla="*/ 0 h 17"/>
                    <a:gd name="T8" fmla="*/ 3 w 10"/>
                    <a:gd name="T9" fmla="*/ 0 h 17"/>
                    <a:gd name="T10" fmla="*/ 3 w 10"/>
                    <a:gd name="T11" fmla="*/ 0 h 17"/>
                    <a:gd name="T12" fmla="*/ 2 w 10"/>
                    <a:gd name="T13" fmla="*/ 3 h 17"/>
                    <a:gd name="T14" fmla="*/ 0 w 10"/>
                    <a:gd name="T15" fmla="*/ 6 h 17"/>
                    <a:gd name="T16" fmla="*/ 1 w 10"/>
                    <a:gd name="T17" fmla="*/ 7 h 17"/>
                    <a:gd name="T18" fmla="*/ 1 w 10"/>
                    <a:gd name="T19" fmla="*/ 10 h 17"/>
                    <a:gd name="T20" fmla="*/ 2 w 10"/>
                    <a:gd name="T21" fmla="*/ 11 h 17"/>
                    <a:gd name="T22" fmla="*/ 2 w 10"/>
                    <a:gd name="T23" fmla="*/ 13 h 17"/>
                    <a:gd name="T24" fmla="*/ 3 w 10"/>
                    <a:gd name="T25" fmla="*/ 13 h 17"/>
                    <a:gd name="T26" fmla="*/ 4 w 10"/>
                    <a:gd name="T27" fmla="*/ 16 h 17"/>
                    <a:gd name="T28" fmla="*/ 7 w 10"/>
                    <a:gd name="T29" fmla="*/ 17 h 17"/>
                    <a:gd name="T30" fmla="*/ 10 w 10"/>
                    <a:gd name="T31" fmla="*/ 16 h 17"/>
                    <a:gd name="T32" fmla="*/ 10 w 10"/>
                    <a:gd name="T33" fmla="*/ 1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0" h="17">
                      <a:moveTo>
                        <a:pt x="10" y="10"/>
                      </a:moveTo>
                      <a:lnTo>
                        <a:pt x="8" y="9"/>
                      </a:lnTo>
                      <a:lnTo>
                        <a:pt x="7" y="6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2" y="3"/>
                      </a:lnTo>
                      <a:lnTo>
                        <a:pt x="0" y="6"/>
                      </a:lnTo>
                      <a:lnTo>
                        <a:pt x="1" y="7"/>
                      </a:lnTo>
                      <a:lnTo>
                        <a:pt x="1" y="10"/>
                      </a:lnTo>
                      <a:lnTo>
                        <a:pt x="2" y="11"/>
                      </a:lnTo>
                      <a:lnTo>
                        <a:pt x="2" y="13"/>
                      </a:lnTo>
                      <a:lnTo>
                        <a:pt x="3" y="13"/>
                      </a:lnTo>
                      <a:lnTo>
                        <a:pt x="4" y="16"/>
                      </a:lnTo>
                      <a:lnTo>
                        <a:pt x="7" y="17"/>
                      </a:lnTo>
                      <a:lnTo>
                        <a:pt x="10" y="16"/>
                      </a:lnTo>
                      <a:lnTo>
                        <a:pt x="10" y="1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81" name="Freeform 683">
                  <a:extLst>
                    <a:ext uri="{FF2B5EF4-FFF2-40B4-BE49-F238E27FC236}">
                      <a16:creationId xmlns:a16="http://schemas.microsoft.com/office/drawing/2014/main" id="{6FDE4207-5DBE-4BF9-B4A7-C7463280E7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1" y="1590"/>
                  <a:ext cx="3" cy="6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3 h 6"/>
                    <a:gd name="T4" fmla="*/ 3 w 3"/>
                    <a:gd name="T5" fmla="*/ 1 h 6"/>
                    <a:gd name="T6" fmla="*/ 0 w 3"/>
                    <a:gd name="T7" fmla="*/ 0 h 6"/>
                    <a:gd name="T8" fmla="*/ 3 w 3"/>
                    <a:gd name="T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0" y="0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82" name="Freeform 684">
                  <a:extLst>
                    <a:ext uri="{FF2B5EF4-FFF2-40B4-BE49-F238E27FC236}">
                      <a16:creationId xmlns:a16="http://schemas.microsoft.com/office/drawing/2014/main" id="{DF61A159-96A6-4F4D-8087-DA292B15D7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5" y="1569"/>
                  <a:ext cx="2" cy="2"/>
                </a:xfrm>
                <a:custGeom>
                  <a:avLst/>
                  <a:gdLst>
                    <a:gd name="T0" fmla="*/ 1 w 2"/>
                    <a:gd name="T1" fmla="*/ 0 h 2"/>
                    <a:gd name="T2" fmla="*/ 0 w 2"/>
                    <a:gd name="T3" fmla="*/ 0 h 2"/>
                    <a:gd name="T4" fmla="*/ 2 w 2"/>
                    <a:gd name="T5" fmla="*/ 2 h 2"/>
                    <a:gd name="T6" fmla="*/ 1 w 2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83" name="Freeform 685">
                  <a:extLst>
                    <a:ext uri="{FF2B5EF4-FFF2-40B4-BE49-F238E27FC236}">
                      <a16:creationId xmlns:a16="http://schemas.microsoft.com/office/drawing/2014/main" id="{6D35DA18-DB3A-4FFB-A93D-5650E03EA5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1" y="1569"/>
                  <a:ext cx="4" cy="5"/>
                </a:xfrm>
                <a:custGeom>
                  <a:avLst/>
                  <a:gdLst>
                    <a:gd name="T0" fmla="*/ 6 w 6"/>
                    <a:gd name="T1" fmla="*/ 7 h 7"/>
                    <a:gd name="T2" fmla="*/ 5 w 6"/>
                    <a:gd name="T3" fmla="*/ 3 h 7"/>
                    <a:gd name="T4" fmla="*/ 2 w 6"/>
                    <a:gd name="T5" fmla="*/ 1 h 7"/>
                    <a:gd name="T6" fmla="*/ 0 w 6"/>
                    <a:gd name="T7" fmla="*/ 0 h 7"/>
                    <a:gd name="T8" fmla="*/ 3 w 6"/>
                    <a:gd name="T9" fmla="*/ 6 h 7"/>
                    <a:gd name="T10" fmla="*/ 6 w 6"/>
                    <a:gd name="T1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7">
                      <a:moveTo>
                        <a:pt x="6" y="7"/>
                      </a:move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0" y="0"/>
                        <a:pt x="0" y="0"/>
                      </a:cubicBezTo>
                      <a:cubicBezTo>
                        <a:pt x="3" y="6"/>
                        <a:pt x="3" y="6"/>
                        <a:pt x="3" y="6"/>
                      </a:cubicBezTo>
                      <a:lnTo>
                        <a:pt x="6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84" name="Freeform 686">
                  <a:extLst>
                    <a:ext uri="{FF2B5EF4-FFF2-40B4-BE49-F238E27FC236}">
                      <a16:creationId xmlns:a16="http://schemas.microsoft.com/office/drawing/2014/main" id="{2A919747-B1D8-4B8D-9D46-667CADBFC4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2" y="1582"/>
                  <a:ext cx="2" cy="4"/>
                </a:xfrm>
                <a:custGeom>
                  <a:avLst/>
                  <a:gdLst>
                    <a:gd name="T0" fmla="*/ 2 w 2"/>
                    <a:gd name="T1" fmla="*/ 2 h 4"/>
                    <a:gd name="T2" fmla="*/ 1 w 2"/>
                    <a:gd name="T3" fmla="*/ 0 h 4"/>
                    <a:gd name="T4" fmla="*/ 0 w 2"/>
                    <a:gd name="T5" fmla="*/ 1 h 4"/>
                    <a:gd name="T6" fmla="*/ 2 w 2"/>
                    <a:gd name="T7" fmla="*/ 4 h 4"/>
                    <a:gd name="T8" fmla="*/ 2 w 2"/>
                    <a:gd name="T9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4">
                      <a:moveTo>
                        <a:pt x="2" y="2"/>
                      </a:move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85" name="Freeform 687">
                  <a:extLst>
                    <a:ext uri="{FF2B5EF4-FFF2-40B4-BE49-F238E27FC236}">
                      <a16:creationId xmlns:a16="http://schemas.microsoft.com/office/drawing/2014/main" id="{E4DABCB3-65DD-425F-92CF-46BECD338F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8" y="1569"/>
                  <a:ext cx="7" cy="10"/>
                </a:xfrm>
                <a:custGeom>
                  <a:avLst/>
                  <a:gdLst>
                    <a:gd name="T0" fmla="*/ 5 w 7"/>
                    <a:gd name="T1" fmla="*/ 10 h 10"/>
                    <a:gd name="T2" fmla="*/ 7 w 7"/>
                    <a:gd name="T3" fmla="*/ 10 h 10"/>
                    <a:gd name="T4" fmla="*/ 5 w 7"/>
                    <a:gd name="T5" fmla="*/ 7 h 10"/>
                    <a:gd name="T6" fmla="*/ 1 w 7"/>
                    <a:gd name="T7" fmla="*/ 0 h 10"/>
                    <a:gd name="T8" fmla="*/ 0 w 7"/>
                    <a:gd name="T9" fmla="*/ 2 h 10"/>
                    <a:gd name="T10" fmla="*/ 2 w 7"/>
                    <a:gd name="T11" fmla="*/ 6 h 10"/>
                    <a:gd name="T12" fmla="*/ 5 w 7"/>
                    <a:gd name="T13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10">
                      <a:moveTo>
                        <a:pt x="5" y="10"/>
                      </a:moveTo>
                      <a:lnTo>
                        <a:pt x="7" y="10"/>
                      </a:lnTo>
                      <a:lnTo>
                        <a:pt x="5" y="7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2" y="6"/>
                      </a:lnTo>
                      <a:lnTo>
                        <a:pt x="5" y="1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86" name="Freeform 688">
                  <a:extLst>
                    <a:ext uri="{FF2B5EF4-FFF2-40B4-BE49-F238E27FC236}">
                      <a16:creationId xmlns:a16="http://schemas.microsoft.com/office/drawing/2014/main" id="{7C620947-9724-467C-80C3-74864B8D0B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7" y="1572"/>
                  <a:ext cx="2" cy="4"/>
                </a:xfrm>
                <a:custGeom>
                  <a:avLst/>
                  <a:gdLst>
                    <a:gd name="T0" fmla="*/ 2 w 2"/>
                    <a:gd name="T1" fmla="*/ 4 h 4"/>
                    <a:gd name="T2" fmla="*/ 0 w 2"/>
                    <a:gd name="T3" fmla="*/ 0 h 4"/>
                    <a:gd name="T4" fmla="*/ 0 w 2"/>
                    <a:gd name="T5" fmla="*/ 3 h 4"/>
                    <a:gd name="T6" fmla="*/ 2 w 2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4">
                      <a:moveTo>
                        <a:pt x="2" y="4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87" name="Freeform 689">
                  <a:extLst>
                    <a:ext uri="{FF2B5EF4-FFF2-40B4-BE49-F238E27FC236}">
                      <a16:creationId xmlns:a16="http://schemas.microsoft.com/office/drawing/2014/main" id="{DCA26C83-10AC-41FD-BC44-F46D8F17E3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73" y="1748"/>
                  <a:ext cx="56" cy="90"/>
                </a:xfrm>
                <a:custGeom>
                  <a:avLst/>
                  <a:gdLst>
                    <a:gd name="T0" fmla="*/ 28 w 56"/>
                    <a:gd name="T1" fmla="*/ 13 h 90"/>
                    <a:gd name="T2" fmla="*/ 25 w 56"/>
                    <a:gd name="T3" fmla="*/ 17 h 90"/>
                    <a:gd name="T4" fmla="*/ 31 w 56"/>
                    <a:gd name="T5" fmla="*/ 17 h 90"/>
                    <a:gd name="T6" fmla="*/ 25 w 56"/>
                    <a:gd name="T7" fmla="*/ 23 h 90"/>
                    <a:gd name="T8" fmla="*/ 21 w 56"/>
                    <a:gd name="T9" fmla="*/ 24 h 90"/>
                    <a:gd name="T10" fmla="*/ 11 w 56"/>
                    <a:gd name="T11" fmla="*/ 23 h 90"/>
                    <a:gd name="T12" fmla="*/ 7 w 56"/>
                    <a:gd name="T13" fmla="*/ 28 h 90"/>
                    <a:gd name="T14" fmla="*/ 10 w 56"/>
                    <a:gd name="T15" fmla="*/ 29 h 90"/>
                    <a:gd name="T16" fmla="*/ 9 w 56"/>
                    <a:gd name="T17" fmla="*/ 30 h 90"/>
                    <a:gd name="T18" fmla="*/ 12 w 56"/>
                    <a:gd name="T19" fmla="*/ 33 h 90"/>
                    <a:gd name="T20" fmla="*/ 9 w 56"/>
                    <a:gd name="T21" fmla="*/ 38 h 90"/>
                    <a:gd name="T22" fmla="*/ 7 w 56"/>
                    <a:gd name="T23" fmla="*/ 43 h 90"/>
                    <a:gd name="T24" fmla="*/ 10 w 56"/>
                    <a:gd name="T25" fmla="*/ 45 h 90"/>
                    <a:gd name="T26" fmla="*/ 13 w 56"/>
                    <a:gd name="T27" fmla="*/ 49 h 90"/>
                    <a:gd name="T28" fmla="*/ 16 w 56"/>
                    <a:gd name="T29" fmla="*/ 51 h 90"/>
                    <a:gd name="T30" fmla="*/ 12 w 56"/>
                    <a:gd name="T31" fmla="*/ 60 h 90"/>
                    <a:gd name="T32" fmla="*/ 12 w 56"/>
                    <a:gd name="T33" fmla="*/ 62 h 90"/>
                    <a:gd name="T34" fmla="*/ 19 w 56"/>
                    <a:gd name="T35" fmla="*/ 61 h 90"/>
                    <a:gd name="T36" fmla="*/ 16 w 56"/>
                    <a:gd name="T37" fmla="*/ 65 h 90"/>
                    <a:gd name="T38" fmla="*/ 7 w 56"/>
                    <a:gd name="T39" fmla="*/ 68 h 90"/>
                    <a:gd name="T40" fmla="*/ 9 w 56"/>
                    <a:gd name="T41" fmla="*/ 72 h 90"/>
                    <a:gd name="T42" fmla="*/ 3 w 56"/>
                    <a:gd name="T43" fmla="*/ 72 h 90"/>
                    <a:gd name="T44" fmla="*/ 0 w 56"/>
                    <a:gd name="T45" fmla="*/ 75 h 90"/>
                    <a:gd name="T46" fmla="*/ 2 w 56"/>
                    <a:gd name="T47" fmla="*/ 78 h 90"/>
                    <a:gd name="T48" fmla="*/ 3 w 56"/>
                    <a:gd name="T49" fmla="*/ 83 h 90"/>
                    <a:gd name="T50" fmla="*/ 3 w 56"/>
                    <a:gd name="T51" fmla="*/ 86 h 90"/>
                    <a:gd name="T52" fmla="*/ 10 w 56"/>
                    <a:gd name="T53" fmla="*/ 86 h 90"/>
                    <a:gd name="T54" fmla="*/ 8 w 56"/>
                    <a:gd name="T55" fmla="*/ 90 h 90"/>
                    <a:gd name="T56" fmla="*/ 18 w 56"/>
                    <a:gd name="T57" fmla="*/ 90 h 90"/>
                    <a:gd name="T58" fmla="*/ 25 w 56"/>
                    <a:gd name="T59" fmla="*/ 82 h 90"/>
                    <a:gd name="T60" fmla="*/ 30 w 56"/>
                    <a:gd name="T61" fmla="*/ 84 h 90"/>
                    <a:gd name="T62" fmla="*/ 35 w 56"/>
                    <a:gd name="T63" fmla="*/ 78 h 90"/>
                    <a:gd name="T64" fmla="*/ 45 w 56"/>
                    <a:gd name="T65" fmla="*/ 77 h 90"/>
                    <a:gd name="T66" fmla="*/ 52 w 56"/>
                    <a:gd name="T67" fmla="*/ 76 h 90"/>
                    <a:gd name="T68" fmla="*/ 54 w 56"/>
                    <a:gd name="T69" fmla="*/ 67 h 90"/>
                    <a:gd name="T70" fmla="*/ 56 w 56"/>
                    <a:gd name="T71" fmla="*/ 58 h 90"/>
                    <a:gd name="T72" fmla="*/ 55 w 56"/>
                    <a:gd name="T73" fmla="*/ 48 h 90"/>
                    <a:gd name="T74" fmla="*/ 54 w 56"/>
                    <a:gd name="T75" fmla="*/ 38 h 90"/>
                    <a:gd name="T76" fmla="*/ 55 w 56"/>
                    <a:gd name="T77" fmla="*/ 34 h 90"/>
                    <a:gd name="T78" fmla="*/ 47 w 56"/>
                    <a:gd name="T79" fmla="*/ 24 h 90"/>
                    <a:gd name="T80" fmla="*/ 41 w 56"/>
                    <a:gd name="T81" fmla="*/ 28 h 90"/>
                    <a:gd name="T82" fmla="*/ 36 w 56"/>
                    <a:gd name="T83" fmla="*/ 14 h 90"/>
                    <a:gd name="T84" fmla="*/ 42 w 56"/>
                    <a:gd name="T85" fmla="*/ 10 h 90"/>
                    <a:gd name="T86" fmla="*/ 44 w 56"/>
                    <a:gd name="T87" fmla="*/ 6 h 90"/>
                    <a:gd name="T88" fmla="*/ 42 w 56"/>
                    <a:gd name="T89" fmla="*/ 0 h 90"/>
                    <a:gd name="T90" fmla="*/ 40 w 56"/>
                    <a:gd name="T91" fmla="*/ 6 h 90"/>
                    <a:gd name="T92" fmla="*/ 39 w 56"/>
                    <a:gd name="T93" fmla="*/ 6 h 90"/>
                    <a:gd name="T94" fmla="*/ 38 w 56"/>
                    <a:gd name="T95" fmla="*/ 5 h 90"/>
                    <a:gd name="T96" fmla="*/ 30 w 56"/>
                    <a:gd name="T97" fmla="*/ 5 h 90"/>
                    <a:gd name="T98" fmla="*/ 28 w 56"/>
                    <a:gd name="T99" fmla="*/ 1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56" h="90">
                      <a:moveTo>
                        <a:pt x="30" y="11"/>
                      </a:moveTo>
                      <a:lnTo>
                        <a:pt x="29" y="12"/>
                      </a:lnTo>
                      <a:lnTo>
                        <a:pt x="28" y="13"/>
                      </a:lnTo>
                      <a:lnTo>
                        <a:pt x="28" y="14"/>
                      </a:lnTo>
                      <a:lnTo>
                        <a:pt x="24" y="14"/>
                      </a:lnTo>
                      <a:lnTo>
                        <a:pt x="25" y="17"/>
                      </a:lnTo>
                      <a:lnTo>
                        <a:pt x="28" y="17"/>
                      </a:lnTo>
                      <a:lnTo>
                        <a:pt x="28" y="18"/>
                      </a:lnTo>
                      <a:lnTo>
                        <a:pt x="31" y="17"/>
                      </a:lnTo>
                      <a:lnTo>
                        <a:pt x="32" y="17"/>
                      </a:lnTo>
                      <a:lnTo>
                        <a:pt x="29" y="21"/>
                      </a:lnTo>
                      <a:lnTo>
                        <a:pt x="25" y="23"/>
                      </a:lnTo>
                      <a:lnTo>
                        <a:pt x="27" y="24"/>
                      </a:lnTo>
                      <a:lnTo>
                        <a:pt x="22" y="26"/>
                      </a:lnTo>
                      <a:lnTo>
                        <a:pt x="21" y="24"/>
                      </a:lnTo>
                      <a:lnTo>
                        <a:pt x="18" y="27"/>
                      </a:lnTo>
                      <a:lnTo>
                        <a:pt x="17" y="24"/>
                      </a:lnTo>
                      <a:lnTo>
                        <a:pt x="11" y="23"/>
                      </a:lnTo>
                      <a:lnTo>
                        <a:pt x="11" y="24"/>
                      </a:lnTo>
                      <a:lnTo>
                        <a:pt x="7" y="23"/>
                      </a:lnTo>
                      <a:lnTo>
                        <a:pt x="7" y="28"/>
                      </a:lnTo>
                      <a:lnTo>
                        <a:pt x="9" y="25"/>
                      </a:lnTo>
                      <a:lnTo>
                        <a:pt x="9" y="28"/>
                      </a:lnTo>
                      <a:lnTo>
                        <a:pt x="10" y="29"/>
                      </a:lnTo>
                      <a:lnTo>
                        <a:pt x="10" y="31"/>
                      </a:lnTo>
                      <a:lnTo>
                        <a:pt x="9" y="31"/>
                      </a:lnTo>
                      <a:lnTo>
                        <a:pt x="9" y="30"/>
                      </a:lnTo>
                      <a:lnTo>
                        <a:pt x="6" y="30"/>
                      </a:lnTo>
                      <a:lnTo>
                        <a:pt x="10" y="34"/>
                      </a:lnTo>
                      <a:lnTo>
                        <a:pt x="12" y="33"/>
                      </a:lnTo>
                      <a:lnTo>
                        <a:pt x="14" y="35"/>
                      </a:lnTo>
                      <a:lnTo>
                        <a:pt x="10" y="36"/>
                      </a:lnTo>
                      <a:lnTo>
                        <a:pt x="9" y="38"/>
                      </a:lnTo>
                      <a:lnTo>
                        <a:pt x="10" y="40"/>
                      </a:lnTo>
                      <a:lnTo>
                        <a:pt x="7" y="40"/>
                      </a:lnTo>
                      <a:lnTo>
                        <a:pt x="7" y="43"/>
                      </a:lnTo>
                      <a:lnTo>
                        <a:pt x="6" y="44"/>
                      </a:lnTo>
                      <a:lnTo>
                        <a:pt x="8" y="45"/>
                      </a:lnTo>
                      <a:lnTo>
                        <a:pt x="10" y="45"/>
                      </a:lnTo>
                      <a:lnTo>
                        <a:pt x="9" y="46"/>
                      </a:lnTo>
                      <a:lnTo>
                        <a:pt x="12" y="45"/>
                      </a:lnTo>
                      <a:lnTo>
                        <a:pt x="13" y="49"/>
                      </a:lnTo>
                      <a:lnTo>
                        <a:pt x="21" y="49"/>
                      </a:lnTo>
                      <a:lnTo>
                        <a:pt x="17" y="52"/>
                      </a:lnTo>
                      <a:lnTo>
                        <a:pt x="16" y="51"/>
                      </a:lnTo>
                      <a:lnTo>
                        <a:pt x="13" y="57"/>
                      </a:lnTo>
                      <a:lnTo>
                        <a:pt x="14" y="56"/>
                      </a:lnTo>
                      <a:lnTo>
                        <a:pt x="12" y="60"/>
                      </a:lnTo>
                      <a:lnTo>
                        <a:pt x="7" y="65"/>
                      </a:lnTo>
                      <a:lnTo>
                        <a:pt x="9" y="65"/>
                      </a:lnTo>
                      <a:lnTo>
                        <a:pt x="12" y="62"/>
                      </a:lnTo>
                      <a:lnTo>
                        <a:pt x="14" y="63"/>
                      </a:lnTo>
                      <a:lnTo>
                        <a:pt x="17" y="64"/>
                      </a:lnTo>
                      <a:lnTo>
                        <a:pt x="19" y="61"/>
                      </a:lnTo>
                      <a:lnTo>
                        <a:pt x="19" y="62"/>
                      </a:lnTo>
                      <a:lnTo>
                        <a:pt x="22" y="62"/>
                      </a:lnTo>
                      <a:lnTo>
                        <a:pt x="16" y="65"/>
                      </a:lnTo>
                      <a:lnTo>
                        <a:pt x="11" y="65"/>
                      </a:lnTo>
                      <a:lnTo>
                        <a:pt x="10" y="67"/>
                      </a:lnTo>
                      <a:lnTo>
                        <a:pt x="7" y="68"/>
                      </a:lnTo>
                      <a:lnTo>
                        <a:pt x="8" y="70"/>
                      </a:lnTo>
                      <a:lnTo>
                        <a:pt x="7" y="72"/>
                      </a:lnTo>
                      <a:lnTo>
                        <a:pt x="9" y="72"/>
                      </a:lnTo>
                      <a:lnTo>
                        <a:pt x="7" y="73"/>
                      </a:lnTo>
                      <a:lnTo>
                        <a:pt x="4" y="70"/>
                      </a:lnTo>
                      <a:lnTo>
                        <a:pt x="3" y="72"/>
                      </a:lnTo>
                      <a:lnTo>
                        <a:pt x="3" y="71"/>
                      </a:lnTo>
                      <a:lnTo>
                        <a:pt x="0" y="73"/>
                      </a:lnTo>
                      <a:lnTo>
                        <a:pt x="0" y="75"/>
                      </a:lnTo>
                      <a:lnTo>
                        <a:pt x="8" y="74"/>
                      </a:lnTo>
                      <a:lnTo>
                        <a:pt x="6" y="77"/>
                      </a:lnTo>
                      <a:lnTo>
                        <a:pt x="2" y="78"/>
                      </a:lnTo>
                      <a:lnTo>
                        <a:pt x="0" y="81"/>
                      </a:lnTo>
                      <a:lnTo>
                        <a:pt x="3" y="81"/>
                      </a:lnTo>
                      <a:lnTo>
                        <a:pt x="3" y="83"/>
                      </a:lnTo>
                      <a:lnTo>
                        <a:pt x="10" y="81"/>
                      </a:lnTo>
                      <a:lnTo>
                        <a:pt x="5" y="85"/>
                      </a:lnTo>
                      <a:lnTo>
                        <a:pt x="3" y="86"/>
                      </a:lnTo>
                      <a:lnTo>
                        <a:pt x="7" y="86"/>
                      </a:lnTo>
                      <a:lnTo>
                        <a:pt x="11" y="84"/>
                      </a:lnTo>
                      <a:lnTo>
                        <a:pt x="10" y="86"/>
                      </a:lnTo>
                      <a:lnTo>
                        <a:pt x="7" y="88"/>
                      </a:lnTo>
                      <a:lnTo>
                        <a:pt x="9" y="88"/>
                      </a:lnTo>
                      <a:lnTo>
                        <a:pt x="8" y="90"/>
                      </a:lnTo>
                      <a:lnTo>
                        <a:pt x="12" y="89"/>
                      </a:lnTo>
                      <a:lnTo>
                        <a:pt x="14" y="90"/>
                      </a:lnTo>
                      <a:lnTo>
                        <a:pt x="18" y="90"/>
                      </a:lnTo>
                      <a:lnTo>
                        <a:pt x="23" y="88"/>
                      </a:lnTo>
                      <a:lnTo>
                        <a:pt x="27" y="85"/>
                      </a:lnTo>
                      <a:lnTo>
                        <a:pt x="25" y="82"/>
                      </a:lnTo>
                      <a:lnTo>
                        <a:pt x="28" y="82"/>
                      </a:lnTo>
                      <a:lnTo>
                        <a:pt x="28" y="84"/>
                      </a:lnTo>
                      <a:lnTo>
                        <a:pt x="30" y="84"/>
                      </a:lnTo>
                      <a:lnTo>
                        <a:pt x="32" y="81"/>
                      </a:lnTo>
                      <a:lnTo>
                        <a:pt x="35" y="81"/>
                      </a:lnTo>
                      <a:lnTo>
                        <a:pt x="35" y="78"/>
                      </a:lnTo>
                      <a:lnTo>
                        <a:pt x="43" y="76"/>
                      </a:lnTo>
                      <a:lnTo>
                        <a:pt x="44" y="75"/>
                      </a:lnTo>
                      <a:lnTo>
                        <a:pt x="45" y="77"/>
                      </a:lnTo>
                      <a:lnTo>
                        <a:pt x="47" y="75"/>
                      </a:lnTo>
                      <a:lnTo>
                        <a:pt x="48" y="76"/>
                      </a:lnTo>
                      <a:lnTo>
                        <a:pt x="52" y="76"/>
                      </a:lnTo>
                      <a:lnTo>
                        <a:pt x="49" y="72"/>
                      </a:lnTo>
                      <a:lnTo>
                        <a:pt x="52" y="70"/>
                      </a:lnTo>
                      <a:lnTo>
                        <a:pt x="54" y="67"/>
                      </a:lnTo>
                      <a:lnTo>
                        <a:pt x="53" y="65"/>
                      </a:lnTo>
                      <a:lnTo>
                        <a:pt x="55" y="62"/>
                      </a:lnTo>
                      <a:lnTo>
                        <a:pt x="56" y="58"/>
                      </a:lnTo>
                      <a:lnTo>
                        <a:pt x="55" y="51"/>
                      </a:lnTo>
                      <a:lnTo>
                        <a:pt x="53" y="49"/>
                      </a:lnTo>
                      <a:lnTo>
                        <a:pt x="55" y="48"/>
                      </a:lnTo>
                      <a:lnTo>
                        <a:pt x="55" y="44"/>
                      </a:lnTo>
                      <a:lnTo>
                        <a:pt x="54" y="41"/>
                      </a:lnTo>
                      <a:lnTo>
                        <a:pt x="54" y="38"/>
                      </a:lnTo>
                      <a:lnTo>
                        <a:pt x="52" y="35"/>
                      </a:lnTo>
                      <a:lnTo>
                        <a:pt x="53" y="34"/>
                      </a:lnTo>
                      <a:lnTo>
                        <a:pt x="55" y="34"/>
                      </a:lnTo>
                      <a:lnTo>
                        <a:pt x="52" y="31"/>
                      </a:lnTo>
                      <a:lnTo>
                        <a:pt x="50" y="31"/>
                      </a:lnTo>
                      <a:lnTo>
                        <a:pt x="47" y="24"/>
                      </a:lnTo>
                      <a:lnTo>
                        <a:pt x="43" y="22"/>
                      </a:lnTo>
                      <a:lnTo>
                        <a:pt x="42" y="24"/>
                      </a:lnTo>
                      <a:lnTo>
                        <a:pt x="41" y="28"/>
                      </a:lnTo>
                      <a:lnTo>
                        <a:pt x="38" y="29"/>
                      </a:lnTo>
                      <a:lnTo>
                        <a:pt x="33" y="22"/>
                      </a:lnTo>
                      <a:lnTo>
                        <a:pt x="36" y="14"/>
                      </a:lnTo>
                      <a:lnTo>
                        <a:pt x="38" y="14"/>
                      </a:lnTo>
                      <a:lnTo>
                        <a:pt x="39" y="11"/>
                      </a:lnTo>
                      <a:lnTo>
                        <a:pt x="42" y="10"/>
                      </a:lnTo>
                      <a:lnTo>
                        <a:pt x="42" y="8"/>
                      </a:lnTo>
                      <a:lnTo>
                        <a:pt x="42" y="8"/>
                      </a:lnTo>
                      <a:lnTo>
                        <a:pt x="44" y="6"/>
                      </a:lnTo>
                      <a:lnTo>
                        <a:pt x="47" y="4"/>
                      </a:lnTo>
                      <a:lnTo>
                        <a:pt x="44" y="2"/>
                      </a:lnTo>
                      <a:lnTo>
                        <a:pt x="42" y="0"/>
                      </a:lnTo>
                      <a:lnTo>
                        <a:pt x="42" y="2"/>
                      </a:lnTo>
                      <a:lnTo>
                        <a:pt x="40" y="3"/>
                      </a:lnTo>
                      <a:lnTo>
                        <a:pt x="40" y="6"/>
                      </a:lnTo>
                      <a:lnTo>
                        <a:pt x="38" y="10"/>
                      </a:lnTo>
                      <a:lnTo>
                        <a:pt x="38" y="7"/>
                      </a:lnTo>
                      <a:lnTo>
                        <a:pt x="39" y="6"/>
                      </a:lnTo>
                      <a:lnTo>
                        <a:pt x="38" y="3"/>
                      </a:lnTo>
                      <a:lnTo>
                        <a:pt x="36" y="4"/>
                      </a:lnTo>
                      <a:lnTo>
                        <a:pt x="38" y="5"/>
                      </a:lnTo>
                      <a:lnTo>
                        <a:pt x="35" y="5"/>
                      </a:lnTo>
                      <a:lnTo>
                        <a:pt x="34" y="4"/>
                      </a:lnTo>
                      <a:lnTo>
                        <a:pt x="30" y="5"/>
                      </a:lnTo>
                      <a:lnTo>
                        <a:pt x="30" y="7"/>
                      </a:lnTo>
                      <a:lnTo>
                        <a:pt x="29" y="7"/>
                      </a:lnTo>
                      <a:lnTo>
                        <a:pt x="28" y="10"/>
                      </a:lnTo>
                      <a:lnTo>
                        <a:pt x="30" y="1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88" name="Freeform 690">
                  <a:extLst>
                    <a:ext uri="{FF2B5EF4-FFF2-40B4-BE49-F238E27FC236}">
                      <a16:creationId xmlns:a16="http://schemas.microsoft.com/office/drawing/2014/main" id="{0CE16189-161B-4B33-922A-2F2CBAA785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6" y="1709"/>
                  <a:ext cx="2" cy="3"/>
                </a:xfrm>
                <a:custGeom>
                  <a:avLst/>
                  <a:gdLst>
                    <a:gd name="T0" fmla="*/ 0 w 2"/>
                    <a:gd name="T1" fmla="*/ 1 h 3"/>
                    <a:gd name="T2" fmla="*/ 2 w 2"/>
                    <a:gd name="T3" fmla="*/ 3 h 3"/>
                    <a:gd name="T4" fmla="*/ 2 w 2"/>
                    <a:gd name="T5" fmla="*/ 2 h 3"/>
                    <a:gd name="T6" fmla="*/ 2 w 2"/>
                    <a:gd name="T7" fmla="*/ 0 h 3"/>
                    <a:gd name="T8" fmla="*/ 0 w 2"/>
                    <a:gd name="T9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0" y="1"/>
                      </a:move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89" name="Freeform 691">
                  <a:extLst>
                    <a:ext uri="{FF2B5EF4-FFF2-40B4-BE49-F238E27FC236}">
                      <a16:creationId xmlns:a16="http://schemas.microsoft.com/office/drawing/2014/main" id="{194AF0CB-D72D-40A1-A792-DF87292BA1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30" y="1731"/>
                  <a:ext cx="5" cy="8"/>
                </a:xfrm>
                <a:custGeom>
                  <a:avLst/>
                  <a:gdLst>
                    <a:gd name="T0" fmla="*/ 2 w 5"/>
                    <a:gd name="T1" fmla="*/ 6 h 8"/>
                    <a:gd name="T2" fmla="*/ 5 w 5"/>
                    <a:gd name="T3" fmla="*/ 0 h 8"/>
                    <a:gd name="T4" fmla="*/ 0 w 5"/>
                    <a:gd name="T5" fmla="*/ 5 h 8"/>
                    <a:gd name="T6" fmla="*/ 1 w 5"/>
                    <a:gd name="T7" fmla="*/ 8 h 8"/>
                    <a:gd name="T8" fmla="*/ 2 w 5"/>
                    <a:gd name="T9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8">
                      <a:moveTo>
                        <a:pt x="2" y="6"/>
                      </a:moveTo>
                      <a:lnTo>
                        <a:pt x="5" y="0"/>
                      </a:lnTo>
                      <a:lnTo>
                        <a:pt x="0" y="5"/>
                      </a:lnTo>
                      <a:lnTo>
                        <a:pt x="1" y="8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90" name="Freeform 692">
                  <a:extLst>
                    <a:ext uri="{FF2B5EF4-FFF2-40B4-BE49-F238E27FC236}">
                      <a16:creationId xmlns:a16="http://schemas.microsoft.com/office/drawing/2014/main" id="{EC0FC841-AF51-4968-A28D-DA07B27B85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2" y="1694"/>
                  <a:ext cx="13" cy="16"/>
                </a:xfrm>
                <a:custGeom>
                  <a:avLst/>
                  <a:gdLst>
                    <a:gd name="T0" fmla="*/ 6 w 13"/>
                    <a:gd name="T1" fmla="*/ 0 h 16"/>
                    <a:gd name="T2" fmla="*/ 5 w 13"/>
                    <a:gd name="T3" fmla="*/ 1 h 16"/>
                    <a:gd name="T4" fmla="*/ 6 w 13"/>
                    <a:gd name="T5" fmla="*/ 5 h 16"/>
                    <a:gd name="T6" fmla="*/ 3 w 13"/>
                    <a:gd name="T7" fmla="*/ 2 h 16"/>
                    <a:gd name="T8" fmla="*/ 3 w 13"/>
                    <a:gd name="T9" fmla="*/ 5 h 16"/>
                    <a:gd name="T10" fmla="*/ 2 w 13"/>
                    <a:gd name="T11" fmla="*/ 4 h 16"/>
                    <a:gd name="T12" fmla="*/ 0 w 13"/>
                    <a:gd name="T13" fmla="*/ 6 h 16"/>
                    <a:gd name="T14" fmla="*/ 3 w 13"/>
                    <a:gd name="T15" fmla="*/ 8 h 16"/>
                    <a:gd name="T16" fmla="*/ 3 w 13"/>
                    <a:gd name="T17" fmla="*/ 6 h 16"/>
                    <a:gd name="T18" fmla="*/ 4 w 13"/>
                    <a:gd name="T19" fmla="*/ 8 h 16"/>
                    <a:gd name="T20" fmla="*/ 4 w 13"/>
                    <a:gd name="T21" fmla="*/ 9 h 16"/>
                    <a:gd name="T22" fmla="*/ 6 w 13"/>
                    <a:gd name="T23" fmla="*/ 13 h 16"/>
                    <a:gd name="T24" fmla="*/ 9 w 13"/>
                    <a:gd name="T25" fmla="*/ 13 h 16"/>
                    <a:gd name="T26" fmla="*/ 10 w 13"/>
                    <a:gd name="T27" fmla="*/ 16 h 16"/>
                    <a:gd name="T28" fmla="*/ 10 w 13"/>
                    <a:gd name="T29" fmla="*/ 15 h 16"/>
                    <a:gd name="T30" fmla="*/ 11 w 13"/>
                    <a:gd name="T31" fmla="*/ 13 h 16"/>
                    <a:gd name="T32" fmla="*/ 13 w 13"/>
                    <a:gd name="T33" fmla="*/ 11 h 16"/>
                    <a:gd name="T34" fmla="*/ 12 w 13"/>
                    <a:gd name="T35" fmla="*/ 10 h 16"/>
                    <a:gd name="T36" fmla="*/ 10 w 13"/>
                    <a:gd name="T37" fmla="*/ 10 h 16"/>
                    <a:gd name="T38" fmla="*/ 8 w 13"/>
                    <a:gd name="T39" fmla="*/ 9 h 16"/>
                    <a:gd name="T40" fmla="*/ 8 w 13"/>
                    <a:gd name="T41" fmla="*/ 3 h 16"/>
                    <a:gd name="T42" fmla="*/ 6 w 13"/>
                    <a:gd name="T43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3" h="16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6" y="5"/>
                      </a:lnTo>
                      <a:lnTo>
                        <a:pt x="3" y="2"/>
                      </a:lnTo>
                      <a:lnTo>
                        <a:pt x="3" y="5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3" y="8"/>
                      </a:lnTo>
                      <a:lnTo>
                        <a:pt x="3" y="6"/>
                      </a:lnTo>
                      <a:lnTo>
                        <a:pt x="4" y="8"/>
                      </a:lnTo>
                      <a:lnTo>
                        <a:pt x="4" y="9"/>
                      </a:lnTo>
                      <a:lnTo>
                        <a:pt x="6" y="13"/>
                      </a:lnTo>
                      <a:lnTo>
                        <a:pt x="9" y="13"/>
                      </a:lnTo>
                      <a:lnTo>
                        <a:pt x="10" y="16"/>
                      </a:lnTo>
                      <a:lnTo>
                        <a:pt x="10" y="15"/>
                      </a:lnTo>
                      <a:lnTo>
                        <a:pt x="11" y="13"/>
                      </a:lnTo>
                      <a:lnTo>
                        <a:pt x="13" y="11"/>
                      </a:lnTo>
                      <a:lnTo>
                        <a:pt x="12" y="10"/>
                      </a:lnTo>
                      <a:lnTo>
                        <a:pt x="10" y="10"/>
                      </a:lnTo>
                      <a:lnTo>
                        <a:pt x="8" y="9"/>
                      </a:lnTo>
                      <a:lnTo>
                        <a:pt x="8" y="3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91" name="Freeform 693">
                  <a:extLst>
                    <a:ext uri="{FF2B5EF4-FFF2-40B4-BE49-F238E27FC236}">
                      <a16:creationId xmlns:a16="http://schemas.microsoft.com/office/drawing/2014/main" id="{63EC0574-617D-4B15-817F-53BF3FFC2E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63" y="1658"/>
                  <a:ext cx="1" cy="3"/>
                </a:xfrm>
                <a:custGeom>
                  <a:avLst/>
                  <a:gdLst>
                    <a:gd name="T0" fmla="*/ 1 w 1"/>
                    <a:gd name="T1" fmla="*/ 0 h 3"/>
                    <a:gd name="T2" fmla="*/ 0 w 1"/>
                    <a:gd name="T3" fmla="*/ 1 h 3"/>
                    <a:gd name="T4" fmla="*/ 1 w 1"/>
                    <a:gd name="T5" fmla="*/ 3 h 3"/>
                    <a:gd name="T6" fmla="*/ 1 w 1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3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92" name="Freeform 694">
                  <a:extLst>
                    <a:ext uri="{FF2B5EF4-FFF2-40B4-BE49-F238E27FC236}">
                      <a16:creationId xmlns:a16="http://schemas.microsoft.com/office/drawing/2014/main" id="{6F1342F5-C6CA-4DC2-B811-E91A4FBE54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15" y="1841"/>
                  <a:ext cx="3" cy="1"/>
                </a:xfrm>
                <a:custGeom>
                  <a:avLst/>
                  <a:gdLst>
                    <a:gd name="T0" fmla="*/ 2 w 3"/>
                    <a:gd name="T1" fmla="*/ 0 h 1"/>
                    <a:gd name="T2" fmla="*/ 0 w 3"/>
                    <a:gd name="T3" fmla="*/ 0 h 1"/>
                    <a:gd name="T4" fmla="*/ 2 w 3"/>
                    <a:gd name="T5" fmla="*/ 1 h 1"/>
                    <a:gd name="T6" fmla="*/ 3 w 3"/>
                    <a:gd name="T7" fmla="*/ 1 h 1"/>
                    <a:gd name="T8" fmla="*/ 3 w 3"/>
                    <a:gd name="T9" fmla="*/ 0 h 1"/>
                    <a:gd name="T10" fmla="*/ 2 w 3"/>
                    <a:gd name="T11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93" name="Freeform 695">
                  <a:extLst>
                    <a:ext uri="{FF2B5EF4-FFF2-40B4-BE49-F238E27FC236}">
                      <a16:creationId xmlns:a16="http://schemas.microsoft.com/office/drawing/2014/main" id="{A07499FC-D4F6-4B77-9469-8152B16EF8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0" y="1689"/>
                  <a:ext cx="5" cy="4"/>
                </a:xfrm>
                <a:custGeom>
                  <a:avLst/>
                  <a:gdLst>
                    <a:gd name="T0" fmla="*/ 2 w 5"/>
                    <a:gd name="T1" fmla="*/ 0 h 4"/>
                    <a:gd name="T2" fmla="*/ 1 w 5"/>
                    <a:gd name="T3" fmla="*/ 0 h 4"/>
                    <a:gd name="T4" fmla="*/ 1 w 5"/>
                    <a:gd name="T5" fmla="*/ 1 h 4"/>
                    <a:gd name="T6" fmla="*/ 0 w 5"/>
                    <a:gd name="T7" fmla="*/ 2 h 4"/>
                    <a:gd name="T8" fmla="*/ 1 w 5"/>
                    <a:gd name="T9" fmla="*/ 4 h 4"/>
                    <a:gd name="T10" fmla="*/ 5 w 5"/>
                    <a:gd name="T11" fmla="*/ 0 h 4"/>
                    <a:gd name="T12" fmla="*/ 2 w 5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2" y="0"/>
                      </a:move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4"/>
                      </a:lnTo>
                      <a:lnTo>
                        <a:pt x="5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94" name="Freeform 696">
                  <a:extLst>
                    <a:ext uri="{FF2B5EF4-FFF2-40B4-BE49-F238E27FC236}">
                      <a16:creationId xmlns:a16="http://schemas.microsoft.com/office/drawing/2014/main" id="{68678550-F891-456C-806E-0E14F8E4D2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8" y="1731"/>
                  <a:ext cx="1" cy="3"/>
                </a:xfrm>
                <a:custGeom>
                  <a:avLst/>
                  <a:gdLst>
                    <a:gd name="T0" fmla="*/ 1 w 1"/>
                    <a:gd name="T1" fmla="*/ 2 h 3"/>
                    <a:gd name="T2" fmla="*/ 0 w 1"/>
                    <a:gd name="T3" fmla="*/ 0 h 3"/>
                    <a:gd name="T4" fmla="*/ 0 w 1"/>
                    <a:gd name="T5" fmla="*/ 3 h 3"/>
                    <a:gd name="T6" fmla="*/ 1 w 1"/>
                    <a:gd name="T7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3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95" name="Freeform 697">
                  <a:extLst>
                    <a:ext uri="{FF2B5EF4-FFF2-40B4-BE49-F238E27FC236}">
                      <a16:creationId xmlns:a16="http://schemas.microsoft.com/office/drawing/2014/main" id="{272A93C4-E10C-46AB-86C8-5EC76D4C12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9" y="1712"/>
                  <a:ext cx="1" cy="2"/>
                </a:xfrm>
                <a:custGeom>
                  <a:avLst/>
                  <a:gdLst>
                    <a:gd name="T0" fmla="*/ 0 w 1"/>
                    <a:gd name="T1" fmla="*/ 0 h 2"/>
                    <a:gd name="T2" fmla="*/ 0 w 1"/>
                    <a:gd name="T3" fmla="*/ 2 h 2"/>
                    <a:gd name="T4" fmla="*/ 1 w 1"/>
                    <a:gd name="T5" fmla="*/ 0 h 2"/>
                    <a:gd name="T6" fmla="*/ 0 w 1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96" name="Freeform 698">
                  <a:extLst>
                    <a:ext uri="{FF2B5EF4-FFF2-40B4-BE49-F238E27FC236}">
                      <a16:creationId xmlns:a16="http://schemas.microsoft.com/office/drawing/2014/main" id="{C72011D2-1B17-41A0-BA90-5FFECE29CE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84" y="1617"/>
                  <a:ext cx="3" cy="3"/>
                </a:xfrm>
                <a:custGeom>
                  <a:avLst/>
                  <a:gdLst>
                    <a:gd name="T0" fmla="*/ 3 w 3"/>
                    <a:gd name="T1" fmla="*/ 0 h 5"/>
                    <a:gd name="T2" fmla="*/ 1 w 3"/>
                    <a:gd name="T3" fmla="*/ 1 h 5"/>
                    <a:gd name="T4" fmla="*/ 0 w 3"/>
                    <a:gd name="T5" fmla="*/ 3 h 5"/>
                    <a:gd name="T6" fmla="*/ 3 w 3"/>
                    <a:gd name="T7" fmla="*/ 5 h 5"/>
                    <a:gd name="T8" fmla="*/ 3 w 3"/>
                    <a:gd name="T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5">
                      <a:moveTo>
                        <a:pt x="3" y="0"/>
                      </a:move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3"/>
                        <a:pt x="3" y="5"/>
                        <a:pt x="3" y="5"/>
                      </a:cubicBez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97" name="Freeform 699">
                  <a:extLst>
                    <a:ext uri="{FF2B5EF4-FFF2-40B4-BE49-F238E27FC236}">
                      <a16:creationId xmlns:a16="http://schemas.microsoft.com/office/drawing/2014/main" id="{17545313-84D5-45BE-AC15-A1803637F7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88" y="1613"/>
                  <a:ext cx="3" cy="5"/>
                </a:xfrm>
                <a:custGeom>
                  <a:avLst/>
                  <a:gdLst>
                    <a:gd name="T0" fmla="*/ 3 w 3"/>
                    <a:gd name="T1" fmla="*/ 4 h 5"/>
                    <a:gd name="T2" fmla="*/ 3 w 3"/>
                    <a:gd name="T3" fmla="*/ 0 h 5"/>
                    <a:gd name="T4" fmla="*/ 2 w 3"/>
                    <a:gd name="T5" fmla="*/ 0 h 5"/>
                    <a:gd name="T6" fmla="*/ 1 w 3"/>
                    <a:gd name="T7" fmla="*/ 1 h 5"/>
                    <a:gd name="T8" fmla="*/ 0 w 3"/>
                    <a:gd name="T9" fmla="*/ 4 h 5"/>
                    <a:gd name="T10" fmla="*/ 2 w 3"/>
                    <a:gd name="T11" fmla="*/ 5 h 5"/>
                    <a:gd name="T12" fmla="*/ 3 w 3"/>
                    <a:gd name="T13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5">
                      <a:moveTo>
                        <a:pt x="3" y="4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4"/>
                      </a:lnTo>
                      <a:lnTo>
                        <a:pt x="2" y="5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98" name="Freeform 700">
                  <a:extLst>
                    <a:ext uri="{FF2B5EF4-FFF2-40B4-BE49-F238E27FC236}">
                      <a16:creationId xmlns:a16="http://schemas.microsoft.com/office/drawing/2014/main" id="{CD35D648-66A5-4C25-A451-59D13D8403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91" y="1609"/>
                  <a:ext cx="3" cy="4"/>
                </a:xfrm>
                <a:custGeom>
                  <a:avLst/>
                  <a:gdLst>
                    <a:gd name="T0" fmla="*/ 3 w 3"/>
                    <a:gd name="T1" fmla="*/ 0 h 4"/>
                    <a:gd name="T2" fmla="*/ 0 w 3"/>
                    <a:gd name="T3" fmla="*/ 2 h 4"/>
                    <a:gd name="T4" fmla="*/ 1 w 3"/>
                    <a:gd name="T5" fmla="*/ 4 h 4"/>
                    <a:gd name="T6" fmla="*/ 3 w 3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4">
                      <a:moveTo>
                        <a:pt x="3" y="0"/>
                      </a:moveTo>
                      <a:lnTo>
                        <a:pt x="0" y="2"/>
                      </a:lnTo>
                      <a:lnTo>
                        <a:pt x="1" y="4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99" name="Freeform 701">
                  <a:extLst>
                    <a:ext uri="{FF2B5EF4-FFF2-40B4-BE49-F238E27FC236}">
                      <a16:creationId xmlns:a16="http://schemas.microsoft.com/office/drawing/2014/main" id="{1A811E37-E9DD-4224-A237-497FAA5136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0" y="1721"/>
                  <a:ext cx="2" cy="3"/>
                </a:xfrm>
                <a:custGeom>
                  <a:avLst/>
                  <a:gdLst>
                    <a:gd name="T0" fmla="*/ 0 w 2"/>
                    <a:gd name="T1" fmla="*/ 3 h 3"/>
                    <a:gd name="T2" fmla="*/ 2 w 2"/>
                    <a:gd name="T3" fmla="*/ 0 h 3"/>
                    <a:gd name="T4" fmla="*/ 0 w 2"/>
                    <a:gd name="T5" fmla="*/ 0 h 3"/>
                    <a:gd name="T6" fmla="*/ 0 w 2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3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00" name="Freeform 702">
                  <a:extLst>
                    <a:ext uri="{FF2B5EF4-FFF2-40B4-BE49-F238E27FC236}">
                      <a16:creationId xmlns:a16="http://schemas.microsoft.com/office/drawing/2014/main" id="{D8A15AE7-EEE9-41F0-9155-E1D655E25E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9" y="1675"/>
                  <a:ext cx="11" cy="13"/>
                </a:xfrm>
                <a:custGeom>
                  <a:avLst/>
                  <a:gdLst>
                    <a:gd name="T0" fmla="*/ 5 w 11"/>
                    <a:gd name="T1" fmla="*/ 7 h 13"/>
                    <a:gd name="T2" fmla="*/ 2 w 11"/>
                    <a:gd name="T3" fmla="*/ 6 h 13"/>
                    <a:gd name="T4" fmla="*/ 0 w 11"/>
                    <a:gd name="T5" fmla="*/ 8 h 13"/>
                    <a:gd name="T6" fmla="*/ 2 w 11"/>
                    <a:gd name="T7" fmla="*/ 10 h 13"/>
                    <a:gd name="T8" fmla="*/ 1 w 11"/>
                    <a:gd name="T9" fmla="*/ 11 h 13"/>
                    <a:gd name="T10" fmla="*/ 2 w 11"/>
                    <a:gd name="T11" fmla="*/ 13 h 13"/>
                    <a:gd name="T12" fmla="*/ 4 w 11"/>
                    <a:gd name="T13" fmla="*/ 12 h 13"/>
                    <a:gd name="T14" fmla="*/ 7 w 11"/>
                    <a:gd name="T15" fmla="*/ 13 h 13"/>
                    <a:gd name="T16" fmla="*/ 9 w 11"/>
                    <a:gd name="T17" fmla="*/ 10 h 13"/>
                    <a:gd name="T18" fmla="*/ 8 w 11"/>
                    <a:gd name="T19" fmla="*/ 9 h 13"/>
                    <a:gd name="T20" fmla="*/ 9 w 11"/>
                    <a:gd name="T21" fmla="*/ 7 h 13"/>
                    <a:gd name="T22" fmla="*/ 11 w 11"/>
                    <a:gd name="T23" fmla="*/ 4 h 13"/>
                    <a:gd name="T24" fmla="*/ 10 w 11"/>
                    <a:gd name="T25" fmla="*/ 0 h 13"/>
                    <a:gd name="T26" fmla="*/ 4 w 11"/>
                    <a:gd name="T27" fmla="*/ 5 h 13"/>
                    <a:gd name="T28" fmla="*/ 5 w 11"/>
                    <a:gd name="T29" fmla="*/ 7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13">
                      <a:moveTo>
                        <a:pt x="5" y="7"/>
                      </a:moveTo>
                      <a:lnTo>
                        <a:pt x="2" y="6"/>
                      </a:lnTo>
                      <a:lnTo>
                        <a:pt x="0" y="8"/>
                      </a:lnTo>
                      <a:lnTo>
                        <a:pt x="2" y="10"/>
                      </a:lnTo>
                      <a:lnTo>
                        <a:pt x="1" y="11"/>
                      </a:lnTo>
                      <a:lnTo>
                        <a:pt x="2" y="13"/>
                      </a:lnTo>
                      <a:lnTo>
                        <a:pt x="4" y="12"/>
                      </a:lnTo>
                      <a:lnTo>
                        <a:pt x="7" y="13"/>
                      </a:lnTo>
                      <a:lnTo>
                        <a:pt x="9" y="10"/>
                      </a:lnTo>
                      <a:lnTo>
                        <a:pt x="8" y="9"/>
                      </a:lnTo>
                      <a:lnTo>
                        <a:pt x="9" y="7"/>
                      </a:lnTo>
                      <a:lnTo>
                        <a:pt x="11" y="4"/>
                      </a:lnTo>
                      <a:lnTo>
                        <a:pt x="10" y="0"/>
                      </a:lnTo>
                      <a:lnTo>
                        <a:pt x="4" y="5"/>
                      </a:lnTo>
                      <a:lnTo>
                        <a:pt x="5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01" name="Freeform 703">
                  <a:extLst>
                    <a:ext uri="{FF2B5EF4-FFF2-40B4-BE49-F238E27FC236}">
                      <a16:creationId xmlns:a16="http://schemas.microsoft.com/office/drawing/2014/main" id="{6324FF05-209C-484B-B42D-5B2847EA3F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87" y="1631"/>
                  <a:ext cx="2" cy="2"/>
                </a:xfrm>
                <a:custGeom>
                  <a:avLst/>
                  <a:gdLst>
                    <a:gd name="T0" fmla="*/ 2 w 2"/>
                    <a:gd name="T1" fmla="*/ 0 h 2"/>
                    <a:gd name="T2" fmla="*/ 1 w 2"/>
                    <a:gd name="T3" fmla="*/ 0 h 2"/>
                    <a:gd name="T4" fmla="*/ 0 w 2"/>
                    <a:gd name="T5" fmla="*/ 2 h 2"/>
                    <a:gd name="T6" fmla="*/ 2 w 2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02" name="Freeform 704">
                  <a:extLst>
                    <a:ext uri="{FF2B5EF4-FFF2-40B4-BE49-F238E27FC236}">
                      <a16:creationId xmlns:a16="http://schemas.microsoft.com/office/drawing/2014/main" id="{4C331912-2C18-44FE-972F-C27956041F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83" y="1620"/>
                  <a:ext cx="8" cy="9"/>
                </a:xfrm>
                <a:custGeom>
                  <a:avLst/>
                  <a:gdLst>
                    <a:gd name="T0" fmla="*/ 4 w 8"/>
                    <a:gd name="T1" fmla="*/ 6 h 9"/>
                    <a:gd name="T2" fmla="*/ 5 w 8"/>
                    <a:gd name="T3" fmla="*/ 8 h 9"/>
                    <a:gd name="T4" fmla="*/ 7 w 8"/>
                    <a:gd name="T5" fmla="*/ 9 h 9"/>
                    <a:gd name="T6" fmla="*/ 6 w 8"/>
                    <a:gd name="T7" fmla="*/ 7 h 9"/>
                    <a:gd name="T8" fmla="*/ 8 w 8"/>
                    <a:gd name="T9" fmla="*/ 5 h 9"/>
                    <a:gd name="T10" fmla="*/ 7 w 8"/>
                    <a:gd name="T11" fmla="*/ 3 h 9"/>
                    <a:gd name="T12" fmla="*/ 8 w 8"/>
                    <a:gd name="T13" fmla="*/ 1 h 9"/>
                    <a:gd name="T14" fmla="*/ 6 w 8"/>
                    <a:gd name="T15" fmla="*/ 0 h 9"/>
                    <a:gd name="T16" fmla="*/ 4 w 8"/>
                    <a:gd name="T17" fmla="*/ 0 h 9"/>
                    <a:gd name="T18" fmla="*/ 4 w 8"/>
                    <a:gd name="T19" fmla="*/ 0 h 9"/>
                    <a:gd name="T20" fmla="*/ 4 w 8"/>
                    <a:gd name="T21" fmla="*/ 2 h 9"/>
                    <a:gd name="T22" fmla="*/ 4 w 8"/>
                    <a:gd name="T23" fmla="*/ 4 h 9"/>
                    <a:gd name="T24" fmla="*/ 1 w 8"/>
                    <a:gd name="T25" fmla="*/ 3 h 9"/>
                    <a:gd name="T26" fmla="*/ 0 w 8"/>
                    <a:gd name="T27" fmla="*/ 4 h 9"/>
                    <a:gd name="T28" fmla="*/ 1 w 8"/>
                    <a:gd name="T29" fmla="*/ 6 h 9"/>
                    <a:gd name="T30" fmla="*/ 4 w 8"/>
                    <a:gd name="T31" fmla="*/ 6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" h="9">
                      <a:moveTo>
                        <a:pt x="4" y="6"/>
                      </a:moveTo>
                      <a:lnTo>
                        <a:pt x="5" y="8"/>
                      </a:lnTo>
                      <a:lnTo>
                        <a:pt x="7" y="9"/>
                      </a:lnTo>
                      <a:lnTo>
                        <a:pt x="6" y="7"/>
                      </a:lnTo>
                      <a:lnTo>
                        <a:pt x="8" y="5"/>
                      </a:lnTo>
                      <a:lnTo>
                        <a:pt x="7" y="3"/>
                      </a:lnTo>
                      <a:lnTo>
                        <a:pt x="8" y="1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1" y="3"/>
                      </a:ln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03" name="Freeform 705">
                  <a:extLst>
                    <a:ext uri="{FF2B5EF4-FFF2-40B4-BE49-F238E27FC236}">
                      <a16:creationId xmlns:a16="http://schemas.microsoft.com/office/drawing/2014/main" id="{3F92206B-43A6-42C8-8C0C-5B72F8B533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6" y="1698"/>
                  <a:ext cx="2" cy="2"/>
                </a:xfrm>
                <a:custGeom>
                  <a:avLst/>
                  <a:gdLst>
                    <a:gd name="T0" fmla="*/ 0 w 2"/>
                    <a:gd name="T1" fmla="*/ 1 h 2"/>
                    <a:gd name="T2" fmla="*/ 0 w 2"/>
                    <a:gd name="T3" fmla="*/ 2 h 2"/>
                    <a:gd name="T4" fmla="*/ 2 w 2"/>
                    <a:gd name="T5" fmla="*/ 2 h 2"/>
                    <a:gd name="T6" fmla="*/ 2 w 2"/>
                    <a:gd name="T7" fmla="*/ 0 h 2"/>
                    <a:gd name="T8" fmla="*/ 0 w 2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0" y="1"/>
                      </a:move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04" name="Freeform 706">
                  <a:extLst>
                    <a:ext uri="{FF2B5EF4-FFF2-40B4-BE49-F238E27FC236}">
                      <a16:creationId xmlns:a16="http://schemas.microsoft.com/office/drawing/2014/main" id="{917FBF61-71DC-41AC-879E-425C6C4228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60" y="1660"/>
                  <a:ext cx="6" cy="5"/>
                </a:xfrm>
                <a:custGeom>
                  <a:avLst/>
                  <a:gdLst>
                    <a:gd name="T0" fmla="*/ 2 w 6"/>
                    <a:gd name="T1" fmla="*/ 2 h 5"/>
                    <a:gd name="T2" fmla="*/ 2 w 6"/>
                    <a:gd name="T3" fmla="*/ 5 h 5"/>
                    <a:gd name="T4" fmla="*/ 5 w 6"/>
                    <a:gd name="T5" fmla="*/ 5 h 5"/>
                    <a:gd name="T6" fmla="*/ 6 w 6"/>
                    <a:gd name="T7" fmla="*/ 5 h 5"/>
                    <a:gd name="T8" fmla="*/ 6 w 6"/>
                    <a:gd name="T9" fmla="*/ 3 h 5"/>
                    <a:gd name="T10" fmla="*/ 3 w 6"/>
                    <a:gd name="T11" fmla="*/ 3 h 5"/>
                    <a:gd name="T12" fmla="*/ 4 w 6"/>
                    <a:gd name="T13" fmla="*/ 2 h 5"/>
                    <a:gd name="T14" fmla="*/ 3 w 6"/>
                    <a:gd name="T15" fmla="*/ 0 h 5"/>
                    <a:gd name="T16" fmla="*/ 0 w 6"/>
                    <a:gd name="T17" fmla="*/ 0 h 5"/>
                    <a:gd name="T18" fmla="*/ 0 w 6"/>
                    <a:gd name="T19" fmla="*/ 3 h 5"/>
                    <a:gd name="T20" fmla="*/ 1 w 6"/>
                    <a:gd name="T21" fmla="*/ 5 h 5"/>
                    <a:gd name="T22" fmla="*/ 2 w 6"/>
                    <a:gd name="T23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" h="5">
                      <a:moveTo>
                        <a:pt x="2" y="2"/>
                      </a:moveTo>
                      <a:lnTo>
                        <a:pt x="2" y="5"/>
                      </a:lnTo>
                      <a:lnTo>
                        <a:pt x="5" y="5"/>
                      </a:lnTo>
                      <a:lnTo>
                        <a:pt x="6" y="5"/>
                      </a:lnTo>
                      <a:lnTo>
                        <a:pt x="6" y="3"/>
                      </a:lnTo>
                      <a:lnTo>
                        <a:pt x="3" y="3"/>
                      </a:lnTo>
                      <a:lnTo>
                        <a:pt x="4" y="2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" y="5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05" name="Freeform 707">
                  <a:extLst>
                    <a:ext uri="{FF2B5EF4-FFF2-40B4-BE49-F238E27FC236}">
                      <a16:creationId xmlns:a16="http://schemas.microsoft.com/office/drawing/2014/main" id="{D1E762E1-AACD-49C9-80AD-B2C4E50730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8" y="1672"/>
                  <a:ext cx="100" cy="205"/>
                </a:xfrm>
                <a:custGeom>
                  <a:avLst/>
                  <a:gdLst>
                    <a:gd name="T0" fmla="*/ 7 w 100"/>
                    <a:gd name="T1" fmla="*/ 32 h 205"/>
                    <a:gd name="T2" fmla="*/ 8 w 100"/>
                    <a:gd name="T3" fmla="*/ 35 h 205"/>
                    <a:gd name="T4" fmla="*/ 6 w 100"/>
                    <a:gd name="T5" fmla="*/ 42 h 205"/>
                    <a:gd name="T6" fmla="*/ 5 w 100"/>
                    <a:gd name="T7" fmla="*/ 46 h 205"/>
                    <a:gd name="T8" fmla="*/ 12 w 100"/>
                    <a:gd name="T9" fmla="*/ 45 h 205"/>
                    <a:gd name="T10" fmla="*/ 7 w 100"/>
                    <a:gd name="T11" fmla="*/ 61 h 205"/>
                    <a:gd name="T12" fmla="*/ 5 w 100"/>
                    <a:gd name="T13" fmla="*/ 77 h 205"/>
                    <a:gd name="T14" fmla="*/ 9 w 100"/>
                    <a:gd name="T15" fmla="*/ 62 h 205"/>
                    <a:gd name="T16" fmla="*/ 14 w 100"/>
                    <a:gd name="T17" fmla="*/ 62 h 205"/>
                    <a:gd name="T18" fmla="*/ 17 w 100"/>
                    <a:gd name="T19" fmla="*/ 63 h 205"/>
                    <a:gd name="T20" fmla="*/ 15 w 100"/>
                    <a:gd name="T21" fmla="*/ 88 h 205"/>
                    <a:gd name="T22" fmla="*/ 22 w 100"/>
                    <a:gd name="T23" fmla="*/ 90 h 205"/>
                    <a:gd name="T24" fmla="*/ 32 w 100"/>
                    <a:gd name="T25" fmla="*/ 86 h 205"/>
                    <a:gd name="T26" fmla="*/ 38 w 100"/>
                    <a:gd name="T27" fmla="*/ 104 h 205"/>
                    <a:gd name="T28" fmla="*/ 39 w 100"/>
                    <a:gd name="T29" fmla="*/ 123 h 205"/>
                    <a:gd name="T30" fmla="*/ 38 w 100"/>
                    <a:gd name="T31" fmla="*/ 128 h 205"/>
                    <a:gd name="T32" fmla="*/ 21 w 100"/>
                    <a:gd name="T33" fmla="*/ 134 h 205"/>
                    <a:gd name="T34" fmla="*/ 25 w 100"/>
                    <a:gd name="T35" fmla="*/ 138 h 205"/>
                    <a:gd name="T36" fmla="*/ 19 w 100"/>
                    <a:gd name="T37" fmla="*/ 155 h 205"/>
                    <a:gd name="T38" fmla="*/ 11 w 100"/>
                    <a:gd name="T39" fmla="*/ 164 h 205"/>
                    <a:gd name="T40" fmla="*/ 23 w 100"/>
                    <a:gd name="T41" fmla="*/ 165 h 205"/>
                    <a:gd name="T42" fmla="*/ 31 w 100"/>
                    <a:gd name="T43" fmla="*/ 169 h 205"/>
                    <a:gd name="T44" fmla="*/ 47 w 100"/>
                    <a:gd name="T45" fmla="*/ 164 h 205"/>
                    <a:gd name="T46" fmla="*/ 28 w 100"/>
                    <a:gd name="T47" fmla="*/ 176 h 205"/>
                    <a:gd name="T48" fmla="*/ 17 w 100"/>
                    <a:gd name="T49" fmla="*/ 191 h 205"/>
                    <a:gd name="T50" fmla="*/ 4 w 100"/>
                    <a:gd name="T51" fmla="*/ 201 h 205"/>
                    <a:gd name="T52" fmla="*/ 12 w 100"/>
                    <a:gd name="T53" fmla="*/ 203 h 205"/>
                    <a:gd name="T54" fmla="*/ 22 w 100"/>
                    <a:gd name="T55" fmla="*/ 197 h 205"/>
                    <a:gd name="T56" fmla="*/ 32 w 100"/>
                    <a:gd name="T57" fmla="*/ 198 h 205"/>
                    <a:gd name="T58" fmla="*/ 42 w 100"/>
                    <a:gd name="T59" fmla="*/ 187 h 205"/>
                    <a:gd name="T60" fmla="*/ 57 w 100"/>
                    <a:gd name="T61" fmla="*/ 186 h 205"/>
                    <a:gd name="T62" fmla="*/ 70 w 100"/>
                    <a:gd name="T63" fmla="*/ 186 h 205"/>
                    <a:gd name="T64" fmla="*/ 87 w 100"/>
                    <a:gd name="T65" fmla="*/ 183 h 205"/>
                    <a:gd name="T66" fmla="*/ 97 w 100"/>
                    <a:gd name="T67" fmla="*/ 173 h 205"/>
                    <a:gd name="T68" fmla="*/ 86 w 100"/>
                    <a:gd name="T69" fmla="*/ 169 h 205"/>
                    <a:gd name="T70" fmla="*/ 88 w 100"/>
                    <a:gd name="T71" fmla="*/ 166 h 205"/>
                    <a:gd name="T72" fmla="*/ 94 w 100"/>
                    <a:gd name="T73" fmla="*/ 159 h 205"/>
                    <a:gd name="T74" fmla="*/ 94 w 100"/>
                    <a:gd name="T75" fmla="*/ 156 h 205"/>
                    <a:gd name="T76" fmla="*/ 93 w 100"/>
                    <a:gd name="T77" fmla="*/ 132 h 205"/>
                    <a:gd name="T78" fmla="*/ 80 w 100"/>
                    <a:gd name="T79" fmla="*/ 130 h 205"/>
                    <a:gd name="T80" fmla="*/ 70 w 100"/>
                    <a:gd name="T81" fmla="*/ 117 h 205"/>
                    <a:gd name="T82" fmla="*/ 74 w 100"/>
                    <a:gd name="T83" fmla="*/ 117 h 205"/>
                    <a:gd name="T84" fmla="*/ 72 w 100"/>
                    <a:gd name="T85" fmla="*/ 105 h 205"/>
                    <a:gd name="T86" fmla="*/ 59 w 100"/>
                    <a:gd name="T87" fmla="*/ 92 h 205"/>
                    <a:gd name="T88" fmla="*/ 45 w 100"/>
                    <a:gd name="T89" fmla="*/ 64 h 205"/>
                    <a:gd name="T90" fmla="*/ 29 w 100"/>
                    <a:gd name="T91" fmla="*/ 62 h 205"/>
                    <a:gd name="T92" fmla="*/ 42 w 100"/>
                    <a:gd name="T93" fmla="*/ 55 h 205"/>
                    <a:gd name="T94" fmla="*/ 40 w 100"/>
                    <a:gd name="T95" fmla="*/ 51 h 205"/>
                    <a:gd name="T96" fmla="*/ 48 w 100"/>
                    <a:gd name="T97" fmla="*/ 35 h 205"/>
                    <a:gd name="T98" fmla="*/ 42 w 100"/>
                    <a:gd name="T99" fmla="*/ 23 h 205"/>
                    <a:gd name="T100" fmla="*/ 29 w 100"/>
                    <a:gd name="T101" fmla="*/ 24 h 205"/>
                    <a:gd name="T102" fmla="*/ 27 w 100"/>
                    <a:gd name="T103" fmla="*/ 20 h 205"/>
                    <a:gd name="T104" fmla="*/ 36 w 100"/>
                    <a:gd name="T105" fmla="*/ 4 h 205"/>
                    <a:gd name="T106" fmla="*/ 28 w 100"/>
                    <a:gd name="T107" fmla="*/ 2 h 205"/>
                    <a:gd name="T108" fmla="*/ 18 w 100"/>
                    <a:gd name="T109" fmla="*/ 4 h 205"/>
                    <a:gd name="T110" fmla="*/ 14 w 100"/>
                    <a:gd name="T111" fmla="*/ 9 h 205"/>
                    <a:gd name="T112" fmla="*/ 11 w 100"/>
                    <a:gd name="T113" fmla="*/ 17 h 205"/>
                    <a:gd name="T114" fmla="*/ 6 w 100"/>
                    <a:gd name="T115" fmla="*/ 21 h 2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00" h="205">
                      <a:moveTo>
                        <a:pt x="5" y="25"/>
                      </a:moveTo>
                      <a:lnTo>
                        <a:pt x="6" y="29"/>
                      </a:lnTo>
                      <a:lnTo>
                        <a:pt x="6" y="30"/>
                      </a:lnTo>
                      <a:lnTo>
                        <a:pt x="9" y="30"/>
                      </a:lnTo>
                      <a:lnTo>
                        <a:pt x="7" y="31"/>
                      </a:lnTo>
                      <a:lnTo>
                        <a:pt x="7" y="31"/>
                      </a:lnTo>
                      <a:lnTo>
                        <a:pt x="7" y="32"/>
                      </a:lnTo>
                      <a:lnTo>
                        <a:pt x="10" y="31"/>
                      </a:lnTo>
                      <a:lnTo>
                        <a:pt x="9" y="32"/>
                      </a:lnTo>
                      <a:lnTo>
                        <a:pt x="10" y="33"/>
                      </a:lnTo>
                      <a:lnTo>
                        <a:pt x="8" y="32"/>
                      </a:lnTo>
                      <a:lnTo>
                        <a:pt x="7" y="33"/>
                      </a:lnTo>
                      <a:lnTo>
                        <a:pt x="7" y="35"/>
                      </a:lnTo>
                      <a:lnTo>
                        <a:pt x="8" y="35"/>
                      </a:lnTo>
                      <a:lnTo>
                        <a:pt x="7" y="36"/>
                      </a:lnTo>
                      <a:lnTo>
                        <a:pt x="6" y="38"/>
                      </a:lnTo>
                      <a:lnTo>
                        <a:pt x="7" y="38"/>
                      </a:lnTo>
                      <a:lnTo>
                        <a:pt x="8" y="39"/>
                      </a:lnTo>
                      <a:lnTo>
                        <a:pt x="5" y="38"/>
                      </a:lnTo>
                      <a:lnTo>
                        <a:pt x="5" y="41"/>
                      </a:lnTo>
                      <a:lnTo>
                        <a:pt x="6" y="42"/>
                      </a:lnTo>
                      <a:lnTo>
                        <a:pt x="5" y="42"/>
                      </a:lnTo>
                      <a:lnTo>
                        <a:pt x="4" y="44"/>
                      </a:lnTo>
                      <a:lnTo>
                        <a:pt x="1" y="44"/>
                      </a:lnTo>
                      <a:lnTo>
                        <a:pt x="0" y="45"/>
                      </a:lnTo>
                      <a:lnTo>
                        <a:pt x="1" y="45"/>
                      </a:lnTo>
                      <a:lnTo>
                        <a:pt x="4" y="45"/>
                      </a:lnTo>
                      <a:lnTo>
                        <a:pt x="5" y="46"/>
                      </a:lnTo>
                      <a:lnTo>
                        <a:pt x="4" y="47"/>
                      </a:lnTo>
                      <a:lnTo>
                        <a:pt x="3" y="47"/>
                      </a:lnTo>
                      <a:lnTo>
                        <a:pt x="5" y="49"/>
                      </a:lnTo>
                      <a:lnTo>
                        <a:pt x="6" y="49"/>
                      </a:lnTo>
                      <a:lnTo>
                        <a:pt x="7" y="50"/>
                      </a:lnTo>
                      <a:lnTo>
                        <a:pt x="13" y="44"/>
                      </a:lnTo>
                      <a:lnTo>
                        <a:pt x="12" y="45"/>
                      </a:lnTo>
                      <a:lnTo>
                        <a:pt x="13" y="46"/>
                      </a:lnTo>
                      <a:lnTo>
                        <a:pt x="11" y="47"/>
                      </a:lnTo>
                      <a:lnTo>
                        <a:pt x="10" y="51"/>
                      </a:lnTo>
                      <a:lnTo>
                        <a:pt x="10" y="52"/>
                      </a:lnTo>
                      <a:lnTo>
                        <a:pt x="8" y="56"/>
                      </a:lnTo>
                      <a:lnTo>
                        <a:pt x="9" y="56"/>
                      </a:lnTo>
                      <a:lnTo>
                        <a:pt x="7" y="61"/>
                      </a:lnTo>
                      <a:lnTo>
                        <a:pt x="7" y="65"/>
                      </a:lnTo>
                      <a:lnTo>
                        <a:pt x="7" y="66"/>
                      </a:lnTo>
                      <a:lnTo>
                        <a:pt x="7" y="68"/>
                      </a:lnTo>
                      <a:lnTo>
                        <a:pt x="8" y="67"/>
                      </a:lnTo>
                      <a:lnTo>
                        <a:pt x="7" y="71"/>
                      </a:lnTo>
                      <a:lnTo>
                        <a:pt x="6" y="76"/>
                      </a:lnTo>
                      <a:lnTo>
                        <a:pt x="5" y="77"/>
                      </a:lnTo>
                      <a:lnTo>
                        <a:pt x="5" y="78"/>
                      </a:lnTo>
                      <a:lnTo>
                        <a:pt x="8" y="78"/>
                      </a:lnTo>
                      <a:lnTo>
                        <a:pt x="7" y="76"/>
                      </a:lnTo>
                      <a:lnTo>
                        <a:pt x="9" y="73"/>
                      </a:lnTo>
                      <a:lnTo>
                        <a:pt x="9" y="70"/>
                      </a:lnTo>
                      <a:lnTo>
                        <a:pt x="11" y="68"/>
                      </a:lnTo>
                      <a:lnTo>
                        <a:pt x="9" y="62"/>
                      </a:lnTo>
                      <a:lnTo>
                        <a:pt x="11" y="62"/>
                      </a:lnTo>
                      <a:lnTo>
                        <a:pt x="14" y="56"/>
                      </a:lnTo>
                      <a:lnTo>
                        <a:pt x="11" y="62"/>
                      </a:lnTo>
                      <a:lnTo>
                        <a:pt x="11" y="65"/>
                      </a:lnTo>
                      <a:lnTo>
                        <a:pt x="12" y="66"/>
                      </a:lnTo>
                      <a:lnTo>
                        <a:pt x="12" y="64"/>
                      </a:lnTo>
                      <a:lnTo>
                        <a:pt x="14" y="62"/>
                      </a:lnTo>
                      <a:lnTo>
                        <a:pt x="14" y="66"/>
                      </a:lnTo>
                      <a:lnTo>
                        <a:pt x="16" y="62"/>
                      </a:lnTo>
                      <a:lnTo>
                        <a:pt x="16" y="59"/>
                      </a:lnTo>
                      <a:lnTo>
                        <a:pt x="17" y="58"/>
                      </a:lnTo>
                      <a:lnTo>
                        <a:pt x="17" y="62"/>
                      </a:lnTo>
                      <a:lnTo>
                        <a:pt x="19" y="64"/>
                      </a:lnTo>
                      <a:lnTo>
                        <a:pt x="17" y="63"/>
                      </a:lnTo>
                      <a:lnTo>
                        <a:pt x="16" y="68"/>
                      </a:lnTo>
                      <a:lnTo>
                        <a:pt x="17" y="71"/>
                      </a:lnTo>
                      <a:lnTo>
                        <a:pt x="18" y="72"/>
                      </a:lnTo>
                      <a:lnTo>
                        <a:pt x="19" y="74"/>
                      </a:lnTo>
                      <a:lnTo>
                        <a:pt x="17" y="77"/>
                      </a:lnTo>
                      <a:lnTo>
                        <a:pt x="14" y="85"/>
                      </a:lnTo>
                      <a:lnTo>
                        <a:pt x="15" y="88"/>
                      </a:lnTo>
                      <a:lnTo>
                        <a:pt x="13" y="86"/>
                      </a:lnTo>
                      <a:lnTo>
                        <a:pt x="13" y="90"/>
                      </a:lnTo>
                      <a:lnTo>
                        <a:pt x="16" y="94"/>
                      </a:lnTo>
                      <a:lnTo>
                        <a:pt x="15" y="90"/>
                      </a:lnTo>
                      <a:lnTo>
                        <a:pt x="17" y="90"/>
                      </a:lnTo>
                      <a:lnTo>
                        <a:pt x="21" y="93"/>
                      </a:lnTo>
                      <a:lnTo>
                        <a:pt x="22" y="90"/>
                      </a:lnTo>
                      <a:lnTo>
                        <a:pt x="20" y="89"/>
                      </a:lnTo>
                      <a:lnTo>
                        <a:pt x="21" y="88"/>
                      </a:lnTo>
                      <a:lnTo>
                        <a:pt x="25" y="91"/>
                      </a:lnTo>
                      <a:lnTo>
                        <a:pt x="28" y="90"/>
                      </a:lnTo>
                      <a:lnTo>
                        <a:pt x="28" y="89"/>
                      </a:lnTo>
                      <a:lnTo>
                        <a:pt x="31" y="90"/>
                      </a:lnTo>
                      <a:lnTo>
                        <a:pt x="32" y="86"/>
                      </a:lnTo>
                      <a:lnTo>
                        <a:pt x="38" y="86"/>
                      </a:lnTo>
                      <a:lnTo>
                        <a:pt x="34" y="88"/>
                      </a:lnTo>
                      <a:lnTo>
                        <a:pt x="31" y="97"/>
                      </a:lnTo>
                      <a:lnTo>
                        <a:pt x="34" y="105"/>
                      </a:lnTo>
                      <a:lnTo>
                        <a:pt x="36" y="104"/>
                      </a:lnTo>
                      <a:lnTo>
                        <a:pt x="36" y="108"/>
                      </a:lnTo>
                      <a:lnTo>
                        <a:pt x="38" y="104"/>
                      </a:lnTo>
                      <a:lnTo>
                        <a:pt x="41" y="105"/>
                      </a:lnTo>
                      <a:lnTo>
                        <a:pt x="40" y="109"/>
                      </a:lnTo>
                      <a:lnTo>
                        <a:pt x="41" y="110"/>
                      </a:lnTo>
                      <a:lnTo>
                        <a:pt x="38" y="112"/>
                      </a:lnTo>
                      <a:lnTo>
                        <a:pt x="39" y="117"/>
                      </a:lnTo>
                      <a:lnTo>
                        <a:pt x="38" y="121"/>
                      </a:lnTo>
                      <a:lnTo>
                        <a:pt x="39" y="123"/>
                      </a:lnTo>
                      <a:lnTo>
                        <a:pt x="41" y="125"/>
                      </a:lnTo>
                      <a:lnTo>
                        <a:pt x="43" y="125"/>
                      </a:lnTo>
                      <a:lnTo>
                        <a:pt x="42" y="127"/>
                      </a:lnTo>
                      <a:lnTo>
                        <a:pt x="40" y="127"/>
                      </a:lnTo>
                      <a:lnTo>
                        <a:pt x="38" y="124"/>
                      </a:lnTo>
                      <a:lnTo>
                        <a:pt x="37" y="124"/>
                      </a:lnTo>
                      <a:lnTo>
                        <a:pt x="38" y="128"/>
                      </a:lnTo>
                      <a:lnTo>
                        <a:pt x="39" y="128"/>
                      </a:lnTo>
                      <a:lnTo>
                        <a:pt x="37" y="128"/>
                      </a:lnTo>
                      <a:lnTo>
                        <a:pt x="35" y="125"/>
                      </a:lnTo>
                      <a:lnTo>
                        <a:pt x="31" y="128"/>
                      </a:lnTo>
                      <a:lnTo>
                        <a:pt x="29" y="127"/>
                      </a:lnTo>
                      <a:lnTo>
                        <a:pt x="25" y="130"/>
                      </a:lnTo>
                      <a:lnTo>
                        <a:pt x="21" y="134"/>
                      </a:lnTo>
                      <a:lnTo>
                        <a:pt x="18" y="136"/>
                      </a:lnTo>
                      <a:lnTo>
                        <a:pt x="17" y="138"/>
                      </a:lnTo>
                      <a:lnTo>
                        <a:pt x="19" y="138"/>
                      </a:lnTo>
                      <a:lnTo>
                        <a:pt x="20" y="138"/>
                      </a:lnTo>
                      <a:lnTo>
                        <a:pt x="21" y="137"/>
                      </a:lnTo>
                      <a:lnTo>
                        <a:pt x="25" y="135"/>
                      </a:lnTo>
                      <a:lnTo>
                        <a:pt x="25" y="138"/>
                      </a:lnTo>
                      <a:lnTo>
                        <a:pt x="27" y="141"/>
                      </a:lnTo>
                      <a:lnTo>
                        <a:pt x="25" y="142"/>
                      </a:lnTo>
                      <a:lnTo>
                        <a:pt x="26" y="145"/>
                      </a:lnTo>
                      <a:lnTo>
                        <a:pt x="27" y="145"/>
                      </a:lnTo>
                      <a:lnTo>
                        <a:pt x="24" y="152"/>
                      </a:lnTo>
                      <a:lnTo>
                        <a:pt x="21" y="153"/>
                      </a:lnTo>
                      <a:lnTo>
                        <a:pt x="19" y="155"/>
                      </a:lnTo>
                      <a:lnTo>
                        <a:pt x="18" y="155"/>
                      </a:lnTo>
                      <a:lnTo>
                        <a:pt x="15" y="157"/>
                      </a:lnTo>
                      <a:lnTo>
                        <a:pt x="13" y="157"/>
                      </a:lnTo>
                      <a:lnTo>
                        <a:pt x="10" y="160"/>
                      </a:lnTo>
                      <a:lnTo>
                        <a:pt x="12" y="160"/>
                      </a:lnTo>
                      <a:lnTo>
                        <a:pt x="13" y="162"/>
                      </a:lnTo>
                      <a:lnTo>
                        <a:pt x="11" y="164"/>
                      </a:lnTo>
                      <a:lnTo>
                        <a:pt x="14" y="165"/>
                      </a:lnTo>
                      <a:lnTo>
                        <a:pt x="14" y="166"/>
                      </a:lnTo>
                      <a:lnTo>
                        <a:pt x="14" y="166"/>
                      </a:lnTo>
                      <a:lnTo>
                        <a:pt x="17" y="166"/>
                      </a:lnTo>
                      <a:lnTo>
                        <a:pt x="19" y="164"/>
                      </a:lnTo>
                      <a:lnTo>
                        <a:pt x="22" y="162"/>
                      </a:lnTo>
                      <a:lnTo>
                        <a:pt x="23" y="165"/>
                      </a:lnTo>
                      <a:lnTo>
                        <a:pt x="25" y="166"/>
                      </a:lnTo>
                      <a:lnTo>
                        <a:pt x="23" y="166"/>
                      </a:lnTo>
                      <a:lnTo>
                        <a:pt x="23" y="168"/>
                      </a:lnTo>
                      <a:lnTo>
                        <a:pt x="27" y="168"/>
                      </a:lnTo>
                      <a:lnTo>
                        <a:pt x="27" y="167"/>
                      </a:lnTo>
                      <a:lnTo>
                        <a:pt x="29" y="166"/>
                      </a:lnTo>
                      <a:lnTo>
                        <a:pt x="31" y="169"/>
                      </a:lnTo>
                      <a:lnTo>
                        <a:pt x="33" y="172"/>
                      </a:lnTo>
                      <a:lnTo>
                        <a:pt x="38" y="172"/>
                      </a:lnTo>
                      <a:lnTo>
                        <a:pt x="38" y="169"/>
                      </a:lnTo>
                      <a:lnTo>
                        <a:pt x="41" y="169"/>
                      </a:lnTo>
                      <a:lnTo>
                        <a:pt x="43" y="167"/>
                      </a:lnTo>
                      <a:lnTo>
                        <a:pt x="45" y="166"/>
                      </a:lnTo>
                      <a:lnTo>
                        <a:pt x="47" y="164"/>
                      </a:lnTo>
                      <a:lnTo>
                        <a:pt x="44" y="169"/>
                      </a:lnTo>
                      <a:lnTo>
                        <a:pt x="40" y="173"/>
                      </a:lnTo>
                      <a:lnTo>
                        <a:pt x="40" y="177"/>
                      </a:lnTo>
                      <a:lnTo>
                        <a:pt x="38" y="177"/>
                      </a:lnTo>
                      <a:lnTo>
                        <a:pt x="36" y="178"/>
                      </a:lnTo>
                      <a:lnTo>
                        <a:pt x="34" y="176"/>
                      </a:lnTo>
                      <a:lnTo>
                        <a:pt x="28" y="176"/>
                      </a:lnTo>
                      <a:lnTo>
                        <a:pt x="24" y="177"/>
                      </a:lnTo>
                      <a:lnTo>
                        <a:pt x="24" y="180"/>
                      </a:lnTo>
                      <a:lnTo>
                        <a:pt x="22" y="181"/>
                      </a:lnTo>
                      <a:lnTo>
                        <a:pt x="20" y="181"/>
                      </a:lnTo>
                      <a:lnTo>
                        <a:pt x="20" y="187"/>
                      </a:lnTo>
                      <a:lnTo>
                        <a:pt x="17" y="190"/>
                      </a:lnTo>
                      <a:lnTo>
                        <a:pt x="17" y="191"/>
                      </a:lnTo>
                      <a:lnTo>
                        <a:pt x="14" y="192"/>
                      </a:lnTo>
                      <a:lnTo>
                        <a:pt x="13" y="195"/>
                      </a:lnTo>
                      <a:lnTo>
                        <a:pt x="12" y="195"/>
                      </a:lnTo>
                      <a:lnTo>
                        <a:pt x="11" y="197"/>
                      </a:lnTo>
                      <a:lnTo>
                        <a:pt x="8" y="200"/>
                      </a:lnTo>
                      <a:lnTo>
                        <a:pt x="7" y="200"/>
                      </a:lnTo>
                      <a:lnTo>
                        <a:pt x="4" y="201"/>
                      </a:lnTo>
                      <a:lnTo>
                        <a:pt x="4" y="204"/>
                      </a:lnTo>
                      <a:lnTo>
                        <a:pt x="7" y="204"/>
                      </a:lnTo>
                      <a:lnTo>
                        <a:pt x="7" y="202"/>
                      </a:lnTo>
                      <a:lnTo>
                        <a:pt x="10" y="203"/>
                      </a:lnTo>
                      <a:lnTo>
                        <a:pt x="11" y="205"/>
                      </a:lnTo>
                      <a:lnTo>
                        <a:pt x="13" y="204"/>
                      </a:lnTo>
                      <a:lnTo>
                        <a:pt x="12" y="203"/>
                      </a:lnTo>
                      <a:lnTo>
                        <a:pt x="13" y="200"/>
                      </a:lnTo>
                      <a:lnTo>
                        <a:pt x="14" y="201"/>
                      </a:lnTo>
                      <a:lnTo>
                        <a:pt x="16" y="199"/>
                      </a:lnTo>
                      <a:lnTo>
                        <a:pt x="17" y="199"/>
                      </a:lnTo>
                      <a:lnTo>
                        <a:pt x="18" y="197"/>
                      </a:lnTo>
                      <a:lnTo>
                        <a:pt x="20" y="197"/>
                      </a:lnTo>
                      <a:lnTo>
                        <a:pt x="22" y="197"/>
                      </a:lnTo>
                      <a:lnTo>
                        <a:pt x="24" y="197"/>
                      </a:lnTo>
                      <a:lnTo>
                        <a:pt x="25" y="196"/>
                      </a:lnTo>
                      <a:lnTo>
                        <a:pt x="26" y="198"/>
                      </a:lnTo>
                      <a:lnTo>
                        <a:pt x="28" y="198"/>
                      </a:lnTo>
                      <a:lnTo>
                        <a:pt x="30" y="200"/>
                      </a:lnTo>
                      <a:lnTo>
                        <a:pt x="32" y="200"/>
                      </a:lnTo>
                      <a:lnTo>
                        <a:pt x="32" y="198"/>
                      </a:lnTo>
                      <a:lnTo>
                        <a:pt x="33" y="197"/>
                      </a:lnTo>
                      <a:lnTo>
                        <a:pt x="34" y="195"/>
                      </a:lnTo>
                      <a:lnTo>
                        <a:pt x="33" y="192"/>
                      </a:lnTo>
                      <a:lnTo>
                        <a:pt x="35" y="190"/>
                      </a:lnTo>
                      <a:lnTo>
                        <a:pt x="36" y="190"/>
                      </a:lnTo>
                      <a:lnTo>
                        <a:pt x="37" y="189"/>
                      </a:lnTo>
                      <a:lnTo>
                        <a:pt x="42" y="187"/>
                      </a:lnTo>
                      <a:lnTo>
                        <a:pt x="44" y="188"/>
                      </a:lnTo>
                      <a:lnTo>
                        <a:pt x="47" y="190"/>
                      </a:lnTo>
                      <a:lnTo>
                        <a:pt x="49" y="190"/>
                      </a:lnTo>
                      <a:lnTo>
                        <a:pt x="52" y="190"/>
                      </a:lnTo>
                      <a:lnTo>
                        <a:pt x="53" y="191"/>
                      </a:lnTo>
                      <a:lnTo>
                        <a:pt x="54" y="188"/>
                      </a:lnTo>
                      <a:lnTo>
                        <a:pt x="57" y="186"/>
                      </a:lnTo>
                      <a:lnTo>
                        <a:pt x="59" y="187"/>
                      </a:lnTo>
                      <a:lnTo>
                        <a:pt x="63" y="185"/>
                      </a:lnTo>
                      <a:lnTo>
                        <a:pt x="64" y="186"/>
                      </a:lnTo>
                      <a:lnTo>
                        <a:pt x="66" y="185"/>
                      </a:lnTo>
                      <a:lnTo>
                        <a:pt x="67" y="184"/>
                      </a:lnTo>
                      <a:lnTo>
                        <a:pt x="67" y="185"/>
                      </a:lnTo>
                      <a:lnTo>
                        <a:pt x="70" y="186"/>
                      </a:lnTo>
                      <a:lnTo>
                        <a:pt x="71" y="185"/>
                      </a:lnTo>
                      <a:lnTo>
                        <a:pt x="76" y="185"/>
                      </a:lnTo>
                      <a:lnTo>
                        <a:pt x="79" y="184"/>
                      </a:lnTo>
                      <a:lnTo>
                        <a:pt x="81" y="185"/>
                      </a:lnTo>
                      <a:lnTo>
                        <a:pt x="83" y="186"/>
                      </a:lnTo>
                      <a:lnTo>
                        <a:pt x="85" y="183"/>
                      </a:lnTo>
                      <a:lnTo>
                        <a:pt x="87" y="183"/>
                      </a:lnTo>
                      <a:lnTo>
                        <a:pt x="89" y="180"/>
                      </a:lnTo>
                      <a:lnTo>
                        <a:pt x="90" y="180"/>
                      </a:lnTo>
                      <a:lnTo>
                        <a:pt x="92" y="181"/>
                      </a:lnTo>
                      <a:lnTo>
                        <a:pt x="92" y="179"/>
                      </a:lnTo>
                      <a:lnTo>
                        <a:pt x="95" y="176"/>
                      </a:lnTo>
                      <a:lnTo>
                        <a:pt x="97" y="176"/>
                      </a:lnTo>
                      <a:lnTo>
                        <a:pt x="97" y="173"/>
                      </a:lnTo>
                      <a:lnTo>
                        <a:pt x="97" y="172"/>
                      </a:lnTo>
                      <a:lnTo>
                        <a:pt x="97" y="169"/>
                      </a:lnTo>
                      <a:lnTo>
                        <a:pt x="94" y="169"/>
                      </a:lnTo>
                      <a:lnTo>
                        <a:pt x="91" y="171"/>
                      </a:lnTo>
                      <a:lnTo>
                        <a:pt x="90" y="171"/>
                      </a:lnTo>
                      <a:lnTo>
                        <a:pt x="87" y="170"/>
                      </a:lnTo>
                      <a:lnTo>
                        <a:pt x="86" y="169"/>
                      </a:lnTo>
                      <a:lnTo>
                        <a:pt x="87" y="169"/>
                      </a:lnTo>
                      <a:lnTo>
                        <a:pt x="87" y="169"/>
                      </a:lnTo>
                      <a:lnTo>
                        <a:pt x="88" y="168"/>
                      </a:lnTo>
                      <a:lnTo>
                        <a:pt x="86" y="167"/>
                      </a:lnTo>
                      <a:lnTo>
                        <a:pt x="83" y="168"/>
                      </a:lnTo>
                      <a:lnTo>
                        <a:pt x="87" y="166"/>
                      </a:lnTo>
                      <a:lnTo>
                        <a:pt x="88" y="166"/>
                      </a:lnTo>
                      <a:lnTo>
                        <a:pt x="90" y="165"/>
                      </a:lnTo>
                      <a:lnTo>
                        <a:pt x="90" y="162"/>
                      </a:lnTo>
                      <a:lnTo>
                        <a:pt x="87" y="162"/>
                      </a:lnTo>
                      <a:lnTo>
                        <a:pt x="89" y="161"/>
                      </a:lnTo>
                      <a:lnTo>
                        <a:pt x="90" y="159"/>
                      </a:lnTo>
                      <a:lnTo>
                        <a:pt x="92" y="161"/>
                      </a:lnTo>
                      <a:lnTo>
                        <a:pt x="94" y="159"/>
                      </a:lnTo>
                      <a:lnTo>
                        <a:pt x="94" y="158"/>
                      </a:lnTo>
                      <a:lnTo>
                        <a:pt x="94" y="158"/>
                      </a:lnTo>
                      <a:lnTo>
                        <a:pt x="94" y="156"/>
                      </a:lnTo>
                      <a:lnTo>
                        <a:pt x="92" y="156"/>
                      </a:lnTo>
                      <a:lnTo>
                        <a:pt x="93" y="154"/>
                      </a:lnTo>
                      <a:lnTo>
                        <a:pt x="94" y="155"/>
                      </a:lnTo>
                      <a:lnTo>
                        <a:pt x="94" y="156"/>
                      </a:lnTo>
                      <a:lnTo>
                        <a:pt x="97" y="153"/>
                      </a:lnTo>
                      <a:lnTo>
                        <a:pt x="98" y="152"/>
                      </a:lnTo>
                      <a:lnTo>
                        <a:pt x="98" y="148"/>
                      </a:lnTo>
                      <a:lnTo>
                        <a:pt x="100" y="143"/>
                      </a:lnTo>
                      <a:lnTo>
                        <a:pt x="98" y="142"/>
                      </a:lnTo>
                      <a:lnTo>
                        <a:pt x="98" y="137"/>
                      </a:lnTo>
                      <a:lnTo>
                        <a:pt x="93" y="132"/>
                      </a:lnTo>
                      <a:lnTo>
                        <a:pt x="87" y="132"/>
                      </a:lnTo>
                      <a:lnTo>
                        <a:pt x="83" y="132"/>
                      </a:lnTo>
                      <a:lnTo>
                        <a:pt x="82" y="136"/>
                      </a:lnTo>
                      <a:lnTo>
                        <a:pt x="81" y="138"/>
                      </a:lnTo>
                      <a:lnTo>
                        <a:pt x="79" y="135"/>
                      </a:lnTo>
                      <a:lnTo>
                        <a:pt x="77" y="135"/>
                      </a:lnTo>
                      <a:lnTo>
                        <a:pt x="80" y="130"/>
                      </a:lnTo>
                      <a:lnTo>
                        <a:pt x="80" y="127"/>
                      </a:lnTo>
                      <a:lnTo>
                        <a:pt x="77" y="121"/>
                      </a:lnTo>
                      <a:lnTo>
                        <a:pt x="76" y="120"/>
                      </a:lnTo>
                      <a:lnTo>
                        <a:pt x="73" y="118"/>
                      </a:lnTo>
                      <a:lnTo>
                        <a:pt x="72" y="116"/>
                      </a:lnTo>
                      <a:lnTo>
                        <a:pt x="70" y="116"/>
                      </a:lnTo>
                      <a:lnTo>
                        <a:pt x="70" y="117"/>
                      </a:lnTo>
                      <a:lnTo>
                        <a:pt x="68" y="116"/>
                      </a:lnTo>
                      <a:lnTo>
                        <a:pt x="66" y="116"/>
                      </a:lnTo>
                      <a:lnTo>
                        <a:pt x="69" y="115"/>
                      </a:lnTo>
                      <a:lnTo>
                        <a:pt x="70" y="115"/>
                      </a:lnTo>
                      <a:lnTo>
                        <a:pt x="72" y="115"/>
                      </a:lnTo>
                      <a:lnTo>
                        <a:pt x="73" y="116"/>
                      </a:lnTo>
                      <a:lnTo>
                        <a:pt x="74" y="117"/>
                      </a:lnTo>
                      <a:lnTo>
                        <a:pt x="76" y="117"/>
                      </a:lnTo>
                      <a:lnTo>
                        <a:pt x="77" y="117"/>
                      </a:lnTo>
                      <a:lnTo>
                        <a:pt x="73" y="111"/>
                      </a:lnTo>
                      <a:lnTo>
                        <a:pt x="72" y="109"/>
                      </a:lnTo>
                      <a:lnTo>
                        <a:pt x="73" y="107"/>
                      </a:lnTo>
                      <a:lnTo>
                        <a:pt x="74" y="106"/>
                      </a:lnTo>
                      <a:lnTo>
                        <a:pt x="72" y="105"/>
                      </a:lnTo>
                      <a:lnTo>
                        <a:pt x="71" y="104"/>
                      </a:lnTo>
                      <a:lnTo>
                        <a:pt x="70" y="103"/>
                      </a:lnTo>
                      <a:lnTo>
                        <a:pt x="68" y="98"/>
                      </a:lnTo>
                      <a:lnTo>
                        <a:pt x="65" y="96"/>
                      </a:lnTo>
                      <a:lnTo>
                        <a:pt x="60" y="95"/>
                      </a:lnTo>
                      <a:lnTo>
                        <a:pt x="60" y="93"/>
                      </a:lnTo>
                      <a:lnTo>
                        <a:pt x="59" y="92"/>
                      </a:lnTo>
                      <a:lnTo>
                        <a:pt x="57" y="86"/>
                      </a:lnTo>
                      <a:lnTo>
                        <a:pt x="56" y="83"/>
                      </a:lnTo>
                      <a:lnTo>
                        <a:pt x="55" y="74"/>
                      </a:lnTo>
                      <a:lnTo>
                        <a:pt x="53" y="72"/>
                      </a:lnTo>
                      <a:lnTo>
                        <a:pt x="52" y="72"/>
                      </a:lnTo>
                      <a:lnTo>
                        <a:pt x="48" y="65"/>
                      </a:lnTo>
                      <a:lnTo>
                        <a:pt x="45" y="64"/>
                      </a:lnTo>
                      <a:lnTo>
                        <a:pt x="44" y="62"/>
                      </a:lnTo>
                      <a:lnTo>
                        <a:pt x="41" y="61"/>
                      </a:lnTo>
                      <a:lnTo>
                        <a:pt x="39" y="62"/>
                      </a:lnTo>
                      <a:lnTo>
                        <a:pt x="37" y="64"/>
                      </a:lnTo>
                      <a:lnTo>
                        <a:pt x="34" y="62"/>
                      </a:lnTo>
                      <a:lnTo>
                        <a:pt x="32" y="63"/>
                      </a:lnTo>
                      <a:lnTo>
                        <a:pt x="29" y="62"/>
                      </a:lnTo>
                      <a:lnTo>
                        <a:pt x="28" y="60"/>
                      </a:lnTo>
                      <a:lnTo>
                        <a:pt x="30" y="61"/>
                      </a:lnTo>
                      <a:lnTo>
                        <a:pt x="34" y="62"/>
                      </a:lnTo>
                      <a:lnTo>
                        <a:pt x="36" y="60"/>
                      </a:lnTo>
                      <a:lnTo>
                        <a:pt x="37" y="58"/>
                      </a:lnTo>
                      <a:lnTo>
                        <a:pt x="40" y="58"/>
                      </a:lnTo>
                      <a:lnTo>
                        <a:pt x="42" y="55"/>
                      </a:lnTo>
                      <a:lnTo>
                        <a:pt x="40" y="55"/>
                      </a:lnTo>
                      <a:lnTo>
                        <a:pt x="39" y="52"/>
                      </a:lnTo>
                      <a:lnTo>
                        <a:pt x="38" y="52"/>
                      </a:lnTo>
                      <a:lnTo>
                        <a:pt x="35" y="54"/>
                      </a:lnTo>
                      <a:lnTo>
                        <a:pt x="35" y="53"/>
                      </a:lnTo>
                      <a:lnTo>
                        <a:pt x="37" y="51"/>
                      </a:lnTo>
                      <a:lnTo>
                        <a:pt x="40" y="51"/>
                      </a:lnTo>
                      <a:lnTo>
                        <a:pt x="42" y="49"/>
                      </a:lnTo>
                      <a:lnTo>
                        <a:pt x="42" y="47"/>
                      </a:lnTo>
                      <a:lnTo>
                        <a:pt x="44" y="46"/>
                      </a:lnTo>
                      <a:lnTo>
                        <a:pt x="45" y="42"/>
                      </a:lnTo>
                      <a:lnTo>
                        <a:pt x="47" y="40"/>
                      </a:lnTo>
                      <a:lnTo>
                        <a:pt x="47" y="38"/>
                      </a:lnTo>
                      <a:lnTo>
                        <a:pt x="48" y="35"/>
                      </a:lnTo>
                      <a:lnTo>
                        <a:pt x="48" y="35"/>
                      </a:lnTo>
                      <a:lnTo>
                        <a:pt x="49" y="31"/>
                      </a:lnTo>
                      <a:lnTo>
                        <a:pt x="51" y="28"/>
                      </a:lnTo>
                      <a:lnTo>
                        <a:pt x="51" y="25"/>
                      </a:lnTo>
                      <a:lnTo>
                        <a:pt x="48" y="22"/>
                      </a:lnTo>
                      <a:lnTo>
                        <a:pt x="47" y="22"/>
                      </a:lnTo>
                      <a:lnTo>
                        <a:pt x="42" y="23"/>
                      </a:lnTo>
                      <a:lnTo>
                        <a:pt x="38" y="22"/>
                      </a:lnTo>
                      <a:lnTo>
                        <a:pt x="37" y="23"/>
                      </a:lnTo>
                      <a:lnTo>
                        <a:pt x="35" y="23"/>
                      </a:lnTo>
                      <a:lnTo>
                        <a:pt x="33" y="22"/>
                      </a:lnTo>
                      <a:lnTo>
                        <a:pt x="32" y="22"/>
                      </a:lnTo>
                      <a:lnTo>
                        <a:pt x="32" y="23"/>
                      </a:lnTo>
                      <a:lnTo>
                        <a:pt x="29" y="24"/>
                      </a:lnTo>
                      <a:lnTo>
                        <a:pt x="27" y="25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4" y="26"/>
                      </a:lnTo>
                      <a:lnTo>
                        <a:pt x="26" y="23"/>
                      </a:lnTo>
                      <a:lnTo>
                        <a:pt x="28" y="19"/>
                      </a:lnTo>
                      <a:lnTo>
                        <a:pt x="27" y="20"/>
                      </a:lnTo>
                      <a:lnTo>
                        <a:pt x="25" y="19"/>
                      </a:lnTo>
                      <a:lnTo>
                        <a:pt x="26" y="18"/>
                      </a:lnTo>
                      <a:lnTo>
                        <a:pt x="26" y="16"/>
                      </a:lnTo>
                      <a:lnTo>
                        <a:pt x="32" y="11"/>
                      </a:lnTo>
                      <a:lnTo>
                        <a:pt x="33" y="8"/>
                      </a:lnTo>
                      <a:lnTo>
                        <a:pt x="35" y="7"/>
                      </a:lnTo>
                      <a:lnTo>
                        <a:pt x="36" y="4"/>
                      </a:lnTo>
                      <a:lnTo>
                        <a:pt x="35" y="3"/>
                      </a:lnTo>
                      <a:lnTo>
                        <a:pt x="36" y="1"/>
                      </a:lnTo>
                      <a:lnTo>
                        <a:pt x="36" y="0"/>
                      </a:lnTo>
                      <a:lnTo>
                        <a:pt x="33" y="0"/>
                      </a:lnTo>
                      <a:lnTo>
                        <a:pt x="32" y="1"/>
                      </a:lnTo>
                      <a:lnTo>
                        <a:pt x="31" y="0"/>
                      </a:lnTo>
                      <a:lnTo>
                        <a:pt x="28" y="2"/>
                      </a:lnTo>
                      <a:lnTo>
                        <a:pt x="25" y="1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21" y="4"/>
                      </a:lnTo>
                      <a:lnTo>
                        <a:pt x="21" y="3"/>
                      </a:lnTo>
                      <a:lnTo>
                        <a:pt x="20" y="2"/>
                      </a:lnTo>
                      <a:lnTo>
                        <a:pt x="18" y="4"/>
                      </a:lnTo>
                      <a:lnTo>
                        <a:pt x="18" y="2"/>
                      </a:lnTo>
                      <a:lnTo>
                        <a:pt x="15" y="0"/>
                      </a:lnTo>
                      <a:lnTo>
                        <a:pt x="14" y="3"/>
                      </a:lnTo>
                      <a:lnTo>
                        <a:pt x="14" y="4"/>
                      </a:lnTo>
                      <a:lnTo>
                        <a:pt x="14" y="6"/>
                      </a:lnTo>
                      <a:lnTo>
                        <a:pt x="13" y="6"/>
                      </a:lnTo>
                      <a:lnTo>
                        <a:pt x="14" y="9"/>
                      </a:lnTo>
                      <a:lnTo>
                        <a:pt x="11" y="9"/>
                      </a:lnTo>
                      <a:lnTo>
                        <a:pt x="12" y="11"/>
                      </a:lnTo>
                      <a:lnTo>
                        <a:pt x="11" y="14"/>
                      </a:lnTo>
                      <a:lnTo>
                        <a:pt x="10" y="14"/>
                      </a:lnTo>
                      <a:lnTo>
                        <a:pt x="13" y="17"/>
                      </a:lnTo>
                      <a:lnTo>
                        <a:pt x="14" y="19"/>
                      </a:lnTo>
                      <a:lnTo>
                        <a:pt x="11" y="17"/>
                      </a:lnTo>
                      <a:lnTo>
                        <a:pt x="10" y="18"/>
                      </a:lnTo>
                      <a:lnTo>
                        <a:pt x="8" y="17"/>
                      </a:lnTo>
                      <a:lnTo>
                        <a:pt x="7" y="17"/>
                      </a:lnTo>
                      <a:lnTo>
                        <a:pt x="8" y="19"/>
                      </a:lnTo>
                      <a:lnTo>
                        <a:pt x="7" y="21"/>
                      </a:lnTo>
                      <a:lnTo>
                        <a:pt x="7" y="18"/>
                      </a:lnTo>
                      <a:lnTo>
                        <a:pt x="6" y="21"/>
                      </a:lnTo>
                      <a:lnTo>
                        <a:pt x="7" y="22"/>
                      </a:lnTo>
                      <a:lnTo>
                        <a:pt x="6" y="24"/>
                      </a:lnTo>
                      <a:lnTo>
                        <a:pt x="7" y="26"/>
                      </a:lnTo>
                      <a:lnTo>
                        <a:pt x="9" y="26"/>
                      </a:lnTo>
                      <a:lnTo>
                        <a:pt x="7" y="27"/>
                      </a:lnTo>
                      <a:lnTo>
                        <a:pt x="5" y="2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06" name="Freeform 708">
                  <a:extLst>
                    <a:ext uri="{FF2B5EF4-FFF2-40B4-BE49-F238E27FC236}">
                      <a16:creationId xmlns:a16="http://schemas.microsoft.com/office/drawing/2014/main" id="{AF004E3F-F199-4B5C-A3F4-096C8A4CB7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5" y="1694"/>
                  <a:ext cx="4" cy="3"/>
                </a:xfrm>
                <a:custGeom>
                  <a:avLst/>
                  <a:gdLst>
                    <a:gd name="T0" fmla="*/ 4 w 4"/>
                    <a:gd name="T1" fmla="*/ 2 h 3"/>
                    <a:gd name="T2" fmla="*/ 4 w 4"/>
                    <a:gd name="T3" fmla="*/ 1 h 3"/>
                    <a:gd name="T4" fmla="*/ 0 w 4"/>
                    <a:gd name="T5" fmla="*/ 0 h 3"/>
                    <a:gd name="T6" fmla="*/ 0 w 4"/>
                    <a:gd name="T7" fmla="*/ 1 h 3"/>
                    <a:gd name="T8" fmla="*/ 1 w 4"/>
                    <a:gd name="T9" fmla="*/ 3 h 3"/>
                    <a:gd name="T10" fmla="*/ 4 w 4"/>
                    <a:gd name="T11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3">
                      <a:moveTo>
                        <a:pt x="4" y="2"/>
                      </a:moveTo>
                      <a:lnTo>
                        <a:pt x="4" y="1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07" name="Freeform 709">
                  <a:extLst>
                    <a:ext uri="{FF2B5EF4-FFF2-40B4-BE49-F238E27FC236}">
                      <a16:creationId xmlns:a16="http://schemas.microsoft.com/office/drawing/2014/main" id="{5A4F3A1B-9C67-4581-B8C2-B56B7EA701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41" y="1737"/>
                  <a:ext cx="1" cy="4"/>
                </a:xfrm>
                <a:custGeom>
                  <a:avLst/>
                  <a:gdLst>
                    <a:gd name="T0" fmla="*/ 1 w 1"/>
                    <a:gd name="T1" fmla="*/ 1 h 4"/>
                    <a:gd name="T2" fmla="*/ 0 w 1"/>
                    <a:gd name="T3" fmla="*/ 0 h 4"/>
                    <a:gd name="T4" fmla="*/ 0 w 1"/>
                    <a:gd name="T5" fmla="*/ 2 h 4"/>
                    <a:gd name="T6" fmla="*/ 1 w 1"/>
                    <a:gd name="T7" fmla="*/ 4 h 4"/>
                    <a:gd name="T8" fmla="*/ 1 w 1"/>
                    <a:gd name="T9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4">
                      <a:moveTo>
                        <a:pt x="1" y="1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4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08" name="Freeform 710">
                  <a:extLst>
                    <a:ext uri="{FF2B5EF4-FFF2-40B4-BE49-F238E27FC236}">
                      <a16:creationId xmlns:a16="http://schemas.microsoft.com/office/drawing/2014/main" id="{E3CFB76C-243A-440E-A5AD-076F1656EA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06" y="1752"/>
                  <a:ext cx="31" cy="30"/>
                </a:xfrm>
                <a:custGeom>
                  <a:avLst/>
                  <a:gdLst>
                    <a:gd name="T0" fmla="*/ 6 w 31"/>
                    <a:gd name="T1" fmla="*/ 7 h 30"/>
                    <a:gd name="T2" fmla="*/ 5 w 31"/>
                    <a:gd name="T3" fmla="*/ 10 h 30"/>
                    <a:gd name="T4" fmla="*/ 3 w 31"/>
                    <a:gd name="T5" fmla="*/ 10 h 30"/>
                    <a:gd name="T6" fmla="*/ 0 w 31"/>
                    <a:gd name="T7" fmla="*/ 18 h 30"/>
                    <a:gd name="T8" fmla="*/ 5 w 31"/>
                    <a:gd name="T9" fmla="*/ 25 h 30"/>
                    <a:gd name="T10" fmla="*/ 8 w 31"/>
                    <a:gd name="T11" fmla="*/ 24 h 30"/>
                    <a:gd name="T12" fmla="*/ 9 w 31"/>
                    <a:gd name="T13" fmla="*/ 20 h 30"/>
                    <a:gd name="T14" fmla="*/ 10 w 31"/>
                    <a:gd name="T15" fmla="*/ 18 h 30"/>
                    <a:gd name="T16" fmla="*/ 14 w 31"/>
                    <a:gd name="T17" fmla="*/ 20 h 30"/>
                    <a:gd name="T18" fmla="*/ 17 w 31"/>
                    <a:gd name="T19" fmla="*/ 27 h 30"/>
                    <a:gd name="T20" fmla="*/ 19 w 31"/>
                    <a:gd name="T21" fmla="*/ 27 h 30"/>
                    <a:gd name="T22" fmla="*/ 22 w 31"/>
                    <a:gd name="T23" fmla="*/ 30 h 30"/>
                    <a:gd name="T24" fmla="*/ 22 w 31"/>
                    <a:gd name="T25" fmla="*/ 30 h 30"/>
                    <a:gd name="T26" fmla="*/ 22 w 31"/>
                    <a:gd name="T27" fmla="*/ 27 h 30"/>
                    <a:gd name="T28" fmla="*/ 23 w 31"/>
                    <a:gd name="T29" fmla="*/ 28 h 30"/>
                    <a:gd name="T30" fmla="*/ 26 w 31"/>
                    <a:gd name="T31" fmla="*/ 26 h 30"/>
                    <a:gd name="T32" fmla="*/ 26 w 31"/>
                    <a:gd name="T33" fmla="*/ 24 h 30"/>
                    <a:gd name="T34" fmla="*/ 29 w 31"/>
                    <a:gd name="T35" fmla="*/ 24 h 30"/>
                    <a:gd name="T36" fmla="*/ 29 w 31"/>
                    <a:gd name="T37" fmla="*/ 21 h 30"/>
                    <a:gd name="T38" fmla="*/ 28 w 31"/>
                    <a:gd name="T39" fmla="*/ 20 h 30"/>
                    <a:gd name="T40" fmla="*/ 29 w 31"/>
                    <a:gd name="T41" fmla="*/ 18 h 30"/>
                    <a:gd name="T42" fmla="*/ 28 w 31"/>
                    <a:gd name="T43" fmla="*/ 16 h 30"/>
                    <a:gd name="T44" fmla="*/ 29 w 31"/>
                    <a:gd name="T45" fmla="*/ 16 h 30"/>
                    <a:gd name="T46" fmla="*/ 31 w 31"/>
                    <a:gd name="T47" fmla="*/ 22 h 30"/>
                    <a:gd name="T48" fmla="*/ 30 w 31"/>
                    <a:gd name="T49" fmla="*/ 14 h 30"/>
                    <a:gd name="T50" fmla="*/ 26 w 31"/>
                    <a:gd name="T51" fmla="*/ 14 h 30"/>
                    <a:gd name="T52" fmla="*/ 28 w 31"/>
                    <a:gd name="T53" fmla="*/ 12 h 30"/>
                    <a:gd name="T54" fmla="*/ 24 w 31"/>
                    <a:gd name="T55" fmla="*/ 5 h 30"/>
                    <a:gd name="T56" fmla="*/ 24 w 31"/>
                    <a:gd name="T57" fmla="*/ 2 h 30"/>
                    <a:gd name="T58" fmla="*/ 22 w 31"/>
                    <a:gd name="T59" fmla="*/ 0 h 30"/>
                    <a:gd name="T60" fmla="*/ 17 w 31"/>
                    <a:gd name="T61" fmla="*/ 0 h 30"/>
                    <a:gd name="T62" fmla="*/ 15 w 31"/>
                    <a:gd name="T63" fmla="*/ 2 h 30"/>
                    <a:gd name="T64" fmla="*/ 13 w 31"/>
                    <a:gd name="T65" fmla="*/ 3 h 30"/>
                    <a:gd name="T66" fmla="*/ 12 w 31"/>
                    <a:gd name="T67" fmla="*/ 3 h 30"/>
                    <a:gd name="T68" fmla="*/ 9 w 31"/>
                    <a:gd name="T69" fmla="*/ 4 h 30"/>
                    <a:gd name="T70" fmla="*/ 9 w 31"/>
                    <a:gd name="T71" fmla="*/ 6 h 30"/>
                    <a:gd name="T72" fmla="*/ 6 w 31"/>
                    <a:gd name="T73" fmla="*/ 7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31" h="30">
                      <a:moveTo>
                        <a:pt x="6" y="7"/>
                      </a:moveTo>
                      <a:lnTo>
                        <a:pt x="5" y="10"/>
                      </a:lnTo>
                      <a:lnTo>
                        <a:pt x="3" y="10"/>
                      </a:lnTo>
                      <a:lnTo>
                        <a:pt x="0" y="18"/>
                      </a:lnTo>
                      <a:lnTo>
                        <a:pt x="5" y="25"/>
                      </a:lnTo>
                      <a:lnTo>
                        <a:pt x="8" y="24"/>
                      </a:lnTo>
                      <a:lnTo>
                        <a:pt x="9" y="20"/>
                      </a:lnTo>
                      <a:lnTo>
                        <a:pt x="10" y="18"/>
                      </a:lnTo>
                      <a:lnTo>
                        <a:pt x="14" y="20"/>
                      </a:lnTo>
                      <a:lnTo>
                        <a:pt x="17" y="27"/>
                      </a:lnTo>
                      <a:lnTo>
                        <a:pt x="19" y="27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2" y="27"/>
                      </a:lnTo>
                      <a:lnTo>
                        <a:pt x="23" y="28"/>
                      </a:lnTo>
                      <a:lnTo>
                        <a:pt x="26" y="26"/>
                      </a:lnTo>
                      <a:lnTo>
                        <a:pt x="26" y="24"/>
                      </a:lnTo>
                      <a:lnTo>
                        <a:pt x="29" y="24"/>
                      </a:lnTo>
                      <a:lnTo>
                        <a:pt x="29" y="21"/>
                      </a:lnTo>
                      <a:lnTo>
                        <a:pt x="28" y="20"/>
                      </a:lnTo>
                      <a:lnTo>
                        <a:pt x="29" y="18"/>
                      </a:lnTo>
                      <a:lnTo>
                        <a:pt x="28" y="16"/>
                      </a:lnTo>
                      <a:lnTo>
                        <a:pt x="29" y="16"/>
                      </a:lnTo>
                      <a:lnTo>
                        <a:pt x="31" y="22"/>
                      </a:lnTo>
                      <a:lnTo>
                        <a:pt x="30" y="14"/>
                      </a:lnTo>
                      <a:lnTo>
                        <a:pt x="26" y="14"/>
                      </a:lnTo>
                      <a:lnTo>
                        <a:pt x="28" y="12"/>
                      </a:lnTo>
                      <a:lnTo>
                        <a:pt x="24" y="5"/>
                      </a:lnTo>
                      <a:lnTo>
                        <a:pt x="24" y="2"/>
                      </a:lnTo>
                      <a:lnTo>
                        <a:pt x="22" y="0"/>
                      </a:lnTo>
                      <a:lnTo>
                        <a:pt x="17" y="0"/>
                      </a:lnTo>
                      <a:lnTo>
                        <a:pt x="15" y="2"/>
                      </a:lnTo>
                      <a:lnTo>
                        <a:pt x="13" y="3"/>
                      </a:lnTo>
                      <a:lnTo>
                        <a:pt x="12" y="3"/>
                      </a:lnTo>
                      <a:lnTo>
                        <a:pt x="9" y="4"/>
                      </a:lnTo>
                      <a:lnTo>
                        <a:pt x="9" y="6"/>
                      </a:lnTo>
                      <a:lnTo>
                        <a:pt x="6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09" name="Freeform 711">
                  <a:extLst>
                    <a:ext uri="{FF2B5EF4-FFF2-40B4-BE49-F238E27FC236}">
                      <a16:creationId xmlns:a16="http://schemas.microsoft.com/office/drawing/2014/main" id="{C1480996-0C4F-4203-91DD-42CF3CD282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44" y="1772"/>
                  <a:ext cx="6" cy="9"/>
                </a:xfrm>
                <a:custGeom>
                  <a:avLst/>
                  <a:gdLst>
                    <a:gd name="T0" fmla="*/ 2 w 6"/>
                    <a:gd name="T1" fmla="*/ 4 h 9"/>
                    <a:gd name="T2" fmla="*/ 0 w 6"/>
                    <a:gd name="T3" fmla="*/ 9 h 9"/>
                    <a:gd name="T4" fmla="*/ 2 w 6"/>
                    <a:gd name="T5" fmla="*/ 8 h 9"/>
                    <a:gd name="T6" fmla="*/ 6 w 6"/>
                    <a:gd name="T7" fmla="*/ 4 h 9"/>
                    <a:gd name="T8" fmla="*/ 5 w 6"/>
                    <a:gd name="T9" fmla="*/ 3 h 9"/>
                    <a:gd name="T10" fmla="*/ 6 w 6"/>
                    <a:gd name="T11" fmla="*/ 0 h 9"/>
                    <a:gd name="T12" fmla="*/ 2 w 6"/>
                    <a:gd name="T13" fmla="*/ 4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9">
                      <a:moveTo>
                        <a:pt x="2" y="4"/>
                      </a:moveTo>
                      <a:lnTo>
                        <a:pt x="0" y="9"/>
                      </a:lnTo>
                      <a:lnTo>
                        <a:pt x="2" y="8"/>
                      </a:lnTo>
                      <a:lnTo>
                        <a:pt x="6" y="4"/>
                      </a:lnTo>
                      <a:lnTo>
                        <a:pt x="5" y="3"/>
                      </a:lnTo>
                      <a:lnTo>
                        <a:pt x="6" y="0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10" name="Freeform 712">
                  <a:extLst>
                    <a:ext uri="{FF2B5EF4-FFF2-40B4-BE49-F238E27FC236}">
                      <a16:creationId xmlns:a16="http://schemas.microsoft.com/office/drawing/2014/main" id="{B45E91D2-AD5A-482B-B61A-15060EB1E2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5" y="1736"/>
                  <a:ext cx="5" cy="8"/>
                </a:xfrm>
                <a:custGeom>
                  <a:avLst/>
                  <a:gdLst>
                    <a:gd name="T0" fmla="*/ 5 w 5"/>
                    <a:gd name="T1" fmla="*/ 5 h 8"/>
                    <a:gd name="T2" fmla="*/ 4 w 5"/>
                    <a:gd name="T3" fmla="*/ 0 h 8"/>
                    <a:gd name="T4" fmla="*/ 0 w 5"/>
                    <a:gd name="T5" fmla="*/ 2 h 8"/>
                    <a:gd name="T6" fmla="*/ 0 w 5"/>
                    <a:gd name="T7" fmla="*/ 6 h 8"/>
                    <a:gd name="T8" fmla="*/ 3 w 5"/>
                    <a:gd name="T9" fmla="*/ 5 h 8"/>
                    <a:gd name="T10" fmla="*/ 2 w 5"/>
                    <a:gd name="T11" fmla="*/ 8 h 8"/>
                    <a:gd name="T12" fmla="*/ 5 w 5"/>
                    <a:gd name="T13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8">
                      <a:moveTo>
                        <a:pt x="5" y="5"/>
                      </a:move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3" y="5"/>
                      </a:lnTo>
                      <a:lnTo>
                        <a:pt x="2" y="8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11" name="Freeform 713">
                  <a:extLst>
                    <a:ext uri="{FF2B5EF4-FFF2-40B4-BE49-F238E27FC236}">
                      <a16:creationId xmlns:a16="http://schemas.microsoft.com/office/drawing/2014/main" id="{2CB49C64-DDB5-450D-B9B7-DE42B8B51B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3" y="1717"/>
                  <a:ext cx="3" cy="3"/>
                </a:xfrm>
                <a:custGeom>
                  <a:avLst/>
                  <a:gdLst>
                    <a:gd name="T0" fmla="*/ 0 w 3"/>
                    <a:gd name="T1" fmla="*/ 3 h 3"/>
                    <a:gd name="T2" fmla="*/ 2 w 3"/>
                    <a:gd name="T3" fmla="*/ 3 h 3"/>
                    <a:gd name="T4" fmla="*/ 3 w 3"/>
                    <a:gd name="T5" fmla="*/ 0 h 3"/>
                    <a:gd name="T6" fmla="*/ 0 w 3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3">
                      <a:moveTo>
                        <a:pt x="0" y="3"/>
                      </a:moveTo>
                      <a:lnTo>
                        <a:pt x="2" y="3"/>
                      </a:lnTo>
                      <a:lnTo>
                        <a:pt x="3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12" name="Freeform 714">
                  <a:extLst>
                    <a:ext uri="{FF2B5EF4-FFF2-40B4-BE49-F238E27FC236}">
                      <a16:creationId xmlns:a16="http://schemas.microsoft.com/office/drawing/2014/main" id="{8AD15777-2ACB-410E-93F1-FC08CB2E23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47" y="1796"/>
                  <a:ext cx="7" cy="5"/>
                </a:xfrm>
                <a:custGeom>
                  <a:avLst/>
                  <a:gdLst>
                    <a:gd name="T0" fmla="*/ 0 w 9"/>
                    <a:gd name="T1" fmla="*/ 4 h 7"/>
                    <a:gd name="T2" fmla="*/ 5 w 9"/>
                    <a:gd name="T3" fmla="*/ 7 h 7"/>
                    <a:gd name="T4" fmla="*/ 9 w 9"/>
                    <a:gd name="T5" fmla="*/ 3 h 7"/>
                    <a:gd name="T6" fmla="*/ 6 w 9"/>
                    <a:gd name="T7" fmla="*/ 3 h 7"/>
                    <a:gd name="T8" fmla="*/ 5 w 9"/>
                    <a:gd name="T9" fmla="*/ 0 h 7"/>
                    <a:gd name="T10" fmla="*/ 1 w 9"/>
                    <a:gd name="T11" fmla="*/ 0 h 7"/>
                    <a:gd name="T12" fmla="*/ 0 w 9"/>
                    <a:gd name="T13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7">
                      <a:moveTo>
                        <a:pt x="0" y="4"/>
                      </a:moveTo>
                      <a:cubicBezTo>
                        <a:pt x="5" y="7"/>
                        <a:pt x="5" y="7"/>
                        <a:pt x="5" y="7"/>
                      </a:cubicBezTo>
                      <a:cubicBezTo>
                        <a:pt x="9" y="3"/>
                        <a:pt x="9" y="3"/>
                        <a:pt x="9" y="3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4"/>
                        <a:pt x="0" y="4"/>
                      </a:cubicBez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13" name="Freeform 715">
                  <a:extLst>
                    <a:ext uri="{FF2B5EF4-FFF2-40B4-BE49-F238E27FC236}">
                      <a16:creationId xmlns:a16="http://schemas.microsoft.com/office/drawing/2014/main" id="{B0AF25CF-DB25-42DA-A754-9647509917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87" y="1858"/>
                  <a:ext cx="6" cy="4"/>
                </a:xfrm>
                <a:custGeom>
                  <a:avLst/>
                  <a:gdLst>
                    <a:gd name="T0" fmla="*/ 4 w 6"/>
                    <a:gd name="T1" fmla="*/ 0 h 4"/>
                    <a:gd name="T2" fmla="*/ 0 w 6"/>
                    <a:gd name="T3" fmla="*/ 3 h 4"/>
                    <a:gd name="T4" fmla="*/ 1 w 6"/>
                    <a:gd name="T5" fmla="*/ 3 h 4"/>
                    <a:gd name="T6" fmla="*/ 4 w 6"/>
                    <a:gd name="T7" fmla="*/ 4 h 4"/>
                    <a:gd name="T8" fmla="*/ 5 w 6"/>
                    <a:gd name="T9" fmla="*/ 4 h 4"/>
                    <a:gd name="T10" fmla="*/ 5 w 6"/>
                    <a:gd name="T11" fmla="*/ 3 h 4"/>
                    <a:gd name="T12" fmla="*/ 6 w 6"/>
                    <a:gd name="T13" fmla="*/ 1 h 4"/>
                    <a:gd name="T14" fmla="*/ 5 w 6"/>
                    <a:gd name="T15" fmla="*/ 1 h 4"/>
                    <a:gd name="T16" fmla="*/ 4 w 6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4">
                      <a:moveTo>
                        <a:pt x="4" y="0"/>
                      </a:move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6" y="1"/>
                      </a:lnTo>
                      <a:lnTo>
                        <a:pt x="5" y="1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14" name="Freeform 716">
                  <a:extLst>
                    <a:ext uri="{FF2B5EF4-FFF2-40B4-BE49-F238E27FC236}">
                      <a16:creationId xmlns:a16="http://schemas.microsoft.com/office/drawing/2014/main" id="{7614E40E-CACF-4D0C-A4B4-7E48C8F3F6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38" y="1741"/>
                  <a:ext cx="4" cy="8"/>
                </a:xfrm>
                <a:custGeom>
                  <a:avLst/>
                  <a:gdLst>
                    <a:gd name="T0" fmla="*/ 0 w 4"/>
                    <a:gd name="T1" fmla="*/ 2 h 8"/>
                    <a:gd name="T2" fmla="*/ 1 w 4"/>
                    <a:gd name="T3" fmla="*/ 7 h 8"/>
                    <a:gd name="T4" fmla="*/ 3 w 4"/>
                    <a:gd name="T5" fmla="*/ 8 h 8"/>
                    <a:gd name="T6" fmla="*/ 4 w 4"/>
                    <a:gd name="T7" fmla="*/ 5 h 8"/>
                    <a:gd name="T8" fmla="*/ 2 w 4"/>
                    <a:gd name="T9" fmla="*/ 0 h 8"/>
                    <a:gd name="T10" fmla="*/ 0 w 4"/>
                    <a:gd name="T11" fmla="*/ 2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8">
                      <a:moveTo>
                        <a:pt x="0" y="2"/>
                      </a:moveTo>
                      <a:lnTo>
                        <a:pt x="1" y="7"/>
                      </a:lnTo>
                      <a:lnTo>
                        <a:pt x="3" y="8"/>
                      </a:lnTo>
                      <a:lnTo>
                        <a:pt x="4" y="5"/>
                      </a:lnTo>
                      <a:lnTo>
                        <a:pt x="2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15" name="Freeform 717">
                  <a:extLst>
                    <a:ext uri="{FF2B5EF4-FFF2-40B4-BE49-F238E27FC236}">
                      <a16:creationId xmlns:a16="http://schemas.microsoft.com/office/drawing/2014/main" id="{BD04A438-897E-4066-829E-0E2034C2FE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7" y="1719"/>
                  <a:ext cx="8" cy="8"/>
                </a:xfrm>
                <a:custGeom>
                  <a:avLst/>
                  <a:gdLst>
                    <a:gd name="T0" fmla="*/ 5 w 8"/>
                    <a:gd name="T1" fmla="*/ 8 h 8"/>
                    <a:gd name="T2" fmla="*/ 8 w 8"/>
                    <a:gd name="T3" fmla="*/ 6 h 8"/>
                    <a:gd name="T4" fmla="*/ 7 w 8"/>
                    <a:gd name="T5" fmla="*/ 3 h 8"/>
                    <a:gd name="T6" fmla="*/ 5 w 8"/>
                    <a:gd name="T7" fmla="*/ 3 h 8"/>
                    <a:gd name="T8" fmla="*/ 3 w 8"/>
                    <a:gd name="T9" fmla="*/ 0 h 8"/>
                    <a:gd name="T10" fmla="*/ 0 w 8"/>
                    <a:gd name="T11" fmla="*/ 2 h 8"/>
                    <a:gd name="T12" fmla="*/ 4 w 8"/>
                    <a:gd name="T13" fmla="*/ 5 h 8"/>
                    <a:gd name="T14" fmla="*/ 1 w 8"/>
                    <a:gd name="T15" fmla="*/ 5 h 8"/>
                    <a:gd name="T16" fmla="*/ 2 w 8"/>
                    <a:gd name="T17" fmla="*/ 7 h 8"/>
                    <a:gd name="T18" fmla="*/ 0 w 8"/>
                    <a:gd name="T19" fmla="*/ 8 h 8"/>
                    <a:gd name="T20" fmla="*/ 5 w 8"/>
                    <a:gd name="T21" fmla="*/ 7 h 8"/>
                    <a:gd name="T22" fmla="*/ 5 w 8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8">
                      <a:moveTo>
                        <a:pt x="5" y="8"/>
                      </a:moveTo>
                      <a:lnTo>
                        <a:pt x="8" y="6"/>
                      </a:lnTo>
                      <a:lnTo>
                        <a:pt x="7" y="3"/>
                      </a:lnTo>
                      <a:lnTo>
                        <a:pt x="5" y="3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2" y="7"/>
                      </a:lnTo>
                      <a:lnTo>
                        <a:pt x="0" y="8"/>
                      </a:lnTo>
                      <a:lnTo>
                        <a:pt x="5" y="7"/>
                      </a:lnTo>
                      <a:lnTo>
                        <a:pt x="5" y="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16" name="Freeform 718">
                  <a:extLst>
                    <a:ext uri="{FF2B5EF4-FFF2-40B4-BE49-F238E27FC236}">
                      <a16:creationId xmlns:a16="http://schemas.microsoft.com/office/drawing/2014/main" id="{2E55A5DD-CA2B-4F6B-A37E-E8AADC1ED2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60" y="1665"/>
                  <a:ext cx="2" cy="4"/>
                </a:xfrm>
                <a:custGeom>
                  <a:avLst/>
                  <a:gdLst>
                    <a:gd name="T0" fmla="*/ 2 w 2"/>
                    <a:gd name="T1" fmla="*/ 2 h 4"/>
                    <a:gd name="T2" fmla="*/ 1 w 2"/>
                    <a:gd name="T3" fmla="*/ 0 h 4"/>
                    <a:gd name="T4" fmla="*/ 0 w 2"/>
                    <a:gd name="T5" fmla="*/ 1 h 4"/>
                    <a:gd name="T6" fmla="*/ 2 w 2"/>
                    <a:gd name="T7" fmla="*/ 4 h 4"/>
                    <a:gd name="T8" fmla="*/ 2 w 2"/>
                    <a:gd name="T9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4">
                      <a:moveTo>
                        <a:pt x="2" y="2"/>
                      </a:move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17" name="Freeform 719">
                  <a:extLst>
                    <a:ext uri="{FF2B5EF4-FFF2-40B4-BE49-F238E27FC236}">
                      <a16:creationId xmlns:a16="http://schemas.microsoft.com/office/drawing/2014/main" id="{853FCCB4-7E84-4456-8554-9F48188504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4" y="1709"/>
                  <a:ext cx="1" cy="3"/>
                </a:xfrm>
                <a:custGeom>
                  <a:avLst/>
                  <a:gdLst>
                    <a:gd name="T0" fmla="*/ 1 w 1"/>
                    <a:gd name="T1" fmla="*/ 0 h 3"/>
                    <a:gd name="T2" fmla="*/ 0 w 1"/>
                    <a:gd name="T3" fmla="*/ 1 h 3"/>
                    <a:gd name="T4" fmla="*/ 0 w 1"/>
                    <a:gd name="T5" fmla="*/ 3 h 3"/>
                    <a:gd name="T6" fmla="*/ 1 w 1"/>
                    <a:gd name="T7" fmla="*/ 1 h 3"/>
                    <a:gd name="T8" fmla="*/ 1 w 1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3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18" name="Freeform 720">
                  <a:extLst>
                    <a:ext uri="{FF2B5EF4-FFF2-40B4-BE49-F238E27FC236}">
                      <a16:creationId xmlns:a16="http://schemas.microsoft.com/office/drawing/2014/main" id="{4AC5BC12-CD18-45B8-9652-02593648BE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5" y="1700"/>
                  <a:ext cx="3" cy="7"/>
                </a:xfrm>
                <a:custGeom>
                  <a:avLst/>
                  <a:gdLst>
                    <a:gd name="T0" fmla="*/ 3 w 3"/>
                    <a:gd name="T1" fmla="*/ 1 h 7"/>
                    <a:gd name="T2" fmla="*/ 1 w 3"/>
                    <a:gd name="T3" fmla="*/ 0 h 7"/>
                    <a:gd name="T4" fmla="*/ 1 w 3"/>
                    <a:gd name="T5" fmla="*/ 3 h 7"/>
                    <a:gd name="T6" fmla="*/ 0 w 3"/>
                    <a:gd name="T7" fmla="*/ 5 h 7"/>
                    <a:gd name="T8" fmla="*/ 1 w 3"/>
                    <a:gd name="T9" fmla="*/ 7 h 7"/>
                    <a:gd name="T10" fmla="*/ 3 w 3"/>
                    <a:gd name="T11" fmla="*/ 7 h 7"/>
                    <a:gd name="T12" fmla="*/ 2 w 3"/>
                    <a:gd name="T13" fmla="*/ 5 h 7"/>
                    <a:gd name="T14" fmla="*/ 3 w 3"/>
                    <a:gd name="T15" fmla="*/ 3 h 7"/>
                    <a:gd name="T16" fmla="*/ 3 w 3"/>
                    <a:gd name="T17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7">
                      <a:moveTo>
                        <a:pt x="3" y="1"/>
                      </a:moveTo>
                      <a:lnTo>
                        <a:pt x="1" y="0"/>
                      </a:lnTo>
                      <a:lnTo>
                        <a:pt x="1" y="3"/>
                      </a:lnTo>
                      <a:lnTo>
                        <a:pt x="0" y="5"/>
                      </a:lnTo>
                      <a:lnTo>
                        <a:pt x="1" y="7"/>
                      </a:lnTo>
                      <a:lnTo>
                        <a:pt x="3" y="7"/>
                      </a:lnTo>
                      <a:lnTo>
                        <a:pt x="2" y="5"/>
                      </a:lnTo>
                      <a:lnTo>
                        <a:pt x="3" y="3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19" name="Freeform 721">
                  <a:extLst>
                    <a:ext uri="{FF2B5EF4-FFF2-40B4-BE49-F238E27FC236}">
                      <a16:creationId xmlns:a16="http://schemas.microsoft.com/office/drawing/2014/main" id="{9F16D744-CF3F-40DB-9195-C51A019EC8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46" y="1850"/>
                  <a:ext cx="161" cy="184"/>
                </a:xfrm>
                <a:custGeom>
                  <a:avLst/>
                  <a:gdLst>
                    <a:gd name="T0" fmla="*/ 147 w 161"/>
                    <a:gd name="T1" fmla="*/ 134 h 184"/>
                    <a:gd name="T2" fmla="*/ 150 w 161"/>
                    <a:gd name="T3" fmla="*/ 120 h 184"/>
                    <a:gd name="T4" fmla="*/ 148 w 161"/>
                    <a:gd name="T5" fmla="*/ 112 h 184"/>
                    <a:gd name="T6" fmla="*/ 144 w 161"/>
                    <a:gd name="T7" fmla="*/ 100 h 184"/>
                    <a:gd name="T8" fmla="*/ 135 w 161"/>
                    <a:gd name="T9" fmla="*/ 108 h 184"/>
                    <a:gd name="T10" fmla="*/ 135 w 161"/>
                    <a:gd name="T11" fmla="*/ 104 h 184"/>
                    <a:gd name="T12" fmla="*/ 142 w 161"/>
                    <a:gd name="T13" fmla="*/ 88 h 184"/>
                    <a:gd name="T14" fmla="*/ 143 w 161"/>
                    <a:gd name="T15" fmla="*/ 77 h 184"/>
                    <a:gd name="T16" fmla="*/ 152 w 161"/>
                    <a:gd name="T17" fmla="*/ 77 h 184"/>
                    <a:gd name="T18" fmla="*/ 152 w 161"/>
                    <a:gd name="T19" fmla="*/ 64 h 184"/>
                    <a:gd name="T20" fmla="*/ 157 w 161"/>
                    <a:gd name="T21" fmla="*/ 49 h 184"/>
                    <a:gd name="T22" fmla="*/ 152 w 161"/>
                    <a:gd name="T23" fmla="*/ 41 h 184"/>
                    <a:gd name="T24" fmla="*/ 142 w 161"/>
                    <a:gd name="T25" fmla="*/ 42 h 184"/>
                    <a:gd name="T26" fmla="*/ 135 w 161"/>
                    <a:gd name="T27" fmla="*/ 36 h 184"/>
                    <a:gd name="T28" fmla="*/ 128 w 161"/>
                    <a:gd name="T29" fmla="*/ 32 h 184"/>
                    <a:gd name="T30" fmla="*/ 118 w 161"/>
                    <a:gd name="T31" fmla="*/ 26 h 184"/>
                    <a:gd name="T32" fmla="*/ 112 w 161"/>
                    <a:gd name="T33" fmla="*/ 24 h 184"/>
                    <a:gd name="T34" fmla="*/ 105 w 161"/>
                    <a:gd name="T35" fmla="*/ 15 h 184"/>
                    <a:gd name="T36" fmla="*/ 96 w 161"/>
                    <a:gd name="T37" fmla="*/ 7 h 184"/>
                    <a:gd name="T38" fmla="*/ 88 w 161"/>
                    <a:gd name="T39" fmla="*/ 2 h 184"/>
                    <a:gd name="T40" fmla="*/ 83 w 161"/>
                    <a:gd name="T41" fmla="*/ 12 h 184"/>
                    <a:gd name="T42" fmla="*/ 73 w 161"/>
                    <a:gd name="T43" fmla="*/ 26 h 184"/>
                    <a:gd name="T44" fmla="*/ 62 w 161"/>
                    <a:gd name="T45" fmla="*/ 32 h 184"/>
                    <a:gd name="T46" fmla="*/ 58 w 161"/>
                    <a:gd name="T47" fmla="*/ 39 h 184"/>
                    <a:gd name="T48" fmla="*/ 47 w 161"/>
                    <a:gd name="T49" fmla="*/ 36 h 184"/>
                    <a:gd name="T50" fmla="*/ 41 w 161"/>
                    <a:gd name="T51" fmla="*/ 31 h 184"/>
                    <a:gd name="T52" fmla="*/ 37 w 161"/>
                    <a:gd name="T53" fmla="*/ 36 h 184"/>
                    <a:gd name="T54" fmla="*/ 41 w 161"/>
                    <a:gd name="T55" fmla="*/ 47 h 184"/>
                    <a:gd name="T56" fmla="*/ 35 w 161"/>
                    <a:gd name="T57" fmla="*/ 53 h 184"/>
                    <a:gd name="T58" fmla="*/ 27 w 161"/>
                    <a:gd name="T59" fmla="*/ 55 h 184"/>
                    <a:gd name="T60" fmla="*/ 14 w 161"/>
                    <a:gd name="T61" fmla="*/ 51 h 184"/>
                    <a:gd name="T62" fmla="*/ 7 w 161"/>
                    <a:gd name="T63" fmla="*/ 52 h 184"/>
                    <a:gd name="T64" fmla="*/ 0 w 161"/>
                    <a:gd name="T65" fmla="*/ 59 h 184"/>
                    <a:gd name="T66" fmla="*/ 3 w 161"/>
                    <a:gd name="T67" fmla="*/ 60 h 184"/>
                    <a:gd name="T68" fmla="*/ 5 w 161"/>
                    <a:gd name="T69" fmla="*/ 61 h 184"/>
                    <a:gd name="T70" fmla="*/ 2 w 161"/>
                    <a:gd name="T71" fmla="*/ 67 h 184"/>
                    <a:gd name="T72" fmla="*/ 7 w 161"/>
                    <a:gd name="T73" fmla="*/ 70 h 184"/>
                    <a:gd name="T74" fmla="*/ 17 w 161"/>
                    <a:gd name="T75" fmla="*/ 74 h 184"/>
                    <a:gd name="T76" fmla="*/ 25 w 161"/>
                    <a:gd name="T77" fmla="*/ 74 h 184"/>
                    <a:gd name="T78" fmla="*/ 29 w 161"/>
                    <a:gd name="T79" fmla="*/ 78 h 184"/>
                    <a:gd name="T80" fmla="*/ 34 w 161"/>
                    <a:gd name="T81" fmla="*/ 81 h 184"/>
                    <a:gd name="T82" fmla="*/ 34 w 161"/>
                    <a:gd name="T83" fmla="*/ 83 h 184"/>
                    <a:gd name="T84" fmla="*/ 33 w 161"/>
                    <a:gd name="T85" fmla="*/ 93 h 184"/>
                    <a:gd name="T86" fmla="*/ 43 w 161"/>
                    <a:gd name="T87" fmla="*/ 102 h 184"/>
                    <a:gd name="T88" fmla="*/ 46 w 161"/>
                    <a:gd name="T89" fmla="*/ 112 h 184"/>
                    <a:gd name="T90" fmla="*/ 52 w 161"/>
                    <a:gd name="T91" fmla="*/ 120 h 184"/>
                    <a:gd name="T92" fmla="*/ 48 w 161"/>
                    <a:gd name="T93" fmla="*/ 120 h 184"/>
                    <a:gd name="T94" fmla="*/ 47 w 161"/>
                    <a:gd name="T95" fmla="*/ 137 h 184"/>
                    <a:gd name="T96" fmla="*/ 38 w 161"/>
                    <a:gd name="T97" fmla="*/ 163 h 184"/>
                    <a:gd name="T98" fmla="*/ 44 w 161"/>
                    <a:gd name="T99" fmla="*/ 169 h 184"/>
                    <a:gd name="T100" fmla="*/ 55 w 161"/>
                    <a:gd name="T101" fmla="*/ 178 h 184"/>
                    <a:gd name="T102" fmla="*/ 67 w 161"/>
                    <a:gd name="T103" fmla="*/ 181 h 184"/>
                    <a:gd name="T104" fmla="*/ 83 w 161"/>
                    <a:gd name="T105" fmla="*/ 179 h 184"/>
                    <a:gd name="T106" fmla="*/ 100 w 161"/>
                    <a:gd name="T107" fmla="*/ 184 h 184"/>
                    <a:gd name="T108" fmla="*/ 100 w 161"/>
                    <a:gd name="T109" fmla="*/ 170 h 184"/>
                    <a:gd name="T110" fmla="*/ 111 w 161"/>
                    <a:gd name="T111" fmla="*/ 161 h 184"/>
                    <a:gd name="T112" fmla="*/ 122 w 161"/>
                    <a:gd name="T113" fmla="*/ 162 h 184"/>
                    <a:gd name="T114" fmla="*/ 142 w 161"/>
                    <a:gd name="T115" fmla="*/ 171 h 184"/>
                    <a:gd name="T116" fmla="*/ 155 w 161"/>
                    <a:gd name="T117" fmla="*/ 155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61" h="184">
                      <a:moveTo>
                        <a:pt x="156" y="147"/>
                      </a:moveTo>
                      <a:lnTo>
                        <a:pt x="152" y="147"/>
                      </a:lnTo>
                      <a:lnTo>
                        <a:pt x="148" y="143"/>
                      </a:lnTo>
                      <a:lnTo>
                        <a:pt x="147" y="134"/>
                      </a:lnTo>
                      <a:lnTo>
                        <a:pt x="144" y="129"/>
                      </a:lnTo>
                      <a:lnTo>
                        <a:pt x="145" y="126"/>
                      </a:lnTo>
                      <a:lnTo>
                        <a:pt x="149" y="126"/>
                      </a:lnTo>
                      <a:lnTo>
                        <a:pt x="150" y="120"/>
                      </a:lnTo>
                      <a:lnTo>
                        <a:pt x="147" y="118"/>
                      </a:lnTo>
                      <a:lnTo>
                        <a:pt x="147" y="113"/>
                      </a:lnTo>
                      <a:lnTo>
                        <a:pt x="148" y="112"/>
                      </a:lnTo>
                      <a:lnTo>
                        <a:pt x="148" y="112"/>
                      </a:lnTo>
                      <a:lnTo>
                        <a:pt x="148" y="109"/>
                      </a:lnTo>
                      <a:lnTo>
                        <a:pt x="146" y="107"/>
                      </a:lnTo>
                      <a:lnTo>
                        <a:pt x="145" y="103"/>
                      </a:lnTo>
                      <a:lnTo>
                        <a:pt x="144" y="100"/>
                      </a:lnTo>
                      <a:lnTo>
                        <a:pt x="139" y="100"/>
                      </a:lnTo>
                      <a:lnTo>
                        <a:pt x="138" y="102"/>
                      </a:lnTo>
                      <a:lnTo>
                        <a:pt x="138" y="106"/>
                      </a:lnTo>
                      <a:lnTo>
                        <a:pt x="135" y="108"/>
                      </a:lnTo>
                      <a:lnTo>
                        <a:pt x="132" y="107"/>
                      </a:lnTo>
                      <a:lnTo>
                        <a:pt x="132" y="105"/>
                      </a:lnTo>
                      <a:lnTo>
                        <a:pt x="134" y="104"/>
                      </a:lnTo>
                      <a:lnTo>
                        <a:pt x="135" y="104"/>
                      </a:lnTo>
                      <a:lnTo>
                        <a:pt x="135" y="101"/>
                      </a:lnTo>
                      <a:lnTo>
                        <a:pt x="136" y="95"/>
                      </a:lnTo>
                      <a:lnTo>
                        <a:pt x="139" y="88"/>
                      </a:lnTo>
                      <a:lnTo>
                        <a:pt x="142" y="88"/>
                      </a:lnTo>
                      <a:lnTo>
                        <a:pt x="145" y="83"/>
                      </a:lnTo>
                      <a:lnTo>
                        <a:pt x="147" y="82"/>
                      </a:lnTo>
                      <a:lnTo>
                        <a:pt x="146" y="78"/>
                      </a:lnTo>
                      <a:lnTo>
                        <a:pt x="143" y="77"/>
                      </a:lnTo>
                      <a:lnTo>
                        <a:pt x="145" y="74"/>
                      </a:lnTo>
                      <a:lnTo>
                        <a:pt x="149" y="74"/>
                      </a:lnTo>
                      <a:lnTo>
                        <a:pt x="149" y="76"/>
                      </a:lnTo>
                      <a:lnTo>
                        <a:pt x="152" y="77"/>
                      </a:lnTo>
                      <a:lnTo>
                        <a:pt x="156" y="74"/>
                      </a:lnTo>
                      <a:lnTo>
                        <a:pt x="155" y="71"/>
                      </a:lnTo>
                      <a:lnTo>
                        <a:pt x="152" y="70"/>
                      </a:lnTo>
                      <a:lnTo>
                        <a:pt x="152" y="64"/>
                      </a:lnTo>
                      <a:lnTo>
                        <a:pt x="154" y="59"/>
                      </a:lnTo>
                      <a:lnTo>
                        <a:pt x="155" y="57"/>
                      </a:lnTo>
                      <a:lnTo>
                        <a:pt x="155" y="54"/>
                      </a:lnTo>
                      <a:lnTo>
                        <a:pt x="157" y="49"/>
                      </a:lnTo>
                      <a:lnTo>
                        <a:pt x="161" y="45"/>
                      </a:lnTo>
                      <a:lnTo>
                        <a:pt x="158" y="43"/>
                      </a:lnTo>
                      <a:lnTo>
                        <a:pt x="155" y="43"/>
                      </a:lnTo>
                      <a:lnTo>
                        <a:pt x="152" y="41"/>
                      </a:lnTo>
                      <a:lnTo>
                        <a:pt x="149" y="42"/>
                      </a:lnTo>
                      <a:lnTo>
                        <a:pt x="148" y="41"/>
                      </a:lnTo>
                      <a:lnTo>
                        <a:pt x="145" y="41"/>
                      </a:lnTo>
                      <a:lnTo>
                        <a:pt x="142" y="42"/>
                      </a:lnTo>
                      <a:lnTo>
                        <a:pt x="140" y="40"/>
                      </a:lnTo>
                      <a:lnTo>
                        <a:pt x="140" y="37"/>
                      </a:lnTo>
                      <a:lnTo>
                        <a:pt x="138" y="35"/>
                      </a:lnTo>
                      <a:lnTo>
                        <a:pt x="135" y="36"/>
                      </a:lnTo>
                      <a:lnTo>
                        <a:pt x="132" y="35"/>
                      </a:lnTo>
                      <a:lnTo>
                        <a:pt x="131" y="32"/>
                      </a:lnTo>
                      <a:lnTo>
                        <a:pt x="130" y="32"/>
                      </a:lnTo>
                      <a:lnTo>
                        <a:pt x="128" y="32"/>
                      </a:lnTo>
                      <a:lnTo>
                        <a:pt x="127" y="33"/>
                      </a:lnTo>
                      <a:lnTo>
                        <a:pt x="124" y="30"/>
                      </a:lnTo>
                      <a:lnTo>
                        <a:pt x="121" y="30"/>
                      </a:lnTo>
                      <a:lnTo>
                        <a:pt x="118" y="26"/>
                      </a:lnTo>
                      <a:lnTo>
                        <a:pt x="117" y="25"/>
                      </a:lnTo>
                      <a:lnTo>
                        <a:pt x="115" y="23"/>
                      </a:lnTo>
                      <a:lnTo>
                        <a:pt x="114" y="23"/>
                      </a:lnTo>
                      <a:lnTo>
                        <a:pt x="112" y="24"/>
                      </a:lnTo>
                      <a:lnTo>
                        <a:pt x="109" y="22"/>
                      </a:lnTo>
                      <a:lnTo>
                        <a:pt x="109" y="18"/>
                      </a:lnTo>
                      <a:lnTo>
                        <a:pt x="107" y="17"/>
                      </a:lnTo>
                      <a:lnTo>
                        <a:pt x="105" y="15"/>
                      </a:lnTo>
                      <a:lnTo>
                        <a:pt x="104" y="15"/>
                      </a:lnTo>
                      <a:lnTo>
                        <a:pt x="100" y="12"/>
                      </a:lnTo>
                      <a:lnTo>
                        <a:pt x="99" y="8"/>
                      </a:lnTo>
                      <a:lnTo>
                        <a:pt x="96" y="7"/>
                      </a:lnTo>
                      <a:lnTo>
                        <a:pt x="95" y="1"/>
                      </a:lnTo>
                      <a:lnTo>
                        <a:pt x="93" y="0"/>
                      </a:lnTo>
                      <a:lnTo>
                        <a:pt x="93" y="1"/>
                      </a:lnTo>
                      <a:lnTo>
                        <a:pt x="88" y="2"/>
                      </a:lnTo>
                      <a:lnTo>
                        <a:pt x="86" y="2"/>
                      </a:lnTo>
                      <a:lnTo>
                        <a:pt x="83" y="5"/>
                      </a:lnTo>
                      <a:lnTo>
                        <a:pt x="82" y="8"/>
                      </a:lnTo>
                      <a:lnTo>
                        <a:pt x="83" y="12"/>
                      </a:lnTo>
                      <a:lnTo>
                        <a:pt x="82" y="18"/>
                      </a:lnTo>
                      <a:lnTo>
                        <a:pt x="77" y="22"/>
                      </a:lnTo>
                      <a:lnTo>
                        <a:pt x="77" y="25"/>
                      </a:lnTo>
                      <a:lnTo>
                        <a:pt x="73" y="26"/>
                      </a:lnTo>
                      <a:lnTo>
                        <a:pt x="71" y="26"/>
                      </a:lnTo>
                      <a:lnTo>
                        <a:pt x="68" y="26"/>
                      </a:lnTo>
                      <a:lnTo>
                        <a:pt x="62" y="29"/>
                      </a:lnTo>
                      <a:lnTo>
                        <a:pt x="62" y="32"/>
                      </a:lnTo>
                      <a:lnTo>
                        <a:pt x="62" y="34"/>
                      </a:lnTo>
                      <a:lnTo>
                        <a:pt x="65" y="35"/>
                      </a:lnTo>
                      <a:lnTo>
                        <a:pt x="62" y="38"/>
                      </a:lnTo>
                      <a:lnTo>
                        <a:pt x="58" y="39"/>
                      </a:lnTo>
                      <a:lnTo>
                        <a:pt x="52" y="38"/>
                      </a:lnTo>
                      <a:lnTo>
                        <a:pt x="49" y="36"/>
                      </a:lnTo>
                      <a:lnTo>
                        <a:pt x="48" y="38"/>
                      </a:lnTo>
                      <a:lnTo>
                        <a:pt x="47" y="36"/>
                      </a:lnTo>
                      <a:lnTo>
                        <a:pt x="45" y="33"/>
                      </a:lnTo>
                      <a:lnTo>
                        <a:pt x="45" y="31"/>
                      </a:lnTo>
                      <a:lnTo>
                        <a:pt x="43" y="29"/>
                      </a:lnTo>
                      <a:lnTo>
                        <a:pt x="41" y="31"/>
                      </a:lnTo>
                      <a:lnTo>
                        <a:pt x="38" y="31"/>
                      </a:lnTo>
                      <a:lnTo>
                        <a:pt x="36" y="30"/>
                      </a:lnTo>
                      <a:lnTo>
                        <a:pt x="37" y="33"/>
                      </a:lnTo>
                      <a:lnTo>
                        <a:pt x="37" y="36"/>
                      </a:lnTo>
                      <a:lnTo>
                        <a:pt x="41" y="40"/>
                      </a:lnTo>
                      <a:lnTo>
                        <a:pt x="41" y="43"/>
                      </a:lnTo>
                      <a:lnTo>
                        <a:pt x="41" y="45"/>
                      </a:lnTo>
                      <a:lnTo>
                        <a:pt x="41" y="47"/>
                      </a:lnTo>
                      <a:lnTo>
                        <a:pt x="42" y="50"/>
                      </a:lnTo>
                      <a:lnTo>
                        <a:pt x="42" y="53"/>
                      </a:lnTo>
                      <a:lnTo>
                        <a:pt x="38" y="52"/>
                      </a:lnTo>
                      <a:lnTo>
                        <a:pt x="35" y="53"/>
                      </a:lnTo>
                      <a:lnTo>
                        <a:pt x="34" y="52"/>
                      </a:lnTo>
                      <a:lnTo>
                        <a:pt x="31" y="53"/>
                      </a:lnTo>
                      <a:lnTo>
                        <a:pt x="30" y="52"/>
                      </a:lnTo>
                      <a:lnTo>
                        <a:pt x="27" y="55"/>
                      </a:lnTo>
                      <a:lnTo>
                        <a:pt x="23" y="49"/>
                      </a:lnTo>
                      <a:lnTo>
                        <a:pt x="20" y="48"/>
                      </a:lnTo>
                      <a:lnTo>
                        <a:pt x="17" y="49"/>
                      </a:lnTo>
                      <a:lnTo>
                        <a:pt x="14" y="51"/>
                      </a:lnTo>
                      <a:lnTo>
                        <a:pt x="14" y="50"/>
                      </a:lnTo>
                      <a:lnTo>
                        <a:pt x="12" y="53"/>
                      </a:lnTo>
                      <a:lnTo>
                        <a:pt x="10" y="51"/>
                      </a:lnTo>
                      <a:lnTo>
                        <a:pt x="7" y="52"/>
                      </a:lnTo>
                      <a:lnTo>
                        <a:pt x="6" y="53"/>
                      </a:lnTo>
                      <a:lnTo>
                        <a:pt x="1" y="54"/>
                      </a:lnTo>
                      <a:lnTo>
                        <a:pt x="0" y="57"/>
                      </a:lnTo>
                      <a:lnTo>
                        <a:pt x="0" y="59"/>
                      </a:lnTo>
                      <a:lnTo>
                        <a:pt x="3" y="58"/>
                      </a:lnTo>
                      <a:lnTo>
                        <a:pt x="5" y="59"/>
                      </a:lnTo>
                      <a:lnTo>
                        <a:pt x="6" y="60"/>
                      </a:lnTo>
                      <a:lnTo>
                        <a:pt x="3" y="60"/>
                      </a:lnTo>
                      <a:lnTo>
                        <a:pt x="2" y="60"/>
                      </a:lnTo>
                      <a:lnTo>
                        <a:pt x="3" y="63"/>
                      </a:lnTo>
                      <a:lnTo>
                        <a:pt x="3" y="60"/>
                      </a:lnTo>
                      <a:lnTo>
                        <a:pt x="5" y="61"/>
                      </a:lnTo>
                      <a:lnTo>
                        <a:pt x="6" y="64"/>
                      </a:lnTo>
                      <a:lnTo>
                        <a:pt x="4" y="64"/>
                      </a:lnTo>
                      <a:lnTo>
                        <a:pt x="1" y="65"/>
                      </a:lnTo>
                      <a:lnTo>
                        <a:pt x="2" y="67"/>
                      </a:lnTo>
                      <a:lnTo>
                        <a:pt x="4" y="67"/>
                      </a:lnTo>
                      <a:lnTo>
                        <a:pt x="5" y="70"/>
                      </a:lnTo>
                      <a:lnTo>
                        <a:pt x="5" y="72"/>
                      </a:lnTo>
                      <a:lnTo>
                        <a:pt x="7" y="70"/>
                      </a:lnTo>
                      <a:lnTo>
                        <a:pt x="10" y="71"/>
                      </a:lnTo>
                      <a:lnTo>
                        <a:pt x="11" y="70"/>
                      </a:lnTo>
                      <a:lnTo>
                        <a:pt x="16" y="72"/>
                      </a:lnTo>
                      <a:lnTo>
                        <a:pt x="17" y="74"/>
                      </a:lnTo>
                      <a:lnTo>
                        <a:pt x="19" y="74"/>
                      </a:lnTo>
                      <a:lnTo>
                        <a:pt x="22" y="77"/>
                      </a:lnTo>
                      <a:lnTo>
                        <a:pt x="24" y="74"/>
                      </a:lnTo>
                      <a:lnTo>
                        <a:pt x="25" y="74"/>
                      </a:lnTo>
                      <a:lnTo>
                        <a:pt x="25" y="76"/>
                      </a:lnTo>
                      <a:lnTo>
                        <a:pt x="26" y="78"/>
                      </a:lnTo>
                      <a:lnTo>
                        <a:pt x="28" y="76"/>
                      </a:lnTo>
                      <a:lnTo>
                        <a:pt x="29" y="78"/>
                      </a:lnTo>
                      <a:lnTo>
                        <a:pt x="28" y="81"/>
                      </a:lnTo>
                      <a:lnTo>
                        <a:pt x="30" y="83"/>
                      </a:lnTo>
                      <a:lnTo>
                        <a:pt x="31" y="84"/>
                      </a:lnTo>
                      <a:lnTo>
                        <a:pt x="34" y="81"/>
                      </a:lnTo>
                      <a:lnTo>
                        <a:pt x="37" y="81"/>
                      </a:lnTo>
                      <a:lnTo>
                        <a:pt x="38" y="84"/>
                      </a:lnTo>
                      <a:lnTo>
                        <a:pt x="37" y="83"/>
                      </a:lnTo>
                      <a:lnTo>
                        <a:pt x="34" y="83"/>
                      </a:lnTo>
                      <a:lnTo>
                        <a:pt x="32" y="86"/>
                      </a:lnTo>
                      <a:lnTo>
                        <a:pt x="34" y="87"/>
                      </a:lnTo>
                      <a:lnTo>
                        <a:pt x="34" y="90"/>
                      </a:lnTo>
                      <a:lnTo>
                        <a:pt x="33" y="93"/>
                      </a:lnTo>
                      <a:lnTo>
                        <a:pt x="34" y="95"/>
                      </a:lnTo>
                      <a:lnTo>
                        <a:pt x="36" y="95"/>
                      </a:lnTo>
                      <a:lnTo>
                        <a:pt x="39" y="101"/>
                      </a:lnTo>
                      <a:lnTo>
                        <a:pt x="43" y="102"/>
                      </a:lnTo>
                      <a:lnTo>
                        <a:pt x="46" y="104"/>
                      </a:lnTo>
                      <a:lnTo>
                        <a:pt x="46" y="107"/>
                      </a:lnTo>
                      <a:lnTo>
                        <a:pt x="48" y="109"/>
                      </a:lnTo>
                      <a:lnTo>
                        <a:pt x="46" y="112"/>
                      </a:lnTo>
                      <a:lnTo>
                        <a:pt x="45" y="112"/>
                      </a:lnTo>
                      <a:lnTo>
                        <a:pt x="45" y="115"/>
                      </a:lnTo>
                      <a:lnTo>
                        <a:pt x="48" y="116"/>
                      </a:lnTo>
                      <a:lnTo>
                        <a:pt x="52" y="120"/>
                      </a:lnTo>
                      <a:lnTo>
                        <a:pt x="55" y="130"/>
                      </a:lnTo>
                      <a:lnTo>
                        <a:pt x="52" y="126"/>
                      </a:lnTo>
                      <a:lnTo>
                        <a:pt x="50" y="122"/>
                      </a:lnTo>
                      <a:lnTo>
                        <a:pt x="48" y="120"/>
                      </a:lnTo>
                      <a:lnTo>
                        <a:pt x="46" y="121"/>
                      </a:lnTo>
                      <a:lnTo>
                        <a:pt x="45" y="129"/>
                      </a:lnTo>
                      <a:lnTo>
                        <a:pt x="45" y="136"/>
                      </a:lnTo>
                      <a:lnTo>
                        <a:pt x="47" y="137"/>
                      </a:lnTo>
                      <a:lnTo>
                        <a:pt x="45" y="139"/>
                      </a:lnTo>
                      <a:lnTo>
                        <a:pt x="45" y="150"/>
                      </a:lnTo>
                      <a:lnTo>
                        <a:pt x="42" y="160"/>
                      </a:lnTo>
                      <a:lnTo>
                        <a:pt x="38" y="163"/>
                      </a:lnTo>
                      <a:lnTo>
                        <a:pt x="41" y="164"/>
                      </a:lnTo>
                      <a:lnTo>
                        <a:pt x="41" y="165"/>
                      </a:lnTo>
                      <a:lnTo>
                        <a:pt x="43" y="166"/>
                      </a:lnTo>
                      <a:lnTo>
                        <a:pt x="44" y="169"/>
                      </a:lnTo>
                      <a:lnTo>
                        <a:pt x="43" y="172"/>
                      </a:lnTo>
                      <a:lnTo>
                        <a:pt x="48" y="171"/>
                      </a:lnTo>
                      <a:lnTo>
                        <a:pt x="53" y="174"/>
                      </a:lnTo>
                      <a:lnTo>
                        <a:pt x="55" y="178"/>
                      </a:lnTo>
                      <a:lnTo>
                        <a:pt x="59" y="176"/>
                      </a:lnTo>
                      <a:lnTo>
                        <a:pt x="62" y="180"/>
                      </a:lnTo>
                      <a:lnTo>
                        <a:pt x="65" y="180"/>
                      </a:lnTo>
                      <a:lnTo>
                        <a:pt x="67" y="181"/>
                      </a:lnTo>
                      <a:lnTo>
                        <a:pt x="70" y="178"/>
                      </a:lnTo>
                      <a:lnTo>
                        <a:pt x="76" y="178"/>
                      </a:lnTo>
                      <a:lnTo>
                        <a:pt x="79" y="179"/>
                      </a:lnTo>
                      <a:lnTo>
                        <a:pt x="83" y="179"/>
                      </a:lnTo>
                      <a:lnTo>
                        <a:pt x="86" y="181"/>
                      </a:lnTo>
                      <a:lnTo>
                        <a:pt x="93" y="181"/>
                      </a:lnTo>
                      <a:lnTo>
                        <a:pt x="98" y="184"/>
                      </a:lnTo>
                      <a:lnTo>
                        <a:pt x="100" y="184"/>
                      </a:lnTo>
                      <a:lnTo>
                        <a:pt x="100" y="183"/>
                      </a:lnTo>
                      <a:lnTo>
                        <a:pt x="99" y="178"/>
                      </a:lnTo>
                      <a:lnTo>
                        <a:pt x="100" y="173"/>
                      </a:lnTo>
                      <a:lnTo>
                        <a:pt x="100" y="170"/>
                      </a:lnTo>
                      <a:lnTo>
                        <a:pt x="103" y="166"/>
                      </a:lnTo>
                      <a:lnTo>
                        <a:pt x="108" y="160"/>
                      </a:lnTo>
                      <a:lnTo>
                        <a:pt x="110" y="160"/>
                      </a:lnTo>
                      <a:lnTo>
                        <a:pt x="111" y="161"/>
                      </a:lnTo>
                      <a:lnTo>
                        <a:pt x="114" y="162"/>
                      </a:lnTo>
                      <a:lnTo>
                        <a:pt x="117" y="164"/>
                      </a:lnTo>
                      <a:lnTo>
                        <a:pt x="120" y="164"/>
                      </a:lnTo>
                      <a:lnTo>
                        <a:pt x="122" y="162"/>
                      </a:lnTo>
                      <a:lnTo>
                        <a:pt x="124" y="162"/>
                      </a:lnTo>
                      <a:lnTo>
                        <a:pt x="133" y="168"/>
                      </a:lnTo>
                      <a:lnTo>
                        <a:pt x="135" y="171"/>
                      </a:lnTo>
                      <a:lnTo>
                        <a:pt x="142" y="171"/>
                      </a:lnTo>
                      <a:lnTo>
                        <a:pt x="144" y="168"/>
                      </a:lnTo>
                      <a:lnTo>
                        <a:pt x="144" y="167"/>
                      </a:lnTo>
                      <a:lnTo>
                        <a:pt x="146" y="163"/>
                      </a:lnTo>
                      <a:lnTo>
                        <a:pt x="155" y="155"/>
                      </a:lnTo>
                      <a:lnTo>
                        <a:pt x="155" y="155"/>
                      </a:lnTo>
                      <a:lnTo>
                        <a:pt x="155" y="151"/>
                      </a:lnTo>
                      <a:lnTo>
                        <a:pt x="156" y="14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20" name="Freeform 722">
                  <a:extLst>
                    <a:ext uri="{FF2B5EF4-FFF2-40B4-BE49-F238E27FC236}">
                      <a16:creationId xmlns:a16="http://schemas.microsoft.com/office/drawing/2014/main" id="{6DAD4739-05C8-4E81-B069-5CAC3B21A4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15" y="2020"/>
                  <a:ext cx="14" cy="35"/>
                </a:xfrm>
                <a:custGeom>
                  <a:avLst/>
                  <a:gdLst>
                    <a:gd name="T0" fmla="*/ 0 w 14"/>
                    <a:gd name="T1" fmla="*/ 17 h 35"/>
                    <a:gd name="T2" fmla="*/ 0 w 14"/>
                    <a:gd name="T3" fmla="*/ 20 h 35"/>
                    <a:gd name="T4" fmla="*/ 2 w 14"/>
                    <a:gd name="T5" fmla="*/ 21 h 35"/>
                    <a:gd name="T6" fmla="*/ 2 w 14"/>
                    <a:gd name="T7" fmla="*/ 22 h 35"/>
                    <a:gd name="T8" fmla="*/ 1 w 14"/>
                    <a:gd name="T9" fmla="*/ 23 h 35"/>
                    <a:gd name="T10" fmla="*/ 2 w 14"/>
                    <a:gd name="T11" fmla="*/ 25 h 35"/>
                    <a:gd name="T12" fmla="*/ 4 w 14"/>
                    <a:gd name="T13" fmla="*/ 26 h 35"/>
                    <a:gd name="T14" fmla="*/ 4 w 14"/>
                    <a:gd name="T15" fmla="*/ 28 h 35"/>
                    <a:gd name="T16" fmla="*/ 5 w 14"/>
                    <a:gd name="T17" fmla="*/ 28 h 35"/>
                    <a:gd name="T18" fmla="*/ 6 w 14"/>
                    <a:gd name="T19" fmla="*/ 30 h 35"/>
                    <a:gd name="T20" fmla="*/ 4 w 14"/>
                    <a:gd name="T21" fmla="*/ 29 h 35"/>
                    <a:gd name="T22" fmla="*/ 4 w 14"/>
                    <a:gd name="T23" fmla="*/ 32 h 35"/>
                    <a:gd name="T24" fmla="*/ 4 w 14"/>
                    <a:gd name="T25" fmla="*/ 33 h 35"/>
                    <a:gd name="T26" fmla="*/ 8 w 14"/>
                    <a:gd name="T27" fmla="*/ 35 h 35"/>
                    <a:gd name="T28" fmla="*/ 11 w 14"/>
                    <a:gd name="T29" fmla="*/ 33 h 35"/>
                    <a:gd name="T30" fmla="*/ 13 w 14"/>
                    <a:gd name="T31" fmla="*/ 28 h 35"/>
                    <a:gd name="T32" fmla="*/ 13 w 14"/>
                    <a:gd name="T33" fmla="*/ 24 h 35"/>
                    <a:gd name="T34" fmla="*/ 14 w 14"/>
                    <a:gd name="T35" fmla="*/ 16 h 35"/>
                    <a:gd name="T36" fmla="*/ 13 w 14"/>
                    <a:gd name="T37" fmla="*/ 9 h 35"/>
                    <a:gd name="T38" fmla="*/ 13 w 14"/>
                    <a:gd name="T39" fmla="*/ 4 h 35"/>
                    <a:gd name="T40" fmla="*/ 12 w 14"/>
                    <a:gd name="T41" fmla="*/ 0 h 35"/>
                    <a:gd name="T42" fmla="*/ 11 w 14"/>
                    <a:gd name="T43" fmla="*/ 0 h 35"/>
                    <a:gd name="T44" fmla="*/ 11 w 14"/>
                    <a:gd name="T45" fmla="*/ 3 h 35"/>
                    <a:gd name="T46" fmla="*/ 11 w 14"/>
                    <a:gd name="T47" fmla="*/ 5 h 35"/>
                    <a:gd name="T48" fmla="*/ 11 w 14"/>
                    <a:gd name="T49" fmla="*/ 8 h 35"/>
                    <a:gd name="T50" fmla="*/ 10 w 14"/>
                    <a:gd name="T51" fmla="*/ 8 h 35"/>
                    <a:gd name="T52" fmla="*/ 8 w 14"/>
                    <a:gd name="T53" fmla="*/ 6 h 35"/>
                    <a:gd name="T54" fmla="*/ 7 w 14"/>
                    <a:gd name="T55" fmla="*/ 8 h 35"/>
                    <a:gd name="T56" fmla="*/ 2 w 14"/>
                    <a:gd name="T57" fmla="*/ 10 h 35"/>
                    <a:gd name="T58" fmla="*/ 0 w 14"/>
                    <a:gd name="T59" fmla="*/ 14 h 35"/>
                    <a:gd name="T60" fmla="*/ 2 w 14"/>
                    <a:gd name="T61" fmla="*/ 15 h 35"/>
                    <a:gd name="T62" fmla="*/ 1 w 14"/>
                    <a:gd name="T63" fmla="*/ 17 h 35"/>
                    <a:gd name="T64" fmla="*/ 0 w 14"/>
                    <a:gd name="T65" fmla="*/ 17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4" h="35">
                      <a:moveTo>
                        <a:pt x="0" y="17"/>
                      </a:moveTo>
                      <a:lnTo>
                        <a:pt x="0" y="20"/>
                      </a:lnTo>
                      <a:lnTo>
                        <a:pt x="2" y="21"/>
                      </a:lnTo>
                      <a:lnTo>
                        <a:pt x="2" y="22"/>
                      </a:lnTo>
                      <a:lnTo>
                        <a:pt x="1" y="23"/>
                      </a:lnTo>
                      <a:lnTo>
                        <a:pt x="2" y="25"/>
                      </a:lnTo>
                      <a:lnTo>
                        <a:pt x="4" y="26"/>
                      </a:lnTo>
                      <a:lnTo>
                        <a:pt x="4" y="28"/>
                      </a:lnTo>
                      <a:lnTo>
                        <a:pt x="5" y="28"/>
                      </a:lnTo>
                      <a:lnTo>
                        <a:pt x="6" y="30"/>
                      </a:lnTo>
                      <a:lnTo>
                        <a:pt x="4" y="29"/>
                      </a:lnTo>
                      <a:lnTo>
                        <a:pt x="4" y="32"/>
                      </a:lnTo>
                      <a:lnTo>
                        <a:pt x="4" y="33"/>
                      </a:lnTo>
                      <a:lnTo>
                        <a:pt x="8" y="35"/>
                      </a:lnTo>
                      <a:lnTo>
                        <a:pt x="11" y="33"/>
                      </a:lnTo>
                      <a:lnTo>
                        <a:pt x="13" y="28"/>
                      </a:lnTo>
                      <a:lnTo>
                        <a:pt x="13" y="24"/>
                      </a:lnTo>
                      <a:lnTo>
                        <a:pt x="14" y="16"/>
                      </a:lnTo>
                      <a:lnTo>
                        <a:pt x="13" y="9"/>
                      </a:lnTo>
                      <a:lnTo>
                        <a:pt x="13" y="4"/>
                      </a:lnTo>
                      <a:lnTo>
                        <a:pt x="12" y="0"/>
                      </a:lnTo>
                      <a:lnTo>
                        <a:pt x="11" y="0"/>
                      </a:lnTo>
                      <a:lnTo>
                        <a:pt x="11" y="3"/>
                      </a:lnTo>
                      <a:lnTo>
                        <a:pt x="11" y="5"/>
                      </a:lnTo>
                      <a:lnTo>
                        <a:pt x="11" y="8"/>
                      </a:lnTo>
                      <a:lnTo>
                        <a:pt x="10" y="8"/>
                      </a:lnTo>
                      <a:lnTo>
                        <a:pt x="8" y="6"/>
                      </a:lnTo>
                      <a:lnTo>
                        <a:pt x="7" y="8"/>
                      </a:lnTo>
                      <a:lnTo>
                        <a:pt x="2" y="10"/>
                      </a:lnTo>
                      <a:lnTo>
                        <a:pt x="0" y="14"/>
                      </a:lnTo>
                      <a:lnTo>
                        <a:pt x="2" y="15"/>
                      </a:lnTo>
                      <a:lnTo>
                        <a:pt x="1" y="17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21" name="Freeform 723">
                  <a:extLst>
                    <a:ext uri="{FF2B5EF4-FFF2-40B4-BE49-F238E27FC236}">
                      <a16:creationId xmlns:a16="http://schemas.microsoft.com/office/drawing/2014/main" id="{827A0E98-8BDB-4527-9E01-B58A0144F5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98" y="2167"/>
                  <a:ext cx="4" cy="6"/>
                </a:xfrm>
                <a:custGeom>
                  <a:avLst/>
                  <a:gdLst>
                    <a:gd name="T0" fmla="*/ 0 w 4"/>
                    <a:gd name="T1" fmla="*/ 2 h 6"/>
                    <a:gd name="T2" fmla="*/ 3 w 4"/>
                    <a:gd name="T3" fmla="*/ 6 h 6"/>
                    <a:gd name="T4" fmla="*/ 4 w 4"/>
                    <a:gd name="T5" fmla="*/ 3 h 6"/>
                    <a:gd name="T6" fmla="*/ 4 w 4"/>
                    <a:gd name="T7" fmla="*/ 1 h 6"/>
                    <a:gd name="T8" fmla="*/ 0 w 4"/>
                    <a:gd name="T9" fmla="*/ 0 h 6"/>
                    <a:gd name="T10" fmla="*/ 0 w 4"/>
                    <a:gd name="T11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6">
                      <a:moveTo>
                        <a:pt x="0" y="2"/>
                      </a:moveTo>
                      <a:lnTo>
                        <a:pt x="3" y="6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22" name="Freeform 724">
                  <a:extLst>
                    <a:ext uri="{FF2B5EF4-FFF2-40B4-BE49-F238E27FC236}">
                      <a16:creationId xmlns:a16="http://schemas.microsoft.com/office/drawing/2014/main" id="{6F57B29E-817F-4A46-AA2D-52384C05F9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12" y="2058"/>
                  <a:ext cx="2" cy="4"/>
                </a:xfrm>
                <a:custGeom>
                  <a:avLst/>
                  <a:gdLst>
                    <a:gd name="T0" fmla="*/ 1 w 2"/>
                    <a:gd name="T1" fmla="*/ 4 h 4"/>
                    <a:gd name="T2" fmla="*/ 1 w 2"/>
                    <a:gd name="T3" fmla="*/ 3 h 4"/>
                    <a:gd name="T4" fmla="*/ 2 w 2"/>
                    <a:gd name="T5" fmla="*/ 1 h 4"/>
                    <a:gd name="T6" fmla="*/ 1 w 2"/>
                    <a:gd name="T7" fmla="*/ 0 h 4"/>
                    <a:gd name="T8" fmla="*/ 0 w 2"/>
                    <a:gd name="T9" fmla="*/ 1 h 4"/>
                    <a:gd name="T10" fmla="*/ 0 w 2"/>
                    <a:gd name="T11" fmla="*/ 2 h 4"/>
                    <a:gd name="T12" fmla="*/ 0 w 2"/>
                    <a:gd name="T13" fmla="*/ 4 h 4"/>
                    <a:gd name="T14" fmla="*/ 1 w 2"/>
                    <a:gd name="T1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" h="4">
                      <a:moveTo>
                        <a:pt x="1" y="4"/>
                      </a:moveTo>
                      <a:lnTo>
                        <a:pt x="1" y="3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23" name="Freeform 725">
                  <a:extLst>
                    <a:ext uri="{FF2B5EF4-FFF2-40B4-BE49-F238E27FC236}">
                      <a16:creationId xmlns:a16="http://schemas.microsoft.com/office/drawing/2014/main" id="{DBA71C1F-6135-464C-A448-7C59CD8FB3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12" y="2059"/>
                  <a:ext cx="21" cy="49"/>
                </a:xfrm>
                <a:custGeom>
                  <a:avLst/>
                  <a:gdLst>
                    <a:gd name="T0" fmla="*/ 2 w 21"/>
                    <a:gd name="T1" fmla="*/ 14 h 49"/>
                    <a:gd name="T2" fmla="*/ 2 w 21"/>
                    <a:gd name="T3" fmla="*/ 17 h 49"/>
                    <a:gd name="T4" fmla="*/ 4 w 21"/>
                    <a:gd name="T5" fmla="*/ 18 h 49"/>
                    <a:gd name="T6" fmla="*/ 4 w 21"/>
                    <a:gd name="T7" fmla="*/ 23 h 49"/>
                    <a:gd name="T8" fmla="*/ 2 w 21"/>
                    <a:gd name="T9" fmla="*/ 25 h 49"/>
                    <a:gd name="T10" fmla="*/ 3 w 21"/>
                    <a:gd name="T11" fmla="*/ 27 h 49"/>
                    <a:gd name="T12" fmla="*/ 6 w 21"/>
                    <a:gd name="T13" fmla="*/ 27 h 49"/>
                    <a:gd name="T14" fmla="*/ 6 w 21"/>
                    <a:gd name="T15" fmla="*/ 29 h 49"/>
                    <a:gd name="T16" fmla="*/ 3 w 21"/>
                    <a:gd name="T17" fmla="*/ 31 h 49"/>
                    <a:gd name="T18" fmla="*/ 3 w 21"/>
                    <a:gd name="T19" fmla="*/ 37 h 49"/>
                    <a:gd name="T20" fmla="*/ 3 w 21"/>
                    <a:gd name="T21" fmla="*/ 39 h 49"/>
                    <a:gd name="T22" fmla="*/ 5 w 21"/>
                    <a:gd name="T23" fmla="*/ 46 h 49"/>
                    <a:gd name="T24" fmla="*/ 7 w 21"/>
                    <a:gd name="T25" fmla="*/ 49 h 49"/>
                    <a:gd name="T26" fmla="*/ 8 w 21"/>
                    <a:gd name="T27" fmla="*/ 48 h 49"/>
                    <a:gd name="T28" fmla="*/ 10 w 21"/>
                    <a:gd name="T29" fmla="*/ 49 h 49"/>
                    <a:gd name="T30" fmla="*/ 12 w 21"/>
                    <a:gd name="T31" fmla="*/ 48 h 49"/>
                    <a:gd name="T32" fmla="*/ 12 w 21"/>
                    <a:gd name="T33" fmla="*/ 44 h 49"/>
                    <a:gd name="T34" fmla="*/ 13 w 21"/>
                    <a:gd name="T35" fmla="*/ 41 h 49"/>
                    <a:gd name="T36" fmla="*/ 15 w 21"/>
                    <a:gd name="T37" fmla="*/ 42 h 49"/>
                    <a:gd name="T38" fmla="*/ 17 w 21"/>
                    <a:gd name="T39" fmla="*/ 44 h 49"/>
                    <a:gd name="T40" fmla="*/ 19 w 21"/>
                    <a:gd name="T41" fmla="*/ 44 h 49"/>
                    <a:gd name="T42" fmla="*/ 20 w 21"/>
                    <a:gd name="T43" fmla="*/ 41 h 49"/>
                    <a:gd name="T44" fmla="*/ 20 w 21"/>
                    <a:gd name="T45" fmla="*/ 35 h 49"/>
                    <a:gd name="T46" fmla="*/ 21 w 21"/>
                    <a:gd name="T47" fmla="*/ 34 h 49"/>
                    <a:gd name="T48" fmla="*/ 20 w 21"/>
                    <a:gd name="T49" fmla="*/ 27 h 49"/>
                    <a:gd name="T50" fmla="*/ 21 w 21"/>
                    <a:gd name="T51" fmla="*/ 20 h 49"/>
                    <a:gd name="T52" fmla="*/ 17 w 21"/>
                    <a:gd name="T53" fmla="*/ 17 h 49"/>
                    <a:gd name="T54" fmla="*/ 21 w 21"/>
                    <a:gd name="T55" fmla="*/ 14 h 49"/>
                    <a:gd name="T56" fmla="*/ 21 w 21"/>
                    <a:gd name="T57" fmla="*/ 12 h 49"/>
                    <a:gd name="T58" fmla="*/ 20 w 21"/>
                    <a:gd name="T59" fmla="*/ 8 h 49"/>
                    <a:gd name="T60" fmla="*/ 18 w 21"/>
                    <a:gd name="T61" fmla="*/ 5 h 49"/>
                    <a:gd name="T62" fmla="*/ 16 w 21"/>
                    <a:gd name="T63" fmla="*/ 1 h 49"/>
                    <a:gd name="T64" fmla="*/ 15 w 21"/>
                    <a:gd name="T65" fmla="*/ 2 h 49"/>
                    <a:gd name="T66" fmla="*/ 13 w 21"/>
                    <a:gd name="T67" fmla="*/ 0 h 49"/>
                    <a:gd name="T68" fmla="*/ 10 w 21"/>
                    <a:gd name="T69" fmla="*/ 0 h 49"/>
                    <a:gd name="T70" fmla="*/ 5 w 21"/>
                    <a:gd name="T71" fmla="*/ 7 h 49"/>
                    <a:gd name="T72" fmla="*/ 3 w 21"/>
                    <a:gd name="T73" fmla="*/ 7 h 49"/>
                    <a:gd name="T74" fmla="*/ 0 w 21"/>
                    <a:gd name="T75" fmla="*/ 5 h 49"/>
                    <a:gd name="T76" fmla="*/ 0 w 21"/>
                    <a:gd name="T77" fmla="*/ 9 h 49"/>
                    <a:gd name="T78" fmla="*/ 0 w 21"/>
                    <a:gd name="T79" fmla="*/ 11 h 49"/>
                    <a:gd name="T80" fmla="*/ 2 w 21"/>
                    <a:gd name="T81" fmla="*/ 14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1" h="49">
                      <a:moveTo>
                        <a:pt x="2" y="14"/>
                      </a:moveTo>
                      <a:lnTo>
                        <a:pt x="2" y="17"/>
                      </a:lnTo>
                      <a:lnTo>
                        <a:pt x="4" y="18"/>
                      </a:lnTo>
                      <a:lnTo>
                        <a:pt x="4" y="23"/>
                      </a:lnTo>
                      <a:lnTo>
                        <a:pt x="2" y="25"/>
                      </a:lnTo>
                      <a:lnTo>
                        <a:pt x="3" y="27"/>
                      </a:lnTo>
                      <a:lnTo>
                        <a:pt x="6" y="27"/>
                      </a:lnTo>
                      <a:lnTo>
                        <a:pt x="6" y="29"/>
                      </a:lnTo>
                      <a:lnTo>
                        <a:pt x="3" y="31"/>
                      </a:lnTo>
                      <a:lnTo>
                        <a:pt x="3" y="37"/>
                      </a:lnTo>
                      <a:lnTo>
                        <a:pt x="3" y="39"/>
                      </a:lnTo>
                      <a:lnTo>
                        <a:pt x="5" y="46"/>
                      </a:lnTo>
                      <a:lnTo>
                        <a:pt x="7" y="49"/>
                      </a:lnTo>
                      <a:lnTo>
                        <a:pt x="8" y="48"/>
                      </a:lnTo>
                      <a:lnTo>
                        <a:pt x="10" y="49"/>
                      </a:lnTo>
                      <a:lnTo>
                        <a:pt x="12" y="48"/>
                      </a:lnTo>
                      <a:lnTo>
                        <a:pt x="12" y="44"/>
                      </a:lnTo>
                      <a:lnTo>
                        <a:pt x="13" y="41"/>
                      </a:lnTo>
                      <a:lnTo>
                        <a:pt x="15" y="42"/>
                      </a:lnTo>
                      <a:lnTo>
                        <a:pt x="17" y="44"/>
                      </a:lnTo>
                      <a:lnTo>
                        <a:pt x="19" y="44"/>
                      </a:lnTo>
                      <a:lnTo>
                        <a:pt x="20" y="41"/>
                      </a:lnTo>
                      <a:lnTo>
                        <a:pt x="20" y="35"/>
                      </a:lnTo>
                      <a:lnTo>
                        <a:pt x="21" y="34"/>
                      </a:lnTo>
                      <a:lnTo>
                        <a:pt x="20" y="27"/>
                      </a:lnTo>
                      <a:lnTo>
                        <a:pt x="21" y="20"/>
                      </a:lnTo>
                      <a:lnTo>
                        <a:pt x="17" y="17"/>
                      </a:lnTo>
                      <a:lnTo>
                        <a:pt x="21" y="14"/>
                      </a:lnTo>
                      <a:lnTo>
                        <a:pt x="21" y="12"/>
                      </a:lnTo>
                      <a:lnTo>
                        <a:pt x="20" y="8"/>
                      </a:lnTo>
                      <a:lnTo>
                        <a:pt x="18" y="5"/>
                      </a:lnTo>
                      <a:lnTo>
                        <a:pt x="16" y="1"/>
                      </a:lnTo>
                      <a:lnTo>
                        <a:pt x="15" y="2"/>
                      </a:lnTo>
                      <a:lnTo>
                        <a:pt x="13" y="0"/>
                      </a:lnTo>
                      <a:lnTo>
                        <a:pt x="10" y="0"/>
                      </a:lnTo>
                      <a:lnTo>
                        <a:pt x="5" y="7"/>
                      </a:lnTo>
                      <a:lnTo>
                        <a:pt x="3" y="7"/>
                      </a:lnTo>
                      <a:lnTo>
                        <a:pt x="0" y="5"/>
                      </a:lnTo>
                      <a:lnTo>
                        <a:pt x="0" y="9"/>
                      </a:lnTo>
                      <a:lnTo>
                        <a:pt x="0" y="11"/>
                      </a:lnTo>
                      <a:lnTo>
                        <a:pt x="2" y="1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24" name="Freeform 726">
                  <a:extLst>
                    <a:ext uri="{FF2B5EF4-FFF2-40B4-BE49-F238E27FC236}">
                      <a16:creationId xmlns:a16="http://schemas.microsoft.com/office/drawing/2014/main" id="{B1B44914-6853-4ECC-9AFE-9D94097942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6" y="2022"/>
                  <a:ext cx="6" cy="6"/>
                </a:xfrm>
                <a:custGeom>
                  <a:avLst/>
                  <a:gdLst>
                    <a:gd name="T0" fmla="*/ 6 w 6"/>
                    <a:gd name="T1" fmla="*/ 4 h 6"/>
                    <a:gd name="T2" fmla="*/ 6 w 6"/>
                    <a:gd name="T3" fmla="*/ 2 h 6"/>
                    <a:gd name="T4" fmla="*/ 4 w 6"/>
                    <a:gd name="T5" fmla="*/ 0 h 6"/>
                    <a:gd name="T6" fmla="*/ 4 w 6"/>
                    <a:gd name="T7" fmla="*/ 2 h 6"/>
                    <a:gd name="T8" fmla="*/ 0 w 6"/>
                    <a:gd name="T9" fmla="*/ 3 h 6"/>
                    <a:gd name="T10" fmla="*/ 0 w 6"/>
                    <a:gd name="T11" fmla="*/ 5 h 6"/>
                    <a:gd name="T12" fmla="*/ 1 w 6"/>
                    <a:gd name="T13" fmla="*/ 6 h 6"/>
                    <a:gd name="T14" fmla="*/ 4 w 6"/>
                    <a:gd name="T15" fmla="*/ 4 h 6"/>
                    <a:gd name="T16" fmla="*/ 6 w 6"/>
                    <a:gd name="T17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6">
                      <a:moveTo>
                        <a:pt x="6" y="4"/>
                      </a:moveTo>
                      <a:lnTo>
                        <a:pt x="6" y="2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4" y="4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25" name="Freeform 727">
                  <a:extLst>
                    <a:ext uri="{FF2B5EF4-FFF2-40B4-BE49-F238E27FC236}">
                      <a16:creationId xmlns:a16="http://schemas.microsoft.com/office/drawing/2014/main" id="{0E982B38-9B99-4862-BF6E-A45E04FFB2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8" y="2034"/>
                  <a:ext cx="2" cy="1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1 w 2"/>
                    <a:gd name="T5" fmla="*/ 0 h 1"/>
                    <a:gd name="T6" fmla="*/ 0 w 2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26" name="Freeform 728">
                  <a:extLst>
                    <a:ext uri="{FF2B5EF4-FFF2-40B4-BE49-F238E27FC236}">
                      <a16:creationId xmlns:a16="http://schemas.microsoft.com/office/drawing/2014/main" id="{7D278D32-4908-41E1-8BFB-C2981F9675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71" y="2120"/>
                  <a:ext cx="41" cy="33"/>
                </a:xfrm>
                <a:custGeom>
                  <a:avLst/>
                  <a:gdLst>
                    <a:gd name="T0" fmla="*/ 41 w 41"/>
                    <a:gd name="T1" fmla="*/ 8 h 33"/>
                    <a:gd name="T2" fmla="*/ 41 w 41"/>
                    <a:gd name="T3" fmla="*/ 3 h 33"/>
                    <a:gd name="T4" fmla="*/ 39 w 41"/>
                    <a:gd name="T5" fmla="*/ 0 h 33"/>
                    <a:gd name="T6" fmla="*/ 36 w 41"/>
                    <a:gd name="T7" fmla="*/ 4 h 33"/>
                    <a:gd name="T8" fmla="*/ 34 w 41"/>
                    <a:gd name="T9" fmla="*/ 4 h 33"/>
                    <a:gd name="T10" fmla="*/ 31 w 41"/>
                    <a:gd name="T11" fmla="*/ 1 h 33"/>
                    <a:gd name="T12" fmla="*/ 28 w 41"/>
                    <a:gd name="T13" fmla="*/ 5 h 33"/>
                    <a:gd name="T14" fmla="*/ 22 w 41"/>
                    <a:gd name="T15" fmla="*/ 5 h 33"/>
                    <a:gd name="T16" fmla="*/ 17 w 41"/>
                    <a:gd name="T17" fmla="*/ 7 h 33"/>
                    <a:gd name="T18" fmla="*/ 13 w 41"/>
                    <a:gd name="T19" fmla="*/ 6 h 33"/>
                    <a:gd name="T20" fmla="*/ 10 w 41"/>
                    <a:gd name="T21" fmla="*/ 4 h 33"/>
                    <a:gd name="T22" fmla="*/ 7 w 41"/>
                    <a:gd name="T23" fmla="*/ 4 h 33"/>
                    <a:gd name="T24" fmla="*/ 6 w 41"/>
                    <a:gd name="T25" fmla="*/ 6 h 33"/>
                    <a:gd name="T26" fmla="*/ 4 w 41"/>
                    <a:gd name="T27" fmla="*/ 4 h 33"/>
                    <a:gd name="T28" fmla="*/ 1 w 41"/>
                    <a:gd name="T29" fmla="*/ 6 h 33"/>
                    <a:gd name="T30" fmla="*/ 0 w 41"/>
                    <a:gd name="T31" fmla="*/ 11 h 33"/>
                    <a:gd name="T32" fmla="*/ 3 w 41"/>
                    <a:gd name="T33" fmla="*/ 15 h 33"/>
                    <a:gd name="T34" fmla="*/ 7 w 41"/>
                    <a:gd name="T35" fmla="*/ 15 h 33"/>
                    <a:gd name="T36" fmla="*/ 12 w 41"/>
                    <a:gd name="T37" fmla="*/ 18 h 33"/>
                    <a:gd name="T38" fmla="*/ 15 w 41"/>
                    <a:gd name="T39" fmla="*/ 20 h 33"/>
                    <a:gd name="T40" fmla="*/ 17 w 41"/>
                    <a:gd name="T41" fmla="*/ 23 h 33"/>
                    <a:gd name="T42" fmla="*/ 24 w 41"/>
                    <a:gd name="T43" fmla="*/ 26 h 33"/>
                    <a:gd name="T44" fmla="*/ 25 w 41"/>
                    <a:gd name="T45" fmla="*/ 25 h 33"/>
                    <a:gd name="T46" fmla="*/ 28 w 41"/>
                    <a:gd name="T47" fmla="*/ 27 h 33"/>
                    <a:gd name="T48" fmla="*/ 28 w 41"/>
                    <a:gd name="T49" fmla="*/ 30 h 33"/>
                    <a:gd name="T50" fmla="*/ 35 w 41"/>
                    <a:gd name="T51" fmla="*/ 33 h 33"/>
                    <a:gd name="T52" fmla="*/ 38 w 41"/>
                    <a:gd name="T53" fmla="*/ 32 h 33"/>
                    <a:gd name="T54" fmla="*/ 38 w 41"/>
                    <a:gd name="T55" fmla="*/ 28 h 33"/>
                    <a:gd name="T56" fmla="*/ 39 w 41"/>
                    <a:gd name="T57" fmla="*/ 26 h 33"/>
                    <a:gd name="T58" fmla="*/ 38 w 41"/>
                    <a:gd name="T59" fmla="*/ 22 h 33"/>
                    <a:gd name="T60" fmla="*/ 36 w 41"/>
                    <a:gd name="T61" fmla="*/ 18 h 33"/>
                    <a:gd name="T62" fmla="*/ 38 w 41"/>
                    <a:gd name="T63" fmla="*/ 10 h 33"/>
                    <a:gd name="T64" fmla="*/ 41 w 41"/>
                    <a:gd name="T65" fmla="*/ 8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1" h="33">
                      <a:moveTo>
                        <a:pt x="41" y="8"/>
                      </a:moveTo>
                      <a:lnTo>
                        <a:pt x="41" y="3"/>
                      </a:lnTo>
                      <a:lnTo>
                        <a:pt x="39" y="0"/>
                      </a:lnTo>
                      <a:lnTo>
                        <a:pt x="36" y="4"/>
                      </a:lnTo>
                      <a:lnTo>
                        <a:pt x="34" y="4"/>
                      </a:lnTo>
                      <a:lnTo>
                        <a:pt x="31" y="1"/>
                      </a:lnTo>
                      <a:lnTo>
                        <a:pt x="28" y="5"/>
                      </a:lnTo>
                      <a:lnTo>
                        <a:pt x="22" y="5"/>
                      </a:lnTo>
                      <a:lnTo>
                        <a:pt x="17" y="7"/>
                      </a:lnTo>
                      <a:lnTo>
                        <a:pt x="13" y="6"/>
                      </a:lnTo>
                      <a:lnTo>
                        <a:pt x="10" y="4"/>
                      </a:lnTo>
                      <a:lnTo>
                        <a:pt x="7" y="4"/>
                      </a:lnTo>
                      <a:lnTo>
                        <a:pt x="6" y="6"/>
                      </a:lnTo>
                      <a:lnTo>
                        <a:pt x="4" y="4"/>
                      </a:lnTo>
                      <a:lnTo>
                        <a:pt x="1" y="6"/>
                      </a:lnTo>
                      <a:lnTo>
                        <a:pt x="0" y="11"/>
                      </a:lnTo>
                      <a:lnTo>
                        <a:pt x="3" y="15"/>
                      </a:lnTo>
                      <a:lnTo>
                        <a:pt x="7" y="15"/>
                      </a:lnTo>
                      <a:lnTo>
                        <a:pt x="12" y="18"/>
                      </a:lnTo>
                      <a:lnTo>
                        <a:pt x="15" y="20"/>
                      </a:lnTo>
                      <a:lnTo>
                        <a:pt x="17" y="23"/>
                      </a:lnTo>
                      <a:lnTo>
                        <a:pt x="24" y="26"/>
                      </a:lnTo>
                      <a:lnTo>
                        <a:pt x="25" y="25"/>
                      </a:lnTo>
                      <a:lnTo>
                        <a:pt x="28" y="27"/>
                      </a:lnTo>
                      <a:lnTo>
                        <a:pt x="28" y="30"/>
                      </a:lnTo>
                      <a:lnTo>
                        <a:pt x="35" y="33"/>
                      </a:lnTo>
                      <a:lnTo>
                        <a:pt x="38" y="32"/>
                      </a:lnTo>
                      <a:lnTo>
                        <a:pt x="38" y="28"/>
                      </a:lnTo>
                      <a:lnTo>
                        <a:pt x="39" y="26"/>
                      </a:lnTo>
                      <a:lnTo>
                        <a:pt x="38" y="22"/>
                      </a:lnTo>
                      <a:lnTo>
                        <a:pt x="36" y="18"/>
                      </a:lnTo>
                      <a:lnTo>
                        <a:pt x="38" y="10"/>
                      </a:lnTo>
                      <a:lnTo>
                        <a:pt x="41" y="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27" name="Freeform 729">
                  <a:extLst>
                    <a:ext uri="{FF2B5EF4-FFF2-40B4-BE49-F238E27FC236}">
                      <a16:creationId xmlns:a16="http://schemas.microsoft.com/office/drawing/2014/main" id="{FF339580-8F00-492E-8FED-A65A913CEE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90" y="1935"/>
                  <a:ext cx="160" cy="194"/>
                </a:xfrm>
                <a:custGeom>
                  <a:avLst/>
                  <a:gdLst>
                    <a:gd name="T0" fmla="*/ 94 w 160"/>
                    <a:gd name="T1" fmla="*/ 13 h 194"/>
                    <a:gd name="T2" fmla="*/ 78 w 160"/>
                    <a:gd name="T3" fmla="*/ 10 h 194"/>
                    <a:gd name="T4" fmla="*/ 67 w 160"/>
                    <a:gd name="T5" fmla="*/ 2 h 194"/>
                    <a:gd name="T6" fmla="*/ 52 w 160"/>
                    <a:gd name="T7" fmla="*/ 3 h 194"/>
                    <a:gd name="T8" fmla="*/ 45 w 160"/>
                    <a:gd name="T9" fmla="*/ 14 h 194"/>
                    <a:gd name="T10" fmla="*/ 39 w 160"/>
                    <a:gd name="T11" fmla="*/ 18 h 194"/>
                    <a:gd name="T12" fmla="*/ 30 w 160"/>
                    <a:gd name="T13" fmla="*/ 27 h 194"/>
                    <a:gd name="T14" fmla="*/ 25 w 160"/>
                    <a:gd name="T15" fmla="*/ 17 h 194"/>
                    <a:gd name="T16" fmla="*/ 12 w 160"/>
                    <a:gd name="T17" fmla="*/ 24 h 194"/>
                    <a:gd name="T18" fmla="*/ 3 w 160"/>
                    <a:gd name="T19" fmla="*/ 28 h 194"/>
                    <a:gd name="T20" fmla="*/ 5 w 160"/>
                    <a:gd name="T21" fmla="*/ 41 h 194"/>
                    <a:gd name="T22" fmla="*/ 3 w 160"/>
                    <a:gd name="T23" fmla="*/ 49 h 194"/>
                    <a:gd name="T24" fmla="*/ 12 w 160"/>
                    <a:gd name="T25" fmla="*/ 62 h 194"/>
                    <a:gd name="T26" fmla="*/ 18 w 160"/>
                    <a:gd name="T27" fmla="*/ 68 h 194"/>
                    <a:gd name="T28" fmla="*/ 28 w 160"/>
                    <a:gd name="T29" fmla="*/ 57 h 194"/>
                    <a:gd name="T30" fmla="*/ 44 w 160"/>
                    <a:gd name="T31" fmla="*/ 64 h 194"/>
                    <a:gd name="T32" fmla="*/ 47 w 160"/>
                    <a:gd name="T33" fmla="*/ 71 h 194"/>
                    <a:gd name="T34" fmla="*/ 53 w 160"/>
                    <a:gd name="T35" fmla="*/ 80 h 194"/>
                    <a:gd name="T36" fmla="*/ 58 w 160"/>
                    <a:gd name="T37" fmla="*/ 90 h 194"/>
                    <a:gd name="T38" fmla="*/ 66 w 160"/>
                    <a:gd name="T39" fmla="*/ 98 h 194"/>
                    <a:gd name="T40" fmla="*/ 71 w 160"/>
                    <a:gd name="T41" fmla="*/ 106 h 194"/>
                    <a:gd name="T42" fmla="*/ 85 w 160"/>
                    <a:gd name="T43" fmla="*/ 120 h 194"/>
                    <a:gd name="T44" fmla="*/ 91 w 160"/>
                    <a:gd name="T45" fmla="*/ 124 h 194"/>
                    <a:gd name="T46" fmla="*/ 98 w 160"/>
                    <a:gd name="T47" fmla="*/ 124 h 194"/>
                    <a:gd name="T48" fmla="*/ 105 w 160"/>
                    <a:gd name="T49" fmla="*/ 131 h 194"/>
                    <a:gd name="T50" fmla="*/ 109 w 160"/>
                    <a:gd name="T51" fmla="*/ 134 h 194"/>
                    <a:gd name="T52" fmla="*/ 113 w 160"/>
                    <a:gd name="T53" fmla="*/ 141 h 194"/>
                    <a:gd name="T54" fmla="*/ 117 w 160"/>
                    <a:gd name="T55" fmla="*/ 144 h 194"/>
                    <a:gd name="T56" fmla="*/ 123 w 160"/>
                    <a:gd name="T57" fmla="*/ 148 h 194"/>
                    <a:gd name="T58" fmla="*/ 127 w 160"/>
                    <a:gd name="T59" fmla="*/ 159 h 194"/>
                    <a:gd name="T60" fmla="*/ 131 w 160"/>
                    <a:gd name="T61" fmla="*/ 170 h 194"/>
                    <a:gd name="T62" fmla="*/ 129 w 160"/>
                    <a:gd name="T63" fmla="*/ 175 h 194"/>
                    <a:gd name="T64" fmla="*/ 128 w 160"/>
                    <a:gd name="T65" fmla="*/ 183 h 194"/>
                    <a:gd name="T66" fmla="*/ 124 w 160"/>
                    <a:gd name="T67" fmla="*/ 188 h 194"/>
                    <a:gd name="T68" fmla="*/ 131 w 160"/>
                    <a:gd name="T69" fmla="*/ 193 h 194"/>
                    <a:gd name="T70" fmla="*/ 137 w 160"/>
                    <a:gd name="T71" fmla="*/ 183 h 194"/>
                    <a:gd name="T72" fmla="*/ 143 w 160"/>
                    <a:gd name="T73" fmla="*/ 172 h 194"/>
                    <a:gd name="T74" fmla="*/ 143 w 160"/>
                    <a:gd name="T75" fmla="*/ 163 h 194"/>
                    <a:gd name="T76" fmla="*/ 136 w 160"/>
                    <a:gd name="T77" fmla="*/ 156 h 194"/>
                    <a:gd name="T78" fmla="*/ 137 w 160"/>
                    <a:gd name="T79" fmla="*/ 151 h 194"/>
                    <a:gd name="T80" fmla="*/ 140 w 160"/>
                    <a:gd name="T81" fmla="*/ 144 h 194"/>
                    <a:gd name="T82" fmla="*/ 143 w 160"/>
                    <a:gd name="T83" fmla="*/ 138 h 194"/>
                    <a:gd name="T84" fmla="*/ 151 w 160"/>
                    <a:gd name="T85" fmla="*/ 141 h 194"/>
                    <a:gd name="T86" fmla="*/ 154 w 160"/>
                    <a:gd name="T87" fmla="*/ 148 h 194"/>
                    <a:gd name="T88" fmla="*/ 158 w 160"/>
                    <a:gd name="T89" fmla="*/ 151 h 194"/>
                    <a:gd name="T90" fmla="*/ 160 w 160"/>
                    <a:gd name="T91" fmla="*/ 146 h 194"/>
                    <a:gd name="T92" fmla="*/ 157 w 160"/>
                    <a:gd name="T93" fmla="*/ 137 h 194"/>
                    <a:gd name="T94" fmla="*/ 146 w 160"/>
                    <a:gd name="T95" fmla="*/ 128 h 194"/>
                    <a:gd name="T96" fmla="*/ 126 w 160"/>
                    <a:gd name="T97" fmla="*/ 120 h 194"/>
                    <a:gd name="T98" fmla="*/ 128 w 160"/>
                    <a:gd name="T99" fmla="*/ 113 h 194"/>
                    <a:gd name="T100" fmla="*/ 123 w 160"/>
                    <a:gd name="T101" fmla="*/ 110 h 194"/>
                    <a:gd name="T102" fmla="*/ 113 w 160"/>
                    <a:gd name="T103" fmla="*/ 107 h 194"/>
                    <a:gd name="T104" fmla="*/ 105 w 160"/>
                    <a:gd name="T105" fmla="*/ 100 h 194"/>
                    <a:gd name="T106" fmla="*/ 98 w 160"/>
                    <a:gd name="T107" fmla="*/ 90 h 194"/>
                    <a:gd name="T108" fmla="*/ 97 w 160"/>
                    <a:gd name="T109" fmla="*/ 82 h 194"/>
                    <a:gd name="T110" fmla="*/ 82 w 160"/>
                    <a:gd name="T111" fmla="*/ 67 h 194"/>
                    <a:gd name="T112" fmla="*/ 74 w 160"/>
                    <a:gd name="T113" fmla="*/ 55 h 194"/>
                    <a:gd name="T114" fmla="*/ 76 w 160"/>
                    <a:gd name="T115" fmla="*/ 46 h 194"/>
                    <a:gd name="T116" fmla="*/ 74 w 160"/>
                    <a:gd name="T117" fmla="*/ 37 h 194"/>
                    <a:gd name="T118" fmla="*/ 83 w 160"/>
                    <a:gd name="T119" fmla="*/ 33 h 194"/>
                    <a:gd name="T120" fmla="*/ 90 w 160"/>
                    <a:gd name="T121" fmla="*/ 30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60" h="194">
                      <a:moveTo>
                        <a:pt x="91" y="21"/>
                      </a:moveTo>
                      <a:lnTo>
                        <a:pt x="90" y="19"/>
                      </a:lnTo>
                      <a:lnTo>
                        <a:pt x="94" y="13"/>
                      </a:lnTo>
                      <a:lnTo>
                        <a:pt x="91" y="11"/>
                      </a:lnTo>
                      <a:lnTo>
                        <a:pt x="87" y="11"/>
                      </a:lnTo>
                      <a:lnTo>
                        <a:pt x="78" y="10"/>
                      </a:lnTo>
                      <a:lnTo>
                        <a:pt x="71" y="4"/>
                      </a:lnTo>
                      <a:lnTo>
                        <a:pt x="71" y="1"/>
                      </a:lnTo>
                      <a:lnTo>
                        <a:pt x="67" y="2"/>
                      </a:lnTo>
                      <a:lnTo>
                        <a:pt x="63" y="0"/>
                      </a:lnTo>
                      <a:lnTo>
                        <a:pt x="57" y="6"/>
                      </a:lnTo>
                      <a:lnTo>
                        <a:pt x="52" y="3"/>
                      </a:lnTo>
                      <a:lnTo>
                        <a:pt x="49" y="7"/>
                      </a:lnTo>
                      <a:lnTo>
                        <a:pt x="50" y="13"/>
                      </a:lnTo>
                      <a:lnTo>
                        <a:pt x="45" y="14"/>
                      </a:lnTo>
                      <a:lnTo>
                        <a:pt x="44" y="20"/>
                      </a:lnTo>
                      <a:lnTo>
                        <a:pt x="42" y="18"/>
                      </a:lnTo>
                      <a:lnTo>
                        <a:pt x="39" y="18"/>
                      </a:lnTo>
                      <a:lnTo>
                        <a:pt x="33" y="17"/>
                      </a:lnTo>
                      <a:lnTo>
                        <a:pt x="33" y="21"/>
                      </a:lnTo>
                      <a:lnTo>
                        <a:pt x="30" y="27"/>
                      </a:lnTo>
                      <a:lnTo>
                        <a:pt x="29" y="24"/>
                      </a:lnTo>
                      <a:lnTo>
                        <a:pt x="24" y="21"/>
                      </a:lnTo>
                      <a:lnTo>
                        <a:pt x="25" y="17"/>
                      </a:lnTo>
                      <a:lnTo>
                        <a:pt x="22" y="15"/>
                      </a:lnTo>
                      <a:lnTo>
                        <a:pt x="16" y="25"/>
                      </a:lnTo>
                      <a:lnTo>
                        <a:pt x="12" y="24"/>
                      </a:lnTo>
                      <a:lnTo>
                        <a:pt x="7" y="28"/>
                      </a:lnTo>
                      <a:lnTo>
                        <a:pt x="4" y="27"/>
                      </a:lnTo>
                      <a:lnTo>
                        <a:pt x="3" y="28"/>
                      </a:lnTo>
                      <a:lnTo>
                        <a:pt x="3" y="33"/>
                      </a:lnTo>
                      <a:lnTo>
                        <a:pt x="6" y="35"/>
                      </a:lnTo>
                      <a:lnTo>
                        <a:pt x="5" y="41"/>
                      </a:lnTo>
                      <a:lnTo>
                        <a:pt x="1" y="41"/>
                      </a:lnTo>
                      <a:lnTo>
                        <a:pt x="0" y="44"/>
                      </a:lnTo>
                      <a:lnTo>
                        <a:pt x="3" y="49"/>
                      </a:lnTo>
                      <a:lnTo>
                        <a:pt x="4" y="58"/>
                      </a:lnTo>
                      <a:lnTo>
                        <a:pt x="8" y="62"/>
                      </a:lnTo>
                      <a:lnTo>
                        <a:pt x="12" y="62"/>
                      </a:lnTo>
                      <a:lnTo>
                        <a:pt x="11" y="66"/>
                      </a:lnTo>
                      <a:lnTo>
                        <a:pt x="11" y="70"/>
                      </a:lnTo>
                      <a:lnTo>
                        <a:pt x="18" y="68"/>
                      </a:lnTo>
                      <a:lnTo>
                        <a:pt x="21" y="65"/>
                      </a:lnTo>
                      <a:lnTo>
                        <a:pt x="21" y="62"/>
                      </a:lnTo>
                      <a:lnTo>
                        <a:pt x="28" y="57"/>
                      </a:lnTo>
                      <a:lnTo>
                        <a:pt x="38" y="60"/>
                      </a:lnTo>
                      <a:lnTo>
                        <a:pt x="40" y="62"/>
                      </a:lnTo>
                      <a:lnTo>
                        <a:pt x="44" y="64"/>
                      </a:lnTo>
                      <a:lnTo>
                        <a:pt x="46" y="66"/>
                      </a:lnTo>
                      <a:lnTo>
                        <a:pt x="46" y="68"/>
                      </a:lnTo>
                      <a:lnTo>
                        <a:pt x="47" y="71"/>
                      </a:lnTo>
                      <a:lnTo>
                        <a:pt x="50" y="76"/>
                      </a:lnTo>
                      <a:lnTo>
                        <a:pt x="50" y="79"/>
                      </a:lnTo>
                      <a:lnTo>
                        <a:pt x="53" y="80"/>
                      </a:lnTo>
                      <a:lnTo>
                        <a:pt x="53" y="86"/>
                      </a:lnTo>
                      <a:lnTo>
                        <a:pt x="56" y="87"/>
                      </a:lnTo>
                      <a:lnTo>
                        <a:pt x="58" y="90"/>
                      </a:lnTo>
                      <a:lnTo>
                        <a:pt x="62" y="95"/>
                      </a:lnTo>
                      <a:lnTo>
                        <a:pt x="62" y="98"/>
                      </a:lnTo>
                      <a:lnTo>
                        <a:pt x="66" y="98"/>
                      </a:lnTo>
                      <a:lnTo>
                        <a:pt x="69" y="102"/>
                      </a:lnTo>
                      <a:lnTo>
                        <a:pt x="69" y="105"/>
                      </a:lnTo>
                      <a:lnTo>
                        <a:pt x="71" y="106"/>
                      </a:lnTo>
                      <a:lnTo>
                        <a:pt x="77" y="114"/>
                      </a:lnTo>
                      <a:lnTo>
                        <a:pt x="82" y="120"/>
                      </a:lnTo>
                      <a:lnTo>
                        <a:pt x="85" y="120"/>
                      </a:lnTo>
                      <a:lnTo>
                        <a:pt x="88" y="122"/>
                      </a:lnTo>
                      <a:lnTo>
                        <a:pt x="88" y="124"/>
                      </a:lnTo>
                      <a:lnTo>
                        <a:pt x="91" y="124"/>
                      </a:lnTo>
                      <a:lnTo>
                        <a:pt x="92" y="123"/>
                      </a:lnTo>
                      <a:lnTo>
                        <a:pt x="95" y="124"/>
                      </a:lnTo>
                      <a:lnTo>
                        <a:pt x="98" y="124"/>
                      </a:lnTo>
                      <a:lnTo>
                        <a:pt x="101" y="131"/>
                      </a:lnTo>
                      <a:lnTo>
                        <a:pt x="103" y="132"/>
                      </a:lnTo>
                      <a:lnTo>
                        <a:pt x="105" y="131"/>
                      </a:lnTo>
                      <a:lnTo>
                        <a:pt x="107" y="133"/>
                      </a:lnTo>
                      <a:lnTo>
                        <a:pt x="107" y="135"/>
                      </a:lnTo>
                      <a:lnTo>
                        <a:pt x="109" y="134"/>
                      </a:lnTo>
                      <a:lnTo>
                        <a:pt x="112" y="135"/>
                      </a:lnTo>
                      <a:lnTo>
                        <a:pt x="113" y="137"/>
                      </a:lnTo>
                      <a:lnTo>
                        <a:pt x="113" y="141"/>
                      </a:lnTo>
                      <a:lnTo>
                        <a:pt x="112" y="143"/>
                      </a:lnTo>
                      <a:lnTo>
                        <a:pt x="114" y="144"/>
                      </a:lnTo>
                      <a:lnTo>
                        <a:pt x="117" y="144"/>
                      </a:lnTo>
                      <a:lnTo>
                        <a:pt x="118" y="148"/>
                      </a:lnTo>
                      <a:lnTo>
                        <a:pt x="122" y="148"/>
                      </a:lnTo>
                      <a:lnTo>
                        <a:pt x="123" y="148"/>
                      </a:lnTo>
                      <a:lnTo>
                        <a:pt x="125" y="149"/>
                      </a:lnTo>
                      <a:lnTo>
                        <a:pt x="126" y="154"/>
                      </a:lnTo>
                      <a:lnTo>
                        <a:pt x="127" y="159"/>
                      </a:lnTo>
                      <a:lnTo>
                        <a:pt x="129" y="162"/>
                      </a:lnTo>
                      <a:lnTo>
                        <a:pt x="129" y="168"/>
                      </a:lnTo>
                      <a:lnTo>
                        <a:pt x="131" y="170"/>
                      </a:lnTo>
                      <a:lnTo>
                        <a:pt x="131" y="173"/>
                      </a:lnTo>
                      <a:lnTo>
                        <a:pt x="129" y="175"/>
                      </a:lnTo>
                      <a:lnTo>
                        <a:pt x="129" y="175"/>
                      </a:lnTo>
                      <a:lnTo>
                        <a:pt x="128" y="176"/>
                      </a:lnTo>
                      <a:lnTo>
                        <a:pt x="128" y="179"/>
                      </a:lnTo>
                      <a:lnTo>
                        <a:pt x="128" y="183"/>
                      </a:lnTo>
                      <a:lnTo>
                        <a:pt x="126" y="186"/>
                      </a:lnTo>
                      <a:lnTo>
                        <a:pt x="125" y="186"/>
                      </a:lnTo>
                      <a:lnTo>
                        <a:pt x="124" y="188"/>
                      </a:lnTo>
                      <a:lnTo>
                        <a:pt x="124" y="190"/>
                      </a:lnTo>
                      <a:lnTo>
                        <a:pt x="127" y="194"/>
                      </a:lnTo>
                      <a:lnTo>
                        <a:pt x="131" y="193"/>
                      </a:lnTo>
                      <a:lnTo>
                        <a:pt x="133" y="190"/>
                      </a:lnTo>
                      <a:lnTo>
                        <a:pt x="133" y="186"/>
                      </a:lnTo>
                      <a:lnTo>
                        <a:pt x="137" y="183"/>
                      </a:lnTo>
                      <a:lnTo>
                        <a:pt x="138" y="175"/>
                      </a:lnTo>
                      <a:lnTo>
                        <a:pt x="140" y="172"/>
                      </a:lnTo>
                      <a:lnTo>
                        <a:pt x="143" y="172"/>
                      </a:lnTo>
                      <a:lnTo>
                        <a:pt x="143" y="169"/>
                      </a:lnTo>
                      <a:lnTo>
                        <a:pt x="143" y="168"/>
                      </a:lnTo>
                      <a:lnTo>
                        <a:pt x="143" y="163"/>
                      </a:lnTo>
                      <a:lnTo>
                        <a:pt x="143" y="161"/>
                      </a:lnTo>
                      <a:lnTo>
                        <a:pt x="139" y="157"/>
                      </a:lnTo>
                      <a:lnTo>
                        <a:pt x="136" y="156"/>
                      </a:lnTo>
                      <a:lnTo>
                        <a:pt x="136" y="155"/>
                      </a:lnTo>
                      <a:lnTo>
                        <a:pt x="136" y="152"/>
                      </a:lnTo>
                      <a:lnTo>
                        <a:pt x="137" y="151"/>
                      </a:lnTo>
                      <a:lnTo>
                        <a:pt x="138" y="148"/>
                      </a:lnTo>
                      <a:lnTo>
                        <a:pt x="138" y="145"/>
                      </a:lnTo>
                      <a:lnTo>
                        <a:pt x="140" y="144"/>
                      </a:lnTo>
                      <a:lnTo>
                        <a:pt x="140" y="139"/>
                      </a:lnTo>
                      <a:lnTo>
                        <a:pt x="142" y="138"/>
                      </a:lnTo>
                      <a:lnTo>
                        <a:pt x="143" y="138"/>
                      </a:lnTo>
                      <a:lnTo>
                        <a:pt x="147" y="140"/>
                      </a:lnTo>
                      <a:lnTo>
                        <a:pt x="147" y="141"/>
                      </a:lnTo>
                      <a:lnTo>
                        <a:pt x="151" y="141"/>
                      </a:lnTo>
                      <a:lnTo>
                        <a:pt x="153" y="142"/>
                      </a:lnTo>
                      <a:lnTo>
                        <a:pt x="153" y="145"/>
                      </a:lnTo>
                      <a:lnTo>
                        <a:pt x="154" y="148"/>
                      </a:lnTo>
                      <a:lnTo>
                        <a:pt x="156" y="151"/>
                      </a:lnTo>
                      <a:lnTo>
                        <a:pt x="158" y="152"/>
                      </a:lnTo>
                      <a:lnTo>
                        <a:pt x="158" y="151"/>
                      </a:lnTo>
                      <a:lnTo>
                        <a:pt x="159" y="151"/>
                      </a:lnTo>
                      <a:lnTo>
                        <a:pt x="159" y="148"/>
                      </a:lnTo>
                      <a:lnTo>
                        <a:pt x="160" y="146"/>
                      </a:lnTo>
                      <a:lnTo>
                        <a:pt x="160" y="141"/>
                      </a:lnTo>
                      <a:lnTo>
                        <a:pt x="160" y="139"/>
                      </a:lnTo>
                      <a:lnTo>
                        <a:pt x="157" y="137"/>
                      </a:lnTo>
                      <a:lnTo>
                        <a:pt x="153" y="136"/>
                      </a:lnTo>
                      <a:lnTo>
                        <a:pt x="150" y="132"/>
                      </a:lnTo>
                      <a:lnTo>
                        <a:pt x="146" y="128"/>
                      </a:lnTo>
                      <a:lnTo>
                        <a:pt x="134" y="121"/>
                      </a:lnTo>
                      <a:lnTo>
                        <a:pt x="129" y="120"/>
                      </a:lnTo>
                      <a:lnTo>
                        <a:pt x="126" y="120"/>
                      </a:lnTo>
                      <a:lnTo>
                        <a:pt x="125" y="117"/>
                      </a:lnTo>
                      <a:lnTo>
                        <a:pt x="125" y="115"/>
                      </a:lnTo>
                      <a:lnTo>
                        <a:pt x="128" y="113"/>
                      </a:lnTo>
                      <a:lnTo>
                        <a:pt x="129" y="110"/>
                      </a:lnTo>
                      <a:lnTo>
                        <a:pt x="126" y="109"/>
                      </a:lnTo>
                      <a:lnTo>
                        <a:pt x="123" y="110"/>
                      </a:lnTo>
                      <a:lnTo>
                        <a:pt x="121" y="109"/>
                      </a:lnTo>
                      <a:lnTo>
                        <a:pt x="115" y="109"/>
                      </a:lnTo>
                      <a:lnTo>
                        <a:pt x="113" y="107"/>
                      </a:lnTo>
                      <a:lnTo>
                        <a:pt x="111" y="106"/>
                      </a:lnTo>
                      <a:lnTo>
                        <a:pt x="109" y="104"/>
                      </a:lnTo>
                      <a:lnTo>
                        <a:pt x="105" y="100"/>
                      </a:lnTo>
                      <a:lnTo>
                        <a:pt x="103" y="96"/>
                      </a:lnTo>
                      <a:lnTo>
                        <a:pt x="100" y="93"/>
                      </a:lnTo>
                      <a:lnTo>
                        <a:pt x="98" y="90"/>
                      </a:lnTo>
                      <a:lnTo>
                        <a:pt x="98" y="86"/>
                      </a:lnTo>
                      <a:lnTo>
                        <a:pt x="97" y="86"/>
                      </a:lnTo>
                      <a:lnTo>
                        <a:pt x="97" y="82"/>
                      </a:lnTo>
                      <a:lnTo>
                        <a:pt x="88" y="72"/>
                      </a:lnTo>
                      <a:lnTo>
                        <a:pt x="86" y="68"/>
                      </a:lnTo>
                      <a:lnTo>
                        <a:pt x="82" y="67"/>
                      </a:lnTo>
                      <a:lnTo>
                        <a:pt x="76" y="62"/>
                      </a:lnTo>
                      <a:lnTo>
                        <a:pt x="74" y="60"/>
                      </a:lnTo>
                      <a:lnTo>
                        <a:pt x="74" y="55"/>
                      </a:lnTo>
                      <a:lnTo>
                        <a:pt x="73" y="51"/>
                      </a:lnTo>
                      <a:lnTo>
                        <a:pt x="74" y="50"/>
                      </a:lnTo>
                      <a:lnTo>
                        <a:pt x="76" y="46"/>
                      </a:lnTo>
                      <a:lnTo>
                        <a:pt x="74" y="43"/>
                      </a:lnTo>
                      <a:lnTo>
                        <a:pt x="73" y="39"/>
                      </a:lnTo>
                      <a:lnTo>
                        <a:pt x="74" y="37"/>
                      </a:lnTo>
                      <a:lnTo>
                        <a:pt x="77" y="36"/>
                      </a:lnTo>
                      <a:lnTo>
                        <a:pt x="80" y="33"/>
                      </a:lnTo>
                      <a:lnTo>
                        <a:pt x="83" y="33"/>
                      </a:lnTo>
                      <a:lnTo>
                        <a:pt x="85" y="30"/>
                      </a:lnTo>
                      <a:lnTo>
                        <a:pt x="87" y="30"/>
                      </a:lnTo>
                      <a:lnTo>
                        <a:pt x="90" y="30"/>
                      </a:lnTo>
                      <a:lnTo>
                        <a:pt x="89" y="25"/>
                      </a:lnTo>
                      <a:lnTo>
                        <a:pt x="91" y="2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28" name="Freeform 730">
                  <a:extLst>
                    <a:ext uri="{FF2B5EF4-FFF2-40B4-BE49-F238E27FC236}">
                      <a16:creationId xmlns:a16="http://schemas.microsoft.com/office/drawing/2014/main" id="{68DA93F0-E177-41B2-BE5C-7BBFF40A14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25" y="2104"/>
                  <a:ext cx="6" cy="6"/>
                </a:xfrm>
                <a:custGeom>
                  <a:avLst/>
                  <a:gdLst>
                    <a:gd name="T0" fmla="*/ 4 w 6"/>
                    <a:gd name="T1" fmla="*/ 3 h 6"/>
                    <a:gd name="T2" fmla="*/ 6 w 6"/>
                    <a:gd name="T3" fmla="*/ 1 h 6"/>
                    <a:gd name="T4" fmla="*/ 4 w 6"/>
                    <a:gd name="T5" fmla="*/ 0 h 6"/>
                    <a:gd name="T6" fmla="*/ 0 w 6"/>
                    <a:gd name="T7" fmla="*/ 0 h 6"/>
                    <a:gd name="T8" fmla="*/ 0 w 6"/>
                    <a:gd name="T9" fmla="*/ 3 h 6"/>
                    <a:gd name="T10" fmla="*/ 3 w 6"/>
                    <a:gd name="T11" fmla="*/ 6 h 6"/>
                    <a:gd name="T12" fmla="*/ 4 w 6"/>
                    <a:gd name="T1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6">
                      <a:moveTo>
                        <a:pt x="4" y="3"/>
                      </a:move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6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29" name="Freeform 731">
                  <a:extLst>
                    <a:ext uri="{FF2B5EF4-FFF2-40B4-BE49-F238E27FC236}">
                      <a16:creationId xmlns:a16="http://schemas.microsoft.com/office/drawing/2014/main" id="{09EBCC44-35D7-4EA5-90E3-D6B759F5FA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3" y="2084"/>
                  <a:ext cx="7" cy="6"/>
                </a:xfrm>
                <a:custGeom>
                  <a:avLst/>
                  <a:gdLst>
                    <a:gd name="T0" fmla="*/ 7 w 7"/>
                    <a:gd name="T1" fmla="*/ 6 h 6"/>
                    <a:gd name="T2" fmla="*/ 7 w 7"/>
                    <a:gd name="T3" fmla="*/ 3 h 6"/>
                    <a:gd name="T4" fmla="*/ 4 w 7"/>
                    <a:gd name="T5" fmla="*/ 0 h 6"/>
                    <a:gd name="T6" fmla="*/ 0 w 7"/>
                    <a:gd name="T7" fmla="*/ 1 h 6"/>
                    <a:gd name="T8" fmla="*/ 0 w 7"/>
                    <a:gd name="T9" fmla="*/ 3 h 6"/>
                    <a:gd name="T10" fmla="*/ 4 w 7"/>
                    <a:gd name="T11" fmla="*/ 4 h 6"/>
                    <a:gd name="T12" fmla="*/ 7 w 7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6">
                      <a:moveTo>
                        <a:pt x="7" y="6"/>
                      </a:moveTo>
                      <a:lnTo>
                        <a:pt x="7" y="3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4" y="4"/>
                      </a:lnTo>
                      <a:lnTo>
                        <a:pt x="7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30" name="Freeform 732">
                  <a:extLst>
                    <a:ext uri="{FF2B5EF4-FFF2-40B4-BE49-F238E27FC236}">
                      <a16:creationId xmlns:a16="http://schemas.microsoft.com/office/drawing/2014/main" id="{3FAAF43B-0671-49B6-90DF-6A1325928E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86" y="2005"/>
                  <a:ext cx="160" cy="158"/>
                </a:xfrm>
                <a:custGeom>
                  <a:avLst/>
                  <a:gdLst>
                    <a:gd name="T0" fmla="*/ 184 w 206"/>
                    <a:gd name="T1" fmla="*/ 31 h 204"/>
                    <a:gd name="T2" fmla="*/ 168 w 206"/>
                    <a:gd name="T3" fmla="*/ 29 h 204"/>
                    <a:gd name="T4" fmla="*/ 157 w 206"/>
                    <a:gd name="T5" fmla="*/ 32 h 204"/>
                    <a:gd name="T6" fmla="*/ 146 w 206"/>
                    <a:gd name="T7" fmla="*/ 25 h 204"/>
                    <a:gd name="T8" fmla="*/ 134 w 206"/>
                    <a:gd name="T9" fmla="*/ 18 h 204"/>
                    <a:gd name="T10" fmla="*/ 130 w 206"/>
                    <a:gd name="T11" fmla="*/ 12 h 204"/>
                    <a:gd name="T12" fmla="*/ 123 w 206"/>
                    <a:gd name="T13" fmla="*/ 12 h 204"/>
                    <a:gd name="T14" fmla="*/ 109 w 206"/>
                    <a:gd name="T15" fmla="*/ 8 h 204"/>
                    <a:gd name="T16" fmla="*/ 98 w 206"/>
                    <a:gd name="T17" fmla="*/ 7 h 204"/>
                    <a:gd name="T18" fmla="*/ 76 w 206"/>
                    <a:gd name="T19" fmla="*/ 9 h 204"/>
                    <a:gd name="T20" fmla="*/ 57 w 206"/>
                    <a:gd name="T21" fmla="*/ 2 h 204"/>
                    <a:gd name="T22" fmla="*/ 43 w 206"/>
                    <a:gd name="T23" fmla="*/ 4 h 204"/>
                    <a:gd name="T24" fmla="*/ 32 w 206"/>
                    <a:gd name="T25" fmla="*/ 1 h 204"/>
                    <a:gd name="T26" fmla="*/ 23 w 206"/>
                    <a:gd name="T27" fmla="*/ 1 h 204"/>
                    <a:gd name="T28" fmla="*/ 19 w 206"/>
                    <a:gd name="T29" fmla="*/ 10 h 204"/>
                    <a:gd name="T30" fmla="*/ 9 w 206"/>
                    <a:gd name="T31" fmla="*/ 12 h 204"/>
                    <a:gd name="T32" fmla="*/ 1 w 206"/>
                    <a:gd name="T33" fmla="*/ 25 h 204"/>
                    <a:gd name="T34" fmla="*/ 5 w 206"/>
                    <a:gd name="T35" fmla="*/ 27 h 204"/>
                    <a:gd name="T36" fmla="*/ 8 w 206"/>
                    <a:gd name="T37" fmla="*/ 30 h 204"/>
                    <a:gd name="T38" fmla="*/ 7 w 206"/>
                    <a:gd name="T39" fmla="*/ 39 h 204"/>
                    <a:gd name="T40" fmla="*/ 6 w 206"/>
                    <a:gd name="T41" fmla="*/ 46 h 204"/>
                    <a:gd name="T42" fmla="*/ 16 w 206"/>
                    <a:gd name="T43" fmla="*/ 50 h 204"/>
                    <a:gd name="T44" fmla="*/ 34 w 206"/>
                    <a:gd name="T45" fmla="*/ 52 h 204"/>
                    <a:gd name="T46" fmla="*/ 47 w 206"/>
                    <a:gd name="T47" fmla="*/ 54 h 204"/>
                    <a:gd name="T48" fmla="*/ 47 w 206"/>
                    <a:gd name="T49" fmla="*/ 65 h 204"/>
                    <a:gd name="T50" fmla="*/ 40 w 206"/>
                    <a:gd name="T51" fmla="*/ 93 h 204"/>
                    <a:gd name="T52" fmla="*/ 35 w 206"/>
                    <a:gd name="T53" fmla="*/ 109 h 204"/>
                    <a:gd name="T54" fmla="*/ 32 w 206"/>
                    <a:gd name="T55" fmla="*/ 120 h 204"/>
                    <a:gd name="T56" fmla="*/ 30 w 206"/>
                    <a:gd name="T57" fmla="*/ 139 h 204"/>
                    <a:gd name="T58" fmla="*/ 36 w 206"/>
                    <a:gd name="T59" fmla="*/ 150 h 204"/>
                    <a:gd name="T60" fmla="*/ 30 w 206"/>
                    <a:gd name="T61" fmla="*/ 169 h 204"/>
                    <a:gd name="T62" fmla="*/ 39 w 206"/>
                    <a:gd name="T63" fmla="*/ 176 h 204"/>
                    <a:gd name="T64" fmla="*/ 49 w 206"/>
                    <a:gd name="T65" fmla="*/ 196 h 204"/>
                    <a:gd name="T66" fmla="*/ 66 w 206"/>
                    <a:gd name="T67" fmla="*/ 201 h 204"/>
                    <a:gd name="T68" fmla="*/ 76 w 206"/>
                    <a:gd name="T69" fmla="*/ 193 h 204"/>
                    <a:gd name="T70" fmla="*/ 91 w 206"/>
                    <a:gd name="T71" fmla="*/ 184 h 204"/>
                    <a:gd name="T72" fmla="*/ 105 w 206"/>
                    <a:gd name="T73" fmla="*/ 185 h 204"/>
                    <a:gd name="T74" fmla="*/ 114 w 206"/>
                    <a:gd name="T75" fmla="*/ 185 h 204"/>
                    <a:gd name="T76" fmla="*/ 123 w 206"/>
                    <a:gd name="T77" fmla="*/ 187 h 204"/>
                    <a:gd name="T78" fmla="*/ 138 w 206"/>
                    <a:gd name="T79" fmla="*/ 168 h 204"/>
                    <a:gd name="T80" fmla="*/ 144 w 206"/>
                    <a:gd name="T81" fmla="*/ 163 h 204"/>
                    <a:gd name="T82" fmla="*/ 151 w 206"/>
                    <a:gd name="T83" fmla="*/ 142 h 204"/>
                    <a:gd name="T84" fmla="*/ 156 w 206"/>
                    <a:gd name="T85" fmla="*/ 128 h 204"/>
                    <a:gd name="T86" fmla="*/ 149 w 206"/>
                    <a:gd name="T87" fmla="*/ 115 h 204"/>
                    <a:gd name="T88" fmla="*/ 162 w 206"/>
                    <a:gd name="T89" fmla="*/ 96 h 204"/>
                    <a:gd name="T90" fmla="*/ 169 w 206"/>
                    <a:gd name="T91" fmla="*/ 87 h 204"/>
                    <a:gd name="T92" fmla="*/ 173 w 206"/>
                    <a:gd name="T93" fmla="*/ 80 h 204"/>
                    <a:gd name="T94" fmla="*/ 179 w 206"/>
                    <a:gd name="T95" fmla="*/ 72 h 204"/>
                    <a:gd name="T96" fmla="*/ 195 w 206"/>
                    <a:gd name="T97" fmla="*/ 65 h 204"/>
                    <a:gd name="T98" fmla="*/ 204 w 206"/>
                    <a:gd name="T99" fmla="*/ 50 h 204"/>
                    <a:gd name="T100" fmla="*/ 206 w 206"/>
                    <a:gd name="T101" fmla="*/ 38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06" h="204">
                      <a:moveTo>
                        <a:pt x="198" y="33"/>
                      </a:moveTo>
                      <a:cubicBezTo>
                        <a:pt x="189" y="34"/>
                        <a:pt x="189" y="34"/>
                        <a:pt x="189" y="34"/>
                      </a:cubicBezTo>
                      <a:cubicBezTo>
                        <a:pt x="184" y="31"/>
                        <a:pt x="184" y="31"/>
                        <a:pt x="184" y="31"/>
                      </a:cubicBezTo>
                      <a:cubicBezTo>
                        <a:pt x="179" y="31"/>
                        <a:pt x="179" y="31"/>
                        <a:pt x="179" y="31"/>
                      </a:cubicBezTo>
                      <a:cubicBezTo>
                        <a:pt x="176" y="29"/>
                        <a:pt x="176" y="29"/>
                        <a:pt x="176" y="29"/>
                      </a:cubicBezTo>
                      <a:cubicBezTo>
                        <a:pt x="168" y="29"/>
                        <a:pt x="168" y="29"/>
                        <a:pt x="168" y="29"/>
                      </a:cubicBezTo>
                      <a:cubicBezTo>
                        <a:pt x="164" y="33"/>
                        <a:pt x="164" y="33"/>
                        <a:pt x="164" y="33"/>
                      </a:cubicBezTo>
                      <a:cubicBezTo>
                        <a:pt x="162" y="32"/>
                        <a:pt x="162" y="32"/>
                        <a:pt x="162" y="32"/>
                      </a:cubicBezTo>
                      <a:cubicBezTo>
                        <a:pt x="157" y="32"/>
                        <a:pt x="157" y="32"/>
                        <a:pt x="157" y="32"/>
                      </a:cubicBezTo>
                      <a:cubicBezTo>
                        <a:pt x="153" y="27"/>
                        <a:pt x="153" y="27"/>
                        <a:pt x="153" y="27"/>
                      </a:cubicBezTo>
                      <a:cubicBezTo>
                        <a:pt x="149" y="29"/>
                        <a:pt x="149" y="29"/>
                        <a:pt x="149" y="29"/>
                      </a:cubicBezTo>
                      <a:cubicBezTo>
                        <a:pt x="146" y="25"/>
                        <a:pt x="146" y="25"/>
                        <a:pt x="146" y="25"/>
                      </a:cubicBezTo>
                      <a:cubicBezTo>
                        <a:pt x="139" y="21"/>
                        <a:pt x="139" y="21"/>
                        <a:pt x="139" y="21"/>
                      </a:cubicBezTo>
                      <a:cubicBezTo>
                        <a:pt x="133" y="22"/>
                        <a:pt x="133" y="22"/>
                        <a:pt x="133" y="22"/>
                      </a:cubicBezTo>
                      <a:cubicBezTo>
                        <a:pt x="134" y="18"/>
                        <a:pt x="134" y="18"/>
                        <a:pt x="134" y="18"/>
                      </a:cubicBezTo>
                      <a:cubicBezTo>
                        <a:pt x="133" y="14"/>
                        <a:pt x="133" y="14"/>
                        <a:pt x="133" y="14"/>
                      </a:cubicBezTo>
                      <a:cubicBezTo>
                        <a:pt x="131" y="13"/>
                        <a:pt x="131" y="13"/>
                        <a:pt x="131" y="13"/>
                      </a:cubicBezTo>
                      <a:cubicBezTo>
                        <a:pt x="130" y="12"/>
                        <a:pt x="130" y="12"/>
                        <a:pt x="130" y="12"/>
                      </a:cubicBezTo>
                      <a:cubicBezTo>
                        <a:pt x="127" y="10"/>
                        <a:pt x="127" y="10"/>
                        <a:pt x="127" y="10"/>
                      </a:cubicBezTo>
                      <a:cubicBezTo>
                        <a:pt x="126" y="11"/>
                        <a:pt x="126" y="11"/>
                        <a:pt x="126" y="11"/>
                      </a:cubicBezTo>
                      <a:cubicBezTo>
                        <a:pt x="123" y="12"/>
                        <a:pt x="123" y="12"/>
                        <a:pt x="123" y="12"/>
                      </a:cubicBezTo>
                      <a:cubicBezTo>
                        <a:pt x="121" y="15"/>
                        <a:pt x="121" y="15"/>
                        <a:pt x="121" y="15"/>
                      </a:cubicBezTo>
                      <a:cubicBezTo>
                        <a:pt x="112" y="8"/>
                        <a:pt x="112" y="8"/>
                        <a:pt x="112" y="8"/>
                      </a:cubicBezTo>
                      <a:cubicBezTo>
                        <a:pt x="109" y="8"/>
                        <a:pt x="109" y="8"/>
                        <a:pt x="109" y="8"/>
                      </a:cubicBezTo>
                      <a:cubicBezTo>
                        <a:pt x="105" y="12"/>
                        <a:pt x="105" y="12"/>
                        <a:pt x="105" y="12"/>
                      </a:cubicBezTo>
                      <a:cubicBezTo>
                        <a:pt x="99" y="10"/>
                        <a:pt x="99" y="10"/>
                        <a:pt x="99" y="10"/>
                      </a:cubicBezTo>
                      <a:cubicBezTo>
                        <a:pt x="98" y="7"/>
                        <a:pt x="98" y="7"/>
                        <a:pt x="98" y="7"/>
                      </a:cubicBezTo>
                      <a:cubicBezTo>
                        <a:pt x="91" y="6"/>
                        <a:pt x="91" y="6"/>
                        <a:pt x="91" y="6"/>
                      </a:cubicBezTo>
                      <a:cubicBezTo>
                        <a:pt x="82" y="11"/>
                        <a:pt x="82" y="11"/>
                        <a:pt x="82" y="11"/>
                      </a:cubicBezTo>
                      <a:cubicBezTo>
                        <a:pt x="76" y="9"/>
                        <a:pt x="76" y="9"/>
                        <a:pt x="76" y="9"/>
                      </a:cubicBezTo>
                      <a:cubicBezTo>
                        <a:pt x="63" y="7"/>
                        <a:pt x="63" y="7"/>
                        <a:pt x="63" y="7"/>
                      </a:cubicBezTo>
                      <a:cubicBezTo>
                        <a:pt x="59" y="4"/>
                        <a:pt x="59" y="4"/>
                        <a:pt x="59" y="4"/>
                      </a:cubicBezTo>
                      <a:cubicBezTo>
                        <a:pt x="57" y="2"/>
                        <a:pt x="57" y="2"/>
                        <a:pt x="57" y="2"/>
                      </a:cubicBezTo>
                      <a:cubicBezTo>
                        <a:pt x="52" y="4"/>
                        <a:pt x="52" y="4"/>
                        <a:pt x="52" y="4"/>
                      </a:cubicBezTo>
                      <a:cubicBezTo>
                        <a:pt x="47" y="6"/>
                        <a:pt x="47" y="6"/>
                        <a:pt x="47" y="6"/>
                      </a:cubicBezTo>
                      <a:cubicBezTo>
                        <a:pt x="43" y="4"/>
                        <a:pt x="43" y="4"/>
                        <a:pt x="43" y="4"/>
                      </a:cubicBezTo>
                      <a:cubicBezTo>
                        <a:pt x="39" y="4"/>
                        <a:pt x="39" y="4"/>
                        <a:pt x="39" y="4"/>
                      </a:cubicBezTo>
                      <a:cubicBezTo>
                        <a:pt x="36" y="7"/>
                        <a:pt x="36" y="7"/>
                        <a:pt x="36" y="7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24" y="2"/>
                        <a:pt x="24" y="2"/>
                        <a:pt x="24" y="2"/>
                      </a:cubicBezTo>
                      <a:cubicBezTo>
                        <a:pt x="23" y="1"/>
                        <a:pt x="23" y="1"/>
                        <a:pt x="23" y="1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8"/>
                        <a:pt x="17" y="8"/>
                        <a:pt x="17" y="8"/>
                      </a:cubicBezTo>
                      <a:cubicBezTo>
                        <a:pt x="19" y="10"/>
                        <a:pt x="19" y="10"/>
                        <a:pt x="19" y="10"/>
                      </a:cubicBezTo>
                      <a:cubicBezTo>
                        <a:pt x="17" y="13"/>
                        <a:pt x="17" y="13"/>
                        <a:pt x="17" y="13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2" y="15"/>
                        <a:pt x="2" y="15"/>
                        <a:pt x="2" y="15"/>
                      </a:cubicBez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1" y="25"/>
                        <a:pt x="1" y="25"/>
                        <a:pt x="1" y="25"/>
                      </a:cubicBezTo>
                      <a:cubicBezTo>
                        <a:pt x="4" y="24"/>
                        <a:pt x="4" y="24"/>
                        <a:pt x="4" y="24"/>
                      </a:cubicBezTo>
                      <a:cubicBezTo>
                        <a:pt x="4" y="26"/>
                        <a:pt x="4" y="26"/>
                        <a:pt x="4" y="26"/>
                      </a:cubicBezTo>
                      <a:cubicBezTo>
                        <a:pt x="5" y="27"/>
                        <a:pt x="5" y="27"/>
                        <a:pt x="5" y="27"/>
                      </a:cubicBezTo>
                      <a:cubicBezTo>
                        <a:pt x="4" y="33"/>
                        <a:pt x="4" y="33"/>
                        <a:pt x="4" y="33"/>
                      </a:cubicBezTo>
                      <a:cubicBezTo>
                        <a:pt x="6" y="34"/>
                        <a:pt x="6" y="34"/>
                        <a:pt x="6" y="34"/>
                      </a:cubicBezTo>
                      <a:cubicBezTo>
                        <a:pt x="8" y="30"/>
                        <a:pt x="8" y="30"/>
                        <a:pt x="8" y="30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7" y="39"/>
                        <a:pt x="7" y="39"/>
                        <a:pt x="7" y="39"/>
                      </a:cubicBezTo>
                      <a:cubicBezTo>
                        <a:pt x="10" y="40"/>
                        <a:pt x="10" y="40"/>
                        <a:pt x="10" y="40"/>
                      </a:cubicBezTo>
                      <a:cubicBezTo>
                        <a:pt x="6" y="44"/>
                        <a:pt x="6" y="44"/>
                        <a:pt x="6" y="44"/>
                      </a:cubicBezTo>
                      <a:cubicBezTo>
                        <a:pt x="6" y="46"/>
                        <a:pt x="6" y="46"/>
                        <a:pt x="6" y="46"/>
                      </a:cubicBezTo>
                      <a:cubicBezTo>
                        <a:pt x="14" y="44"/>
                        <a:pt x="14" y="44"/>
                        <a:pt x="14" y="44"/>
                      </a:cubicBezTo>
                      <a:cubicBezTo>
                        <a:pt x="17" y="45"/>
                        <a:pt x="17" y="45"/>
                        <a:pt x="17" y="45"/>
                      </a:cubicBezTo>
                      <a:cubicBezTo>
                        <a:pt x="16" y="50"/>
                        <a:pt x="16" y="50"/>
                        <a:pt x="16" y="50"/>
                      </a:cubicBezTo>
                      <a:cubicBezTo>
                        <a:pt x="18" y="53"/>
                        <a:pt x="18" y="53"/>
                        <a:pt x="18" y="5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7" y="48"/>
                        <a:pt x="37" y="48"/>
                        <a:pt x="37" y="48"/>
                      </a:cubicBezTo>
                      <a:cubicBezTo>
                        <a:pt x="46" y="49"/>
                        <a:pt x="46" y="49"/>
                        <a:pt x="46" y="49"/>
                      </a:cubicBezTo>
                      <a:cubicBezTo>
                        <a:pt x="47" y="54"/>
                        <a:pt x="47" y="54"/>
                        <a:pt x="47" y="54"/>
                      </a:cubicBezTo>
                      <a:cubicBezTo>
                        <a:pt x="50" y="61"/>
                        <a:pt x="50" y="61"/>
                        <a:pt x="50" y="61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47" y="65"/>
                        <a:pt x="47" y="65"/>
                        <a:pt x="47" y="65"/>
                      </a:cubicBezTo>
                      <a:cubicBezTo>
                        <a:pt x="40" y="73"/>
                        <a:pt x="40" y="73"/>
                        <a:pt x="40" y="73"/>
                      </a:cubicBezTo>
                      <a:cubicBezTo>
                        <a:pt x="41" y="79"/>
                        <a:pt x="41" y="79"/>
                        <a:pt x="41" y="79"/>
                      </a:cubicBezTo>
                      <a:cubicBezTo>
                        <a:pt x="40" y="93"/>
                        <a:pt x="40" y="93"/>
                        <a:pt x="40" y="93"/>
                      </a:cubicBezTo>
                      <a:cubicBezTo>
                        <a:pt x="36" y="97"/>
                        <a:pt x="36" y="97"/>
                        <a:pt x="36" y="97"/>
                      </a:cubicBezTo>
                      <a:cubicBezTo>
                        <a:pt x="39" y="101"/>
                        <a:pt x="39" y="101"/>
                        <a:pt x="39" y="101"/>
                      </a:cubicBez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31" y="108"/>
                        <a:pt x="31" y="108"/>
                        <a:pt x="31" y="108"/>
                      </a:cubicBezTo>
                      <a:cubicBezTo>
                        <a:pt x="27" y="110"/>
                        <a:pt x="27" y="110"/>
                        <a:pt x="27" y="110"/>
                      </a:cubicBezTo>
                      <a:cubicBezTo>
                        <a:pt x="32" y="120"/>
                        <a:pt x="32" y="120"/>
                        <a:pt x="32" y="120"/>
                      </a:cubicBezTo>
                      <a:cubicBezTo>
                        <a:pt x="36" y="123"/>
                        <a:pt x="36" y="123"/>
                        <a:pt x="36" y="123"/>
                      </a:cubicBezTo>
                      <a:cubicBezTo>
                        <a:pt x="36" y="132"/>
                        <a:pt x="36" y="132"/>
                        <a:pt x="36" y="132"/>
                      </a:cubicBezTo>
                      <a:cubicBezTo>
                        <a:pt x="30" y="139"/>
                        <a:pt x="30" y="139"/>
                        <a:pt x="30" y="139"/>
                      </a:cubicBezTo>
                      <a:cubicBezTo>
                        <a:pt x="33" y="146"/>
                        <a:pt x="33" y="146"/>
                        <a:pt x="33" y="146"/>
                      </a:cubicBezTo>
                      <a:cubicBezTo>
                        <a:pt x="37" y="146"/>
                        <a:pt x="37" y="146"/>
                        <a:pt x="37" y="146"/>
                      </a:cubicBezTo>
                      <a:cubicBezTo>
                        <a:pt x="36" y="150"/>
                        <a:pt x="36" y="150"/>
                        <a:pt x="36" y="150"/>
                      </a:cubicBezTo>
                      <a:cubicBezTo>
                        <a:pt x="32" y="154"/>
                        <a:pt x="32" y="154"/>
                        <a:pt x="32" y="154"/>
                      </a:cubicBezTo>
                      <a:cubicBezTo>
                        <a:pt x="28" y="164"/>
                        <a:pt x="28" y="164"/>
                        <a:pt x="28" y="164"/>
                      </a:cubicBezTo>
                      <a:cubicBezTo>
                        <a:pt x="30" y="169"/>
                        <a:pt x="30" y="169"/>
                        <a:pt x="30" y="169"/>
                      </a:cubicBezTo>
                      <a:cubicBezTo>
                        <a:pt x="30" y="174"/>
                        <a:pt x="30" y="174"/>
                        <a:pt x="30" y="174"/>
                      </a:cubicBezTo>
                      <a:cubicBezTo>
                        <a:pt x="33" y="175"/>
                        <a:pt x="33" y="175"/>
                        <a:pt x="33" y="175"/>
                      </a:cubicBezTo>
                      <a:cubicBezTo>
                        <a:pt x="39" y="176"/>
                        <a:pt x="39" y="176"/>
                        <a:pt x="39" y="176"/>
                      </a:cubicBezTo>
                      <a:cubicBezTo>
                        <a:pt x="46" y="184"/>
                        <a:pt x="46" y="184"/>
                        <a:pt x="46" y="184"/>
                      </a:cubicBezTo>
                      <a:cubicBezTo>
                        <a:pt x="45" y="186"/>
                        <a:pt x="45" y="186"/>
                        <a:pt x="45" y="186"/>
                      </a:cubicBezTo>
                      <a:cubicBezTo>
                        <a:pt x="49" y="196"/>
                        <a:pt x="49" y="196"/>
                        <a:pt x="49" y="196"/>
                      </a:cubicBezTo>
                      <a:cubicBezTo>
                        <a:pt x="55" y="203"/>
                        <a:pt x="55" y="203"/>
                        <a:pt x="55" y="203"/>
                      </a:cubicBezTo>
                      <a:cubicBezTo>
                        <a:pt x="61" y="204"/>
                        <a:pt x="61" y="204"/>
                        <a:pt x="61" y="204"/>
                      </a:cubicBezTo>
                      <a:cubicBezTo>
                        <a:pt x="66" y="201"/>
                        <a:pt x="66" y="201"/>
                        <a:pt x="66" y="201"/>
                      </a:cubicBezTo>
                      <a:cubicBezTo>
                        <a:pt x="66" y="197"/>
                        <a:pt x="66" y="197"/>
                        <a:pt x="66" y="197"/>
                      </a:cubicBezTo>
                      <a:cubicBezTo>
                        <a:pt x="69" y="194"/>
                        <a:pt x="69" y="194"/>
                        <a:pt x="69" y="194"/>
                      </a:cubicBezTo>
                      <a:cubicBezTo>
                        <a:pt x="76" y="193"/>
                        <a:pt x="76" y="193"/>
                        <a:pt x="76" y="193"/>
                      </a:cubicBezTo>
                      <a:cubicBezTo>
                        <a:pt x="81" y="187"/>
                        <a:pt x="81" y="187"/>
                        <a:pt x="81" y="187"/>
                      </a:cubicBezTo>
                      <a:cubicBezTo>
                        <a:pt x="88" y="186"/>
                        <a:pt x="88" y="186"/>
                        <a:pt x="88" y="186"/>
                      </a:cubicBezTo>
                      <a:cubicBezTo>
                        <a:pt x="91" y="184"/>
                        <a:pt x="91" y="184"/>
                        <a:pt x="91" y="184"/>
                      </a:cubicBezTo>
                      <a:cubicBezTo>
                        <a:pt x="98" y="186"/>
                        <a:pt x="98" y="186"/>
                        <a:pt x="98" y="186"/>
                      </a:cubicBezTo>
                      <a:cubicBezTo>
                        <a:pt x="103" y="187"/>
                        <a:pt x="103" y="187"/>
                        <a:pt x="103" y="187"/>
                      </a:cubicBezTo>
                      <a:cubicBezTo>
                        <a:pt x="105" y="185"/>
                        <a:pt x="105" y="185"/>
                        <a:pt x="105" y="185"/>
                      </a:cubicBezTo>
                      <a:cubicBezTo>
                        <a:pt x="108" y="185"/>
                        <a:pt x="108" y="185"/>
                        <a:pt x="108" y="185"/>
                      </a:cubicBezTo>
                      <a:cubicBezTo>
                        <a:pt x="111" y="188"/>
                        <a:pt x="111" y="188"/>
                        <a:pt x="111" y="188"/>
                      </a:cubicBezTo>
                      <a:cubicBezTo>
                        <a:pt x="114" y="185"/>
                        <a:pt x="114" y="185"/>
                        <a:pt x="114" y="185"/>
                      </a:cubicBezTo>
                      <a:cubicBezTo>
                        <a:pt x="115" y="181"/>
                        <a:pt x="115" y="181"/>
                        <a:pt x="115" y="181"/>
                      </a:cubicBezTo>
                      <a:cubicBezTo>
                        <a:pt x="119" y="185"/>
                        <a:pt x="119" y="185"/>
                        <a:pt x="119" y="185"/>
                      </a:cubicBezTo>
                      <a:cubicBezTo>
                        <a:pt x="123" y="187"/>
                        <a:pt x="123" y="187"/>
                        <a:pt x="123" y="187"/>
                      </a:cubicBezTo>
                      <a:cubicBezTo>
                        <a:pt x="127" y="179"/>
                        <a:pt x="127" y="179"/>
                        <a:pt x="127" y="179"/>
                      </a:cubicBezTo>
                      <a:cubicBezTo>
                        <a:pt x="127" y="174"/>
                        <a:pt x="127" y="174"/>
                        <a:pt x="127" y="174"/>
                      </a:cubicBezTo>
                      <a:cubicBezTo>
                        <a:pt x="138" y="168"/>
                        <a:pt x="138" y="168"/>
                        <a:pt x="138" y="168"/>
                      </a:cubicBezTo>
                      <a:cubicBezTo>
                        <a:pt x="144" y="168"/>
                        <a:pt x="144" y="168"/>
                        <a:pt x="144" y="168"/>
                      </a:cubicBezTo>
                      <a:cubicBezTo>
                        <a:pt x="146" y="165"/>
                        <a:pt x="146" y="165"/>
                        <a:pt x="146" y="165"/>
                      </a:cubicBezTo>
                      <a:cubicBezTo>
                        <a:pt x="144" y="163"/>
                        <a:pt x="144" y="163"/>
                        <a:pt x="144" y="163"/>
                      </a:cubicBezTo>
                      <a:cubicBezTo>
                        <a:pt x="145" y="156"/>
                        <a:pt x="145" y="156"/>
                        <a:pt x="145" y="156"/>
                      </a:cubicBezTo>
                      <a:cubicBezTo>
                        <a:pt x="151" y="147"/>
                        <a:pt x="151" y="147"/>
                        <a:pt x="151" y="147"/>
                      </a:cubicBezTo>
                      <a:cubicBezTo>
                        <a:pt x="151" y="142"/>
                        <a:pt x="151" y="142"/>
                        <a:pt x="151" y="142"/>
                      </a:cubicBezTo>
                      <a:cubicBezTo>
                        <a:pt x="157" y="140"/>
                        <a:pt x="157" y="140"/>
                        <a:pt x="157" y="140"/>
                      </a:cubicBezTo>
                      <a:cubicBezTo>
                        <a:pt x="161" y="135"/>
                        <a:pt x="161" y="135"/>
                        <a:pt x="161" y="135"/>
                      </a:cubicBezTo>
                      <a:cubicBezTo>
                        <a:pt x="156" y="128"/>
                        <a:pt x="156" y="128"/>
                        <a:pt x="156" y="128"/>
                      </a:cubicBezTo>
                      <a:cubicBezTo>
                        <a:pt x="153" y="126"/>
                        <a:pt x="153" y="126"/>
                        <a:pt x="153" y="126"/>
                      </a:cubicBezTo>
                      <a:cubicBezTo>
                        <a:pt x="152" y="122"/>
                        <a:pt x="152" y="122"/>
                        <a:pt x="152" y="122"/>
                      </a:cubicBezTo>
                      <a:cubicBezTo>
                        <a:pt x="149" y="115"/>
                        <a:pt x="149" y="115"/>
                        <a:pt x="149" y="115"/>
                      </a:cubicBezTo>
                      <a:cubicBezTo>
                        <a:pt x="152" y="112"/>
                        <a:pt x="152" y="112"/>
                        <a:pt x="152" y="112"/>
                      </a:cubicBezTo>
                      <a:cubicBezTo>
                        <a:pt x="159" y="98"/>
                        <a:pt x="159" y="98"/>
                        <a:pt x="159" y="98"/>
                      </a:cubicBezTo>
                      <a:cubicBezTo>
                        <a:pt x="162" y="96"/>
                        <a:pt x="162" y="96"/>
                        <a:pt x="162" y="96"/>
                      </a:cubicBezTo>
                      <a:cubicBezTo>
                        <a:pt x="167" y="85"/>
                        <a:pt x="167" y="85"/>
                        <a:pt x="167" y="85"/>
                      </a:cubicBezTo>
                      <a:cubicBezTo>
                        <a:pt x="169" y="86"/>
                        <a:pt x="169" y="86"/>
                        <a:pt x="169" y="86"/>
                      </a:cubicBezTo>
                      <a:cubicBezTo>
                        <a:pt x="169" y="87"/>
                        <a:pt x="169" y="87"/>
                        <a:pt x="169" y="87"/>
                      </a:cubicBezTo>
                      <a:cubicBezTo>
                        <a:pt x="169" y="87"/>
                        <a:pt x="169" y="87"/>
                        <a:pt x="169" y="87"/>
                      </a:cubicBezTo>
                      <a:cubicBezTo>
                        <a:pt x="172" y="85"/>
                        <a:pt x="172" y="85"/>
                        <a:pt x="172" y="85"/>
                      </a:cubicBezTo>
                      <a:cubicBezTo>
                        <a:pt x="173" y="80"/>
                        <a:pt x="173" y="80"/>
                        <a:pt x="173" y="80"/>
                      </a:cubicBezTo>
                      <a:cubicBezTo>
                        <a:pt x="171" y="78"/>
                        <a:pt x="171" y="78"/>
                        <a:pt x="171" y="78"/>
                      </a:cubicBezTo>
                      <a:cubicBezTo>
                        <a:pt x="175" y="76"/>
                        <a:pt x="175" y="76"/>
                        <a:pt x="175" y="76"/>
                      </a:cubicBezTo>
                      <a:cubicBezTo>
                        <a:pt x="179" y="72"/>
                        <a:pt x="179" y="72"/>
                        <a:pt x="179" y="72"/>
                      </a:cubicBezTo>
                      <a:cubicBezTo>
                        <a:pt x="186" y="72"/>
                        <a:pt x="186" y="72"/>
                        <a:pt x="186" y="72"/>
                      </a:cubicBezTo>
                      <a:cubicBezTo>
                        <a:pt x="186" y="72"/>
                        <a:pt x="192" y="69"/>
                        <a:pt x="192" y="69"/>
                      </a:cubicBezTo>
                      <a:cubicBezTo>
                        <a:pt x="192" y="69"/>
                        <a:pt x="195" y="65"/>
                        <a:pt x="195" y="65"/>
                      </a:cubicBezTo>
                      <a:cubicBezTo>
                        <a:pt x="202" y="60"/>
                        <a:pt x="202" y="60"/>
                        <a:pt x="202" y="60"/>
                      </a:cubicBezTo>
                      <a:cubicBezTo>
                        <a:pt x="204" y="55"/>
                        <a:pt x="204" y="55"/>
                        <a:pt x="204" y="55"/>
                      </a:cubicBezTo>
                      <a:cubicBezTo>
                        <a:pt x="204" y="50"/>
                        <a:pt x="204" y="50"/>
                        <a:pt x="204" y="50"/>
                      </a:cubicBezTo>
                      <a:cubicBezTo>
                        <a:pt x="203" y="43"/>
                        <a:pt x="203" y="43"/>
                        <a:pt x="203" y="43"/>
                      </a:cubicBezTo>
                      <a:cubicBezTo>
                        <a:pt x="206" y="41"/>
                        <a:pt x="206" y="41"/>
                        <a:pt x="206" y="41"/>
                      </a:cubicBezTo>
                      <a:cubicBezTo>
                        <a:pt x="206" y="38"/>
                        <a:pt x="206" y="38"/>
                        <a:pt x="206" y="38"/>
                      </a:cubicBezTo>
                      <a:cubicBezTo>
                        <a:pt x="204" y="37"/>
                        <a:pt x="204" y="37"/>
                        <a:pt x="204" y="37"/>
                      </a:cubicBezTo>
                      <a:lnTo>
                        <a:pt x="198" y="33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31" name="Freeform 733">
                  <a:extLst>
                    <a:ext uri="{FF2B5EF4-FFF2-40B4-BE49-F238E27FC236}">
                      <a16:creationId xmlns:a16="http://schemas.microsoft.com/office/drawing/2014/main" id="{A60C2CCB-2A81-4EFA-B031-260281B7F8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39" y="2090"/>
                  <a:ext cx="10" cy="9"/>
                </a:xfrm>
                <a:custGeom>
                  <a:avLst/>
                  <a:gdLst>
                    <a:gd name="T0" fmla="*/ 6 w 10"/>
                    <a:gd name="T1" fmla="*/ 9 h 9"/>
                    <a:gd name="T2" fmla="*/ 7 w 10"/>
                    <a:gd name="T3" fmla="*/ 4 h 9"/>
                    <a:gd name="T4" fmla="*/ 10 w 10"/>
                    <a:gd name="T5" fmla="*/ 1 h 9"/>
                    <a:gd name="T6" fmla="*/ 7 w 10"/>
                    <a:gd name="T7" fmla="*/ 0 h 9"/>
                    <a:gd name="T8" fmla="*/ 4 w 10"/>
                    <a:gd name="T9" fmla="*/ 0 h 9"/>
                    <a:gd name="T10" fmla="*/ 1 w 10"/>
                    <a:gd name="T11" fmla="*/ 2 h 9"/>
                    <a:gd name="T12" fmla="*/ 0 w 10"/>
                    <a:gd name="T13" fmla="*/ 5 h 9"/>
                    <a:gd name="T14" fmla="*/ 4 w 10"/>
                    <a:gd name="T15" fmla="*/ 7 h 9"/>
                    <a:gd name="T16" fmla="*/ 6 w 10"/>
                    <a:gd name="T17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" h="9">
                      <a:moveTo>
                        <a:pt x="6" y="9"/>
                      </a:moveTo>
                      <a:lnTo>
                        <a:pt x="7" y="4"/>
                      </a:lnTo>
                      <a:lnTo>
                        <a:pt x="10" y="1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1" y="2"/>
                      </a:lnTo>
                      <a:lnTo>
                        <a:pt x="0" y="5"/>
                      </a:lnTo>
                      <a:lnTo>
                        <a:pt x="4" y="7"/>
                      </a:lnTo>
                      <a:lnTo>
                        <a:pt x="6" y="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32" name="Freeform 734">
                  <a:extLst>
                    <a:ext uri="{FF2B5EF4-FFF2-40B4-BE49-F238E27FC236}">
                      <a16:creationId xmlns:a16="http://schemas.microsoft.com/office/drawing/2014/main" id="{104F09FB-83F7-4511-AA7F-79B4038815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81" y="2039"/>
                  <a:ext cx="44" cy="106"/>
                </a:xfrm>
                <a:custGeom>
                  <a:avLst/>
                  <a:gdLst>
                    <a:gd name="T0" fmla="*/ 30 w 44"/>
                    <a:gd name="T1" fmla="*/ 85 h 106"/>
                    <a:gd name="T2" fmla="*/ 34 w 44"/>
                    <a:gd name="T3" fmla="*/ 79 h 106"/>
                    <a:gd name="T4" fmla="*/ 28 w 44"/>
                    <a:gd name="T5" fmla="*/ 74 h 106"/>
                    <a:gd name="T6" fmla="*/ 33 w 44"/>
                    <a:gd name="T7" fmla="*/ 61 h 106"/>
                    <a:gd name="T8" fmla="*/ 26 w 44"/>
                    <a:gd name="T9" fmla="*/ 51 h 106"/>
                    <a:gd name="T10" fmla="*/ 32 w 44"/>
                    <a:gd name="T11" fmla="*/ 51 h 106"/>
                    <a:gd name="T12" fmla="*/ 33 w 44"/>
                    <a:gd name="T13" fmla="*/ 41 h 106"/>
                    <a:gd name="T14" fmla="*/ 37 w 44"/>
                    <a:gd name="T15" fmla="*/ 27 h 106"/>
                    <a:gd name="T16" fmla="*/ 41 w 44"/>
                    <a:gd name="T17" fmla="*/ 16 h 106"/>
                    <a:gd name="T18" fmla="*/ 44 w 44"/>
                    <a:gd name="T19" fmla="*/ 13 h 106"/>
                    <a:gd name="T20" fmla="*/ 40 w 44"/>
                    <a:gd name="T21" fmla="*/ 4 h 106"/>
                    <a:gd name="T22" fmla="*/ 31 w 44"/>
                    <a:gd name="T23" fmla="*/ 6 h 106"/>
                    <a:gd name="T24" fmla="*/ 19 w 44"/>
                    <a:gd name="T25" fmla="*/ 7 h 106"/>
                    <a:gd name="T26" fmla="*/ 18 w 44"/>
                    <a:gd name="T27" fmla="*/ 1 h 106"/>
                    <a:gd name="T28" fmla="*/ 9 w 44"/>
                    <a:gd name="T29" fmla="*/ 2 h 106"/>
                    <a:gd name="T30" fmla="*/ 12 w 44"/>
                    <a:gd name="T31" fmla="*/ 11 h 106"/>
                    <a:gd name="T32" fmla="*/ 11 w 44"/>
                    <a:gd name="T33" fmla="*/ 23 h 106"/>
                    <a:gd name="T34" fmla="*/ 13 w 44"/>
                    <a:gd name="T35" fmla="*/ 30 h 106"/>
                    <a:gd name="T36" fmla="*/ 9 w 44"/>
                    <a:gd name="T37" fmla="*/ 37 h 106"/>
                    <a:gd name="T38" fmla="*/ 6 w 44"/>
                    <a:gd name="T39" fmla="*/ 48 h 106"/>
                    <a:gd name="T40" fmla="*/ 2 w 44"/>
                    <a:gd name="T41" fmla="*/ 58 h 106"/>
                    <a:gd name="T42" fmla="*/ 0 w 44"/>
                    <a:gd name="T43" fmla="*/ 71 h 106"/>
                    <a:gd name="T44" fmla="*/ 4 w 44"/>
                    <a:gd name="T45" fmla="*/ 68 h 106"/>
                    <a:gd name="T46" fmla="*/ 6 w 44"/>
                    <a:gd name="T47" fmla="*/ 68 h 106"/>
                    <a:gd name="T48" fmla="*/ 3 w 44"/>
                    <a:gd name="T49" fmla="*/ 72 h 106"/>
                    <a:gd name="T50" fmla="*/ 4 w 44"/>
                    <a:gd name="T51" fmla="*/ 78 h 106"/>
                    <a:gd name="T52" fmla="*/ 10 w 44"/>
                    <a:gd name="T53" fmla="*/ 75 h 106"/>
                    <a:gd name="T54" fmla="*/ 9 w 44"/>
                    <a:gd name="T55" fmla="*/ 82 h 106"/>
                    <a:gd name="T56" fmla="*/ 9 w 44"/>
                    <a:gd name="T57" fmla="*/ 95 h 106"/>
                    <a:gd name="T58" fmla="*/ 6 w 44"/>
                    <a:gd name="T59" fmla="*/ 103 h 106"/>
                    <a:gd name="T60" fmla="*/ 11 w 44"/>
                    <a:gd name="T61" fmla="*/ 101 h 106"/>
                    <a:gd name="T62" fmla="*/ 20 w 44"/>
                    <a:gd name="T63" fmla="*/ 106 h 106"/>
                    <a:gd name="T64" fmla="*/ 27 w 44"/>
                    <a:gd name="T65" fmla="*/ 102 h 106"/>
                    <a:gd name="T66" fmla="*/ 28 w 44"/>
                    <a:gd name="T67" fmla="*/ 101 h 106"/>
                    <a:gd name="T68" fmla="*/ 27 w 44"/>
                    <a:gd name="T69" fmla="*/ 93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44" h="106">
                      <a:moveTo>
                        <a:pt x="27" y="93"/>
                      </a:moveTo>
                      <a:lnTo>
                        <a:pt x="30" y="85"/>
                      </a:lnTo>
                      <a:lnTo>
                        <a:pt x="33" y="82"/>
                      </a:lnTo>
                      <a:lnTo>
                        <a:pt x="34" y="79"/>
                      </a:lnTo>
                      <a:lnTo>
                        <a:pt x="30" y="79"/>
                      </a:lnTo>
                      <a:lnTo>
                        <a:pt x="28" y="74"/>
                      </a:lnTo>
                      <a:lnTo>
                        <a:pt x="33" y="68"/>
                      </a:lnTo>
                      <a:lnTo>
                        <a:pt x="33" y="61"/>
                      </a:lnTo>
                      <a:lnTo>
                        <a:pt x="30" y="59"/>
                      </a:lnTo>
                      <a:lnTo>
                        <a:pt x="26" y="51"/>
                      </a:lnTo>
                      <a:lnTo>
                        <a:pt x="29" y="50"/>
                      </a:lnTo>
                      <a:lnTo>
                        <a:pt x="32" y="51"/>
                      </a:lnTo>
                      <a:lnTo>
                        <a:pt x="35" y="44"/>
                      </a:lnTo>
                      <a:lnTo>
                        <a:pt x="33" y="41"/>
                      </a:lnTo>
                      <a:lnTo>
                        <a:pt x="36" y="38"/>
                      </a:lnTo>
                      <a:lnTo>
                        <a:pt x="37" y="27"/>
                      </a:lnTo>
                      <a:lnTo>
                        <a:pt x="36" y="23"/>
                      </a:lnTo>
                      <a:lnTo>
                        <a:pt x="41" y="16"/>
                      </a:lnTo>
                      <a:lnTo>
                        <a:pt x="43" y="16"/>
                      </a:lnTo>
                      <a:lnTo>
                        <a:pt x="44" y="13"/>
                      </a:lnTo>
                      <a:lnTo>
                        <a:pt x="41" y="8"/>
                      </a:lnTo>
                      <a:lnTo>
                        <a:pt x="40" y="4"/>
                      </a:lnTo>
                      <a:lnTo>
                        <a:pt x="34" y="3"/>
                      </a:lnTo>
                      <a:lnTo>
                        <a:pt x="31" y="6"/>
                      </a:lnTo>
                      <a:lnTo>
                        <a:pt x="23" y="4"/>
                      </a:lnTo>
                      <a:lnTo>
                        <a:pt x="19" y="7"/>
                      </a:lnTo>
                      <a:lnTo>
                        <a:pt x="17" y="5"/>
                      </a:lnTo>
                      <a:lnTo>
                        <a:pt x="18" y="1"/>
                      </a:lnTo>
                      <a:lnTo>
                        <a:pt x="16" y="0"/>
                      </a:lnTo>
                      <a:lnTo>
                        <a:pt x="9" y="2"/>
                      </a:lnTo>
                      <a:lnTo>
                        <a:pt x="9" y="5"/>
                      </a:lnTo>
                      <a:lnTo>
                        <a:pt x="12" y="11"/>
                      </a:lnTo>
                      <a:lnTo>
                        <a:pt x="11" y="21"/>
                      </a:lnTo>
                      <a:lnTo>
                        <a:pt x="11" y="23"/>
                      </a:lnTo>
                      <a:lnTo>
                        <a:pt x="10" y="28"/>
                      </a:lnTo>
                      <a:lnTo>
                        <a:pt x="13" y="30"/>
                      </a:lnTo>
                      <a:lnTo>
                        <a:pt x="11" y="33"/>
                      </a:lnTo>
                      <a:lnTo>
                        <a:pt x="9" y="37"/>
                      </a:lnTo>
                      <a:lnTo>
                        <a:pt x="9" y="43"/>
                      </a:lnTo>
                      <a:lnTo>
                        <a:pt x="6" y="48"/>
                      </a:lnTo>
                      <a:lnTo>
                        <a:pt x="6" y="51"/>
                      </a:lnTo>
                      <a:lnTo>
                        <a:pt x="2" y="58"/>
                      </a:lnTo>
                      <a:lnTo>
                        <a:pt x="0" y="68"/>
                      </a:lnTo>
                      <a:lnTo>
                        <a:pt x="0" y="71"/>
                      </a:lnTo>
                      <a:lnTo>
                        <a:pt x="3" y="71"/>
                      </a:lnTo>
                      <a:lnTo>
                        <a:pt x="4" y="68"/>
                      </a:lnTo>
                      <a:lnTo>
                        <a:pt x="7" y="66"/>
                      </a:lnTo>
                      <a:lnTo>
                        <a:pt x="6" y="68"/>
                      </a:lnTo>
                      <a:lnTo>
                        <a:pt x="7" y="70"/>
                      </a:lnTo>
                      <a:lnTo>
                        <a:pt x="3" y="72"/>
                      </a:lnTo>
                      <a:lnTo>
                        <a:pt x="3" y="76"/>
                      </a:lnTo>
                      <a:lnTo>
                        <a:pt x="4" y="78"/>
                      </a:lnTo>
                      <a:lnTo>
                        <a:pt x="6" y="75"/>
                      </a:lnTo>
                      <a:lnTo>
                        <a:pt x="10" y="75"/>
                      </a:lnTo>
                      <a:lnTo>
                        <a:pt x="9" y="78"/>
                      </a:lnTo>
                      <a:lnTo>
                        <a:pt x="9" y="82"/>
                      </a:lnTo>
                      <a:lnTo>
                        <a:pt x="8" y="86"/>
                      </a:lnTo>
                      <a:lnTo>
                        <a:pt x="9" y="95"/>
                      </a:lnTo>
                      <a:lnTo>
                        <a:pt x="7" y="102"/>
                      </a:lnTo>
                      <a:lnTo>
                        <a:pt x="6" y="103"/>
                      </a:lnTo>
                      <a:lnTo>
                        <a:pt x="7" y="104"/>
                      </a:lnTo>
                      <a:lnTo>
                        <a:pt x="11" y="101"/>
                      </a:lnTo>
                      <a:lnTo>
                        <a:pt x="17" y="103"/>
                      </a:lnTo>
                      <a:lnTo>
                        <a:pt x="20" y="106"/>
                      </a:lnTo>
                      <a:lnTo>
                        <a:pt x="24" y="102"/>
                      </a:lnTo>
                      <a:lnTo>
                        <a:pt x="27" y="102"/>
                      </a:lnTo>
                      <a:lnTo>
                        <a:pt x="28" y="101"/>
                      </a:lnTo>
                      <a:lnTo>
                        <a:pt x="28" y="101"/>
                      </a:lnTo>
                      <a:lnTo>
                        <a:pt x="28" y="97"/>
                      </a:lnTo>
                      <a:lnTo>
                        <a:pt x="27" y="9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33" name="Freeform 735">
                  <a:extLst>
                    <a:ext uri="{FF2B5EF4-FFF2-40B4-BE49-F238E27FC236}">
                      <a16:creationId xmlns:a16="http://schemas.microsoft.com/office/drawing/2014/main" id="{0E872DD0-03B3-4335-8433-945DF34606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1" y="2152"/>
                  <a:ext cx="4" cy="3"/>
                </a:xfrm>
                <a:custGeom>
                  <a:avLst/>
                  <a:gdLst>
                    <a:gd name="T0" fmla="*/ 1 w 5"/>
                    <a:gd name="T1" fmla="*/ 4 h 4"/>
                    <a:gd name="T2" fmla="*/ 4 w 5"/>
                    <a:gd name="T3" fmla="*/ 3 h 4"/>
                    <a:gd name="T4" fmla="*/ 5 w 5"/>
                    <a:gd name="T5" fmla="*/ 0 h 4"/>
                    <a:gd name="T6" fmla="*/ 3 w 5"/>
                    <a:gd name="T7" fmla="*/ 0 h 4"/>
                    <a:gd name="T8" fmla="*/ 0 w 5"/>
                    <a:gd name="T9" fmla="*/ 1 h 4"/>
                    <a:gd name="T10" fmla="*/ 0 w 5"/>
                    <a:gd name="T11" fmla="*/ 3 h 4"/>
                    <a:gd name="T12" fmla="*/ 1 w 5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1" y="4"/>
                      </a:moveTo>
                      <a:cubicBezTo>
                        <a:pt x="1" y="4"/>
                        <a:pt x="4" y="3"/>
                        <a:pt x="4" y="3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3"/>
                        <a:pt x="0" y="3"/>
                        <a:pt x="0" y="3"/>
                      </a:cubicBezTo>
                      <a:lnTo>
                        <a:pt x="1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34" name="Freeform 736">
                  <a:extLst>
                    <a:ext uri="{FF2B5EF4-FFF2-40B4-BE49-F238E27FC236}">
                      <a16:creationId xmlns:a16="http://schemas.microsoft.com/office/drawing/2014/main" id="{91C9FD3A-98B2-407D-B6F8-E2DAD6B939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32" y="2066"/>
                  <a:ext cx="4" cy="4"/>
                </a:xfrm>
                <a:custGeom>
                  <a:avLst/>
                  <a:gdLst>
                    <a:gd name="T0" fmla="*/ 2 w 4"/>
                    <a:gd name="T1" fmla="*/ 0 h 4"/>
                    <a:gd name="T2" fmla="*/ 1 w 4"/>
                    <a:gd name="T3" fmla="*/ 1 h 4"/>
                    <a:gd name="T4" fmla="*/ 0 w 4"/>
                    <a:gd name="T5" fmla="*/ 4 h 4"/>
                    <a:gd name="T6" fmla="*/ 2 w 4"/>
                    <a:gd name="T7" fmla="*/ 4 h 4"/>
                    <a:gd name="T8" fmla="*/ 2 w 4"/>
                    <a:gd name="T9" fmla="*/ 4 h 4"/>
                    <a:gd name="T10" fmla="*/ 4 w 4"/>
                    <a:gd name="T11" fmla="*/ 3 h 4"/>
                    <a:gd name="T12" fmla="*/ 4 w 4"/>
                    <a:gd name="T13" fmla="*/ 2 h 4"/>
                    <a:gd name="T14" fmla="*/ 2 w 4"/>
                    <a:gd name="T1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4">
                      <a:moveTo>
                        <a:pt x="2" y="0"/>
                      </a:moveTo>
                      <a:lnTo>
                        <a:pt x="1" y="1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35" name="Freeform 737">
                  <a:extLst>
                    <a:ext uri="{FF2B5EF4-FFF2-40B4-BE49-F238E27FC236}">
                      <a16:creationId xmlns:a16="http://schemas.microsoft.com/office/drawing/2014/main" id="{B89FB9CD-F42A-4FF8-ABFE-3948A984B2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1" y="2129"/>
                  <a:ext cx="7" cy="5"/>
                </a:xfrm>
                <a:custGeom>
                  <a:avLst/>
                  <a:gdLst>
                    <a:gd name="T0" fmla="*/ 3 w 7"/>
                    <a:gd name="T1" fmla="*/ 3 h 5"/>
                    <a:gd name="T2" fmla="*/ 4 w 7"/>
                    <a:gd name="T3" fmla="*/ 5 h 5"/>
                    <a:gd name="T4" fmla="*/ 5 w 7"/>
                    <a:gd name="T5" fmla="*/ 5 h 5"/>
                    <a:gd name="T6" fmla="*/ 6 w 7"/>
                    <a:gd name="T7" fmla="*/ 4 h 5"/>
                    <a:gd name="T8" fmla="*/ 7 w 7"/>
                    <a:gd name="T9" fmla="*/ 2 h 5"/>
                    <a:gd name="T10" fmla="*/ 7 w 7"/>
                    <a:gd name="T11" fmla="*/ 2 h 5"/>
                    <a:gd name="T12" fmla="*/ 7 w 7"/>
                    <a:gd name="T13" fmla="*/ 2 h 5"/>
                    <a:gd name="T14" fmla="*/ 6 w 7"/>
                    <a:gd name="T15" fmla="*/ 2 h 5"/>
                    <a:gd name="T16" fmla="*/ 4 w 7"/>
                    <a:gd name="T17" fmla="*/ 0 h 5"/>
                    <a:gd name="T18" fmla="*/ 3 w 7"/>
                    <a:gd name="T19" fmla="*/ 0 h 5"/>
                    <a:gd name="T20" fmla="*/ 0 w 7"/>
                    <a:gd name="T21" fmla="*/ 2 h 5"/>
                    <a:gd name="T22" fmla="*/ 0 w 7"/>
                    <a:gd name="T23" fmla="*/ 4 h 5"/>
                    <a:gd name="T24" fmla="*/ 1 w 7"/>
                    <a:gd name="T25" fmla="*/ 3 h 5"/>
                    <a:gd name="T26" fmla="*/ 3 w 7"/>
                    <a:gd name="T2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" h="5">
                      <a:moveTo>
                        <a:pt x="3" y="3"/>
                      </a:moveTo>
                      <a:lnTo>
                        <a:pt x="4" y="5"/>
                      </a:ln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7" y="2"/>
                      </a:lnTo>
                      <a:lnTo>
                        <a:pt x="7" y="2"/>
                      </a:lnTo>
                      <a:lnTo>
                        <a:pt x="7" y="2"/>
                      </a:lnTo>
                      <a:lnTo>
                        <a:pt x="6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1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36" name="Freeform 738">
                  <a:extLst>
                    <a:ext uri="{FF2B5EF4-FFF2-40B4-BE49-F238E27FC236}">
                      <a16:creationId xmlns:a16="http://schemas.microsoft.com/office/drawing/2014/main" id="{6D5EBCB4-E1B9-4575-9E60-150F5A9FC7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34" y="2138"/>
                  <a:ext cx="1" cy="3"/>
                </a:xfrm>
                <a:custGeom>
                  <a:avLst/>
                  <a:gdLst>
                    <a:gd name="T0" fmla="*/ 0 w 2"/>
                    <a:gd name="T1" fmla="*/ 4 h 4"/>
                    <a:gd name="T2" fmla="*/ 2 w 2"/>
                    <a:gd name="T3" fmla="*/ 3 h 4"/>
                    <a:gd name="T4" fmla="*/ 2 w 2"/>
                    <a:gd name="T5" fmla="*/ 1 h 4"/>
                    <a:gd name="T6" fmla="*/ 0 w 2"/>
                    <a:gd name="T7" fmla="*/ 0 h 4"/>
                    <a:gd name="T8" fmla="*/ 0 w 2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4">
                      <a:moveTo>
                        <a:pt x="0" y="4"/>
                      </a:moveTo>
                      <a:cubicBezTo>
                        <a:pt x="0" y="4"/>
                        <a:pt x="2" y="3"/>
                        <a:pt x="2" y="3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37" name="Freeform 739">
                  <a:extLst>
                    <a:ext uri="{FF2B5EF4-FFF2-40B4-BE49-F238E27FC236}">
                      <a16:creationId xmlns:a16="http://schemas.microsoft.com/office/drawing/2014/main" id="{BFED54C5-F0D5-4552-BC36-EA08CFD056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34" y="2152"/>
                  <a:ext cx="3" cy="3"/>
                </a:xfrm>
                <a:custGeom>
                  <a:avLst/>
                  <a:gdLst>
                    <a:gd name="T0" fmla="*/ 2 w 3"/>
                    <a:gd name="T1" fmla="*/ 2 h 3"/>
                    <a:gd name="T2" fmla="*/ 3 w 3"/>
                    <a:gd name="T3" fmla="*/ 0 h 3"/>
                    <a:gd name="T4" fmla="*/ 0 w 3"/>
                    <a:gd name="T5" fmla="*/ 0 h 3"/>
                    <a:gd name="T6" fmla="*/ 0 w 3"/>
                    <a:gd name="T7" fmla="*/ 3 h 3"/>
                    <a:gd name="T8" fmla="*/ 0 w 3"/>
                    <a:gd name="T9" fmla="*/ 3 h 3"/>
                    <a:gd name="T10" fmla="*/ 2 w 3"/>
                    <a:gd name="T11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3">
                      <a:moveTo>
                        <a:pt x="2" y="2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38" name="Freeform 740">
                  <a:extLst>
                    <a:ext uri="{FF2B5EF4-FFF2-40B4-BE49-F238E27FC236}">
                      <a16:creationId xmlns:a16="http://schemas.microsoft.com/office/drawing/2014/main" id="{ED1285C2-12FF-4412-B724-26291F196C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34" y="2143"/>
                  <a:ext cx="2" cy="2"/>
                </a:xfrm>
                <a:custGeom>
                  <a:avLst/>
                  <a:gdLst>
                    <a:gd name="T0" fmla="*/ 2 w 2"/>
                    <a:gd name="T1" fmla="*/ 2 h 2"/>
                    <a:gd name="T2" fmla="*/ 2 w 2"/>
                    <a:gd name="T3" fmla="*/ 0 h 2"/>
                    <a:gd name="T4" fmla="*/ 0 w 2"/>
                    <a:gd name="T5" fmla="*/ 1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39" name="Freeform 741">
                  <a:extLst>
                    <a:ext uri="{FF2B5EF4-FFF2-40B4-BE49-F238E27FC236}">
                      <a16:creationId xmlns:a16="http://schemas.microsoft.com/office/drawing/2014/main" id="{C6E014D9-4473-43C5-BF5D-396355F3AE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32" y="2135"/>
                  <a:ext cx="2" cy="2"/>
                </a:xfrm>
                <a:custGeom>
                  <a:avLst/>
                  <a:gdLst>
                    <a:gd name="T0" fmla="*/ 0 w 2"/>
                    <a:gd name="T1" fmla="*/ 1 h 2"/>
                    <a:gd name="T2" fmla="*/ 1 w 2"/>
                    <a:gd name="T3" fmla="*/ 2 h 2"/>
                    <a:gd name="T4" fmla="*/ 2 w 2"/>
                    <a:gd name="T5" fmla="*/ 1 h 2"/>
                    <a:gd name="T6" fmla="*/ 1 w 2"/>
                    <a:gd name="T7" fmla="*/ 0 h 2"/>
                    <a:gd name="T8" fmla="*/ 0 w 2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0" y="1"/>
                      </a:move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40" name="Freeform 742">
                  <a:extLst>
                    <a:ext uri="{FF2B5EF4-FFF2-40B4-BE49-F238E27FC236}">
                      <a16:creationId xmlns:a16="http://schemas.microsoft.com/office/drawing/2014/main" id="{269B6995-C3C1-4C29-A4F8-988039E1C4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0" y="2155"/>
                  <a:ext cx="9" cy="11"/>
                </a:xfrm>
                <a:custGeom>
                  <a:avLst/>
                  <a:gdLst>
                    <a:gd name="T0" fmla="*/ 7 w 9"/>
                    <a:gd name="T1" fmla="*/ 4 h 11"/>
                    <a:gd name="T2" fmla="*/ 8 w 9"/>
                    <a:gd name="T3" fmla="*/ 2 h 11"/>
                    <a:gd name="T4" fmla="*/ 9 w 9"/>
                    <a:gd name="T5" fmla="*/ 0 h 11"/>
                    <a:gd name="T6" fmla="*/ 6 w 9"/>
                    <a:gd name="T7" fmla="*/ 1 h 11"/>
                    <a:gd name="T8" fmla="*/ 3 w 9"/>
                    <a:gd name="T9" fmla="*/ 3 h 11"/>
                    <a:gd name="T10" fmla="*/ 0 w 9"/>
                    <a:gd name="T11" fmla="*/ 6 h 11"/>
                    <a:gd name="T12" fmla="*/ 0 w 9"/>
                    <a:gd name="T13" fmla="*/ 8 h 11"/>
                    <a:gd name="T14" fmla="*/ 0 w 9"/>
                    <a:gd name="T15" fmla="*/ 9 h 11"/>
                    <a:gd name="T16" fmla="*/ 0 w 9"/>
                    <a:gd name="T17" fmla="*/ 11 h 11"/>
                    <a:gd name="T18" fmla="*/ 1 w 9"/>
                    <a:gd name="T19" fmla="*/ 11 h 11"/>
                    <a:gd name="T20" fmla="*/ 2 w 9"/>
                    <a:gd name="T21" fmla="*/ 11 h 11"/>
                    <a:gd name="T22" fmla="*/ 3 w 9"/>
                    <a:gd name="T23" fmla="*/ 10 h 11"/>
                    <a:gd name="T24" fmla="*/ 5 w 9"/>
                    <a:gd name="T25" fmla="*/ 7 h 11"/>
                    <a:gd name="T26" fmla="*/ 6 w 9"/>
                    <a:gd name="T27" fmla="*/ 7 h 11"/>
                    <a:gd name="T28" fmla="*/ 5 w 9"/>
                    <a:gd name="T29" fmla="*/ 7 h 11"/>
                    <a:gd name="T30" fmla="*/ 6 w 9"/>
                    <a:gd name="T31" fmla="*/ 5 h 11"/>
                    <a:gd name="T32" fmla="*/ 7 w 9"/>
                    <a:gd name="T33" fmla="*/ 4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" h="11">
                      <a:moveTo>
                        <a:pt x="7" y="4"/>
                      </a:moveTo>
                      <a:lnTo>
                        <a:pt x="8" y="2"/>
                      </a:lnTo>
                      <a:lnTo>
                        <a:pt x="9" y="0"/>
                      </a:lnTo>
                      <a:lnTo>
                        <a:pt x="6" y="1"/>
                      </a:lnTo>
                      <a:lnTo>
                        <a:pt x="3" y="3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0" y="9"/>
                      </a:lnTo>
                      <a:lnTo>
                        <a:pt x="0" y="11"/>
                      </a:lnTo>
                      <a:lnTo>
                        <a:pt x="1" y="11"/>
                      </a:lnTo>
                      <a:lnTo>
                        <a:pt x="2" y="11"/>
                      </a:lnTo>
                      <a:lnTo>
                        <a:pt x="3" y="10"/>
                      </a:lnTo>
                      <a:lnTo>
                        <a:pt x="5" y="7"/>
                      </a:lnTo>
                      <a:lnTo>
                        <a:pt x="6" y="7"/>
                      </a:lnTo>
                      <a:lnTo>
                        <a:pt x="5" y="7"/>
                      </a:lnTo>
                      <a:lnTo>
                        <a:pt x="6" y="5"/>
                      </a:lnTo>
                      <a:lnTo>
                        <a:pt x="7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41" name="Freeform 743">
                  <a:extLst>
                    <a:ext uri="{FF2B5EF4-FFF2-40B4-BE49-F238E27FC236}">
                      <a16:creationId xmlns:a16="http://schemas.microsoft.com/office/drawing/2014/main" id="{38C06668-5B8B-49EA-99CA-B545CEDE05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4" y="2157"/>
                  <a:ext cx="3" cy="7"/>
                </a:xfrm>
                <a:custGeom>
                  <a:avLst/>
                  <a:gdLst>
                    <a:gd name="T0" fmla="*/ 1 w 3"/>
                    <a:gd name="T1" fmla="*/ 4 h 7"/>
                    <a:gd name="T2" fmla="*/ 1 w 3"/>
                    <a:gd name="T3" fmla="*/ 6 h 7"/>
                    <a:gd name="T4" fmla="*/ 2 w 3"/>
                    <a:gd name="T5" fmla="*/ 7 h 7"/>
                    <a:gd name="T6" fmla="*/ 3 w 3"/>
                    <a:gd name="T7" fmla="*/ 5 h 7"/>
                    <a:gd name="T8" fmla="*/ 2 w 3"/>
                    <a:gd name="T9" fmla="*/ 2 h 7"/>
                    <a:gd name="T10" fmla="*/ 2 w 3"/>
                    <a:gd name="T11" fmla="*/ 0 h 7"/>
                    <a:gd name="T12" fmla="*/ 1 w 3"/>
                    <a:gd name="T13" fmla="*/ 1 h 7"/>
                    <a:gd name="T14" fmla="*/ 0 w 3"/>
                    <a:gd name="T15" fmla="*/ 2 h 7"/>
                    <a:gd name="T16" fmla="*/ 1 w 3"/>
                    <a:gd name="T17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7">
                      <a:moveTo>
                        <a:pt x="1" y="4"/>
                      </a:moveTo>
                      <a:lnTo>
                        <a:pt x="1" y="6"/>
                      </a:lnTo>
                      <a:lnTo>
                        <a:pt x="2" y="7"/>
                      </a:lnTo>
                      <a:lnTo>
                        <a:pt x="3" y="5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42" name="Freeform 744">
                  <a:extLst>
                    <a:ext uri="{FF2B5EF4-FFF2-40B4-BE49-F238E27FC236}">
                      <a16:creationId xmlns:a16="http://schemas.microsoft.com/office/drawing/2014/main" id="{819C4A9A-20D8-415E-8276-22C9820FDF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5" y="2154"/>
                  <a:ext cx="1" cy="1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1 h 1"/>
                    <a:gd name="T4" fmla="*/ 1 w 1"/>
                    <a:gd name="T5" fmla="*/ 1 h 1"/>
                    <a:gd name="T6" fmla="*/ 0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43" name="Freeform 745">
                  <a:extLst>
                    <a:ext uri="{FF2B5EF4-FFF2-40B4-BE49-F238E27FC236}">
                      <a16:creationId xmlns:a16="http://schemas.microsoft.com/office/drawing/2014/main" id="{9B70C1DE-3D0A-4B81-A461-E509CAE7AC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82" y="2128"/>
                  <a:ext cx="5" cy="5"/>
                </a:xfrm>
                <a:custGeom>
                  <a:avLst/>
                  <a:gdLst>
                    <a:gd name="T0" fmla="*/ 0 w 5"/>
                    <a:gd name="T1" fmla="*/ 0 h 5"/>
                    <a:gd name="T2" fmla="*/ 0 w 5"/>
                    <a:gd name="T3" fmla="*/ 3 h 5"/>
                    <a:gd name="T4" fmla="*/ 1 w 5"/>
                    <a:gd name="T5" fmla="*/ 5 h 5"/>
                    <a:gd name="T6" fmla="*/ 3 w 5"/>
                    <a:gd name="T7" fmla="*/ 5 h 5"/>
                    <a:gd name="T8" fmla="*/ 3 w 5"/>
                    <a:gd name="T9" fmla="*/ 4 h 5"/>
                    <a:gd name="T10" fmla="*/ 5 w 5"/>
                    <a:gd name="T11" fmla="*/ 4 h 5"/>
                    <a:gd name="T12" fmla="*/ 4 w 5"/>
                    <a:gd name="T13" fmla="*/ 3 h 5"/>
                    <a:gd name="T14" fmla="*/ 3 w 5"/>
                    <a:gd name="T15" fmla="*/ 1 h 5"/>
                    <a:gd name="T16" fmla="*/ 1 w 5"/>
                    <a:gd name="T17" fmla="*/ 0 h 5"/>
                    <a:gd name="T18" fmla="*/ 0 w 5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" h="5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5" y="4"/>
                      </a:lnTo>
                      <a:lnTo>
                        <a:pt x="4" y="3"/>
                      </a:lnTo>
                      <a:lnTo>
                        <a:pt x="3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44" name="Freeform 746">
                  <a:extLst>
                    <a:ext uri="{FF2B5EF4-FFF2-40B4-BE49-F238E27FC236}">
                      <a16:creationId xmlns:a16="http://schemas.microsoft.com/office/drawing/2014/main" id="{1AE8C6CD-B4D0-4D39-944E-2981A916B3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2" y="2169"/>
                  <a:ext cx="3" cy="7"/>
                </a:xfrm>
                <a:custGeom>
                  <a:avLst/>
                  <a:gdLst>
                    <a:gd name="T0" fmla="*/ 0 w 3"/>
                    <a:gd name="T1" fmla="*/ 2 h 7"/>
                    <a:gd name="T2" fmla="*/ 1 w 3"/>
                    <a:gd name="T3" fmla="*/ 4 h 7"/>
                    <a:gd name="T4" fmla="*/ 1 w 3"/>
                    <a:gd name="T5" fmla="*/ 7 h 7"/>
                    <a:gd name="T6" fmla="*/ 2 w 3"/>
                    <a:gd name="T7" fmla="*/ 7 h 7"/>
                    <a:gd name="T8" fmla="*/ 3 w 3"/>
                    <a:gd name="T9" fmla="*/ 4 h 7"/>
                    <a:gd name="T10" fmla="*/ 2 w 3"/>
                    <a:gd name="T11" fmla="*/ 2 h 7"/>
                    <a:gd name="T12" fmla="*/ 1 w 3"/>
                    <a:gd name="T13" fmla="*/ 0 h 7"/>
                    <a:gd name="T14" fmla="*/ 0 w 3"/>
                    <a:gd name="T15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7">
                      <a:moveTo>
                        <a:pt x="0" y="2"/>
                      </a:moveTo>
                      <a:lnTo>
                        <a:pt x="1" y="4"/>
                      </a:lnTo>
                      <a:lnTo>
                        <a:pt x="1" y="7"/>
                      </a:lnTo>
                      <a:lnTo>
                        <a:pt x="2" y="7"/>
                      </a:lnTo>
                      <a:lnTo>
                        <a:pt x="3" y="4"/>
                      </a:lnTo>
                      <a:lnTo>
                        <a:pt x="2" y="2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45" name="Freeform 747">
                  <a:extLst>
                    <a:ext uri="{FF2B5EF4-FFF2-40B4-BE49-F238E27FC236}">
                      <a16:creationId xmlns:a16="http://schemas.microsoft.com/office/drawing/2014/main" id="{EF686A80-FA4E-470A-9785-6F084C6570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74" y="2043"/>
                  <a:ext cx="86" cy="114"/>
                </a:xfrm>
                <a:custGeom>
                  <a:avLst/>
                  <a:gdLst>
                    <a:gd name="T0" fmla="*/ 86 w 86"/>
                    <a:gd name="T1" fmla="*/ 10 h 114"/>
                    <a:gd name="T2" fmla="*/ 84 w 86"/>
                    <a:gd name="T3" fmla="*/ 0 h 114"/>
                    <a:gd name="T4" fmla="*/ 78 w 86"/>
                    <a:gd name="T5" fmla="*/ 7 h 114"/>
                    <a:gd name="T6" fmla="*/ 72 w 86"/>
                    <a:gd name="T7" fmla="*/ 12 h 114"/>
                    <a:gd name="T8" fmla="*/ 64 w 86"/>
                    <a:gd name="T9" fmla="*/ 12 h 114"/>
                    <a:gd name="T10" fmla="*/ 59 w 86"/>
                    <a:gd name="T11" fmla="*/ 10 h 114"/>
                    <a:gd name="T12" fmla="*/ 49 w 86"/>
                    <a:gd name="T13" fmla="*/ 12 h 114"/>
                    <a:gd name="T14" fmla="*/ 39 w 86"/>
                    <a:gd name="T15" fmla="*/ 12 h 114"/>
                    <a:gd name="T16" fmla="*/ 35 w 86"/>
                    <a:gd name="T17" fmla="*/ 15 h 114"/>
                    <a:gd name="T18" fmla="*/ 22 w 86"/>
                    <a:gd name="T19" fmla="*/ 19 h 114"/>
                    <a:gd name="T20" fmla="*/ 12 w 86"/>
                    <a:gd name="T21" fmla="*/ 26 h 114"/>
                    <a:gd name="T22" fmla="*/ 9 w 86"/>
                    <a:gd name="T23" fmla="*/ 36 h 114"/>
                    <a:gd name="T24" fmla="*/ 1 w 86"/>
                    <a:gd name="T25" fmla="*/ 47 h 114"/>
                    <a:gd name="T26" fmla="*/ 1 w 86"/>
                    <a:gd name="T27" fmla="*/ 53 h 114"/>
                    <a:gd name="T28" fmla="*/ 10 w 86"/>
                    <a:gd name="T29" fmla="*/ 63 h 114"/>
                    <a:gd name="T30" fmla="*/ 14 w 86"/>
                    <a:gd name="T31" fmla="*/ 76 h 114"/>
                    <a:gd name="T32" fmla="*/ 21 w 86"/>
                    <a:gd name="T33" fmla="*/ 77 h 114"/>
                    <a:gd name="T34" fmla="*/ 28 w 86"/>
                    <a:gd name="T35" fmla="*/ 74 h 114"/>
                    <a:gd name="T36" fmla="*/ 34 w 86"/>
                    <a:gd name="T37" fmla="*/ 78 h 114"/>
                    <a:gd name="T38" fmla="*/ 40 w 86"/>
                    <a:gd name="T39" fmla="*/ 81 h 114"/>
                    <a:gd name="T40" fmla="*/ 35 w 86"/>
                    <a:gd name="T41" fmla="*/ 82 h 114"/>
                    <a:gd name="T42" fmla="*/ 24 w 86"/>
                    <a:gd name="T43" fmla="*/ 78 h 114"/>
                    <a:gd name="T44" fmla="*/ 17 w 86"/>
                    <a:gd name="T45" fmla="*/ 81 h 114"/>
                    <a:gd name="T46" fmla="*/ 18 w 86"/>
                    <a:gd name="T47" fmla="*/ 89 h 114"/>
                    <a:gd name="T48" fmla="*/ 24 w 86"/>
                    <a:gd name="T49" fmla="*/ 97 h 114"/>
                    <a:gd name="T50" fmla="*/ 25 w 86"/>
                    <a:gd name="T51" fmla="*/ 105 h 114"/>
                    <a:gd name="T52" fmla="*/ 28 w 86"/>
                    <a:gd name="T53" fmla="*/ 104 h 114"/>
                    <a:gd name="T54" fmla="*/ 33 w 86"/>
                    <a:gd name="T55" fmla="*/ 106 h 114"/>
                    <a:gd name="T56" fmla="*/ 35 w 86"/>
                    <a:gd name="T57" fmla="*/ 114 h 114"/>
                    <a:gd name="T58" fmla="*/ 39 w 86"/>
                    <a:gd name="T59" fmla="*/ 105 h 114"/>
                    <a:gd name="T60" fmla="*/ 42 w 86"/>
                    <a:gd name="T61" fmla="*/ 109 h 114"/>
                    <a:gd name="T62" fmla="*/ 39 w 86"/>
                    <a:gd name="T63" fmla="*/ 98 h 114"/>
                    <a:gd name="T64" fmla="*/ 39 w 86"/>
                    <a:gd name="T65" fmla="*/ 92 h 114"/>
                    <a:gd name="T66" fmla="*/ 42 w 86"/>
                    <a:gd name="T67" fmla="*/ 97 h 114"/>
                    <a:gd name="T68" fmla="*/ 47 w 86"/>
                    <a:gd name="T69" fmla="*/ 95 h 114"/>
                    <a:gd name="T70" fmla="*/ 45 w 86"/>
                    <a:gd name="T71" fmla="*/ 92 h 114"/>
                    <a:gd name="T72" fmla="*/ 40 w 86"/>
                    <a:gd name="T73" fmla="*/ 86 h 114"/>
                    <a:gd name="T74" fmla="*/ 46 w 86"/>
                    <a:gd name="T75" fmla="*/ 83 h 114"/>
                    <a:gd name="T76" fmla="*/ 53 w 86"/>
                    <a:gd name="T77" fmla="*/ 88 h 114"/>
                    <a:gd name="T78" fmla="*/ 53 w 86"/>
                    <a:gd name="T79" fmla="*/ 78 h 114"/>
                    <a:gd name="T80" fmla="*/ 43 w 86"/>
                    <a:gd name="T81" fmla="*/ 71 h 114"/>
                    <a:gd name="T82" fmla="*/ 39 w 86"/>
                    <a:gd name="T83" fmla="*/ 67 h 114"/>
                    <a:gd name="T84" fmla="*/ 36 w 86"/>
                    <a:gd name="T85" fmla="*/ 64 h 114"/>
                    <a:gd name="T86" fmla="*/ 35 w 86"/>
                    <a:gd name="T87" fmla="*/ 58 h 114"/>
                    <a:gd name="T88" fmla="*/ 39 w 86"/>
                    <a:gd name="T89" fmla="*/ 55 h 114"/>
                    <a:gd name="T90" fmla="*/ 40 w 86"/>
                    <a:gd name="T91" fmla="*/ 61 h 114"/>
                    <a:gd name="T92" fmla="*/ 41 w 86"/>
                    <a:gd name="T93" fmla="*/ 54 h 114"/>
                    <a:gd name="T94" fmla="*/ 34 w 86"/>
                    <a:gd name="T95" fmla="*/ 43 h 114"/>
                    <a:gd name="T96" fmla="*/ 32 w 86"/>
                    <a:gd name="T97" fmla="*/ 31 h 114"/>
                    <a:gd name="T98" fmla="*/ 37 w 86"/>
                    <a:gd name="T99" fmla="*/ 30 h 114"/>
                    <a:gd name="T100" fmla="*/ 40 w 86"/>
                    <a:gd name="T101" fmla="*/ 34 h 114"/>
                    <a:gd name="T102" fmla="*/ 46 w 86"/>
                    <a:gd name="T103" fmla="*/ 41 h 114"/>
                    <a:gd name="T104" fmla="*/ 43 w 86"/>
                    <a:gd name="T105" fmla="*/ 34 h 114"/>
                    <a:gd name="T106" fmla="*/ 51 w 86"/>
                    <a:gd name="T107" fmla="*/ 40 h 114"/>
                    <a:gd name="T108" fmla="*/ 48 w 86"/>
                    <a:gd name="T109" fmla="*/ 35 h 114"/>
                    <a:gd name="T110" fmla="*/ 55 w 86"/>
                    <a:gd name="T111" fmla="*/ 36 h 114"/>
                    <a:gd name="T112" fmla="*/ 49 w 86"/>
                    <a:gd name="T113" fmla="*/ 31 h 114"/>
                    <a:gd name="T114" fmla="*/ 51 w 86"/>
                    <a:gd name="T115" fmla="*/ 26 h 114"/>
                    <a:gd name="T116" fmla="*/ 56 w 86"/>
                    <a:gd name="T117" fmla="*/ 19 h 114"/>
                    <a:gd name="T118" fmla="*/ 65 w 86"/>
                    <a:gd name="T119" fmla="*/ 19 h 114"/>
                    <a:gd name="T120" fmla="*/ 68 w 86"/>
                    <a:gd name="T121" fmla="*/ 20 h 114"/>
                    <a:gd name="T122" fmla="*/ 81 w 86"/>
                    <a:gd name="T123" fmla="*/ 20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86" h="114">
                      <a:moveTo>
                        <a:pt x="83" y="16"/>
                      </a:moveTo>
                      <a:lnTo>
                        <a:pt x="82" y="13"/>
                      </a:lnTo>
                      <a:lnTo>
                        <a:pt x="86" y="10"/>
                      </a:lnTo>
                      <a:lnTo>
                        <a:pt x="86" y="6"/>
                      </a:lnTo>
                      <a:lnTo>
                        <a:pt x="83" y="5"/>
                      </a:lnTo>
                      <a:lnTo>
                        <a:pt x="84" y="0"/>
                      </a:lnTo>
                      <a:lnTo>
                        <a:pt x="82" y="0"/>
                      </a:lnTo>
                      <a:lnTo>
                        <a:pt x="79" y="3"/>
                      </a:lnTo>
                      <a:lnTo>
                        <a:pt x="78" y="7"/>
                      </a:lnTo>
                      <a:lnTo>
                        <a:pt x="80" y="10"/>
                      </a:lnTo>
                      <a:lnTo>
                        <a:pt x="77" y="12"/>
                      </a:lnTo>
                      <a:lnTo>
                        <a:pt x="72" y="12"/>
                      </a:lnTo>
                      <a:lnTo>
                        <a:pt x="69" y="13"/>
                      </a:lnTo>
                      <a:lnTo>
                        <a:pt x="66" y="12"/>
                      </a:lnTo>
                      <a:lnTo>
                        <a:pt x="64" y="12"/>
                      </a:lnTo>
                      <a:lnTo>
                        <a:pt x="62" y="13"/>
                      </a:lnTo>
                      <a:lnTo>
                        <a:pt x="60" y="13"/>
                      </a:lnTo>
                      <a:lnTo>
                        <a:pt x="59" y="10"/>
                      </a:lnTo>
                      <a:lnTo>
                        <a:pt x="55" y="10"/>
                      </a:lnTo>
                      <a:lnTo>
                        <a:pt x="52" y="9"/>
                      </a:lnTo>
                      <a:lnTo>
                        <a:pt x="49" y="12"/>
                      </a:lnTo>
                      <a:lnTo>
                        <a:pt x="46" y="13"/>
                      </a:lnTo>
                      <a:lnTo>
                        <a:pt x="41" y="13"/>
                      </a:lnTo>
                      <a:lnTo>
                        <a:pt x="39" y="12"/>
                      </a:lnTo>
                      <a:lnTo>
                        <a:pt x="39" y="12"/>
                      </a:lnTo>
                      <a:lnTo>
                        <a:pt x="38" y="14"/>
                      </a:lnTo>
                      <a:lnTo>
                        <a:pt x="35" y="15"/>
                      </a:lnTo>
                      <a:lnTo>
                        <a:pt x="32" y="17"/>
                      </a:lnTo>
                      <a:lnTo>
                        <a:pt x="25" y="16"/>
                      </a:lnTo>
                      <a:lnTo>
                        <a:pt x="22" y="19"/>
                      </a:lnTo>
                      <a:lnTo>
                        <a:pt x="21" y="20"/>
                      </a:lnTo>
                      <a:lnTo>
                        <a:pt x="18" y="22"/>
                      </a:lnTo>
                      <a:lnTo>
                        <a:pt x="12" y="26"/>
                      </a:lnTo>
                      <a:lnTo>
                        <a:pt x="12" y="26"/>
                      </a:lnTo>
                      <a:lnTo>
                        <a:pt x="11" y="30"/>
                      </a:lnTo>
                      <a:lnTo>
                        <a:pt x="9" y="36"/>
                      </a:lnTo>
                      <a:lnTo>
                        <a:pt x="4" y="38"/>
                      </a:lnTo>
                      <a:lnTo>
                        <a:pt x="4" y="42"/>
                      </a:lnTo>
                      <a:lnTo>
                        <a:pt x="1" y="47"/>
                      </a:lnTo>
                      <a:lnTo>
                        <a:pt x="0" y="48"/>
                      </a:lnTo>
                      <a:lnTo>
                        <a:pt x="0" y="48"/>
                      </a:lnTo>
                      <a:lnTo>
                        <a:pt x="1" y="53"/>
                      </a:lnTo>
                      <a:lnTo>
                        <a:pt x="5" y="57"/>
                      </a:lnTo>
                      <a:lnTo>
                        <a:pt x="8" y="63"/>
                      </a:lnTo>
                      <a:lnTo>
                        <a:pt x="10" y="63"/>
                      </a:lnTo>
                      <a:lnTo>
                        <a:pt x="9" y="64"/>
                      </a:lnTo>
                      <a:lnTo>
                        <a:pt x="13" y="71"/>
                      </a:lnTo>
                      <a:lnTo>
                        <a:pt x="14" y="76"/>
                      </a:lnTo>
                      <a:lnTo>
                        <a:pt x="16" y="77"/>
                      </a:lnTo>
                      <a:lnTo>
                        <a:pt x="18" y="73"/>
                      </a:lnTo>
                      <a:lnTo>
                        <a:pt x="21" y="77"/>
                      </a:lnTo>
                      <a:lnTo>
                        <a:pt x="24" y="77"/>
                      </a:lnTo>
                      <a:lnTo>
                        <a:pt x="25" y="74"/>
                      </a:lnTo>
                      <a:lnTo>
                        <a:pt x="28" y="74"/>
                      </a:lnTo>
                      <a:lnTo>
                        <a:pt x="32" y="78"/>
                      </a:lnTo>
                      <a:lnTo>
                        <a:pt x="34" y="76"/>
                      </a:lnTo>
                      <a:lnTo>
                        <a:pt x="34" y="78"/>
                      </a:lnTo>
                      <a:lnTo>
                        <a:pt x="36" y="78"/>
                      </a:lnTo>
                      <a:lnTo>
                        <a:pt x="37" y="80"/>
                      </a:lnTo>
                      <a:lnTo>
                        <a:pt x="40" y="81"/>
                      </a:lnTo>
                      <a:lnTo>
                        <a:pt x="39" y="82"/>
                      </a:lnTo>
                      <a:lnTo>
                        <a:pt x="36" y="84"/>
                      </a:lnTo>
                      <a:lnTo>
                        <a:pt x="35" y="82"/>
                      </a:lnTo>
                      <a:lnTo>
                        <a:pt x="32" y="81"/>
                      </a:lnTo>
                      <a:lnTo>
                        <a:pt x="26" y="77"/>
                      </a:lnTo>
                      <a:lnTo>
                        <a:pt x="24" y="78"/>
                      </a:lnTo>
                      <a:lnTo>
                        <a:pt x="21" y="80"/>
                      </a:lnTo>
                      <a:lnTo>
                        <a:pt x="19" y="78"/>
                      </a:lnTo>
                      <a:lnTo>
                        <a:pt x="17" y="81"/>
                      </a:lnTo>
                      <a:lnTo>
                        <a:pt x="15" y="82"/>
                      </a:lnTo>
                      <a:lnTo>
                        <a:pt x="14" y="85"/>
                      </a:lnTo>
                      <a:lnTo>
                        <a:pt x="18" y="89"/>
                      </a:lnTo>
                      <a:lnTo>
                        <a:pt x="21" y="91"/>
                      </a:lnTo>
                      <a:lnTo>
                        <a:pt x="24" y="94"/>
                      </a:lnTo>
                      <a:lnTo>
                        <a:pt x="24" y="97"/>
                      </a:lnTo>
                      <a:lnTo>
                        <a:pt x="23" y="98"/>
                      </a:lnTo>
                      <a:lnTo>
                        <a:pt x="23" y="102"/>
                      </a:lnTo>
                      <a:lnTo>
                        <a:pt x="25" y="105"/>
                      </a:lnTo>
                      <a:lnTo>
                        <a:pt x="27" y="108"/>
                      </a:lnTo>
                      <a:lnTo>
                        <a:pt x="28" y="105"/>
                      </a:lnTo>
                      <a:lnTo>
                        <a:pt x="28" y="104"/>
                      </a:lnTo>
                      <a:lnTo>
                        <a:pt x="28" y="101"/>
                      </a:lnTo>
                      <a:lnTo>
                        <a:pt x="29" y="105"/>
                      </a:lnTo>
                      <a:lnTo>
                        <a:pt x="33" y="106"/>
                      </a:lnTo>
                      <a:lnTo>
                        <a:pt x="34" y="109"/>
                      </a:lnTo>
                      <a:lnTo>
                        <a:pt x="33" y="112"/>
                      </a:lnTo>
                      <a:lnTo>
                        <a:pt x="35" y="114"/>
                      </a:lnTo>
                      <a:lnTo>
                        <a:pt x="35" y="109"/>
                      </a:lnTo>
                      <a:lnTo>
                        <a:pt x="36" y="105"/>
                      </a:lnTo>
                      <a:lnTo>
                        <a:pt x="39" y="105"/>
                      </a:lnTo>
                      <a:lnTo>
                        <a:pt x="40" y="109"/>
                      </a:lnTo>
                      <a:lnTo>
                        <a:pt x="44" y="112"/>
                      </a:lnTo>
                      <a:lnTo>
                        <a:pt x="42" y="109"/>
                      </a:lnTo>
                      <a:lnTo>
                        <a:pt x="42" y="106"/>
                      </a:lnTo>
                      <a:lnTo>
                        <a:pt x="41" y="103"/>
                      </a:lnTo>
                      <a:lnTo>
                        <a:pt x="39" y="98"/>
                      </a:lnTo>
                      <a:lnTo>
                        <a:pt x="38" y="94"/>
                      </a:lnTo>
                      <a:lnTo>
                        <a:pt x="38" y="93"/>
                      </a:lnTo>
                      <a:lnTo>
                        <a:pt x="39" y="92"/>
                      </a:lnTo>
                      <a:lnTo>
                        <a:pt x="42" y="95"/>
                      </a:lnTo>
                      <a:lnTo>
                        <a:pt x="42" y="96"/>
                      </a:lnTo>
                      <a:lnTo>
                        <a:pt x="42" y="97"/>
                      </a:lnTo>
                      <a:lnTo>
                        <a:pt x="44" y="95"/>
                      </a:lnTo>
                      <a:lnTo>
                        <a:pt x="47" y="96"/>
                      </a:lnTo>
                      <a:lnTo>
                        <a:pt x="47" y="95"/>
                      </a:lnTo>
                      <a:lnTo>
                        <a:pt x="46" y="94"/>
                      </a:lnTo>
                      <a:lnTo>
                        <a:pt x="46" y="92"/>
                      </a:lnTo>
                      <a:lnTo>
                        <a:pt x="45" y="92"/>
                      </a:lnTo>
                      <a:lnTo>
                        <a:pt x="42" y="91"/>
                      </a:lnTo>
                      <a:lnTo>
                        <a:pt x="42" y="88"/>
                      </a:lnTo>
                      <a:lnTo>
                        <a:pt x="40" y="86"/>
                      </a:lnTo>
                      <a:lnTo>
                        <a:pt x="42" y="85"/>
                      </a:lnTo>
                      <a:lnTo>
                        <a:pt x="45" y="85"/>
                      </a:lnTo>
                      <a:lnTo>
                        <a:pt x="46" y="83"/>
                      </a:lnTo>
                      <a:lnTo>
                        <a:pt x="50" y="87"/>
                      </a:lnTo>
                      <a:lnTo>
                        <a:pt x="51" y="88"/>
                      </a:lnTo>
                      <a:lnTo>
                        <a:pt x="53" y="88"/>
                      </a:lnTo>
                      <a:lnTo>
                        <a:pt x="54" y="86"/>
                      </a:lnTo>
                      <a:lnTo>
                        <a:pt x="52" y="82"/>
                      </a:lnTo>
                      <a:lnTo>
                        <a:pt x="53" y="78"/>
                      </a:lnTo>
                      <a:lnTo>
                        <a:pt x="52" y="76"/>
                      </a:lnTo>
                      <a:lnTo>
                        <a:pt x="45" y="71"/>
                      </a:lnTo>
                      <a:lnTo>
                        <a:pt x="43" y="71"/>
                      </a:lnTo>
                      <a:lnTo>
                        <a:pt x="42" y="69"/>
                      </a:lnTo>
                      <a:lnTo>
                        <a:pt x="40" y="69"/>
                      </a:lnTo>
                      <a:lnTo>
                        <a:pt x="39" y="67"/>
                      </a:lnTo>
                      <a:lnTo>
                        <a:pt x="36" y="67"/>
                      </a:lnTo>
                      <a:lnTo>
                        <a:pt x="33" y="64"/>
                      </a:lnTo>
                      <a:lnTo>
                        <a:pt x="36" y="64"/>
                      </a:lnTo>
                      <a:lnTo>
                        <a:pt x="38" y="61"/>
                      </a:lnTo>
                      <a:lnTo>
                        <a:pt x="38" y="59"/>
                      </a:lnTo>
                      <a:lnTo>
                        <a:pt x="35" y="58"/>
                      </a:lnTo>
                      <a:lnTo>
                        <a:pt x="37" y="56"/>
                      </a:lnTo>
                      <a:lnTo>
                        <a:pt x="36" y="54"/>
                      </a:lnTo>
                      <a:lnTo>
                        <a:pt x="39" y="55"/>
                      </a:lnTo>
                      <a:lnTo>
                        <a:pt x="41" y="57"/>
                      </a:lnTo>
                      <a:lnTo>
                        <a:pt x="40" y="58"/>
                      </a:lnTo>
                      <a:lnTo>
                        <a:pt x="40" y="61"/>
                      </a:lnTo>
                      <a:lnTo>
                        <a:pt x="42" y="60"/>
                      </a:lnTo>
                      <a:lnTo>
                        <a:pt x="42" y="56"/>
                      </a:lnTo>
                      <a:lnTo>
                        <a:pt x="41" y="54"/>
                      </a:lnTo>
                      <a:lnTo>
                        <a:pt x="36" y="47"/>
                      </a:lnTo>
                      <a:lnTo>
                        <a:pt x="35" y="45"/>
                      </a:lnTo>
                      <a:lnTo>
                        <a:pt x="34" y="43"/>
                      </a:lnTo>
                      <a:lnTo>
                        <a:pt x="31" y="40"/>
                      </a:lnTo>
                      <a:lnTo>
                        <a:pt x="32" y="38"/>
                      </a:lnTo>
                      <a:lnTo>
                        <a:pt x="32" y="31"/>
                      </a:lnTo>
                      <a:lnTo>
                        <a:pt x="33" y="28"/>
                      </a:lnTo>
                      <a:lnTo>
                        <a:pt x="37" y="26"/>
                      </a:lnTo>
                      <a:lnTo>
                        <a:pt x="37" y="30"/>
                      </a:lnTo>
                      <a:lnTo>
                        <a:pt x="35" y="30"/>
                      </a:lnTo>
                      <a:lnTo>
                        <a:pt x="36" y="32"/>
                      </a:lnTo>
                      <a:lnTo>
                        <a:pt x="40" y="34"/>
                      </a:lnTo>
                      <a:lnTo>
                        <a:pt x="41" y="39"/>
                      </a:lnTo>
                      <a:lnTo>
                        <a:pt x="43" y="41"/>
                      </a:lnTo>
                      <a:lnTo>
                        <a:pt x="46" y="41"/>
                      </a:lnTo>
                      <a:lnTo>
                        <a:pt x="44" y="40"/>
                      </a:lnTo>
                      <a:lnTo>
                        <a:pt x="43" y="36"/>
                      </a:lnTo>
                      <a:lnTo>
                        <a:pt x="43" y="34"/>
                      </a:lnTo>
                      <a:lnTo>
                        <a:pt x="46" y="36"/>
                      </a:lnTo>
                      <a:lnTo>
                        <a:pt x="49" y="40"/>
                      </a:lnTo>
                      <a:lnTo>
                        <a:pt x="51" y="40"/>
                      </a:lnTo>
                      <a:lnTo>
                        <a:pt x="52" y="38"/>
                      </a:lnTo>
                      <a:lnTo>
                        <a:pt x="49" y="36"/>
                      </a:lnTo>
                      <a:lnTo>
                        <a:pt x="48" y="35"/>
                      </a:lnTo>
                      <a:lnTo>
                        <a:pt x="48" y="33"/>
                      </a:lnTo>
                      <a:lnTo>
                        <a:pt x="53" y="33"/>
                      </a:lnTo>
                      <a:lnTo>
                        <a:pt x="55" y="36"/>
                      </a:lnTo>
                      <a:lnTo>
                        <a:pt x="56" y="35"/>
                      </a:lnTo>
                      <a:lnTo>
                        <a:pt x="53" y="31"/>
                      </a:lnTo>
                      <a:lnTo>
                        <a:pt x="49" y="31"/>
                      </a:lnTo>
                      <a:lnTo>
                        <a:pt x="47" y="27"/>
                      </a:lnTo>
                      <a:lnTo>
                        <a:pt x="49" y="25"/>
                      </a:lnTo>
                      <a:lnTo>
                        <a:pt x="51" y="26"/>
                      </a:lnTo>
                      <a:lnTo>
                        <a:pt x="53" y="25"/>
                      </a:lnTo>
                      <a:lnTo>
                        <a:pt x="55" y="20"/>
                      </a:lnTo>
                      <a:lnTo>
                        <a:pt x="56" y="19"/>
                      </a:lnTo>
                      <a:lnTo>
                        <a:pt x="60" y="22"/>
                      </a:lnTo>
                      <a:lnTo>
                        <a:pt x="62" y="23"/>
                      </a:lnTo>
                      <a:lnTo>
                        <a:pt x="65" y="19"/>
                      </a:lnTo>
                      <a:lnTo>
                        <a:pt x="65" y="17"/>
                      </a:lnTo>
                      <a:lnTo>
                        <a:pt x="66" y="17"/>
                      </a:lnTo>
                      <a:lnTo>
                        <a:pt x="68" y="20"/>
                      </a:lnTo>
                      <a:lnTo>
                        <a:pt x="73" y="20"/>
                      </a:lnTo>
                      <a:lnTo>
                        <a:pt x="78" y="22"/>
                      </a:lnTo>
                      <a:lnTo>
                        <a:pt x="81" y="20"/>
                      </a:lnTo>
                      <a:lnTo>
                        <a:pt x="83" y="1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46" name="Freeform 748">
                  <a:extLst>
                    <a:ext uri="{FF2B5EF4-FFF2-40B4-BE49-F238E27FC236}">
                      <a16:creationId xmlns:a16="http://schemas.microsoft.com/office/drawing/2014/main" id="{A09628E4-AE43-4831-B305-A00BA095E5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3" y="2166"/>
                  <a:ext cx="1" cy="2"/>
                </a:xfrm>
                <a:custGeom>
                  <a:avLst/>
                  <a:gdLst>
                    <a:gd name="T0" fmla="*/ 1 w 1"/>
                    <a:gd name="T1" fmla="*/ 1 h 2"/>
                    <a:gd name="T2" fmla="*/ 1 w 1"/>
                    <a:gd name="T3" fmla="*/ 0 h 2"/>
                    <a:gd name="T4" fmla="*/ 0 w 1"/>
                    <a:gd name="T5" fmla="*/ 1 h 2"/>
                    <a:gd name="T6" fmla="*/ 1 w 1"/>
                    <a:gd name="T7" fmla="*/ 2 h 2"/>
                    <a:gd name="T8" fmla="*/ 1 w 1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2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2"/>
                      </a:lnTo>
                      <a:lnTo>
                        <a:pt x="1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47" name="Freeform 749">
                  <a:extLst>
                    <a:ext uri="{FF2B5EF4-FFF2-40B4-BE49-F238E27FC236}">
                      <a16:creationId xmlns:a16="http://schemas.microsoft.com/office/drawing/2014/main" id="{C9C266E1-9527-40BA-BA20-609457A9A7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1" y="2104"/>
                  <a:ext cx="25" cy="24"/>
                </a:xfrm>
                <a:custGeom>
                  <a:avLst/>
                  <a:gdLst>
                    <a:gd name="T0" fmla="*/ 2 w 25"/>
                    <a:gd name="T1" fmla="*/ 1 h 24"/>
                    <a:gd name="T2" fmla="*/ 0 w 25"/>
                    <a:gd name="T3" fmla="*/ 3 h 24"/>
                    <a:gd name="T4" fmla="*/ 2 w 25"/>
                    <a:gd name="T5" fmla="*/ 3 h 24"/>
                    <a:gd name="T6" fmla="*/ 4 w 25"/>
                    <a:gd name="T7" fmla="*/ 3 h 24"/>
                    <a:gd name="T8" fmla="*/ 5 w 25"/>
                    <a:gd name="T9" fmla="*/ 5 h 24"/>
                    <a:gd name="T10" fmla="*/ 5 w 25"/>
                    <a:gd name="T11" fmla="*/ 6 h 24"/>
                    <a:gd name="T12" fmla="*/ 7 w 25"/>
                    <a:gd name="T13" fmla="*/ 6 h 24"/>
                    <a:gd name="T14" fmla="*/ 8 w 25"/>
                    <a:gd name="T15" fmla="*/ 8 h 24"/>
                    <a:gd name="T16" fmla="*/ 10 w 25"/>
                    <a:gd name="T17" fmla="*/ 9 h 24"/>
                    <a:gd name="T18" fmla="*/ 11 w 25"/>
                    <a:gd name="T19" fmla="*/ 11 h 24"/>
                    <a:gd name="T20" fmla="*/ 13 w 25"/>
                    <a:gd name="T21" fmla="*/ 13 h 24"/>
                    <a:gd name="T22" fmla="*/ 16 w 25"/>
                    <a:gd name="T23" fmla="*/ 13 h 24"/>
                    <a:gd name="T24" fmla="*/ 16 w 25"/>
                    <a:gd name="T25" fmla="*/ 13 h 24"/>
                    <a:gd name="T26" fmla="*/ 18 w 25"/>
                    <a:gd name="T27" fmla="*/ 17 h 24"/>
                    <a:gd name="T28" fmla="*/ 19 w 25"/>
                    <a:gd name="T29" fmla="*/ 18 h 24"/>
                    <a:gd name="T30" fmla="*/ 19 w 25"/>
                    <a:gd name="T31" fmla="*/ 20 h 24"/>
                    <a:gd name="T32" fmla="*/ 19 w 25"/>
                    <a:gd name="T33" fmla="*/ 22 h 24"/>
                    <a:gd name="T34" fmla="*/ 22 w 25"/>
                    <a:gd name="T35" fmla="*/ 24 h 24"/>
                    <a:gd name="T36" fmla="*/ 23 w 25"/>
                    <a:gd name="T37" fmla="*/ 23 h 24"/>
                    <a:gd name="T38" fmla="*/ 24 w 25"/>
                    <a:gd name="T39" fmla="*/ 24 h 24"/>
                    <a:gd name="T40" fmla="*/ 25 w 25"/>
                    <a:gd name="T41" fmla="*/ 20 h 24"/>
                    <a:gd name="T42" fmla="*/ 23 w 25"/>
                    <a:gd name="T43" fmla="*/ 20 h 24"/>
                    <a:gd name="T44" fmla="*/ 22 w 25"/>
                    <a:gd name="T45" fmla="*/ 20 h 24"/>
                    <a:gd name="T46" fmla="*/ 20 w 25"/>
                    <a:gd name="T47" fmla="*/ 18 h 24"/>
                    <a:gd name="T48" fmla="*/ 20 w 25"/>
                    <a:gd name="T49" fmla="*/ 16 h 24"/>
                    <a:gd name="T50" fmla="*/ 19 w 25"/>
                    <a:gd name="T51" fmla="*/ 14 h 24"/>
                    <a:gd name="T52" fmla="*/ 19 w 25"/>
                    <a:gd name="T53" fmla="*/ 13 h 24"/>
                    <a:gd name="T54" fmla="*/ 19 w 25"/>
                    <a:gd name="T55" fmla="*/ 10 h 24"/>
                    <a:gd name="T56" fmla="*/ 15 w 25"/>
                    <a:gd name="T57" fmla="*/ 6 h 24"/>
                    <a:gd name="T58" fmla="*/ 15 w 25"/>
                    <a:gd name="T59" fmla="*/ 6 h 24"/>
                    <a:gd name="T60" fmla="*/ 13 w 25"/>
                    <a:gd name="T61" fmla="*/ 6 h 24"/>
                    <a:gd name="T62" fmla="*/ 12 w 25"/>
                    <a:gd name="T63" fmla="*/ 6 h 24"/>
                    <a:gd name="T64" fmla="*/ 10 w 25"/>
                    <a:gd name="T65" fmla="*/ 4 h 24"/>
                    <a:gd name="T66" fmla="*/ 8 w 25"/>
                    <a:gd name="T67" fmla="*/ 3 h 24"/>
                    <a:gd name="T68" fmla="*/ 5 w 25"/>
                    <a:gd name="T69" fmla="*/ 0 h 24"/>
                    <a:gd name="T70" fmla="*/ 2 w 25"/>
                    <a:gd name="T71" fmla="*/ 1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25" h="24">
                      <a:moveTo>
                        <a:pt x="2" y="1"/>
                      </a:move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4" y="3"/>
                      </a:lnTo>
                      <a:lnTo>
                        <a:pt x="5" y="5"/>
                      </a:lnTo>
                      <a:lnTo>
                        <a:pt x="5" y="6"/>
                      </a:lnTo>
                      <a:lnTo>
                        <a:pt x="7" y="6"/>
                      </a:lnTo>
                      <a:lnTo>
                        <a:pt x="8" y="8"/>
                      </a:lnTo>
                      <a:lnTo>
                        <a:pt x="10" y="9"/>
                      </a:lnTo>
                      <a:lnTo>
                        <a:pt x="11" y="11"/>
                      </a:lnTo>
                      <a:lnTo>
                        <a:pt x="13" y="13"/>
                      </a:lnTo>
                      <a:lnTo>
                        <a:pt x="16" y="13"/>
                      </a:lnTo>
                      <a:lnTo>
                        <a:pt x="16" y="13"/>
                      </a:lnTo>
                      <a:lnTo>
                        <a:pt x="18" y="17"/>
                      </a:lnTo>
                      <a:lnTo>
                        <a:pt x="19" y="18"/>
                      </a:lnTo>
                      <a:lnTo>
                        <a:pt x="19" y="20"/>
                      </a:lnTo>
                      <a:lnTo>
                        <a:pt x="19" y="22"/>
                      </a:lnTo>
                      <a:lnTo>
                        <a:pt x="22" y="24"/>
                      </a:lnTo>
                      <a:lnTo>
                        <a:pt x="23" y="23"/>
                      </a:lnTo>
                      <a:lnTo>
                        <a:pt x="24" y="24"/>
                      </a:lnTo>
                      <a:lnTo>
                        <a:pt x="25" y="20"/>
                      </a:lnTo>
                      <a:lnTo>
                        <a:pt x="23" y="20"/>
                      </a:lnTo>
                      <a:lnTo>
                        <a:pt x="22" y="20"/>
                      </a:lnTo>
                      <a:lnTo>
                        <a:pt x="20" y="18"/>
                      </a:lnTo>
                      <a:lnTo>
                        <a:pt x="20" y="16"/>
                      </a:lnTo>
                      <a:lnTo>
                        <a:pt x="19" y="14"/>
                      </a:lnTo>
                      <a:lnTo>
                        <a:pt x="19" y="13"/>
                      </a:lnTo>
                      <a:lnTo>
                        <a:pt x="19" y="10"/>
                      </a:lnTo>
                      <a:lnTo>
                        <a:pt x="15" y="6"/>
                      </a:lnTo>
                      <a:lnTo>
                        <a:pt x="15" y="6"/>
                      </a:lnTo>
                      <a:lnTo>
                        <a:pt x="13" y="6"/>
                      </a:lnTo>
                      <a:lnTo>
                        <a:pt x="12" y="6"/>
                      </a:lnTo>
                      <a:lnTo>
                        <a:pt x="10" y="4"/>
                      </a:lnTo>
                      <a:lnTo>
                        <a:pt x="8" y="3"/>
                      </a:lnTo>
                      <a:lnTo>
                        <a:pt x="5" y="0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48" name="Freeform 750">
                  <a:extLst>
                    <a:ext uri="{FF2B5EF4-FFF2-40B4-BE49-F238E27FC236}">
                      <a16:creationId xmlns:a16="http://schemas.microsoft.com/office/drawing/2014/main" id="{4EB2D2C6-FDF3-46D4-AA3E-DF4327CE1E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51" y="2096"/>
                  <a:ext cx="10" cy="9"/>
                </a:xfrm>
                <a:custGeom>
                  <a:avLst/>
                  <a:gdLst>
                    <a:gd name="T0" fmla="*/ 9 w 10"/>
                    <a:gd name="T1" fmla="*/ 0 h 9"/>
                    <a:gd name="T2" fmla="*/ 6 w 10"/>
                    <a:gd name="T3" fmla="*/ 1 h 9"/>
                    <a:gd name="T4" fmla="*/ 4 w 10"/>
                    <a:gd name="T5" fmla="*/ 1 h 9"/>
                    <a:gd name="T6" fmla="*/ 1 w 10"/>
                    <a:gd name="T7" fmla="*/ 3 h 9"/>
                    <a:gd name="T8" fmla="*/ 0 w 10"/>
                    <a:gd name="T9" fmla="*/ 6 h 9"/>
                    <a:gd name="T10" fmla="*/ 2 w 10"/>
                    <a:gd name="T11" fmla="*/ 8 h 9"/>
                    <a:gd name="T12" fmla="*/ 3 w 10"/>
                    <a:gd name="T13" fmla="*/ 8 h 9"/>
                    <a:gd name="T14" fmla="*/ 4 w 10"/>
                    <a:gd name="T15" fmla="*/ 8 h 9"/>
                    <a:gd name="T16" fmla="*/ 4 w 10"/>
                    <a:gd name="T17" fmla="*/ 5 h 9"/>
                    <a:gd name="T18" fmla="*/ 5 w 10"/>
                    <a:gd name="T19" fmla="*/ 4 h 9"/>
                    <a:gd name="T20" fmla="*/ 7 w 10"/>
                    <a:gd name="T21" fmla="*/ 4 h 9"/>
                    <a:gd name="T22" fmla="*/ 7 w 10"/>
                    <a:gd name="T23" fmla="*/ 5 h 9"/>
                    <a:gd name="T24" fmla="*/ 6 w 10"/>
                    <a:gd name="T25" fmla="*/ 7 h 9"/>
                    <a:gd name="T26" fmla="*/ 5 w 10"/>
                    <a:gd name="T27" fmla="*/ 8 h 9"/>
                    <a:gd name="T28" fmla="*/ 7 w 10"/>
                    <a:gd name="T29" fmla="*/ 9 h 9"/>
                    <a:gd name="T30" fmla="*/ 10 w 10"/>
                    <a:gd name="T31" fmla="*/ 9 h 9"/>
                    <a:gd name="T32" fmla="*/ 10 w 10"/>
                    <a:gd name="T33" fmla="*/ 5 h 9"/>
                    <a:gd name="T34" fmla="*/ 9 w 10"/>
                    <a:gd name="T35" fmla="*/ 3 h 9"/>
                    <a:gd name="T36" fmla="*/ 9 w 10"/>
                    <a:gd name="T37" fmla="*/ 3 h 9"/>
                    <a:gd name="T38" fmla="*/ 9 w 10"/>
                    <a:gd name="T39" fmla="*/ 1 h 9"/>
                    <a:gd name="T40" fmla="*/ 9 w 10"/>
                    <a:gd name="T41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0" h="9">
                      <a:moveTo>
                        <a:pt x="9" y="0"/>
                      </a:moveTo>
                      <a:lnTo>
                        <a:pt x="6" y="1"/>
                      </a:lnTo>
                      <a:lnTo>
                        <a:pt x="4" y="1"/>
                      </a:lnTo>
                      <a:lnTo>
                        <a:pt x="1" y="3"/>
                      </a:lnTo>
                      <a:lnTo>
                        <a:pt x="0" y="6"/>
                      </a:lnTo>
                      <a:lnTo>
                        <a:pt x="2" y="8"/>
                      </a:lnTo>
                      <a:lnTo>
                        <a:pt x="3" y="8"/>
                      </a:lnTo>
                      <a:lnTo>
                        <a:pt x="4" y="8"/>
                      </a:lnTo>
                      <a:lnTo>
                        <a:pt x="4" y="5"/>
                      </a:lnTo>
                      <a:lnTo>
                        <a:pt x="5" y="4"/>
                      </a:lnTo>
                      <a:lnTo>
                        <a:pt x="7" y="4"/>
                      </a:lnTo>
                      <a:lnTo>
                        <a:pt x="7" y="5"/>
                      </a:lnTo>
                      <a:lnTo>
                        <a:pt x="6" y="7"/>
                      </a:lnTo>
                      <a:lnTo>
                        <a:pt x="5" y="8"/>
                      </a:lnTo>
                      <a:lnTo>
                        <a:pt x="7" y="9"/>
                      </a:lnTo>
                      <a:lnTo>
                        <a:pt x="10" y="9"/>
                      </a:lnTo>
                      <a:lnTo>
                        <a:pt x="10" y="5"/>
                      </a:lnTo>
                      <a:lnTo>
                        <a:pt x="9" y="3"/>
                      </a:lnTo>
                      <a:lnTo>
                        <a:pt x="9" y="3"/>
                      </a:lnTo>
                      <a:lnTo>
                        <a:pt x="9" y="1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49" name="Freeform 751">
                  <a:extLst>
                    <a:ext uri="{FF2B5EF4-FFF2-40B4-BE49-F238E27FC236}">
                      <a16:creationId xmlns:a16="http://schemas.microsoft.com/office/drawing/2014/main" id="{29C36B51-BC4C-4933-B725-A6472AA880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53" y="2112"/>
                  <a:ext cx="5" cy="9"/>
                </a:xfrm>
                <a:custGeom>
                  <a:avLst/>
                  <a:gdLst>
                    <a:gd name="T0" fmla="*/ 0 w 5"/>
                    <a:gd name="T1" fmla="*/ 8 h 9"/>
                    <a:gd name="T2" fmla="*/ 1 w 5"/>
                    <a:gd name="T3" fmla="*/ 9 h 9"/>
                    <a:gd name="T4" fmla="*/ 4 w 5"/>
                    <a:gd name="T5" fmla="*/ 9 h 9"/>
                    <a:gd name="T6" fmla="*/ 5 w 5"/>
                    <a:gd name="T7" fmla="*/ 5 h 9"/>
                    <a:gd name="T8" fmla="*/ 4 w 5"/>
                    <a:gd name="T9" fmla="*/ 2 h 9"/>
                    <a:gd name="T10" fmla="*/ 3 w 5"/>
                    <a:gd name="T11" fmla="*/ 1 h 9"/>
                    <a:gd name="T12" fmla="*/ 1 w 5"/>
                    <a:gd name="T13" fmla="*/ 0 h 9"/>
                    <a:gd name="T14" fmla="*/ 0 w 5"/>
                    <a:gd name="T15" fmla="*/ 1 h 9"/>
                    <a:gd name="T16" fmla="*/ 0 w 5"/>
                    <a:gd name="T17" fmla="*/ 2 h 9"/>
                    <a:gd name="T18" fmla="*/ 1 w 5"/>
                    <a:gd name="T19" fmla="*/ 4 h 9"/>
                    <a:gd name="T20" fmla="*/ 1 w 5"/>
                    <a:gd name="T21" fmla="*/ 6 h 9"/>
                    <a:gd name="T22" fmla="*/ 0 w 5"/>
                    <a:gd name="T23" fmla="*/ 7 h 9"/>
                    <a:gd name="T24" fmla="*/ 0 w 5"/>
                    <a:gd name="T25" fmla="*/ 8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" h="9">
                      <a:moveTo>
                        <a:pt x="0" y="8"/>
                      </a:moveTo>
                      <a:lnTo>
                        <a:pt x="1" y="9"/>
                      </a:lnTo>
                      <a:lnTo>
                        <a:pt x="4" y="9"/>
                      </a:lnTo>
                      <a:lnTo>
                        <a:pt x="5" y="5"/>
                      </a:lnTo>
                      <a:lnTo>
                        <a:pt x="4" y="2"/>
                      </a:lnTo>
                      <a:lnTo>
                        <a:pt x="3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0" y="7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50" name="Freeform 752">
                  <a:extLst>
                    <a:ext uri="{FF2B5EF4-FFF2-40B4-BE49-F238E27FC236}">
                      <a16:creationId xmlns:a16="http://schemas.microsoft.com/office/drawing/2014/main" id="{022F1B5D-D525-4502-B951-3D07F2BBA6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20" y="2101"/>
                  <a:ext cx="3" cy="4"/>
                </a:xfrm>
                <a:custGeom>
                  <a:avLst/>
                  <a:gdLst>
                    <a:gd name="T0" fmla="*/ 3 w 3"/>
                    <a:gd name="T1" fmla="*/ 3 h 4"/>
                    <a:gd name="T2" fmla="*/ 3 w 3"/>
                    <a:gd name="T3" fmla="*/ 0 h 4"/>
                    <a:gd name="T4" fmla="*/ 1 w 3"/>
                    <a:gd name="T5" fmla="*/ 0 h 4"/>
                    <a:gd name="T6" fmla="*/ 0 w 3"/>
                    <a:gd name="T7" fmla="*/ 0 h 4"/>
                    <a:gd name="T8" fmla="*/ 3 w 3"/>
                    <a:gd name="T9" fmla="*/ 4 h 4"/>
                    <a:gd name="T10" fmla="*/ 3 w 3"/>
                    <a:gd name="T11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4">
                      <a:moveTo>
                        <a:pt x="3" y="3"/>
                      </a:move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3" y="4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51" name="Freeform 753">
                  <a:extLst>
                    <a:ext uri="{FF2B5EF4-FFF2-40B4-BE49-F238E27FC236}">
                      <a16:creationId xmlns:a16="http://schemas.microsoft.com/office/drawing/2014/main" id="{9D870E3B-BEDC-43BB-9DF2-6753D17EB2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47" y="2142"/>
                  <a:ext cx="4" cy="4"/>
                </a:xfrm>
                <a:custGeom>
                  <a:avLst/>
                  <a:gdLst>
                    <a:gd name="T0" fmla="*/ 1 w 4"/>
                    <a:gd name="T1" fmla="*/ 4 h 4"/>
                    <a:gd name="T2" fmla="*/ 3 w 4"/>
                    <a:gd name="T3" fmla="*/ 4 h 4"/>
                    <a:gd name="T4" fmla="*/ 4 w 4"/>
                    <a:gd name="T5" fmla="*/ 3 h 4"/>
                    <a:gd name="T6" fmla="*/ 4 w 4"/>
                    <a:gd name="T7" fmla="*/ 0 h 4"/>
                    <a:gd name="T8" fmla="*/ 3 w 4"/>
                    <a:gd name="T9" fmla="*/ 0 h 4"/>
                    <a:gd name="T10" fmla="*/ 0 w 4"/>
                    <a:gd name="T11" fmla="*/ 3 h 4"/>
                    <a:gd name="T12" fmla="*/ 1 w 4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4">
                      <a:moveTo>
                        <a:pt x="1" y="4"/>
                      </a:moveTo>
                      <a:lnTo>
                        <a:pt x="3" y="4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52" name="Freeform 754">
                  <a:extLst>
                    <a:ext uri="{FF2B5EF4-FFF2-40B4-BE49-F238E27FC236}">
                      <a16:creationId xmlns:a16="http://schemas.microsoft.com/office/drawing/2014/main" id="{C19B16C2-48DC-45A9-BDE0-62AD660B63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81" y="2109"/>
                  <a:ext cx="2" cy="5"/>
                </a:xfrm>
                <a:custGeom>
                  <a:avLst/>
                  <a:gdLst>
                    <a:gd name="T0" fmla="*/ 1 w 2"/>
                    <a:gd name="T1" fmla="*/ 5 h 5"/>
                    <a:gd name="T2" fmla="*/ 2 w 2"/>
                    <a:gd name="T3" fmla="*/ 3 h 5"/>
                    <a:gd name="T4" fmla="*/ 1 w 2"/>
                    <a:gd name="T5" fmla="*/ 0 h 5"/>
                    <a:gd name="T6" fmla="*/ 1 w 2"/>
                    <a:gd name="T7" fmla="*/ 1 h 5"/>
                    <a:gd name="T8" fmla="*/ 0 w 2"/>
                    <a:gd name="T9" fmla="*/ 3 h 5"/>
                    <a:gd name="T10" fmla="*/ 0 w 2"/>
                    <a:gd name="T11" fmla="*/ 5 h 5"/>
                    <a:gd name="T12" fmla="*/ 1 w 2"/>
                    <a:gd name="T13" fmla="*/ 5 h 5"/>
                    <a:gd name="T14" fmla="*/ 1 w 2"/>
                    <a:gd name="T1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" h="5">
                      <a:moveTo>
                        <a:pt x="1" y="5"/>
                      </a:moveTo>
                      <a:lnTo>
                        <a:pt x="2" y="3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53" name="Freeform 755">
                  <a:extLst>
                    <a:ext uri="{FF2B5EF4-FFF2-40B4-BE49-F238E27FC236}">
                      <a16:creationId xmlns:a16="http://schemas.microsoft.com/office/drawing/2014/main" id="{75EA8D90-6773-404F-BFDD-5C6676F785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7" y="2100"/>
                  <a:ext cx="2" cy="3"/>
                </a:xfrm>
                <a:custGeom>
                  <a:avLst/>
                  <a:gdLst>
                    <a:gd name="T0" fmla="*/ 2 w 2"/>
                    <a:gd name="T1" fmla="*/ 0 h 3"/>
                    <a:gd name="T2" fmla="*/ 0 w 2"/>
                    <a:gd name="T3" fmla="*/ 1 h 3"/>
                    <a:gd name="T4" fmla="*/ 1 w 2"/>
                    <a:gd name="T5" fmla="*/ 3 h 3"/>
                    <a:gd name="T6" fmla="*/ 2 w 2"/>
                    <a:gd name="T7" fmla="*/ 1 h 3"/>
                    <a:gd name="T8" fmla="*/ 2 w 2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2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54" name="Freeform 756">
                  <a:extLst>
                    <a:ext uri="{FF2B5EF4-FFF2-40B4-BE49-F238E27FC236}">
                      <a16:creationId xmlns:a16="http://schemas.microsoft.com/office/drawing/2014/main" id="{59FBCFE1-D62A-4271-AE5A-60E531F592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78" y="2114"/>
                  <a:ext cx="7" cy="12"/>
                </a:xfrm>
                <a:custGeom>
                  <a:avLst/>
                  <a:gdLst>
                    <a:gd name="T0" fmla="*/ 0 w 7"/>
                    <a:gd name="T1" fmla="*/ 5 h 12"/>
                    <a:gd name="T2" fmla="*/ 0 w 7"/>
                    <a:gd name="T3" fmla="*/ 9 h 12"/>
                    <a:gd name="T4" fmla="*/ 1 w 7"/>
                    <a:gd name="T5" fmla="*/ 10 h 12"/>
                    <a:gd name="T6" fmla="*/ 2 w 7"/>
                    <a:gd name="T7" fmla="*/ 10 h 12"/>
                    <a:gd name="T8" fmla="*/ 2 w 7"/>
                    <a:gd name="T9" fmla="*/ 7 h 12"/>
                    <a:gd name="T10" fmla="*/ 3 w 7"/>
                    <a:gd name="T11" fmla="*/ 8 h 12"/>
                    <a:gd name="T12" fmla="*/ 3 w 7"/>
                    <a:gd name="T13" fmla="*/ 10 h 12"/>
                    <a:gd name="T14" fmla="*/ 4 w 7"/>
                    <a:gd name="T15" fmla="*/ 10 h 12"/>
                    <a:gd name="T16" fmla="*/ 6 w 7"/>
                    <a:gd name="T17" fmla="*/ 12 h 12"/>
                    <a:gd name="T18" fmla="*/ 7 w 7"/>
                    <a:gd name="T19" fmla="*/ 10 h 12"/>
                    <a:gd name="T20" fmla="*/ 7 w 7"/>
                    <a:gd name="T21" fmla="*/ 9 h 12"/>
                    <a:gd name="T22" fmla="*/ 6 w 7"/>
                    <a:gd name="T23" fmla="*/ 7 h 12"/>
                    <a:gd name="T24" fmla="*/ 5 w 7"/>
                    <a:gd name="T25" fmla="*/ 6 h 12"/>
                    <a:gd name="T26" fmla="*/ 5 w 7"/>
                    <a:gd name="T27" fmla="*/ 5 h 12"/>
                    <a:gd name="T28" fmla="*/ 4 w 7"/>
                    <a:gd name="T29" fmla="*/ 2 h 12"/>
                    <a:gd name="T30" fmla="*/ 3 w 7"/>
                    <a:gd name="T31" fmla="*/ 0 h 12"/>
                    <a:gd name="T32" fmla="*/ 3 w 7"/>
                    <a:gd name="T33" fmla="*/ 5 h 12"/>
                    <a:gd name="T34" fmla="*/ 1 w 7"/>
                    <a:gd name="T35" fmla="*/ 4 h 12"/>
                    <a:gd name="T36" fmla="*/ 0 w 7"/>
                    <a:gd name="T37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7" h="12">
                      <a:moveTo>
                        <a:pt x="0" y="5"/>
                      </a:moveTo>
                      <a:lnTo>
                        <a:pt x="0" y="9"/>
                      </a:lnTo>
                      <a:lnTo>
                        <a:pt x="1" y="10"/>
                      </a:lnTo>
                      <a:lnTo>
                        <a:pt x="2" y="10"/>
                      </a:lnTo>
                      <a:lnTo>
                        <a:pt x="2" y="7"/>
                      </a:lnTo>
                      <a:lnTo>
                        <a:pt x="3" y="8"/>
                      </a:lnTo>
                      <a:lnTo>
                        <a:pt x="3" y="10"/>
                      </a:lnTo>
                      <a:lnTo>
                        <a:pt x="4" y="10"/>
                      </a:lnTo>
                      <a:lnTo>
                        <a:pt x="6" y="12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6" y="7"/>
                      </a:lnTo>
                      <a:lnTo>
                        <a:pt x="5" y="6"/>
                      </a:lnTo>
                      <a:lnTo>
                        <a:pt x="5" y="5"/>
                      </a:lnTo>
                      <a:lnTo>
                        <a:pt x="4" y="2"/>
                      </a:lnTo>
                      <a:lnTo>
                        <a:pt x="3" y="0"/>
                      </a:lnTo>
                      <a:lnTo>
                        <a:pt x="3" y="5"/>
                      </a:lnTo>
                      <a:lnTo>
                        <a:pt x="1" y="4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55" name="Freeform 757">
                  <a:extLst>
                    <a:ext uri="{FF2B5EF4-FFF2-40B4-BE49-F238E27FC236}">
                      <a16:creationId xmlns:a16="http://schemas.microsoft.com/office/drawing/2014/main" id="{A2A70DFA-6C38-4DCF-A275-899D9DE6FC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6" y="2088"/>
                  <a:ext cx="7" cy="9"/>
                </a:xfrm>
                <a:custGeom>
                  <a:avLst/>
                  <a:gdLst>
                    <a:gd name="T0" fmla="*/ 2 w 7"/>
                    <a:gd name="T1" fmla="*/ 0 h 9"/>
                    <a:gd name="T2" fmla="*/ 0 w 7"/>
                    <a:gd name="T3" fmla="*/ 2 h 9"/>
                    <a:gd name="T4" fmla="*/ 0 w 7"/>
                    <a:gd name="T5" fmla="*/ 3 h 9"/>
                    <a:gd name="T6" fmla="*/ 2 w 7"/>
                    <a:gd name="T7" fmla="*/ 4 h 9"/>
                    <a:gd name="T8" fmla="*/ 2 w 7"/>
                    <a:gd name="T9" fmla="*/ 5 h 9"/>
                    <a:gd name="T10" fmla="*/ 4 w 7"/>
                    <a:gd name="T11" fmla="*/ 8 h 9"/>
                    <a:gd name="T12" fmla="*/ 6 w 7"/>
                    <a:gd name="T13" fmla="*/ 9 h 9"/>
                    <a:gd name="T14" fmla="*/ 7 w 7"/>
                    <a:gd name="T15" fmla="*/ 9 h 9"/>
                    <a:gd name="T16" fmla="*/ 7 w 7"/>
                    <a:gd name="T17" fmla="*/ 8 h 9"/>
                    <a:gd name="T18" fmla="*/ 5 w 7"/>
                    <a:gd name="T19" fmla="*/ 7 h 9"/>
                    <a:gd name="T20" fmla="*/ 4 w 7"/>
                    <a:gd name="T21" fmla="*/ 5 h 9"/>
                    <a:gd name="T22" fmla="*/ 4 w 7"/>
                    <a:gd name="T23" fmla="*/ 2 h 9"/>
                    <a:gd name="T24" fmla="*/ 2 w 7"/>
                    <a:gd name="T25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" h="9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4" y="8"/>
                      </a:lnTo>
                      <a:lnTo>
                        <a:pt x="6" y="9"/>
                      </a:lnTo>
                      <a:lnTo>
                        <a:pt x="7" y="9"/>
                      </a:lnTo>
                      <a:lnTo>
                        <a:pt x="7" y="8"/>
                      </a:lnTo>
                      <a:lnTo>
                        <a:pt x="5" y="7"/>
                      </a:lnTo>
                      <a:lnTo>
                        <a:pt x="4" y="5"/>
                      </a:lnTo>
                      <a:lnTo>
                        <a:pt x="4" y="2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56" name="Freeform 758">
                  <a:extLst>
                    <a:ext uri="{FF2B5EF4-FFF2-40B4-BE49-F238E27FC236}">
                      <a16:creationId xmlns:a16="http://schemas.microsoft.com/office/drawing/2014/main" id="{D5E4EC57-1FC7-490D-B8C6-557C86F276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55" y="2134"/>
                  <a:ext cx="4" cy="4"/>
                </a:xfrm>
                <a:custGeom>
                  <a:avLst/>
                  <a:gdLst>
                    <a:gd name="T0" fmla="*/ 3 w 4"/>
                    <a:gd name="T1" fmla="*/ 1 h 4"/>
                    <a:gd name="T2" fmla="*/ 4 w 4"/>
                    <a:gd name="T3" fmla="*/ 0 h 4"/>
                    <a:gd name="T4" fmla="*/ 1 w 4"/>
                    <a:gd name="T5" fmla="*/ 0 h 4"/>
                    <a:gd name="T6" fmla="*/ 0 w 4"/>
                    <a:gd name="T7" fmla="*/ 2 h 4"/>
                    <a:gd name="T8" fmla="*/ 2 w 4"/>
                    <a:gd name="T9" fmla="*/ 4 h 4"/>
                    <a:gd name="T10" fmla="*/ 3 w 4"/>
                    <a:gd name="T11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4">
                      <a:moveTo>
                        <a:pt x="3" y="1"/>
                      </a:move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2" y="4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57" name="Freeform 759">
                  <a:extLst>
                    <a:ext uri="{FF2B5EF4-FFF2-40B4-BE49-F238E27FC236}">
                      <a16:creationId xmlns:a16="http://schemas.microsoft.com/office/drawing/2014/main" id="{ADC63CBF-0F39-4F30-8528-4C6EAEF1AE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44" y="2143"/>
                  <a:ext cx="3" cy="4"/>
                </a:xfrm>
                <a:custGeom>
                  <a:avLst/>
                  <a:gdLst>
                    <a:gd name="T0" fmla="*/ 0 w 3"/>
                    <a:gd name="T1" fmla="*/ 2 h 4"/>
                    <a:gd name="T2" fmla="*/ 1 w 3"/>
                    <a:gd name="T3" fmla="*/ 4 h 4"/>
                    <a:gd name="T4" fmla="*/ 3 w 3"/>
                    <a:gd name="T5" fmla="*/ 2 h 4"/>
                    <a:gd name="T6" fmla="*/ 2 w 3"/>
                    <a:gd name="T7" fmla="*/ 0 h 4"/>
                    <a:gd name="T8" fmla="*/ 0 w 3"/>
                    <a:gd name="T9" fmla="*/ 0 h 4"/>
                    <a:gd name="T10" fmla="*/ 0 w 3"/>
                    <a:gd name="T11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4">
                      <a:moveTo>
                        <a:pt x="0" y="2"/>
                      </a:moveTo>
                      <a:lnTo>
                        <a:pt x="1" y="4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58" name="Freeform 760">
                  <a:extLst>
                    <a:ext uri="{FF2B5EF4-FFF2-40B4-BE49-F238E27FC236}">
                      <a16:creationId xmlns:a16="http://schemas.microsoft.com/office/drawing/2014/main" id="{2294C335-8F5B-49FD-BABD-C091E1F780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39" y="2081"/>
                  <a:ext cx="7" cy="6"/>
                </a:xfrm>
                <a:custGeom>
                  <a:avLst/>
                  <a:gdLst>
                    <a:gd name="T0" fmla="*/ 4 w 7"/>
                    <a:gd name="T1" fmla="*/ 2 h 6"/>
                    <a:gd name="T2" fmla="*/ 3 w 7"/>
                    <a:gd name="T3" fmla="*/ 1 h 6"/>
                    <a:gd name="T4" fmla="*/ 1 w 7"/>
                    <a:gd name="T5" fmla="*/ 1 h 6"/>
                    <a:gd name="T6" fmla="*/ 0 w 7"/>
                    <a:gd name="T7" fmla="*/ 2 h 6"/>
                    <a:gd name="T8" fmla="*/ 1 w 7"/>
                    <a:gd name="T9" fmla="*/ 5 h 6"/>
                    <a:gd name="T10" fmla="*/ 1 w 7"/>
                    <a:gd name="T11" fmla="*/ 5 h 6"/>
                    <a:gd name="T12" fmla="*/ 3 w 7"/>
                    <a:gd name="T13" fmla="*/ 5 h 6"/>
                    <a:gd name="T14" fmla="*/ 5 w 7"/>
                    <a:gd name="T15" fmla="*/ 6 h 6"/>
                    <a:gd name="T16" fmla="*/ 5 w 7"/>
                    <a:gd name="T17" fmla="*/ 3 h 6"/>
                    <a:gd name="T18" fmla="*/ 7 w 7"/>
                    <a:gd name="T19" fmla="*/ 1 h 6"/>
                    <a:gd name="T20" fmla="*/ 5 w 7"/>
                    <a:gd name="T21" fmla="*/ 0 h 6"/>
                    <a:gd name="T22" fmla="*/ 4 w 7"/>
                    <a:gd name="T23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" h="6">
                      <a:moveTo>
                        <a:pt x="4" y="2"/>
                      </a:moveTo>
                      <a:lnTo>
                        <a:pt x="3" y="1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5" y="6"/>
                      </a:lnTo>
                      <a:lnTo>
                        <a:pt x="5" y="3"/>
                      </a:lnTo>
                      <a:lnTo>
                        <a:pt x="7" y="1"/>
                      </a:lnTo>
                      <a:lnTo>
                        <a:pt x="5" y="0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59" name="Freeform 761">
                  <a:extLst>
                    <a:ext uri="{FF2B5EF4-FFF2-40B4-BE49-F238E27FC236}">
                      <a16:creationId xmlns:a16="http://schemas.microsoft.com/office/drawing/2014/main" id="{77E9EDB0-95CC-4A06-8823-6E53D22E7E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34" y="2104"/>
                  <a:ext cx="3" cy="6"/>
                </a:xfrm>
                <a:custGeom>
                  <a:avLst/>
                  <a:gdLst>
                    <a:gd name="T0" fmla="*/ 2 w 3"/>
                    <a:gd name="T1" fmla="*/ 2 h 6"/>
                    <a:gd name="T2" fmla="*/ 0 w 3"/>
                    <a:gd name="T3" fmla="*/ 0 h 6"/>
                    <a:gd name="T4" fmla="*/ 0 w 3"/>
                    <a:gd name="T5" fmla="*/ 1 h 6"/>
                    <a:gd name="T6" fmla="*/ 1 w 3"/>
                    <a:gd name="T7" fmla="*/ 4 h 6"/>
                    <a:gd name="T8" fmla="*/ 2 w 3"/>
                    <a:gd name="T9" fmla="*/ 4 h 6"/>
                    <a:gd name="T10" fmla="*/ 3 w 3"/>
                    <a:gd name="T11" fmla="*/ 6 h 6"/>
                    <a:gd name="T12" fmla="*/ 3 w 3"/>
                    <a:gd name="T13" fmla="*/ 6 h 6"/>
                    <a:gd name="T14" fmla="*/ 3 w 3"/>
                    <a:gd name="T15" fmla="*/ 3 h 6"/>
                    <a:gd name="T16" fmla="*/ 2 w 3"/>
                    <a:gd name="T17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6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3" y="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0" name="Freeform 762">
                  <a:extLst>
                    <a:ext uri="{FF2B5EF4-FFF2-40B4-BE49-F238E27FC236}">
                      <a16:creationId xmlns:a16="http://schemas.microsoft.com/office/drawing/2014/main" id="{CCCE1A72-4CCF-4F5D-B517-07E3AD03DF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47" y="2138"/>
                  <a:ext cx="2" cy="0"/>
                </a:xfrm>
                <a:custGeom>
                  <a:avLst/>
                  <a:gdLst>
                    <a:gd name="T0" fmla="*/ 0 w 2"/>
                    <a:gd name="T1" fmla="*/ 2 w 2"/>
                    <a:gd name="T2" fmla="*/ 0 w 2"/>
                    <a:gd name="T3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2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1" name="Freeform 763">
                  <a:extLst>
                    <a:ext uri="{FF2B5EF4-FFF2-40B4-BE49-F238E27FC236}">
                      <a16:creationId xmlns:a16="http://schemas.microsoft.com/office/drawing/2014/main" id="{002DA938-5024-4326-BD6E-0D30726C82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44" y="2134"/>
                  <a:ext cx="3" cy="3"/>
                </a:xfrm>
                <a:custGeom>
                  <a:avLst/>
                  <a:gdLst>
                    <a:gd name="T0" fmla="*/ 0 w 3"/>
                    <a:gd name="T1" fmla="*/ 1 h 3"/>
                    <a:gd name="T2" fmla="*/ 1 w 3"/>
                    <a:gd name="T3" fmla="*/ 2 h 3"/>
                    <a:gd name="T4" fmla="*/ 3 w 3"/>
                    <a:gd name="T5" fmla="*/ 3 h 3"/>
                    <a:gd name="T6" fmla="*/ 2 w 3"/>
                    <a:gd name="T7" fmla="*/ 1 h 3"/>
                    <a:gd name="T8" fmla="*/ 1 w 3"/>
                    <a:gd name="T9" fmla="*/ 0 h 3"/>
                    <a:gd name="T10" fmla="*/ 0 w 3"/>
                    <a:gd name="T11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3">
                      <a:moveTo>
                        <a:pt x="0" y="1"/>
                      </a:moveTo>
                      <a:lnTo>
                        <a:pt x="1" y="2"/>
                      </a:lnTo>
                      <a:lnTo>
                        <a:pt x="3" y="3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2" name="Freeform 764">
                  <a:extLst>
                    <a:ext uri="{FF2B5EF4-FFF2-40B4-BE49-F238E27FC236}">
                      <a16:creationId xmlns:a16="http://schemas.microsoft.com/office/drawing/2014/main" id="{6A116C5A-11A9-4595-845F-D63EA1F6F0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37" y="2128"/>
                  <a:ext cx="5" cy="7"/>
                </a:xfrm>
                <a:custGeom>
                  <a:avLst/>
                  <a:gdLst>
                    <a:gd name="T0" fmla="*/ 0 w 5"/>
                    <a:gd name="T1" fmla="*/ 0 h 7"/>
                    <a:gd name="T2" fmla="*/ 0 w 5"/>
                    <a:gd name="T3" fmla="*/ 1 h 7"/>
                    <a:gd name="T4" fmla="*/ 1 w 5"/>
                    <a:gd name="T5" fmla="*/ 3 h 7"/>
                    <a:gd name="T6" fmla="*/ 4 w 5"/>
                    <a:gd name="T7" fmla="*/ 7 h 7"/>
                    <a:gd name="T8" fmla="*/ 5 w 5"/>
                    <a:gd name="T9" fmla="*/ 7 h 7"/>
                    <a:gd name="T10" fmla="*/ 5 w 5"/>
                    <a:gd name="T11" fmla="*/ 4 h 7"/>
                    <a:gd name="T12" fmla="*/ 3 w 5"/>
                    <a:gd name="T13" fmla="*/ 2 h 7"/>
                    <a:gd name="T14" fmla="*/ 2 w 5"/>
                    <a:gd name="T15" fmla="*/ 0 h 7"/>
                    <a:gd name="T16" fmla="*/ 0 w 5"/>
                    <a:gd name="T1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7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4" y="7"/>
                      </a:lnTo>
                      <a:lnTo>
                        <a:pt x="5" y="7"/>
                      </a:lnTo>
                      <a:lnTo>
                        <a:pt x="5" y="4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3" name="Freeform 765">
                  <a:extLst>
                    <a:ext uri="{FF2B5EF4-FFF2-40B4-BE49-F238E27FC236}">
                      <a16:creationId xmlns:a16="http://schemas.microsoft.com/office/drawing/2014/main" id="{874D9E6A-BF6E-416C-BA8A-6219769071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46" y="2071"/>
                  <a:ext cx="4" cy="3"/>
                </a:xfrm>
                <a:custGeom>
                  <a:avLst/>
                  <a:gdLst>
                    <a:gd name="T0" fmla="*/ 2 w 4"/>
                    <a:gd name="T1" fmla="*/ 0 h 3"/>
                    <a:gd name="T2" fmla="*/ 0 w 4"/>
                    <a:gd name="T3" fmla="*/ 1 h 3"/>
                    <a:gd name="T4" fmla="*/ 0 w 4"/>
                    <a:gd name="T5" fmla="*/ 1 h 3"/>
                    <a:gd name="T6" fmla="*/ 2 w 4"/>
                    <a:gd name="T7" fmla="*/ 3 h 3"/>
                    <a:gd name="T8" fmla="*/ 4 w 4"/>
                    <a:gd name="T9" fmla="*/ 2 h 3"/>
                    <a:gd name="T10" fmla="*/ 4 w 4"/>
                    <a:gd name="T11" fmla="*/ 1 h 3"/>
                    <a:gd name="T12" fmla="*/ 2 w 4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3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2" y="3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4" name="Freeform 766">
                  <a:extLst>
                    <a:ext uri="{FF2B5EF4-FFF2-40B4-BE49-F238E27FC236}">
                      <a16:creationId xmlns:a16="http://schemas.microsoft.com/office/drawing/2014/main" id="{76544603-02A2-45AC-A7FE-D1D77F6D43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24" y="2171"/>
                  <a:ext cx="39" cy="14"/>
                </a:xfrm>
                <a:custGeom>
                  <a:avLst/>
                  <a:gdLst>
                    <a:gd name="T0" fmla="*/ 1 w 39"/>
                    <a:gd name="T1" fmla="*/ 2 h 14"/>
                    <a:gd name="T2" fmla="*/ 1 w 39"/>
                    <a:gd name="T3" fmla="*/ 4 h 14"/>
                    <a:gd name="T4" fmla="*/ 0 w 39"/>
                    <a:gd name="T5" fmla="*/ 6 h 14"/>
                    <a:gd name="T6" fmla="*/ 0 w 39"/>
                    <a:gd name="T7" fmla="*/ 8 h 14"/>
                    <a:gd name="T8" fmla="*/ 3 w 39"/>
                    <a:gd name="T9" fmla="*/ 10 h 14"/>
                    <a:gd name="T10" fmla="*/ 7 w 39"/>
                    <a:gd name="T11" fmla="*/ 9 h 14"/>
                    <a:gd name="T12" fmla="*/ 10 w 39"/>
                    <a:gd name="T13" fmla="*/ 10 h 14"/>
                    <a:gd name="T14" fmla="*/ 11 w 39"/>
                    <a:gd name="T15" fmla="*/ 9 h 14"/>
                    <a:gd name="T16" fmla="*/ 14 w 39"/>
                    <a:gd name="T17" fmla="*/ 10 h 14"/>
                    <a:gd name="T18" fmla="*/ 17 w 39"/>
                    <a:gd name="T19" fmla="*/ 12 h 14"/>
                    <a:gd name="T20" fmla="*/ 17 w 39"/>
                    <a:gd name="T21" fmla="*/ 14 h 14"/>
                    <a:gd name="T22" fmla="*/ 21 w 39"/>
                    <a:gd name="T23" fmla="*/ 14 h 14"/>
                    <a:gd name="T24" fmla="*/ 23 w 39"/>
                    <a:gd name="T25" fmla="*/ 12 h 14"/>
                    <a:gd name="T26" fmla="*/ 27 w 39"/>
                    <a:gd name="T27" fmla="*/ 12 h 14"/>
                    <a:gd name="T28" fmla="*/ 32 w 39"/>
                    <a:gd name="T29" fmla="*/ 12 h 14"/>
                    <a:gd name="T30" fmla="*/ 36 w 39"/>
                    <a:gd name="T31" fmla="*/ 12 h 14"/>
                    <a:gd name="T32" fmla="*/ 37 w 39"/>
                    <a:gd name="T33" fmla="*/ 11 h 14"/>
                    <a:gd name="T34" fmla="*/ 39 w 39"/>
                    <a:gd name="T35" fmla="*/ 8 h 14"/>
                    <a:gd name="T36" fmla="*/ 38 w 39"/>
                    <a:gd name="T37" fmla="*/ 6 h 14"/>
                    <a:gd name="T38" fmla="*/ 38 w 39"/>
                    <a:gd name="T39" fmla="*/ 5 h 14"/>
                    <a:gd name="T40" fmla="*/ 37 w 39"/>
                    <a:gd name="T41" fmla="*/ 6 h 14"/>
                    <a:gd name="T42" fmla="*/ 37 w 39"/>
                    <a:gd name="T43" fmla="*/ 8 h 14"/>
                    <a:gd name="T44" fmla="*/ 36 w 39"/>
                    <a:gd name="T45" fmla="*/ 9 h 14"/>
                    <a:gd name="T46" fmla="*/ 34 w 39"/>
                    <a:gd name="T47" fmla="*/ 8 h 14"/>
                    <a:gd name="T48" fmla="*/ 33 w 39"/>
                    <a:gd name="T49" fmla="*/ 8 h 14"/>
                    <a:gd name="T50" fmla="*/ 31 w 39"/>
                    <a:gd name="T51" fmla="*/ 8 h 14"/>
                    <a:gd name="T52" fmla="*/ 32 w 39"/>
                    <a:gd name="T53" fmla="*/ 7 h 14"/>
                    <a:gd name="T54" fmla="*/ 31 w 39"/>
                    <a:gd name="T55" fmla="*/ 5 h 14"/>
                    <a:gd name="T56" fmla="*/ 30 w 39"/>
                    <a:gd name="T57" fmla="*/ 5 h 14"/>
                    <a:gd name="T58" fmla="*/ 26 w 39"/>
                    <a:gd name="T59" fmla="*/ 4 h 14"/>
                    <a:gd name="T60" fmla="*/ 23 w 39"/>
                    <a:gd name="T61" fmla="*/ 2 h 14"/>
                    <a:gd name="T62" fmla="*/ 19 w 39"/>
                    <a:gd name="T63" fmla="*/ 2 h 14"/>
                    <a:gd name="T64" fmla="*/ 16 w 39"/>
                    <a:gd name="T65" fmla="*/ 5 h 14"/>
                    <a:gd name="T66" fmla="*/ 13 w 39"/>
                    <a:gd name="T67" fmla="*/ 6 h 14"/>
                    <a:gd name="T68" fmla="*/ 11 w 39"/>
                    <a:gd name="T69" fmla="*/ 5 h 14"/>
                    <a:gd name="T70" fmla="*/ 10 w 39"/>
                    <a:gd name="T71" fmla="*/ 3 h 14"/>
                    <a:gd name="T72" fmla="*/ 8 w 39"/>
                    <a:gd name="T73" fmla="*/ 4 h 14"/>
                    <a:gd name="T74" fmla="*/ 10 w 39"/>
                    <a:gd name="T75" fmla="*/ 2 h 14"/>
                    <a:gd name="T76" fmla="*/ 8 w 39"/>
                    <a:gd name="T77" fmla="*/ 0 h 14"/>
                    <a:gd name="T78" fmla="*/ 6 w 39"/>
                    <a:gd name="T79" fmla="*/ 1 h 14"/>
                    <a:gd name="T80" fmla="*/ 6 w 39"/>
                    <a:gd name="T81" fmla="*/ 2 h 14"/>
                    <a:gd name="T82" fmla="*/ 7 w 39"/>
                    <a:gd name="T83" fmla="*/ 2 h 14"/>
                    <a:gd name="T84" fmla="*/ 6 w 39"/>
                    <a:gd name="T85" fmla="*/ 3 h 14"/>
                    <a:gd name="T86" fmla="*/ 4 w 39"/>
                    <a:gd name="T87" fmla="*/ 3 h 14"/>
                    <a:gd name="T88" fmla="*/ 4 w 39"/>
                    <a:gd name="T89" fmla="*/ 1 h 14"/>
                    <a:gd name="T90" fmla="*/ 3 w 39"/>
                    <a:gd name="T91" fmla="*/ 0 h 14"/>
                    <a:gd name="T92" fmla="*/ 3 w 39"/>
                    <a:gd name="T93" fmla="*/ 2 h 14"/>
                    <a:gd name="T94" fmla="*/ 3 w 39"/>
                    <a:gd name="T95" fmla="*/ 3 h 14"/>
                    <a:gd name="T96" fmla="*/ 3 w 39"/>
                    <a:gd name="T97" fmla="*/ 4 h 14"/>
                    <a:gd name="T98" fmla="*/ 1 w 39"/>
                    <a:gd name="T99" fmla="*/ 2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39" h="14">
                      <a:moveTo>
                        <a:pt x="1" y="2"/>
                      </a:moveTo>
                      <a:lnTo>
                        <a:pt x="1" y="4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3" y="10"/>
                      </a:lnTo>
                      <a:lnTo>
                        <a:pt x="7" y="9"/>
                      </a:lnTo>
                      <a:lnTo>
                        <a:pt x="10" y="10"/>
                      </a:lnTo>
                      <a:lnTo>
                        <a:pt x="11" y="9"/>
                      </a:lnTo>
                      <a:lnTo>
                        <a:pt x="14" y="10"/>
                      </a:lnTo>
                      <a:lnTo>
                        <a:pt x="17" y="12"/>
                      </a:lnTo>
                      <a:lnTo>
                        <a:pt x="17" y="14"/>
                      </a:lnTo>
                      <a:lnTo>
                        <a:pt x="21" y="14"/>
                      </a:lnTo>
                      <a:lnTo>
                        <a:pt x="23" y="12"/>
                      </a:lnTo>
                      <a:lnTo>
                        <a:pt x="27" y="12"/>
                      </a:lnTo>
                      <a:lnTo>
                        <a:pt x="32" y="12"/>
                      </a:lnTo>
                      <a:lnTo>
                        <a:pt x="36" y="12"/>
                      </a:lnTo>
                      <a:lnTo>
                        <a:pt x="37" y="11"/>
                      </a:lnTo>
                      <a:lnTo>
                        <a:pt x="39" y="8"/>
                      </a:lnTo>
                      <a:lnTo>
                        <a:pt x="38" y="6"/>
                      </a:lnTo>
                      <a:lnTo>
                        <a:pt x="38" y="5"/>
                      </a:lnTo>
                      <a:lnTo>
                        <a:pt x="37" y="6"/>
                      </a:lnTo>
                      <a:lnTo>
                        <a:pt x="37" y="8"/>
                      </a:lnTo>
                      <a:lnTo>
                        <a:pt x="36" y="9"/>
                      </a:lnTo>
                      <a:lnTo>
                        <a:pt x="34" y="8"/>
                      </a:lnTo>
                      <a:lnTo>
                        <a:pt x="33" y="8"/>
                      </a:lnTo>
                      <a:lnTo>
                        <a:pt x="31" y="8"/>
                      </a:lnTo>
                      <a:lnTo>
                        <a:pt x="32" y="7"/>
                      </a:lnTo>
                      <a:lnTo>
                        <a:pt x="31" y="5"/>
                      </a:lnTo>
                      <a:lnTo>
                        <a:pt x="30" y="5"/>
                      </a:lnTo>
                      <a:lnTo>
                        <a:pt x="26" y="4"/>
                      </a:lnTo>
                      <a:lnTo>
                        <a:pt x="23" y="2"/>
                      </a:lnTo>
                      <a:lnTo>
                        <a:pt x="19" y="2"/>
                      </a:lnTo>
                      <a:lnTo>
                        <a:pt x="16" y="5"/>
                      </a:lnTo>
                      <a:lnTo>
                        <a:pt x="13" y="6"/>
                      </a:lnTo>
                      <a:lnTo>
                        <a:pt x="11" y="5"/>
                      </a:lnTo>
                      <a:lnTo>
                        <a:pt x="10" y="3"/>
                      </a:lnTo>
                      <a:lnTo>
                        <a:pt x="8" y="4"/>
                      </a:lnTo>
                      <a:lnTo>
                        <a:pt x="10" y="2"/>
                      </a:lnTo>
                      <a:lnTo>
                        <a:pt x="8" y="0"/>
                      </a:lnTo>
                      <a:lnTo>
                        <a:pt x="6" y="1"/>
                      </a:lnTo>
                      <a:lnTo>
                        <a:pt x="6" y="2"/>
                      </a:lnTo>
                      <a:lnTo>
                        <a:pt x="7" y="2"/>
                      </a:lnTo>
                      <a:lnTo>
                        <a:pt x="6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3" y="0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3" y="4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5" name="Freeform 767">
                  <a:extLst>
                    <a:ext uri="{FF2B5EF4-FFF2-40B4-BE49-F238E27FC236}">
                      <a16:creationId xmlns:a16="http://schemas.microsoft.com/office/drawing/2014/main" id="{B97B4A93-128B-408B-A05B-3ED815FD07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04" y="2080"/>
                  <a:ext cx="24" cy="24"/>
                </a:xfrm>
                <a:custGeom>
                  <a:avLst/>
                  <a:gdLst>
                    <a:gd name="T0" fmla="*/ 14 w 24"/>
                    <a:gd name="T1" fmla="*/ 8 h 24"/>
                    <a:gd name="T2" fmla="*/ 12 w 24"/>
                    <a:gd name="T3" fmla="*/ 3 h 24"/>
                    <a:gd name="T4" fmla="*/ 10 w 24"/>
                    <a:gd name="T5" fmla="*/ 3 h 24"/>
                    <a:gd name="T6" fmla="*/ 8 w 24"/>
                    <a:gd name="T7" fmla="*/ 4 h 24"/>
                    <a:gd name="T8" fmla="*/ 4 w 24"/>
                    <a:gd name="T9" fmla="*/ 0 h 24"/>
                    <a:gd name="T10" fmla="*/ 2 w 24"/>
                    <a:gd name="T11" fmla="*/ 2 h 24"/>
                    <a:gd name="T12" fmla="*/ 0 w 24"/>
                    <a:gd name="T13" fmla="*/ 2 h 24"/>
                    <a:gd name="T14" fmla="*/ 0 w 24"/>
                    <a:gd name="T15" fmla="*/ 2 h 24"/>
                    <a:gd name="T16" fmla="*/ 0 w 24"/>
                    <a:gd name="T17" fmla="*/ 3 h 24"/>
                    <a:gd name="T18" fmla="*/ 0 w 24"/>
                    <a:gd name="T19" fmla="*/ 3 h 24"/>
                    <a:gd name="T20" fmla="*/ 3 w 24"/>
                    <a:gd name="T21" fmla="*/ 6 h 24"/>
                    <a:gd name="T22" fmla="*/ 4 w 24"/>
                    <a:gd name="T23" fmla="*/ 6 h 24"/>
                    <a:gd name="T24" fmla="*/ 6 w 24"/>
                    <a:gd name="T25" fmla="*/ 9 h 24"/>
                    <a:gd name="T26" fmla="*/ 5 w 24"/>
                    <a:gd name="T27" fmla="*/ 11 h 24"/>
                    <a:gd name="T28" fmla="*/ 11 w 24"/>
                    <a:gd name="T29" fmla="*/ 15 h 24"/>
                    <a:gd name="T30" fmla="*/ 12 w 24"/>
                    <a:gd name="T31" fmla="*/ 18 h 24"/>
                    <a:gd name="T32" fmla="*/ 16 w 24"/>
                    <a:gd name="T33" fmla="*/ 20 h 24"/>
                    <a:gd name="T34" fmla="*/ 19 w 24"/>
                    <a:gd name="T35" fmla="*/ 20 h 24"/>
                    <a:gd name="T36" fmla="*/ 23 w 24"/>
                    <a:gd name="T37" fmla="*/ 24 h 24"/>
                    <a:gd name="T38" fmla="*/ 24 w 24"/>
                    <a:gd name="T39" fmla="*/ 20 h 24"/>
                    <a:gd name="T40" fmla="*/ 17 w 24"/>
                    <a:gd name="T41" fmla="*/ 10 h 24"/>
                    <a:gd name="T42" fmla="*/ 14 w 24"/>
                    <a:gd name="T43" fmla="*/ 8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4" h="24">
                      <a:moveTo>
                        <a:pt x="14" y="8"/>
                      </a:moveTo>
                      <a:lnTo>
                        <a:pt x="12" y="3"/>
                      </a:lnTo>
                      <a:lnTo>
                        <a:pt x="10" y="3"/>
                      </a:lnTo>
                      <a:lnTo>
                        <a:pt x="8" y="4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3" y="6"/>
                      </a:lnTo>
                      <a:lnTo>
                        <a:pt x="4" y="6"/>
                      </a:lnTo>
                      <a:lnTo>
                        <a:pt x="6" y="9"/>
                      </a:lnTo>
                      <a:lnTo>
                        <a:pt x="5" y="11"/>
                      </a:lnTo>
                      <a:lnTo>
                        <a:pt x="11" y="15"/>
                      </a:lnTo>
                      <a:lnTo>
                        <a:pt x="12" y="18"/>
                      </a:lnTo>
                      <a:lnTo>
                        <a:pt x="16" y="20"/>
                      </a:lnTo>
                      <a:lnTo>
                        <a:pt x="19" y="20"/>
                      </a:lnTo>
                      <a:lnTo>
                        <a:pt x="23" y="24"/>
                      </a:lnTo>
                      <a:lnTo>
                        <a:pt x="24" y="20"/>
                      </a:lnTo>
                      <a:lnTo>
                        <a:pt x="17" y="10"/>
                      </a:lnTo>
                      <a:lnTo>
                        <a:pt x="14" y="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6" name="Freeform 768">
                  <a:extLst>
                    <a:ext uri="{FF2B5EF4-FFF2-40B4-BE49-F238E27FC236}">
                      <a16:creationId xmlns:a16="http://schemas.microsoft.com/office/drawing/2014/main" id="{17B1FFDE-8206-476D-84D5-D5C4D3981F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04" y="2034"/>
                  <a:ext cx="77" cy="77"/>
                </a:xfrm>
                <a:custGeom>
                  <a:avLst/>
                  <a:gdLst>
                    <a:gd name="T0" fmla="*/ 60 w 77"/>
                    <a:gd name="T1" fmla="*/ 66 h 77"/>
                    <a:gd name="T2" fmla="*/ 60 w 77"/>
                    <a:gd name="T3" fmla="*/ 59 h 77"/>
                    <a:gd name="T4" fmla="*/ 63 w 77"/>
                    <a:gd name="T5" fmla="*/ 59 h 77"/>
                    <a:gd name="T6" fmla="*/ 63 w 77"/>
                    <a:gd name="T7" fmla="*/ 66 h 77"/>
                    <a:gd name="T8" fmla="*/ 64 w 77"/>
                    <a:gd name="T9" fmla="*/ 57 h 77"/>
                    <a:gd name="T10" fmla="*/ 65 w 77"/>
                    <a:gd name="T11" fmla="*/ 53 h 77"/>
                    <a:gd name="T12" fmla="*/ 65 w 77"/>
                    <a:gd name="T13" fmla="*/ 49 h 77"/>
                    <a:gd name="T14" fmla="*/ 65 w 77"/>
                    <a:gd name="T15" fmla="*/ 43 h 77"/>
                    <a:gd name="T16" fmla="*/ 69 w 77"/>
                    <a:gd name="T17" fmla="*/ 34 h 77"/>
                    <a:gd name="T18" fmla="*/ 75 w 77"/>
                    <a:gd name="T19" fmla="*/ 32 h 77"/>
                    <a:gd name="T20" fmla="*/ 75 w 77"/>
                    <a:gd name="T21" fmla="*/ 29 h 77"/>
                    <a:gd name="T22" fmla="*/ 68 w 77"/>
                    <a:gd name="T23" fmla="*/ 28 h 77"/>
                    <a:gd name="T24" fmla="*/ 64 w 77"/>
                    <a:gd name="T25" fmla="*/ 22 h 77"/>
                    <a:gd name="T26" fmla="*/ 58 w 77"/>
                    <a:gd name="T27" fmla="*/ 13 h 77"/>
                    <a:gd name="T28" fmla="*/ 53 w 77"/>
                    <a:gd name="T29" fmla="*/ 3 h 77"/>
                    <a:gd name="T30" fmla="*/ 45 w 77"/>
                    <a:gd name="T31" fmla="*/ 7 h 77"/>
                    <a:gd name="T32" fmla="*/ 40 w 77"/>
                    <a:gd name="T33" fmla="*/ 13 h 77"/>
                    <a:gd name="T34" fmla="*/ 31 w 77"/>
                    <a:gd name="T35" fmla="*/ 8 h 77"/>
                    <a:gd name="T36" fmla="*/ 20 w 77"/>
                    <a:gd name="T37" fmla="*/ 1 h 77"/>
                    <a:gd name="T38" fmla="*/ 23 w 77"/>
                    <a:gd name="T39" fmla="*/ 11 h 77"/>
                    <a:gd name="T40" fmla="*/ 24 w 77"/>
                    <a:gd name="T41" fmla="*/ 20 h 77"/>
                    <a:gd name="T42" fmla="*/ 13 w 77"/>
                    <a:gd name="T43" fmla="*/ 16 h 77"/>
                    <a:gd name="T44" fmla="*/ 0 w 77"/>
                    <a:gd name="T45" fmla="*/ 14 h 77"/>
                    <a:gd name="T46" fmla="*/ 3 w 77"/>
                    <a:gd name="T47" fmla="*/ 19 h 77"/>
                    <a:gd name="T48" fmla="*/ 11 w 77"/>
                    <a:gd name="T49" fmla="*/ 24 h 77"/>
                    <a:gd name="T50" fmla="*/ 10 w 77"/>
                    <a:gd name="T51" fmla="*/ 31 h 77"/>
                    <a:gd name="T52" fmla="*/ 16 w 77"/>
                    <a:gd name="T53" fmla="*/ 40 h 77"/>
                    <a:gd name="T54" fmla="*/ 16 w 77"/>
                    <a:gd name="T55" fmla="*/ 48 h 77"/>
                    <a:gd name="T56" fmla="*/ 27 w 77"/>
                    <a:gd name="T57" fmla="*/ 52 h 77"/>
                    <a:gd name="T58" fmla="*/ 26 w 77"/>
                    <a:gd name="T59" fmla="*/ 56 h 77"/>
                    <a:gd name="T60" fmla="*/ 27 w 77"/>
                    <a:gd name="T61" fmla="*/ 63 h 77"/>
                    <a:gd name="T62" fmla="*/ 27 w 77"/>
                    <a:gd name="T63" fmla="*/ 66 h 77"/>
                    <a:gd name="T64" fmla="*/ 31 w 77"/>
                    <a:gd name="T65" fmla="*/ 66 h 77"/>
                    <a:gd name="T66" fmla="*/ 33 w 77"/>
                    <a:gd name="T67" fmla="*/ 62 h 77"/>
                    <a:gd name="T68" fmla="*/ 37 w 77"/>
                    <a:gd name="T69" fmla="*/ 58 h 77"/>
                    <a:gd name="T70" fmla="*/ 41 w 77"/>
                    <a:gd name="T71" fmla="*/ 54 h 77"/>
                    <a:gd name="T72" fmla="*/ 45 w 77"/>
                    <a:gd name="T73" fmla="*/ 51 h 77"/>
                    <a:gd name="T74" fmla="*/ 47 w 77"/>
                    <a:gd name="T75" fmla="*/ 52 h 77"/>
                    <a:gd name="T76" fmla="*/ 49 w 77"/>
                    <a:gd name="T77" fmla="*/ 55 h 77"/>
                    <a:gd name="T78" fmla="*/ 49 w 77"/>
                    <a:gd name="T79" fmla="*/ 59 h 77"/>
                    <a:gd name="T80" fmla="*/ 53 w 77"/>
                    <a:gd name="T81" fmla="*/ 63 h 77"/>
                    <a:gd name="T82" fmla="*/ 54 w 77"/>
                    <a:gd name="T83" fmla="*/ 73 h 77"/>
                    <a:gd name="T84" fmla="*/ 57 w 77"/>
                    <a:gd name="T85" fmla="*/ 76 h 77"/>
                    <a:gd name="T86" fmla="*/ 60 w 77"/>
                    <a:gd name="T87" fmla="*/ 76 h 77"/>
                    <a:gd name="T88" fmla="*/ 60 w 77"/>
                    <a:gd name="T89" fmla="*/ 68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7" h="77">
                      <a:moveTo>
                        <a:pt x="60" y="68"/>
                      </a:moveTo>
                      <a:lnTo>
                        <a:pt x="60" y="66"/>
                      </a:lnTo>
                      <a:lnTo>
                        <a:pt x="59" y="61"/>
                      </a:lnTo>
                      <a:lnTo>
                        <a:pt x="60" y="59"/>
                      </a:lnTo>
                      <a:lnTo>
                        <a:pt x="61" y="57"/>
                      </a:lnTo>
                      <a:lnTo>
                        <a:pt x="63" y="59"/>
                      </a:lnTo>
                      <a:lnTo>
                        <a:pt x="62" y="63"/>
                      </a:lnTo>
                      <a:lnTo>
                        <a:pt x="63" y="66"/>
                      </a:lnTo>
                      <a:lnTo>
                        <a:pt x="64" y="63"/>
                      </a:lnTo>
                      <a:lnTo>
                        <a:pt x="64" y="57"/>
                      </a:lnTo>
                      <a:lnTo>
                        <a:pt x="65" y="56"/>
                      </a:lnTo>
                      <a:lnTo>
                        <a:pt x="65" y="53"/>
                      </a:lnTo>
                      <a:lnTo>
                        <a:pt x="64" y="52"/>
                      </a:lnTo>
                      <a:lnTo>
                        <a:pt x="65" y="49"/>
                      </a:lnTo>
                      <a:lnTo>
                        <a:pt x="65" y="46"/>
                      </a:lnTo>
                      <a:lnTo>
                        <a:pt x="65" y="43"/>
                      </a:lnTo>
                      <a:lnTo>
                        <a:pt x="65" y="38"/>
                      </a:lnTo>
                      <a:lnTo>
                        <a:pt x="69" y="34"/>
                      </a:lnTo>
                      <a:lnTo>
                        <a:pt x="73" y="34"/>
                      </a:lnTo>
                      <a:lnTo>
                        <a:pt x="75" y="32"/>
                      </a:lnTo>
                      <a:lnTo>
                        <a:pt x="77" y="32"/>
                      </a:lnTo>
                      <a:lnTo>
                        <a:pt x="75" y="29"/>
                      </a:lnTo>
                      <a:lnTo>
                        <a:pt x="72" y="27"/>
                      </a:lnTo>
                      <a:lnTo>
                        <a:pt x="68" y="28"/>
                      </a:lnTo>
                      <a:lnTo>
                        <a:pt x="65" y="25"/>
                      </a:lnTo>
                      <a:lnTo>
                        <a:pt x="64" y="22"/>
                      </a:lnTo>
                      <a:lnTo>
                        <a:pt x="59" y="18"/>
                      </a:lnTo>
                      <a:lnTo>
                        <a:pt x="58" y="13"/>
                      </a:lnTo>
                      <a:lnTo>
                        <a:pt x="57" y="10"/>
                      </a:lnTo>
                      <a:lnTo>
                        <a:pt x="53" y="3"/>
                      </a:lnTo>
                      <a:lnTo>
                        <a:pt x="50" y="0"/>
                      </a:lnTo>
                      <a:lnTo>
                        <a:pt x="45" y="7"/>
                      </a:lnTo>
                      <a:lnTo>
                        <a:pt x="41" y="11"/>
                      </a:lnTo>
                      <a:lnTo>
                        <a:pt x="40" y="13"/>
                      </a:lnTo>
                      <a:lnTo>
                        <a:pt x="33" y="12"/>
                      </a:lnTo>
                      <a:lnTo>
                        <a:pt x="31" y="8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9" y="7"/>
                      </a:lnTo>
                      <a:lnTo>
                        <a:pt x="23" y="11"/>
                      </a:lnTo>
                      <a:lnTo>
                        <a:pt x="25" y="14"/>
                      </a:lnTo>
                      <a:lnTo>
                        <a:pt x="24" y="20"/>
                      </a:lnTo>
                      <a:lnTo>
                        <a:pt x="19" y="17"/>
                      </a:lnTo>
                      <a:lnTo>
                        <a:pt x="13" y="16"/>
                      </a:lnTo>
                      <a:lnTo>
                        <a:pt x="6" y="11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3" y="19"/>
                      </a:lnTo>
                      <a:lnTo>
                        <a:pt x="8" y="20"/>
                      </a:lnTo>
                      <a:lnTo>
                        <a:pt x="11" y="24"/>
                      </a:lnTo>
                      <a:lnTo>
                        <a:pt x="10" y="28"/>
                      </a:lnTo>
                      <a:lnTo>
                        <a:pt x="10" y="31"/>
                      </a:lnTo>
                      <a:lnTo>
                        <a:pt x="16" y="36"/>
                      </a:lnTo>
                      <a:lnTo>
                        <a:pt x="16" y="40"/>
                      </a:lnTo>
                      <a:lnTo>
                        <a:pt x="14" y="42"/>
                      </a:lnTo>
                      <a:lnTo>
                        <a:pt x="16" y="48"/>
                      </a:lnTo>
                      <a:lnTo>
                        <a:pt x="22" y="52"/>
                      </a:lnTo>
                      <a:lnTo>
                        <a:pt x="27" y="52"/>
                      </a:lnTo>
                      <a:lnTo>
                        <a:pt x="30" y="56"/>
                      </a:lnTo>
                      <a:lnTo>
                        <a:pt x="26" y="56"/>
                      </a:lnTo>
                      <a:lnTo>
                        <a:pt x="28" y="61"/>
                      </a:lnTo>
                      <a:lnTo>
                        <a:pt x="27" y="63"/>
                      </a:lnTo>
                      <a:lnTo>
                        <a:pt x="27" y="66"/>
                      </a:lnTo>
                      <a:lnTo>
                        <a:pt x="27" y="66"/>
                      </a:lnTo>
                      <a:lnTo>
                        <a:pt x="29" y="67"/>
                      </a:lnTo>
                      <a:lnTo>
                        <a:pt x="31" y="66"/>
                      </a:lnTo>
                      <a:lnTo>
                        <a:pt x="32" y="63"/>
                      </a:lnTo>
                      <a:lnTo>
                        <a:pt x="33" y="62"/>
                      </a:lnTo>
                      <a:lnTo>
                        <a:pt x="34" y="62"/>
                      </a:lnTo>
                      <a:lnTo>
                        <a:pt x="37" y="58"/>
                      </a:lnTo>
                      <a:lnTo>
                        <a:pt x="38" y="57"/>
                      </a:lnTo>
                      <a:lnTo>
                        <a:pt x="41" y="54"/>
                      </a:lnTo>
                      <a:lnTo>
                        <a:pt x="42" y="53"/>
                      </a:lnTo>
                      <a:lnTo>
                        <a:pt x="45" y="51"/>
                      </a:lnTo>
                      <a:lnTo>
                        <a:pt x="46" y="51"/>
                      </a:lnTo>
                      <a:lnTo>
                        <a:pt x="47" y="52"/>
                      </a:lnTo>
                      <a:lnTo>
                        <a:pt x="48" y="52"/>
                      </a:lnTo>
                      <a:lnTo>
                        <a:pt x="49" y="55"/>
                      </a:lnTo>
                      <a:lnTo>
                        <a:pt x="52" y="57"/>
                      </a:lnTo>
                      <a:lnTo>
                        <a:pt x="49" y="59"/>
                      </a:lnTo>
                      <a:lnTo>
                        <a:pt x="50" y="61"/>
                      </a:lnTo>
                      <a:lnTo>
                        <a:pt x="53" y="63"/>
                      </a:lnTo>
                      <a:lnTo>
                        <a:pt x="49" y="67"/>
                      </a:lnTo>
                      <a:lnTo>
                        <a:pt x="54" y="73"/>
                      </a:lnTo>
                      <a:lnTo>
                        <a:pt x="56" y="75"/>
                      </a:lnTo>
                      <a:lnTo>
                        <a:pt x="57" y="76"/>
                      </a:lnTo>
                      <a:lnTo>
                        <a:pt x="59" y="77"/>
                      </a:lnTo>
                      <a:lnTo>
                        <a:pt x="60" y="76"/>
                      </a:lnTo>
                      <a:lnTo>
                        <a:pt x="61" y="70"/>
                      </a:lnTo>
                      <a:lnTo>
                        <a:pt x="60" y="6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7" name="Freeform 769">
                  <a:extLst>
                    <a:ext uri="{FF2B5EF4-FFF2-40B4-BE49-F238E27FC236}">
                      <a16:creationId xmlns:a16="http://schemas.microsoft.com/office/drawing/2014/main" id="{EC7F19E3-5420-4CCE-909F-179DE4AEFC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7" y="2083"/>
                  <a:ext cx="290" cy="279"/>
                </a:xfrm>
                <a:custGeom>
                  <a:avLst/>
                  <a:gdLst>
                    <a:gd name="T0" fmla="*/ 271 w 290"/>
                    <a:gd name="T1" fmla="*/ 254 h 279"/>
                    <a:gd name="T2" fmla="*/ 290 w 290"/>
                    <a:gd name="T3" fmla="*/ 247 h 279"/>
                    <a:gd name="T4" fmla="*/ 281 w 290"/>
                    <a:gd name="T5" fmla="*/ 231 h 279"/>
                    <a:gd name="T6" fmla="*/ 273 w 290"/>
                    <a:gd name="T7" fmla="*/ 217 h 279"/>
                    <a:gd name="T8" fmla="*/ 258 w 290"/>
                    <a:gd name="T9" fmla="*/ 204 h 279"/>
                    <a:gd name="T10" fmla="*/ 262 w 290"/>
                    <a:gd name="T11" fmla="*/ 162 h 279"/>
                    <a:gd name="T12" fmla="*/ 246 w 290"/>
                    <a:gd name="T13" fmla="*/ 144 h 279"/>
                    <a:gd name="T14" fmla="*/ 244 w 290"/>
                    <a:gd name="T15" fmla="*/ 116 h 279"/>
                    <a:gd name="T16" fmla="*/ 241 w 290"/>
                    <a:gd name="T17" fmla="*/ 100 h 279"/>
                    <a:gd name="T18" fmla="*/ 243 w 290"/>
                    <a:gd name="T19" fmla="*/ 90 h 279"/>
                    <a:gd name="T20" fmla="*/ 243 w 290"/>
                    <a:gd name="T21" fmla="*/ 76 h 279"/>
                    <a:gd name="T22" fmla="*/ 242 w 290"/>
                    <a:gd name="T23" fmla="*/ 64 h 279"/>
                    <a:gd name="T24" fmla="*/ 219 w 290"/>
                    <a:gd name="T25" fmla="*/ 45 h 279"/>
                    <a:gd name="T26" fmla="*/ 205 w 290"/>
                    <a:gd name="T27" fmla="*/ 37 h 279"/>
                    <a:gd name="T28" fmla="*/ 183 w 290"/>
                    <a:gd name="T29" fmla="*/ 26 h 279"/>
                    <a:gd name="T30" fmla="*/ 168 w 290"/>
                    <a:gd name="T31" fmla="*/ 28 h 279"/>
                    <a:gd name="T32" fmla="*/ 151 w 290"/>
                    <a:gd name="T33" fmla="*/ 43 h 279"/>
                    <a:gd name="T34" fmla="*/ 143 w 290"/>
                    <a:gd name="T35" fmla="*/ 58 h 279"/>
                    <a:gd name="T36" fmla="*/ 111 w 290"/>
                    <a:gd name="T37" fmla="*/ 61 h 279"/>
                    <a:gd name="T38" fmla="*/ 90 w 290"/>
                    <a:gd name="T39" fmla="*/ 48 h 279"/>
                    <a:gd name="T40" fmla="*/ 75 w 290"/>
                    <a:gd name="T41" fmla="*/ 45 h 279"/>
                    <a:gd name="T42" fmla="*/ 69 w 290"/>
                    <a:gd name="T43" fmla="*/ 32 h 279"/>
                    <a:gd name="T44" fmla="*/ 63 w 290"/>
                    <a:gd name="T45" fmla="*/ 26 h 279"/>
                    <a:gd name="T46" fmla="*/ 56 w 290"/>
                    <a:gd name="T47" fmla="*/ 10 h 279"/>
                    <a:gd name="T48" fmla="*/ 53 w 290"/>
                    <a:gd name="T49" fmla="*/ 2 h 279"/>
                    <a:gd name="T50" fmla="*/ 44 w 290"/>
                    <a:gd name="T51" fmla="*/ 9 h 279"/>
                    <a:gd name="T52" fmla="*/ 36 w 290"/>
                    <a:gd name="T53" fmla="*/ 18 h 279"/>
                    <a:gd name="T54" fmla="*/ 26 w 290"/>
                    <a:gd name="T55" fmla="*/ 17 h 279"/>
                    <a:gd name="T56" fmla="*/ 13 w 290"/>
                    <a:gd name="T57" fmla="*/ 6 h 279"/>
                    <a:gd name="T58" fmla="*/ 7 w 290"/>
                    <a:gd name="T59" fmla="*/ 0 h 279"/>
                    <a:gd name="T60" fmla="*/ 2 w 290"/>
                    <a:gd name="T61" fmla="*/ 11 h 279"/>
                    <a:gd name="T62" fmla="*/ 7 w 290"/>
                    <a:gd name="T63" fmla="*/ 28 h 279"/>
                    <a:gd name="T64" fmla="*/ 12 w 290"/>
                    <a:gd name="T65" fmla="*/ 48 h 279"/>
                    <a:gd name="T66" fmla="*/ 17 w 290"/>
                    <a:gd name="T67" fmla="*/ 60 h 279"/>
                    <a:gd name="T68" fmla="*/ 23 w 290"/>
                    <a:gd name="T69" fmla="*/ 73 h 279"/>
                    <a:gd name="T70" fmla="*/ 38 w 290"/>
                    <a:gd name="T71" fmla="*/ 79 h 279"/>
                    <a:gd name="T72" fmla="*/ 35 w 290"/>
                    <a:gd name="T73" fmla="*/ 83 h 279"/>
                    <a:gd name="T74" fmla="*/ 33 w 290"/>
                    <a:gd name="T75" fmla="*/ 96 h 279"/>
                    <a:gd name="T76" fmla="*/ 31 w 290"/>
                    <a:gd name="T77" fmla="*/ 113 h 279"/>
                    <a:gd name="T78" fmla="*/ 37 w 290"/>
                    <a:gd name="T79" fmla="*/ 120 h 279"/>
                    <a:gd name="T80" fmla="*/ 39 w 290"/>
                    <a:gd name="T81" fmla="*/ 133 h 279"/>
                    <a:gd name="T82" fmla="*/ 58 w 290"/>
                    <a:gd name="T83" fmla="*/ 141 h 279"/>
                    <a:gd name="T84" fmla="*/ 65 w 290"/>
                    <a:gd name="T85" fmla="*/ 162 h 279"/>
                    <a:gd name="T86" fmla="*/ 74 w 290"/>
                    <a:gd name="T87" fmla="*/ 183 h 279"/>
                    <a:gd name="T88" fmla="*/ 81 w 290"/>
                    <a:gd name="T89" fmla="*/ 190 h 279"/>
                    <a:gd name="T90" fmla="*/ 84 w 290"/>
                    <a:gd name="T91" fmla="*/ 183 h 279"/>
                    <a:gd name="T92" fmla="*/ 89 w 290"/>
                    <a:gd name="T93" fmla="*/ 187 h 279"/>
                    <a:gd name="T94" fmla="*/ 99 w 290"/>
                    <a:gd name="T95" fmla="*/ 186 h 279"/>
                    <a:gd name="T96" fmla="*/ 110 w 290"/>
                    <a:gd name="T97" fmla="*/ 208 h 279"/>
                    <a:gd name="T98" fmla="*/ 110 w 290"/>
                    <a:gd name="T99" fmla="*/ 211 h 279"/>
                    <a:gd name="T100" fmla="*/ 122 w 290"/>
                    <a:gd name="T101" fmla="*/ 229 h 279"/>
                    <a:gd name="T102" fmla="*/ 138 w 290"/>
                    <a:gd name="T103" fmla="*/ 234 h 279"/>
                    <a:gd name="T104" fmla="*/ 146 w 290"/>
                    <a:gd name="T105" fmla="*/ 243 h 279"/>
                    <a:gd name="T106" fmla="*/ 160 w 290"/>
                    <a:gd name="T107" fmla="*/ 249 h 279"/>
                    <a:gd name="T108" fmla="*/ 182 w 290"/>
                    <a:gd name="T109" fmla="*/ 244 h 279"/>
                    <a:gd name="T110" fmla="*/ 197 w 290"/>
                    <a:gd name="T111" fmla="*/ 241 h 279"/>
                    <a:gd name="T112" fmla="*/ 202 w 290"/>
                    <a:gd name="T113" fmla="*/ 255 h 279"/>
                    <a:gd name="T114" fmla="*/ 214 w 290"/>
                    <a:gd name="T115" fmla="*/ 269 h 279"/>
                    <a:gd name="T116" fmla="*/ 228 w 290"/>
                    <a:gd name="T117" fmla="*/ 272 h 279"/>
                    <a:gd name="T118" fmla="*/ 251 w 290"/>
                    <a:gd name="T119" fmla="*/ 275 h 279"/>
                    <a:gd name="T120" fmla="*/ 257 w 290"/>
                    <a:gd name="T121" fmla="*/ 276 h 279"/>
                    <a:gd name="T122" fmla="*/ 270 w 290"/>
                    <a:gd name="T123" fmla="*/ 277 h 2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90" h="279">
                      <a:moveTo>
                        <a:pt x="270" y="268"/>
                      </a:moveTo>
                      <a:lnTo>
                        <a:pt x="269" y="264"/>
                      </a:lnTo>
                      <a:lnTo>
                        <a:pt x="270" y="260"/>
                      </a:lnTo>
                      <a:lnTo>
                        <a:pt x="270" y="258"/>
                      </a:lnTo>
                      <a:lnTo>
                        <a:pt x="271" y="254"/>
                      </a:lnTo>
                      <a:lnTo>
                        <a:pt x="276" y="252"/>
                      </a:lnTo>
                      <a:lnTo>
                        <a:pt x="277" y="250"/>
                      </a:lnTo>
                      <a:lnTo>
                        <a:pt x="284" y="248"/>
                      </a:lnTo>
                      <a:lnTo>
                        <a:pt x="287" y="249"/>
                      </a:lnTo>
                      <a:lnTo>
                        <a:pt x="290" y="247"/>
                      </a:lnTo>
                      <a:lnTo>
                        <a:pt x="289" y="241"/>
                      </a:lnTo>
                      <a:lnTo>
                        <a:pt x="286" y="238"/>
                      </a:lnTo>
                      <a:lnTo>
                        <a:pt x="282" y="238"/>
                      </a:lnTo>
                      <a:lnTo>
                        <a:pt x="281" y="235"/>
                      </a:lnTo>
                      <a:lnTo>
                        <a:pt x="281" y="231"/>
                      </a:lnTo>
                      <a:lnTo>
                        <a:pt x="280" y="226"/>
                      </a:lnTo>
                      <a:lnTo>
                        <a:pt x="280" y="221"/>
                      </a:lnTo>
                      <a:lnTo>
                        <a:pt x="276" y="220"/>
                      </a:lnTo>
                      <a:lnTo>
                        <a:pt x="276" y="218"/>
                      </a:lnTo>
                      <a:lnTo>
                        <a:pt x="273" y="217"/>
                      </a:lnTo>
                      <a:lnTo>
                        <a:pt x="268" y="217"/>
                      </a:lnTo>
                      <a:lnTo>
                        <a:pt x="267" y="215"/>
                      </a:lnTo>
                      <a:lnTo>
                        <a:pt x="263" y="213"/>
                      </a:lnTo>
                      <a:lnTo>
                        <a:pt x="260" y="208"/>
                      </a:lnTo>
                      <a:lnTo>
                        <a:pt x="258" y="204"/>
                      </a:lnTo>
                      <a:lnTo>
                        <a:pt x="251" y="192"/>
                      </a:lnTo>
                      <a:lnTo>
                        <a:pt x="262" y="175"/>
                      </a:lnTo>
                      <a:lnTo>
                        <a:pt x="263" y="172"/>
                      </a:lnTo>
                      <a:lnTo>
                        <a:pt x="261" y="166"/>
                      </a:lnTo>
                      <a:lnTo>
                        <a:pt x="262" y="162"/>
                      </a:lnTo>
                      <a:lnTo>
                        <a:pt x="259" y="155"/>
                      </a:lnTo>
                      <a:lnTo>
                        <a:pt x="247" y="155"/>
                      </a:lnTo>
                      <a:lnTo>
                        <a:pt x="246" y="149"/>
                      </a:lnTo>
                      <a:lnTo>
                        <a:pt x="246" y="146"/>
                      </a:lnTo>
                      <a:lnTo>
                        <a:pt x="246" y="144"/>
                      </a:lnTo>
                      <a:lnTo>
                        <a:pt x="244" y="136"/>
                      </a:lnTo>
                      <a:lnTo>
                        <a:pt x="240" y="127"/>
                      </a:lnTo>
                      <a:lnTo>
                        <a:pt x="241" y="123"/>
                      </a:lnTo>
                      <a:lnTo>
                        <a:pt x="246" y="116"/>
                      </a:lnTo>
                      <a:lnTo>
                        <a:pt x="244" y="116"/>
                      </a:lnTo>
                      <a:lnTo>
                        <a:pt x="239" y="115"/>
                      </a:lnTo>
                      <a:lnTo>
                        <a:pt x="239" y="111"/>
                      </a:lnTo>
                      <a:lnTo>
                        <a:pt x="239" y="105"/>
                      </a:lnTo>
                      <a:lnTo>
                        <a:pt x="238" y="104"/>
                      </a:lnTo>
                      <a:lnTo>
                        <a:pt x="241" y="100"/>
                      </a:lnTo>
                      <a:lnTo>
                        <a:pt x="238" y="98"/>
                      </a:lnTo>
                      <a:lnTo>
                        <a:pt x="237" y="96"/>
                      </a:lnTo>
                      <a:lnTo>
                        <a:pt x="240" y="94"/>
                      </a:lnTo>
                      <a:lnTo>
                        <a:pt x="244" y="92"/>
                      </a:lnTo>
                      <a:lnTo>
                        <a:pt x="243" y="90"/>
                      </a:lnTo>
                      <a:lnTo>
                        <a:pt x="244" y="89"/>
                      </a:lnTo>
                      <a:lnTo>
                        <a:pt x="242" y="86"/>
                      </a:lnTo>
                      <a:lnTo>
                        <a:pt x="243" y="83"/>
                      </a:lnTo>
                      <a:lnTo>
                        <a:pt x="243" y="81"/>
                      </a:lnTo>
                      <a:lnTo>
                        <a:pt x="243" y="76"/>
                      </a:lnTo>
                      <a:lnTo>
                        <a:pt x="243" y="76"/>
                      </a:lnTo>
                      <a:lnTo>
                        <a:pt x="242" y="73"/>
                      </a:lnTo>
                      <a:lnTo>
                        <a:pt x="242" y="70"/>
                      </a:lnTo>
                      <a:lnTo>
                        <a:pt x="241" y="66"/>
                      </a:lnTo>
                      <a:lnTo>
                        <a:pt x="242" y="64"/>
                      </a:lnTo>
                      <a:lnTo>
                        <a:pt x="239" y="58"/>
                      </a:lnTo>
                      <a:lnTo>
                        <a:pt x="236" y="57"/>
                      </a:lnTo>
                      <a:lnTo>
                        <a:pt x="230" y="56"/>
                      </a:lnTo>
                      <a:lnTo>
                        <a:pt x="224" y="47"/>
                      </a:lnTo>
                      <a:lnTo>
                        <a:pt x="219" y="45"/>
                      </a:lnTo>
                      <a:lnTo>
                        <a:pt x="216" y="46"/>
                      </a:lnTo>
                      <a:lnTo>
                        <a:pt x="214" y="45"/>
                      </a:lnTo>
                      <a:lnTo>
                        <a:pt x="214" y="40"/>
                      </a:lnTo>
                      <a:lnTo>
                        <a:pt x="211" y="39"/>
                      </a:lnTo>
                      <a:lnTo>
                        <a:pt x="205" y="37"/>
                      </a:lnTo>
                      <a:lnTo>
                        <a:pt x="203" y="38"/>
                      </a:lnTo>
                      <a:lnTo>
                        <a:pt x="201" y="38"/>
                      </a:lnTo>
                      <a:lnTo>
                        <a:pt x="192" y="32"/>
                      </a:lnTo>
                      <a:lnTo>
                        <a:pt x="188" y="31"/>
                      </a:lnTo>
                      <a:lnTo>
                        <a:pt x="183" y="26"/>
                      </a:lnTo>
                      <a:lnTo>
                        <a:pt x="180" y="26"/>
                      </a:lnTo>
                      <a:lnTo>
                        <a:pt x="177" y="24"/>
                      </a:lnTo>
                      <a:lnTo>
                        <a:pt x="174" y="26"/>
                      </a:lnTo>
                      <a:lnTo>
                        <a:pt x="173" y="30"/>
                      </a:lnTo>
                      <a:lnTo>
                        <a:pt x="168" y="28"/>
                      </a:lnTo>
                      <a:lnTo>
                        <a:pt x="162" y="30"/>
                      </a:lnTo>
                      <a:lnTo>
                        <a:pt x="155" y="35"/>
                      </a:lnTo>
                      <a:lnTo>
                        <a:pt x="153" y="36"/>
                      </a:lnTo>
                      <a:lnTo>
                        <a:pt x="152" y="38"/>
                      </a:lnTo>
                      <a:lnTo>
                        <a:pt x="151" y="43"/>
                      </a:lnTo>
                      <a:lnTo>
                        <a:pt x="144" y="44"/>
                      </a:lnTo>
                      <a:lnTo>
                        <a:pt x="141" y="45"/>
                      </a:lnTo>
                      <a:lnTo>
                        <a:pt x="142" y="50"/>
                      </a:lnTo>
                      <a:lnTo>
                        <a:pt x="144" y="54"/>
                      </a:lnTo>
                      <a:lnTo>
                        <a:pt x="143" y="58"/>
                      </a:lnTo>
                      <a:lnTo>
                        <a:pt x="140" y="58"/>
                      </a:lnTo>
                      <a:lnTo>
                        <a:pt x="131" y="57"/>
                      </a:lnTo>
                      <a:lnTo>
                        <a:pt x="124" y="58"/>
                      </a:lnTo>
                      <a:lnTo>
                        <a:pt x="115" y="61"/>
                      </a:lnTo>
                      <a:lnTo>
                        <a:pt x="111" y="61"/>
                      </a:lnTo>
                      <a:lnTo>
                        <a:pt x="103" y="58"/>
                      </a:lnTo>
                      <a:lnTo>
                        <a:pt x="100" y="58"/>
                      </a:lnTo>
                      <a:lnTo>
                        <a:pt x="93" y="55"/>
                      </a:lnTo>
                      <a:lnTo>
                        <a:pt x="90" y="51"/>
                      </a:lnTo>
                      <a:lnTo>
                        <a:pt x="90" y="48"/>
                      </a:lnTo>
                      <a:lnTo>
                        <a:pt x="87" y="48"/>
                      </a:lnTo>
                      <a:lnTo>
                        <a:pt x="84" y="45"/>
                      </a:lnTo>
                      <a:lnTo>
                        <a:pt x="81" y="46"/>
                      </a:lnTo>
                      <a:lnTo>
                        <a:pt x="79" y="45"/>
                      </a:lnTo>
                      <a:lnTo>
                        <a:pt x="75" y="45"/>
                      </a:lnTo>
                      <a:lnTo>
                        <a:pt x="72" y="41"/>
                      </a:lnTo>
                      <a:lnTo>
                        <a:pt x="70" y="41"/>
                      </a:lnTo>
                      <a:lnTo>
                        <a:pt x="69" y="40"/>
                      </a:lnTo>
                      <a:lnTo>
                        <a:pt x="70" y="36"/>
                      </a:lnTo>
                      <a:lnTo>
                        <a:pt x="69" y="32"/>
                      </a:lnTo>
                      <a:lnTo>
                        <a:pt x="67" y="28"/>
                      </a:lnTo>
                      <a:lnTo>
                        <a:pt x="67" y="27"/>
                      </a:lnTo>
                      <a:lnTo>
                        <a:pt x="66" y="28"/>
                      </a:lnTo>
                      <a:lnTo>
                        <a:pt x="64" y="27"/>
                      </a:lnTo>
                      <a:lnTo>
                        <a:pt x="63" y="26"/>
                      </a:lnTo>
                      <a:lnTo>
                        <a:pt x="61" y="24"/>
                      </a:lnTo>
                      <a:lnTo>
                        <a:pt x="56" y="18"/>
                      </a:lnTo>
                      <a:lnTo>
                        <a:pt x="60" y="14"/>
                      </a:lnTo>
                      <a:lnTo>
                        <a:pt x="57" y="12"/>
                      </a:lnTo>
                      <a:lnTo>
                        <a:pt x="56" y="10"/>
                      </a:lnTo>
                      <a:lnTo>
                        <a:pt x="59" y="8"/>
                      </a:lnTo>
                      <a:lnTo>
                        <a:pt x="56" y="6"/>
                      </a:lnTo>
                      <a:lnTo>
                        <a:pt x="55" y="3"/>
                      </a:lnTo>
                      <a:lnTo>
                        <a:pt x="54" y="3"/>
                      </a:lnTo>
                      <a:lnTo>
                        <a:pt x="53" y="2"/>
                      </a:lnTo>
                      <a:lnTo>
                        <a:pt x="52" y="2"/>
                      </a:lnTo>
                      <a:lnTo>
                        <a:pt x="49" y="4"/>
                      </a:lnTo>
                      <a:lnTo>
                        <a:pt x="48" y="5"/>
                      </a:lnTo>
                      <a:lnTo>
                        <a:pt x="45" y="8"/>
                      </a:lnTo>
                      <a:lnTo>
                        <a:pt x="44" y="9"/>
                      </a:lnTo>
                      <a:lnTo>
                        <a:pt x="41" y="13"/>
                      </a:lnTo>
                      <a:lnTo>
                        <a:pt x="40" y="13"/>
                      </a:lnTo>
                      <a:lnTo>
                        <a:pt x="39" y="14"/>
                      </a:lnTo>
                      <a:lnTo>
                        <a:pt x="38" y="17"/>
                      </a:lnTo>
                      <a:lnTo>
                        <a:pt x="36" y="18"/>
                      </a:lnTo>
                      <a:lnTo>
                        <a:pt x="34" y="17"/>
                      </a:lnTo>
                      <a:lnTo>
                        <a:pt x="31" y="17"/>
                      </a:lnTo>
                      <a:lnTo>
                        <a:pt x="31" y="17"/>
                      </a:lnTo>
                      <a:lnTo>
                        <a:pt x="30" y="21"/>
                      </a:lnTo>
                      <a:lnTo>
                        <a:pt x="26" y="17"/>
                      </a:lnTo>
                      <a:lnTo>
                        <a:pt x="23" y="17"/>
                      </a:lnTo>
                      <a:lnTo>
                        <a:pt x="19" y="15"/>
                      </a:lnTo>
                      <a:lnTo>
                        <a:pt x="18" y="12"/>
                      </a:lnTo>
                      <a:lnTo>
                        <a:pt x="12" y="8"/>
                      </a:lnTo>
                      <a:lnTo>
                        <a:pt x="13" y="6"/>
                      </a:lnTo>
                      <a:lnTo>
                        <a:pt x="11" y="3"/>
                      </a:lnTo>
                      <a:lnTo>
                        <a:pt x="10" y="3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6" y="1"/>
                      </a:lnTo>
                      <a:lnTo>
                        <a:pt x="4" y="6"/>
                      </a:lnTo>
                      <a:lnTo>
                        <a:pt x="0" y="7"/>
                      </a:lnTo>
                      <a:lnTo>
                        <a:pt x="0" y="8"/>
                      </a:lnTo>
                      <a:lnTo>
                        <a:pt x="2" y="11"/>
                      </a:lnTo>
                      <a:lnTo>
                        <a:pt x="3" y="17"/>
                      </a:lnTo>
                      <a:lnTo>
                        <a:pt x="3" y="21"/>
                      </a:lnTo>
                      <a:lnTo>
                        <a:pt x="3" y="26"/>
                      </a:lnTo>
                      <a:lnTo>
                        <a:pt x="6" y="26"/>
                      </a:lnTo>
                      <a:lnTo>
                        <a:pt x="7" y="28"/>
                      </a:lnTo>
                      <a:lnTo>
                        <a:pt x="5" y="33"/>
                      </a:lnTo>
                      <a:lnTo>
                        <a:pt x="5" y="38"/>
                      </a:lnTo>
                      <a:lnTo>
                        <a:pt x="5" y="40"/>
                      </a:lnTo>
                      <a:lnTo>
                        <a:pt x="9" y="42"/>
                      </a:lnTo>
                      <a:lnTo>
                        <a:pt x="12" y="48"/>
                      </a:lnTo>
                      <a:lnTo>
                        <a:pt x="14" y="52"/>
                      </a:lnTo>
                      <a:lnTo>
                        <a:pt x="13" y="55"/>
                      </a:lnTo>
                      <a:lnTo>
                        <a:pt x="13" y="55"/>
                      </a:lnTo>
                      <a:lnTo>
                        <a:pt x="15" y="55"/>
                      </a:lnTo>
                      <a:lnTo>
                        <a:pt x="17" y="60"/>
                      </a:lnTo>
                      <a:lnTo>
                        <a:pt x="17" y="62"/>
                      </a:lnTo>
                      <a:lnTo>
                        <a:pt x="18" y="66"/>
                      </a:lnTo>
                      <a:lnTo>
                        <a:pt x="20" y="67"/>
                      </a:lnTo>
                      <a:lnTo>
                        <a:pt x="21" y="69"/>
                      </a:lnTo>
                      <a:lnTo>
                        <a:pt x="23" y="73"/>
                      </a:lnTo>
                      <a:lnTo>
                        <a:pt x="25" y="75"/>
                      </a:lnTo>
                      <a:lnTo>
                        <a:pt x="27" y="76"/>
                      </a:lnTo>
                      <a:lnTo>
                        <a:pt x="32" y="79"/>
                      </a:lnTo>
                      <a:lnTo>
                        <a:pt x="34" y="79"/>
                      </a:lnTo>
                      <a:lnTo>
                        <a:pt x="38" y="79"/>
                      </a:lnTo>
                      <a:lnTo>
                        <a:pt x="39" y="80"/>
                      </a:lnTo>
                      <a:lnTo>
                        <a:pt x="41" y="81"/>
                      </a:lnTo>
                      <a:lnTo>
                        <a:pt x="40" y="82"/>
                      </a:lnTo>
                      <a:lnTo>
                        <a:pt x="37" y="83"/>
                      </a:lnTo>
                      <a:lnTo>
                        <a:pt x="35" y="83"/>
                      </a:lnTo>
                      <a:lnTo>
                        <a:pt x="35" y="88"/>
                      </a:lnTo>
                      <a:lnTo>
                        <a:pt x="37" y="89"/>
                      </a:lnTo>
                      <a:lnTo>
                        <a:pt x="37" y="95"/>
                      </a:lnTo>
                      <a:lnTo>
                        <a:pt x="35" y="96"/>
                      </a:lnTo>
                      <a:lnTo>
                        <a:pt x="33" y="96"/>
                      </a:lnTo>
                      <a:lnTo>
                        <a:pt x="33" y="101"/>
                      </a:lnTo>
                      <a:lnTo>
                        <a:pt x="31" y="103"/>
                      </a:lnTo>
                      <a:lnTo>
                        <a:pt x="31" y="109"/>
                      </a:lnTo>
                      <a:lnTo>
                        <a:pt x="30" y="111"/>
                      </a:lnTo>
                      <a:lnTo>
                        <a:pt x="31" y="113"/>
                      </a:lnTo>
                      <a:lnTo>
                        <a:pt x="30" y="114"/>
                      </a:lnTo>
                      <a:lnTo>
                        <a:pt x="30" y="117"/>
                      </a:lnTo>
                      <a:lnTo>
                        <a:pt x="32" y="117"/>
                      </a:lnTo>
                      <a:lnTo>
                        <a:pt x="34" y="119"/>
                      </a:lnTo>
                      <a:lnTo>
                        <a:pt x="37" y="120"/>
                      </a:lnTo>
                      <a:lnTo>
                        <a:pt x="37" y="123"/>
                      </a:lnTo>
                      <a:lnTo>
                        <a:pt x="40" y="126"/>
                      </a:lnTo>
                      <a:lnTo>
                        <a:pt x="39" y="129"/>
                      </a:lnTo>
                      <a:lnTo>
                        <a:pt x="40" y="131"/>
                      </a:lnTo>
                      <a:lnTo>
                        <a:pt x="39" y="133"/>
                      </a:lnTo>
                      <a:lnTo>
                        <a:pt x="42" y="135"/>
                      </a:lnTo>
                      <a:lnTo>
                        <a:pt x="44" y="134"/>
                      </a:lnTo>
                      <a:lnTo>
                        <a:pt x="46" y="134"/>
                      </a:lnTo>
                      <a:lnTo>
                        <a:pt x="56" y="142"/>
                      </a:lnTo>
                      <a:lnTo>
                        <a:pt x="58" y="141"/>
                      </a:lnTo>
                      <a:lnTo>
                        <a:pt x="60" y="143"/>
                      </a:lnTo>
                      <a:lnTo>
                        <a:pt x="62" y="148"/>
                      </a:lnTo>
                      <a:lnTo>
                        <a:pt x="65" y="151"/>
                      </a:lnTo>
                      <a:lnTo>
                        <a:pt x="68" y="158"/>
                      </a:lnTo>
                      <a:lnTo>
                        <a:pt x="65" y="162"/>
                      </a:lnTo>
                      <a:lnTo>
                        <a:pt x="65" y="166"/>
                      </a:lnTo>
                      <a:lnTo>
                        <a:pt x="66" y="171"/>
                      </a:lnTo>
                      <a:lnTo>
                        <a:pt x="70" y="171"/>
                      </a:lnTo>
                      <a:lnTo>
                        <a:pt x="72" y="181"/>
                      </a:lnTo>
                      <a:lnTo>
                        <a:pt x="74" y="183"/>
                      </a:lnTo>
                      <a:lnTo>
                        <a:pt x="77" y="185"/>
                      </a:lnTo>
                      <a:lnTo>
                        <a:pt x="78" y="186"/>
                      </a:lnTo>
                      <a:lnTo>
                        <a:pt x="79" y="185"/>
                      </a:lnTo>
                      <a:lnTo>
                        <a:pt x="79" y="186"/>
                      </a:lnTo>
                      <a:lnTo>
                        <a:pt x="81" y="190"/>
                      </a:lnTo>
                      <a:lnTo>
                        <a:pt x="83" y="190"/>
                      </a:lnTo>
                      <a:lnTo>
                        <a:pt x="85" y="188"/>
                      </a:lnTo>
                      <a:lnTo>
                        <a:pt x="85" y="185"/>
                      </a:lnTo>
                      <a:lnTo>
                        <a:pt x="83" y="183"/>
                      </a:lnTo>
                      <a:lnTo>
                        <a:pt x="84" y="183"/>
                      </a:lnTo>
                      <a:lnTo>
                        <a:pt x="86" y="183"/>
                      </a:lnTo>
                      <a:lnTo>
                        <a:pt x="87" y="182"/>
                      </a:lnTo>
                      <a:lnTo>
                        <a:pt x="86" y="183"/>
                      </a:lnTo>
                      <a:lnTo>
                        <a:pt x="86" y="186"/>
                      </a:lnTo>
                      <a:lnTo>
                        <a:pt x="89" y="187"/>
                      </a:lnTo>
                      <a:lnTo>
                        <a:pt x="90" y="186"/>
                      </a:lnTo>
                      <a:lnTo>
                        <a:pt x="92" y="190"/>
                      </a:lnTo>
                      <a:lnTo>
                        <a:pt x="93" y="190"/>
                      </a:lnTo>
                      <a:lnTo>
                        <a:pt x="97" y="186"/>
                      </a:lnTo>
                      <a:lnTo>
                        <a:pt x="99" y="186"/>
                      </a:lnTo>
                      <a:lnTo>
                        <a:pt x="102" y="191"/>
                      </a:lnTo>
                      <a:lnTo>
                        <a:pt x="103" y="194"/>
                      </a:lnTo>
                      <a:lnTo>
                        <a:pt x="107" y="202"/>
                      </a:lnTo>
                      <a:lnTo>
                        <a:pt x="108" y="207"/>
                      </a:lnTo>
                      <a:lnTo>
                        <a:pt x="110" y="208"/>
                      </a:lnTo>
                      <a:lnTo>
                        <a:pt x="111" y="208"/>
                      </a:lnTo>
                      <a:lnTo>
                        <a:pt x="113" y="211"/>
                      </a:lnTo>
                      <a:lnTo>
                        <a:pt x="112" y="211"/>
                      </a:lnTo>
                      <a:lnTo>
                        <a:pt x="111" y="210"/>
                      </a:lnTo>
                      <a:lnTo>
                        <a:pt x="110" y="211"/>
                      </a:lnTo>
                      <a:lnTo>
                        <a:pt x="113" y="214"/>
                      </a:lnTo>
                      <a:lnTo>
                        <a:pt x="114" y="213"/>
                      </a:lnTo>
                      <a:lnTo>
                        <a:pt x="114" y="216"/>
                      </a:lnTo>
                      <a:lnTo>
                        <a:pt x="119" y="228"/>
                      </a:lnTo>
                      <a:lnTo>
                        <a:pt x="122" y="229"/>
                      </a:lnTo>
                      <a:lnTo>
                        <a:pt x="127" y="228"/>
                      </a:lnTo>
                      <a:lnTo>
                        <a:pt x="131" y="230"/>
                      </a:lnTo>
                      <a:lnTo>
                        <a:pt x="132" y="232"/>
                      </a:lnTo>
                      <a:lnTo>
                        <a:pt x="137" y="232"/>
                      </a:lnTo>
                      <a:lnTo>
                        <a:pt x="138" y="234"/>
                      </a:lnTo>
                      <a:lnTo>
                        <a:pt x="140" y="234"/>
                      </a:lnTo>
                      <a:lnTo>
                        <a:pt x="141" y="235"/>
                      </a:lnTo>
                      <a:lnTo>
                        <a:pt x="138" y="237"/>
                      </a:lnTo>
                      <a:lnTo>
                        <a:pt x="143" y="242"/>
                      </a:lnTo>
                      <a:lnTo>
                        <a:pt x="146" y="243"/>
                      </a:lnTo>
                      <a:lnTo>
                        <a:pt x="149" y="245"/>
                      </a:lnTo>
                      <a:lnTo>
                        <a:pt x="151" y="245"/>
                      </a:lnTo>
                      <a:lnTo>
                        <a:pt x="155" y="251"/>
                      </a:lnTo>
                      <a:lnTo>
                        <a:pt x="157" y="250"/>
                      </a:lnTo>
                      <a:lnTo>
                        <a:pt x="160" y="249"/>
                      </a:lnTo>
                      <a:lnTo>
                        <a:pt x="165" y="251"/>
                      </a:lnTo>
                      <a:lnTo>
                        <a:pt x="171" y="255"/>
                      </a:lnTo>
                      <a:lnTo>
                        <a:pt x="176" y="250"/>
                      </a:lnTo>
                      <a:lnTo>
                        <a:pt x="182" y="245"/>
                      </a:lnTo>
                      <a:lnTo>
                        <a:pt x="182" y="244"/>
                      </a:lnTo>
                      <a:lnTo>
                        <a:pt x="182" y="245"/>
                      </a:lnTo>
                      <a:lnTo>
                        <a:pt x="185" y="245"/>
                      </a:lnTo>
                      <a:lnTo>
                        <a:pt x="189" y="241"/>
                      </a:lnTo>
                      <a:lnTo>
                        <a:pt x="191" y="241"/>
                      </a:lnTo>
                      <a:lnTo>
                        <a:pt x="197" y="241"/>
                      </a:lnTo>
                      <a:lnTo>
                        <a:pt x="197" y="243"/>
                      </a:lnTo>
                      <a:lnTo>
                        <a:pt x="197" y="242"/>
                      </a:lnTo>
                      <a:lnTo>
                        <a:pt x="198" y="245"/>
                      </a:lnTo>
                      <a:lnTo>
                        <a:pt x="201" y="248"/>
                      </a:lnTo>
                      <a:lnTo>
                        <a:pt x="202" y="255"/>
                      </a:lnTo>
                      <a:lnTo>
                        <a:pt x="204" y="262"/>
                      </a:lnTo>
                      <a:lnTo>
                        <a:pt x="205" y="266"/>
                      </a:lnTo>
                      <a:lnTo>
                        <a:pt x="207" y="267"/>
                      </a:lnTo>
                      <a:lnTo>
                        <a:pt x="207" y="269"/>
                      </a:lnTo>
                      <a:lnTo>
                        <a:pt x="214" y="269"/>
                      </a:lnTo>
                      <a:lnTo>
                        <a:pt x="218" y="269"/>
                      </a:lnTo>
                      <a:lnTo>
                        <a:pt x="221" y="271"/>
                      </a:lnTo>
                      <a:lnTo>
                        <a:pt x="224" y="268"/>
                      </a:lnTo>
                      <a:lnTo>
                        <a:pt x="225" y="268"/>
                      </a:lnTo>
                      <a:lnTo>
                        <a:pt x="228" y="272"/>
                      </a:lnTo>
                      <a:lnTo>
                        <a:pt x="236" y="272"/>
                      </a:lnTo>
                      <a:lnTo>
                        <a:pt x="241" y="274"/>
                      </a:lnTo>
                      <a:lnTo>
                        <a:pt x="247" y="274"/>
                      </a:lnTo>
                      <a:lnTo>
                        <a:pt x="249" y="275"/>
                      </a:lnTo>
                      <a:lnTo>
                        <a:pt x="251" y="275"/>
                      </a:lnTo>
                      <a:lnTo>
                        <a:pt x="252" y="276"/>
                      </a:lnTo>
                      <a:lnTo>
                        <a:pt x="253" y="276"/>
                      </a:lnTo>
                      <a:lnTo>
                        <a:pt x="254" y="273"/>
                      </a:lnTo>
                      <a:lnTo>
                        <a:pt x="256" y="273"/>
                      </a:lnTo>
                      <a:lnTo>
                        <a:pt x="257" y="276"/>
                      </a:lnTo>
                      <a:lnTo>
                        <a:pt x="261" y="278"/>
                      </a:lnTo>
                      <a:lnTo>
                        <a:pt x="266" y="279"/>
                      </a:lnTo>
                      <a:lnTo>
                        <a:pt x="268" y="278"/>
                      </a:lnTo>
                      <a:lnTo>
                        <a:pt x="269" y="277"/>
                      </a:lnTo>
                      <a:lnTo>
                        <a:pt x="270" y="277"/>
                      </a:lnTo>
                      <a:lnTo>
                        <a:pt x="270" y="274"/>
                      </a:lnTo>
                      <a:lnTo>
                        <a:pt x="270" y="26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8" name="Freeform 770">
                  <a:extLst>
                    <a:ext uri="{FF2B5EF4-FFF2-40B4-BE49-F238E27FC236}">
                      <a16:creationId xmlns:a16="http://schemas.microsoft.com/office/drawing/2014/main" id="{C912915A-7D6E-4886-BE4F-CA97B37E03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83" y="2049"/>
                  <a:ext cx="51" cy="51"/>
                </a:xfrm>
                <a:custGeom>
                  <a:avLst/>
                  <a:gdLst>
                    <a:gd name="T0" fmla="*/ 48 w 51"/>
                    <a:gd name="T1" fmla="*/ 48 h 51"/>
                    <a:gd name="T2" fmla="*/ 49 w 51"/>
                    <a:gd name="T3" fmla="*/ 46 h 51"/>
                    <a:gd name="T4" fmla="*/ 47 w 51"/>
                    <a:gd name="T5" fmla="*/ 41 h 51"/>
                    <a:gd name="T6" fmla="*/ 51 w 51"/>
                    <a:gd name="T7" fmla="*/ 41 h 51"/>
                    <a:gd name="T8" fmla="*/ 48 w 51"/>
                    <a:gd name="T9" fmla="*/ 37 h 51"/>
                    <a:gd name="T10" fmla="*/ 43 w 51"/>
                    <a:gd name="T11" fmla="*/ 37 h 51"/>
                    <a:gd name="T12" fmla="*/ 37 w 51"/>
                    <a:gd name="T13" fmla="*/ 33 h 51"/>
                    <a:gd name="T14" fmla="*/ 35 w 51"/>
                    <a:gd name="T15" fmla="*/ 27 h 51"/>
                    <a:gd name="T16" fmla="*/ 37 w 51"/>
                    <a:gd name="T17" fmla="*/ 25 h 51"/>
                    <a:gd name="T18" fmla="*/ 37 w 51"/>
                    <a:gd name="T19" fmla="*/ 21 h 51"/>
                    <a:gd name="T20" fmla="*/ 31 w 51"/>
                    <a:gd name="T21" fmla="*/ 16 h 51"/>
                    <a:gd name="T22" fmla="*/ 31 w 51"/>
                    <a:gd name="T23" fmla="*/ 13 h 51"/>
                    <a:gd name="T24" fmla="*/ 32 w 51"/>
                    <a:gd name="T25" fmla="*/ 9 h 51"/>
                    <a:gd name="T26" fmla="*/ 29 w 51"/>
                    <a:gd name="T27" fmla="*/ 5 h 51"/>
                    <a:gd name="T28" fmla="*/ 24 w 51"/>
                    <a:gd name="T29" fmla="*/ 4 h 51"/>
                    <a:gd name="T30" fmla="*/ 21 w 51"/>
                    <a:gd name="T31" fmla="*/ 0 h 51"/>
                    <a:gd name="T32" fmla="*/ 13 w 51"/>
                    <a:gd name="T33" fmla="*/ 0 h 51"/>
                    <a:gd name="T34" fmla="*/ 10 w 51"/>
                    <a:gd name="T35" fmla="*/ 0 h 51"/>
                    <a:gd name="T36" fmla="*/ 4 w 51"/>
                    <a:gd name="T37" fmla="*/ 2 h 51"/>
                    <a:gd name="T38" fmla="*/ 0 w 51"/>
                    <a:gd name="T39" fmla="*/ 3 h 51"/>
                    <a:gd name="T40" fmla="*/ 2 w 51"/>
                    <a:gd name="T41" fmla="*/ 6 h 51"/>
                    <a:gd name="T42" fmla="*/ 3 w 51"/>
                    <a:gd name="T43" fmla="*/ 9 h 51"/>
                    <a:gd name="T44" fmla="*/ 5 w 51"/>
                    <a:gd name="T45" fmla="*/ 10 h 51"/>
                    <a:gd name="T46" fmla="*/ 7 w 51"/>
                    <a:gd name="T47" fmla="*/ 13 h 51"/>
                    <a:gd name="T48" fmla="*/ 6 w 51"/>
                    <a:gd name="T49" fmla="*/ 18 h 51"/>
                    <a:gd name="T50" fmla="*/ 6 w 51"/>
                    <a:gd name="T51" fmla="*/ 25 h 51"/>
                    <a:gd name="T52" fmla="*/ 10 w 51"/>
                    <a:gd name="T53" fmla="*/ 28 h 51"/>
                    <a:gd name="T54" fmla="*/ 14 w 51"/>
                    <a:gd name="T55" fmla="*/ 28 h 51"/>
                    <a:gd name="T56" fmla="*/ 17 w 51"/>
                    <a:gd name="T57" fmla="*/ 28 h 51"/>
                    <a:gd name="T58" fmla="*/ 20 w 51"/>
                    <a:gd name="T59" fmla="*/ 30 h 51"/>
                    <a:gd name="T60" fmla="*/ 21 w 51"/>
                    <a:gd name="T61" fmla="*/ 33 h 51"/>
                    <a:gd name="T62" fmla="*/ 23 w 51"/>
                    <a:gd name="T63" fmla="*/ 33 h 51"/>
                    <a:gd name="T64" fmla="*/ 25 w 51"/>
                    <a:gd name="T65" fmla="*/ 31 h 51"/>
                    <a:gd name="T66" fmla="*/ 29 w 51"/>
                    <a:gd name="T67" fmla="*/ 35 h 51"/>
                    <a:gd name="T68" fmla="*/ 31 w 51"/>
                    <a:gd name="T69" fmla="*/ 34 h 51"/>
                    <a:gd name="T70" fmla="*/ 33 w 51"/>
                    <a:gd name="T71" fmla="*/ 34 h 51"/>
                    <a:gd name="T72" fmla="*/ 35 w 51"/>
                    <a:gd name="T73" fmla="*/ 39 h 51"/>
                    <a:gd name="T74" fmla="*/ 38 w 51"/>
                    <a:gd name="T75" fmla="*/ 41 h 51"/>
                    <a:gd name="T76" fmla="*/ 45 w 51"/>
                    <a:gd name="T77" fmla="*/ 51 h 51"/>
                    <a:gd name="T78" fmla="*/ 48 w 51"/>
                    <a:gd name="T79" fmla="*/ 51 h 51"/>
                    <a:gd name="T80" fmla="*/ 48 w 51"/>
                    <a:gd name="T81" fmla="*/ 51 h 51"/>
                    <a:gd name="T82" fmla="*/ 48 w 51"/>
                    <a:gd name="T83" fmla="*/ 48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1" h="51">
                      <a:moveTo>
                        <a:pt x="48" y="48"/>
                      </a:moveTo>
                      <a:lnTo>
                        <a:pt x="49" y="46"/>
                      </a:lnTo>
                      <a:lnTo>
                        <a:pt x="47" y="41"/>
                      </a:lnTo>
                      <a:lnTo>
                        <a:pt x="51" y="41"/>
                      </a:lnTo>
                      <a:lnTo>
                        <a:pt x="48" y="37"/>
                      </a:lnTo>
                      <a:lnTo>
                        <a:pt x="43" y="37"/>
                      </a:lnTo>
                      <a:lnTo>
                        <a:pt x="37" y="33"/>
                      </a:lnTo>
                      <a:lnTo>
                        <a:pt x="35" y="27"/>
                      </a:lnTo>
                      <a:lnTo>
                        <a:pt x="37" y="25"/>
                      </a:lnTo>
                      <a:lnTo>
                        <a:pt x="37" y="21"/>
                      </a:lnTo>
                      <a:lnTo>
                        <a:pt x="31" y="16"/>
                      </a:lnTo>
                      <a:lnTo>
                        <a:pt x="31" y="13"/>
                      </a:lnTo>
                      <a:lnTo>
                        <a:pt x="32" y="9"/>
                      </a:lnTo>
                      <a:lnTo>
                        <a:pt x="29" y="5"/>
                      </a:lnTo>
                      <a:lnTo>
                        <a:pt x="24" y="4"/>
                      </a:lnTo>
                      <a:lnTo>
                        <a:pt x="21" y="0"/>
                      </a:lnTo>
                      <a:lnTo>
                        <a:pt x="13" y="0"/>
                      </a:lnTo>
                      <a:lnTo>
                        <a:pt x="10" y="0"/>
                      </a:lnTo>
                      <a:lnTo>
                        <a:pt x="4" y="2"/>
                      </a:lnTo>
                      <a:lnTo>
                        <a:pt x="0" y="3"/>
                      </a:lnTo>
                      <a:lnTo>
                        <a:pt x="2" y="6"/>
                      </a:lnTo>
                      <a:lnTo>
                        <a:pt x="3" y="9"/>
                      </a:lnTo>
                      <a:lnTo>
                        <a:pt x="5" y="10"/>
                      </a:lnTo>
                      <a:lnTo>
                        <a:pt x="7" y="13"/>
                      </a:lnTo>
                      <a:lnTo>
                        <a:pt x="6" y="18"/>
                      </a:lnTo>
                      <a:lnTo>
                        <a:pt x="6" y="25"/>
                      </a:lnTo>
                      <a:lnTo>
                        <a:pt x="10" y="28"/>
                      </a:lnTo>
                      <a:lnTo>
                        <a:pt x="14" y="28"/>
                      </a:lnTo>
                      <a:lnTo>
                        <a:pt x="17" y="28"/>
                      </a:lnTo>
                      <a:lnTo>
                        <a:pt x="20" y="30"/>
                      </a:lnTo>
                      <a:lnTo>
                        <a:pt x="21" y="33"/>
                      </a:lnTo>
                      <a:lnTo>
                        <a:pt x="23" y="33"/>
                      </a:lnTo>
                      <a:lnTo>
                        <a:pt x="25" y="31"/>
                      </a:lnTo>
                      <a:lnTo>
                        <a:pt x="29" y="35"/>
                      </a:lnTo>
                      <a:lnTo>
                        <a:pt x="31" y="34"/>
                      </a:lnTo>
                      <a:lnTo>
                        <a:pt x="33" y="34"/>
                      </a:lnTo>
                      <a:lnTo>
                        <a:pt x="35" y="39"/>
                      </a:lnTo>
                      <a:lnTo>
                        <a:pt x="38" y="41"/>
                      </a:lnTo>
                      <a:lnTo>
                        <a:pt x="45" y="51"/>
                      </a:lnTo>
                      <a:lnTo>
                        <a:pt x="48" y="51"/>
                      </a:lnTo>
                      <a:lnTo>
                        <a:pt x="48" y="51"/>
                      </a:lnTo>
                      <a:lnTo>
                        <a:pt x="48" y="4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9" name="Freeform 771">
                  <a:extLst>
                    <a:ext uri="{FF2B5EF4-FFF2-40B4-BE49-F238E27FC236}">
                      <a16:creationId xmlns:a16="http://schemas.microsoft.com/office/drawing/2014/main" id="{04339993-A64F-4391-BA69-C1254253D8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9" y="2152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0 w 3"/>
                    <a:gd name="T3" fmla="*/ 2 h 2"/>
                    <a:gd name="T4" fmla="*/ 1 w 3"/>
                    <a:gd name="T5" fmla="*/ 2 h 2"/>
                    <a:gd name="T6" fmla="*/ 3 w 3"/>
                    <a:gd name="T7" fmla="*/ 2 h 2"/>
                    <a:gd name="T8" fmla="*/ 2 w 3"/>
                    <a:gd name="T9" fmla="*/ 0 h 2"/>
                    <a:gd name="T10" fmla="*/ 1 w 3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2">
                      <a:moveTo>
                        <a:pt x="1" y="0"/>
                      </a:move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0" name="Freeform 772">
                  <a:extLst>
                    <a:ext uri="{FF2B5EF4-FFF2-40B4-BE49-F238E27FC236}">
                      <a16:creationId xmlns:a16="http://schemas.microsoft.com/office/drawing/2014/main" id="{A518B4F9-0A76-46F3-AEE5-A7C6D979A0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48" y="2075"/>
                  <a:ext cx="6" cy="4"/>
                </a:xfrm>
                <a:custGeom>
                  <a:avLst/>
                  <a:gdLst>
                    <a:gd name="T0" fmla="*/ 3 w 6"/>
                    <a:gd name="T1" fmla="*/ 1 h 4"/>
                    <a:gd name="T2" fmla="*/ 0 w 6"/>
                    <a:gd name="T3" fmla="*/ 1 h 4"/>
                    <a:gd name="T4" fmla="*/ 0 w 6"/>
                    <a:gd name="T5" fmla="*/ 3 h 4"/>
                    <a:gd name="T6" fmla="*/ 2 w 6"/>
                    <a:gd name="T7" fmla="*/ 4 h 4"/>
                    <a:gd name="T8" fmla="*/ 5 w 6"/>
                    <a:gd name="T9" fmla="*/ 3 h 4"/>
                    <a:gd name="T10" fmla="*/ 6 w 6"/>
                    <a:gd name="T11" fmla="*/ 1 h 4"/>
                    <a:gd name="T12" fmla="*/ 4 w 6"/>
                    <a:gd name="T13" fmla="*/ 0 h 4"/>
                    <a:gd name="T14" fmla="*/ 3 w 6"/>
                    <a:gd name="T15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4">
                      <a:moveTo>
                        <a:pt x="3" y="1"/>
                      </a:move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5" y="3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1" name="Freeform 773">
                  <a:extLst>
                    <a:ext uri="{FF2B5EF4-FFF2-40B4-BE49-F238E27FC236}">
                      <a16:creationId xmlns:a16="http://schemas.microsoft.com/office/drawing/2014/main" id="{6B85A127-25D4-4E22-BD71-5D16EB3AED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55" y="2037"/>
                  <a:ext cx="256" cy="126"/>
                </a:xfrm>
                <a:custGeom>
                  <a:avLst/>
                  <a:gdLst>
                    <a:gd name="T0" fmla="*/ 148 w 256"/>
                    <a:gd name="T1" fmla="*/ 113 h 126"/>
                    <a:gd name="T2" fmla="*/ 164 w 256"/>
                    <a:gd name="T3" fmla="*/ 108 h 126"/>
                    <a:gd name="T4" fmla="*/ 182 w 256"/>
                    <a:gd name="T5" fmla="*/ 110 h 126"/>
                    <a:gd name="T6" fmla="*/ 200 w 256"/>
                    <a:gd name="T7" fmla="*/ 103 h 126"/>
                    <a:gd name="T8" fmla="*/ 223 w 256"/>
                    <a:gd name="T9" fmla="*/ 100 h 126"/>
                    <a:gd name="T10" fmla="*/ 238 w 256"/>
                    <a:gd name="T11" fmla="*/ 96 h 126"/>
                    <a:gd name="T12" fmla="*/ 252 w 256"/>
                    <a:gd name="T13" fmla="*/ 102 h 126"/>
                    <a:gd name="T14" fmla="*/ 247 w 256"/>
                    <a:gd name="T15" fmla="*/ 86 h 126"/>
                    <a:gd name="T16" fmla="*/ 245 w 256"/>
                    <a:gd name="T17" fmla="*/ 72 h 126"/>
                    <a:gd name="T18" fmla="*/ 242 w 256"/>
                    <a:gd name="T19" fmla="*/ 53 h 126"/>
                    <a:gd name="T20" fmla="*/ 249 w 256"/>
                    <a:gd name="T21" fmla="*/ 45 h 126"/>
                    <a:gd name="T22" fmla="*/ 234 w 256"/>
                    <a:gd name="T23" fmla="*/ 37 h 126"/>
                    <a:gd name="T24" fmla="*/ 230 w 256"/>
                    <a:gd name="T25" fmla="*/ 18 h 126"/>
                    <a:gd name="T26" fmla="*/ 215 w 256"/>
                    <a:gd name="T27" fmla="*/ 10 h 126"/>
                    <a:gd name="T28" fmla="*/ 206 w 256"/>
                    <a:gd name="T29" fmla="*/ 7 h 126"/>
                    <a:gd name="T30" fmla="*/ 193 w 256"/>
                    <a:gd name="T31" fmla="*/ 18 h 126"/>
                    <a:gd name="T32" fmla="*/ 179 w 256"/>
                    <a:gd name="T33" fmla="*/ 19 h 126"/>
                    <a:gd name="T34" fmla="*/ 162 w 256"/>
                    <a:gd name="T35" fmla="*/ 23 h 126"/>
                    <a:gd name="T36" fmla="*/ 145 w 256"/>
                    <a:gd name="T37" fmla="*/ 17 h 126"/>
                    <a:gd name="T38" fmla="*/ 132 w 256"/>
                    <a:gd name="T39" fmla="*/ 11 h 126"/>
                    <a:gd name="T40" fmla="*/ 123 w 256"/>
                    <a:gd name="T41" fmla="*/ 8 h 126"/>
                    <a:gd name="T42" fmla="*/ 112 w 256"/>
                    <a:gd name="T43" fmla="*/ 1 h 126"/>
                    <a:gd name="T44" fmla="*/ 92 w 256"/>
                    <a:gd name="T45" fmla="*/ 2 h 126"/>
                    <a:gd name="T46" fmla="*/ 73 w 256"/>
                    <a:gd name="T47" fmla="*/ 11 h 126"/>
                    <a:gd name="T48" fmla="*/ 67 w 256"/>
                    <a:gd name="T49" fmla="*/ 22 h 126"/>
                    <a:gd name="T50" fmla="*/ 48 w 256"/>
                    <a:gd name="T51" fmla="*/ 19 h 126"/>
                    <a:gd name="T52" fmla="*/ 40 w 256"/>
                    <a:gd name="T53" fmla="*/ 28 h 126"/>
                    <a:gd name="T54" fmla="*/ 35 w 256"/>
                    <a:gd name="T55" fmla="*/ 32 h 126"/>
                    <a:gd name="T56" fmla="*/ 36 w 256"/>
                    <a:gd name="T57" fmla="*/ 39 h 126"/>
                    <a:gd name="T58" fmla="*/ 20 w 256"/>
                    <a:gd name="T59" fmla="*/ 36 h 126"/>
                    <a:gd name="T60" fmla="*/ 3 w 256"/>
                    <a:gd name="T61" fmla="*/ 42 h 126"/>
                    <a:gd name="T62" fmla="*/ 0 w 256"/>
                    <a:gd name="T63" fmla="*/ 55 h 126"/>
                    <a:gd name="T64" fmla="*/ 12 w 256"/>
                    <a:gd name="T65" fmla="*/ 56 h 126"/>
                    <a:gd name="T66" fmla="*/ 10 w 256"/>
                    <a:gd name="T67" fmla="*/ 68 h 126"/>
                    <a:gd name="T68" fmla="*/ 9 w 256"/>
                    <a:gd name="T69" fmla="*/ 73 h 126"/>
                    <a:gd name="T70" fmla="*/ 7 w 256"/>
                    <a:gd name="T71" fmla="*/ 79 h 126"/>
                    <a:gd name="T72" fmla="*/ 4 w 256"/>
                    <a:gd name="T73" fmla="*/ 82 h 126"/>
                    <a:gd name="T74" fmla="*/ 12 w 256"/>
                    <a:gd name="T75" fmla="*/ 87 h 126"/>
                    <a:gd name="T76" fmla="*/ 16 w 256"/>
                    <a:gd name="T77" fmla="*/ 100 h 126"/>
                    <a:gd name="T78" fmla="*/ 17 w 256"/>
                    <a:gd name="T79" fmla="*/ 108 h 126"/>
                    <a:gd name="T80" fmla="*/ 27 w 256"/>
                    <a:gd name="T81" fmla="*/ 111 h 126"/>
                    <a:gd name="T82" fmla="*/ 23 w 256"/>
                    <a:gd name="T83" fmla="*/ 114 h 126"/>
                    <a:gd name="T84" fmla="*/ 30 w 256"/>
                    <a:gd name="T85" fmla="*/ 114 h 126"/>
                    <a:gd name="T86" fmla="*/ 40 w 256"/>
                    <a:gd name="T87" fmla="*/ 115 h 126"/>
                    <a:gd name="T88" fmla="*/ 43 w 256"/>
                    <a:gd name="T89" fmla="*/ 118 h 126"/>
                    <a:gd name="T90" fmla="*/ 54 w 256"/>
                    <a:gd name="T91" fmla="*/ 123 h 126"/>
                    <a:gd name="T92" fmla="*/ 64 w 256"/>
                    <a:gd name="T93" fmla="*/ 120 h 126"/>
                    <a:gd name="T94" fmla="*/ 75 w 256"/>
                    <a:gd name="T95" fmla="*/ 111 h 126"/>
                    <a:gd name="T96" fmla="*/ 106 w 256"/>
                    <a:gd name="T97" fmla="*/ 123 h 126"/>
                    <a:gd name="T98" fmla="*/ 114 w 256"/>
                    <a:gd name="T99" fmla="*/ 118 h 126"/>
                    <a:gd name="T100" fmla="*/ 135 w 256"/>
                    <a:gd name="T101" fmla="*/ 112 h 126"/>
                    <a:gd name="T102" fmla="*/ 139 w 256"/>
                    <a:gd name="T103" fmla="*/ 115 h 126"/>
                    <a:gd name="T104" fmla="*/ 141 w 256"/>
                    <a:gd name="T105" fmla="*/ 126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56" h="126">
                      <a:moveTo>
                        <a:pt x="144" y="125"/>
                      </a:moveTo>
                      <a:lnTo>
                        <a:pt x="147" y="125"/>
                      </a:lnTo>
                      <a:lnTo>
                        <a:pt x="146" y="121"/>
                      </a:lnTo>
                      <a:lnTo>
                        <a:pt x="148" y="119"/>
                      </a:lnTo>
                      <a:lnTo>
                        <a:pt x="148" y="113"/>
                      </a:lnTo>
                      <a:lnTo>
                        <a:pt x="149" y="110"/>
                      </a:lnTo>
                      <a:lnTo>
                        <a:pt x="153" y="111"/>
                      </a:lnTo>
                      <a:lnTo>
                        <a:pt x="155" y="112"/>
                      </a:lnTo>
                      <a:lnTo>
                        <a:pt x="162" y="109"/>
                      </a:lnTo>
                      <a:lnTo>
                        <a:pt x="164" y="108"/>
                      </a:lnTo>
                      <a:lnTo>
                        <a:pt x="166" y="107"/>
                      </a:lnTo>
                      <a:lnTo>
                        <a:pt x="173" y="106"/>
                      </a:lnTo>
                      <a:lnTo>
                        <a:pt x="176" y="107"/>
                      </a:lnTo>
                      <a:lnTo>
                        <a:pt x="178" y="108"/>
                      </a:lnTo>
                      <a:lnTo>
                        <a:pt x="182" y="110"/>
                      </a:lnTo>
                      <a:lnTo>
                        <a:pt x="189" y="110"/>
                      </a:lnTo>
                      <a:lnTo>
                        <a:pt x="189" y="108"/>
                      </a:lnTo>
                      <a:lnTo>
                        <a:pt x="193" y="108"/>
                      </a:lnTo>
                      <a:lnTo>
                        <a:pt x="195" y="104"/>
                      </a:lnTo>
                      <a:lnTo>
                        <a:pt x="200" y="103"/>
                      </a:lnTo>
                      <a:lnTo>
                        <a:pt x="204" y="103"/>
                      </a:lnTo>
                      <a:lnTo>
                        <a:pt x="207" y="102"/>
                      </a:lnTo>
                      <a:lnTo>
                        <a:pt x="214" y="102"/>
                      </a:lnTo>
                      <a:lnTo>
                        <a:pt x="219" y="100"/>
                      </a:lnTo>
                      <a:lnTo>
                        <a:pt x="223" y="100"/>
                      </a:lnTo>
                      <a:lnTo>
                        <a:pt x="224" y="101"/>
                      </a:lnTo>
                      <a:lnTo>
                        <a:pt x="228" y="98"/>
                      </a:lnTo>
                      <a:lnTo>
                        <a:pt x="231" y="98"/>
                      </a:lnTo>
                      <a:lnTo>
                        <a:pt x="233" y="96"/>
                      </a:lnTo>
                      <a:lnTo>
                        <a:pt x="238" y="96"/>
                      </a:lnTo>
                      <a:lnTo>
                        <a:pt x="243" y="98"/>
                      </a:lnTo>
                      <a:lnTo>
                        <a:pt x="247" y="96"/>
                      </a:lnTo>
                      <a:lnTo>
                        <a:pt x="249" y="98"/>
                      </a:lnTo>
                      <a:lnTo>
                        <a:pt x="249" y="101"/>
                      </a:lnTo>
                      <a:lnTo>
                        <a:pt x="252" y="102"/>
                      </a:lnTo>
                      <a:lnTo>
                        <a:pt x="255" y="101"/>
                      </a:lnTo>
                      <a:lnTo>
                        <a:pt x="256" y="98"/>
                      </a:lnTo>
                      <a:lnTo>
                        <a:pt x="254" y="94"/>
                      </a:lnTo>
                      <a:lnTo>
                        <a:pt x="251" y="88"/>
                      </a:lnTo>
                      <a:lnTo>
                        <a:pt x="247" y="86"/>
                      </a:lnTo>
                      <a:lnTo>
                        <a:pt x="247" y="84"/>
                      </a:lnTo>
                      <a:lnTo>
                        <a:pt x="247" y="79"/>
                      </a:lnTo>
                      <a:lnTo>
                        <a:pt x="249" y="74"/>
                      </a:lnTo>
                      <a:lnTo>
                        <a:pt x="248" y="72"/>
                      </a:lnTo>
                      <a:lnTo>
                        <a:pt x="245" y="72"/>
                      </a:lnTo>
                      <a:lnTo>
                        <a:pt x="245" y="67"/>
                      </a:lnTo>
                      <a:lnTo>
                        <a:pt x="245" y="63"/>
                      </a:lnTo>
                      <a:lnTo>
                        <a:pt x="244" y="57"/>
                      </a:lnTo>
                      <a:lnTo>
                        <a:pt x="242" y="54"/>
                      </a:lnTo>
                      <a:lnTo>
                        <a:pt x="242" y="53"/>
                      </a:lnTo>
                      <a:lnTo>
                        <a:pt x="246" y="52"/>
                      </a:lnTo>
                      <a:lnTo>
                        <a:pt x="248" y="47"/>
                      </a:lnTo>
                      <a:lnTo>
                        <a:pt x="249" y="46"/>
                      </a:lnTo>
                      <a:lnTo>
                        <a:pt x="249" y="45"/>
                      </a:lnTo>
                      <a:lnTo>
                        <a:pt x="249" y="45"/>
                      </a:lnTo>
                      <a:lnTo>
                        <a:pt x="248" y="42"/>
                      </a:lnTo>
                      <a:lnTo>
                        <a:pt x="245" y="40"/>
                      </a:lnTo>
                      <a:lnTo>
                        <a:pt x="242" y="40"/>
                      </a:lnTo>
                      <a:lnTo>
                        <a:pt x="238" y="40"/>
                      </a:lnTo>
                      <a:lnTo>
                        <a:pt x="234" y="37"/>
                      </a:lnTo>
                      <a:lnTo>
                        <a:pt x="234" y="30"/>
                      </a:lnTo>
                      <a:lnTo>
                        <a:pt x="235" y="25"/>
                      </a:lnTo>
                      <a:lnTo>
                        <a:pt x="233" y="22"/>
                      </a:lnTo>
                      <a:lnTo>
                        <a:pt x="231" y="21"/>
                      </a:lnTo>
                      <a:lnTo>
                        <a:pt x="230" y="18"/>
                      </a:lnTo>
                      <a:lnTo>
                        <a:pt x="228" y="15"/>
                      </a:lnTo>
                      <a:lnTo>
                        <a:pt x="225" y="15"/>
                      </a:lnTo>
                      <a:lnTo>
                        <a:pt x="219" y="8"/>
                      </a:lnTo>
                      <a:lnTo>
                        <a:pt x="217" y="8"/>
                      </a:lnTo>
                      <a:lnTo>
                        <a:pt x="215" y="10"/>
                      </a:lnTo>
                      <a:lnTo>
                        <a:pt x="213" y="11"/>
                      </a:lnTo>
                      <a:lnTo>
                        <a:pt x="210" y="8"/>
                      </a:lnTo>
                      <a:lnTo>
                        <a:pt x="208" y="11"/>
                      </a:lnTo>
                      <a:lnTo>
                        <a:pt x="207" y="10"/>
                      </a:lnTo>
                      <a:lnTo>
                        <a:pt x="206" y="7"/>
                      </a:lnTo>
                      <a:lnTo>
                        <a:pt x="204" y="7"/>
                      </a:lnTo>
                      <a:lnTo>
                        <a:pt x="204" y="8"/>
                      </a:lnTo>
                      <a:lnTo>
                        <a:pt x="202" y="12"/>
                      </a:lnTo>
                      <a:lnTo>
                        <a:pt x="198" y="15"/>
                      </a:lnTo>
                      <a:lnTo>
                        <a:pt x="193" y="18"/>
                      </a:lnTo>
                      <a:lnTo>
                        <a:pt x="193" y="20"/>
                      </a:lnTo>
                      <a:lnTo>
                        <a:pt x="188" y="21"/>
                      </a:lnTo>
                      <a:lnTo>
                        <a:pt x="186" y="22"/>
                      </a:lnTo>
                      <a:lnTo>
                        <a:pt x="181" y="21"/>
                      </a:lnTo>
                      <a:lnTo>
                        <a:pt x="179" y="19"/>
                      </a:lnTo>
                      <a:lnTo>
                        <a:pt x="177" y="19"/>
                      </a:lnTo>
                      <a:lnTo>
                        <a:pt x="176" y="18"/>
                      </a:lnTo>
                      <a:lnTo>
                        <a:pt x="173" y="20"/>
                      </a:lnTo>
                      <a:lnTo>
                        <a:pt x="169" y="20"/>
                      </a:lnTo>
                      <a:lnTo>
                        <a:pt x="162" y="23"/>
                      </a:lnTo>
                      <a:lnTo>
                        <a:pt x="158" y="22"/>
                      </a:lnTo>
                      <a:lnTo>
                        <a:pt x="155" y="19"/>
                      </a:lnTo>
                      <a:lnTo>
                        <a:pt x="152" y="21"/>
                      </a:lnTo>
                      <a:lnTo>
                        <a:pt x="147" y="18"/>
                      </a:lnTo>
                      <a:lnTo>
                        <a:pt x="145" y="17"/>
                      </a:lnTo>
                      <a:lnTo>
                        <a:pt x="139" y="13"/>
                      </a:lnTo>
                      <a:lnTo>
                        <a:pt x="138" y="13"/>
                      </a:lnTo>
                      <a:lnTo>
                        <a:pt x="137" y="15"/>
                      </a:lnTo>
                      <a:lnTo>
                        <a:pt x="134" y="15"/>
                      </a:lnTo>
                      <a:lnTo>
                        <a:pt x="132" y="11"/>
                      </a:lnTo>
                      <a:lnTo>
                        <a:pt x="131" y="7"/>
                      </a:lnTo>
                      <a:lnTo>
                        <a:pt x="129" y="4"/>
                      </a:lnTo>
                      <a:lnTo>
                        <a:pt x="127" y="4"/>
                      </a:lnTo>
                      <a:lnTo>
                        <a:pt x="124" y="8"/>
                      </a:lnTo>
                      <a:lnTo>
                        <a:pt x="123" y="8"/>
                      </a:lnTo>
                      <a:lnTo>
                        <a:pt x="121" y="9"/>
                      </a:lnTo>
                      <a:lnTo>
                        <a:pt x="117" y="4"/>
                      </a:lnTo>
                      <a:lnTo>
                        <a:pt x="116" y="0"/>
                      </a:lnTo>
                      <a:lnTo>
                        <a:pt x="115" y="0"/>
                      </a:lnTo>
                      <a:lnTo>
                        <a:pt x="112" y="1"/>
                      </a:lnTo>
                      <a:lnTo>
                        <a:pt x="107" y="1"/>
                      </a:lnTo>
                      <a:lnTo>
                        <a:pt x="105" y="1"/>
                      </a:lnTo>
                      <a:lnTo>
                        <a:pt x="103" y="1"/>
                      </a:lnTo>
                      <a:lnTo>
                        <a:pt x="96" y="1"/>
                      </a:lnTo>
                      <a:lnTo>
                        <a:pt x="92" y="2"/>
                      </a:lnTo>
                      <a:lnTo>
                        <a:pt x="86" y="6"/>
                      </a:lnTo>
                      <a:lnTo>
                        <a:pt x="82" y="6"/>
                      </a:lnTo>
                      <a:lnTo>
                        <a:pt x="77" y="8"/>
                      </a:lnTo>
                      <a:lnTo>
                        <a:pt x="75" y="10"/>
                      </a:lnTo>
                      <a:lnTo>
                        <a:pt x="73" y="11"/>
                      </a:lnTo>
                      <a:lnTo>
                        <a:pt x="71" y="14"/>
                      </a:lnTo>
                      <a:lnTo>
                        <a:pt x="69" y="15"/>
                      </a:lnTo>
                      <a:lnTo>
                        <a:pt x="69" y="18"/>
                      </a:lnTo>
                      <a:lnTo>
                        <a:pt x="67" y="19"/>
                      </a:lnTo>
                      <a:lnTo>
                        <a:pt x="67" y="22"/>
                      </a:lnTo>
                      <a:lnTo>
                        <a:pt x="62" y="22"/>
                      </a:lnTo>
                      <a:lnTo>
                        <a:pt x="55" y="18"/>
                      </a:lnTo>
                      <a:lnTo>
                        <a:pt x="52" y="18"/>
                      </a:lnTo>
                      <a:lnTo>
                        <a:pt x="51" y="20"/>
                      </a:lnTo>
                      <a:lnTo>
                        <a:pt x="48" y="19"/>
                      </a:lnTo>
                      <a:lnTo>
                        <a:pt x="43" y="20"/>
                      </a:lnTo>
                      <a:lnTo>
                        <a:pt x="41" y="19"/>
                      </a:lnTo>
                      <a:lnTo>
                        <a:pt x="37" y="21"/>
                      </a:lnTo>
                      <a:lnTo>
                        <a:pt x="37" y="23"/>
                      </a:lnTo>
                      <a:lnTo>
                        <a:pt x="40" y="28"/>
                      </a:lnTo>
                      <a:lnTo>
                        <a:pt x="44" y="29"/>
                      </a:lnTo>
                      <a:lnTo>
                        <a:pt x="47" y="29"/>
                      </a:lnTo>
                      <a:lnTo>
                        <a:pt x="46" y="31"/>
                      </a:lnTo>
                      <a:lnTo>
                        <a:pt x="41" y="31"/>
                      </a:lnTo>
                      <a:lnTo>
                        <a:pt x="35" y="32"/>
                      </a:lnTo>
                      <a:lnTo>
                        <a:pt x="34" y="35"/>
                      </a:lnTo>
                      <a:lnTo>
                        <a:pt x="34" y="37"/>
                      </a:lnTo>
                      <a:lnTo>
                        <a:pt x="37" y="36"/>
                      </a:lnTo>
                      <a:lnTo>
                        <a:pt x="38" y="38"/>
                      </a:lnTo>
                      <a:lnTo>
                        <a:pt x="36" y="39"/>
                      </a:lnTo>
                      <a:lnTo>
                        <a:pt x="30" y="39"/>
                      </a:lnTo>
                      <a:lnTo>
                        <a:pt x="27" y="37"/>
                      </a:lnTo>
                      <a:lnTo>
                        <a:pt x="24" y="39"/>
                      </a:lnTo>
                      <a:lnTo>
                        <a:pt x="22" y="36"/>
                      </a:lnTo>
                      <a:lnTo>
                        <a:pt x="20" y="36"/>
                      </a:lnTo>
                      <a:lnTo>
                        <a:pt x="17" y="39"/>
                      </a:lnTo>
                      <a:lnTo>
                        <a:pt x="15" y="39"/>
                      </a:lnTo>
                      <a:lnTo>
                        <a:pt x="12" y="36"/>
                      </a:lnTo>
                      <a:lnTo>
                        <a:pt x="9" y="36"/>
                      </a:lnTo>
                      <a:lnTo>
                        <a:pt x="3" y="42"/>
                      </a:lnTo>
                      <a:lnTo>
                        <a:pt x="1" y="46"/>
                      </a:lnTo>
                      <a:lnTo>
                        <a:pt x="0" y="48"/>
                      </a:lnTo>
                      <a:lnTo>
                        <a:pt x="1" y="50"/>
                      </a:lnTo>
                      <a:lnTo>
                        <a:pt x="1" y="54"/>
                      </a:lnTo>
                      <a:lnTo>
                        <a:pt x="0" y="55"/>
                      </a:lnTo>
                      <a:lnTo>
                        <a:pt x="1" y="57"/>
                      </a:lnTo>
                      <a:lnTo>
                        <a:pt x="5" y="56"/>
                      </a:lnTo>
                      <a:lnTo>
                        <a:pt x="6" y="56"/>
                      </a:lnTo>
                      <a:lnTo>
                        <a:pt x="9" y="56"/>
                      </a:lnTo>
                      <a:lnTo>
                        <a:pt x="12" y="56"/>
                      </a:lnTo>
                      <a:lnTo>
                        <a:pt x="9" y="60"/>
                      </a:lnTo>
                      <a:lnTo>
                        <a:pt x="10" y="62"/>
                      </a:lnTo>
                      <a:lnTo>
                        <a:pt x="10" y="65"/>
                      </a:lnTo>
                      <a:lnTo>
                        <a:pt x="10" y="67"/>
                      </a:lnTo>
                      <a:lnTo>
                        <a:pt x="10" y="68"/>
                      </a:lnTo>
                      <a:lnTo>
                        <a:pt x="11" y="69"/>
                      </a:lnTo>
                      <a:lnTo>
                        <a:pt x="13" y="67"/>
                      </a:lnTo>
                      <a:lnTo>
                        <a:pt x="14" y="69"/>
                      </a:lnTo>
                      <a:lnTo>
                        <a:pt x="12" y="70"/>
                      </a:lnTo>
                      <a:lnTo>
                        <a:pt x="9" y="73"/>
                      </a:lnTo>
                      <a:lnTo>
                        <a:pt x="10" y="74"/>
                      </a:lnTo>
                      <a:lnTo>
                        <a:pt x="12" y="74"/>
                      </a:lnTo>
                      <a:lnTo>
                        <a:pt x="10" y="77"/>
                      </a:lnTo>
                      <a:lnTo>
                        <a:pt x="9" y="79"/>
                      </a:lnTo>
                      <a:lnTo>
                        <a:pt x="7" y="79"/>
                      </a:lnTo>
                      <a:lnTo>
                        <a:pt x="6" y="75"/>
                      </a:lnTo>
                      <a:lnTo>
                        <a:pt x="5" y="74"/>
                      </a:lnTo>
                      <a:lnTo>
                        <a:pt x="4" y="77"/>
                      </a:lnTo>
                      <a:lnTo>
                        <a:pt x="5" y="80"/>
                      </a:lnTo>
                      <a:lnTo>
                        <a:pt x="4" y="82"/>
                      </a:lnTo>
                      <a:lnTo>
                        <a:pt x="4" y="84"/>
                      </a:lnTo>
                      <a:lnTo>
                        <a:pt x="6" y="86"/>
                      </a:lnTo>
                      <a:lnTo>
                        <a:pt x="7" y="84"/>
                      </a:lnTo>
                      <a:lnTo>
                        <a:pt x="10" y="87"/>
                      </a:lnTo>
                      <a:lnTo>
                        <a:pt x="12" y="87"/>
                      </a:lnTo>
                      <a:lnTo>
                        <a:pt x="15" y="89"/>
                      </a:lnTo>
                      <a:lnTo>
                        <a:pt x="17" y="93"/>
                      </a:lnTo>
                      <a:lnTo>
                        <a:pt x="14" y="96"/>
                      </a:lnTo>
                      <a:lnTo>
                        <a:pt x="16" y="98"/>
                      </a:lnTo>
                      <a:lnTo>
                        <a:pt x="16" y="100"/>
                      </a:lnTo>
                      <a:lnTo>
                        <a:pt x="17" y="100"/>
                      </a:lnTo>
                      <a:lnTo>
                        <a:pt x="21" y="104"/>
                      </a:lnTo>
                      <a:lnTo>
                        <a:pt x="20" y="107"/>
                      </a:lnTo>
                      <a:lnTo>
                        <a:pt x="17" y="106"/>
                      </a:lnTo>
                      <a:lnTo>
                        <a:pt x="17" y="108"/>
                      </a:lnTo>
                      <a:lnTo>
                        <a:pt x="19" y="109"/>
                      </a:lnTo>
                      <a:lnTo>
                        <a:pt x="24" y="108"/>
                      </a:lnTo>
                      <a:lnTo>
                        <a:pt x="29" y="108"/>
                      </a:lnTo>
                      <a:lnTo>
                        <a:pt x="29" y="109"/>
                      </a:lnTo>
                      <a:lnTo>
                        <a:pt x="27" y="111"/>
                      </a:lnTo>
                      <a:lnTo>
                        <a:pt x="24" y="112"/>
                      </a:lnTo>
                      <a:lnTo>
                        <a:pt x="20" y="112"/>
                      </a:lnTo>
                      <a:lnTo>
                        <a:pt x="19" y="114"/>
                      </a:lnTo>
                      <a:lnTo>
                        <a:pt x="20" y="115"/>
                      </a:lnTo>
                      <a:lnTo>
                        <a:pt x="23" y="114"/>
                      </a:lnTo>
                      <a:lnTo>
                        <a:pt x="26" y="114"/>
                      </a:lnTo>
                      <a:lnTo>
                        <a:pt x="27" y="113"/>
                      </a:lnTo>
                      <a:lnTo>
                        <a:pt x="27" y="115"/>
                      </a:lnTo>
                      <a:lnTo>
                        <a:pt x="28" y="116"/>
                      </a:lnTo>
                      <a:lnTo>
                        <a:pt x="30" y="114"/>
                      </a:lnTo>
                      <a:lnTo>
                        <a:pt x="32" y="111"/>
                      </a:lnTo>
                      <a:lnTo>
                        <a:pt x="34" y="111"/>
                      </a:lnTo>
                      <a:lnTo>
                        <a:pt x="35" y="113"/>
                      </a:lnTo>
                      <a:lnTo>
                        <a:pt x="37" y="113"/>
                      </a:lnTo>
                      <a:lnTo>
                        <a:pt x="40" y="115"/>
                      </a:lnTo>
                      <a:lnTo>
                        <a:pt x="41" y="112"/>
                      </a:lnTo>
                      <a:lnTo>
                        <a:pt x="43" y="113"/>
                      </a:lnTo>
                      <a:lnTo>
                        <a:pt x="43" y="115"/>
                      </a:lnTo>
                      <a:lnTo>
                        <a:pt x="41" y="115"/>
                      </a:lnTo>
                      <a:lnTo>
                        <a:pt x="43" y="118"/>
                      </a:lnTo>
                      <a:lnTo>
                        <a:pt x="44" y="120"/>
                      </a:lnTo>
                      <a:lnTo>
                        <a:pt x="46" y="123"/>
                      </a:lnTo>
                      <a:lnTo>
                        <a:pt x="48" y="122"/>
                      </a:lnTo>
                      <a:lnTo>
                        <a:pt x="51" y="124"/>
                      </a:lnTo>
                      <a:lnTo>
                        <a:pt x="54" y="123"/>
                      </a:lnTo>
                      <a:lnTo>
                        <a:pt x="55" y="122"/>
                      </a:lnTo>
                      <a:lnTo>
                        <a:pt x="58" y="122"/>
                      </a:lnTo>
                      <a:lnTo>
                        <a:pt x="60" y="120"/>
                      </a:lnTo>
                      <a:lnTo>
                        <a:pt x="62" y="122"/>
                      </a:lnTo>
                      <a:lnTo>
                        <a:pt x="64" y="120"/>
                      </a:lnTo>
                      <a:lnTo>
                        <a:pt x="64" y="116"/>
                      </a:lnTo>
                      <a:lnTo>
                        <a:pt x="65" y="115"/>
                      </a:lnTo>
                      <a:lnTo>
                        <a:pt x="64" y="111"/>
                      </a:lnTo>
                      <a:lnTo>
                        <a:pt x="70" y="110"/>
                      </a:lnTo>
                      <a:lnTo>
                        <a:pt x="75" y="111"/>
                      </a:lnTo>
                      <a:lnTo>
                        <a:pt x="82" y="115"/>
                      </a:lnTo>
                      <a:lnTo>
                        <a:pt x="84" y="115"/>
                      </a:lnTo>
                      <a:lnTo>
                        <a:pt x="89" y="122"/>
                      </a:lnTo>
                      <a:lnTo>
                        <a:pt x="93" y="125"/>
                      </a:lnTo>
                      <a:lnTo>
                        <a:pt x="106" y="123"/>
                      </a:lnTo>
                      <a:lnTo>
                        <a:pt x="110" y="121"/>
                      </a:lnTo>
                      <a:lnTo>
                        <a:pt x="110" y="121"/>
                      </a:lnTo>
                      <a:lnTo>
                        <a:pt x="111" y="122"/>
                      </a:lnTo>
                      <a:lnTo>
                        <a:pt x="113" y="120"/>
                      </a:lnTo>
                      <a:lnTo>
                        <a:pt x="114" y="118"/>
                      </a:lnTo>
                      <a:lnTo>
                        <a:pt x="120" y="109"/>
                      </a:lnTo>
                      <a:lnTo>
                        <a:pt x="121" y="108"/>
                      </a:lnTo>
                      <a:lnTo>
                        <a:pt x="127" y="111"/>
                      </a:lnTo>
                      <a:lnTo>
                        <a:pt x="131" y="113"/>
                      </a:lnTo>
                      <a:lnTo>
                        <a:pt x="135" y="112"/>
                      </a:lnTo>
                      <a:lnTo>
                        <a:pt x="135" y="111"/>
                      </a:lnTo>
                      <a:lnTo>
                        <a:pt x="138" y="108"/>
                      </a:lnTo>
                      <a:lnTo>
                        <a:pt x="141" y="108"/>
                      </a:lnTo>
                      <a:lnTo>
                        <a:pt x="141" y="111"/>
                      </a:lnTo>
                      <a:lnTo>
                        <a:pt x="139" y="115"/>
                      </a:lnTo>
                      <a:lnTo>
                        <a:pt x="136" y="118"/>
                      </a:lnTo>
                      <a:lnTo>
                        <a:pt x="136" y="119"/>
                      </a:lnTo>
                      <a:lnTo>
                        <a:pt x="139" y="123"/>
                      </a:lnTo>
                      <a:lnTo>
                        <a:pt x="138" y="125"/>
                      </a:lnTo>
                      <a:lnTo>
                        <a:pt x="141" y="126"/>
                      </a:lnTo>
                      <a:lnTo>
                        <a:pt x="144" y="12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2" name="Freeform 774">
                  <a:extLst>
                    <a:ext uri="{FF2B5EF4-FFF2-40B4-BE49-F238E27FC236}">
                      <a16:creationId xmlns:a16="http://schemas.microsoft.com/office/drawing/2014/main" id="{3BCF26A9-A8D1-481E-A7D3-3FEED14580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52" y="2038"/>
                  <a:ext cx="39" cy="41"/>
                </a:xfrm>
                <a:custGeom>
                  <a:avLst/>
                  <a:gdLst>
                    <a:gd name="T0" fmla="*/ 20 w 39"/>
                    <a:gd name="T1" fmla="*/ 3 h 41"/>
                    <a:gd name="T2" fmla="*/ 16 w 39"/>
                    <a:gd name="T3" fmla="*/ 0 h 41"/>
                    <a:gd name="T4" fmla="*/ 12 w 39"/>
                    <a:gd name="T5" fmla="*/ 0 h 41"/>
                    <a:gd name="T6" fmla="*/ 10 w 39"/>
                    <a:gd name="T7" fmla="*/ 2 h 41"/>
                    <a:gd name="T8" fmla="*/ 8 w 39"/>
                    <a:gd name="T9" fmla="*/ 2 h 41"/>
                    <a:gd name="T10" fmla="*/ 6 w 39"/>
                    <a:gd name="T11" fmla="*/ 5 h 41"/>
                    <a:gd name="T12" fmla="*/ 5 w 39"/>
                    <a:gd name="T13" fmla="*/ 10 h 41"/>
                    <a:gd name="T14" fmla="*/ 8 w 39"/>
                    <a:gd name="T15" fmla="*/ 11 h 41"/>
                    <a:gd name="T16" fmla="*/ 8 w 39"/>
                    <a:gd name="T17" fmla="*/ 15 h 41"/>
                    <a:gd name="T18" fmla="*/ 4 w 39"/>
                    <a:gd name="T19" fmla="*/ 18 h 41"/>
                    <a:gd name="T20" fmla="*/ 5 w 39"/>
                    <a:gd name="T21" fmla="*/ 21 h 41"/>
                    <a:gd name="T22" fmla="*/ 3 w 39"/>
                    <a:gd name="T23" fmla="*/ 25 h 41"/>
                    <a:gd name="T24" fmla="*/ 0 w 39"/>
                    <a:gd name="T25" fmla="*/ 27 h 41"/>
                    <a:gd name="T26" fmla="*/ 0 w 39"/>
                    <a:gd name="T27" fmla="*/ 27 h 41"/>
                    <a:gd name="T28" fmla="*/ 2 w 39"/>
                    <a:gd name="T29" fmla="*/ 30 h 41"/>
                    <a:gd name="T30" fmla="*/ 3 w 39"/>
                    <a:gd name="T31" fmla="*/ 31 h 41"/>
                    <a:gd name="T32" fmla="*/ 6 w 39"/>
                    <a:gd name="T33" fmla="*/ 31 h 41"/>
                    <a:gd name="T34" fmla="*/ 7 w 39"/>
                    <a:gd name="T35" fmla="*/ 31 h 41"/>
                    <a:gd name="T36" fmla="*/ 9 w 39"/>
                    <a:gd name="T37" fmla="*/ 31 h 41"/>
                    <a:gd name="T38" fmla="*/ 7 w 39"/>
                    <a:gd name="T39" fmla="*/ 33 h 41"/>
                    <a:gd name="T40" fmla="*/ 6 w 39"/>
                    <a:gd name="T41" fmla="*/ 33 h 41"/>
                    <a:gd name="T42" fmla="*/ 4 w 39"/>
                    <a:gd name="T43" fmla="*/ 38 h 41"/>
                    <a:gd name="T44" fmla="*/ 4 w 39"/>
                    <a:gd name="T45" fmla="*/ 41 h 41"/>
                    <a:gd name="T46" fmla="*/ 10 w 39"/>
                    <a:gd name="T47" fmla="*/ 34 h 41"/>
                    <a:gd name="T48" fmla="*/ 17 w 39"/>
                    <a:gd name="T49" fmla="*/ 30 h 41"/>
                    <a:gd name="T50" fmla="*/ 19 w 39"/>
                    <a:gd name="T51" fmla="*/ 25 h 41"/>
                    <a:gd name="T52" fmla="*/ 22 w 39"/>
                    <a:gd name="T53" fmla="*/ 24 h 41"/>
                    <a:gd name="T54" fmla="*/ 27 w 39"/>
                    <a:gd name="T55" fmla="*/ 24 h 41"/>
                    <a:gd name="T56" fmla="*/ 28 w 39"/>
                    <a:gd name="T57" fmla="*/ 23 h 41"/>
                    <a:gd name="T58" fmla="*/ 31 w 39"/>
                    <a:gd name="T59" fmla="*/ 23 h 41"/>
                    <a:gd name="T60" fmla="*/ 33 w 39"/>
                    <a:gd name="T61" fmla="*/ 24 h 41"/>
                    <a:gd name="T62" fmla="*/ 37 w 39"/>
                    <a:gd name="T63" fmla="*/ 24 h 41"/>
                    <a:gd name="T64" fmla="*/ 39 w 39"/>
                    <a:gd name="T65" fmla="*/ 21 h 41"/>
                    <a:gd name="T66" fmla="*/ 39 w 39"/>
                    <a:gd name="T67" fmla="*/ 19 h 41"/>
                    <a:gd name="T68" fmla="*/ 36 w 39"/>
                    <a:gd name="T69" fmla="*/ 17 h 41"/>
                    <a:gd name="T70" fmla="*/ 33 w 39"/>
                    <a:gd name="T71" fmla="*/ 14 h 41"/>
                    <a:gd name="T72" fmla="*/ 30 w 39"/>
                    <a:gd name="T73" fmla="*/ 13 h 41"/>
                    <a:gd name="T74" fmla="*/ 26 w 39"/>
                    <a:gd name="T75" fmla="*/ 8 h 41"/>
                    <a:gd name="T76" fmla="*/ 25 w 39"/>
                    <a:gd name="T77" fmla="*/ 2 h 41"/>
                    <a:gd name="T78" fmla="*/ 22 w 39"/>
                    <a:gd name="T79" fmla="*/ 1 h 41"/>
                    <a:gd name="T80" fmla="*/ 20 w 39"/>
                    <a:gd name="T81" fmla="*/ 3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39" h="41">
                      <a:moveTo>
                        <a:pt x="20" y="3"/>
                      </a:moveTo>
                      <a:lnTo>
                        <a:pt x="16" y="0"/>
                      </a:lnTo>
                      <a:lnTo>
                        <a:pt x="12" y="0"/>
                      </a:lnTo>
                      <a:lnTo>
                        <a:pt x="10" y="2"/>
                      </a:lnTo>
                      <a:lnTo>
                        <a:pt x="8" y="2"/>
                      </a:lnTo>
                      <a:lnTo>
                        <a:pt x="6" y="5"/>
                      </a:lnTo>
                      <a:lnTo>
                        <a:pt x="5" y="10"/>
                      </a:lnTo>
                      <a:lnTo>
                        <a:pt x="8" y="11"/>
                      </a:lnTo>
                      <a:lnTo>
                        <a:pt x="8" y="15"/>
                      </a:lnTo>
                      <a:lnTo>
                        <a:pt x="4" y="18"/>
                      </a:lnTo>
                      <a:lnTo>
                        <a:pt x="5" y="21"/>
                      </a:lnTo>
                      <a:lnTo>
                        <a:pt x="3" y="25"/>
                      </a:lnTo>
                      <a:lnTo>
                        <a:pt x="0" y="27"/>
                      </a:lnTo>
                      <a:lnTo>
                        <a:pt x="0" y="27"/>
                      </a:lnTo>
                      <a:lnTo>
                        <a:pt x="2" y="30"/>
                      </a:lnTo>
                      <a:lnTo>
                        <a:pt x="3" y="31"/>
                      </a:lnTo>
                      <a:lnTo>
                        <a:pt x="6" y="31"/>
                      </a:lnTo>
                      <a:lnTo>
                        <a:pt x="7" y="31"/>
                      </a:lnTo>
                      <a:lnTo>
                        <a:pt x="9" y="31"/>
                      </a:lnTo>
                      <a:lnTo>
                        <a:pt x="7" y="33"/>
                      </a:lnTo>
                      <a:lnTo>
                        <a:pt x="6" y="33"/>
                      </a:lnTo>
                      <a:lnTo>
                        <a:pt x="4" y="38"/>
                      </a:lnTo>
                      <a:lnTo>
                        <a:pt x="4" y="41"/>
                      </a:lnTo>
                      <a:lnTo>
                        <a:pt x="10" y="34"/>
                      </a:lnTo>
                      <a:lnTo>
                        <a:pt x="17" y="30"/>
                      </a:lnTo>
                      <a:lnTo>
                        <a:pt x="19" y="25"/>
                      </a:lnTo>
                      <a:lnTo>
                        <a:pt x="22" y="24"/>
                      </a:lnTo>
                      <a:lnTo>
                        <a:pt x="27" y="24"/>
                      </a:lnTo>
                      <a:lnTo>
                        <a:pt x="28" y="23"/>
                      </a:lnTo>
                      <a:lnTo>
                        <a:pt x="31" y="23"/>
                      </a:lnTo>
                      <a:lnTo>
                        <a:pt x="33" y="24"/>
                      </a:lnTo>
                      <a:lnTo>
                        <a:pt x="37" y="24"/>
                      </a:lnTo>
                      <a:lnTo>
                        <a:pt x="39" y="21"/>
                      </a:lnTo>
                      <a:lnTo>
                        <a:pt x="39" y="19"/>
                      </a:lnTo>
                      <a:lnTo>
                        <a:pt x="36" y="17"/>
                      </a:lnTo>
                      <a:lnTo>
                        <a:pt x="33" y="14"/>
                      </a:lnTo>
                      <a:lnTo>
                        <a:pt x="30" y="13"/>
                      </a:lnTo>
                      <a:lnTo>
                        <a:pt x="26" y="8"/>
                      </a:lnTo>
                      <a:lnTo>
                        <a:pt x="25" y="2"/>
                      </a:lnTo>
                      <a:lnTo>
                        <a:pt x="22" y="1"/>
                      </a:lnTo>
                      <a:lnTo>
                        <a:pt x="2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3" name="Freeform 775">
                  <a:extLst>
                    <a:ext uri="{FF2B5EF4-FFF2-40B4-BE49-F238E27FC236}">
                      <a16:creationId xmlns:a16="http://schemas.microsoft.com/office/drawing/2014/main" id="{31DB57FE-8444-4AA0-A18F-09FD48B0C8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38" y="2133"/>
                  <a:ext cx="137" cy="158"/>
                </a:xfrm>
                <a:custGeom>
                  <a:avLst/>
                  <a:gdLst>
                    <a:gd name="T0" fmla="*/ 131 w 137"/>
                    <a:gd name="T1" fmla="*/ 131 h 158"/>
                    <a:gd name="T2" fmla="*/ 125 w 137"/>
                    <a:gd name="T3" fmla="*/ 121 h 158"/>
                    <a:gd name="T4" fmla="*/ 124 w 137"/>
                    <a:gd name="T5" fmla="*/ 112 h 158"/>
                    <a:gd name="T6" fmla="*/ 124 w 137"/>
                    <a:gd name="T7" fmla="*/ 101 h 158"/>
                    <a:gd name="T8" fmla="*/ 119 w 137"/>
                    <a:gd name="T9" fmla="*/ 93 h 158"/>
                    <a:gd name="T10" fmla="*/ 115 w 137"/>
                    <a:gd name="T11" fmla="*/ 92 h 158"/>
                    <a:gd name="T12" fmla="*/ 103 w 137"/>
                    <a:gd name="T13" fmla="*/ 84 h 158"/>
                    <a:gd name="T14" fmla="*/ 98 w 137"/>
                    <a:gd name="T15" fmla="*/ 83 h 158"/>
                    <a:gd name="T16" fmla="*/ 98 w 137"/>
                    <a:gd name="T17" fmla="*/ 79 h 158"/>
                    <a:gd name="T18" fmla="*/ 96 w 137"/>
                    <a:gd name="T19" fmla="*/ 73 h 158"/>
                    <a:gd name="T20" fmla="*/ 93 w 137"/>
                    <a:gd name="T21" fmla="*/ 69 h 158"/>
                    <a:gd name="T22" fmla="*/ 89 w 137"/>
                    <a:gd name="T23" fmla="*/ 67 h 158"/>
                    <a:gd name="T24" fmla="*/ 90 w 137"/>
                    <a:gd name="T25" fmla="*/ 63 h 158"/>
                    <a:gd name="T26" fmla="*/ 90 w 137"/>
                    <a:gd name="T27" fmla="*/ 59 h 158"/>
                    <a:gd name="T28" fmla="*/ 92 w 137"/>
                    <a:gd name="T29" fmla="*/ 51 h 158"/>
                    <a:gd name="T30" fmla="*/ 94 w 137"/>
                    <a:gd name="T31" fmla="*/ 46 h 158"/>
                    <a:gd name="T32" fmla="*/ 96 w 137"/>
                    <a:gd name="T33" fmla="*/ 39 h 158"/>
                    <a:gd name="T34" fmla="*/ 94 w 137"/>
                    <a:gd name="T35" fmla="*/ 33 h 158"/>
                    <a:gd name="T36" fmla="*/ 99 w 137"/>
                    <a:gd name="T37" fmla="*/ 32 h 158"/>
                    <a:gd name="T38" fmla="*/ 98 w 137"/>
                    <a:gd name="T39" fmla="*/ 30 h 158"/>
                    <a:gd name="T40" fmla="*/ 93 w 137"/>
                    <a:gd name="T41" fmla="*/ 29 h 158"/>
                    <a:gd name="T42" fmla="*/ 86 w 137"/>
                    <a:gd name="T43" fmla="*/ 26 h 158"/>
                    <a:gd name="T44" fmla="*/ 82 w 137"/>
                    <a:gd name="T45" fmla="*/ 23 h 158"/>
                    <a:gd name="T46" fmla="*/ 79 w 137"/>
                    <a:gd name="T47" fmla="*/ 17 h 158"/>
                    <a:gd name="T48" fmla="*/ 76 w 137"/>
                    <a:gd name="T49" fmla="*/ 12 h 158"/>
                    <a:gd name="T50" fmla="*/ 74 w 137"/>
                    <a:gd name="T51" fmla="*/ 5 h 158"/>
                    <a:gd name="T52" fmla="*/ 69 w 137"/>
                    <a:gd name="T53" fmla="*/ 6 h 158"/>
                    <a:gd name="T54" fmla="*/ 66 w 137"/>
                    <a:gd name="T55" fmla="*/ 2 h 158"/>
                    <a:gd name="T56" fmla="*/ 60 w 137"/>
                    <a:gd name="T57" fmla="*/ 2 h 158"/>
                    <a:gd name="T58" fmla="*/ 50 w 137"/>
                    <a:gd name="T59" fmla="*/ 0 h 158"/>
                    <a:gd name="T60" fmla="*/ 45 w 137"/>
                    <a:gd name="T61" fmla="*/ 2 h 158"/>
                    <a:gd name="T62" fmla="*/ 41 w 137"/>
                    <a:gd name="T63" fmla="*/ 5 h 158"/>
                    <a:gd name="T64" fmla="*/ 38 w 137"/>
                    <a:gd name="T65" fmla="*/ 9 h 158"/>
                    <a:gd name="T66" fmla="*/ 30 w 137"/>
                    <a:gd name="T67" fmla="*/ 14 h 158"/>
                    <a:gd name="T68" fmla="*/ 28 w 137"/>
                    <a:gd name="T69" fmla="*/ 25 h 158"/>
                    <a:gd name="T70" fmla="*/ 30 w 137"/>
                    <a:gd name="T71" fmla="*/ 36 h 158"/>
                    <a:gd name="T72" fmla="*/ 28 w 137"/>
                    <a:gd name="T73" fmla="*/ 46 h 158"/>
                    <a:gd name="T74" fmla="*/ 26 w 137"/>
                    <a:gd name="T75" fmla="*/ 54 h 158"/>
                    <a:gd name="T76" fmla="*/ 0 w 137"/>
                    <a:gd name="T77" fmla="*/ 78 h 158"/>
                    <a:gd name="T78" fmla="*/ 0 w 137"/>
                    <a:gd name="T79" fmla="*/ 78 h 158"/>
                    <a:gd name="T80" fmla="*/ 19 w 137"/>
                    <a:gd name="T81" fmla="*/ 102 h 158"/>
                    <a:gd name="T82" fmla="*/ 112 w 137"/>
                    <a:gd name="T83" fmla="*/ 158 h 158"/>
                    <a:gd name="T84" fmla="*/ 118 w 137"/>
                    <a:gd name="T85" fmla="*/ 143 h 158"/>
                    <a:gd name="T86" fmla="*/ 129 w 137"/>
                    <a:gd name="T87" fmla="*/ 141 h 158"/>
                    <a:gd name="T88" fmla="*/ 134 w 137"/>
                    <a:gd name="T89" fmla="*/ 140 h 158"/>
                    <a:gd name="T90" fmla="*/ 137 w 137"/>
                    <a:gd name="T91" fmla="*/ 136 h 158"/>
                    <a:gd name="T92" fmla="*/ 133 w 137"/>
                    <a:gd name="T93" fmla="*/ 133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37" h="158">
                      <a:moveTo>
                        <a:pt x="133" y="133"/>
                      </a:moveTo>
                      <a:lnTo>
                        <a:pt x="131" y="131"/>
                      </a:lnTo>
                      <a:lnTo>
                        <a:pt x="129" y="121"/>
                      </a:lnTo>
                      <a:lnTo>
                        <a:pt x="125" y="121"/>
                      </a:lnTo>
                      <a:lnTo>
                        <a:pt x="124" y="116"/>
                      </a:lnTo>
                      <a:lnTo>
                        <a:pt x="124" y="112"/>
                      </a:lnTo>
                      <a:lnTo>
                        <a:pt x="127" y="108"/>
                      </a:lnTo>
                      <a:lnTo>
                        <a:pt x="124" y="101"/>
                      </a:lnTo>
                      <a:lnTo>
                        <a:pt x="121" y="98"/>
                      </a:lnTo>
                      <a:lnTo>
                        <a:pt x="119" y="93"/>
                      </a:lnTo>
                      <a:lnTo>
                        <a:pt x="117" y="91"/>
                      </a:lnTo>
                      <a:lnTo>
                        <a:pt x="115" y="92"/>
                      </a:lnTo>
                      <a:lnTo>
                        <a:pt x="105" y="84"/>
                      </a:lnTo>
                      <a:lnTo>
                        <a:pt x="103" y="84"/>
                      </a:lnTo>
                      <a:lnTo>
                        <a:pt x="101" y="85"/>
                      </a:lnTo>
                      <a:lnTo>
                        <a:pt x="98" y="83"/>
                      </a:lnTo>
                      <a:lnTo>
                        <a:pt x="99" y="81"/>
                      </a:lnTo>
                      <a:lnTo>
                        <a:pt x="98" y="79"/>
                      </a:lnTo>
                      <a:lnTo>
                        <a:pt x="99" y="76"/>
                      </a:lnTo>
                      <a:lnTo>
                        <a:pt x="96" y="73"/>
                      </a:lnTo>
                      <a:lnTo>
                        <a:pt x="96" y="70"/>
                      </a:lnTo>
                      <a:lnTo>
                        <a:pt x="93" y="69"/>
                      </a:lnTo>
                      <a:lnTo>
                        <a:pt x="91" y="67"/>
                      </a:lnTo>
                      <a:lnTo>
                        <a:pt x="89" y="67"/>
                      </a:lnTo>
                      <a:lnTo>
                        <a:pt x="89" y="64"/>
                      </a:lnTo>
                      <a:lnTo>
                        <a:pt x="90" y="63"/>
                      </a:lnTo>
                      <a:lnTo>
                        <a:pt x="89" y="61"/>
                      </a:lnTo>
                      <a:lnTo>
                        <a:pt x="90" y="59"/>
                      </a:lnTo>
                      <a:lnTo>
                        <a:pt x="90" y="53"/>
                      </a:lnTo>
                      <a:lnTo>
                        <a:pt x="92" y="51"/>
                      </a:lnTo>
                      <a:lnTo>
                        <a:pt x="92" y="46"/>
                      </a:lnTo>
                      <a:lnTo>
                        <a:pt x="94" y="46"/>
                      </a:lnTo>
                      <a:lnTo>
                        <a:pt x="96" y="45"/>
                      </a:lnTo>
                      <a:lnTo>
                        <a:pt x="96" y="39"/>
                      </a:lnTo>
                      <a:lnTo>
                        <a:pt x="94" y="38"/>
                      </a:lnTo>
                      <a:lnTo>
                        <a:pt x="94" y="33"/>
                      </a:lnTo>
                      <a:lnTo>
                        <a:pt x="96" y="33"/>
                      </a:lnTo>
                      <a:lnTo>
                        <a:pt x="99" y="32"/>
                      </a:lnTo>
                      <a:lnTo>
                        <a:pt x="100" y="31"/>
                      </a:lnTo>
                      <a:lnTo>
                        <a:pt x="98" y="30"/>
                      </a:lnTo>
                      <a:lnTo>
                        <a:pt x="97" y="29"/>
                      </a:lnTo>
                      <a:lnTo>
                        <a:pt x="93" y="29"/>
                      </a:lnTo>
                      <a:lnTo>
                        <a:pt x="91" y="29"/>
                      </a:lnTo>
                      <a:lnTo>
                        <a:pt x="86" y="26"/>
                      </a:lnTo>
                      <a:lnTo>
                        <a:pt x="84" y="25"/>
                      </a:lnTo>
                      <a:lnTo>
                        <a:pt x="82" y="23"/>
                      </a:lnTo>
                      <a:lnTo>
                        <a:pt x="80" y="19"/>
                      </a:lnTo>
                      <a:lnTo>
                        <a:pt x="79" y="17"/>
                      </a:lnTo>
                      <a:lnTo>
                        <a:pt x="77" y="16"/>
                      </a:lnTo>
                      <a:lnTo>
                        <a:pt x="76" y="12"/>
                      </a:lnTo>
                      <a:lnTo>
                        <a:pt x="76" y="10"/>
                      </a:lnTo>
                      <a:lnTo>
                        <a:pt x="74" y="5"/>
                      </a:lnTo>
                      <a:lnTo>
                        <a:pt x="72" y="5"/>
                      </a:lnTo>
                      <a:lnTo>
                        <a:pt x="69" y="6"/>
                      </a:lnTo>
                      <a:lnTo>
                        <a:pt x="66" y="5"/>
                      </a:lnTo>
                      <a:lnTo>
                        <a:pt x="66" y="2"/>
                      </a:lnTo>
                      <a:lnTo>
                        <a:pt x="64" y="0"/>
                      </a:lnTo>
                      <a:lnTo>
                        <a:pt x="60" y="2"/>
                      </a:lnTo>
                      <a:lnTo>
                        <a:pt x="55" y="0"/>
                      </a:lnTo>
                      <a:lnTo>
                        <a:pt x="50" y="0"/>
                      </a:lnTo>
                      <a:lnTo>
                        <a:pt x="48" y="2"/>
                      </a:lnTo>
                      <a:lnTo>
                        <a:pt x="45" y="2"/>
                      </a:lnTo>
                      <a:lnTo>
                        <a:pt x="41" y="5"/>
                      </a:lnTo>
                      <a:lnTo>
                        <a:pt x="41" y="5"/>
                      </a:lnTo>
                      <a:lnTo>
                        <a:pt x="40" y="9"/>
                      </a:lnTo>
                      <a:lnTo>
                        <a:pt x="38" y="9"/>
                      </a:lnTo>
                      <a:lnTo>
                        <a:pt x="35" y="12"/>
                      </a:lnTo>
                      <a:lnTo>
                        <a:pt x="30" y="14"/>
                      </a:lnTo>
                      <a:lnTo>
                        <a:pt x="28" y="19"/>
                      </a:lnTo>
                      <a:lnTo>
                        <a:pt x="28" y="25"/>
                      </a:lnTo>
                      <a:lnTo>
                        <a:pt x="30" y="31"/>
                      </a:lnTo>
                      <a:lnTo>
                        <a:pt x="30" y="36"/>
                      </a:lnTo>
                      <a:lnTo>
                        <a:pt x="28" y="43"/>
                      </a:lnTo>
                      <a:lnTo>
                        <a:pt x="28" y="46"/>
                      </a:lnTo>
                      <a:lnTo>
                        <a:pt x="28" y="50"/>
                      </a:lnTo>
                      <a:lnTo>
                        <a:pt x="26" y="54"/>
                      </a:lnTo>
                      <a:lnTo>
                        <a:pt x="24" y="57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7" y="100"/>
                      </a:lnTo>
                      <a:lnTo>
                        <a:pt x="19" y="102"/>
                      </a:lnTo>
                      <a:lnTo>
                        <a:pt x="85" y="157"/>
                      </a:lnTo>
                      <a:lnTo>
                        <a:pt x="112" y="158"/>
                      </a:lnTo>
                      <a:lnTo>
                        <a:pt x="115" y="150"/>
                      </a:lnTo>
                      <a:lnTo>
                        <a:pt x="118" y="143"/>
                      </a:lnTo>
                      <a:lnTo>
                        <a:pt x="124" y="139"/>
                      </a:lnTo>
                      <a:lnTo>
                        <a:pt x="129" y="141"/>
                      </a:lnTo>
                      <a:lnTo>
                        <a:pt x="132" y="140"/>
                      </a:lnTo>
                      <a:lnTo>
                        <a:pt x="134" y="140"/>
                      </a:lnTo>
                      <a:lnTo>
                        <a:pt x="135" y="136"/>
                      </a:lnTo>
                      <a:lnTo>
                        <a:pt x="137" y="136"/>
                      </a:lnTo>
                      <a:lnTo>
                        <a:pt x="136" y="135"/>
                      </a:lnTo>
                      <a:lnTo>
                        <a:pt x="133" y="13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4" name="Freeform 776">
                  <a:extLst>
                    <a:ext uri="{FF2B5EF4-FFF2-40B4-BE49-F238E27FC236}">
                      <a16:creationId xmlns:a16="http://schemas.microsoft.com/office/drawing/2014/main" id="{A4CB0632-6AC8-471A-AF66-E2988338F8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50" y="2272"/>
                  <a:ext cx="24" cy="30"/>
                </a:xfrm>
                <a:custGeom>
                  <a:avLst/>
                  <a:gdLst>
                    <a:gd name="T0" fmla="*/ 17 w 24"/>
                    <a:gd name="T1" fmla="*/ 2 h 30"/>
                    <a:gd name="T2" fmla="*/ 12 w 24"/>
                    <a:gd name="T3" fmla="*/ 0 h 30"/>
                    <a:gd name="T4" fmla="*/ 6 w 24"/>
                    <a:gd name="T5" fmla="*/ 4 h 30"/>
                    <a:gd name="T6" fmla="*/ 3 w 24"/>
                    <a:gd name="T7" fmla="*/ 11 h 30"/>
                    <a:gd name="T8" fmla="*/ 0 w 24"/>
                    <a:gd name="T9" fmla="*/ 19 h 30"/>
                    <a:gd name="T10" fmla="*/ 2 w 24"/>
                    <a:gd name="T11" fmla="*/ 19 h 30"/>
                    <a:gd name="T12" fmla="*/ 15 w 24"/>
                    <a:gd name="T13" fmla="*/ 24 h 30"/>
                    <a:gd name="T14" fmla="*/ 16 w 24"/>
                    <a:gd name="T15" fmla="*/ 30 h 30"/>
                    <a:gd name="T16" fmla="*/ 24 w 24"/>
                    <a:gd name="T17" fmla="*/ 25 h 30"/>
                    <a:gd name="T18" fmla="*/ 23 w 24"/>
                    <a:gd name="T19" fmla="*/ 23 h 30"/>
                    <a:gd name="T20" fmla="*/ 23 w 24"/>
                    <a:gd name="T21" fmla="*/ 22 h 30"/>
                    <a:gd name="T22" fmla="*/ 23 w 24"/>
                    <a:gd name="T23" fmla="*/ 22 h 30"/>
                    <a:gd name="T24" fmla="*/ 22 w 24"/>
                    <a:gd name="T25" fmla="*/ 20 h 30"/>
                    <a:gd name="T26" fmla="*/ 22 w 24"/>
                    <a:gd name="T27" fmla="*/ 18 h 30"/>
                    <a:gd name="T28" fmla="*/ 21 w 24"/>
                    <a:gd name="T29" fmla="*/ 14 h 30"/>
                    <a:gd name="T30" fmla="*/ 20 w 24"/>
                    <a:gd name="T31" fmla="*/ 16 h 30"/>
                    <a:gd name="T32" fmla="*/ 15 w 24"/>
                    <a:gd name="T33" fmla="*/ 12 h 30"/>
                    <a:gd name="T34" fmla="*/ 23 w 24"/>
                    <a:gd name="T35" fmla="*/ 10 h 30"/>
                    <a:gd name="T36" fmla="*/ 22 w 24"/>
                    <a:gd name="T37" fmla="*/ 3 h 30"/>
                    <a:gd name="T38" fmla="*/ 22 w 24"/>
                    <a:gd name="T39" fmla="*/ 1 h 30"/>
                    <a:gd name="T40" fmla="*/ 20 w 24"/>
                    <a:gd name="T41" fmla="*/ 1 h 30"/>
                    <a:gd name="T42" fmla="*/ 17 w 24"/>
                    <a:gd name="T43" fmla="*/ 2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4" h="30">
                      <a:moveTo>
                        <a:pt x="17" y="2"/>
                      </a:moveTo>
                      <a:lnTo>
                        <a:pt x="12" y="0"/>
                      </a:lnTo>
                      <a:lnTo>
                        <a:pt x="6" y="4"/>
                      </a:lnTo>
                      <a:lnTo>
                        <a:pt x="3" y="11"/>
                      </a:lnTo>
                      <a:lnTo>
                        <a:pt x="0" y="19"/>
                      </a:lnTo>
                      <a:lnTo>
                        <a:pt x="2" y="19"/>
                      </a:lnTo>
                      <a:lnTo>
                        <a:pt x="15" y="24"/>
                      </a:lnTo>
                      <a:lnTo>
                        <a:pt x="16" y="30"/>
                      </a:lnTo>
                      <a:lnTo>
                        <a:pt x="24" y="25"/>
                      </a:lnTo>
                      <a:lnTo>
                        <a:pt x="23" y="23"/>
                      </a:lnTo>
                      <a:lnTo>
                        <a:pt x="23" y="22"/>
                      </a:lnTo>
                      <a:lnTo>
                        <a:pt x="23" y="22"/>
                      </a:lnTo>
                      <a:lnTo>
                        <a:pt x="22" y="20"/>
                      </a:lnTo>
                      <a:lnTo>
                        <a:pt x="22" y="18"/>
                      </a:lnTo>
                      <a:lnTo>
                        <a:pt x="21" y="14"/>
                      </a:lnTo>
                      <a:lnTo>
                        <a:pt x="20" y="16"/>
                      </a:lnTo>
                      <a:lnTo>
                        <a:pt x="15" y="12"/>
                      </a:lnTo>
                      <a:lnTo>
                        <a:pt x="23" y="10"/>
                      </a:lnTo>
                      <a:lnTo>
                        <a:pt x="22" y="3"/>
                      </a:lnTo>
                      <a:lnTo>
                        <a:pt x="22" y="1"/>
                      </a:lnTo>
                      <a:lnTo>
                        <a:pt x="20" y="1"/>
                      </a:lnTo>
                      <a:lnTo>
                        <a:pt x="17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5" name="Freeform 777">
                  <a:extLst>
                    <a:ext uri="{FF2B5EF4-FFF2-40B4-BE49-F238E27FC236}">
                      <a16:creationId xmlns:a16="http://schemas.microsoft.com/office/drawing/2014/main" id="{343AB393-C0FD-4684-A622-64ED8B6109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44" y="2169"/>
                  <a:ext cx="32" cy="22"/>
                </a:xfrm>
                <a:custGeom>
                  <a:avLst/>
                  <a:gdLst>
                    <a:gd name="T0" fmla="*/ 31 w 32"/>
                    <a:gd name="T1" fmla="*/ 3 h 22"/>
                    <a:gd name="T2" fmla="*/ 32 w 32"/>
                    <a:gd name="T3" fmla="*/ 1 h 22"/>
                    <a:gd name="T4" fmla="*/ 31 w 32"/>
                    <a:gd name="T5" fmla="*/ 0 h 22"/>
                    <a:gd name="T6" fmla="*/ 30 w 32"/>
                    <a:gd name="T7" fmla="*/ 0 h 22"/>
                    <a:gd name="T8" fmla="*/ 25 w 32"/>
                    <a:gd name="T9" fmla="*/ 4 h 22"/>
                    <a:gd name="T10" fmla="*/ 19 w 32"/>
                    <a:gd name="T11" fmla="*/ 7 h 22"/>
                    <a:gd name="T12" fmla="*/ 15 w 32"/>
                    <a:gd name="T13" fmla="*/ 7 h 22"/>
                    <a:gd name="T14" fmla="*/ 12 w 32"/>
                    <a:gd name="T15" fmla="*/ 5 h 22"/>
                    <a:gd name="T16" fmla="*/ 10 w 32"/>
                    <a:gd name="T17" fmla="*/ 5 h 22"/>
                    <a:gd name="T18" fmla="*/ 10 w 32"/>
                    <a:gd name="T19" fmla="*/ 7 h 22"/>
                    <a:gd name="T20" fmla="*/ 9 w 32"/>
                    <a:gd name="T21" fmla="*/ 10 h 22"/>
                    <a:gd name="T22" fmla="*/ 7 w 32"/>
                    <a:gd name="T23" fmla="*/ 10 h 22"/>
                    <a:gd name="T24" fmla="*/ 4 w 32"/>
                    <a:gd name="T25" fmla="*/ 9 h 22"/>
                    <a:gd name="T26" fmla="*/ 2 w 32"/>
                    <a:gd name="T27" fmla="*/ 11 h 22"/>
                    <a:gd name="T28" fmla="*/ 0 w 32"/>
                    <a:gd name="T29" fmla="*/ 12 h 22"/>
                    <a:gd name="T30" fmla="*/ 0 w 32"/>
                    <a:gd name="T31" fmla="*/ 16 h 22"/>
                    <a:gd name="T32" fmla="*/ 3 w 32"/>
                    <a:gd name="T33" fmla="*/ 19 h 22"/>
                    <a:gd name="T34" fmla="*/ 6 w 32"/>
                    <a:gd name="T35" fmla="*/ 21 h 22"/>
                    <a:gd name="T36" fmla="*/ 10 w 32"/>
                    <a:gd name="T37" fmla="*/ 21 h 22"/>
                    <a:gd name="T38" fmla="*/ 11 w 32"/>
                    <a:gd name="T39" fmla="*/ 22 h 22"/>
                    <a:gd name="T40" fmla="*/ 13 w 32"/>
                    <a:gd name="T41" fmla="*/ 21 h 22"/>
                    <a:gd name="T42" fmla="*/ 16 w 32"/>
                    <a:gd name="T43" fmla="*/ 20 h 22"/>
                    <a:gd name="T44" fmla="*/ 19 w 32"/>
                    <a:gd name="T45" fmla="*/ 17 h 22"/>
                    <a:gd name="T46" fmla="*/ 21 w 32"/>
                    <a:gd name="T47" fmla="*/ 15 h 22"/>
                    <a:gd name="T48" fmla="*/ 25 w 32"/>
                    <a:gd name="T49" fmla="*/ 16 h 22"/>
                    <a:gd name="T50" fmla="*/ 25 w 32"/>
                    <a:gd name="T51" fmla="*/ 12 h 22"/>
                    <a:gd name="T52" fmla="*/ 25 w 32"/>
                    <a:gd name="T53" fmla="*/ 10 h 22"/>
                    <a:gd name="T54" fmla="*/ 28 w 32"/>
                    <a:gd name="T55" fmla="*/ 5 h 22"/>
                    <a:gd name="T56" fmla="*/ 31 w 32"/>
                    <a:gd name="T57" fmla="*/ 3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2" h="22">
                      <a:moveTo>
                        <a:pt x="31" y="3"/>
                      </a:moveTo>
                      <a:lnTo>
                        <a:pt x="32" y="1"/>
                      </a:lnTo>
                      <a:lnTo>
                        <a:pt x="31" y="0"/>
                      </a:lnTo>
                      <a:lnTo>
                        <a:pt x="30" y="0"/>
                      </a:lnTo>
                      <a:lnTo>
                        <a:pt x="25" y="4"/>
                      </a:lnTo>
                      <a:lnTo>
                        <a:pt x="19" y="7"/>
                      </a:lnTo>
                      <a:lnTo>
                        <a:pt x="15" y="7"/>
                      </a:lnTo>
                      <a:lnTo>
                        <a:pt x="12" y="5"/>
                      </a:lnTo>
                      <a:lnTo>
                        <a:pt x="10" y="5"/>
                      </a:lnTo>
                      <a:lnTo>
                        <a:pt x="10" y="7"/>
                      </a:lnTo>
                      <a:lnTo>
                        <a:pt x="9" y="10"/>
                      </a:lnTo>
                      <a:lnTo>
                        <a:pt x="7" y="10"/>
                      </a:lnTo>
                      <a:lnTo>
                        <a:pt x="4" y="9"/>
                      </a:lnTo>
                      <a:lnTo>
                        <a:pt x="2" y="11"/>
                      </a:lnTo>
                      <a:lnTo>
                        <a:pt x="0" y="12"/>
                      </a:lnTo>
                      <a:lnTo>
                        <a:pt x="0" y="16"/>
                      </a:lnTo>
                      <a:lnTo>
                        <a:pt x="3" y="19"/>
                      </a:lnTo>
                      <a:lnTo>
                        <a:pt x="6" y="21"/>
                      </a:lnTo>
                      <a:lnTo>
                        <a:pt x="10" y="21"/>
                      </a:lnTo>
                      <a:lnTo>
                        <a:pt x="11" y="22"/>
                      </a:lnTo>
                      <a:lnTo>
                        <a:pt x="13" y="21"/>
                      </a:lnTo>
                      <a:lnTo>
                        <a:pt x="16" y="20"/>
                      </a:lnTo>
                      <a:lnTo>
                        <a:pt x="19" y="17"/>
                      </a:lnTo>
                      <a:lnTo>
                        <a:pt x="21" y="15"/>
                      </a:lnTo>
                      <a:lnTo>
                        <a:pt x="25" y="16"/>
                      </a:lnTo>
                      <a:lnTo>
                        <a:pt x="25" y="12"/>
                      </a:lnTo>
                      <a:lnTo>
                        <a:pt x="25" y="10"/>
                      </a:lnTo>
                      <a:lnTo>
                        <a:pt x="28" y="5"/>
                      </a:lnTo>
                      <a:lnTo>
                        <a:pt x="31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6" name="Freeform 778">
                  <a:extLst>
                    <a:ext uri="{FF2B5EF4-FFF2-40B4-BE49-F238E27FC236}">
                      <a16:creationId xmlns:a16="http://schemas.microsoft.com/office/drawing/2014/main" id="{8361B565-B924-42F0-974B-DF00BAFB93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91" y="2137"/>
                  <a:ext cx="88" cy="95"/>
                </a:xfrm>
                <a:custGeom>
                  <a:avLst/>
                  <a:gdLst>
                    <a:gd name="T0" fmla="*/ 13 w 88"/>
                    <a:gd name="T1" fmla="*/ 57 h 95"/>
                    <a:gd name="T2" fmla="*/ 14 w 88"/>
                    <a:gd name="T3" fmla="*/ 65 h 95"/>
                    <a:gd name="T4" fmla="*/ 11 w 88"/>
                    <a:gd name="T5" fmla="*/ 66 h 95"/>
                    <a:gd name="T6" fmla="*/ 7 w 88"/>
                    <a:gd name="T7" fmla="*/ 72 h 95"/>
                    <a:gd name="T8" fmla="*/ 5 w 88"/>
                    <a:gd name="T9" fmla="*/ 76 h 95"/>
                    <a:gd name="T10" fmla="*/ 7 w 88"/>
                    <a:gd name="T11" fmla="*/ 80 h 95"/>
                    <a:gd name="T12" fmla="*/ 7 w 88"/>
                    <a:gd name="T13" fmla="*/ 88 h 95"/>
                    <a:gd name="T14" fmla="*/ 12 w 88"/>
                    <a:gd name="T15" fmla="*/ 91 h 95"/>
                    <a:gd name="T16" fmla="*/ 16 w 88"/>
                    <a:gd name="T17" fmla="*/ 94 h 95"/>
                    <a:gd name="T18" fmla="*/ 47 w 88"/>
                    <a:gd name="T19" fmla="*/ 74 h 95"/>
                    <a:gd name="T20" fmla="*/ 71 w 88"/>
                    <a:gd name="T21" fmla="*/ 53 h 95"/>
                    <a:gd name="T22" fmla="*/ 75 w 88"/>
                    <a:gd name="T23" fmla="*/ 46 h 95"/>
                    <a:gd name="T24" fmla="*/ 75 w 88"/>
                    <a:gd name="T25" fmla="*/ 39 h 95"/>
                    <a:gd name="T26" fmla="*/ 77 w 88"/>
                    <a:gd name="T27" fmla="*/ 27 h 95"/>
                    <a:gd name="T28" fmla="*/ 75 w 88"/>
                    <a:gd name="T29" fmla="*/ 15 h 95"/>
                    <a:gd name="T30" fmla="*/ 82 w 88"/>
                    <a:gd name="T31" fmla="*/ 8 h 95"/>
                    <a:gd name="T32" fmla="*/ 87 w 88"/>
                    <a:gd name="T33" fmla="*/ 5 h 95"/>
                    <a:gd name="T34" fmla="*/ 88 w 88"/>
                    <a:gd name="T35" fmla="*/ 1 h 95"/>
                    <a:gd name="T36" fmla="*/ 83 w 88"/>
                    <a:gd name="T37" fmla="*/ 0 h 95"/>
                    <a:gd name="T38" fmla="*/ 71 w 88"/>
                    <a:gd name="T39" fmla="*/ 2 h 95"/>
                    <a:gd name="T40" fmla="*/ 64 w 88"/>
                    <a:gd name="T41" fmla="*/ 3 h 95"/>
                    <a:gd name="T42" fmla="*/ 57 w 88"/>
                    <a:gd name="T43" fmla="*/ 8 h 95"/>
                    <a:gd name="T44" fmla="*/ 53 w 88"/>
                    <a:gd name="T45" fmla="*/ 10 h 95"/>
                    <a:gd name="T46" fmla="*/ 42 w 88"/>
                    <a:gd name="T47" fmla="*/ 8 h 95"/>
                    <a:gd name="T48" fmla="*/ 37 w 88"/>
                    <a:gd name="T49" fmla="*/ 6 h 95"/>
                    <a:gd name="T50" fmla="*/ 28 w 88"/>
                    <a:gd name="T51" fmla="*/ 8 h 95"/>
                    <a:gd name="T52" fmla="*/ 19 w 88"/>
                    <a:gd name="T53" fmla="*/ 12 h 95"/>
                    <a:gd name="T54" fmla="*/ 13 w 88"/>
                    <a:gd name="T55" fmla="*/ 10 h 95"/>
                    <a:gd name="T56" fmla="*/ 12 w 88"/>
                    <a:gd name="T57" fmla="*/ 19 h 95"/>
                    <a:gd name="T58" fmla="*/ 11 w 88"/>
                    <a:gd name="T59" fmla="*/ 25 h 95"/>
                    <a:gd name="T60" fmla="*/ 5 w 88"/>
                    <a:gd name="T61" fmla="*/ 26 h 95"/>
                    <a:gd name="T62" fmla="*/ 2 w 88"/>
                    <a:gd name="T63" fmla="*/ 25 h 95"/>
                    <a:gd name="T64" fmla="*/ 1 w 88"/>
                    <a:gd name="T65" fmla="*/ 32 h 95"/>
                    <a:gd name="T66" fmla="*/ 4 w 88"/>
                    <a:gd name="T67" fmla="*/ 42 h 95"/>
                    <a:gd name="T68" fmla="*/ 3 w 88"/>
                    <a:gd name="T69" fmla="*/ 52 h 95"/>
                    <a:gd name="T70" fmla="*/ 10 w 88"/>
                    <a:gd name="T71" fmla="*/ 56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88" h="95">
                      <a:moveTo>
                        <a:pt x="10" y="56"/>
                      </a:moveTo>
                      <a:lnTo>
                        <a:pt x="13" y="57"/>
                      </a:lnTo>
                      <a:lnTo>
                        <a:pt x="12" y="62"/>
                      </a:lnTo>
                      <a:lnTo>
                        <a:pt x="14" y="65"/>
                      </a:lnTo>
                      <a:lnTo>
                        <a:pt x="12" y="66"/>
                      </a:lnTo>
                      <a:lnTo>
                        <a:pt x="11" y="66"/>
                      </a:lnTo>
                      <a:lnTo>
                        <a:pt x="8" y="67"/>
                      </a:lnTo>
                      <a:lnTo>
                        <a:pt x="7" y="72"/>
                      </a:lnTo>
                      <a:lnTo>
                        <a:pt x="5" y="76"/>
                      </a:lnTo>
                      <a:lnTo>
                        <a:pt x="5" y="76"/>
                      </a:lnTo>
                      <a:lnTo>
                        <a:pt x="5" y="77"/>
                      </a:lnTo>
                      <a:lnTo>
                        <a:pt x="7" y="80"/>
                      </a:lnTo>
                      <a:lnTo>
                        <a:pt x="8" y="86"/>
                      </a:lnTo>
                      <a:lnTo>
                        <a:pt x="7" y="88"/>
                      </a:lnTo>
                      <a:lnTo>
                        <a:pt x="8" y="88"/>
                      </a:lnTo>
                      <a:lnTo>
                        <a:pt x="12" y="91"/>
                      </a:lnTo>
                      <a:lnTo>
                        <a:pt x="16" y="94"/>
                      </a:lnTo>
                      <a:lnTo>
                        <a:pt x="16" y="94"/>
                      </a:lnTo>
                      <a:lnTo>
                        <a:pt x="19" y="95"/>
                      </a:lnTo>
                      <a:lnTo>
                        <a:pt x="47" y="74"/>
                      </a:lnTo>
                      <a:lnTo>
                        <a:pt x="47" y="74"/>
                      </a:lnTo>
                      <a:lnTo>
                        <a:pt x="71" y="53"/>
                      </a:lnTo>
                      <a:lnTo>
                        <a:pt x="73" y="50"/>
                      </a:lnTo>
                      <a:lnTo>
                        <a:pt x="75" y="46"/>
                      </a:lnTo>
                      <a:lnTo>
                        <a:pt x="75" y="42"/>
                      </a:lnTo>
                      <a:lnTo>
                        <a:pt x="75" y="39"/>
                      </a:lnTo>
                      <a:lnTo>
                        <a:pt x="77" y="32"/>
                      </a:lnTo>
                      <a:lnTo>
                        <a:pt x="77" y="27"/>
                      </a:lnTo>
                      <a:lnTo>
                        <a:pt x="75" y="21"/>
                      </a:lnTo>
                      <a:lnTo>
                        <a:pt x="75" y="15"/>
                      </a:lnTo>
                      <a:lnTo>
                        <a:pt x="77" y="10"/>
                      </a:lnTo>
                      <a:lnTo>
                        <a:pt x="82" y="8"/>
                      </a:lnTo>
                      <a:lnTo>
                        <a:pt x="85" y="5"/>
                      </a:lnTo>
                      <a:lnTo>
                        <a:pt x="87" y="5"/>
                      </a:lnTo>
                      <a:lnTo>
                        <a:pt x="88" y="1"/>
                      </a:lnTo>
                      <a:lnTo>
                        <a:pt x="88" y="1"/>
                      </a:lnTo>
                      <a:lnTo>
                        <a:pt x="87" y="0"/>
                      </a:lnTo>
                      <a:lnTo>
                        <a:pt x="83" y="0"/>
                      </a:lnTo>
                      <a:lnTo>
                        <a:pt x="78" y="2"/>
                      </a:lnTo>
                      <a:lnTo>
                        <a:pt x="71" y="2"/>
                      </a:lnTo>
                      <a:lnTo>
                        <a:pt x="68" y="3"/>
                      </a:lnTo>
                      <a:lnTo>
                        <a:pt x="64" y="3"/>
                      </a:lnTo>
                      <a:lnTo>
                        <a:pt x="59" y="4"/>
                      </a:lnTo>
                      <a:lnTo>
                        <a:pt x="57" y="8"/>
                      </a:lnTo>
                      <a:lnTo>
                        <a:pt x="53" y="8"/>
                      </a:lnTo>
                      <a:lnTo>
                        <a:pt x="53" y="10"/>
                      </a:lnTo>
                      <a:lnTo>
                        <a:pt x="46" y="10"/>
                      </a:lnTo>
                      <a:lnTo>
                        <a:pt x="42" y="8"/>
                      </a:lnTo>
                      <a:lnTo>
                        <a:pt x="40" y="7"/>
                      </a:lnTo>
                      <a:lnTo>
                        <a:pt x="37" y="6"/>
                      </a:lnTo>
                      <a:lnTo>
                        <a:pt x="30" y="7"/>
                      </a:lnTo>
                      <a:lnTo>
                        <a:pt x="28" y="8"/>
                      </a:lnTo>
                      <a:lnTo>
                        <a:pt x="26" y="9"/>
                      </a:lnTo>
                      <a:lnTo>
                        <a:pt x="19" y="12"/>
                      </a:lnTo>
                      <a:lnTo>
                        <a:pt x="17" y="11"/>
                      </a:lnTo>
                      <a:lnTo>
                        <a:pt x="13" y="10"/>
                      </a:lnTo>
                      <a:lnTo>
                        <a:pt x="12" y="13"/>
                      </a:lnTo>
                      <a:lnTo>
                        <a:pt x="12" y="19"/>
                      </a:lnTo>
                      <a:lnTo>
                        <a:pt x="10" y="21"/>
                      </a:lnTo>
                      <a:lnTo>
                        <a:pt x="11" y="25"/>
                      </a:lnTo>
                      <a:lnTo>
                        <a:pt x="8" y="25"/>
                      </a:lnTo>
                      <a:lnTo>
                        <a:pt x="5" y="26"/>
                      </a:lnTo>
                      <a:lnTo>
                        <a:pt x="2" y="25"/>
                      </a:lnTo>
                      <a:lnTo>
                        <a:pt x="2" y="25"/>
                      </a:lnTo>
                      <a:lnTo>
                        <a:pt x="0" y="27"/>
                      </a:lnTo>
                      <a:lnTo>
                        <a:pt x="1" y="32"/>
                      </a:lnTo>
                      <a:lnTo>
                        <a:pt x="3" y="38"/>
                      </a:lnTo>
                      <a:lnTo>
                        <a:pt x="4" y="42"/>
                      </a:lnTo>
                      <a:lnTo>
                        <a:pt x="3" y="46"/>
                      </a:lnTo>
                      <a:lnTo>
                        <a:pt x="3" y="52"/>
                      </a:lnTo>
                      <a:lnTo>
                        <a:pt x="9" y="53"/>
                      </a:lnTo>
                      <a:lnTo>
                        <a:pt x="10" y="5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7" name="Freeform 779">
                  <a:extLst>
                    <a:ext uri="{FF2B5EF4-FFF2-40B4-BE49-F238E27FC236}">
                      <a16:creationId xmlns:a16="http://schemas.microsoft.com/office/drawing/2014/main" id="{A09499C2-A9AF-4446-8844-74C454CB64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74" y="2213"/>
                  <a:ext cx="21" cy="75"/>
                </a:xfrm>
                <a:custGeom>
                  <a:avLst/>
                  <a:gdLst>
                    <a:gd name="T0" fmla="*/ 15 w 21"/>
                    <a:gd name="T1" fmla="*/ 69 h 75"/>
                    <a:gd name="T2" fmla="*/ 16 w 21"/>
                    <a:gd name="T3" fmla="*/ 67 h 75"/>
                    <a:gd name="T4" fmla="*/ 16 w 21"/>
                    <a:gd name="T5" fmla="*/ 63 h 75"/>
                    <a:gd name="T6" fmla="*/ 17 w 21"/>
                    <a:gd name="T7" fmla="*/ 59 h 75"/>
                    <a:gd name="T8" fmla="*/ 17 w 21"/>
                    <a:gd name="T9" fmla="*/ 54 h 75"/>
                    <a:gd name="T10" fmla="*/ 18 w 21"/>
                    <a:gd name="T11" fmla="*/ 53 h 75"/>
                    <a:gd name="T12" fmla="*/ 18 w 21"/>
                    <a:gd name="T13" fmla="*/ 49 h 75"/>
                    <a:gd name="T14" fmla="*/ 19 w 21"/>
                    <a:gd name="T15" fmla="*/ 46 h 75"/>
                    <a:gd name="T16" fmla="*/ 19 w 21"/>
                    <a:gd name="T17" fmla="*/ 43 h 75"/>
                    <a:gd name="T18" fmla="*/ 19 w 21"/>
                    <a:gd name="T19" fmla="*/ 36 h 75"/>
                    <a:gd name="T20" fmla="*/ 18 w 21"/>
                    <a:gd name="T21" fmla="*/ 36 h 75"/>
                    <a:gd name="T22" fmla="*/ 16 w 21"/>
                    <a:gd name="T23" fmla="*/ 36 h 75"/>
                    <a:gd name="T24" fmla="*/ 14 w 21"/>
                    <a:gd name="T25" fmla="*/ 38 h 75"/>
                    <a:gd name="T26" fmla="*/ 12 w 21"/>
                    <a:gd name="T27" fmla="*/ 36 h 75"/>
                    <a:gd name="T28" fmla="*/ 13 w 21"/>
                    <a:gd name="T29" fmla="*/ 31 h 75"/>
                    <a:gd name="T30" fmla="*/ 13 w 21"/>
                    <a:gd name="T31" fmla="*/ 23 h 75"/>
                    <a:gd name="T32" fmla="*/ 12 w 21"/>
                    <a:gd name="T33" fmla="*/ 22 h 75"/>
                    <a:gd name="T34" fmla="*/ 13 w 21"/>
                    <a:gd name="T35" fmla="*/ 17 h 75"/>
                    <a:gd name="T36" fmla="*/ 16 w 21"/>
                    <a:gd name="T37" fmla="*/ 17 h 75"/>
                    <a:gd name="T38" fmla="*/ 17 w 21"/>
                    <a:gd name="T39" fmla="*/ 19 h 75"/>
                    <a:gd name="T40" fmla="*/ 19 w 21"/>
                    <a:gd name="T41" fmla="*/ 20 h 75"/>
                    <a:gd name="T42" fmla="*/ 20 w 21"/>
                    <a:gd name="T43" fmla="*/ 18 h 75"/>
                    <a:gd name="T44" fmla="*/ 20 w 21"/>
                    <a:gd name="T45" fmla="*/ 16 h 75"/>
                    <a:gd name="T46" fmla="*/ 20 w 21"/>
                    <a:gd name="T47" fmla="*/ 16 h 75"/>
                    <a:gd name="T48" fmla="*/ 19 w 21"/>
                    <a:gd name="T49" fmla="*/ 15 h 75"/>
                    <a:gd name="T50" fmla="*/ 19 w 21"/>
                    <a:gd name="T51" fmla="*/ 11 h 75"/>
                    <a:gd name="T52" fmla="*/ 20 w 21"/>
                    <a:gd name="T53" fmla="*/ 7 h 75"/>
                    <a:gd name="T54" fmla="*/ 20 w 21"/>
                    <a:gd name="T55" fmla="*/ 2 h 75"/>
                    <a:gd name="T56" fmla="*/ 21 w 21"/>
                    <a:gd name="T57" fmla="*/ 0 h 75"/>
                    <a:gd name="T58" fmla="*/ 20 w 21"/>
                    <a:gd name="T59" fmla="*/ 1 h 75"/>
                    <a:gd name="T60" fmla="*/ 19 w 21"/>
                    <a:gd name="T61" fmla="*/ 4 h 75"/>
                    <a:gd name="T62" fmla="*/ 14 w 21"/>
                    <a:gd name="T63" fmla="*/ 4 h 75"/>
                    <a:gd name="T64" fmla="*/ 12 w 21"/>
                    <a:gd name="T65" fmla="*/ 4 h 75"/>
                    <a:gd name="T66" fmla="*/ 9 w 21"/>
                    <a:gd name="T67" fmla="*/ 8 h 75"/>
                    <a:gd name="T68" fmla="*/ 8 w 21"/>
                    <a:gd name="T69" fmla="*/ 20 h 75"/>
                    <a:gd name="T70" fmla="*/ 4 w 21"/>
                    <a:gd name="T71" fmla="*/ 29 h 75"/>
                    <a:gd name="T72" fmla="*/ 0 w 21"/>
                    <a:gd name="T73" fmla="*/ 37 h 75"/>
                    <a:gd name="T74" fmla="*/ 1 w 21"/>
                    <a:gd name="T75" fmla="*/ 38 h 75"/>
                    <a:gd name="T76" fmla="*/ 4 w 21"/>
                    <a:gd name="T77" fmla="*/ 42 h 75"/>
                    <a:gd name="T78" fmla="*/ 5 w 21"/>
                    <a:gd name="T79" fmla="*/ 49 h 75"/>
                    <a:gd name="T80" fmla="*/ 9 w 21"/>
                    <a:gd name="T81" fmla="*/ 56 h 75"/>
                    <a:gd name="T82" fmla="*/ 12 w 21"/>
                    <a:gd name="T83" fmla="*/ 65 h 75"/>
                    <a:gd name="T84" fmla="*/ 12 w 21"/>
                    <a:gd name="T85" fmla="*/ 69 h 75"/>
                    <a:gd name="T86" fmla="*/ 13 w 21"/>
                    <a:gd name="T87" fmla="*/ 75 h 75"/>
                    <a:gd name="T88" fmla="*/ 15 w 21"/>
                    <a:gd name="T89" fmla="*/ 72 h 75"/>
                    <a:gd name="T90" fmla="*/ 15 w 21"/>
                    <a:gd name="T91" fmla="*/ 71 h 75"/>
                    <a:gd name="T92" fmla="*/ 15 w 21"/>
                    <a:gd name="T93" fmla="*/ 69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1" h="75">
                      <a:moveTo>
                        <a:pt x="15" y="69"/>
                      </a:moveTo>
                      <a:lnTo>
                        <a:pt x="16" y="67"/>
                      </a:lnTo>
                      <a:lnTo>
                        <a:pt x="16" y="63"/>
                      </a:lnTo>
                      <a:lnTo>
                        <a:pt x="17" y="59"/>
                      </a:lnTo>
                      <a:lnTo>
                        <a:pt x="17" y="54"/>
                      </a:lnTo>
                      <a:lnTo>
                        <a:pt x="18" y="53"/>
                      </a:lnTo>
                      <a:lnTo>
                        <a:pt x="18" y="49"/>
                      </a:lnTo>
                      <a:lnTo>
                        <a:pt x="19" y="46"/>
                      </a:lnTo>
                      <a:lnTo>
                        <a:pt x="19" y="43"/>
                      </a:lnTo>
                      <a:lnTo>
                        <a:pt x="19" y="36"/>
                      </a:lnTo>
                      <a:lnTo>
                        <a:pt x="18" y="36"/>
                      </a:lnTo>
                      <a:lnTo>
                        <a:pt x="16" y="36"/>
                      </a:lnTo>
                      <a:lnTo>
                        <a:pt x="14" y="38"/>
                      </a:lnTo>
                      <a:lnTo>
                        <a:pt x="12" y="36"/>
                      </a:lnTo>
                      <a:lnTo>
                        <a:pt x="13" y="31"/>
                      </a:lnTo>
                      <a:lnTo>
                        <a:pt x="13" y="23"/>
                      </a:lnTo>
                      <a:lnTo>
                        <a:pt x="12" y="22"/>
                      </a:lnTo>
                      <a:lnTo>
                        <a:pt x="13" y="17"/>
                      </a:lnTo>
                      <a:lnTo>
                        <a:pt x="16" y="17"/>
                      </a:lnTo>
                      <a:lnTo>
                        <a:pt x="17" y="19"/>
                      </a:lnTo>
                      <a:lnTo>
                        <a:pt x="19" y="20"/>
                      </a:lnTo>
                      <a:lnTo>
                        <a:pt x="20" y="18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19" y="15"/>
                      </a:lnTo>
                      <a:lnTo>
                        <a:pt x="19" y="11"/>
                      </a:lnTo>
                      <a:lnTo>
                        <a:pt x="20" y="7"/>
                      </a:lnTo>
                      <a:lnTo>
                        <a:pt x="20" y="2"/>
                      </a:lnTo>
                      <a:lnTo>
                        <a:pt x="21" y="0"/>
                      </a:lnTo>
                      <a:lnTo>
                        <a:pt x="20" y="1"/>
                      </a:lnTo>
                      <a:lnTo>
                        <a:pt x="19" y="4"/>
                      </a:lnTo>
                      <a:lnTo>
                        <a:pt x="14" y="4"/>
                      </a:lnTo>
                      <a:lnTo>
                        <a:pt x="12" y="4"/>
                      </a:lnTo>
                      <a:lnTo>
                        <a:pt x="9" y="8"/>
                      </a:lnTo>
                      <a:lnTo>
                        <a:pt x="8" y="20"/>
                      </a:lnTo>
                      <a:lnTo>
                        <a:pt x="4" y="29"/>
                      </a:lnTo>
                      <a:lnTo>
                        <a:pt x="0" y="37"/>
                      </a:lnTo>
                      <a:lnTo>
                        <a:pt x="1" y="38"/>
                      </a:lnTo>
                      <a:lnTo>
                        <a:pt x="4" y="42"/>
                      </a:lnTo>
                      <a:lnTo>
                        <a:pt x="5" y="49"/>
                      </a:lnTo>
                      <a:lnTo>
                        <a:pt x="9" y="56"/>
                      </a:lnTo>
                      <a:lnTo>
                        <a:pt x="12" y="65"/>
                      </a:lnTo>
                      <a:lnTo>
                        <a:pt x="12" y="69"/>
                      </a:lnTo>
                      <a:lnTo>
                        <a:pt x="13" y="75"/>
                      </a:lnTo>
                      <a:lnTo>
                        <a:pt x="15" y="72"/>
                      </a:lnTo>
                      <a:lnTo>
                        <a:pt x="15" y="71"/>
                      </a:lnTo>
                      <a:lnTo>
                        <a:pt x="15" y="6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8" name="Freeform 780">
                  <a:extLst>
                    <a:ext uri="{FF2B5EF4-FFF2-40B4-BE49-F238E27FC236}">
                      <a16:creationId xmlns:a16="http://schemas.microsoft.com/office/drawing/2014/main" id="{21283914-1A28-4AB7-BD9A-EC71A6BB91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93" y="2213"/>
                  <a:ext cx="6" cy="16"/>
                </a:xfrm>
                <a:custGeom>
                  <a:avLst/>
                  <a:gdLst>
                    <a:gd name="T0" fmla="*/ 6 w 6"/>
                    <a:gd name="T1" fmla="*/ 10 h 16"/>
                    <a:gd name="T2" fmla="*/ 5 w 6"/>
                    <a:gd name="T3" fmla="*/ 4 h 16"/>
                    <a:gd name="T4" fmla="*/ 3 w 6"/>
                    <a:gd name="T5" fmla="*/ 1 h 16"/>
                    <a:gd name="T6" fmla="*/ 3 w 6"/>
                    <a:gd name="T7" fmla="*/ 0 h 16"/>
                    <a:gd name="T8" fmla="*/ 2 w 6"/>
                    <a:gd name="T9" fmla="*/ 0 h 16"/>
                    <a:gd name="T10" fmla="*/ 1 w 6"/>
                    <a:gd name="T11" fmla="*/ 2 h 16"/>
                    <a:gd name="T12" fmla="*/ 1 w 6"/>
                    <a:gd name="T13" fmla="*/ 7 h 16"/>
                    <a:gd name="T14" fmla="*/ 0 w 6"/>
                    <a:gd name="T15" fmla="*/ 11 h 16"/>
                    <a:gd name="T16" fmla="*/ 0 w 6"/>
                    <a:gd name="T17" fmla="*/ 15 h 16"/>
                    <a:gd name="T18" fmla="*/ 1 w 6"/>
                    <a:gd name="T19" fmla="*/ 16 h 16"/>
                    <a:gd name="T20" fmla="*/ 2 w 6"/>
                    <a:gd name="T21" fmla="*/ 16 h 16"/>
                    <a:gd name="T22" fmla="*/ 3 w 6"/>
                    <a:gd name="T23" fmla="*/ 15 h 16"/>
                    <a:gd name="T24" fmla="*/ 5 w 6"/>
                    <a:gd name="T25" fmla="*/ 12 h 16"/>
                    <a:gd name="T26" fmla="*/ 5 w 6"/>
                    <a:gd name="T27" fmla="*/ 12 h 16"/>
                    <a:gd name="T28" fmla="*/ 6 w 6"/>
                    <a:gd name="T29" fmla="*/ 1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" h="16">
                      <a:moveTo>
                        <a:pt x="6" y="10"/>
                      </a:moveTo>
                      <a:lnTo>
                        <a:pt x="5" y="4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1" y="2"/>
                      </a:lnTo>
                      <a:lnTo>
                        <a:pt x="1" y="7"/>
                      </a:lnTo>
                      <a:lnTo>
                        <a:pt x="0" y="11"/>
                      </a:lnTo>
                      <a:lnTo>
                        <a:pt x="0" y="15"/>
                      </a:lnTo>
                      <a:lnTo>
                        <a:pt x="1" y="16"/>
                      </a:lnTo>
                      <a:lnTo>
                        <a:pt x="2" y="16"/>
                      </a:lnTo>
                      <a:lnTo>
                        <a:pt x="3" y="15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6" y="1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9" name="Freeform 781">
                  <a:extLst>
                    <a:ext uri="{FF2B5EF4-FFF2-40B4-BE49-F238E27FC236}">
                      <a16:creationId xmlns:a16="http://schemas.microsoft.com/office/drawing/2014/main" id="{FA344936-D6C5-49AB-854F-A5BF33806D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86" y="2230"/>
                  <a:ext cx="8" cy="21"/>
                </a:xfrm>
                <a:custGeom>
                  <a:avLst/>
                  <a:gdLst>
                    <a:gd name="T0" fmla="*/ 5 w 8"/>
                    <a:gd name="T1" fmla="*/ 2 h 21"/>
                    <a:gd name="T2" fmla="*/ 4 w 8"/>
                    <a:gd name="T3" fmla="*/ 0 h 21"/>
                    <a:gd name="T4" fmla="*/ 1 w 8"/>
                    <a:gd name="T5" fmla="*/ 0 h 21"/>
                    <a:gd name="T6" fmla="*/ 0 w 8"/>
                    <a:gd name="T7" fmla="*/ 5 h 21"/>
                    <a:gd name="T8" fmla="*/ 1 w 8"/>
                    <a:gd name="T9" fmla="*/ 6 h 21"/>
                    <a:gd name="T10" fmla="*/ 1 w 8"/>
                    <a:gd name="T11" fmla="*/ 14 h 21"/>
                    <a:gd name="T12" fmla="*/ 0 w 8"/>
                    <a:gd name="T13" fmla="*/ 19 h 21"/>
                    <a:gd name="T14" fmla="*/ 2 w 8"/>
                    <a:gd name="T15" fmla="*/ 21 h 21"/>
                    <a:gd name="T16" fmla="*/ 4 w 8"/>
                    <a:gd name="T17" fmla="*/ 19 h 21"/>
                    <a:gd name="T18" fmla="*/ 6 w 8"/>
                    <a:gd name="T19" fmla="*/ 19 h 21"/>
                    <a:gd name="T20" fmla="*/ 7 w 8"/>
                    <a:gd name="T21" fmla="*/ 19 h 21"/>
                    <a:gd name="T22" fmla="*/ 7 w 8"/>
                    <a:gd name="T23" fmla="*/ 13 h 21"/>
                    <a:gd name="T24" fmla="*/ 7 w 8"/>
                    <a:gd name="T25" fmla="*/ 10 h 21"/>
                    <a:gd name="T26" fmla="*/ 8 w 8"/>
                    <a:gd name="T27" fmla="*/ 5 h 21"/>
                    <a:gd name="T28" fmla="*/ 8 w 8"/>
                    <a:gd name="T29" fmla="*/ 4 h 21"/>
                    <a:gd name="T30" fmla="*/ 8 w 8"/>
                    <a:gd name="T31" fmla="*/ 2 h 21"/>
                    <a:gd name="T32" fmla="*/ 8 w 8"/>
                    <a:gd name="T33" fmla="*/ 1 h 21"/>
                    <a:gd name="T34" fmla="*/ 7 w 8"/>
                    <a:gd name="T35" fmla="*/ 3 h 21"/>
                    <a:gd name="T36" fmla="*/ 5 w 8"/>
                    <a:gd name="T37" fmla="*/ 2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8" h="21">
                      <a:moveTo>
                        <a:pt x="5" y="2"/>
                      </a:move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1" y="14"/>
                      </a:lnTo>
                      <a:lnTo>
                        <a:pt x="0" y="19"/>
                      </a:lnTo>
                      <a:lnTo>
                        <a:pt x="2" y="21"/>
                      </a:lnTo>
                      <a:lnTo>
                        <a:pt x="4" y="19"/>
                      </a:lnTo>
                      <a:lnTo>
                        <a:pt x="6" y="19"/>
                      </a:lnTo>
                      <a:lnTo>
                        <a:pt x="7" y="19"/>
                      </a:lnTo>
                      <a:lnTo>
                        <a:pt x="7" y="13"/>
                      </a:lnTo>
                      <a:lnTo>
                        <a:pt x="7" y="10"/>
                      </a:lnTo>
                      <a:lnTo>
                        <a:pt x="8" y="5"/>
                      </a:lnTo>
                      <a:lnTo>
                        <a:pt x="8" y="4"/>
                      </a:lnTo>
                      <a:lnTo>
                        <a:pt x="8" y="2"/>
                      </a:lnTo>
                      <a:lnTo>
                        <a:pt x="8" y="1"/>
                      </a:lnTo>
                      <a:lnTo>
                        <a:pt x="7" y="3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0" name="Freeform 782">
                  <a:extLst>
                    <a:ext uri="{FF2B5EF4-FFF2-40B4-BE49-F238E27FC236}">
                      <a16:creationId xmlns:a16="http://schemas.microsoft.com/office/drawing/2014/main" id="{4B00B53E-D829-4D67-B39F-3E088DC90C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86" y="2189"/>
                  <a:ext cx="19" cy="28"/>
                </a:xfrm>
                <a:custGeom>
                  <a:avLst/>
                  <a:gdLst>
                    <a:gd name="T0" fmla="*/ 7 w 19"/>
                    <a:gd name="T1" fmla="*/ 28 h 28"/>
                    <a:gd name="T2" fmla="*/ 8 w 19"/>
                    <a:gd name="T3" fmla="*/ 25 h 28"/>
                    <a:gd name="T4" fmla="*/ 9 w 19"/>
                    <a:gd name="T5" fmla="*/ 24 h 28"/>
                    <a:gd name="T6" fmla="*/ 10 w 19"/>
                    <a:gd name="T7" fmla="*/ 24 h 28"/>
                    <a:gd name="T8" fmla="*/ 10 w 19"/>
                    <a:gd name="T9" fmla="*/ 24 h 28"/>
                    <a:gd name="T10" fmla="*/ 12 w 19"/>
                    <a:gd name="T11" fmla="*/ 20 h 28"/>
                    <a:gd name="T12" fmla="*/ 13 w 19"/>
                    <a:gd name="T13" fmla="*/ 15 h 28"/>
                    <a:gd name="T14" fmla="*/ 16 w 19"/>
                    <a:gd name="T15" fmla="*/ 14 h 28"/>
                    <a:gd name="T16" fmla="*/ 17 w 19"/>
                    <a:gd name="T17" fmla="*/ 14 h 28"/>
                    <a:gd name="T18" fmla="*/ 19 w 19"/>
                    <a:gd name="T19" fmla="*/ 13 h 28"/>
                    <a:gd name="T20" fmla="*/ 17 w 19"/>
                    <a:gd name="T21" fmla="*/ 10 h 28"/>
                    <a:gd name="T22" fmla="*/ 18 w 19"/>
                    <a:gd name="T23" fmla="*/ 5 h 28"/>
                    <a:gd name="T24" fmla="*/ 15 w 19"/>
                    <a:gd name="T25" fmla="*/ 4 h 28"/>
                    <a:gd name="T26" fmla="*/ 14 w 19"/>
                    <a:gd name="T27" fmla="*/ 1 h 28"/>
                    <a:gd name="T28" fmla="*/ 8 w 19"/>
                    <a:gd name="T29" fmla="*/ 0 h 28"/>
                    <a:gd name="T30" fmla="*/ 8 w 19"/>
                    <a:gd name="T31" fmla="*/ 1 h 28"/>
                    <a:gd name="T32" fmla="*/ 6 w 19"/>
                    <a:gd name="T33" fmla="*/ 1 h 28"/>
                    <a:gd name="T34" fmla="*/ 6 w 19"/>
                    <a:gd name="T35" fmla="*/ 14 h 28"/>
                    <a:gd name="T36" fmla="*/ 3 w 19"/>
                    <a:gd name="T37" fmla="*/ 18 h 28"/>
                    <a:gd name="T38" fmla="*/ 0 w 19"/>
                    <a:gd name="T39" fmla="*/ 22 h 28"/>
                    <a:gd name="T40" fmla="*/ 0 w 19"/>
                    <a:gd name="T41" fmla="*/ 27 h 28"/>
                    <a:gd name="T42" fmla="*/ 0 w 19"/>
                    <a:gd name="T43" fmla="*/ 28 h 28"/>
                    <a:gd name="T44" fmla="*/ 2 w 19"/>
                    <a:gd name="T45" fmla="*/ 28 h 28"/>
                    <a:gd name="T46" fmla="*/ 7 w 19"/>
                    <a:gd name="T47" fmla="*/ 2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9" h="28">
                      <a:moveTo>
                        <a:pt x="7" y="28"/>
                      </a:moveTo>
                      <a:lnTo>
                        <a:pt x="8" y="25"/>
                      </a:lnTo>
                      <a:lnTo>
                        <a:pt x="9" y="24"/>
                      </a:lnTo>
                      <a:lnTo>
                        <a:pt x="10" y="24"/>
                      </a:lnTo>
                      <a:lnTo>
                        <a:pt x="10" y="24"/>
                      </a:lnTo>
                      <a:lnTo>
                        <a:pt x="12" y="20"/>
                      </a:lnTo>
                      <a:lnTo>
                        <a:pt x="13" y="15"/>
                      </a:lnTo>
                      <a:lnTo>
                        <a:pt x="16" y="14"/>
                      </a:lnTo>
                      <a:lnTo>
                        <a:pt x="17" y="14"/>
                      </a:lnTo>
                      <a:lnTo>
                        <a:pt x="19" y="13"/>
                      </a:lnTo>
                      <a:lnTo>
                        <a:pt x="17" y="10"/>
                      </a:lnTo>
                      <a:lnTo>
                        <a:pt x="18" y="5"/>
                      </a:lnTo>
                      <a:lnTo>
                        <a:pt x="15" y="4"/>
                      </a:lnTo>
                      <a:lnTo>
                        <a:pt x="14" y="1"/>
                      </a:lnTo>
                      <a:lnTo>
                        <a:pt x="8" y="0"/>
                      </a:lnTo>
                      <a:lnTo>
                        <a:pt x="8" y="1"/>
                      </a:lnTo>
                      <a:lnTo>
                        <a:pt x="6" y="1"/>
                      </a:lnTo>
                      <a:lnTo>
                        <a:pt x="6" y="14"/>
                      </a:lnTo>
                      <a:lnTo>
                        <a:pt x="3" y="18"/>
                      </a:lnTo>
                      <a:lnTo>
                        <a:pt x="0" y="22"/>
                      </a:lnTo>
                      <a:lnTo>
                        <a:pt x="0" y="27"/>
                      </a:lnTo>
                      <a:lnTo>
                        <a:pt x="0" y="28"/>
                      </a:lnTo>
                      <a:lnTo>
                        <a:pt x="2" y="28"/>
                      </a:lnTo>
                      <a:lnTo>
                        <a:pt x="7" y="2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1" name="Freeform 783">
                  <a:extLst>
                    <a:ext uri="{FF2B5EF4-FFF2-40B4-BE49-F238E27FC236}">
                      <a16:creationId xmlns:a16="http://schemas.microsoft.com/office/drawing/2014/main" id="{06B4A575-2823-4B03-BDFD-9FAAA84BCB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88" y="2211"/>
                  <a:ext cx="57" cy="85"/>
                </a:xfrm>
                <a:custGeom>
                  <a:avLst/>
                  <a:gdLst>
                    <a:gd name="T0" fmla="*/ 19 w 57"/>
                    <a:gd name="T1" fmla="*/ 85 h 85"/>
                    <a:gd name="T2" fmla="*/ 29 w 57"/>
                    <a:gd name="T3" fmla="*/ 72 h 85"/>
                    <a:gd name="T4" fmla="*/ 39 w 57"/>
                    <a:gd name="T5" fmla="*/ 71 h 85"/>
                    <a:gd name="T6" fmla="*/ 39 w 57"/>
                    <a:gd name="T7" fmla="*/ 66 h 85"/>
                    <a:gd name="T8" fmla="*/ 46 w 57"/>
                    <a:gd name="T9" fmla="*/ 57 h 85"/>
                    <a:gd name="T10" fmla="*/ 30 w 57"/>
                    <a:gd name="T11" fmla="*/ 37 h 85"/>
                    <a:gd name="T12" fmla="*/ 51 w 57"/>
                    <a:gd name="T13" fmla="*/ 29 h 85"/>
                    <a:gd name="T14" fmla="*/ 56 w 57"/>
                    <a:gd name="T15" fmla="*/ 22 h 85"/>
                    <a:gd name="T16" fmla="*/ 57 w 57"/>
                    <a:gd name="T17" fmla="*/ 22 h 85"/>
                    <a:gd name="T18" fmla="*/ 50 w 57"/>
                    <a:gd name="T19" fmla="*/ 0 h 85"/>
                    <a:gd name="T20" fmla="*/ 50 w 57"/>
                    <a:gd name="T21" fmla="*/ 0 h 85"/>
                    <a:gd name="T22" fmla="*/ 22 w 57"/>
                    <a:gd name="T23" fmla="*/ 21 h 85"/>
                    <a:gd name="T24" fmla="*/ 19 w 57"/>
                    <a:gd name="T25" fmla="*/ 20 h 85"/>
                    <a:gd name="T26" fmla="*/ 19 w 57"/>
                    <a:gd name="T27" fmla="*/ 20 h 85"/>
                    <a:gd name="T28" fmla="*/ 15 w 57"/>
                    <a:gd name="T29" fmla="*/ 17 h 85"/>
                    <a:gd name="T30" fmla="*/ 11 w 57"/>
                    <a:gd name="T31" fmla="*/ 14 h 85"/>
                    <a:gd name="T32" fmla="*/ 10 w 57"/>
                    <a:gd name="T33" fmla="*/ 14 h 85"/>
                    <a:gd name="T34" fmla="*/ 8 w 57"/>
                    <a:gd name="T35" fmla="*/ 17 h 85"/>
                    <a:gd name="T36" fmla="*/ 7 w 57"/>
                    <a:gd name="T37" fmla="*/ 18 h 85"/>
                    <a:gd name="T38" fmla="*/ 6 w 57"/>
                    <a:gd name="T39" fmla="*/ 18 h 85"/>
                    <a:gd name="T40" fmla="*/ 6 w 57"/>
                    <a:gd name="T41" fmla="*/ 20 h 85"/>
                    <a:gd name="T42" fmla="*/ 6 w 57"/>
                    <a:gd name="T43" fmla="*/ 21 h 85"/>
                    <a:gd name="T44" fmla="*/ 6 w 57"/>
                    <a:gd name="T45" fmla="*/ 23 h 85"/>
                    <a:gd name="T46" fmla="*/ 6 w 57"/>
                    <a:gd name="T47" fmla="*/ 24 h 85"/>
                    <a:gd name="T48" fmla="*/ 5 w 57"/>
                    <a:gd name="T49" fmla="*/ 29 h 85"/>
                    <a:gd name="T50" fmla="*/ 5 w 57"/>
                    <a:gd name="T51" fmla="*/ 32 h 85"/>
                    <a:gd name="T52" fmla="*/ 5 w 57"/>
                    <a:gd name="T53" fmla="*/ 45 h 85"/>
                    <a:gd name="T54" fmla="*/ 5 w 57"/>
                    <a:gd name="T55" fmla="*/ 48 h 85"/>
                    <a:gd name="T56" fmla="*/ 4 w 57"/>
                    <a:gd name="T57" fmla="*/ 51 h 85"/>
                    <a:gd name="T58" fmla="*/ 4 w 57"/>
                    <a:gd name="T59" fmla="*/ 55 h 85"/>
                    <a:gd name="T60" fmla="*/ 3 w 57"/>
                    <a:gd name="T61" fmla="*/ 56 h 85"/>
                    <a:gd name="T62" fmla="*/ 3 w 57"/>
                    <a:gd name="T63" fmla="*/ 61 h 85"/>
                    <a:gd name="T64" fmla="*/ 2 w 57"/>
                    <a:gd name="T65" fmla="*/ 65 h 85"/>
                    <a:gd name="T66" fmla="*/ 2 w 57"/>
                    <a:gd name="T67" fmla="*/ 69 h 85"/>
                    <a:gd name="T68" fmla="*/ 1 w 57"/>
                    <a:gd name="T69" fmla="*/ 71 h 85"/>
                    <a:gd name="T70" fmla="*/ 1 w 57"/>
                    <a:gd name="T71" fmla="*/ 73 h 85"/>
                    <a:gd name="T72" fmla="*/ 1 w 57"/>
                    <a:gd name="T73" fmla="*/ 74 h 85"/>
                    <a:gd name="T74" fmla="*/ 1 w 57"/>
                    <a:gd name="T75" fmla="*/ 73 h 85"/>
                    <a:gd name="T76" fmla="*/ 1 w 57"/>
                    <a:gd name="T77" fmla="*/ 75 h 85"/>
                    <a:gd name="T78" fmla="*/ 0 w 57"/>
                    <a:gd name="T79" fmla="*/ 79 h 85"/>
                    <a:gd name="T80" fmla="*/ 0 w 57"/>
                    <a:gd name="T81" fmla="*/ 80 h 85"/>
                    <a:gd name="T82" fmla="*/ 4 w 57"/>
                    <a:gd name="T83" fmla="*/ 80 h 85"/>
                    <a:gd name="T84" fmla="*/ 19 w 57"/>
                    <a:gd name="T85" fmla="*/ 85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57" h="85">
                      <a:moveTo>
                        <a:pt x="19" y="85"/>
                      </a:moveTo>
                      <a:lnTo>
                        <a:pt x="29" y="72"/>
                      </a:lnTo>
                      <a:lnTo>
                        <a:pt x="39" y="71"/>
                      </a:lnTo>
                      <a:lnTo>
                        <a:pt x="39" y="66"/>
                      </a:lnTo>
                      <a:lnTo>
                        <a:pt x="46" y="57"/>
                      </a:lnTo>
                      <a:lnTo>
                        <a:pt x="30" y="37"/>
                      </a:lnTo>
                      <a:lnTo>
                        <a:pt x="51" y="29"/>
                      </a:lnTo>
                      <a:lnTo>
                        <a:pt x="56" y="22"/>
                      </a:lnTo>
                      <a:lnTo>
                        <a:pt x="57" y="22"/>
                      </a:lnTo>
                      <a:lnTo>
                        <a:pt x="50" y="0"/>
                      </a:lnTo>
                      <a:lnTo>
                        <a:pt x="50" y="0"/>
                      </a:lnTo>
                      <a:lnTo>
                        <a:pt x="22" y="21"/>
                      </a:lnTo>
                      <a:lnTo>
                        <a:pt x="19" y="20"/>
                      </a:lnTo>
                      <a:lnTo>
                        <a:pt x="19" y="20"/>
                      </a:lnTo>
                      <a:lnTo>
                        <a:pt x="15" y="17"/>
                      </a:lnTo>
                      <a:lnTo>
                        <a:pt x="11" y="14"/>
                      </a:lnTo>
                      <a:lnTo>
                        <a:pt x="10" y="14"/>
                      </a:lnTo>
                      <a:lnTo>
                        <a:pt x="8" y="17"/>
                      </a:lnTo>
                      <a:lnTo>
                        <a:pt x="7" y="18"/>
                      </a:lnTo>
                      <a:lnTo>
                        <a:pt x="6" y="18"/>
                      </a:lnTo>
                      <a:lnTo>
                        <a:pt x="6" y="20"/>
                      </a:lnTo>
                      <a:lnTo>
                        <a:pt x="6" y="21"/>
                      </a:lnTo>
                      <a:lnTo>
                        <a:pt x="6" y="23"/>
                      </a:lnTo>
                      <a:lnTo>
                        <a:pt x="6" y="24"/>
                      </a:lnTo>
                      <a:lnTo>
                        <a:pt x="5" y="29"/>
                      </a:lnTo>
                      <a:lnTo>
                        <a:pt x="5" y="32"/>
                      </a:lnTo>
                      <a:lnTo>
                        <a:pt x="5" y="45"/>
                      </a:lnTo>
                      <a:lnTo>
                        <a:pt x="5" y="48"/>
                      </a:lnTo>
                      <a:lnTo>
                        <a:pt x="4" y="51"/>
                      </a:lnTo>
                      <a:lnTo>
                        <a:pt x="4" y="55"/>
                      </a:lnTo>
                      <a:lnTo>
                        <a:pt x="3" y="56"/>
                      </a:lnTo>
                      <a:lnTo>
                        <a:pt x="3" y="61"/>
                      </a:lnTo>
                      <a:lnTo>
                        <a:pt x="2" y="65"/>
                      </a:lnTo>
                      <a:lnTo>
                        <a:pt x="2" y="69"/>
                      </a:lnTo>
                      <a:lnTo>
                        <a:pt x="1" y="71"/>
                      </a:lnTo>
                      <a:lnTo>
                        <a:pt x="1" y="73"/>
                      </a:lnTo>
                      <a:lnTo>
                        <a:pt x="1" y="74"/>
                      </a:lnTo>
                      <a:lnTo>
                        <a:pt x="1" y="73"/>
                      </a:lnTo>
                      <a:lnTo>
                        <a:pt x="1" y="75"/>
                      </a:lnTo>
                      <a:lnTo>
                        <a:pt x="0" y="79"/>
                      </a:lnTo>
                      <a:lnTo>
                        <a:pt x="0" y="80"/>
                      </a:lnTo>
                      <a:lnTo>
                        <a:pt x="4" y="80"/>
                      </a:lnTo>
                      <a:lnTo>
                        <a:pt x="19" y="8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2" name="Freeform 784">
                  <a:extLst>
                    <a:ext uri="{FF2B5EF4-FFF2-40B4-BE49-F238E27FC236}">
                      <a16:creationId xmlns:a16="http://schemas.microsoft.com/office/drawing/2014/main" id="{C41C64C5-FA2A-48B3-AAD8-431E2A9259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86" y="2233"/>
                  <a:ext cx="294" cy="298"/>
                </a:xfrm>
                <a:custGeom>
                  <a:avLst/>
                  <a:gdLst>
                    <a:gd name="T0" fmla="*/ 164 w 294"/>
                    <a:gd name="T1" fmla="*/ 58 h 298"/>
                    <a:gd name="T2" fmla="*/ 58 w 294"/>
                    <a:gd name="T3" fmla="*/ 0 h 298"/>
                    <a:gd name="T4" fmla="*/ 48 w 294"/>
                    <a:gd name="T5" fmla="*/ 35 h 298"/>
                    <a:gd name="T6" fmla="*/ 31 w 294"/>
                    <a:gd name="T7" fmla="*/ 50 h 298"/>
                    <a:gd name="T8" fmla="*/ 2 w 294"/>
                    <a:gd name="T9" fmla="*/ 58 h 298"/>
                    <a:gd name="T10" fmla="*/ 0 w 294"/>
                    <a:gd name="T11" fmla="*/ 76 h 298"/>
                    <a:gd name="T12" fmla="*/ 3 w 294"/>
                    <a:gd name="T13" fmla="*/ 78 h 298"/>
                    <a:gd name="T14" fmla="*/ 7 w 294"/>
                    <a:gd name="T15" fmla="*/ 80 h 298"/>
                    <a:gd name="T16" fmla="*/ 15 w 294"/>
                    <a:gd name="T17" fmla="*/ 92 h 298"/>
                    <a:gd name="T18" fmla="*/ 21 w 294"/>
                    <a:gd name="T19" fmla="*/ 99 h 298"/>
                    <a:gd name="T20" fmla="*/ 26 w 294"/>
                    <a:gd name="T21" fmla="*/ 113 h 298"/>
                    <a:gd name="T22" fmla="*/ 30 w 294"/>
                    <a:gd name="T23" fmla="*/ 120 h 298"/>
                    <a:gd name="T24" fmla="*/ 38 w 294"/>
                    <a:gd name="T25" fmla="*/ 132 h 298"/>
                    <a:gd name="T26" fmla="*/ 38 w 294"/>
                    <a:gd name="T27" fmla="*/ 142 h 298"/>
                    <a:gd name="T28" fmla="*/ 43 w 294"/>
                    <a:gd name="T29" fmla="*/ 148 h 298"/>
                    <a:gd name="T30" fmla="*/ 52 w 294"/>
                    <a:gd name="T31" fmla="*/ 151 h 298"/>
                    <a:gd name="T32" fmla="*/ 59 w 294"/>
                    <a:gd name="T33" fmla="*/ 160 h 298"/>
                    <a:gd name="T34" fmla="*/ 61 w 294"/>
                    <a:gd name="T35" fmla="*/ 171 h 298"/>
                    <a:gd name="T36" fmla="*/ 66 w 294"/>
                    <a:gd name="T37" fmla="*/ 181 h 298"/>
                    <a:gd name="T38" fmla="*/ 65 w 294"/>
                    <a:gd name="T39" fmla="*/ 191 h 298"/>
                    <a:gd name="T40" fmla="*/ 69 w 294"/>
                    <a:gd name="T41" fmla="*/ 206 h 298"/>
                    <a:gd name="T42" fmla="*/ 80 w 294"/>
                    <a:gd name="T43" fmla="*/ 219 h 298"/>
                    <a:gd name="T44" fmla="*/ 86 w 294"/>
                    <a:gd name="T45" fmla="*/ 223 h 298"/>
                    <a:gd name="T46" fmla="*/ 93 w 294"/>
                    <a:gd name="T47" fmla="*/ 230 h 298"/>
                    <a:gd name="T48" fmla="*/ 98 w 294"/>
                    <a:gd name="T49" fmla="*/ 248 h 298"/>
                    <a:gd name="T50" fmla="*/ 112 w 294"/>
                    <a:gd name="T51" fmla="*/ 268 h 298"/>
                    <a:gd name="T52" fmla="*/ 119 w 294"/>
                    <a:gd name="T53" fmla="*/ 277 h 298"/>
                    <a:gd name="T54" fmla="*/ 126 w 294"/>
                    <a:gd name="T55" fmla="*/ 287 h 298"/>
                    <a:gd name="T56" fmla="*/ 128 w 294"/>
                    <a:gd name="T57" fmla="*/ 274 h 298"/>
                    <a:gd name="T58" fmla="*/ 138 w 294"/>
                    <a:gd name="T59" fmla="*/ 269 h 298"/>
                    <a:gd name="T60" fmla="*/ 172 w 294"/>
                    <a:gd name="T61" fmla="*/ 282 h 298"/>
                    <a:gd name="T62" fmla="*/ 252 w 294"/>
                    <a:gd name="T63" fmla="*/ 237 h 298"/>
                    <a:gd name="T64" fmla="*/ 291 w 294"/>
                    <a:gd name="T65" fmla="*/ 172 h 298"/>
                    <a:gd name="T66" fmla="*/ 245 w 294"/>
                    <a:gd name="T67" fmla="*/ 170 h 298"/>
                    <a:gd name="T68" fmla="*/ 239 w 294"/>
                    <a:gd name="T69" fmla="*/ 146 h 298"/>
                    <a:gd name="T70" fmla="*/ 236 w 294"/>
                    <a:gd name="T71" fmla="*/ 143 h 298"/>
                    <a:gd name="T72" fmla="*/ 235 w 294"/>
                    <a:gd name="T73" fmla="*/ 140 h 298"/>
                    <a:gd name="T74" fmla="*/ 228 w 294"/>
                    <a:gd name="T75" fmla="*/ 136 h 298"/>
                    <a:gd name="T76" fmla="*/ 225 w 294"/>
                    <a:gd name="T77" fmla="*/ 131 h 298"/>
                    <a:gd name="T78" fmla="*/ 215 w 294"/>
                    <a:gd name="T79" fmla="*/ 112 h 298"/>
                    <a:gd name="T80" fmla="*/ 214 w 294"/>
                    <a:gd name="T81" fmla="*/ 102 h 298"/>
                    <a:gd name="T82" fmla="*/ 211 w 294"/>
                    <a:gd name="T83" fmla="*/ 97 h 298"/>
                    <a:gd name="T84" fmla="*/ 202 w 294"/>
                    <a:gd name="T85" fmla="*/ 86 h 298"/>
                    <a:gd name="T86" fmla="*/ 204 w 294"/>
                    <a:gd name="T87" fmla="*/ 86 h 298"/>
                    <a:gd name="T88" fmla="*/ 196 w 294"/>
                    <a:gd name="T89" fmla="*/ 81 h 298"/>
                    <a:gd name="T90" fmla="*/ 190 w 294"/>
                    <a:gd name="T91" fmla="*/ 68 h 298"/>
                    <a:gd name="T92" fmla="*/ 188 w 294"/>
                    <a:gd name="T93" fmla="*/ 64 h 2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94" h="298">
                      <a:moveTo>
                        <a:pt x="179" y="63"/>
                      </a:moveTo>
                      <a:lnTo>
                        <a:pt x="166" y="58"/>
                      </a:lnTo>
                      <a:lnTo>
                        <a:pt x="164" y="58"/>
                      </a:lnTo>
                      <a:lnTo>
                        <a:pt x="137" y="57"/>
                      </a:lnTo>
                      <a:lnTo>
                        <a:pt x="71" y="2"/>
                      </a:lnTo>
                      <a:lnTo>
                        <a:pt x="58" y="0"/>
                      </a:lnTo>
                      <a:lnTo>
                        <a:pt x="53" y="7"/>
                      </a:lnTo>
                      <a:lnTo>
                        <a:pt x="32" y="15"/>
                      </a:lnTo>
                      <a:lnTo>
                        <a:pt x="48" y="35"/>
                      </a:lnTo>
                      <a:lnTo>
                        <a:pt x="41" y="44"/>
                      </a:lnTo>
                      <a:lnTo>
                        <a:pt x="41" y="49"/>
                      </a:lnTo>
                      <a:lnTo>
                        <a:pt x="31" y="50"/>
                      </a:lnTo>
                      <a:lnTo>
                        <a:pt x="21" y="63"/>
                      </a:lnTo>
                      <a:lnTo>
                        <a:pt x="6" y="58"/>
                      </a:lnTo>
                      <a:lnTo>
                        <a:pt x="2" y="58"/>
                      </a:lnTo>
                      <a:lnTo>
                        <a:pt x="1" y="64"/>
                      </a:lnTo>
                      <a:lnTo>
                        <a:pt x="2" y="71"/>
                      </a:lnTo>
                      <a:lnTo>
                        <a:pt x="0" y="76"/>
                      </a:lnTo>
                      <a:lnTo>
                        <a:pt x="0" y="78"/>
                      </a:lnTo>
                      <a:lnTo>
                        <a:pt x="3" y="78"/>
                      </a:lnTo>
                      <a:lnTo>
                        <a:pt x="3" y="78"/>
                      </a:lnTo>
                      <a:lnTo>
                        <a:pt x="5" y="77"/>
                      </a:lnTo>
                      <a:lnTo>
                        <a:pt x="8" y="79"/>
                      </a:lnTo>
                      <a:lnTo>
                        <a:pt x="7" y="80"/>
                      </a:lnTo>
                      <a:lnTo>
                        <a:pt x="14" y="88"/>
                      </a:lnTo>
                      <a:lnTo>
                        <a:pt x="14" y="91"/>
                      </a:lnTo>
                      <a:lnTo>
                        <a:pt x="15" y="92"/>
                      </a:lnTo>
                      <a:lnTo>
                        <a:pt x="16" y="96"/>
                      </a:lnTo>
                      <a:lnTo>
                        <a:pt x="19" y="99"/>
                      </a:lnTo>
                      <a:lnTo>
                        <a:pt x="21" y="99"/>
                      </a:lnTo>
                      <a:lnTo>
                        <a:pt x="24" y="108"/>
                      </a:lnTo>
                      <a:lnTo>
                        <a:pt x="24" y="110"/>
                      </a:lnTo>
                      <a:lnTo>
                        <a:pt x="26" y="113"/>
                      </a:lnTo>
                      <a:lnTo>
                        <a:pt x="28" y="114"/>
                      </a:lnTo>
                      <a:lnTo>
                        <a:pt x="29" y="118"/>
                      </a:lnTo>
                      <a:lnTo>
                        <a:pt x="30" y="120"/>
                      </a:lnTo>
                      <a:lnTo>
                        <a:pt x="33" y="122"/>
                      </a:lnTo>
                      <a:lnTo>
                        <a:pt x="36" y="130"/>
                      </a:lnTo>
                      <a:lnTo>
                        <a:pt x="38" y="132"/>
                      </a:lnTo>
                      <a:lnTo>
                        <a:pt x="38" y="137"/>
                      </a:lnTo>
                      <a:lnTo>
                        <a:pt x="38" y="140"/>
                      </a:lnTo>
                      <a:lnTo>
                        <a:pt x="38" y="142"/>
                      </a:lnTo>
                      <a:lnTo>
                        <a:pt x="41" y="144"/>
                      </a:lnTo>
                      <a:lnTo>
                        <a:pt x="41" y="147"/>
                      </a:lnTo>
                      <a:lnTo>
                        <a:pt x="43" y="148"/>
                      </a:lnTo>
                      <a:lnTo>
                        <a:pt x="45" y="146"/>
                      </a:lnTo>
                      <a:lnTo>
                        <a:pt x="48" y="149"/>
                      </a:lnTo>
                      <a:lnTo>
                        <a:pt x="52" y="151"/>
                      </a:lnTo>
                      <a:lnTo>
                        <a:pt x="56" y="156"/>
                      </a:lnTo>
                      <a:lnTo>
                        <a:pt x="57" y="160"/>
                      </a:lnTo>
                      <a:lnTo>
                        <a:pt x="59" y="160"/>
                      </a:lnTo>
                      <a:lnTo>
                        <a:pt x="59" y="164"/>
                      </a:lnTo>
                      <a:lnTo>
                        <a:pt x="60" y="165"/>
                      </a:lnTo>
                      <a:lnTo>
                        <a:pt x="61" y="171"/>
                      </a:lnTo>
                      <a:lnTo>
                        <a:pt x="64" y="174"/>
                      </a:lnTo>
                      <a:lnTo>
                        <a:pt x="65" y="180"/>
                      </a:lnTo>
                      <a:lnTo>
                        <a:pt x="66" y="181"/>
                      </a:lnTo>
                      <a:lnTo>
                        <a:pt x="65" y="188"/>
                      </a:lnTo>
                      <a:lnTo>
                        <a:pt x="63" y="188"/>
                      </a:lnTo>
                      <a:lnTo>
                        <a:pt x="65" y="191"/>
                      </a:lnTo>
                      <a:lnTo>
                        <a:pt x="66" y="198"/>
                      </a:lnTo>
                      <a:lnTo>
                        <a:pt x="66" y="204"/>
                      </a:lnTo>
                      <a:lnTo>
                        <a:pt x="69" y="206"/>
                      </a:lnTo>
                      <a:lnTo>
                        <a:pt x="69" y="209"/>
                      </a:lnTo>
                      <a:lnTo>
                        <a:pt x="76" y="218"/>
                      </a:lnTo>
                      <a:lnTo>
                        <a:pt x="80" y="219"/>
                      </a:lnTo>
                      <a:lnTo>
                        <a:pt x="82" y="219"/>
                      </a:lnTo>
                      <a:lnTo>
                        <a:pt x="84" y="223"/>
                      </a:lnTo>
                      <a:lnTo>
                        <a:pt x="86" y="223"/>
                      </a:lnTo>
                      <a:lnTo>
                        <a:pt x="90" y="227"/>
                      </a:lnTo>
                      <a:lnTo>
                        <a:pt x="90" y="229"/>
                      </a:lnTo>
                      <a:lnTo>
                        <a:pt x="93" y="230"/>
                      </a:lnTo>
                      <a:lnTo>
                        <a:pt x="93" y="233"/>
                      </a:lnTo>
                      <a:lnTo>
                        <a:pt x="94" y="234"/>
                      </a:lnTo>
                      <a:lnTo>
                        <a:pt x="98" y="248"/>
                      </a:lnTo>
                      <a:lnTo>
                        <a:pt x="100" y="250"/>
                      </a:lnTo>
                      <a:lnTo>
                        <a:pt x="101" y="255"/>
                      </a:lnTo>
                      <a:lnTo>
                        <a:pt x="112" y="268"/>
                      </a:lnTo>
                      <a:lnTo>
                        <a:pt x="114" y="268"/>
                      </a:lnTo>
                      <a:lnTo>
                        <a:pt x="114" y="275"/>
                      </a:lnTo>
                      <a:lnTo>
                        <a:pt x="119" y="277"/>
                      </a:lnTo>
                      <a:lnTo>
                        <a:pt x="121" y="285"/>
                      </a:lnTo>
                      <a:lnTo>
                        <a:pt x="124" y="286"/>
                      </a:lnTo>
                      <a:lnTo>
                        <a:pt x="126" y="287"/>
                      </a:lnTo>
                      <a:lnTo>
                        <a:pt x="128" y="284"/>
                      </a:lnTo>
                      <a:lnTo>
                        <a:pt x="131" y="281"/>
                      </a:lnTo>
                      <a:lnTo>
                        <a:pt x="128" y="274"/>
                      </a:lnTo>
                      <a:lnTo>
                        <a:pt x="131" y="267"/>
                      </a:lnTo>
                      <a:lnTo>
                        <a:pt x="135" y="264"/>
                      </a:lnTo>
                      <a:lnTo>
                        <a:pt x="138" y="269"/>
                      </a:lnTo>
                      <a:lnTo>
                        <a:pt x="148" y="269"/>
                      </a:lnTo>
                      <a:lnTo>
                        <a:pt x="159" y="275"/>
                      </a:lnTo>
                      <a:lnTo>
                        <a:pt x="172" y="282"/>
                      </a:lnTo>
                      <a:lnTo>
                        <a:pt x="173" y="298"/>
                      </a:lnTo>
                      <a:lnTo>
                        <a:pt x="198" y="256"/>
                      </a:lnTo>
                      <a:lnTo>
                        <a:pt x="252" y="237"/>
                      </a:lnTo>
                      <a:lnTo>
                        <a:pt x="292" y="223"/>
                      </a:lnTo>
                      <a:lnTo>
                        <a:pt x="294" y="185"/>
                      </a:lnTo>
                      <a:lnTo>
                        <a:pt x="291" y="172"/>
                      </a:lnTo>
                      <a:lnTo>
                        <a:pt x="291" y="172"/>
                      </a:lnTo>
                      <a:lnTo>
                        <a:pt x="286" y="177"/>
                      </a:lnTo>
                      <a:lnTo>
                        <a:pt x="245" y="170"/>
                      </a:lnTo>
                      <a:lnTo>
                        <a:pt x="242" y="157"/>
                      </a:lnTo>
                      <a:lnTo>
                        <a:pt x="239" y="151"/>
                      </a:lnTo>
                      <a:lnTo>
                        <a:pt x="239" y="146"/>
                      </a:lnTo>
                      <a:lnTo>
                        <a:pt x="239" y="146"/>
                      </a:lnTo>
                      <a:lnTo>
                        <a:pt x="238" y="146"/>
                      </a:lnTo>
                      <a:lnTo>
                        <a:pt x="236" y="143"/>
                      </a:lnTo>
                      <a:lnTo>
                        <a:pt x="236" y="142"/>
                      </a:lnTo>
                      <a:lnTo>
                        <a:pt x="238" y="140"/>
                      </a:lnTo>
                      <a:lnTo>
                        <a:pt x="235" y="140"/>
                      </a:lnTo>
                      <a:lnTo>
                        <a:pt x="235" y="139"/>
                      </a:lnTo>
                      <a:lnTo>
                        <a:pt x="232" y="139"/>
                      </a:lnTo>
                      <a:lnTo>
                        <a:pt x="228" y="136"/>
                      </a:lnTo>
                      <a:lnTo>
                        <a:pt x="228" y="134"/>
                      </a:lnTo>
                      <a:lnTo>
                        <a:pt x="227" y="135"/>
                      </a:lnTo>
                      <a:lnTo>
                        <a:pt x="225" y="131"/>
                      </a:lnTo>
                      <a:lnTo>
                        <a:pt x="224" y="126"/>
                      </a:lnTo>
                      <a:lnTo>
                        <a:pt x="217" y="116"/>
                      </a:lnTo>
                      <a:lnTo>
                        <a:pt x="215" y="112"/>
                      </a:lnTo>
                      <a:lnTo>
                        <a:pt x="216" y="112"/>
                      </a:lnTo>
                      <a:lnTo>
                        <a:pt x="216" y="110"/>
                      </a:lnTo>
                      <a:lnTo>
                        <a:pt x="214" y="102"/>
                      </a:lnTo>
                      <a:lnTo>
                        <a:pt x="214" y="100"/>
                      </a:lnTo>
                      <a:lnTo>
                        <a:pt x="212" y="97"/>
                      </a:lnTo>
                      <a:lnTo>
                        <a:pt x="211" y="97"/>
                      </a:lnTo>
                      <a:lnTo>
                        <a:pt x="206" y="89"/>
                      </a:lnTo>
                      <a:lnTo>
                        <a:pt x="204" y="89"/>
                      </a:lnTo>
                      <a:lnTo>
                        <a:pt x="202" y="86"/>
                      </a:lnTo>
                      <a:lnTo>
                        <a:pt x="202" y="85"/>
                      </a:lnTo>
                      <a:lnTo>
                        <a:pt x="204" y="84"/>
                      </a:lnTo>
                      <a:lnTo>
                        <a:pt x="204" y="86"/>
                      </a:lnTo>
                      <a:lnTo>
                        <a:pt x="204" y="84"/>
                      </a:lnTo>
                      <a:lnTo>
                        <a:pt x="201" y="83"/>
                      </a:lnTo>
                      <a:lnTo>
                        <a:pt x="196" y="81"/>
                      </a:lnTo>
                      <a:lnTo>
                        <a:pt x="194" y="73"/>
                      </a:lnTo>
                      <a:lnTo>
                        <a:pt x="192" y="69"/>
                      </a:lnTo>
                      <a:lnTo>
                        <a:pt x="190" y="68"/>
                      </a:lnTo>
                      <a:lnTo>
                        <a:pt x="190" y="65"/>
                      </a:lnTo>
                      <a:lnTo>
                        <a:pt x="189" y="66"/>
                      </a:lnTo>
                      <a:lnTo>
                        <a:pt x="188" y="64"/>
                      </a:lnTo>
                      <a:lnTo>
                        <a:pt x="180" y="69"/>
                      </a:lnTo>
                      <a:lnTo>
                        <a:pt x="179" y="6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3" name="Freeform 785">
                  <a:extLst>
                    <a:ext uri="{FF2B5EF4-FFF2-40B4-BE49-F238E27FC236}">
                      <a16:creationId xmlns:a16="http://schemas.microsoft.com/office/drawing/2014/main" id="{1209137D-6A87-4738-ADEE-E5ABF50B0C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12" y="2343"/>
                  <a:ext cx="12" cy="29"/>
                </a:xfrm>
                <a:custGeom>
                  <a:avLst/>
                  <a:gdLst>
                    <a:gd name="T0" fmla="*/ 6 w 12"/>
                    <a:gd name="T1" fmla="*/ 29 h 29"/>
                    <a:gd name="T2" fmla="*/ 9 w 12"/>
                    <a:gd name="T3" fmla="*/ 29 h 29"/>
                    <a:gd name="T4" fmla="*/ 9 w 12"/>
                    <a:gd name="T5" fmla="*/ 29 h 29"/>
                    <a:gd name="T6" fmla="*/ 10 w 12"/>
                    <a:gd name="T7" fmla="*/ 29 h 29"/>
                    <a:gd name="T8" fmla="*/ 12 w 12"/>
                    <a:gd name="T9" fmla="*/ 20 h 29"/>
                    <a:gd name="T10" fmla="*/ 10 w 12"/>
                    <a:gd name="T11" fmla="*/ 17 h 29"/>
                    <a:gd name="T12" fmla="*/ 9 w 12"/>
                    <a:gd name="T13" fmla="*/ 17 h 29"/>
                    <a:gd name="T14" fmla="*/ 9 w 12"/>
                    <a:gd name="T15" fmla="*/ 11 h 29"/>
                    <a:gd name="T16" fmla="*/ 9 w 12"/>
                    <a:gd name="T17" fmla="*/ 11 h 29"/>
                    <a:gd name="T18" fmla="*/ 10 w 12"/>
                    <a:gd name="T19" fmla="*/ 6 h 29"/>
                    <a:gd name="T20" fmla="*/ 9 w 12"/>
                    <a:gd name="T21" fmla="*/ 5 h 29"/>
                    <a:gd name="T22" fmla="*/ 9 w 12"/>
                    <a:gd name="T23" fmla="*/ 5 h 29"/>
                    <a:gd name="T24" fmla="*/ 8 w 12"/>
                    <a:gd name="T25" fmla="*/ 2 h 29"/>
                    <a:gd name="T26" fmla="*/ 6 w 12"/>
                    <a:gd name="T27" fmla="*/ 0 h 29"/>
                    <a:gd name="T28" fmla="*/ 5 w 12"/>
                    <a:gd name="T29" fmla="*/ 0 h 29"/>
                    <a:gd name="T30" fmla="*/ 4 w 12"/>
                    <a:gd name="T31" fmla="*/ 2 h 29"/>
                    <a:gd name="T32" fmla="*/ 3 w 12"/>
                    <a:gd name="T33" fmla="*/ 2 h 29"/>
                    <a:gd name="T34" fmla="*/ 3 w 12"/>
                    <a:gd name="T35" fmla="*/ 3 h 29"/>
                    <a:gd name="T36" fmla="*/ 2 w 12"/>
                    <a:gd name="T37" fmla="*/ 4 h 29"/>
                    <a:gd name="T38" fmla="*/ 2 w 12"/>
                    <a:gd name="T39" fmla="*/ 7 h 29"/>
                    <a:gd name="T40" fmla="*/ 2 w 12"/>
                    <a:gd name="T41" fmla="*/ 7 h 29"/>
                    <a:gd name="T42" fmla="*/ 2 w 12"/>
                    <a:gd name="T43" fmla="*/ 12 h 29"/>
                    <a:gd name="T44" fmla="*/ 2 w 12"/>
                    <a:gd name="T45" fmla="*/ 12 h 29"/>
                    <a:gd name="T46" fmla="*/ 1 w 12"/>
                    <a:gd name="T47" fmla="*/ 12 h 29"/>
                    <a:gd name="T48" fmla="*/ 0 w 12"/>
                    <a:gd name="T49" fmla="*/ 16 h 29"/>
                    <a:gd name="T50" fmla="*/ 1 w 12"/>
                    <a:gd name="T51" fmla="*/ 19 h 29"/>
                    <a:gd name="T52" fmla="*/ 2 w 12"/>
                    <a:gd name="T53" fmla="*/ 20 h 29"/>
                    <a:gd name="T54" fmla="*/ 2 w 12"/>
                    <a:gd name="T55" fmla="*/ 24 h 29"/>
                    <a:gd name="T56" fmla="*/ 2 w 12"/>
                    <a:gd name="T57" fmla="*/ 24 h 29"/>
                    <a:gd name="T58" fmla="*/ 2 w 12"/>
                    <a:gd name="T59" fmla="*/ 26 h 29"/>
                    <a:gd name="T60" fmla="*/ 6 w 12"/>
                    <a:gd name="T61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2" h="29">
                      <a:moveTo>
                        <a:pt x="6" y="29"/>
                      </a:moveTo>
                      <a:lnTo>
                        <a:pt x="9" y="29"/>
                      </a:lnTo>
                      <a:lnTo>
                        <a:pt x="9" y="29"/>
                      </a:lnTo>
                      <a:lnTo>
                        <a:pt x="10" y="29"/>
                      </a:lnTo>
                      <a:lnTo>
                        <a:pt x="12" y="20"/>
                      </a:lnTo>
                      <a:lnTo>
                        <a:pt x="10" y="17"/>
                      </a:lnTo>
                      <a:lnTo>
                        <a:pt x="9" y="17"/>
                      </a:lnTo>
                      <a:lnTo>
                        <a:pt x="9" y="11"/>
                      </a:lnTo>
                      <a:lnTo>
                        <a:pt x="9" y="11"/>
                      </a:lnTo>
                      <a:lnTo>
                        <a:pt x="10" y="6"/>
                      </a:lnTo>
                      <a:lnTo>
                        <a:pt x="9" y="5"/>
                      </a:lnTo>
                      <a:lnTo>
                        <a:pt x="9" y="5"/>
                      </a:lnTo>
                      <a:lnTo>
                        <a:pt x="8" y="2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3" y="3"/>
                      </a:lnTo>
                      <a:lnTo>
                        <a:pt x="2" y="4"/>
                      </a:lnTo>
                      <a:lnTo>
                        <a:pt x="2" y="7"/>
                      </a:lnTo>
                      <a:lnTo>
                        <a:pt x="2" y="7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1" y="12"/>
                      </a:lnTo>
                      <a:lnTo>
                        <a:pt x="0" y="16"/>
                      </a:lnTo>
                      <a:lnTo>
                        <a:pt x="1" y="19"/>
                      </a:lnTo>
                      <a:lnTo>
                        <a:pt x="2" y="20"/>
                      </a:lnTo>
                      <a:lnTo>
                        <a:pt x="2" y="24"/>
                      </a:lnTo>
                      <a:lnTo>
                        <a:pt x="2" y="24"/>
                      </a:lnTo>
                      <a:lnTo>
                        <a:pt x="2" y="26"/>
                      </a:lnTo>
                      <a:lnTo>
                        <a:pt x="6" y="2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4" name="Freeform 786">
                  <a:extLst>
                    <a:ext uri="{FF2B5EF4-FFF2-40B4-BE49-F238E27FC236}">
                      <a16:creationId xmlns:a16="http://schemas.microsoft.com/office/drawing/2014/main" id="{32AE5536-8A57-4A2B-BBCB-B28DC6B2D2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25" y="2345"/>
                  <a:ext cx="66" cy="65"/>
                </a:xfrm>
                <a:custGeom>
                  <a:avLst/>
                  <a:gdLst>
                    <a:gd name="T0" fmla="*/ 3 w 66"/>
                    <a:gd name="T1" fmla="*/ 45 h 65"/>
                    <a:gd name="T2" fmla="*/ 6 w 66"/>
                    <a:gd name="T3" fmla="*/ 58 h 65"/>
                    <a:gd name="T4" fmla="*/ 47 w 66"/>
                    <a:gd name="T5" fmla="*/ 65 h 65"/>
                    <a:gd name="T6" fmla="*/ 52 w 66"/>
                    <a:gd name="T7" fmla="*/ 60 h 65"/>
                    <a:gd name="T8" fmla="*/ 64 w 66"/>
                    <a:gd name="T9" fmla="*/ 15 h 65"/>
                    <a:gd name="T10" fmla="*/ 66 w 66"/>
                    <a:gd name="T11" fmla="*/ 14 h 65"/>
                    <a:gd name="T12" fmla="*/ 66 w 66"/>
                    <a:gd name="T13" fmla="*/ 10 h 65"/>
                    <a:gd name="T14" fmla="*/ 66 w 66"/>
                    <a:gd name="T15" fmla="*/ 8 h 65"/>
                    <a:gd name="T16" fmla="*/ 65 w 66"/>
                    <a:gd name="T17" fmla="*/ 9 h 65"/>
                    <a:gd name="T18" fmla="*/ 64 w 66"/>
                    <a:gd name="T19" fmla="*/ 8 h 65"/>
                    <a:gd name="T20" fmla="*/ 64 w 66"/>
                    <a:gd name="T21" fmla="*/ 7 h 65"/>
                    <a:gd name="T22" fmla="*/ 62 w 66"/>
                    <a:gd name="T23" fmla="*/ 7 h 65"/>
                    <a:gd name="T24" fmla="*/ 62 w 66"/>
                    <a:gd name="T25" fmla="*/ 1 h 65"/>
                    <a:gd name="T26" fmla="*/ 60 w 66"/>
                    <a:gd name="T27" fmla="*/ 0 h 65"/>
                    <a:gd name="T28" fmla="*/ 60 w 66"/>
                    <a:gd name="T29" fmla="*/ 3 h 65"/>
                    <a:gd name="T30" fmla="*/ 59 w 66"/>
                    <a:gd name="T31" fmla="*/ 5 h 65"/>
                    <a:gd name="T32" fmla="*/ 51 w 66"/>
                    <a:gd name="T33" fmla="*/ 11 h 65"/>
                    <a:gd name="T34" fmla="*/ 51 w 66"/>
                    <a:gd name="T35" fmla="*/ 16 h 65"/>
                    <a:gd name="T36" fmla="*/ 43 w 66"/>
                    <a:gd name="T37" fmla="*/ 24 h 65"/>
                    <a:gd name="T38" fmla="*/ 41 w 66"/>
                    <a:gd name="T39" fmla="*/ 27 h 65"/>
                    <a:gd name="T40" fmla="*/ 42 w 66"/>
                    <a:gd name="T41" fmla="*/ 27 h 65"/>
                    <a:gd name="T42" fmla="*/ 43 w 66"/>
                    <a:gd name="T43" fmla="*/ 29 h 65"/>
                    <a:gd name="T44" fmla="*/ 40 w 66"/>
                    <a:gd name="T45" fmla="*/ 34 h 65"/>
                    <a:gd name="T46" fmla="*/ 38 w 66"/>
                    <a:gd name="T47" fmla="*/ 31 h 65"/>
                    <a:gd name="T48" fmla="*/ 37 w 66"/>
                    <a:gd name="T49" fmla="*/ 32 h 65"/>
                    <a:gd name="T50" fmla="*/ 35 w 66"/>
                    <a:gd name="T51" fmla="*/ 32 h 65"/>
                    <a:gd name="T52" fmla="*/ 35 w 66"/>
                    <a:gd name="T53" fmla="*/ 35 h 65"/>
                    <a:gd name="T54" fmla="*/ 34 w 66"/>
                    <a:gd name="T55" fmla="*/ 35 h 65"/>
                    <a:gd name="T56" fmla="*/ 34 w 66"/>
                    <a:gd name="T57" fmla="*/ 37 h 65"/>
                    <a:gd name="T58" fmla="*/ 30 w 66"/>
                    <a:gd name="T59" fmla="*/ 38 h 65"/>
                    <a:gd name="T60" fmla="*/ 27 w 66"/>
                    <a:gd name="T61" fmla="*/ 38 h 65"/>
                    <a:gd name="T62" fmla="*/ 26 w 66"/>
                    <a:gd name="T63" fmla="*/ 36 h 65"/>
                    <a:gd name="T64" fmla="*/ 23 w 66"/>
                    <a:gd name="T65" fmla="*/ 37 h 65"/>
                    <a:gd name="T66" fmla="*/ 22 w 66"/>
                    <a:gd name="T67" fmla="*/ 36 h 65"/>
                    <a:gd name="T68" fmla="*/ 20 w 66"/>
                    <a:gd name="T69" fmla="*/ 36 h 65"/>
                    <a:gd name="T70" fmla="*/ 15 w 66"/>
                    <a:gd name="T71" fmla="*/ 35 h 65"/>
                    <a:gd name="T72" fmla="*/ 9 w 66"/>
                    <a:gd name="T73" fmla="*/ 41 h 65"/>
                    <a:gd name="T74" fmla="*/ 7 w 66"/>
                    <a:gd name="T75" fmla="*/ 40 h 65"/>
                    <a:gd name="T76" fmla="*/ 5 w 66"/>
                    <a:gd name="T77" fmla="*/ 39 h 65"/>
                    <a:gd name="T78" fmla="*/ 3 w 66"/>
                    <a:gd name="T79" fmla="*/ 41 h 65"/>
                    <a:gd name="T80" fmla="*/ 2 w 66"/>
                    <a:gd name="T81" fmla="*/ 33 h 65"/>
                    <a:gd name="T82" fmla="*/ 0 w 66"/>
                    <a:gd name="T83" fmla="*/ 35 h 65"/>
                    <a:gd name="T84" fmla="*/ 0 w 66"/>
                    <a:gd name="T85" fmla="*/ 34 h 65"/>
                    <a:gd name="T86" fmla="*/ 0 w 66"/>
                    <a:gd name="T87" fmla="*/ 39 h 65"/>
                    <a:gd name="T88" fmla="*/ 3 w 66"/>
                    <a:gd name="T89" fmla="*/ 4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6" h="65">
                      <a:moveTo>
                        <a:pt x="3" y="45"/>
                      </a:moveTo>
                      <a:lnTo>
                        <a:pt x="6" y="58"/>
                      </a:lnTo>
                      <a:lnTo>
                        <a:pt x="47" y="65"/>
                      </a:lnTo>
                      <a:lnTo>
                        <a:pt x="52" y="60"/>
                      </a:lnTo>
                      <a:lnTo>
                        <a:pt x="64" y="15"/>
                      </a:lnTo>
                      <a:lnTo>
                        <a:pt x="66" y="14"/>
                      </a:lnTo>
                      <a:lnTo>
                        <a:pt x="66" y="10"/>
                      </a:lnTo>
                      <a:lnTo>
                        <a:pt x="66" y="8"/>
                      </a:lnTo>
                      <a:lnTo>
                        <a:pt x="65" y="9"/>
                      </a:lnTo>
                      <a:lnTo>
                        <a:pt x="64" y="8"/>
                      </a:lnTo>
                      <a:lnTo>
                        <a:pt x="64" y="7"/>
                      </a:lnTo>
                      <a:lnTo>
                        <a:pt x="62" y="7"/>
                      </a:lnTo>
                      <a:lnTo>
                        <a:pt x="62" y="1"/>
                      </a:lnTo>
                      <a:lnTo>
                        <a:pt x="60" y="0"/>
                      </a:lnTo>
                      <a:lnTo>
                        <a:pt x="60" y="3"/>
                      </a:lnTo>
                      <a:lnTo>
                        <a:pt x="59" y="5"/>
                      </a:lnTo>
                      <a:lnTo>
                        <a:pt x="51" y="11"/>
                      </a:lnTo>
                      <a:lnTo>
                        <a:pt x="51" y="16"/>
                      </a:lnTo>
                      <a:lnTo>
                        <a:pt x="43" y="24"/>
                      </a:lnTo>
                      <a:lnTo>
                        <a:pt x="41" y="27"/>
                      </a:lnTo>
                      <a:lnTo>
                        <a:pt x="42" y="27"/>
                      </a:lnTo>
                      <a:lnTo>
                        <a:pt x="43" y="29"/>
                      </a:lnTo>
                      <a:lnTo>
                        <a:pt x="40" y="34"/>
                      </a:lnTo>
                      <a:lnTo>
                        <a:pt x="38" y="31"/>
                      </a:lnTo>
                      <a:lnTo>
                        <a:pt x="37" y="32"/>
                      </a:lnTo>
                      <a:lnTo>
                        <a:pt x="35" y="32"/>
                      </a:lnTo>
                      <a:lnTo>
                        <a:pt x="35" y="35"/>
                      </a:lnTo>
                      <a:lnTo>
                        <a:pt x="34" y="35"/>
                      </a:lnTo>
                      <a:lnTo>
                        <a:pt x="34" y="37"/>
                      </a:lnTo>
                      <a:lnTo>
                        <a:pt x="30" y="38"/>
                      </a:lnTo>
                      <a:lnTo>
                        <a:pt x="27" y="38"/>
                      </a:lnTo>
                      <a:lnTo>
                        <a:pt x="26" y="36"/>
                      </a:lnTo>
                      <a:lnTo>
                        <a:pt x="23" y="37"/>
                      </a:lnTo>
                      <a:lnTo>
                        <a:pt x="22" y="36"/>
                      </a:lnTo>
                      <a:lnTo>
                        <a:pt x="20" y="36"/>
                      </a:lnTo>
                      <a:lnTo>
                        <a:pt x="15" y="35"/>
                      </a:lnTo>
                      <a:lnTo>
                        <a:pt x="9" y="41"/>
                      </a:lnTo>
                      <a:lnTo>
                        <a:pt x="7" y="40"/>
                      </a:lnTo>
                      <a:lnTo>
                        <a:pt x="5" y="39"/>
                      </a:lnTo>
                      <a:lnTo>
                        <a:pt x="3" y="41"/>
                      </a:lnTo>
                      <a:lnTo>
                        <a:pt x="2" y="33"/>
                      </a:lnTo>
                      <a:lnTo>
                        <a:pt x="0" y="35"/>
                      </a:lnTo>
                      <a:lnTo>
                        <a:pt x="0" y="34"/>
                      </a:lnTo>
                      <a:lnTo>
                        <a:pt x="0" y="39"/>
                      </a:lnTo>
                      <a:lnTo>
                        <a:pt x="3" y="4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5" name="Freeform 787">
                  <a:extLst>
                    <a:ext uri="{FF2B5EF4-FFF2-40B4-BE49-F238E27FC236}">
                      <a16:creationId xmlns:a16="http://schemas.microsoft.com/office/drawing/2014/main" id="{250F1916-EA12-4876-994C-BC09A83C5E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59" y="2124"/>
                  <a:ext cx="6" cy="4"/>
                </a:xfrm>
                <a:custGeom>
                  <a:avLst/>
                  <a:gdLst>
                    <a:gd name="T0" fmla="*/ 3 w 6"/>
                    <a:gd name="T1" fmla="*/ 0 h 4"/>
                    <a:gd name="T2" fmla="*/ 0 w 6"/>
                    <a:gd name="T3" fmla="*/ 2 h 4"/>
                    <a:gd name="T4" fmla="*/ 1 w 6"/>
                    <a:gd name="T5" fmla="*/ 3 h 4"/>
                    <a:gd name="T6" fmla="*/ 4 w 6"/>
                    <a:gd name="T7" fmla="*/ 4 h 4"/>
                    <a:gd name="T8" fmla="*/ 6 w 6"/>
                    <a:gd name="T9" fmla="*/ 3 h 4"/>
                    <a:gd name="T10" fmla="*/ 4 w 6"/>
                    <a:gd name="T11" fmla="*/ 1 h 4"/>
                    <a:gd name="T12" fmla="*/ 3 w 6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3" y="0"/>
                      </a:moveTo>
                      <a:lnTo>
                        <a:pt x="0" y="2"/>
                      </a:lnTo>
                      <a:lnTo>
                        <a:pt x="1" y="3"/>
                      </a:lnTo>
                      <a:lnTo>
                        <a:pt x="4" y="4"/>
                      </a:lnTo>
                      <a:lnTo>
                        <a:pt x="6" y="3"/>
                      </a:lnTo>
                      <a:lnTo>
                        <a:pt x="4" y="1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6" name="Freeform 788">
                  <a:extLst>
                    <a:ext uri="{FF2B5EF4-FFF2-40B4-BE49-F238E27FC236}">
                      <a16:creationId xmlns:a16="http://schemas.microsoft.com/office/drawing/2014/main" id="{1D8BCC46-163C-4E88-9794-8B7CCE4FBB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28" y="2107"/>
                  <a:ext cx="3" cy="1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2 w 3"/>
                    <a:gd name="T5" fmla="*/ 0 h 1"/>
                    <a:gd name="T6" fmla="*/ 0 w 3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7" name="Freeform 789">
                  <a:extLst>
                    <a:ext uri="{FF2B5EF4-FFF2-40B4-BE49-F238E27FC236}">
                      <a16:creationId xmlns:a16="http://schemas.microsoft.com/office/drawing/2014/main" id="{9B9FC9BF-A8B3-4A9E-9C45-69C5194127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23" y="2110"/>
                  <a:ext cx="4" cy="3"/>
                </a:xfrm>
                <a:custGeom>
                  <a:avLst/>
                  <a:gdLst>
                    <a:gd name="T0" fmla="*/ 0 w 4"/>
                    <a:gd name="T1" fmla="*/ 0 h 3"/>
                    <a:gd name="T2" fmla="*/ 1 w 4"/>
                    <a:gd name="T3" fmla="*/ 3 h 3"/>
                    <a:gd name="T4" fmla="*/ 3 w 4"/>
                    <a:gd name="T5" fmla="*/ 3 h 3"/>
                    <a:gd name="T6" fmla="*/ 4 w 4"/>
                    <a:gd name="T7" fmla="*/ 3 h 3"/>
                    <a:gd name="T8" fmla="*/ 2 w 4"/>
                    <a:gd name="T9" fmla="*/ 0 h 3"/>
                    <a:gd name="T10" fmla="*/ 0 w 4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3">
                      <a:moveTo>
                        <a:pt x="0" y="0"/>
                      </a:move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8" name="Freeform 790">
                  <a:extLst>
                    <a:ext uri="{FF2B5EF4-FFF2-40B4-BE49-F238E27FC236}">
                      <a16:creationId xmlns:a16="http://schemas.microsoft.com/office/drawing/2014/main" id="{862DBF45-43F0-4A69-B471-1DC18FEEB5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40" y="2106"/>
                  <a:ext cx="2" cy="2"/>
                </a:xfrm>
                <a:custGeom>
                  <a:avLst/>
                  <a:gdLst>
                    <a:gd name="T0" fmla="*/ 0 w 2"/>
                    <a:gd name="T1" fmla="*/ 1 h 2"/>
                    <a:gd name="T2" fmla="*/ 2 w 2"/>
                    <a:gd name="T3" fmla="*/ 2 h 2"/>
                    <a:gd name="T4" fmla="*/ 2 w 2"/>
                    <a:gd name="T5" fmla="*/ 1 h 2"/>
                    <a:gd name="T6" fmla="*/ 1 w 2"/>
                    <a:gd name="T7" fmla="*/ 0 h 2"/>
                    <a:gd name="T8" fmla="*/ 0 w 2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9" name="Freeform 791">
                  <a:extLst>
                    <a:ext uri="{FF2B5EF4-FFF2-40B4-BE49-F238E27FC236}">
                      <a16:creationId xmlns:a16="http://schemas.microsoft.com/office/drawing/2014/main" id="{A2969B58-91C7-4422-AB47-B5BBD2A300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74" y="2224"/>
                  <a:ext cx="5" cy="4"/>
                </a:xfrm>
                <a:custGeom>
                  <a:avLst/>
                  <a:gdLst>
                    <a:gd name="T0" fmla="*/ 7 w 7"/>
                    <a:gd name="T1" fmla="*/ 3 h 5"/>
                    <a:gd name="T2" fmla="*/ 5 w 7"/>
                    <a:gd name="T3" fmla="*/ 0 h 5"/>
                    <a:gd name="T4" fmla="*/ 0 w 7"/>
                    <a:gd name="T5" fmla="*/ 1 h 5"/>
                    <a:gd name="T6" fmla="*/ 1 w 7"/>
                    <a:gd name="T7" fmla="*/ 3 h 5"/>
                    <a:gd name="T8" fmla="*/ 5 w 7"/>
                    <a:gd name="T9" fmla="*/ 5 h 5"/>
                    <a:gd name="T10" fmla="*/ 7 w 7"/>
                    <a:gd name="T11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5">
                      <a:moveTo>
                        <a:pt x="7" y="3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5" y="5"/>
                        <a:pt x="5" y="5"/>
                        <a:pt x="5" y="5"/>
                      </a:cubicBezTo>
                      <a:cubicBezTo>
                        <a:pt x="5" y="5"/>
                        <a:pt x="7" y="3"/>
                        <a:pt x="7" y="3"/>
                      </a:cubicBez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0" name="Freeform 792">
                  <a:extLst>
                    <a:ext uri="{FF2B5EF4-FFF2-40B4-BE49-F238E27FC236}">
                      <a16:creationId xmlns:a16="http://schemas.microsoft.com/office/drawing/2014/main" id="{7F4181BB-6051-4EBF-91FA-8FBC5B5145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10" y="2304"/>
                  <a:ext cx="8" cy="10"/>
                </a:xfrm>
                <a:custGeom>
                  <a:avLst/>
                  <a:gdLst>
                    <a:gd name="T0" fmla="*/ 3 w 8"/>
                    <a:gd name="T1" fmla="*/ 6 h 10"/>
                    <a:gd name="T2" fmla="*/ 0 w 8"/>
                    <a:gd name="T3" fmla="*/ 10 h 10"/>
                    <a:gd name="T4" fmla="*/ 1 w 8"/>
                    <a:gd name="T5" fmla="*/ 10 h 10"/>
                    <a:gd name="T6" fmla="*/ 4 w 8"/>
                    <a:gd name="T7" fmla="*/ 10 h 10"/>
                    <a:gd name="T8" fmla="*/ 8 w 8"/>
                    <a:gd name="T9" fmla="*/ 4 h 10"/>
                    <a:gd name="T10" fmla="*/ 8 w 8"/>
                    <a:gd name="T11" fmla="*/ 0 h 10"/>
                    <a:gd name="T12" fmla="*/ 3 w 8"/>
                    <a:gd name="T13" fmla="*/ 3 h 10"/>
                    <a:gd name="T14" fmla="*/ 3 w 8"/>
                    <a:gd name="T15" fmla="*/ 6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" h="10">
                      <a:moveTo>
                        <a:pt x="3" y="6"/>
                      </a:moveTo>
                      <a:lnTo>
                        <a:pt x="0" y="10"/>
                      </a:lnTo>
                      <a:lnTo>
                        <a:pt x="1" y="10"/>
                      </a:lnTo>
                      <a:lnTo>
                        <a:pt x="4" y="10"/>
                      </a:lnTo>
                      <a:lnTo>
                        <a:pt x="8" y="4"/>
                      </a:lnTo>
                      <a:lnTo>
                        <a:pt x="8" y="0"/>
                      </a:lnTo>
                      <a:lnTo>
                        <a:pt x="3" y="3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1" name="Freeform 793">
                  <a:extLst>
                    <a:ext uri="{FF2B5EF4-FFF2-40B4-BE49-F238E27FC236}">
                      <a16:creationId xmlns:a16="http://schemas.microsoft.com/office/drawing/2014/main" id="{2366A949-56CF-45A0-9406-E7AB09C787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63" y="2300"/>
                  <a:ext cx="3" cy="7"/>
                </a:xfrm>
                <a:custGeom>
                  <a:avLst/>
                  <a:gdLst>
                    <a:gd name="T0" fmla="*/ 3 w 3"/>
                    <a:gd name="T1" fmla="*/ 2 h 10"/>
                    <a:gd name="T2" fmla="*/ 1 w 3"/>
                    <a:gd name="T3" fmla="*/ 0 h 10"/>
                    <a:gd name="T4" fmla="*/ 0 w 3"/>
                    <a:gd name="T5" fmla="*/ 2 h 10"/>
                    <a:gd name="T6" fmla="*/ 1 w 3"/>
                    <a:gd name="T7" fmla="*/ 5 h 10"/>
                    <a:gd name="T8" fmla="*/ 1 w 3"/>
                    <a:gd name="T9" fmla="*/ 10 h 10"/>
                    <a:gd name="T10" fmla="*/ 3 w 3"/>
                    <a:gd name="T11" fmla="*/ 8 h 10"/>
                    <a:gd name="T12" fmla="*/ 3 w 3"/>
                    <a:gd name="T13" fmla="*/ 2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10">
                      <a:moveTo>
                        <a:pt x="3" y="2"/>
                      </a:moveTo>
                      <a:cubicBezTo>
                        <a:pt x="3" y="2"/>
                        <a:pt x="2" y="0"/>
                        <a:pt x="1" y="0"/>
                      </a:cubicBezTo>
                      <a:cubicBezTo>
                        <a:pt x="0" y="0"/>
                        <a:pt x="0" y="2"/>
                        <a:pt x="0" y="2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10"/>
                        <a:pt x="1" y="10"/>
                        <a:pt x="1" y="10"/>
                      </a:cubicBezTo>
                      <a:cubicBezTo>
                        <a:pt x="1" y="10"/>
                        <a:pt x="3" y="8"/>
                        <a:pt x="3" y="8"/>
                      </a:cubicBez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2" name="Freeform 794">
                  <a:extLst>
                    <a:ext uri="{FF2B5EF4-FFF2-40B4-BE49-F238E27FC236}">
                      <a16:creationId xmlns:a16="http://schemas.microsoft.com/office/drawing/2014/main" id="{4E96BCF3-C595-4054-9286-A5F490F395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0" y="2313"/>
                  <a:ext cx="7" cy="8"/>
                </a:xfrm>
                <a:custGeom>
                  <a:avLst/>
                  <a:gdLst>
                    <a:gd name="T0" fmla="*/ 4 w 7"/>
                    <a:gd name="T1" fmla="*/ 0 h 8"/>
                    <a:gd name="T2" fmla="*/ 2 w 7"/>
                    <a:gd name="T3" fmla="*/ 0 h 8"/>
                    <a:gd name="T4" fmla="*/ 0 w 7"/>
                    <a:gd name="T5" fmla="*/ 4 h 8"/>
                    <a:gd name="T6" fmla="*/ 3 w 7"/>
                    <a:gd name="T7" fmla="*/ 8 h 8"/>
                    <a:gd name="T8" fmla="*/ 6 w 7"/>
                    <a:gd name="T9" fmla="*/ 5 h 8"/>
                    <a:gd name="T10" fmla="*/ 7 w 7"/>
                    <a:gd name="T11" fmla="*/ 4 h 8"/>
                    <a:gd name="T12" fmla="*/ 7 w 7"/>
                    <a:gd name="T13" fmla="*/ 1 h 8"/>
                    <a:gd name="T14" fmla="*/ 4 w 7"/>
                    <a:gd name="T15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8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3" y="8"/>
                      </a:lnTo>
                      <a:lnTo>
                        <a:pt x="6" y="5"/>
                      </a:lnTo>
                      <a:lnTo>
                        <a:pt x="7" y="4"/>
                      </a:lnTo>
                      <a:lnTo>
                        <a:pt x="7" y="1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3" name="Freeform 795">
                  <a:extLst>
                    <a:ext uri="{FF2B5EF4-FFF2-40B4-BE49-F238E27FC236}">
                      <a16:creationId xmlns:a16="http://schemas.microsoft.com/office/drawing/2014/main" id="{2AE35F5B-485A-4344-BCFE-4E50345A03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18" y="2296"/>
                  <a:ext cx="6" cy="4"/>
                </a:xfrm>
                <a:custGeom>
                  <a:avLst/>
                  <a:gdLst>
                    <a:gd name="T0" fmla="*/ 0 w 6"/>
                    <a:gd name="T1" fmla="*/ 4 h 4"/>
                    <a:gd name="T2" fmla="*/ 3 w 6"/>
                    <a:gd name="T3" fmla="*/ 2 h 4"/>
                    <a:gd name="T4" fmla="*/ 6 w 6"/>
                    <a:gd name="T5" fmla="*/ 1 h 4"/>
                    <a:gd name="T6" fmla="*/ 3 w 6"/>
                    <a:gd name="T7" fmla="*/ 0 h 4"/>
                    <a:gd name="T8" fmla="*/ 2 w 6"/>
                    <a:gd name="T9" fmla="*/ 0 h 4"/>
                    <a:gd name="T10" fmla="*/ 0 w 6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4">
                      <a:moveTo>
                        <a:pt x="0" y="4"/>
                      </a:moveTo>
                      <a:lnTo>
                        <a:pt x="3" y="2"/>
                      </a:ln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4" name="Freeform 796">
                  <a:extLst>
                    <a:ext uri="{FF2B5EF4-FFF2-40B4-BE49-F238E27FC236}">
                      <a16:creationId xmlns:a16="http://schemas.microsoft.com/office/drawing/2014/main" id="{C5C4D84D-47D0-4E0C-A99C-12F8363F25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75" y="2307"/>
                  <a:ext cx="11" cy="9"/>
                </a:xfrm>
                <a:custGeom>
                  <a:avLst/>
                  <a:gdLst>
                    <a:gd name="T0" fmla="*/ 4 w 11"/>
                    <a:gd name="T1" fmla="*/ 9 h 9"/>
                    <a:gd name="T2" fmla="*/ 8 w 11"/>
                    <a:gd name="T3" fmla="*/ 5 h 9"/>
                    <a:gd name="T4" fmla="*/ 11 w 11"/>
                    <a:gd name="T5" fmla="*/ 5 h 9"/>
                    <a:gd name="T6" fmla="*/ 11 w 11"/>
                    <a:gd name="T7" fmla="*/ 0 h 9"/>
                    <a:gd name="T8" fmla="*/ 8 w 11"/>
                    <a:gd name="T9" fmla="*/ 0 h 9"/>
                    <a:gd name="T10" fmla="*/ 8 w 11"/>
                    <a:gd name="T11" fmla="*/ 1 h 9"/>
                    <a:gd name="T12" fmla="*/ 4 w 11"/>
                    <a:gd name="T13" fmla="*/ 3 h 9"/>
                    <a:gd name="T14" fmla="*/ 2 w 11"/>
                    <a:gd name="T15" fmla="*/ 3 h 9"/>
                    <a:gd name="T16" fmla="*/ 0 w 11"/>
                    <a:gd name="T17" fmla="*/ 4 h 9"/>
                    <a:gd name="T18" fmla="*/ 1 w 11"/>
                    <a:gd name="T19" fmla="*/ 7 h 9"/>
                    <a:gd name="T20" fmla="*/ 4 w 11"/>
                    <a:gd name="T2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" h="9">
                      <a:moveTo>
                        <a:pt x="4" y="9"/>
                      </a:moveTo>
                      <a:lnTo>
                        <a:pt x="8" y="5"/>
                      </a:lnTo>
                      <a:lnTo>
                        <a:pt x="11" y="5"/>
                      </a:lnTo>
                      <a:lnTo>
                        <a:pt x="11" y="0"/>
                      </a:lnTo>
                      <a:lnTo>
                        <a:pt x="8" y="0"/>
                      </a:lnTo>
                      <a:lnTo>
                        <a:pt x="8" y="1"/>
                      </a:ln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0" y="4"/>
                      </a:lnTo>
                      <a:lnTo>
                        <a:pt x="1" y="7"/>
                      </a:lnTo>
                      <a:lnTo>
                        <a:pt x="4" y="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5" name="Freeform 797">
                  <a:extLst>
                    <a:ext uri="{FF2B5EF4-FFF2-40B4-BE49-F238E27FC236}">
                      <a16:creationId xmlns:a16="http://schemas.microsoft.com/office/drawing/2014/main" id="{007B859A-9715-417D-B2AD-5EA4100547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60" y="2319"/>
                  <a:ext cx="2" cy="3"/>
                </a:xfrm>
                <a:custGeom>
                  <a:avLst/>
                  <a:gdLst>
                    <a:gd name="T0" fmla="*/ 0 w 2"/>
                    <a:gd name="T1" fmla="*/ 2 h 3"/>
                    <a:gd name="T2" fmla="*/ 1 w 2"/>
                    <a:gd name="T3" fmla="*/ 3 h 3"/>
                    <a:gd name="T4" fmla="*/ 2 w 2"/>
                    <a:gd name="T5" fmla="*/ 3 h 3"/>
                    <a:gd name="T6" fmla="*/ 2 w 2"/>
                    <a:gd name="T7" fmla="*/ 2 h 3"/>
                    <a:gd name="T8" fmla="*/ 2 w 2"/>
                    <a:gd name="T9" fmla="*/ 0 h 3"/>
                    <a:gd name="T10" fmla="*/ 2 w 2"/>
                    <a:gd name="T11" fmla="*/ 0 h 3"/>
                    <a:gd name="T12" fmla="*/ 0 w 2"/>
                    <a:gd name="T13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3">
                      <a:moveTo>
                        <a:pt x="0" y="2"/>
                      </a:move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6" name="Freeform 798">
                  <a:extLst>
                    <a:ext uri="{FF2B5EF4-FFF2-40B4-BE49-F238E27FC236}">
                      <a16:creationId xmlns:a16="http://schemas.microsoft.com/office/drawing/2014/main" id="{40A841DC-6ACF-4770-842B-C4AFC65AB7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70" y="2313"/>
                  <a:ext cx="3" cy="2"/>
                </a:xfrm>
                <a:custGeom>
                  <a:avLst/>
                  <a:gdLst>
                    <a:gd name="T0" fmla="*/ 3 w 3"/>
                    <a:gd name="T1" fmla="*/ 2 h 3"/>
                    <a:gd name="T2" fmla="*/ 2 w 3"/>
                    <a:gd name="T3" fmla="*/ 0 h 3"/>
                    <a:gd name="T4" fmla="*/ 1 w 3"/>
                    <a:gd name="T5" fmla="*/ 0 h 3"/>
                    <a:gd name="T6" fmla="*/ 0 w 3"/>
                    <a:gd name="T7" fmla="*/ 2 h 3"/>
                    <a:gd name="T8" fmla="*/ 2 w 3"/>
                    <a:gd name="T9" fmla="*/ 3 h 3"/>
                    <a:gd name="T10" fmla="*/ 3 w 3"/>
                    <a:gd name="T11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3">
                      <a:moveTo>
                        <a:pt x="3" y="2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2" y="3"/>
                        <a:pt x="2" y="3"/>
                        <a:pt x="2" y="3"/>
                      </a:cubicBezTo>
                      <a:cubicBezTo>
                        <a:pt x="2" y="3"/>
                        <a:pt x="3" y="2"/>
                        <a:pt x="3" y="2"/>
                      </a:cubicBez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7" name="Freeform 799">
                  <a:extLst>
                    <a:ext uri="{FF2B5EF4-FFF2-40B4-BE49-F238E27FC236}">
                      <a16:creationId xmlns:a16="http://schemas.microsoft.com/office/drawing/2014/main" id="{94B4377C-DFE0-4E6C-8480-04E28A0DC3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55" y="2506"/>
                  <a:ext cx="6" cy="4"/>
                </a:xfrm>
                <a:custGeom>
                  <a:avLst/>
                  <a:gdLst>
                    <a:gd name="T0" fmla="*/ 7 w 8"/>
                    <a:gd name="T1" fmla="*/ 0 h 5"/>
                    <a:gd name="T2" fmla="*/ 4 w 8"/>
                    <a:gd name="T3" fmla="*/ 0 h 5"/>
                    <a:gd name="T4" fmla="*/ 2 w 8"/>
                    <a:gd name="T5" fmla="*/ 1 h 5"/>
                    <a:gd name="T6" fmla="*/ 0 w 8"/>
                    <a:gd name="T7" fmla="*/ 2 h 5"/>
                    <a:gd name="T8" fmla="*/ 1 w 8"/>
                    <a:gd name="T9" fmla="*/ 5 h 5"/>
                    <a:gd name="T10" fmla="*/ 4 w 8"/>
                    <a:gd name="T11" fmla="*/ 5 h 5"/>
                    <a:gd name="T12" fmla="*/ 8 w 8"/>
                    <a:gd name="T13" fmla="*/ 2 h 5"/>
                    <a:gd name="T14" fmla="*/ 7 w 8"/>
                    <a:gd name="T1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" h="5">
                      <a:moveTo>
                        <a:pt x="7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3" y="5"/>
                        <a:pt x="4" y="5"/>
                      </a:cubicBezTo>
                      <a:cubicBezTo>
                        <a:pt x="8" y="2"/>
                        <a:pt x="8" y="2"/>
                        <a:pt x="8" y="2"/>
                      </a:cubicBez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8" name="Freeform 800">
                  <a:extLst>
                    <a:ext uri="{FF2B5EF4-FFF2-40B4-BE49-F238E27FC236}">
                      <a16:creationId xmlns:a16="http://schemas.microsoft.com/office/drawing/2014/main" id="{788F31D2-F5FC-48E4-9D9A-61D7D298D1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69" y="2514"/>
                  <a:ext cx="3" cy="4"/>
                </a:xfrm>
                <a:custGeom>
                  <a:avLst/>
                  <a:gdLst>
                    <a:gd name="T0" fmla="*/ 3 w 5"/>
                    <a:gd name="T1" fmla="*/ 0 h 4"/>
                    <a:gd name="T2" fmla="*/ 1 w 5"/>
                    <a:gd name="T3" fmla="*/ 0 h 4"/>
                    <a:gd name="T4" fmla="*/ 0 w 5"/>
                    <a:gd name="T5" fmla="*/ 2 h 4"/>
                    <a:gd name="T6" fmla="*/ 2 w 5"/>
                    <a:gd name="T7" fmla="*/ 4 h 4"/>
                    <a:gd name="T8" fmla="*/ 3 w 5"/>
                    <a:gd name="T9" fmla="*/ 3 h 4"/>
                    <a:gd name="T10" fmla="*/ 4 w 5"/>
                    <a:gd name="T11" fmla="*/ 3 h 4"/>
                    <a:gd name="T12" fmla="*/ 5 w 5"/>
                    <a:gd name="T13" fmla="*/ 3 h 4"/>
                    <a:gd name="T14" fmla="*/ 5 w 5"/>
                    <a:gd name="T15" fmla="*/ 1 h 4"/>
                    <a:gd name="T16" fmla="*/ 3 w 5"/>
                    <a:gd name="T1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4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4" y="3"/>
                        <a:pt x="4" y="3"/>
                        <a:pt x="4" y="3"/>
                      </a:cubicBezTo>
                      <a:cubicBezTo>
                        <a:pt x="4" y="3"/>
                        <a:pt x="5" y="3"/>
                        <a:pt x="5" y="3"/>
                      </a:cubicBezTo>
                      <a:cubicBezTo>
                        <a:pt x="5" y="1"/>
                        <a:pt x="5" y="1"/>
                        <a:pt x="5" y="1"/>
                      </a:cubicBez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9" name="Freeform 801">
                  <a:extLst>
                    <a:ext uri="{FF2B5EF4-FFF2-40B4-BE49-F238E27FC236}">
                      <a16:creationId xmlns:a16="http://schemas.microsoft.com/office/drawing/2014/main" id="{0AB486D7-D287-4A64-AE78-AC795EFEB7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8" y="2511"/>
                  <a:ext cx="1" cy="4"/>
                </a:xfrm>
                <a:custGeom>
                  <a:avLst/>
                  <a:gdLst>
                    <a:gd name="T0" fmla="*/ 1 w 1"/>
                    <a:gd name="T1" fmla="*/ 3 h 4"/>
                    <a:gd name="T2" fmla="*/ 1 w 1"/>
                    <a:gd name="T3" fmla="*/ 0 h 4"/>
                    <a:gd name="T4" fmla="*/ 0 w 1"/>
                    <a:gd name="T5" fmla="*/ 1 h 4"/>
                    <a:gd name="T6" fmla="*/ 1 w 1"/>
                    <a:gd name="T7" fmla="*/ 4 h 4"/>
                    <a:gd name="T8" fmla="*/ 1 w 1"/>
                    <a:gd name="T9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4">
                      <a:moveTo>
                        <a:pt x="1" y="3"/>
                      </a:move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4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00" name="Freeform 802">
                  <a:extLst>
                    <a:ext uri="{FF2B5EF4-FFF2-40B4-BE49-F238E27FC236}">
                      <a16:creationId xmlns:a16="http://schemas.microsoft.com/office/drawing/2014/main" id="{9A333509-6CDE-440E-9BA9-881E49F040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6" y="2522"/>
                  <a:ext cx="5" cy="5"/>
                </a:xfrm>
                <a:custGeom>
                  <a:avLst/>
                  <a:gdLst>
                    <a:gd name="T0" fmla="*/ 3 w 5"/>
                    <a:gd name="T1" fmla="*/ 0 h 5"/>
                    <a:gd name="T2" fmla="*/ 0 w 5"/>
                    <a:gd name="T3" fmla="*/ 3 h 5"/>
                    <a:gd name="T4" fmla="*/ 2 w 5"/>
                    <a:gd name="T5" fmla="*/ 5 h 5"/>
                    <a:gd name="T6" fmla="*/ 3 w 5"/>
                    <a:gd name="T7" fmla="*/ 5 h 5"/>
                    <a:gd name="T8" fmla="*/ 5 w 5"/>
                    <a:gd name="T9" fmla="*/ 3 h 5"/>
                    <a:gd name="T10" fmla="*/ 4 w 5"/>
                    <a:gd name="T11" fmla="*/ 1 h 5"/>
                    <a:gd name="T12" fmla="*/ 3 w 5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5">
                      <a:moveTo>
                        <a:pt x="3" y="0"/>
                      </a:move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5" y="3"/>
                      </a:lnTo>
                      <a:lnTo>
                        <a:pt x="4" y="1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01" name="Freeform 803">
                  <a:extLst>
                    <a:ext uri="{FF2B5EF4-FFF2-40B4-BE49-F238E27FC236}">
                      <a16:creationId xmlns:a16="http://schemas.microsoft.com/office/drawing/2014/main" id="{673EE63A-EA69-46CE-8851-BCA7C81AB4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60" y="2509"/>
                  <a:ext cx="3" cy="4"/>
                </a:xfrm>
                <a:custGeom>
                  <a:avLst/>
                  <a:gdLst>
                    <a:gd name="T0" fmla="*/ 0 w 4"/>
                    <a:gd name="T1" fmla="*/ 2 h 5"/>
                    <a:gd name="T2" fmla="*/ 2 w 4"/>
                    <a:gd name="T3" fmla="*/ 5 h 5"/>
                    <a:gd name="T4" fmla="*/ 3 w 4"/>
                    <a:gd name="T5" fmla="*/ 4 h 5"/>
                    <a:gd name="T6" fmla="*/ 4 w 4"/>
                    <a:gd name="T7" fmla="*/ 1 h 5"/>
                    <a:gd name="T8" fmla="*/ 2 w 4"/>
                    <a:gd name="T9" fmla="*/ 0 h 5"/>
                    <a:gd name="T10" fmla="*/ 0 w 4"/>
                    <a:gd name="T11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5">
                      <a:moveTo>
                        <a:pt x="0" y="2"/>
                      </a:move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5"/>
                        <a:pt x="3" y="4"/>
                        <a:pt x="3" y="4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02" name="Freeform 804">
                  <a:extLst>
                    <a:ext uri="{FF2B5EF4-FFF2-40B4-BE49-F238E27FC236}">
                      <a16:creationId xmlns:a16="http://schemas.microsoft.com/office/drawing/2014/main" id="{C2F0E62E-5942-49FF-80A2-7A78694396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4" y="2539"/>
                  <a:ext cx="2" cy="3"/>
                </a:xfrm>
                <a:custGeom>
                  <a:avLst/>
                  <a:gdLst>
                    <a:gd name="T0" fmla="*/ 0 w 2"/>
                    <a:gd name="T1" fmla="*/ 2 h 3"/>
                    <a:gd name="T2" fmla="*/ 1 w 2"/>
                    <a:gd name="T3" fmla="*/ 3 h 3"/>
                    <a:gd name="T4" fmla="*/ 2 w 2"/>
                    <a:gd name="T5" fmla="*/ 3 h 3"/>
                    <a:gd name="T6" fmla="*/ 1 w 2"/>
                    <a:gd name="T7" fmla="*/ 0 h 3"/>
                    <a:gd name="T8" fmla="*/ 0 w 2"/>
                    <a:gd name="T9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0" y="2"/>
                      </a:move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03" name="Freeform 805">
                  <a:extLst>
                    <a:ext uri="{FF2B5EF4-FFF2-40B4-BE49-F238E27FC236}">
                      <a16:creationId xmlns:a16="http://schemas.microsoft.com/office/drawing/2014/main" id="{A1A3AADF-453E-423B-8284-4F8B44E5EB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6" y="2539"/>
                  <a:ext cx="6" cy="7"/>
                </a:xfrm>
                <a:custGeom>
                  <a:avLst/>
                  <a:gdLst>
                    <a:gd name="T0" fmla="*/ 0 w 6"/>
                    <a:gd name="T1" fmla="*/ 0 h 7"/>
                    <a:gd name="T2" fmla="*/ 1 w 6"/>
                    <a:gd name="T3" fmla="*/ 3 h 7"/>
                    <a:gd name="T4" fmla="*/ 2 w 6"/>
                    <a:gd name="T5" fmla="*/ 6 h 7"/>
                    <a:gd name="T6" fmla="*/ 5 w 6"/>
                    <a:gd name="T7" fmla="*/ 7 h 7"/>
                    <a:gd name="T8" fmla="*/ 6 w 6"/>
                    <a:gd name="T9" fmla="*/ 5 h 7"/>
                    <a:gd name="T10" fmla="*/ 3 w 6"/>
                    <a:gd name="T11" fmla="*/ 1 h 7"/>
                    <a:gd name="T12" fmla="*/ 0 w 6"/>
                    <a:gd name="T13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7">
                      <a:moveTo>
                        <a:pt x="0" y="0"/>
                      </a:moveTo>
                      <a:lnTo>
                        <a:pt x="1" y="3"/>
                      </a:lnTo>
                      <a:lnTo>
                        <a:pt x="2" y="6"/>
                      </a:lnTo>
                      <a:lnTo>
                        <a:pt x="5" y="7"/>
                      </a:lnTo>
                      <a:lnTo>
                        <a:pt x="6" y="5"/>
                      </a:lnTo>
                      <a:lnTo>
                        <a:pt x="3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04" name="Freeform 806">
                  <a:extLst>
                    <a:ext uri="{FF2B5EF4-FFF2-40B4-BE49-F238E27FC236}">
                      <a16:creationId xmlns:a16="http://schemas.microsoft.com/office/drawing/2014/main" id="{9AE512E7-E0AC-46EE-BFDA-B54461A715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4" y="2514"/>
                  <a:ext cx="3" cy="4"/>
                </a:xfrm>
                <a:custGeom>
                  <a:avLst/>
                  <a:gdLst>
                    <a:gd name="T0" fmla="*/ 1 w 3"/>
                    <a:gd name="T1" fmla="*/ 0 h 4"/>
                    <a:gd name="T2" fmla="*/ 0 w 3"/>
                    <a:gd name="T3" fmla="*/ 2 h 4"/>
                    <a:gd name="T4" fmla="*/ 1 w 3"/>
                    <a:gd name="T5" fmla="*/ 4 h 4"/>
                    <a:gd name="T6" fmla="*/ 3 w 3"/>
                    <a:gd name="T7" fmla="*/ 3 h 4"/>
                    <a:gd name="T8" fmla="*/ 1 w 3"/>
                    <a:gd name="T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1" y="0"/>
                      </a:moveTo>
                      <a:lnTo>
                        <a:pt x="0" y="2"/>
                      </a:lnTo>
                      <a:lnTo>
                        <a:pt x="1" y="4"/>
                      </a:lnTo>
                      <a:lnTo>
                        <a:pt x="3" y="3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05" name="Freeform 807">
                  <a:extLst>
                    <a:ext uri="{FF2B5EF4-FFF2-40B4-BE49-F238E27FC236}">
                      <a16:creationId xmlns:a16="http://schemas.microsoft.com/office/drawing/2014/main" id="{E499AB4C-455C-4C00-B81E-0F9C8B8DC5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37" y="2359"/>
                  <a:ext cx="106" cy="158"/>
                </a:xfrm>
                <a:custGeom>
                  <a:avLst/>
                  <a:gdLst>
                    <a:gd name="T0" fmla="*/ 43 w 106"/>
                    <a:gd name="T1" fmla="*/ 59 h 158"/>
                    <a:gd name="T2" fmla="*/ 1 w 106"/>
                    <a:gd name="T3" fmla="*/ 111 h 158"/>
                    <a:gd name="T4" fmla="*/ 13 w 106"/>
                    <a:gd name="T5" fmla="*/ 139 h 158"/>
                    <a:gd name="T6" fmla="*/ 19 w 106"/>
                    <a:gd name="T7" fmla="*/ 158 h 158"/>
                    <a:gd name="T8" fmla="*/ 22 w 106"/>
                    <a:gd name="T9" fmla="*/ 158 h 158"/>
                    <a:gd name="T10" fmla="*/ 26 w 106"/>
                    <a:gd name="T11" fmla="*/ 155 h 158"/>
                    <a:gd name="T12" fmla="*/ 34 w 106"/>
                    <a:gd name="T13" fmla="*/ 152 h 158"/>
                    <a:gd name="T14" fmla="*/ 40 w 106"/>
                    <a:gd name="T15" fmla="*/ 151 h 158"/>
                    <a:gd name="T16" fmla="*/ 43 w 106"/>
                    <a:gd name="T17" fmla="*/ 152 h 158"/>
                    <a:gd name="T18" fmla="*/ 47 w 106"/>
                    <a:gd name="T19" fmla="*/ 145 h 158"/>
                    <a:gd name="T20" fmla="*/ 48 w 106"/>
                    <a:gd name="T21" fmla="*/ 143 h 158"/>
                    <a:gd name="T22" fmla="*/ 47 w 106"/>
                    <a:gd name="T23" fmla="*/ 141 h 158"/>
                    <a:gd name="T24" fmla="*/ 48 w 106"/>
                    <a:gd name="T25" fmla="*/ 136 h 158"/>
                    <a:gd name="T26" fmla="*/ 54 w 106"/>
                    <a:gd name="T27" fmla="*/ 135 h 158"/>
                    <a:gd name="T28" fmla="*/ 60 w 106"/>
                    <a:gd name="T29" fmla="*/ 135 h 158"/>
                    <a:gd name="T30" fmla="*/ 64 w 106"/>
                    <a:gd name="T31" fmla="*/ 131 h 158"/>
                    <a:gd name="T32" fmla="*/ 69 w 106"/>
                    <a:gd name="T33" fmla="*/ 117 h 158"/>
                    <a:gd name="T34" fmla="*/ 74 w 106"/>
                    <a:gd name="T35" fmla="*/ 117 h 158"/>
                    <a:gd name="T36" fmla="*/ 82 w 106"/>
                    <a:gd name="T37" fmla="*/ 116 h 158"/>
                    <a:gd name="T38" fmla="*/ 81 w 106"/>
                    <a:gd name="T39" fmla="*/ 113 h 158"/>
                    <a:gd name="T40" fmla="*/ 81 w 106"/>
                    <a:gd name="T41" fmla="*/ 107 h 158"/>
                    <a:gd name="T42" fmla="*/ 79 w 106"/>
                    <a:gd name="T43" fmla="*/ 103 h 158"/>
                    <a:gd name="T44" fmla="*/ 80 w 106"/>
                    <a:gd name="T45" fmla="*/ 97 h 158"/>
                    <a:gd name="T46" fmla="*/ 84 w 106"/>
                    <a:gd name="T47" fmla="*/ 92 h 158"/>
                    <a:gd name="T48" fmla="*/ 84 w 106"/>
                    <a:gd name="T49" fmla="*/ 90 h 158"/>
                    <a:gd name="T50" fmla="*/ 87 w 106"/>
                    <a:gd name="T51" fmla="*/ 84 h 158"/>
                    <a:gd name="T52" fmla="*/ 87 w 106"/>
                    <a:gd name="T53" fmla="*/ 86 h 158"/>
                    <a:gd name="T54" fmla="*/ 88 w 106"/>
                    <a:gd name="T55" fmla="*/ 90 h 158"/>
                    <a:gd name="T56" fmla="*/ 92 w 106"/>
                    <a:gd name="T57" fmla="*/ 83 h 158"/>
                    <a:gd name="T58" fmla="*/ 95 w 106"/>
                    <a:gd name="T59" fmla="*/ 77 h 158"/>
                    <a:gd name="T60" fmla="*/ 103 w 106"/>
                    <a:gd name="T61" fmla="*/ 64 h 158"/>
                    <a:gd name="T62" fmla="*/ 104 w 106"/>
                    <a:gd name="T63" fmla="*/ 59 h 158"/>
                    <a:gd name="T64" fmla="*/ 106 w 106"/>
                    <a:gd name="T65" fmla="*/ 52 h 158"/>
                    <a:gd name="T66" fmla="*/ 102 w 106"/>
                    <a:gd name="T67" fmla="*/ 50 h 158"/>
                    <a:gd name="T68" fmla="*/ 95 w 106"/>
                    <a:gd name="T69" fmla="*/ 42 h 158"/>
                    <a:gd name="T70" fmla="*/ 92 w 106"/>
                    <a:gd name="T71" fmla="*/ 35 h 158"/>
                    <a:gd name="T72" fmla="*/ 86 w 106"/>
                    <a:gd name="T73" fmla="*/ 28 h 158"/>
                    <a:gd name="T74" fmla="*/ 76 w 106"/>
                    <a:gd name="T75" fmla="*/ 28 h 158"/>
                    <a:gd name="T76" fmla="*/ 72 w 106"/>
                    <a:gd name="T77" fmla="*/ 29 h 158"/>
                    <a:gd name="T78" fmla="*/ 61 w 106"/>
                    <a:gd name="T79" fmla="*/ 20 h 158"/>
                    <a:gd name="T80" fmla="*/ 55 w 106"/>
                    <a:gd name="T81" fmla="*/ 10 h 158"/>
                    <a:gd name="T82" fmla="*/ 52 w 106"/>
                    <a:gd name="T83" fmla="*/ 1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06" h="158">
                      <a:moveTo>
                        <a:pt x="40" y="46"/>
                      </a:moveTo>
                      <a:lnTo>
                        <a:pt x="43" y="59"/>
                      </a:lnTo>
                      <a:lnTo>
                        <a:pt x="41" y="97"/>
                      </a:lnTo>
                      <a:lnTo>
                        <a:pt x="1" y="111"/>
                      </a:lnTo>
                      <a:lnTo>
                        <a:pt x="0" y="119"/>
                      </a:lnTo>
                      <a:lnTo>
                        <a:pt x="13" y="139"/>
                      </a:lnTo>
                      <a:lnTo>
                        <a:pt x="11" y="146"/>
                      </a:lnTo>
                      <a:lnTo>
                        <a:pt x="19" y="158"/>
                      </a:lnTo>
                      <a:lnTo>
                        <a:pt x="21" y="157"/>
                      </a:lnTo>
                      <a:lnTo>
                        <a:pt x="22" y="158"/>
                      </a:lnTo>
                      <a:lnTo>
                        <a:pt x="25" y="158"/>
                      </a:lnTo>
                      <a:lnTo>
                        <a:pt x="26" y="155"/>
                      </a:lnTo>
                      <a:lnTo>
                        <a:pt x="29" y="155"/>
                      </a:lnTo>
                      <a:lnTo>
                        <a:pt x="34" y="152"/>
                      </a:lnTo>
                      <a:lnTo>
                        <a:pt x="37" y="152"/>
                      </a:lnTo>
                      <a:lnTo>
                        <a:pt x="40" y="151"/>
                      </a:lnTo>
                      <a:lnTo>
                        <a:pt x="42" y="152"/>
                      </a:lnTo>
                      <a:lnTo>
                        <a:pt x="43" y="152"/>
                      </a:lnTo>
                      <a:lnTo>
                        <a:pt x="47" y="146"/>
                      </a:lnTo>
                      <a:lnTo>
                        <a:pt x="47" y="145"/>
                      </a:lnTo>
                      <a:lnTo>
                        <a:pt x="47" y="145"/>
                      </a:lnTo>
                      <a:lnTo>
                        <a:pt x="48" y="143"/>
                      </a:lnTo>
                      <a:lnTo>
                        <a:pt x="47" y="142"/>
                      </a:lnTo>
                      <a:lnTo>
                        <a:pt x="47" y="141"/>
                      </a:lnTo>
                      <a:lnTo>
                        <a:pt x="47" y="138"/>
                      </a:lnTo>
                      <a:lnTo>
                        <a:pt x="48" y="136"/>
                      </a:lnTo>
                      <a:lnTo>
                        <a:pt x="50" y="134"/>
                      </a:lnTo>
                      <a:lnTo>
                        <a:pt x="54" y="135"/>
                      </a:lnTo>
                      <a:lnTo>
                        <a:pt x="58" y="134"/>
                      </a:lnTo>
                      <a:lnTo>
                        <a:pt x="60" y="135"/>
                      </a:lnTo>
                      <a:lnTo>
                        <a:pt x="62" y="131"/>
                      </a:lnTo>
                      <a:lnTo>
                        <a:pt x="64" y="131"/>
                      </a:lnTo>
                      <a:lnTo>
                        <a:pt x="64" y="125"/>
                      </a:lnTo>
                      <a:lnTo>
                        <a:pt x="69" y="117"/>
                      </a:lnTo>
                      <a:lnTo>
                        <a:pt x="72" y="117"/>
                      </a:lnTo>
                      <a:lnTo>
                        <a:pt x="74" y="117"/>
                      </a:lnTo>
                      <a:lnTo>
                        <a:pt x="75" y="117"/>
                      </a:lnTo>
                      <a:lnTo>
                        <a:pt x="82" y="116"/>
                      </a:lnTo>
                      <a:lnTo>
                        <a:pt x="83" y="114"/>
                      </a:lnTo>
                      <a:lnTo>
                        <a:pt x="81" y="113"/>
                      </a:lnTo>
                      <a:lnTo>
                        <a:pt x="80" y="107"/>
                      </a:lnTo>
                      <a:lnTo>
                        <a:pt x="81" y="107"/>
                      </a:lnTo>
                      <a:lnTo>
                        <a:pt x="79" y="103"/>
                      </a:lnTo>
                      <a:lnTo>
                        <a:pt x="79" y="103"/>
                      </a:lnTo>
                      <a:lnTo>
                        <a:pt x="80" y="100"/>
                      </a:lnTo>
                      <a:lnTo>
                        <a:pt x="80" y="97"/>
                      </a:lnTo>
                      <a:lnTo>
                        <a:pt x="82" y="92"/>
                      </a:lnTo>
                      <a:lnTo>
                        <a:pt x="84" y="92"/>
                      </a:lnTo>
                      <a:lnTo>
                        <a:pt x="83" y="90"/>
                      </a:lnTo>
                      <a:lnTo>
                        <a:pt x="84" y="90"/>
                      </a:lnTo>
                      <a:lnTo>
                        <a:pt x="85" y="86"/>
                      </a:lnTo>
                      <a:lnTo>
                        <a:pt x="87" y="84"/>
                      </a:lnTo>
                      <a:lnTo>
                        <a:pt x="88" y="85"/>
                      </a:lnTo>
                      <a:lnTo>
                        <a:pt x="87" y="86"/>
                      </a:lnTo>
                      <a:lnTo>
                        <a:pt x="87" y="88"/>
                      </a:lnTo>
                      <a:lnTo>
                        <a:pt x="88" y="90"/>
                      </a:lnTo>
                      <a:lnTo>
                        <a:pt x="90" y="90"/>
                      </a:lnTo>
                      <a:lnTo>
                        <a:pt x="92" y="83"/>
                      </a:lnTo>
                      <a:lnTo>
                        <a:pt x="93" y="81"/>
                      </a:lnTo>
                      <a:lnTo>
                        <a:pt x="95" y="77"/>
                      </a:lnTo>
                      <a:lnTo>
                        <a:pt x="99" y="74"/>
                      </a:lnTo>
                      <a:lnTo>
                        <a:pt x="103" y="64"/>
                      </a:lnTo>
                      <a:lnTo>
                        <a:pt x="104" y="61"/>
                      </a:lnTo>
                      <a:lnTo>
                        <a:pt x="104" y="59"/>
                      </a:lnTo>
                      <a:lnTo>
                        <a:pt x="106" y="55"/>
                      </a:lnTo>
                      <a:lnTo>
                        <a:pt x="106" y="52"/>
                      </a:lnTo>
                      <a:lnTo>
                        <a:pt x="105" y="51"/>
                      </a:lnTo>
                      <a:lnTo>
                        <a:pt x="102" y="50"/>
                      </a:lnTo>
                      <a:lnTo>
                        <a:pt x="97" y="45"/>
                      </a:lnTo>
                      <a:lnTo>
                        <a:pt x="95" y="42"/>
                      </a:lnTo>
                      <a:lnTo>
                        <a:pt x="93" y="39"/>
                      </a:lnTo>
                      <a:lnTo>
                        <a:pt x="92" y="35"/>
                      </a:lnTo>
                      <a:lnTo>
                        <a:pt x="88" y="28"/>
                      </a:lnTo>
                      <a:lnTo>
                        <a:pt x="86" y="28"/>
                      </a:lnTo>
                      <a:lnTo>
                        <a:pt x="83" y="29"/>
                      </a:lnTo>
                      <a:lnTo>
                        <a:pt x="76" y="28"/>
                      </a:lnTo>
                      <a:lnTo>
                        <a:pt x="74" y="28"/>
                      </a:lnTo>
                      <a:lnTo>
                        <a:pt x="72" y="29"/>
                      </a:lnTo>
                      <a:lnTo>
                        <a:pt x="68" y="28"/>
                      </a:lnTo>
                      <a:lnTo>
                        <a:pt x="61" y="20"/>
                      </a:lnTo>
                      <a:lnTo>
                        <a:pt x="60" y="17"/>
                      </a:lnTo>
                      <a:lnTo>
                        <a:pt x="55" y="10"/>
                      </a:lnTo>
                      <a:lnTo>
                        <a:pt x="54" y="0"/>
                      </a:lnTo>
                      <a:lnTo>
                        <a:pt x="52" y="1"/>
                      </a:lnTo>
                      <a:lnTo>
                        <a:pt x="40" y="4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24" name="Group 1009">
                <a:extLst>
                  <a:ext uri="{FF2B5EF4-FFF2-40B4-BE49-F238E27FC236}">
                    <a16:creationId xmlns:a16="http://schemas.microsoft.com/office/drawing/2014/main" id="{F594933D-6FEE-4FC9-87EA-2187DAE78CB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135438" y="1103313"/>
                <a:ext cx="5473700" cy="5022850"/>
                <a:chOff x="2605" y="695"/>
                <a:chExt cx="3448" cy="3164"/>
              </a:xfrm>
              <a:grpFill/>
            </p:grpSpPr>
            <p:sp>
              <p:nvSpPr>
                <p:cNvPr id="706" name="Freeform 809">
                  <a:extLst>
                    <a:ext uri="{FF2B5EF4-FFF2-40B4-BE49-F238E27FC236}">
                      <a16:creationId xmlns:a16="http://schemas.microsoft.com/office/drawing/2014/main" id="{4A5C8855-2B75-4896-8578-68159A8EE7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5" y="2338"/>
                  <a:ext cx="6" cy="14"/>
                </a:xfrm>
                <a:custGeom>
                  <a:avLst/>
                  <a:gdLst>
                    <a:gd name="T0" fmla="*/ 2 w 6"/>
                    <a:gd name="T1" fmla="*/ 14 h 14"/>
                    <a:gd name="T2" fmla="*/ 4 w 6"/>
                    <a:gd name="T3" fmla="*/ 14 h 14"/>
                    <a:gd name="T4" fmla="*/ 4 w 6"/>
                    <a:gd name="T5" fmla="*/ 12 h 14"/>
                    <a:gd name="T6" fmla="*/ 5 w 6"/>
                    <a:gd name="T7" fmla="*/ 10 h 14"/>
                    <a:gd name="T8" fmla="*/ 6 w 6"/>
                    <a:gd name="T9" fmla="*/ 5 h 14"/>
                    <a:gd name="T10" fmla="*/ 5 w 6"/>
                    <a:gd name="T11" fmla="*/ 4 h 14"/>
                    <a:gd name="T12" fmla="*/ 6 w 6"/>
                    <a:gd name="T13" fmla="*/ 3 h 14"/>
                    <a:gd name="T14" fmla="*/ 5 w 6"/>
                    <a:gd name="T15" fmla="*/ 1 h 14"/>
                    <a:gd name="T16" fmla="*/ 6 w 6"/>
                    <a:gd name="T17" fmla="*/ 0 h 14"/>
                    <a:gd name="T18" fmla="*/ 6 w 6"/>
                    <a:gd name="T19" fmla="*/ 1 h 14"/>
                    <a:gd name="T20" fmla="*/ 6 w 6"/>
                    <a:gd name="T21" fmla="*/ 0 h 14"/>
                    <a:gd name="T22" fmla="*/ 4 w 6"/>
                    <a:gd name="T23" fmla="*/ 0 h 14"/>
                    <a:gd name="T24" fmla="*/ 3 w 6"/>
                    <a:gd name="T25" fmla="*/ 0 h 14"/>
                    <a:gd name="T26" fmla="*/ 2 w 6"/>
                    <a:gd name="T27" fmla="*/ 4 h 14"/>
                    <a:gd name="T28" fmla="*/ 2 w 6"/>
                    <a:gd name="T29" fmla="*/ 6 h 14"/>
                    <a:gd name="T30" fmla="*/ 1 w 6"/>
                    <a:gd name="T31" fmla="*/ 4 h 14"/>
                    <a:gd name="T32" fmla="*/ 0 w 6"/>
                    <a:gd name="T33" fmla="*/ 6 h 14"/>
                    <a:gd name="T34" fmla="*/ 0 w 6"/>
                    <a:gd name="T35" fmla="*/ 7 h 14"/>
                    <a:gd name="T36" fmla="*/ 2 w 6"/>
                    <a:gd name="T37" fmla="*/ 8 h 14"/>
                    <a:gd name="T38" fmla="*/ 2 w 6"/>
                    <a:gd name="T39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" h="14">
                      <a:moveTo>
                        <a:pt x="2" y="14"/>
                      </a:moveTo>
                      <a:lnTo>
                        <a:pt x="4" y="14"/>
                      </a:lnTo>
                      <a:lnTo>
                        <a:pt x="4" y="12"/>
                      </a:lnTo>
                      <a:lnTo>
                        <a:pt x="5" y="10"/>
                      </a:lnTo>
                      <a:lnTo>
                        <a:pt x="6" y="5"/>
                      </a:lnTo>
                      <a:lnTo>
                        <a:pt x="5" y="4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6" y="0"/>
                      </a:lnTo>
                      <a:lnTo>
                        <a:pt x="6" y="1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1" y="4"/>
                      </a:lnTo>
                      <a:lnTo>
                        <a:pt x="0" y="6"/>
                      </a:lnTo>
                      <a:lnTo>
                        <a:pt x="0" y="7"/>
                      </a:lnTo>
                      <a:lnTo>
                        <a:pt x="2" y="8"/>
                      </a:lnTo>
                      <a:lnTo>
                        <a:pt x="2" y="1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07" name="Freeform 810">
                  <a:extLst>
                    <a:ext uri="{FF2B5EF4-FFF2-40B4-BE49-F238E27FC236}">
                      <a16:creationId xmlns:a16="http://schemas.microsoft.com/office/drawing/2014/main" id="{9A9FF272-5356-40EC-8F2B-73D4A82D7F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05" y="2470"/>
                  <a:ext cx="151" cy="118"/>
                </a:xfrm>
                <a:custGeom>
                  <a:avLst/>
                  <a:gdLst>
                    <a:gd name="T0" fmla="*/ 132 w 151"/>
                    <a:gd name="T1" fmla="*/ 8 h 118"/>
                    <a:gd name="T2" fmla="*/ 79 w 151"/>
                    <a:gd name="T3" fmla="*/ 19 h 118"/>
                    <a:gd name="T4" fmla="*/ 53 w 151"/>
                    <a:gd name="T5" fmla="*/ 45 h 118"/>
                    <a:gd name="T6" fmla="*/ 29 w 151"/>
                    <a:gd name="T7" fmla="*/ 32 h 118"/>
                    <a:gd name="T8" fmla="*/ 16 w 151"/>
                    <a:gd name="T9" fmla="*/ 27 h 118"/>
                    <a:gd name="T10" fmla="*/ 9 w 151"/>
                    <a:gd name="T11" fmla="*/ 37 h 118"/>
                    <a:gd name="T12" fmla="*/ 9 w 151"/>
                    <a:gd name="T13" fmla="*/ 47 h 118"/>
                    <a:gd name="T14" fmla="*/ 5 w 151"/>
                    <a:gd name="T15" fmla="*/ 49 h 118"/>
                    <a:gd name="T16" fmla="*/ 3 w 151"/>
                    <a:gd name="T17" fmla="*/ 51 h 118"/>
                    <a:gd name="T18" fmla="*/ 4 w 151"/>
                    <a:gd name="T19" fmla="*/ 65 h 118"/>
                    <a:gd name="T20" fmla="*/ 2 w 151"/>
                    <a:gd name="T21" fmla="*/ 67 h 118"/>
                    <a:gd name="T22" fmla="*/ 2 w 151"/>
                    <a:gd name="T23" fmla="*/ 68 h 118"/>
                    <a:gd name="T24" fmla="*/ 3 w 151"/>
                    <a:gd name="T25" fmla="*/ 72 h 118"/>
                    <a:gd name="T26" fmla="*/ 8 w 151"/>
                    <a:gd name="T27" fmla="*/ 92 h 118"/>
                    <a:gd name="T28" fmla="*/ 12 w 151"/>
                    <a:gd name="T29" fmla="*/ 101 h 118"/>
                    <a:gd name="T30" fmla="*/ 12 w 151"/>
                    <a:gd name="T31" fmla="*/ 107 h 118"/>
                    <a:gd name="T32" fmla="*/ 16 w 151"/>
                    <a:gd name="T33" fmla="*/ 115 h 118"/>
                    <a:gd name="T34" fmla="*/ 19 w 151"/>
                    <a:gd name="T35" fmla="*/ 117 h 118"/>
                    <a:gd name="T36" fmla="*/ 24 w 151"/>
                    <a:gd name="T37" fmla="*/ 117 h 118"/>
                    <a:gd name="T38" fmla="*/ 30 w 151"/>
                    <a:gd name="T39" fmla="*/ 114 h 118"/>
                    <a:gd name="T40" fmla="*/ 34 w 151"/>
                    <a:gd name="T41" fmla="*/ 116 h 118"/>
                    <a:gd name="T42" fmla="*/ 39 w 151"/>
                    <a:gd name="T43" fmla="*/ 110 h 118"/>
                    <a:gd name="T44" fmla="*/ 42 w 151"/>
                    <a:gd name="T45" fmla="*/ 106 h 118"/>
                    <a:gd name="T46" fmla="*/ 47 w 151"/>
                    <a:gd name="T47" fmla="*/ 102 h 118"/>
                    <a:gd name="T48" fmla="*/ 51 w 151"/>
                    <a:gd name="T49" fmla="*/ 103 h 118"/>
                    <a:gd name="T50" fmla="*/ 55 w 151"/>
                    <a:gd name="T51" fmla="*/ 104 h 118"/>
                    <a:gd name="T52" fmla="*/ 64 w 151"/>
                    <a:gd name="T53" fmla="*/ 102 h 118"/>
                    <a:gd name="T54" fmla="*/ 71 w 151"/>
                    <a:gd name="T55" fmla="*/ 99 h 118"/>
                    <a:gd name="T56" fmla="*/ 77 w 151"/>
                    <a:gd name="T57" fmla="*/ 92 h 118"/>
                    <a:gd name="T58" fmla="*/ 81 w 151"/>
                    <a:gd name="T59" fmla="*/ 94 h 118"/>
                    <a:gd name="T60" fmla="*/ 85 w 151"/>
                    <a:gd name="T61" fmla="*/ 92 h 118"/>
                    <a:gd name="T62" fmla="*/ 87 w 151"/>
                    <a:gd name="T63" fmla="*/ 93 h 118"/>
                    <a:gd name="T64" fmla="*/ 94 w 151"/>
                    <a:gd name="T65" fmla="*/ 83 h 118"/>
                    <a:gd name="T66" fmla="*/ 99 w 151"/>
                    <a:gd name="T67" fmla="*/ 82 h 118"/>
                    <a:gd name="T68" fmla="*/ 116 w 151"/>
                    <a:gd name="T69" fmla="*/ 75 h 118"/>
                    <a:gd name="T70" fmla="*/ 130 w 151"/>
                    <a:gd name="T71" fmla="*/ 69 h 118"/>
                    <a:gd name="T72" fmla="*/ 139 w 151"/>
                    <a:gd name="T73" fmla="*/ 65 h 118"/>
                    <a:gd name="T74" fmla="*/ 138 w 151"/>
                    <a:gd name="T75" fmla="*/ 62 h 118"/>
                    <a:gd name="T76" fmla="*/ 137 w 151"/>
                    <a:gd name="T77" fmla="*/ 56 h 118"/>
                    <a:gd name="T78" fmla="*/ 148 w 151"/>
                    <a:gd name="T79" fmla="*/ 48 h 118"/>
                    <a:gd name="T80" fmla="*/ 143 w 151"/>
                    <a:gd name="T81" fmla="*/ 35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51" h="118">
                      <a:moveTo>
                        <a:pt x="145" y="28"/>
                      </a:moveTo>
                      <a:lnTo>
                        <a:pt x="132" y="8"/>
                      </a:lnTo>
                      <a:lnTo>
                        <a:pt x="133" y="0"/>
                      </a:lnTo>
                      <a:lnTo>
                        <a:pt x="79" y="19"/>
                      </a:lnTo>
                      <a:lnTo>
                        <a:pt x="54" y="61"/>
                      </a:lnTo>
                      <a:lnTo>
                        <a:pt x="53" y="45"/>
                      </a:lnTo>
                      <a:lnTo>
                        <a:pt x="40" y="38"/>
                      </a:lnTo>
                      <a:lnTo>
                        <a:pt x="29" y="32"/>
                      </a:lnTo>
                      <a:lnTo>
                        <a:pt x="19" y="32"/>
                      </a:lnTo>
                      <a:lnTo>
                        <a:pt x="16" y="27"/>
                      </a:lnTo>
                      <a:lnTo>
                        <a:pt x="12" y="30"/>
                      </a:lnTo>
                      <a:lnTo>
                        <a:pt x="9" y="37"/>
                      </a:lnTo>
                      <a:lnTo>
                        <a:pt x="12" y="44"/>
                      </a:lnTo>
                      <a:lnTo>
                        <a:pt x="9" y="47"/>
                      </a:lnTo>
                      <a:lnTo>
                        <a:pt x="7" y="50"/>
                      </a:lnTo>
                      <a:lnTo>
                        <a:pt x="5" y="49"/>
                      </a:lnTo>
                      <a:lnTo>
                        <a:pt x="2" y="48"/>
                      </a:lnTo>
                      <a:lnTo>
                        <a:pt x="3" y="51"/>
                      </a:lnTo>
                      <a:lnTo>
                        <a:pt x="5" y="60"/>
                      </a:lnTo>
                      <a:lnTo>
                        <a:pt x="4" y="65"/>
                      </a:lnTo>
                      <a:lnTo>
                        <a:pt x="2" y="65"/>
                      </a:lnTo>
                      <a:lnTo>
                        <a:pt x="2" y="67"/>
                      </a:lnTo>
                      <a:lnTo>
                        <a:pt x="0" y="66"/>
                      </a:lnTo>
                      <a:lnTo>
                        <a:pt x="2" y="68"/>
                      </a:lnTo>
                      <a:lnTo>
                        <a:pt x="3" y="68"/>
                      </a:lnTo>
                      <a:lnTo>
                        <a:pt x="3" y="72"/>
                      </a:lnTo>
                      <a:lnTo>
                        <a:pt x="6" y="76"/>
                      </a:lnTo>
                      <a:lnTo>
                        <a:pt x="8" y="92"/>
                      </a:lnTo>
                      <a:lnTo>
                        <a:pt x="12" y="96"/>
                      </a:lnTo>
                      <a:lnTo>
                        <a:pt x="12" y="101"/>
                      </a:lnTo>
                      <a:lnTo>
                        <a:pt x="11" y="103"/>
                      </a:lnTo>
                      <a:lnTo>
                        <a:pt x="12" y="107"/>
                      </a:lnTo>
                      <a:lnTo>
                        <a:pt x="15" y="111"/>
                      </a:lnTo>
                      <a:lnTo>
                        <a:pt x="16" y="115"/>
                      </a:lnTo>
                      <a:lnTo>
                        <a:pt x="17" y="118"/>
                      </a:lnTo>
                      <a:lnTo>
                        <a:pt x="19" y="117"/>
                      </a:lnTo>
                      <a:lnTo>
                        <a:pt x="20" y="116"/>
                      </a:lnTo>
                      <a:lnTo>
                        <a:pt x="24" y="117"/>
                      </a:lnTo>
                      <a:lnTo>
                        <a:pt x="26" y="117"/>
                      </a:lnTo>
                      <a:lnTo>
                        <a:pt x="30" y="114"/>
                      </a:lnTo>
                      <a:lnTo>
                        <a:pt x="33" y="114"/>
                      </a:lnTo>
                      <a:lnTo>
                        <a:pt x="34" y="116"/>
                      </a:lnTo>
                      <a:lnTo>
                        <a:pt x="37" y="114"/>
                      </a:lnTo>
                      <a:lnTo>
                        <a:pt x="39" y="110"/>
                      </a:lnTo>
                      <a:lnTo>
                        <a:pt x="40" y="110"/>
                      </a:lnTo>
                      <a:lnTo>
                        <a:pt x="42" y="106"/>
                      </a:lnTo>
                      <a:lnTo>
                        <a:pt x="46" y="103"/>
                      </a:lnTo>
                      <a:lnTo>
                        <a:pt x="47" y="102"/>
                      </a:lnTo>
                      <a:lnTo>
                        <a:pt x="50" y="102"/>
                      </a:lnTo>
                      <a:lnTo>
                        <a:pt x="51" y="103"/>
                      </a:lnTo>
                      <a:lnTo>
                        <a:pt x="54" y="103"/>
                      </a:lnTo>
                      <a:lnTo>
                        <a:pt x="55" y="104"/>
                      </a:lnTo>
                      <a:lnTo>
                        <a:pt x="58" y="105"/>
                      </a:lnTo>
                      <a:lnTo>
                        <a:pt x="64" y="102"/>
                      </a:lnTo>
                      <a:lnTo>
                        <a:pt x="70" y="101"/>
                      </a:lnTo>
                      <a:lnTo>
                        <a:pt x="71" y="99"/>
                      </a:lnTo>
                      <a:lnTo>
                        <a:pt x="72" y="97"/>
                      </a:lnTo>
                      <a:lnTo>
                        <a:pt x="77" y="92"/>
                      </a:lnTo>
                      <a:lnTo>
                        <a:pt x="79" y="92"/>
                      </a:lnTo>
                      <a:lnTo>
                        <a:pt x="81" y="94"/>
                      </a:lnTo>
                      <a:lnTo>
                        <a:pt x="83" y="94"/>
                      </a:lnTo>
                      <a:lnTo>
                        <a:pt x="85" y="92"/>
                      </a:lnTo>
                      <a:lnTo>
                        <a:pt x="85" y="93"/>
                      </a:lnTo>
                      <a:lnTo>
                        <a:pt x="87" y="93"/>
                      </a:lnTo>
                      <a:lnTo>
                        <a:pt x="92" y="89"/>
                      </a:lnTo>
                      <a:lnTo>
                        <a:pt x="94" y="83"/>
                      </a:lnTo>
                      <a:lnTo>
                        <a:pt x="97" y="82"/>
                      </a:lnTo>
                      <a:lnTo>
                        <a:pt x="99" y="82"/>
                      </a:lnTo>
                      <a:lnTo>
                        <a:pt x="114" y="76"/>
                      </a:lnTo>
                      <a:lnTo>
                        <a:pt x="116" y="75"/>
                      </a:lnTo>
                      <a:lnTo>
                        <a:pt x="124" y="73"/>
                      </a:lnTo>
                      <a:lnTo>
                        <a:pt x="130" y="69"/>
                      </a:lnTo>
                      <a:lnTo>
                        <a:pt x="133" y="66"/>
                      </a:lnTo>
                      <a:lnTo>
                        <a:pt x="139" y="65"/>
                      </a:lnTo>
                      <a:lnTo>
                        <a:pt x="138" y="63"/>
                      </a:lnTo>
                      <a:lnTo>
                        <a:pt x="138" y="62"/>
                      </a:lnTo>
                      <a:lnTo>
                        <a:pt x="137" y="61"/>
                      </a:lnTo>
                      <a:lnTo>
                        <a:pt x="137" y="56"/>
                      </a:lnTo>
                      <a:lnTo>
                        <a:pt x="143" y="49"/>
                      </a:lnTo>
                      <a:lnTo>
                        <a:pt x="148" y="48"/>
                      </a:lnTo>
                      <a:lnTo>
                        <a:pt x="151" y="47"/>
                      </a:lnTo>
                      <a:lnTo>
                        <a:pt x="143" y="35"/>
                      </a:lnTo>
                      <a:lnTo>
                        <a:pt x="145" y="2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08" name="Freeform 811">
                  <a:extLst>
                    <a:ext uri="{FF2B5EF4-FFF2-40B4-BE49-F238E27FC236}">
                      <a16:creationId xmlns:a16="http://schemas.microsoft.com/office/drawing/2014/main" id="{7E46B228-5E14-4A01-A8B6-0A8B0029C0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60" y="2586"/>
                  <a:ext cx="17" cy="8"/>
                </a:xfrm>
                <a:custGeom>
                  <a:avLst/>
                  <a:gdLst>
                    <a:gd name="T0" fmla="*/ 15 w 17"/>
                    <a:gd name="T1" fmla="*/ 2 h 8"/>
                    <a:gd name="T2" fmla="*/ 13 w 17"/>
                    <a:gd name="T3" fmla="*/ 1 h 8"/>
                    <a:gd name="T4" fmla="*/ 10 w 17"/>
                    <a:gd name="T5" fmla="*/ 1 h 8"/>
                    <a:gd name="T6" fmla="*/ 8 w 17"/>
                    <a:gd name="T7" fmla="*/ 2 h 8"/>
                    <a:gd name="T8" fmla="*/ 6 w 17"/>
                    <a:gd name="T9" fmla="*/ 1 h 8"/>
                    <a:gd name="T10" fmla="*/ 6 w 17"/>
                    <a:gd name="T11" fmla="*/ 0 h 8"/>
                    <a:gd name="T12" fmla="*/ 4 w 17"/>
                    <a:gd name="T13" fmla="*/ 0 h 8"/>
                    <a:gd name="T14" fmla="*/ 3 w 17"/>
                    <a:gd name="T15" fmla="*/ 1 h 8"/>
                    <a:gd name="T16" fmla="*/ 2 w 17"/>
                    <a:gd name="T17" fmla="*/ 4 h 8"/>
                    <a:gd name="T18" fmla="*/ 0 w 17"/>
                    <a:gd name="T19" fmla="*/ 5 h 8"/>
                    <a:gd name="T20" fmla="*/ 2 w 17"/>
                    <a:gd name="T21" fmla="*/ 6 h 8"/>
                    <a:gd name="T22" fmla="*/ 4 w 17"/>
                    <a:gd name="T23" fmla="*/ 8 h 8"/>
                    <a:gd name="T24" fmla="*/ 6 w 17"/>
                    <a:gd name="T25" fmla="*/ 8 h 8"/>
                    <a:gd name="T26" fmla="*/ 11 w 17"/>
                    <a:gd name="T27" fmla="*/ 8 h 8"/>
                    <a:gd name="T28" fmla="*/ 14 w 17"/>
                    <a:gd name="T29" fmla="*/ 5 h 8"/>
                    <a:gd name="T30" fmla="*/ 17 w 17"/>
                    <a:gd name="T31" fmla="*/ 5 h 8"/>
                    <a:gd name="T32" fmla="*/ 17 w 17"/>
                    <a:gd name="T33" fmla="*/ 4 h 8"/>
                    <a:gd name="T34" fmla="*/ 17 w 17"/>
                    <a:gd name="T35" fmla="*/ 2 h 8"/>
                    <a:gd name="T36" fmla="*/ 15 w 17"/>
                    <a:gd name="T37" fmla="*/ 2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7" h="8">
                      <a:moveTo>
                        <a:pt x="15" y="2"/>
                      </a:moveTo>
                      <a:lnTo>
                        <a:pt x="13" y="1"/>
                      </a:lnTo>
                      <a:lnTo>
                        <a:pt x="10" y="1"/>
                      </a:lnTo>
                      <a:lnTo>
                        <a:pt x="8" y="2"/>
                      </a:lnTo>
                      <a:lnTo>
                        <a:pt x="6" y="1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3" y="1"/>
                      </a:lnTo>
                      <a:lnTo>
                        <a:pt x="2" y="4"/>
                      </a:lnTo>
                      <a:lnTo>
                        <a:pt x="0" y="5"/>
                      </a:lnTo>
                      <a:lnTo>
                        <a:pt x="2" y="6"/>
                      </a:lnTo>
                      <a:lnTo>
                        <a:pt x="4" y="8"/>
                      </a:lnTo>
                      <a:lnTo>
                        <a:pt x="6" y="8"/>
                      </a:lnTo>
                      <a:lnTo>
                        <a:pt x="11" y="8"/>
                      </a:lnTo>
                      <a:lnTo>
                        <a:pt x="14" y="5"/>
                      </a:lnTo>
                      <a:lnTo>
                        <a:pt x="17" y="5"/>
                      </a:lnTo>
                      <a:lnTo>
                        <a:pt x="17" y="4"/>
                      </a:lnTo>
                      <a:lnTo>
                        <a:pt x="17" y="2"/>
                      </a:lnTo>
                      <a:lnTo>
                        <a:pt x="15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09" name="Freeform 812">
                  <a:extLst>
                    <a:ext uri="{FF2B5EF4-FFF2-40B4-BE49-F238E27FC236}">
                      <a16:creationId xmlns:a16="http://schemas.microsoft.com/office/drawing/2014/main" id="{B7DE38C8-1C47-419A-A3EA-EEF8EA0EFA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42" y="2595"/>
                  <a:ext cx="7" cy="2"/>
                </a:xfrm>
                <a:custGeom>
                  <a:avLst/>
                  <a:gdLst>
                    <a:gd name="T0" fmla="*/ 0 w 7"/>
                    <a:gd name="T1" fmla="*/ 1 h 2"/>
                    <a:gd name="T2" fmla="*/ 4 w 7"/>
                    <a:gd name="T3" fmla="*/ 2 h 2"/>
                    <a:gd name="T4" fmla="*/ 7 w 7"/>
                    <a:gd name="T5" fmla="*/ 2 h 2"/>
                    <a:gd name="T6" fmla="*/ 4 w 7"/>
                    <a:gd name="T7" fmla="*/ 0 h 2"/>
                    <a:gd name="T8" fmla="*/ 0 w 7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0" y="1"/>
                      </a:moveTo>
                      <a:lnTo>
                        <a:pt x="4" y="2"/>
                      </a:lnTo>
                      <a:lnTo>
                        <a:pt x="7" y="2"/>
                      </a:lnTo>
                      <a:lnTo>
                        <a:pt x="4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10" name="Freeform 813">
                  <a:extLst>
                    <a:ext uri="{FF2B5EF4-FFF2-40B4-BE49-F238E27FC236}">
                      <a16:creationId xmlns:a16="http://schemas.microsoft.com/office/drawing/2014/main" id="{89938CDF-6577-4F66-AEBB-39BF92F528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46" y="2246"/>
                  <a:ext cx="177" cy="178"/>
                </a:xfrm>
                <a:custGeom>
                  <a:avLst/>
                  <a:gdLst>
                    <a:gd name="T0" fmla="*/ 133 w 177"/>
                    <a:gd name="T1" fmla="*/ 16 h 178"/>
                    <a:gd name="T2" fmla="*/ 128 w 177"/>
                    <a:gd name="T3" fmla="*/ 4 h 178"/>
                    <a:gd name="T4" fmla="*/ 113 w 177"/>
                    <a:gd name="T5" fmla="*/ 6 h 178"/>
                    <a:gd name="T6" fmla="*/ 100 w 177"/>
                    <a:gd name="T7" fmla="*/ 7 h 178"/>
                    <a:gd name="T8" fmla="*/ 100 w 177"/>
                    <a:gd name="T9" fmla="*/ 9 h 178"/>
                    <a:gd name="T10" fmla="*/ 98 w 177"/>
                    <a:gd name="T11" fmla="*/ 4 h 178"/>
                    <a:gd name="T12" fmla="*/ 91 w 177"/>
                    <a:gd name="T13" fmla="*/ 2 h 178"/>
                    <a:gd name="T14" fmla="*/ 88 w 177"/>
                    <a:gd name="T15" fmla="*/ 2 h 178"/>
                    <a:gd name="T16" fmla="*/ 83 w 177"/>
                    <a:gd name="T17" fmla="*/ 3 h 178"/>
                    <a:gd name="T18" fmla="*/ 79 w 177"/>
                    <a:gd name="T19" fmla="*/ 2 h 178"/>
                    <a:gd name="T20" fmla="*/ 81 w 177"/>
                    <a:gd name="T21" fmla="*/ 2 h 178"/>
                    <a:gd name="T22" fmla="*/ 71 w 177"/>
                    <a:gd name="T23" fmla="*/ 6 h 178"/>
                    <a:gd name="T24" fmla="*/ 64 w 177"/>
                    <a:gd name="T25" fmla="*/ 12 h 178"/>
                    <a:gd name="T26" fmla="*/ 53 w 177"/>
                    <a:gd name="T27" fmla="*/ 9 h 178"/>
                    <a:gd name="T28" fmla="*/ 41 w 177"/>
                    <a:gd name="T29" fmla="*/ 6 h 178"/>
                    <a:gd name="T30" fmla="*/ 33 w 177"/>
                    <a:gd name="T31" fmla="*/ 4 h 178"/>
                    <a:gd name="T32" fmla="*/ 12 w 177"/>
                    <a:gd name="T33" fmla="*/ 0 h 178"/>
                    <a:gd name="T34" fmla="*/ 4 w 177"/>
                    <a:gd name="T35" fmla="*/ 1 h 178"/>
                    <a:gd name="T36" fmla="*/ 3 w 177"/>
                    <a:gd name="T37" fmla="*/ 15 h 178"/>
                    <a:gd name="T38" fmla="*/ 0 w 177"/>
                    <a:gd name="T39" fmla="*/ 30 h 178"/>
                    <a:gd name="T40" fmla="*/ 8 w 177"/>
                    <a:gd name="T41" fmla="*/ 178 h 178"/>
                    <a:gd name="T42" fmla="*/ 174 w 177"/>
                    <a:gd name="T43" fmla="*/ 175 h 178"/>
                    <a:gd name="T44" fmla="*/ 168 w 177"/>
                    <a:gd name="T45" fmla="*/ 168 h 178"/>
                    <a:gd name="T46" fmla="*/ 161 w 177"/>
                    <a:gd name="T47" fmla="*/ 165 h 178"/>
                    <a:gd name="T48" fmla="*/ 155 w 177"/>
                    <a:gd name="T49" fmla="*/ 150 h 178"/>
                    <a:gd name="T50" fmla="*/ 154 w 177"/>
                    <a:gd name="T51" fmla="*/ 141 h 178"/>
                    <a:gd name="T52" fmla="*/ 158 w 177"/>
                    <a:gd name="T53" fmla="*/ 141 h 178"/>
                    <a:gd name="T54" fmla="*/ 154 w 177"/>
                    <a:gd name="T55" fmla="*/ 136 h 178"/>
                    <a:gd name="T56" fmla="*/ 150 w 177"/>
                    <a:gd name="T57" fmla="*/ 130 h 178"/>
                    <a:gd name="T58" fmla="*/ 142 w 177"/>
                    <a:gd name="T59" fmla="*/ 113 h 178"/>
                    <a:gd name="T60" fmla="*/ 131 w 177"/>
                    <a:gd name="T61" fmla="*/ 92 h 178"/>
                    <a:gd name="T62" fmla="*/ 129 w 177"/>
                    <a:gd name="T63" fmla="*/ 81 h 178"/>
                    <a:gd name="T64" fmla="*/ 125 w 177"/>
                    <a:gd name="T65" fmla="*/ 69 h 178"/>
                    <a:gd name="T66" fmla="*/ 115 w 177"/>
                    <a:gd name="T67" fmla="*/ 55 h 178"/>
                    <a:gd name="T68" fmla="*/ 106 w 177"/>
                    <a:gd name="T69" fmla="*/ 40 h 178"/>
                    <a:gd name="T70" fmla="*/ 107 w 177"/>
                    <a:gd name="T71" fmla="*/ 34 h 178"/>
                    <a:gd name="T72" fmla="*/ 110 w 177"/>
                    <a:gd name="T73" fmla="*/ 39 h 178"/>
                    <a:gd name="T74" fmla="*/ 117 w 177"/>
                    <a:gd name="T75" fmla="*/ 49 h 178"/>
                    <a:gd name="T76" fmla="*/ 123 w 177"/>
                    <a:gd name="T77" fmla="*/ 58 h 178"/>
                    <a:gd name="T78" fmla="*/ 133 w 177"/>
                    <a:gd name="T79" fmla="*/ 71 h 178"/>
                    <a:gd name="T80" fmla="*/ 136 w 177"/>
                    <a:gd name="T81" fmla="*/ 68 h 178"/>
                    <a:gd name="T82" fmla="*/ 138 w 177"/>
                    <a:gd name="T83" fmla="*/ 56 h 178"/>
                    <a:gd name="T84" fmla="*/ 141 w 177"/>
                    <a:gd name="T85" fmla="*/ 42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77" h="178">
                      <a:moveTo>
                        <a:pt x="140" y="32"/>
                      </a:moveTo>
                      <a:lnTo>
                        <a:pt x="137" y="23"/>
                      </a:lnTo>
                      <a:lnTo>
                        <a:pt x="133" y="16"/>
                      </a:lnTo>
                      <a:lnTo>
                        <a:pt x="132" y="9"/>
                      </a:lnTo>
                      <a:lnTo>
                        <a:pt x="129" y="5"/>
                      </a:lnTo>
                      <a:lnTo>
                        <a:pt x="128" y="4"/>
                      </a:lnTo>
                      <a:lnTo>
                        <a:pt x="126" y="6"/>
                      </a:lnTo>
                      <a:lnTo>
                        <a:pt x="122" y="9"/>
                      </a:lnTo>
                      <a:lnTo>
                        <a:pt x="113" y="6"/>
                      </a:lnTo>
                      <a:lnTo>
                        <a:pt x="106" y="9"/>
                      </a:lnTo>
                      <a:lnTo>
                        <a:pt x="101" y="5"/>
                      </a:lnTo>
                      <a:lnTo>
                        <a:pt x="100" y="7"/>
                      </a:lnTo>
                      <a:lnTo>
                        <a:pt x="102" y="11"/>
                      </a:lnTo>
                      <a:lnTo>
                        <a:pt x="102" y="13"/>
                      </a:lnTo>
                      <a:lnTo>
                        <a:pt x="100" y="9"/>
                      </a:lnTo>
                      <a:lnTo>
                        <a:pt x="97" y="8"/>
                      </a:lnTo>
                      <a:lnTo>
                        <a:pt x="96" y="5"/>
                      </a:lnTo>
                      <a:lnTo>
                        <a:pt x="98" y="4"/>
                      </a:lnTo>
                      <a:lnTo>
                        <a:pt x="97" y="2"/>
                      </a:lnTo>
                      <a:lnTo>
                        <a:pt x="95" y="3"/>
                      </a:lnTo>
                      <a:lnTo>
                        <a:pt x="91" y="2"/>
                      </a:lnTo>
                      <a:lnTo>
                        <a:pt x="87" y="0"/>
                      </a:lnTo>
                      <a:lnTo>
                        <a:pt x="86" y="2"/>
                      </a:lnTo>
                      <a:lnTo>
                        <a:pt x="88" y="2"/>
                      </a:lnTo>
                      <a:lnTo>
                        <a:pt x="88" y="3"/>
                      </a:lnTo>
                      <a:lnTo>
                        <a:pt x="86" y="3"/>
                      </a:lnTo>
                      <a:lnTo>
                        <a:pt x="83" y="3"/>
                      </a:lnTo>
                      <a:lnTo>
                        <a:pt x="80" y="5"/>
                      </a:lnTo>
                      <a:lnTo>
                        <a:pt x="79" y="3"/>
                      </a:lnTo>
                      <a:lnTo>
                        <a:pt x="79" y="2"/>
                      </a:lnTo>
                      <a:lnTo>
                        <a:pt x="81" y="2"/>
                      </a:lnTo>
                      <a:lnTo>
                        <a:pt x="84" y="1"/>
                      </a:lnTo>
                      <a:lnTo>
                        <a:pt x="81" y="2"/>
                      </a:lnTo>
                      <a:lnTo>
                        <a:pt x="78" y="2"/>
                      </a:lnTo>
                      <a:lnTo>
                        <a:pt x="75" y="3"/>
                      </a:lnTo>
                      <a:lnTo>
                        <a:pt x="71" y="6"/>
                      </a:lnTo>
                      <a:lnTo>
                        <a:pt x="70" y="7"/>
                      </a:lnTo>
                      <a:lnTo>
                        <a:pt x="66" y="8"/>
                      </a:lnTo>
                      <a:lnTo>
                        <a:pt x="64" y="12"/>
                      </a:lnTo>
                      <a:lnTo>
                        <a:pt x="63" y="13"/>
                      </a:lnTo>
                      <a:lnTo>
                        <a:pt x="58" y="13"/>
                      </a:lnTo>
                      <a:lnTo>
                        <a:pt x="53" y="9"/>
                      </a:lnTo>
                      <a:lnTo>
                        <a:pt x="50" y="9"/>
                      </a:lnTo>
                      <a:lnTo>
                        <a:pt x="45" y="9"/>
                      </a:lnTo>
                      <a:lnTo>
                        <a:pt x="41" y="6"/>
                      </a:lnTo>
                      <a:lnTo>
                        <a:pt x="39" y="6"/>
                      </a:lnTo>
                      <a:lnTo>
                        <a:pt x="37" y="7"/>
                      </a:lnTo>
                      <a:lnTo>
                        <a:pt x="33" y="4"/>
                      </a:lnTo>
                      <a:lnTo>
                        <a:pt x="29" y="3"/>
                      </a:lnTo>
                      <a:lnTo>
                        <a:pt x="18" y="2"/>
                      </a:lnTo>
                      <a:lnTo>
                        <a:pt x="12" y="0"/>
                      </a:lnTo>
                      <a:lnTo>
                        <a:pt x="5" y="0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3" y="3"/>
                      </a:lnTo>
                      <a:lnTo>
                        <a:pt x="1" y="11"/>
                      </a:lnTo>
                      <a:lnTo>
                        <a:pt x="3" y="15"/>
                      </a:lnTo>
                      <a:lnTo>
                        <a:pt x="3" y="19"/>
                      </a:lnTo>
                      <a:lnTo>
                        <a:pt x="1" y="25"/>
                      </a:lnTo>
                      <a:lnTo>
                        <a:pt x="0" y="30"/>
                      </a:lnTo>
                      <a:lnTo>
                        <a:pt x="1" y="35"/>
                      </a:lnTo>
                      <a:lnTo>
                        <a:pt x="3" y="44"/>
                      </a:lnTo>
                      <a:lnTo>
                        <a:pt x="8" y="178"/>
                      </a:lnTo>
                      <a:lnTo>
                        <a:pt x="177" y="176"/>
                      </a:lnTo>
                      <a:lnTo>
                        <a:pt x="177" y="176"/>
                      </a:lnTo>
                      <a:lnTo>
                        <a:pt x="174" y="175"/>
                      </a:lnTo>
                      <a:lnTo>
                        <a:pt x="171" y="171"/>
                      </a:lnTo>
                      <a:lnTo>
                        <a:pt x="170" y="169"/>
                      </a:lnTo>
                      <a:lnTo>
                        <a:pt x="168" y="168"/>
                      </a:lnTo>
                      <a:lnTo>
                        <a:pt x="165" y="163"/>
                      </a:lnTo>
                      <a:lnTo>
                        <a:pt x="164" y="165"/>
                      </a:lnTo>
                      <a:lnTo>
                        <a:pt x="161" y="165"/>
                      </a:lnTo>
                      <a:lnTo>
                        <a:pt x="157" y="161"/>
                      </a:lnTo>
                      <a:lnTo>
                        <a:pt x="154" y="152"/>
                      </a:lnTo>
                      <a:lnTo>
                        <a:pt x="155" y="150"/>
                      </a:lnTo>
                      <a:lnTo>
                        <a:pt x="155" y="145"/>
                      </a:lnTo>
                      <a:lnTo>
                        <a:pt x="154" y="143"/>
                      </a:lnTo>
                      <a:lnTo>
                        <a:pt x="154" y="141"/>
                      </a:lnTo>
                      <a:lnTo>
                        <a:pt x="155" y="143"/>
                      </a:lnTo>
                      <a:lnTo>
                        <a:pt x="160" y="143"/>
                      </a:lnTo>
                      <a:lnTo>
                        <a:pt x="158" y="141"/>
                      </a:lnTo>
                      <a:lnTo>
                        <a:pt x="157" y="140"/>
                      </a:lnTo>
                      <a:lnTo>
                        <a:pt x="154" y="137"/>
                      </a:lnTo>
                      <a:lnTo>
                        <a:pt x="154" y="136"/>
                      </a:lnTo>
                      <a:lnTo>
                        <a:pt x="153" y="137"/>
                      </a:lnTo>
                      <a:lnTo>
                        <a:pt x="151" y="134"/>
                      </a:lnTo>
                      <a:lnTo>
                        <a:pt x="150" y="130"/>
                      </a:lnTo>
                      <a:lnTo>
                        <a:pt x="145" y="120"/>
                      </a:lnTo>
                      <a:lnTo>
                        <a:pt x="142" y="118"/>
                      </a:lnTo>
                      <a:lnTo>
                        <a:pt x="142" y="113"/>
                      </a:lnTo>
                      <a:lnTo>
                        <a:pt x="133" y="98"/>
                      </a:lnTo>
                      <a:lnTo>
                        <a:pt x="133" y="94"/>
                      </a:lnTo>
                      <a:lnTo>
                        <a:pt x="131" y="92"/>
                      </a:lnTo>
                      <a:lnTo>
                        <a:pt x="131" y="85"/>
                      </a:lnTo>
                      <a:lnTo>
                        <a:pt x="129" y="82"/>
                      </a:lnTo>
                      <a:lnTo>
                        <a:pt x="129" y="81"/>
                      </a:lnTo>
                      <a:lnTo>
                        <a:pt x="125" y="75"/>
                      </a:lnTo>
                      <a:lnTo>
                        <a:pt x="124" y="72"/>
                      </a:lnTo>
                      <a:lnTo>
                        <a:pt x="125" y="69"/>
                      </a:lnTo>
                      <a:lnTo>
                        <a:pt x="124" y="67"/>
                      </a:lnTo>
                      <a:lnTo>
                        <a:pt x="116" y="58"/>
                      </a:lnTo>
                      <a:lnTo>
                        <a:pt x="115" y="55"/>
                      </a:lnTo>
                      <a:lnTo>
                        <a:pt x="109" y="48"/>
                      </a:lnTo>
                      <a:lnTo>
                        <a:pt x="109" y="44"/>
                      </a:lnTo>
                      <a:lnTo>
                        <a:pt x="106" y="40"/>
                      </a:lnTo>
                      <a:lnTo>
                        <a:pt x="107" y="37"/>
                      </a:lnTo>
                      <a:lnTo>
                        <a:pt x="107" y="35"/>
                      </a:lnTo>
                      <a:lnTo>
                        <a:pt x="107" y="34"/>
                      </a:lnTo>
                      <a:lnTo>
                        <a:pt x="108" y="35"/>
                      </a:lnTo>
                      <a:lnTo>
                        <a:pt x="109" y="35"/>
                      </a:lnTo>
                      <a:lnTo>
                        <a:pt x="110" y="39"/>
                      </a:lnTo>
                      <a:lnTo>
                        <a:pt x="112" y="41"/>
                      </a:lnTo>
                      <a:lnTo>
                        <a:pt x="112" y="43"/>
                      </a:lnTo>
                      <a:lnTo>
                        <a:pt x="117" y="49"/>
                      </a:lnTo>
                      <a:lnTo>
                        <a:pt x="117" y="52"/>
                      </a:lnTo>
                      <a:lnTo>
                        <a:pt x="119" y="55"/>
                      </a:lnTo>
                      <a:lnTo>
                        <a:pt x="123" y="58"/>
                      </a:lnTo>
                      <a:lnTo>
                        <a:pt x="123" y="61"/>
                      </a:lnTo>
                      <a:lnTo>
                        <a:pt x="130" y="69"/>
                      </a:lnTo>
                      <a:lnTo>
                        <a:pt x="133" y="71"/>
                      </a:lnTo>
                      <a:lnTo>
                        <a:pt x="134" y="73"/>
                      </a:lnTo>
                      <a:lnTo>
                        <a:pt x="135" y="71"/>
                      </a:lnTo>
                      <a:lnTo>
                        <a:pt x="136" y="68"/>
                      </a:lnTo>
                      <a:lnTo>
                        <a:pt x="138" y="62"/>
                      </a:lnTo>
                      <a:lnTo>
                        <a:pt x="136" y="61"/>
                      </a:lnTo>
                      <a:lnTo>
                        <a:pt x="138" y="56"/>
                      </a:lnTo>
                      <a:lnTo>
                        <a:pt x="139" y="52"/>
                      </a:lnTo>
                      <a:lnTo>
                        <a:pt x="140" y="43"/>
                      </a:lnTo>
                      <a:lnTo>
                        <a:pt x="141" y="42"/>
                      </a:lnTo>
                      <a:lnTo>
                        <a:pt x="140" y="36"/>
                      </a:lnTo>
                      <a:lnTo>
                        <a:pt x="140" y="3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11" name="Freeform 814">
                  <a:extLst>
                    <a:ext uri="{FF2B5EF4-FFF2-40B4-BE49-F238E27FC236}">
                      <a16:creationId xmlns:a16="http://schemas.microsoft.com/office/drawing/2014/main" id="{0D406299-3B8E-4C8B-A5C1-A90F61A23B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4" y="2422"/>
                  <a:ext cx="234" cy="323"/>
                </a:xfrm>
                <a:custGeom>
                  <a:avLst/>
                  <a:gdLst>
                    <a:gd name="T0" fmla="*/ 29 w 234"/>
                    <a:gd name="T1" fmla="*/ 110 h 323"/>
                    <a:gd name="T2" fmla="*/ 15 w 234"/>
                    <a:gd name="T3" fmla="*/ 114 h 323"/>
                    <a:gd name="T4" fmla="*/ 9 w 234"/>
                    <a:gd name="T5" fmla="*/ 131 h 323"/>
                    <a:gd name="T6" fmla="*/ 4 w 234"/>
                    <a:gd name="T7" fmla="*/ 144 h 323"/>
                    <a:gd name="T8" fmla="*/ 0 w 234"/>
                    <a:gd name="T9" fmla="*/ 161 h 323"/>
                    <a:gd name="T10" fmla="*/ 7 w 234"/>
                    <a:gd name="T11" fmla="*/ 166 h 323"/>
                    <a:gd name="T12" fmla="*/ 8 w 234"/>
                    <a:gd name="T13" fmla="*/ 178 h 323"/>
                    <a:gd name="T14" fmla="*/ 14 w 234"/>
                    <a:gd name="T15" fmla="*/ 191 h 323"/>
                    <a:gd name="T16" fmla="*/ 17 w 234"/>
                    <a:gd name="T17" fmla="*/ 200 h 323"/>
                    <a:gd name="T18" fmla="*/ 24 w 234"/>
                    <a:gd name="T19" fmla="*/ 221 h 323"/>
                    <a:gd name="T20" fmla="*/ 28 w 234"/>
                    <a:gd name="T21" fmla="*/ 233 h 323"/>
                    <a:gd name="T22" fmla="*/ 34 w 234"/>
                    <a:gd name="T23" fmla="*/ 238 h 323"/>
                    <a:gd name="T24" fmla="*/ 45 w 234"/>
                    <a:gd name="T25" fmla="*/ 246 h 323"/>
                    <a:gd name="T26" fmla="*/ 49 w 234"/>
                    <a:gd name="T27" fmla="*/ 254 h 323"/>
                    <a:gd name="T28" fmla="*/ 54 w 234"/>
                    <a:gd name="T29" fmla="*/ 260 h 323"/>
                    <a:gd name="T30" fmla="*/ 63 w 234"/>
                    <a:gd name="T31" fmla="*/ 272 h 323"/>
                    <a:gd name="T32" fmla="*/ 69 w 234"/>
                    <a:gd name="T33" fmla="*/ 281 h 323"/>
                    <a:gd name="T34" fmla="*/ 78 w 234"/>
                    <a:gd name="T35" fmla="*/ 292 h 323"/>
                    <a:gd name="T36" fmla="*/ 82 w 234"/>
                    <a:gd name="T37" fmla="*/ 300 h 323"/>
                    <a:gd name="T38" fmla="*/ 93 w 234"/>
                    <a:gd name="T39" fmla="*/ 309 h 323"/>
                    <a:gd name="T40" fmla="*/ 103 w 234"/>
                    <a:gd name="T41" fmla="*/ 305 h 323"/>
                    <a:gd name="T42" fmla="*/ 110 w 234"/>
                    <a:gd name="T43" fmla="*/ 301 h 323"/>
                    <a:gd name="T44" fmla="*/ 118 w 234"/>
                    <a:gd name="T45" fmla="*/ 310 h 323"/>
                    <a:gd name="T46" fmla="*/ 126 w 234"/>
                    <a:gd name="T47" fmla="*/ 320 h 323"/>
                    <a:gd name="T48" fmla="*/ 132 w 234"/>
                    <a:gd name="T49" fmla="*/ 322 h 323"/>
                    <a:gd name="T50" fmla="*/ 140 w 234"/>
                    <a:gd name="T51" fmla="*/ 319 h 323"/>
                    <a:gd name="T52" fmla="*/ 149 w 234"/>
                    <a:gd name="T53" fmla="*/ 323 h 323"/>
                    <a:gd name="T54" fmla="*/ 156 w 234"/>
                    <a:gd name="T55" fmla="*/ 318 h 323"/>
                    <a:gd name="T56" fmla="*/ 172 w 234"/>
                    <a:gd name="T57" fmla="*/ 313 h 323"/>
                    <a:gd name="T58" fmla="*/ 180 w 234"/>
                    <a:gd name="T59" fmla="*/ 305 h 323"/>
                    <a:gd name="T60" fmla="*/ 191 w 234"/>
                    <a:gd name="T61" fmla="*/ 283 h 323"/>
                    <a:gd name="T62" fmla="*/ 184 w 234"/>
                    <a:gd name="T63" fmla="*/ 267 h 323"/>
                    <a:gd name="T64" fmla="*/ 175 w 234"/>
                    <a:gd name="T65" fmla="*/ 257 h 323"/>
                    <a:gd name="T66" fmla="*/ 164 w 234"/>
                    <a:gd name="T67" fmla="*/ 249 h 323"/>
                    <a:gd name="T68" fmla="*/ 164 w 234"/>
                    <a:gd name="T69" fmla="*/ 237 h 323"/>
                    <a:gd name="T70" fmla="*/ 174 w 234"/>
                    <a:gd name="T71" fmla="*/ 237 h 323"/>
                    <a:gd name="T72" fmla="*/ 179 w 234"/>
                    <a:gd name="T73" fmla="*/ 212 h 323"/>
                    <a:gd name="T74" fmla="*/ 182 w 234"/>
                    <a:gd name="T75" fmla="*/ 196 h 323"/>
                    <a:gd name="T76" fmla="*/ 194 w 234"/>
                    <a:gd name="T77" fmla="*/ 175 h 323"/>
                    <a:gd name="T78" fmla="*/ 202 w 234"/>
                    <a:gd name="T79" fmla="*/ 161 h 323"/>
                    <a:gd name="T80" fmla="*/ 210 w 234"/>
                    <a:gd name="T81" fmla="*/ 137 h 323"/>
                    <a:gd name="T82" fmla="*/ 208 w 234"/>
                    <a:gd name="T83" fmla="*/ 120 h 323"/>
                    <a:gd name="T84" fmla="*/ 214 w 234"/>
                    <a:gd name="T85" fmla="*/ 97 h 323"/>
                    <a:gd name="T86" fmla="*/ 215 w 234"/>
                    <a:gd name="T87" fmla="*/ 86 h 323"/>
                    <a:gd name="T88" fmla="*/ 222 w 234"/>
                    <a:gd name="T89" fmla="*/ 80 h 323"/>
                    <a:gd name="T90" fmla="*/ 232 w 234"/>
                    <a:gd name="T91" fmla="*/ 74 h 323"/>
                    <a:gd name="T92" fmla="*/ 227 w 234"/>
                    <a:gd name="T93" fmla="*/ 66 h 323"/>
                    <a:gd name="T94" fmla="*/ 214 w 234"/>
                    <a:gd name="T95" fmla="*/ 44 h 323"/>
                    <a:gd name="T96" fmla="*/ 211 w 234"/>
                    <a:gd name="T97" fmla="*/ 16 h 323"/>
                    <a:gd name="T98" fmla="*/ 210 w 234"/>
                    <a:gd name="T99" fmla="*/ 13 h 323"/>
                    <a:gd name="T100" fmla="*/ 209 w 234"/>
                    <a:gd name="T101" fmla="*/ 5 h 323"/>
                    <a:gd name="T102" fmla="*/ 41 w 234"/>
                    <a:gd name="T103" fmla="*/ 35 h 3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34" h="323">
                      <a:moveTo>
                        <a:pt x="41" y="35"/>
                      </a:moveTo>
                      <a:lnTo>
                        <a:pt x="27" y="37"/>
                      </a:lnTo>
                      <a:lnTo>
                        <a:pt x="27" y="43"/>
                      </a:lnTo>
                      <a:lnTo>
                        <a:pt x="27" y="43"/>
                      </a:lnTo>
                      <a:lnTo>
                        <a:pt x="29" y="110"/>
                      </a:lnTo>
                      <a:lnTo>
                        <a:pt x="26" y="111"/>
                      </a:lnTo>
                      <a:lnTo>
                        <a:pt x="23" y="113"/>
                      </a:lnTo>
                      <a:lnTo>
                        <a:pt x="21" y="111"/>
                      </a:lnTo>
                      <a:lnTo>
                        <a:pt x="18" y="111"/>
                      </a:lnTo>
                      <a:lnTo>
                        <a:pt x="15" y="114"/>
                      </a:lnTo>
                      <a:lnTo>
                        <a:pt x="15" y="118"/>
                      </a:lnTo>
                      <a:lnTo>
                        <a:pt x="16" y="120"/>
                      </a:lnTo>
                      <a:lnTo>
                        <a:pt x="15" y="124"/>
                      </a:lnTo>
                      <a:lnTo>
                        <a:pt x="10" y="131"/>
                      </a:lnTo>
                      <a:lnTo>
                        <a:pt x="9" y="131"/>
                      </a:lnTo>
                      <a:lnTo>
                        <a:pt x="6" y="134"/>
                      </a:lnTo>
                      <a:lnTo>
                        <a:pt x="6" y="137"/>
                      </a:lnTo>
                      <a:lnTo>
                        <a:pt x="9" y="139"/>
                      </a:lnTo>
                      <a:lnTo>
                        <a:pt x="7" y="142"/>
                      </a:lnTo>
                      <a:lnTo>
                        <a:pt x="4" y="144"/>
                      </a:lnTo>
                      <a:lnTo>
                        <a:pt x="3" y="147"/>
                      </a:lnTo>
                      <a:lnTo>
                        <a:pt x="6" y="148"/>
                      </a:lnTo>
                      <a:lnTo>
                        <a:pt x="6" y="152"/>
                      </a:lnTo>
                      <a:lnTo>
                        <a:pt x="5" y="154"/>
                      </a:lnTo>
                      <a:lnTo>
                        <a:pt x="0" y="161"/>
                      </a:lnTo>
                      <a:lnTo>
                        <a:pt x="0" y="164"/>
                      </a:lnTo>
                      <a:lnTo>
                        <a:pt x="2" y="166"/>
                      </a:lnTo>
                      <a:lnTo>
                        <a:pt x="6" y="164"/>
                      </a:lnTo>
                      <a:lnTo>
                        <a:pt x="7" y="164"/>
                      </a:lnTo>
                      <a:lnTo>
                        <a:pt x="7" y="166"/>
                      </a:lnTo>
                      <a:lnTo>
                        <a:pt x="6" y="168"/>
                      </a:lnTo>
                      <a:lnTo>
                        <a:pt x="7" y="169"/>
                      </a:lnTo>
                      <a:lnTo>
                        <a:pt x="6" y="172"/>
                      </a:lnTo>
                      <a:lnTo>
                        <a:pt x="8" y="175"/>
                      </a:lnTo>
                      <a:lnTo>
                        <a:pt x="8" y="178"/>
                      </a:lnTo>
                      <a:lnTo>
                        <a:pt x="9" y="182"/>
                      </a:lnTo>
                      <a:lnTo>
                        <a:pt x="13" y="184"/>
                      </a:lnTo>
                      <a:lnTo>
                        <a:pt x="15" y="186"/>
                      </a:lnTo>
                      <a:lnTo>
                        <a:pt x="14" y="189"/>
                      </a:lnTo>
                      <a:lnTo>
                        <a:pt x="14" y="191"/>
                      </a:lnTo>
                      <a:lnTo>
                        <a:pt x="13" y="192"/>
                      </a:lnTo>
                      <a:lnTo>
                        <a:pt x="15" y="194"/>
                      </a:lnTo>
                      <a:lnTo>
                        <a:pt x="15" y="196"/>
                      </a:lnTo>
                      <a:lnTo>
                        <a:pt x="14" y="197"/>
                      </a:lnTo>
                      <a:lnTo>
                        <a:pt x="17" y="200"/>
                      </a:lnTo>
                      <a:lnTo>
                        <a:pt x="18" y="203"/>
                      </a:lnTo>
                      <a:lnTo>
                        <a:pt x="22" y="208"/>
                      </a:lnTo>
                      <a:lnTo>
                        <a:pt x="24" y="215"/>
                      </a:lnTo>
                      <a:lnTo>
                        <a:pt x="25" y="217"/>
                      </a:lnTo>
                      <a:lnTo>
                        <a:pt x="24" y="221"/>
                      </a:lnTo>
                      <a:lnTo>
                        <a:pt x="23" y="223"/>
                      </a:lnTo>
                      <a:lnTo>
                        <a:pt x="23" y="226"/>
                      </a:lnTo>
                      <a:lnTo>
                        <a:pt x="23" y="231"/>
                      </a:lnTo>
                      <a:lnTo>
                        <a:pt x="25" y="233"/>
                      </a:lnTo>
                      <a:lnTo>
                        <a:pt x="28" y="233"/>
                      </a:lnTo>
                      <a:lnTo>
                        <a:pt x="29" y="231"/>
                      </a:lnTo>
                      <a:lnTo>
                        <a:pt x="33" y="231"/>
                      </a:lnTo>
                      <a:lnTo>
                        <a:pt x="35" y="233"/>
                      </a:lnTo>
                      <a:lnTo>
                        <a:pt x="33" y="235"/>
                      </a:lnTo>
                      <a:lnTo>
                        <a:pt x="34" y="238"/>
                      </a:lnTo>
                      <a:lnTo>
                        <a:pt x="37" y="241"/>
                      </a:lnTo>
                      <a:lnTo>
                        <a:pt x="40" y="242"/>
                      </a:lnTo>
                      <a:lnTo>
                        <a:pt x="42" y="242"/>
                      </a:lnTo>
                      <a:lnTo>
                        <a:pt x="44" y="244"/>
                      </a:lnTo>
                      <a:lnTo>
                        <a:pt x="45" y="246"/>
                      </a:lnTo>
                      <a:lnTo>
                        <a:pt x="48" y="247"/>
                      </a:lnTo>
                      <a:lnTo>
                        <a:pt x="51" y="248"/>
                      </a:lnTo>
                      <a:lnTo>
                        <a:pt x="51" y="250"/>
                      </a:lnTo>
                      <a:lnTo>
                        <a:pt x="51" y="252"/>
                      </a:lnTo>
                      <a:lnTo>
                        <a:pt x="49" y="254"/>
                      </a:lnTo>
                      <a:lnTo>
                        <a:pt x="49" y="255"/>
                      </a:lnTo>
                      <a:lnTo>
                        <a:pt x="47" y="257"/>
                      </a:lnTo>
                      <a:lnTo>
                        <a:pt x="51" y="260"/>
                      </a:lnTo>
                      <a:lnTo>
                        <a:pt x="53" y="261"/>
                      </a:lnTo>
                      <a:lnTo>
                        <a:pt x="54" y="260"/>
                      </a:lnTo>
                      <a:lnTo>
                        <a:pt x="56" y="261"/>
                      </a:lnTo>
                      <a:lnTo>
                        <a:pt x="58" y="261"/>
                      </a:lnTo>
                      <a:lnTo>
                        <a:pt x="62" y="265"/>
                      </a:lnTo>
                      <a:lnTo>
                        <a:pt x="63" y="267"/>
                      </a:lnTo>
                      <a:lnTo>
                        <a:pt x="63" y="272"/>
                      </a:lnTo>
                      <a:lnTo>
                        <a:pt x="65" y="273"/>
                      </a:lnTo>
                      <a:lnTo>
                        <a:pt x="68" y="275"/>
                      </a:lnTo>
                      <a:lnTo>
                        <a:pt x="68" y="275"/>
                      </a:lnTo>
                      <a:lnTo>
                        <a:pt x="68" y="279"/>
                      </a:lnTo>
                      <a:lnTo>
                        <a:pt x="69" y="281"/>
                      </a:lnTo>
                      <a:lnTo>
                        <a:pt x="74" y="282"/>
                      </a:lnTo>
                      <a:lnTo>
                        <a:pt x="76" y="284"/>
                      </a:lnTo>
                      <a:lnTo>
                        <a:pt x="76" y="285"/>
                      </a:lnTo>
                      <a:lnTo>
                        <a:pt x="76" y="291"/>
                      </a:lnTo>
                      <a:lnTo>
                        <a:pt x="78" y="292"/>
                      </a:lnTo>
                      <a:lnTo>
                        <a:pt x="81" y="294"/>
                      </a:lnTo>
                      <a:lnTo>
                        <a:pt x="82" y="296"/>
                      </a:lnTo>
                      <a:lnTo>
                        <a:pt x="82" y="297"/>
                      </a:lnTo>
                      <a:lnTo>
                        <a:pt x="82" y="297"/>
                      </a:lnTo>
                      <a:lnTo>
                        <a:pt x="82" y="300"/>
                      </a:lnTo>
                      <a:lnTo>
                        <a:pt x="84" y="302"/>
                      </a:lnTo>
                      <a:lnTo>
                        <a:pt x="85" y="303"/>
                      </a:lnTo>
                      <a:lnTo>
                        <a:pt x="87" y="305"/>
                      </a:lnTo>
                      <a:lnTo>
                        <a:pt x="90" y="307"/>
                      </a:lnTo>
                      <a:lnTo>
                        <a:pt x="93" y="309"/>
                      </a:lnTo>
                      <a:lnTo>
                        <a:pt x="95" y="308"/>
                      </a:lnTo>
                      <a:lnTo>
                        <a:pt x="96" y="306"/>
                      </a:lnTo>
                      <a:lnTo>
                        <a:pt x="97" y="305"/>
                      </a:lnTo>
                      <a:lnTo>
                        <a:pt x="101" y="305"/>
                      </a:lnTo>
                      <a:lnTo>
                        <a:pt x="103" y="305"/>
                      </a:lnTo>
                      <a:lnTo>
                        <a:pt x="103" y="306"/>
                      </a:lnTo>
                      <a:lnTo>
                        <a:pt x="104" y="306"/>
                      </a:lnTo>
                      <a:lnTo>
                        <a:pt x="107" y="305"/>
                      </a:lnTo>
                      <a:lnTo>
                        <a:pt x="108" y="303"/>
                      </a:lnTo>
                      <a:lnTo>
                        <a:pt x="110" y="301"/>
                      </a:lnTo>
                      <a:lnTo>
                        <a:pt x="113" y="301"/>
                      </a:lnTo>
                      <a:lnTo>
                        <a:pt x="114" y="303"/>
                      </a:lnTo>
                      <a:lnTo>
                        <a:pt x="116" y="306"/>
                      </a:lnTo>
                      <a:lnTo>
                        <a:pt x="117" y="309"/>
                      </a:lnTo>
                      <a:lnTo>
                        <a:pt x="118" y="310"/>
                      </a:lnTo>
                      <a:lnTo>
                        <a:pt x="122" y="312"/>
                      </a:lnTo>
                      <a:lnTo>
                        <a:pt x="123" y="313"/>
                      </a:lnTo>
                      <a:lnTo>
                        <a:pt x="124" y="316"/>
                      </a:lnTo>
                      <a:lnTo>
                        <a:pt x="125" y="317"/>
                      </a:lnTo>
                      <a:lnTo>
                        <a:pt x="126" y="320"/>
                      </a:lnTo>
                      <a:lnTo>
                        <a:pt x="127" y="322"/>
                      </a:lnTo>
                      <a:lnTo>
                        <a:pt x="127" y="322"/>
                      </a:lnTo>
                      <a:lnTo>
                        <a:pt x="130" y="322"/>
                      </a:lnTo>
                      <a:lnTo>
                        <a:pt x="131" y="323"/>
                      </a:lnTo>
                      <a:lnTo>
                        <a:pt x="132" y="322"/>
                      </a:lnTo>
                      <a:lnTo>
                        <a:pt x="131" y="320"/>
                      </a:lnTo>
                      <a:lnTo>
                        <a:pt x="131" y="318"/>
                      </a:lnTo>
                      <a:lnTo>
                        <a:pt x="133" y="316"/>
                      </a:lnTo>
                      <a:lnTo>
                        <a:pt x="136" y="317"/>
                      </a:lnTo>
                      <a:lnTo>
                        <a:pt x="140" y="319"/>
                      </a:lnTo>
                      <a:lnTo>
                        <a:pt x="141" y="318"/>
                      </a:lnTo>
                      <a:lnTo>
                        <a:pt x="144" y="319"/>
                      </a:lnTo>
                      <a:lnTo>
                        <a:pt x="144" y="322"/>
                      </a:lnTo>
                      <a:lnTo>
                        <a:pt x="148" y="323"/>
                      </a:lnTo>
                      <a:lnTo>
                        <a:pt x="149" y="323"/>
                      </a:lnTo>
                      <a:lnTo>
                        <a:pt x="149" y="320"/>
                      </a:lnTo>
                      <a:lnTo>
                        <a:pt x="151" y="318"/>
                      </a:lnTo>
                      <a:lnTo>
                        <a:pt x="153" y="319"/>
                      </a:lnTo>
                      <a:lnTo>
                        <a:pt x="154" y="318"/>
                      </a:lnTo>
                      <a:lnTo>
                        <a:pt x="156" y="318"/>
                      </a:lnTo>
                      <a:lnTo>
                        <a:pt x="159" y="316"/>
                      </a:lnTo>
                      <a:lnTo>
                        <a:pt x="165" y="316"/>
                      </a:lnTo>
                      <a:lnTo>
                        <a:pt x="168" y="317"/>
                      </a:lnTo>
                      <a:lnTo>
                        <a:pt x="171" y="316"/>
                      </a:lnTo>
                      <a:lnTo>
                        <a:pt x="172" y="313"/>
                      </a:lnTo>
                      <a:lnTo>
                        <a:pt x="175" y="310"/>
                      </a:lnTo>
                      <a:lnTo>
                        <a:pt x="175" y="310"/>
                      </a:lnTo>
                      <a:lnTo>
                        <a:pt x="178" y="307"/>
                      </a:lnTo>
                      <a:lnTo>
                        <a:pt x="179" y="307"/>
                      </a:lnTo>
                      <a:lnTo>
                        <a:pt x="180" y="305"/>
                      </a:lnTo>
                      <a:lnTo>
                        <a:pt x="182" y="302"/>
                      </a:lnTo>
                      <a:lnTo>
                        <a:pt x="184" y="303"/>
                      </a:lnTo>
                      <a:lnTo>
                        <a:pt x="187" y="296"/>
                      </a:lnTo>
                      <a:lnTo>
                        <a:pt x="192" y="289"/>
                      </a:lnTo>
                      <a:lnTo>
                        <a:pt x="191" y="283"/>
                      </a:lnTo>
                      <a:lnTo>
                        <a:pt x="189" y="282"/>
                      </a:lnTo>
                      <a:lnTo>
                        <a:pt x="189" y="275"/>
                      </a:lnTo>
                      <a:lnTo>
                        <a:pt x="187" y="272"/>
                      </a:lnTo>
                      <a:lnTo>
                        <a:pt x="186" y="269"/>
                      </a:lnTo>
                      <a:lnTo>
                        <a:pt x="184" y="267"/>
                      </a:lnTo>
                      <a:lnTo>
                        <a:pt x="181" y="267"/>
                      </a:lnTo>
                      <a:lnTo>
                        <a:pt x="180" y="265"/>
                      </a:lnTo>
                      <a:lnTo>
                        <a:pt x="180" y="265"/>
                      </a:lnTo>
                      <a:lnTo>
                        <a:pt x="178" y="263"/>
                      </a:lnTo>
                      <a:lnTo>
                        <a:pt x="175" y="257"/>
                      </a:lnTo>
                      <a:lnTo>
                        <a:pt x="174" y="256"/>
                      </a:lnTo>
                      <a:lnTo>
                        <a:pt x="173" y="254"/>
                      </a:lnTo>
                      <a:lnTo>
                        <a:pt x="171" y="251"/>
                      </a:lnTo>
                      <a:lnTo>
                        <a:pt x="169" y="249"/>
                      </a:lnTo>
                      <a:lnTo>
                        <a:pt x="164" y="249"/>
                      </a:lnTo>
                      <a:lnTo>
                        <a:pt x="161" y="247"/>
                      </a:lnTo>
                      <a:lnTo>
                        <a:pt x="160" y="245"/>
                      </a:lnTo>
                      <a:lnTo>
                        <a:pt x="162" y="242"/>
                      </a:lnTo>
                      <a:lnTo>
                        <a:pt x="164" y="241"/>
                      </a:lnTo>
                      <a:lnTo>
                        <a:pt x="164" y="237"/>
                      </a:lnTo>
                      <a:lnTo>
                        <a:pt x="167" y="238"/>
                      </a:lnTo>
                      <a:lnTo>
                        <a:pt x="170" y="237"/>
                      </a:lnTo>
                      <a:lnTo>
                        <a:pt x="172" y="238"/>
                      </a:lnTo>
                      <a:lnTo>
                        <a:pt x="173" y="239"/>
                      </a:lnTo>
                      <a:lnTo>
                        <a:pt x="174" y="237"/>
                      </a:lnTo>
                      <a:lnTo>
                        <a:pt x="175" y="235"/>
                      </a:lnTo>
                      <a:lnTo>
                        <a:pt x="176" y="227"/>
                      </a:lnTo>
                      <a:lnTo>
                        <a:pt x="176" y="220"/>
                      </a:lnTo>
                      <a:lnTo>
                        <a:pt x="177" y="216"/>
                      </a:lnTo>
                      <a:lnTo>
                        <a:pt x="179" y="212"/>
                      </a:lnTo>
                      <a:lnTo>
                        <a:pt x="179" y="208"/>
                      </a:lnTo>
                      <a:lnTo>
                        <a:pt x="178" y="206"/>
                      </a:lnTo>
                      <a:lnTo>
                        <a:pt x="179" y="203"/>
                      </a:lnTo>
                      <a:lnTo>
                        <a:pt x="182" y="198"/>
                      </a:lnTo>
                      <a:lnTo>
                        <a:pt x="182" y="196"/>
                      </a:lnTo>
                      <a:lnTo>
                        <a:pt x="184" y="196"/>
                      </a:lnTo>
                      <a:lnTo>
                        <a:pt x="186" y="196"/>
                      </a:lnTo>
                      <a:lnTo>
                        <a:pt x="188" y="183"/>
                      </a:lnTo>
                      <a:lnTo>
                        <a:pt x="190" y="178"/>
                      </a:lnTo>
                      <a:lnTo>
                        <a:pt x="194" y="175"/>
                      </a:lnTo>
                      <a:lnTo>
                        <a:pt x="194" y="172"/>
                      </a:lnTo>
                      <a:lnTo>
                        <a:pt x="197" y="165"/>
                      </a:lnTo>
                      <a:lnTo>
                        <a:pt x="198" y="162"/>
                      </a:lnTo>
                      <a:lnTo>
                        <a:pt x="200" y="161"/>
                      </a:lnTo>
                      <a:lnTo>
                        <a:pt x="202" y="161"/>
                      </a:lnTo>
                      <a:lnTo>
                        <a:pt x="203" y="157"/>
                      </a:lnTo>
                      <a:lnTo>
                        <a:pt x="207" y="148"/>
                      </a:lnTo>
                      <a:lnTo>
                        <a:pt x="207" y="143"/>
                      </a:lnTo>
                      <a:lnTo>
                        <a:pt x="209" y="137"/>
                      </a:lnTo>
                      <a:lnTo>
                        <a:pt x="210" y="137"/>
                      </a:lnTo>
                      <a:lnTo>
                        <a:pt x="209" y="136"/>
                      </a:lnTo>
                      <a:lnTo>
                        <a:pt x="208" y="133"/>
                      </a:lnTo>
                      <a:lnTo>
                        <a:pt x="206" y="126"/>
                      </a:lnTo>
                      <a:lnTo>
                        <a:pt x="206" y="121"/>
                      </a:lnTo>
                      <a:lnTo>
                        <a:pt x="208" y="120"/>
                      </a:lnTo>
                      <a:lnTo>
                        <a:pt x="208" y="116"/>
                      </a:lnTo>
                      <a:lnTo>
                        <a:pt x="210" y="113"/>
                      </a:lnTo>
                      <a:lnTo>
                        <a:pt x="212" y="104"/>
                      </a:lnTo>
                      <a:lnTo>
                        <a:pt x="213" y="99"/>
                      </a:lnTo>
                      <a:lnTo>
                        <a:pt x="214" y="97"/>
                      </a:lnTo>
                      <a:lnTo>
                        <a:pt x="213" y="96"/>
                      </a:lnTo>
                      <a:lnTo>
                        <a:pt x="213" y="95"/>
                      </a:lnTo>
                      <a:lnTo>
                        <a:pt x="213" y="91"/>
                      </a:lnTo>
                      <a:lnTo>
                        <a:pt x="213" y="87"/>
                      </a:lnTo>
                      <a:lnTo>
                        <a:pt x="215" y="86"/>
                      </a:lnTo>
                      <a:lnTo>
                        <a:pt x="219" y="86"/>
                      </a:lnTo>
                      <a:lnTo>
                        <a:pt x="220" y="84"/>
                      </a:lnTo>
                      <a:lnTo>
                        <a:pt x="219" y="82"/>
                      </a:lnTo>
                      <a:lnTo>
                        <a:pt x="219" y="81"/>
                      </a:lnTo>
                      <a:lnTo>
                        <a:pt x="222" y="80"/>
                      </a:lnTo>
                      <a:lnTo>
                        <a:pt x="224" y="78"/>
                      </a:lnTo>
                      <a:lnTo>
                        <a:pt x="227" y="78"/>
                      </a:lnTo>
                      <a:lnTo>
                        <a:pt x="227" y="76"/>
                      </a:lnTo>
                      <a:lnTo>
                        <a:pt x="230" y="75"/>
                      </a:lnTo>
                      <a:lnTo>
                        <a:pt x="232" y="74"/>
                      </a:lnTo>
                      <a:lnTo>
                        <a:pt x="234" y="71"/>
                      </a:lnTo>
                      <a:lnTo>
                        <a:pt x="234" y="71"/>
                      </a:lnTo>
                      <a:lnTo>
                        <a:pt x="234" y="68"/>
                      </a:lnTo>
                      <a:lnTo>
                        <a:pt x="231" y="66"/>
                      </a:lnTo>
                      <a:lnTo>
                        <a:pt x="227" y="66"/>
                      </a:lnTo>
                      <a:lnTo>
                        <a:pt x="227" y="63"/>
                      </a:lnTo>
                      <a:lnTo>
                        <a:pt x="221" y="58"/>
                      </a:lnTo>
                      <a:lnTo>
                        <a:pt x="219" y="58"/>
                      </a:lnTo>
                      <a:lnTo>
                        <a:pt x="217" y="51"/>
                      </a:lnTo>
                      <a:lnTo>
                        <a:pt x="214" y="44"/>
                      </a:lnTo>
                      <a:lnTo>
                        <a:pt x="215" y="38"/>
                      </a:lnTo>
                      <a:lnTo>
                        <a:pt x="214" y="31"/>
                      </a:lnTo>
                      <a:lnTo>
                        <a:pt x="211" y="20"/>
                      </a:lnTo>
                      <a:lnTo>
                        <a:pt x="210" y="16"/>
                      </a:lnTo>
                      <a:lnTo>
                        <a:pt x="211" y="16"/>
                      </a:lnTo>
                      <a:lnTo>
                        <a:pt x="212" y="17"/>
                      </a:lnTo>
                      <a:lnTo>
                        <a:pt x="213" y="18"/>
                      </a:lnTo>
                      <a:lnTo>
                        <a:pt x="213" y="18"/>
                      </a:lnTo>
                      <a:lnTo>
                        <a:pt x="213" y="16"/>
                      </a:lnTo>
                      <a:lnTo>
                        <a:pt x="210" y="13"/>
                      </a:lnTo>
                      <a:lnTo>
                        <a:pt x="210" y="8"/>
                      </a:lnTo>
                      <a:lnTo>
                        <a:pt x="209" y="7"/>
                      </a:lnTo>
                      <a:lnTo>
                        <a:pt x="209" y="6"/>
                      </a:lnTo>
                      <a:lnTo>
                        <a:pt x="209" y="6"/>
                      </a:lnTo>
                      <a:lnTo>
                        <a:pt x="209" y="5"/>
                      </a:lnTo>
                      <a:lnTo>
                        <a:pt x="208" y="3"/>
                      </a:lnTo>
                      <a:lnTo>
                        <a:pt x="209" y="2"/>
                      </a:lnTo>
                      <a:lnTo>
                        <a:pt x="209" y="0"/>
                      </a:lnTo>
                      <a:lnTo>
                        <a:pt x="40" y="2"/>
                      </a:lnTo>
                      <a:lnTo>
                        <a:pt x="41" y="3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12" name="Freeform 815">
                  <a:extLst>
                    <a:ext uri="{FF2B5EF4-FFF2-40B4-BE49-F238E27FC236}">
                      <a16:creationId xmlns:a16="http://schemas.microsoft.com/office/drawing/2014/main" id="{5AE72DA3-7A35-460B-A797-675E89E6D0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74" y="2548"/>
                  <a:ext cx="216" cy="196"/>
                </a:xfrm>
                <a:custGeom>
                  <a:avLst/>
                  <a:gdLst>
                    <a:gd name="T0" fmla="*/ 40 w 216"/>
                    <a:gd name="T1" fmla="*/ 165 h 196"/>
                    <a:gd name="T2" fmla="*/ 45 w 216"/>
                    <a:gd name="T3" fmla="*/ 179 h 196"/>
                    <a:gd name="T4" fmla="*/ 58 w 216"/>
                    <a:gd name="T5" fmla="*/ 178 h 196"/>
                    <a:gd name="T6" fmla="*/ 71 w 216"/>
                    <a:gd name="T7" fmla="*/ 190 h 196"/>
                    <a:gd name="T8" fmla="*/ 80 w 216"/>
                    <a:gd name="T9" fmla="*/ 194 h 196"/>
                    <a:gd name="T10" fmla="*/ 89 w 216"/>
                    <a:gd name="T11" fmla="*/ 196 h 196"/>
                    <a:gd name="T12" fmla="*/ 98 w 216"/>
                    <a:gd name="T13" fmla="*/ 189 h 196"/>
                    <a:gd name="T14" fmla="*/ 105 w 216"/>
                    <a:gd name="T15" fmla="*/ 185 h 196"/>
                    <a:gd name="T16" fmla="*/ 115 w 216"/>
                    <a:gd name="T17" fmla="*/ 184 h 196"/>
                    <a:gd name="T18" fmla="*/ 124 w 216"/>
                    <a:gd name="T19" fmla="*/ 189 h 196"/>
                    <a:gd name="T20" fmla="*/ 130 w 216"/>
                    <a:gd name="T21" fmla="*/ 186 h 196"/>
                    <a:gd name="T22" fmla="*/ 142 w 216"/>
                    <a:gd name="T23" fmla="*/ 180 h 196"/>
                    <a:gd name="T24" fmla="*/ 149 w 216"/>
                    <a:gd name="T25" fmla="*/ 173 h 196"/>
                    <a:gd name="T26" fmla="*/ 163 w 216"/>
                    <a:gd name="T27" fmla="*/ 170 h 196"/>
                    <a:gd name="T28" fmla="*/ 198 w 216"/>
                    <a:gd name="T29" fmla="*/ 118 h 196"/>
                    <a:gd name="T30" fmla="*/ 147 w 216"/>
                    <a:gd name="T31" fmla="*/ 97 h 196"/>
                    <a:gd name="T32" fmla="*/ 142 w 216"/>
                    <a:gd name="T33" fmla="*/ 85 h 196"/>
                    <a:gd name="T34" fmla="*/ 140 w 216"/>
                    <a:gd name="T35" fmla="*/ 68 h 196"/>
                    <a:gd name="T36" fmla="*/ 130 w 216"/>
                    <a:gd name="T37" fmla="*/ 70 h 196"/>
                    <a:gd name="T38" fmla="*/ 126 w 216"/>
                    <a:gd name="T39" fmla="*/ 64 h 196"/>
                    <a:gd name="T40" fmla="*/ 127 w 216"/>
                    <a:gd name="T41" fmla="*/ 53 h 196"/>
                    <a:gd name="T42" fmla="*/ 132 w 216"/>
                    <a:gd name="T43" fmla="*/ 46 h 196"/>
                    <a:gd name="T44" fmla="*/ 125 w 216"/>
                    <a:gd name="T45" fmla="*/ 37 h 196"/>
                    <a:gd name="T46" fmla="*/ 119 w 216"/>
                    <a:gd name="T47" fmla="*/ 28 h 196"/>
                    <a:gd name="T48" fmla="*/ 111 w 216"/>
                    <a:gd name="T49" fmla="*/ 20 h 196"/>
                    <a:gd name="T50" fmla="*/ 104 w 216"/>
                    <a:gd name="T51" fmla="*/ 18 h 196"/>
                    <a:gd name="T52" fmla="*/ 95 w 216"/>
                    <a:gd name="T53" fmla="*/ 9 h 196"/>
                    <a:gd name="T54" fmla="*/ 88 w 216"/>
                    <a:gd name="T55" fmla="*/ 6 h 196"/>
                    <a:gd name="T56" fmla="*/ 81 w 216"/>
                    <a:gd name="T57" fmla="*/ 3 h 196"/>
                    <a:gd name="T58" fmla="*/ 74 w 216"/>
                    <a:gd name="T59" fmla="*/ 2 h 196"/>
                    <a:gd name="T60" fmla="*/ 64 w 216"/>
                    <a:gd name="T61" fmla="*/ 3 h 196"/>
                    <a:gd name="T62" fmla="*/ 57 w 216"/>
                    <a:gd name="T63" fmla="*/ 9 h 196"/>
                    <a:gd name="T64" fmla="*/ 51 w 216"/>
                    <a:gd name="T65" fmla="*/ 11 h 196"/>
                    <a:gd name="T66" fmla="*/ 47 w 216"/>
                    <a:gd name="T67" fmla="*/ 17 h 196"/>
                    <a:gd name="T68" fmla="*/ 42 w 216"/>
                    <a:gd name="T69" fmla="*/ 35 h 196"/>
                    <a:gd name="T70" fmla="*/ 37 w 216"/>
                    <a:gd name="T71" fmla="*/ 39 h 196"/>
                    <a:gd name="T72" fmla="*/ 30 w 216"/>
                    <a:gd name="T73" fmla="*/ 52 h 196"/>
                    <a:gd name="T74" fmla="*/ 24 w 216"/>
                    <a:gd name="T75" fmla="*/ 70 h 196"/>
                    <a:gd name="T76" fmla="*/ 19 w 216"/>
                    <a:gd name="T77" fmla="*/ 77 h 196"/>
                    <a:gd name="T78" fmla="*/ 19 w 216"/>
                    <a:gd name="T79" fmla="*/ 86 h 196"/>
                    <a:gd name="T80" fmla="*/ 16 w 216"/>
                    <a:gd name="T81" fmla="*/ 101 h 196"/>
                    <a:gd name="T82" fmla="*/ 13 w 216"/>
                    <a:gd name="T83" fmla="*/ 113 h 196"/>
                    <a:gd name="T84" fmla="*/ 7 w 216"/>
                    <a:gd name="T85" fmla="*/ 112 h 196"/>
                    <a:gd name="T86" fmla="*/ 2 w 216"/>
                    <a:gd name="T87" fmla="*/ 116 h 196"/>
                    <a:gd name="T88" fmla="*/ 4 w 216"/>
                    <a:gd name="T89" fmla="*/ 123 h 196"/>
                    <a:gd name="T90" fmla="*/ 13 w 216"/>
                    <a:gd name="T91" fmla="*/ 128 h 196"/>
                    <a:gd name="T92" fmla="*/ 18 w 216"/>
                    <a:gd name="T93" fmla="*/ 137 h 196"/>
                    <a:gd name="T94" fmla="*/ 21 w 216"/>
                    <a:gd name="T95" fmla="*/ 141 h 196"/>
                    <a:gd name="T96" fmla="*/ 27 w 216"/>
                    <a:gd name="T97" fmla="*/ 146 h 196"/>
                    <a:gd name="T98" fmla="*/ 31 w 216"/>
                    <a:gd name="T99" fmla="*/ 157 h 196"/>
                    <a:gd name="T100" fmla="*/ 35 w 216"/>
                    <a:gd name="T101" fmla="*/ 165 h 1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16" h="196">
                      <a:moveTo>
                        <a:pt x="35" y="165"/>
                      </a:moveTo>
                      <a:lnTo>
                        <a:pt x="37" y="164"/>
                      </a:lnTo>
                      <a:lnTo>
                        <a:pt x="40" y="165"/>
                      </a:lnTo>
                      <a:lnTo>
                        <a:pt x="40" y="175"/>
                      </a:lnTo>
                      <a:lnTo>
                        <a:pt x="42" y="178"/>
                      </a:lnTo>
                      <a:lnTo>
                        <a:pt x="45" y="179"/>
                      </a:lnTo>
                      <a:lnTo>
                        <a:pt x="48" y="178"/>
                      </a:lnTo>
                      <a:lnTo>
                        <a:pt x="51" y="179"/>
                      </a:lnTo>
                      <a:lnTo>
                        <a:pt x="58" y="178"/>
                      </a:lnTo>
                      <a:lnTo>
                        <a:pt x="61" y="180"/>
                      </a:lnTo>
                      <a:lnTo>
                        <a:pt x="67" y="187"/>
                      </a:lnTo>
                      <a:lnTo>
                        <a:pt x="71" y="190"/>
                      </a:lnTo>
                      <a:lnTo>
                        <a:pt x="73" y="193"/>
                      </a:lnTo>
                      <a:lnTo>
                        <a:pt x="75" y="194"/>
                      </a:lnTo>
                      <a:lnTo>
                        <a:pt x="80" y="194"/>
                      </a:lnTo>
                      <a:lnTo>
                        <a:pt x="83" y="196"/>
                      </a:lnTo>
                      <a:lnTo>
                        <a:pt x="87" y="195"/>
                      </a:lnTo>
                      <a:lnTo>
                        <a:pt x="89" y="196"/>
                      </a:lnTo>
                      <a:lnTo>
                        <a:pt x="92" y="196"/>
                      </a:lnTo>
                      <a:lnTo>
                        <a:pt x="95" y="196"/>
                      </a:lnTo>
                      <a:lnTo>
                        <a:pt x="98" y="189"/>
                      </a:lnTo>
                      <a:lnTo>
                        <a:pt x="99" y="187"/>
                      </a:lnTo>
                      <a:lnTo>
                        <a:pt x="102" y="185"/>
                      </a:lnTo>
                      <a:lnTo>
                        <a:pt x="105" y="185"/>
                      </a:lnTo>
                      <a:lnTo>
                        <a:pt x="106" y="184"/>
                      </a:lnTo>
                      <a:lnTo>
                        <a:pt x="112" y="184"/>
                      </a:lnTo>
                      <a:lnTo>
                        <a:pt x="115" y="184"/>
                      </a:lnTo>
                      <a:lnTo>
                        <a:pt x="116" y="188"/>
                      </a:lnTo>
                      <a:lnTo>
                        <a:pt x="119" y="190"/>
                      </a:lnTo>
                      <a:lnTo>
                        <a:pt x="124" y="189"/>
                      </a:lnTo>
                      <a:lnTo>
                        <a:pt x="128" y="189"/>
                      </a:lnTo>
                      <a:lnTo>
                        <a:pt x="128" y="189"/>
                      </a:lnTo>
                      <a:lnTo>
                        <a:pt x="130" y="186"/>
                      </a:lnTo>
                      <a:lnTo>
                        <a:pt x="134" y="184"/>
                      </a:lnTo>
                      <a:lnTo>
                        <a:pt x="138" y="183"/>
                      </a:lnTo>
                      <a:lnTo>
                        <a:pt x="142" y="180"/>
                      </a:lnTo>
                      <a:lnTo>
                        <a:pt x="144" y="178"/>
                      </a:lnTo>
                      <a:lnTo>
                        <a:pt x="146" y="175"/>
                      </a:lnTo>
                      <a:lnTo>
                        <a:pt x="149" y="173"/>
                      </a:lnTo>
                      <a:lnTo>
                        <a:pt x="151" y="173"/>
                      </a:lnTo>
                      <a:lnTo>
                        <a:pt x="154" y="170"/>
                      </a:lnTo>
                      <a:lnTo>
                        <a:pt x="163" y="170"/>
                      </a:lnTo>
                      <a:lnTo>
                        <a:pt x="171" y="170"/>
                      </a:lnTo>
                      <a:lnTo>
                        <a:pt x="216" y="118"/>
                      </a:lnTo>
                      <a:lnTo>
                        <a:pt x="198" y="118"/>
                      </a:lnTo>
                      <a:lnTo>
                        <a:pt x="156" y="103"/>
                      </a:lnTo>
                      <a:lnTo>
                        <a:pt x="153" y="99"/>
                      </a:lnTo>
                      <a:lnTo>
                        <a:pt x="147" y="97"/>
                      </a:lnTo>
                      <a:lnTo>
                        <a:pt x="146" y="93"/>
                      </a:lnTo>
                      <a:lnTo>
                        <a:pt x="146" y="87"/>
                      </a:lnTo>
                      <a:lnTo>
                        <a:pt x="142" y="85"/>
                      </a:lnTo>
                      <a:lnTo>
                        <a:pt x="140" y="77"/>
                      </a:lnTo>
                      <a:lnTo>
                        <a:pt x="139" y="70"/>
                      </a:lnTo>
                      <a:lnTo>
                        <a:pt x="140" y="68"/>
                      </a:lnTo>
                      <a:lnTo>
                        <a:pt x="137" y="66"/>
                      </a:lnTo>
                      <a:lnTo>
                        <a:pt x="133" y="67"/>
                      </a:lnTo>
                      <a:lnTo>
                        <a:pt x="130" y="70"/>
                      </a:lnTo>
                      <a:lnTo>
                        <a:pt x="125" y="70"/>
                      </a:lnTo>
                      <a:lnTo>
                        <a:pt x="123" y="68"/>
                      </a:lnTo>
                      <a:lnTo>
                        <a:pt x="126" y="64"/>
                      </a:lnTo>
                      <a:lnTo>
                        <a:pt x="126" y="61"/>
                      </a:lnTo>
                      <a:lnTo>
                        <a:pt x="127" y="58"/>
                      </a:lnTo>
                      <a:lnTo>
                        <a:pt x="127" y="53"/>
                      </a:lnTo>
                      <a:lnTo>
                        <a:pt x="128" y="50"/>
                      </a:lnTo>
                      <a:lnTo>
                        <a:pt x="129" y="46"/>
                      </a:lnTo>
                      <a:lnTo>
                        <a:pt x="132" y="46"/>
                      </a:lnTo>
                      <a:lnTo>
                        <a:pt x="128" y="39"/>
                      </a:lnTo>
                      <a:lnTo>
                        <a:pt x="126" y="39"/>
                      </a:lnTo>
                      <a:lnTo>
                        <a:pt x="125" y="37"/>
                      </a:lnTo>
                      <a:lnTo>
                        <a:pt x="125" y="34"/>
                      </a:lnTo>
                      <a:lnTo>
                        <a:pt x="122" y="29"/>
                      </a:lnTo>
                      <a:lnTo>
                        <a:pt x="119" y="28"/>
                      </a:lnTo>
                      <a:lnTo>
                        <a:pt x="116" y="24"/>
                      </a:lnTo>
                      <a:lnTo>
                        <a:pt x="112" y="21"/>
                      </a:lnTo>
                      <a:lnTo>
                        <a:pt x="111" y="20"/>
                      </a:lnTo>
                      <a:lnTo>
                        <a:pt x="109" y="19"/>
                      </a:lnTo>
                      <a:lnTo>
                        <a:pt x="108" y="18"/>
                      </a:lnTo>
                      <a:lnTo>
                        <a:pt x="104" y="18"/>
                      </a:lnTo>
                      <a:lnTo>
                        <a:pt x="102" y="15"/>
                      </a:lnTo>
                      <a:lnTo>
                        <a:pt x="98" y="10"/>
                      </a:lnTo>
                      <a:lnTo>
                        <a:pt x="95" y="9"/>
                      </a:lnTo>
                      <a:lnTo>
                        <a:pt x="93" y="6"/>
                      </a:lnTo>
                      <a:lnTo>
                        <a:pt x="90" y="5"/>
                      </a:lnTo>
                      <a:lnTo>
                        <a:pt x="88" y="6"/>
                      </a:lnTo>
                      <a:lnTo>
                        <a:pt x="88" y="7"/>
                      </a:lnTo>
                      <a:lnTo>
                        <a:pt x="83" y="3"/>
                      </a:lnTo>
                      <a:lnTo>
                        <a:pt x="81" y="3"/>
                      </a:lnTo>
                      <a:lnTo>
                        <a:pt x="79" y="4"/>
                      </a:lnTo>
                      <a:lnTo>
                        <a:pt x="78" y="2"/>
                      </a:lnTo>
                      <a:lnTo>
                        <a:pt x="74" y="2"/>
                      </a:lnTo>
                      <a:lnTo>
                        <a:pt x="72" y="5"/>
                      </a:lnTo>
                      <a:lnTo>
                        <a:pt x="70" y="5"/>
                      </a:lnTo>
                      <a:lnTo>
                        <a:pt x="64" y="3"/>
                      </a:lnTo>
                      <a:lnTo>
                        <a:pt x="63" y="1"/>
                      </a:lnTo>
                      <a:lnTo>
                        <a:pt x="61" y="0"/>
                      </a:lnTo>
                      <a:lnTo>
                        <a:pt x="57" y="9"/>
                      </a:lnTo>
                      <a:lnTo>
                        <a:pt x="55" y="9"/>
                      </a:lnTo>
                      <a:lnTo>
                        <a:pt x="54" y="11"/>
                      </a:lnTo>
                      <a:lnTo>
                        <a:pt x="51" y="11"/>
                      </a:lnTo>
                      <a:lnTo>
                        <a:pt x="50" y="11"/>
                      </a:lnTo>
                      <a:lnTo>
                        <a:pt x="49" y="11"/>
                      </a:lnTo>
                      <a:lnTo>
                        <a:pt x="47" y="17"/>
                      </a:lnTo>
                      <a:lnTo>
                        <a:pt x="47" y="22"/>
                      </a:lnTo>
                      <a:lnTo>
                        <a:pt x="43" y="31"/>
                      </a:lnTo>
                      <a:lnTo>
                        <a:pt x="42" y="35"/>
                      </a:lnTo>
                      <a:lnTo>
                        <a:pt x="40" y="35"/>
                      </a:lnTo>
                      <a:lnTo>
                        <a:pt x="38" y="36"/>
                      </a:lnTo>
                      <a:lnTo>
                        <a:pt x="37" y="39"/>
                      </a:lnTo>
                      <a:lnTo>
                        <a:pt x="34" y="46"/>
                      </a:lnTo>
                      <a:lnTo>
                        <a:pt x="34" y="49"/>
                      </a:lnTo>
                      <a:lnTo>
                        <a:pt x="30" y="52"/>
                      </a:lnTo>
                      <a:lnTo>
                        <a:pt x="28" y="57"/>
                      </a:lnTo>
                      <a:lnTo>
                        <a:pt x="26" y="70"/>
                      </a:lnTo>
                      <a:lnTo>
                        <a:pt x="24" y="70"/>
                      </a:lnTo>
                      <a:lnTo>
                        <a:pt x="22" y="70"/>
                      </a:lnTo>
                      <a:lnTo>
                        <a:pt x="22" y="72"/>
                      </a:lnTo>
                      <a:lnTo>
                        <a:pt x="19" y="77"/>
                      </a:lnTo>
                      <a:lnTo>
                        <a:pt x="18" y="80"/>
                      </a:lnTo>
                      <a:lnTo>
                        <a:pt x="19" y="82"/>
                      </a:lnTo>
                      <a:lnTo>
                        <a:pt x="19" y="86"/>
                      </a:lnTo>
                      <a:lnTo>
                        <a:pt x="17" y="90"/>
                      </a:lnTo>
                      <a:lnTo>
                        <a:pt x="16" y="94"/>
                      </a:lnTo>
                      <a:lnTo>
                        <a:pt x="16" y="101"/>
                      </a:lnTo>
                      <a:lnTo>
                        <a:pt x="15" y="109"/>
                      </a:lnTo>
                      <a:lnTo>
                        <a:pt x="14" y="111"/>
                      </a:lnTo>
                      <a:lnTo>
                        <a:pt x="13" y="113"/>
                      </a:lnTo>
                      <a:lnTo>
                        <a:pt x="12" y="112"/>
                      </a:lnTo>
                      <a:lnTo>
                        <a:pt x="10" y="111"/>
                      </a:lnTo>
                      <a:lnTo>
                        <a:pt x="7" y="112"/>
                      </a:lnTo>
                      <a:lnTo>
                        <a:pt x="4" y="111"/>
                      </a:lnTo>
                      <a:lnTo>
                        <a:pt x="4" y="115"/>
                      </a:lnTo>
                      <a:lnTo>
                        <a:pt x="2" y="116"/>
                      </a:lnTo>
                      <a:lnTo>
                        <a:pt x="0" y="119"/>
                      </a:lnTo>
                      <a:lnTo>
                        <a:pt x="1" y="121"/>
                      </a:lnTo>
                      <a:lnTo>
                        <a:pt x="4" y="123"/>
                      </a:lnTo>
                      <a:lnTo>
                        <a:pt x="9" y="123"/>
                      </a:lnTo>
                      <a:lnTo>
                        <a:pt x="11" y="125"/>
                      </a:lnTo>
                      <a:lnTo>
                        <a:pt x="13" y="128"/>
                      </a:lnTo>
                      <a:lnTo>
                        <a:pt x="14" y="130"/>
                      </a:lnTo>
                      <a:lnTo>
                        <a:pt x="15" y="131"/>
                      </a:lnTo>
                      <a:lnTo>
                        <a:pt x="18" y="137"/>
                      </a:lnTo>
                      <a:lnTo>
                        <a:pt x="20" y="139"/>
                      </a:lnTo>
                      <a:lnTo>
                        <a:pt x="20" y="139"/>
                      </a:lnTo>
                      <a:lnTo>
                        <a:pt x="21" y="141"/>
                      </a:lnTo>
                      <a:lnTo>
                        <a:pt x="24" y="141"/>
                      </a:lnTo>
                      <a:lnTo>
                        <a:pt x="26" y="143"/>
                      </a:lnTo>
                      <a:lnTo>
                        <a:pt x="27" y="146"/>
                      </a:lnTo>
                      <a:lnTo>
                        <a:pt x="29" y="149"/>
                      </a:lnTo>
                      <a:lnTo>
                        <a:pt x="29" y="156"/>
                      </a:lnTo>
                      <a:lnTo>
                        <a:pt x="31" y="157"/>
                      </a:lnTo>
                      <a:lnTo>
                        <a:pt x="32" y="163"/>
                      </a:lnTo>
                      <a:lnTo>
                        <a:pt x="33" y="162"/>
                      </a:lnTo>
                      <a:lnTo>
                        <a:pt x="35" y="16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13" name="Freeform 816">
                  <a:extLst>
                    <a:ext uri="{FF2B5EF4-FFF2-40B4-BE49-F238E27FC236}">
                      <a16:creationId xmlns:a16="http://schemas.microsoft.com/office/drawing/2014/main" id="{F39780F7-8368-46B5-B0AE-927DA58CC3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20" y="2493"/>
                  <a:ext cx="95" cy="101"/>
                </a:xfrm>
                <a:custGeom>
                  <a:avLst/>
                  <a:gdLst>
                    <a:gd name="T0" fmla="*/ 21 w 95"/>
                    <a:gd name="T1" fmla="*/ 5 h 101"/>
                    <a:gd name="T2" fmla="*/ 18 w 95"/>
                    <a:gd name="T3" fmla="*/ 7 h 101"/>
                    <a:gd name="T4" fmla="*/ 13 w 95"/>
                    <a:gd name="T5" fmla="*/ 10 h 101"/>
                    <a:gd name="T6" fmla="*/ 14 w 95"/>
                    <a:gd name="T7" fmla="*/ 13 h 101"/>
                    <a:gd name="T8" fmla="*/ 9 w 95"/>
                    <a:gd name="T9" fmla="*/ 15 h 101"/>
                    <a:gd name="T10" fmla="*/ 7 w 95"/>
                    <a:gd name="T11" fmla="*/ 20 h 101"/>
                    <a:gd name="T12" fmla="*/ 7 w 95"/>
                    <a:gd name="T13" fmla="*/ 25 h 101"/>
                    <a:gd name="T14" fmla="*/ 7 w 95"/>
                    <a:gd name="T15" fmla="*/ 28 h 101"/>
                    <a:gd name="T16" fmla="*/ 4 w 95"/>
                    <a:gd name="T17" fmla="*/ 42 h 101"/>
                    <a:gd name="T18" fmla="*/ 2 w 95"/>
                    <a:gd name="T19" fmla="*/ 49 h 101"/>
                    <a:gd name="T20" fmla="*/ 0 w 95"/>
                    <a:gd name="T21" fmla="*/ 55 h 101"/>
                    <a:gd name="T22" fmla="*/ 3 w 95"/>
                    <a:gd name="T23" fmla="*/ 65 h 101"/>
                    <a:gd name="T24" fmla="*/ 8 w 95"/>
                    <a:gd name="T25" fmla="*/ 66 h 101"/>
                    <a:gd name="T26" fmla="*/ 11 w 95"/>
                    <a:gd name="T27" fmla="*/ 64 h 101"/>
                    <a:gd name="T28" fmla="*/ 17 w 95"/>
                    <a:gd name="T29" fmla="*/ 56 h 101"/>
                    <a:gd name="T30" fmla="*/ 24 w 95"/>
                    <a:gd name="T31" fmla="*/ 60 h 101"/>
                    <a:gd name="T32" fmla="*/ 28 w 95"/>
                    <a:gd name="T33" fmla="*/ 57 h 101"/>
                    <a:gd name="T34" fmla="*/ 33 w 95"/>
                    <a:gd name="T35" fmla="*/ 59 h 101"/>
                    <a:gd name="T36" fmla="*/ 37 w 95"/>
                    <a:gd name="T37" fmla="*/ 58 h 101"/>
                    <a:gd name="T38" fmla="*/ 42 w 95"/>
                    <a:gd name="T39" fmla="*/ 61 h 101"/>
                    <a:gd name="T40" fmla="*/ 47 w 95"/>
                    <a:gd name="T41" fmla="*/ 61 h 101"/>
                    <a:gd name="T42" fmla="*/ 52 w 95"/>
                    <a:gd name="T43" fmla="*/ 65 h 101"/>
                    <a:gd name="T44" fmla="*/ 58 w 95"/>
                    <a:gd name="T45" fmla="*/ 73 h 101"/>
                    <a:gd name="T46" fmla="*/ 63 w 95"/>
                    <a:gd name="T47" fmla="*/ 74 h 101"/>
                    <a:gd name="T48" fmla="*/ 66 w 95"/>
                    <a:gd name="T49" fmla="*/ 76 h 101"/>
                    <a:gd name="T50" fmla="*/ 73 w 95"/>
                    <a:gd name="T51" fmla="*/ 83 h 101"/>
                    <a:gd name="T52" fmla="*/ 79 w 95"/>
                    <a:gd name="T53" fmla="*/ 89 h 101"/>
                    <a:gd name="T54" fmla="*/ 80 w 95"/>
                    <a:gd name="T55" fmla="*/ 94 h 101"/>
                    <a:gd name="T56" fmla="*/ 86 w 95"/>
                    <a:gd name="T57" fmla="*/ 101 h 101"/>
                    <a:gd name="T58" fmla="*/ 90 w 95"/>
                    <a:gd name="T59" fmla="*/ 98 h 101"/>
                    <a:gd name="T60" fmla="*/ 95 w 95"/>
                    <a:gd name="T61" fmla="*/ 94 h 101"/>
                    <a:gd name="T62" fmla="*/ 94 w 95"/>
                    <a:gd name="T63" fmla="*/ 92 h 101"/>
                    <a:gd name="T64" fmla="*/ 91 w 95"/>
                    <a:gd name="T65" fmla="*/ 93 h 101"/>
                    <a:gd name="T66" fmla="*/ 88 w 95"/>
                    <a:gd name="T67" fmla="*/ 89 h 101"/>
                    <a:gd name="T68" fmla="*/ 87 w 95"/>
                    <a:gd name="T69" fmla="*/ 85 h 101"/>
                    <a:gd name="T70" fmla="*/ 83 w 95"/>
                    <a:gd name="T71" fmla="*/ 77 h 101"/>
                    <a:gd name="T72" fmla="*/ 82 w 95"/>
                    <a:gd name="T73" fmla="*/ 76 h 101"/>
                    <a:gd name="T74" fmla="*/ 78 w 95"/>
                    <a:gd name="T75" fmla="*/ 74 h 101"/>
                    <a:gd name="T76" fmla="*/ 73 w 95"/>
                    <a:gd name="T77" fmla="*/ 68 h 101"/>
                    <a:gd name="T78" fmla="*/ 68 w 95"/>
                    <a:gd name="T79" fmla="*/ 60 h 101"/>
                    <a:gd name="T80" fmla="*/ 63 w 95"/>
                    <a:gd name="T81" fmla="*/ 57 h 101"/>
                    <a:gd name="T82" fmla="*/ 58 w 95"/>
                    <a:gd name="T83" fmla="*/ 54 h 101"/>
                    <a:gd name="T84" fmla="*/ 55 w 95"/>
                    <a:gd name="T85" fmla="*/ 54 h 101"/>
                    <a:gd name="T86" fmla="*/ 52 w 95"/>
                    <a:gd name="T87" fmla="*/ 53 h 101"/>
                    <a:gd name="T88" fmla="*/ 51 w 95"/>
                    <a:gd name="T89" fmla="*/ 47 h 101"/>
                    <a:gd name="T90" fmla="*/ 47 w 95"/>
                    <a:gd name="T91" fmla="*/ 43 h 101"/>
                    <a:gd name="T92" fmla="*/ 48 w 95"/>
                    <a:gd name="T93" fmla="*/ 47 h 101"/>
                    <a:gd name="T94" fmla="*/ 46 w 95"/>
                    <a:gd name="T95" fmla="*/ 51 h 101"/>
                    <a:gd name="T96" fmla="*/ 43 w 95"/>
                    <a:gd name="T97" fmla="*/ 42 h 101"/>
                    <a:gd name="T98" fmla="*/ 42 w 95"/>
                    <a:gd name="T99" fmla="*/ 39 h 101"/>
                    <a:gd name="T100" fmla="*/ 39 w 95"/>
                    <a:gd name="T101" fmla="*/ 35 h 101"/>
                    <a:gd name="T102" fmla="*/ 32 w 95"/>
                    <a:gd name="T103" fmla="*/ 4 h 101"/>
                    <a:gd name="T104" fmla="*/ 28 w 95"/>
                    <a:gd name="T105" fmla="*/ 0 h 101"/>
                    <a:gd name="T106" fmla="*/ 24 w 95"/>
                    <a:gd name="T107" fmla="*/ 4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95" h="101">
                      <a:moveTo>
                        <a:pt x="24" y="4"/>
                      </a:moveTo>
                      <a:lnTo>
                        <a:pt x="21" y="5"/>
                      </a:lnTo>
                      <a:lnTo>
                        <a:pt x="21" y="7"/>
                      </a:lnTo>
                      <a:lnTo>
                        <a:pt x="18" y="7"/>
                      </a:lnTo>
                      <a:lnTo>
                        <a:pt x="16" y="9"/>
                      </a:lnTo>
                      <a:lnTo>
                        <a:pt x="13" y="10"/>
                      </a:lnTo>
                      <a:lnTo>
                        <a:pt x="13" y="11"/>
                      </a:lnTo>
                      <a:lnTo>
                        <a:pt x="14" y="13"/>
                      </a:lnTo>
                      <a:lnTo>
                        <a:pt x="13" y="15"/>
                      </a:lnTo>
                      <a:lnTo>
                        <a:pt x="9" y="15"/>
                      </a:lnTo>
                      <a:lnTo>
                        <a:pt x="7" y="16"/>
                      </a:lnTo>
                      <a:lnTo>
                        <a:pt x="7" y="20"/>
                      </a:lnTo>
                      <a:lnTo>
                        <a:pt x="7" y="24"/>
                      </a:lnTo>
                      <a:lnTo>
                        <a:pt x="7" y="25"/>
                      </a:lnTo>
                      <a:lnTo>
                        <a:pt x="8" y="26"/>
                      </a:lnTo>
                      <a:lnTo>
                        <a:pt x="7" y="28"/>
                      </a:lnTo>
                      <a:lnTo>
                        <a:pt x="6" y="33"/>
                      </a:lnTo>
                      <a:lnTo>
                        <a:pt x="4" y="42"/>
                      </a:lnTo>
                      <a:lnTo>
                        <a:pt x="2" y="45"/>
                      </a:lnTo>
                      <a:lnTo>
                        <a:pt x="2" y="49"/>
                      </a:lnTo>
                      <a:lnTo>
                        <a:pt x="0" y="50"/>
                      </a:lnTo>
                      <a:lnTo>
                        <a:pt x="0" y="55"/>
                      </a:lnTo>
                      <a:lnTo>
                        <a:pt x="2" y="62"/>
                      </a:lnTo>
                      <a:lnTo>
                        <a:pt x="3" y="65"/>
                      </a:lnTo>
                      <a:lnTo>
                        <a:pt x="5" y="66"/>
                      </a:lnTo>
                      <a:lnTo>
                        <a:pt x="8" y="66"/>
                      </a:lnTo>
                      <a:lnTo>
                        <a:pt x="9" y="64"/>
                      </a:lnTo>
                      <a:lnTo>
                        <a:pt x="11" y="64"/>
                      </a:lnTo>
                      <a:lnTo>
                        <a:pt x="15" y="55"/>
                      </a:lnTo>
                      <a:lnTo>
                        <a:pt x="17" y="56"/>
                      </a:lnTo>
                      <a:lnTo>
                        <a:pt x="18" y="58"/>
                      </a:lnTo>
                      <a:lnTo>
                        <a:pt x="24" y="60"/>
                      </a:lnTo>
                      <a:lnTo>
                        <a:pt x="26" y="60"/>
                      </a:lnTo>
                      <a:lnTo>
                        <a:pt x="28" y="57"/>
                      </a:lnTo>
                      <a:lnTo>
                        <a:pt x="32" y="57"/>
                      </a:lnTo>
                      <a:lnTo>
                        <a:pt x="33" y="59"/>
                      </a:lnTo>
                      <a:lnTo>
                        <a:pt x="35" y="58"/>
                      </a:lnTo>
                      <a:lnTo>
                        <a:pt x="37" y="58"/>
                      </a:lnTo>
                      <a:lnTo>
                        <a:pt x="42" y="62"/>
                      </a:lnTo>
                      <a:lnTo>
                        <a:pt x="42" y="61"/>
                      </a:lnTo>
                      <a:lnTo>
                        <a:pt x="44" y="60"/>
                      </a:lnTo>
                      <a:lnTo>
                        <a:pt x="47" y="61"/>
                      </a:lnTo>
                      <a:lnTo>
                        <a:pt x="49" y="64"/>
                      </a:lnTo>
                      <a:lnTo>
                        <a:pt x="52" y="65"/>
                      </a:lnTo>
                      <a:lnTo>
                        <a:pt x="56" y="70"/>
                      </a:lnTo>
                      <a:lnTo>
                        <a:pt x="58" y="73"/>
                      </a:lnTo>
                      <a:lnTo>
                        <a:pt x="62" y="73"/>
                      </a:lnTo>
                      <a:lnTo>
                        <a:pt x="63" y="74"/>
                      </a:lnTo>
                      <a:lnTo>
                        <a:pt x="65" y="75"/>
                      </a:lnTo>
                      <a:lnTo>
                        <a:pt x="66" y="76"/>
                      </a:lnTo>
                      <a:lnTo>
                        <a:pt x="70" y="79"/>
                      </a:lnTo>
                      <a:lnTo>
                        <a:pt x="73" y="83"/>
                      </a:lnTo>
                      <a:lnTo>
                        <a:pt x="76" y="84"/>
                      </a:lnTo>
                      <a:lnTo>
                        <a:pt x="79" y="89"/>
                      </a:lnTo>
                      <a:lnTo>
                        <a:pt x="79" y="92"/>
                      </a:lnTo>
                      <a:lnTo>
                        <a:pt x="80" y="94"/>
                      </a:lnTo>
                      <a:lnTo>
                        <a:pt x="82" y="94"/>
                      </a:lnTo>
                      <a:lnTo>
                        <a:pt x="86" y="101"/>
                      </a:lnTo>
                      <a:lnTo>
                        <a:pt x="89" y="100"/>
                      </a:lnTo>
                      <a:lnTo>
                        <a:pt x="90" y="98"/>
                      </a:lnTo>
                      <a:lnTo>
                        <a:pt x="92" y="97"/>
                      </a:lnTo>
                      <a:lnTo>
                        <a:pt x="95" y="94"/>
                      </a:lnTo>
                      <a:lnTo>
                        <a:pt x="94" y="94"/>
                      </a:lnTo>
                      <a:lnTo>
                        <a:pt x="94" y="92"/>
                      </a:lnTo>
                      <a:lnTo>
                        <a:pt x="93" y="94"/>
                      </a:lnTo>
                      <a:lnTo>
                        <a:pt x="91" y="93"/>
                      </a:lnTo>
                      <a:lnTo>
                        <a:pt x="90" y="93"/>
                      </a:lnTo>
                      <a:lnTo>
                        <a:pt x="88" y="89"/>
                      </a:lnTo>
                      <a:lnTo>
                        <a:pt x="89" y="88"/>
                      </a:lnTo>
                      <a:lnTo>
                        <a:pt x="87" y="85"/>
                      </a:lnTo>
                      <a:lnTo>
                        <a:pt x="85" y="84"/>
                      </a:lnTo>
                      <a:lnTo>
                        <a:pt x="83" y="77"/>
                      </a:lnTo>
                      <a:lnTo>
                        <a:pt x="82" y="76"/>
                      </a:lnTo>
                      <a:lnTo>
                        <a:pt x="82" y="76"/>
                      </a:lnTo>
                      <a:lnTo>
                        <a:pt x="80" y="76"/>
                      </a:lnTo>
                      <a:lnTo>
                        <a:pt x="78" y="74"/>
                      </a:lnTo>
                      <a:lnTo>
                        <a:pt x="76" y="73"/>
                      </a:lnTo>
                      <a:lnTo>
                        <a:pt x="73" y="68"/>
                      </a:lnTo>
                      <a:lnTo>
                        <a:pt x="69" y="62"/>
                      </a:lnTo>
                      <a:lnTo>
                        <a:pt x="68" y="60"/>
                      </a:lnTo>
                      <a:lnTo>
                        <a:pt x="64" y="59"/>
                      </a:lnTo>
                      <a:lnTo>
                        <a:pt x="63" y="57"/>
                      </a:lnTo>
                      <a:lnTo>
                        <a:pt x="60" y="53"/>
                      </a:lnTo>
                      <a:lnTo>
                        <a:pt x="58" y="54"/>
                      </a:lnTo>
                      <a:lnTo>
                        <a:pt x="57" y="53"/>
                      </a:lnTo>
                      <a:lnTo>
                        <a:pt x="55" y="54"/>
                      </a:lnTo>
                      <a:lnTo>
                        <a:pt x="54" y="55"/>
                      </a:lnTo>
                      <a:lnTo>
                        <a:pt x="52" y="53"/>
                      </a:lnTo>
                      <a:lnTo>
                        <a:pt x="49" y="49"/>
                      </a:lnTo>
                      <a:lnTo>
                        <a:pt x="51" y="47"/>
                      </a:lnTo>
                      <a:lnTo>
                        <a:pt x="48" y="43"/>
                      </a:lnTo>
                      <a:lnTo>
                        <a:pt x="47" y="43"/>
                      </a:lnTo>
                      <a:lnTo>
                        <a:pt x="47" y="47"/>
                      </a:lnTo>
                      <a:lnTo>
                        <a:pt x="48" y="47"/>
                      </a:lnTo>
                      <a:lnTo>
                        <a:pt x="48" y="52"/>
                      </a:lnTo>
                      <a:lnTo>
                        <a:pt x="46" y="51"/>
                      </a:lnTo>
                      <a:lnTo>
                        <a:pt x="45" y="45"/>
                      </a:lnTo>
                      <a:lnTo>
                        <a:pt x="43" y="42"/>
                      </a:lnTo>
                      <a:lnTo>
                        <a:pt x="42" y="41"/>
                      </a:lnTo>
                      <a:lnTo>
                        <a:pt x="42" y="39"/>
                      </a:lnTo>
                      <a:lnTo>
                        <a:pt x="41" y="35"/>
                      </a:lnTo>
                      <a:lnTo>
                        <a:pt x="39" y="35"/>
                      </a:lnTo>
                      <a:lnTo>
                        <a:pt x="38" y="22"/>
                      </a:lnTo>
                      <a:lnTo>
                        <a:pt x="32" y="4"/>
                      </a:lnTo>
                      <a:lnTo>
                        <a:pt x="28" y="0"/>
                      </a:lnTo>
                      <a:lnTo>
                        <a:pt x="28" y="0"/>
                      </a:lnTo>
                      <a:lnTo>
                        <a:pt x="26" y="3"/>
                      </a:lnTo>
                      <a:lnTo>
                        <a:pt x="24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14" name="Freeform 817">
                  <a:extLst>
                    <a:ext uri="{FF2B5EF4-FFF2-40B4-BE49-F238E27FC236}">
                      <a16:creationId xmlns:a16="http://schemas.microsoft.com/office/drawing/2014/main" id="{24E97990-ED95-4F3E-9B52-B2E3AD9C24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7" y="2587"/>
                  <a:ext cx="22" cy="31"/>
                </a:xfrm>
                <a:custGeom>
                  <a:avLst/>
                  <a:gdLst>
                    <a:gd name="T0" fmla="*/ 13 w 22"/>
                    <a:gd name="T1" fmla="*/ 4 h 31"/>
                    <a:gd name="T2" fmla="*/ 12 w 22"/>
                    <a:gd name="T3" fmla="*/ 6 h 31"/>
                    <a:gd name="T4" fmla="*/ 6 w 22"/>
                    <a:gd name="T5" fmla="*/ 7 h 31"/>
                    <a:gd name="T6" fmla="*/ 5 w 22"/>
                    <a:gd name="T7" fmla="*/ 11 h 31"/>
                    <a:gd name="T8" fmla="*/ 4 w 22"/>
                    <a:gd name="T9" fmla="*/ 14 h 31"/>
                    <a:gd name="T10" fmla="*/ 4 w 22"/>
                    <a:gd name="T11" fmla="*/ 19 h 31"/>
                    <a:gd name="T12" fmla="*/ 3 w 22"/>
                    <a:gd name="T13" fmla="*/ 22 h 31"/>
                    <a:gd name="T14" fmla="*/ 3 w 22"/>
                    <a:gd name="T15" fmla="*/ 25 h 31"/>
                    <a:gd name="T16" fmla="*/ 0 w 22"/>
                    <a:gd name="T17" fmla="*/ 29 h 31"/>
                    <a:gd name="T18" fmla="*/ 2 w 22"/>
                    <a:gd name="T19" fmla="*/ 31 h 31"/>
                    <a:gd name="T20" fmla="*/ 7 w 22"/>
                    <a:gd name="T21" fmla="*/ 31 h 31"/>
                    <a:gd name="T22" fmla="*/ 10 w 22"/>
                    <a:gd name="T23" fmla="*/ 28 h 31"/>
                    <a:gd name="T24" fmla="*/ 14 w 22"/>
                    <a:gd name="T25" fmla="*/ 27 h 31"/>
                    <a:gd name="T26" fmla="*/ 17 w 22"/>
                    <a:gd name="T27" fmla="*/ 29 h 31"/>
                    <a:gd name="T28" fmla="*/ 17 w 22"/>
                    <a:gd name="T29" fmla="*/ 28 h 31"/>
                    <a:gd name="T30" fmla="*/ 20 w 22"/>
                    <a:gd name="T31" fmla="*/ 21 h 31"/>
                    <a:gd name="T32" fmla="*/ 20 w 22"/>
                    <a:gd name="T33" fmla="*/ 20 h 31"/>
                    <a:gd name="T34" fmla="*/ 17 w 22"/>
                    <a:gd name="T35" fmla="*/ 20 h 31"/>
                    <a:gd name="T36" fmla="*/ 14 w 22"/>
                    <a:gd name="T37" fmla="*/ 21 h 31"/>
                    <a:gd name="T38" fmla="*/ 14 w 22"/>
                    <a:gd name="T39" fmla="*/ 20 h 31"/>
                    <a:gd name="T40" fmla="*/ 12 w 22"/>
                    <a:gd name="T41" fmla="*/ 18 h 31"/>
                    <a:gd name="T42" fmla="*/ 15 w 22"/>
                    <a:gd name="T43" fmla="*/ 18 h 31"/>
                    <a:gd name="T44" fmla="*/ 16 w 22"/>
                    <a:gd name="T45" fmla="*/ 16 h 31"/>
                    <a:gd name="T46" fmla="*/ 18 w 22"/>
                    <a:gd name="T47" fmla="*/ 16 h 31"/>
                    <a:gd name="T48" fmla="*/ 20 w 22"/>
                    <a:gd name="T49" fmla="*/ 12 h 31"/>
                    <a:gd name="T50" fmla="*/ 22 w 22"/>
                    <a:gd name="T51" fmla="*/ 12 h 31"/>
                    <a:gd name="T52" fmla="*/ 21 w 22"/>
                    <a:gd name="T53" fmla="*/ 7 h 31"/>
                    <a:gd name="T54" fmla="*/ 22 w 22"/>
                    <a:gd name="T55" fmla="*/ 5 h 31"/>
                    <a:gd name="T56" fmla="*/ 21 w 22"/>
                    <a:gd name="T57" fmla="*/ 5 h 31"/>
                    <a:gd name="T58" fmla="*/ 18 w 22"/>
                    <a:gd name="T59" fmla="*/ 1 h 31"/>
                    <a:gd name="T60" fmla="*/ 18 w 22"/>
                    <a:gd name="T61" fmla="*/ 0 h 31"/>
                    <a:gd name="T62" fmla="*/ 18 w 22"/>
                    <a:gd name="T63" fmla="*/ 0 h 31"/>
                    <a:gd name="T64" fmla="*/ 15 w 22"/>
                    <a:gd name="T65" fmla="*/ 3 h 31"/>
                    <a:gd name="T66" fmla="*/ 13 w 22"/>
                    <a:gd name="T67" fmla="*/ 4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2" h="31">
                      <a:moveTo>
                        <a:pt x="13" y="4"/>
                      </a:moveTo>
                      <a:lnTo>
                        <a:pt x="12" y="6"/>
                      </a:lnTo>
                      <a:lnTo>
                        <a:pt x="6" y="7"/>
                      </a:lnTo>
                      <a:lnTo>
                        <a:pt x="5" y="11"/>
                      </a:lnTo>
                      <a:lnTo>
                        <a:pt x="4" y="14"/>
                      </a:lnTo>
                      <a:lnTo>
                        <a:pt x="4" y="19"/>
                      </a:lnTo>
                      <a:lnTo>
                        <a:pt x="3" y="22"/>
                      </a:lnTo>
                      <a:lnTo>
                        <a:pt x="3" y="25"/>
                      </a:lnTo>
                      <a:lnTo>
                        <a:pt x="0" y="29"/>
                      </a:lnTo>
                      <a:lnTo>
                        <a:pt x="2" y="31"/>
                      </a:lnTo>
                      <a:lnTo>
                        <a:pt x="7" y="31"/>
                      </a:lnTo>
                      <a:lnTo>
                        <a:pt x="10" y="28"/>
                      </a:lnTo>
                      <a:lnTo>
                        <a:pt x="14" y="27"/>
                      </a:lnTo>
                      <a:lnTo>
                        <a:pt x="17" y="29"/>
                      </a:lnTo>
                      <a:lnTo>
                        <a:pt x="17" y="28"/>
                      </a:lnTo>
                      <a:lnTo>
                        <a:pt x="20" y="21"/>
                      </a:lnTo>
                      <a:lnTo>
                        <a:pt x="20" y="20"/>
                      </a:lnTo>
                      <a:lnTo>
                        <a:pt x="17" y="20"/>
                      </a:lnTo>
                      <a:lnTo>
                        <a:pt x="14" y="21"/>
                      </a:lnTo>
                      <a:lnTo>
                        <a:pt x="14" y="20"/>
                      </a:lnTo>
                      <a:lnTo>
                        <a:pt x="12" y="18"/>
                      </a:lnTo>
                      <a:lnTo>
                        <a:pt x="15" y="18"/>
                      </a:lnTo>
                      <a:lnTo>
                        <a:pt x="16" y="16"/>
                      </a:lnTo>
                      <a:lnTo>
                        <a:pt x="18" y="16"/>
                      </a:lnTo>
                      <a:lnTo>
                        <a:pt x="20" y="12"/>
                      </a:lnTo>
                      <a:lnTo>
                        <a:pt x="22" y="12"/>
                      </a:lnTo>
                      <a:lnTo>
                        <a:pt x="21" y="7"/>
                      </a:lnTo>
                      <a:lnTo>
                        <a:pt x="22" y="5"/>
                      </a:lnTo>
                      <a:lnTo>
                        <a:pt x="21" y="5"/>
                      </a:lnTo>
                      <a:lnTo>
                        <a:pt x="18" y="1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5" y="3"/>
                      </a:lnTo>
                      <a:lnTo>
                        <a:pt x="13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15" name="Freeform 818">
                  <a:extLst>
                    <a:ext uri="{FF2B5EF4-FFF2-40B4-BE49-F238E27FC236}">
                      <a16:creationId xmlns:a16="http://schemas.microsoft.com/office/drawing/2014/main" id="{8C7B3367-8F69-4011-8A45-E8685BAAE7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88" y="2600"/>
                  <a:ext cx="145" cy="230"/>
                </a:xfrm>
                <a:custGeom>
                  <a:avLst/>
                  <a:gdLst>
                    <a:gd name="T0" fmla="*/ 28 w 145"/>
                    <a:gd name="T1" fmla="*/ 33 h 230"/>
                    <a:gd name="T2" fmla="*/ 33 w 145"/>
                    <a:gd name="T3" fmla="*/ 45 h 230"/>
                    <a:gd name="T4" fmla="*/ 84 w 145"/>
                    <a:gd name="T5" fmla="*/ 66 h 230"/>
                    <a:gd name="T6" fmla="*/ 49 w 145"/>
                    <a:gd name="T7" fmla="*/ 118 h 230"/>
                    <a:gd name="T8" fmla="*/ 35 w 145"/>
                    <a:gd name="T9" fmla="*/ 121 h 230"/>
                    <a:gd name="T10" fmla="*/ 28 w 145"/>
                    <a:gd name="T11" fmla="*/ 128 h 230"/>
                    <a:gd name="T12" fmla="*/ 16 w 145"/>
                    <a:gd name="T13" fmla="*/ 134 h 230"/>
                    <a:gd name="T14" fmla="*/ 14 w 145"/>
                    <a:gd name="T15" fmla="*/ 137 h 230"/>
                    <a:gd name="T16" fmla="*/ 10 w 145"/>
                    <a:gd name="T17" fmla="*/ 230 h 230"/>
                    <a:gd name="T18" fmla="*/ 23 w 145"/>
                    <a:gd name="T19" fmla="*/ 210 h 230"/>
                    <a:gd name="T20" fmla="*/ 30 w 145"/>
                    <a:gd name="T21" fmla="*/ 203 h 230"/>
                    <a:gd name="T22" fmla="*/ 42 w 145"/>
                    <a:gd name="T23" fmla="*/ 191 h 230"/>
                    <a:gd name="T24" fmla="*/ 61 w 145"/>
                    <a:gd name="T25" fmla="*/ 171 h 230"/>
                    <a:gd name="T26" fmla="*/ 88 w 145"/>
                    <a:gd name="T27" fmla="*/ 146 h 230"/>
                    <a:gd name="T28" fmla="*/ 100 w 145"/>
                    <a:gd name="T29" fmla="*/ 126 h 230"/>
                    <a:gd name="T30" fmla="*/ 116 w 145"/>
                    <a:gd name="T31" fmla="*/ 99 h 230"/>
                    <a:gd name="T32" fmla="*/ 126 w 145"/>
                    <a:gd name="T33" fmla="*/ 73 h 230"/>
                    <a:gd name="T34" fmla="*/ 127 w 145"/>
                    <a:gd name="T35" fmla="*/ 65 h 230"/>
                    <a:gd name="T36" fmla="*/ 134 w 145"/>
                    <a:gd name="T37" fmla="*/ 54 h 230"/>
                    <a:gd name="T38" fmla="*/ 140 w 145"/>
                    <a:gd name="T39" fmla="*/ 39 h 230"/>
                    <a:gd name="T40" fmla="*/ 141 w 145"/>
                    <a:gd name="T41" fmla="*/ 29 h 230"/>
                    <a:gd name="T42" fmla="*/ 144 w 145"/>
                    <a:gd name="T43" fmla="*/ 29 h 230"/>
                    <a:gd name="T44" fmla="*/ 144 w 145"/>
                    <a:gd name="T45" fmla="*/ 27 h 230"/>
                    <a:gd name="T46" fmla="*/ 143 w 145"/>
                    <a:gd name="T47" fmla="*/ 25 h 230"/>
                    <a:gd name="T48" fmla="*/ 142 w 145"/>
                    <a:gd name="T49" fmla="*/ 17 h 230"/>
                    <a:gd name="T50" fmla="*/ 142 w 145"/>
                    <a:gd name="T51" fmla="*/ 14 h 230"/>
                    <a:gd name="T52" fmla="*/ 142 w 145"/>
                    <a:gd name="T53" fmla="*/ 8 h 230"/>
                    <a:gd name="T54" fmla="*/ 144 w 145"/>
                    <a:gd name="T55" fmla="*/ 2 h 230"/>
                    <a:gd name="T56" fmla="*/ 137 w 145"/>
                    <a:gd name="T57" fmla="*/ 0 h 230"/>
                    <a:gd name="T58" fmla="*/ 134 w 145"/>
                    <a:gd name="T59" fmla="*/ 2 h 230"/>
                    <a:gd name="T60" fmla="*/ 133 w 145"/>
                    <a:gd name="T61" fmla="*/ 4 h 230"/>
                    <a:gd name="T62" fmla="*/ 126 w 145"/>
                    <a:gd name="T63" fmla="*/ 10 h 230"/>
                    <a:gd name="T64" fmla="*/ 118 w 145"/>
                    <a:gd name="T65" fmla="*/ 11 h 230"/>
                    <a:gd name="T66" fmla="*/ 108 w 145"/>
                    <a:gd name="T67" fmla="*/ 12 h 230"/>
                    <a:gd name="T68" fmla="*/ 96 w 145"/>
                    <a:gd name="T69" fmla="*/ 14 h 230"/>
                    <a:gd name="T70" fmla="*/ 88 w 145"/>
                    <a:gd name="T71" fmla="*/ 14 h 230"/>
                    <a:gd name="T72" fmla="*/ 73 w 145"/>
                    <a:gd name="T73" fmla="*/ 20 h 230"/>
                    <a:gd name="T74" fmla="*/ 67 w 145"/>
                    <a:gd name="T75" fmla="*/ 20 h 230"/>
                    <a:gd name="T76" fmla="*/ 58 w 145"/>
                    <a:gd name="T77" fmla="*/ 25 h 230"/>
                    <a:gd name="T78" fmla="*/ 49 w 145"/>
                    <a:gd name="T79" fmla="*/ 29 h 230"/>
                    <a:gd name="T80" fmla="*/ 41 w 145"/>
                    <a:gd name="T81" fmla="*/ 25 h 230"/>
                    <a:gd name="T82" fmla="*/ 30 w 145"/>
                    <a:gd name="T83" fmla="*/ 10 h 230"/>
                    <a:gd name="T84" fmla="*/ 25 w 145"/>
                    <a:gd name="T85" fmla="*/ 18 h 2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45" h="230">
                      <a:moveTo>
                        <a:pt x="25" y="18"/>
                      </a:moveTo>
                      <a:lnTo>
                        <a:pt x="26" y="25"/>
                      </a:lnTo>
                      <a:lnTo>
                        <a:pt x="28" y="33"/>
                      </a:lnTo>
                      <a:lnTo>
                        <a:pt x="32" y="35"/>
                      </a:lnTo>
                      <a:lnTo>
                        <a:pt x="32" y="41"/>
                      </a:lnTo>
                      <a:lnTo>
                        <a:pt x="33" y="45"/>
                      </a:lnTo>
                      <a:lnTo>
                        <a:pt x="39" y="47"/>
                      </a:lnTo>
                      <a:lnTo>
                        <a:pt x="42" y="51"/>
                      </a:lnTo>
                      <a:lnTo>
                        <a:pt x="84" y="66"/>
                      </a:lnTo>
                      <a:lnTo>
                        <a:pt x="102" y="66"/>
                      </a:lnTo>
                      <a:lnTo>
                        <a:pt x="57" y="118"/>
                      </a:lnTo>
                      <a:lnTo>
                        <a:pt x="49" y="118"/>
                      </a:lnTo>
                      <a:lnTo>
                        <a:pt x="40" y="118"/>
                      </a:lnTo>
                      <a:lnTo>
                        <a:pt x="37" y="121"/>
                      </a:lnTo>
                      <a:lnTo>
                        <a:pt x="35" y="121"/>
                      </a:lnTo>
                      <a:lnTo>
                        <a:pt x="32" y="123"/>
                      </a:lnTo>
                      <a:lnTo>
                        <a:pt x="30" y="126"/>
                      </a:lnTo>
                      <a:lnTo>
                        <a:pt x="28" y="128"/>
                      </a:lnTo>
                      <a:lnTo>
                        <a:pt x="24" y="131"/>
                      </a:lnTo>
                      <a:lnTo>
                        <a:pt x="20" y="132"/>
                      </a:lnTo>
                      <a:lnTo>
                        <a:pt x="16" y="134"/>
                      </a:lnTo>
                      <a:lnTo>
                        <a:pt x="14" y="137"/>
                      </a:lnTo>
                      <a:lnTo>
                        <a:pt x="14" y="137"/>
                      </a:lnTo>
                      <a:lnTo>
                        <a:pt x="14" y="137"/>
                      </a:lnTo>
                      <a:lnTo>
                        <a:pt x="1" y="152"/>
                      </a:lnTo>
                      <a:lnTo>
                        <a:pt x="0" y="219"/>
                      </a:lnTo>
                      <a:lnTo>
                        <a:pt x="10" y="230"/>
                      </a:lnTo>
                      <a:lnTo>
                        <a:pt x="10" y="229"/>
                      </a:lnTo>
                      <a:lnTo>
                        <a:pt x="23" y="214"/>
                      </a:lnTo>
                      <a:lnTo>
                        <a:pt x="23" y="210"/>
                      </a:lnTo>
                      <a:lnTo>
                        <a:pt x="26" y="207"/>
                      </a:lnTo>
                      <a:lnTo>
                        <a:pt x="29" y="205"/>
                      </a:lnTo>
                      <a:lnTo>
                        <a:pt x="30" y="203"/>
                      </a:lnTo>
                      <a:lnTo>
                        <a:pt x="32" y="202"/>
                      </a:lnTo>
                      <a:lnTo>
                        <a:pt x="40" y="192"/>
                      </a:lnTo>
                      <a:lnTo>
                        <a:pt x="42" y="191"/>
                      </a:lnTo>
                      <a:lnTo>
                        <a:pt x="51" y="179"/>
                      </a:lnTo>
                      <a:lnTo>
                        <a:pt x="57" y="174"/>
                      </a:lnTo>
                      <a:lnTo>
                        <a:pt x="61" y="171"/>
                      </a:lnTo>
                      <a:lnTo>
                        <a:pt x="65" y="170"/>
                      </a:lnTo>
                      <a:lnTo>
                        <a:pt x="72" y="163"/>
                      </a:lnTo>
                      <a:lnTo>
                        <a:pt x="88" y="146"/>
                      </a:lnTo>
                      <a:lnTo>
                        <a:pt x="95" y="135"/>
                      </a:lnTo>
                      <a:lnTo>
                        <a:pt x="99" y="130"/>
                      </a:lnTo>
                      <a:lnTo>
                        <a:pt x="100" y="126"/>
                      </a:lnTo>
                      <a:lnTo>
                        <a:pt x="110" y="111"/>
                      </a:lnTo>
                      <a:lnTo>
                        <a:pt x="110" y="108"/>
                      </a:lnTo>
                      <a:lnTo>
                        <a:pt x="116" y="99"/>
                      </a:lnTo>
                      <a:lnTo>
                        <a:pt x="116" y="94"/>
                      </a:lnTo>
                      <a:lnTo>
                        <a:pt x="123" y="76"/>
                      </a:lnTo>
                      <a:lnTo>
                        <a:pt x="126" y="73"/>
                      </a:lnTo>
                      <a:lnTo>
                        <a:pt x="124" y="71"/>
                      </a:lnTo>
                      <a:lnTo>
                        <a:pt x="124" y="69"/>
                      </a:lnTo>
                      <a:lnTo>
                        <a:pt x="127" y="65"/>
                      </a:lnTo>
                      <a:lnTo>
                        <a:pt x="129" y="66"/>
                      </a:lnTo>
                      <a:lnTo>
                        <a:pt x="130" y="63"/>
                      </a:lnTo>
                      <a:lnTo>
                        <a:pt x="134" y="54"/>
                      </a:lnTo>
                      <a:lnTo>
                        <a:pt x="139" y="45"/>
                      </a:lnTo>
                      <a:lnTo>
                        <a:pt x="139" y="42"/>
                      </a:lnTo>
                      <a:lnTo>
                        <a:pt x="140" y="39"/>
                      </a:lnTo>
                      <a:lnTo>
                        <a:pt x="140" y="35"/>
                      </a:lnTo>
                      <a:lnTo>
                        <a:pt x="139" y="33"/>
                      </a:lnTo>
                      <a:lnTo>
                        <a:pt x="141" y="29"/>
                      </a:lnTo>
                      <a:lnTo>
                        <a:pt x="142" y="28"/>
                      </a:lnTo>
                      <a:lnTo>
                        <a:pt x="144" y="28"/>
                      </a:lnTo>
                      <a:lnTo>
                        <a:pt x="144" y="29"/>
                      </a:lnTo>
                      <a:lnTo>
                        <a:pt x="145" y="28"/>
                      </a:lnTo>
                      <a:lnTo>
                        <a:pt x="144" y="27"/>
                      </a:lnTo>
                      <a:lnTo>
                        <a:pt x="144" y="27"/>
                      </a:lnTo>
                      <a:lnTo>
                        <a:pt x="144" y="28"/>
                      </a:lnTo>
                      <a:lnTo>
                        <a:pt x="142" y="28"/>
                      </a:lnTo>
                      <a:lnTo>
                        <a:pt x="143" y="25"/>
                      </a:lnTo>
                      <a:lnTo>
                        <a:pt x="142" y="22"/>
                      </a:lnTo>
                      <a:lnTo>
                        <a:pt x="141" y="20"/>
                      </a:lnTo>
                      <a:lnTo>
                        <a:pt x="142" y="17"/>
                      </a:lnTo>
                      <a:lnTo>
                        <a:pt x="144" y="15"/>
                      </a:lnTo>
                      <a:lnTo>
                        <a:pt x="144" y="14"/>
                      </a:lnTo>
                      <a:lnTo>
                        <a:pt x="142" y="14"/>
                      </a:lnTo>
                      <a:lnTo>
                        <a:pt x="141" y="12"/>
                      </a:lnTo>
                      <a:lnTo>
                        <a:pt x="142" y="11"/>
                      </a:lnTo>
                      <a:lnTo>
                        <a:pt x="142" y="8"/>
                      </a:lnTo>
                      <a:lnTo>
                        <a:pt x="143" y="5"/>
                      </a:lnTo>
                      <a:lnTo>
                        <a:pt x="144" y="3"/>
                      </a:lnTo>
                      <a:lnTo>
                        <a:pt x="144" y="2"/>
                      </a:lnTo>
                      <a:lnTo>
                        <a:pt x="142" y="2"/>
                      </a:lnTo>
                      <a:lnTo>
                        <a:pt x="139" y="0"/>
                      </a:lnTo>
                      <a:lnTo>
                        <a:pt x="137" y="0"/>
                      </a:lnTo>
                      <a:lnTo>
                        <a:pt x="137" y="0"/>
                      </a:lnTo>
                      <a:lnTo>
                        <a:pt x="136" y="0"/>
                      </a:lnTo>
                      <a:lnTo>
                        <a:pt x="134" y="2"/>
                      </a:lnTo>
                      <a:lnTo>
                        <a:pt x="134" y="3"/>
                      </a:lnTo>
                      <a:lnTo>
                        <a:pt x="133" y="5"/>
                      </a:lnTo>
                      <a:lnTo>
                        <a:pt x="133" y="4"/>
                      </a:lnTo>
                      <a:lnTo>
                        <a:pt x="130" y="7"/>
                      </a:lnTo>
                      <a:lnTo>
                        <a:pt x="126" y="8"/>
                      </a:lnTo>
                      <a:lnTo>
                        <a:pt x="126" y="10"/>
                      </a:lnTo>
                      <a:lnTo>
                        <a:pt x="125" y="8"/>
                      </a:lnTo>
                      <a:lnTo>
                        <a:pt x="120" y="9"/>
                      </a:lnTo>
                      <a:lnTo>
                        <a:pt x="118" y="11"/>
                      </a:lnTo>
                      <a:lnTo>
                        <a:pt x="111" y="13"/>
                      </a:lnTo>
                      <a:lnTo>
                        <a:pt x="109" y="13"/>
                      </a:lnTo>
                      <a:lnTo>
                        <a:pt x="108" y="12"/>
                      </a:lnTo>
                      <a:lnTo>
                        <a:pt x="104" y="12"/>
                      </a:lnTo>
                      <a:lnTo>
                        <a:pt x="99" y="14"/>
                      </a:lnTo>
                      <a:lnTo>
                        <a:pt x="96" y="14"/>
                      </a:lnTo>
                      <a:lnTo>
                        <a:pt x="94" y="15"/>
                      </a:lnTo>
                      <a:lnTo>
                        <a:pt x="91" y="14"/>
                      </a:lnTo>
                      <a:lnTo>
                        <a:pt x="88" y="14"/>
                      </a:lnTo>
                      <a:lnTo>
                        <a:pt x="80" y="21"/>
                      </a:lnTo>
                      <a:lnTo>
                        <a:pt x="75" y="21"/>
                      </a:lnTo>
                      <a:lnTo>
                        <a:pt x="73" y="20"/>
                      </a:lnTo>
                      <a:lnTo>
                        <a:pt x="71" y="21"/>
                      </a:lnTo>
                      <a:lnTo>
                        <a:pt x="68" y="21"/>
                      </a:lnTo>
                      <a:lnTo>
                        <a:pt x="67" y="20"/>
                      </a:lnTo>
                      <a:lnTo>
                        <a:pt x="65" y="20"/>
                      </a:lnTo>
                      <a:lnTo>
                        <a:pt x="61" y="25"/>
                      </a:lnTo>
                      <a:lnTo>
                        <a:pt x="58" y="25"/>
                      </a:lnTo>
                      <a:lnTo>
                        <a:pt x="54" y="27"/>
                      </a:lnTo>
                      <a:lnTo>
                        <a:pt x="54" y="29"/>
                      </a:lnTo>
                      <a:lnTo>
                        <a:pt x="49" y="29"/>
                      </a:lnTo>
                      <a:lnTo>
                        <a:pt x="46" y="28"/>
                      </a:lnTo>
                      <a:lnTo>
                        <a:pt x="42" y="25"/>
                      </a:lnTo>
                      <a:lnTo>
                        <a:pt x="41" y="25"/>
                      </a:lnTo>
                      <a:lnTo>
                        <a:pt x="40" y="21"/>
                      </a:lnTo>
                      <a:lnTo>
                        <a:pt x="31" y="11"/>
                      </a:lnTo>
                      <a:lnTo>
                        <a:pt x="30" y="10"/>
                      </a:lnTo>
                      <a:lnTo>
                        <a:pt x="29" y="8"/>
                      </a:lnTo>
                      <a:lnTo>
                        <a:pt x="26" y="15"/>
                      </a:lnTo>
                      <a:lnTo>
                        <a:pt x="25" y="1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16" name="Freeform 819">
                  <a:extLst>
                    <a:ext uri="{FF2B5EF4-FFF2-40B4-BE49-F238E27FC236}">
                      <a16:creationId xmlns:a16="http://schemas.microsoft.com/office/drawing/2014/main" id="{CDD06198-3239-490A-A4F5-3A1B8F94C8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83" y="2710"/>
                  <a:ext cx="119" cy="173"/>
                </a:xfrm>
                <a:custGeom>
                  <a:avLst/>
                  <a:gdLst>
                    <a:gd name="T0" fmla="*/ 119 w 119"/>
                    <a:gd name="T1" fmla="*/ 27 h 173"/>
                    <a:gd name="T2" fmla="*/ 115 w 119"/>
                    <a:gd name="T3" fmla="*/ 27 h 173"/>
                    <a:gd name="T4" fmla="*/ 107 w 119"/>
                    <a:gd name="T5" fmla="*/ 26 h 173"/>
                    <a:gd name="T6" fmla="*/ 103 w 119"/>
                    <a:gd name="T7" fmla="*/ 22 h 173"/>
                    <a:gd name="T8" fmla="*/ 96 w 119"/>
                    <a:gd name="T9" fmla="*/ 23 h 173"/>
                    <a:gd name="T10" fmla="*/ 90 w 119"/>
                    <a:gd name="T11" fmla="*/ 25 h 173"/>
                    <a:gd name="T12" fmla="*/ 86 w 119"/>
                    <a:gd name="T13" fmla="*/ 34 h 173"/>
                    <a:gd name="T14" fmla="*/ 80 w 119"/>
                    <a:gd name="T15" fmla="*/ 34 h 173"/>
                    <a:gd name="T16" fmla="*/ 74 w 119"/>
                    <a:gd name="T17" fmla="*/ 34 h 173"/>
                    <a:gd name="T18" fmla="*/ 66 w 119"/>
                    <a:gd name="T19" fmla="*/ 32 h 173"/>
                    <a:gd name="T20" fmla="*/ 62 w 119"/>
                    <a:gd name="T21" fmla="*/ 28 h 173"/>
                    <a:gd name="T22" fmla="*/ 52 w 119"/>
                    <a:gd name="T23" fmla="*/ 18 h 173"/>
                    <a:gd name="T24" fmla="*/ 42 w 119"/>
                    <a:gd name="T25" fmla="*/ 17 h 173"/>
                    <a:gd name="T26" fmla="*/ 36 w 119"/>
                    <a:gd name="T27" fmla="*/ 17 h 173"/>
                    <a:gd name="T28" fmla="*/ 31 w 119"/>
                    <a:gd name="T29" fmla="*/ 13 h 173"/>
                    <a:gd name="T30" fmla="*/ 28 w 119"/>
                    <a:gd name="T31" fmla="*/ 2 h 173"/>
                    <a:gd name="T32" fmla="*/ 24 w 119"/>
                    <a:gd name="T33" fmla="*/ 0 h 173"/>
                    <a:gd name="T34" fmla="*/ 18 w 119"/>
                    <a:gd name="T35" fmla="*/ 8 h 173"/>
                    <a:gd name="T36" fmla="*/ 13 w 119"/>
                    <a:gd name="T37" fmla="*/ 14 h 173"/>
                    <a:gd name="T38" fmla="*/ 10 w 119"/>
                    <a:gd name="T39" fmla="*/ 19 h 173"/>
                    <a:gd name="T40" fmla="*/ 6 w 119"/>
                    <a:gd name="T41" fmla="*/ 22 h 173"/>
                    <a:gd name="T42" fmla="*/ 7 w 119"/>
                    <a:gd name="T43" fmla="*/ 22 h 173"/>
                    <a:gd name="T44" fmla="*/ 10 w 119"/>
                    <a:gd name="T45" fmla="*/ 28 h 173"/>
                    <a:gd name="T46" fmla="*/ 10 w 119"/>
                    <a:gd name="T47" fmla="*/ 32 h 173"/>
                    <a:gd name="T48" fmla="*/ 13 w 119"/>
                    <a:gd name="T49" fmla="*/ 36 h 173"/>
                    <a:gd name="T50" fmla="*/ 17 w 119"/>
                    <a:gd name="T51" fmla="*/ 43 h 173"/>
                    <a:gd name="T52" fmla="*/ 20 w 119"/>
                    <a:gd name="T53" fmla="*/ 49 h 173"/>
                    <a:gd name="T54" fmla="*/ 20 w 119"/>
                    <a:gd name="T55" fmla="*/ 53 h 173"/>
                    <a:gd name="T56" fmla="*/ 24 w 119"/>
                    <a:gd name="T57" fmla="*/ 59 h 173"/>
                    <a:gd name="T58" fmla="*/ 20 w 119"/>
                    <a:gd name="T59" fmla="*/ 67 h 173"/>
                    <a:gd name="T60" fmla="*/ 19 w 119"/>
                    <a:gd name="T61" fmla="*/ 73 h 173"/>
                    <a:gd name="T62" fmla="*/ 13 w 119"/>
                    <a:gd name="T63" fmla="*/ 75 h 173"/>
                    <a:gd name="T64" fmla="*/ 11 w 119"/>
                    <a:gd name="T65" fmla="*/ 80 h 173"/>
                    <a:gd name="T66" fmla="*/ 7 w 119"/>
                    <a:gd name="T67" fmla="*/ 87 h 173"/>
                    <a:gd name="T68" fmla="*/ 4 w 119"/>
                    <a:gd name="T69" fmla="*/ 94 h 173"/>
                    <a:gd name="T70" fmla="*/ 4 w 119"/>
                    <a:gd name="T71" fmla="*/ 111 h 173"/>
                    <a:gd name="T72" fmla="*/ 59 w 119"/>
                    <a:gd name="T73" fmla="*/ 153 h 173"/>
                    <a:gd name="T74" fmla="*/ 59 w 119"/>
                    <a:gd name="T75" fmla="*/ 156 h 173"/>
                    <a:gd name="T76" fmla="*/ 78 w 119"/>
                    <a:gd name="T77" fmla="*/ 173 h 173"/>
                    <a:gd name="T78" fmla="*/ 82 w 119"/>
                    <a:gd name="T79" fmla="*/ 172 h 173"/>
                    <a:gd name="T80" fmla="*/ 89 w 119"/>
                    <a:gd name="T81" fmla="*/ 157 h 173"/>
                    <a:gd name="T82" fmla="*/ 91 w 119"/>
                    <a:gd name="T83" fmla="*/ 150 h 173"/>
                    <a:gd name="T84" fmla="*/ 93 w 119"/>
                    <a:gd name="T85" fmla="*/ 145 h 173"/>
                    <a:gd name="T86" fmla="*/ 95 w 119"/>
                    <a:gd name="T87" fmla="*/ 140 h 173"/>
                    <a:gd name="T88" fmla="*/ 97 w 119"/>
                    <a:gd name="T89" fmla="*/ 139 h 173"/>
                    <a:gd name="T90" fmla="*/ 103 w 119"/>
                    <a:gd name="T91" fmla="*/ 134 h 173"/>
                    <a:gd name="T92" fmla="*/ 107 w 119"/>
                    <a:gd name="T93" fmla="*/ 130 h 173"/>
                    <a:gd name="T94" fmla="*/ 110 w 119"/>
                    <a:gd name="T95" fmla="*/ 128 h 173"/>
                    <a:gd name="T96" fmla="*/ 115 w 119"/>
                    <a:gd name="T97" fmla="*/ 120 h 173"/>
                    <a:gd name="T98" fmla="*/ 106 w 119"/>
                    <a:gd name="T99" fmla="*/ 42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19" h="173">
                      <a:moveTo>
                        <a:pt x="106" y="42"/>
                      </a:moveTo>
                      <a:lnTo>
                        <a:pt x="119" y="27"/>
                      </a:lnTo>
                      <a:lnTo>
                        <a:pt x="119" y="27"/>
                      </a:lnTo>
                      <a:lnTo>
                        <a:pt x="115" y="27"/>
                      </a:lnTo>
                      <a:lnTo>
                        <a:pt x="110" y="28"/>
                      </a:lnTo>
                      <a:lnTo>
                        <a:pt x="107" y="26"/>
                      </a:lnTo>
                      <a:lnTo>
                        <a:pt x="106" y="22"/>
                      </a:lnTo>
                      <a:lnTo>
                        <a:pt x="103" y="22"/>
                      </a:lnTo>
                      <a:lnTo>
                        <a:pt x="97" y="22"/>
                      </a:lnTo>
                      <a:lnTo>
                        <a:pt x="96" y="23"/>
                      </a:lnTo>
                      <a:lnTo>
                        <a:pt x="93" y="23"/>
                      </a:lnTo>
                      <a:lnTo>
                        <a:pt x="90" y="25"/>
                      </a:lnTo>
                      <a:lnTo>
                        <a:pt x="89" y="27"/>
                      </a:lnTo>
                      <a:lnTo>
                        <a:pt x="86" y="34"/>
                      </a:lnTo>
                      <a:lnTo>
                        <a:pt x="83" y="34"/>
                      </a:lnTo>
                      <a:lnTo>
                        <a:pt x="80" y="34"/>
                      </a:lnTo>
                      <a:lnTo>
                        <a:pt x="78" y="33"/>
                      </a:lnTo>
                      <a:lnTo>
                        <a:pt x="74" y="34"/>
                      </a:lnTo>
                      <a:lnTo>
                        <a:pt x="71" y="32"/>
                      </a:lnTo>
                      <a:lnTo>
                        <a:pt x="66" y="32"/>
                      </a:lnTo>
                      <a:lnTo>
                        <a:pt x="64" y="31"/>
                      </a:lnTo>
                      <a:lnTo>
                        <a:pt x="62" y="28"/>
                      </a:lnTo>
                      <a:lnTo>
                        <a:pt x="58" y="25"/>
                      </a:lnTo>
                      <a:lnTo>
                        <a:pt x="52" y="18"/>
                      </a:lnTo>
                      <a:lnTo>
                        <a:pt x="49" y="16"/>
                      </a:lnTo>
                      <a:lnTo>
                        <a:pt x="42" y="17"/>
                      </a:lnTo>
                      <a:lnTo>
                        <a:pt x="39" y="16"/>
                      </a:lnTo>
                      <a:lnTo>
                        <a:pt x="36" y="17"/>
                      </a:lnTo>
                      <a:lnTo>
                        <a:pt x="33" y="16"/>
                      </a:lnTo>
                      <a:lnTo>
                        <a:pt x="31" y="13"/>
                      </a:lnTo>
                      <a:lnTo>
                        <a:pt x="31" y="3"/>
                      </a:lnTo>
                      <a:lnTo>
                        <a:pt x="28" y="2"/>
                      </a:lnTo>
                      <a:lnTo>
                        <a:pt x="26" y="3"/>
                      </a:lnTo>
                      <a:lnTo>
                        <a:pt x="24" y="0"/>
                      </a:lnTo>
                      <a:lnTo>
                        <a:pt x="23" y="1"/>
                      </a:lnTo>
                      <a:lnTo>
                        <a:pt x="18" y="8"/>
                      </a:lnTo>
                      <a:lnTo>
                        <a:pt x="15" y="15"/>
                      </a:lnTo>
                      <a:lnTo>
                        <a:pt x="13" y="14"/>
                      </a:lnTo>
                      <a:lnTo>
                        <a:pt x="11" y="17"/>
                      </a:lnTo>
                      <a:lnTo>
                        <a:pt x="10" y="19"/>
                      </a:lnTo>
                      <a:lnTo>
                        <a:pt x="9" y="19"/>
                      </a:lnTo>
                      <a:lnTo>
                        <a:pt x="6" y="22"/>
                      </a:lnTo>
                      <a:lnTo>
                        <a:pt x="6" y="22"/>
                      </a:lnTo>
                      <a:lnTo>
                        <a:pt x="7" y="22"/>
                      </a:lnTo>
                      <a:lnTo>
                        <a:pt x="8" y="24"/>
                      </a:lnTo>
                      <a:lnTo>
                        <a:pt x="10" y="28"/>
                      </a:lnTo>
                      <a:lnTo>
                        <a:pt x="10" y="29"/>
                      </a:lnTo>
                      <a:lnTo>
                        <a:pt x="10" y="32"/>
                      </a:lnTo>
                      <a:lnTo>
                        <a:pt x="12" y="32"/>
                      </a:lnTo>
                      <a:lnTo>
                        <a:pt x="13" y="36"/>
                      </a:lnTo>
                      <a:lnTo>
                        <a:pt x="13" y="40"/>
                      </a:lnTo>
                      <a:lnTo>
                        <a:pt x="17" y="43"/>
                      </a:lnTo>
                      <a:lnTo>
                        <a:pt x="18" y="49"/>
                      </a:lnTo>
                      <a:lnTo>
                        <a:pt x="20" y="49"/>
                      </a:lnTo>
                      <a:lnTo>
                        <a:pt x="22" y="51"/>
                      </a:lnTo>
                      <a:lnTo>
                        <a:pt x="20" y="53"/>
                      </a:lnTo>
                      <a:lnTo>
                        <a:pt x="23" y="56"/>
                      </a:lnTo>
                      <a:lnTo>
                        <a:pt x="24" y="59"/>
                      </a:lnTo>
                      <a:lnTo>
                        <a:pt x="23" y="63"/>
                      </a:lnTo>
                      <a:lnTo>
                        <a:pt x="20" y="67"/>
                      </a:lnTo>
                      <a:lnTo>
                        <a:pt x="20" y="70"/>
                      </a:lnTo>
                      <a:lnTo>
                        <a:pt x="19" y="73"/>
                      </a:lnTo>
                      <a:lnTo>
                        <a:pt x="13" y="73"/>
                      </a:lnTo>
                      <a:lnTo>
                        <a:pt x="13" y="75"/>
                      </a:lnTo>
                      <a:lnTo>
                        <a:pt x="13" y="77"/>
                      </a:lnTo>
                      <a:lnTo>
                        <a:pt x="11" y="80"/>
                      </a:lnTo>
                      <a:lnTo>
                        <a:pt x="9" y="83"/>
                      </a:lnTo>
                      <a:lnTo>
                        <a:pt x="7" y="87"/>
                      </a:lnTo>
                      <a:lnTo>
                        <a:pt x="5" y="90"/>
                      </a:lnTo>
                      <a:lnTo>
                        <a:pt x="4" y="94"/>
                      </a:lnTo>
                      <a:lnTo>
                        <a:pt x="0" y="111"/>
                      </a:lnTo>
                      <a:lnTo>
                        <a:pt x="4" y="111"/>
                      </a:lnTo>
                      <a:lnTo>
                        <a:pt x="56" y="147"/>
                      </a:lnTo>
                      <a:lnTo>
                        <a:pt x="59" y="153"/>
                      </a:lnTo>
                      <a:lnTo>
                        <a:pt x="58" y="154"/>
                      </a:lnTo>
                      <a:lnTo>
                        <a:pt x="59" y="156"/>
                      </a:lnTo>
                      <a:lnTo>
                        <a:pt x="60" y="158"/>
                      </a:lnTo>
                      <a:lnTo>
                        <a:pt x="78" y="173"/>
                      </a:lnTo>
                      <a:lnTo>
                        <a:pt x="79" y="173"/>
                      </a:lnTo>
                      <a:lnTo>
                        <a:pt x="82" y="172"/>
                      </a:lnTo>
                      <a:lnTo>
                        <a:pt x="87" y="163"/>
                      </a:lnTo>
                      <a:lnTo>
                        <a:pt x="89" y="157"/>
                      </a:lnTo>
                      <a:lnTo>
                        <a:pt x="89" y="153"/>
                      </a:lnTo>
                      <a:lnTo>
                        <a:pt x="91" y="150"/>
                      </a:lnTo>
                      <a:lnTo>
                        <a:pt x="93" y="146"/>
                      </a:lnTo>
                      <a:lnTo>
                        <a:pt x="93" y="145"/>
                      </a:lnTo>
                      <a:lnTo>
                        <a:pt x="93" y="143"/>
                      </a:lnTo>
                      <a:lnTo>
                        <a:pt x="95" y="140"/>
                      </a:lnTo>
                      <a:lnTo>
                        <a:pt x="95" y="139"/>
                      </a:lnTo>
                      <a:lnTo>
                        <a:pt x="97" y="139"/>
                      </a:lnTo>
                      <a:lnTo>
                        <a:pt x="101" y="139"/>
                      </a:lnTo>
                      <a:lnTo>
                        <a:pt x="103" y="134"/>
                      </a:lnTo>
                      <a:lnTo>
                        <a:pt x="109" y="132"/>
                      </a:lnTo>
                      <a:lnTo>
                        <a:pt x="107" y="130"/>
                      </a:lnTo>
                      <a:lnTo>
                        <a:pt x="110" y="128"/>
                      </a:lnTo>
                      <a:lnTo>
                        <a:pt x="110" y="128"/>
                      </a:lnTo>
                      <a:lnTo>
                        <a:pt x="115" y="121"/>
                      </a:lnTo>
                      <a:lnTo>
                        <a:pt x="115" y="120"/>
                      </a:lnTo>
                      <a:lnTo>
                        <a:pt x="105" y="109"/>
                      </a:lnTo>
                      <a:lnTo>
                        <a:pt x="106" y="4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17" name="Freeform 820">
                  <a:extLst>
                    <a:ext uri="{FF2B5EF4-FFF2-40B4-BE49-F238E27FC236}">
                      <a16:creationId xmlns:a16="http://schemas.microsoft.com/office/drawing/2014/main" id="{233D8A83-5291-47A4-83DF-1F1FC6CD83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53" y="2822"/>
                  <a:ext cx="11" cy="0"/>
                </a:xfrm>
                <a:custGeom>
                  <a:avLst/>
                  <a:gdLst>
                    <a:gd name="T0" fmla="*/ 0 w 11"/>
                    <a:gd name="T1" fmla="*/ 5 w 11"/>
                    <a:gd name="T2" fmla="*/ 11 w 11"/>
                    <a:gd name="T3" fmla="*/ 1 w 11"/>
                    <a:gd name="T4" fmla="*/ 0 w 1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11">
                      <a:moveTo>
                        <a:pt x="0" y="0"/>
                      </a:moveTo>
                      <a:lnTo>
                        <a:pt x="5" y="0"/>
                      </a:lnTo>
                      <a:lnTo>
                        <a:pt x="1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18" name="Freeform 821">
                  <a:extLst>
                    <a:ext uri="{FF2B5EF4-FFF2-40B4-BE49-F238E27FC236}">
                      <a16:creationId xmlns:a16="http://schemas.microsoft.com/office/drawing/2014/main" id="{6D652D1B-A221-41B0-8930-729F6DABD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24" y="2732"/>
                  <a:ext cx="83" cy="97"/>
                </a:xfrm>
                <a:custGeom>
                  <a:avLst/>
                  <a:gdLst>
                    <a:gd name="T0" fmla="*/ 20 w 83"/>
                    <a:gd name="T1" fmla="*/ 23 h 97"/>
                    <a:gd name="T2" fmla="*/ 18 w 83"/>
                    <a:gd name="T3" fmla="*/ 33 h 97"/>
                    <a:gd name="T4" fmla="*/ 21 w 83"/>
                    <a:gd name="T5" fmla="*/ 36 h 97"/>
                    <a:gd name="T6" fmla="*/ 22 w 83"/>
                    <a:gd name="T7" fmla="*/ 41 h 97"/>
                    <a:gd name="T8" fmla="*/ 10 w 83"/>
                    <a:gd name="T9" fmla="*/ 58 h 97"/>
                    <a:gd name="T10" fmla="*/ 3 w 83"/>
                    <a:gd name="T11" fmla="*/ 73 h 97"/>
                    <a:gd name="T12" fmla="*/ 3 w 83"/>
                    <a:gd name="T13" fmla="*/ 79 h 97"/>
                    <a:gd name="T14" fmla="*/ 0 w 83"/>
                    <a:gd name="T15" fmla="*/ 92 h 97"/>
                    <a:gd name="T16" fmla="*/ 0 w 83"/>
                    <a:gd name="T17" fmla="*/ 96 h 97"/>
                    <a:gd name="T18" fmla="*/ 3 w 83"/>
                    <a:gd name="T19" fmla="*/ 96 h 97"/>
                    <a:gd name="T20" fmla="*/ 6 w 83"/>
                    <a:gd name="T21" fmla="*/ 95 h 97"/>
                    <a:gd name="T22" fmla="*/ 10 w 83"/>
                    <a:gd name="T23" fmla="*/ 96 h 97"/>
                    <a:gd name="T24" fmla="*/ 11 w 83"/>
                    <a:gd name="T25" fmla="*/ 93 h 97"/>
                    <a:gd name="T26" fmla="*/ 13 w 83"/>
                    <a:gd name="T27" fmla="*/ 93 h 97"/>
                    <a:gd name="T28" fmla="*/ 16 w 83"/>
                    <a:gd name="T29" fmla="*/ 92 h 97"/>
                    <a:gd name="T30" fmla="*/ 29 w 83"/>
                    <a:gd name="T31" fmla="*/ 90 h 97"/>
                    <a:gd name="T32" fmla="*/ 40 w 83"/>
                    <a:gd name="T33" fmla="*/ 90 h 97"/>
                    <a:gd name="T34" fmla="*/ 63 w 83"/>
                    <a:gd name="T35" fmla="*/ 72 h 97"/>
                    <a:gd name="T36" fmla="*/ 66 w 83"/>
                    <a:gd name="T37" fmla="*/ 65 h 97"/>
                    <a:gd name="T38" fmla="*/ 70 w 83"/>
                    <a:gd name="T39" fmla="*/ 58 h 97"/>
                    <a:gd name="T40" fmla="*/ 72 w 83"/>
                    <a:gd name="T41" fmla="*/ 53 h 97"/>
                    <a:gd name="T42" fmla="*/ 78 w 83"/>
                    <a:gd name="T43" fmla="*/ 51 h 97"/>
                    <a:gd name="T44" fmla="*/ 79 w 83"/>
                    <a:gd name="T45" fmla="*/ 45 h 97"/>
                    <a:gd name="T46" fmla="*/ 83 w 83"/>
                    <a:gd name="T47" fmla="*/ 37 h 97"/>
                    <a:gd name="T48" fmla="*/ 79 w 83"/>
                    <a:gd name="T49" fmla="*/ 31 h 97"/>
                    <a:gd name="T50" fmla="*/ 79 w 83"/>
                    <a:gd name="T51" fmla="*/ 27 h 97"/>
                    <a:gd name="T52" fmla="*/ 76 w 83"/>
                    <a:gd name="T53" fmla="*/ 21 h 97"/>
                    <a:gd name="T54" fmla="*/ 72 w 83"/>
                    <a:gd name="T55" fmla="*/ 14 h 97"/>
                    <a:gd name="T56" fmla="*/ 69 w 83"/>
                    <a:gd name="T57" fmla="*/ 10 h 97"/>
                    <a:gd name="T58" fmla="*/ 69 w 83"/>
                    <a:gd name="T59" fmla="*/ 6 h 97"/>
                    <a:gd name="T60" fmla="*/ 66 w 83"/>
                    <a:gd name="T61" fmla="*/ 0 h 97"/>
                    <a:gd name="T62" fmla="*/ 62 w 83"/>
                    <a:gd name="T63" fmla="*/ 3 h 97"/>
                    <a:gd name="T64" fmla="*/ 58 w 83"/>
                    <a:gd name="T65" fmla="*/ 7 h 97"/>
                    <a:gd name="T66" fmla="*/ 49 w 83"/>
                    <a:gd name="T67" fmla="*/ 6 h 97"/>
                    <a:gd name="T68" fmla="*/ 44 w 83"/>
                    <a:gd name="T69" fmla="*/ 8 h 97"/>
                    <a:gd name="T70" fmla="*/ 41 w 83"/>
                    <a:gd name="T71" fmla="*/ 8 h 97"/>
                    <a:gd name="T72" fmla="*/ 39 w 83"/>
                    <a:gd name="T73" fmla="*/ 13 h 97"/>
                    <a:gd name="T74" fmla="*/ 34 w 83"/>
                    <a:gd name="T75" fmla="*/ 12 h 97"/>
                    <a:gd name="T76" fmla="*/ 31 w 83"/>
                    <a:gd name="T77" fmla="*/ 8 h 97"/>
                    <a:gd name="T78" fmla="*/ 26 w 83"/>
                    <a:gd name="T79" fmla="*/ 7 h 97"/>
                    <a:gd name="T80" fmla="*/ 21 w 83"/>
                    <a:gd name="T81" fmla="*/ 8 h 97"/>
                    <a:gd name="T82" fmla="*/ 22 w 83"/>
                    <a:gd name="T83" fmla="*/ 12 h 97"/>
                    <a:gd name="T84" fmla="*/ 20 w 83"/>
                    <a:gd name="T85" fmla="*/ 16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83" h="97">
                      <a:moveTo>
                        <a:pt x="20" y="18"/>
                      </a:moveTo>
                      <a:lnTo>
                        <a:pt x="20" y="23"/>
                      </a:lnTo>
                      <a:lnTo>
                        <a:pt x="19" y="28"/>
                      </a:lnTo>
                      <a:lnTo>
                        <a:pt x="18" y="33"/>
                      </a:lnTo>
                      <a:lnTo>
                        <a:pt x="20" y="34"/>
                      </a:lnTo>
                      <a:lnTo>
                        <a:pt x="21" y="36"/>
                      </a:lnTo>
                      <a:lnTo>
                        <a:pt x="22" y="39"/>
                      </a:lnTo>
                      <a:lnTo>
                        <a:pt x="22" y="41"/>
                      </a:lnTo>
                      <a:lnTo>
                        <a:pt x="15" y="53"/>
                      </a:lnTo>
                      <a:lnTo>
                        <a:pt x="10" y="58"/>
                      </a:lnTo>
                      <a:lnTo>
                        <a:pt x="9" y="62"/>
                      </a:lnTo>
                      <a:lnTo>
                        <a:pt x="3" y="73"/>
                      </a:lnTo>
                      <a:lnTo>
                        <a:pt x="3" y="76"/>
                      </a:lnTo>
                      <a:lnTo>
                        <a:pt x="3" y="79"/>
                      </a:lnTo>
                      <a:lnTo>
                        <a:pt x="2" y="86"/>
                      </a:lnTo>
                      <a:lnTo>
                        <a:pt x="0" y="92"/>
                      </a:lnTo>
                      <a:lnTo>
                        <a:pt x="0" y="96"/>
                      </a:lnTo>
                      <a:lnTo>
                        <a:pt x="0" y="96"/>
                      </a:lnTo>
                      <a:lnTo>
                        <a:pt x="0" y="97"/>
                      </a:lnTo>
                      <a:lnTo>
                        <a:pt x="3" y="96"/>
                      </a:lnTo>
                      <a:lnTo>
                        <a:pt x="5" y="94"/>
                      </a:lnTo>
                      <a:lnTo>
                        <a:pt x="6" y="95"/>
                      </a:lnTo>
                      <a:lnTo>
                        <a:pt x="8" y="96"/>
                      </a:lnTo>
                      <a:lnTo>
                        <a:pt x="10" y="96"/>
                      </a:lnTo>
                      <a:lnTo>
                        <a:pt x="11" y="95"/>
                      </a:lnTo>
                      <a:lnTo>
                        <a:pt x="11" y="93"/>
                      </a:lnTo>
                      <a:lnTo>
                        <a:pt x="13" y="93"/>
                      </a:lnTo>
                      <a:lnTo>
                        <a:pt x="13" y="93"/>
                      </a:lnTo>
                      <a:lnTo>
                        <a:pt x="15" y="92"/>
                      </a:lnTo>
                      <a:lnTo>
                        <a:pt x="16" y="92"/>
                      </a:lnTo>
                      <a:lnTo>
                        <a:pt x="17" y="91"/>
                      </a:lnTo>
                      <a:lnTo>
                        <a:pt x="29" y="90"/>
                      </a:lnTo>
                      <a:lnTo>
                        <a:pt x="30" y="90"/>
                      </a:lnTo>
                      <a:lnTo>
                        <a:pt x="40" y="90"/>
                      </a:lnTo>
                      <a:lnTo>
                        <a:pt x="59" y="89"/>
                      </a:lnTo>
                      <a:lnTo>
                        <a:pt x="63" y="72"/>
                      </a:lnTo>
                      <a:lnTo>
                        <a:pt x="64" y="68"/>
                      </a:lnTo>
                      <a:lnTo>
                        <a:pt x="66" y="65"/>
                      </a:lnTo>
                      <a:lnTo>
                        <a:pt x="68" y="61"/>
                      </a:lnTo>
                      <a:lnTo>
                        <a:pt x="70" y="58"/>
                      </a:lnTo>
                      <a:lnTo>
                        <a:pt x="72" y="55"/>
                      </a:lnTo>
                      <a:lnTo>
                        <a:pt x="72" y="53"/>
                      </a:lnTo>
                      <a:lnTo>
                        <a:pt x="72" y="51"/>
                      </a:lnTo>
                      <a:lnTo>
                        <a:pt x="78" y="51"/>
                      </a:lnTo>
                      <a:lnTo>
                        <a:pt x="79" y="48"/>
                      </a:lnTo>
                      <a:lnTo>
                        <a:pt x="79" y="45"/>
                      </a:lnTo>
                      <a:lnTo>
                        <a:pt x="82" y="41"/>
                      </a:lnTo>
                      <a:lnTo>
                        <a:pt x="83" y="37"/>
                      </a:lnTo>
                      <a:lnTo>
                        <a:pt x="82" y="34"/>
                      </a:lnTo>
                      <a:lnTo>
                        <a:pt x="79" y="31"/>
                      </a:lnTo>
                      <a:lnTo>
                        <a:pt x="81" y="29"/>
                      </a:lnTo>
                      <a:lnTo>
                        <a:pt x="79" y="27"/>
                      </a:lnTo>
                      <a:lnTo>
                        <a:pt x="77" y="27"/>
                      </a:lnTo>
                      <a:lnTo>
                        <a:pt x="76" y="21"/>
                      </a:lnTo>
                      <a:lnTo>
                        <a:pt x="72" y="18"/>
                      </a:lnTo>
                      <a:lnTo>
                        <a:pt x="72" y="14"/>
                      </a:lnTo>
                      <a:lnTo>
                        <a:pt x="71" y="10"/>
                      </a:lnTo>
                      <a:lnTo>
                        <a:pt x="69" y="10"/>
                      </a:lnTo>
                      <a:lnTo>
                        <a:pt x="69" y="7"/>
                      </a:lnTo>
                      <a:lnTo>
                        <a:pt x="69" y="6"/>
                      </a:lnTo>
                      <a:lnTo>
                        <a:pt x="67" y="2"/>
                      </a:lnTo>
                      <a:lnTo>
                        <a:pt x="66" y="0"/>
                      </a:lnTo>
                      <a:lnTo>
                        <a:pt x="65" y="0"/>
                      </a:lnTo>
                      <a:lnTo>
                        <a:pt x="62" y="3"/>
                      </a:lnTo>
                      <a:lnTo>
                        <a:pt x="61" y="6"/>
                      </a:lnTo>
                      <a:lnTo>
                        <a:pt x="58" y="7"/>
                      </a:lnTo>
                      <a:lnTo>
                        <a:pt x="55" y="6"/>
                      </a:lnTo>
                      <a:lnTo>
                        <a:pt x="49" y="6"/>
                      </a:lnTo>
                      <a:lnTo>
                        <a:pt x="46" y="8"/>
                      </a:lnTo>
                      <a:lnTo>
                        <a:pt x="44" y="8"/>
                      </a:lnTo>
                      <a:lnTo>
                        <a:pt x="43" y="9"/>
                      </a:lnTo>
                      <a:lnTo>
                        <a:pt x="41" y="8"/>
                      </a:lnTo>
                      <a:lnTo>
                        <a:pt x="39" y="10"/>
                      </a:lnTo>
                      <a:lnTo>
                        <a:pt x="39" y="13"/>
                      </a:lnTo>
                      <a:lnTo>
                        <a:pt x="38" y="13"/>
                      </a:lnTo>
                      <a:lnTo>
                        <a:pt x="34" y="12"/>
                      </a:lnTo>
                      <a:lnTo>
                        <a:pt x="34" y="9"/>
                      </a:lnTo>
                      <a:lnTo>
                        <a:pt x="31" y="8"/>
                      </a:lnTo>
                      <a:lnTo>
                        <a:pt x="30" y="9"/>
                      </a:lnTo>
                      <a:lnTo>
                        <a:pt x="26" y="7"/>
                      </a:lnTo>
                      <a:lnTo>
                        <a:pt x="23" y="6"/>
                      </a:lnTo>
                      <a:lnTo>
                        <a:pt x="21" y="8"/>
                      </a:lnTo>
                      <a:lnTo>
                        <a:pt x="21" y="10"/>
                      </a:lnTo>
                      <a:lnTo>
                        <a:pt x="22" y="12"/>
                      </a:lnTo>
                      <a:lnTo>
                        <a:pt x="21" y="13"/>
                      </a:lnTo>
                      <a:lnTo>
                        <a:pt x="20" y="16"/>
                      </a:lnTo>
                      <a:lnTo>
                        <a:pt x="20" y="1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19" name="Freeform 822">
                  <a:extLst>
                    <a:ext uri="{FF2B5EF4-FFF2-40B4-BE49-F238E27FC236}">
                      <a16:creationId xmlns:a16="http://schemas.microsoft.com/office/drawing/2014/main" id="{803024E1-CD2E-4450-A280-EA1AAC7FC3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12" y="2614"/>
                  <a:ext cx="184" cy="149"/>
                </a:xfrm>
                <a:custGeom>
                  <a:avLst/>
                  <a:gdLst>
                    <a:gd name="T0" fmla="*/ 104 w 184"/>
                    <a:gd name="T1" fmla="*/ 4 h 149"/>
                    <a:gd name="T2" fmla="*/ 98 w 184"/>
                    <a:gd name="T3" fmla="*/ 12 h 149"/>
                    <a:gd name="T4" fmla="*/ 91 w 184"/>
                    <a:gd name="T5" fmla="*/ 19 h 149"/>
                    <a:gd name="T6" fmla="*/ 89 w 184"/>
                    <a:gd name="T7" fmla="*/ 28 h 149"/>
                    <a:gd name="T8" fmla="*/ 78 w 184"/>
                    <a:gd name="T9" fmla="*/ 35 h 149"/>
                    <a:gd name="T10" fmla="*/ 65 w 184"/>
                    <a:gd name="T11" fmla="*/ 35 h 149"/>
                    <a:gd name="T12" fmla="*/ 63 w 184"/>
                    <a:gd name="T13" fmla="*/ 42 h 149"/>
                    <a:gd name="T14" fmla="*/ 59 w 184"/>
                    <a:gd name="T15" fmla="*/ 50 h 149"/>
                    <a:gd name="T16" fmla="*/ 39 w 184"/>
                    <a:gd name="T17" fmla="*/ 58 h 149"/>
                    <a:gd name="T18" fmla="*/ 31 w 184"/>
                    <a:gd name="T19" fmla="*/ 56 h 149"/>
                    <a:gd name="T20" fmla="*/ 26 w 184"/>
                    <a:gd name="T21" fmla="*/ 63 h 149"/>
                    <a:gd name="T22" fmla="*/ 17 w 184"/>
                    <a:gd name="T23" fmla="*/ 61 h 149"/>
                    <a:gd name="T24" fmla="*/ 11 w 184"/>
                    <a:gd name="T25" fmla="*/ 66 h 149"/>
                    <a:gd name="T26" fmla="*/ 2 w 184"/>
                    <a:gd name="T27" fmla="*/ 83 h 149"/>
                    <a:gd name="T28" fmla="*/ 1 w 184"/>
                    <a:gd name="T29" fmla="*/ 94 h 149"/>
                    <a:gd name="T30" fmla="*/ 2 w 184"/>
                    <a:gd name="T31" fmla="*/ 114 h 149"/>
                    <a:gd name="T32" fmla="*/ 11 w 184"/>
                    <a:gd name="T33" fmla="*/ 124 h 149"/>
                    <a:gd name="T34" fmla="*/ 22 w 184"/>
                    <a:gd name="T35" fmla="*/ 142 h 149"/>
                    <a:gd name="T36" fmla="*/ 24 w 184"/>
                    <a:gd name="T37" fmla="*/ 149 h 149"/>
                    <a:gd name="T38" fmla="*/ 37 w 184"/>
                    <a:gd name="T39" fmla="*/ 130 h 149"/>
                    <a:gd name="T40" fmla="*/ 49 w 184"/>
                    <a:gd name="T41" fmla="*/ 126 h 149"/>
                    <a:gd name="T42" fmla="*/ 56 w 184"/>
                    <a:gd name="T43" fmla="*/ 128 h 149"/>
                    <a:gd name="T44" fmla="*/ 59 w 184"/>
                    <a:gd name="T45" fmla="*/ 121 h 149"/>
                    <a:gd name="T46" fmla="*/ 60 w 184"/>
                    <a:gd name="T47" fmla="*/ 114 h 149"/>
                    <a:gd name="T48" fmla="*/ 63 w 184"/>
                    <a:gd name="T49" fmla="*/ 107 h 149"/>
                    <a:gd name="T50" fmla="*/ 70 w 184"/>
                    <a:gd name="T51" fmla="*/ 104 h 149"/>
                    <a:gd name="T52" fmla="*/ 79 w 184"/>
                    <a:gd name="T53" fmla="*/ 110 h 149"/>
                    <a:gd name="T54" fmla="*/ 88 w 184"/>
                    <a:gd name="T55" fmla="*/ 115 h 149"/>
                    <a:gd name="T56" fmla="*/ 98 w 184"/>
                    <a:gd name="T57" fmla="*/ 117 h 149"/>
                    <a:gd name="T58" fmla="*/ 108 w 184"/>
                    <a:gd name="T59" fmla="*/ 120 h 149"/>
                    <a:gd name="T60" fmla="*/ 110 w 184"/>
                    <a:gd name="T61" fmla="*/ 114 h 149"/>
                    <a:gd name="T62" fmla="*/ 119 w 184"/>
                    <a:gd name="T63" fmla="*/ 109 h 149"/>
                    <a:gd name="T64" fmla="*/ 130 w 184"/>
                    <a:gd name="T65" fmla="*/ 108 h 149"/>
                    <a:gd name="T66" fmla="*/ 140 w 184"/>
                    <a:gd name="T67" fmla="*/ 105 h 149"/>
                    <a:gd name="T68" fmla="*/ 145 w 184"/>
                    <a:gd name="T69" fmla="*/ 106 h 149"/>
                    <a:gd name="T70" fmla="*/ 153 w 184"/>
                    <a:gd name="T71" fmla="*/ 102 h 149"/>
                    <a:gd name="T72" fmla="*/ 156 w 184"/>
                    <a:gd name="T73" fmla="*/ 101 h 149"/>
                    <a:gd name="T74" fmla="*/ 165 w 184"/>
                    <a:gd name="T75" fmla="*/ 103 h 149"/>
                    <a:gd name="T76" fmla="*/ 177 w 184"/>
                    <a:gd name="T77" fmla="*/ 103 h 149"/>
                    <a:gd name="T78" fmla="*/ 184 w 184"/>
                    <a:gd name="T79" fmla="*/ 104 h 149"/>
                    <a:gd name="T80" fmla="*/ 178 w 184"/>
                    <a:gd name="T81" fmla="*/ 93 h 149"/>
                    <a:gd name="T82" fmla="*/ 170 w 184"/>
                    <a:gd name="T83" fmla="*/ 87 h 149"/>
                    <a:gd name="T84" fmla="*/ 165 w 184"/>
                    <a:gd name="T85" fmla="*/ 80 h 149"/>
                    <a:gd name="T86" fmla="*/ 158 w 184"/>
                    <a:gd name="T87" fmla="*/ 69 h 149"/>
                    <a:gd name="T88" fmla="*/ 149 w 184"/>
                    <a:gd name="T89" fmla="*/ 65 h 149"/>
                    <a:gd name="T90" fmla="*/ 153 w 184"/>
                    <a:gd name="T91" fmla="*/ 58 h 149"/>
                    <a:gd name="T92" fmla="*/ 146 w 184"/>
                    <a:gd name="T93" fmla="*/ 52 h 149"/>
                    <a:gd name="T94" fmla="*/ 136 w 184"/>
                    <a:gd name="T95" fmla="*/ 46 h 149"/>
                    <a:gd name="T96" fmla="*/ 131 w 184"/>
                    <a:gd name="T97" fmla="*/ 39 h 149"/>
                    <a:gd name="T98" fmla="*/ 125 w 184"/>
                    <a:gd name="T99" fmla="*/ 34 h 149"/>
                    <a:gd name="T100" fmla="*/ 126 w 184"/>
                    <a:gd name="T101" fmla="*/ 23 h 149"/>
                    <a:gd name="T102" fmla="*/ 116 w 184"/>
                    <a:gd name="T103" fmla="*/ 5 h 149"/>
                    <a:gd name="T104" fmla="*/ 115 w 184"/>
                    <a:gd name="T105" fmla="*/ 1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84" h="149">
                      <a:moveTo>
                        <a:pt x="111" y="4"/>
                      </a:moveTo>
                      <a:lnTo>
                        <a:pt x="110" y="2"/>
                      </a:lnTo>
                      <a:lnTo>
                        <a:pt x="106" y="2"/>
                      </a:lnTo>
                      <a:lnTo>
                        <a:pt x="104" y="4"/>
                      </a:lnTo>
                      <a:lnTo>
                        <a:pt x="100" y="7"/>
                      </a:lnTo>
                      <a:lnTo>
                        <a:pt x="100" y="9"/>
                      </a:lnTo>
                      <a:lnTo>
                        <a:pt x="100" y="11"/>
                      </a:lnTo>
                      <a:lnTo>
                        <a:pt x="98" y="12"/>
                      </a:lnTo>
                      <a:lnTo>
                        <a:pt x="95" y="17"/>
                      </a:lnTo>
                      <a:lnTo>
                        <a:pt x="94" y="17"/>
                      </a:lnTo>
                      <a:lnTo>
                        <a:pt x="93" y="16"/>
                      </a:lnTo>
                      <a:lnTo>
                        <a:pt x="91" y="19"/>
                      </a:lnTo>
                      <a:lnTo>
                        <a:pt x="91" y="21"/>
                      </a:lnTo>
                      <a:lnTo>
                        <a:pt x="89" y="23"/>
                      </a:lnTo>
                      <a:lnTo>
                        <a:pt x="88" y="26"/>
                      </a:lnTo>
                      <a:lnTo>
                        <a:pt x="89" y="28"/>
                      </a:lnTo>
                      <a:lnTo>
                        <a:pt x="88" y="31"/>
                      </a:lnTo>
                      <a:lnTo>
                        <a:pt x="86" y="32"/>
                      </a:lnTo>
                      <a:lnTo>
                        <a:pt x="83" y="35"/>
                      </a:lnTo>
                      <a:lnTo>
                        <a:pt x="78" y="35"/>
                      </a:lnTo>
                      <a:lnTo>
                        <a:pt x="74" y="36"/>
                      </a:lnTo>
                      <a:lnTo>
                        <a:pt x="70" y="35"/>
                      </a:lnTo>
                      <a:lnTo>
                        <a:pt x="68" y="35"/>
                      </a:lnTo>
                      <a:lnTo>
                        <a:pt x="65" y="35"/>
                      </a:lnTo>
                      <a:lnTo>
                        <a:pt x="63" y="35"/>
                      </a:lnTo>
                      <a:lnTo>
                        <a:pt x="60" y="36"/>
                      </a:lnTo>
                      <a:lnTo>
                        <a:pt x="60" y="38"/>
                      </a:lnTo>
                      <a:lnTo>
                        <a:pt x="63" y="42"/>
                      </a:lnTo>
                      <a:lnTo>
                        <a:pt x="64" y="42"/>
                      </a:lnTo>
                      <a:lnTo>
                        <a:pt x="65" y="45"/>
                      </a:lnTo>
                      <a:lnTo>
                        <a:pt x="61" y="48"/>
                      </a:lnTo>
                      <a:lnTo>
                        <a:pt x="59" y="50"/>
                      </a:lnTo>
                      <a:lnTo>
                        <a:pt x="55" y="50"/>
                      </a:lnTo>
                      <a:lnTo>
                        <a:pt x="47" y="52"/>
                      </a:lnTo>
                      <a:lnTo>
                        <a:pt x="43" y="55"/>
                      </a:lnTo>
                      <a:lnTo>
                        <a:pt x="39" y="58"/>
                      </a:lnTo>
                      <a:lnTo>
                        <a:pt x="35" y="61"/>
                      </a:lnTo>
                      <a:lnTo>
                        <a:pt x="33" y="61"/>
                      </a:lnTo>
                      <a:lnTo>
                        <a:pt x="31" y="60"/>
                      </a:lnTo>
                      <a:lnTo>
                        <a:pt x="31" y="56"/>
                      </a:lnTo>
                      <a:lnTo>
                        <a:pt x="29" y="54"/>
                      </a:lnTo>
                      <a:lnTo>
                        <a:pt x="28" y="56"/>
                      </a:lnTo>
                      <a:lnTo>
                        <a:pt x="28" y="59"/>
                      </a:lnTo>
                      <a:lnTo>
                        <a:pt x="26" y="63"/>
                      </a:lnTo>
                      <a:lnTo>
                        <a:pt x="22" y="63"/>
                      </a:lnTo>
                      <a:lnTo>
                        <a:pt x="20" y="64"/>
                      </a:lnTo>
                      <a:lnTo>
                        <a:pt x="17" y="64"/>
                      </a:lnTo>
                      <a:lnTo>
                        <a:pt x="17" y="61"/>
                      </a:lnTo>
                      <a:lnTo>
                        <a:pt x="15" y="59"/>
                      </a:lnTo>
                      <a:lnTo>
                        <a:pt x="15" y="60"/>
                      </a:lnTo>
                      <a:lnTo>
                        <a:pt x="13" y="64"/>
                      </a:lnTo>
                      <a:lnTo>
                        <a:pt x="11" y="66"/>
                      </a:lnTo>
                      <a:lnTo>
                        <a:pt x="9" y="69"/>
                      </a:lnTo>
                      <a:lnTo>
                        <a:pt x="7" y="74"/>
                      </a:lnTo>
                      <a:lnTo>
                        <a:pt x="5" y="79"/>
                      </a:lnTo>
                      <a:lnTo>
                        <a:pt x="2" y="83"/>
                      </a:lnTo>
                      <a:lnTo>
                        <a:pt x="0" y="84"/>
                      </a:lnTo>
                      <a:lnTo>
                        <a:pt x="0" y="87"/>
                      </a:lnTo>
                      <a:lnTo>
                        <a:pt x="0" y="90"/>
                      </a:lnTo>
                      <a:lnTo>
                        <a:pt x="1" y="94"/>
                      </a:lnTo>
                      <a:lnTo>
                        <a:pt x="0" y="99"/>
                      </a:lnTo>
                      <a:lnTo>
                        <a:pt x="1" y="103"/>
                      </a:lnTo>
                      <a:lnTo>
                        <a:pt x="2" y="107"/>
                      </a:lnTo>
                      <a:lnTo>
                        <a:pt x="2" y="114"/>
                      </a:lnTo>
                      <a:lnTo>
                        <a:pt x="4" y="115"/>
                      </a:lnTo>
                      <a:lnTo>
                        <a:pt x="7" y="118"/>
                      </a:lnTo>
                      <a:lnTo>
                        <a:pt x="10" y="121"/>
                      </a:lnTo>
                      <a:lnTo>
                        <a:pt x="11" y="124"/>
                      </a:lnTo>
                      <a:lnTo>
                        <a:pt x="14" y="130"/>
                      </a:lnTo>
                      <a:lnTo>
                        <a:pt x="16" y="135"/>
                      </a:lnTo>
                      <a:lnTo>
                        <a:pt x="18" y="137"/>
                      </a:lnTo>
                      <a:lnTo>
                        <a:pt x="22" y="142"/>
                      </a:lnTo>
                      <a:lnTo>
                        <a:pt x="22" y="145"/>
                      </a:lnTo>
                      <a:lnTo>
                        <a:pt x="22" y="148"/>
                      </a:lnTo>
                      <a:lnTo>
                        <a:pt x="23" y="149"/>
                      </a:lnTo>
                      <a:lnTo>
                        <a:pt x="24" y="149"/>
                      </a:lnTo>
                      <a:lnTo>
                        <a:pt x="30" y="136"/>
                      </a:lnTo>
                      <a:lnTo>
                        <a:pt x="33" y="132"/>
                      </a:lnTo>
                      <a:lnTo>
                        <a:pt x="35" y="131"/>
                      </a:lnTo>
                      <a:lnTo>
                        <a:pt x="37" y="130"/>
                      </a:lnTo>
                      <a:lnTo>
                        <a:pt x="43" y="127"/>
                      </a:lnTo>
                      <a:lnTo>
                        <a:pt x="45" y="127"/>
                      </a:lnTo>
                      <a:lnTo>
                        <a:pt x="47" y="126"/>
                      </a:lnTo>
                      <a:lnTo>
                        <a:pt x="49" y="126"/>
                      </a:lnTo>
                      <a:lnTo>
                        <a:pt x="51" y="126"/>
                      </a:lnTo>
                      <a:lnTo>
                        <a:pt x="52" y="128"/>
                      </a:lnTo>
                      <a:lnTo>
                        <a:pt x="55" y="129"/>
                      </a:lnTo>
                      <a:lnTo>
                        <a:pt x="56" y="128"/>
                      </a:lnTo>
                      <a:lnTo>
                        <a:pt x="58" y="128"/>
                      </a:lnTo>
                      <a:lnTo>
                        <a:pt x="58" y="125"/>
                      </a:lnTo>
                      <a:lnTo>
                        <a:pt x="59" y="123"/>
                      </a:lnTo>
                      <a:lnTo>
                        <a:pt x="59" y="121"/>
                      </a:lnTo>
                      <a:lnTo>
                        <a:pt x="57" y="118"/>
                      </a:lnTo>
                      <a:lnTo>
                        <a:pt x="57" y="116"/>
                      </a:lnTo>
                      <a:lnTo>
                        <a:pt x="59" y="116"/>
                      </a:lnTo>
                      <a:lnTo>
                        <a:pt x="60" y="114"/>
                      </a:lnTo>
                      <a:lnTo>
                        <a:pt x="60" y="113"/>
                      </a:lnTo>
                      <a:lnTo>
                        <a:pt x="62" y="111"/>
                      </a:lnTo>
                      <a:lnTo>
                        <a:pt x="62" y="108"/>
                      </a:lnTo>
                      <a:lnTo>
                        <a:pt x="63" y="107"/>
                      </a:lnTo>
                      <a:lnTo>
                        <a:pt x="65" y="107"/>
                      </a:lnTo>
                      <a:lnTo>
                        <a:pt x="66" y="105"/>
                      </a:lnTo>
                      <a:lnTo>
                        <a:pt x="69" y="105"/>
                      </a:lnTo>
                      <a:lnTo>
                        <a:pt x="70" y="104"/>
                      </a:lnTo>
                      <a:lnTo>
                        <a:pt x="71" y="104"/>
                      </a:lnTo>
                      <a:lnTo>
                        <a:pt x="73" y="105"/>
                      </a:lnTo>
                      <a:lnTo>
                        <a:pt x="74" y="106"/>
                      </a:lnTo>
                      <a:lnTo>
                        <a:pt x="79" y="110"/>
                      </a:lnTo>
                      <a:lnTo>
                        <a:pt x="81" y="111"/>
                      </a:lnTo>
                      <a:lnTo>
                        <a:pt x="84" y="114"/>
                      </a:lnTo>
                      <a:lnTo>
                        <a:pt x="85" y="116"/>
                      </a:lnTo>
                      <a:lnTo>
                        <a:pt x="88" y="115"/>
                      </a:lnTo>
                      <a:lnTo>
                        <a:pt x="91" y="118"/>
                      </a:lnTo>
                      <a:lnTo>
                        <a:pt x="95" y="118"/>
                      </a:lnTo>
                      <a:lnTo>
                        <a:pt x="97" y="118"/>
                      </a:lnTo>
                      <a:lnTo>
                        <a:pt x="98" y="117"/>
                      </a:lnTo>
                      <a:lnTo>
                        <a:pt x="101" y="117"/>
                      </a:lnTo>
                      <a:lnTo>
                        <a:pt x="103" y="118"/>
                      </a:lnTo>
                      <a:lnTo>
                        <a:pt x="106" y="119"/>
                      </a:lnTo>
                      <a:lnTo>
                        <a:pt x="108" y="120"/>
                      </a:lnTo>
                      <a:lnTo>
                        <a:pt x="111" y="119"/>
                      </a:lnTo>
                      <a:lnTo>
                        <a:pt x="111" y="118"/>
                      </a:lnTo>
                      <a:lnTo>
                        <a:pt x="110" y="116"/>
                      </a:lnTo>
                      <a:lnTo>
                        <a:pt x="110" y="114"/>
                      </a:lnTo>
                      <a:lnTo>
                        <a:pt x="112" y="111"/>
                      </a:lnTo>
                      <a:lnTo>
                        <a:pt x="114" y="108"/>
                      </a:lnTo>
                      <a:lnTo>
                        <a:pt x="117" y="109"/>
                      </a:lnTo>
                      <a:lnTo>
                        <a:pt x="119" y="109"/>
                      </a:lnTo>
                      <a:lnTo>
                        <a:pt x="121" y="111"/>
                      </a:lnTo>
                      <a:lnTo>
                        <a:pt x="123" y="111"/>
                      </a:lnTo>
                      <a:lnTo>
                        <a:pt x="129" y="110"/>
                      </a:lnTo>
                      <a:lnTo>
                        <a:pt x="130" y="108"/>
                      </a:lnTo>
                      <a:lnTo>
                        <a:pt x="132" y="107"/>
                      </a:lnTo>
                      <a:lnTo>
                        <a:pt x="138" y="104"/>
                      </a:lnTo>
                      <a:lnTo>
                        <a:pt x="140" y="104"/>
                      </a:lnTo>
                      <a:lnTo>
                        <a:pt x="140" y="105"/>
                      </a:lnTo>
                      <a:lnTo>
                        <a:pt x="142" y="106"/>
                      </a:lnTo>
                      <a:lnTo>
                        <a:pt x="142" y="107"/>
                      </a:lnTo>
                      <a:lnTo>
                        <a:pt x="143" y="107"/>
                      </a:lnTo>
                      <a:lnTo>
                        <a:pt x="145" y="106"/>
                      </a:lnTo>
                      <a:lnTo>
                        <a:pt x="149" y="106"/>
                      </a:lnTo>
                      <a:lnTo>
                        <a:pt x="150" y="105"/>
                      </a:lnTo>
                      <a:lnTo>
                        <a:pt x="152" y="105"/>
                      </a:lnTo>
                      <a:lnTo>
                        <a:pt x="153" y="102"/>
                      </a:lnTo>
                      <a:lnTo>
                        <a:pt x="153" y="101"/>
                      </a:lnTo>
                      <a:lnTo>
                        <a:pt x="153" y="100"/>
                      </a:lnTo>
                      <a:lnTo>
                        <a:pt x="156" y="100"/>
                      </a:lnTo>
                      <a:lnTo>
                        <a:pt x="156" y="101"/>
                      </a:lnTo>
                      <a:lnTo>
                        <a:pt x="160" y="101"/>
                      </a:lnTo>
                      <a:lnTo>
                        <a:pt x="161" y="101"/>
                      </a:lnTo>
                      <a:lnTo>
                        <a:pt x="163" y="102"/>
                      </a:lnTo>
                      <a:lnTo>
                        <a:pt x="165" y="103"/>
                      </a:lnTo>
                      <a:lnTo>
                        <a:pt x="167" y="104"/>
                      </a:lnTo>
                      <a:lnTo>
                        <a:pt x="172" y="104"/>
                      </a:lnTo>
                      <a:lnTo>
                        <a:pt x="173" y="105"/>
                      </a:lnTo>
                      <a:lnTo>
                        <a:pt x="177" y="103"/>
                      </a:lnTo>
                      <a:lnTo>
                        <a:pt x="180" y="103"/>
                      </a:lnTo>
                      <a:lnTo>
                        <a:pt x="183" y="105"/>
                      </a:lnTo>
                      <a:lnTo>
                        <a:pt x="184" y="105"/>
                      </a:lnTo>
                      <a:lnTo>
                        <a:pt x="184" y="104"/>
                      </a:lnTo>
                      <a:lnTo>
                        <a:pt x="183" y="102"/>
                      </a:lnTo>
                      <a:lnTo>
                        <a:pt x="180" y="100"/>
                      </a:lnTo>
                      <a:lnTo>
                        <a:pt x="178" y="99"/>
                      </a:lnTo>
                      <a:lnTo>
                        <a:pt x="178" y="93"/>
                      </a:lnTo>
                      <a:lnTo>
                        <a:pt x="178" y="92"/>
                      </a:lnTo>
                      <a:lnTo>
                        <a:pt x="176" y="90"/>
                      </a:lnTo>
                      <a:lnTo>
                        <a:pt x="171" y="89"/>
                      </a:lnTo>
                      <a:lnTo>
                        <a:pt x="170" y="87"/>
                      </a:lnTo>
                      <a:lnTo>
                        <a:pt x="170" y="83"/>
                      </a:lnTo>
                      <a:lnTo>
                        <a:pt x="170" y="83"/>
                      </a:lnTo>
                      <a:lnTo>
                        <a:pt x="167" y="81"/>
                      </a:lnTo>
                      <a:lnTo>
                        <a:pt x="165" y="80"/>
                      </a:lnTo>
                      <a:lnTo>
                        <a:pt x="165" y="75"/>
                      </a:lnTo>
                      <a:lnTo>
                        <a:pt x="164" y="73"/>
                      </a:lnTo>
                      <a:lnTo>
                        <a:pt x="160" y="69"/>
                      </a:lnTo>
                      <a:lnTo>
                        <a:pt x="158" y="69"/>
                      </a:lnTo>
                      <a:lnTo>
                        <a:pt x="156" y="68"/>
                      </a:lnTo>
                      <a:lnTo>
                        <a:pt x="155" y="69"/>
                      </a:lnTo>
                      <a:lnTo>
                        <a:pt x="153" y="68"/>
                      </a:lnTo>
                      <a:lnTo>
                        <a:pt x="149" y="65"/>
                      </a:lnTo>
                      <a:lnTo>
                        <a:pt x="151" y="63"/>
                      </a:lnTo>
                      <a:lnTo>
                        <a:pt x="151" y="62"/>
                      </a:lnTo>
                      <a:lnTo>
                        <a:pt x="153" y="60"/>
                      </a:lnTo>
                      <a:lnTo>
                        <a:pt x="153" y="58"/>
                      </a:lnTo>
                      <a:lnTo>
                        <a:pt x="153" y="56"/>
                      </a:lnTo>
                      <a:lnTo>
                        <a:pt x="150" y="55"/>
                      </a:lnTo>
                      <a:lnTo>
                        <a:pt x="147" y="54"/>
                      </a:lnTo>
                      <a:lnTo>
                        <a:pt x="146" y="52"/>
                      </a:lnTo>
                      <a:lnTo>
                        <a:pt x="144" y="50"/>
                      </a:lnTo>
                      <a:lnTo>
                        <a:pt x="142" y="50"/>
                      </a:lnTo>
                      <a:lnTo>
                        <a:pt x="139" y="49"/>
                      </a:lnTo>
                      <a:lnTo>
                        <a:pt x="136" y="46"/>
                      </a:lnTo>
                      <a:lnTo>
                        <a:pt x="135" y="43"/>
                      </a:lnTo>
                      <a:lnTo>
                        <a:pt x="137" y="41"/>
                      </a:lnTo>
                      <a:lnTo>
                        <a:pt x="135" y="39"/>
                      </a:lnTo>
                      <a:lnTo>
                        <a:pt x="131" y="39"/>
                      </a:lnTo>
                      <a:lnTo>
                        <a:pt x="130" y="41"/>
                      </a:lnTo>
                      <a:lnTo>
                        <a:pt x="127" y="41"/>
                      </a:lnTo>
                      <a:lnTo>
                        <a:pt x="125" y="39"/>
                      </a:lnTo>
                      <a:lnTo>
                        <a:pt x="125" y="34"/>
                      </a:lnTo>
                      <a:lnTo>
                        <a:pt x="125" y="31"/>
                      </a:lnTo>
                      <a:lnTo>
                        <a:pt x="126" y="29"/>
                      </a:lnTo>
                      <a:lnTo>
                        <a:pt x="127" y="25"/>
                      </a:lnTo>
                      <a:lnTo>
                        <a:pt x="126" y="23"/>
                      </a:lnTo>
                      <a:lnTo>
                        <a:pt x="124" y="16"/>
                      </a:lnTo>
                      <a:lnTo>
                        <a:pt x="120" y="11"/>
                      </a:lnTo>
                      <a:lnTo>
                        <a:pt x="119" y="8"/>
                      </a:lnTo>
                      <a:lnTo>
                        <a:pt x="116" y="5"/>
                      </a:lnTo>
                      <a:lnTo>
                        <a:pt x="117" y="4"/>
                      </a:lnTo>
                      <a:lnTo>
                        <a:pt x="117" y="2"/>
                      </a:lnTo>
                      <a:lnTo>
                        <a:pt x="115" y="0"/>
                      </a:lnTo>
                      <a:lnTo>
                        <a:pt x="115" y="1"/>
                      </a:lnTo>
                      <a:lnTo>
                        <a:pt x="111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20" name="Freeform 823">
                  <a:extLst>
                    <a:ext uri="{FF2B5EF4-FFF2-40B4-BE49-F238E27FC236}">
                      <a16:creationId xmlns:a16="http://schemas.microsoft.com/office/drawing/2014/main" id="{B1404253-4F73-4559-8DFE-8E1F5C31F0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6" y="2220"/>
                  <a:ext cx="219" cy="245"/>
                </a:xfrm>
                <a:custGeom>
                  <a:avLst/>
                  <a:gdLst>
                    <a:gd name="T0" fmla="*/ 28 w 219"/>
                    <a:gd name="T1" fmla="*/ 9 h 245"/>
                    <a:gd name="T2" fmla="*/ 16 w 219"/>
                    <a:gd name="T3" fmla="*/ 22 h 245"/>
                    <a:gd name="T4" fmla="*/ 14 w 219"/>
                    <a:gd name="T5" fmla="*/ 28 h 245"/>
                    <a:gd name="T6" fmla="*/ 8 w 219"/>
                    <a:gd name="T7" fmla="*/ 29 h 245"/>
                    <a:gd name="T8" fmla="*/ 7 w 219"/>
                    <a:gd name="T9" fmla="*/ 33 h 245"/>
                    <a:gd name="T10" fmla="*/ 10 w 219"/>
                    <a:gd name="T11" fmla="*/ 42 h 245"/>
                    <a:gd name="T12" fmla="*/ 9 w 219"/>
                    <a:gd name="T13" fmla="*/ 45 h 245"/>
                    <a:gd name="T14" fmla="*/ 7 w 219"/>
                    <a:gd name="T15" fmla="*/ 49 h 245"/>
                    <a:gd name="T16" fmla="*/ 4 w 219"/>
                    <a:gd name="T17" fmla="*/ 53 h 245"/>
                    <a:gd name="T18" fmla="*/ 2 w 219"/>
                    <a:gd name="T19" fmla="*/ 53 h 245"/>
                    <a:gd name="T20" fmla="*/ 0 w 219"/>
                    <a:gd name="T21" fmla="*/ 60 h 245"/>
                    <a:gd name="T22" fmla="*/ 4 w 219"/>
                    <a:gd name="T23" fmla="*/ 65 h 245"/>
                    <a:gd name="T24" fmla="*/ 4 w 219"/>
                    <a:gd name="T25" fmla="*/ 82 h 245"/>
                    <a:gd name="T26" fmla="*/ 4 w 219"/>
                    <a:gd name="T27" fmla="*/ 92 h 245"/>
                    <a:gd name="T28" fmla="*/ 5 w 219"/>
                    <a:gd name="T29" fmla="*/ 107 h 245"/>
                    <a:gd name="T30" fmla="*/ 6 w 219"/>
                    <a:gd name="T31" fmla="*/ 112 h 245"/>
                    <a:gd name="T32" fmla="*/ 5 w 219"/>
                    <a:gd name="T33" fmla="*/ 121 h 245"/>
                    <a:gd name="T34" fmla="*/ 0 w 219"/>
                    <a:gd name="T35" fmla="*/ 125 h 245"/>
                    <a:gd name="T36" fmla="*/ 1 w 219"/>
                    <a:gd name="T37" fmla="*/ 129 h 245"/>
                    <a:gd name="T38" fmla="*/ 7 w 219"/>
                    <a:gd name="T39" fmla="*/ 141 h 245"/>
                    <a:gd name="T40" fmla="*/ 9 w 219"/>
                    <a:gd name="T41" fmla="*/ 146 h 245"/>
                    <a:gd name="T42" fmla="*/ 9 w 219"/>
                    <a:gd name="T43" fmla="*/ 153 h 245"/>
                    <a:gd name="T44" fmla="*/ 11 w 219"/>
                    <a:gd name="T45" fmla="*/ 159 h 245"/>
                    <a:gd name="T46" fmla="*/ 18 w 219"/>
                    <a:gd name="T47" fmla="*/ 160 h 245"/>
                    <a:gd name="T48" fmla="*/ 26 w 219"/>
                    <a:gd name="T49" fmla="*/ 163 h 245"/>
                    <a:gd name="T50" fmla="*/ 31 w 219"/>
                    <a:gd name="T51" fmla="*/ 173 h 245"/>
                    <a:gd name="T52" fmla="*/ 34 w 219"/>
                    <a:gd name="T53" fmla="*/ 177 h 245"/>
                    <a:gd name="T54" fmla="*/ 61 w 219"/>
                    <a:gd name="T55" fmla="*/ 187 h 245"/>
                    <a:gd name="T56" fmla="*/ 76 w 219"/>
                    <a:gd name="T57" fmla="*/ 184 h 245"/>
                    <a:gd name="T58" fmla="*/ 205 w 219"/>
                    <a:gd name="T59" fmla="*/ 245 h 245"/>
                    <a:gd name="T60" fmla="*/ 205 w 219"/>
                    <a:gd name="T61" fmla="*/ 245 h 245"/>
                    <a:gd name="T62" fmla="*/ 219 w 219"/>
                    <a:gd name="T63" fmla="*/ 237 h 245"/>
                    <a:gd name="T64" fmla="*/ 211 w 219"/>
                    <a:gd name="T65" fmla="*/ 61 h 245"/>
                    <a:gd name="T66" fmla="*/ 211 w 219"/>
                    <a:gd name="T67" fmla="*/ 51 h 245"/>
                    <a:gd name="T68" fmla="*/ 213 w 219"/>
                    <a:gd name="T69" fmla="*/ 41 h 245"/>
                    <a:gd name="T70" fmla="*/ 213 w 219"/>
                    <a:gd name="T71" fmla="*/ 29 h 245"/>
                    <a:gd name="T72" fmla="*/ 213 w 219"/>
                    <a:gd name="T73" fmla="*/ 22 h 245"/>
                    <a:gd name="T74" fmla="*/ 208 w 219"/>
                    <a:gd name="T75" fmla="*/ 18 h 245"/>
                    <a:gd name="T76" fmla="*/ 196 w 219"/>
                    <a:gd name="T77" fmla="*/ 18 h 245"/>
                    <a:gd name="T78" fmla="*/ 191 w 219"/>
                    <a:gd name="T79" fmla="*/ 15 h 245"/>
                    <a:gd name="T80" fmla="*/ 184 w 219"/>
                    <a:gd name="T81" fmla="*/ 12 h 245"/>
                    <a:gd name="T82" fmla="*/ 185 w 219"/>
                    <a:gd name="T83" fmla="*/ 9 h 245"/>
                    <a:gd name="T84" fmla="*/ 176 w 219"/>
                    <a:gd name="T85" fmla="*/ 5 h 245"/>
                    <a:gd name="T86" fmla="*/ 170 w 219"/>
                    <a:gd name="T87" fmla="*/ 3 h 245"/>
                    <a:gd name="T88" fmla="*/ 166 w 219"/>
                    <a:gd name="T89" fmla="*/ 3 h 245"/>
                    <a:gd name="T90" fmla="*/ 160 w 219"/>
                    <a:gd name="T91" fmla="*/ 5 h 245"/>
                    <a:gd name="T92" fmla="*/ 147 w 219"/>
                    <a:gd name="T93" fmla="*/ 10 h 245"/>
                    <a:gd name="T94" fmla="*/ 143 w 219"/>
                    <a:gd name="T95" fmla="*/ 18 h 245"/>
                    <a:gd name="T96" fmla="*/ 141 w 219"/>
                    <a:gd name="T97" fmla="*/ 28 h 245"/>
                    <a:gd name="T98" fmla="*/ 145 w 219"/>
                    <a:gd name="T99" fmla="*/ 40 h 245"/>
                    <a:gd name="T100" fmla="*/ 140 w 219"/>
                    <a:gd name="T101" fmla="*/ 49 h 245"/>
                    <a:gd name="T102" fmla="*/ 135 w 219"/>
                    <a:gd name="T103" fmla="*/ 55 h 245"/>
                    <a:gd name="T104" fmla="*/ 125 w 219"/>
                    <a:gd name="T105" fmla="*/ 53 h 245"/>
                    <a:gd name="T106" fmla="*/ 116 w 219"/>
                    <a:gd name="T107" fmla="*/ 44 h 245"/>
                    <a:gd name="T108" fmla="*/ 99 w 219"/>
                    <a:gd name="T109" fmla="*/ 35 h 245"/>
                    <a:gd name="T110" fmla="*/ 93 w 219"/>
                    <a:gd name="T111" fmla="*/ 35 h 245"/>
                    <a:gd name="T112" fmla="*/ 83 w 219"/>
                    <a:gd name="T113" fmla="*/ 32 h 245"/>
                    <a:gd name="T114" fmla="*/ 79 w 219"/>
                    <a:gd name="T115" fmla="*/ 17 h 245"/>
                    <a:gd name="T116" fmla="*/ 66 w 219"/>
                    <a:gd name="T117" fmla="*/ 10 h 245"/>
                    <a:gd name="T118" fmla="*/ 53 w 219"/>
                    <a:gd name="T119" fmla="*/ 5 h 245"/>
                    <a:gd name="T120" fmla="*/ 39 w 219"/>
                    <a:gd name="T121" fmla="*/ 6 h 245"/>
                    <a:gd name="T122" fmla="*/ 29 w 219"/>
                    <a:gd name="T123" fmla="*/ 1 h 245"/>
                    <a:gd name="T124" fmla="*/ 25 w 219"/>
                    <a:gd name="T125" fmla="*/ 1 h 2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19" h="245">
                      <a:moveTo>
                        <a:pt x="27" y="8"/>
                      </a:moveTo>
                      <a:lnTo>
                        <a:pt x="28" y="9"/>
                      </a:lnTo>
                      <a:lnTo>
                        <a:pt x="24" y="15"/>
                      </a:lnTo>
                      <a:lnTo>
                        <a:pt x="16" y="22"/>
                      </a:lnTo>
                      <a:lnTo>
                        <a:pt x="16" y="24"/>
                      </a:lnTo>
                      <a:lnTo>
                        <a:pt x="14" y="28"/>
                      </a:lnTo>
                      <a:lnTo>
                        <a:pt x="11" y="27"/>
                      </a:lnTo>
                      <a:lnTo>
                        <a:pt x="8" y="29"/>
                      </a:lnTo>
                      <a:lnTo>
                        <a:pt x="8" y="31"/>
                      </a:lnTo>
                      <a:lnTo>
                        <a:pt x="7" y="33"/>
                      </a:lnTo>
                      <a:lnTo>
                        <a:pt x="9" y="39"/>
                      </a:lnTo>
                      <a:lnTo>
                        <a:pt x="10" y="42"/>
                      </a:lnTo>
                      <a:lnTo>
                        <a:pt x="9" y="44"/>
                      </a:lnTo>
                      <a:lnTo>
                        <a:pt x="9" y="45"/>
                      </a:lnTo>
                      <a:lnTo>
                        <a:pt x="8" y="46"/>
                      </a:lnTo>
                      <a:lnTo>
                        <a:pt x="7" y="49"/>
                      </a:lnTo>
                      <a:lnTo>
                        <a:pt x="4" y="51"/>
                      </a:lnTo>
                      <a:lnTo>
                        <a:pt x="4" y="53"/>
                      </a:lnTo>
                      <a:lnTo>
                        <a:pt x="2" y="53"/>
                      </a:lnTo>
                      <a:lnTo>
                        <a:pt x="2" y="53"/>
                      </a:lnTo>
                      <a:lnTo>
                        <a:pt x="0" y="53"/>
                      </a:lnTo>
                      <a:lnTo>
                        <a:pt x="0" y="60"/>
                      </a:lnTo>
                      <a:lnTo>
                        <a:pt x="2" y="60"/>
                      </a:lnTo>
                      <a:lnTo>
                        <a:pt x="4" y="65"/>
                      </a:lnTo>
                      <a:lnTo>
                        <a:pt x="4" y="76"/>
                      </a:lnTo>
                      <a:lnTo>
                        <a:pt x="4" y="82"/>
                      </a:lnTo>
                      <a:lnTo>
                        <a:pt x="4" y="84"/>
                      </a:lnTo>
                      <a:lnTo>
                        <a:pt x="4" y="92"/>
                      </a:lnTo>
                      <a:lnTo>
                        <a:pt x="6" y="97"/>
                      </a:lnTo>
                      <a:lnTo>
                        <a:pt x="5" y="107"/>
                      </a:lnTo>
                      <a:lnTo>
                        <a:pt x="4" y="108"/>
                      </a:lnTo>
                      <a:lnTo>
                        <a:pt x="6" y="112"/>
                      </a:lnTo>
                      <a:lnTo>
                        <a:pt x="6" y="118"/>
                      </a:lnTo>
                      <a:lnTo>
                        <a:pt x="5" y="121"/>
                      </a:lnTo>
                      <a:lnTo>
                        <a:pt x="2" y="123"/>
                      </a:lnTo>
                      <a:lnTo>
                        <a:pt x="0" y="125"/>
                      </a:lnTo>
                      <a:lnTo>
                        <a:pt x="0" y="126"/>
                      </a:lnTo>
                      <a:lnTo>
                        <a:pt x="1" y="129"/>
                      </a:lnTo>
                      <a:lnTo>
                        <a:pt x="5" y="134"/>
                      </a:lnTo>
                      <a:lnTo>
                        <a:pt x="7" y="141"/>
                      </a:lnTo>
                      <a:lnTo>
                        <a:pt x="8" y="142"/>
                      </a:lnTo>
                      <a:lnTo>
                        <a:pt x="9" y="146"/>
                      </a:lnTo>
                      <a:lnTo>
                        <a:pt x="9" y="148"/>
                      </a:lnTo>
                      <a:lnTo>
                        <a:pt x="9" y="153"/>
                      </a:lnTo>
                      <a:lnTo>
                        <a:pt x="11" y="156"/>
                      </a:lnTo>
                      <a:lnTo>
                        <a:pt x="11" y="159"/>
                      </a:lnTo>
                      <a:lnTo>
                        <a:pt x="13" y="160"/>
                      </a:lnTo>
                      <a:lnTo>
                        <a:pt x="18" y="160"/>
                      </a:lnTo>
                      <a:lnTo>
                        <a:pt x="24" y="160"/>
                      </a:lnTo>
                      <a:lnTo>
                        <a:pt x="26" y="163"/>
                      </a:lnTo>
                      <a:lnTo>
                        <a:pt x="28" y="166"/>
                      </a:lnTo>
                      <a:lnTo>
                        <a:pt x="31" y="173"/>
                      </a:lnTo>
                      <a:lnTo>
                        <a:pt x="32" y="175"/>
                      </a:lnTo>
                      <a:lnTo>
                        <a:pt x="34" y="177"/>
                      </a:lnTo>
                      <a:lnTo>
                        <a:pt x="36" y="180"/>
                      </a:lnTo>
                      <a:lnTo>
                        <a:pt x="61" y="187"/>
                      </a:lnTo>
                      <a:lnTo>
                        <a:pt x="63" y="190"/>
                      </a:lnTo>
                      <a:lnTo>
                        <a:pt x="76" y="184"/>
                      </a:lnTo>
                      <a:lnTo>
                        <a:pt x="92" y="176"/>
                      </a:lnTo>
                      <a:lnTo>
                        <a:pt x="205" y="245"/>
                      </a:lnTo>
                      <a:lnTo>
                        <a:pt x="205" y="245"/>
                      </a:lnTo>
                      <a:lnTo>
                        <a:pt x="205" y="245"/>
                      </a:lnTo>
                      <a:lnTo>
                        <a:pt x="205" y="239"/>
                      </a:lnTo>
                      <a:lnTo>
                        <a:pt x="219" y="237"/>
                      </a:lnTo>
                      <a:lnTo>
                        <a:pt x="213" y="70"/>
                      </a:lnTo>
                      <a:lnTo>
                        <a:pt x="211" y="61"/>
                      </a:lnTo>
                      <a:lnTo>
                        <a:pt x="210" y="56"/>
                      </a:lnTo>
                      <a:lnTo>
                        <a:pt x="211" y="51"/>
                      </a:lnTo>
                      <a:lnTo>
                        <a:pt x="213" y="45"/>
                      </a:lnTo>
                      <a:lnTo>
                        <a:pt x="213" y="41"/>
                      </a:lnTo>
                      <a:lnTo>
                        <a:pt x="211" y="37"/>
                      </a:lnTo>
                      <a:lnTo>
                        <a:pt x="213" y="29"/>
                      </a:lnTo>
                      <a:lnTo>
                        <a:pt x="214" y="27"/>
                      </a:lnTo>
                      <a:lnTo>
                        <a:pt x="213" y="22"/>
                      </a:lnTo>
                      <a:lnTo>
                        <a:pt x="211" y="19"/>
                      </a:lnTo>
                      <a:lnTo>
                        <a:pt x="208" y="18"/>
                      </a:lnTo>
                      <a:lnTo>
                        <a:pt x="205" y="19"/>
                      </a:lnTo>
                      <a:lnTo>
                        <a:pt x="196" y="18"/>
                      </a:lnTo>
                      <a:lnTo>
                        <a:pt x="194" y="16"/>
                      </a:lnTo>
                      <a:lnTo>
                        <a:pt x="191" y="15"/>
                      </a:lnTo>
                      <a:lnTo>
                        <a:pt x="185" y="14"/>
                      </a:lnTo>
                      <a:lnTo>
                        <a:pt x="184" y="12"/>
                      </a:lnTo>
                      <a:lnTo>
                        <a:pt x="185" y="11"/>
                      </a:lnTo>
                      <a:lnTo>
                        <a:pt x="185" y="9"/>
                      </a:lnTo>
                      <a:lnTo>
                        <a:pt x="179" y="5"/>
                      </a:lnTo>
                      <a:lnTo>
                        <a:pt x="176" y="5"/>
                      </a:lnTo>
                      <a:lnTo>
                        <a:pt x="171" y="4"/>
                      </a:lnTo>
                      <a:lnTo>
                        <a:pt x="170" y="3"/>
                      </a:lnTo>
                      <a:lnTo>
                        <a:pt x="169" y="4"/>
                      </a:lnTo>
                      <a:lnTo>
                        <a:pt x="166" y="3"/>
                      </a:lnTo>
                      <a:lnTo>
                        <a:pt x="164" y="3"/>
                      </a:lnTo>
                      <a:lnTo>
                        <a:pt x="160" y="5"/>
                      </a:lnTo>
                      <a:lnTo>
                        <a:pt x="153" y="6"/>
                      </a:lnTo>
                      <a:lnTo>
                        <a:pt x="147" y="10"/>
                      </a:lnTo>
                      <a:lnTo>
                        <a:pt x="144" y="14"/>
                      </a:lnTo>
                      <a:lnTo>
                        <a:pt x="143" y="18"/>
                      </a:lnTo>
                      <a:lnTo>
                        <a:pt x="141" y="20"/>
                      </a:lnTo>
                      <a:lnTo>
                        <a:pt x="141" y="28"/>
                      </a:lnTo>
                      <a:lnTo>
                        <a:pt x="143" y="33"/>
                      </a:lnTo>
                      <a:lnTo>
                        <a:pt x="145" y="40"/>
                      </a:lnTo>
                      <a:lnTo>
                        <a:pt x="144" y="44"/>
                      </a:lnTo>
                      <a:lnTo>
                        <a:pt x="140" y="49"/>
                      </a:lnTo>
                      <a:lnTo>
                        <a:pt x="139" y="50"/>
                      </a:lnTo>
                      <a:lnTo>
                        <a:pt x="135" y="55"/>
                      </a:lnTo>
                      <a:lnTo>
                        <a:pt x="132" y="56"/>
                      </a:lnTo>
                      <a:lnTo>
                        <a:pt x="125" y="53"/>
                      </a:lnTo>
                      <a:lnTo>
                        <a:pt x="120" y="48"/>
                      </a:lnTo>
                      <a:lnTo>
                        <a:pt x="116" y="44"/>
                      </a:lnTo>
                      <a:lnTo>
                        <a:pt x="109" y="40"/>
                      </a:lnTo>
                      <a:lnTo>
                        <a:pt x="99" y="35"/>
                      </a:lnTo>
                      <a:lnTo>
                        <a:pt x="94" y="34"/>
                      </a:lnTo>
                      <a:lnTo>
                        <a:pt x="93" y="35"/>
                      </a:lnTo>
                      <a:lnTo>
                        <a:pt x="87" y="35"/>
                      </a:lnTo>
                      <a:lnTo>
                        <a:pt x="83" y="32"/>
                      </a:lnTo>
                      <a:lnTo>
                        <a:pt x="78" y="22"/>
                      </a:lnTo>
                      <a:lnTo>
                        <a:pt x="79" y="17"/>
                      </a:lnTo>
                      <a:lnTo>
                        <a:pt x="75" y="11"/>
                      </a:lnTo>
                      <a:lnTo>
                        <a:pt x="66" y="10"/>
                      </a:lnTo>
                      <a:lnTo>
                        <a:pt x="61" y="6"/>
                      </a:lnTo>
                      <a:lnTo>
                        <a:pt x="53" y="5"/>
                      </a:lnTo>
                      <a:lnTo>
                        <a:pt x="49" y="4"/>
                      </a:lnTo>
                      <a:lnTo>
                        <a:pt x="39" y="6"/>
                      </a:lnTo>
                      <a:lnTo>
                        <a:pt x="32" y="4"/>
                      </a:lnTo>
                      <a:lnTo>
                        <a:pt x="29" y="1"/>
                      </a:lnTo>
                      <a:lnTo>
                        <a:pt x="26" y="0"/>
                      </a:lnTo>
                      <a:lnTo>
                        <a:pt x="25" y="1"/>
                      </a:lnTo>
                      <a:lnTo>
                        <a:pt x="27" y="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21" name="Freeform 824">
                  <a:extLst>
                    <a:ext uri="{FF2B5EF4-FFF2-40B4-BE49-F238E27FC236}">
                      <a16:creationId xmlns:a16="http://schemas.microsoft.com/office/drawing/2014/main" id="{4A08FD4E-C1BC-48AA-B517-450BE9D6C1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08" y="2141"/>
                  <a:ext cx="56" cy="132"/>
                </a:xfrm>
                <a:custGeom>
                  <a:avLst/>
                  <a:gdLst>
                    <a:gd name="T0" fmla="*/ 12 w 56"/>
                    <a:gd name="T1" fmla="*/ 18 h 132"/>
                    <a:gd name="T2" fmla="*/ 10 w 56"/>
                    <a:gd name="T3" fmla="*/ 30 h 132"/>
                    <a:gd name="T4" fmla="*/ 12 w 56"/>
                    <a:gd name="T5" fmla="*/ 38 h 132"/>
                    <a:gd name="T6" fmla="*/ 11 w 56"/>
                    <a:gd name="T7" fmla="*/ 40 h 132"/>
                    <a:gd name="T8" fmla="*/ 12 w 56"/>
                    <a:gd name="T9" fmla="*/ 45 h 132"/>
                    <a:gd name="T10" fmla="*/ 10 w 56"/>
                    <a:gd name="T11" fmla="*/ 52 h 132"/>
                    <a:gd name="T12" fmla="*/ 7 w 56"/>
                    <a:gd name="T13" fmla="*/ 56 h 132"/>
                    <a:gd name="T14" fmla="*/ 2 w 56"/>
                    <a:gd name="T15" fmla="*/ 61 h 132"/>
                    <a:gd name="T16" fmla="*/ 1 w 56"/>
                    <a:gd name="T17" fmla="*/ 70 h 132"/>
                    <a:gd name="T18" fmla="*/ 2 w 56"/>
                    <a:gd name="T19" fmla="*/ 76 h 132"/>
                    <a:gd name="T20" fmla="*/ 5 w 56"/>
                    <a:gd name="T21" fmla="*/ 80 h 132"/>
                    <a:gd name="T22" fmla="*/ 11 w 56"/>
                    <a:gd name="T23" fmla="*/ 89 h 132"/>
                    <a:gd name="T24" fmla="*/ 15 w 56"/>
                    <a:gd name="T25" fmla="*/ 92 h 132"/>
                    <a:gd name="T26" fmla="*/ 21 w 56"/>
                    <a:gd name="T27" fmla="*/ 97 h 132"/>
                    <a:gd name="T28" fmla="*/ 32 w 56"/>
                    <a:gd name="T29" fmla="*/ 132 h 132"/>
                    <a:gd name="T30" fmla="*/ 35 w 56"/>
                    <a:gd name="T31" fmla="*/ 128 h 132"/>
                    <a:gd name="T32" fmla="*/ 37 w 56"/>
                    <a:gd name="T33" fmla="*/ 124 h 132"/>
                    <a:gd name="T34" fmla="*/ 38 w 56"/>
                    <a:gd name="T35" fmla="*/ 121 h 132"/>
                    <a:gd name="T36" fmla="*/ 35 w 56"/>
                    <a:gd name="T37" fmla="*/ 112 h 132"/>
                    <a:gd name="T38" fmla="*/ 36 w 56"/>
                    <a:gd name="T39" fmla="*/ 108 h 132"/>
                    <a:gd name="T40" fmla="*/ 42 w 56"/>
                    <a:gd name="T41" fmla="*/ 107 h 132"/>
                    <a:gd name="T42" fmla="*/ 44 w 56"/>
                    <a:gd name="T43" fmla="*/ 101 h 132"/>
                    <a:gd name="T44" fmla="*/ 56 w 56"/>
                    <a:gd name="T45" fmla="*/ 88 h 132"/>
                    <a:gd name="T46" fmla="*/ 53 w 56"/>
                    <a:gd name="T47" fmla="*/ 80 h 132"/>
                    <a:gd name="T48" fmla="*/ 52 w 56"/>
                    <a:gd name="T49" fmla="*/ 79 h 132"/>
                    <a:gd name="T50" fmla="*/ 48 w 56"/>
                    <a:gd name="T51" fmla="*/ 74 h 132"/>
                    <a:gd name="T52" fmla="*/ 45 w 56"/>
                    <a:gd name="T53" fmla="*/ 70 h 132"/>
                    <a:gd name="T54" fmla="*/ 45 w 56"/>
                    <a:gd name="T55" fmla="*/ 72 h 132"/>
                    <a:gd name="T56" fmla="*/ 42 w 56"/>
                    <a:gd name="T57" fmla="*/ 72 h 132"/>
                    <a:gd name="T58" fmla="*/ 39 w 56"/>
                    <a:gd name="T59" fmla="*/ 70 h 132"/>
                    <a:gd name="T60" fmla="*/ 32 w 56"/>
                    <a:gd name="T61" fmla="*/ 61 h 132"/>
                    <a:gd name="T62" fmla="*/ 41 w 56"/>
                    <a:gd name="T63" fmla="*/ 50 h 132"/>
                    <a:gd name="T64" fmla="*/ 46 w 56"/>
                    <a:gd name="T65" fmla="*/ 44 h 132"/>
                    <a:gd name="T66" fmla="*/ 46 w 56"/>
                    <a:gd name="T67" fmla="*/ 40 h 132"/>
                    <a:gd name="T68" fmla="*/ 45 w 56"/>
                    <a:gd name="T69" fmla="*/ 37 h 132"/>
                    <a:gd name="T70" fmla="*/ 41 w 56"/>
                    <a:gd name="T71" fmla="*/ 29 h 132"/>
                    <a:gd name="T72" fmla="*/ 38 w 56"/>
                    <a:gd name="T73" fmla="*/ 19 h 132"/>
                    <a:gd name="T74" fmla="*/ 42 w 56"/>
                    <a:gd name="T75" fmla="*/ 14 h 132"/>
                    <a:gd name="T76" fmla="*/ 45 w 56"/>
                    <a:gd name="T77" fmla="*/ 5 h 132"/>
                    <a:gd name="T78" fmla="*/ 38 w 56"/>
                    <a:gd name="T79" fmla="*/ 10 h 132"/>
                    <a:gd name="T80" fmla="*/ 35 w 56"/>
                    <a:gd name="T81" fmla="*/ 11 h 132"/>
                    <a:gd name="T82" fmla="*/ 32 w 56"/>
                    <a:gd name="T83" fmla="*/ 4 h 132"/>
                    <a:gd name="T84" fmla="*/ 30 w 56"/>
                    <a:gd name="T85" fmla="*/ 0 h 132"/>
                    <a:gd name="T86" fmla="*/ 27 w 56"/>
                    <a:gd name="T87" fmla="*/ 2 h 132"/>
                    <a:gd name="T88" fmla="*/ 21 w 56"/>
                    <a:gd name="T89" fmla="*/ 0 h 132"/>
                    <a:gd name="T90" fmla="*/ 13 w 56"/>
                    <a:gd name="T91" fmla="*/ 7 h 132"/>
                    <a:gd name="T92" fmla="*/ 12 w 56"/>
                    <a:gd name="T93" fmla="*/ 10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56" h="132">
                      <a:moveTo>
                        <a:pt x="13" y="12"/>
                      </a:moveTo>
                      <a:lnTo>
                        <a:pt x="12" y="18"/>
                      </a:lnTo>
                      <a:lnTo>
                        <a:pt x="12" y="22"/>
                      </a:lnTo>
                      <a:lnTo>
                        <a:pt x="10" y="30"/>
                      </a:lnTo>
                      <a:lnTo>
                        <a:pt x="11" y="35"/>
                      </a:lnTo>
                      <a:lnTo>
                        <a:pt x="12" y="38"/>
                      </a:lnTo>
                      <a:lnTo>
                        <a:pt x="13" y="38"/>
                      </a:lnTo>
                      <a:lnTo>
                        <a:pt x="11" y="40"/>
                      </a:lnTo>
                      <a:lnTo>
                        <a:pt x="11" y="42"/>
                      </a:lnTo>
                      <a:lnTo>
                        <a:pt x="12" y="45"/>
                      </a:lnTo>
                      <a:lnTo>
                        <a:pt x="11" y="46"/>
                      </a:lnTo>
                      <a:lnTo>
                        <a:pt x="10" y="52"/>
                      </a:lnTo>
                      <a:lnTo>
                        <a:pt x="8" y="54"/>
                      </a:lnTo>
                      <a:lnTo>
                        <a:pt x="7" y="56"/>
                      </a:lnTo>
                      <a:lnTo>
                        <a:pt x="5" y="56"/>
                      </a:lnTo>
                      <a:lnTo>
                        <a:pt x="2" y="61"/>
                      </a:lnTo>
                      <a:lnTo>
                        <a:pt x="0" y="69"/>
                      </a:lnTo>
                      <a:lnTo>
                        <a:pt x="1" y="70"/>
                      </a:lnTo>
                      <a:lnTo>
                        <a:pt x="3" y="74"/>
                      </a:lnTo>
                      <a:lnTo>
                        <a:pt x="2" y="76"/>
                      </a:lnTo>
                      <a:lnTo>
                        <a:pt x="4" y="80"/>
                      </a:lnTo>
                      <a:lnTo>
                        <a:pt x="5" y="80"/>
                      </a:lnTo>
                      <a:lnTo>
                        <a:pt x="9" y="84"/>
                      </a:lnTo>
                      <a:lnTo>
                        <a:pt x="11" y="89"/>
                      </a:lnTo>
                      <a:lnTo>
                        <a:pt x="14" y="90"/>
                      </a:lnTo>
                      <a:lnTo>
                        <a:pt x="15" y="92"/>
                      </a:lnTo>
                      <a:lnTo>
                        <a:pt x="18" y="93"/>
                      </a:lnTo>
                      <a:lnTo>
                        <a:pt x="21" y="97"/>
                      </a:lnTo>
                      <a:lnTo>
                        <a:pt x="30" y="132"/>
                      </a:lnTo>
                      <a:lnTo>
                        <a:pt x="32" y="132"/>
                      </a:lnTo>
                      <a:lnTo>
                        <a:pt x="32" y="130"/>
                      </a:lnTo>
                      <a:lnTo>
                        <a:pt x="35" y="128"/>
                      </a:lnTo>
                      <a:lnTo>
                        <a:pt x="36" y="125"/>
                      </a:lnTo>
                      <a:lnTo>
                        <a:pt x="37" y="124"/>
                      </a:lnTo>
                      <a:lnTo>
                        <a:pt x="37" y="123"/>
                      </a:lnTo>
                      <a:lnTo>
                        <a:pt x="38" y="121"/>
                      </a:lnTo>
                      <a:lnTo>
                        <a:pt x="37" y="118"/>
                      </a:lnTo>
                      <a:lnTo>
                        <a:pt x="35" y="112"/>
                      </a:lnTo>
                      <a:lnTo>
                        <a:pt x="36" y="110"/>
                      </a:lnTo>
                      <a:lnTo>
                        <a:pt x="36" y="108"/>
                      </a:lnTo>
                      <a:lnTo>
                        <a:pt x="39" y="106"/>
                      </a:lnTo>
                      <a:lnTo>
                        <a:pt x="42" y="107"/>
                      </a:lnTo>
                      <a:lnTo>
                        <a:pt x="44" y="103"/>
                      </a:lnTo>
                      <a:lnTo>
                        <a:pt x="44" y="101"/>
                      </a:lnTo>
                      <a:lnTo>
                        <a:pt x="52" y="94"/>
                      </a:lnTo>
                      <a:lnTo>
                        <a:pt x="56" y="88"/>
                      </a:lnTo>
                      <a:lnTo>
                        <a:pt x="55" y="87"/>
                      </a:lnTo>
                      <a:lnTo>
                        <a:pt x="53" y="80"/>
                      </a:lnTo>
                      <a:lnTo>
                        <a:pt x="54" y="79"/>
                      </a:lnTo>
                      <a:lnTo>
                        <a:pt x="52" y="79"/>
                      </a:lnTo>
                      <a:lnTo>
                        <a:pt x="48" y="76"/>
                      </a:lnTo>
                      <a:lnTo>
                        <a:pt x="48" y="74"/>
                      </a:lnTo>
                      <a:lnTo>
                        <a:pt x="48" y="71"/>
                      </a:lnTo>
                      <a:lnTo>
                        <a:pt x="45" y="70"/>
                      </a:lnTo>
                      <a:lnTo>
                        <a:pt x="45" y="71"/>
                      </a:lnTo>
                      <a:lnTo>
                        <a:pt x="45" y="72"/>
                      </a:lnTo>
                      <a:lnTo>
                        <a:pt x="44" y="73"/>
                      </a:lnTo>
                      <a:lnTo>
                        <a:pt x="42" y="72"/>
                      </a:lnTo>
                      <a:lnTo>
                        <a:pt x="42" y="69"/>
                      </a:lnTo>
                      <a:lnTo>
                        <a:pt x="39" y="70"/>
                      </a:lnTo>
                      <a:lnTo>
                        <a:pt x="35" y="66"/>
                      </a:lnTo>
                      <a:lnTo>
                        <a:pt x="32" y="61"/>
                      </a:lnTo>
                      <a:lnTo>
                        <a:pt x="34" y="56"/>
                      </a:lnTo>
                      <a:lnTo>
                        <a:pt x="41" y="50"/>
                      </a:lnTo>
                      <a:lnTo>
                        <a:pt x="45" y="45"/>
                      </a:lnTo>
                      <a:lnTo>
                        <a:pt x="46" y="44"/>
                      </a:lnTo>
                      <a:lnTo>
                        <a:pt x="45" y="42"/>
                      </a:lnTo>
                      <a:lnTo>
                        <a:pt x="46" y="40"/>
                      </a:lnTo>
                      <a:lnTo>
                        <a:pt x="45" y="38"/>
                      </a:lnTo>
                      <a:lnTo>
                        <a:pt x="45" y="37"/>
                      </a:lnTo>
                      <a:lnTo>
                        <a:pt x="45" y="32"/>
                      </a:lnTo>
                      <a:lnTo>
                        <a:pt x="41" y="29"/>
                      </a:lnTo>
                      <a:lnTo>
                        <a:pt x="37" y="24"/>
                      </a:lnTo>
                      <a:lnTo>
                        <a:pt x="38" y="19"/>
                      </a:lnTo>
                      <a:lnTo>
                        <a:pt x="42" y="17"/>
                      </a:lnTo>
                      <a:lnTo>
                        <a:pt x="42" y="14"/>
                      </a:lnTo>
                      <a:lnTo>
                        <a:pt x="45" y="8"/>
                      </a:lnTo>
                      <a:lnTo>
                        <a:pt x="45" y="5"/>
                      </a:lnTo>
                      <a:lnTo>
                        <a:pt x="43" y="4"/>
                      </a:lnTo>
                      <a:lnTo>
                        <a:pt x="38" y="10"/>
                      </a:lnTo>
                      <a:lnTo>
                        <a:pt x="36" y="11"/>
                      </a:lnTo>
                      <a:lnTo>
                        <a:pt x="35" y="11"/>
                      </a:lnTo>
                      <a:lnTo>
                        <a:pt x="33" y="5"/>
                      </a:lnTo>
                      <a:lnTo>
                        <a:pt x="32" y="4"/>
                      </a:lnTo>
                      <a:lnTo>
                        <a:pt x="32" y="1"/>
                      </a:lnTo>
                      <a:lnTo>
                        <a:pt x="30" y="0"/>
                      </a:lnTo>
                      <a:lnTo>
                        <a:pt x="27" y="0"/>
                      </a:lnTo>
                      <a:lnTo>
                        <a:pt x="27" y="2"/>
                      </a:lnTo>
                      <a:lnTo>
                        <a:pt x="25" y="0"/>
                      </a:lnTo>
                      <a:lnTo>
                        <a:pt x="21" y="0"/>
                      </a:lnTo>
                      <a:lnTo>
                        <a:pt x="16" y="4"/>
                      </a:lnTo>
                      <a:lnTo>
                        <a:pt x="13" y="7"/>
                      </a:lnTo>
                      <a:lnTo>
                        <a:pt x="13" y="7"/>
                      </a:lnTo>
                      <a:lnTo>
                        <a:pt x="12" y="10"/>
                      </a:lnTo>
                      <a:lnTo>
                        <a:pt x="13" y="1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22" name="Freeform 825">
                  <a:extLst>
                    <a:ext uri="{FF2B5EF4-FFF2-40B4-BE49-F238E27FC236}">
                      <a16:creationId xmlns:a16="http://schemas.microsoft.com/office/drawing/2014/main" id="{1876E238-B5D9-4D17-88C4-26D254487B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50" y="2207"/>
                  <a:ext cx="4" cy="3"/>
                </a:xfrm>
                <a:custGeom>
                  <a:avLst/>
                  <a:gdLst>
                    <a:gd name="T0" fmla="*/ 0 w 4"/>
                    <a:gd name="T1" fmla="*/ 0 h 3"/>
                    <a:gd name="T2" fmla="*/ 0 w 4"/>
                    <a:gd name="T3" fmla="*/ 1 h 3"/>
                    <a:gd name="T4" fmla="*/ 3 w 4"/>
                    <a:gd name="T5" fmla="*/ 3 h 3"/>
                    <a:gd name="T6" fmla="*/ 4 w 4"/>
                    <a:gd name="T7" fmla="*/ 1 h 3"/>
                    <a:gd name="T8" fmla="*/ 3 w 4"/>
                    <a:gd name="T9" fmla="*/ 0 h 3"/>
                    <a:gd name="T10" fmla="*/ 0 w 4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3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3" y="3"/>
                      </a:lnTo>
                      <a:lnTo>
                        <a:pt x="4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23" name="Freeform 826">
                  <a:extLst>
                    <a:ext uri="{FF2B5EF4-FFF2-40B4-BE49-F238E27FC236}">
                      <a16:creationId xmlns:a16="http://schemas.microsoft.com/office/drawing/2014/main" id="{D1954AF4-4644-4A8D-B68C-57A63FDD9C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88" y="2145"/>
                  <a:ext cx="284" cy="330"/>
                </a:xfrm>
                <a:custGeom>
                  <a:avLst/>
                  <a:gdLst>
                    <a:gd name="T0" fmla="*/ 96 w 284"/>
                    <a:gd name="T1" fmla="*/ 46 h 330"/>
                    <a:gd name="T2" fmla="*/ 97 w 284"/>
                    <a:gd name="T3" fmla="*/ 60 h 330"/>
                    <a:gd name="T4" fmla="*/ 100 w 284"/>
                    <a:gd name="T5" fmla="*/ 80 h 330"/>
                    <a:gd name="T6" fmla="*/ 105 w 284"/>
                    <a:gd name="T7" fmla="*/ 86 h 330"/>
                    <a:gd name="T8" fmla="*/ 106 w 284"/>
                    <a:gd name="T9" fmla="*/ 92 h 330"/>
                    <a:gd name="T10" fmla="*/ 88 w 284"/>
                    <a:gd name="T11" fmla="*/ 96 h 330"/>
                    <a:gd name="T12" fmla="*/ 78 w 284"/>
                    <a:gd name="T13" fmla="*/ 107 h 330"/>
                    <a:gd name="T14" fmla="*/ 75 w 284"/>
                    <a:gd name="T15" fmla="*/ 119 h 330"/>
                    <a:gd name="T16" fmla="*/ 39 w 284"/>
                    <a:gd name="T17" fmla="*/ 145 h 330"/>
                    <a:gd name="T18" fmla="*/ 26 w 284"/>
                    <a:gd name="T19" fmla="*/ 148 h 330"/>
                    <a:gd name="T20" fmla="*/ 10 w 284"/>
                    <a:gd name="T21" fmla="*/ 153 h 330"/>
                    <a:gd name="T22" fmla="*/ 0 w 284"/>
                    <a:gd name="T23" fmla="*/ 178 h 330"/>
                    <a:gd name="T24" fmla="*/ 0 w 284"/>
                    <a:gd name="T25" fmla="*/ 183 h 330"/>
                    <a:gd name="T26" fmla="*/ 51 w 284"/>
                    <a:gd name="T27" fmla="*/ 224 h 330"/>
                    <a:gd name="T28" fmla="*/ 149 w 284"/>
                    <a:gd name="T29" fmla="*/ 309 h 330"/>
                    <a:gd name="T30" fmla="*/ 161 w 284"/>
                    <a:gd name="T31" fmla="*/ 314 h 330"/>
                    <a:gd name="T32" fmla="*/ 167 w 284"/>
                    <a:gd name="T33" fmla="*/ 321 h 330"/>
                    <a:gd name="T34" fmla="*/ 169 w 284"/>
                    <a:gd name="T35" fmla="*/ 330 h 330"/>
                    <a:gd name="T36" fmla="*/ 182 w 284"/>
                    <a:gd name="T37" fmla="*/ 327 h 330"/>
                    <a:gd name="T38" fmla="*/ 284 w 284"/>
                    <a:gd name="T39" fmla="*/ 255 h 330"/>
                    <a:gd name="T40" fmla="*/ 280 w 284"/>
                    <a:gd name="T41" fmla="*/ 250 h 330"/>
                    <a:gd name="T42" fmla="*/ 274 w 284"/>
                    <a:gd name="T43" fmla="*/ 238 h 330"/>
                    <a:gd name="T44" fmla="*/ 261 w 284"/>
                    <a:gd name="T45" fmla="*/ 235 h 330"/>
                    <a:gd name="T46" fmla="*/ 257 w 284"/>
                    <a:gd name="T47" fmla="*/ 228 h 330"/>
                    <a:gd name="T48" fmla="*/ 256 w 284"/>
                    <a:gd name="T49" fmla="*/ 217 h 330"/>
                    <a:gd name="T50" fmla="*/ 249 w 284"/>
                    <a:gd name="T51" fmla="*/ 204 h 330"/>
                    <a:gd name="T52" fmla="*/ 250 w 284"/>
                    <a:gd name="T53" fmla="*/ 198 h 330"/>
                    <a:gd name="T54" fmla="*/ 254 w 284"/>
                    <a:gd name="T55" fmla="*/ 187 h 330"/>
                    <a:gd name="T56" fmla="*/ 254 w 284"/>
                    <a:gd name="T57" fmla="*/ 172 h 330"/>
                    <a:gd name="T58" fmla="*/ 252 w 284"/>
                    <a:gd name="T59" fmla="*/ 157 h 330"/>
                    <a:gd name="T60" fmla="*/ 250 w 284"/>
                    <a:gd name="T61" fmla="*/ 135 h 330"/>
                    <a:gd name="T62" fmla="*/ 250 w 284"/>
                    <a:gd name="T63" fmla="*/ 128 h 330"/>
                    <a:gd name="T64" fmla="*/ 238 w 284"/>
                    <a:gd name="T65" fmla="*/ 89 h 330"/>
                    <a:gd name="T66" fmla="*/ 231 w 284"/>
                    <a:gd name="T67" fmla="*/ 85 h 330"/>
                    <a:gd name="T68" fmla="*/ 224 w 284"/>
                    <a:gd name="T69" fmla="*/ 76 h 330"/>
                    <a:gd name="T70" fmla="*/ 221 w 284"/>
                    <a:gd name="T71" fmla="*/ 66 h 330"/>
                    <a:gd name="T72" fmla="*/ 225 w 284"/>
                    <a:gd name="T73" fmla="*/ 52 h 330"/>
                    <a:gd name="T74" fmla="*/ 230 w 284"/>
                    <a:gd name="T75" fmla="*/ 48 h 330"/>
                    <a:gd name="T76" fmla="*/ 231 w 284"/>
                    <a:gd name="T77" fmla="*/ 38 h 330"/>
                    <a:gd name="T78" fmla="*/ 232 w 284"/>
                    <a:gd name="T79" fmla="*/ 34 h 330"/>
                    <a:gd name="T80" fmla="*/ 232 w 284"/>
                    <a:gd name="T81" fmla="*/ 18 h 330"/>
                    <a:gd name="T82" fmla="*/ 232 w 284"/>
                    <a:gd name="T83" fmla="*/ 6 h 330"/>
                    <a:gd name="T84" fmla="*/ 228 w 284"/>
                    <a:gd name="T85" fmla="*/ 3 h 330"/>
                    <a:gd name="T86" fmla="*/ 217 w 284"/>
                    <a:gd name="T87" fmla="*/ 2 h 330"/>
                    <a:gd name="T88" fmla="*/ 210 w 284"/>
                    <a:gd name="T89" fmla="*/ 5 h 330"/>
                    <a:gd name="T90" fmla="*/ 203 w 284"/>
                    <a:gd name="T91" fmla="*/ 0 h 330"/>
                    <a:gd name="T92" fmla="*/ 196 w 284"/>
                    <a:gd name="T93" fmla="*/ 3 h 330"/>
                    <a:gd name="T94" fmla="*/ 192 w 284"/>
                    <a:gd name="T95" fmla="*/ 5 h 330"/>
                    <a:gd name="T96" fmla="*/ 183 w 284"/>
                    <a:gd name="T97" fmla="*/ 4 h 330"/>
                    <a:gd name="T98" fmla="*/ 174 w 284"/>
                    <a:gd name="T99" fmla="*/ 4 h 330"/>
                    <a:gd name="T100" fmla="*/ 167 w 284"/>
                    <a:gd name="T101" fmla="*/ 3 h 330"/>
                    <a:gd name="T102" fmla="*/ 161 w 284"/>
                    <a:gd name="T103" fmla="*/ 7 h 330"/>
                    <a:gd name="T104" fmla="*/ 153 w 284"/>
                    <a:gd name="T105" fmla="*/ 10 h 330"/>
                    <a:gd name="T106" fmla="*/ 141 w 284"/>
                    <a:gd name="T107" fmla="*/ 10 h 330"/>
                    <a:gd name="T108" fmla="*/ 127 w 284"/>
                    <a:gd name="T109" fmla="*/ 16 h 330"/>
                    <a:gd name="T110" fmla="*/ 121 w 284"/>
                    <a:gd name="T111" fmla="*/ 21 h 330"/>
                    <a:gd name="T112" fmla="*/ 117 w 284"/>
                    <a:gd name="T113" fmla="*/ 23 h 330"/>
                    <a:gd name="T114" fmla="*/ 113 w 284"/>
                    <a:gd name="T115" fmla="*/ 25 h 330"/>
                    <a:gd name="T116" fmla="*/ 104 w 284"/>
                    <a:gd name="T117" fmla="*/ 30 h 330"/>
                    <a:gd name="T118" fmla="*/ 96 w 284"/>
                    <a:gd name="T119" fmla="*/ 37 h 330"/>
                    <a:gd name="T120" fmla="*/ 94 w 284"/>
                    <a:gd name="T121" fmla="*/ 41 h 3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84" h="330">
                      <a:moveTo>
                        <a:pt x="94" y="41"/>
                      </a:moveTo>
                      <a:lnTo>
                        <a:pt x="96" y="43"/>
                      </a:lnTo>
                      <a:lnTo>
                        <a:pt x="96" y="46"/>
                      </a:lnTo>
                      <a:lnTo>
                        <a:pt x="96" y="48"/>
                      </a:lnTo>
                      <a:lnTo>
                        <a:pt x="97" y="53"/>
                      </a:lnTo>
                      <a:lnTo>
                        <a:pt x="97" y="60"/>
                      </a:lnTo>
                      <a:lnTo>
                        <a:pt x="97" y="62"/>
                      </a:lnTo>
                      <a:lnTo>
                        <a:pt x="99" y="75"/>
                      </a:lnTo>
                      <a:lnTo>
                        <a:pt x="100" y="80"/>
                      </a:lnTo>
                      <a:lnTo>
                        <a:pt x="101" y="83"/>
                      </a:lnTo>
                      <a:lnTo>
                        <a:pt x="103" y="84"/>
                      </a:lnTo>
                      <a:lnTo>
                        <a:pt x="105" y="86"/>
                      </a:lnTo>
                      <a:lnTo>
                        <a:pt x="106" y="86"/>
                      </a:lnTo>
                      <a:lnTo>
                        <a:pt x="108" y="87"/>
                      </a:lnTo>
                      <a:lnTo>
                        <a:pt x="106" y="92"/>
                      </a:lnTo>
                      <a:lnTo>
                        <a:pt x="106" y="93"/>
                      </a:lnTo>
                      <a:lnTo>
                        <a:pt x="104" y="96"/>
                      </a:lnTo>
                      <a:lnTo>
                        <a:pt x="88" y="96"/>
                      </a:lnTo>
                      <a:lnTo>
                        <a:pt x="85" y="97"/>
                      </a:lnTo>
                      <a:lnTo>
                        <a:pt x="81" y="103"/>
                      </a:lnTo>
                      <a:lnTo>
                        <a:pt x="78" y="107"/>
                      </a:lnTo>
                      <a:lnTo>
                        <a:pt x="77" y="110"/>
                      </a:lnTo>
                      <a:lnTo>
                        <a:pt x="77" y="116"/>
                      </a:lnTo>
                      <a:lnTo>
                        <a:pt x="75" y="119"/>
                      </a:lnTo>
                      <a:lnTo>
                        <a:pt x="66" y="127"/>
                      </a:lnTo>
                      <a:lnTo>
                        <a:pt x="51" y="138"/>
                      </a:lnTo>
                      <a:lnTo>
                        <a:pt x="39" y="145"/>
                      </a:lnTo>
                      <a:lnTo>
                        <a:pt x="33" y="147"/>
                      </a:lnTo>
                      <a:lnTo>
                        <a:pt x="28" y="147"/>
                      </a:lnTo>
                      <a:lnTo>
                        <a:pt x="26" y="148"/>
                      </a:lnTo>
                      <a:lnTo>
                        <a:pt x="22" y="148"/>
                      </a:lnTo>
                      <a:lnTo>
                        <a:pt x="14" y="150"/>
                      </a:lnTo>
                      <a:lnTo>
                        <a:pt x="10" y="153"/>
                      </a:lnTo>
                      <a:lnTo>
                        <a:pt x="7" y="158"/>
                      </a:lnTo>
                      <a:lnTo>
                        <a:pt x="1" y="163"/>
                      </a:lnTo>
                      <a:lnTo>
                        <a:pt x="0" y="178"/>
                      </a:lnTo>
                      <a:lnTo>
                        <a:pt x="0" y="178"/>
                      </a:lnTo>
                      <a:lnTo>
                        <a:pt x="0" y="183"/>
                      </a:lnTo>
                      <a:lnTo>
                        <a:pt x="0" y="183"/>
                      </a:lnTo>
                      <a:lnTo>
                        <a:pt x="0" y="183"/>
                      </a:lnTo>
                      <a:lnTo>
                        <a:pt x="51" y="224"/>
                      </a:lnTo>
                      <a:lnTo>
                        <a:pt x="51" y="224"/>
                      </a:lnTo>
                      <a:lnTo>
                        <a:pt x="144" y="297"/>
                      </a:lnTo>
                      <a:lnTo>
                        <a:pt x="146" y="306"/>
                      </a:lnTo>
                      <a:lnTo>
                        <a:pt x="149" y="309"/>
                      </a:lnTo>
                      <a:lnTo>
                        <a:pt x="154" y="309"/>
                      </a:lnTo>
                      <a:lnTo>
                        <a:pt x="158" y="311"/>
                      </a:lnTo>
                      <a:lnTo>
                        <a:pt x="161" y="314"/>
                      </a:lnTo>
                      <a:lnTo>
                        <a:pt x="164" y="315"/>
                      </a:lnTo>
                      <a:lnTo>
                        <a:pt x="167" y="318"/>
                      </a:lnTo>
                      <a:lnTo>
                        <a:pt x="167" y="321"/>
                      </a:lnTo>
                      <a:lnTo>
                        <a:pt x="165" y="326"/>
                      </a:lnTo>
                      <a:lnTo>
                        <a:pt x="166" y="328"/>
                      </a:lnTo>
                      <a:lnTo>
                        <a:pt x="169" y="330"/>
                      </a:lnTo>
                      <a:lnTo>
                        <a:pt x="176" y="329"/>
                      </a:lnTo>
                      <a:lnTo>
                        <a:pt x="182" y="327"/>
                      </a:lnTo>
                      <a:lnTo>
                        <a:pt x="182" y="327"/>
                      </a:lnTo>
                      <a:lnTo>
                        <a:pt x="203" y="321"/>
                      </a:lnTo>
                      <a:lnTo>
                        <a:pt x="220" y="302"/>
                      </a:lnTo>
                      <a:lnTo>
                        <a:pt x="284" y="255"/>
                      </a:lnTo>
                      <a:lnTo>
                        <a:pt x="284" y="255"/>
                      </a:lnTo>
                      <a:lnTo>
                        <a:pt x="282" y="252"/>
                      </a:lnTo>
                      <a:lnTo>
                        <a:pt x="280" y="250"/>
                      </a:lnTo>
                      <a:lnTo>
                        <a:pt x="279" y="248"/>
                      </a:lnTo>
                      <a:lnTo>
                        <a:pt x="276" y="241"/>
                      </a:lnTo>
                      <a:lnTo>
                        <a:pt x="274" y="238"/>
                      </a:lnTo>
                      <a:lnTo>
                        <a:pt x="272" y="235"/>
                      </a:lnTo>
                      <a:lnTo>
                        <a:pt x="266" y="235"/>
                      </a:lnTo>
                      <a:lnTo>
                        <a:pt x="261" y="235"/>
                      </a:lnTo>
                      <a:lnTo>
                        <a:pt x="259" y="234"/>
                      </a:lnTo>
                      <a:lnTo>
                        <a:pt x="259" y="231"/>
                      </a:lnTo>
                      <a:lnTo>
                        <a:pt x="257" y="228"/>
                      </a:lnTo>
                      <a:lnTo>
                        <a:pt x="257" y="223"/>
                      </a:lnTo>
                      <a:lnTo>
                        <a:pt x="257" y="221"/>
                      </a:lnTo>
                      <a:lnTo>
                        <a:pt x="256" y="217"/>
                      </a:lnTo>
                      <a:lnTo>
                        <a:pt x="255" y="216"/>
                      </a:lnTo>
                      <a:lnTo>
                        <a:pt x="253" y="209"/>
                      </a:lnTo>
                      <a:lnTo>
                        <a:pt x="249" y="204"/>
                      </a:lnTo>
                      <a:lnTo>
                        <a:pt x="248" y="201"/>
                      </a:lnTo>
                      <a:lnTo>
                        <a:pt x="248" y="200"/>
                      </a:lnTo>
                      <a:lnTo>
                        <a:pt x="250" y="198"/>
                      </a:lnTo>
                      <a:lnTo>
                        <a:pt x="253" y="196"/>
                      </a:lnTo>
                      <a:lnTo>
                        <a:pt x="254" y="193"/>
                      </a:lnTo>
                      <a:lnTo>
                        <a:pt x="254" y="187"/>
                      </a:lnTo>
                      <a:lnTo>
                        <a:pt x="252" y="183"/>
                      </a:lnTo>
                      <a:lnTo>
                        <a:pt x="253" y="182"/>
                      </a:lnTo>
                      <a:lnTo>
                        <a:pt x="254" y="172"/>
                      </a:lnTo>
                      <a:lnTo>
                        <a:pt x="252" y="167"/>
                      </a:lnTo>
                      <a:lnTo>
                        <a:pt x="252" y="159"/>
                      </a:lnTo>
                      <a:lnTo>
                        <a:pt x="252" y="157"/>
                      </a:lnTo>
                      <a:lnTo>
                        <a:pt x="252" y="151"/>
                      </a:lnTo>
                      <a:lnTo>
                        <a:pt x="252" y="140"/>
                      </a:lnTo>
                      <a:lnTo>
                        <a:pt x="250" y="135"/>
                      </a:lnTo>
                      <a:lnTo>
                        <a:pt x="248" y="135"/>
                      </a:lnTo>
                      <a:lnTo>
                        <a:pt x="248" y="128"/>
                      </a:lnTo>
                      <a:lnTo>
                        <a:pt x="250" y="128"/>
                      </a:lnTo>
                      <a:lnTo>
                        <a:pt x="250" y="128"/>
                      </a:lnTo>
                      <a:lnTo>
                        <a:pt x="241" y="93"/>
                      </a:lnTo>
                      <a:lnTo>
                        <a:pt x="238" y="89"/>
                      </a:lnTo>
                      <a:lnTo>
                        <a:pt x="235" y="88"/>
                      </a:lnTo>
                      <a:lnTo>
                        <a:pt x="234" y="86"/>
                      </a:lnTo>
                      <a:lnTo>
                        <a:pt x="231" y="85"/>
                      </a:lnTo>
                      <a:lnTo>
                        <a:pt x="229" y="80"/>
                      </a:lnTo>
                      <a:lnTo>
                        <a:pt x="225" y="76"/>
                      </a:lnTo>
                      <a:lnTo>
                        <a:pt x="224" y="76"/>
                      </a:lnTo>
                      <a:lnTo>
                        <a:pt x="222" y="72"/>
                      </a:lnTo>
                      <a:lnTo>
                        <a:pt x="223" y="70"/>
                      </a:lnTo>
                      <a:lnTo>
                        <a:pt x="221" y="66"/>
                      </a:lnTo>
                      <a:lnTo>
                        <a:pt x="220" y="65"/>
                      </a:lnTo>
                      <a:lnTo>
                        <a:pt x="222" y="57"/>
                      </a:lnTo>
                      <a:lnTo>
                        <a:pt x="225" y="52"/>
                      </a:lnTo>
                      <a:lnTo>
                        <a:pt x="227" y="52"/>
                      </a:lnTo>
                      <a:lnTo>
                        <a:pt x="228" y="50"/>
                      </a:lnTo>
                      <a:lnTo>
                        <a:pt x="230" y="48"/>
                      </a:lnTo>
                      <a:lnTo>
                        <a:pt x="231" y="42"/>
                      </a:lnTo>
                      <a:lnTo>
                        <a:pt x="232" y="41"/>
                      </a:lnTo>
                      <a:lnTo>
                        <a:pt x="231" y="38"/>
                      </a:lnTo>
                      <a:lnTo>
                        <a:pt x="231" y="36"/>
                      </a:lnTo>
                      <a:lnTo>
                        <a:pt x="233" y="34"/>
                      </a:lnTo>
                      <a:lnTo>
                        <a:pt x="232" y="34"/>
                      </a:lnTo>
                      <a:lnTo>
                        <a:pt x="231" y="31"/>
                      </a:lnTo>
                      <a:lnTo>
                        <a:pt x="230" y="26"/>
                      </a:lnTo>
                      <a:lnTo>
                        <a:pt x="232" y="18"/>
                      </a:lnTo>
                      <a:lnTo>
                        <a:pt x="232" y="14"/>
                      </a:lnTo>
                      <a:lnTo>
                        <a:pt x="233" y="8"/>
                      </a:lnTo>
                      <a:lnTo>
                        <a:pt x="232" y="6"/>
                      </a:lnTo>
                      <a:lnTo>
                        <a:pt x="233" y="3"/>
                      </a:lnTo>
                      <a:lnTo>
                        <a:pt x="232" y="3"/>
                      </a:lnTo>
                      <a:lnTo>
                        <a:pt x="228" y="3"/>
                      </a:lnTo>
                      <a:lnTo>
                        <a:pt x="226" y="3"/>
                      </a:lnTo>
                      <a:lnTo>
                        <a:pt x="220" y="5"/>
                      </a:lnTo>
                      <a:lnTo>
                        <a:pt x="217" y="2"/>
                      </a:lnTo>
                      <a:lnTo>
                        <a:pt x="213" y="0"/>
                      </a:lnTo>
                      <a:lnTo>
                        <a:pt x="213" y="2"/>
                      </a:lnTo>
                      <a:lnTo>
                        <a:pt x="210" y="5"/>
                      </a:lnTo>
                      <a:lnTo>
                        <a:pt x="206" y="4"/>
                      </a:lnTo>
                      <a:lnTo>
                        <a:pt x="205" y="1"/>
                      </a:lnTo>
                      <a:lnTo>
                        <a:pt x="203" y="0"/>
                      </a:lnTo>
                      <a:lnTo>
                        <a:pt x="200" y="0"/>
                      </a:lnTo>
                      <a:lnTo>
                        <a:pt x="200" y="3"/>
                      </a:lnTo>
                      <a:lnTo>
                        <a:pt x="196" y="3"/>
                      </a:lnTo>
                      <a:lnTo>
                        <a:pt x="196" y="6"/>
                      </a:lnTo>
                      <a:lnTo>
                        <a:pt x="193" y="5"/>
                      </a:lnTo>
                      <a:lnTo>
                        <a:pt x="192" y="5"/>
                      </a:lnTo>
                      <a:lnTo>
                        <a:pt x="189" y="8"/>
                      </a:lnTo>
                      <a:lnTo>
                        <a:pt x="186" y="8"/>
                      </a:lnTo>
                      <a:lnTo>
                        <a:pt x="183" y="4"/>
                      </a:lnTo>
                      <a:lnTo>
                        <a:pt x="179" y="4"/>
                      </a:lnTo>
                      <a:lnTo>
                        <a:pt x="178" y="3"/>
                      </a:lnTo>
                      <a:lnTo>
                        <a:pt x="174" y="4"/>
                      </a:lnTo>
                      <a:lnTo>
                        <a:pt x="172" y="3"/>
                      </a:lnTo>
                      <a:lnTo>
                        <a:pt x="170" y="4"/>
                      </a:lnTo>
                      <a:lnTo>
                        <a:pt x="167" y="3"/>
                      </a:lnTo>
                      <a:lnTo>
                        <a:pt x="165" y="3"/>
                      </a:lnTo>
                      <a:lnTo>
                        <a:pt x="164" y="7"/>
                      </a:lnTo>
                      <a:lnTo>
                        <a:pt x="161" y="7"/>
                      </a:lnTo>
                      <a:lnTo>
                        <a:pt x="158" y="6"/>
                      </a:lnTo>
                      <a:lnTo>
                        <a:pt x="155" y="10"/>
                      </a:lnTo>
                      <a:lnTo>
                        <a:pt x="153" y="10"/>
                      </a:lnTo>
                      <a:lnTo>
                        <a:pt x="149" y="8"/>
                      </a:lnTo>
                      <a:lnTo>
                        <a:pt x="146" y="9"/>
                      </a:lnTo>
                      <a:lnTo>
                        <a:pt x="141" y="10"/>
                      </a:lnTo>
                      <a:lnTo>
                        <a:pt x="137" y="9"/>
                      </a:lnTo>
                      <a:lnTo>
                        <a:pt x="131" y="15"/>
                      </a:lnTo>
                      <a:lnTo>
                        <a:pt x="127" y="16"/>
                      </a:lnTo>
                      <a:lnTo>
                        <a:pt x="125" y="16"/>
                      </a:lnTo>
                      <a:lnTo>
                        <a:pt x="122" y="18"/>
                      </a:lnTo>
                      <a:lnTo>
                        <a:pt x="121" y="21"/>
                      </a:lnTo>
                      <a:lnTo>
                        <a:pt x="120" y="24"/>
                      </a:lnTo>
                      <a:lnTo>
                        <a:pt x="118" y="24"/>
                      </a:lnTo>
                      <a:lnTo>
                        <a:pt x="117" y="23"/>
                      </a:lnTo>
                      <a:lnTo>
                        <a:pt x="115" y="23"/>
                      </a:lnTo>
                      <a:lnTo>
                        <a:pt x="113" y="24"/>
                      </a:lnTo>
                      <a:lnTo>
                        <a:pt x="113" y="25"/>
                      </a:lnTo>
                      <a:lnTo>
                        <a:pt x="109" y="26"/>
                      </a:lnTo>
                      <a:lnTo>
                        <a:pt x="106" y="28"/>
                      </a:lnTo>
                      <a:lnTo>
                        <a:pt x="104" y="30"/>
                      </a:lnTo>
                      <a:lnTo>
                        <a:pt x="103" y="31"/>
                      </a:lnTo>
                      <a:lnTo>
                        <a:pt x="101" y="35"/>
                      </a:lnTo>
                      <a:lnTo>
                        <a:pt x="96" y="37"/>
                      </a:lnTo>
                      <a:lnTo>
                        <a:pt x="92" y="37"/>
                      </a:lnTo>
                      <a:lnTo>
                        <a:pt x="93" y="39"/>
                      </a:lnTo>
                      <a:lnTo>
                        <a:pt x="94" y="4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24" name="Freeform 827">
                  <a:extLst>
                    <a:ext uri="{FF2B5EF4-FFF2-40B4-BE49-F238E27FC236}">
                      <a16:creationId xmlns:a16="http://schemas.microsoft.com/office/drawing/2014/main" id="{30595A35-C4AD-43FC-BDEF-5F03C113D3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31" y="2167"/>
                  <a:ext cx="165" cy="156"/>
                </a:xfrm>
                <a:custGeom>
                  <a:avLst/>
                  <a:gdLst>
                    <a:gd name="T0" fmla="*/ 57 w 165"/>
                    <a:gd name="T1" fmla="*/ 156 h 156"/>
                    <a:gd name="T2" fmla="*/ 64 w 165"/>
                    <a:gd name="T3" fmla="*/ 136 h 156"/>
                    <a:gd name="T4" fmla="*/ 71 w 165"/>
                    <a:gd name="T5" fmla="*/ 128 h 156"/>
                    <a:gd name="T6" fmla="*/ 83 w 165"/>
                    <a:gd name="T7" fmla="*/ 126 h 156"/>
                    <a:gd name="T8" fmla="*/ 90 w 165"/>
                    <a:gd name="T9" fmla="*/ 125 h 156"/>
                    <a:gd name="T10" fmla="*/ 108 w 165"/>
                    <a:gd name="T11" fmla="*/ 116 h 156"/>
                    <a:gd name="T12" fmla="*/ 132 w 165"/>
                    <a:gd name="T13" fmla="*/ 97 h 156"/>
                    <a:gd name="T14" fmla="*/ 134 w 165"/>
                    <a:gd name="T15" fmla="*/ 88 h 156"/>
                    <a:gd name="T16" fmla="*/ 138 w 165"/>
                    <a:gd name="T17" fmla="*/ 81 h 156"/>
                    <a:gd name="T18" fmla="*/ 145 w 165"/>
                    <a:gd name="T19" fmla="*/ 74 h 156"/>
                    <a:gd name="T20" fmla="*/ 163 w 165"/>
                    <a:gd name="T21" fmla="*/ 71 h 156"/>
                    <a:gd name="T22" fmla="*/ 165 w 165"/>
                    <a:gd name="T23" fmla="*/ 65 h 156"/>
                    <a:gd name="T24" fmla="*/ 162 w 165"/>
                    <a:gd name="T25" fmla="*/ 64 h 156"/>
                    <a:gd name="T26" fmla="*/ 158 w 165"/>
                    <a:gd name="T27" fmla="*/ 61 h 156"/>
                    <a:gd name="T28" fmla="*/ 156 w 165"/>
                    <a:gd name="T29" fmla="*/ 53 h 156"/>
                    <a:gd name="T30" fmla="*/ 154 w 165"/>
                    <a:gd name="T31" fmla="*/ 38 h 156"/>
                    <a:gd name="T32" fmla="*/ 153 w 165"/>
                    <a:gd name="T33" fmla="*/ 26 h 156"/>
                    <a:gd name="T34" fmla="*/ 153 w 165"/>
                    <a:gd name="T35" fmla="*/ 21 h 156"/>
                    <a:gd name="T36" fmla="*/ 150 w 165"/>
                    <a:gd name="T37" fmla="*/ 17 h 156"/>
                    <a:gd name="T38" fmla="*/ 148 w 165"/>
                    <a:gd name="T39" fmla="*/ 16 h 156"/>
                    <a:gd name="T40" fmla="*/ 138 w 165"/>
                    <a:gd name="T41" fmla="*/ 12 h 156"/>
                    <a:gd name="T42" fmla="*/ 136 w 165"/>
                    <a:gd name="T43" fmla="*/ 9 h 156"/>
                    <a:gd name="T44" fmla="*/ 133 w 165"/>
                    <a:gd name="T45" fmla="*/ 12 h 156"/>
                    <a:gd name="T46" fmla="*/ 125 w 165"/>
                    <a:gd name="T47" fmla="*/ 12 h 156"/>
                    <a:gd name="T48" fmla="*/ 119 w 165"/>
                    <a:gd name="T49" fmla="*/ 13 h 156"/>
                    <a:gd name="T50" fmla="*/ 111 w 165"/>
                    <a:gd name="T51" fmla="*/ 13 h 156"/>
                    <a:gd name="T52" fmla="*/ 106 w 165"/>
                    <a:gd name="T53" fmla="*/ 7 h 156"/>
                    <a:gd name="T54" fmla="*/ 105 w 165"/>
                    <a:gd name="T55" fmla="*/ 2 h 156"/>
                    <a:gd name="T56" fmla="*/ 105 w 165"/>
                    <a:gd name="T57" fmla="*/ 0 h 156"/>
                    <a:gd name="T58" fmla="*/ 101 w 165"/>
                    <a:gd name="T59" fmla="*/ 2 h 156"/>
                    <a:gd name="T60" fmla="*/ 97 w 165"/>
                    <a:gd name="T61" fmla="*/ 6 h 156"/>
                    <a:gd name="T62" fmla="*/ 93 w 165"/>
                    <a:gd name="T63" fmla="*/ 19 h 156"/>
                    <a:gd name="T64" fmla="*/ 90 w 165"/>
                    <a:gd name="T65" fmla="*/ 31 h 156"/>
                    <a:gd name="T66" fmla="*/ 83 w 165"/>
                    <a:gd name="T67" fmla="*/ 38 h 156"/>
                    <a:gd name="T68" fmla="*/ 74 w 165"/>
                    <a:gd name="T69" fmla="*/ 43 h 156"/>
                    <a:gd name="T70" fmla="*/ 69 w 165"/>
                    <a:gd name="T71" fmla="*/ 48 h 156"/>
                    <a:gd name="T72" fmla="*/ 59 w 165"/>
                    <a:gd name="T73" fmla="*/ 54 h 156"/>
                    <a:gd name="T74" fmla="*/ 51 w 165"/>
                    <a:gd name="T75" fmla="*/ 64 h 156"/>
                    <a:gd name="T76" fmla="*/ 53 w 165"/>
                    <a:gd name="T77" fmla="*/ 73 h 156"/>
                    <a:gd name="T78" fmla="*/ 44 w 165"/>
                    <a:gd name="T79" fmla="*/ 88 h 156"/>
                    <a:gd name="T80" fmla="*/ 46 w 165"/>
                    <a:gd name="T81" fmla="*/ 98 h 156"/>
                    <a:gd name="T82" fmla="*/ 45 w 165"/>
                    <a:gd name="T83" fmla="*/ 106 h 156"/>
                    <a:gd name="T84" fmla="*/ 46 w 165"/>
                    <a:gd name="T85" fmla="*/ 113 h 156"/>
                    <a:gd name="T86" fmla="*/ 36 w 165"/>
                    <a:gd name="T87" fmla="*/ 130 h 156"/>
                    <a:gd name="T88" fmla="*/ 28 w 165"/>
                    <a:gd name="T89" fmla="*/ 136 h 156"/>
                    <a:gd name="T90" fmla="*/ 4 w 165"/>
                    <a:gd name="T91" fmla="*/ 149 h 156"/>
                    <a:gd name="T92" fmla="*/ 57 w 165"/>
                    <a:gd name="T93" fmla="*/ 156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65" h="156">
                      <a:moveTo>
                        <a:pt x="57" y="156"/>
                      </a:moveTo>
                      <a:lnTo>
                        <a:pt x="57" y="156"/>
                      </a:lnTo>
                      <a:lnTo>
                        <a:pt x="58" y="141"/>
                      </a:lnTo>
                      <a:lnTo>
                        <a:pt x="64" y="136"/>
                      </a:lnTo>
                      <a:lnTo>
                        <a:pt x="67" y="131"/>
                      </a:lnTo>
                      <a:lnTo>
                        <a:pt x="71" y="128"/>
                      </a:lnTo>
                      <a:lnTo>
                        <a:pt x="79" y="126"/>
                      </a:lnTo>
                      <a:lnTo>
                        <a:pt x="83" y="126"/>
                      </a:lnTo>
                      <a:lnTo>
                        <a:pt x="85" y="125"/>
                      </a:lnTo>
                      <a:lnTo>
                        <a:pt x="90" y="125"/>
                      </a:lnTo>
                      <a:lnTo>
                        <a:pt x="96" y="123"/>
                      </a:lnTo>
                      <a:lnTo>
                        <a:pt x="108" y="116"/>
                      </a:lnTo>
                      <a:lnTo>
                        <a:pt x="123" y="105"/>
                      </a:lnTo>
                      <a:lnTo>
                        <a:pt x="132" y="97"/>
                      </a:lnTo>
                      <a:lnTo>
                        <a:pt x="134" y="94"/>
                      </a:lnTo>
                      <a:lnTo>
                        <a:pt x="134" y="88"/>
                      </a:lnTo>
                      <a:lnTo>
                        <a:pt x="135" y="85"/>
                      </a:lnTo>
                      <a:lnTo>
                        <a:pt x="138" y="81"/>
                      </a:lnTo>
                      <a:lnTo>
                        <a:pt x="142" y="75"/>
                      </a:lnTo>
                      <a:lnTo>
                        <a:pt x="145" y="74"/>
                      </a:lnTo>
                      <a:lnTo>
                        <a:pt x="161" y="74"/>
                      </a:lnTo>
                      <a:lnTo>
                        <a:pt x="163" y="71"/>
                      </a:lnTo>
                      <a:lnTo>
                        <a:pt x="163" y="70"/>
                      </a:lnTo>
                      <a:lnTo>
                        <a:pt x="165" y="65"/>
                      </a:lnTo>
                      <a:lnTo>
                        <a:pt x="163" y="64"/>
                      </a:lnTo>
                      <a:lnTo>
                        <a:pt x="162" y="64"/>
                      </a:lnTo>
                      <a:lnTo>
                        <a:pt x="160" y="62"/>
                      </a:lnTo>
                      <a:lnTo>
                        <a:pt x="158" y="61"/>
                      </a:lnTo>
                      <a:lnTo>
                        <a:pt x="157" y="58"/>
                      </a:lnTo>
                      <a:lnTo>
                        <a:pt x="156" y="53"/>
                      </a:lnTo>
                      <a:lnTo>
                        <a:pt x="154" y="40"/>
                      </a:lnTo>
                      <a:lnTo>
                        <a:pt x="154" y="38"/>
                      </a:lnTo>
                      <a:lnTo>
                        <a:pt x="154" y="31"/>
                      </a:lnTo>
                      <a:lnTo>
                        <a:pt x="153" y="26"/>
                      </a:lnTo>
                      <a:lnTo>
                        <a:pt x="153" y="24"/>
                      </a:lnTo>
                      <a:lnTo>
                        <a:pt x="153" y="21"/>
                      </a:lnTo>
                      <a:lnTo>
                        <a:pt x="151" y="19"/>
                      </a:lnTo>
                      <a:lnTo>
                        <a:pt x="150" y="17"/>
                      </a:lnTo>
                      <a:lnTo>
                        <a:pt x="149" y="15"/>
                      </a:lnTo>
                      <a:lnTo>
                        <a:pt x="148" y="16"/>
                      </a:lnTo>
                      <a:lnTo>
                        <a:pt x="139" y="15"/>
                      </a:lnTo>
                      <a:lnTo>
                        <a:pt x="138" y="12"/>
                      </a:lnTo>
                      <a:lnTo>
                        <a:pt x="137" y="9"/>
                      </a:lnTo>
                      <a:lnTo>
                        <a:pt x="136" y="9"/>
                      </a:lnTo>
                      <a:lnTo>
                        <a:pt x="136" y="9"/>
                      </a:lnTo>
                      <a:lnTo>
                        <a:pt x="133" y="12"/>
                      </a:lnTo>
                      <a:lnTo>
                        <a:pt x="129" y="13"/>
                      </a:lnTo>
                      <a:lnTo>
                        <a:pt x="125" y="12"/>
                      </a:lnTo>
                      <a:lnTo>
                        <a:pt x="122" y="12"/>
                      </a:lnTo>
                      <a:lnTo>
                        <a:pt x="119" y="13"/>
                      </a:lnTo>
                      <a:lnTo>
                        <a:pt x="115" y="14"/>
                      </a:lnTo>
                      <a:lnTo>
                        <a:pt x="111" y="13"/>
                      </a:lnTo>
                      <a:lnTo>
                        <a:pt x="108" y="9"/>
                      </a:lnTo>
                      <a:lnTo>
                        <a:pt x="106" y="7"/>
                      </a:lnTo>
                      <a:lnTo>
                        <a:pt x="105" y="4"/>
                      </a:lnTo>
                      <a:lnTo>
                        <a:pt x="105" y="2"/>
                      </a:lnTo>
                      <a:lnTo>
                        <a:pt x="106" y="2"/>
                      </a:lnTo>
                      <a:lnTo>
                        <a:pt x="105" y="0"/>
                      </a:lnTo>
                      <a:lnTo>
                        <a:pt x="103" y="1"/>
                      </a:lnTo>
                      <a:lnTo>
                        <a:pt x="101" y="2"/>
                      </a:lnTo>
                      <a:lnTo>
                        <a:pt x="99" y="2"/>
                      </a:lnTo>
                      <a:lnTo>
                        <a:pt x="97" y="6"/>
                      </a:lnTo>
                      <a:lnTo>
                        <a:pt x="96" y="15"/>
                      </a:lnTo>
                      <a:lnTo>
                        <a:pt x="93" y="19"/>
                      </a:lnTo>
                      <a:lnTo>
                        <a:pt x="92" y="26"/>
                      </a:lnTo>
                      <a:lnTo>
                        <a:pt x="90" y="31"/>
                      </a:lnTo>
                      <a:lnTo>
                        <a:pt x="84" y="38"/>
                      </a:lnTo>
                      <a:lnTo>
                        <a:pt x="83" y="38"/>
                      </a:lnTo>
                      <a:lnTo>
                        <a:pt x="80" y="41"/>
                      </a:lnTo>
                      <a:lnTo>
                        <a:pt x="74" y="43"/>
                      </a:lnTo>
                      <a:lnTo>
                        <a:pt x="70" y="48"/>
                      </a:lnTo>
                      <a:lnTo>
                        <a:pt x="69" y="48"/>
                      </a:lnTo>
                      <a:lnTo>
                        <a:pt x="63" y="53"/>
                      </a:lnTo>
                      <a:lnTo>
                        <a:pt x="59" y="54"/>
                      </a:lnTo>
                      <a:lnTo>
                        <a:pt x="58" y="57"/>
                      </a:lnTo>
                      <a:lnTo>
                        <a:pt x="51" y="64"/>
                      </a:lnTo>
                      <a:lnTo>
                        <a:pt x="53" y="69"/>
                      </a:lnTo>
                      <a:lnTo>
                        <a:pt x="53" y="73"/>
                      </a:lnTo>
                      <a:lnTo>
                        <a:pt x="47" y="79"/>
                      </a:lnTo>
                      <a:lnTo>
                        <a:pt x="44" y="88"/>
                      </a:lnTo>
                      <a:lnTo>
                        <a:pt x="44" y="92"/>
                      </a:lnTo>
                      <a:lnTo>
                        <a:pt x="46" y="98"/>
                      </a:lnTo>
                      <a:lnTo>
                        <a:pt x="44" y="104"/>
                      </a:lnTo>
                      <a:lnTo>
                        <a:pt x="45" y="106"/>
                      </a:lnTo>
                      <a:lnTo>
                        <a:pt x="47" y="108"/>
                      </a:lnTo>
                      <a:lnTo>
                        <a:pt x="46" y="113"/>
                      </a:lnTo>
                      <a:lnTo>
                        <a:pt x="37" y="125"/>
                      </a:lnTo>
                      <a:lnTo>
                        <a:pt x="36" y="130"/>
                      </a:lnTo>
                      <a:lnTo>
                        <a:pt x="32" y="135"/>
                      </a:lnTo>
                      <a:lnTo>
                        <a:pt x="28" y="136"/>
                      </a:lnTo>
                      <a:lnTo>
                        <a:pt x="18" y="146"/>
                      </a:lnTo>
                      <a:lnTo>
                        <a:pt x="4" y="149"/>
                      </a:lnTo>
                      <a:lnTo>
                        <a:pt x="0" y="155"/>
                      </a:lnTo>
                      <a:lnTo>
                        <a:pt x="57" y="156"/>
                      </a:lnTo>
                      <a:lnTo>
                        <a:pt x="57" y="15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25" name="Freeform 828">
                  <a:extLst>
                    <a:ext uri="{FF2B5EF4-FFF2-40B4-BE49-F238E27FC236}">
                      <a16:creationId xmlns:a16="http://schemas.microsoft.com/office/drawing/2014/main" id="{68936203-D38B-4A09-9F15-C4176AEC5B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73" y="2322"/>
                  <a:ext cx="115" cy="113"/>
                </a:xfrm>
                <a:custGeom>
                  <a:avLst/>
                  <a:gdLst>
                    <a:gd name="T0" fmla="*/ 56 w 115"/>
                    <a:gd name="T1" fmla="*/ 81 h 113"/>
                    <a:gd name="T2" fmla="*/ 58 w 115"/>
                    <a:gd name="T3" fmla="*/ 76 h 113"/>
                    <a:gd name="T4" fmla="*/ 61 w 115"/>
                    <a:gd name="T5" fmla="*/ 74 h 113"/>
                    <a:gd name="T6" fmla="*/ 65 w 115"/>
                    <a:gd name="T7" fmla="*/ 73 h 113"/>
                    <a:gd name="T8" fmla="*/ 69 w 115"/>
                    <a:gd name="T9" fmla="*/ 73 h 113"/>
                    <a:gd name="T10" fmla="*/ 70 w 115"/>
                    <a:gd name="T11" fmla="*/ 28 h 113"/>
                    <a:gd name="T12" fmla="*/ 115 w 115"/>
                    <a:gd name="T13" fmla="*/ 30 h 113"/>
                    <a:gd name="T14" fmla="*/ 115 w 115"/>
                    <a:gd name="T15" fmla="*/ 6 h 113"/>
                    <a:gd name="T16" fmla="*/ 115 w 115"/>
                    <a:gd name="T17" fmla="*/ 6 h 113"/>
                    <a:gd name="T18" fmla="*/ 115 w 115"/>
                    <a:gd name="T19" fmla="*/ 1 h 113"/>
                    <a:gd name="T20" fmla="*/ 58 w 115"/>
                    <a:gd name="T21" fmla="*/ 0 h 113"/>
                    <a:gd name="T22" fmla="*/ 53 w 115"/>
                    <a:gd name="T23" fmla="*/ 9 h 113"/>
                    <a:gd name="T24" fmla="*/ 53 w 115"/>
                    <a:gd name="T25" fmla="*/ 16 h 113"/>
                    <a:gd name="T26" fmla="*/ 51 w 115"/>
                    <a:gd name="T27" fmla="*/ 16 h 113"/>
                    <a:gd name="T28" fmla="*/ 41 w 115"/>
                    <a:gd name="T29" fmla="*/ 22 h 113"/>
                    <a:gd name="T30" fmla="*/ 40 w 115"/>
                    <a:gd name="T31" fmla="*/ 25 h 113"/>
                    <a:gd name="T32" fmla="*/ 36 w 115"/>
                    <a:gd name="T33" fmla="*/ 28 h 113"/>
                    <a:gd name="T34" fmla="*/ 37 w 115"/>
                    <a:gd name="T35" fmla="*/ 33 h 113"/>
                    <a:gd name="T36" fmla="*/ 28 w 115"/>
                    <a:gd name="T37" fmla="*/ 47 h 113"/>
                    <a:gd name="T38" fmla="*/ 28 w 115"/>
                    <a:gd name="T39" fmla="*/ 52 h 113"/>
                    <a:gd name="T40" fmla="*/ 21 w 115"/>
                    <a:gd name="T41" fmla="*/ 60 h 113"/>
                    <a:gd name="T42" fmla="*/ 19 w 115"/>
                    <a:gd name="T43" fmla="*/ 61 h 113"/>
                    <a:gd name="T44" fmla="*/ 16 w 115"/>
                    <a:gd name="T45" fmla="*/ 71 h 113"/>
                    <a:gd name="T46" fmla="*/ 16 w 115"/>
                    <a:gd name="T47" fmla="*/ 73 h 113"/>
                    <a:gd name="T48" fmla="*/ 10 w 115"/>
                    <a:gd name="T49" fmla="*/ 82 h 113"/>
                    <a:gd name="T50" fmla="*/ 10 w 115"/>
                    <a:gd name="T51" fmla="*/ 84 h 113"/>
                    <a:gd name="T52" fmla="*/ 12 w 115"/>
                    <a:gd name="T53" fmla="*/ 85 h 113"/>
                    <a:gd name="T54" fmla="*/ 10 w 115"/>
                    <a:gd name="T55" fmla="*/ 86 h 113"/>
                    <a:gd name="T56" fmla="*/ 5 w 115"/>
                    <a:gd name="T57" fmla="*/ 96 h 113"/>
                    <a:gd name="T58" fmla="*/ 3 w 115"/>
                    <a:gd name="T59" fmla="*/ 96 h 113"/>
                    <a:gd name="T60" fmla="*/ 1 w 115"/>
                    <a:gd name="T61" fmla="*/ 99 h 113"/>
                    <a:gd name="T62" fmla="*/ 1 w 115"/>
                    <a:gd name="T63" fmla="*/ 103 h 113"/>
                    <a:gd name="T64" fmla="*/ 0 w 115"/>
                    <a:gd name="T65" fmla="*/ 107 h 113"/>
                    <a:gd name="T66" fmla="*/ 0 w 115"/>
                    <a:gd name="T67" fmla="*/ 113 h 113"/>
                    <a:gd name="T68" fmla="*/ 57 w 115"/>
                    <a:gd name="T69" fmla="*/ 112 h 113"/>
                    <a:gd name="T70" fmla="*/ 56 w 115"/>
                    <a:gd name="T71" fmla="*/ 81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15" h="113">
                      <a:moveTo>
                        <a:pt x="56" y="81"/>
                      </a:moveTo>
                      <a:lnTo>
                        <a:pt x="58" y="76"/>
                      </a:lnTo>
                      <a:lnTo>
                        <a:pt x="61" y="74"/>
                      </a:lnTo>
                      <a:lnTo>
                        <a:pt x="65" y="73"/>
                      </a:lnTo>
                      <a:lnTo>
                        <a:pt x="69" y="73"/>
                      </a:lnTo>
                      <a:lnTo>
                        <a:pt x="70" y="28"/>
                      </a:lnTo>
                      <a:lnTo>
                        <a:pt x="115" y="30"/>
                      </a:lnTo>
                      <a:lnTo>
                        <a:pt x="115" y="6"/>
                      </a:lnTo>
                      <a:lnTo>
                        <a:pt x="115" y="6"/>
                      </a:lnTo>
                      <a:lnTo>
                        <a:pt x="115" y="1"/>
                      </a:lnTo>
                      <a:lnTo>
                        <a:pt x="58" y="0"/>
                      </a:lnTo>
                      <a:lnTo>
                        <a:pt x="53" y="9"/>
                      </a:lnTo>
                      <a:lnTo>
                        <a:pt x="53" y="16"/>
                      </a:lnTo>
                      <a:lnTo>
                        <a:pt x="51" y="16"/>
                      </a:lnTo>
                      <a:lnTo>
                        <a:pt x="41" y="22"/>
                      </a:lnTo>
                      <a:lnTo>
                        <a:pt x="40" y="25"/>
                      </a:lnTo>
                      <a:lnTo>
                        <a:pt x="36" y="28"/>
                      </a:lnTo>
                      <a:lnTo>
                        <a:pt x="37" y="33"/>
                      </a:lnTo>
                      <a:lnTo>
                        <a:pt x="28" y="47"/>
                      </a:lnTo>
                      <a:lnTo>
                        <a:pt x="28" y="52"/>
                      </a:lnTo>
                      <a:lnTo>
                        <a:pt x="21" y="60"/>
                      </a:lnTo>
                      <a:lnTo>
                        <a:pt x="19" y="61"/>
                      </a:lnTo>
                      <a:lnTo>
                        <a:pt x="16" y="71"/>
                      </a:lnTo>
                      <a:lnTo>
                        <a:pt x="16" y="73"/>
                      </a:lnTo>
                      <a:lnTo>
                        <a:pt x="10" y="82"/>
                      </a:lnTo>
                      <a:lnTo>
                        <a:pt x="10" y="84"/>
                      </a:lnTo>
                      <a:lnTo>
                        <a:pt x="12" y="85"/>
                      </a:lnTo>
                      <a:lnTo>
                        <a:pt x="10" y="86"/>
                      </a:lnTo>
                      <a:lnTo>
                        <a:pt x="5" y="96"/>
                      </a:lnTo>
                      <a:lnTo>
                        <a:pt x="3" y="96"/>
                      </a:lnTo>
                      <a:lnTo>
                        <a:pt x="1" y="99"/>
                      </a:lnTo>
                      <a:lnTo>
                        <a:pt x="1" y="103"/>
                      </a:lnTo>
                      <a:lnTo>
                        <a:pt x="0" y="107"/>
                      </a:lnTo>
                      <a:lnTo>
                        <a:pt x="0" y="113"/>
                      </a:lnTo>
                      <a:lnTo>
                        <a:pt x="57" y="112"/>
                      </a:lnTo>
                      <a:lnTo>
                        <a:pt x="56" y="8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26" name="Freeform 829">
                  <a:extLst>
                    <a:ext uri="{FF2B5EF4-FFF2-40B4-BE49-F238E27FC236}">
                      <a16:creationId xmlns:a16="http://schemas.microsoft.com/office/drawing/2014/main" id="{F19D0406-58C3-4679-B7F2-B6EE65B0F1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72" y="2328"/>
                  <a:ext cx="167" cy="221"/>
                </a:xfrm>
                <a:custGeom>
                  <a:avLst/>
                  <a:gdLst>
                    <a:gd name="T0" fmla="*/ 13 w 167"/>
                    <a:gd name="T1" fmla="*/ 192 h 221"/>
                    <a:gd name="T2" fmla="*/ 28 w 167"/>
                    <a:gd name="T3" fmla="*/ 187 h 221"/>
                    <a:gd name="T4" fmla="*/ 37 w 167"/>
                    <a:gd name="T5" fmla="*/ 190 h 221"/>
                    <a:gd name="T6" fmla="*/ 43 w 167"/>
                    <a:gd name="T7" fmla="*/ 195 h 221"/>
                    <a:gd name="T8" fmla="*/ 46 w 167"/>
                    <a:gd name="T9" fmla="*/ 198 h 221"/>
                    <a:gd name="T10" fmla="*/ 49 w 167"/>
                    <a:gd name="T11" fmla="*/ 197 h 221"/>
                    <a:gd name="T12" fmla="*/ 52 w 167"/>
                    <a:gd name="T13" fmla="*/ 199 h 221"/>
                    <a:gd name="T14" fmla="*/ 56 w 167"/>
                    <a:gd name="T15" fmla="*/ 206 h 221"/>
                    <a:gd name="T16" fmla="*/ 59 w 167"/>
                    <a:gd name="T17" fmla="*/ 210 h 221"/>
                    <a:gd name="T18" fmla="*/ 62 w 167"/>
                    <a:gd name="T19" fmla="*/ 215 h 221"/>
                    <a:gd name="T20" fmla="*/ 66 w 167"/>
                    <a:gd name="T21" fmla="*/ 221 h 221"/>
                    <a:gd name="T22" fmla="*/ 70 w 167"/>
                    <a:gd name="T23" fmla="*/ 217 h 221"/>
                    <a:gd name="T24" fmla="*/ 76 w 167"/>
                    <a:gd name="T25" fmla="*/ 212 h 221"/>
                    <a:gd name="T26" fmla="*/ 76 w 167"/>
                    <a:gd name="T27" fmla="*/ 203 h 221"/>
                    <a:gd name="T28" fmla="*/ 84 w 167"/>
                    <a:gd name="T29" fmla="*/ 202 h 221"/>
                    <a:gd name="T30" fmla="*/ 87 w 167"/>
                    <a:gd name="T31" fmla="*/ 212 h 221"/>
                    <a:gd name="T32" fmla="*/ 91 w 167"/>
                    <a:gd name="T33" fmla="*/ 205 h 221"/>
                    <a:gd name="T34" fmla="*/ 101 w 167"/>
                    <a:gd name="T35" fmla="*/ 203 h 221"/>
                    <a:gd name="T36" fmla="*/ 104 w 167"/>
                    <a:gd name="T37" fmla="*/ 210 h 221"/>
                    <a:gd name="T38" fmla="*/ 108 w 167"/>
                    <a:gd name="T39" fmla="*/ 207 h 221"/>
                    <a:gd name="T40" fmla="*/ 111 w 167"/>
                    <a:gd name="T41" fmla="*/ 210 h 221"/>
                    <a:gd name="T42" fmla="*/ 166 w 167"/>
                    <a:gd name="T43" fmla="*/ 194 h 221"/>
                    <a:gd name="T44" fmla="*/ 150 w 167"/>
                    <a:gd name="T45" fmla="*/ 41 h 221"/>
                    <a:gd name="T46" fmla="*/ 167 w 167"/>
                    <a:gd name="T47" fmla="*/ 41 h 221"/>
                    <a:gd name="T48" fmla="*/ 116 w 167"/>
                    <a:gd name="T49" fmla="*/ 0 h 221"/>
                    <a:gd name="T50" fmla="*/ 116 w 167"/>
                    <a:gd name="T51" fmla="*/ 24 h 221"/>
                    <a:gd name="T52" fmla="*/ 70 w 167"/>
                    <a:gd name="T53" fmla="*/ 67 h 221"/>
                    <a:gd name="T54" fmla="*/ 62 w 167"/>
                    <a:gd name="T55" fmla="*/ 68 h 221"/>
                    <a:gd name="T56" fmla="*/ 57 w 167"/>
                    <a:gd name="T57" fmla="*/ 75 h 221"/>
                    <a:gd name="T58" fmla="*/ 1 w 167"/>
                    <a:gd name="T59" fmla="*/ 107 h 221"/>
                    <a:gd name="T60" fmla="*/ 0 w 167"/>
                    <a:gd name="T61" fmla="*/ 111 h 221"/>
                    <a:gd name="T62" fmla="*/ 3 w 167"/>
                    <a:gd name="T63" fmla="*/ 114 h 221"/>
                    <a:gd name="T64" fmla="*/ 5 w 167"/>
                    <a:gd name="T65" fmla="*/ 118 h 221"/>
                    <a:gd name="T66" fmla="*/ 11 w 167"/>
                    <a:gd name="T67" fmla="*/ 124 h 221"/>
                    <a:gd name="T68" fmla="*/ 11 w 167"/>
                    <a:gd name="T69" fmla="*/ 130 h 221"/>
                    <a:gd name="T70" fmla="*/ 7 w 167"/>
                    <a:gd name="T71" fmla="*/ 135 h 221"/>
                    <a:gd name="T72" fmla="*/ 10 w 167"/>
                    <a:gd name="T73" fmla="*/ 145 h 221"/>
                    <a:gd name="T74" fmla="*/ 12 w 167"/>
                    <a:gd name="T75" fmla="*/ 174 h 221"/>
                    <a:gd name="T76" fmla="*/ 6 w 167"/>
                    <a:gd name="T77" fmla="*/ 190 h 221"/>
                    <a:gd name="T78" fmla="*/ 7 w 167"/>
                    <a:gd name="T79" fmla="*/ 195 h 2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67" h="221">
                      <a:moveTo>
                        <a:pt x="10" y="195"/>
                      </a:moveTo>
                      <a:lnTo>
                        <a:pt x="13" y="192"/>
                      </a:lnTo>
                      <a:lnTo>
                        <a:pt x="20" y="190"/>
                      </a:lnTo>
                      <a:lnTo>
                        <a:pt x="28" y="187"/>
                      </a:lnTo>
                      <a:lnTo>
                        <a:pt x="30" y="187"/>
                      </a:lnTo>
                      <a:lnTo>
                        <a:pt x="37" y="190"/>
                      </a:lnTo>
                      <a:lnTo>
                        <a:pt x="40" y="190"/>
                      </a:lnTo>
                      <a:lnTo>
                        <a:pt x="43" y="195"/>
                      </a:lnTo>
                      <a:lnTo>
                        <a:pt x="43" y="197"/>
                      </a:lnTo>
                      <a:lnTo>
                        <a:pt x="46" y="198"/>
                      </a:lnTo>
                      <a:lnTo>
                        <a:pt x="48" y="197"/>
                      </a:lnTo>
                      <a:lnTo>
                        <a:pt x="49" y="197"/>
                      </a:lnTo>
                      <a:lnTo>
                        <a:pt x="51" y="197"/>
                      </a:lnTo>
                      <a:lnTo>
                        <a:pt x="52" y="199"/>
                      </a:lnTo>
                      <a:lnTo>
                        <a:pt x="52" y="203"/>
                      </a:lnTo>
                      <a:lnTo>
                        <a:pt x="56" y="206"/>
                      </a:lnTo>
                      <a:lnTo>
                        <a:pt x="56" y="210"/>
                      </a:lnTo>
                      <a:lnTo>
                        <a:pt x="59" y="210"/>
                      </a:lnTo>
                      <a:lnTo>
                        <a:pt x="59" y="214"/>
                      </a:lnTo>
                      <a:lnTo>
                        <a:pt x="62" y="215"/>
                      </a:lnTo>
                      <a:lnTo>
                        <a:pt x="66" y="218"/>
                      </a:lnTo>
                      <a:lnTo>
                        <a:pt x="66" y="221"/>
                      </a:lnTo>
                      <a:lnTo>
                        <a:pt x="66" y="221"/>
                      </a:lnTo>
                      <a:lnTo>
                        <a:pt x="70" y="217"/>
                      </a:lnTo>
                      <a:lnTo>
                        <a:pt x="74" y="217"/>
                      </a:lnTo>
                      <a:lnTo>
                        <a:pt x="76" y="212"/>
                      </a:lnTo>
                      <a:lnTo>
                        <a:pt x="76" y="210"/>
                      </a:lnTo>
                      <a:lnTo>
                        <a:pt x="76" y="203"/>
                      </a:lnTo>
                      <a:lnTo>
                        <a:pt x="80" y="202"/>
                      </a:lnTo>
                      <a:lnTo>
                        <a:pt x="84" y="202"/>
                      </a:lnTo>
                      <a:lnTo>
                        <a:pt x="84" y="207"/>
                      </a:lnTo>
                      <a:lnTo>
                        <a:pt x="87" y="212"/>
                      </a:lnTo>
                      <a:lnTo>
                        <a:pt x="87" y="213"/>
                      </a:lnTo>
                      <a:lnTo>
                        <a:pt x="91" y="205"/>
                      </a:lnTo>
                      <a:lnTo>
                        <a:pt x="98" y="201"/>
                      </a:lnTo>
                      <a:lnTo>
                        <a:pt x="101" y="203"/>
                      </a:lnTo>
                      <a:lnTo>
                        <a:pt x="101" y="207"/>
                      </a:lnTo>
                      <a:lnTo>
                        <a:pt x="104" y="210"/>
                      </a:lnTo>
                      <a:lnTo>
                        <a:pt x="106" y="207"/>
                      </a:lnTo>
                      <a:lnTo>
                        <a:pt x="108" y="207"/>
                      </a:lnTo>
                      <a:lnTo>
                        <a:pt x="109" y="209"/>
                      </a:lnTo>
                      <a:lnTo>
                        <a:pt x="111" y="210"/>
                      </a:lnTo>
                      <a:lnTo>
                        <a:pt x="161" y="210"/>
                      </a:lnTo>
                      <a:lnTo>
                        <a:pt x="166" y="194"/>
                      </a:lnTo>
                      <a:lnTo>
                        <a:pt x="161" y="191"/>
                      </a:lnTo>
                      <a:lnTo>
                        <a:pt x="150" y="41"/>
                      </a:lnTo>
                      <a:lnTo>
                        <a:pt x="167" y="41"/>
                      </a:lnTo>
                      <a:lnTo>
                        <a:pt x="167" y="41"/>
                      </a:lnTo>
                      <a:lnTo>
                        <a:pt x="167" y="41"/>
                      </a:lnTo>
                      <a:lnTo>
                        <a:pt x="116" y="0"/>
                      </a:lnTo>
                      <a:lnTo>
                        <a:pt x="116" y="0"/>
                      </a:lnTo>
                      <a:lnTo>
                        <a:pt x="116" y="24"/>
                      </a:lnTo>
                      <a:lnTo>
                        <a:pt x="71" y="22"/>
                      </a:lnTo>
                      <a:lnTo>
                        <a:pt x="70" y="67"/>
                      </a:lnTo>
                      <a:lnTo>
                        <a:pt x="66" y="67"/>
                      </a:lnTo>
                      <a:lnTo>
                        <a:pt x="62" y="68"/>
                      </a:lnTo>
                      <a:lnTo>
                        <a:pt x="59" y="70"/>
                      </a:lnTo>
                      <a:lnTo>
                        <a:pt x="57" y="75"/>
                      </a:lnTo>
                      <a:lnTo>
                        <a:pt x="58" y="106"/>
                      </a:lnTo>
                      <a:lnTo>
                        <a:pt x="1" y="107"/>
                      </a:lnTo>
                      <a:lnTo>
                        <a:pt x="1" y="107"/>
                      </a:lnTo>
                      <a:lnTo>
                        <a:pt x="0" y="111"/>
                      </a:lnTo>
                      <a:lnTo>
                        <a:pt x="0" y="117"/>
                      </a:lnTo>
                      <a:lnTo>
                        <a:pt x="3" y="114"/>
                      </a:lnTo>
                      <a:lnTo>
                        <a:pt x="4" y="117"/>
                      </a:lnTo>
                      <a:lnTo>
                        <a:pt x="5" y="118"/>
                      </a:lnTo>
                      <a:lnTo>
                        <a:pt x="7" y="117"/>
                      </a:lnTo>
                      <a:lnTo>
                        <a:pt x="11" y="124"/>
                      </a:lnTo>
                      <a:lnTo>
                        <a:pt x="9" y="126"/>
                      </a:lnTo>
                      <a:lnTo>
                        <a:pt x="11" y="130"/>
                      </a:lnTo>
                      <a:lnTo>
                        <a:pt x="10" y="135"/>
                      </a:lnTo>
                      <a:lnTo>
                        <a:pt x="7" y="135"/>
                      </a:lnTo>
                      <a:lnTo>
                        <a:pt x="6" y="137"/>
                      </a:lnTo>
                      <a:lnTo>
                        <a:pt x="10" y="145"/>
                      </a:lnTo>
                      <a:lnTo>
                        <a:pt x="13" y="162"/>
                      </a:lnTo>
                      <a:lnTo>
                        <a:pt x="12" y="174"/>
                      </a:lnTo>
                      <a:lnTo>
                        <a:pt x="8" y="179"/>
                      </a:lnTo>
                      <a:lnTo>
                        <a:pt x="6" y="190"/>
                      </a:lnTo>
                      <a:lnTo>
                        <a:pt x="5" y="197"/>
                      </a:lnTo>
                      <a:lnTo>
                        <a:pt x="7" y="195"/>
                      </a:lnTo>
                      <a:lnTo>
                        <a:pt x="10" y="19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27" name="Freeform 830">
                  <a:extLst>
                    <a:ext uri="{FF2B5EF4-FFF2-40B4-BE49-F238E27FC236}">
                      <a16:creationId xmlns:a16="http://schemas.microsoft.com/office/drawing/2014/main" id="{962B9312-C531-4D1F-98EE-D4682C3901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38" y="2369"/>
                  <a:ext cx="232" cy="257"/>
                </a:xfrm>
                <a:custGeom>
                  <a:avLst/>
                  <a:gdLst>
                    <a:gd name="T0" fmla="*/ 98 w 232"/>
                    <a:gd name="T1" fmla="*/ 241 h 257"/>
                    <a:gd name="T2" fmla="*/ 100 w 232"/>
                    <a:gd name="T3" fmla="*/ 232 h 257"/>
                    <a:gd name="T4" fmla="*/ 110 w 232"/>
                    <a:gd name="T5" fmla="*/ 218 h 257"/>
                    <a:gd name="T6" fmla="*/ 116 w 232"/>
                    <a:gd name="T7" fmla="*/ 204 h 257"/>
                    <a:gd name="T8" fmla="*/ 122 w 232"/>
                    <a:gd name="T9" fmla="*/ 200 h 257"/>
                    <a:gd name="T10" fmla="*/ 133 w 232"/>
                    <a:gd name="T11" fmla="*/ 195 h 257"/>
                    <a:gd name="T12" fmla="*/ 155 w 232"/>
                    <a:gd name="T13" fmla="*/ 178 h 257"/>
                    <a:gd name="T14" fmla="*/ 170 w 232"/>
                    <a:gd name="T15" fmla="*/ 173 h 257"/>
                    <a:gd name="T16" fmla="*/ 177 w 232"/>
                    <a:gd name="T17" fmla="*/ 176 h 257"/>
                    <a:gd name="T18" fmla="*/ 191 w 232"/>
                    <a:gd name="T19" fmla="*/ 175 h 257"/>
                    <a:gd name="T20" fmla="*/ 204 w 232"/>
                    <a:gd name="T21" fmla="*/ 173 h 257"/>
                    <a:gd name="T22" fmla="*/ 215 w 232"/>
                    <a:gd name="T23" fmla="*/ 169 h 257"/>
                    <a:gd name="T24" fmla="*/ 227 w 232"/>
                    <a:gd name="T25" fmla="*/ 159 h 257"/>
                    <a:gd name="T26" fmla="*/ 231 w 232"/>
                    <a:gd name="T27" fmla="*/ 136 h 257"/>
                    <a:gd name="T28" fmla="*/ 226 w 232"/>
                    <a:gd name="T29" fmla="*/ 105 h 257"/>
                    <a:gd name="T30" fmla="*/ 215 w 232"/>
                    <a:gd name="T31" fmla="*/ 102 h 257"/>
                    <a:gd name="T32" fmla="*/ 214 w 232"/>
                    <a:gd name="T33" fmla="*/ 91 h 257"/>
                    <a:gd name="T34" fmla="*/ 204 w 232"/>
                    <a:gd name="T35" fmla="*/ 85 h 257"/>
                    <a:gd name="T36" fmla="*/ 194 w 232"/>
                    <a:gd name="T37" fmla="*/ 73 h 257"/>
                    <a:gd name="T38" fmla="*/ 84 w 232"/>
                    <a:gd name="T39" fmla="*/ 0 h 257"/>
                    <a:gd name="T40" fmla="*/ 95 w 232"/>
                    <a:gd name="T41" fmla="*/ 169 h 257"/>
                    <a:gd name="T42" fmla="*/ 42 w 232"/>
                    <a:gd name="T43" fmla="*/ 166 h 257"/>
                    <a:gd name="T44" fmla="*/ 35 w 232"/>
                    <a:gd name="T45" fmla="*/ 166 h 257"/>
                    <a:gd name="T46" fmla="*/ 25 w 232"/>
                    <a:gd name="T47" fmla="*/ 164 h 257"/>
                    <a:gd name="T48" fmla="*/ 18 w 232"/>
                    <a:gd name="T49" fmla="*/ 166 h 257"/>
                    <a:gd name="T50" fmla="*/ 10 w 232"/>
                    <a:gd name="T51" fmla="*/ 162 h 257"/>
                    <a:gd name="T52" fmla="*/ 8 w 232"/>
                    <a:gd name="T53" fmla="*/ 176 h 257"/>
                    <a:gd name="T54" fmla="*/ 3 w 232"/>
                    <a:gd name="T55" fmla="*/ 181 h 257"/>
                    <a:gd name="T56" fmla="*/ 2 w 232"/>
                    <a:gd name="T57" fmla="*/ 193 h 257"/>
                    <a:gd name="T58" fmla="*/ 7 w 232"/>
                    <a:gd name="T59" fmla="*/ 204 h 257"/>
                    <a:gd name="T60" fmla="*/ 12 w 232"/>
                    <a:gd name="T61" fmla="*/ 207 h 257"/>
                    <a:gd name="T62" fmla="*/ 14 w 232"/>
                    <a:gd name="T63" fmla="*/ 214 h 257"/>
                    <a:gd name="T64" fmla="*/ 18 w 232"/>
                    <a:gd name="T65" fmla="*/ 221 h 257"/>
                    <a:gd name="T66" fmla="*/ 17 w 232"/>
                    <a:gd name="T67" fmla="*/ 226 h 257"/>
                    <a:gd name="T68" fmla="*/ 24 w 232"/>
                    <a:gd name="T69" fmla="*/ 227 h 257"/>
                    <a:gd name="T70" fmla="*/ 33 w 232"/>
                    <a:gd name="T71" fmla="*/ 227 h 257"/>
                    <a:gd name="T72" fmla="*/ 40 w 232"/>
                    <a:gd name="T73" fmla="*/ 221 h 257"/>
                    <a:gd name="T74" fmla="*/ 48 w 232"/>
                    <a:gd name="T75" fmla="*/ 221 h 257"/>
                    <a:gd name="T76" fmla="*/ 52 w 232"/>
                    <a:gd name="T77" fmla="*/ 230 h 257"/>
                    <a:gd name="T78" fmla="*/ 56 w 232"/>
                    <a:gd name="T79" fmla="*/ 237 h 257"/>
                    <a:gd name="T80" fmla="*/ 52 w 232"/>
                    <a:gd name="T81" fmla="*/ 248 h 257"/>
                    <a:gd name="T82" fmla="*/ 59 w 232"/>
                    <a:gd name="T83" fmla="*/ 245 h 257"/>
                    <a:gd name="T84" fmla="*/ 59 w 232"/>
                    <a:gd name="T85" fmla="*/ 252 h 257"/>
                    <a:gd name="T86" fmla="*/ 64 w 232"/>
                    <a:gd name="T87" fmla="*/ 256 h 257"/>
                    <a:gd name="T88" fmla="*/ 73 w 232"/>
                    <a:gd name="T89" fmla="*/ 256 h 257"/>
                    <a:gd name="T90" fmla="*/ 81 w 232"/>
                    <a:gd name="T91" fmla="*/ 253 h 257"/>
                    <a:gd name="T92" fmla="*/ 88 w 232"/>
                    <a:gd name="T93" fmla="*/ 254 h 257"/>
                    <a:gd name="T94" fmla="*/ 97 w 232"/>
                    <a:gd name="T95" fmla="*/ 252 h 2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32" h="257">
                      <a:moveTo>
                        <a:pt x="99" y="247"/>
                      </a:moveTo>
                      <a:lnTo>
                        <a:pt x="98" y="245"/>
                      </a:lnTo>
                      <a:lnTo>
                        <a:pt x="98" y="241"/>
                      </a:lnTo>
                      <a:lnTo>
                        <a:pt x="101" y="240"/>
                      </a:lnTo>
                      <a:lnTo>
                        <a:pt x="101" y="235"/>
                      </a:lnTo>
                      <a:lnTo>
                        <a:pt x="100" y="232"/>
                      </a:lnTo>
                      <a:lnTo>
                        <a:pt x="102" y="230"/>
                      </a:lnTo>
                      <a:lnTo>
                        <a:pt x="105" y="227"/>
                      </a:lnTo>
                      <a:lnTo>
                        <a:pt x="110" y="218"/>
                      </a:lnTo>
                      <a:lnTo>
                        <a:pt x="112" y="213"/>
                      </a:lnTo>
                      <a:lnTo>
                        <a:pt x="113" y="211"/>
                      </a:lnTo>
                      <a:lnTo>
                        <a:pt x="116" y="204"/>
                      </a:lnTo>
                      <a:lnTo>
                        <a:pt x="118" y="203"/>
                      </a:lnTo>
                      <a:lnTo>
                        <a:pt x="118" y="200"/>
                      </a:lnTo>
                      <a:lnTo>
                        <a:pt x="122" y="200"/>
                      </a:lnTo>
                      <a:lnTo>
                        <a:pt x="125" y="200"/>
                      </a:lnTo>
                      <a:lnTo>
                        <a:pt x="132" y="198"/>
                      </a:lnTo>
                      <a:lnTo>
                        <a:pt x="133" y="195"/>
                      </a:lnTo>
                      <a:lnTo>
                        <a:pt x="141" y="189"/>
                      </a:lnTo>
                      <a:lnTo>
                        <a:pt x="152" y="181"/>
                      </a:lnTo>
                      <a:lnTo>
                        <a:pt x="155" y="178"/>
                      </a:lnTo>
                      <a:lnTo>
                        <a:pt x="160" y="175"/>
                      </a:lnTo>
                      <a:lnTo>
                        <a:pt x="166" y="173"/>
                      </a:lnTo>
                      <a:lnTo>
                        <a:pt x="170" y="173"/>
                      </a:lnTo>
                      <a:lnTo>
                        <a:pt x="173" y="175"/>
                      </a:lnTo>
                      <a:lnTo>
                        <a:pt x="176" y="175"/>
                      </a:lnTo>
                      <a:lnTo>
                        <a:pt x="177" y="176"/>
                      </a:lnTo>
                      <a:lnTo>
                        <a:pt x="177" y="175"/>
                      </a:lnTo>
                      <a:lnTo>
                        <a:pt x="180" y="176"/>
                      </a:lnTo>
                      <a:lnTo>
                        <a:pt x="191" y="175"/>
                      </a:lnTo>
                      <a:lnTo>
                        <a:pt x="194" y="176"/>
                      </a:lnTo>
                      <a:lnTo>
                        <a:pt x="198" y="173"/>
                      </a:lnTo>
                      <a:lnTo>
                        <a:pt x="204" y="173"/>
                      </a:lnTo>
                      <a:lnTo>
                        <a:pt x="207" y="173"/>
                      </a:lnTo>
                      <a:lnTo>
                        <a:pt x="211" y="170"/>
                      </a:lnTo>
                      <a:lnTo>
                        <a:pt x="215" y="169"/>
                      </a:lnTo>
                      <a:lnTo>
                        <a:pt x="219" y="167"/>
                      </a:lnTo>
                      <a:lnTo>
                        <a:pt x="226" y="162"/>
                      </a:lnTo>
                      <a:lnTo>
                        <a:pt x="227" y="159"/>
                      </a:lnTo>
                      <a:lnTo>
                        <a:pt x="228" y="152"/>
                      </a:lnTo>
                      <a:lnTo>
                        <a:pt x="229" y="151"/>
                      </a:lnTo>
                      <a:lnTo>
                        <a:pt x="231" y="136"/>
                      </a:lnTo>
                      <a:lnTo>
                        <a:pt x="232" y="103"/>
                      </a:lnTo>
                      <a:lnTo>
                        <a:pt x="232" y="103"/>
                      </a:lnTo>
                      <a:lnTo>
                        <a:pt x="226" y="105"/>
                      </a:lnTo>
                      <a:lnTo>
                        <a:pt x="219" y="106"/>
                      </a:lnTo>
                      <a:lnTo>
                        <a:pt x="216" y="104"/>
                      </a:lnTo>
                      <a:lnTo>
                        <a:pt x="215" y="102"/>
                      </a:lnTo>
                      <a:lnTo>
                        <a:pt x="217" y="97"/>
                      </a:lnTo>
                      <a:lnTo>
                        <a:pt x="217" y="94"/>
                      </a:lnTo>
                      <a:lnTo>
                        <a:pt x="214" y="91"/>
                      </a:lnTo>
                      <a:lnTo>
                        <a:pt x="211" y="90"/>
                      </a:lnTo>
                      <a:lnTo>
                        <a:pt x="208" y="87"/>
                      </a:lnTo>
                      <a:lnTo>
                        <a:pt x="204" y="85"/>
                      </a:lnTo>
                      <a:lnTo>
                        <a:pt x="199" y="85"/>
                      </a:lnTo>
                      <a:lnTo>
                        <a:pt x="196" y="82"/>
                      </a:lnTo>
                      <a:lnTo>
                        <a:pt x="194" y="73"/>
                      </a:lnTo>
                      <a:lnTo>
                        <a:pt x="101" y="0"/>
                      </a:lnTo>
                      <a:lnTo>
                        <a:pt x="101" y="0"/>
                      </a:lnTo>
                      <a:lnTo>
                        <a:pt x="84" y="0"/>
                      </a:lnTo>
                      <a:lnTo>
                        <a:pt x="95" y="150"/>
                      </a:lnTo>
                      <a:lnTo>
                        <a:pt x="100" y="153"/>
                      </a:lnTo>
                      <a:lnTo>
                        <a:pt x="95" y="169"/>
                      </a:lnTo>
                      <a:lnTo>
                        <a:pt x="45" y="169"/>
                      </a:lnTo>
                      <a:lnTo>
                        <a:pt x="43" y="168"/>
                      </a:lnTo>
                      <a:lnTo>
                        <a:pt x="42" y="166"/>
                      </a:lnTo>
                      <a:lnTo>
                        <a:pt x="40" y="166"/>
                      </a:lnTo>
                      <a:lnTo>
                        <a:pt x="38" y="169"/>
                      </a:lnTo>
                      <a:lnTo>
                        <a:pt x="35" y="166"/>
                      </a:lnTo>
                      <a:lnTo>
                        <a:pt x="35" y="162"/>
                      </a:lnTo>
                      <a:lnTo>
                        <a:pt x="32" y="160"/>
                      </a:lnTo>
                      <a:lnTo>
                        <a:pt x="25" y="164"/>
                      </a:lnTo>
                      <a:lnTo>
                        <a:pt x="21" y="172"/>
                      </a:lnTo>
                      <a:lnTo>
                        <a:pt x="21" y="171"/>
                      </a:lnTo>
                      <a:lnTo>
                        <a:pt x="18" y="166"/>
                      </a:lnTo>
                      <a:lnTo>
                        <a:pt x="18" y="161"/>
                      </a:lnTo>
                      <a:lnTo>
                        <a:pt x="14" y="161"/>
                      </a:lnTo>
                      <a:lnTo>
                        <a:pt x="10" y="162"/>
                      </a:lnTo>
                      <a:lnTo>
                        <a:pt x="10" y="169"/>
                      </a:lnTo>
                      <a:lnTo>
                        <a:pt x="10" y="171"/>
                      </a:lnTo>
                      <a:lnTo>
                        <a:pt x="8" y="176"/>
                      </a:lnTo>
                      <a:lnTo>
                        <a:pt x="4" y="176"/>
                      </a:lnTo>
                      <a:lnTo>
                        <a:pt x="0" y="180"/>
                      </a:lnTo>
                      <a:lnTo>
                        <a:pt x="3" y="181"/>
                      </a:lnTo>
                      <a:lnTo>
                        <a:pt x="3" y="184"/>
                      </a:lnTo>
                      <a:lnTo>
                        <a:pt x="4" y="187"/>
                      </a:lnTo>
                      <a:lnTo>
                        <a:pt x="2" y="193"/>
                      </a:lnTo>
                      <a:lnTo>
                        <a:pt x="2" y="196"/>
                      </a:lnTo>
                      <a:lnTo>
                        <a:pt x="6" y="200"/>
                      </a:lnTo>
                      <a:lnTo>
                        <a:pt x="7" y="204"/>
                      </a:lnTo>
                      <a:lnTo>
                        <a:pt x="9" y="206"/>
                      </a:lnTo>
                      <a:lnTo>
                        <a:pt x="11" y="206"/>
                      </a:lnTo>
                      <a:lnTo>
                        <a:pt x="12" y="207"/>
                      </a:lnTo>
                      <a:lnTo>
                        <a:pt x="13" y="210"/>
                      </a:lnTo>
                      <a:lnTo>
                        <a:pt x="14" y="212"/>
                      </a:lnTo>
                      <a:lnTo>
                        <a:pt x="14" y="214"/>
                      </a:lnTo>
                      <a:lnTo>
                        <a:pt x="14" y="216"/>
                      </a:lnTo>
                      <a:lnTo>
                        <a:pt x="14" y="218"/>
                      </a:lnTo>
                      <a:lnTo>
                        <a:pt x="18" y="221"/>
                      </a:lnTo>
                      <a:lnTo>
                        <a:pt x="18" y="224"/>
                      </a:lnTo>
                      <a:lnTo>
                        <a:pt x="17" y="226"/>
                      </a:lnTo>
                      <a:lnTo>
                        <a:pt x="17" y="226"/>
                      </a:lnTo>
                      <a:lnTo>
                        <a:pt x="18" y="228"/>
                      </a:lnTo>
                      <a:lnTo>
                        <a:pt x="21" y="225"/>
                      </a:lnTo>
                      <a:lnTo>
                        <a:pt x="24" y="227"/>
                      </a:lnTo>
                      <a:lnTo>
                        <a:pt x="27" y="229"/>
                      </a:lnTo>
                      <a:lnTo>
                        <a:pt x="30" y="229"/>
                      </a:lnTo>
                      <a:lnTo>
                        <a:pt x="33" y="227"/>
                      </a:lnTo>
                      <a:lnTo>
                        <a:pt x="35" y="227"/>
                      </a:lnTo>
                      <a:lnTo>
                        <a:pt x="38" y="222"/>
                      </a:lnTo>
                      <a:lnTo>
                        <a:pt x="40" y="221"/>
                      </a:lnTo>
                      <a:lnTo>
                        <a:pt x="44" y="224"/>
                      </a:lnTo>
                      <a:lnTo>
                        <a:pt x="45" y="222"/>
                      </a:lnTo>
                      <a:lnTo>
                        <a:pt x="48" y="221"/>
                      </a:lnTo>
                      <a:lnTo>
                        <a:pt x="48" y="223"/>
                      </a:lnTo>
                      <a:lnTo>
                        <a:pt x="51" y="226"/>
                      </a:lnTo>
                      <a:lnTo>
                        <a:pt x="52" y="230"/>
                      </a:lnTo>
                      <a:lnTo>
                        <a:pt x="52" y="235"/>
                      </a:lnTo>
                      <a:lnTo>
                        <a:pt x="53" y="236"/>
                      </a:lnTo>
                      <a:lnTo>
                        <a:pt x="56" y="237"/>
                      </a:lnTo>
                      <a:lnTo>
                        <a:pt x="56" y="238"/>
                      </a:lnTo>
                      <a:lnTo>
                        <a:pt x="54" y="243"/>
                      </a:lnTo>
                      <a:lnTo>
                        <a:pt x="52" y="248"/>
                      </a:lnTo>
                      <a:lnTo>
                        <a:pt x="55" y="247"/>
                      </a:lnTo>
                      <a:lnTo>
                        <a:pt x="56" y="245"/>
                      </a:lnTo>
                      <a:lnTo>
                        <a:pt x="59" y="245"/>
                      </a:lnTo>
                      <a:lnTo>
                        <a:pt x="59" y="248"/>
                      </a:lnTo>
                      <a:lnTo>
                        <a:pt x="59" y="250"/>
                      </a:lnTo>
                      <a:lnTo>
                        <a:pt x="59" y="252"/>
                      </a:lnTo>
                      <a:lnTo>
                        <a:pt x="63" y="252"/>
                      </a:lnTo>
                      <a:lnTo>
                        <a:pt x="64" y="254"/>
                      </a:lnTo>
                      <a:lnTo>
                        <a:pt x="64" y="256"/>
                      </a:lnTo>
                      <a:lnTo>
                        <a:pt x="69" y="253"/>
                      </a:lnTo>
                      <a:lnTo>
                        <a:pt x="70" y="253"/>
                      </a:lnTo>
                      <a:lnTo>
                        <a:pt x="73" y="256"/>
                      </a:lnTo>
                      <a:lnTo>
                        <a:pt x="80" y="256"/>
                      </a:lnTo>
                      <a:lnTo>
                        <a:pt x="80" y="255"/>
                      </a:lnTo>
                      <a:lnTo>
                        <a:pt x="81" y="253"/>
                      </a:lnTo>
                      <a:lnTo>
                        <a:pt x="85" y="252"/>
                      </a:lnTo>
                      <a:lnTo>
                        <a:pt x="89" y="252"/>
                      </a:lnTo>
                      <a:lnTo>
                        <a:pt x="88" y="254"/>
                      </a:lnTo>
                      <a:lnTo>
                        <a:pt x="90" y="256"/>
                      </a:lnTo>
                      <a:lnTo>
                        <a:pt x="94" y="257"/>
                      </a:lnTo>
                      <a:lnTo>
                        <a:pt x="97" y="252"/>
                      </a:lnTo>
                      <a:lnTo>
                        <a:pt x="98" y="251"/>
                      </a:lnTo>
                      <a:lnTo>
                        <a:pt x="99" y="24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28" name="Freeform 831">
                  <a:extLst>
                    <a:ext uri="{FF2B5EF4-FFF2-40B4-BE49-F238E27FC236}">
                      <a16:creationId xmlns:a16="http://schemas.microsoft.com/office/drawing/2014/main" id="{5CCC6BEE-B143-4159-8013-D08EA8D3BF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36" y="2542"/>
                  <a:ext cx="107" cy="93"/>
                </a:xfrm>
                <a:custGeom>
                  <a:avLst/>
                  <a:gdLst>
                    <a:gd name="T0" fmla="*/ 104 w 107"/>
                    <a:gd name="T1" fmla="*/ 44 h 93"/>
                    <a:gd name="T2" fmla="*/ 103 w 107"/>
                    <a:gd name="T3" fmla="*/ 39 h 93"/>
                    <a:gd name="T4" fmla="*/ 101 w 107"/>
                    <a:gd name="T5" fmla="*/ 36 h 93"/>
                    <a:gd name="T6" fmla="*/ 90 w 107"/>
                    <a:gd name="T7" fmla="*/ 35 h 93"/>
                    <a:gd name="T8" fmla="*/ 76 w 107"/>
                    <a:gd name="T9" fmla="*/ 17 h 93"/>
                    <a:gd name="T10" fmla="*/ 78 w 107"/>
                    <a:gd name="T11" fmla="*/ 9 h 93"/>
                    <a:gd name="T12" fmla="*/ 79 w 107"/>
                    <a:gd name="T13" fmla="*/ 3 h 93"/>
                    <a:gd name="T14" fmla="*/ 75 w 107"/>
                    <a:gd name="T15" fmla="*/ 2 h 93"/>
                    <a:gd name="T16" fmla="*/ 68 w 107"/>
                    <a:gd name="T17" fmla="*/ 0 h 93"/>
                    <a:gd name="T18" fmla="*/ 57 w 107"/>
                    <a:gd name="T19" fmla="*/ 5 h 93"/>
                    <a:gd name="T20" fmla="*/ 43 w 107"/>
                    <a:gd name="T21" fmla="*/ 16 h 93"/>
                    <a:gd name="T22" fmla="*/ 34 w 107"/>
                    <a:gd name="T23" fmla="*/ 25 h 93"/>
                    <a:gd name="T24" fmla="*/ 24 w 107"/>
                    <a:gd name="T25" fmla="*/ 27 h 93"/>
                    <a:gd name="T26" fmla="*/ 20 w 107"/>
                    <a:gd name="T27" fmla="*/ 30 h 93"/>
                    <a:gd name="T28" fmla="*/ 15 w 107"/>
                    <a:gd name="T29" fmla="*/ 38 h 93"/>
                    <a:gd name="T30" fmla="*/ 12 w 107"/>
                    <a:gd name="T31" fmla="*/ 45 h 93"/>
                    <a:gd name="T32" fmla="*/ 4 w 107"/>
                    <a:gd name="T33" fmla="*/ 57 h 93"/>
                    <a:gd name="T34" fmla="*/ 3 w 107"/>
                    <a:gd name="T35" fmla="*/ 62 h 93"/>
                    <a:gd name="T36" fmla="*/ 0 w 107"/>
                    <a:gd name="T37" fmla="*/ 68 h 93"/>
                    <a:gd name="T38" fmla="*/ 1 w 107"/>
                    <a:gd name="T39" fmla="*/ 74 h 93"/>
                    <a:gd name="T40" fmla="*/ 1 w 107"/>
                    <a:gd name="T41" fmla="*/ 78 h 93"/>
                    <a:gd name="T42" fmla="*/ 10 w 107"/>
                    <a:gd name="T43" fmla="*/ 85 h 93"/>
                    <a:gd name="T44" fmla="*/ 13 w 107"/>
                    <a:gd name="T45" fmla="*/ 86 h 93"/>
                    <a:gd name="T46" fmla="*/ 19 w 107"/>
                    <a:gd name="T47" fmla="*/ 88 h 93"/>
                    <a:gd name="T48" fmla="*/ 25 w 107"/>
                    <a:gd name="T49" fmla="*/ 93 h 93"/>
                    <a:gd name="T50" fmla="*/ 31 w 107"/>
                    <a:gd name="T51" fmla="*/ 90 h 93"/>
                    <a:gd name="T52" fmla="*/ 35 w 107"/>
                    <a:gd name="T53" fmla="*/ 92 h 93"/>
                    <a:gd name="T54" fmla="*/ 37 w 107"/>
                    <a:gd name="T55" fmla="*/ 88 h 93"/>
                    <a:gd name="T56" fmla="*/ 34 w 107"/>
                    <a:gd name="T57" fmla="*/ 82 h 93"/>
                    <a:gd name="T58" fmla="*/ 34 w 107"/>
                    <a:gd name="T59" fmla="*/ 72 h 93"/>
                    <a:gd name="T60" fmla="*/ 49 w 107"/>
                    <a:gd name="T61" fmla="*/ 72 h 93"/>
                    <a:gd name="T62" fmla="*/ 58 w 107"/>
                    <a:gd name="T63" fmla="*/ 72 h 93"/>
                    <a:gd name="T64" fmla="*/ 66 w 107"/>
                    <a:gd name="T65" fmla="*/ 70 h 93"/>
                    <a:gd name="T66" fmla="*/ 71 w 107"/>
                    <a:gd name="T67" fmla="*/ 69 h 93"/>
                    <a:gd name="T68" fmla="*/ 72 w 107"/>
                    <a:gd name="T69" fmla="*/ 69 h 93"/>
                    <a:gd name="T70" fmla="*/ 87 w 107"/>
                    <a:gd name="T71" fmla="*/ 72 h 93"/>
                    <a:gd name="T72" fmla="*/ 90 w 107"/>
                    <a:gd name="T73" fmla="*/ 67 h 93"/>
                    <a:gd name="T74" fmla="*/ 93 w 107"/>
                    <a:gd name="T75" fmla="*/ 62 h 93"/>
                    <a:gd name="T76" fmla="*/ 96 w 107"/>
                    <a:gd name="T77" fmla="*/ 61 h 93"/>
                    <a:gd name="T78" fmla="*/ 103 w 107"/>
                    <a:gd name="T79" fmla="*/ 58 h 93"/>
                    <a:gd name="T80" fmla="*/ 107 w 107"/>
                    <a:gd name="T81" fmla="*/ 51 h 93"/>
                    <a:gd name="T82" fmla="*/ 103 w 107"/>
                    <a:gd name="T83" fmla="*/ 46 h 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07" h="93">
                      <a:moveTo>
                        <a:pt x="103" y="46"/>
                      </a:moveTo>
                      <a:lnTo>
                        <a:pt x="104" y="44"/>
                      </a:lnTo>
                      <a:lnTo>
                        <a:pt x="104" y="40"/>
                      </a:lnTo>
                      <a:lnTo>
                        <a:pt x="103" y="39"/>
                      </a:lnTo>
                      <a:lnTo>
                        <a:pt x="103" y="37"/>
                      </a:lnTo>
                      <a:lnTo>
                        <a:pt x="101" y="36"/>
                      </a:lnTo>
                      <a:lnTo>
                        <a:pt x="95" y="40"/>
                      </a:lnTo>
                      <a:lnTo>
                        <a:pt x="90" y="35"/>
                      </a:lnTo>
                      <a:lnTo>
                        <a:pt x="89" y="28"/>
                      </a:lnTo>
                      <a:lnTo>
                        <a:pt x="76" y="17"/>
                      </a:lnTo>
                      <a:lnTo>
                        <a:pt x="76" y="13"/>
                      </a:lnTo>
                      <a:lnTo>
                        <a:pt x="78" y="9"/>
                      </a:lnTo>
                      <a:lnTo>
                        <a:pt x="79" y="4"/>
                      </a:lnTo>
                      <a:lnTo>
                        <a:pt x="79" y="3"/>
                      </a:lnTo>
                      <a:lnTo>
                        <a:pt x="78" y="2"/>
                      </a:lnTo>
                      <a:lnTo>
                        <a:pt x="75" y="2"/>
                      </a:lnTo>
                      <a:lnTo>
                        <a:pt x="72" y="0"/>
                      </a:lnTo>
                      <a:lnTo>
                        <a:pt x="68" y="0"/>
                      </a:lnTo>
                      <a:lnTo>
                        <a:pt x="62" y="2"/>
                      </a:lnTo>
                      <a:lnTo>
                        <a:pt x="57" y="5"/>
                      </a:lnTo>
                      <a:lnTo>
                        <a:pt x="54" y="8"/>
                      </a:lnTo>
                      <a:lnTo>
                        <a:pt x="43" y="16"/>
                      </a:lnTo>
                      <a:lnTo>
                        <a:pt x="35" y="22"/>
                      </a:lnTo>
                      <a:lnTo>
                        <a:pt x="34" y="25"/>
                      </a:lnTo>
                      <a:lnTo>
                        <a:pt x="27" y="27"/>
                      </a:lnTo>
                      <a:lnTo>
                        <a:pt x="24" y="27"/>
                      </a:lnTo>
                      <a:lnTo>
                        <a:pt x="20" y="27"/>
                      </a:lnTo>
                      <a:lnTo>
                        <a:pt x="20" y="30"/>
                      </a:lnTo>
                      <a:lnTo>
                        <a:pt x="18" y="31"/>
                      </a:lnTo>
                      <a:lnTo>
                        <a:pt x="15" y="38"/>
                      </a:lnTo>
                      <a:lnTo>
                        <a:pt x="14" y="40"/>
                      </a:lnTo>
                      <a:lnTo>
                        <a:pt x="12" y="45"/>
                      </a:lnTo>
                      <a:lnTo>
                        <a:pt x="7" y="54"/>
                      </a:lnTo>
                      <a:lnTo>
                        <a:pt x="4" y="57"/>
                      </a:lnTo>
                      <a:lnTo>
                        <a:pt x="2" y="59"/>
                      </a:lnTo>
                      <a:lnTo>
                        <a:pt x="3" y="62"/>
                      </a:lnTo>
                      <a:lnTo>
                        <a:pt x="3" y="67"/>
                      </a:lnTo>
                      <a:lnTo>
                        <a:pt x="0" y="68"/>
                      </a:lnTo>
                      <a:lnTo>
                        <a:pt x="0" y="72"/>
                      </a:lnTo>
                      <a:lnTo>
                        <a:pt x="1" y="74"/>
                      </a:lnTo>
                      <a:lnTo>
                        <a:pt x="0" y="78"/>
                      </a:lnTo>
                      <a:lnTo>
                        <a:pt x="1" y="78"/>
                      </a:lnTo>
                      <a:lnTo>
                        <a:pt x="5" y="82"/>
                      </a:lnTo>
                      <a:lnTo>
                        <a:pt x="10" y="85"/>
                      </a:lnTo>
                      <a:lnTo>
                        <a:pt x="12" y="85"/>
                      </a:lnTo>
                      <a:lnTo>
                        <a:pt x="13" y="86"/>
                      </a:lnTo>
                      <a:lnTo>
                        <a:pt x="16" y="86"/>
                      </a:lnTo>
                      <a:lnTo>
                        <a:pt x="19" y="88"/>
                      </a:lnTo>
                      <a:lnTo>
                        <a:pt x="20" y="90"/>
                      </a:lnTo>
                      <a:lnTo>
                        <a:pt x="25" y="93"/>
                      </a:lnTo>
                      <a:lnTo>
                        <a:pt x="28" y="93"/>
                      </a:lnTo>
                      <a:lnTo>
                        <a:pt x="31" y="90"/>
                      </a:lnTo>
                      <a:lnTo>
                        <a:pt x="33" y="90"/>
                      </a:lnTo>
                      <a:lnTo>
                        <a:pt x="35" y="92"/>
                      </a:lnTo>
                      <a:lnTo>
                        <a:pt x="38" y="93"/>
                      </a:lnTo>
                      <a:lnTo>
                        <a:pt x="37" y="88"/>
                      </a:lnTo>
                      <a:lnTo>
                        <a:pt x="36" y="83"/>
                      </a:lnTo>
                      <a:lnTo>
                        <a:pt x="34" y="82"/>
                      </a:lnTo>
                      <a:lnTo>
                        <a:pt x="34" y="76"/>
                      </a:lnTo>
                      <a:lnTo>
                        <a:pt x="34" y="72"/>
                      </a:lnTo>
                      <a:lnTo>
                        <a:pt x="39" y="72"/>
                      </a:lnTo>
                      <a:lnTo>
                        <a:pt x="49" y="72"/>
                      </a:lnTo>
                      <a:lnTo>
                        <a:pt x="51" y="72"/>
                      </a:lnTo>
                      <a:lnTo>
                        <a:pt x="58" y="72"/>
                      </a:lnTo>
                      <a:lnTo>
                        <a:pt x="63" y="70"/>
                      </a:lnTo>
                      <a:lnTo>
                        <a:pt x="66" y="70"/>
                      </a:lnTo>
                      <a:lnTo>
                        <a:pt x="70" y="69"/>
                      </a:lnTo>
                      <a:lnTo>
                        <a:pt x="71" y="69"/>
                      </a:lnTo>
                      <a:lnTo>
                        <a:pt x="71" y="69"/>
                      </a:lnTo>
                      <a:lnTo>
                        <a:pt x="72" y="69"/>
                      </a:lnTo>
                      <a:lnTo>
                        <a:pt x="86" y="73"/>
                      </a:lnTo>
                      <a:lnTo>
                        <a:pt x="87" y="72"/>
                      </a:lnTo>
                      <a:lnTo>
                        <a:pt x="91" y="70"/>
                      </a:lnTo>
                      <a:lnTo>
                        <a:pt x="90" y="67"/>
                      </a:lnTo>
                      <a:lnTo>
                        <a:pt x="93" y="65"/>
                      </a:lnTo>
                      <a:lnTo>
                        <a:pt x="93" y="62"/>
                      </a:lnTo>
                      <a:lnTo>
                        <a:pt x="95" y="60"/>
                      </a:lnTo>
                      <a:lnTo>
                        <a:pt x="96" y="61"/>
                      </a:lnTo>
                      <a:lnTo>
                        <a:pt x="101" y="58"/>
                      </a:lnTo>
                      <a:lnTo>
                        <a:pt x="103" y="58"/>
                      </a:lnTo>
                      <a:lnTo>
                        <a:pt x="107" y="54"/>
                      </a:lnTo>
                      <a:lnTo>
                        <a:pt x="107" y="51"/>
                      </a:lnTo>
                      <a:lnTo>
                        <a:pt x="106" y="51"/>
                      </a:lnTo>
                      <a:lnTo>
                        <a:pt x="103" y="4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29" name="Freeform 832">
                  <a:extLst>
                    <a:ext uri="{FF2B5EF4-FFF2-40B4-BE49-F238E27FC236}">
                      <a16:creationId xmlns:a16="http://schemas.microsoft.com/office/drawing/2014/main" id="{864E95DD-31F0-450B-98CE-40387A82DB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64" y="2515"/>
                  <a:ext cx="92" cy="80"/>
                </a:xfrm>
                <a:custGeom>
                  <a:avLst/>
                  <a:gdLst>
                    <a:gd name="T0" fmla="*/ 29 w 92"/>
                    <a:gd name="T1" fmla="*/ 75 h 80"/>
                    <a:gd name="T2" fmla="*/ 36 w 92"/>
                    <a:gd name="T3" fmla="*/ 68 h 80"/>
                    <a:gd name="T4" fmla="*/ 53 w 92"/>
                    <a:gd name="T5" fmla="*/ 70 h 80"/>
                    <a:gd name="T6" fmla="*/ 55 w 92"/>
                    <a:gd name="T7" fmla="*/ 69 h 80"/>
                    <a:gd name="T8" fmla="*/ 70 w 92"/>
                    <a:gd name="T9" fmla="*/ 72 h 80"/>
                    <a:gd name="T10" fmla="*/ 77 w 92"/>
                    <a:gd name="T11" fmla="*/ 75 h 80"/>
                    <a:gd name="T12" fmla="*/ 84 w 92"/>
                    <a:gd name="T13" fmla="*/ 75 h 80"/>
                    <a:gd name="T14" fmla="*/ 88 w 92"/>
                    <a:gd name="T15" fmla="*/ 77 h 80"/>
                    <a:gd name="T16" fmla="*/ 91 w 92"/>
                    <a:gd name="T17" fmla="*/ 80 h 80"/>
                    <a:gd name="T18" fmla="*/ 92 w 92"/>
                    <a:gd name="T19" fmla="*/ 75 h 80"/>
                    <a:gd name="T20" fmla="*/ 88 w 92"/>
                    <a:gd name="T21" fmla="*/ 70 h 80"/>
                    <a:gd name="T22" fmla="*/ 88 w 92"/>
                    <a:gd name="T23" fmla="*/ 66 h 80"/>
                    <a:gd name="T24" fmla="*/ 86 w 92"/>
                    <a:gd name="T25" fmla="*/ 61 h 80"/>
                    <a:gd name="T26" fmla="*/ 83 w 92"/>
                    <a:gd name="T27" fmla="*/ 60 h 80"/>
                    <a:gd name="T28" fmla="*/ 80 w 92"/>
                    <a:gd name="T29" fmla="*/ 54 h 80"/>
                    <a:gd name="T30" fmla="*/ 76 w 92"/>
                    <a:gd name="T31" fmla="*/ 47 h 80"/>
                    <a:gd name="T32" fmla="*/ 77 w 92"/>
                    <a:gd name="T33" fmla="*/ 38 h 80"/>
                    <a:gd name="T34" fmla="*/ 74 w 92"/>
                    <a:gd name="T35" fmla="*/ 34 h 80"/>
                    <a:gd name="T36" fmla="*/ 70 w 92"/>
                    <a:gd name="T37" fmla="*/ 28 h 80"/>
                    <a:gd name="T38" fmla="*/ 67 w 92"/>
                    <a:gd name="T39" fmla="*/ 23 h 80"/>
                    <a:gd name="T40" fmla="*/ 64 w 92"/>
                    <a:gd name="T41" fmla="*/ 19 h 80"/>
                    <a:gd name="T42" fmla="*/ 60 w 92"/>
                    <a:gd name="T43" fmla="*/ 12 h 80"/>
                    <a:gd name="T44" fmla="*/ 57 w 92"/>
                    <a:gd name="T45" fmla="*/ 10 h 80"/>
                    <a:gd name="T46" fmla="*/ 54 w 92"/>
                    <a:gd name="T47" fmla="*/ 11 h 80"/>
                    <a:gd name="T48" fmla="*/ 51 w 92"/>
                    <a:gd name="T49" fmla="*/ 8 h 80"/>
                    <a:gd name="T50" fmla="*/ 45 w 92"/>
                    <a:gd name="T51" fmla="*/ 3 h 80"/>
                    <a:gd name="T52" fmla="*/ 36 w 92"/>
                    <a:gd name="T53" fmla="*/ 0 h 80"/>
                    <a:gd name="T54" fmla="*/ 21 w 92"/>
                    <a:gd name="T55" fmla="*/ 5 h 80"/>
                    <a:gd name="T56" fmla="*/ 15 w 92"/>
                    <a:gd name="T57" fmla="*/ 8 h 80"/>
                    <a:gd name="T58" fmla="*/ 13 w 92"/>
                    <a:gd name="T59" fmla="*/ 16 h 80"/>
                    <a:gd name="T60" fmla="*/ 0 w 92"/>
                    <a:gd name="T61" fmla="*/ 34 h 80"/>
                    <a:gd name="T62" fmla="*/ 9 w 92"/>
                    <a:gd name="T63" fmla="*/ 44 h 80"/>
                    <a:gd name="T64" fmla="*/ 11 w 92"/>
                    <a:gd name="T65" fmla="*/ 48 h 80"/>
                    <a:gd name="T66" fmla="*/ 13 w 92"/>
                    <a:gd name="T67" fmla="*/ 51 h 80"/>
                    <a:gd name="T68" fmla="*/ 12 w 92"/>
                    <a:gd name="T69" fmla="*/ 54 h 80"/>
                    <a:gd name="T70" fmla="*/ 19 w 92"/>
                    <a:gd name="T71" fmla="*/ 54 h 80"/>
                    <a:gd name="T72" fmla="*/ 27 w 92"/>
                    <a:gd name="T73" fmla="*/ 49 h 80"/>
                    <a:gd name="T74" fmla="*/ 33 w 92"/>
                    <a:gd name="T75" fmla="*/ 48 h 80"/>
                    <a:gd name="T76" fmla="*/ 42 w 92"/>
                    <a:gd name="T77" fmla="*/ 51 h 80"/>
                    <a:gd name="T78" fmla="*/ 50 w 92"/>
                    <a:gd name="T79" fmla="*/ 56 h 80"/>
                    <a:gd name="T80" fmla="*/ 53 w 92"/>
                    <a:gd name="T81" fmla="*/ 58 h 80"/>
                    <a:gd name="T82" fmla="*/ 49 w 92"/>
                    <a:gd name="T83" fmla="*/ 60 h 80"/>
                    <a:gd name="T84" fmla="*/ 40 w 92"/>
                    <a:gd name="T85" fmla="*/ 56 h 80"/>
                    <a:gd name="T86" fmla="*/ 34 w 92"/>
                    <a:gd name="T87" fmla="*/ 54 h 80"/>
                    <a:gd name="T88" fmla="*/ 30 w 92"/>
                    <a:gd name="T89" fmla="*/ 56 h 80"/>
                    <a:gd name="T90" fmla="*/ 28 w 92"/>
                    <a:gd name="T91" fmla="*/ 55 h 80"/>
                    <a:gd name="T92" fmla="*/ 22 w 92"/>
                    <a:gd name="T93" fmla="*/ 58 h 80"/>
                    <a:gd name="T94" fmla="*/ 11 w 92"/>
                    <a:gd name="T95" fmla="*/ 61 h 80"/>
                    <a:gd name="T96" fmla="*/ 9 w 92"/>
                    <a:gd name="T97" fmla="*/ 67 h 80"/>
                    <a:gd name="T98" fmla="*/ 9 w 92"/>
                    <a:gd name="T99" fmla="*/ 70 h 80"/>
                    <a:gd name="T100" fmla="*/ 17 w 92"/>
                    <a:gd name="T101" fmla="*/ 70 h 80"/>
                    <a:gd name="T102" fmla="*/ 12 w 92"/>
                    <a:gd name="T103" fmla="*/ 72 h 80"/>
                    <a:gd name="T104" fmla="*/ 11 w 92"/>
                    <a:gd name="T105" fmla="*/ 72 h 80"/>
                    <a:gd name="T106" fmla="*/ 14 w 92"/>
                    <a:gd name="T107" fmla="*/ 77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92" h="80">
                      <a:moveTo>
                        <a:pt x="19" y="74"/>
                      </a:moveTo>
                      <a:lnTo>
                        <a:pt x="29" y="75"/>
                      </a:lnTo>
                      <a:lnTo>
                        <a:pt x="31" y="71"/>
                      </a:lnTo>
                      <a:lnTo>
                        <a:pt x="36" y="68"/>
                      </a:lnTo>
                      <a:lnTo>
                        <a:pt x="49" y="68"/>
                      </a:lnTo>
                      <a:lnTo>
                        <a:pt x="53" y="70"/>
                      </a:lnTo>
                      <a:lnTo>
                        <a:pt x="53" y="70"/>
                      </a:lnTo>
                      <a:lnTo>
                        <a:pt x="55" y="69"/>
                      </a:lnTo>
                      <a:lnTo>
                        <a:pt x="64" y="69"/>
                      </a:lnTo>
                      <a:lnTo>
                        <a:pt x="70" y="72"/>
                      </a:lnTo>
                      <a:lnTo>
                        <a:pt x="72" y="75"/>
                      </a:lnTo>
                      <a:lnTo>
                        <a:pt x="77" y="75"/>
                      </a:lnTo>
                      <a:lnTo>
                        <a:pt x="81" y="77"/>
                      </a:lnTo>
                      <a:lnTo>
                        <a:pt x="84" y="75"/>
                      </a:lnTo>
                      <a:lnTo>
                        <a:pt x="86" y="75"/>
                      </a:lnTo>
                      <a:lnTo>
                        <a:pt x="88" y="77"/>
                      </a:lnTo>
                      <a:lnTo>
                        <a:pt x="91" y="78"/>
                      </a:lnTo>
                      <a:lnTo>
                        <a:pt x="91" y="80"/>
                      </a:lnTo>
                      <a:lnTo>
                        <a:pt x="92" y="78"/>
                      </a:lnTo>
                      <a:lnTo>
                        <a:pt x="92" y="75"/>
                      </a:lnTo>
                      <a:lnTo>
                        <a:pt x="88" y="72"/>
                      </a:lnTo>
                      <a:lnTo>
                        <a:pt x="88" y="70"/>
                      </a:lnTo>
                      <a:lnTo>
                        <a:pt x="88" y="68"/>
                      </a:lnTo>
                      <a:lnTo>
                        <a:pt x="88" y="66"/>
                      </a:lnTo>
                      <a:lnTo>
                        <a:pt x="87" y="64"/>
                      </a:lnTo>
                      <a:lnTo>
                        <a:pt x="86" y="61"/>
                      </a:lnTo>
                      <a:lnTo>
                        <a:pt x="85" y="60"/>
                      </a:lnTo>
                      <a:lnTo>
                        <a:pt x="83" y="60"/>
                      </a:lnTo>
                      <a:lnTo>
                        <a:pt x="81" y="58"/>
                      </a:lnTo>
                      <a:lnTo>
                        <a:pt x="80" y="54"/>
                      </a:lnTo>
                      <a:lnTo>
                        <a:pt x="76" y="50"/>
                      </a:lnTo>
                      <a:lnTo>
                        <a:pt x="76" y="47"/>
                      </a:lnTo>
                      <a:lnTo>
                        <a:pt x="78" y="41"/>
                      </a:lnTo>
                      <a:lnTo>
                        <a:pt x="77" y="38"/>
                      </a:lnTo>
                      <a:lnTo>
                        <a:pt x="77" y="35"/>
                      </a:lnTo>
                      <a:lnTo>
                        <a:pt x="74" y="34"/>
                      </a:lnTo>
                      <a:lnTo>
                        <a:pt x="74" y="31"/>
                      </a:lnTo>
                      <a:lnTo>
                        <a:pt x="70" y="28"/>
                      </a:lnTo>
                      <a:lnTo>
                        <a:pt x="67" y="27"/>
                      </a:lnTo>
                      <a:lnTo>
                        <a:pt x="67" y="23"/>
                      </a:lnTo>
                      <a:lnTo>
                        <a:pt x="64" y="23"/>
                      </a:lnTo>
                      <a:lnTo>
                        <a:pt x="64" y="19"/>
                      </a:lnTo>
                      <a:lnTo>
                        <a:pt x="60" y="16"/>
                      </a:lnTo>
                      <a:lnTo>
                        <a:pt x="60" y="12"/>
                      </a:lnTo>
                      <a:lnTo>
                        <a:pt x="59" y="10"/>
                      </a:lnTo>
                      <a:lnTo>
                        <a:pt x="57" y="10"/>
                      </a:lnTo>
                      <a:lnTo>
                        <a:pt x="56" y="10"/>
                      </a:lnTo>
                      <a:lnTo>
                        <a:pt x="54" y="11"/>
                      </a:lnTo>
                      <a:lnTo>
                        <a:pt x="51" y="10"/>
                      </a:lnTo>
                      <a:lnTo>
                        <a:pt x="51" y="8"/>
                      </a:lnTo>
                      <a:lnTo>
                        <a:pt x="48" y="3"/>
                      </a:lnTo>
                      <a:lnTo>
                        <a:pt x="45" y="3"/>
                      </a:lnTo>
                      <a:lnTo>
                        <a:pt x="38" y="0"/>
                      </a:lnTo>
                      <a:lnTo>
                        <a:pt x="36" y="0"/>
                      </a:lnTo>
                      <a:lnTo>
                        <a:pt x="28" y="3"/>
                      </a:lnTo>
                      <a:lnTo>
                        <a:pt x="21" y="5"/>
                      </a:lnTo>
                      <a:lnTo>
                        <a:pt x="18" y="8"/>
                      </a:lnTo>
                      <a:lnTo>
                        <a:pt x="15" y="8"/>
                      </a:lnTo>
                      <a:lnTo>
                        <a:pt x="13" y="10"/>
                      </a:lnTo>
                      <a:lnTo>
                        <a:pt x="13" y="16"/>
                      </a:lnTo>
                      <a:lnTo>
                        <a:pt x="9" y="23"/>
                      </a:lnTo>
                      <a:lnTo>
                        <a:pt x="0" y="34"/>
                      </a:lnTo>
                      <a:lnTo>
                        <a:pt x="5" y="38"/>
                      </a:lnTo>
                      <a:lnTo>
                        <a:pt x="9" y="44"/>
                      </a:lnTo>
                      <a:lnTo>
                        <a:pt x="11" y="45"/>
                      </a:lnTo>
                      <a:lnTo>
                        <a:pt x="11" y="48"/>
                      </a:lnTo>
                      <a:lnTo>
                        <a:pt x="10" y="49"/>
                      </a:lnTo>
                      <a:lnTo>
                        <a:pt x="13" y="51"/>
                      </a:lnTo>
                      <a:lnTo>
                        <a:pt x="12" y="53"/>
                      </a:lnTo>
                      <a:lnTo>
                        <a:pt x="12" y="54"/>
                      </a:lnTo>
                      <a:lnTo>
                        <a:pt x="18" y="54"/>
                      </a:lnTo>
                      <a:lnTo>
                        <a:pt x="19" y="54"/>
                      </a:lnTo>
                      <a:lnTo>
                        <a:pt x="22" y="54"/>
                      </a:lnTo>
                      <a:lnTo>
                        <a:pt x="27" y="49"/>
                      </a:lnTo>
                      <a:lnTo>
                        <a:pt x="31" y="47"/>
                      </a:lnTo>
                      <a:lnTo>
                        <a:pt x="33" y="48"/>
                      </a:lnTo>
                      <a:lnTo>
                        <a:pt x="37" y="48"/>
                      </a:lnTo>
                      <a:lnTo>
                        <a:pt x="42" y="51"/>
                      </a:lnTo>
                      <a:lnTo>
                        <a:pt x="44" y="51"/>
                      </a:lnTo>
                      <a:lnTo>
                        <a:pt x="50" y="56"/>
                      </a:lnTo>
                      <a:lnTo>
                        <a:pt x="52" y="56"/>
                      </a:lnTo>
                      <a:lnTo>
                        <a:pt x="53" y="58"/>
                      </a:lnTo>
                      <a:lnTo>
                        <a:pt x="52" y="60"/>
                      </a:lnTo>
                      <a:lnTo>
                        <a:pt x="49" y="60"/>
                      </a:lnTo>
                      <a:lnTo>
                        <a:pt x="44" y="58"/>
                      </a:lnTo>
                      <a:lnTo>
                        <a:pt x="40" y="56"/>
                      </a:lnTo>
                      <a:lnTo>
                        <a:pt x="37" y="56"/>
                      </a:lnTo>
                      <a:lnTo>
                        <a:pt x="34" y="54"/>
                      </a:lnTo>
                      <a:lnTo>
                        <a:pt x="33" y="54"/>
                      </a:lnTo>
                      <a:lnTo>
                        <a:pt x="30" y="56"/>
                      </a:lnTo>
                      <a:lnTo>
                        <a:pt x="29" y="55"/>
                      </a:lnTo>
                      <a:lnTo>
                        <a:pt x="28" y="55"/>
                      </a:lnTo>
                      <a:lnTo>
                        <a:pt x="25" y="58"/>
                      </a:lnTo>
                      <a:lnTo>
                        <a:pt x="22" y="58"/>
                      </a:lnTo>
                      <a:lnTo>
                        <a:pt x="19" y="61"/>
                      </a:lnTo>
                      <a:lnTo>
                        <a:pt x="11" y="61"/>
                      </a:lnTo>
                      <a:lnTo>
                        <a:pt x="9" y="63"/>
                      </a:lnTo>
                      <a:lnTo>
                        <a:pt x="9" y="67"/>
                      </a:lnTo>
                      <a:lnTo>
                        <a:pt x="8" y="69"/>
                      </a:lnTo>
                      <a:lnTo>
                        <a:pt x="9" y="70"/>
                      </a:lnTo>
                      <a:lnTo>
                        <a:pt x="12" y="68"/>
                      </a:lnTo>
                      <a:lnTo>
                        <a:pt x="17" y="70"/>
                      </a:lnTo>
                      <a:lnTo>
                        <a:pt x="14" y="72"/>
                      </a:lnTo>
                      <a:lnTo>
                        <a:pt x="12" y="72"/>
                      </a:lnTo>
                      <a:lnTo>
                        <a:pt x="10" y="71"/>
                      </a:lnTo>
                      <a:lnTo>
                        <a:pt x="11" y="72"/>
                      </a:lnTo>
                      <a:lnTo>
                        <a:pt x="11" y="75"/>
                      </a:lnTo>
                      <a:lnTo>
                        <a:pt x="14" y="77"/>
                      </a:lnTo>
                      <a:lnTo>
                        <a:pt x="19" y="7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0" name="Freeform 833">
                  <a:extLst>
                    <a:ext uri="{FF2B5EF4-FFF2-40B4-BE49-F238E27FC236}">
                      <a16:creationId xmlns:a16="http://schemas.microsoft.com/office/drawing/2014/main" id="{E760338D-886E-43B9-9EB1-7BCFF5CC8D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72" y="2562"/>
                  <a:ext cx="45" cy="16"/>
                </a:xfrm>
                <a:custGeom>
                  <a:avLst/>
                  <a:gdLst>
                    <a:gd name="T0" fmla="*/ 11 w 45"/>
                    <a:gd name="T1" fmla="*/ 14 h 16"/>
                    <a:gd name="T2" fmla="*/ 14 w 45"/>
                    <a:gd name="T3" fmla="*/ 11 h 16"/>
                    <a:gd name="T4" fmla="*/ 17 w 45"/>
                    <a:gd name="T5" fmla="*/ 11 h 16"/>
                    <a:gd name="T6" fmla="*/ 20 w 45"/>
                    <a:gd name="T7" fmla="*/ 8 h 16"/>
                    <a:gd name="T8" fmla="*/ 21 w 45"/>
                    <a:gd name="T9" fmla="*/ 8 h 16"/>
                    <a:gd name="T10" fmla="*/ 22 w 45"/>
                    <a:gd name="T11" fmla="*/ 9 h 16"/>
                    <a:gd name="T12" fmla="*/ 25 w 45"/>
                    <a:gd name="T13" fmla="*/ 7 h 16"/>
                    <a:gd name="T14" fmla="*/ 26 w 45"/>
                    <a:gd name="T15" fmla="*/ 7 h 16"/>
                    <a:gd name="T16" fmla="*/ 29 w 45"/>
                    <a:gd name="T17" fmla="*/ 9 h 16"/>
                    <a:gd name="T18" fmla="*/ 32 w 45"/>
                    <a:gd name="T19" fmla="*/ 9 h 16"/>
                    <a:gd name="T20" fmla="*/ 36 w 45"/>
                    <a:gd name="T21" fmla="*/ 11 h 16"/>
                    <a:gd name="T22" fmla="*/ 41 w 45"/>
                    <a:gd name="T23" fmla="*/ 13 h 16"/>
                    <a:gd name="T24" fmla="*/ 44 w 45"/>
                    <a:gd name="T25" fmla="*/ 13 h 16"/>
                    <a:gd name="T26" fmla="*/ 45 w 45"/>
                    <a:gd name="T27" fmla="*/ 11 h 16"/>
                    <a:gd name="T28" fmla="*/ 44 w 45"/>
                    <a:gd name="T29" fmla="*/ 9 h 16"/>
                    <a:gd name="T30" fmla="*/ 42 w 45"/>
                    <a:gd name="T31" fmla="*/ 9 h 16"/>
                    <a:gd name="T32" fmla="*/ 36 w 45"/>
                    <a:gd name="T33" fmla="*/ 4 h 16"/>
                    <a:gd name="T34" fmla="*/ 34 w 45"/>
                    <a:gd name="T35" fmla="*/ 4 h 16"/>
                    <a:gd name="T36" fmla="*/ 29 w 45"/>
                    <a:gd name="T37" fmla="*/ 1 h 16"/>
                    <a:gd name="T38" fmla="*/ 25 w 45"/>
                    <a:gd name="T39" fmla="*/ 1 h 16"/>
                    <a:gd name="T40" fmla="*/ 23 w 45"/>
                    <a:gd name="T41" fmla="*/ 0 h 16"/>
                    <a:gd name="T42" fmla="*/ 19 w 45"/>
                    <a:gd name="T43" fmla="*/ 2 h 16"/>
                    <a:gd name="T44" fmla="*/ 14 w 45"/>
                    <a:gd name="T45" fmla="*/ 7 h 16"/>
                    <a:gd name="T46" fmla="*/ 11 w 45"/>
                    <a:gd name="T47" fmla="*/ 7 h 16"/>
                    <a:gd name="T48" fmla="*/ 10 w 45"/>
                    <a:gd name="T49" fmla="*/ 7 h 16"/>
                    <a:gd name="T50" fmla="*/ 4 w 45"/>
                    <a:gd name="T51" fmla="*/ 7 h 16"/>
                    <a:gd name="T52" fmla="*/ 4 w 45"/>
                    <a:gd name="T53" fmla="*/ 11 h 16"/>
                    <a:gd name="T54" fmla="*/ 8 w 45"/>
                    <a:gd name="T55" fmla="*/ 12 h 16"/>
                    <a:gd name="T56" fmla="*/ 11 w 45"/>
                    <a:gd name="T57" fmla="*/ 11 h 16"/>
                    <a:gd name="T58" fmla="*/ 9 w 45"/>
                    <a:gd name="T59" fmla="*/ 14 h 16"/>
                    <a:gd name="T60" fmla="*/ 5 w 45"/>
                    <a:gd name="T61" fmla="*/ 14 h 16"/>
                    <a:gd name="T62" fmla="*/ 2 w 45"/>
                    <a:gd name="T63" fmla="*/ 10 h 16"/>
                    <a:gd name="T64" fmla="*/ 0 w 45"/>
                    <a:gd name="T65" fmla="*/ 13 h 16"/>
                    <a:gd name="T66" fmla="*/ 1 w 45"/>
                    <a:gd name="T67" fmla="*/ 15 h 16"/>
                    <a:gd name="T68" fmla="*/ 1 w 45"/>
                    <a:gd name="T69" fmla="*/ 16 h 16"/>
                    <a:gd name="T70" fmla="*/ 3 w 45"/>
                    <a:gd name="T71" fmla="*/ 14 h 16"/>
                    <a:gd name="T72" fmla="*/ 11 w 45"/>
                    <a:gd name="T73" fmla="*/ 14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45" h="16">
                      <a:moveTo>
                        <a:pt x="11" y="14"/>
                      </a:moveTo>
                      <a:lnTo>
                        <a:pt x="14" y="11"/>
                      </a:lnTo>
                      <a:lnTo>
                        <a:pt x="17" y="11"/>
                      </a:lnTo>
                      <a:lnTo>
                        <a:pt x="20" y="8"/>
                      </a:lnTo>
                      <a:lnTo>
                        <a:pt x="21" y="8"/>
                      </a:lnTo>
                      <a:lnTo>
                        <a:pt x="22" y="9"/>
                      </a:lnTo>
                      <a:lnTo>
                        <a:pt x="25" y="7"/>
                      </a:lnTo>
                      <a:lnTo>
                        <a:pt x="26" y="7"/>
                      </a:lnTo>
                      <a:lnTo>
                        <a:pt x="29" y="9"/>
                      </a:lnTo>
                      <a:lnTo>
                        <a:pt x="32" y="9"/>
                      </a:lnTo>
                      <a:lnTo>
                        <a:pt x="36" y="11"/>
                      </a:lnTo>
                      <a:lnTo>
                        <a:pt x="41" y="13"/>
                      </a:lnTo>
                      <a:lnTo>
                        <a:pt x="44" y="13"/>
                      </a:lnTo>
                      <a:lnTo>
                        <a:pt x="45" y="11"/>
                      </a:lnTo>
                      <a:lnTo>
                        <a:pt x="44" y="9"/>
                      </a:lnTo>
                      <a:lnTo>
                        <a:pt x="42" y="9"/>
                      </a:lnTo>
                      <a:lnTo>
                        <a:pt x="36" y="4"/>
                      </a:lnTo>
                      <a:lnTo>
                        <a:pt x="34" y="4"/>
                      </a:lnTo>
                      <a:lnTo>
                        <a:pt x="29" y="1"/>
                      </a:lnTo>
                      <a:lnTo>
                        <a:pt x="25" y="1"/>
                      </a:lnTo>
                      <a:lnTo>
                        <a:pt x="23" y="0"/>
                      </a:lnTo>
                      <a:lnTo>
                        <a:pt x="19" y="2"/>
                      </a:lnTo>
                      <a:lnTo>
                        <a:pt x="14" y="7"/>
                      </a:lnTo>
                      <a:lnTo>
                        <a:pt x="11" y="7"/>
                      </a:lnTo>
                      <a:lnTo>
                        <a:pt x="10" y="7"/>
                      </a:lnTo>
                      <a:lnTo>
                        <a:pt x="4" y="7"/>
                      </a:lnTo>
                      <a:lnTo>
                        <a:pt x="4" y="11"/>
                      </a:lnTo>
                      <a:lnTo>
                        <a:pt x="8" y="12"/>
                      </a:lnTo>
                      <a:lnTo>
                        <a:pt x="11" y="11"/>
                      </a:lnTo>
                      <a:lnTo>
                        <a:pt x="9" y="14"/>
                      </a:lnTo>
                      <a:lnTo>
                        <a:pt x="5" y="14"/>
                      </a:lnTo>
                      <a:lnTo>
                        <a:pt x="2" y="10"/>
                      </a:lnTo>
                      <a:lnTo>
                        <a:pt x="0" y="13"/>
                      </a:lnTo>
                      <a:lnTo>
                        <a:pt x="1" y="15"/>
                      </a:lnTo>
                      <a:lnTo>
                        <a:pt x="1" y="16"/>
                      </a:lnTo>
                      <a:lnTo>
                        <a:pt x="3" y="14"/>
                      </a:lnTo>
                      <a:lnTo>
                        <a:pt x="11" y="1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1" name="Freeform 834">
                  <a:extLst>
                    <a:ext uri="{FF2B5EF4-FFF2-40B4-BE49-F238E27FC236}">
                      <a16:creationId xmlns:a16="http://schemas.microsoft.com/office/drawing/2014/main" id="{7BD6828B-AE9E-481A-9A6C-870E7B117E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75" y="2583"/>
                  <a:ext cx="43" cy="32"/>
                </a:xfrm>
                <a:custGeom>
                  <a:avLst/>
                  <a:gdLst>
                    <a:gd name="T0" fmla="*/ 32 w 43"/>
                    <a:gd name="T1" fmla="*/ 26 h 32"/>
                    <a:gd name="T2" fmla="*/ 36 w 43"/>
                    <a:gd name="T3" fmla="*/ 24 h 32"/>
                    <a:gd name="T4" fmla="*/ 40 w 43"/>
                    <a:gd name="T5" fmla="*/ 23 h 32"/>
                    <a:gd name="T6" fmla="*/ 43 w 43"/>
                    <a:gd name="T7" fmla="*/ 21 h 32"/>
                    <a:gd name="T8" fmla="*/ 43 w 43"/>
                    <a:gd name="T9" fmla="*/ 17 h 32"/>
                    <a:gd name="T10" fmla="*/ 42 w 43"/>
                    <a:gd name="T11" fmla="*/ 15 h 32"/>
                    <a:gd name="T12" fmla="*/ 41 w 43"/>
                    <a:gd name="T13" fmla="*/ 10 h 32"/>
                    <a:gd name="T14" fmla="*/ 42 w 43"/>
                    <a:gd name="T15" fmla="*/ 7 h 32"/>
                    <a:gd name="T16" fmla="*/ 42 w 43"/>
                    <a:gd name="T17" fmla="*/ 2 h 32"/>
                    <a:gd name="T18" fmla="*/ 38 w 43"/>
                    <a:gd name="T19" fmla="*/ 0 h 32"/>
                    <a:gd name="T20" fmla="*/ 25 w 43"/>
                    <a:gd name="T21" fmla="*/ 0 h 32"/>
                    <a:gd name="T22" fmla="*/ 20 w 43"/>
                    <a:gd name="T23" fmla="*/ 3 h 32"/>
                    <a:gd name="T24" fmla="*/ 18 w 43"/>
                    <a:gd name="T25" fmla="*/ 7 h 32"/>
                    <a:gd name="T26" fmla="*/ 8 w 43"/>
                    <a:gd name="T27" fmla="*/ 6 h 32"/>
                    <a:gd name="T28" fmla="*/ 3 w 43"/>
                    <a:gd name="T29" fmla="*/ 9 h 32"/>
                    <a:gd name="T30" fmla="*/ 0 w 43"/>
                    <a:gd name="T31" fmla="*/ 7 h 32"/>
                    <a:gd name="T32" fmla="*/ 0 w 43"/>
                    <a:gd name="T33" fmla="*/ 7 h 32"/>
                    <a:gd name="T34" fmla="*/ 1 w 43"/>
                    <a:gd name="T35" fmla="*/ 11 h 32"/>
                    <a:gd name="T36" fmla="*/ 6 w 43"/>
                    <a:gd name="T37" fmla="*/ 11 h 32"/>
                    <a:gd name="T38" fmla="*/ 8 w 43"/>
                    <a:gd name="T39" fmla="*/ 11 h 32"/>
                    <a:gd name="T40" fmla="*/ 5 w 43"/>
                    <a:gd name="T41" fmla="*/ 13 h 32"/>
                    <a:gd name="T42" fmla="*/ 8 w 43"/>
                    <a:gd name="T43" fmla="*/ 16 h 32"/>
                    <a:gd name="T44" fmla="*/ 11 w 43"/>
                    <a:gd name="T45" fmla="*/ 16 h 32"/>
                    <a:gd name="T46" fmla="*/ 11 w 43"/>
                    <a:gd name="T47" fmla="*/ 18 h 32"/>
                    <a:gd name="T48" fmla="*/ 13 w 43"/>
                    <a:gd name="T49" fmla="*/ 18 h 32"/>
                    <a:gd name="T50" fmla="*/ 17 w 43"/>
                    <a:gd name="T51" fmla="*/ 17 h 32"/>
                    <a:gd name="T52" fmla="*/ 20 w 43"/>
                    <a:gd name="T53" fmla="*/ 16 h 32"/>
                    <a:gd name="T54" fmla="*/ 24 w 43"/>
                    <a:gd name="T55" fmla="*/ 18 h 32"/>
                    <a:gd name="T56" fmla="*/ 22 w 43"/>
                    <a:gd name="T57" fmla="*/ 20 h 32"/>
                    <a:gd name="T58" fmla="*/ 15 w 43"/>
                    <a:gd name="T59" fmla="*/ 20 h 32"/>
                    <a:gd name="T60" fmla="*/ 16 w 43"/>
                    <a:gd name="T61" fmla="*/ 21 h 32"/>
                    <a:gd name="T62" fmla="*/ 18 w 43"/>
                    <a:gd name="T63" fmla="*/ 21 h 32"/>
                    <a:gd name="T64" fmla="*/ 20 w 43"/>
                    <a:gd name="T65" fmla="*/ 23 h 32"/>
                    <a:gd name="T66" fmla="*/ 19 w 43"/>
                    <a:gd name="T67" fmla="*/ 24 h 32"/>
                    <a:gd name="T68" fmla="*/ 21 w 43"/>
                    <a:gd name="T69" fmla="*/ 25 h 32"/>
                    <a:gd name="T70" fmla="*/ 18 w 43"/>
                    <a:gd name="T71" fmla="*/ 29 h 32"/>
                    <a:gd name="T72" fmla="*/ 23 w 43"/>
                    <a:gd name="T73" fmla="*/ 28 h 32"/>
                    <a:gd name="T74" fmla="*/ 23 w 43"/>
                    <a:gd name="T75" fmla="*/ 31 h 32"/>
                    <a:gd name="T76" fmla="*/ 24 w 43"/>
                    <a:gd name="T77" fmla="*/ 32 h 32"/>
                    <a:gd name="T78" fmla="*/ 27 w 43"/>
                    <a:gd name="T79" fmla="*/ 31 h 32"/>
                    <a:gd name="T80" fmla="*/ 29 w 43"/>
                    <a:gd name="T81" fmla="*/ 27 h 32"/>
                    <a:gd name="T82" fmla="*/ 32 w 43"/>
                    <a:gd name="T83" fmla="*/ 26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43" h="32">
                      <a:moveTo>
                        <a:pt x="32" y="26"/>
                      </a:moveTo>
                      <a:lnTo>
                        <a:pt x="36" y="24"/>
                      </a:lnTo>
                      <a:lnTo>
                        <a:pt x="40" y="23"/>
                      </a:lnTo>
                      <a:lnTo>
                        <a:pt x="43" y="21"/>
                      </a:lnTo>
                      <a:lnTo>
                        <a:pt x="43" y="17"/>
                      </a:lnTo>
                      <a:lnTo>
                        <a:pt x="42" y="15"/>
                      </a:lnTo>
                      <a:lnTo>
                        <a:pt x="41" y="10"/>
                      </a:lnTo>
                      <a:lnTo>
                        <a:pt x="42" y="7"/>
                      </a:lnTo>
                      <a:lnTo>
                        <a:pt x="42" y="2"/>
                      </a:lnTo>
                      <a:lnTo>
                        <a:pt x="38" y="0"/>
                      </a:lnTo>
                      <a:lnTo>
                        <a:pt x="25" y="0"/>
                      </a:lnTo>
                      <a:lnTo>
                        <a:pt x="20" y="3"/>
                      </a:lnTo>
                      <a:lnTo>
                        <a:pt x="18" y="7"/>
                      </a:lnTo>
                      <a:lnTo>
                        <a:pt x="8" y="6"/>
                      </a:lnTo>
                      <a:lnTo>
                        <a:pt x="3" y="9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1" y="11"/>
                      </a:lnTo>
                      <a:lnTo>
                        <a:pt x="6" y="11"/>
                      </a:lnTo>
                      <a:lnTo>
                        <a:pt x="8" y="11"/>
                      </a:lnTo>
                      <a:lnTo>
                        <a:pt x="5" y="13"/>
                      </a:lnTo>
                      <a:lnTo>
                        <a:pt x="8" y="16"/>
                      </a:lnTo>
                      <a:lnTo>
                        <a:pt x="11" y="16"/>
                      </a:lnTo>
                      <a:lnTo>
                        <a:pt x="11" y="18"/>
                      </a:lnTo>
                      <a:lnTo>
                        <a:pt x="13" y="18"/>
                      </a:lnTo>
                      <a:lnTo>
                        <a:pt x="17" y="17"/>
                      </a:lnTo>
                      <a:lnTo>
                        <a:pt x="20" y="16"/>
                      </a:lnTo>
                      <a:lnTo>
                        <a:pt x="24" y="18"/>
                      </a:lnTo>
                      <a:lnTo>
                        <a:pt x="22" y="20"/>
                      </a:lnTo>
                      <a:lnTo>
                        <a:pt x="15" y="20"/>
                      </a:lnTo>
                      <a:lnTo>
                        <a:pt x="16" y="21"/>
                      </a:lnTo>
                      <a:lnTo>
                        <a:pt x="18" y="21"/>
                      </a:lnTo>
                      <a:lnTo>
                        <a:pt x="20" y="23"/>
                      </a:lnTo>
                      <a:lnTo>
                        <a:pt x="19" y="24"/>
                      </a:lnTo>
                      <a:lnTo>
                        <a:pt x="21" y="25"/>
                      </a:lnTo>
                      <a:lnTo>
                        <a:pt x="18" y="29"/>
                      </a:lnTo>
                      <a:lnTo>
                        <a:pt x="23" y="28"/>
                      </a:lnTo>
                      <a:lnTo>
                        <a:pt x="23" y="31"/>
                      </a:lnTo>
                      <a:lnTo>
                        <a:pt x="24" y="32"/>
                      </a:lnTo>
                      <a:lnTo>
                        <a:pt x="27" y="31"/>
                      </a:lnTo>
                      <a:lnTo>
                        <a:pt x="29" y="27"/>
                      </a:lnTo>
                      <a:lnTo>
                        <a:pt x="32" y="2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2" name="Freeform 835">
                  <a:extLst>
                    <a:ext uri="{FF2B5EF4-FFF2-40B4-BE49-F238E27FC236}">
                      <a16:creationId xmlns:a16="http://schemas.microsoft.com/office/drawing/2014/main" id="{D83069A0-7540-48D2-B39D-B12C756858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63" y="2699"/>
                  <a:ext cx="5" cy="4"/>
                </a:xfrm>
                <a:custGeom>
                  <a:avLst/>
                  <a:gdLst>
                    <a:gd name="T0" fmla="*/ 5 w 5"/>
                    <a:gd name="T1" fmla="*/ 4 h 4"/>
                    <a:gd name="T2" fmla="*/ 5 w 5"/>
                    <a:gd name="T3" fmla="*/ 4 h 4"/>
                    <a:gd name="T4" fmla="*/ 0 w 5"/>
                    <a:gd name="T5" fmla="*/ 0 h 4"/>
                    <a:gd name="T6" fmla="*/ 5 w 5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4">
                      <a:moveTo>
                        <a:pt x="5" y="4"/>
                      </a:moveTo>
                      <a:lnTo>
                        <a:pt x="5" y="4"/>
                      </a:lnTo>
                      <a:lnTo>
                        <a:pt x="0" y="0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3" name="Freeform 836">
                  <a:extLst>
                    <a:ext uri="{FF2B5EF4-FFF2-40B4-BE49-F238E27FC236}">
                      <a16:creationId xmlns:a16="http://schemas.microsoft.com/office/drawing/2014/main" id="{975580E8-67AD-43DA-BB47-7E593CF7E4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6" y="2688"/>
                  <a:ext cx="0" cy="1"/>
                </a:xfrm>
                <a:custGeom>
                  <a:avLst/>
                  <a:gdLst>
                    <a:gd name="T0" fmla="*/ 0 h 1"/>
                    <a:gd name="T1" fmla="*/ 1 h 1"/>
                    <a:gd name="T2" fmla="*/ 0 h 1"/>
                    <a:gd name="T3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4" name="Freeform 837">
                  <a:extLst>
                    <a:ext uri="{FF2B5EF4-FFF2-40B4-BE49-F238E27FC236}">
                      <a16:creationId xmlns:a16="http://schemas.microsoft.com/office/drawing/2014/main" id="{933FEE3A-70EF-4317-B6E7-33EB0192B2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02" y="2584"/>
                  <a:ext cx="100" cy="96"/>
                </a:xfrm>
                <a:custGeom>
                  <a:avLst/>
                  <a:gdLst>
                    <a:gd name="T0" fmla="*/ 30 w 100"/>
                    <a:gd name="T1" fmla="*/ 55 h 96"/>
                    <a:gd name="T2" fmla="*/ 36 w 100"/>
                    <a:gd name="T3" fmla="*/ 48 h 96"/>
                    <a:gd name="T4" fmla="*/ 52 w 100"/>
                    <a:gd name="T5" fmla="*/ 46 h 96"/>
                    <a:gd name="T6" fmla="*/ 56 w 100"/>
                    <a:gd name="T7" fmla="*/ 54 h 96"/>
                    <a:gd name="T8" fmla="*/ 58 w 100"/>
                    <a:gd name="T9" fmla="*/ 64 h 96"/>
                    <a:gd name="T10" fmla="*/ 61 w 100"/>
                    <a:gd name="T11" fmla="*/ 69 h 96"/>
                    <a:gd name="T12" fmla="*/ 59 w 100"/>
                    <a:gd name="T13" fmla="*/ 73 h 96"/>
                    <a:gd name="T14" fmla="*/ 61 w 100"/>
                    <a:gd name="T15" fmla="*/ 75 h 96"/>
                    <a:gd name="T16" fmla="*/ 65 w 100"/>
                    <a:gd name="T17" fmla="*/ 75 h 96"/>
                    <a:gd name="T18" fmla="*/ 74 w 100"/>
                    <a:gd name="T19" fmla="*/ 74 h 96"/>
                    <a:gd name="T20" fmla="*/ 78 w 100"/>
                    <a:gd name="T21" fmla="*/ 79 h 96"/>
                    <a:gd name="T22" fmla="*/ 78 w 100"/>
                    <a:gd name="T23" fmla="*/ 89 h 96"/>
                    <a:gd name="T24" fmla="*/ 82 w 100"/>
                    <a:gd name="T25" fmla="*/ 94 h 96"/>
                    <a:gd name="T26" fmla="*/ 88 w 100"/>
                    <a:gd name="T27" fmla="*/ 91 h 96"/>
                    <a:gd name="T28" fmla="*/ 91 w 100"/>
                    <a:gd name="T29" fmla="*/ 95 h 96"/>
                    <a:gd name="T30" fmla="*/ 92 w 100"/>
                    <a:gd name="T31" fmla="*/ 95 h 96"/>
                    <a:gd name="T32" fmla="*/ 98 w 100"/>
                    <a:gd name="T33" fmla="*/ 84 h 96"/>
                    <a:gd name="T34" fmla="*/ 97 w 100"/>
                    <a:gd name="T35" fmla="*/ 79 h 96"/>
                    <a:gd name="T36" fmla="*/ 95 w 100"/>
                    <a:gd name="T37" fmla="*/ 73 h 96"/>
                    <a:gd name="T38" fmla="*/ 99 w 100"/>
                    <a:gd name="T39" fmla="*/ 72 h 96"/>
                    <a:gd name="T40" fmla="*/ 97 w 100"/>
                    <a:gd name="T41" fmla="*/ 66 h 96"/>
                    <a:gd name="T42" fmla="*/ 95 w 100"/>
                    <a:gd name="T43" fmla="*/ 59 h 96"/>
                    <a:gd name="T44" fmla="*/ 95 w 100"/>
                    <a:gd name="T45" fmla="*/ 48 h 96"/>
                    <a:gd name="T46" fmla="*/ 94 w 100"/>
                    <a:gd name="T47" fmla="*/ 44 h 96"/>
                    <a:gd name="T48" fmla="*/ 100 w 100"/>
                    <a:gd name="T49" fmla="*/ 41 h 96"/>
                    <a:gd name="T50" fmla="*/ 99 w 100"/>
                    <a:gd name="T51" fmla="*/ 37 h 96"/>
                    <a:gd name="T52" fmla="*/ 95 w 100"/>
                    <a:gd name="T53" fmla="*/ 35 h 96"/>
                    <a:gd name="T54" fmla="*/ 95 w 100"/>
                    <a:gd name="T55" fmla="*/ 30 h 96"/>
                    <a:gd name="T56" fmla="*/ 91 w 100"/>
                    <a:gd name="T57" fmla="*/ 32 h 96"/>
                    <a:gd name="T58" fmla="*/ 90 w 100"/>
                    <a:gd name="T59" fmla="*/ 28 h 96"/>
                    <a:gd name="T60" fmla="*/ 92 w 100"/>
                    <a:gd name="T61" fmla="*/ 22 h 96"/>
                    <a:gd name="T62" fmla="*/ 88 w 100"/>
                    <a:gd name="T63" fmla="*/ 20 h 96"/>
                    <a:gd name="T64" fmla="*/ 87 w 100"/>
                    <a:gd name="T65" fmla="*/ 11 h 96"/>
                    <a:gd name="T66" fmla="*/ 84 w 100"/>
                    <a:gd name="T67" fmla="*/ 6 h 96"/>
                    <a:gd name="T68" fmla="*/ 80 w 100"/>
                    <a:gd name="T69" fmla="*/ 9 h 96"/>
                    <a:gd name="T70" fmla="*/ 74 w 100"/>
                    <a:gd name="T71" fmla="*/ 7 h 96"/>
                    <a:gd name="T72" fmla="*/ 69 w 100"/>
                    <a:gd name="T73" fmla="*/ 12 h 96"/>
                    <a:gd name="T74" fmla="*/ 63 w 100"/>
                    <a:gd name="T75" fmla="*/ 14 h 96"/>
                    <a:gd name="T76" fmla="*/ 57 w 100"/>
                    <a:gd name="T77" fmla="*/ 10 h 96"/>
                    <a:gd name="T78" fmla="*/ 53 w 100"/>
                    <a:gd name="T79" fmla="*/ 11 h 96"/>
                    <a:gd name="T80" fmla="*/ 53 w 100"/>
                    <a:gd name="T81" fmla="*/ 9 h 96"/>
                    <a:gd name="T82" fmla="*/ 48 w 100"/>
                    <a:gd name="T83" fmla="*/ 6 h 96"/>
                    <a:gd name="T84" fmla="*/ 43 w 100"/>
                    <a:gd name="T85" fmla="*/ 8 h 96"/>
                    <a:gd name="T86" fmla="*/ 34 w 100"/>
                    <a:gd name="T87" fmla="*/ 6 h 96"/>
                    <a:gd name="T88" fmla="*/ 26 w 100"/>
                    <a:gd name="T89" fmla="*/ 0 h 96"/>
                    <a:gd name="T90" fmla="*/ 15 w 100"/>
                    <a:gd name="T91" fmla="*/ 1 h 96"/>
                    <a:gd name="T92" fmla="*/ 15 w 100"/>
                    <a:gd name="T93" fmla="*/ 6 h 96"/>
                    <a:gd name="T94" fmla="*/ 15 w 100"/>
                    <a:gd name="T95" fmla="*/ 14 h 96"/>
                    <a:gd name="T96" fmla="*/ 16 w 100"/>
                    <a:gd name="T97" fmla="*/ 20 h 96"/>
                    <a:gd name="T98" fmla="*/ 9 w 100"/>
                    <a:gd name="T99" fmla="*/ 23 h 96"/>
                    <a:gd name="T100" fmla="*/ 2 w 100"/>
                    <a:gd name="T101" fmla="*/ 26 h 96"/>
                    <a:gd name="T102" fmla="*/ 1 w 100"/>
                    <a:gd name="T103" fmla="*/ 30 h 96"/>
                    <a:gd name="T104" fmla="*/ 2 w 100"/>
                    <a:gd name="T105" fmla="*/ 39 h 96"/>
                    <a:gd name="T106" fmla="*/ 8 w 100"/>
                    <a:gd name="T107" fmla="*/ 45 h 96"/>
                    <a:gd name="T108" fmla="*/ 12 w 100"/>
                    <a:gd name="T109" fmla="*/ 44 h 96"/>
                    <a:gd name="T110" fmla="*/ 12 w 100"/>
                    <a:gd name="T111" fmla="*/ 46 h 96"/>
                    <a:gd name="T112" fmla="*/ 14 w 100"/>
                    <a:gd name="T113" fmla="*/ 51 h 96"/>
                    <a:gd name="T114" fmla="*/ 18 w 100"/>
                    <a:gd name="T115" fmla="*/ 56 h 96"/>
                    <a:gd name="T116" fmla="*/ 24 w 100"/>
                    <a:gd name="T117" fmla="*/ 60 h 96"/>
                    <a:gd name="T118" fmla="*/ 30 w 100"/>
                    <a:gd name="T119" fmla="*/ 58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00" h="96">
                      <a:moveTo>
                        <a:pt x="30" y="58"/>
                      </a:moveTo>
                      <a:lnTo>
                        <a:pt x="30" y="55"/>
                      </a:lnTo>
                      <a:lnTo>
                        <a:pt x="34" y="51"/>
                      </a:lnTo>
                      <a:lnTo>
                        <a:pt x="36" y="48"/>
                      </a:lnTo>
                      <a:lnTo>
                        <a:pt x="40" y="46"/>
                      </a:lnTo>
                      <a:lnTo>
                        <a:pt x="52" y="46"/>
                      </a:lnTo>
                      <a:lnTo>
                        <a:pt x="54" y="51"/>
                      </a:lnTo>
                      <a:lnTo>
                        <a:pt x="56" y="54"/>
                      </a:lnTo>
                      <a:lnTo>
                        <a:pt x="59" y="61"/>
                      </a:lnTo>
                      <a:lnTo>
                        <a:pt x="58" y="64"/>
                      </a:lnTo>
                      <a:lnTo>
                        <a:pt x="61" y="67"/>
                      </a:lnTo>
                      <a:lnTo>
                        <a:pt x="61" y="69"/>
                      </a:lnTo>
                      <a:lnTo>
                        <a:pt x="60" y="71"/>
                      </a:lnTo>
                      <a:lnTo>
                        <a:pt x="59" y="73"/>
                      </a:lnTo>
                      <a:lnTo>
                        <a:pt x="61" y="74"/>
                      </a:lnTo>
                      <a:lnTo>
                        <a:pt x="61" y="75"/>
                      </a:lnTo>
                      <a:lnTo>
                        <a:pt x="64" y="74"/>
                      </a:lnTo>
                      <a:lnTo>
                        <a:pt x="65" y="75"/>
                      </a:lnTo>
                      <a:lnTo>
                        <a:pt x="71" y="72"/>
                      </a:lnTo>
                      <a:lnTo>
                        <a:pt x="74" y="74"/>
                      </a:lnTo>
                      <a:lnTo>
                        <a:pt x="75" y="78"/>
                      </a:lnTo>
                      <a:lnTo>
                        <a:pt x="78" y="79"/>
                      </a:lnTo>
                      <a:lnTo>
                        <a:pt x="78" y="86"/>
                      </a:lnTo>
                      <a:lnTo>
                        <a:pt x="78" y="89"/>
                      </a:lnTo>
                      <a:lnTo>
                        <a:pt x="81" y="95"/>
                      </a:lnTo>
                      <a:lnTo>
                        <a:pt x="82" y="94"/>
                      </a:lnTo>
                      <a:lnTo>
                        <a:pt x="87" y="90"/>
                      </a:lnTo>
                      <a:lnTo>
                        <a:pt x="88" y="91"/>
                      </a:lnTo>
                      <a:lnTo>
                        <a:pt x="91" y="93"/>
                      </a:lnTo>
                      <a:lnTo>
                        <a:pt x="91" y="95"/>
                      </a:lnTo>
                      <a:lnTo>
                        <a:pt x="91" y="96"/>
                      </a:lnTo>
                      <a:lnTo>
                        <a:pt x="92" y="95"/>
                      </a:lnTo>
                      <a:lnTo>
                        <a:pt x="94" y="93"/>
                      </a:lnTo>
                      <a:lnTo>
                        <a:pt x="98" y="84"/>
                      </a:lnTo>
                      <a:lnTo>
                        <a:pt x="98" y="80"/>
                      </a:lnTo>
                      <a:lnTo>
                        <a:pt x="97" y="79"/>
                      </a:lnTo>
                      <a:lnTo>
                        <a:pt x="95" y="75"/>
                      </a:lnTo>
                      <a:lnTo>
                        <a:pt x="95" y="73"/>
                      </a:lnTo>
                      <a:lnTo>
                        <a:pt x="96" y="72"/>
                      </a:lnTo>
                      <a:lnTo>
                        <a:pt x="99" y="72"/>
                      </a:lnTo>
                      <a:lnTo>
                        <a:pt x="99" y="70"/>
                      </a:lnTo>
                      <a:lnTo>
                        <a:pt x="97" y="66"/>
                      </a:lnTo>
                      <a:lnTo>
                        <a:pt x="95" y="65"/>
                      </a:lnTo>
                      <a:lnTo>
                        <a:pt x="95" y="59"/>
                      </a:lnTo>
                      <a:lnTo>
                        <a:pt x="95" y="56"/>
                      </a:lnTo>
                      <a:lnTo>
                        <a:pt x="95" y="48"/>
                      </a:lnTo>
                      <a:lnTo>
                        <a:pt x="94" y="48"/>
                      </a:lnTo>
                      <a:lnTo>
                        <a:pt x="94" y="44"/>
                      </a:lnTo>
                      <a:lnTo>
                        <a:pt x="99" y="42"/>
                      </a:lnTo>
                      <a:lnTo>
                        <a:pt x="100" y="41"/>
                      </a:lnTo>
                      <a:lnTo>
                        <a:pt x="100" y="39"/>
                      </a:lnTo>
                      <a:lnTo>
                        <a:pt x="99" y="37"/>
                      </a:lnTo>
                      <a:lnTo>
                        <a:pt x="95" y="37"/>
                      </a:lnTo>
                      <a:lnTo>
                        <a:pt x="95" y="35"/>
                      </a:lnTo>
                      <a:lnTo>
                        <a:pt x="95" y="33"/>
                      </a:lnTo>
                      <a:lnTo>
                        <a:pt x="95" y="30"/>
                      </a:lnTo>
                      <a:lnTo>
                        <a:pt x="92" y="30"/>
                      </a:lnTo>
                      <a:lnTo>
                        <a:pt x="91" y="32"/>
                      </a:lnTo>
                      <a:lnTo>
                        <a:pt x="88" y="33"/>
                      </a:lnTo>
                      <a:lnTo>
                        <a:pt x="90" y="28"/>
                      </a:lnTo>
                      <a:lnTo>
                        <a:pt x="92" y="23"/>
                      </a:lnTo>
                      <a:lnTo>
                        <a:pt x="92" y="22"/>
                      </a:lnTo>
                      <a:lnTo>
                        <a:pt x="89" y="21"/>
                      </a:lnTo>
                      <a:lnTo>
                        <a:pt x="88" y="20"/>
                      </a:lnTo>
                      <a:lnTo>
                        <a:pt x="88" y="15"/>
                      </a:lnTo>
                      <a:lnTo>
                        <a:pt x="87" y="11"/>
                      </a:lnTo>
                      <a:lnTo>
                        <a:pt x="84" y="8"/>
                      </a:lnTo>
                      <a:lnTo>
                        <a:pt x="84" y="6"/>
                      </a:lnTo>
                      <a:lnTo>
                        <a:pt x="81" y="7"/>
                      </a:lnTo>
                      <a:lnTo>
                        <a:pt x="80" y="9"/>
                      </a:lnTo>
                      <a:lnTo>
                        <a:pt x="76" y="6"/>
                      </a:lnTo>
                      <a:lnTo>
                        <a:pt x="74" y="7"/>
                      </a:lnTo>
                      <a:lnTo>
                        <a:pt x="71" y="12"/>
                      </a:lnTo>
                      <a:lnTo>
                        <a:pt x="69" y="12"/>
                      </a:lnTo>
                      <a:lnTo>
                        <a:pt x="66" y="14"/>
                      </a:lnTo>
                      <a:lnTo>
                        <a:pt x="63" y="14"/>
                      </a:lnTo>
                      <a:lnTo>
                        <a:pt x="60" y="12"/>
                      </a:lnTo>
                      <a:lnTo>
                        <a:pt x="57" y="10"/>
                      </a:lnTo>
                      <a:lnTo>
                        <a:pt x="54" y="13"/>
                      </a:lnTo>
                      <a:lnTo>
                        <a:pt x="53" y="11"/>
                      </a:lnTo>
                      <a:lnTo>
                        <a:pt x="53" y="11"/>
                      </a:lnTo>
                      <a:lnTo>
                        <a:pt x="53" y="9"/>
                      </a:lnTo>
                      <a:lnTo>
                        <a:pt x="50" y="8"/>
                      </a:lnTo>
                      <a:lnTo>
                        <a:pt x="48" y="6"/>
                      </a:lnTo>
                      <a:lnTo>
                        <a:pt x="46" y="6"/>
                      </a:lnTo>
                      <a:lnTo>
                        <a:pt x="43" y="8"/>
                      </a:lnTo>
                      <a:lnTo>
                        <a:pt x="39" y="6"/>
                      </a:lnTo>
                      <a:lnTo>
                        <a:pt x="34" y="6"/>
                      </a:lnTo>
                      <a:lnTo>
                        <a:pt x="32" y="3"/>
                      </a:lnTo>
                      <a:lnTo>
                        <a:pt x="26" y="0"/>
                      </a:lnTo>
                      <a:lnTo>
                        <a:pt x="17" y="0"/>
                      </a:lnTo>
                      <a:lnTo>
                        <a:pt x="15" y="1"/>
                      </a:lnTo>
                      <a:lnTo>
                        <a:pt x="15" y="1"/>
                      </a:lnTo>
                      <a:lnTo>
                        <a:pt x="15" y="6"/>
                      </a:lnTo>
                      <a:lnTo>
                        <a:pt x="14" y="9"/>
                      </a:lnTo>
                      <a:lnTo>
                        <a:pt x="15" y="14"/>
                      </a:lnTo>
                      <a:lnTo>
                        <a:pt x="16" y="16"/>
                      </a:lnTo>
                      <a:lnTo>
                        <a:pt x="16" y="20"/>
                      </a:lnTo>
                      <a:lnTo>
                        <a:pt x="13" y="22"/>
                      </a:lnTo>
                      <a:lnTo>
                        <a:pt x="9" y="23"/>
                      </a:lnTo>
                      <a:lnTo>
                        <a:pt x="5" y="25"/>
                      </a:lnTo>
                      <a:lnTo>
                        <a:pt x="2" y="26"/>
                      </a:lnTo>
                      <a:lnTo>
                        <a:pt x="0" y="30"/>
                      </a:lnTo>
                      <a:lnTo>
                        <a:pt x="1" y="30"/>
                      </a:lnTo>
                      <a:lnTo>
                        <a:pt x="3" y="33"/>
                      </a:lnTo>
                      <a:lnTo>
                        <a:pt x="2" y="39"/>
                      </a:lnTo>
                      <a:lnTo>
                        <a:pt x="5" y="44"/>
                      </a:lnTo>
                      <a:lnTo>
                        <a:pt x="8" y="45"/>
                      </a:lnTo>
                      <a:lnTo>
                        <a:pt x="10" y="46"/>
                      </a:lnTo>
                      <a:lnTo>
                        <a:pt x="12" y="44"/>
                      </a:lnTo>
                      <a:lnTo>
                        <a:pt x="14" y="45"/>
                      </a:lnTo>
                      <a:lnTo>
                        <a:pt x="12" y="46"/>
                      </a:lnTo>
                      <a:lnTo>
                        <a:pt x="12" y="49"/>
                      </a:lnTo>
                      <a:lnTo>
                        <a:pt x="14" y="51"/>
                      </a:lnTo>
                      <a:lnTo>
                        <a:pt x="17" y="51"/>
                      </a:lnTo>
                      <a:lnTo>
                        <a:pt x="18" y="56"/>
                      </a:lnTo>
                      <a:lnTo>
                        <a:pt x="22" y="58"/>
                      </a:lnTo>
                      <a:lnTo>
                        <a:pt x="24" y="60"/>
                      </a:lnTo>
                      <a:lnTo>
                        <a:pt x="26" y="60"/>
                      </a:lnTo>
                      <a:lnTo>
                        <a:pt x="30" y="5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5" name="Freeform 838">
                  <a:extLst>
                    <a:ext uri="{FF2B5EF4-FFF2-40B4-BE49-F238E27FC236}">
                      <a16:creationId xmlns:a16="http://schemas.microsoft.com/office/drawing/2014/main" id="{5400E4AD-6B69-4897-9C65-8CE622AE17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31" y="2675"/>
                  <a:ext cx="4" cy="5"/>
                </a:xfrm>
                <a:custGeom>
                  <a:avLst/>
                  <a:gdLst>
                    <a:gd name="T0" fmla="*/ 2 w 4"/>
                    <a:gd name="T1" fmla="*/ 1 h 5"/>
                    <a:gd name="T2" fmla="*/ 1 w 4"/>
                    <a:gd name="T3" fmla="*/ 0 h 5"/>
                    <a:gd name="T4" fmla="*/ 0 w 4"/>
                    <a:gd name="T5" fmla="*/ 1 h 5"/>
                    <a:gd name="T6" fmla="*/ 0 w 4"/>
                    <a:gd name="T7" fmla="*/ 3 h 5"/>
                    <a:gd name="T8" fmla="*/ 3 w 4"/>
                    <a:gd name="T9" fmla="*/ 5 h 5"/>
                    <a:gd name="T10" fmla="*/ 4 w 4"/>
                    <a:gd name="T11" fmla="*/ 5 h 5"/>
                    <a:gd name="T12" fmla="*/ 4 w 4"/>
                    <a:gd name="T13" fmla="*/ 2 h 5"/>
                    <a:gd name="T14" fmla="*/ 2 w 4"/>
                    <a:gd name="T15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5">
                      <a:moveTo>
                        <a:pt x="2" y="1"/>
                      </a:move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3" y="5"/>
                      </a:lnTo>
                      <a:lnTo>
                        <a:pt x="4" y="5"/>
                      </a:lnTo>
                      <a:lnTo>
                        <a:pt x="4" y="2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6" name="Freeform 839">
                  <a:extLst>
                    <a:ext uri="{FF2B5EF4-FFF2-40B4-BE49-F238E27FC236}">
                      <a16:creationId xmlns:a16="http://schemas.microsoft.com/office/drawing/2014/main" id="{867808DF-881F-415A-864B-5292C77CEA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24" y="2630"/>
                  <a:ext cx="39" cy="57"/>
                </a:xfrm>
                <a:custGeom>
                  <a:avLst/>
                  <a:gdLst>
                    <a:gd name="T0" fmla="*/ 28 w 39"/>
                    <a:gd name="T1" fmla="*/ 50 h 57"/>
                    <a:gd name="T2" fmla="*/ 32 w 39"/>
                    <a:gd name="T3" fmla="*/ 48 h 57"/>
                    <a:gd name="T4" fmla="*/ 35 w 39"/>
                    <a:gd name="T5" fmla="*/ 44 h 57"/>
                    <a:gd name="T6" fmla="*/ 34 w 39"/>
                    <a:gd name="T7" fmla="*/ 42 h 57"/>
                    <a:gd name="T8" fmla="*/ 35 w 39"/>
                    <a:gd name="T9" fmla="*/ 37 h 57"/>
                    <a:gd name="T10" fmla="*/ 37 w 39"/>
                    <a:gd name="T11" fmla="*/ 36 h 57"/>
                    <a:gd name="T12" fmla="*/ 37 w 39"/>
                    <a:gd name="T13" fmla="*/ 33 h 57"/>
                    <a:gd name="T14" fmla="*/ 38 w 39"/>
                    <a:gd name="T15" fmla="*/ 30 h 57"/>
                    <a:gd name="T16" fmla="*/ 39 w 39"/>
                    <a:gd name="T17" fmla="*/ 29 h 57"/>
                    <a:gd name="T18" fmla="*/ 39 w 39"/>
                    <a:gd name="T19" fmla="*/ 28 h 57"/>
                    <a:gd name="T20" fmla="*/ 37 w 39"/>
                    <a:gd name="T21" fmla="*/ 27 h 57"/>
                    <a:gd name="T22" fmla="*/ 38 w 39"/>
                    <a:gd name="T23" fmla="*/ 25 h 57"/>
                    <a:gd name="T24" fmla="*/ 39 w 39"/>
                    <a:gd name="T25" fmla="*/ 23 h 57"/>
                    <a:gd name="T26" fmla="*/ 39 w 39"/>
                    <a:gd name="T27" fmla="*/ 21 h 57"/>
                    <a:gd name="T28" fmla="*/ 36 w 39"/>
                    <a:gd name="T29" fmla="*/ 18 h 57"/>
                    <a:gd name="T30" fmla="*/ 37 w 39"/>
                    <a:gd name="T31" fmla="*/ 15 h 57"/>
                    <a:gd name="T32" fmla="*/ 34 w 39"/>
                    <a:gd name="T33" fmla="*/ 8 h 57"/>
                    <a:gd name="T34" fmla="*/ 32 w 39"/>
                    <a:gd name="T35" fmla="*/ 5 h 57"/>
                    <a:gd name="T36" fmla="*/ 30 w 39"/>
                    <a:gd name="T37" fmla="*/ 0 h 57"/>
                    <a:gd name="T38" fmla="*/ 18 w 39"/>
                    <a:gd name="T39" fmla="*/ 0 h 57"/>
                    <a:gd name="T40" fmla="*/ 14 w 39"/>
                    <a:gd name="T41" fmla="*/ 2 h 57"/>
                    <a:gd name="T42" fmla="*/ 12 w 39"/>
                    <a:gd name="T43" fmla="*/ 5 h 57"/>
                    <a:gd name="T44" fmla="*/ 8 w 39"/>
                    <a:gd name="T45" fmla="*/ 9 h 57"/>
                    <a:gd name="T46" fmla="*/ 8 w 39"/>
                    <a:gd name="T47" fmla="*/ 12 h 57"/>
                    <a:gd name="T48" fmla="*/ 4 w 39"/>
                    <a:gd name="T49" fmla="*/ 14 h 57"/>
                    <a:gd name="T50" fmla="*/ 2 w 39"/>
                    <a:gd name="T51" fmla="*/ 14 h 57"/>
                    <a:gd name="T52" fmla="*/ 2 w 39"/>
                    <a:gd name="T53" fmla="*/ 15 h 57"/>
                    <a:gd name="T54" fmla="*/ 0 w 39"/>
                    <a:gd name="T55" fmla="*/ 18 h 57"/>
                    <a:gd name="T56" fmla="*/ 0 w 39"/>
                    <a:gd name="T57" fmla="*/ 20 h 57"/>
                    <a:gd name="T58" fmla="*/ 2 w 39"/>
                    <a:gd name="T59" fmla="*/ 22 h 57"/>
                    <a:gd name="T60" fmla="*/ 0 w 39"/>
                    <a:gd name="T61" fmla="*/ 26 h 57"/>
                    <a:gd name="T62" fmla="*/ 1 w 39"/>
                    <a:gd name="T63" fmla="*/ 29 h 57"/>
                    <a:gd name="T64" fmla="*/ 4 w 39"/>
                    <a:gd name="T65" fmla="*/ 29 h 57"/>
                    <a:gd name="T66" fmla="*/ 5 w 39"/>
                    <a:gd name="T67" fmla="*/ 34 h 57"/>
                    <a:gd name="T68" fmla="*/ 5 w 39"/>
                    <a:gd name="T69" fmla="*/ 38 h 57"/>
                    <a:gd name="T70" fmla="*/ 9 w 39"/>
                    <a:gd name="T71" fmla="*/ 43 h 57"/>
                    <a:gd name="T72" fmla="*/ 11 w 39"/>
                    <a:gd name="T73" fmla="*/ 41 h 57"/>
                    <a:gd name="T74" fmla="*/ 11 w 39"/>
                    <a:gd name="T75" fmla="*/ 42 h 57"/>
                    <a:gd name="T76" fmla="*/ 11 w 39"/>
                    <a:gd name="T77" fmla="*/ 45 h 57"/>
                    <a:gd name="T78" fmla="*/ 12 w 39"/>
                    <a:gd name="T79" fmla="*/ 46 h 57"/>
                    <a:gd name="T80" fmla="*/ 14 w 39"/>
                    <a:gd name="T81" fmla="*/ 50 h 57"/>
                    <a:gd name="T82" fmla="*/ 14 w 39"/>
                    <a:gd name="T83" fmla="*/ 52 h 57"/>
                    <a:gd name="T84" fmla="*/ 17 w 39"/>
                    <a:gd name="T85" fmla="*/ 53 h 57"/>
                    <a:gd name="T86" fmla="*/ 25 w 39"/>
                    <a:gd name="T87" fmla="*/ 57 h 57"/>
                    <a:gd name="T88" fmla="*/ 26 w 39"/>
                    <a:gd name="T89" fmla="*/ 57 h 57"/>
                    <a:gd name="T90" fmla="*/ 26 w 39"/>
                    <a:gd name="T91" fmla="*/ 54 h 57"/>
                    <a:gd name="T92" fmla="*/ 28 w 39"/>
                    <a:gd name="T93" fmla="*/ 5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39" h="57">
                      <a:moveTo>
                        <a:pt x="28" y="50"/>
                      </a:moveTo>
                      <a:lnTo>
                        <a:pt x="32" y="48"/>
                      </a:lnTo>
                      <a:lnTo>
                        <a:pt x="35" y="44"/>
                      </a:lnTo>
                      <a:lnTo>
                        <a:pt x="34" y="42"/>
                      </a:lnTo>
                      <a:lnTo>
                        <a:pt x="35" y="37"/>
                      </a:lnTo>
                      <a:lnTo>
                        <a:pt x="37" y="36"/>
                      </a:lnTo>
                      <a:lnTo>
                        <a:pt x="37" y="33"/>
                      </a:lnTo>
                      <a:lnTo>
                        <a:pt x="38" y="30"/>
                      </a:lnTo>
                      <a:lnTo>
                        <a:pt x="39" y="29"/>
                      </a:lnTo>
                      <a:lnTo>
                        <a:pt x="39" y="28"/>
                      </a:lnTo>
                      <a:lnTo>
                        <a:pt x="37" y="27"/>
                      </a:lnTo>
                      <a:lnTo>
                        <a:pt x="38" y="25"/>
                      </a:lnTo>
                      <a:lnTo>
                        <a:pt x="39" y="23"/>
                      </a:lnTo>
                      <a:lnTo>
                        <a:pt x="39" y="21"/>
                      </a:lnTo>
                      <a:lnTo>
                        <a:pt x="36" y="18"/>
                      </a:lnTo>
                      <a:lnTo>
                        <a:pt x="37" y="15"/>
                      </a:lnTo>
                      <a:lnTo>
                        <a:pt x="34" y="8"/>
                      </a:lnTo>
                      <a:lnTo>
                        <a:pt x="32" y="5"/>
                      </a:lnTo>
                      <a:lnTo>
                        <a:pt x="30" y="0"/>
                      </a:lnTo>
                      <a:lnTo>
                        <a:pt x="18" y="0"/>
                      </a:lnTo>
                      <a:lnTo>
                        <a:pt x="14" y="2"/>
                      </a:lnTo>
                      <a:lnTo>
                        <a:pt x="12" y="5"/>
                      </a:lnTo>
                      <a:lnTo>
                        <a:pt x="8" y="9"/>
                      </a:lnTo>
                      <a:lnTo>
                        <a:pt x="8" y="12"/>
                      </a:lnTo>
                      <a:lnTo>
                        <a:pt x="4" y="14"/>
                      </a:lnTo>
                      <a:lnTo>
                        <a:pt x="2" y="14"/>
                      </a:lnTo>
                      <a:lnTo>
                        <a:pt x="2" y="15"/>
                      </a:lnTo>
                      <a:lnTo>
                        <a:pt x="0" y="18"/>
                      </a:lnTo>
                      <a:lnTo>
                        <a:pt x="0" y="20"/>
                      </a:lnTo>
                      <a:lnTo>
                        <a:pt x="2" y="22"/>
                      </a:lnTo>
                      <a:lnTo>
                        <a:pt x="0" y="26"/>
                      </a:lnTo>
                      <a:lnTo>
                        <a:pt x="1" y="29"/>
                      </a:lnTo>
                      <a:lnTo>
                        <a:pt x="4" y="29"/>
                      </a:lnTo>
                      <a:lnTo>
                        <a:pt x="5" y="34"/>
                      </a:lnTo>
                      <a:lnTo>
                        <a:pt x="5" y="38"/>
                      </a:lnTo>
                      <a:lnTo>
                        <a:pt x="9" y="43"/>
                      </a:lnTo>
                      <a:lnTo>
                        <a:pt x="11" y="41"/>
                      </a:lnTo>
                      <a:lnTo>
                        <a:pt x="11" y="42"/>
                      </a:lnTo>
                      <a:lnTo>
                        <a:pt x="11" y="45"/>
                      </a:lnTo>
                      <a:lnTo>
                        <a:pt x="12" y="46"/>
                      </a:lnTo>
                      <a:lnTo>
                        <a:pt x="14" y="50"/>
                      </a:lnTo>
                      <a:lnTo>
                        <a:pt x="14" y="52"/>
                      </a:lnTo>
                      <a:lnTo>
                        <a:pt x="17" y="53"/>
                      </a:lnTo>
                      <a:lnTo>
                        <a:pt x="25" y="57"/>
                      </a:lnTo>
                      <a:lnTo>
                        <a:pt x="26" y="57"/>
                      </a:lnTo>
                      <a:lnTo>
                        <a:pt x="26" y="54"/>
                      </a:lnTo>
                      <a:lnTo>
                        <a:pt x="28" y="5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7" name="Freeform 840">
                  <a:extLst>
                    <a:ext uri="{FF2B5EF4-FFF2-40B4-BE49-F238E27FC236}">
                      <a16:creationId xmlns:a16="http://schemas.microsoft.com/office/drawing/2014/main" id="{C8AEA100-B6A2-4DE5-95AA-B22D1E7354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3" y="2687"/>
                  <a:ext cx="3" cy="1"/>
                </a:xfrm>
                <a:custGeom>
                  <a:avLst/>
                  <a:gdLst>
                    <a:gd name="T0" fmla="*/ 0 w 3"/>
                    <a:gd name="T1" fmla="*/ 0 h 1"/>
                    <a:gd name="T2" fmla="*/ 3 w 3"/>
                    <a:gd name="T3" fmla="*/ 1 h 1"/>
                    <a:gd name="T4" fmla="*/ 3 w 3"/>
                    <a:gd name="T5" fmla="*/ 1 h 1"/>
                    <a:gd name="T6" fmla="*/ 0 w 3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0"/>
                      </a:move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8" name="Freeform 841">
                  <a:extLst>
                    <a:ext uri="{FF2B5EF4-FFF2-40B4-BE49-F238E27FC236}">
                      <a16:creationId xmlns:a16="http://schemas.microsoft.com/office/drawing/2014/main" id="{4C843FE5-F8BA-4A4D-A9A3-E2DA769C3D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0" y="2656"/>
                  <a:ext cx="57" cy="74"/>
                </a:xfrm>
                <a:custGeom>
                  <a:avLst/>
                  <a:gdLst>
                    <a:gd name="T0" fmla="*/ 54 w 57"/>
                    <a:gd name="T1" fmla="*/ 67 h 74"/>
                    <a:gd name="T2" fmla="*/ 55 w 57"/>
                    <a:gd name="T3" fmla="*/ 63 h 74"/>
                    <a:gd name="T4" fmla="*/ 54 w 57"/>
                    <a:gd name="T5" fmla="*/ 61 h 74"/>
                    <a:gd name="T6" fmla="*/ 54 w 57"/>
                    <a:gd name="T7" fmla="*/ 58 h 74"/>
                    <a:gd name="T8" fmla="*/ 56 w 57"/>
                    <a:gd name="T9" fmla="*/ 55 h 74"/>
                    <a:gd name="T10" fmla="*/ 55 w 57"/>
                    <a:gd name="T11" fmla="*/ 54 h 74"/>
                    <a:gd name="T12" fmla="*/ 57 w 57"/>
                    <a:gd name="T13" fmla="*/ 51 h 74"/>
                    <a:gd name="T14" fmla="*/ 56 w 57"/>
                    <a:gd name="T15" fmla="*/ 48 h 74"/>
                    <a:gd name="T16" fmla="*/ 54 w 57"/>
                    <a:gd name="T17" fmla="*/ 48 h 74"/>
                    <a:gd name="T18" fmla="*/ 52 w 57"/>
                    <a:gd name="T19" fmla="*/ 47 h 74"/>
                    <a:gd name="T20" fmla="*/ 51 w 57"/>
                    <a:gd name="T21" fmla="*/ 43 h 74"/>
                    <a:gd name="T22" fmla="*/ 49 w 57"/>
                    <a:gd name="T23" fmla="*/ 42 h 74"/>
                    <a:gd name="T24" fmla="*/ 47 w 57"/>
                    <a:gd name="T25" fmla="*/ 43 h 74"/>
                    <a:gd name="T26" fmla="*/ 46 w 57"/>
                    <a:gd name="T27" fmla="*/ 40 h 74"/>
                    <a:gd name="T28" fmla="*/ 44 w 57"/>
                    <a:gd name="T29" fmla="*/ 40 h 74"/>
                    <a:gd name="T30" fmla="*/ 42 w 57"/>
                    <a:gd name="T31" fmla="*/ 41 h 74"/>
                    <a:gd name="T32" fmla="*/ 40 w 57"/>
                    <a:gd name="T33" fmla="*/ 40 h 74"/>
                    <a:gd name="T34" fmla="*/ 39 w 57"/>
                    <a:gd name="T35" fmla="*/ 37 h 74"/>
                    <a:gd name="T36" fmla="*/ 41 w 57"/>
                    <a:gd name="T37" fmla="*/ 34 h 74"/>
                    <a:gd name="T38" fmla="*/ 44 w 57"/>
                    <a:gd name="T39" fmla="*/ 27 h 74"/>
                    <a:gd name="T40" fmla="*/ 43 w 57"/>
                    <a:gd name="T41" fmla="*/ 24 h 74"/>
                    <a:gd name="T42" fmla="*/ 43 w 57"/>
                    <a:gd name="T43" fmla="*/ 23 h 74"/>
                    <a:gd name="T44" fmla="*/ 43 w 57"/>
                    <a:gd name="T45" fmla="*/ 21 h 74"/>
                    <a:gd name="T46" fmla="*/ 40 w 57"/>
                    <a:gd name="T47" fmla="*/ 19 h 74"/>
                    <a:gd name="T48" fmla="*/ 39 w 57"/>
                    <a:gd name="T49" fmla="*/ 18 h 74"/>
                    <a:gd name="T50" fmla="*/ 34 w 57"/>
                    <a:gd name="T51" fmla="*/ 22 h 74"/>
                    <a:gd name="T52" fmla="*/ 33 w 57"/>
                    <a:gd name="T53" fmla="*/ 23 h 74"/>
                    <a:gd name="T54" fmla="*/ 30 w 57"/>
                    <a:gd name="T55" fmla="*/ 17 h 74"/>
                    <a:gd name="T56" fmla="*/ 30 w 57"/>
                    <a:gd name="T57" fmla="*/ 14 h 74"/>
                    <a:gd name="T58" fmla="*/ 30 w 57"/>
                    <a:gd name="T59" fmla="*/ 7 h 74"/>
                    <a:gd name="T60" fmla="*/ 27 w 57"/>
                    <a:gd name="T61" fmla="*/ 6 h 74"/>
                    <a:gd name="T62" fmla="*/ 26 w 57"/>
                    <a:gd name="T63" fmla="*/ 2 h 74"/>
                    <a:gd name="T64" fmla="*/ 23 w 57"/>
                    <a:gd name="T65" fmla="*/ 0 h 74"/>
                    <a:gd name="T66" fmla="*/ 17 w 57"/>
                    <a:gd name="T67" fmla="*/ 3 h 74"/>
                    <a:gd name="T68" fmla="*/ 16 w 57"/>
                    <a:gd name="T69" fmla="*/ 2 h 74"/>
                    <a:gd name="T70" fmla="*/ 13 w 57"/>
                    <a:gd name="T71" fmla="*/ 3 h 74"/>
                    <a:gd name="T72" fmla="*/ 12 w 57"/>
                    <a:gd name="T73" fmla="*/ 4 h 74"/>
                    <a:gd name="T74" fmla="*/ 11 w 57"/>
                    <a:gd name="T75" fmla="*/ 7 h 74"/>
                    <a:gd name="T76" fmla="*/ 11 w 57"/>
                    <a:gd name="T77" fmla="*/ 10 h 74"/>
                    <a:gd name="T78" fmla="*/ 9 w 57"/>
                    <a:gd name="T79" fmla="*/ 11 h 74"/>
                    <a:gd name="T80" fmla="*/ 8 w 57"/>
                    <a:gd name="T81" fmla="*/ 16 h 74"/>
                    <a:gd name="T82" fmla="*/ 9 w 57"/>
                    <a:gd name="T83" fmla="*/ 18 h 74"/>
                    <a:gd name="T84" fmla="*/ 6 w 57"/>
                    <a:gd name="T85" fmla="*/ 22 h 74"/>
                    <a:gd name="T86" fmla="*/ 2 w 57"/>
                    <a:gd name="T87" fmla="*/ 24 h 74"/>
                    <a:gd name="T88" fmla="*/ 0 w 57"/>
                    <a:gd name="T89" fmla="*/ 28 h 74"/>
                    <a:gd name="T90" fmla="*/ 0 w 57"/>
                    <a:gd name="T91" fmla="*/ 31 h 74"/>
                    <a:gd name="T92" fmla="*/ 3 w 57"/>
                    <a:gd name="T93" fmla="*/ 31 h 74"/>
                    <a:gd name="T94" fmla="*/ 6 w 57"/>
                    <a:gd name="T95" fmla="*/ 32 h 74"/>
                    <a:gd name="T96" fmla="*/ 6 w 57"/>
                    <a:gd name="T97" fmla="*/ 33 h 74"/>
                    <a:gd name="T98" fmla="*/ 5 w 57"/>
                    <a:gd name="T99" fmla="*/ 35 h 74"/>
                    <a:gd name="T100" fmla="*/ 7 w 57"/>
                    <a:gd name="T101" fmla="*/ 36 h 74"/>
                    <a:gd name="T102" fmla="*/ 10 w 57"/>
                    <a:gd name="T103" fmla="*/ 42 h 74"/>
                    <a:gd name="T104" fmla="*/ 13 w 57"/>
                    <a:gd name="T105" fmla="*/ 43 h 74"/>
                    <a:gd name="T106" fmla="*/ 18 w 57"/>
                    <a:gd name="T107" fmla="*/ 47 h 74"/>
                    <a:gd name="T108" fmla="*/ 19 w 57"/>
                    <a:gd name="T109" fmla="*/ 48 h 74"/>
                    <a:gd name="T110" fmla="*/ 27 w 57"/>
                    <a:gd name="T111" fmla="*/ 58 h 74"/>
                    <a:gd name="T112" fmla="*/ 30 w 57"/>
                    <a:gd name="T113" fmla="*/ 58 h 74"/>
                    <a:gd name="T114" fmla="*/ 41 w 57"/>
                    <a:gd name="T115" fmla="*/ 68 h 74"/>
                    <a:gd name="T116" fmla="*/ 55 w 57"/>
                    <a:gd name="T117" fmla="*/ 74 h 74"/>
                    <a:gd name="T118" fmla="*/ 55 w 57"/>
                    <a:gd name="T119" fmla="*/ 70 h 74"/>
                    <a:gd name="T120" fmla="*/ 54 w 57"/>
                    <a:gd name="T121" fmla="*/ 67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57" h="74">
                      <a:moveTo>
                        <a:pt x="54" y="67"/>
                      </a:moveTo>
                      <a:lnTo>
                        <a:pt x="55" y="63"/>
                      </a:lnTo>
                      <a:lnTo>
                        <a:pt x="54" y="61"/>
                      </a:lnTo>
                      <a:lnTo>
                        <a:pt x="54" y="58"/>
                      </a:lnTo>
                      <a:lnTo>
                        <a:pt x="56" y="55"/>
                      </a:lnTo>
                      <a:lnTo>
                        <a:pt x="55" y="54"/>
                      </a:lnTo>
                      <a:lnTo>
                        <a:pt x="57" y="51"/>
                      </a:lnTo>
                      <a:lnTo>
                        <a:pt x="56" y="48"/>
                      </a:lnTo>
                      <a:lnTo>
                        <a:pt x="54" y="48"/>
                      </a:lnTo>
                      <a:lnTo>
                        <a:pt x="52" y="47"/>
                      </a:lnTo>
                      <a:lnTo>
                        <a:pt x="51" y="43"/>
                      </a:lnTo>
                      <a:lnTo>
                        <a:pt x="49" y="42"/>
                      </a:lnTo>
                      <a:lnTo>
                        <a:pt x="47" y="43"/>
                      </a:lnTo>
                      <a:lnTo>
                        <a:pt x="46" y="40"/>
                      </a:lnTo>
                      <a:lnTo>
                        <a:pt x="44" y="40"/>
                      </a:lnTo>
                      <a:lnTo>
                        <a:pt x="42" y="41"/>
                      </a:lnTo>
                      <a:lnTo>
                        <a:pt x="40" y="40"/>
                      </a:lnTo>
                      <a:lnTo>
                        <a:pt x="39" y="37"/>
                      </a:lnTo>
                      <a:lnTo>
                        <a:pt x="41" y="34"/>
                      </a:lnTo>
                      <a:lnTo>
                        <a:pt x="44" y="27"/>
                      </a:lnTo>
                      <a:lnTo>
                        <a:pt x="43" y="24"/>
                      </a:lnTo>
                      <a:lnTo>
                        <a:pt x="43" y="23"/>
                      </a:lnTo>
                      <a:lnTo>
                        <a:pt x="43" y="21"/>
                      </a:lnTo>
                      <a:lnTo>
                        <a:pt x="40" y="19"/>
                      </a:lnTo>
                      <a:lnTo>
                        <a:pt x="39" y="18"/>
                      </a:lnTo>
                      <a:lnTo>
                        <a:pt x="34" y="22"/>
                      </a:lnTo>
                      <a:lnTo>
                        <a:pt x="33" y="23"/>
                      </a:lnTo>
                      <a:lnTo>
                        <a:pt x="30" y="17"/>
                      </a:lnTo>
                      <a:lnTo>
                        <a:pt x="30" y="14"/>
                      </a:lnTo>
                      <a:lnTo>
                        <a:pt x="30" y="7"/>
                      </a:lnTo>
                      <a:lnTo>
                        <a:pt x="27" y="6"/>
                      </a:lnTo>
                      <a:lnTo>
                        <a:pt x="26" y="2"/>
                      </a:lnTo>
                      <a:lnTo>
                        <a:pt x="23" y="0"/>
                      </a:lnTo>
                      <a:lnTo>
                        <a:pt x="17" y="3"/>
                      </a:lnTo>
                      <a:lnTo>
                        <a:pt x="16" y="2"/>
                      </a:lnTo>
                      <a:lnTo>
                        <a:pt x="13" y="3"/>
                      </a:lnTo>
                      <a:lnTo>
                        <a:pt x="12" y="4"/>
                      </a:lnTo>
                      <a:lnTo>
                        <a:pt x="11" y="7"/>
                      </a:lnTo>
                      <a:lnTo>
                        <a:pt x="11" y="10"/>
                      </a:lnTo>
                      <a:lnTo>
                        <a:pt x="9" y="11"/>
                      </a:lnTo>
                      <a:lnTo>
                        <a:pt x="8" y="16"/>
                      </a:lnTo>
                      <a:lnTo>
                        <a:pt x="9" y="18"/>
                      </a:lnTo>
                      <a:lnTo>
                        <a:pt x="6" y="22"/>
                      </a:lnTo>
                      <a:lnTo>
                        <a:pt x="2" y="24"/>
                      </a:lnTo>
                      <a:lnTo>
                        <a:pt x="0" y="28"/>
                      </a:lnTo>
                      <a:lnTo>
                        <a:pt x="0" y="31"/>
                      </a:lnTo>
                      <a:lnTo>
                        <a:pt x="3" y="31"/>
                      </a:lnTo>
                      <a:lnTo>
                        <a:pt x="6" y="32"/>
                      </a:lnTo>
                      <a:lnTo>
                        <a:pt x="6" y="33"/>
                      </a:lnTo>
                      <a:lnTo>
                        <a:pt x="5" y="35"/>
                      </a:lnTo>
                      <a:lnTo>
                        <a:pt x="7" y="36"/>
                      </a:lnTo>
                      <a:lnTo>
                        <a:pt x="10" y="42"/>
                      </a:lnTo>
                      <a:lnTo>
                        <a:pt x="13" y="43"/>
                      </a:lnTo>
                      <a:lnTo>
                        <a:pt x="18" y="47"/>
                      </a:lnTo>
                      <a:lnTo>
                        <a:pt x="19" y="48"/>
                      </a:lnTo>
                      <a:lnTo>
                        <a:pt x="27" y="58"/>
                      </a:lnTo>
                      <a:lnTo>
                        <a:pt x="30" y="58"/>
                      </a:lnTo>
                      <a:lnTo>
                        <a:pt x="41" y="68"/>
                      </a:lnTo>
                      <a:lnTo>
                        <a:pt x="55" y="74"/>
                      </a:lnTo>
                      <a:lnTo>
                        <a:pt x="55" y="70"/>
                      </a:lnTo>
                      <a:lnTo>
                        <a:pt x="54" y="6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9" name="Freeform 842">
                  <a:extLst>
                    <a:ext uri="{FF2B5EF4-FFF2-40B4-BE49-F238E27FC236}">
                      <a16:creationId xmlns:a16="http://schemas.microsoft.com/office/drawing/2014/main" id="{D0AD532A-692A-447D-A690-E3B88D58EE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89" y="2620"/>
                  <a:ext cx="88" cy="111"/>
                </a:xfrm>
                <a:custGeom>
                  <a:avLst/>
                  <a:gdLst>
                    <a:gd name="T0" fmla="*/ 84 w 88"/>
                    <a:gd name="T1" fmla="*/ 95 h 111"/>
                    <a:gd name="T2" fmla="*/ 84 w 88"/>
                    <a:gd name="T3" fmla="*/ 87 h 111"/>
                    <a:gd name="T4" fmla="*/ 80 w 88"/>
                    <a:gd name="T5" fmla="*/ 83 h 111"/>
                    <a:gd name="T6" fmla="*/ 77 w 88"/>
                    <a:gd name="T7" fmla="*/ 74 h 111"/>
                    <a:gd name="T8" fmla="*/ 77 w 88"/>
                    <a:gd name="T9" fmla="*/ 71 h 111"/>
                    <a:gd name="T10" fmla="*/ 79 w 88"/>
                    <a:gd name="T11" fmla="*/ 62 h 111"/>
                    <a:gd name="T12" fmla="*/ 80 w 88"/>
                    <a:gd name="T13" fmla="*/ 55 h 111"/>
                    <a:gd name="T14" fmla="*/ 84 w 88"/>
                    <a:gd name="T15" fmla="*/ 44 h 111"/>
                    <a:gd name="T16" fmla="*/ 87 w 88"/>
                    <a:gd name="T17" fmla="*/ 38 h 111"/>
                    <a:gd name="T18" fmla="*/ 87 w 88"/>
                    <a:gd name="T19" fmla="*/ 30 h 111"/>
                    <a:gd name="T20" fmla="*/ 85 w 88"/>
                    <a:gd name="T21" fmla="*/ 25 h 111"/>
                    <a:gd name="T22" fmla="*/ 85 w 88"/>
                    <a:gd name="T23" fmla="*/ 16 h 111"/>
                    <a:gd name="T24" fmla="*/ 82 w 88"/>
                    <a:gd name="T25" fmla="*/ 14 h 111"/>
                    <a:gd name="T26" fmla="*/ 78 w 88"/>
                    <a:gd name="T27" fmla="*/ 12 h 111"/>
                    <a:gd name="T28" fmla="*/ 72 w 88"/>
                    <a:gd name="T29" fmla="*/ 15 h 111"/>
                    <a:gd name="T30" fmla="*/ 66 w 88"/>
                    <a:gd name="T31" fmla="*/ 10 h 111"/>
                    <a:gd name="T32" fmla="*/ 60 w 88"/>
                    <a:gd name="T33" fmla="*/ 8 h 111"/>
                    <a:gd name="T34" fmla="*/ 57 w 88"/>
                    <a:gd name="T35" fmla="*/ 7 h 111"/>
                    <a:gd name="T36" fmla="*/ 48 w 88"/>
                    <a:gd name="T37" fmla="*/ 0 h 111"/>
                    <a:gd name="T38" fmla="*/ 43 w 88"/>
                    <a:gd name="T39" fmla="*/ 6 h 111"/>
                    <a:gd name="T40" fmla="*/ 37 w 88"/>
                    <a:gd name="T41" fmla="*/ 3 h 111"/>
                    <a:gd name="T42" fmla="*/ 34 w 88"/>
                    <a:gd name="T43" fmla="*/ 1 h 111"/>
                    <a:gd name="T44" fmla="*/ 29 w 88"/>
                    <a:gd name="T45" fmla="*/ 4 h 111"/>
                    <a:gd name="T46" fmla="*/ 22 w 88"/>
                    <a:gd name="T47" fmla="*/ 5 h 111"/>
                    <a:gd name="T48" fmla="*/ 18 w 88"/>
                    <a:gd name="T49" fmla="*/ 2 h 111"/>
                    <a:gd name="T50" fmla="*/ 7 w 88"/>
                    <a:gd name="T51" fmla="*/ 8 h 111"/>
                    <a:gd name="T52" fmla="*/ 8 w 88"/>
                    <a:gd name="T53" fmla="*/ 12 h 111"/>
                    <a:gd name="T54" fmla="*/ 8 w 88"/>
                    <a:gd name="T55" fmla="*/ 23 h 111"/>
                    <a:gd name="T56" fmla="*/ 10 w 88"/>
                    <a:gd name="T57" fmla="*/ 30 h 111"/>
                    <a:gd name="T58" fmla="*/ 12 w 88"/>
                    <a:gd name="T59" fmla="*/ 36 h 111"/>
                    <a:gd name="T60" fmla="*/ 8 w 88"/>
                    <a:gd name="T61" fmla="*/ 37 h 111"/>
                    <a:gd name="T62" fmla="*/ 10 w 88"/>
                    <a:gd name="T63" fmla="*/ 43 h 111"/>
                    <a:gd name="T64" fmla="*/ 11 w 88"/>
                    <a:gd name="T65" fmla="*/ 48 h 111"/>
                    <a:gd name="T66" fmla="*/ 5 w 88"/>
                    <a:gd name="T67" fmla="*/ 59 h 111"/>
                    <a:gd name="T68" fmla="*/ 5 w 88"/>
                    <a:gd name="T69" fmla="*/ 63 h 111"/>
                    <a:gd name="T70" fmla="*/ 0 w 88"/>
                    <a:gd name="T71" fmla="*/ 73 h 111"/>
                    <a:gd name="T72" fmla="*/ 3 w 88"/>
                    <a:gd name="T73" fmla="*/ 77 h 111"/>
                    <a:gd name="T74" fmla="*/ 7 w 88"/>
                    <a:gd name="T75" fmla="*/ 76 h 111"/>
                    <a:gd name="T76" fmla="*/ 10 w 88"/>
                    <a:gd name="T77" fmla="*/ 78 h 111"/>
                    <a:gd name="T78" fmla="*/ 13 w 88"/>
                    <a:gd name="T79" fmla="*/ 83 h 111"/>
                    <a:gd name="T80" fmla="*/ 17 w 88"/>
                    <a:gd name="T81" fmla="*/ 84 h 111"/>
                    <a:gd name="T82" fmla="*/ 16 w 88"/>
                    <a:gd name="T83" fmla="*/ 90 h 111"/>
                    <a:gd name="T84" fmla="*/ 15 w 88"/>
                    <a:gd name="T85" fmla="*/ 94 h 111"/>
                    <a:gd name="T86" fmla="*/ 16 w 88"/>
                    <a:gd name="T87" fmla="*/ 99 h 111"/>
                    <a:gd name="T88" fmla="*/ 16 w 88"/>
                    <a:gd name="T89" fmla="*/ 106 h 111"/>
                    <a:gd name="T90" fmla="*/ 18 w 88"/>
                    <a:gd name="T91" fmla="*/ 111 h 111"/>
                    <a:gd name="T92" fmla="*/ 26 w 88"/>
                    <a:gd name="T93" fmla="*/ 105 h 111"/>
                    <a:gd name="T94" fmla="*/ 36 w 88"/>
                    <a:gd name="T95" fmla="*/ 99 h 111"/>
                    <a:gd name="T96" fmla="*/ 42 w 88"/>
                    <a:gd name="T97" fmla="*/ 97 h 111"/>
                    <a:gd name="T98" fmla="*/ 67 w 88"/>
                    <a:gd name="T99" fmla="*/ 94 h 111"/>
                    <a:gd name="T100" fmla="*/ 74 w 88"/>
                    <a:gd name="T101" fmla="*/ 94 h 111"/>
                    <a:gd name="T102" fmla="*/ 79 w 88"/>
                    <a:gd name="T103" fmla="*/ 98 h 111"/>
                    <a:gd name="T104" fmla="*/ 83 w 88"/>
                    <a:gd name="T105" fmla="*/ 96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88" h="111">
                      <a:moveTo>
                        <a:pt x="83" y="96"/>
                      </a:moveTo>
                      <a:lnTo>
                        <a:pt x="84" y="95"/>
                      </a:lnTo>
                      <a:lnTo>
                        <a:pt x="85" y="91"/>
                      </a:lnTo>
                      <a:lnTo>
                        <a:pt x="84" y="87"/>
                      </a:lnTo>
                      <a:lnTo>
                        <a:pt x="81" y="87"/>
                      </a:lnTo>
                      <a:lnTo>
                        <a:pt x="80" y="83"/>
                      </a:lnTo>
                      <a:lnTo>
                        <a:pt x="78" y="76"/>
                      </a:lnTo>
                      <a:lnTo>
                        <a:pt x="77" y="74"/>
                      </a:lnTo>
                      <a:lnTo>
                        <a:pt x="77" y="73"/>
                      </a:lnTo>
                      <a:lnTo>
                        <a:pt x="77" y="71"/>
                      </a:lnTo>
                      <a:lnTo>
                        <a:pt x="77" y="64"/>
                      </a:lnTo>
                      <a:lnTo>
                        <a:pt x="79" y="62"/>
                      </a:lnTo>
                      <a:lnTo>
                        <a:pt x="79" y="58"/>
                      </a:lnTo>
                      <a:lnTo>
                        <a:pt x="80" y="55"/>
                      </a:lnTo>
                      <a:lnTo>
                        <a:pt x="80" y="52"/>
                      </a:lnTo>
                      <a:lnTo>
                        <a:pt x="84" y="44"/>
                      </a:lnTo>
                      <a:lnTo>
                        <a:pt x="87" y="42"/>
                      </a:lnTo>
                      <a:lnTo>
                        <a:pt x="87" y="38"/>
                      </a:lnTo>
                      <a:lnTo>
                        <a:pt x="88" y="35"/>
                      </a:lnTo>
                      <a:lnTo>
                        <a:pt x="87" y="30"/>
                      </a:lnTo>
                      <a:lnTo>
                        <a:pt x="85" y="28"/>
                      </a:lnTo>
                      <a:lnTo>
                        <a:pt x="85" y="25"/>
                      </a:lnTo>
                      <a:lnTo>
                        <a:pt x="84" y="22"/>
                      </a:lnTo>
                      <a:lnTo>
                        <a:pt x="85" y="16"/>
                      </a:lnTo>
                      <a:lnTo>
                        <a:pt x="85" y="15"/>
                      </a:lnTo>
                      <a:lnTo>
                        <a:pt x="82" y="14"/>
                      </a:lnTo>
                      <a:lnTo>
                        <a:pt x="80" y="12"/>
                      </a:lnTo>
                      <a:lnTo>
                        <a:pt x="78" y="12"/>
                      </a:lnTo>
                      <a:lnTo>
                        <a:pt x="75" y="15"/>
                      </a:lnTo>
                      <a:lnTo>
                        <a:pt x="72" y="15"/>
                      </a:lnTo>
                      <a:lnTo>
                        <a:pt x="67" y="12"/>
                      </a:lnTo>
                      <a:lnTo>
                        <a:pt x="66" y="10"/>
                      </a:lnTo>
                      <a:lnTo>
                        <a:pt x="63" y="8"/>
                      </a:lnTo>
                      <a:lnTo>
                        <a:pt x="60" y="8"/>
                      </a:lnTo>
                      <a:lnTo>
                        <a:pt x="59" y="7"/>
                      </a:lnTo>
                      <a:lnTo>
                        <a:pt x="57" y="7"/>
                      </a:lnTo>
                      <a:lnTo>
                        <a:pt x="52" y="4"/>
                      </a:lnTo>
                      <a:lnTo>
                        <a:pt x="48" y="0"/>
                      </a:lnTo>
                      <a:lnTo>
                        <a:pt x="46" y="1"/>
                      </a:lnTo>
                      <a:lnTo>
                        <a:pt x="43" y="6"/>
                      </a:lnTo>
                      <a:lnTo>
                        <a:pt x="39" y="5"/>
                      </a:lnTo>
                      <a:lnTo>
                        <a:pt x="37" y="3"/>
                      </a:lnTo>
                      <a:lnTo>
                        <a:pt x="38" y="1"/>
                      </a:lnTo>
                      <a:lnTo>
                        <a:pt x="34" y="1"/>
                      </a:lnTo>
                      <a:lnTo>
                        <a:pt x="30" y="2"/>
                      </a:lnTo>
                      <a:lnTo>
                        <a:pt x="29" y="4"/>
                      </a:lnTo>
                      <a:lnTo>
                        <a:pt x="29" y="5"/>
                      </a:lnTo>
                      <a:lnTo>
                        <a:pt x="22" y="5"/>
                      </a:lnTo>
                      <a:lnTo>
                        <a:pt x="19" y="2"/>
                      </a:lnTo>
                      <a:lnTo>
                        <a:pt x="18" y="2"/>
                      </a:lnTo>
                      <a:lnTo>
                        <a:pt x="12" y="6"/>
                      </a:lnTo>
                      <a:lnTo>
                        <a:pt x="7" y="8"/>
                      </a:lnTo>
                      <a:lnTo>
                        <a:pt x="7" y="12"/>
                      </a:lnTo>
                      <a:lnTo>
                        <a:pt x="8" y="12"/>
                      </a:lnTo>
                      <a:lnTo>
                        <a:pt x="8" y="20"/>
                      </a:lnTo>
                      <a:lnTo>
                        <a:pt x="8" y="23"/>
                      </a:lnTo>
                      <a:lnTo>
                        <a:pt x="8" y="29"/>
                      </a:lnTo>
                      <a:lnTo>
                        <a:pt x="10" y="30"/>
                      </a:lnTo>
                      <a:lnTo>
                        <a:pt x="12" y="34"/>
                      </a:lnTo>
                      <a:lnTo>
                        <a:pt x="12" y="36"/>
                      </a:lnTo>
                      <a:lnTo>
                        <a:pt x="9" y="36"/>
                      </a:lnTo>
                      <a:lnTo>
                        <a:pt x="8" y="37"/>
                      </a:lnTo>
                      <a:lnTo>
                        <a:pt x="8" y="39"/>
                      </a:lnTo>
                      <a:lnTo>
                        <a:pt x="10" y="43"/>
                      </a:lnTo>
                      <a:lnTo>
                        <a:pt x="11" y="44"/>
                      </a:lnTo>
                      <a:lnTo>
                        <a:pt x="11" y="48"/>
                      </a:lnTo>
                      <a:lnTo>
                        <a:pt x="7" y="57"/>
                      </a:lnTo>
                      <a:lnTo>
                        <a:pt x="5" y="59"/>
                      </a:lnTo>
                      <a:lnTo>
                        <a:pt x="4" y="60"/>
                      </a:lnTo>
                      <a:lnTo>
                        <a:pt x="5" y="63"/>
                      </a:lnTo>
                      <a:lnTo>
                        <a:pt x="2" y="70"/>
                      </a:lnTo>
                      <a:lnTo>
                        <a:pt x="0" y="73"/>
                      </a:lnTo>
                      <a:lnTo>
                        <a:pt x="1" y="76"/>
                      </a:lnTo>
                      <a:lnTo>
                        <a:pt x="3" y="77"/>
                      </a:lnTo>
                      <a:lnTo>
                        <a:pt x="5" y="76"/>
                      </a:lnTo>
                      <a:lnTo>
                        <a:pt x="7" y="76"/>
                      </a:lnTo>
                      <a:lnTo>
                        <a:pt x="8" y="79"/>
                      </a:lnTo>
                      <a:lnTo>
                        <a:pt x="10" y="78"/>
                      </a:lnTo>
                      <a:lnTo>
                        <a:pt x="12" y="79"/>
                      </a:lnTo>
                      <a:lnTo>
                        <a:pt x="13" y="83"/>
                      </a:lnTo>
                      <a:lnTo>
                        <a:pt x="15" y="84"/>
                      </a:lnTo>
                      <a:lnTo>
                        <a:pt x="17" y="84"/>
                      </a:lnTo>
                      <a:lnTo>
                        <a:pt x="18" y="87"/>
                      </a:lnTo>
                      <a:lnTo>
                        <a:pt x="16" y="90"/>
                      </a:lnTo>
                      <a:lnTo>
                        <a:pt x="17" y="91"/>
                      </a:lnTo>
                      <a:lnTo>
                        <a:pt x="15" y="94"/>
                      </a:lnTo>
                      <a:lnTo>
                        <a:pt x="15" y="97"/>
                      </a:lnTo>
                      <a:lnTo>
                        <a:pt x="16" y="99"/>
                      </a:lnTo>
                      <a:lnTo>
                        <a:pt x="15" y="103"/>
                      </a:lnTo>
                      <a:lnTo>
                        <a:pt x="16" y="106"/>
                      </a:lnTo>
                      <a:lnTo>
                        <a:pt x="16" y="110"/>
                      </a:lnTo>
                      <a:lnTo>
                        <a:pt x="18" y="111"/>
                      </a:lnTo>
                      <a:lnTo>
                        <a:pt x="22" y="105"/>
                      </a:lnTo>
                      <a:lnTo>
                        <a:pt x="26" y="105"/>
                      </a:lnTo>
                      <a:lnTo>
                        <a:pt x="26" y="104"/>
                      </a:lnTo>
                      <a:lnTo>
                        <a:pt x="36" y="99"/>
                      </a:lnTo>
                      <a:lnTo>
                        <a:pt x="36" y="98"/>
                      </a:lnTo>
                      <a:lnTo>
                        <a:pt x="42" y="97"/>
                      </a:lnTo>
                      <a:lnTo>
                        <a:pt x="60" y="97"/>
                      </a:lnTo>
                      <a:lnTo>
                        <a:pt x="67" y="94"/>
                      </a:lnTo>
                      <a:lnTo>
                        <a:pt x="74" y="98"/>
                      </a:lnTo>
                      <a:lnTo>
                        <a:pt x="74" y="94"/>
                      </a:lnTo>
                      <a:lnTo>
                        <a:pt x="77" y="93"/>
                      </a:lnTo>
                      <a:lnTo>
                        <a:pt x="79" y="98"/>
                      </a:lnTo>
                      <a:lnTo>
                        <a:pt x="80" y="96"/>
                      </a:lnTo>
                      <a:lnTo>
                        <a:pt x="83" y="9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40" name="Freeform 843">
                  <a:extLst>
                    <a:ext uri="{FF2B5EF4-FFF2-40B4-BE49-F238E27FC236}">
                      <a16:creationId xmlns:a16="http://schemas.microsoft.com/office/drawing/2014/main" id="{A8A36C9E-F7DD-4D09-82D5-17E38A7020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66" y="2611"/>
                  <a:ext cx="59" cy="112"/>
                </a:xfrm>
                <a:custGeom>
                  <a:avLst/>
                  <a:gdLst>
                    <a:gd name="T0" fmla="*/ 54 w 59"/>
                    <a:gd name="T1" fmla="*/ 86 h 112"/>
                    <a:gd name="T2" fmla="*/ 52 w 59"/>
                    <a:gd name="T3" fmla="*/ 78 h 112"/>
                    <a:gd name="T4" fmla="*/ 53 w 59"/>
                    <a:gd name="T5" fmla="*/ 71 h 112"/>
                    <a:gd name="T6" fmla="*/ 54 w 59"/>
                    <a:gd name="T7" fmla="*/ 58 h 112"/>
                    <a:gd name="T8" fmla="*/ 53 w 59"/>
                    <a:gd name="T9" fmla="*/ 49 h 112"/>
                    <a:gd name="T10" fmla="*/ 53 w 59"/>
                    <a:gd name="T11" fmla="*/ 45 h 112"/>
                    <a:gd name="T12" fmla="*/ 52 w 59"/>
                    <a:gd name="T13" fmla="*/ 40 h 112"/>
                    <a:gd name="T14" fmla="*/ 53 w 59"/>
                    <a:gd name="T15" fmla="*/ 35 h 112"/>
                    <a:gd name="T16" fmla="*/ 52 w 59"/>
                    <a:gd name="T17" fmla="*/ 28 h 112"/>
                    <a:gd name="T18" fmla="*/ 50 w 59"/>
                    <a:gd name="T19" fmla="*/ 21 h 112"/>
                    <a:gd name="T20" fmla="*/ 48 w 59"/>
                    <a:gd name="T21" fmla="*/ 14 h 112"/>
                    <a:gd name="T22" fmla="*/ 44 w 59"/>
                    <a:gd name="T23" fmla="*/ 8 h 112"/>
                    <a:gd name="T24" fmla="*/ 42 w 59"/>
                    <a:gd name="T25" fmla="*/ 4 h 112"/>
                    <a:gd name="T26" fmla="*/ 40 w 59"/>
                    <a:gd name="T27" fmla="*/ 0 h 112"/>
                    <a:gd name="T28" fmla="*/ 33 w 59"/>
                    <a:gd name="T29" fmla="*/ 1 h 112"/>
                    <a:gd name="T30" fmla="*/ 21 w 59"/>
                    <a:gd name="T31" fmla="*/ 3 h 112"/>
                    <a:gd name="T32" fmla="*/ 9 w 59"/>
                    <a:gd name="T33" fmla="*/ 3 h 112"/>
                    <a:gd name="T34" fmla="*/ 4 w 59"/>
                    <a:gd name="T35" fmla="*/ 7 h 112"/>
                    <a:gd name="T36" fmla="*/ 6 w 59"/>
                    <a:gd name="T37" fmla="*/ 14 h 112"/>
                    <a:gd name="T38" fmla="*/ 8 w 59"/>
                    <a:gd name="T39" fmla="*/ 24 h 112"/>
                    <a:gd name="T40" fmla="*/ 7 w 59"/>
                    <a:gd name="T41" fmla="*/ 31 h 112"/>
                    <a:gd name="T42" fmla="*/ 8 w 59"/>
                    <a:gd name="T43" fmla="*/ 37 h 112"/>
                    <a:gd name="T44" fmla="*/ 11 w 59"/>
                    <a:gd name="T45" fmla="*/ 44 h 112"/>
                    <a:gd name="T46" fmla="*/ 10 w 59"/>
                    <a:gd name="T47" fmla="*/ 51 h 112"/>
                    <a:gd name="T48" fmla="*/ 3 w 59"/>
                    <a:gd name="T49" fmla="*/ 61 h 112"/>
                    <a:gd name="T50" fmla="*/ 2 w 59"/>
                    <a:gd name="T51" fmla="*/ 67 h 112"/>
                    <a:gd name="T52" fmla="*/ 0 w 59"/>
                    <a:gd name="T53" fmla="*/ 73 h 112"/>
                    <a:gd name="T54" fmla="*/ 0 w 59"/>
                    <a:gd name="T55" fmla="*/ 82 h 112"/>
                    <a:gd name="T56" fmla="*/ 1 w 59"/>
                    <a:gd name="T57" fmla="*/ 85 h 112"/>
                    <a:gd name="T58" fmla="*/ 4 w 59"/>
                    <a:gd name="T59" fmla="*/ 96 h 112"/>
                    <a:gd name="T60" fmla="*/ 8 w 59"/>
                    <a:gd name="T61" fmla="*/ 100 h 112"/>
                    <a:gd name="T62" fmla="*/ 6 w 59"/>
                    <a:gd name="T63" fmla="*/ 105 h 112"/>
                    <a:gd name="T64" fmla="*/ 2 w 59"/>
                    <a:gd name="T65" fmla="*/ 107 h 112"/>
                    <a:gd name="T66" fmla="*/ 11 w 59"/>
                    <a:gd name="T67" fmla="*/ 109 h 112"/>
                    <a:gd name="T68" fmla="*/ 28 w 59"/>
                    <a:gd name="T69" fmla="*/ 105 h 112"/>
                    <a:gd name="T70" fmla="*/ 44 w 59"/>
                    <a:gd name="T71" fmla="*/ 96 h 112"/>
                    <a:gd name="T72" fmla="*/ 59 w 59"/>
                    <a:gd name="T73" fmla="*/ 92 h 112"/>
                    <a:gd name="T74" fmla="*/ 56 w 59"/>
                    <a:gd name="T75" fmla="*/ 87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59" h="112">
                      <a:moveTo>
                        <a:pt x="56" y="87"/>
                      </a:moveTo>
                      <a:lnTo>
                        <a:pt x="54" y="86"/>
                      </a:lnTo>
                      <a:lnTo>
                        <a:pt x="53" y="82"/>
                      </a:lnTo>
                      <a:lnTo>
                        <a:pt x="52" y="78"/>
                      </a:lnTo>
                      <a:lnTo>
                        <a:pt x="52" y="73"/>
                      </a:lnTo>
                      <a:lnTo>
                        <a:pt x="53" y="71"/>
                      </a:lnTo>
                      <a:lnTo>
                        <a:pt x="55" y="67"/>
                      </a:lnTo>
                      <a:lnTo>
                        <a:pt x="54" y="58"/>
                      </a:lnTo>
                      <a:lnTo>
                        <a:pt x="53" y="55"/>
                      </a:lnTo>
                      <a:lnTo>
                        <a:pt x="53" y="49"/>
                      </a:lnTo>
                      <a:lnTo>
                        <a:pt x="52" y="47"/>
                      </a:lnTo>
                      <a:lnTo>
                        <a:pt x="53" y="45"/>
                      </a:lnTo>
                      <a:lnTo>
                        <a:pt x="53" y="41"/>
                      </a:lnTo>
                      <a:lnTo>
                        <a:pt x="52" y="40"/>
                      </a:lnTo>
                      <a:lnTo>
                        <a:pt x="52" y="38"/>
                      </a:lnTo>
                      <a:lnTo>
                        <a:pt x="53" y="35"/>
                      </a:lnTo>
                      <a:lnTo>
                        <a:pt x="52" y="29"/>
                      </a:lnTo>
                      <a:lnTo>
                        <a:pt x="52" y="28"/>
                      </a:lnTo>
                      <a:lnTo>
                        <a:pt x="50" y="27"/>
                      </a:lnTo>
                      <a:lnTo>
                        <a:pt x="50" y="21"/>
                      </a:lnTo>
                      <a:lnTo>
                        <a:pt x="51" y="17"/>
                      </a:lnTo>
                      <a:lnTo>
                        <a:pt x="48" y="14"/>
                      </a:lnTo>
                      <a:lnTo>
                        <a:pt x="47" y="12"/>
                      </a:lnTo>
                      <a:lnTo>
                        <a:pt x="44" y="8"/>
                      </a:lnTo>
                      <a:lnTo>
                        <a:pt x="43" y="6"/>
                      </a:lnTo>
                      <a:lnTo>
                        <a:pt x="42" y="4"/>
                      </a:lnTo>
                      <a:lnTo>
                        <a:pt x="41" y="0"/>
                      </a:lnTo>
                      <a:lnTo>
                        <a:pt x="40" y="0"/>
                      </a:lnTo>
                      <a:lnTo>
                        <a:pt x="36" y="1"/>
                      </a:lnTo>
                      <a:lnTo>
                        <a:pt x="33" y="1"/>
                      </a:lnTo>
                      <a:lnTo>
                        <a:pt x="28" y="3"/>
                      </a:lnTo>
                      <a:lnTo>
                        <a:pt x="21" y="3"/>
                      </a:lnTo>
                      <a:lnTo>
                        <a:pt x="19" y="3"/>
                      </a:lnTo>
                      <a:lnTo>
                        <a:pt x="9" y="3"/>
                      </a:lnTo>
                      <a:lnTo>
                        <a:pt x="4" y="3"/>
                      </a:lnTo>
                      <a:lnTo>
                        <a:pt x="4" y="7"/>
                      </a:lnTo>
                      <a:lnTo>
                        <a:pt x="4" y="13"/>
                      </a:lnTo>
                      <a:lnTo>
                        <a:pt x="6" y="14"/>
                      </a:lnTo>
                      <a:lnTo>
                        <a:pt x="7" y="19"/>
                      </a:lnTo>
                      <a:lnTo>
                        <a:pt x="8" y="24"/>
                      </a:lnTo>
                      <a:lnTo>
                        <a:pt x="8" y="25"/>
                      </a:lnTo>
                      <a:lnTo>
                        <a:pt x="7" y="31"/>
                      </a:lnTo>
                      <a:lnTo>
                        <a:pt x="8" y="34"/>
                      </a:lnTo>
                      <a:lnTo>
                        <a:pt x="8" y="37"/>
                      </a:lnTo>
                      <a:lnTo>
                        <a:pt x="10" y="39"/>
                      </a:lnTo>
                      <a:lnTo>
                        <a:pt x="11" y="44"/>
                      </a:lnTo>
                      <a:lnTo>
                        <a:pt x="10" y="47"/>
                      </a:lnTo>
                      <a:lnTo>
                        <a:pt x="10" y="51"/>
                      </a:lnTo>
                      <a:lnTo>
                        <a:pt x="7" y="53"/>
                      </a:lnTo>
                      <a:lnTo>
                        <a:pt x="3" y="61"/>
                      </a:lnTo>
                      <a:lnTo>
                        <a:pt x="3" y="64"/>
                      </a:lnTo>
                      <a:lnTo>
                        <a:pt x="2" y="67"/>
                      </a:lnTo>
                      <a:lnTo>
                        <a:pt x="2" y="71"/>
                      </a:lnTo>
                      <a:lnTo>
                        <a:pt x="0" y="73"/>
                      </a:lnTo>
                      <a:lnTo>
                        <a:pt x="0" y="80"/>
                      </a:lnTo>
                      <a:lnTo>
                        <a:pt x="0" y="82"/>
                      </a:lnTo>
                      <a:lnTo>
                        <a:pt x="0" y="83"/>
                      </a:lnTo>
                      <a:lnTo>
                        <a:pt x="1" y="85"/>
                      </a:lnTo>
                      <a:lnTo>
                        <a:pt x="3" y="92"/>
                      </a:lnTo>
                      <a:lnTo>
                        <a:pt x="4" y="96"/>
                      </a:lnTo>
                      <a:lnTo>
                        <a:pt x="7" y="96"/>
                      </a:lnTo>
                      <a:lnTo>
                        <a:pt x="8" y="100"/>
                      </a:lnTo>
                      <a:lnTo>
                        <a:pt x="7" y="104"/>
                      </a:lnTo>
                      <a:lnTo>
                        <a:pt x="6" y="105"/>
                      </a:lnTo>
                      <a:lnTo>
                        <a:pt x="3" y="105"/>
                      </a:lnTo>
                      <a:lnTo>
                        <a:pt x="2" y="107"/>
                      </a:lnTo>
                      <a:lnTo>
                        <a:pt x="3" y="108"/>
                      </a:lnTo>
                      <a:lnTo>
                        <a:pt x="11" y="109"/>
                      </a:lnTo>
                      <a:lnTo>
                        <a:pt x="16" y="112"/>
                      </a:lnTo>
                      <a:lnTo>
                        <a:pt x="28" y="105"/>
                      </a:lnTo>
                      <a:lnTo>
                        <a:pt x="37" y="104"/>
                      </a:lnTo>
                      <a:lnTo>
                        <a:pt x="44" y="96"/>
                      </a:lnTo>
                      <a:lnTo>
                        <a:pt x="51" y="93"/>
                      </a:lnTo>
                      <a:lnTo>
                        <a:pt x="59" y="92"/>
                      </a:lnTo>
                      <a:lnTo>
                        <a:pt x="57" y="89"/>
                      </a:lnTo>
                      <a:lnTo>
                        <a:pt x="56" y="8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41" name="Freeform 844">
                  <a:extLst>
                    <a:ext uri="{FF2B5EF4-FFF2-40B4-BE49-F238E27FC236}">
                      <a16:creationId xmlns:a16="http://schemas.microsoft.com/office/drawing/2014/main" id="{1FB5B59C-C211-4A17-9B4A-8728A20A5B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07" y="2611"/>
                  <a:ext cx="29" cy="92"/>
                </a:xfrm>
                <a:custGeom>
                  <a:avLst/>
                  <a:gdLst>
                    <a:gd name="T0" fmla="*/ 26 w 29"/>
                    <a:gd name="T1" fmla="*/ 79 h 92"/>
                    <a:gd name="T2" fmla="*/ 26 w 29"/>
                    <a:gd name="T3" fmla="*/ 74 h 92"/>
                    <a:gd name="T4" fmla="*/ 25 w 29"/>
                    <a:gd name="T5" fmla="*/ 70 h 92"/>
                    <a:gd name="T6" fmla="*/ 26 w 29"/>
                    <a:gd name="T7" fmla="*/ 49 h 92"/>
                    <a:gd name="T8" fmla="*/ 26 w 29"/>
                    <a:gd name="T9" fmla="*/ 47 h 92"/>
                    <a:gd name="T10" fmla="*/ 28 w 29"/>
                    <a:gd name="T11" fmla="*/ 45 h 92"/>
                    <a:gd name="T12" fmla="*/ 28 w 29"/>
                    <a:gd name="T13" fmla="*/ 40 h 92"/>
                    <a:gd name="T14" fmla="*/ 26 w 29"/>
                    <a:gd name="T15" fmla="*/ 38 h 92"/>
                    <a:gd name="T16" fmla="*/ 26 w 29"/>
                    <a:gd name="T17" fmla="*/ 33 h 92"/>
                    <a:gd name="T18" fmla="*/ 25 w 29"/>
                    <a:gd name="T19" fmla="*/ 26 h 92"/>
                    <a:gd name="T20" fmla="*/ 22 w 29"/>
                    <a:gd name="T21" fmla="*/ 17 h 92"/>
                    <a:gd name="T22" fmla="*/ 21 w 29"/>
                    <a:gd name="T23" fmla="*/ 16 h 92"/>
                    <a:gd name="T24" fmla="*/ 19 w 29"/>
                    <a:gd name="T25" fmla="*/ 14 h 92"/>
                    <a:gd name="T26" fmla="*/ 15 w 29"/>
                    <a:gd name="T27" fmla="*/ 11 h 92"/>
                    <a:gd name="T28" fmla="*/ 15 w 29"/>
                    <a:gd name="T29" fmla="*/ 6 h 92"/>
                    <a:gd name="T30" fmla="*/ 15 w 29"/>
                    <a:gd name="T31" fmla="*/ 4 h 92"/>
                    <a:gd name="T32" fmla="*/ 1 w 29"/>
                    <a:gd name="T33" fmla="*/ 0 h 92"/>
                    <a:gd name="T34" fmla="*/ 0 w 29"/>
                    <a:gd name="T35" fmla="*/ 0 h 92"/>
                    <a:gd name="T36" fmla="*/ 0 w 29"/>
                    <a:gd name="T37" fmla="*/ 0 h 92"/>
                    <a:gd name="T38" fmla="*/ 1 w 29"/>
                    <a:gd name="T39" fmla="*/ 4 h 92"/>
                    <a:gd name="T40" fmla="*/ 2 w 29"/>
                    <a:gd name="T41" fmla="*/ 6 h 92"/>
                    <a:gd name="T42" fmla="*/ 3 w 29"/>
                    <a:gd name="T43" fmla="*/ 8 h 92"/>
                    <a:gd name="T44" fmla="*/ 6 w 29"/>
                    <a:gd name="T45" fmla="*/ 12 h 92"/>
                    <a:gd name="T46" fmla="*/ 7 w 29"/>
                    <a:gd name="T47" fmla="*/ 14 h 92"/>
                    <a:gd name="T48" fmla="*/ 10 w 29"/>
                    <a:gd name="T49" fmla="*/ 17 h 92"/>
                    <a:gd name="T50" fmla="*/ 9 w 29"/>
                    <a:gd name="T51" fmla="*/ 21 h 92"/>
                    <a:gd name="T52" fmla="*/ 9 w 29"/>
                    <a:gd name="T53" fmla="*/ 27 h 92"/>
                    <a:gd name="T54" fmla="*/ 11 w 29"/>
                    <a:gd name="T55" fmla="*/ 28 h 92"/>
                    <a:gd name="T56" fmla="*/ 11 w 29"/>
                    <a:gd name="T57" fmla="*/ 29 h 92"/>
                    <a:gd name="T58" fmla="*/ 12 w 29"/>
                    <a:gd name="T59" fmla="*/ 35 h 92"/>
                    <a:gd name="T60" fmla="*/ 11 w 29"/>
                    <a:gd name="T61" fmla="*/ 38 h 92"/>
                    <a:gd name="T62" fmla="*/ 11 w 29"/>
                    <a:gd name="T63" fmla="*/ 40 h 92"/>
                    <a:gd name="T64" fmla="*/ 12 w 29"/>
                    <a:gd name="T65" fmla="*/ 41 h 92"/>
                    <a:gd name="T66" fmla="*/ 12 w 29"/>
                    <a:gd name="T67" fmla="*/ 45 h 92"/>
                    <a:gd name="T68" fmla="*/ 11 w 29"/>
                    <a:gd name="T69" fmla="*/ 47 h 92"/>
                    <a:gd name="T70" fmla="*/ 12 w 29"/>
                    <a:gd name="T71" fmla="*/ 49 h 92"/>
                    <a:gd name="T72" fmla="*/ 12 w 29"/>
                    <a:gd name="T73" fmla="*/ 55 h 92"/>
                    <a:gd name="T74" fmla="*/ 13 w 29"/>
                    <a:gd name="T75" fmla="*/ 58 h 92"/>
                    <a:gd name="T76" fmla="*/ 14 w 29"/>
                    <a:gd name="T77" fmla="*/ 67 h 92"/>
                    <a:gd name="T78" fmla="*/ 12 w 29"/>
                    <a:gd name="T79" fmla="*/ 71 h 92"/>
                    <a:gd name="T80" fmla="*/ 11 w 29"/>
                    <a:gd name="T81" fmla="*/ 73 h 92"/>
                    <a:gd name="T82" fmla="*/ 11 w 29"/>
                    <a:gd name="T83" fmla="*/ 78 h 92"/>
                    <a:gd name="T84" fmla="*/ 12 w 29"/>
                    <a:gd name="T85" fmla="*/ 82 h 92"/>
                    <a:gd name="T86" fmla="*/ 13 w 29"/>
                    <a:gd name="T87" fmla="*/ 86 h 92"/>
                    <a:gd name="T88" fmla="*/ 15 w 29"/>
                    <a:gd name="T89" fmla="*/ 87 h 92"/>
                    <a:gd name="T90" fmla="*/ 16 w 29"/>
                    <a:gd name="T91" fmla="*/ 89 h 92"/>
                    <a:gd name="T92" fmla="*/ 18 w 29"/>
                    <a:gd name="T93" fmla="*/ 92 h 92"/>
                    <a:gd name="T94" fmla="*/ 19 w 29"/>
                    <a:gd name="T95" fmla="*/ 91 h 92"/>
                    <a:gd name="T96" fmla="*/ 26 w 29"/>
                    <a:gd name="T97" fmla="*/ 86 h 92"/>
                    <a:gd name="T98" fmla="*/ 28 w 29"/>
                    <a:gd name="T99" fmla="*/ 86 h 92"/>
                    <a:gd name="T100" fmla="*/ 29 w 29"/>
                    <a:gd name="T101" fmla="*/ 83 h 92"/>
                    <a:gd name="T102" fmla="*/ 26 w 29"/>
                    <a:gd name="T103" fmla="*/ 79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9" h="92">
                      <a:moveTo>
                        <a:pt x="26" y="79"/>
                      </a:moveTo>
                      <a:lnTo>
                        <a:pt x="26" y="74"/>
                      </a:lnTo>
                      <a:lnTo>
                        <a:pt x="25" y="70"/>
                      </a:lnTo>
                      <a:lnTo>
                        <a:pt x="26" y="49"/>
                      </a:lnTo>
                      <a:lnTo>
                        <a:pt x="26" y="47"/>
                      </a:lnTo>
                      <a:lnTo>
                        <a:pt x="28" y="45"/>
                      </a:lnTo>
                      <a:lnTo>
                        <a:pt x="28" y="40"/>
                      </a:lnTo>
                      <a:lnTo>
                        <a:pt x="26" y="38"/>
                      </a:lnTo>
                      <a:lnTo>
                        <a:pt x="26" y="33"/>
                      </a:lnTo>
                      <a:lnTo>
                        <a:pt x="25" y="26"/>
                      </a:lnTo>
                      <a:lnTo>
                        <a:pt x="22" y="17"/>
                      </a:lnTo>
                      <a:lnTo>
                        <a:pt x="21" y="16"/>
                      </a:lnTo>
                      <a:lnTo>
                        <a:pt x="19" y="14"/>
                      </a:lnTo>
                      <a:lnTo>
                        <a:pt x="15" y="11"/>
                      </a:lnTo>
                      <a:lnTo>
                        <a:pt x="15" y="6"/>
                      </a:lnTo>
                      <a:lnTo>
                        <a:pt x="15" y="4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4"/>
                      </a:lnTo>
                      <a:lnTo>
                        <a:pt x="2" y="6"/>
                      </a:lnTo>
                      <a:lnTo>
                        <a:pt x="3" y="8"/>
                      </a:lnTo>
                      <a:lnTo>
                        <a:pt x="6" y="12"/>
                      </a:lnTo>
                      <a:lnTo>
                        <a:pt x="7" y="14"/>
                      </a:lnTo>
                      <a:lnTo>
                        <a:pt x="10" y="17"/>
                      </a:lnTo>
                      <a:lnTo>
                        <a:pt x="9" y="21"/>
                      </a:lnTo>
                      <a:lnTo>
                        <a:pt x="9" y="27"/>
                      </a:lnTo>
                      <a:lnTo>
                        <a:pt x="11" y="28"/>
                      </a:lnTo>
                      <a:lnTo>
                        <a:pt x="11" y="29"/>
                      </a:lnTo>
                      <a:lnTo>
                        <a:pt x="12" y="35"/>
                      </a:lnTo>
                      <a:lnTo>
                        <a:pt x="11" y="38"/>
                      </a:lnTo>
                      <a:lnTo>
                        <a:pt x="11" y="40"/>
                      </a:lnTo>
                      <a:lnTo>
                        <a:pt x="12" y="41"/>
                      </a:lnTo>
                      <a:lnTo>
                        <a:pt x="12" y="45"/>
                      </a:lnTo>
                      <a:lnTo>
                        <a:pt x="11" y="47"/>
                      </a:lnTo>
                      <a:lnTo>
                        <a:pt x="12" y="49"/>
                      </a:lnTo>
                      <a:lnTo>
                        <a:pt x="12" y="55"/>
                      </a:lnTo>
                      <a:lnTo>
                        <a:pt x="13" y="58"/>
                      </a:lnTo>
                      <a:lnTo>
                        <a:pt x="14" y="67"/>
                      </a:lnTo>
                      <a:lnTo>
                        <a:pt x="12" y="71"/>
                      </a:lnTo>
                      <a:lnTo>
                        <a:pt x="11" y="73"/>
                      </a:lnTo>
                      <a:lnTo>
                        <a:pt x="11" y="78"/>
                      </a:lnTo>
                      <a:lnTo>
                        <a:pt x="12" y="82"/>
                      </a:lnTo>
                      <a:lnTo>
                        <a:pt x="13" y="86"/>
                      </a:lnTo>
                      <a:lnTo>
                        <a:pt x="15" y="87"/>
                      </a:lnTo>
                      <a:lnTo>
                        <a:pt x="16" y="89"/>
                      </a:lnTo>
                      <a:lnTo>
                        <a:pt x="18" y="92"/>
                      </a:lnTo>
                      <a:lnTo>
                        <a:pt x="19" y="91"/>
                      </a:lnTo>
                      <a:lnTo>
                        <a:pt x="26" y="86"/>
                      </a:lnTo>
                      <a:lnTo>
                        <a:pt x="28" y="86"/>
                      </a:lnTo>
                      <a:lnTo>
                        <a:pt x="29" y="83"/>
                      </a:lnTo>
                      <a:lnTo>
                        <a:pt x="26" y="7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42" name="Freeform 845">
                  <a:extLst>
                    <a:ext uri="{FF2B5EF4-FFF2-40B4-BE49-F238E27FC236}">
                      <a16:creationId xmlns:a16="http://schemas.microsoft.com/office/drawing/2014/main" id="{5DD5B4E7-8124-4AFF-894C-B724F9BFBA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22" y="2587"/>
                  <a:ext cx="44" cy="110"/>
                </a:xfrm>
                <a:custGeom>
                  <a:avLst/>
                  <a:gdLst>
                    <a:gd name="T0" fmla="*/ 28 w 44"/>
                    <a:gd name="T1" fmla="*/ 93 h 110"/>
                    <a:gd name="T2" fmla="*/ 28 w 44"/>
                    <a:gd name="T3" fmla="*/ 82 h 110"/>
                    <a:gd name="T4" fmla="*/ 28 w 44"/>
                    <a:gd name="T5" fmla="*/ 78 h 110"/>
                    <a:gd name="T6" fmla="*/ 28 w 44"/>
                    <a:gd name="T7" fmla="*/ 76 h 110"/>
                    <a:gd name="T8" fmla="*/ 27 w 44"/>
                    <a:gd name="T9" fmla="*/ 72 h 110"/>
                    <a:gd name="T10" fmla="*/ 28 w 44"/>
                    <a:gd name="T11" fmla="*/ 65 h 110"/>
                    <a:gd name="T12" fmla="*/ 28 w 44"/>
                    <a:gd name="T13" fmla="*/ 60 h 110"/>
                    <a:gd name="T14" fmla="*/ 32 w 44"/>
                    <a:gd name="T15" fmla="*/ 59 h 110"/>
                    <a:gd name="T16" fmla="*/ 35 w 44"/>
                    <a:gd name="T17" fmla="*/ 55 h 110"/>
                    <a:gd name="T18" fmla="*/ 38 w 44"/>
                    <a:gd name="T19" fmla="*/ 48 h 110"/>
                    <a:gd name="T20" fmla="*/ 41 w 44"/>
                    <a:gd name="T21" fmla="*/ 46 h 110"/>
                    <a:gd name="T22" fmla="*/ 39 w 44"/>
                    <a:gd name="T23" fmla="*/ 41 h 110"/>
                    <a:gd name="T24" fmla="*/ 41 w 44"/>
                    <a:gd name="T25" fmla="*/ 37 h 110"/>
                    <a:gd name="T26" fmla="*/ 44 w 44"/>
                    <a:gd name="T27" fmla="*/ 34 h 110"/>
                    <a:gd name="T28" fmla="*/ 43 w 44"/>
                    <a:gd name="T29" fmla="*/ 24 h 110"/>
                    <a:gd name="T30" fmla="*/ 38 w 44"/>
                    <a:gd name="T31" fmla="*/ 18 h 110"/>
                    <a:gd name="T32" fmla="*/ 39 w 44"/>
                    <a:gd name="T33" fmla="*/ 14 h 110"/>
                    <a:gd name="T34" fmla="*/ 33 w 44"/>
                    <a:gd name="T35" fmla="*/ 8 h 110"/>
                    <a:gd name="T36" fmla="*/ 26 w 44"/>
                    <a:gd name="T37" fmla="*/ 0 h 110"/>
                    <a:gd name="T38" fmla="*/ 25 w 44"/>
                    <a:gd name="T39" fmla="*/ 5 h 110"/>
                    <a:gd name="T40" fmla="*/ 21 w 44"/>
                    <a:gd name="T41" fmla="*/ 6 h 110"/>
                    <a:gd name="T42" fmla="*/ 17 w 44"/>
                    <a:gd name="T43" fmla="*/ 13 h 110"/>
                    <a:gd name="T44" fmla="*/ 10 w 44"/>
                    <a:gd name="T45" fmla="*/ 16 h 110"/>
                    <a:gd name="T46" fmla="*/ 7 w 44"/>
                    <a:gd name="T47" fmla="*/ 17 h 110"/>
                    <a:gd name="T48" fmla="*/ 4 w 44"/>
                    <a:gd name="T49" fmla="*/ 22 h 110"/>
                    <a:gd name="T50" fmla="*/ 1 w 44"/>
                    <a:gd name="T51" fmla="*/ 27 h 110"/>
                    <a:gd name="T52" fmla="*/ 0 w 44"/>
                    <a:gd name="T53" fmla="*/ 35 h 110"/>
                    <a:gd name="T54" fmla="*/ 6 w 44"/>
                    <a:gd name="T55" fmla="*/ 40 h 110"/>
                    <a:gd name="T56" fmla="*/ 10 w 44"/>
                    <a:gd name="T57" fmla="*/ 50 h 110"/>
                    <a:gd name="T58" fmla="*/ 11 w 44"/>
                    <a:gd name="T59" fmla="*/ 62 h 110"/>
                    <a:gd name="T60" fmla="*/ 13 w 44"/>
                    <a:gd name="T61" fmla="*/ 69 h 110"/>
                    <a:gd name="T62" fmla="*/ 11 w 44"/>
                    <a:gd name="T63" fmla="*/ 73 h 110"/>
                    <a:gd name="T64" fmla="*/ 11 w 44"/>
                    <a:gd name="T65" fmla="*/ 98 h 110"/>
                    <a:gd name="T66" fmla="*/ 14 w 44"/>
                    <a:gd name="T67" fmla="*/ 107 h 110"/>
                    <a:gd name="T68" fmla="*/ 18 w 44"/>
                    <a:gd name="T69" fmla="*/ 110 h 110"/>
                    <a:gd name="T70" fmla="*/ 28 w 44"/>
                    <a:gd name="T71" fmla="*/ 107 h 110"/>
                    <a:gd name="T72" fmla="*/ 28 w 44"/>
                    <a:gd name="T73" fmla="*/ 95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44" h="110">
                      <a:moveTo>
                        <a:pt x="28" y="95"/>
                      </a:moveTo>
                      <a:lnTo>
                        <a:pt x="28" y="93"/>
                      </a:lnTo>
                      <a:lnTo>
                        <a:pt x="28" y="89"/>
                      </a:lnTo>
                      <a:lnTo>
                        <a:pt x="28" y="82"/>
                      </a:lnTo>
                      <a:lnTo>
                        <a:pt x="28" y="80"/>
                      </a:lnTo>
                      <a:lnTo>
                        <a:pt x="28" y="78"/>
                      </a:lnTo>
                      <a:lnTo>
                        <a:pt x="28" y="77"/>
                      </a:lnTo>
                      <a:lnTo>
                        <a:pt x="28" y="76"/>
                      </a:lnTo>
                      <a:lnTo>
                        <a:pt x="28" y="72"/>
                      </a:lnTo>
                      <a:lnTo>
                        <a:pt x="27" y="72"/>
                      </a:lnTo>
                      <a:lnTo>
                        <a:pt x="28" y="68"/>
                      </a:lnTo>
                      <a:lnTo>
                        <a:pt x="28" y="65"/>
                      </a:lnTo>
                      <a:lnTo>
                        <a:pt x="28" y="62"/>
                      </a:lnTo>
                      <a:lnTo>
                        <a:pt x="28" y="60"/>
                      </a:lnTo>
                      <a:lnTo>
                        <a:pt x="31" y="59"/>
                      </a:lnTo>
                      <a:lnTo>
                        <a:pt x="32" y="59"/>
                      </a:lnTo>
                      <a:lnTo>
                        <a:pt x="34" y="58"/>
                      </a:lnTo>
                      <a:lnTo>
                        <a:pt x="35" y="55"/>
                      </a:lnTo>
                      <a:lnTo>
                        <a:pt x="37" y="51"/>
                      </a:lnTo>
                      <a:lnTo>
                        <a:pt x="38" y="48"/>
                      </a:lnTo>
                      <a:lnTo>
                        <a:pt x="40" y="46"/>
                      </a:lnTo>
                      <a:lnTo>
                        <a:pt x="41" y="46"/>
                      </a:lnTo>
                      <a:lnTo>
                        <a:pt x="42" y="45"/>
                      </a:lnTo>
                      <a:lnTo>
                        <a:pt x="39" y="41"/>
                      </a:lnTo>
                      <a:lnTo>
                        <a:pt x="39" y="39"/>
                      </a:lnTo>
                      <a:lnTo>
                        <a:pt x="41" y="37"/>
                      </a:lnTo>
                      <a:lnTo>
                        <a:pt x="44" y="37"/>
                      </a:lnTo>
                      <a:lnTo>
                        <a:pt x="44" y="34"/>
                      </a:lnTo>
                      <a:lnTo>
                        <a:pt x="43" y="28"/>
                      </a:lnTo>
                      <a:lnTo>
                        <a:pt x="43" y="24"/>
                      </a:lnTo>
                      <a:lnTo>
                        <a:pt x="39" y="20"/>
                      </a:lnTo>
                      <a:lnTo>
                        <a:pt x="38" y="18"/>
                      </a:lnTo>
                      <a:lnTo>
                        <a:pt x="39" y="14"/>
                      </a:lnTo>
                      <a:lnTo>
                        <a:pt x="39" y="14"/>
                      </a:lnTo>
                      <a:lnTo>
                        <a:pt x="36" y="10"/>
                      </a:lnTo>
                      <a:lnTo>
                        <a:pt x="33" y="8"/>
                      </a:lnTo>
                      <a:lnTo>
                        <a:pt x="31" y="4"/>
                      </a:lnTo>
                      <a:lnTo>
                        <a:pt x="26" y="0"/>
                      </a:lnTo>
                      <a:lnTo>
                        <a:pt x="24" y="3"/>
                      </a:lnTo>
                      <a:lnTo>
                        <a:pt x="25" y="5"/>
                      </a:lnTo>
                      <a:lnTo>
                        <a:pt x="22" y="6"/>
                      </a:lnTo>
                      <a:lnTo>
                        <a:pt x="21" y="6"/>
                      </a:lnTo>
                      <a:lnTo>
                        <a:pt x="21" y="9"/>
                      </a:lnTo>
                      <a:lnTo>
                        <a:pt x="17" y="13"/>
                      </a:lnTo>
                      <a:lnTo>
                        <a:pt x="15" y="13"/>
                      </a:lnTo>
                      <a:lnTo>
                        <a:pt x="10" y="16"/>
                      </a:lnTo>
                      <a:lnTo>
                        <a:pt x="9" y="15"/>
                      </a:lnTo>
                      <a:lnTo>
                        <a:pt x="7" y="17"/>
                      </a:lnTo>
                      <a:lnTo>
                        <a:pt x="7" y="20"/>
                      </a:lnTo>
                      <a:lnTo>
                        <a:pt x="4" y="22"/>
                      </a:lnTo>
                      <a:lnTo>
                        <a:pt x="5" y="25"/>
                      </a:lnTo>
                      <a:lnTo>
                        <a:pt x="1" y="27"/>
                      </a:lnTo>
                      <a:lnTo>
                        <a:pt x="0" y="30"/>
                      </a:lnTo>
                      <a:lnTo>
                        <a:pt x="0" y="35"/>
                      </a:lnTo>
                      <a:lnTo>
                        <a:pt x="4" y="38"/>
                      </a:lnTo>
                      <a:lnTo>
                        <a:pt x="6" y="40"/>
                      </a:lnTo>
                      <a:lnTo>
                        <a:pt x="7" y="41"/>
                      </a:lnTo>
                      <a:lnTo>
                        <a:pt x="10" y="50"/>
                      </a:lnTo>
                      <a:lnTo>
                        <a:pt x="11" y="57"/>
                      </a:lnTo>
                      <a:lnTo>
                        <a:pt x="11" y="62"/>
                      </a:lnTo>
                      <a:lnTo>
                        <a:pt x="13" y="64"/>
                      </a:lnTo>
                      <a:lnTo>
                        <a:pt x="13" y="69"/>
                      </a:lnTo>
                      <a:lnTo>
                        <a:pt x="11" y="71"/>
                      </a:lnTo>
                      <a:lnTo>
                        <a:pt x="11" y="73"/>
                      </a:lnTo>
                      <a:lnTo>
                        <a:pt x="10" y="94"/>
                      </a:lnTo>
                      <a:lnTo>
                        <a:pt x="11" y="98"/>
                      </a:lnTo>
                      <a:lnTo>
                        <a:pt x="11" y="103"/>
                      </a:lnTo>
                      <a:lnTo>
                        <a:pt x="14" y="107"/>
                      </a:lnTo>
                      <a:lnTo>
                        <a:pt x="13" y="110"/>
                      </a:lnTo>
                      <a:lnTo>
                        <a:pt x="18" y="110"/>
                      </a:lnTo>
                      <a:lnTo>
                        <a:pt x="28" y="107"/>
                      </a:lnTo>
                      <a:lnTo>
                        <a:pt x="28" y="107"/>
                      </a:lnTo>
                      <a:lnTo>
                        <a:pt x="28" y="103"/>
                      </a:lnTo>
                      <a:lnTo>
                        <a:pt x="28" y="9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43" name="Freeform 846">
                  <a:extLst>
                    <a:ext uri="{FF2B5EF4-FFF2-40B4-BE49-F238E27FC236}">
                      <a16:creationId xmlns:a16="http://schemas.microsoft.com/office/drawing/2014/main" id="{E809681E-51FC-4230-9886-4702F8F0FF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95" y="2396"/>
                  <a:ext cx="148" cy="282"/>
                </a:xfrm>
                <a:custGeom>
                  <a:avLst/>
                  <a:gdLst>
                    <a:gd name="T0" fmla="*/ 18 w 148"/>
                    <a:gd name="T1" fmla="*/ 10 h 282"/>
                    <a:gd name="T2" fmla="*/ 24 w 148"/>
                    <a:gd name="T3" fmla="*/ 39 h 282"/>
                    <a:gd name="T4" fmla="*/ 31 w 148"/>
                    <a:gd name="T5" fmla="*/ 62 h 282"/>
                    <a:gd name="T6" fmla="*/ 4 w 148"/>
                    <a:gd name="T7" fmla="*/ 148 h 282"/>
                    <a:gd name="T8" fmla="*/ 0 w 148"/>
                    <a:gd name="T9" fmla="*/ 150 h 282"/>
                    <a:gd name="T10" fmla="*/ 3 w 148"/>
                    <a:gd name="T11" fmla="*/ 175 h 282"/>
                    <a:gd name="T12" fmla="*/ 9 w 148"/>
                    <a:gd name="T13" fmla="*/ 184 h 282"/>
                    <a:gd name="T14" fmla="*/ 19 w 148"/>
                    <a:gd name="T15" fmla="*/ 193 h 282"/>
                    <a:gd name="T16" fmla="*/ 21 w 148"/>
                    <a:gd name="T17" fmla="*/ 202 h 282"/>
                    <a:gd name="T18" fmla="*/ 22 w 148"/>
                    <a:gd name="T19" fmla="*/ 211 h 282"/>
                    <a:gd name="T20" fmla="*/ 23 w 148"/>
                    <a:gd name="T21" fmla="*/ 218 h 282"/>
                    <a:gd name="T22" fmla="*/ 24 w 148"/>
                    <a:gd name="T23" fmla="*/ 229 h 282"/>
                    <a:gd name="T24" fmla="*/ 31 w 148"/>
                    <a:gd name="T25" fmla="*/ 237 h 282"/>
                    <a:gd name="T26" fmla="*/ 28 w 148"/>
                    <a:gd name="T27" fmla="*/ 239 h 282"/>
                    <a:gd name="T28" fmla="*/ 22 w 148"/>
                    <a:gd name="T29" fmla="*/ 238 h 282"/>
                    <a:gd name="T30" fmla="*/ 16 w 148"/>
                    <a:gd name="T31" fmla="*/ 237 h 282"/>
                    <a:gd name="T32" fmla="*/ 11 w 148"/>
                    <a:gd name="T33" fmla="*/ 240 h 282"/>
                    <a:gd name="T34" fmla="*/ 10 w 148"/>
                    <a:gd name="T35" fmla="*/ 246 h 282"/>
                    <a:gd name="T36" fmla="*/ 15 w 148"/>
                    <a:gd name="T37" fmla="*/ 251 h 282"/>
                    <a:gd name="T38" fmla="*/ 28 w 148"/>
                    <a:gd name="T39" fmla="*/ 265 h 282"/>
                    <a:gd name="T40" fmla="*/ 32 w 148"/>
                    <a:gd name="T41" fmla="*/ 277 h 282"/>
                    <a:gd name="T42" fmla="*/ 37 w 148"/>
                    <a:gd name="T43" fmla="*/ 282 h 282"/>
                    <a:gd name="T44" fmla="*/ 45 w 148"/>
                    <a:gd name="T45" fmla="*/ 277 h 282"/>
                    <a:gd name="T46" fmla="*/ 48 w 148"/>
                    <a:gd name="T47" fmla="*/ 274 h 282"/>
                    <a:gd name="T48" fmla="*/ 52 w 148"/>
                    <a:gd name="T49" fmla="*/ 279 h 282"/>
                    <a:gd name="T50" fmla="*/ 64 w 148"/>
                    <a:gd name="T51" fmla="*/ 270 h 282"/>
                    <a:gd name="T52" fmla="*/ 78 w 148"/>
                    <a:gd name="T53" fmla="*/ 266 h 282"/>
                    <a:gd name="T54" fmla="*/ 80 w 148"/>
                    <a:gd name="T55" fmla="*/ 260 h 282"/>
                    <a:gd name="T56" fmla="*/ 80 w 148"/>
                    <a:gd name="T57" fmla="*/ 253 h 282"/>
                    <a:gd name="T58" fmla="*/ 87 w 148"/>
                    <a:gd name="T59" fmla="*/ 253 h 282"/>
                    <a:gd name="T60" fmla="*/ 100 w 148"/>
                    <a:gd name="T61" fmla="*/ 253 h 282"/>
                    <a:gd name="T62" fmla="*/ 106 w 148"/>
                    <a:gd name="T63" fmla="*/ 246 h 282"/>
                    <a:gd name="T64" fmla="*/ 108 w 148"/>
                    <a:gd name="T65" fmla="*/ 239 h 282"/>
                    <a:gd name="T66" fmla="*/ 111 w 148"/>
                    <a:gd name="T67" fmla="*/ 235 h 282"/>
                    <a:gd name="T68" fmla="*/ 117 w 148"/>
                    <a:gd name="T69" fmla="*/ 229 h 282"/>
                    <a:gd name="T70" fmla="*/ 121 w 148"/>
                    <a:gd name="T71" fmla="*/ 222 h 282"/>
                    <a:gd name="T72" fmla="*/ 128 w 148"/>
                    <a:gd name="T73" fmla="*/ 222 h 282"/>
                    <a:gd name="T74" fmla="*/ 133 w 148"/>
                    <a:gd name="T75" fmla="*/ 217 h 282"/>
                    <a:gd name="T76" fmla="*/ 132 w 148"/>
                    <a:gd name="T77" fmla="*/ 210 h 282"/>
                    <a:gd name="T78" fmla="*/ 127 w 148"/>
                    <a:gd name="T79" fmla="*/ 201 h 282"/>
                    <a:gd name="T80" fmla="*/ 125 w 148"/>
                    <a:gd name="T81" fmla="*/ 194 h 282"/>
                    <a:gd name="T82" fmla="*/ 125 w 148"/>
                    <a:gd name="T83" fmla="*/ 190 h 282"/>
                    <a:gd name="T84" fmla="*/ 119 w 148"/>
                    <a:gd name="T85" fmla="*/ 187 h 282"/>
                    <a:gd name="T86" fmla="*/ 125 w 148"/>
                    <a:gd name="T87" fmla="*/ 174 h 282"/>
                    <a:gd name="T88" fmla="*/ 126 w 148"/>
                    <a:gd name="T89" fmla="*/ 168 h 282"/>
                    <a:gd name="T90" fmla="*/ 125 w 148"/>
                    <a:gd name="T91" fmla="*/ 160 h 282"/>
                    <a:gd name="T92" fmla="*/ 134 w 148"/>
                    <a:gd name="T93" fmla="*/ 150 h 282"/>
                    <a:gd name="T94" fmla="*/ 134 w 148"/>
                    <a:gd name="T95" fmla="*/ 140 h 282"/>
                    <a:gd name="T96" fmla="*/ 142 w 148"/>
                    <a:gd name="T97" fmla="*/ 139 h 282"/>
                    <a:gd name="T98" fmla="*/ 146 w 148"/>
                    <a:gd name="T99" fmla="*/ 69 h 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48" h="282">
                      <a:moveTo>
                        <a:pt x="33" y="0"/>
                      </a:moveTo>
                      <a:lnTo>
                        <a:pt x="17" y="8"/>
                      </a:lnTo>
                      <a:lnTo>
                        <a:pt x="18" y="10"/>
                      </a:lnTo>
                      <a:lnTo>
                        <a:pt x="25" y="33"/>
                      </a:lnTo>
                      <a:lnTo>
                        <a:pt x="24" y="38"/>
                      </a:lnTo>
                      <a:lnTo>
                        <a:pt x="24" y="39"/>
                      </a:lnTo>
                      <a:lnTo>
                        <a:pt x="34" y="53"/>
                      </a:lnTo>
                      <a:lnTo>
                        <a:pt x="33" y="60"/>
                      </a:lnTo>
                      <a:lnTo>
                        <a:pt x="31" y="62"/>
                      </a:lnTo>
                      <a:lnTo>
                        <a:pt x="28" y="94"/>
                      </a:lnTo>
                      <a:lnTo>
                        <a:pt x="28" y="119"/>
                      </a:lnTo>
                      <a:lnTo>
                        <a:pt x="4" y="148"/>
                      </a:lnTo>
                      <a:lnTo>
                        <a:pt x="3" y="149"/>
                      </a:lnTo>
                      <a:lnTo>
                        <a:pt x="2" y="150"/>
                      </a:lnTo>
                      <a:lnTo>
                        <a:pt x="0" y="150"/>
                      </a:lnTo>
                      <a:lnTo>
                        <a:pt x="0" y="153"/>
                      </a:lnTo>
                      <a:lnTo>
                        <a:pt x="1" y="173"/>
                      </a:lnTo>
                      <a:lnTo>
                        <a:pt x="3" y="175"/>
                      </a:lnTo>
                      <a:lnTo>
                        <a:pt x="7" y="180"/>
                      </a:lnTo>
                      <a:lnTo>
                        <a:pt x="9" y="184"/>
                      </a:lnTo>
                      <a:lnTo>
                        <a:pt x="9" y="184"/>
                      </a:lnTo>
                      <a:lnTo>
                        <a:pt x="9" y="184"/>
                      </a:lnTo>
                      <a:lnTo>
                        <a:pt x="16" y="189"/>
                      </a:lnTo>
                      <a:lnTo>
                        <a:pt x="19" y="193"/>
                      </a:lnTo>
                      <a:lnTo>
                        <a:pt x="20" y="198"/>
                      </a:lnTo>
                      <a:lnTo>
                        <a:pt x="21" y="199"/>
                      </a:lnTo>
                      <a:lnTo>
                        <a:pt x="21" y="202"/>
                      </a:lnTo>
                      <a:lnTo>
                        <a:pt x="23" y="207"/>
                      </a:lnTo>
                      <a:lnTo>
                        <a:pt x="23" y="209"/>
                      </a:lnTo>
                      <a:lnTo>
                        <a:pt x="22" y="211"/>
                      </a:lnTo>
                      <a:lnTo>
                        <a:pt x="22" y="212"/>
                      </a:lnTo>
                      <a:lnTo>
                        <a:pt x="24" y="215"/>
                      </a:lnTo>
                      <a:lnTo>
                        <a:pt x="23" y="218"/>
                      </a:lnTo>
                      <a:lnTo>
                        <a:pt x="21" y="221"/>
                      </a:lnTo>
                      <a:lnTo>
                        <a:pt x="21" y="224"/>
                      </a:lnTo>
                      <a:lnTo>
                        <a:pt x="24" y="229"/>
                      </a:lnTo>
                      <a:lnTo>
                        <a:pt x="26" y="230"/>
                      </a:lnTo>
                      <a:lnTo>
                        <a:pt x="27" y="233"/>
                      </a:lnTo>
                      <a:lnTo>
                        <a:pt x="31" y="237"/>
                      </a:lnTo>
                      <a:lnTo>
                        <a:pt x="31" y="238"/>
                      </a:lnTo>
                      <a:lnTo>
                        <a:pt x="30" y="239"/>
                      </a:lnTo>
                      <a:lnTo>
                        <a:pt x="28" y="239"/>
                      </a:lnTo>
                      <a:lnTo>
                        <a:pt x="27" y="238"/>
                      </a:lnTo>
                      <a:lnTo>
                        <a:pt x="24" y="237"/>
                      </a:lnTo>
                      <a:lnTo>
                        <a:pt x="22" y="238"/>
                      </a:lnTo>
                      <a:lnTo>
                        <a:pt x="20" y="237"/>
                      </a:lnTo>
                      <a:lnTo>
                        <a:pt x="17" y="238"/>
                      </a:lnTo>
                      <a:lnTo>
                        <a:pt x="16" y="237"/>
                      </a:lnTo>
                      <a:lnTo>
                        <a:pt x="14" y="237"/>
                      </a:lnTo>
                      <a:lnTo>
                        <a:pt x="11" y="237"/>
                      </a:lnTo>
                      <a:lnTo>
                        <a:pt x="11" y="240"/>
                      </a:lnTo>
                      <a:lnTo>
                        <a:pt x="10" y="242"/>
                      </a:lnTo>
                      <a:lnTo>
                        <a:pt x="10" y="245"/>
                      </a:lnTo>
                      <a:lnTo>
                        <a:pt x="10" y="246"/>
                      </a:lnTo>
                      <a:lnTo>
                        <a:pt x="12" y="248"/>
                      </a:lnTo>
                      <a:lnTo>
                        <a:pt x="13" y="249"/>
                      </a:lnTo>
                      <a:lnTo>
                        <a:pt x="15" y="251"/>
                      </a:lnTo>
                      <a:lnTo>
                        <a:pt x="21" y="256"/>
                      </a:lnTo>
                      <a:lnTo>
                        <a:pt x="25" y="263"/>
                      </a:lnTo>
                      <a:lnTo>
                        <a:pt x="28" y="265"/>
                      </a:lnTo>
                      <a:lnTo>
                        <a:pt x="30" y="270"/>
                      </a:lnTo>
                      <a:lnTo>
                        <a:pt x="32" y="273"/>
                      </a:lnTo>
                      <a:lnTo>
                        <a:pt x="32" y="277"/>
                      </a:lnTo>
                      <a:lnTo>
                        <a:pt x="34" y="279"/>
                      </a:lnTo>
                      <a:lnTo>
                        <a:pt x="34" y="282"/>
                      </a:lnTo>
                      <a:lnTo>
                        <a:pt x="37" y="282"/>
                      </a:lnTo>
                      <a:lnTo>
                        <a:pt x="39" y="281"/>
                      </a:lnTo>
                      <a:lnTo>
                        <a:pt x="43" y="281"/>
                      </a:lnTo>
                      <a:lnTo>
                        <a:pt x="45" y="277"/>
                      </a:lnTo>
                      <a:lnTo>
                        <a:pt x="45" y="274"/>
                      </a:lnTo>
                      <a:lnTo>
                        <a:pt x="46" y="272"/>
                      </a:lnTo>
                      <a:lnTo>
                        <a:pt x="48" y="274"/>
                      </a:lnTo>
                      <a:lnTo>
                        <a:pt x="48" y="278"/>
                      </a:lnTo>
                      <a:lnTo>
                        <a:pt x="50" y="279"/>
                      </a:lnTo>
                      <a:lnTo>
                        <a:pt x="52" y="279"/>
                      </a:lnTo>
                      <a:lnTo>
                        <a:pt x="56" y="276"/>
                      </a:lnTo>
                      <a:lnTo>
                        <a:pt x="60" y="273"/>
                      </a:lnTo>
                      <a:lnTo>
                        <a:pt x="64" y="270"/>
                      </a:lnTo>
                      <a:lnTo>
                        <a:pt x="72" y="268"/>
                      </a:lnTo>
                      <a:lnTo>
                        <a:pt x="76" y="268"/>
                      </a:lnTo>
                      <a:lnTo>
                        <a:pt x="78" y="266"/>
                      </a:lnTo>
                      <a:lnTo>
                        <a:pt x="82" y="263"/>
                      </a:lnTo>
                      <a:lnTo>
                        <a:pt x="81" y="260"/>
                      </a:lnTo>
                      <a:lnTo>
                        <a:pt x="80" y="260"/>
                      </a:lnTo>
                      <a:lnTo>
                        <a:pt x="77" y="256"/>
                      </a:lnTo>
                      <a:lnTo>
                        <a:pt x="77" y="254"/>
                      </a:lnTo>
                      <a:lnTo>
                        <a:pt x="80" y="253"/>
                      </a:lnTo>
                      <a:lnTo>
                        <a:pt x="82" y="253"/>
                      </a:lnTo>
                      <a:lnTo>
                        <a:pt x="85" y="253"/>
                      </a:lnTo>
                      <a:lnTo>
                        <a:pt x="87" y="253"/>
                      </a:lnTo>
                      <a:lnTo>
                        <a:pt x="91" y="254"/>
                      </a:lnTo>
                      <a:lnTo>
                        <a:pt x="95" y="253"/>
                      </a:lnTo>
                      <a:lnTo>
                        <a:pt x="100" y="253"/>
                      </a:lnTo>
                      <a:lnTo>
                        <a:pt x="103" y="250"/>
                      </a:lnTo>
                      <a:lnTo>
                        <a:pt x="105" y="249"/>
                      </a:lnTo>
                      <a:lnTo>
                        <a:pt x="106" y="246"/>
                      </a:lnTo>
                      <a:lnTo>
                        <a:pt x="105" y="244"/>
                      </a:lnTo>
                      <a:lnTo>
                        <a:pt x="106" y="241"/>
                      </a:lnTo>
                      <a:lnTo>
                        <a:pt x="108" y="239"/>
                      </a:lnTo>
                      <a:lnTo>
                        <a:pt x="108" y="237"/>
                      </a:lnTo>
                      <a:lnTo>
                        <a:pt x="110" y="234"/>
                      </a:lnTo>
                      <a:lnTo>
                        <a:pt x="111" y="235"/>
                      </a:lnTo>
                      <a:lnTo>
                        <a:pt x="112" y="235"/>
                      </a:lnTo>
                      <a:lnTo>
                        <a:pt x="115" y="230"/>
                      </a:lnTo>
                      <a:lnTo>
                        <a:pt x="117" y="229"/>
                      </a:lnTo>
                      <a:lnTo>
                        <a:pt x="117" y="227"/>
                      </a:lnTo>
                      <a:lnTo>
                        <a:pt x="117" y="225"/>
                      </a:lnTo>
                      <a:lnTo>
                        <a:pt x="121" y="222"/>
                      </a:lnTo>
                      <a:lnTo>
                        <a:pt x="123" y="220"/>
                      </a:lnTo>
                      <a:lnTo>
                        <a:pt x="127" y="220"/>
                      </a:lnTo>
                      <a:lnTo>
                        <a:pt x="128" y="222"/>
                      </a:lnTo>
                      <a:lnTo>
                        <a:pt x="132" y="219"/>
                      </a:lnTo>
                      <a:lnTo>
                        <a:pt x="132" y="218"/>
                      </a:lnTo>
                      <a:lnTo>
                        <a:pt x="133" y="217"/>
                      </a:lnTo>
                      <a:lnTo>
                        <a:pt x="133" y="215"/>
                      </a:lnTo>
                      <a:lnTo>
                        <a:pt x="134" y="212"/>
                      </a:lnTo>
                      <a:lnTo>
                        <a:pt x="132" y="210"/>
                      </a:lnTo>
                      <a:lnTo>
                        <a:pt x="128" y="208"/>
                      </a:lnTo>
                      <a:lnTo>
                        <a:pt x="127" y="204"/>
                      </a:lnTo>
                      <a:lnTo>
                        <a:pt x="127" y="201"/>
                      </a:lnTo>
                      <a:lnTo>
                        <a:pt x="125" y="198"/>
                      </a:lnTo>
                      <a:lnTo>
                        <a:pt x="126" y="195"/>
                      </a:lnTo>
                      <a:lnTo>
                        <a:pt x="125" y="194"/>
                      </a:lnTo>
                      <a:lnTo>
                        <a:pt x="126" y="192"/>
                      </a:lnTo>
                      <a:lnTo>
                        <a:pt x="126" y="190"/>
                      </a:lnTo>
                      <a:lnTo>
                        <a:pt x="125" y="190"/>
                      </a:lnTo>
                      <a:lnTo>
                        <a:pt x="121" y="192"/>
                      </a:lnTo>
                      <a:lnTo>
                        <a:pt x="119" y="190"/>
                      </a:lnTo>
                      <a:lnTo>
                        <a:pt x="119" y="187"/>
                      </a:lnTo>
                      <a:lnTo>
                        <a:pt x="124" y="180"/>
                      </a:lnTo>
                      <a:lnTo>
                        <a:pt x="125" y="178"/>
                      </a:lnTo>
                      <a:lnTo>
                        <a:pt x="125" y="174"/>
                      </a:lnTo>
                      <a:lnTo>
                        <a:pt x="122" y="173"/>
                      </a:lnTo>
                      <a:lnTo>
                        <a:pt x="123" y="170"/>
                      </a:lnTo>
                      <a:lnTo>
                        <a:pt x="126" y="168"/>
                      </a:lnTo>
                      <a:lnTo>
                        <a:pt x="128" y="165"/>
                      </a:lnTo>
                      <a:lnTo>
                        <a:pt x="125" y="163"/>
                      </a:lnTo>
                      <a:lnTo>
                        <a:pt x="125" y="160"/>
                      </a:lnTo>
                      <a:lnTo>
                        <a:pt x="128" y="157"/>
                      </a:lnTo>
                      <a:lnTo>
                        <a:pt x="129" y="157"/>
                      </a:lnTo>
                      <a:lnTo>
                        <a:pt x="134" y="150"/>
                      </a:lnTo>
                      <a:lnTo>
                        <a:pt x="135" y="146"/>
                      </a:lnTo>
                      <a:lnTo>
                        <a:pt x="134" y="144"/>
                      </a:lnTo>
                      <a:lnTo>
                        <a:pt x="134" y="140"/>
                      </a:lnTo>
                      <a:lnTo>
                        <a:pt x="137" y="137"/>
                      </a:lnTo>
                      <a:lnTo>
                        <a:pt x="140" y="137"/>
                      </a:lnTo>
                      <a:lnTo>
                        <a:pt x="142" y="139"/>
                      </a:lnTo>
                      <a:lnTo>
                        <a:pt x="145" y="137"/>
                      </a:lnTo>
                      <a:lnTo>
                        <a:pt x="148" y="136"/>
                      </a:lnTo>
                      <a:lnTo>
                        <a:pt x="146" y="69"/>
                      </a:lnTo>
                      <a:lnTo>
                        <a:pt x="146" y="69"/>
                      </a:lnTo>
                      <a:lnTo>
                        <a:pt x="3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44" name="Freeform 847">
                  <a:extLst>
                    <a:ext uri="{FF2B5EF4-FFF2-40B4-BE49-F238E27FC236}">
                      <a16:creationId xmlns:a16="http://schemas.microsoft.com/office/drawing/2014/main" id="{BF4254E6-9E2B-49EB-966A-8C172235F8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78" y="2578"/>
                  <a:ext cx="4" cy="3"/>
                </a:xfrm>
                <a:custGeom>
                  <a:avLst/>
                  <a:gdLst>
                    <a:gd name="T0" fmla="*/ 0 w 4"/>
                    <a:gd name="T1" fmla="*/ 2 h 3"/>
                    <a:gd name="T2" fmla="*/ 1 w 4"/>
                    <a:gd name="T3" fmla="*/ 3 h 3"/>
                    <a:gd name="T4" fmla="*/ 3 w 4"/>
                    <a:gd name="T5" fmla="*/ 2 h 3"/>
                    <a:gd name="T6" fmla="*/ 4 w 4"/>
                    <a:gd name="T7" fmla="*/ 0 h 3"/>
                    <a:gd name="T8" fmla="*/ 0 w 4"/>
                    <a:gd name="T9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0" y="2"/>
                      </a:moveTo>
                      <a:lnTo>
                        <a:pt x="1" y="3"/>
                      </a:lnTo>
                      <a:lnTo>
                        <a:pt x="3" y="2"/>
                      </a:lnTo>
                      <a:lnTo>
                        <a:pt x="4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45" name="Freeform 848">
                  <a:extLst>
                    <a:ext uri="{FF2B5EF4-FFF2-40B4-BE49-F238E27FC236}">
                      <a16:creationId xmlns:a16="http://schemas.microsoft.com/office/drawing/2014/main" id="{36653B91-1183-43B8-977F-A707E998DF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12" y="2400"/>
                  <a:ext cx="217" cy="201"/>
                </a:xfrm>
                <a:custGeom>
                  <a:avLst/>
                  <a:gdLst>
                    <a:gd name="T0" fmla="*/ 185 w 217"/>
                    <a:gd name="T1" fmla="*/ 146 h 201"/>
                    <a:gd name="T2" fmla="*/ 187 w 217"/>
                    <a:gd name="T3" fmla="*/ 144 h 201"/>
                    <a:gd name="T4" fmla="*/ 211 w 217"/>
                    <a:gd name="T5" fmla="*/ 90 h 201"/>
                    <a:gd name="T6" fmla="*/ 216 w 217"/>
                    <a:gd name="T7" fmla="*/ 56 h 201"/>
                    <a:gd name="T8" fmla="*/ 207 w 217"/>
                    <a:gd name="T9" fmla="*/ 35 h 201"/>
                    <a:gd name="T10" fmla="*/ 208 w 217"/>
                    <a:gd name="T11" fmla="*/ 29 h 201"/>
                    <a:gd name="T12" fmla="*/ 200 w 217"/>
                    <a:gd name="T13" fmla="*/ 4 h 201"/>
                    <a:gd name="T14" fmla="*/ 185 w 217"/>
                    <a:gd name="T15" fmla="*/ 7 h 201"/>
                    <a:gd name="T16" fmla="*/ 160 w 217"/>
                    <a:gd name="T17" fmla="*/ 0 h 201"/>
                    <a:gd name="T18" fmla="*/ 79 w 217"/>
                    <a:gd name="T19" fmla="*/ 66 h 201"/>
                    <a:gd name="T20" fmla="*/ 57 w 217"/>
                    <a:gd name="T21" fmla="*/ 105 h 201"/>
                    <a:gd name="T22" fmla="*/ 54 w 217"/>
                    <a:gd name="T23" fmla="*/ 121 h 201"/>
                    <a:gd name="T24" fmla="*/ 52 w 217"/>
                    <a:gd name="T25" fmla="*/ 131 h 201"/>
                    <a:gd name="T26" fmla="*/ 41 w 217"/>
                    <a:gd name="T27" fmla="*/ 138 h 201"/>
                    <a:gd name="T28" fmla="*/ 33 w 217"/>
                    <a:gd name="T29" fmla="*/ 142 h 201"/>
                    <a:gd name="T30" fmla="*/ 24 w 217"/>
                    <a:gd name="T31" fmla="*/ 142 h 201"/>
                    <a:gd name="T32" fmla="*/ 17 w 217"/>
                    <a:gd name="T33" fmla="*/ 144 h 201"/>
                    <a:gd name="T34" fmla="*/ 3 w 217"/>
                    <a:gd name="T35" fmla="*/ 144 h 201"/>
                    <a:gd name="T36" fmla="*/ 2 w 217"/>
                    <a:gd name="T37" fmla="*/ 151 h 201"/>
                    <a:gd name="T38" fmla="*/ 0 w 217"/>
                    <a:gd name="T39" fmla="*/ 159 h 201"/>
                    <a:gd name="T40" fmla="*/ 14 w 217"/>
                    <a:gd name="T41" fmla="*/ 177 h 201"/>
                    <a:gd name="T42" fmla="*/ 25 w 217"/>
                    <a:gd name="T43" fmla="*/ 178 h 201"/>
                    <a:gd name="T44" fmla="*/ 27 w 217"/>
                    <a:gd name="T45" fmla="*/ 181 h 201"/>
                    <a:gd name="T46" fmla="*/ 28 w 217"/>
                    <a:gd name="T47" fmla="*/ 186 h 201"/>
                    <a:gd name="T48" fmla="*/ 30 w 217"/>
                    <a:gd name="T49" fmla="*/ 193 h 201"/>
                    <a:gd name="T50" fmla="*/ 32 w 217"/>
                    <a:gd name="T51" fmla="*/ 193 h 201"/>
                    <a:gd name="T52" fmla="*/ 34 w 217"/>
                    <a:gd name="T53" fmla="*/ 190 h 201"/>
                    <a:gd name="T54" fmla="*/ 41 w 217"/>
                    <a:gd name="T55" fmla="*/ 191 h 201"/>
                    <a:gd name="T56" fmla="*/ 46 w 217"/>
                    <a:gd name="T57" fmla="*/ 197 h 201"/>
                    <a:gd name="T58" fmla="*/ 51 w 217"/>
                    <a:gd name="T59" fmla="*/ 199 h 201"/>
                    <a:gd name="T60" fmla="*/ 50 w 217"/>
                    <a:gd name="T61" fmla="*/ 197 h 201"/>
                    <a:gd name="T62" fmla="*/ 49 w 217"/>
                    <a:gd name="T63" fmla="*/ 190 h 201"/>
                    <a:gd name="T64" fmla="*/ 51 w 217"/>
                    <a:gd name="T65" fmla="*/ 185 h 201"/>
                    <a:gd name="T66" fmla="*/ 54 w 217"/>
                    <a:gd name="T67" fmla="*/ 183 h 201"/>
                    <a:gd name="T68" fmla="*/ 52 w 217"/>
                    <a:gd name="T69" fmla="*/ 178 h 201"/>
                    <a:gd name="T70" fmla="*/ 53 w 217"/>
                    <a:gd name="T71" fmla="*/ 176 h 201"/>
                    <a:gd name="T72" fmla="*/ 53 w 217"/>
                    <a:gd name="T73" fmla="*/ 173 h 201"/>
                    <a:gd name="T74" fmla="*/ 58 w 217"/>
                    <a:gd name="T75" fmla="*/ 169 h 201"/>
                    <a:gd name="T76" fmla="*/ 62 w 217"/>
                    <a:gd name="T77" fmla="*/ 167 h 201"/>
                    <a:gd name="T78" fmla="*/ 65 w 217"/>
                    <a:gd name="T79" fmla="*/ 167 h 201"/>
                    <a:gd name="T80" fmla="*/ 70 w 217"/>
                    <a:gd name="T81" fmla="*/ 166 h 201"/>
                    <a:gd name="T82" fmla="*/ 74 w 217"/>
                    <a:gd name="T83" fmla="*/ 166 h 201"/>
                    <a:gd name="T84" fmla="*/ 79 w 217"/>
                    <a:gd name="T85" fmla="*/ 169 h 201"/>
                    <a:gd name="T86" fmla="*/ 86 w 217"/>
                    <a:gd name="T87" fmla="*/ 171 h 201"/>
                    <a:gd name="T88" fmla="*/ 91 w 217"/>
                    <a:gd name="T89" fmla="*/ 178 h 201"/>
                    <a:gd name="T90" fmla="*/ 95 w 217"/>
                    <a:gd name="T91" fmla="*/ 180 h 201"/>
                    <a:gd name="T92" fmla="*/ 99 w 217"/>
                    <a:gd name="T93" fmla="*/ 177 h 201"/>
                    <a:gd name="T94" fmla="*/ 104 w 217"/>
                    <a:gd name="T95" fmla="*/ 175 h 201"/>
                    <a:gd name="T96" fmla="*/ 107 w 217"/>
                    <a:gd name="T97" fmla="*/ 174 h 201"/>
                    <a:gd name="T98" fmla="*/ 110 w 217"/>
                    <a:gd name="T99" fmla="*/ 178 h 201"/>
                    <a:gd name="T100" fmla="*/ 117 w 217"/>
                    <a:gd name="T101" fmla="*/ 183 h 201"/>
                    <a:gd name="T102" fmla="*/ 126 w 217"/>
                    <a:gd name="T103" fmla="*/ 186 h 201"/>
                    <a:gd name="T104" fmla="*/ 132 w 217"/>
                    <a:gd name="T105" fmla="*/ 183 h 201"/>
                    <a:gd name="T106" fmla="*/ 138 w 217"/>
                    <a:gd name="T107" fmla="*/ 176 h 201"/>
                    <a:gd name="T108" fmla="*/ 149 w 217"/>
                    <a:gd name="T109" fmla="*/ 175 h 201"/>
                    <a:gd name="T110" fmla="*/ 160 w 217"/>
                    <a:gd name="T111" fmla="*/ 179 h 201"/>
                    <a:gd name="T112" fmla="*/ 166 w 217"/>
                    <a:gd name="T113" fmla="*/ 180 h 201"/>
                    <a:gd name="T114" fmla="*/ 170 w 217"/>
                    <a:gd name="T115" fmla="*/ 177 h 201"/>
                    <a:gd name="T116" fmla="*/ 174 w 217"/>
                    <a:gd name="T117" fmla="*/ 174 h 201"/>
                    <a:gd name="T118" fmla="*/ 178 w 217"/>
                    <a:gd name="T119" fmla="*/ 175 h 201"/>
                    <a:gd name="T120" fmla="*/ 180 w 217"/>
                    <a:gd name="T121" fmla="*/ 172 h 201"/>
                    <a:gd name="T122" fmla="*/ 184 w 217"/>
                    <a:gd name="T123" fmla="*/ 169 h 201"/>
                    <a:gd name="T124" fmla="*/ 183 w 217"/>
                    <a:gd name="T125" fmla="*/ 146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17" h="201">
                      <a:moveTo>
                        <a:pt x="183" y="146"/>
                      </a:moveTo>
                      <a:lnTo>
                        <a:pt x="185" y="146"/>
                      </a:lnTo>
                      <a:lnTo>
                        <a:pt x="186" y="145"/>
                      </a:lnTo>
                      <a:lnTo>
                        <a:pt x="187" y="144"/>
                      </a:lnTo>
                      <a:lnTo>
                        <a:pt x="211" y="115"/>
                      </a:lnTo>
                      <a:lnTo>
                        <a:pt x="211" y="90"/>
                      </a:lnTo>
                      <a:lnTo>
                        <a:pt x="214" y="58"/>
                      </a:lnTo>
                      <a:lnTo>
                        <a:pt x="216" y="56"/>
                      </a:lnTo>
                      <a:lnTo>
                        <a:pt x="217" y="49"/>
                      </a:lnTo>
                      <a:lnTo>
                        <a:pt x="207" y="35"/>
                      </a:lnTo>
                      <a:lnTo>
                        <a:pt x="207" y="34"/>
                      </a:lnTo>
                      <a:lnTo>
                        <a:pt x="208" y="29"/>
                      </a:lnTo>
                      <a:lnTo>
                        <a:pt x="201" y="6"/>
                      </a:lnTo>
                      <a:lnTo>
                        <a:pt x="200" y="4"/>
                      </a:lnTo>
                      <a:lnTo>
                        <a:pt x="187" y="10"/>
                      </a:lnTo>
                      <a:lnTo>
                        <a:pt x="185" y="7"/>
                      </a:lnTo>
                      <a:lnTo>
                        <a:pt x="160" y="0"/>
                      </a:lnTo>
                      <a:lnTo>
                        <a:pt x="160" y="0"/>
                      </a:lnTo>
                      <a:lnTo>
                        <a:pt x="96" y="47"/>
                      </a:lnTo>
                      <a:lnTo>
                        <a:pt x="79" y="66"/>
                      </a:lnTo>
                      <a:lnTo>
                        <a:pt x="58" y="72"/>
                      </a:lnTo>
                      <a:lnTo>
                        <a:pt x="57" y="105"/>
                      </a:lnTo>
                      <a:lnTo>
                        <a:pt x="55" y="120"/>
                      </a:lnTo>
                      <a:lnTo>
                        <a:pt x="54" y="121"/>
                      </a:lnTo>
                      <a:lnTo>
                        <a:pt x="53" y="128"/>
                      </a:lnTo>
                      <a:lnTo>
                        <a:pt x="52" y="131"/>
                      </a:lnTo>
                      <a:lnTo>
                        <a:pt x="45" y="136"/>
                      </a:lnTo>
                      <a:lnTo>
                        <a:pt x="41" y="138"/>
                      </a:lnTo>
                      <a:lnTo>
                        <a:pt x="37" y="139"/>
                      </a:lnTo>
                      <a:lnTo>
                        <a:pt x="33" y="142"/>
                      </a:lnTo>
                      <a:lnTo>
                        <a:pt x="30" y="142"/>
                      </a:lnTo>
                      <a:lnTo>
                        <a:pt x="24" y="142"/>
                      </a:lnTo>
                      <a:lnTo>
                        <a:pt x="20" y="145"/>
                      </a:lnTo>
                      <a:lnTo>
                        <a:pt x="17" y="144"/>
                      </a:lnTo>
                      <a:lnTo>
                        <a:pt x="6" y="145"/>
                      </a:lnTo>
                      <a:lnTo>
                        <a:pt x="3" y="144"/>
                      </a:lnTo>
                      <a:lnTo>
                        <a:pt x="3" y="146"/>
                      </a:lnTo>
                      <a:lnTo>
                        <a:pt x="2" y="151"/>
                      </a:lnTo>
                      <a:lnTo>
                        <a:pt x="0" y="155"/>
                      </a:lnTo>
                      <a:lnTo>
                        <a:pt x="0" y="159"/>
                      </a:lnTo>
                      <a:lnTo>
                        <a:pt x="13" y="170"/>
                      </a:lnTo>
                      <a:lnTo>
                        <a:pt x="14" y="177"/>
                      </a:lnTo>
                      <a:lnTo>
                        <a:pt x="19" y="182"/>
                      </a:lnTo>
                      <a:lnTo>
                        <a:pt x="25" y="178"/>
                      </a:lnTo>
                      <a:lnTo>
                        <a:pt x="27" y="179"/>
                      </a:lnTo>
                      <a:lnTo>
                        <a:pt x="27" y="181"/>
                      </a:lnTo>
                      <a:lnTo>
                        <a:pt x="28" y="182"/>
                      </a:lnTo>
                      <a:lnTo>
                        <a:pt x="28" y="186"/>
                      </a:lnTo>
                      <a:lnTo>
                        <a:pt x="27" y="188"/>
                      </a:lnTo>
                      <a:lnTo>
                        <a:pt x="30" y="193"/>
                      </a:lnTo>
                      <a:lnTo>
                        <a:pt x="31" y="193"/>
                      </a:lnTo>
                      <a:lnTo>
                        <a:pt x="32" y="193"/>
                      </a:lnTo>
                      <a:lnTo>
                        <a:pt x="35" y="192"/>
                      </a:lnTo>
                      <a:lnTo>
                        <a:pt x="34" y="190"/>
                      </a:lnTo>
                      <a:lnTo>
                        <a:pt x="36" y="187"/>
                      </a:lnTo>
                      <a:lnTo>
                        <a:pt x="41" y="191"/>
                      </a:lnTo>
                      <a:lnTo>
                        <a:pt x="43" y="195"/>
                      </a:lnTo>
                      <a:lnTo>
                        <a:pt x="46" y="197"/>
                      </a:lnTo>
                      <a:lnTo>
                        <a:pt x="49" y="201"/>
                      </a:lnTo>
                      <a:lnTo>
                        <a:pt x="51" y="199"/>
                      </a:lnTo>
                      <a:lnTo>
                        <a:pt x="51" y="197"/>
                      </a:lnTo>
                      <a:lnTo>
                        <a:pt x="50" y="197"/>
                      </a:lnTo>
                      <a:lnTo>
                        <a:pt x="48" y="192"/>
                      </a:lnTo>
                      <a:lnTo>
                        <a:pt x="49" y="190"/>
                      </a:lnTo>
                      <a:lnTo>
                        <a:pt x="48" y="189"/>
                      </a:lnTo>
                      <a:lnTo>
                        <a:pt x="51" y="185"/>
                      </a:lnTo>
                      <a:lnTo>
                        <a:pt x="54" y="185"/>
                      </a:lnTo>
                      <a:lnTo>
                        <a:pt x="54" y="183"/>
                      </a:lnTo>
                      <a:lnTo>
                        <a:pt x="53" y="181"/>
                      </a:lnTo>
                      <a:lnTo>
                        <a:pt x="52" y="178"/>
                      </a:lnTo>
                      <a:lnTo>
                        <a:pt x="53" y="176"/>
                      </a:lnTo>
                      <a:lnTo>
                        <a:pt x="53" y="176"/>
                      </a:lnTo>
                      <a:lnTo>
                        <a:pt x="52" y="174"/>
                      </a:lnTo>
                      <a:lnTo>
                        <a:pt x="53" y="173"/>
                      </a:lnTo>
                      <a:lnTo>
                        <a:pt x="56" y="169"/>
                      </a:lnTo>
                      <a:lnTo>
                        <a:pt x="58" y="169"/>
                      </a:lnTo>
                      <a:lnTo>
                        <a:pt x="58" y="168"/>
                      </a:lnTo>
                      <a:lnTo>
                        <a:pt x="62" y="167"/>
                      </a:lnTo>
                      <a:lnTo>
                        <a:pt x="64" y="167"/>
                      </a:lnTo>
                      <a:lnTo>
                        <a:pt x="65" y="167"/>
                      </a:lnTo>
                      <a:lnTo>
                        <a:pt x="69" y="167"/>
                      </a:lnTo>
                      <a:lnTo>
                        <a:pt x="70" y="166"/>
                      </a:lnTo>
                      <a:lnTo>
                        <a:pt x="72" y="166"/>
                      </a:lnTo>
                      <a:lnTo>
                        <a:pt x="74" y="166"/>
                      </a:lnTo>
                      <a:lnTo>
                        <a:pt x="78" y="167"/>
                      </a:lnTo>
                      <a:lnTo>
                        <a:pt x="79" y="169"/>
                      </a:lnTo>
                      <a:lnTo>
                        <a:pt x="82" y="169"/>
                      </a:lnTo>
                      <a:lnTo>
                        <a:pt x="86" y="171"/>
                      </a:lnTo>
                      <a:lnTo>
                        <a:pt x="88" y="173"/>
                      </a:lnTo>
                      <a:lnTo>
                        <a:pt x="91" y="178"/>
                      </a:lnTo>
                      <a:lnTo>
                        <a:pt x="93" y="180"/>
                      </a:lnTo>
                      <a:lnTo>
                        <a:pt x="95" y="180"/>
                      </a:lnTo>
                      <a:lnTo>
                        <a:pt x="96" y="177"/>
                      </a:lnTo>
                      <a:lnTo>
                        <a:pt x="99" y="177"/>
                      </a:lnTo>
                      <a:lnTo>
                        <a:pt x="100" y="176"/>
                      </a:lnTo>
                      <a:lnTo>
                        <a:pt x="104" y="175"/>
                      </a:lnTo>
                      <a:lnTo>
                        <a:pt x="105" y="174"/>
                      </a:lnTo>
                      <a:lnTo>
                        <a:pt x="107" y="174"/>
                      </a:lnTo>
                      <a:lnTo>
                        <a:pt x="110" y="176"/>
                      </a:lnTo>
                      <a:lnTo>
                        <a:pt x="110" y="178"/>
                      </a:lnTo>
                      <a:lnTo>
                        <a:pt x="113" y="180"/>
                      </a:lnTo>
                      <a:lnTo>
                        <a:pt x="117" y="183"/>
                      </a:lnTo>
                      <a:lnTo>
                        <a:pt x="121" y="183"/>
                      </a:lnTo>
                      <a:lnTo>
                        <a:pt x="126" y="186"/>
                      </a:lnTo>
                      <a:lnTo>
                        <a:pt x="128" y="186"/>
                      </a:lnTo>
                      <a:lnTo>
                        <a:pt x="132" y="183"/>
                      </a:lnTo>
                      <a:lnTo>
                        <a:pt x="135" y="177"/>
                      </a:lnTo>
                      <a:lnTo>
                        <a:pt x="138" y="176"/>
                      </a:lnTo>
                      <a:lnTo>
                        <a:pt x="146" y="177"/>
                      </a:lnTo>
                      <a:lnTo>
                        <a:pt x="149" y="175"/>
                      </a:lnTo>
                      <a:lnTo>
                        <a:pt x="155" y="176"/>
                      </a:lnTo>
                      <a:lnTo>
                        <a:pt x="160" y="179"/>
                      </a:lnTo>
                      <a:lnTo>
                        <a:pt x="164" y="179"/>
                      </a:lnTo>
                      <a:lnTo>
                        <a:pt x="166" y="180"/>
                      </a:lnTo>
                      <a:lnTo>
                        <a:pt x="170" y="178"/>
                      </a:lnTo>
                      <a:lnTo>
                        <a:pt x="170" y="177"/>
                      </a:lnTo>
                      <a:lnTo>
                        <a:pt x="173" y="176"/>
                      </a:lnTo>
                      <a:lnTo>
                        <a:pt x="174" y="174"/>
                      </a:lnTo>
                      <a:lnTo>
                        <a:pt x="176" y="173"/>
                      </a:lnTo>
                      <a:lnTo>
                        <a:pt x="178" y="175"/>
                      </a:lnTo>
                      <a:lnTo>
                        <a:pt x="180" y="174"/>
                      </a:lnTo>
                      <a:lnTo>
                        <a:pt x="180" y="172"/>
                      </a:lnTo>
                      <a:lnTo>
                        <a:pt x="182" y="169"/>
                      </a:lnTo>
                      <a:lnTo>
                        <a:pt x="184" y="169"/>
                      </a:lnTo>
                      <a:lnTo>
                        <a:pt x="183" y="149"/>
                      </a:lnTo>
                      <a:lnTo>
                        <a:pt x="183" y="14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46" name="Rectangle 849">
                  <a:extLst>
                    <a:ext uri="{FF2B5EF4-FFF2-40B4-BE49-F238E27FC236}">
                      <a16:creationId xmlns:a16="http://schemas.microsoft.com/office/drawing/2014/main" id="{563647BD-AA02-419C-BF07-850B27ECCF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04" y="2580"/>
                  <a:ext cx="1" cy="1"/>
                </a:xfrm>
                <a:prstGeom prst="rect">
                  <a:avLst/>
                </a:pr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47" name="Freeform 850">
                  <a:extLst>
                    <a:ext uri="{FF2B5EF4-FFF2-40B4-BE49-F238E27FC236}">
                      <a16:creationId xmlns:a16="http://schemas.microsoft.com/office/drawing/2014/main" id="{95AB320F-593B-4B91-8013-9748D17046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49" y="2566"/>
                  <a:ext cx="162" cy="167"/>
                </a:xfrm>
                <a:custGeom>
                  <a:avLst/>
                  <a:gdLst>
                    <a:gd name="T0" fmla="*/ 84 w 162"/>
                    <a:gd name="T1" fmla="*/ 145 h 167"/>
                    <a:gd name="T2" fmla="*/ 85 w 162"/>
                    <a:gd name="T3" fmla="*/ 137 h 167"/>
                    <a:gd name="T4" fmla="*/ 91 w 162"/>
                    <a:gd name="T5" fmla="*/ 131 h 167"/>
                    <a:gd name="T6" fmla="*/ 96 w 162"/>
                    <a:gd name="T7" fmla="*/ 122 h 167"/>
                    <a:gd name="T8" fmla="*/ 101 w 162"/>
                    <a:gd name="T9" fmla="*/ 121 h 167"/>
                    <a:gd name="T10" fmla="*/ 109 w 162"/>
                    <a:gd name="T11" fmla="*/ 124 h 167"/>
                    <a:gd name="T12" fmla="*/ 115 w 162"/>
                    <a:gd name="T13" fmla="*/ 130 h 167"/>
                    <a:gd name="T14" fmla="*/ 119 w 162"/>
                    <a:gd name="T15" fmla="*/ 122 h 167"/>
                    <a:gd name="T16" fmla="*/ 125 w 162"/>
                    <a:gd name="T17" fmla="*/ 117 h 167"/>
                    <a:gd name="T18" fmla="*/ 129 w 162"/>
                    <a:gd name="T19" fmla="*/ 105 h 167"/>
                    <a:gd name="T20" fmla="*/ 131 w 162"/>
                    <a:gd name="T21" fmla="*/ 97 h 167"/>
                    <a:gd name="T22" fmla="*/ 138 w 162"/>
                    <a:gd name="T23" fmla="*/ 86 h 167"/>
                    <a:gd name="T24" fmla="*/ 140 w 162"/>
                    <a:gd name="T25" fmla="*/ 76 h 167"/>
                    <a:gd name="T26" fmla="*/ 147 w 162"/>
                    <a:gd name="T27" fmla="*/ 67 h 167"/>
                    <a:gd name="T28" fmla="*/ 148 w 162"/>
                    <a:gd name="T29" fmla="*/ 57 h 167"/>
                    <a:gd name="T30" fmla="*/ 153 w 162"/>
                    <a:gd name="T31" fmla="*/ 48 h 167"/>
                    <a:gd name="T32" fmla="*/ 159 w 162"/>
                    <a:gd name="T33" fmla="*/ 44 h 167"/>
                    <a:gd name="T34" fmla="*/ 161 w 162"/>
                    <a:gd name="T35" fmla="*/ 35 h 167"/>
                    <a:gd name="T36" fmla="*/ 157 w 162"/>
                    <a:gd name="T37" fmla="*/ 30 h 167"/>
                    <a:gd name="T38" fmla="*/ 156 w 162"/>
                    <a:gd name="T39" fmla="*/ 19 h 167"/>
                    <a:gd name="T40" fmla="*/ 153 w 162"/>
                    <a:gd name="T41" fmla="*/ 10 h 167"/>
                    <a:gd name="T42" fmla="*/ 145 w 162"/>
                    <a:gd name="T43" fmla="*/ 3 h 167"/>
                    <a:gd name="T44" fmla="*/ 141 w 162"/>
                    <a:gd name="T45" fmla="*/ 9 h 167"/>
                    <a:gd name="T46" fmla="*/ 136 w 162"/>
                    <a:gd name="T47" fmla="*/ 10 h 167"/>
                    <a:gd name="T48" fmla="*/ 130 w 162"/>
                    <a:gd name="T49" fmla="*/ 15 h 167"/>
                    <a:gd name="T50" fmla="*/ 118 w 162"/>
                    <a:gd name="T51" fmla="*/ 10 h 167"/>
                    <a:gd name="T52" fmla="*/ 101 w 162"/>
                    <a:gd name="T53" fmla="*/ 10 h 167"/>
                    <a:gd name="T54" fmla="*/ 91 w 162"/>
                    <a:gd name="T55" fmla="*/ 20 h 167"/>
                    <a:gd name="T56" fmla="*/ 80 w 162"/>
                    <a:gd name="T57" fmla="*/ 17 h 167"/>
                    <a:gd name="T58" fmla="*/ 73 w 162"/>
                    <a:gd name="T59" fmla="*/ 10 h 167"/>
                    <a:gd name="T60" fmla="*/ 67 w 162"/>
                    <a:gd name="T61" fmla="*/ 9 h 167"/>
                    <a:gd name="T62" fmla="*/ 59 w 162"/>
                    <a:gd name="T63" fmla="*/ 11 h 167"/>
                    <a:gd name="T64" fmla="*/ 54 w 162"/>
                    <a:gd name="T65" fmla="*/ 12 h 167"/>
                    <a:gd name="T66" fmla="*/ 45 w 162"/>
                    <a:gd name="T67" fmla="*/ 3 h 167"/>
                    <a:gd name="T68" fmla="*/ 37 w 162"/>
                    <a:gd name="T69" fmla="*/ 0 h 167"/>
                    <a:gd name="T70" fmla="*/ 32 w 162"/>
                    <a:gd name="T71" fmla="*/ 1 h 167"/>
                    <a:gd name="T72" fmla="*/ 25 w 162"/>
                    <a:gd name="T73" fmla="*/ 1 h 167"/>
                    <a:gd name="T74" fmla="*/ 19 w 162"/>
                    <a:gd name="T75" fmla="*/ 3 h 167"/>
                    <a:gd name="T76" fmla="*/ 16 w 162"/>
                    <a:gd name="T77" fmla="*/ 10 h 167"/>
                    <a:gd name="T78" fmla="*/ 16 w 162"/>
                    <a:gd name="T79" fmla="*/ 15 h 167"/>
                    <a:gd name="T80" fmla="*/ 14 w 162"/>
                    <a:gd name="T81" fmla="*/ 19 h 167"/>
                    <a:gd name="T82" fmla="*/ 11 w 162"/>
                    <a:gd name="T83" fmla="*/ 26 h 167"/>
                    <a:gd name="T84" fmla="*/ 14 w 162"/>
                    <a:gd name="T85" fmla="*/ 33 h 167"/>
                    <a:gd name="T86" fmla="*/ 11 w 162"/>
                    <a:gd name="T87" fmla="*/ 39 h 167"/>
                    <a:gd name="T88" fmla="*/ 16 w 162"/>
                    <a:gd name="T89" fmla="*/ 49 h 167"/>
                    <a:gd name="T90" fmla="*/ 14 w 162"/>
                    <a:gd name="T91" fmla="*/ 58 h 167"/>
                    <a:gd name="T92" fmla="*/ 15 w 162"/>
                    <a:gd name="T93" fmla="*/ 66 h 167"/>
                    <a:gd name="T94" fmla="*/ 11 w 162"/>
                    <a:gd name="T95" fmla="*/ 69 h 167"/>
                    <a:gd name="T96" fmla="*/ 7 w 162"/>
                    <a:gd name="T97" fmla="*/ 79 h 167"/>
                    <a:gd name="T98" fmla="*/ 1 w 162"/>
                    <a:gd name="T99" fmla="*/ 81 h 167"/>
                    <a:gd name="T100" fmla="*/ 1 w 162"/>
                    <a:gd name="T101" fmla="*/ 89 h 167"/>
                    <a:gd name="T102" fmla="*/ 1 w 162"/>
                    <a:gd name="T103" fmla="*/ 97 h 167"/>
                    <a:gd name="T104" fmla="*/ 1 w 162"/>
                    <a:gd name="T105" fmla="*/ 101 h 167"/>
                    <a:gd name="T106" fmla="*/ 1 w 162"/>
                    <a:gd name="T107" fmla="*/ 114 h 167"/>
                    <a:gd name="T108" fmla="*/ 1 w 162"/>
                    <a:gd name="T109" fmla="*/ 128 h 167"/>
                    <a:gd name="T110" fmla="*/ 21 w 162"/>
                    <a:gd name="T111" fmla="*/ 134 h 167"/>
                    <a:gd name="T112" fmla="*/ 31 w 162"/>
                    <a:gd name="T113" fmla="*/ 154 h 167"/>
                    <a:gd name="T114" fmla="*/ 38 w 162"/>
                    <a:gd name="T115" fmla="*/ 165 h 167"/>
                    <a:gd name="T116" fmla="*/ 59 w 162"/>
                    <a:gd name="T117" fmla="*/ 164 h 167"/>
                    <a:gd name="T118" fmla="*/ 70 w 162"/>
                    <a:gd name="T119" fmla="*/ 163 h 167"/>
                    <a:gd name="T120" fmla="*/ 78 w 162"/>
                    <a:gd name="T121" fmla="*/ 161 h 167"/>
                    <a:gd name="T122" fmla="*/ 79 w 162"/>
                    <a:gd name="T123" fmla="*/ 158 h 1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62" h="167">
                      <a:moveTo>
                        <a:pt x="83" y="153"/>
                      </a:moveTo>
                      <a:lnTo>
                        <a:pt x="84" y="148"/>
                      </a:lnTo>
                      <a:lnTo>
                        <a:pt x="84" y="145"/>
                      </a:lnTo>
                      <a:lnTo>
                        <a:pt x="84" y="141"/>
                      </a:lnTo>
                      <a:lnTo>
                        <a:pt x="85" y="140"/>
                      </a:lnTo>
                      <a:lnTo>
                        <a:pt x="85" y="137"/>
                      </a:lnTo>
                      <a:lnTo>
                        <a:pt x="87" y="135"/>
                      </a:lnTo>
                      <a:lnTo>
                        <a:pt x="90" y="133"/>
                      </a:lnTo>
                      <a:lnTo>
                        <a:pt x="91" y="131"/>
                      </a:lnTo>
                      <a:lnTo>
                        <a:pt x="95" y="127"/>
                      </a:lnTo>
                      <a:lnTo>
                        <a:pt x="95" y="124"/>
                      </a:lnTo>
                      <a:lnTo>
                        <a:pt x="96" y="122"/>
                      </a:lnTo>
                      <a:lnTo>
                        <a:pt x="99" y="121"/>
                      </a:lnTo>
                      <a:lnTo>
                        <a:pt x="101" y="120"/>
                      </a:lnTo>
                      <a:lnTo>
                        <a:pt x="101" y="121"/>
                      </a:lnTo>
                      <a:lnTo>
                        <a:pt x="104" y="122"/>
                      </a:lnTo>
                      <a:lnTo>
                        <a:pt x="106" y="121"/>
                      </a:lnTo>
                      <a:lnTo>
                        <a:pt x="109" y="124"/>
                      </a:lnTo>
                      <a:lnTo>
                        <a:pt x="111" y="127"/>
                      </a:lnTo>
                      <a:lnTo>
                        <a:pt x="113" y="129"/>
                      </a:lnTo>
                      <a:lnTo>
                        <a:pt x="115" y="130"/>
                      </a:lnTo>
                      <a:lnTo>
                        <a:pt x="118" y="128"/>
                      </a:lnTo>
                      <a:lnTo>
                        <a:pt x="119" y="124"/>
                      </a:lnTo>
                      <a:lnTo>
                        <a:pt x="119" y="122"/>
                      </a:lnTo>
                      <a:lnTo>
                        <a:pt x="121" y="121"/>
                      </a:lnTo>
                      <a:lnTo>
                        <a:pt x="122" y="120"/>
                      </a:lnTo>
                      <a:lnTo>
                        <a:pt x="125" y="117"/>
                      </a:lnTo>
                      <a:lnTo>
                        <a:pt x="124" y="114"/>
                      </a:lnTo>
                      <a:lnTo>
                        <a:pt x="125" y="110"/>
                      </a:lnTo>
                      <a:lnTo>
                        <a:pt x="129" y="105"/>
                      </a:lnTo>
                      <a:lnTo>
                        <a:pt x="130" y="102"/>
                      </a:lnTo>
                      <a:lnTo>
                        <a:pt x="129" y="100"/>
                      </a:lnTo>
                      <a:lnTo>
                        <a:pt x="131" y="97"/>
                      </a:lnTo>
                      <a:lnTo>
                        <a:pt x="135" y="92"/>
                      </a:lnTo>
                      <a:lnTo>
                        <a:pt x="137" y="90"/>
                      </a:lnTo>
                      <a:lnTo>
                        <a:pt x="138" y="86"/>
                      </a:lnTo>
                      <a:lnTo>
                        <a:pt x="139" y="84"/>
                      </a:lnTo>
                      <a:lnTo>
                        <a:pt x="138" y="79"/>
                      </a:lnTo>
                      <a:lnTo>
                        <a:pt x="140" y="76"/>
                      </a:lnTo>
                      <a:lnTo>
                        <a:pt x="144" y="75"/>
                      </a:lnTo>
                      <a:lnTo>
                        <a:pt x="146" y="72"/>
                      </a:lnTo>
                      <a:lnTo>
                        <a:pt x="147" y="67"/>
                      </a:lnTo>
                      <a:lnTo>
                        <a:pt x="147" y="63"/>
                      </a:lnTo>
                      <a:lnTo>
                        <a:pt x="146" y="60"/>
                      </a:lnTo>
                      <a:lnTo>
                        <a:pt x="148" y="57"/>
                      </a:lnTo>
                      <a:lnTo>
                        <a:pt x="150" y="52"/>
                      </a:lnTo>
                      <a:lnTo>
                        <a:pt x="152" y="50"/>
                      </a:lnTo>
                      <a:lnTo>
                        <a:pt x="153" y="48"/>
                      </a:lnTo>
                      <a:lnTo>
                        <a:pt x="155" y="46"/>
                      </a:lnTo>
                      <a:lnTo>
                        <a:pt x="156" y="46"/>
                      </a:lnTo>
                      <a:lnTo>
                        <a:pt x="159" y="44"/>
                      </a:lnTo>
                      <a:lnTo>
                        <a:pt x="162" y="41"/>
                      </a:lnTo>
                      <a:lnTo>
                        <a:pt x="162" y="40"/>
                      </a:lnTo>
                      <a:lnTo>
                        <a:pt x="161" y="35"/>
                      </a:lnTo>
                      <a:lnTo>
                        <a:pt x="161" y="33"/>
                      </a:lnTo>
                      <a:lnTo>
                        <a:pt x="160" y="31"/>
                      </a:lnTo>
                      <a:lnTo>
                        <a:pt x="157" y="30"/>
                      </a:lnTo>
                      <a:lnTo>
                        <a:pt x="156" y="27"/>
                      </a:lnTo>
                      <a:lnTo>
                        <a:pt x="156" y="21"/>
                      </a:lnTo>
                      <a:lnTo>
                        <a:pt x="156" y="19"/>
                      </a:lnTo>
                      <a:lnTo>
                        <a:pt x="155" y="14"/>
                      </a:lnTo>
                      <a:lnTo>
                        <a:pt x="155" y="14"/>
                      </a:lnTo>
                      <a:lnTo>
                        <a:pt x="153" y="10"/>
                      </a:lnTo>
                      <a:lnTo>
                        <a:pt x="149" y="5"/>
                      </a:lnTo>
                      <a:lnTo>
                        <a:pt x="147" y="3"/>
                      </a:lnTo>
                      <a:lnTo>
                        <a:pt x="145" y="3"/>
                      </a:lnTo>
                      <a:lnTo>
                        <a:pt x="143" y="6"/>
                      </a:lnTo>
                      <a:lnTo>
                        <a:pt x="143" y="8"/>
                      </a:lnTo>
                      <a:lnTo>
                        <a:pt x="141" y="9"/>
                      </a:lnTo>
                      <a:lnTo>
                        <a:pt x="139" y="7"/>
                      </a:lnTo>
                      <a:lnTo>
                        <a:pt x="137" y="8"/>
                      </a:lnTo>
                      <a:lnTo>
                        <a:pt x="136" y="10"/>
                      </a:lnTo>
                      <a:lnTo>
                        <a:pt x="133" y="11"/>
                      </a:lnTo>
                      <a:lnTo>
                        <a:pt x="132" y="14"/>
                      </a:lnTo>
                      <a:lnTo>
                        <a:pt x="130" y="15"/>
                      </a:lnTo>
                      <a:lnTo>
                        <a:pt x="127" y="13"/>
                      </a:lnTo>
                      <a:lnTo>
                        <a:pt x="123" y="13"/>
                      </a:lnTo>
                      <a:lnTo>
                        <a:pt x="118" y="10"/>
                      </a:lnTo>
                      <a:lnTo>
                        <a:pt x="112" y="9"/>
                      </a:lnTo>
                      <a:lnTo>
                        <a:pt x="109" y="11"/>
                      </a:lnTo>
                      <a:lnTo>
                        <a:pt x="101" y="10"/>
                      </a:lnTo>
                      <a:lnTo>
                        <a:pt x="98" y="11"/>
                      </a:lnTo>
                      <a:lnTo>
                        <a:pt x="95" y="17"/>
                      </a:lnTo>
                      <a:lnTo>
                        <a:pt x="91" y="20"/>
                      </a:lnTo>
                      <a:lnTo>
                        <a:pt x="89" y="20"/>
                      </a:lnTo>
                      <a:lnTo>
                        <a:pt x="84" y="17"/>
                      </a:lnTo>
                      <a:lnTo>
                        <a:pt x="80" y="17"/>
                      </a:lnTo>
                      <a:lnTo>
                        <a:pt x="76" y="14"/>
                      </a:lnTo>
                      <a:lnTo>
                        <a:pt x="73" y="12"/>
                      </a:lnTo>
                      <a:lnTo>
                        <a:pt x="73" y="10"/>
                      </a:lnTo>
                      <a:lnTo>
                        <a:pt x="70" y="8"/>
                      </a:lnTo>
                      <a:lnTo>
                        <a:pt x="68" y="8"/>
                      </a:lnTo>
                      <a:lnTo>
                        <a:pt x="67" y="9"/>
                      </a:lnTo>
                      <a:lnTo>
                        <a:pt x="63" y="10"/>
                      </a:lnTo>
                      <a:lnTo>
                        <a:pt x="62" y="11"/>
                      </a:lnTo>
                      <a:lnTo>
                        <a:pt x="59" y="11"/>
                      </a:lnTo>
                      <a:lnTo>
                        <a:pt x="58" y="14"/>
                      </a:lnTo>
                      <a:lnTo>
                        <a:pt x="56" y="14"/>
                      </a:lnTo>
                      <a:lnTo>
                        <a:pt x="54" y="12"/>
                      </a:lnTo>
                      <a:lnTo>
                        <a:pt x="51" y="7"/>
                      </a:lnTo>
                      <a:lnTo>
                        <a:pt x="49" y="5"/>
                      </a:lnTo>
                      <a:lnTo>
                        <a:pt x="45" y="3"/>
                      </a:lnTo>
                      <a:lnTo>
                        <a:pt x="42" y="3"/>
                      </a:lnTo>
                      <a:lnTo>
                        <a:pt x="41" y="1"/>
                      </a:lnTo>
                      <a:lnTo>
                        <a:pt x="37" y="0"/>
                      </a:lnTo>
                      <a:lnTo>
                        <a:pt x="35" y="0"/>
                      </a:lnTo>
                      <a:lnTo>
                        <a:pt x="33" y="0"/>
                      </a:lnTo>
                      <a:lnTo>
                        <a:pt x="32" y="1"/>
                      </a:lnTo>
                      <a:lnTo>
                        <a:pt x="28" y="1"/>
                      </a:lnTo>
                      <a:lnTo>
                        <a:pt x="27" y="1"/>
                      </a:lnTo>
                      <a:lnTo>
                        <a:pt x="25" y="1"/>
                      </a:lnTo>
                      <a:lnTo>
                        <a:pt x="21" y="2"/>
                      </a:lnTo>
                      <a:lnTo>
                        <a:pt x="21" y="3"/>
                      </a:lnTo>
                      <a:lnTo>
                        <a:pt x="19" y="3"/>
                      </a:lnTo>
                      <a:lnTo>
                        <a:pt x="16" y="7"/>
                      </a:lnTo>
                      <a:lnTo>
                        <a:pt x="15" y="8"/>
                      </a:lnTo>
                      <a:lnTo>
                        <a:pt x="16" y="10"/>
                      </a:lnTo>
                      <a:lnTo>
                        <a:pt x="16" y="10"/>
                      </a:lnTo>
                      <a:lnTo>
                        <a:pt x="15" y="12"/>
                      </a:lnTo>
                      <a:lnTo>
                        <a:pt x="16" y="15"/>
                      </a:lnTo>
                      <a:lnTo>
                        <a:pt x="17" y="17"/>
                      </a:lnTo>
                      <a:lnTo>
                        <a:pt x="17" y="19"/>
                      </a:lnTo>
                      <a:lnTo>
                        <a:pt x="14" y="19"/>
                      </a:lnTo>
                      <a:lnTo>
                        <a:pt x="11" y="23"/>
                      </a:lnTo>
                      <a:lnTo>
                        <a:pt x="12" y="24"/>
                      </a:lnTo>
                      <a:lnTo>
                        <a:pt x="11" y="26"/>
                      </a:lnTo>
                      <a:lnTo>
                        <a:pt x="13" y="31"/>
                      </a:lnTo>
                      <a:lnTo>
                        <a:pt x="14" y="31"/>
                      </a:lnTo>
                      <a:lnTo>
                        <a:pt x="14" y="33"/>
                      </a:lnTo>
                      <a:lnTo>
                        <a:pt x="12" y="35"/>
                      </a:lnTo>
                      <a:lnTo>
                        <a:pt x="12" y="35"/>
                      </a:lnTo>
                      <a:lnTo>
                        <a:pt x="11" y="39"/>
                      </a:lnTo>
                      <a:lnTo>
                        <a:pt x="12" y="41"/>
                      </a:lnTo>
                      <a:lnTo>
                        <a:pt x="16" y="45"/>
                      </a:lnTo>
                      <a:lnTo>
                        <a:pt x="16" y="49"/>
                      </a:lnTo>
                      <a:lnTo>
                        <a:pt x="17" y="55"/>
                      </a:lnTo>
                      <a:lnTo>
                        <a:pt x="17" y="58"/>
                      </a:lnTo>
                      <a:lnTo>
                        <a:pt x="14" y="58"/>
                      </a:lnTo>
                      <a:lnTo>
                        <a:pt x="12" y="60"/>
                      </a:lnTo>
                      <a:lnTo>
                        <a:pt x="12" y="62"/>
                      </a:lnTo>
                      <a:lnTo>
                        <a:pt x="15" y="66"/>
                      </a:lnTo>
                      <a:lnTo>
                        <a:pt x="14" y="67"/>
                      </a:lnTo>
                      <a:lnTo>
                        <a:pt x="13" y="67"/>
                      </a:lnTo>
                      <a:lnTo>
                        <a:pt x="11" y="69"/>
                      </a:lnTo>
                      <a:lnTo>
                        <a:pt x="10" y="72"/>
                      </a:lnTo>
                      <a:lnTo>
                        <a:pt x="8" y="76"/>
                      </a:lnTo>
                      <a:lnTo>
                        <a:pt x="7" y="79"/>
                      </a:lnTo>
                      <a:lnTo>
                        <a:pt x="5" y="80"/>
                      </a:lnTo>
                      <a:lnTo>
                        <a:pt x="4" y="80"/>
                      </a:lnTo>
                      <a:lnTo>
                        <a:pt x="1" y="81"/>
                      </a:lnTo>
                      <a:lnTo>
                        <a:pt x="1" y="83"/>
                      </a:lnTo>
                      <a:lnTo>
                        <a:pt x="1" y="86"/>
                      </a:lnTo>
                      <a:lnTo>
                        <a:pt x="1" y="89"/>
                      </a:lnTo>
                      <a:lnTo>
                        <a:pt x="0" y="93"/>
                      </a:lnTo>
                      <a:lnTo>
                        <a:pt x="1" y="93"/>
                      </a:lnTo>
                      <a:lnTo>
                        <a:pt x="1" y="97"/>
                      </a:lnTo>
                      <a:lnTo>
                        <a:pt x="1" y="98"/>
                      </a:lnTo>
                      <a:lnTo>
                        <a:pt x="1" y="99"/>
                      </a:lnTo>
                      <a:lnTo>
                        <a:pt x="1" y="101"/>
                      </a:lnTo>
                      <a:lnTo>
                        <a:pt x="1" y="103"/>
                      </a:lnTo>
                      <a:lnTo>
                        <a:pt x="1" y="110"/>
                      </a:lnTo>
                      <a:lnTo>
                        <a:pt x="1" y="114"/>
                      </a:lnTo>
                      <a:lnTo>
                        <a:pt x="1" y="116"/>
                      </a:lnTo>
                      <a:lnTo>
                        <a:pt x="1" y="124"/>
                      </a:lnTo>
                      <a:lnTo>
                        <a:pt x="1" y="128"/>
                      </a:lnTo>
                      <a:lnTo>
                        <a:pt x="7" y="129"/>
                      </a:lnTo>
                      <a:lnTo>
                        <a:pt x="11" y="127"/>
                      </a:lnTo>
                      <a:lnTo>
                        <a:pt x="21" y="134"/>
                      </a:lnTo>
                      <a:lnTo>
                        <a:pt x="28" y="141"/>
                      </a:lnTo>
                      <a:lnTo>
                        <a:pt x="31" y="148"/>
                      </a:lnTo>
                      <a:lnTo>
                        <a:pt x="31" y="154"/>
                      </a:lnTo>
                      <a:lnTo>
                        <a:pt x="33" y="155"/>
                      </a:lnTo>
                      <a:lnTo>
                        <a:pt x="35" y="161"/>
                      </a:lnTo>
                      <a:lnTo>
                        <a:pt x="38" y="165"/>
                      </a:lnTo>
                      <a:lnTo>
                        <a:pt x="43" y="167"/>
                      </a:lnTo>
                      <a:lnTo>
                        <a:pt x="57" y="166"/>
                      </a:lnTo>
                      <a:lnTo>
                        <a:pt x="59" y="164"/>
                      </a:lnTo>
                      <a:lnTo>
                        <a:pt x="62" y="165"/>
                      </a:lnTo>
                      <a:lnTo>
                        <a:pt x="68" y="162"/>
                      </a:lnTo>
                      <a:lnTo>
                        <a:pt x="70" y="163"/>
                      </a:lnTo>
                      <a:lnTo>
                        <a:pt x="74" y="162"/>
                      </a:lnTo>
                      <a:lnTo>
                        <a:pt x="75" y="158"/>
                      </a:lnTo>
                      <a:lnTo>
                        <a:pt x="78" y="161"/>
                      </a:lnTo>
                      <a:lnTo>
                        <a:pt x="79" y="160"/>
                      </a:lnTo>
                      <a:lnTo>
                        <a:pt x="79" y="160"/>
                      </a:lnTo>
                      <a:lnTo>
                        <a:pt x="79" y="158"/>
                      </a:lnTo>
                      <a:lnTo>
                        <a:pt x="83" y="15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48" name="Freeform 851">
                  <a:extLst>
                    <a:ext uri="{FF2B5EF4-FFF2-40B4-BE49-F238E27FC236}">
                      <a16:creationId xmlns:a16="http://schemas.microsoft.com/office/drawing/2014/main" id="{C9331FF8-8BE1-4B19-B701-F72E22440E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97" y="2799"/>
                  <a:ext cx="4" cy="5"/>
                </a:xfrm>
                <a:custGeom>
                  <a:avLst/>
                  <a:gdLst>
                    <a:gd name="T0" fmla="*/ 0 w 4"/>
                    <a:gd name="T1" fmla="*/ 2 h 5"/>
                    <a:gd name="T2" fmla="*/ 1 w 4"/>
                    <a:gd name="T3" fmla="*/ 5 h 5"/>
                    <a:gd name="T4" fmla="*/ 1 w 4"/>
                    <a:gd name="T5" fmla="*/ 5 h 5"/>
                    <a:gd name="T6" fmla="*/ 3 w 4"/>
                    <a:gd name="T7" fmla="*/ 5 h 5"/>
                    <a:gd name="T8" fmla="*/ 4 w 4"/>
                    <a:gd name="T9" fmla="*/ 2 h 5"/>
                    <a:gd name="T10" fmla="*/ 2 w 4"/>
                    <a:gd name="T11" fmla="*/ 0 h 5"/>
                    <a:gd name="T12" fmla="*/ 0 w 4"/>
                    <a:gd name="T13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5">
                      <a:moveTo>
                        <a:pt x="0" y="2"/>
                      </a:move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49" name="Freeform 852">
                  <a:extLst>
                    <a:ext uri="{FF2B5EF4-FFF2-40B4-BE49-F238E27FC236}">
                      <a16:creationId xmlns:a16="http://schemas.microsoft.com/office/drawing/2014/main" id="{5A7E3E4F-1669-4287-97F7-3136C56E17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4" y="2739"/>
                  <a:ext cx="7" cy="13"/>
                </a:xfrm>
                <a:custGeom>
                  <a:avLst/>
                  <a:gdLst>
                    <a:gd name="T0" fmla="*/ 7 w 7"/>
                    <a:gd name="T1" fmla="*/ 6 h 13"/>
                    <a:gd name="T2" fmla="*/ 7 w 7"/>
                    <a:gd name="T3" fmla="*/ 1 h 13"/>
                    <a:gd name="T4" fmla="*/ 6 w 7"/>
                    <a:gd name="T5" fmla="*/ 0 h 13"/>
                    <a:gd name="T6" fmla="*/ 3 w 7"/>
                    <a:gd name="T7" fmla="*/ 3 h 13"/>
                    <a:gd name="T8" fmla="*/ 2 w 7"/>
                    <a:gd name="T9" fmla="*/ 7 h 13"/>
                    <a:gd name="T10" fmla="*/ 0 w 7"/>
                    <a:gd name="T11" fmla="*/ 8 h 13"/>
                    <a:gd name="T12" fmla="*/ 0 w 7"/>
                    <a:gd name="T13" fmla="*/ 10 h 13"/>
                    <a:gd name="T14" fmla="*/ 2 w 7"/>
                    <a:gd name="T15" fmla="*/ 12 h 13"/>
                    <a:gd name="T16" fmla="*/ 5 w 7"/>
                    <a:gd name="T17" fmla="*/ 13 h 13"/>
                    <a:gd name="T18" fmla="*/ 7 w 7"/>
                    <a:gd name="T19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13">
                      <a:moveTo>
                        <a:pt x="7" y="6"/>
                      </a:moveTo>
                      <a:lnTo>
                        <a:pt x="7" y="1"/>
                      </a:lnTo>
                      <a:lnTo>
                        <a:pt x="6" y="0"/>
                      </a:lnTo>
                      <a:lnTo>
                        <a:pt x="3" y="3"/>
                      </a:lnTo>
                      <a:lnTo>
                        <a:pt x="2" y="7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2" y="12"/>
                      </a:lnTo>
                      <a:lnTo>
                        <a:pt x="5" y="13"/>
                      </a:lnTo>
                      <a:lnTo>
                        <a:pt x="7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50" name="Freeform 853">
                  <a:extLst>
                    <a:ext uri="{FF2B5EF4-FFF2-40B4-BE49-F238E27FC236}">
                      <a16:creationId xmlns:a16="http://schemas.microsoft.com/office/drawing/2014/main" id="{8B18FA84-5F9C-4F32-8AA2-086CB38C4F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8" y="2580"/>
                  <a:ext cx="108" cy="195"/>
                </a:xfrm>
                <a:custGeom>
                  <a:avLst/>
                  <a:gdLst>
                    <a:gd name="T0" fmla="*/ 37 w 108"/>
                    <a:gd name="T1" fmla="*/ 190 h 195"/>
                    <a:gd name="T2" fmla="*/ 39 w 108"/>
                    <a:gd name="T3" fmla="*/ 188 h 195"/>
                    <a:gd name="T4" fmla="*/ 46 w 108"/>
                    <a:gd name="T5" fmla="*/ 187 h 195"/>
                    <a:gd name="T6" fmla="*/ 53 w 108"/>
                    <a:gd name="T7" fmla="*/ 188 h 195"/>
                    <a:gd name="T8" fmla="*/ 57 w 108"/>
                    <a:gd name="T9" fmla="*/ 188 h 195"/>
                    <a:gd name="T10" fmla="*/ 63 w 108"/>
                    <a:gd name="T11" fmla="*/ 188 h 195"/>
                    <a:gd name="T12" fmla="*/ 83 w 108"/>
                    <a:gd name="T13" fmla="*/ 190 h 195"/>
                    <a:gd name="T14" fmla="*/ 86 w 108"/>
                    <a:gd name="T15" fmla="*/ 192 h 195"/>
                    <a:gd name="T16" fmla="*/ 91 w 108"/>
                    <a:gd name="T17" fmla="*/ 193 h 195"/>
                    <a:gd name="T18" fmla="*/ 93 w 108"/>
                    <a:gd name="T19" fmla="*/ 192 h 195"/>
                    <a:gd name="T20" fmla="*/ 99 w 108"/>
                    <a:gd name="T21" fmla="*/ 193 h 195"/>
                    <a:gd name="T22" fmla="*/ 103 w 108"/>
                    <a:gd name="T23" fmla="*/ 194 h 195"/>
                    <a:gd name="T24" fmla="*/ 105 w 108"/>
                    <a:gd name="T25" fmla="*/ 193 h 195"/>
                    <a:gd name="T26" fmla="*/ 106 w 108"/>
                    <a:gd name="T27" fmla="*/ 186 h 195"/>
                    <a:gd name="T28" fmla="*/ 107 w 108"/>
                    <a:gd name="T29" fmla="*/ 183 h 195"/>
                    <a:gd name="T30" fmla="*/ 106 w 108"/>
                    <a:gd name="T31" fmla="*/ 176 h 195"/>
                    <a:gd name="T32" fmla="*/ 98 w 108"/>
                    <a:gd name="T33" fmla="*/ 164 h 195"/>
                    <a:gd name="T34" fmla="*/ 91 w 108"/>
                    <a:gd name="T35" fmla="*/ 152 h 195"/>
                    <a:gd name="T36" fmla="*/ 86 w 108"/>
                    <a:gd name="T37" fmla="*/ 141 h 195"/>
                    <a:gd name="T38" fmla="*/ 85 w 108"/>
                    <a:gd name="T39" fmla="*/ 128 h 195"/>
                    <a:gd name="T40" fmla="*/ 84 w 108"/>
                    <a:gd name="T41" fmla="*/ 118 h 195"/>
                    <a:gd name="T42" fmla="*/ 91 w 108"/>
                    <a:gd name="T43" fmla="*/ 108 h 195"/>
                    <a:gd name="T44" fmla="*/ 97 w 108"/>
                    <a:gd name="T45" fmla="*/ 98 h 195"/>
                    <a:gd name="T46" fmla="*/ 99 w 108"/>
                    <a:gd name="T47" fmla="*/ 89 h 195"/>
                    <a:gd name="T48" fmla="*/ 92 w 108"/>
                    <a:gd name="T49" fmla="*/ 79 h 195"/>
                    <a:gd name="T50" fmla="*/ 80 w 108"/>
                    <a:gd name="T51" fmla="*/ 65 h 195"/>
                    <a:gd name="T52" fmla="*/ 77 w 108"/>
                    <a:gd name="T53" fmla="*/ 61 h 195"/>
                    <a:gd name="T54" fmla="*/ 78 w 108"/>
                    <a:gd name="T55" fmla="*/ 53 h 195"/>
                    <a:gd name="T56" fmla="*/ 84 w 108"/>
                    <a:gd name="T57" fmla="*/ 54 h 195"/>
                    <a:gd name="T58" fmla="*/ 91 w 108"/>
                    <a:gd name="T59" fmla="*/ 53 h 195"/>
                    <a:gd name="T60" fmla="*/ 97 w 108"/>
                    <a:gd name="T61" fmla="*/ 55 h 195"/>
                    <a:gd name="T62" fmla="*/ 94 w 108"/>
                    <a:gd name="T63" fmla="*/ 49 h 195"/>
                    <a:gd name="T64" fmla="*/ 88 w 108"/>
                    <a:gd name="T65" fmla="*/ 40 h 195"/>
                    <a:gd name="T66" fmla="*/ 91 w 108"/>
                    <a:gd name="T67" fmla="*/ 31 h 195"/>
                    <a:gd name="T68" fmla="*/ 90 w 108"/>
                    <a:gd name="T69" fmla="*/ 25 h 195"/>
                    <a:gd name="T70" fmla="*/ 88 w 108"/>
                    <a:gd name="T71" fmla="*/ 15 h 195"/>
                    <a:gd name="T72" fmla="*/ 83 w 108"/>
                    <a:gd name="T73" fmla="*/ 5 h 195"/>
                    <a:gd name="T74" fmla="*/ 77 w 108"/>
                    <a:gd name="T75" fmla="*/ 5 h 195"/>
                    <a:gd name="T76" fmla="*/ 78 w 108"/>
                    <a:gd name="T77" fmla="*/ 16 h 195"/>
                    <a:gd name="T78" fmla="*/ 82 w 108"/>
                    <a:gd name="T79" fmla="*/ 21 h 195"/>
                    <a:gd name="T80" fmla="*/ 80 w 108"/>
                    <a:gd name="T81" fmla="*/ 30 h 195"/>
                    <a:gd name="T82" fmla="*/ 74 w 108"/>
                    <a:gd name="T83" fmla="*/ 34 h 195"/>
                    <a:gd name="T84" fmla="*/ 69 w 108"/>
                    <a:gd name="T85" fmla="*/ 43 h 195"/>
                    <a:gd name="T86" fmla="*/ 68 w 108"/>
                    <a:gd name="T87" fmla="*/ 53 h 195"/>
                    <a:gd name="T88" fmla="*/ 61 w 108"/>
                    <a:gd name="T89" fmla="*/ 62 h 195"/>
                    <a:gd name="T90" fmla="*/ 59 w 108"/>
                    <a:gd name="T91" fmla="*/ 72 h 195"/>
                    <a:gd name="T92" fmla="*/ 52 w 108"/>
                    <a:gd name="T93" fmla="*/ 83 h 195"/>
                    <a:gd name="T94" fmla="*/ 50 w 108"/>
                    <a:gd name="T95" fmla="*/ 91 h 195"/>
                    <a:gd name="T96" fmla="*/ 46 w 108"/>
                    <a:gd name="T97" fmla="*/ 103 h 195"/>
                    <a:gd name="T98" fmla="*/ 40 w 108"/>
                    <a:gd name="T99" fmla="*/ 108 h 195"/>
                    <a:gd name="T100" fmla="*/ 36 w 108"/>
                    <a:gd name="T101" fmla="*/ 116 h 195"/>
                    <a:gd name="T102" fmla="*/ 30 w 108"/>
                    <a:gd name="T103" fmla="*/ 110 h 195"/>
                    <a:gd name="T104" fmla="*/ 22 w 108"/>
                    <a:gd name="T105" fmla="*/ 107 h 195"/>
                    <a:gd name="T106" fmla="*/ 17 w 108"/>
                    <a:gd name="T107" fmla="*/ 108 h 195"/>
                    <a:gd name="T108" fmla="*/ 12 w 108"/>
                    <a:gd name="T109" fmla="*/ 117 h 195"/>
                    <a:gd name="T110" fmla="*/ 6 w 108"/>
                    <a:gd name="T111" fmla="*/ 123 h 195"/>
                    <a:gd name="T112" fmla="*/ 5 w 108"/>
                    <a:gd name="T113" fmla="*/ 131 h 195"/>
                    <a:gd name="T114" fmla="*/ 0 w 108"/>
                    <a:gd name="T115" fmla="*/ 144 h 195"/>
                    <a:gd name="T116" fmla="*/ 5 w 108"/>
                    <a:gd name="T117" fmla="*/ 146 h 195"/>
                    <a:gd name="T118" fmla="*/ 10 w 108"/>
                    <a:gd name="T119" fmla="*/ 158 h 195"/>
                    <a:gd name="T120" fmla="*/ 15 w 108"/>
                    <a:gd name="T121" fmla="*/ 162 h 195"/>
                    <a:gd name="T122" fmla="*/ 18 w 108"/>
                    <a:gd name="T123" fmla="*/ 178 h 195"/>
                    <a:gd name="T124" fmla="*/ 16 w 108"/>
                    <a:gd name="T125" fmla="*/ 190 h 1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08" h="195">
                      <a:moveTo>
                        <a:pt x="19" y="189"/>
                      </a:moveTo>
                      <a:lnTo>
                        <a:pt x="20" y="190"/>
                      </a:lnTo>
                      <a:lnTo>
                        <a:pt x="37" y="190"/>
                      </a:lnTo>
                      <a:lnTo>
                        <a:pt x="37" y="190"/>
                      </a:lnTo>
                      <a:lnTo>
                        <a:pt x="38" y="189"/>
                      </a:lnTo>
                      <a:lnTo>
                        <a:pt x="39" y="188"/>
                      </a:lnTo>
                      <a:lnTo>
                        <a:pt x="40" y="188"/>
                      </a:lnTo>
                      <a:lnTo>
                        <a:pt x="42" y="187"/>
                      </a:lnTo>
                      <a:lnTo>
                        <a:pt x="46" y="187"/>
                      </a:lnTo>
                      <a:lnTo>
                        <a:pt x="47" y="187"/>
                      </a:lnTo>
                      <a:lnTo>
                        <a:pt x="51" y="187"/>
                      </a:lnTo>
                      <a:lnTo>
                        <a:pt x="53" y="188"/>
                      </a:lnTo>
                      <a:lnTo>
                        <a:pt x="55" y="187"/>
                      </a:lnTo>
                      <a:lnTo>
                        <a:pt x="57" y="187"/>
                      </a:lnTo>
                      <a:lnTo>
                        <a:pt x="57" y="188"/>
                      </a:lnTo>
                      <a:lnTo>
                        <a:pt x="60" y="189"/>
                      </a:lnTo>
                      <a:lnTo>
                        <a:pt x="61" y="188"/>
                      </a:lnTo>
                      <a:lnTo>
                        <a:pt x="63" y="188"/>
                      </a:lnTo>
                      <a:lnTo>
                        <a:pt x="64" y="190"/>
                      </a:lnTo>
                      <a:lnTo>
                        <a:pt x="81" y="190"/>
                      </a:lnTo>
                      <a:lnTo>
                        <a:pt x="83" y="190"/>
                      </a:lnTo>
                      <a:lnTo>
                        <a:pt x="84" y="190"/>
                      </a:lnTo>
                      <a:lnTo>
                        <a:pt x="84" y="190"/>
                      </a:lnTo>
                      <a:lnTo>
                        <a:pt x="86" y="192"/>
                      </a:lnTo>
                      <a:lnTo>
                        <a:pt x="88" y="191"/>
                      </a:lnTo>
                      <a:lnTo>
                        <a:pt x="89" y="192"/>
                      </a:lnTo>
                      <a:lnTo>
                        <a:pt x="91" y="193"/>
                      </a:lnTo>
                      <a:lnTo>
                        <a:pt x="91" y="193"/>
                      </a:lnTo>
                      <a:lnTo>
                        <a:pt x="92" y="192"/>
                      </a:lnTo>
                      <a:lnTo>
                        <a:pt x="93" y="192"/>
                      </a:lnTo>
                      <a:lnTo>
                        <a:pt x="95" y="193"/>
                      </a:lnTo>
                      <a:lnTo>
                        <a:pt x="97" y="193"/>
                      </a:lnTo>
                      <a:lnTo>
                        <a:pt x="99" y="193"/>
                      </a:lnTo>
                      <a:lnTo>
                        <a:pt x="101" y="193"/>
                      </a:lnTo>
                      <a:lnTo>
                        <a:pt x="102" y="194"/>
                      </a:lnTo>
                      <a:lnTo>
                        <a:pt x="103" y="194"/>
                      </a:lnTo>
                      <a:lnTo>
                        <a:pt x="103" y="195"/>
                      </a:lnTo>
                      <a:lnTo>
                        <a:pt x="105" y="195"/>
                      </a:lnTo>
                      <a:lnTo>
                        <a:pt x="105" y="193"/>
                      </a:lnTo>
                      <a:lnTo>
                        <a:pt x="104" y="190"/>
                      </a:lnTo>
                      <a:lnTo>
                        <a:pt x="105" y="189"/>
                      </a:lnTo>
                      <a:lnTo>
                        <a:pt x="106" y="186"/>
                      </a:lnTo>
                      <a:lnTo>
                        <a:pt x="107" y="184"/>
                      </a:lnTo>
                      <a:lnTo>
                        <a:pt x="108" y="183"/>
                      </a:lnTo>
                      <a:lnTo>
                        <a:pt x="107" y="183"/>
                      </a:lnTo>
                      <a:lnTo>
                        <a:pt x="106" y="182"/>
                      </a:lnTo>
                      <a:lnTo>
                        <a:pt x="106" y="179"/>
                      </a:lnTo>
                      <a:lnTo>
                        <a:pt x="106" y="176"/>
                      </a:lnTo>
                      <a:lnTo>
                        <a:pt x="102" y="171"/>
                      </a:lnTo>
                      <a:lnTo>
                        <a:pt x="100" y="169"/>
                      </a:lnTo>
                      <a:lnTo>
                        <a:pt x="98" y="164"/>
                      </a:lnTo>
                      <a:lnTo>
                        <a:pt x="95" y="158"/>
                      </a:lnTo>
                      <a:lnTo>
                        <a:pt x="94" y="155"/>
                      </a:lnTo>
                      <a:lnTo>
                        <a:pt x="91" y="152"/>
                      </a:lnTo>
                      <a:lnTo>
                        <a:pt x="88" y="149"/>
                      </a:lnTo>
                      <a:lnTo>
                        <a:pt x="86" y="148"/>
                      </a:lnTo>
                      <a:lnTo>
                        <a:pt x="86" y="141"/>
                      </a:lnTo>
                      <a:lnTo>
                        <a:pt x="85" y="137"/>
                      </a:lnTo>
                      <a:lnTo>
                        <a:pt x="84" y="133"/>
                      </a:lnTo>
                      <a:lnTo>
                        <a:pt x="85" y="128"/>
                      </a:lnTo>
                      <a:lnTo>
                        <a:pt x="84" y="124"/>
                      </a:lnTo>
                      <a:lnTo>
                        <a:pt x="84" y="121"/>
                      </a:lnTo>
                      <a:lnTo>
                        <a:pt x="84" y="118"/>
                      </a:lnTo>
                      <a:lnTo>
                        <a:pt x="86" y="117"/>
                      </a:lnTo>
                      <a:lnTo>
                        <a:pt x="89" y="113"/>
                      </a:lnTo>
                      <a:lnTo>
                        <a:pt x="91" y="108"/>
                      </a:lnTo>
                      <a:lnTo>
                        <a:pt x="93" y="103"/>
                      </a:lnTo>
                      <a:lnTo>
                        <a:pt x="95" y="100"/>
                      </a:lnTo>
                      <a:lnTo>
                        <a:pt x="97" y="98"/>
                      </a:lnTo>
                      <a:lnTo>
                        <a:pt x="99" y="94"/>
                      </a:lnTo>
                      <a:lnTo>
                        <a:pt x="99" y="93"/>
                      </a:lnTo>
                      <a:lnTo>
                        <a:pt x="99" y="89"/>
                      </a:lnTo>
                      <a:lnTo>
                        <a:pt x="97" y="86"/>
                      </a:lnTo>
                      <a:lnTo>
                        <a:pt x="95" y="81"/>
                      </a:lnTo>
                      <a:lnTo>
                        <a:pt x="92" y="79"/>
                      </a:lnTo>
                      <a:lnTo>
                        <a:pt x="88" y="72"/>
                      </a:lnTo>
                      <a:lnTo>
                        <a:pt x="82" y="67"/>
                      </a:lnTo>
                      <a:lnTo>
                        <a:pt x="80" y="65"/>
                      </a:lnTo>
                      <a:lnTo>
                        <a:pt x="79" y="64"/>
                      </a:lnTo>
                      <a:lnTo>
                        <a:pt x="77" y="62"/>
                      </a:lnTo>
                      <a:lnTo>
                        <a:pt x="77" y="61"/>
                      </a:lnTo>
                      <a:lnTo>
                        <a:pt x="77" y="58"/>
                      </a:lnTo>
                      <a:lnTo>
                        <a:pt x="78" y="56"/>
                      </a:lnTo>
                      <a:lnTo>
                        <a:pt x="78" y="53"/>
                      </a:lnTo>
                      <a:lnTo>
                        <a:pt x="81" y="53"/>
                      </a:lnTo>
                      <a:lnTo>
                        <a:pt x="83" y="53"/>
                      </a:lnTo>
                      <a:lnTo>
                        <a:pt x="84" y="54"/>
                      </a:lnTo>
                      <a:lnTo>
                        <a:pt x="87" y="53"/>
                      </a:lnTo>
                      <a:lnTo>
                        <a:pt x="89" y="54"/>
                      </a:lnTo>
                      <a:lnTo>
                        <a:pt x="91" y="53"/>
                      </a:lnTo>
                      <a:lnTo>
                        <a:pt x="94" y="54"/>
                      </a:lnTo>
                      <a:lnTo>
                        <a:pt x="95" y="55"/>
                      </a:lnTo>
                      <a:lnTo>
                        <a:pt x="97" y="55"/>
                      </a:lnTo>
                      <a:lnTo>
                        <a:pt x="98" y="54"/>
                      </a:lnTo>
                      <a:lnTo>
                        <a:pt x="98" y="53"/>
                      </a:lnTo>
                      <a:lnTo>
                        <a:pt x="94" y="49"/>
                      </a:lnTo>
                      <a:lnTo>
                        <a:pt x="93" y="46"/>
                      </a:lnTo>
                      <a:lnTo>
                        <a:pt x="91" y="45"/>
                      </a:lnTo>
                      <a:lnTo>
                        <a:pt x="88" y="40"/>
                      </a:lnTo>
                      <a:lnTo>
                        <a:pt x="88" y="37"/>
                      </a:lnTo>
                      <a:lnTo>
                        <a:pt x="90" y="34"/>
                      </a:lnTo>
                      <a:lnTo>
                        <a:pt x="91" y="31"/>
                      </a:lnTo>
                      <a:lnTo>
                        <a:pt x="89" y="28"/>
                      </a:lnTo>
                      <a:lnTo>
                        <a:pt x="89" y="27"/>
                      </a:lnTo>
                      <a:lnTo>
                        <a:pt x="90" y="25"/>
                      </a:lnTo>
                      <a:lnTo>
                        <a:pt x="90" y="23"/>
                      </a:lnTo>
                      <a:lnTo>
                        <a:pt x="88" y="18"/>
                      </a:lnTo>
                      <a:lnTo>
                        <a:pt x="88" y="15"/>
                      </a:lnTo>
                      <a:lnTo>
                        <a:pt x="87" y="14"/>
                      </a:lnTo>
                      <a:lnTo>
                        <a:pt x="86" y="9"/>
                      </a:lnTo>
                      <a:lnTo>
                        <a:pt x="83" y="5"/>
                      </a:lnTo>
                      <a:lnTo>
                        <a:pt x="76" y="0"/>
                      </a:lnTo>
                      <a:lnTo>
                        <a:pt x="76" y="0"/>
                      </a:lnTo>
                      <a:lnTo>
                        <a:pt x="77" y="5"/>
                      </a:lnTo>
                      <a:lnTo>
                        <a:pt x="77" y="7"/>
                      </a:lnTo>
                      <a:lnTo>
                        <a:pt x="77" y="13"/>
                      </a:lnTo>
                      <a:lnTo>
                        <a:pt x="78" y="16"/>
                      </a:lnTo>
                      <a:lnTo>
                        <a:pt x="81" y="17"/>
                      </a:lnTo>
                      <a:lnTo>
                        <a:pt x="82" y="19"/>
                      </a:lnTo>
                      <a:lnTo>
                        <a:pt x="82" y="21"/>
                      </a:lnTo>
                      <a:lnTo>
                        <a:pt x="83" y="26"/>
                      </a:lnTo>
                      <a:lnTo>
                        <a:pt x="83" y="27"/>
                      </a:lnTo>
                      <a:lnTo>
                        <a:pt x="80" y="30"/>
                      </a:lnTo>
                      <a:lnTo>
                        <a:pt x="77" y="32"/>
                      </a:lnTo>
                      <a:lnTo>
                        <a:pt x="76" y="32"/>
                      </a:lnTo>
                      <a:lnTo>
                        <a:pt x="74" y="34"/>
                      </a:lnTo>
                      <a:lnTo>
                        <a:pt x="73" y="36"/>
                      </a:lnTo>
                      <a:lnTo>
                        <a:pt x="71" y="38"/>
                      </a:lnTo>
                      <a:lnTo>
                        <a:pt x="69" y="43"/>
                      </a:lnTo>
                      <a:lnTo>
                        <a:pt x="67" y="46"/>
                      </a:lnTo>
                      <a:lnTo>
                        <a:pt x="68" y="49"/>
                      </a:lnTo>
                      <a:lnTo>
                        <a:pt x="68" y="53"/>
                      </a:lnTo>
                      <a:lnTo>
                        <a:pt x="67" y="58"/>
                      </a:lnTo>
                      <a:lnTo>
                        <a:pt x="65" y="61"/>
                      </a:lnTo>
                      <a:lnTo>
                        <a:pt x="61" y="62"/>
                      </a:lnTo>
                      <a:lnTo>
                        <a:pt x="59" y="65"/>
                      </a:lnTo>
                      <a:lnTo>
                        <a:pt x="60" y="70"/>
                      </a:lnTo>
                      <a:lnTo>
                        <a:pt x="59" y="72"/>
                      </a:lnTo>
                      <a:lnTo>
                        <a:pt x="58" y="76"/>
                      </a:lnTo>
                      <a:lnTo>
                        <a:pt x="56" y="78"/>
                      </a:lnTo>
                      <a:lnTo>
                        <a:pt x="52" y="83"/>
                      </a:lnTo>
                      <a:lnTo>
                        <a:pt x="50" y="86"/>
                      </a:lnTo>
                      <a:lnTo>
                        <a:pt x="51" y="88"/>
                      </a:lnTo>
                      <a:lnTo>
                        <a:pt x="50" y="91"/>
                      </a:lnTo>
                      <a:lnTo>
                        <a:pt x="46" y="96"/>
                      </a:lnTo>
                      <a:lnTo>
                        <a:pt x="45" y="100"/>
                      </a:lnTo>
                      <a:lnTo>
                        <a:pt x="46" y="103"/>
                      </a:lnTo>
                      <a:lnTo>
                        <a:pt x="43" y="106"/>
                      </a:lnTo>
                      <a:lnTo>
                        <a:pt x="42" y="107"/>
                      </a:lnTo>
                      <a:lnTo>
                        <a:pt x="40" y="108"/>
                      </a:lnTo>
                      <a:lnTo>
                        <a:pt x="40" y="110"/>
                      </a:lnTo>
                      <a:lnTo>
                        <a:pt x="39" y="114"/>
                      </a:lnTo>
                      <a:lnTo>
                        <a:pt x="36" y="116"/>
                      </a:lnTo>
                      <a:lnTo>
                        <a:pt x="34" y="115"/>
                      </a:lnTo>
                      <a:lnTo>
                        <a:pt x="32" y="113"/>
                      </a:lnTo>
                      <a:lnTo>
                        <a:pt x="30" y="110"/>
                      </a:lnTo>
                      <a:lnTo>
                        <a:pt x="27" y="107"/>
                      </a:lnTo>
                      <a:lnTo>
                        <a:pt x="25" y="108"/>
                      </a:lnTo>
                      <a:lnTo>
                        <a:pt x="22" y="107"/>
                      </a:lnTo>
                      <a:lnTo>
                        <a:pt x="22" y="106"/>
                      </a:lnTo>
                      <a:lnTo>
                        <a:pt x="20" y="107"/>
                      </a:lnTo>
                      <a:lnTo>
                        <a:pt x="17" y="108"/>
                      </a:lnTo>
                      <a:lnTo>
                        <a:pt x="16" y="110"/>
                      </a:lnTo>
                      <a:lnTo>
                        <a:pt x="16" y="113"/>
                      </a:lnTo>
                      <a:lnTo>
                        <a:pt x="12" y="117"/>
                      </a:lnTo>
                      <a:lnTo>
                        <a:pt x="11" y="119"/>
                      </a:lnTo>
                      <a:lnTo>
                        <a:pt x="8" y="121"/>
                      </a:lnTo>
                      <a:lnTo>
                        <a:pt x="6" y="123"/>
                      </a:lnTo>
                      <a:lnTo>
                        <a:pt x="6" y="126"/>
                      </a:lnTo>
                      <a:lnTo>
                        <a:pt x="5" y="127"/>
                      </a:lnTo>
                      <a:lnTo>
                        <a:pt x="5" y="131"/>
                      </a:lnTo>
                      <a:lnTo>
                        <a:pt x="5" y="134"/>
                      </a:lnTo>
                      <a:lnTo>
                        <a:pt x="4" y="139"/>
                      </a:lnTo>
                      <a:lnTo>
                        <a:pt x="0" y="144"/>
                      </a:lnTo>
                      <a:lnTo>
                        <a:pt x="0" y="146"/>
                      </a:lnTo>
                      <a:lnTo>
                        <a:pt x="2" y="147"/>
                      </a:lnTo>
                      <a:lnTo>
                        <a:pt x="5" y="146"/>
                      </a:lnTo>
                      <a:lnTo>
                        <a:pt x="6" y="156"/>
                      </a:lnTo>
                      <a:lnTo>
                        <a:pt x="8" y="156"/>
                      </a:lnTo>
                      <a:lnTo>
                        <a:pt x="10" y="158"/>
                      </a:lnTo>
                      <a:lnTo>
                        <a:pt x="14" y="156"/>
                      </a:lnTo>
                      <a:lnTo>
                        <a:pt x="16" y="160"/>
                      </a:lnTo>
                      <a:lnTo>
                        <a:pt x="15" y="162"/>
                      </a:lnTo>
                      <a:lnTo>
                        <a:pt x="15" y="167"/>
                      </a:lnTo>
                      <a:lnTo>
                        <a:pt x="18" y="172"/>
                      </a:lnTo>
                      <a:lnTo>
                        <a:pt x="18" y="178"/>
                      </a:lnTo>
                      <a:lnTo>
                        <a:pt x="16" y="184"/>
                      </a:lnTo>
                      <a:lnTo>
                        <a:pt x="19" y="186"/>
                      </a:lnTo>
                      <a:lnTo>
                        <a:pt x="16" y="190"/>
                      </a:lnTo>
                      <a:lnTo>
                        <a:pt x="18" y="189"/>
                      </a:lnTo>
                      <a:lnTo>
                        <a:pt x="19" y="18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51" name="Freeform 854">
                  <a:extLst>
                    <a:ext uri="{FF2B5EF4-FFF2-40B4-BE49-F238E27FC236}">
                      <a16:creationId xmlns:a16="http://schemas.microsoft.com/office/drawing/2014/main" id="{5845F732-6537-4D0C-B320-677BC6662E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9" y="2767"/>
                  <a:ext cx="80" cy="106"/>
                </a:xfrm>
                <a:custGeom>
                  <a:avLst/>
                  <a:gdLst>
                    <a:gd name="T0" fmla="*/ 37 w 80"/>
                    <a:gd name="T1" fmla="*/ 99 h 106"/>
                    <a:gd name="T2" fmla="*/ 41 w 80"/>
                    <a:gd name="T3" fmla="*/ 97 h 106"/>
                    <a:gd name="T4" fmla="*/ 45 w 80"/>
                    <a:gd name="T5" fmla="*/ 101 h 106"/>
                    <a:gd name="T6" fmla="*/ 45 w 80"/>
                    <a:gd name="T7" fmla="*/ 89 h 106"/>
                    <a:gd name="T8" fmla="*/ 42 w 80"/>
                    <a:gd name="T9" fmla="*/ 86 h 106"/>
                    <a:gd name="T10" fmla="*/ 37 w 80"/>
                    <a:gd name="T11" fmla="*/ 88 h 106"/>
                    <a:gd name="T12" fmla="*/ 36 w 80"/>
                    <a:gd name="T13" fmla="*/ 82 h 106"/>
                    <a:gd name="T14" fmla="*/ 41 w 80"/>
                    <a:gd name="T15" fmla="*/ 79 h 106"/>
                    <a:gd name="T16" fmla="*/ 45 w 80"/>
                    <a:gd name="T17" fmla="*/ 80 h 106"/>
                    <a:gd name="T18" fmla="*/ 48 w 80"/>
                    <a:gd name="T19" fmla="*/ 78 h 106"/>
                    <a:gd name="T20" fmla="*/ 53 w 80"/>
                    <a:gd name="T21" fmla="*/ 75 h 106"/>
                    <a:gd name="T22" fmla="*/ 54 w 80"/>
                    <a:gd name="T23" fmla="*/ 69 h 106"/>
                    <a:gd name="T24" fmla="*/ 59 w 80"/>
                    <a:gd name="T25" fmla="*/ 76 h 106"/>
                    <a:gd name="T26" fmla="*/ 65 w 80"/>
                    <a:gd name="T27" fmla="*/ 78 h 106"/>
                    <a:gd name="T28" fmla="*/ 68 w 80"/>
                    <a:gd name="T29" fmla="*/ 77 h 106"/>
                    <a:gd name="T30" fmla="*/ 74 w 80"/>
                    <a:gd name="T31" fmla="*/ 78 h 106"/>
                    <a:gd name="T32" fmla="*/ 76 w 80"/>
                    <a:gd name="T33" fmla="*/ 81 h 106"/>
                    <a:gd name="T34" fmla="*/ 76 w 80"/>
                    <a:gd name="T35" fmla="*/ 75 h 106"/>
                    <a:gd name="T36" fmla="*/ 80 w 80"/>
                    <a:gd name="T37" fmla="*/ 55 h 106"/>
                    <a:gd name="T38" fmla="*/ 79 w 80"/>
                    <a:gd name="T39" fmla="*/ 51 h 106"/>
                    <a:gd name="T40" fmla="*/ 76 w 80"/>
                    <a:gd name="T41" fmla="*/ 46 h 106"/>
                    <a:gd name="T42" fmla="*/ 74 w 80"/>
                    <a:gd name="T43" fmla="*/ 44 h 106"/>
                    <a:gd name="T44" fmla="*/ 73 w 80"/>
                    <a:gd name="T45" fmla="*/ 41 h 106"/>
                    <a:gd name="T46" fmla="*/ 74 w 80"/>
                    <a:gd name="T47" fmla="*/ 39 h 106"/>
                    <a:gd name="T48" fmla="*/ 76 w 80"/>
                    <a:gd name="T49" fmla="*/ 37 h 106"/>
                    <a:gd name="T50" fmla="*/ 74 w 80"/>
                    <a:gd name="T51" fmla="*/ 34 h 106"/>
                    <a:gd name="T52" fmla="*/ 77 w 80"/>
                    <a:gd name="T53" fmla="*/ 30 h 106"/>
                    <a:gd name="T54" fmla="*/ 80 w 80"/>
                    <a:gd name="T55" fmla="*/ 26 h 106"/>
                    <a:gd name="T56" fmla="*/ 80 w 80"/>
                    <a:gd name="T57" fmla="*/ 22 h 106"/>
                    <a:gd name="T58" fmla="*/ 79 w 80"/>
                    <a:gd name="T59" fmla="*/ 16 h 106"/>
                    <a:gd name="T60" fmla="*/ 71 w 80"/>
                    <a:gd name="T61" fmla="*/ 17 h 106"/>
                    <a:gd name="T62" fmla="*/ 66 w 80"/>
                    <a:gd name="T63" fmla="*/ 17 h 106"/>
                    <a:gd name="T64" fmla="*/ 63 w 80"/>
                    <a:gd name="T65" fmla="*/ 18 h 106"/>
                    <a:gd name="T66" fmla="*/ 63 w 80"/>
                    <a:gd name="T67" fmla="*/ 13 h 106"/>
                    <a:gd name="T68" fmla="*/ 62 w 80"/>
                    <a:gd name="T69" fmla="*/ 6 h 106"/>
                    <a:gd name="T70" fmla="*/ 63 w 80"/>
                    <a:gd name="T71" fmla="*/ 3 h 106"/>
                    <a:gd name="T72" fmla="*/ 60 w 80"/>
                    <a:gd name="T73" fmla="*/ 1 h 106"/>
                    <a:gd name="T74" fmla="*/ 56 w 80"/>
                    <a:gd name="T75" fmla="*/ 1 h 106"/>
                    <a:gd name="T76" fmla="*/ 54 w 80"/>
                    <a:gd name="T77" fmla="*/ 0 h 106"/>
                    <a:gd name="T78" fmla="*/ 50 w 80"/>
                    <a:gd name="T79" fmla="*/ 0 h 106"/>
                    <a:gd name="T80" fmla="*/ 45 w 80"/>
                    <a:gd name="T81" fmla="*/ 0 h 106"/>
                    <a:gd name="T82" fmla="*/ 39 w 80"/>
                    <a:gd name="T83" fmla="*/ 1 h 106"/>
                    <a:gd name="T84" fmla="*/ 37 w 80"/>
                    <a:gd name="T85" fmla="*/ 2 h 106"/>
                    <a:gd name="T86" fmla="*/ 36 w 80"/>
                    <a:gd name="T87" fmla="*/ 23 h 106"/>
                    <a:gd name="T88" fmla="*/ 16 w 80"/>
                    <a:gd name="T89" fmla="*/ 22 h 106"/>
                    <a:gd name="T90" fmla="*/ 13 w 80"/>
                    <a:gd name="T91" fmla="*/ 23 h 106"/>
                    <a:gd name="T92" fmla="*/ 11 w 80"/>
                    <a:gd name="T93" fmla="*/ 27 h 106"/>
                    <a:gd name="T94" fmla="*/ 11 w 80"/>
                    <a:gd name="T95" fmla="*/ 33 h 106"/>
                    <a:gd name="T96" fmla="*/ 9 w 80"/>
                    <a:gd name="T97" fmla="*/ 36 h 106"/>
                    <a:gd name="T98" fmla="*/ 7 w 80"/>
                    <a:gd name="T99" fmla="*/ 39 h 106"/>
                    <a:gd name="T100" fmla="*/ 4 w 80"/>
                    <a:gd name="T101" fmla="*/ 51 h 106"/>
                    <a:gd name="T102" fmla="*/ 0 w 80"/>
                    <a:gd name="T103" fmla="*/ 51 h 106"/>
                    <a:gd name="T104" fmla="*/ 4 w 80"/>
                    <a:gd name="T105" fmla="*/ 61 h 106"/>
                    <a:gd name="T106" fmla="*/ 7 w 80"/>
                    <a:gd name="T107" fmla="*/ 67 h 106"/>
                    <a:gd name="T108" fmla="*/ 9 w 80"/>
                    <a:gd name="T109" fmla="*/ 75 h 106"/>
                    <a:gd name="T110" fmla="*/ 14 w 80"/>
                    <a:gd name="T111" fmla="*/ 82 h 106"/>
                    <a:gd name="T112" fmla="*/ 17 w 80"/>
                    <a:gd name="T113" fmla="*/ 88 h 106"/>
                    <a:gd name="T114" fmla="*/ 24 w 80"/>
                    <a:gd name="T115" fmla="*/ 98 h 106"/>
                    <a:gd name="T116" fmla="*/ 30 w 80"/>
                    <a:gd name="T117" fmla="*/ 104 h 106"/>
                    <a:gd name="T118" fmla="*/ 33 w 80"/>
                    <a:gd name="T119" fmla="*/ 106 h 106"/>
                    <a:gd name="T120" fmla="*/ 35 w 80"/>
                    <a:gd name="T121" fmla="*/ 10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80" h="106">
                      <a:moveTo>
                        <a:pt x="35" y="100"/>
                      </a:moveTo>
                      <a:lnTo>
                        <a:pt x="37" y="99"/>
                      </a:lnTo>
                      <a:lnTo>
                        <a:pt x="39" y="99"/>
                      </a:lnTo>
                      <a:lnTo>
                        <a:pt x="41" y="97"/>
                      </a:lnTo>
                      <a:lnTo>
                        <a:pt x="42" y="97"/>
                      </a:lnTo>
                      <a:lnTo>
                        <a:pt x="45" y="101"/>
                      </a:lnTo>
                      <a:lnTo>
                        <a:pt x="45" y="98"/>
                      </a:lnTo>
                      <a:lnTo>
                        <a:pt x="45" y="89"/>
                      </a:lnTo>
                      <a:lnTo>
                        <a:pt x="43" y="87"/>
                      </a:lnTo>
                      <a:lnTo>
                        <a:pt x="42" y="86"/>
                      </a:lnTo>
                      <a:lnTo>
                        <a:pt x="39" y="87"/>
                      </a:lnTo>
                      <a:lnTo>
                        <a:pt x="37" y="88"/>
                      </a:lnTo>
                      <a:lnTo>
                        <a:pt x="38" y="84"/>
                      </a:lnTo>
                      <a:lnTo>
                        <a:pt x="36" y="82"/>
                      </a:lnTo>
                      <a:lnTo>
                        <a:pt x="38" y="80"/>
                      </a:lnTo>
                      <a:lnTo>
                        <a:pt x="41" y="79"/>
                      </a:lnTo>
                      <a:lnTo>
                        <a:pt x="44" y="82"/>
                      </a:lnTo>
                      <a:lnTo>
                        <a:pt x="45" y="80"/>
                      </a:lnTo>
                      <a:lnTo>
                        <a:pt x="45" y="78"/>
                      </a:lnTo>
                      <a:lnTo>
                        <a:pt x="48" y="78"/>
                      </a:lnTo>
                      <a:lnTo>
                        <a:pt x="52" y="78"/>
                      </a:lnTo>
                      <a:lnTo>
                        <a:pt x="53" y="75"/>
                      </a:lnTo>
                      <a:lnTo>
                        <a:pt x="53" y="72"/>
                      </a:lnTo>
                      <a:lnTo>
                        <a:pt x="54" y="69"/>
                      </a:lnTo>
                      <a:lnTo>
                        <a:pt x="57" y="69"/>
                      </a:lnTo>
                      <a:lnTo>
                        <a:pt x="59" y="76"/>
                      </a:lnTo>
                      <a:lnTo>
                        <a:pt x="61" y="79"/>
                      </a:lnTo>
                      <a:lnTo>
                        <a:pt x="65" y="78"/>
                      </a:lnTo>
                      <a:lnTo>
                        <a:pt x="66" y="78"/>
                      </a:lnTo>
                      <a:lnTo>
                        <a:pt x="68" y="77"/>
                      </a:lnTo>
                      <a:lnTo>
                        <a:pt x="71" y="77"/>
                      </a:lnTo>
                      <a:lnTo>
                        <a:pt x="74" y="78"/>
                      </a:lnTo>
                      <a:lnTo>
                        <a:pt x="75" y="81"/>
                      </a:lnTo>
                      <a:lnTo>
                        <a:pt x="76" y="81"/>
                      </a:lnTo>
                      <a:lnTo>
                        <a:pt x="76" y="78"/>
                      </a:lnTo>
                      <a:lnTo>
                        <a:pt x="76" y="75"/>
                      </a:lnTo>
                      <a:lnTo>
                        <a:pt x="79" y="62"/>
                      </a:lnTo>
                      <a:lnTo>
                        <a:pt x="80" y="55"/>
                      </a:lnTo>
                      <a:lnTo>
                        <a:pt x="80" y="52"/>
                      </a:lnTo>
                      <a:lnTo>
                        <a:pt x="79" y="51"/>
                      </a:lnTo>
                      <a:lnTo>
                        <a:pt x="78" y="48"/>
                      </a:lnTo>
                      <a:lnTo>
                        <a:pt x="76" y="46"/>
                      </a:lnTo>
                      <a:lnTo>
                        <a:pt x="76" y="44"/>
                      </a:lnTo>
                      <a:lnTo>
                        <a:pt x="74" y="44"/>
                      </a:lnTo>
                      <a:lnTo>
                        <a:pt x="73" y="42"/>
                      </a:lnTo>
                      <a:lnTo>
                        <a:pt x="73" y="41"/>
                      </a:lnTo>
                      <a:lnTo>
                        <a:pt x="73" y="40"/>
                      </a:lnTo>
                      <a:lnTo>
                        <a:pt x="74" y="39"/>
                      </a:lnTo>
                      <a:lnTo>
                        <a:pt x="75" y="38"/>
                      </a:lnTo>
                      <a:lnTo>
                        <a:pt x="76" y="37"/>
                      </a:lnTo>
                      <a:lnTo>
                        <a:pt x="75" y="35"/>
                      </a:lnTo>
                      <a:lnTo>
                        <a:pt x="74" y="34"/>
                      </a:lnTo>
                      <a:lnTo>
                        <a:pt x="74" y="32"/>
                      </a:lnTo>
                      <a:lnTo>
                        <a:pt x="77" y="30"/>
                      </a:lnTo>
                      <a:lnTo>
                        <a:pt x="80" y="29"/>
                      </a:lnTo>
                      <a:lnTo>
                        <a:pt x="80" y="26"/>
                      </a:lnTo>
                      <a:lnTo>
                        <a:pt x="80" y="24"/>
                      </a:lnTo>
                      <a:lnTo>
                        <a:pt x="80" y="22"/>
                      </a:lnTo>
                      <a:lnTo>
                        <a:pt x="80" y="17"/>
                      </a:lnTo>
                      <a:lnTo>
                        <a:pt x="79" y="16"/>
                      </a:lnTo>
                      <a:lnTo>
                        <a:pt x="74" y="16"/>
                      </a:lnTo>
                      <a:lnTo>
                        <a:pt x="71" y="17"/>
                      </a:lnTo>
                      <a:lnTo>
                        <a:pt x="68" y="18"/>
                      </a:lnTo>
                      <a:lnTo>
                        <a:pt x="66" y="17"/>
                      </a:lnTo>
                      <a:lnTo>
                        <a:pt x="64" y="19"/>
                      </a:lnTo>
                      <a:lnTo>
                        <a:pt x="63" y="18"/>
                      </a:lnTo>
                      <a:lnTo>
                        <a:pt x="63" y="16"/>
                      </a:lnTo>
                      <a:lnTo>
                        <a:pt x="63" y="13"/>
                      </a:lnTo>
                      <a:lnTo>
                        <a:pt x="63" y="9"/>
                      </a:lnTo>
                      <a:lnTo>
                        <a:pt x="62" y="6"/>
                      </a:lnTo>
                      <a:lnTo>
                        <a:pt x="63" y="3"/>
                      </a:lnTo>
                      <a:lnTo>
                        <a:pt x="63" y="3"/>
                      </a:lnTo>
                      <a:lnTo>
                        <a:pt x="62" y="1"/>
                      </a:lnTo>
                      <a:lnTo>
                        <a:pt x="60" y="1"/>
                      </a:lnTo>
                      <a:lnTo>
                        <a:pt x="59" y="2"/>
                      </a:lnTo>
                      <a:lnTo>
                        <a:pt x="56" y="1"/>
                      </a:lnTo>
                      <a:lnTo>
                        <a:pt x="56" y="0"/>
                      </a:lnTo>
                      <a:lnTo>
                        <a:pt x="54" y="0"/>
                      </a:lnTo>
                      <a:lnTo>
                        <a:pt x="52" y="1"/>
                      </a:lnTo>
                      <a:lnTo>
                        <a:pt x="50" y="0"/>
                      </a:lnTo>
                      <a:lnTo>
                        <a:pt x="46" y="0"/>
                      </a:lnTo>
                      <a:lnTo>
                        <a:pt x="45" y="0"/>
                      </a:lnTo>
                      <a:lnTo>
                        <a:pt x="41" y="0"/>
                      </a:lnTo>
                      <a:lnTo>
                        <a:pt x="39" y="1"/>
                      </a:lnTo>
                      <a:lnTo>
                        <a:pt x="38" y="1"/>
                      </a:lnTo>
                      <a:lnTo>
                        <a:pt x="37" y="2"/>
                      </a:lnTo>
                      <a:lnTo>
                        <a:pt x="36" y="3"/>
                      </a:lnTo>
                      <a:lnTo>
                        <a:pt x="36" y="23"/>
                      </a:lnTo>
                      <a:lnTo>
                        <a:pt x="17" y="23"/>
                      </a:lnTo>
                      <a:lnTo>
                        <a:pt x="16" y="22"/>
                      </a:lnTo>
                      <a:lnTo>
                        <a:pt x="14" y="22"/>
                      </a:lnTo>
                      <a:lnTo>
                        <a:pt x="13" y="23"/>
                      </a:lnTo>
                      <a:lnTo>
                        <a:pt x="11" y="23"/>
                      </a:lnTo>
                      <a:lnTo>
                        <a:pt x="11" y="27"/>
                      </a:lnTo>
                      <a:lnTo>
                        <a:pt x="8" y="27"/>
                      </a:lnTo>
                      <a:lnTo>
                        <a:pt x="11" y="33"/>
                      </a:lnTo>
                      <a:lnTo>
                        <a:pt x="15" y="34"/>
                      </a:lnTo>
                      <a:lnTo>
                        <a:pt x="9" y="36"/>
                      </a:lnTo>
                      <a:lnTo>
                        <a:pt x="7" y="34"/>
                      </a:lnTo>
                      <a:lnTo>
                        <a:pt x="7" y="39"/>
                      </a:lnTo>
                      <a:lnTo>
                        <a:pt x="6" y="48"/>
                      </a:lnTo>
                      <a:lnTo>
                        <a:pt x="4" y="51"/>
                      </a:lnTo>
                      <a:lnTo>
                        <a:pt x="0" y="50"/>
                      </a:lnTo>
                      <a:lnTo>
                        <a:pt x="0" y="51"/>
                      </a:lnTo>
                      <a:lnTo>
                        <a:pt x="3" y="59"/>
                      </a:lnTo>
                      <a:lnTo>
                        <a:pt x="4" y="61"/>
                      </a:lnTo>
                      <a:lnTo>
                        <a:pt x="4" y="63"/>
                      </a:lnTo>
                      <a:lnTo>
                        <a:pt x="7" y="67"/>
                      </a:lnTo>
                      <a:lnTo>
                        <a:pt x="7" y="72"/>
                      </a:lnTo>
                      <a:lnTo>
                        <a:pt x="9" y="75"/>
                      </a:lnTo>
                      <a:lnTo>
                        <a:pt x="11" y="78"/>
                      </a:lnTo>
                      <a:lnTo>
                        <a:pt x="14" y="82"/>
                      </a:lnTo>
                      <a:lnTo>
                        <a:pt x="13" y="83"/>
                      </a:lnTo>
                      <a:lnTo>
                        <a:pt x="17" y="88"/>
                      </a:lnTo>
                      <a:lnTo>
                        <a:pt x="24" y="94"/>
                      </a:lnTo>
                      <a:lnTo>
                        <a:pt x="24" y="98"/>
                      </a:lnTo>
                      <a:lnTo>
                        <a:pt x="30" y="101"/>
                      </a:lnTo>
                      <a:lnTo>
                        <a:pt x="30" y="104"/>
                      </a:lnTo>
                      <a:lnTo>
                        <a:pt x="33" y="105"/>
                      </a:lnTo>
                      <a:lnTo>
                        <a:pt x="33" y="106"/>
                      </a:lnTo>
                      <a:lnTo>
                        <a:pt x="35" y="102"/>
                      </a:lnTo>
                      <a:lnTo>
                        <a:pt x="35" y="10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52" name="Freeform 855">
                  <a:extLst>
                    <a:ext uri="{FF2B5EF4-FFF2-40B4-BE49-F238E27FC236}">
                      <a16:creationId xmlns:a16="http://schemas.microsoft.com/office/drawing/2014/main" id="{06B0B335-99B7-42A8-AD64-A2DE576CDD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6" y="2769"/>
                  <a:ext cx="29" cy="21"/>
                </a:xfrm>
                <a:custGeom>
                  <a:avLst/>
                  <a:gdLst>
                    <a:gd name="T0" fmla="*/ 7 w 29"/>
                    <a:gd name="T1" fmla="*/ 20 h 21"/>
                    <a:gd name="T2" fmla="*/ 9 w 29"/>
                    <a:gd name="T3" fmla="*/ 20 h 21"/>
                    <a:gd name="T4" fmla="*/ 10 w 29"/>
                    <a:gd name="T5" fmla="*/ 21 h 21"/>
                    <a:gd name="T6" fmla="*/ 29 w 29"/>
                    <a:gd name="T7" fmla="*/ 21 h 21"/>
                    <a:gd name="T8" fmla="*/ 29 w 29"/>
                    <a:gd name="T9" fmla="*/ 1 h 21"/>
                    <a:gd name="T10" fmla="*/ 29 w 29"/>
                    <a:gd name="T11" fmla="*/ 1 h 21"/>
                    <a:gd name="T12" fmla="*/ 12 w 29"/>
                    <a:gd name="T13" fmla="*/ 1 h 21"/>
                    <a:gd name="T14" fmla="*/ 11 w 29"/>
                    <a:gd name="T15" fmla="*/ 0 h 21"/>
                    <a:gd name="T16" fmla="*/ 10 w 29"/>
                    <a:gd name="T17" fmla="*/ 0 h 21"/>
                    <a:gd name="T18" fmla="*/ 8 w 29"/>
                    <a:gd name="T19" fmla="*/ 1 h 21"/>
                    <a:gd name="T20" fmla="*/ 7 w 29"/>
                    <a:gd name="T21" fmla="*/ 1 h 21"/>
                    <a:gd name="T22" fmla="*/ 8 w 29"/>
                    <a:gd name="T23" fmla="*/ 4 h 21"/>
                    <a:gd name="T24" fmla="*/ 4 w 29"/>
                    <a:gd name="T25" fmla="*/ 10 h 21"/>
                    <a:gd name="T26" fmla="*/ 0 w 29"/>
                    <a:gd name="T27" fmla="*/ 18 h 21"/>
                    <a:gd name="T28" fmla="*/ 4 w 29"/>
                    <a:gd name="T29" fmla="*/ 20 h 21"/>
                    <a:gd name="T30" fmla="*/ 4 w 29"/>
                    <a:gd name="T31" fmla="*/ 21 h 21"/>
                    <a:gd name="T32" fmla="*/ 6 w 29"/>
                    <a:gd name="T33" fmla="*/ 21 h 21"/>
                    <a:gd name="T34" fmla="*/ 7 w 29"/>
                    <a:gd name="T35" fmla="*/ 2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9" h="21">
                      <a:moveTo>
                        <a:pt x="7" y="20"/>
                      </a:moveTo>
                      <a:lnTo>
                        <a:pt x="9" y="20"/>
                      </a:lnTo>
                      <a:lnTo>
                        <a:pt x="10" y="21"/>
                      </a:lnTo>
                      <a:lnTo>
                        <a:pt x="29" y="21"/>
                      </a:lnTo>
                      <a:lnTo>
                        <a:pt x="29" y="1"/>
                      </a:lnTo>
                      <a:lnTo>
                        <a:pt x="29" y="1"/>
                      </a:lnTo>
                      <a:lnTo>
                        <a:pt x="12" y="1"/>
                      </a:lnTo>
                      <a:lnTo>
                        <a:pt x="11" y="0"/>
                      </a:lnTo>
                      <a:lnTo>
                        <a:pt x="10" y="0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8" y="4"/>
                      </a:lnTo>
                      <a:lnTo>
                        <a:pt x="4" y="10"/>
                      </a:lnTo>
                      <a:lnTo>
                        <a:pt x="0" y="18"/>
                      </a:lnTo>
                      <a:lnTo>
                        <a:pt x="4" y="20"/>
                      </a:lnTo>
                      <a:lnTo>
                        <a:pt x="4" y="21"/>
                      </a:lnTo>
                      <a:lnTo>
                        <a:pt x="6" y="21"/>
                      </a:lnTo>
                      <a:lnTo>
                        <a:pt x="7" y="2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53" name="Freeform 856">
                  <a:extLst>
                    <a:ext uri="{FF2B5EF4-FFF2-40B4-BE49-F238E27FC236}">
                      <a16:creationId xmlns:a16="http://schemas.microsoft.com/office/drawing/2014/main" id="{CEC431D5-771E-4402-9FAC-F73A634CE0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62" y="2740"/>
                  <a:ext cx="109" cy="153"/>
                </a:xfrm>
                <a:custGeom>
                  <a:avLst/>
                  <a:gdLst>
                    <a:gd name="T0" fmla="*/ 18 w 109"/>
                    <a:gd name="T1" fmla="*/ 147 h 153"/>
                    <a:gd name="T2" fmla="*/ 23 w 109"/>
                    <a:gd name="T3" fmla="*/ 140 h 153"/>
                    <a:gd name="T4" fmla="*/ 27 w 109"/>
                    <a:gd name="T5" fmla="*/ 144 h 153"/>
                    <a:gd name="T6" fmla="*/ 30 w 109"/>
                    <a:gd name="T7" fmla="*/ 147 h 153"/>
                    <a:gd name="T8" fmla="*/ 33 w 109"/>
                    <a:gd name="T9" fmla="*/ 149 h 153"/>
                    <a:gd name="T10" fmla="*/ 36 w 109"/>
                    <a:gd name="T11" fmla="*/ 143 h 153"/>
                    <a:gd name="T12" fmla="*/ 43 w 109"/>
                    <a:gd name="T13" fmla="*/ 140 h 153"/>
                    <a:gd name="T14" fmla="*/ 46 w 109"/>
                    <a:gd name="T15" fmla="*/ 144 h 153"/>
                    <a:gd name="T16" fmla="*/ 51 w 109"/>
                    <a:gd name="T17" fmla="*/ 150 h 153"/>
                    <a:gd name="T18" fmla="*/ 62 w 109"/>
                    <a:gd name="T19" fmla="*/ 138 h 153"/>
                    <a:gd name="T20" fmla="*/ 68 w 109"/>
                    <a:gd name="T21" fmla="*/ 133 h 153"/>
                    <a:gd name="T22" fmla="*/ 71 w 109"/>
                    <a:gd name="T23" fmla="*/ 120 h 153"/>
                    <a:gd name="T24" fmla="*/ 70 w 109"/>
                    <a:gd name="T25" fmla="*/ 105 h 153"/>
                    <a:gd name="T26" fmla="*/ 76 w 109"/>
                    <a:gd name="T27" fmla="*/ 92 h 153"/>
                    <a:gd name="T28" fmla="*/ 84 w 109"/>
                    <a:gd name="T29" fmla="*/ 86 h 153"/>
                    <a:gd name="T30" fmla="*/ 94 w 109"/>
                    <a:gd name="T31" fmla="*/ 74 h 153"/>
                    <a:gd name="T32" fmla="*/ 97 w 109"/>
                    <a:gd name="T33" fmla="*/ 61 h 153"/>
                    <a:gd name="T34" fmla="*/ 98 w 109"/>
                    <a:gd name="T35" fmla="*/ 50 h 153"/>
                    <a:gd name="T36" fmla="*/ 99 w 109"/>
                    <a:gd name="T37" fmla="*/ 40 h 153"/>
                    <a:gd name="T38" fmla="*/ 99 w 109"/>
                    <a:gd name="T39" fmla="*/ 27 h 153"/>
                    <a:gd name="T40" fmla="*/ 109 w 109"/>
                    <a:gd name="T41" fmla="*/ 13 h 153"/>
                    <a:gd name="T42" fmla="*/ 108 w 109"/>
                    <a:gd name="T43" fmla="*/ 2 h 153"/>
                    <a:gd name="T44" fmla="*/ 102 w 109"/>
                    <a:gd name="T45" fmla="*/ 2 h 153"/>
                    <a:gd name="T46" fmla="*/ 97 w 109"/>
                    <a:gd name="T47" fmla="*/ 0 h 153"/>
                    <a:gd name="T48" fmla="*/ 87 w 109"/>
                    <a:gd name="T49" fmla="*/ 4 h 153"/>
                    <a:gd name="T50" fmla="*/ 80 w 109"/>
                    <a:gd name="T51" fmla="*/ 10 h 153"/>
                    <a:gd name="T52" fmla="*/ 71 w 109"/>
                    <a:gd name="T53" fmla="*/ 29 h 153"/>
                    <a:gd name="T54" fmla="*/ 71 w 109"/>
                    <a:gd name="T55" fmla="*/ 35 h 153"/>
                    <a:gd name="T56" fmla="*/ 68 w 109"/>
                    <a:gd name="T57" fmla="*/ 34 h 153"/>
                    <a:gd name="T58" fmla="*/ 63 w 109"/>
                    <a:gd name="T59" fmla="*/ 33 h 153"/>
                    <a:gd name="T60" fmla="*/ 58 w 109"/>
                    <a:gd name="T61" fmla="*/ 32 h 153"/>
                    <a:gd name="T62" fmla="*/ 55 w 109"/>
                    <a:gd name="T63" fmla="*/ 32 h 153"/>
                    <a:gd name="T64" fmla="*/ 50 w 109"/>
                    <a:gd name="T65" fmla="*/ 30 h 153"/>
                    <a:gd name="T66" fmla="*/ 47 w 109"/>
                    <a:gd name="T67" fmla="*/ 30 h 153"/>
                    <a:gd name="T68" fmla="*/ 30 w 109"/>
                    <a:gd name="T69" fmla="*/ 36 h 153"/>
                    <a:gd name="T70" fmla="*/ 30 w 109"/>
                    <a:gd name="T71" fmla="*/ 45 h 153"/>
                    <a:gd name="T72" fmla="*/ 35 w 109"/>
                    <a:gd name="T73" fmla="*/ 45 h 153"/>
                    <a:gd name="T74" fmla="*/ 46 w 109"/>
                    <a:gd name="T75" fmla="*/ 43 h 153"/>
                    <a:gd name="T76" fmla="*/ 47 w 109"/>
                    <a:gd name="T77" fmla="*/ 51 h 153"/>
                    <a:gd name="T78" fmla="*/ 44 w 109"/>
                    <a:gd name="T79" fmla="*/ 57 h 153"/>
                    <a:gd name="T80" fmla="*/ 42 w 109"/>
                    <a:gd name="T81" fmla="*/ 62 h 153"/>
                    <a:gd name="T82" fmla="*/ 41 w 109"/>
                    <a:gd name="T83" fmla="*/ 66 h 153"/>
                    <a:gd name="T84" fmla="*/ 40 w 109"/>
                    <a:gd name="T85" fmla="*/ 69 h 153"/>
                    <a:gd name="T86" fmla="*/ 43 w 109"/>
                    <a:gd name="T87" fmla="*/ 73 h 153"/>
                    <a:gd name="T88" fmla="*/ 47 w 109"/>
                    <a:gd name="T89" fmla="*/ 79 h 153"/>
                    <a:gd name="T90" fmla="*/ 43 w 109"/>
                    <a:gd name="T91" fmla="*/ 102 h 153"/>
                    <a:gd name="T92" fmla="*/ 42 w 109"/>
                    <a:gd name="T93" fmla="*/ 108 h 153"/>
                    <a:gd name="T94" fmla="*/ 35 w 109"/>
                    <a:gd name="T95" fmla="*/ 104 h 153"/>
                    <a:gd name="T96" fmla="*/ 28 w 109"/>
                    <a:gd name="T97" fmla="*/ 106 h 153"/>
                    <a:gd name="T98" fmla="*/ 21 w 109"/>
                    <a:gd name="T99" fmla="*/ 96 h 153"/>
                    <a:gd name="T100" fmla="*/ 19 w 109"/>
                    <a:gd name="T101" fmla="*/ 105 h 153"/>
                    <a:gd name="T102" fmla="*/ 12 w 109"/>
                    <a:gd name="T103" fmla="*/ 107 h 153"/>
                    <a:gd name="T104" fmla="*/ 5 w 109"/>
                    <a:gd name="T105" fmla="*/ 107 h 153"/>
                    <a:gd name="T106" fmla="*/ 4 w 109"/>
                    <a:gd name="T107" fmla="*/ 115 h 153"/>
                    <a:gd name="T108" fmla="*/ 10 w 109"/>
                    <a:gd name="T109" fmla="*/ 114 h 153"/>
                    <a:gd name="T110" fmla="*/ 12 w 109"/>
                    <a:gd name="T111" fmla="*/ 128 h 153"/>
                    <a:gd name="T112" fmla="*/ 6 w 109"/>
                    <a:gd name="T113" fmla="*/ 126 h 153"/>
                    <a:gd name="T114" fmla="*/ 2 w 109"/>
                    <a:gd name="T115" fmla="*/ 129 h 153"/>
                    <a:gd name="T116" fmla="*/ 4 w 109"/>
                    <a:gd name="T117" fmla="*/ 138 h 153"/>
                    <a:gd name="T118" fmla="*/ 11 w 109"/>
                    <a:gd name="T119" fmla="*/ 147 h 153"/>
                    <a:gd name="T120" fmla="*/ 14 w 109"/>
                    <a:gd name="T121" fmla="*/ 152 h 1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09" h="153">
                      <a:moveTo>
                        <a:pt x="15" y="148"/>
                      </a:moveTo>
                      <a:lnTo>
                        <a:pt x="16" y="148"/>
                      </a:lnTo>
                      <a:lnTo>
                        <a:pt x="18" y="147"/>
                      </a:lnTo>
                      <a:lnTo>
                        <a:pt x="19" y="143"/>
                      </a:lnTo>
                      <a:lnTo>
                        <a:pt x="21" y="143"/>
                      </a:lnTo>
                      <a:lnTo>
                        <a:pt x="23" y="140"/>
                      </a:lnTo>
                      <a:lnTo>
                        <a:pt x="25" y="140"/>
                      </a:lnTo>
                      <a:lnTo>
                        <a:pt x="26" y="142"/>
                      </a:lnTo>
                      <a:lnTo>
                        <a:pt x="27" y="144"/>
                      </a:lnTo>
                      <a:lnTo>
                        <a:pt x="27" y="147"/>
                      </a:lnTo>
                      <a:lnTo>
                        <a:pt x="28" y="147"/>
                      </a:lnTo>
                      <a:lnTo>
                        <a:pt x="30" y="147"/>
                      </a:lnTo>
                      <a:lnTo>
                        <a:pt x="32" y="146"/>
                      </a:lnTo>
                      <a:lnTo>
                        <a:pt x="33" y="147"/>
                      </a:lnTo>
                      <a:lnTo>
                        <a:pt x="33" y="149"/>
                      </a:lnTo>
                      <a:lnTo>
                        <a:pt x="35" y="149"/>
                      </a:lnTo>
                      <a:lnTo>
                        <a:pt x="36" y="147"/>
                      </a:lnTo>
                      <a:lnTo>
                        <a:pt x="36" y="143"/>
                      </a:lnTo>
                      <a:lnTo>
                        <a:pt x="39" y="143"/>
                      </a:lnTo>
                      <a:lnTo>
                        <a:pt x="40" y="143"/>
                      </a:lnTo>
                      <a:lnTo>
                        <a:pt x="43" y="140"/>
                      </a:lnTo>
                      <a:lnTo>
                        <a:pt x="48" y="139"/>
                      </a:lnTo>
                      <a:lnTo>
                        <a:pt x="48" y="140"/>
                      </a:lnTo>
                      <a:lnTo>
                        <a:pt x="46" y="144"/>
                      </a:lnTo>
                      <a:lnTo>
                        <a:pt x="47" y="145"/>
                      </a:lnTo>
                      <a:lnTo>
                        <a:pt x="47" y="147"/>
                      </a:lnTo>
                      <a:lnTo>
                        <a:pt x="51" y="150"/>
                      </a:lnTo>
                      <a:lnTo>
                        <a:pt x="54" y="148"/>
                      </a:lnTo>
                      <a:lnTo>
                        <a:pt x="57" y="144"/>
                      </a:lnTo>
                      <a:lnTo>
                        <a:pt x="62" y="138"/>
                      </a:lnTo>
                      <a:lnTo>
                        <a:pt x="63" y="135"/>
                      </a:lnTo>
                      <a:lnTo>
                        <a:pt x="65" y="133"/>
                      </a:lnTo>
                      <a:lnTo>
                        <a:pt x="68" y="133"/>
                      </a:lnTo>
                      <a:lnTo>
                        <a:pt x="71" y="128"/>
                      </a:lnTo>
                      <a:lnTo>
                        <a:pt x="70" y="125"/>
                      </a:lnTo>
                      <a:lnTo>
                        <a:pt x="71" y="120"/>
                      </a:lnTo>
                      <a:lnTo>
                        <a:pt x="71" y="111"/>
                      </a:lnTo>
                      <a:lnTo>
                        <a:pt x="71" y="110"/>
                      </a:lnTo>
                      <a:lnTo>
                        <a:pt x="70" y="105"/>
                      </a:lnTo>
                      <a:lnTo>
                        <a:pt x="71" y="102"/>
                      </a:lnTo>
                      <a:lnTo>
                        <a:pt x="76" y="96"/>
                      </a:lnTo>
                      <a:lnTo>
                        <a:pt x="76" y="92"/>
                      </a:lnTo>
                      <a:lnTo>
                        <a:pt x="79" y="88"/>
                      </a:lnTo>
                      <a:lnTo>
                        <a:pt x="82" y="85"/>
                      </a:lnTo>
                      <a:lnTo>
                        <a:pt x="84" y="86"/>
                      </a:lnTo>
                      <a:lnTo>
                        <a:pt x="86" y="84"/>
                      </a:lnTo>
                      <a:lnTo>
                        <a:pt x="89" y="83"/>
                      </a:lnTo>
                      <a:lnTo>
                        <a:pt x="94" y="74"/>
                      </a:lnTo>
                      <a:lnTo>
                        <a:pt x="94" y="68"/>
                      </a:lnTo>
                      <a:lnTo>
                        <a:pt x="95" y="63"/>
                      </a:lnTo>
                      <a:lnTo>
                        <a:pt x="97" y="61"/>
                      </a:lnTo>
                      <a:lnTo>
                        <a:pt x="97" y="57"/>
                      </a:lnTo>
                      <a:lnTo>
                        <a:pt x="97" y="56"/>
                      </a:lnTo>
                      <a:lnTo>
                        <a:pt x="98" y="50"/>
                      </a:lnTo>
                      <a:lnTo>
                        <a:pt x="97" y="49"/>
                      </a:lnTo>
                      <a:lnTo>
                        <a:pt x="98" y="43"/>
                      </a:lnTo>
                      <a:lnTo>
                        <a:pt x="99" y="40"/>
                      </a:lnTo>
                      <a:lnTo>
                        <a:pt x="100" y="36"/>
                      </a:lnTo>
                      <a:lnTo>
                        <a:pt x="101" y="33"/>
                      </a:lnTo>
                      <a:lnTo>
                        <a:pt x="99" y="27"/>
                      </a:lnTo>
                      <a:lnTo>
                        <a:pt x="106" y="18"/>
                      </a:lnTo>
                      <a:lnTo>
                        <a:pt x="106" y="15"/>
                      </a:lnTo>
                      <a:lnTo>
                        <a:pt x="109" y="13"/>
                      </a:lnTo>
                      <a:lnTo>
                        <a:pt x="109" y="6"/>
                      </a:lnTo>
                      <a:lnTo>
                        <a:pt x="107" y="3"/>
                      </a:lnTo>
                      <a:lnTo>
                        <a:pt x="108" y="2"/>
                      </a:lnTo>
                      <a:lnTo>
                        <a:pt x="106" y="2"/>
                      </a:lnTo>
                      <a:lnTo>
                        <a:pt x="105" y="3"/>
                      </a:lnTo>
                      <a:lnTo>
                        <a:pt x="102" y="2"/>
                      </a:lnTo>
                      <a:lnTo>
                        <a:pt x="101" y="0"/>
                      </a:lnTo>
                      <a:lnTo>
                        <a:pt x="99" y="0"/>
                      </a:lnTo>
                      <a:lnTo>
                        <a:pt x="97" y="0"/>
                      </a:lnTo>
                      <a:lnTo>
                        <a:pt x="95" y="1"/>
                      </a:lnTo>
                      <a:lnTo>
                        <a:pt x="93" y="1"/>
                      </a:lnTo>
                      <a:lnTo>
                        <a:pt x="87" y="4"/>
                      </a:lnTo>
                      <a:lnTo>
                        <a:pt x="85" y="5"/>
                      </a:lnTo>
                      <a:lnTo>
                        <a:pt x="83" y="6"/>
                      </a:lnTo>
                      <a:lnTo>
                        <a:pt x="80" y="10"/>
                      </a:lnTo>
                      <a:lnTo>
                        <a:pt x="73" y="24"/>
                      </a:lnTo>
                      <a:lnTo>
                        <a:pt x="72" y="26"/>
                      </a:lnTo>
                      <a:lnTo>
                        <a:pt x="71" y="29"/>
                      </a:lnTo>
                      <a:lnTo>
                        <a:pt x="70" y="30"/>
                      </a:lnTo>
                      <a:lnTo>
                        <a:pt x="71" y="33"/>
                      </a:lnTo>
                      <a:lnTo>
                        <a:pt x="71" y="35"/>
                      </a:lnTo>
                      <a:lnTo>
                        <a:pt x="69" y="35"/>
                      </a:lnTo>
                      <a:lnTo>
                        <a:pt x="69" y="34"/>
                      </a:lnTo>
                      <a:lnTo>
                        <a:pt x="68" y="34"/>
                      </a:lnTo>
                      <a:lnTo>
                        <a:pt x="67" y="33"/>
                      </a:lnTo>
                      <a:lnTo>
                        <a:pt x="65" y="33"/>
                      </a:lnTo>
                      <a:lnTo>
                        <a:pt x="63" y="33"/>
                      </a:lnTo>
                      <a:lnTo>
                        <a:pt x="61" y="33"/>
                      </a:lnTo>
                      <a:lnTo>
                        <a:pt x="59" y="32"/>
                      </a:lnTo>
                      <a:lnTo>
                        <a:pt x="58" y="32"/>
                      </a:lnTo>
                      <a:lnTo>
                        <a:pt x="57" y="33"/>
                      </a:lnTo>
                      <a:lnTo>
                        <a:pt x="57" y="33"/>
                      </a:lnTo>
                      <a:lnTo>
                        <a:pt x="55" y="32"/>
                      </a:lnTo>
                      <a:lnTo>
                        <a:pt x="54" y="31"/>
                      </a:lnTo>
                      <a:lnTo>
                        <a:pt x="52" y="32"/>
                      </a:lnTo>
                      <a:lnTo>
                        <a:pt x="50" y="30"/>
                      </a:lnTo>
                      <a:lnTo>
                        <a:pt x="50" y="30"/>
                      </a:lnTo>
                      <a:lnTo>
                        <a:pt x="49" y="30"/>
                      </a:lnTo>
                      <a:lnTo>
                        <a:pt x="47" y="30"/>
                      </a:lnTo>
                      <a:lnTo>
                        <a:pt x="30" y="30"/>
                      </a:lnTo>
                      <a:lnTo>
                        <a:pt x="29" y="33"/>
                      </a:lnTo>
                      <a:lnTo>
                        <a:pt x="30" y="36"/>
                      </a:lnTo>
                      <a:lnTo>
                        <a:pt x="30" y="40"/>
                      </a:lnTo>
                      <a:lnTo>
                        <a:pt x="30" y="43"/>
                      </a:lnTo>
                      <a:lnTo>
                        <a:pt x="30" y="45"/>
                      </a:lnTo>
                      <a:lnTo>
                        <a:pt x="31" y="46"/>
                      </a:lnTo>
                      <a:lnTo>
                        <a:pt x="33" y="44"/>
                      </a:lnTo>
                      <a:lnTo>
                        <a:pt x="35" y="45"/>
                      </a:lnTo>
                      <a:lnTo>
                        <a:pt x="38" y="44"/>
                      </a:lnTo>
                      <a:lnTo>
                        <a:pt x="41" y="43"/>
                      </a:lnTo>
                      <a:lnTo>
                        <a:pt x="46" y="43"/>
                      </a:lnTo>
                      <a:lnTo>
                        <a:pt x="47" y="44"/>
                      </a:lnTo>
                      <a:lnTo>
                        <a:pt x="47" y="49"/>
                      </a:lnTo>
                      <a:lnTo>
                        <a:pt x="47" y="51"/>
                      </a:lnTo>
                      <a:lnTo>
                        <a:pt x="47" y="53"/>
                      </a:lnTo>
                      <a:lnTo>
                        <a:pt x="47" y="56"/>
                      </a:lnTo>
                      <a:lnTo>
                        <a:pt x="44" y="57"/>
                      </a:lnTo>
                      <a:lnTo>
                        <a:pt x="41" y="59"/>
                      </a:lnTo>
                      <a:lnTo>
                        <a:pt x="41" y="61"/>
                      </a:lnTo>
                      <a:lnTo>
                        <a:pt x="42" y="62"/>
                      </a:lnTo>
                      <a:lnTo>
                        <a:pt x="43" y="64"/>
                      </a:lnTo>
                      <a:lnTo>
                        <a:pt x="42" y="65"/>
                      </a:lnTo>
                      <a:lnTo>
                        <a:pt x="41" y="66"/>
                      </a:lnTo>
                      <a:lnTo>
                        <a:pt x="40" y="67"/>
                      </a:lnTo>
                      <a:lnTo>
                        <a:pt x="40" y="68"/>
                      </a:lnTo>
                      <a:lnTo>
                        <a:pt x="40" y="69"/>
                      </a:lnTo>
                      <a:lnTo>
                        <a:pt x="41" y="71"/>
                      </a:lnTo>
                      <a:lnTo>
                        <a:pt x="43" y="71"/>
                      </a:lnTo>
                      <a:lnTo>
                        <a:pt x="43" y="73"/>
                      </a:lnTo>
                      <a:lnTo>
                        <a:pt x="45" y="75"/>
                      </a:lnTo>
                      <a:lnTo>
                        <a:pt x="46" y="78"/>
                      </a:lnTo>
                      <a:lnTo>
                        <a:pt x="47" y="79"/>
                      </a:lnTo>
                      <a:lnTo>
                        <a:pt x="47" y="82"/>
                      </a:lnTo>
                      <a:lnTo>
                        <a:pt x="46" y="89"/>
                      </a:lnTo>
                      <a:lnTo>
                        <a:pt x="43" y="102"/>
                      </a:lnTo>
                      <a:lnTo>
                        <a:pt x="43" y="105"/>
                      </a:lnTo>
                      <a:lnTo>
                        <a:pt x="43" y="108"/>
                      </a:lnTo>
                      <a:lnTo>
                        <a:pt x="42" y="108"/>
                      </a:lnTo>
                      <a:lnTo>
                        <a:pt x="41" y="105"/>
                      </a:lnTo>
                      <a:lnTo>
                        <a:pt x="38" y="104"/>
                      </a:lnTo>
                      <a:lnTo>
                        <a:pt x="35" y="104"/>
                      </a:lnTo>
                      <a:lnTo>
                        <a:pt x="33" y="105"/>
                      </a:lnTo>
                      <a:lnTo>
                        <a:pt x="32" y="105"/>
                      </a:lnTo>
                      <a:lnTo>
                        <a:pt x="28" y="106"/>
                      </a:lnTo>
                      <a:lnTo>
                        <a:pt x="26" y="103"/>
                      </a:lnTo>
                      <a:lnTo>
                        <a:pt x="24" y="96"/>
                      </a:lnTo>
                      <a:lnTo>
                        <a:pt x="21" y="96"/>
                      </a:lnTo>
                      <a:lnTo>
                        <a:pt x="20" y="99"/>
                      </a:lnTo>
                      <a:lnTo>
                        <a:pt x="20" y="102"/>
                      </a:lnTo>
                      <a:lnTo>
                        <a:pt x="19" y="105"/>
                      </a:lnTo>
                      <a:lnTo>
                        <a:pt x="15" y="105"/>
                      </a:lnTo>
                      <a:lnTo>
                        <a:pt x="12" y="105"/>
                      </a:lnTo>
                      <a:lnTo>
                        <a:pt x="12" y="107"/>
                      </a:lnTo>
                      <a:lnTo>
                        <a:pt x="11" y="109"/>
                      </a:lnTo>
                      <a:lnTo>
                        <a:pt x="8" y="106"/>
                      </a:lnTo>
                      <a:lnTo>
                        <a:pt x="5" y="107"/>
                      </a:lnTo>
                      <a:lnTo>
                        <a:pt x="3" y="109"/>
                      </a:lnTo>
                      <a:lnTo>
                        <a:pt x="5" y="111"/>
                      </a:lnTo>
                      <a:lnTo>
                        <a:pt x="4" y="115"/>
                      </a:lnTo>
                      <a:lnTo>
                        <a:pt x="6" y="114"/>
                      </a:lnTo>
                      <a:lnTo>
                        <a:pt x="9" y="113"/>
                      </a:lnTo>
                      <a:lnTo>
                        <a:pt x="10" y="114"/>
                      </a:lnTo>
                      <a:lnTo>
                        <a:pt x="12" y="116"/>
                      </a:lnTo>
                      <a:lnTo>
                        <a:pt x="12" y="125"/>
                      </a:lnTo>
                      <a:lnTo>
                        <a:pt x="12" y="128"/>
                      </a:lnTo>
                      <a:lnTo>
                        <a:pt x="9" y="124"/>
                      </a:lnTo>
                      <a:lnTo>
                        <a:pt x="8" y="124"/>
                      </a:lnTo>
                      <a:lnTo>
                        <a:pt x="6" y="126"/>
                      </a:lnTo>
                      <a:lnTo>
                        <a:pt x="4" y="126"/>
                      </a:lnTo>
                      <a:lnTo>
                        <a:pt x="2" y="127"/>
                      </a:lnTo>
                      <a:lnTo>
                        <a:pt x="2" y="129"/>
                      </a:lnTo>
                      <a:lnTo>
                        <a:pt x="0" y="133"/>
                      </a:lnTo>
                      <a:lnTo>
                        <a:pt x="3" y="136"/>
                      </a:lnTo>
                      <a:lnTo>
                        <a:pt x="4" y="138"/>
                      </a:lnTo>
                      <a:lnTo>
                        <a:pt x="9" y="141"/>
                      </a:lnTo>
                      <a:lnTo>
                        <a:pt x="9" y="144"/>
                      </a:lnTo>
                      <a:lnTo>
                        <a:pt x="11" y="147"/>
                      </a:lnTo>
                      <a:lnTo>
                        <a:pt x="11" y="150"/>
                      </a:lnTo>
                      <a:lnTo>
                        <a:pt x="12" y="153"/>
                      </a:lnTo>
                      <a:lnTo>
                        <a:pt x="14" y="152"/>
                      </a:lnTo>
                      <a:lnTo>
                        <a:pt x="15" y="14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54" name="Freeform 857">
                  <a:extLst>
                    <a:ext uri="{FF2B5EF4-FFF2-40B4-BE49-F238E27FC236}">
                      <a16:creationId xmlns:a16="http://schemas.microsoft.com/office/drawing/2014/main" id="{C83999E6-E456-40FA-A7A1-5A33651A3C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74" y="2880"/>
                  <a:ext cx="15" cy="25"/>
                </a:xfrm>
                <a:custGeom>
                  <a:avLst/>
                  <a:gdLst>
                    <a:gd name="T0" fmla="*/ 7 w 15"/>
                    <a:gd name="T1" fmla="*/ 23 h 25"/>
                    <a:gd name="T2" fmla="*/ 9 w 15"/>
                    <a:gd name="T3" fmla="*/ 21 h 25"/>
                    <a:gd name="T4" fmla="*/ 9 w 15"/>
                    <a:gd name="T5" fmla="*/ 15 h 25"/>
                    <a:gd name="T6" fmla="*/ 10 w 15"/>
                    <a:gd name="T7" fmla="*/ 13 h 25"/>
                    <a:gd name="T8" fmla="*/ 13 w 15"/>
                    <a:gd name="T9" fmla="*/ 10 h 25"/>
                    <a:gd name="T10" fmla="*/ 15 w 15"/>
                    <a:gd name="T11" fmla="*/ 7 h 25"/>
                    <a:gd name="T12" fmla="*/ 15 w 15"/>
                    <a:gd name="T13" fmla="*/ 4 h 25"/>
                    <a:gd name="T14" fmla="*/ 14 w 15"/>
                    <a:gd name="T15" fmla="*/ 2 h 25"/>
                    <a:gd name="T16" fmla="*/ 13 w 15"/>
                    <a:gd name="T17" fmla="*/ 0 h 25"/>
                    <a:gd name="T18" fmla="*/ 11 w 15"/>
                    <a:gd name="T19" fmla="*/ 0 h 25"/>
                    <a:gd name="T20" fmla="*/ 9 w 15"/>
                    <a:gd name="T21" fmla="*/ 3 h 25"/>
                    <a:gd name="T22" fmla="*/ 7 w 15"/>
                    <a:gd name="T23" fmla="*/ 3 h 25"/>
                    <a:gd name="T24" fmla="*/ 6 w 15"/>
                    <a:gd name="T25" fmla="*/ 7 h 25"/>
                    <a:gd name="T26" fmla="*/ 4 w 15"/>
                    <a:gd name="T27" fmla="*/ 8 h 25"/>
                    <a:gd name="T28" fmla="*/ 3 w 15"/>
                    <a:gd name="T29" fmla="*/ 8 h 25"/>
                    <a:gd name="T30" fmla="*/ 2 w 15"/>
                    <a:gd name="T31" fmla="*/ 12 h 25"/>
                    <a:gd name="T32" fmla="*/ 0 w 15"/>
                    <a:gd name="T33" fmla="*/ 13 h 25"/>
                    <a:gd name="T34" fmla="*/ 2 w 15"/>
                    <a:gd name="T35" fmla="*/ 15 h 25"/>
                    <a:gd name="T36" fmla="*/ 3 w 15"/>
                    <a:gd name="T37" fmla="*/ 20 h 25"/>
                    <a:gd name="T38" fmla="*/ 1 w 15"/>
                    <a:gd name="T39" fmla="*/ 24 h 25"/>
                    <a:gd name="T40" fmla="*/ 2 w 15"/>
                    <a:gd name="T41" fmla="*/ 25 h 25"/>
                    <a:gd name="T42" fmla="*/ 4 w 15"/>
                    <a:gd name="T43" fmla="*/ 24 h 25"/>
                    <a:gd name="T44" fmla="*/ 7 w 15"/>
                    <a:gd name="T45" fmla="*/ 23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5" h="25">
                      <a:moveTo>
                        <a:pt x="7" y="23"/>
                      </a:moveTo>
                      <a:lnTo>
                        <a:pt x="9" y="21"/>
                      </a:lnTo>
                      <a:lnTo>
                        <a:pt x="9" y="15"/>
                      </a:lnTo>
                      <a:lnTo>
                        <a:pt x="10" y="13"/>
                      </a:lnTo>
                      <a:lnTo>
                        <a:pt x="13" y="10"/>
                      </a:lnTo>
                      <a:lnTo>
                        <a:pt x="15" y="7"/>
                      </a:lnTo>
                      <a:lnTo>
                        <a:pt x="15" y="4"/>
                      </a:lnTo>
                      <a:lnTo>
                        <a:pt x="14" y="2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9" y="3"/>
                      </a:lnTo>
                      <a:lnTo>
                        <a:pt x="7" y="3"/>
                      </a:lnTo>
                      <a:lnTo>
                        <a:pt x="6" y="7"/>
                      </a:lnTo>
                      <a:lnTo>
                        <a:pt x="4" y="8"/>
                      </a:lnTo>
                      <a:lnTo>
                        <a:pt x="3" y="8"/>
                      </a:lnTo>
                      <a:lnTo>
                        <a:pt x="2" y="12"/>
                      </a:lnTo>
                      <a:lnTo>
                        <a:pt x="0" y="13"/>
                      </a:lnTo>
                      <a:lnTo>
                        <a:pt x="2" y="15"/>
                      </a:lnTo>
                      <a:lnTo>
                        <a:pt x="3" y="20"/>
                      </a:lnTo>
                      <a:lnTo>
                        <a:pt x="1" y="24"/>
                      </a:lnTo>
                      <a:lnTo>
                        <a:pt x="2" y="25"/>
                      </a:lnTo>
                      <a:lnTo>
                        <a:pt x="4" y="24"/>
                      </a:lnTo>
                      <a:lnTo>
                        <a:pt x="7" y="2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55" name="Freeform 858">
                  <a:extLst>
                    <a:ext uri="{FF2B5EF4-FFF2-40B4-BE49-F238E27FC236}">
                      <a16:creationId xmlns:a16="http://schemas.microsoft.com/office/drawing/2014/main" id="{D3865310-5879-4B9B-BE38-2CC5FBEF48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20" y="2821"/>
                  <a:ext cx="159" cy="194"/>
                </a:xfrm>
                <a:custGeom>
                  <a:avLst/>
                  <a:gdLst>
                    <a:gd name="T0" fmla="*/ 122 w 159"/>
                    <a:gd name="T1" fmla="*/ 42 h 194"/>
                    <a:gd name="T2" fmla="*/ 63 w 159"/>
                    <a:gd name="T3" fmla="*/ 0 h 194"/>
                    <a:gd name="T4" fmla="*/ 21 w 159"/>
                    <a:gd name="T5" fmla="*/ 2 h 194"/>
                    <a:gd name="T6" fmla="*/ 17 w 159"/>
                    <a:gd name="T7" fmla="*/ 4 h 194"/>
                    <a:gd name="T8" fmla="*/ 21 w 159"/>
                    <a:gd name="T9" fmla="*/ 11 h 194"/>
                    <a:gd name="T10" fmla="*/ 24 w 159"/>
                    <a:gd name="T11" fmla="*/ 21 h 194"/>
                    <a:gd name="T12" fmla="*/ 22 w 159"/>
                    <a:gd name="T13" fmla="*/ 28 h 194"/>
                    <a:gd name="T14" fmla="*/ 18 w 159"/>
                    <a:gd name="T15" fmla="*/ 28 h 194"/>
                    <a:gd name="T16" fmla="*/ 19 w 159"/>
                    <a:gd name="T17" fmla="*/ 33 h 194"/>
                    <a:gd name="T18" fmla="*/ 24 w 159"/>
                    <a:gd name="T19" fmla="*/ 36 h 194"/>
                    <a:gd name="T20" fmla="*/ 21 w 159"/>
                    <a:gd name="T21" fmla="*/ 47 h 194"/>
                    <a:gd name="T22" fmla="*/ 14 w 159"/>
                    <a:gd name="T23" fmla="*/ 56 h 194"/>
                    <a:gd name="T24" fmla="*/ 0 w 159"/>
                    <a:gd name="T25" fmla="*/ 61 h 194"/>
                    <a:gd name="T26" fmla="*/ 15 w 159"/>
                    <a:gd name="T27" fmla="*/ 112 h 194"/>
                    <a:gd name="T28" fmla="*/ 25 w 159"/>
                    <a:gd name="T29" fmla="*/ 128 h 194"/>
                    <a:gd name="T30" fmla="*/ 31 w 159"/>
                    <a:gd name="T31" fmla="*/ 131 h 194"/>
                    <a:gd name="T32" fmla="*/ 36 w 159"/>
                    <a:gd name="T33" fmla="*/ 135 h 194"/>
                    <a:gd name="T34" fmla="*/ 45 w 159"/>
                    <a:gd name="T35" fmla="*/ 138 h 194"/>
                    <a:gd name="T36" fmla="*/ 50 w 159"/>
                    <a:gd name="T37" fmla="*/ 145 h 194"/>
                    <a:gd name="T38" fmla="*/ 52 w 159"/>
                    <a:gd name="T39" fmla="*/ 145 h 194"/>
                    <a:gd name="T40" fmla="*/ 56 w 159"/>
                    <a:gd name="T41" fmla="*/ 147 h 194"/>
                    <a:gd name="T42" fmla="*/ 59 w 159"/>
                    <a:gd name="T43" fmla="*/ 148 h 194"/>
                    <a:gd name="T44" fmla="*/ 62 w 159"/>
                    <a:gd name="T45" fmla="*/ 150 h 194"/>
                    <a:gd name="T46" fmla="*/ 69 w 159"/>
                    <a:gd name="T47" fmla="*/ 159 h 194"/>
                    <a:gd name="T48" fmla="*/ 73 w 159"/>
                    <a:gd name="T49" fmla="*/ 182 h 194"/>
                    <a:gd name="T50" fmla="*/ 90 w 159"/>
                    <a:gd name="T51" fmla="*/ 180 h 194"/>
                    <a:gd name="T52" fmla="*/ 94 w 159"/>
                    <a:gd name="T53" fmla="*/ 182 h 194"/>
                    <a:gd name="T54" fmla="*/ 98 w 159"/>
                    <a:gd name="T55" fmla="*/ 185 h 194"/>
                    <a:gd name="T56" fmla="*/ 105 w 159"/>
                    <a:gd name="T57" fmla="*/ 183 h 194"/>
                    <a:gd name="T58" fmla="*/ 109 w 159"/>
                    <a:gd name="T59" fmla="*/ 182 h 194"/>
                    <a:gd name="T60" fmla="*/ 113 w 159"/>
                    <a:gd name="T61" fmla="*/ 184 h 194"/>
                    <a:gd name="T62" fmla="*/ 121 w 159"/>
                    <a:gd name="T63" fmla="*/ 180 h 194"/>
                    <a:gd name="T64" fmla="*/ 124 w 159"/>
                    <a:gd name="T65" fmla="*/ 178 h 194"/>
                    <a:gd name="T66" fmla="*/ 130 w 159"/>
                    <a:gd name="T67" fmla="*/ 179 h 194"/>
                    <a:gd name="T68" fmla="*/ 139 w 159"/>
                    <a:gd name="T69" fmla="*/ 176 h 194"/>
                    <a:gd name="T70" fmla="*/ 146 w 159"/>
                    <a:gd name="T71" fmla="*/ 173 h 194"/>
                    <a:gd name="T72" fmla="*/ 152 w 159"/>
                    <a:gd name="T73" fmla="*/ 169 h 194"/>
                    <a:gd name="T74" fmla="*/ 158 w 159"/>
                    <a:gd name="T75" fmla="*/ 165 h 194"/>
                    <a:gd name="T76" fmla="*/ 158 w 159"/>
                    <a:gd name="T77" fmla="*/ 163 h 194"/>
                    <a:gd name="T78" fmla="*/ 146 w 159"/>
                    <a:gd name="T79" fmla="*/ 153 h 194"/>
                    <a:gd name="T80" fmla="*/ 144 w 159"/>
                    <a:gd name="T81" fmla="*/ 144 h 194"/>
                    <a:gd name="T82" fmla="*/ 143 w 159"/>
                    <a:gd name="T83" fmla="*/ 136 h 194"/>
                    <a:gd name="T84" fmla="*/ 142 w 159"/>
                    <a:gd name="T85" fmla="*/ 129 h 194"/>
                    <a:gd name="T86" fmla="*/ 143 w 159"/>
                    <a:gd name="T87" fmla="*/ 120 h 194"/>
                    <a:gd name="T88" fmla="*/ 142 w 159"/>
                    <a:gd name="T89" fmla="*/ 107 h 194"/>
                    <a:gd name="T90" fmla="*/ 146 w 159"/>
                    <a:gd name="T91" fmla="*/ 104 h 194"/>
                    <a:gd name="T92" fmla="*/ 139 w 159"/>
                    <a:gd name="T93" fmla="*/ 93 h 194"/>
                    <a:gd name="T94" fmla="*/ 137 w 159"/>
                    <a:gd name="T95" fmla="*/ 79 h 194"/>
                    <a:gd name="T96" fmla="*/ 141 w 159"/>
                    <a:gd name="T97" fmla="*/ 63 h 194"/>
                    <a:gd name="T98" fmla="*/ 123 w 159"/>
                    <a:gd name="T99" fmla="*/ 47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59" h="194">
                      <a:moveTo>
                        <a:pt x="122" y="45"/>
                      </a:moveTo>
                      <a:lnTo>
                        <a:pt x="121" y="43"/>
                      </a:lnTo>
                      <a:lnTo>
                        <a:pt x="122" y="42"/>
                      </a:lnTo>
                      <a:lnTo>
                        <a:pt x="119" y="36"/>
                      </a:lnTo>
                      <a:lnTo>
                        <a:pt x="67" y="0"/>
                      </a:lnTo>
                      <a:lnTo>
                        <a:pt x="63" y="0"/>
                      </a:lnTo>
                      <a:lnTo>
                        <a:pt x="44" y="1"/>
                      </a:lnTo>
                      <a:lnTo>
                        <a:pt x="38" y="1"/>
                      </a:lnTo>
                      <a:lnTo>
                        <a:pt x="21" y="2"/>
                      </a:lnTo>
                      <a:lnTo>
                        <a:pt x="20" y="3"/>
                      </a:lnTo>
                      <a:lnTo>
                        <a:pt x="19" y="3"/>
                      </a:lnTo>
                      <a:lnTo>
                        <a:pt x="17" y="4"/>
                      </a:lnTo>
                      <a:lnTo>
                        <a:pt x="20" y="7"/>
                      </a:lnTo>
                      <a:lnTo>
                        <a:pt x="21" y="9"/>
                      </a:lnTo>
                      <a:lnTo>
                        <a:pt x="21" y="11"/>
                      </a:lnTo>
                      <a:lnTo>
                        <a:pt x="23" y="13"/>
                      </a:lnTo>
                      <a:lnTo>
                        <a:pt x="24" y="18"/>
                      </a:lnTo>
                      <a:lnTo>
                        <a:pt x="24" y="21"/>
                      </a:lnTo>
                      <a:lnTo>
                        <a:pt x="24" y="24"/>
                      </a:lnTo>
                      <a:lnTo>
                        <a:pt x="23" y="26"/>
                      </a:lnTo>
                      <a:lnTo>
                        <a:pt x="22" y="28"/>
                      </a:lnTo>
                      <a:lnTo>
                        <a:pt x="21" y="28"/>
                      </a:lnTo>
                      <a:lnTo>
                        <a:pt x="19" y="28"/>
                      </a:lnTo>
                      <a:lnTo>
                        <a:pt x="18" y="28"/>
                      </a:lnTo>
                      <a:lnTo>
                        <a:pt x="18" y="29"/>
                      </a:lnTo>
                      <a:lnTo>
                        <a:pt x="19" y="31"/>
                      </a:lnTo>
                      <a:lnTo>
                        <a:pt x="19" y="33"/>
                      </a:lnTo>
                      <a:lnTo>
                        <a:pt x="21" y="34"/>
                      </a:lnTo>
                      <a:lnTo>
                        <a:pt x="21" y="36"/>
                      </a:lnTo>
                      <a:lnTo>
                        <a:pt x="24" y="36"/>
                      </a:lnTo>
                      <a:lnTo>
                        <a:pt x="24" y="42"/>
                      </a:lnTo>
                      <a:lnTo>
                        <a:pt x="24" y="44"/>
                      </a:lnTo>
                      <a:lnTo>
                        <a:pt x="21" y="47"/>
                      </a:lnTo>
                      <a:lnTo>
                        <a:pt x="20" y="49"/>
                      </a:lnTo>
                      <a:lnTo>
                        <a:pt x="18" y="51"/>
                      </a:lnTo>
                      <a:lnTo>
                        <a:pt x="14" y="56"/>
                      </a:lnTo>
                      <a:lnTo>
                        <a:pt x="12" y="60"/>
                      </a:lnTo>
                      <a:lnTo>
                        <a:pt x="7" y="62"/>
                      </a:lnTo>
                      <a:lnTo>
                        <a:pt x="0" y="61"/>
                      </a:lnTo>
                      <a:lnTo>
                        <a:pt x="2" y="76"/>
                      </a:lnTo>
                      <a:lnTo>
                        <a:pt x="5" y="96"/>
                      </a:lnTo>
                      <a:lnTo>
                        <a:pt x="15" y="112"/>
                      </a:lnTo>
                      <a:lnTo>
                        <a:pt x="19" y="125"/>
                      </a:lnTo>
                      <a:lnTo>
                        <a:pt x="24" y="128"/>
                      </a:lnTo>
                      <a:lnTo>
                        <a:pt x="25" y="128"/>
                      </a:lnTo>
                      <a:lnTo>
                        <a:pt x="28" y="129"/>
                      </a:lnTo>
                      <a:lnTo>
                        <a:pt x="29" y="129"/>
                      </a:lnTo>
                      <a:lnTo>
                        <a:pt x="31" y="131"/>
                      </a:lnTo>
                      <a:lnTo>
                        <a:pt x="31" y="132"/>
                      </a:lnTo>
                      <a:lnTo>
                        <a:pt x="33" y="134"/>
                      </a:lnTo>
                      <a:lnTo>
                        <a:pt x="36" y="135"/>
                      </a:lnTo>
                      <a:lnTo>
                        <a:pt x="42" y="137"/>
                      </a:lnTo>
                      <a:lnTo>
                        <a:pt x="44" y="137"/>
                      </a:lnTo>
                      <a:lnTo>
                        <a:pt x="45" y="138"/>
                      </a:lnTo>
                      <a:lnTo>
                        <a:pt x="47" y="138"/>
                      </a:lnTo>
                      <a:lnTo>
                        <a:pt x="48" y="142"/>
                      </a:lnTo>
                      <a:lnTo>
                        <a:pt x="50" y="145"/>
                      </a:lnTo>
                      <a:lnTo>
                        <a:pt x="52" y="145"/>
                      </a:lnTo>
                      <a:lnTo>
                        <a:pt x="52" y="145"/>
                      </a:lnTo>
                      <a:lnTo>
                        <a:pt x="52" y="145"/>
                      </a:lnTo>
                      <a:lnTo>
                        <a:pt x="53" y="145"/>
                      </a:lnTo>
                      <a:lnTo>
                        <a:pt x="54" y="146"/>
                      </a:lnTo>
                      <a:lnTo>
                        <a:pt x="56" y="147"/>
                      </a:lnTo>
                      <a:lnTo>
                        <a:pt x="57" y="148"/>
                      </a:lnTo>
                      <a:lnTo>
                        <a:pt x="58" y="147"/>
                      </a:lnTo>
                      <a:lnTo>
                        <a:pt x="59" y="148"/>
                      </a:lnTo>
                      <a:lnTo>
                        <a:pt x="60" y="149"/>
                      </a:lnTo>
                      <a:lnTo>
                        <a:pt x="61" y="149"/>
                      </a:lnTo>
                      <a:lnTo>
                        <a:pt x="62" y="150"/>
                      </a:lnTo>
                      <a:lnTo>
                        <a:pt x="63" y="151"/>
                      </a:lnTo>
                      <a:lnTo>
                        <a:pt x="65" y="152"/>
                      </a:lnTo>
                      <a:lnTo>
                        <a:pt x="69" y="159"/>
                      </a:lnTo>
                      <a:lnTo>
                        <a:pt x="70" y="166"/>
                      </a:lnTo>
                      <a:lnTo>
                        <a:pt x="70" y="194"/>
                      </a:lnTo>
                      <a:lnTo>
                        <a:pt x="73" y="182"/>
                      </a:lnTo>
                      <a:lnTo>
                        <a:pt x="87" y="182"/>
                      </a:lnTo>
                      <a:lnTo>
                        <a:pt x="89" y="181"/>
                      </a:lnTo>
                      <a:lnTo>
                        <a:pt x="90" y="180"/>
                      </a:lnTo>
                      <a:lnTo>
                        <a:pt x="91" y="180"/>
                      </a:lnTo>
                      <a:lnTo>
                        <a:pt x="91" y="181"/>
                      </a:lnTo>
                      <a:lnTo>
                        <a:pt x="94" y="182"/>
                      </a:lnTo>
                      <a:lnTo>
                        <a:pt x="95" y="183"/>
                      </a:lnTo>
                      <a:lnTo>
                        <a:pt x="97" y="183"/>
                      </a:lnTo>
                      <a:lnTo>
                        <a:pt x="98" y="185"/>
                      </a:lnTo>
                      <a:lnTo>
                        <a:pt x="98" y="187"/>
                      </a:lnTo>
                      <a:lnTo>
                        <a:pt x="102" y="185"/>
                      </a:lnTo>
                      <a:lnTo>
                        <a:pt x="105" y="183"/>
                      </a:lnTo>
                      <a:lnTo>
                        <a:pt x="107" y="182"/>
                      </a:lnTo>
                      <a:lnTo>
                        <a:pt x="107" y="181"/>
                      </a:lnTo>
                      <a:lnTo>
                        <a:pt x="109" y="182"/>
                      </a:lnTo>
                      <a:lnTo>
                        <a:pt x="110" y="183"/>
                      </a:lnTo>
                      <a:lnTo>
                        <a:pt x="111" y="183"/>
                      </a:lnTo>
                      <a:lnTo>
                        <a:pt x="113" y="184"/>
                      </a:lnTo>
                      <a:lnTo>
                        <a:pt x="116" y="183"/>
                      </a:lnTo>
                      <a:lnTo>
                        <a:pt x="120" y="183"/>
                      </a:lnTo>
                      <a:lnTo>
                        <a:pt x="121" y="180"/>
                      </a:lnTo>
                      <a:lnTo>
                        <a:pt x="121" y="178"/>
                      </a:lnTo>
                      <a:lnTo>
                        <a:pt x="121" y="177"/>
                      </a:lnTo>
                      <a:lnTo>
                        <a:pt x="124" y="178"/>
                      </a:lnTo>
                      <a:lnTo>
                        <a:pt x="126" y="177"/>
                      </a:lnTo>
                      <a:lnTo>
                        <a:pt x="128" y="180"/>
                      </a:lnTo>
                      <a:lnTo>
                        <a:pt x="130" y="179"/>
                      </a:lnTo>
                      <a:lnTo>
                        <a:pt x="132" y="177"/>
                      </a:lnTo>
                      <a:lnTo>
                        <a:pt x="137" y="176"/>
                      </a:lnTo>
                      <a:lnTo>
                        <a:pt x="139" y="176"/>
                      </a:lnTo>
                      <a:lnTo>
                        <a:pt x="141" y="176"/>
                      </a:lnTo>
                      <a:lnTo>
                        <a:pt x="142" y="174"/>
                      </a:lnTo>
                      <a:lnTo>
                        <a:pt x="146" y="173"/>
                      </a:lnTo>
                      <a:lnTo>
                        <a:pt x="148" y="171"/>
                      </a:lnTo>
                      <a:lnTo>
                        <a:pt x="150" y="171"/>
                      </a:lnTo>
                      <a:lnTo>
                        <a:pt x="152" y="169"/>
                      </a:lnTo>
                      <a:lnTo>
                        <a:pt x="154" y="166"/>
                      </a:lnTo>
                      <a:lnTo>
                        <a:pt x="157" y="167"/>
                      </a:lnTo>
                      <a:lnTo>
                        <a:pt x="158" y="165"/>
                      </a:lnTo>
                      <a:lnTo>
                        <a:pt x="159" y="165"/>
                      </a:lnTo>
                      <a:lnTo>
                        <a:pt x="158" y="165"/>
                      </a:lnTo>
                      <a:lnTo>
                        <a:pt x="158" y="163"/>
                      </a:lnTo>
                      <a:lnTo>
                        <a:pt x="155" y="160"/>
                      </a:lnTo>
                      <a:lnTo>
                        <a:pt x="152" y="159"/>
                      </a:lnTo>
                      <a:lnTo>
                        <a:pt x="146" y="153"/>
                      </a:lnTo>
                      <a:lnTo>
                        <a:pt x="147" y="151"/>
                      </a:lnTo>
                      <a:lnTo>
                        <a:pt x="146" y="145"/>
                      </a:lnTo>
                      <a:lnTo>
                        <a:pt x="144" y="144"/>
                      </a:lnTo>
                      <a:lnTo>
                        <a:pt x="146" y="141"/>
                      </a:lnTo>
                      <a:lnTo>
                        <a:pt x="144" y="139"/>
                      </a:lnTo>
                      <a:lnTo>
                        <a:pt x="143" y="136"/>
                      </a:lnTo>
                      <a:lnTo>
                        <a:pt x="142" y="134"/>
                      </a:lnTo>
                      <a:lnTo>
                        <a:pt x="143" y="134"/>
                      </a:lnTo>
                      <a:lnTo>
                        <a:pt x="142" y="129"/>
                      </a:lnTo>
                      <a:lnTo>
                        <a:pt x="141" y="125"/>
                      </a:lnTo>
                      <a:lnTo>
                        <a:pt x="143" y="124"/>
                      </a:lnTo>
                      <a:lnTo>
                        <a:pt x="143" y="120"/>
                      </a:lnTo>
                      <a:lnTo>
                        <a:pt x="142" y="117"/>
                      </a:lnTo>
                      <a:lnTo>
                        <a:pt x="141" y="111"/>
                      </a:lnTo>
                      <a:lnTo>
                        <a:pt x="142" y="107"/>
                      </a:lnTo>
                      <a:lnTo>
                        <a:pt x="144" y="105"/>
                      </a:lnTo>
                      <a:lnTo>
                        <a:pt x="145" y="106"/>
                      </a:lnTo>
                      <a:lnTo>
                        <a:pt x="146" y="104"/>
                      </a:lnTo>
                      <a:lnTo>
                        <a:pt x="144" y="97"/>
                      </a:lnTo>
                      <a:lnTo>
                        <a:pt x="142" y="98"/>
                      </a:lnTo>
                      <a:lnTo>
                        <a:pt x="139" y="93"/>
                      </a:lnTo>
                      <a:lnTo>
                        <a:pt x="135" y="90"/>
                      </a:lnTo>
                      <a:lnTo>
                        <a:pt x="135" y="86"/>
                      </a:lnTo>
                      <a:lnTo>
                        <a:pt x="137" y="79"/>
                      </a:lnTo>
                      <a:lnTo>
                        <a:pt x="140" y="67"/>
                      </a:lnTo>
                      <a:lnTo>
                        <a:pt x="141" y="66"/>
                      </a:lnTo>
                      <a:lnTo>
                        <a:pt x="141" y="63"/>
                      </a:lnTo>
                      <a:lnTo>
                        <a:pt x="140" y="62"/>
                      </a:lnTo>
                      <a:lnTo>
                        <a:pt x="141" y="62"/>
                      </a:lnTo>
                      <a:lnTo>
                        <a:pt x="123" y="47"/>
                      </a:lnTo>
                      <a:lnTo>
                        <a:pt x="122" y="4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56" name="Freeform 859">
                  <a:extLst>
                    <a:ext uri="{FF2B5EF4-FFF2-40B4-BE49-F238E27FC236}">
                      <a16:creationId xmlns:a16="http://schemas.microsoft.com/office/drawing/2014/main" id="{8C570327-DFA3-4965-8624-37416A88EE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16" y="2825"/>
                  <a:ext cx="28" cy="28"/>
                </a:xfrm>
                <a:custGeom>
                  <a:avLst/>
                  <a:gdLst>
                    <a:gd name="T0" fmla="*/ 19 w 28"/>
                    <a:gd name="T1" fmla="*/ 0 h 28"/>
                    <a:gd name="T2" fmla="*/ 19 w 28"/>
                    <a:gd name="T3" fmla="*/ 2 h 28"/>
                    <a:gd name="T4" fmla="*/ 18 w 28"/>
                    <a:gd name="T5" fmla="*/ 3 h 28"/>
                    <a:gd name="T6" fmla="*/ 16 w 28"/>
                    <a:gd name="T7" fmla="*/ 3 h 28"/>
                    <a:gd name="T8" fmla="*/ 14 w 28"/>
                    <a:gd name="T9" fmla="*/ 2 h 28"/>
                    <a:gd name="T10" fmla="*/ 13 w 28"/>
                    <a:gd name="T11" fmla="*/ 1 h 28"/>
                    <a:gd name="T12" fmla="*/ 11 w 28"/>
                    <a:gd name="T13" fmla="*/ 3 h 28"/>
                    <a:gd name="T14" fmla="*/ 8 w 28"/>
                    <a:gd name="T15" fmla="*/ 4 h 28"/>
                    <a:gd name="T16" fmla="*/ 8 w 28"/>
                    <a:gd name="T17" fmla="*/ 3 h 28"/>
                    <a:gd name="T18" fmla="*/ 5 w 28"/>
                    <a:gd name="T19" fmla="*/ 7 h 28"/>
                    <a:gd name="T20" fmla="*/ 2 w 28"/>
                    <a:gd name="T21" fmla="*/ 10 h 28"/>
                    <a:gd name="T22" fmla="*/ 0 w 28"/>
                    <a:gd name="T23" fmla="*/ 21 h 28"/>
                    <a:gd name="T24" fmla="*/ 0 w 28"/>
                    <a:gd name="T25" fmla="*/ 24 h 28"/>
                    <a:gd name="T26" fmla="*/ 1 w 28"/>
                    <a:gd name="T27" fmla="*/ 24 h 28"/>
                    <a:gd name="T28" fmla="*/ 4 w 28"/>
                    <a:gd name="T29" fmla="*/ 24 h 28"/>
                    <a:gd name="T30" fmla="*/ 5 w 28"/>
                    <a:gd name="T31" fmla="*/ 24 h 28"/>
                    <a:gd name="T32" fmla="*/ 6 w 28"/>
                    <a:gd name="T33" fmla="*/ 27 h 28"/>
                    <a:gd name="T34" fmla="*/ 8 w 28"/>
                    <a:gd name="T35" fmla="*/ 27 h 28"/>
                    <a:gd name="T36" fmla="*/ 9 w 28"/>
                    <a:gd name="T37" fmla="*/ 27 h 28"/>
                    <a:gd name="T38" fmla="*/ 11 w 28"/>
                    <a:gd name="T39" fmla="*/ 27 h 28"/>
                    <a:gd name="T40" fmla="*/ 11 w 28"/>
                    <a:gd name="T41" fmla="*/ 28 h 28"/>
                    <a:gd name="T42" fmla="*/ 14 w 28"/>
                    <a:gd name="T43" fmla="*/ 27 h 28"/>
                    <a:gd name="T44" fmla="*/ 14 w 28"/>
                    <a:gd name="T45" fmla="*/ 25 h 28"/>
                    <a:gd name="T46" fmla="*/ 16 w 28"/>
                    <a:gd name="T47" fmla="*/ 20 h 28"/>
                    <a:gd name="T48" fmla="*/ 16 w 28"/>
                    <a:gd name="T49" fmla="*/ 17 h 28"/>
                    <a:gd name="T50" fmla="*/ 17 w 28"/>
                    <a:gd name="T51" fmla="*/ 17 h 28"/>
                    <a:gd name="T52" fmla="*/ 18 w 28"/>
                    <a:gd name="T53" fmla="*/ 18 h 28"/>
                    <a:gd name="T54" fmla="*/ 20 w 28"/>
                    <a:gd name="T55" fmla="*/ 18 h 28"/>
                    <a:gd name="T56" fmla="*/ 21 w 28"/>
                    <a:gd name="T57" fmla="*/ 21 h 28"/>
                    <a:gd name="T58" fmla="*/ 22 w 28"/>
                    <a:gd name="T59" fmla="*/ 22 h 28"/>
                    <a:gd name="T60" fmla="*/ 22 w 28"/>
                    <a:gd name="T61" fmla="*/ 24 h 28"/>
                    <a:gd name="T62" fmla="*/ 23 w 28"/>
                    <a:gd name="T63" fmla="*/ 24 h 28"/>
                    <a:gd name="T64" fmla="*/ 25 w 28"/>
                    <a:gd name="T65" fmla="*/ 24 h 28"/>
                    <a:gd name="T66" fmla="*/ 26 w 28"/>
                    <a:gd name="T67" fmla="*/ 24 h 28"/>
                    <a:gd name="T68" fmla="*/ 27 w 28"/>
                    <a:gd name="T69" fmla="*/ 22 h 28"/>
                    <a:gd name="T70" fmla="*/ 28 w 28"/>
                    <a:gd name="T71" fmla="*/ 20 h 28"/>
                    <a:gd name="T72" fmla="*/ 28 w 28"/>
                    <a:gd name="T73" fmla="*/ 17 h 28"/>
                    <a:gd name="T74" fmla="*/ 28 w 28"/>
                    <a:gd name="T75" fmla="*/ 14 h 28"/>
                    <a:gd name="T76" fmla="*/ 27 w 28"/>
                    <a:gd name="T77" fmla="*/ 9 h 28"/>
                    <a:gd name="T78" fmla="*/ 25 w 28"/>
                    <a:gd name="T79" fmla="*/ 7 h 28"/>
                    <a:gd name="T80" fmla="*/ 25 w 28"/>
                    <a:gd name="T81" fmla="*/ 5 h 28"/>
                    <a:gd name="T82" fmla="*/ 24 w 28"/>
                    <a:gd name="T83" fmla="*/ 3 h 28"/>
                    <a:gd name="T84" fmla="*/ 21 w 28"/>
                    <a:gd name="T85" fmla="*/ 0 h 28"/>
                    <a:gd name="T86" fmla="*/ 21 w 28"/>
                    <a:gd name="T87" fmla="*/ 0 h 28"/>
                    <a:gd name="T88" fmla="*/ 19 w 28"/>
                    <a:gd name="T89" fmla="*/ 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8" h="28">
                      <a:moveTo>
                        <a:pt x="19" y="0"/>
                      </a:moveTo>
                      <a:lnTo>
                        <a:pt x="19" y="2"/>
                      </a:lnTo>
                      <a:lnTo>
                        <a:pt x="18" y="3"/>
                      </a:lnTo>
                      <a:lnTo>
                        <a:pt x="16" y="3"/>
                      </a:lnTo>
                      <a:lnTo>
                        <a:pt x="14" y="2"/>
                      </a:lnTo>
                      <a:lnTo>
                        <a:pt x="13" y="1"/>
                      </a:lnTo>
                      <a:lnTo>
                        <a:pt x="11" y="3"/>
                      </a:lnTo>
                      <a:lnTo>
                        <a:pt x="8" y="4"/>
                      </a:lnTo>
                      <a:lnTo>
                        <a:pt x="8" y="3"/>
                      </a:lnTo>
                      <a:lnTo>
                        <a:pt x="5" y="7"/>
                      </a:lnTo>
                      <a:lnTo>
                        <a:pt x="2" y="10"/>
                      </a:lnTo>
                      <a:lnTo>
                        <a:pt x="0" y="21"/>
                      </a:lnTo>
                      <a:lnTo>
                        <a:pt x="0" y="24"/>
                      </a:lnTo>
                      <a:lnTo>
                        <a:pt x="1" y="24"/>
                      </a:lnTo>
                      <a:lnTo>
                        <a:pt x="4" y="24"/>
                      </a:lnTo>
                      <a:lnTo>
                        <a:pt x="5" y="24"/>
                      </a:lnTo>
                      <a:lnTo>
                        <a:pt x="6" y="27"/>
                      </a:lnTo>
                      <a:lnTo>
                        <a:pt x="8" y="27"/>
                      </a:lnTo>
                      <a:lnTo>
                        <a:pt x="9" y="27"/>
                      </a:lnTo>
                      <a:lnTo>
                        <a:pt x="11" y="27"/>
                      </a:lnTo>
                      <a:lnTo>
                        <a:pt x="11" y="28"/>
                      </a:lnTo>
                      <a:lnTo>
                        <a:pt x="14" y="27"/>
                      </a:lnTo>
                      <a:lnTo>
                        <a:pt x="14" y="25"/>
                      </a:lnTo>
                      <a:lnTo>
                        <a:pt x="16" y="20"/>
                      </a:lnTo>
                      <a:lnTo>
                        <a:pt x="16" y="17"/>
                      </a:lnTo>
                      <a:lnTo>
                        <a:pt x="17" y="17"/>
                      </a:lnTo>
                      <a:lnTo>
                        <a:pt x="18" y="18"/>
                      </a:lnTo>
                      <a:lnTo>
                        <a:pt x="20" y="18"/>
                      </a:lnTo>
                      <a:lnTo>
                        <a:pt x="21" y="21"/>
                      </a:lnTo>
                      <a:lnTo>
                        <a:pt x="22" y="22"/>
                      </a:lnTo>
                      <a:lnTo>
                        <a:pt x="22" y="24"/>
                      </a:lnTo>
                      <a:lnTo>
                        <a:pt x="23" y="24"/>
                      </a:lnTo>
                      <a:lnTo>
                        <a:pt x="25" y="24"/>
                      </a:lnTo>
                      <a:lnTo>
                        <a:pt x="26" y="24"/>
                      </a:lnTo>
                      <a:lnTo>
                        <a:pt x="27" y="22"/>
                      </a:lnTo>
                      <a:lnTo>
                        <a:pt x="28" y="20"/>
                      </a:lnTo>
                      <a:lnTo>
                        <a:pt x="28" y="17"/>
                      </a:lnTo>
                      <a:lnTo>
                        <a:pt x="28" y="14"/>
                      </a:lnTo>
                      <a:lnTo>
                        <a:pt x="27" y="9"/>
                      </a:lnTo>
                      <a:lnTo>
                        <a:pt x="25" y="7"/>
                      </a:lnTo>
                      <a:lnTo>
                        <a:pt x="25" y="5"/>
                      </a:lnTo>
                      <a:lnTo>
                        <a:pt x="24" y="3"/>
                      </a:lnTo>
                      <a:lnTo>
                        <a:pt x="21" y="0"/>
                      </a:lnTo>
                      <a:lnTo>
                        <a:pt x="21" y="0"/>
                      </a:lnTo>
                      <a:lnTo>
                        <a:pt x="19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57" name="Freeform 860">
                  <a:extLst>
                    <a:ext uri="{FF2B5EF4-FFF2-40B4-BE49-F238E27FC236}">
                      <a16:creationId xmlns:a16="http://schemas.microsoft.com/office/drawing/2014/main" id="{131FB1C4-50E1-4EAE-AF4C-F3BD611D2F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16" y="2842"/>
                  <a:ext cx="28" cy="41"/>
                </a:xfrm>
                <a:custGeom>
                  <a:avLst/>
                  <a:gdLst>
                    <a:gd name="T0" fmla="*/ 21 w 28"/>
                    <a:gd name="T1" fmla="*/ 4 h 41"/>
                    <a:gd name="T2" fmla="*/ 20 w 28"/>
                    <a:gd name="T3" fmla="*/ 1 h 41"/>
                    <a:gd name="T4" fmla="*/ 18 w 28"/>
                    <a:gd name="T5" fmla="*/ 1 h 41"/>
                    <a:gd name="T6" fmla="*/ 17 w 28"/>
                    <a:gd name="T7" fmla="*/ 0 h 41"/>
                    <a:gd name="T8" fmla="*/ 16 w 28"/>
                    <a:gd name="T9" fmla="*/ 0 h 41"/>
                    <a:gd name="T10" fmla="*/ 16 w 28"/>
                    <a:gd name="T11" fmla="*/ 3 h 41"/>
                    <a:gd name="T12" fmla="*/ 14 w 28"/>
                    <a:gd name="T13" fmla="*/ 8 h 41"/>
                    <a:gd name="T14" fmla="*/ 14 w 28"/>
                    <a:gd name="T15" fmla="*/ 10 h 41"/>
                    <a:gd name="T16" fmla="*/ 11 w 28"/>
                    <a:gd name="T17" fmla="*/ 11 h 41"/>
                    <a:gd name="T18" fmla="*/ 11 w 28"/>
                    <a:gd name="T19" fmla="*/ 10 h 41"/>
                    <a:gd name="T20" fmla="*/ 9 w 28"/>
                    <a:gd name="T21" fmla="*/ 10 h 41"/>
                    <a:gd name="T22" fmla="*/ 8 w 28"/>
                    <a:gd name="T23" fmla="*/ 10 h 41"/>
                    <a:gd name="T24" fmla="*/ 6 w 28"/>
                    <a:gd name="T25" fmla="*/ 10 h 41"/>
                    <a:gd name="T26" fmla="*/ 5 w 28"/>
                    <a:gd name="T27" fmla="*/ 7 h 41"/>
                    <a:gd name="T28" fmla="*/ 4 w 28"/>
                    <a:gd name="T29" fmla="*/ 7 h 41"/>
                    <a:gd name="T30" fmla="*/ 1 w 28"/>
                    <a:gd name="T31" fmla="*/ 7 h 41"/>
                    <a:gd name="T32" fmla="*/ 0 w 28"/>
                    <a:gd name="T33" fmla="*/ 7 h 41"/>
                    <a:gd name="T34" fmla="*/ 0 w 28"/>
                    <a:gd name="T35" fmla="*/ 9 h 41"/>
                    <a:gd name="T36" fmla="*/ 1 w 28"/>
                    <a:gd name="T37" fmla="*/ 12 h 41"/>
                    <a:gd name="T38" fmla="*/ 1 w 28"/>
                    <a:gd name="T39" fmla="*/ 16 h 41"/>
                    <a:gd name="T40" fmla="*/ 1 w 28"/>
                    <a:gd name="T41" fmla="*/ 21 h 41"/>
                    <a:gd name="T42" fmla="*/ 4 w 28"/>
                    <a:gd name="T43" fmla="*/ 40 h 41"/>
                    <a:gd name="T44" fmla="*/ 11 w 28"/>
                    <a:gd name="T45" fmla="*/ 41 h 41"/>
                    <a:gd name="T46" fmla="*/ 16 w 28"/>
                    <a:gd name="T47" fmla="*/ 39 h 41"/>
                    <a:gd name="T48" fmla="*/ 18 w 28"/>
                    <a:gd name="T49" fmla="*/ 35 h 41"/>
                    <a:gd name="T50" fmla="*/ 22 w 28"/>
                    <a:gd name="T51" fmla="*/ 30 h 41"/>
                    <a:gd name="T52" fmla="*/ 24 w 28"/>
                    <a:gd name="T53" fmla="*/ 28 h 41"/>
                    <a:gd name="T54" fmla="*/ 25 w 28"/>
                    <a:gd name="T55" fmla="*/ 26 h 41"/>
                    <a:gd name="T56" fmla="*/ 28 w 28"/>
                    <a:gd name="T57" fmla="*/ 23 h 41"/>
                    <a:gd name="T58" fmla="*/ 28 w 28"/>
                    <a:gd name="T59" fmla="*/ 21 h 41"/>
                    <a:gd name="T60" fmla="*/ 28 w 28"/>
                    <a:gd name="T61" fmla="*/ 15 h 41"/>
                    <a:gd name="T62" fmla="*/ 25 w 28"/>
                    <a:gd name="T63" fmla="*/ 15 h 41"/>
                    <a:gd name="T64" fmla="*/ 25 w 28"/>
                    <a:gd name="T65" fmla="*/ 13 h 41"/>
                    <a:gd name="T66" fmla="*/ 23 w 28"/>
                    <a:gd name="T67" fmla="*/ 12 h 41"/>
                    <a:gd name="T68" fmla="*/ 23 w 28"/>
                    <a:gd name="T69" fmla="*/ 10 h 41"/>
                    <a:gd name="T70" fmla="*/ 22 w 28"/>
                    <a:gd name="T71" fmla="*/ 8 h 41"/>
                    <a:gd name="T72" fmla="*/ 22 w 28"/>
                    <a:gd name="T73" fmla="*/ 7 h 41"/>
                    <a:gd name="T74" fmla="*/ 22 w 28"/>
                    <a:gd name="T75" fmla="*/ 5 h 41"/>
                    <a:gd name="T76" fmla="*/ 21 w 28"/>
                    <a:gd name="T77" fmla="*/ 4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28" h="41">
                      <a:moveTo>
                        <a:pt x="21" y="4"/>
                      </a:moveTo>
                      <a:lnTo>
                        <a:pt x="20" y="1"/>
                      </a:lnTo>
                      <a:lnTo>
                        <a:pt x="18" y="1"/>
                      </a:lnTo>
                      <a:lnTo>
                        <a:pt x="17" y="0"/>
                      </a:lnTo>
                      <a:lnTo>
                        <a:pt x="16" y="0"/>
                      </a:lnTo>
                      <a:lnTo>
                        <a:pt x="16" y="3"/>
                      </a:lnTo>
                      <a:lnTo>
                        <a:pt x="14" y="8"/>
                      </a:lnTo>
                      <a:lnTo>
                        <a:pt x="14" y="10"/>
                      </a:lnTo>
                      <a:lnTo>
                        <a:pt x="11" y="11"/>
                      </a:lnTo>
                      <a:lnTo>
                        <a:pt x="11" y="10"/>
                      </a:lnTo>
                      <a:lnTo>
                        <a:pt x="9" y="10"/>
                      </a:lnTo>
                      <a:lnTo>
                        <a:pt x="8" y="10"/>
                      </a:lnTo>
                      <a:lnTo>
                        <a:pt x="6" y="10"/>
                      </a:lnTo>
                      <a:lnTo>
                        <a:pt x="5" y="7"/>
                      </a:lnTo>
                      <a:lnTo>
                        <a:pt x="4" y="7"/>
                      </a:lnTo>
                      <a:lnTo>
                        <a:pt x="1" y="7"/>
                      </a:ln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1" y="12"/>
                      </a:lnTo>
                      <a:lnTo>
                        <a:pt x="1" y="16"/>
                      </a:lnTo>
                      <a:lnTo>
                        <a:pt x="1" y="21"/>
                      </a:lnTo>
                      <a:lnTo>
                        <a:pt x="4" y="40"/>
                      </a:lnTo>
                      <a:lnTo>
                        <a:pt x="11" y="41"/>
                      </a:lnTo>
                      <a:lnTo>
                        <a:pt x="16" y="39"/>
                      </a:lnTo>
                      <a:lnTo>
                        <a:pt x="18" y="35"/>
                      </a:lnTo>
                      <a:lnTo>
                        <a:pt x="22" y="30"/>
                      </a:lnTo>
                      <a:lnTo>
                        <a:pt x="24" y="28"/>
                      </a:lnTo>
                      <a:lnTo>
                        <a:pt x="25" y="26"/>
                      </a:lnTo>
                      <a:lnTo>
                        <a:pt x="28" y="23"/>
                      </a:lnTo>
                      <a:lnTo>
                        <a:pt x="28" y="21"/>
                      </a:lnTo>
                      <a:lnTo>
                        <a:pt x="28" y="15"/>
                      </a:lnTo>
                      <a:lnTo>
                        <a:pt x="25" y="15"/>
                      </a:lnTo>
                      <a:lnTo>
                        <a:pt x="25" y="13"/>
                      </a:lnTo>
                      <a:lnTo>
                        <a:pt x="23" y="12"/>
                      </a:lnTo>
                      <a:lnTo>
                        <a:pt x="23" y="10"/>
                      </a:lnTo>
                      <a:lnTo>
                        <a:pt x="22" y="8"/>
                      </a:lnTo>
                      <a:lnTo>
                        <a:pt x="22" y="7"/>
                      </a:lnTo>
                      <a:lnTo>
                        <a:pt x="22" y="5"/>
                      </a:lnTo>
                      <a:lnTo>
                        <a:pt x="21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58" name="Freeform 861">
                  <a:extLst>
                    <a:ext uri="{FF2B5EF4-FFF2-40B4-BE49-F238E27FC236}">
                      <a16:creationId xmlns:a16="http://schemas.microsoft.com/office/drawing/2014/main" id="{22870E61-8097-4C69-84D6-75778724B7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76" y="2714"/>
                  <a:ext cx="270" cy="321"/>
                </a:xfrm>
                <a:custGeom>
                  <a:avLst/>
                  <a:gdLst>
                    <a:gd name="T0" fmla="*/ 14 w 270"/>
                    <a:gd name="T1" fmla="*/ 192 h 321"/>
                    <a:gd name="T2" fmla="*/ 31 w 270"/>
                    <a:gd name="T3" fmla="*/ 193 h 321"/>
                    <a:gd name="T4" fmla="*/ 64 w 270"/>
                    <a:gd name="T5" fmla="*/ 196 h 321"/>
                    <a:gd name="T6" fmla="*/ 67 w 270"/>
                    <a:gd name="T7" fmla="*/ 208 h 321"/>
                    <a:gd name="T8" fmla="*/ 73 w 270"/>
                    <a:gd name="T9" fmla="*/ 222 h 321"/>
                    <a:gd name="T10" fmla="*/ 88 w 270"/>
                    <a:gd name="T11" fmla="*/ 230 h 321"/>
                    <a:gd name="T12" fmla="*/ 102 w 270"/>
                    <a:gd name="T13" fmla="*/ 216 h 321"/>
                    <a:gd name="T14" fmla="*/ 120 w 270"/>
                    <a:gd name="T15" fmla="*/ 214 h 321"/>
                    <a:gd name="T16" fmla="*/ 136 w 270"/>
                    <a:gd name="T17" fmla="*/ 227 h 321"/>
                    <a:gd name="T18" fmla="*/ 137 w 270"/>
                    <a:gd name="T19" fmla="*/ 239 h 321"/>
                    <a:gd name="T20" fmla="*/ 137 w 270"/>
                    <a:gd name="T21" fmla="*/ 256 h 321"/>
                    <a:gd name="T22" fmla="*/ 140 w 270"/>
                    <a:gd name="T23" fmla="*/ 265 h 321"/>
                    <a:gd name="T24" fmla="*/ 143 w 270"/>
                    <a:gd name="T25" fmla="*/ 278 h 321"/>
                    <a:gd name="T26" fmla="*/ 144 w 270"/>
                    <a:gd name="T27" fmla="*/ 283 h 321"/>
                    <a:gd name="T28" fmla="*/ 155 w 270"/>
                    <a:gd name="T29" fmla="*/ 284 h 321"/>
                    <a:gd name="T30" fmla="*/ 167 w 270"/>
                    <a:gd name="T31" fmla="*/ 280 h 321"/>
                    <a:gd name="T32" fmla="*/ 172 w 270"/>
                    <a:gd name="T33" fmla="*/ 287 h 321"/>
                    <a:gd name="T34" fmla="*/ 181 w 270"/>
                    <a:gd name="T35" fmla="*/ 284 h 321"/>
                    <a:gd name="T36" fmla="*/ 186 w 270"/>
                    <a:gd name="T37" fmla="*/ 292 h 321"/>
                    <a:gd name="T38" fmla="*/ 200 w 270"/>
                    <a:gd name="T39" fmla="*/ 297 h 321"/>
                    <a:gd name="T40" fmla="*/ 210 w 270"/>
                    <a:gd name="T41" fmla="*/ 290 h 321"/>
                    <a:gd name="T42" fmla="*/ 219 w 270"/>
                    <a:gd name="T43" fmla="*/ 302 h 321"/>
                    <a:gd name="T44" fmla="*/ 239 w 270"/>
                    <a:gd name="T45" fmla="*/ 321 h 321"/>
                    <a:gd name="T46" fmla="*/ 248 w 270"/>
                    <a:gd name="T47" fmla="*/ 321 h 321"/>
                    <a:gd name="T48" fmla="*/ 244 w 270"/>
                    <a:gd name="T49" fmla="*/ 305 h 321"/>
                    <a:gd name="T50" fmla="*/ 230 w 270"/>
                    <a:gd name="T51" fmla="*/ 294 h 321"/>
                    <a:gd name="T52" fmla="*/ 234 w 270"/>
                    <a:gd name="T53" fmla="*/ 273 h 321"/>
                    <a:gd name="T54" fmla="*/ 236 w 270"/>
                    <a:gd name="T55" fmla="*/ 259 h 321"/>
                    <a:gd name="T56" fmla="*/ 261 w 270"/>
                    <a:gd name="T57" fmla="*/ 232 h 321"/>
                    <a:gd name="T58" fmla="*/ 241 w 270"/>
                    <a:gd name="T59" fmla="*/ 149 h 321"/>
                    <a:gd name="T60" fmla="*/ 242 w 270"/>
                    <a:gd name="T61" fmla="*/ 121 h 321"/>
                    <a:gd name="T62" fmla="*/ 251 w 270"/>
                    <a:gd name="T63" fmla="*/ 94 h 321"/>
                    <a:gd name="T64" fmla="*/ 270 w 270"/>
                    <a:gd name="T65" fmla="*/ 57 h 321"/>
                    <a:gd name="T66" fmla="*/ 268 w 270"/>
                    <a:gd name="T67" fmla="*/ 36 h 321"/>
                    <a:gd name="T68" fmla="*/ 264 w 270"/>
                    <a:gd name="T69" fmla="*/ 28 h 321"/>
                    <a:gd name="T70" fmla="*/ 255 w 270"/>
                    <a:gd name="T71" fmla="*/ 17 h 321"/>
                    <a:gd name="T72" fmla="*/ 245 w 270"/>
                    <a:gd name="T73" fmla="*/ 13 h 321"/>
                    <a:gd name="T74" fmla="*/ 234 w 270"/>
                    <a:gd name="T75" fmla="*/ 14 h 321"/>
                    <a:gd name="T76" fmla="*/ 222 w 270"/>
                    <a:gd name="T77" fmla="*/ 10 h 321"/>
                    <a:gd name="T78" fmla="*/ 213 w 270"/>
                    <a:gd name="T79" fmla="*/ 3 h 321"/>
                    <a:gd name="T80" fmla="*/ 197 w 270"/>
                    <a:gd name="T81" fmla="*/ 1 h 321"/>
                    <a:gd name="T82" fmla="*/ 189 w 270"/>
                    <a:gd name="T83" fmla="*/ 2 h 321"/>
                    <a:gd name="T84" fmla="*/ 178 w 270"/>
                    <a:gd name="T85" fmla="*/ 7 h 321"/>
                    <a:gd name="T86" fmla="*/ 166 w 270"/>
                    <a:gd name="T87" fmla="*/ 8 h 321"/>
                    <a:gd name="T88" fmla="*/ 150 w 270"/>
                    <a:gd name="T89" fmla="*/ 8 h 321"/>
                    <a:gd name="T90" fmla="*/ 144 w 270"/>
                    <a:gd name="T91" fmla="*/ 20 h 321"/>
                    <a:gd name="T92" fmla="*/ 131 w 270"/>
                    <a:gd name="T93" fmla="*/ 18 h 321"/>
                    <a:gd name="T94" fmla="*/ 115 w 270"/>
                    <a:gd name="T95" fmla="*/ 10 h 321"/>
                    <a:gd name="T96" fmla="*/ 102 w 270"/>
                    <a:gd name="T97" fmla="*/ 5 h 321"/>
                    <a:gd name="T98" fmla="*/ 96 w 270"/>
                    <a:gd name="T99" fmla="*/ 14 h 321"/>
                    <a:gd name="T100" fmla="*/ 94 w 270"/>
                    <a:gd name="T101" fmla="*/ 25 h 321"/>
                    <a:gd name="T102" fmla="*/ 85 w 270"/>
                    <a:gd name="T103" fmla="*/ 53 h 321"/>
                    <a:gd name="T104" fmla="*/ 84 w 270"/>
                    <a:gd name="T105" fmla="*/ 76 h 321"/>
                    <a:gd name="T106" fmla="*/ 80 w 270"/>
                    <a:gd name="T107" fmla="*/ 100 h 321"/>
                    <a:gd name="T108" fmla="*/ 62 w 270"/>
                    <a:gd name="T109" fmla="*/ 118 h 321"/>
                    <a:gd name="T110" fmla="*/ 57 w 270"/>
                    <a:gd name="T111" fmla="*/ 146 h 321"/>
                    <a:gd name="T112" fmla="*/ 48 w 270"/>
                    <a:gd name="T113" fmla="*/ 164 h 321"/>
                    <a:gd name="T114" fmla="*/ 32 w 270"/>
                    <a:gd name="T115" fmla="*/ 170 h 321"/>
                    <a:gd name="T116" fmla="*/ 22 w 270"/>
                    <a:gd name="T117" fmla="*/ 169 h 321"/>
                    <a:gd name="T118" fmla="*/ 16 w 270"/>
                    <a:gd name="T119" fmla="*/ 173 h 321"/>
                    <a:gd name="T120" fmla="*/ 5 w 270"/>
                    <a:gd name="T121" fmla="*/ 189 h 321"/>
                    <a:gd name="T122" fmla="*/ 7 w 270"/>
                    <a:gd name="T123" fmla="*/ 195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70" h="321">
                      <a:moveTo>
                        <a:pt x="7" y="195"/>
                      </a:moveTo>
                      <a:lnTo>
                        <a:pt x="8" y="194"/>
                      </a:lnTo>
                      <a:lnTo>
                        <a:pt x="9" y="194"/>
                      </a:lnTo>
                      <a:lnTo>
                        <a:pt x="9" y="194"/>
                      </a:lnTo>
                      <a:lnTo>
                        <a:pt x="12" y="193"/>
                      </a:lnTo>
                      <a:lnTo>
                        <a:pt x="14" y="192"/>
                      </a:lnTo>
                      <a:lnTo>
                        <a:pt x="16" y="193"/>
                      </a:lnTo>
                      <a:lnTo>
                        <a:pt x="19" y="193"/>
                      </a:lnTo>
                      <a:lnTo>
                        <a:pt x="21" y="193"/>
                      </a:lnTo>
                      <a:lnTo>
                        <a:pt x="24" y="193"/>
                      </a:lnTo>
                      <a:lnTo>
                        <a:pt x="29" y="192"/>
                      </a:lnTo>
                      <a:lnTo>
                        <a:pt x="31" y="193"/>
                      </a:lnTo>
                      <a:lnTo>
                        <a:pt x="36" y="193"/>
                      </a:lnTo>
                      <a:lnTo>
                        <a:pt x="40" y="192"/>
                      </a:lnTo>
                      <a:lnTo>
                        <a:pt x="50" y="192"/>
                      </a:lnTo>
                      <a:lnTo>
                        <a:pt x="65" y="193"/>
                      </a:lnTo>
                      <a:lnTo>
                        <a:pt x="65" y="195"/>
                      </a:lnTo>
                      <a:lnTo>
                        <a:pt x="64" y="196"/>
                      </a:lnTo>
                      <a:lnTo>
                        <a:pt x="65" y="197"/>
                      </a:lnTo>
                      <a:lnTo>
                        <a:pt x="66" y="200"/>
                      </a:lnTo>
                      <a:lnTo>
                        <a:pt x="67" y="201"/>
                      </a:lnTo>
                      <a:lnTo>
                        <a:pt x="66" y="203"/>
                      </a:lnTo>
                      <a:lnTo>
                        <a:pt x="66" y="205"/>
                      </a:lnTo>
                      <a:lnTo>
                        <a:pt x="67" y="208"/>
                      </a:lnTo>
                      <a:lnTo>
                        <a:pt x="68" y="213"/>
                      </a:lnTo>
                      <a:lnTo>
                        <a:pt x="68" y="214"/>
                      </a:lnTo>
                      <a:lnTo>
                        <a:pt x="69" y="216"/>
                      </a:lnTo>
                      <a:lnTo>
                        <a:pt x="70" y="217"/>
                      </a:lnTo>
                      <a:lnTo>
                        <a:pt x="71" y="219"/>
                      </a:lnTo>
                      <a:lnTo>
                        <a:pt x="73" y="222"/>
                      </a:lnTo>
                      <a:lnTo>
                        <a:pt x="74" y="228"/>
                      </a:lnTo>
                      <a:lnTo>
                        <a:pt x="75" y="230"/>
                      </a:lnTo>
                      <a:lnTo>
                        <a:pt x="79" y="229"/>
                      </a:lnTo>
                      <a:lnTo>
                        <a:pt x="81" y="228"/>
                      </a:lnTo>
                      <a:lnTo>
                        <a:pt x="83" y="229"/>
                      </a:lnTo>
                      <a:lnTo>
                        <a:pt x="88" y="230"/>
                      </a:lnTo>
                      <a:lnTo>
                        <a:pt x="90" y="228"/>
                      </a:lnTo>
                      <a:lnTo>
                        <a:pt x="101" y="228"/>
                      </a:lnTo>
                      <a:lnTo>
                        <a:pt x="101" y="223"/>
                      </a:lnTo>
                      <a:lnTo>
                        <a:pt x="100" y="220"/>
                      </a:lnTo>
                      <a:lnTo>
                        <a:pt x="102" y="219"/>
                      </a:lnTo>
                      <a:lnTo>
                        <a:pt x="102" y="216"/>
                      </a:lnTo>
                      <a:lnTo>
                        <a:pt x="103" y="211"/>
                      </a:lnTo>
                      <a:lnTo>
                        <a:pt x="116" y="211"/>
                      </a:lnTo>
                      <a:lnTo>
                        <a:pt x="116" y="210"/>
                      </a:lnTo>
                      <a:lnTo>
                        <a:pt x="121" y="210"/>
                      </a:lnTo>
                      <a:lnTo>
                        <a:pt x="121" y="212"/>
                      </a:lnTo>
                      <a:lnTo>
                        <a:pt x="120" y="214"/>
                      </a:lnTo>
                      <a:lnTo>
                        <a:pt x="120" y="215"/>
                      </a:lnTo>
                      <a:lnTo>
                        <a:pt x="137" y="217"/>
                      </a:lnTo>
                      <a:lnTo>
                        <a:pt x="137" y="219"/>
                      </a:lnTo>
                      <a:lnTo>
                        <a:pt x="137" y="221"/>
                      </a:lnTo>
                      <a:lnTo>
                        <a:pt x="137" y="224"/>
                      </a:lnTo>
                      <a:lnTo>
                        <a:pt x="136" y="227"/>
                      </a:lnTo>
                      <a:lnTo>
                        <a:pt x="135" y="230"/>
                      </a:lnTo>
                      <a:lnTo>
                        <a:pt x="137" y="232"/>
                      </a:lnTo>
                      <a:lnTo>
                        <a:pt x="137" y="235"/>
                      </a:lnTo>
                      <a:lnTo>
                        <a:pt x="136" y="236"/>
                      </a:lnTo>
                      <a:lnTo>
                        <a:pt x="136" y="237"/>
                      </a:lnTo>
                      <a:lnTo>
                        <a:pt x="137" y="239"/>
                      </a:lnTo>
                      <a:lnTo>
                        <a:pt x="137" y="245"/>
                      </a:lnTo>
                      <a:lnTo>
                        <a:pt x="136" y="249"/>
                      </a:lnTo>
                      <a:lnTo>
                        <a:pt x="137" y="250"/>
                      </a:lnTo>
                      <a:lnTo>
                        <a:pt x="137" y="252"/>
                      </a:lnTo>
                      <a:lnTo>
                        <a:pt x="137" y="254"/>
                      </a:lnTo>
                      <a:lnTo>
                        <a:pt x="137" y="256"/>
                      </a:lnTo>
                      <a:lnTo>
                        <a:pt x="139" y="257"/>
                      </a:lnTo>
                      <a:lnTo>
                        <a:pt x="140" y="259"/>
                      </a:lnTo>
                      <a:lnTo>
                        <a:pt x="140" y="259"/>
                      </a:lnTo>
                      <a:lnTo>
                        <a:pt x="140" y="261"/>
                      </a:lnTo>
                      <a:lnTo>
                        <a:pt x="140" y="263"/>
                      </a:lnTo>
                      <a:lnTo>
                        <a:pt x="140" y="265"/>
                      </a:lnTo>
                      <a:lnTo>
                        <a:pt x="142" y="267"/>
                      </a:lnTo>
                      <a:lnTo>
                        <a:pt x="142" y="269"/>
                      </a:lnTo>
                      <a:lnTo>
                        <a:pt x="141" y="270"/>
                      </a:lnTo>
                      <a:lnTo>
                        <a:pt x="142" y="273"/>
                      </a:lnTo>
                      <a:lnTo>
                        <a:pt x="144" y="275"/>
                      </a:lnTo>
                      <a:lnTo>
                        <a:pt x="143" y="278"/>
                      </a:lnTo>
                      <a:lnTo>
                        <a:pt x="143" y="279"/>
                      </a:lnTo>
                      <a:lnTo>
                        <a:pt x="142" y="280"/>
                      </a:lnTo>
                      <a:lnTo>
                        <a:pt x="142" y="283"/>
                      </a:lnTo>
                      <a:lnTo>
                        <a:pt x="142" y="284"/>
                      </a:lnTo>
                      <a:lnTo>
                        <a:pt x="144" y="284"/>
                      </a:lnTo>
                      <a:lnTo>
                        <a:pt x="144" y="283"/>
                      </a:lnTo>
                      <a:lnTo>
                        <a:pt x="146" y="283"/>
                      </a:lnTo>
                      <a:lnTo>
                        <a:pt x="147" y="282"/>
                      </a:lnTo>
                      <a:lnTo>
                        <a:pt x="148" y="282"/>
                      </a:lnTo>
                      <a:lnTo>
                        <a:pt x="150" y="283"/>
                      </a:lnTo>
                      <a:lnTo>
                        <a:pt x="151" y="284"/>
                      </a:lnTo>
                      <a:lnTo>
                        <a:pt x="155" y="284"/>
                      </a:lnTo>
                      <a:lnTo>
                        <a:pt x="157" y="284"/>
                      </a:lnTo>
                      <a:lnTo>
                        <a:pt x="158" y="284"/>
                      </a:lnTo>
                      <a:lnTo>
                        <a:pt x="159" y="283"/>
                      </a:lnTo>
                      <a:lnTo>
                        <a:pt x="162" y="282"/>
                      </a:lnTo>
                      <a:lnTo>
                        <a:pt x="164" y="281"/>
                      </a:lnTo>
                      <a:lnTo>
                        <a:pt x="167" y="280"/>
                      </a:lnTo>
                      <a:lnTo>
                        <a:pt x="167" y="281"/>
                      </a:lnTo>
                      <a:lnTo>
                        <a:pt x="168" y="282"/>
                      </a:lnTo>
                      <a:lnTo>
                        <a:pt x="169" y="282"/>
                      </a:lnTo>
                      <a:lnTo>
                        <a:pt x="171" y="283"/>
                      </a:lnTo>
                      <a:lnTo>
                        <a:pt x="172" y="284"/>
                      </a:lnTo>
                      <a:lnTo>
                        <a:pt x="172" y="287"/>
                      </a:lnTo>
                      <a:lnTo>
                        <a:pt x="173" y="288"/>
                      </a:lnTo>
                      <a:lnTo>
                        <a:pt x="174" y="289"/>
                      </a:lnTo>
                      <a:lnTo>
                        <a:pt x="175" y="287"/>
                      </a:lnTo>
                      <a:lnTo>
                        <a:pt x="178" y="286"/>
                      </a:lnTo>
                      <a:lnTo>
                        <a:pt x="179" y="286"/>
                      </a:lnTo>
                      <a:lnTo>
                        <a:pt x="181" y="284"/>
                      </a:lnTo>
                      <a:lnTo>
                        <a:pt x="184" y="283"/>
                      </a:lnTo>
                      <a:lnTo>
                        <a:pt x="185" y="283"/>
                      </a:lnTo>
                      <a:lnTo>
                        <a:pt x="185" y="287"/>
                      </a:lnTo>
                      <a:lnTo>
                        <a:pt x="186" y="288"/>
                      </a:lnTo>
                      <a:lnTo>
                        <a:pt x="186" y="291"/>
                      </a:lnTo>
                      <a:lnTo>
                        <a:pt x="186" y="292"/>
                      </a:lnTo>
                      <a:lnTo>
                        <a:pt x="187" y="292"/>
                      </a:lnTo>
                      <a:lnTo>
                        <a:pt x="190" y="294"/>
                      </a:lnTo>
                      <a:lnTo>
                        <a:pt x="191" y="294"/>
                      </a:lnTo>
                      <a:lnTo>
                        <a:pt x="195" y="297"/>
                      </a:lnTo>
                      <a:lnTo>
                        <a:pt x="197" y="297"/>
                      </a:lnTo>
                      <a:lnTo>
                        <a:pt x="200" y="297"/>
                      </a:lnTo>
                      <a:lnTo>
                        <a:pt x="201" y="299"/>
                      </a:lnTo>
                      <a:lnTo>
                        <a:pt x="203" y="299"/>
                      </a:lnTo>
                      <a:lnTo>
                        <a:pt x="207" y="297"/>
                      </a:lnTo>
                      <a:lnTo>
                        <a:pt x="207" y="295"/>
                      </a:lnTo>
                      <a:lnTo>
                        <a:pt x="209" y="291"/>
                      </a:lnTo>
                      <a:lnTo>
                        <a:pt x="210" y="290"/>
                      </a:lnTo>
                      <a:lnTo>
                        <a:pt x="212" y="290"/>
                      </a:lnTo>
                      <a:lnTo>
                        <a:pt x="213" y="290"/>
                      </a:lnTo>
                      <a:lnTo>
                        <a:pt x="213" y="295"/>
                      </a:lnTo>
                      <a:lnTo>
                        <a:pt x="215" y="298"/>
                      </a:lnTo>
                      <a:lnTo>
                        <a:pt x="216" y="300"/>
                      </a:lnTo>
                      <a:lnTo>
                        <a:pt x="219" y="302"/>
                      </a:lnTo>
                      <a:lnTo>
                        <a:pt x="224" y="304"/>
                      </a:lnTo>
                      <a:lnTo>
                        <a:pt x="227" y="307"/>
                      </a:lnTo>
                      <a:lnTo>
                        <a:pt x="230" y="311"/>
                      </a:lnTo>
                      <a:lnTo>
                        <a:pt x="233" y="314"/>
                      </a:lnTo>
                      <a:lnTo>
                        <a:pt x="236" y="318"/>
                      </a:lnTo>
                      <a:lnTo>
                        <a:pt x="239" y="321"/>
                      </a:lnTo>
                      <a:lnTo>
                        <a:pt x="241" y="321"/>
                      </a:lnTo>
                      <a:lnTo>
                        <a:pt x="243" y="321"/>
                      </a:lnTo>
                      <a:lnTo>
                        <a:pt x="245" y="320"/>
                      </a:lnTo>
                      <a:lnTo>
                        <a:pt x="246" y="320"/>
                      </a:lnTo>
                      <a:lnTo>
                        <a:pt x="246" y="321"/>
                      </a:lnTo>
                      <a:lnTo>
                        <a:pt x="248" y="321"/>
                      </a:lnTo>
                      <a:lnTo>
                        <a:pt x="249" y="320"/>
                      </a:lnTo>
                      <a:lnTo>
                        <a:pt x="248" y="302"/>
                      </a:lnTo>
                      <a:lnTo>
                        <a:pt x="247" y="301"/>
                      </a:lnTo>
                      <a:lnTo>
                        <a:pt x="244" y="302"/>
                      </a:lnTo>
                      <a:lnTo>
                        <a:pt x="244" y="304"/>
                      </a:lnTo>
                      <a:lnTo>
                        <a:pt x="244" y="305"/>
                      </a:lnTo>
                      <a:lnTo>
                        <a:pt x="244" y="306"/>
                      </a:lnTo>
                      <a:lnTo>
                        <a:pt x="238" y="306"/>
                      </a:lnTo>
                      <a:lnTo>
                        <a:pt x="237" y="304"/>
                      </a:lnTo>
                      <a:lnTo>
                        <a:pt x="236" y="301"/>
                      </a:lnTo>
                      <a:lnTo>
                        <a:pt x="232" y="296"/>
                      </a:lnTo>
                      <a:lnTo>
                        <a:pt x="230" y="294"/>
                      </a:lnTo>
                      <a:lnTo>
                        <a:pt x="230" y="290"/>
                      </a:lnTo>
                      <a:lnTo>
                        <a:pt x="230" y="280"/>
                      </a:lnTo>
                      <a:lnTo>
                        <a:pt x="230" y="278"/>
                      </a:lnTo>
                      <a:lnTo>
                        <a:pt x="233" y="275"/>
                      </a:lnTo>
                      <a:lnTo>
                        <a:pt x="234" y="273"/>
                      </a:lnTo>
                      <a:lnTo>
                        <a:pt x="234" y="273"/>
                      </a:lnTo>
                      <a:lnTo>
                        <a:pt x="234" y="272"/>
                      </a:lnTo>
                      <a:lnTo>
                        <a:pt x="235" y="268"/>
                      </a:lnTo>
                      <a:lnTo>
                        <a:pt x="234" y="266"/>
                      </a:lnTo>
                      <a:lnTo>
                        <a:pt x="235" y="263"/>
                      </a:lnTo>
                      <a:lnTo>
                        <a:pt x="234" y="261"/>
                      </a:lnTo>
                      <a:lnTo>
                        <a:pt x="236" y="259"/>
                      </a:lnTo>
                      <a:lnTo>
                        <a:pt x="236" y="258"/>
                      </a:lnTo>
                      <a:lnTo>
                        <a:pt x="234" y="257"/>
                      </a:lnTo>
                      <a:lnTo>
                        <a:pt x="233" y="255"/>
                      </a:lnTo>
                      <a:lnTo>
                        <a:pt x="232" y="251"/>
                      </a:lnTo>
                      <a:lnTo>
                        <a:pt x="237" y="238"/>
                      </a:lnTo>
                      <a:lnTo>
                        <a:pt x="261" y="232"/>
                      </a:lnTo>
                      <a:lnTo>
                        <a:pt x="263" y="232"/>
                      </a:lnTo>
                      <a:lnTo>
                        <a:pt x="259" y="219"/>
                      </a:lnTo>
                      <a:lnTo>
                        <a:pt x="249" y="203"/>
                      </a:lnTo>
                      <a:lnTo>
                        <a:pt x="246" y="183"/>
                      </a:lnTo>
                      <a:lnTo>
                        <a:pt x="244" y="168"/>
                      </a:lnTo>
                      <a:lnTo>
                        <a:pt x="241" y="149"/>
                      </a:lnTo>
                      <a:lnTo>
                        <a:pt x="241" y="144"/>
                      </a:lnTo>
                      <a:lnTo>
                        <a:pt x="241" y="140"/>
                      </a:lnTo>
                      <a:lnTo>
                        <a:pt x="240" y="137"/>
                      </a:lnTo>
                      <a:lnTo>
                        <a:pt x="240" y="135"/>
                      </a:lnTo>
                      <a:lnTo>
                        <a:pt x="240" y="132"/>
                      </a:lnTo>
                      <a:lnTo>
                        <a:pt x="242" y="121"/>
                      </a:lnTo>
                      <a:lnTo>
                        <a:pt x="245" y="118"/>
                      </a:lnTo>
                      <a:lnTo>
                        <a:pt x="248" y="114"/>
                      </a:lnTo>
                      <a:lnTo>
                        <a:pt x="248" y="110"/>
                      </a:lnTo>
                      <a:lnTo>
                        <a:pt x="250" y="104"/>
                      </a:lnTo>
                      <a:lnTo>
                        <a:pt x="251" y="97"/>
                      </a:lnTo>
                      <a:lnTo>
                        <a:pt x="251" y="94"/>
                      </a:lnTo>
                      <a:lnTo>
                        <a:pt x="251" y="91"/>
                      </a:lnTo>
                      <a:lnTo>
                        <a:pt x="257" y="80"/>
                      </a:lnTo>
                      <a:lnTo>
                        <a:pt x="258" y="76"/>
                      </a:lnTo>
                      <a:lnTo>
                        <a:pt x="263" y="71"/>
                      </a:lnTo>
                      <a:lnTo>
                        <a:pt x="270" y="59"/>
                      </a:lnTo>
                      <a:lnTo>
                        <a:pt x="270" y="57"/>
                      </a:lnTo>
                      <a:lnTo>
                        <a:pt x="269" y="54"/>
                      </a:lnTo>
                      <a:lnTo>
                        <a:pt x="268" y="52"/>
                      </a:lnTo>
                      <a:lnTo>
                        <a:pt x="266" y="51"/>
                      </a:lnTo>
                      <a:lnTo>
                        <a:pt x="267" y="46"/>
                      </a:lnTo>
                      <a:lnTo>
                        <a:pt x="268" y="41"/>
                      </a:lnTo>
                      <a:lnTo>
                        <a:pt x="268" y="36"/>
                      </a:lnTo>
                      <a:lnTo>
                        <a:pt x="268" y="34"/>
                      </a:lnTo>
                      <a:lnTo>
                        <a:pt x="269" y="31"/>
                      </a:lnTo>
                      <a:lnTo>
                        <a:pt x="268" y="30"/>
                      </a:lnTo>
                      <a:lnTo>
                        <a:pt x="265" y="30"/>
                      </a:lnTo>
                      <a:lnTo>
                        <a:pt x="265" y="30"/>
                      </a:lnTo>
                      <a:lnTo>
                        <a:pt x="264" y="28"/>
                      </a:lnTo>
                      <a:lnTo>
                        <a:pt x="263" y="25"/>
                      </a:lnTo>
                      <a:lnTo>
                        <a:pt x="262" y="24"/>
                      </a:lnTo>
                      <a:lnTo>
                        <a:pt x="261" y="21"/>
                      </a:lnTo>
                      <a:lnTo>
                        <a:pt x="260" y="20"/>
                      </a:lnTo>
                      <a:lnTo>
                        <a:pt x="256" y="18"/>
                      </a:lnTo>
                      <a:lnTo>
                        <a:pt x="255" y="17"/>
                      </a:lnTo>
                      <a:lnTo>
                        <a:pt x="254" y="14"/>
                      </a:lnTo>
                      <a:lnTo>
                        <a:pt x="252" y="11"/>
                      </a:lnTo>
                      <a:lnTo>
                        <a:pt x="251" y="9"/>
                      </a:lnTo>
                      <a:lnTo>
                        <a:pt x="248" y="9"/>
                      </a:lnTo>
                      <a:lnTo>
                        <a:pt x="246" y="11"/>
                      </a:lnTo>
                      <a:lnTo>
                        <a:pt x="245" y="13"/>
                      </a:lnTo>
                      <a:lnTo>
                        <a:pt x="242" y="14"/>
                      </a:lnTo>
                      <a:lnTo>
                        <a:pt x="241" y="14"/>
                      </a:lnTo>
                      <a:lnTo>
                        <a:pt x="241" y="13"/>
                      </a:lnTo>
                      <a:lnTo>
                        <a:pt x="239" y="13"/>
                      </a:lnTo>
                      <a:lnTo>
                        <a:pt x="235" y="13"/>
                      </a:lnTo>
                      <a:lnTo>
                        <a:pt x="234" y="14"/>
                      </a:lnTo>
                      <a:lnTo>
                        <a:pt x="233" y="16"/>
                      </a:lnTo>
                      <a:lnTo>
                        <a:pt x="231" y="17"/>
                      </a:lnTo>
                      <a:lnTo>
                        <a:pt x="228" y="15"/>
                      </a:lnTo>
                      <a:lnTo>
                        <a:pt x="225" y="13"/>
                      </a:lnTo>
                      <a:lnTo>
                        <a:pt x="223" y="11"/>
                      </a:lnTo>
                      <a:lnTo>
                        <a:pt x="222" y="10"/>
                      </a:lnTo>
                      <a:lnTo>
                        <a:pt x="220" y="8"/>
                      </a:lnTo>
                      <a:lnTo>
                        <a:pt x="220" y="5"/>
                      </a:lnTo>
                      <a:lnTo>
                        <a:pt x="220" y="5"/>
                      </a:lnTo>
                      <a:lnTo>
                        <a:pt x="219" y="5"/>
                      </a:lnTo>
                      <a:lnTo>
                        <a:pt x="216" y="3"/>
                      </a:lnTo>
                      <a:lnTo>
                        <a:pt x="213" y="3"/>
                      </a:lnTo>
                      <a:lnTo>
                        <a:pt x="209" y="5"/>
                      </a:lnTo>
                      <a:lnTo>
                        <a:pt x="208" y="4"/>
                      </a:lnTo>
                      <a:lnTo>
                        <a:pt x="203" y="4"/>
                      </a:lnTo>
                      <a:lnTo>
                        <a:pt x="201" y="3"/>
                      </a:lnTo>
                      <a:lnTo>
                        <a:pt x="199" y="2"/>
                      </a:lnTo>
                      <a:lnTo>
                        <a:pt x="197" y="1"/>
                      </a:lnTo>
                      <a:lnTo>
                        <a:pt x="196" y="1"/>
                      </a:lnTo>
                      <a:lnTo>
                        <a:pt x="192" y="1"/>
                      </a:lnTo>
                      <a:lnTo>
                        <a:pt x="192" y="0"/>
                      </a:lnTo>
                      <a:lnTo>
                        <a:pt x="189" y="0"/>
                      </a:lnTo>
                      <a:lnTo>
                        <a:pt x="189" y="1"/>
                      </a:lnTo>
                      <a:lnTo>
                        <a:pt x="189" y="2"/>
                      </a:lnTo>
                      <a:lnTo>
                        <a:pt x="188" y="5"/>
                      </a:lnTo>
                      <a:lnTo>
                        <a:pt x="186" y="5"/>
                      </a:lnTo>
                      <a:lnTo>
                        <a:pt x="185" y="6"/>
                      </a:lnTo>
                      <a:lnTo>
                        <a:pt x="181" y="6"/>
                      </a:lnTo>
                      <a:lnTo>
                        <a:pt x="179" y="7"/>
                      </a:lnTo>
                      <a:lnTo>
                        <a:pt x="178" y="7"/>
                      </a:lnTo>
                      <a:lnTo>
                        <a:pt x="178" y="6"/>
                      </a:lnTo>
                      <a:lnTo>
                        <a:pt x="176" y="5"/>
                      </a:lnTo>
                      <a:lnTo>
                        <a:pt x="176" y="4"/>
                      </a:lnTo>
                      <a:lnTo>
                        <a:pt x="174" y="4"/>
                      </a:lnTo>
                      <a:lnTo>
                        <a:pt x="168" y="7"/>
                      </a:lnTo>
                      <a:lnTo>
                        <a:pt x="166" y="8"/>
                      </a:lnTo>
                      <a:lnTo>
                        <a:pt x="165" y="10"/>
                      </a:lnTo>
                      <a:lnTo>
                        <a:pt x="159" y="11"/>
                      </a:lnTo>
                      <a:lnTo>
                        <a:pt x="157" y="11"/>
                      </a:lnTo>
                      <a:lnTo>
                        <a:pt x="155" y="9"/>
                      </a:lnTo>
                      <a:lnTo>
                        <a:pt x="153" y="9"/>
                      </a:lnTo>
                      <a:lnTo>
                        <a:pt x="150" y="8"/>
                      </a:lnTo>
                      <a:lnTo>
                        <a:pt x="148" y="11"/>
                      </a:lnTo>
                      <a:lnTo>
                        <a:pt x="146" y="14"/>
                      </a:lnTo>
                      <a:lnTo>
                        <a:pt x="146" y="16"/>
                      </a:lnTo>
                      <a:lnTo>
                        <a:pt x="147" y="18"/>
                      </a:lnTo>
                      <a:lnTo>
                        <a:pt x="147" y="19"/>
                      </a:lnTo>
                      <a:lnTo>
                        <a:pt x="144" y="20"/>
                      </a:lnTo>
                      <a:lnTo>
                        <a:pt x="142" y="19"/>
                      </a:lnTo>
                      <a:lnTo>
                        <a:pt x="139" y="18"/>
                      </a:lnTo>
                      <a:lnTo>
                        <a:pt x="137" y="17"/>
                      </a:lnTo>
                      <a:lnTo>
                        <a:pt x="134" y="17"/>
                      </a:lnTo>
                      <a:lnTo>
                        <a:pt x="133" y="18"/>
                      </a:lnTo>
                      <a:lnTo>
                        <a:pt x="131" y="18"/>
                      </a:lnTo>
                      <a:lnTo>
                        <a:pt x="127" y="18"/>
                      </a:lnTo>
                      <a:lnTo>
                        <a:pt x="124" y="15"/>
                      </a:lnTo>
                      <a:lnTo>
                        <a:pt x="121" y="16"/>
                      </a:lnTo>
                      <a:lnTo>
                        <a:pt x="120" y="14"/>
                      </a:lnTo>
                      <a:lnTo>
                        <a:pt x="117" y="11"/>
                      </a:lnTo>
                      <a:lnTo>
                        <a:pt x="115" y="10"/>
                      </a:lnTo>
                      <a:lnTo>
                        <a:pt x="110" y="6"/>
                      </a:lnTo>
                      <a:lnTo>
                        <a:pt x="109" y="5"/>
                      </a:lnTo>
                      <a:lnTo>
                        <a:pt x="107" y="4"/>
                      </a:lnTo>
                      <a:lnTo>
                        <a:pt x="106" y="4"/>
                      </a:lnTo>
                      <a:lnTo>
                        <a:pt x="105" y="5"/>
                      </a:lnTo>
                      <a:lnTo>
                        <a:pt x="102" y="5"/>
                      </a:lnTo>
                      <a:lnTo>
                        <a:pt x="101" y="7"/>
                      </a:lnTo>
                      <a:lnTo>
                        <a:pt x="99" y="7"/>
                      </a:lnTo>
                      <a:lnTo>
                        <a:pt x="98" y="8"/>
                      </a:lnTo>
                      <a:lnTo>
                        <a:pt x="98" y="11"/>
                      </a:lnTo>
                      <a:lnTo>
                        <a:pt x="96" y="13"/>
                      </a:lnTo>
                      <a:lnTo>
                        <a:pt x="96" y="14"/>
                      </a:lnTo>
                      <a:lnTo>
                        <a:pt x="95" y="16"/>
                      </a:lnTo>
                      <a:lnTo>
                        <a:pt x="93" y="16"/>
                      </a:lnTo>
                      <a:lnTo>
                        <a:pt x="93" y="18"/>
                      </a:lnTo>
                      <a:lnTo>
                        <a:pt x="95" y="21"/>
                      </a:lnTo>
                      <a:lnTo>
                        <a:pt x="95" y="23"/>
                      </a:lnTo>
                      <a:lnTo>
                        <a:pt x="94" y="25"/>
                      </a:lnTo>
                      <a:lnTo>
                        <a:pt x="93" y="29"/>
                      </a:lnTo>
                      <a:lnTo>
                        <a:pt x="95" y="32"/>
                      </a:lnTo>
                      <a:lnTo>
                        <a:pt x="95" y="39"/>
                      </a:lnTo>
                      <a:lnTo>
                        <a:pt x="92" y="41"/>
                      </a:lnTo>
                      <a:lnTo>
                        <a:pt x="92" y="44"/>
                      </a:lnTo>
                      <a:lnTo>
                        <a:pt x="85" y="53"/>
                      </a:lnTo>
                      <a:lnTo>
                        <a:pt x="87" y="59"/>
                      </a:lnTo>
                      <a:lnTo>
                        <a:pt x="86" y="62"/>
                      </a:lnTo>
                      <a:lnTo>
                        <a:pt x="85" y="66"/>
                      </a:lnTo>
                      <a:lnTo>
                        <a:pt x="84" y="69"/>
                      </a:lnTo>
                      <a:lnTo>
                        <a:pt x="83" y="75"/>
                      </a:lnTo>
                      <a:lnTo>
                        <a:pt x="84" y="76"/>
                      </a:lnTo>
                      <a:lnTo>
                        <a:pt x="83" y="82"/>
                      </a:lnTo>
                      <a:lnTo>
                        <a:pt x="83" y="83"/>
                      </a:lnTo>
                      <a:lnTo>
                        <a:pt x="83" y="87"/>
                      </a:lnTo>
                      <a:lnTo>
                        <a:pt x="81" y="89"/>
                      </a:lnTo>
                      <a:lnTo>
                        <a:pt x="80" y="94"/>
                      </a:lnTo>
                      <a:lnTo>
                        <a:pt x="80" y="100"/>
                      </a:lnTo>
                      <a:lnTo>
                        <a:pt x="75" y="109"/>
                      </a:lnTo>
                      <a:lnTo>
                        <a:pt x="72" y="110"/>
                      </a:lnTo>
                      <a:lnTo>
                        <a:pt x="70" y="112"/>
                      </a:lnTo>
                      <a:lnTo>
                        <a:pt x="68" y="111"/>
                      </a:lnTo>
                      <a:lnTo>
                        <a:pt x="65" y="114"/>
                      </a:lnTo>
                      <a:lnTo>
                        <a:pt x="62" y="118"/>
                      </a:lnTo>
                      <a:lnTo>
                        <a:pt x="62" y="122"/>
                      </a:lnTo>
                      <a:lnTo>
                        <a:pt x="57" y="128"/>
                      </a:lnTo>
                      <a:lnTo>
                        <a:pt x="56" y="131"/>
                      </a:lnTo>
                      <a:lnTo>
                        <a:pt x="57" y="136"/>
                      </a:lnTo>
                      <a:lnTo>
                        <a:pt x="57" y="137"/>
                      </a:lnTo>
                      <a:lnTo>
                        <a:pt x="57" y="146"/>
                      </a:lnTo>
                      <a:lnTo>
                        <a:pt x="56" y="151"/>
                      </a:lnTo>
                      <a:lnTo>
                        <a:pt x="57" y="154"/>
                      </a:lnTo>
                      <a:lnTo>
                        <a:pt x="54" y="159"/>
                      </a:lnTo>
                      <a:lnTo>
                        <a:pt x="51" y="159"/>
                      </a:lnTo>
                      <a:lnTo>
                        <a:pt x="49" y="161"/>
                      </a:lnTo>
                      <a:lnTo>
                        <a:pt x="48" y="164"/>
                      </a:lnTo>
                      <a:lnTo>
                        <a:pt x="43" y="170"/>
                      </a:lnTo>
                      <a:lnTo>
                        <a:pt x="40" y="174"/>
                      </a:lnTo>
                      <a:lnTo>
                        <a:pt x="37" y="176"/>
                      </a:lnTo>
                      <a:lnTo>
                        <a:pt x="33" y="173"/>
                      </a:lnTo>
                      <a:lnTo>
                        <a:pt x="33" y="171"/>
                      </a:lnTo>
                      <a:lnTo>
                        <a:pt x="32" y="170"/>
                      </a:lnTo>
                      <a:lnTo>
                        <a:pt x="34" y="166"/>
                      </a:lnTo>
                      <a:lnTo>
                        <a:pt x="34" y="165"/>
                      </a:lnTo>
                      <a:lnTo>
                        <a:pt x="29" y="166"/>
                      </a:lnTo>
                      <a:lnTo>
                        <a:pt x="26" y="169"/>
                      </a:lnTo>
                      <a:lnTo>
                        <a:pt x="25" y="169"/>
                      </a:lnTo>
                      <a:lnTo>
                        <a:pt x="22" y="169"/>
                      </a:lnTo>
                      <a:lnTo>
                        <a:pt x="22" y="173"/>
                      </a:lnTo>
                      <a:lnTo>
                        <a:pt x="21" y="175"/>
                      </a:lnTo>
                      <a:lnTo>
                        <a:pt x="19" y="175"/>
                      </a:lnTo>
                      <a:lnTo>
                        <a:pt x="19" y="173"/>
                      </a:lnTo>
                      <a:lnTo>
                        <a:pt x="18" y="172"/>
                      </a:lnTo>
                      <a:lnTo>
                        <a:pt x="16" y="173"/>
                      </a:lnTo>
                      <a:lnTo>
                        <a:pt x="14" y="173"/>
                      </a:lnTo>
                      <a:lnTo>
                        <a:pt x="11" y="176"/>
                      </a:lnTo>
                      <a:lnTo>
                        <a:pt x="8" y="179"/>
                      </a:lnTo>
                      <a:lnTo>
                        <a:pt x="7" y="181"/>
                      </a:lnTo>
                      <a:lnTo>
                        <a:pt x="7" y="187"/>
                      </a:lnTo>
                      <a:lnTo>
                        <a:pt x="5" y="189"/>
                      </a:lnTo>
                      <a:lnTo>
                        <a:pt x="2" y="190"/>
                      </a:lnTo>
                      <a:lnTo>
                        <a:pt x="0" y="191"/>
                      </a:lnTo>
                      <a:lnTo>
                        <a:pt x="1" y="194"/>
                      </a:lnTo>
                      <a:lnTo>
                        <a:pt x="5" y="194"/>
                      </a:lnTo>
                      <a:lnTo>
                        <a:pt x="6" y="195"/>
                      </a:lnTo>
                      <a:lnTo>
                        <a:pt x="7" y="195"/>
                      </a:lnTo>
                      <a:lnTo>
                        <a:pt x="7" y="19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59" name="Freeform 862">
                  <a:extLst>
                    <a:ext uri="{FF2B5EF4-FFF2-40B4-BE49-F238E27FC236}">
                      <a16:creationId xmlns:a16="http://schemas.microsoft.com/office/drawing/2014/main" id="{F443BF54-E259-49A0-8012-BB13B717C7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67" y="2966"/>
                  <a:ext cx="45" cy="136"/>
                </a:xfrm>
                <a:custGeom>
                  <a:avLst/>
                  <a:gdLst>
                    <a:gd name="T0" fmla="*/ 7 w 45"/>
                    <a:gd name="T1" fmla="*/ 6 h 136"/>
                    <a:gd name="T2" fmla="*/ 11 w 45"/>
                    <a:gd name="T3" fmla="*/ 8 h 136"/>
                    <a:gd name="T4" fmla="*/ 8 w 45"/>
                    <a:gd name="T5" fmla="*/ 14 h 136"/>
                    <a:gd name="T6" fmla="*/ 12 w 45"/>
                    <a:gd name="T7" fmla="*/ 18 h 136"/>
                    <a:gd name="T8" fmla="*/ 12 w 45"/>
                    <a:gd name="T9" fmla="*/ 23 h 136"/>
                    <a:gd name="T10" fmla="*/ 12 w 45"/>
                    <a:gd name="T11" fmla="*/ 25 h 136"/>
                    <a:gd name="T12" fmla="*/ 8 w 45"/>
                    <a:gd name="T13" fmla="*/ 32 h 136"/>
                    <a:gd name="T14" fmla="*/ 9 w 45"/>
                    <a:gd name="T15" fmla="*/ 38 h 136"/>
                    <a:gd name="T16" fmla="*/ 8 w 45"/>
                    <a:gd name="T17" fmla="*/ 42 h 136"/>
                    <a:gd name="T18" fmla="*/ 9 w 45"/>
                    <a:gd name="T19" fmla="*/ 46 h 136"/>
                    <a:gd name="T20" fmla="*/ 9 w 45"/>
                    <a:gd name="T21" fmla="*/ 49 h 136"/>
                    <a:gd name="T22" fmla="*/ 11 w 45"/>
                    <a:gd name="T23" fmla="*/ 52 h 136"/>
                    <a:gd name="T24" fmla="*/ 10 w 45"/>
                    <a:gd name="T25" fmla="*/ 54 h 136"/>
                    <a:gd name="T26" fmla="*/ 7 w 45"/>
                    <a:gd name="T27" fmla="*/ 56 h 136"/>
                    <a:gd name="T28" fmla="*/ 4 w 45"/>
                    <a:gd name="T29" fmla="*/ 61 h 136"/>
                    <a:gd name="T30" fmla="*/ 4 w 45"/>
                    <a:gd name="T31" fmla="*/ 65 h 136"/>
                    <a:gd name="T32" fmla="*/ 4 w 45"/>
                    <a:gd name="T33" fmla="*/ 69 h 136"/>
                    <a:gd name="T34" fmla="*/ 0 w 45"/>
                    <a:gd name="T35" fmla="*/ 73 h 136"/>
                    <a:gd name="T36" fmla="*/ 2 w 45"/>
                    <a:gd name="T37" fmla="*/ 77 h 136"/>
                    <a:gd name="T38" fmla="*/ 4 w 45"/>
                    <a:gd name="T39" fmla="*/ 82 h 136"/>
                    <a:gd name="T40" fmla="*/ 8 w 45"/>
                    <a:gd name="T41" fmla="*/ 83 h 136"/>
                    <a:gd name="T42" fmla="*/ 10 w 45"/>
                    <a:gd name="T43" fmla="*/ 86 h 136"/>
                    <a:gd name="T44" fmla="*/ 13 w 45"/>
                    <a:gd name="T45" fmla="*/ 90 h 136"/>
                    <a:gd name="T46" fmla="*/ 15 w 45"/>
                    <a:gd name="T47" fmla="*/ 89 h 136"/>
                    <a:gd name="T48" fmla="*/ 20 w 45"/>
                    <a:gd name="T49" fmla="*/ 87 h 136"/>
                    <a:gd name="T50" fmla="*/ 25 w 45"/>
                    <a:gd name="T51" fmla="*/ 91 h 136"/>
                    <a:gd name="T52" fmla="*/ 25 w 45"/>
                    <a:gd name="T53" fmla="*/ 100 h 136"/>
                    <a:gd name="T54" fmla="*/ 21 w 45"/>
                    <a:gd name="T55" fmla="*/ 107 h 136"/>
                    <a:gd name="T56" fmla="*/ 19 w 45"/>
                    <a:gd name="T57" fmla="*/ 114 h 136"/>
                    <a:gd name="T58" fmla="*/ 21 w 45"/>
                    <a:gd name="T59" fmla="*/ 120 h 136"/>
                    <a:gd name="T60" fmla="*/ 26 w 45"/>
                    <a:gd name="T61" fmla="*/ 126 h 136"/>
                    <a:gd name="T62" fmla="*/ 29 w 45"/>
                    <a:gd name="T63" fmla="*/ 129 h 136"/>
                    <a:gd name="T64" fmla="*/ 30 w 45"/>
                    <a:gd name="T65" fmla="*/ 134 h 136"/>
                    <a:gd name="T66" fmla="*/ 33 w 45"/>
                    <a:gd name="T67" fmla="*/ 135 h 136"/>
                    <a:gd name="T68" fmla="*/ 33 w 45"/>
                    <a:gd name="T69" fmla="*/ 128 h 136"/>
                    <a:gd name="T70" fmla="*/ 35 w 45"/>
                    <a:gd name="T71" fmla="*/ 122 h 136"/>
                    <a:gd name="T72" fmla="*/ 40 w 45"/>
                    <a:gd name="T73" fmla="*/ 117 h 136"/>
                    <a:gd name="T74" fmla="*/ 42 w 45"/>
                    <a:gd name="T75" fmla="*/ 112 h 136"/>
                    <a:gd name="T76" fmla="*/ 41 w 45"/>
                    <a:gd name="T77" fmla="*/ 104 h 136"/>
                    <a:gd name="T78" fmla="*/ 40 w 45"/>
                    <a:gd name="T79" fmla="*/ 101 h 136"/>
                    <a:gd name="T80" fmla="*/ 43 w 45"/>
                    <a:gd name="T81" fmla="*/ 100 h 136"/>
                    <a:gd name="T82" fmla="*/ 45 w 45"/>
                    <a:gd name="T83" fmla="*/ 97 h 136"/>
                    <a:gd name="T84" fmla="*/ 44 w 45"/>
                    <a:gd name="T85" fmla="*/ 93 h 136"/>
                    <a:gd name="T86" fmla="*/ 40 w 45"/>
                    <a:gd name="T87" fmla="*/ 83 h 136"/>
                    <a:gd name="T88" fmla="*/ 33 w 45"/>
                    <a:gd name="T89" fmla="*/ 75 h 136"/>
                    <a:gd name="T90" fmla="*/ 31 w 45"/>
                    <a:gd name="T91" fmla="*/ 73 h 136"/>
                    <a:gd name="T92" fmla="*/ 25 w 45"/>
                    <a:gd name="T93" fmla="*/ 68 h 136"/>
                    <a:gd name="T94" fmla="*/ 23 w 45"/>
                    <a:gd name="T95" fmla="*/ 49 h 136"/>
                    <a:gd name="T96" fmla="*/ 22 w 45"/>
                    <a:gd name="T97" fmla="*/ 14 h 136"/>
                    <a:gd name="T98" fmla="*/ 16 w 45"/>
                    <a:gd name="T99" fmla="*/ 6 h 136"/>
                    <a:gd name="T100" fmla="*/ 14 w 45"/>
                    <a:gd name="T101" fmla="*/ 4 h 136"/>
                    <a:gd name="T102" fmla="*/ 12 w 45"/>
                    <a:gd name="T103" fmla="*/ 3 h 136"/>
                    <a:gd name="T104" fmla="*/ 10 w 45"/>
                    <a:gd name="T105" fmla="*/ 3 h 136"/>
                    <a:gd name="T106" fmla="*/ 7 w 45"/>
                    <a:gd name="T107" fmla="*/ 1 h 136"/>
                    <a:gd name="T108" fmla="*/ 5 w 45"/>
                    <a:gd name="T109" fmla="*/ 0 h 136"/>
                    <a:gd name="T110" fmla="*/ 5 w 45"/>
                    <a:gd name="T111" fmla="*/ 3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45" h="136">
                      <a:moveTo>
                        <a:pt x="6" y="4"/>
                      </a:moveTo>
                      <a:lnTo>
                        <a:pt x="7" y="6"/>
                      </a:lnTo>
                      <a:lnTo>
                        <a:pt x="8" y="7"/>
                      </a:lnTo>
                      <a:lnTo>
                        <a:pt x="11" y="8"/>
                      </a:lnTo>
                      <a:lnTo>
                        <a:pt x="10" y="9"/>
                      </a:lnTo>
                      <a:lnTo>
                        <a:pt x="8" y="14"/>
                      </a:lnTo>
                      <a:lnTo>
                        <a:pt x="9" y="15"/>
                      </a:lnTo>
                      <a:lnTo>
                        <a:pt x="12" y="18"/>
                      </a:lnTo>
                      <a:lnTo>
                        <a:pt x="12" y="20"/>
                      </a:lnTo>
                      <a:lnTo>
                        <a:pt x="12" y="23"/>
                      </a:lnTo>
                      <a:lnTo>
                        <a:pt x="12" y="24"/>
                      </a:lnTo>
                      <a:lnTo>
                        <a:pt x="12" y="25"/>
                      </a:lnTo>
                      <a:lnTo>
                        <a:pt x="8" y="29"/>
                      </a:lnTo>
                      <a:lnTo>
                        <a:pt x="8" y="32"/>
                      </a:lnTo>
                      <a:lnTo>
                        <a:pt x="9" y="35"/>
                      </a:lnTo>
                      <a:lnTo>
                        <a:pt x="9" y="38"/>
                      </a:lnTo>
                      <a:lnTo>
                        <a:pt x="10" y="40"/>
                      </a:lnTo>
                      <a:lnTo>
                        <a:pt x="8" y="42"/>
                      </a:lnTo>
                      <a:lnTo>
                        <a:pt x="10" y="45"/>
                      </a:lnTo>
                      <a:lnTo>
                        <a:pt x="9" y="46"/>
                      </a:lnTo>
                      <a:lnTo>
                        <a:pt x="8" y="47"/>
                      </a:lnTo>
                      <a:lnTo>
                        <a:pt x="9" y="49"/>
                      </a:lnTo>
                      <a:lnTo>
                        <a:pt x="9" y="51"/>
                      </a:lnTo>
                      <a:lnTo>
                        <a:pt x="11" y="52"/>
                      </a:lnTo>
                      <a:lnTo>
                        <a:pt x="12" y="53"/>
                      </a:lnTo>
                      <a:lnTo>
                        <a:pt x="10" y="54"/>
                      </a:lnTo>
                      <a:lnTo>
                        <a:pt x="9" y="55"/>
                      </a:lnTo>
                      <a:lnTo>
                        <a:pt x="7" y="56"/>
                      </a:lnTo>
                      <a:lnTo>
                        <a:pt x="4" y="59"/>
                      </a:lnTo>
                      <a:lnTo>
                        <a:pt x="4" y="61"/>
                      </a:lnTo>
                      <a:lnTo>
                        <a:pt x="4" y="63"/>
                      </a:lnTo>
                      <a:lnTo>
                        <a:pt x="4" y="65"/>
                      </a:lnTo>
                      <a:lnTo>
                        <a:pt x="4" y="66"/>
                      </a:lnTo>
                      <a:lnTo>
                        <a:pt x="4" y="69"/>
                      </a:lnTo>
                      <a:lnTo>
                        <a:pt x="2" y="72"/>
                      </a:lnTo>
                      <a:lnTo>
                        <a:pt x="0" y="73"/>
                      </a:lnTo>
                      <a:lnTo>
                        <a:pt x="1" y="74"/>
                      </a:lnTo>
                      <a:lnTo>
                        <a:pt x="2" y="77"/>
                      </a:lnTo>
                      <a:lnTo>
                        <a:pt x="4" y="80"/>
                      </a:lnTo>
                      <a:lnTo>
                        <a:pt x="4" y="82"/>
                      </a:lnTo>
                      <a:lnTo>
                        <a:pt x="8" y="81"/>
                      </a:lnTo>
                      <a:lnTo>
                        <a:pt x="8" y="83"/>
                      </a:lnTo>
                      <a:lnTo>
                        <a:pt x="9" y="84"/>
                      </a:lnTo>
                      <a:lnTo>
                        <a:pt x="10" y="86"/>
                      </a:lnTo>
                      <a:lnTo>
                        <a:pt x="11" y="88"/>
                      </a:lnTo>
                      <a:lnTo>
                        <a:pt x="13" y="90"/>
                      </a:lnTo>
                      <a:lnTo>
                        <a:pt x="14" y="89"/>
                      </a:lnTo>
                      <a:lnTo>
                        <a:pt x="15" y="89"/>
                      </a:lnTo>
                      <a:lnTo>
                        <a:pt x="17" y="87"/>
                      </a:lnTo>
                      <a:lnTo>
                        <a:pt x="20" y="87"/>
                      </a:lnTo>
                      <a:lnTo>
                        <a:pt x="23" y="89"/>
                      </a:lnTo>
                      <a:lnTo>
                        <a:pt x="25" y="91"/>
                      </a:lnTo>
                      <a:lnTo>
                        <a:pt x="25" y="96"/>
                      </a:lnTo>
                      <a:lnTo>
                        <a:pt x="25" y="100"/>
                      </a:lnTo>
                      <a:lnTo>
                        <a:pt x="22" y="104"/>
                      </a:lnTo>
                      <a:lnTo>
                        <a:pt x="21" y="107"/>
                      </a:lnTo>
                      <a:lnTo>
                        <a:pt x="19" y="111"/>
                      </a:lnTo>
                      <a:lnTo>
                        <a:pt x="19" y="114"/>
                      </a:lnTo>
                      <a:lnTo>
                        <a:pt x="21" y="117"/>
                      </a:lnTo>
                      <a:lnTo>
                        <a:pt x="21" y="120"/>
                      </a:lnTo>
                      <a:lnTo>
                        <a:pt x="23" y="123"/>
                      </a:lnTo>
                      <a:lnTo>
                        <a:pt x="26" y="126"/>
                      </a:lnTo>
                      <a:lnTo>
                        <a:pt x="28" y="128"/>
                      </a:lnTo>
                      <a:lnTo>
                        <a:pt x="29" y="129"/>
                      </a:lnTo>
                      <a:lnTo>
                        <a:pt x="31" y="132"/>
                      </a:lnTo>
                      <a:lnTo>
                        <a:pt x="30" y="134"/>
                      </a:lnTo>
                      <a:lnTo>
                        <a:pt x="31" y="136"/>
                      </a:lnTo>
                      <a:lnTo>
                        <a:pt x="33" y="135"/>
                      </a:lnTo>
                      <a:lnTo>
                        <a:pt x="34" y="132"/>
                      </a:lnTo>
                      <a:lnTo>
                        <a:pt x="33" y="128"/>
                      </a:lnTo>
                      <a:lnTo>
                        <a:pt x="35" y="125"/>
                      </a:lnTo>
                      <a:lnTo>
                        <a:pt x="35" y="122"/>
                      </a:lnTo>
                      <a:lnTo>
                        <a:pt x="36" y="118"/>
                      </a:lnTo>
                      <a:lnTo>
                        <a:pt x="40" y="117"/>
                      </a:lnTo>
                      <a:lnTo>
                        <a:pt x="41" y="114"/>
                      </a:lnTo>
                      <a:lnTo>
                        <a:pt x="42" y="112"/>
                      </a:lnTo>
                      <a:lnTo>
                        <a:pt x="42" y="106"/>
                      </a:lnTo>
                      <a:lnTo>
                        <a:pt x="41" y="104"/>
                      </a:lnTo>
                      <a:lnTo>
                        <a:pt x="41" y="102"/>
                      </a:lnTo>
                      <a:lnTo>
                        <a:pt x="40" y="101"/>
                      </a:lnTo>
                      <a:lnTo>
                        <a:pt x="41" y="100"/>
                      </a:lnTo>
                      <a:lnTo>
                        <a:pt x="43" y="100"/>
                      </a:lnTo>
                      <a:lnTo>
                        <a:pt x="43" y="98"/>
                      </a:lnTo>
                      <a:lnTo>
                        <a:pt x="45" y="97"/>
                      </a:lnTo>
                      <a:lnTo>
                        <a:pt x="45" y="95"/>
                      </a:lnTo>
                      <a:lnTo>
                        <a:pt x="44" y="93"/>
                      </a:lnTo>
                      <a:lnTo>
                        <a:pt x="43" y="89"/>
                      </a:lnTo>
                      <a:lnTo>
                        <a:pt x="40" y="83"/>
                      </a:lnTo>
                      <a:lnTo>
                        <a:pt x="39" y="81"/>
                      </a:lnTo>
                      <a:lnTo>
                        <a:pt x="33" y="75"/>
                      </a:lnTo>
                      <a:lnTo>
                        <a:pt x="33" y="75"/>
                      </a:lnTo>
                      <a:lnTo>
                        <a:pt x="31" y="73"/>
                      </a:lnTo>
                      <a:lnTo>
                        <a:pt x="29" y="71"/>
                      </a:lnTo>
                      <a:lnTo>
                        <a:pt x="25" y="68"/>
                      </a:lnTo>
                      <a:lnTo>
                        <a:pt x="22" y="52"/>
                      </a:lnTo>
                      <a:lnTo>
                        <a:pt x="23" y="49"/>
                      </a:lnTo>
                      <a:lnTo>
                        <a:pt x="23" y="21"/>
                      </a:lnTo>
                      <a:lnTo>
                        <a:pt x="22" y="14"/>
                      </a:lnTo>
                      <a:lnTo>
                        <a:pt x="18" y="7"/>
                      </a:lnTo>
                      <a:lnTo>
                        <a:pt x="16" y="6"/>
                      </a:lnTo>
                      <a:lnTo>
                        <a:pt x="15" y="5"/>
                      </a:lnTo>
                      <a:lnTo>
                        <a:pt x="14" y="4"/>
                      </a:lnTo>
                      <a:lnTo>
                        <a:pt x="13" y="4"/>
                      </a:lnTo>
                      <a:lnTo>
                        <a:pt x="12" y="3"/>
                      </a:lnTo>
                      <a:lnTo>
                        <a:pt x="11" y="2"/>
                      </a:lnTo>
                      <a:lnTo>
                        <a:pt x="10" y="3"/>
                      </a:lnTo>
                      <a:lnTo>
                        <a:pt x="9" y="2"/>
                      </a:lnTo>
                      <a:lnTo>
                        <a:pt x="7" y="1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3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60" name="Freeform 863">
                  <a:extLst>
                    <a:ext uri="{FF2B5EF4-FFF2-40B4-BE49-F238E27FC236}">
                      <a16:creationId xmlns:a16="http://schemas.microsoft.com/office/drawing/2014/main" id="{F0E71B14-7E07-4717-BA05-04CE62E31F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2" y="2946"/>
                  <a:ext cx="167" cy="170"/>
                </a:xfrm>
                <a:custGeom>
                  <a:avLst/>
                  <a:gdLst>
                    <a:gd name="T0" fmla="*/ 98 w 167"/>
                    <a:gd name="T1" fmla="*/ 25 h 170"/>
                    <a:gd name="T2" fmla="*/ 99 w 167"/>
                    <a:gd name="T3" fmla="*/ 31 h 170"/>
                    <a:gd name="T4" fmla="*/ 98 w 167"/>
                    <a:gd name="T5" fmla="*/ 41 h 170"/>
                    <a:gd name="T6" fmla="*/ 94 w 167"/>
                    <a:gd name="T7" fmla="*/ 48 h 170"/>
                    <a:gd name="T8" fmla="*/ 100 w 167"/>
                    <a:gd name="T9" fmla="*/ 69 h 170"/>
                    <a:gd name="T10" fmla="*/ 108 w 167"/>
                    <a:gd name="T11" fmla="*/ 73 h 170"/>
                    <a:gd name="T12" fmla="*/ 112 w 167"/>
                    <a:gd name="T13" fmla="*/ 70 h 170"/>
                    <a:gd name="T14" fmla="*/ 110 w 167"/>
                    <a:gd name="T15" fmla="*/ 88 h 170"/>
                    <a:gd name="T16" fmla="*/ 103 w 167"/>
                    <a:gd name="T17" fmla="*/ 89 h 170"/>
                    <a:gd name="T18" fmla="*/ 91 w 167"/>
                    <a:gd name="T19" fmla="*/ 75 h 170"/>
                    <a:gd name="T20" fmla="*/ 79 w 167"/>
                    <a:gd name="T21" fmla="*/ 66 h 170"/>
                    <a:gd name="T22" fmla="*/ 74 w 167"/>
                    <a:gd name="T23" fmla="*/ 58 h 170"/>
                    <a:gd name="T24" fmla="*/ 67 w 167"/>
                    <a:gd name="T25" fmla="*/ 67 h 170"/>
                    <a:gd name="T26" fmla="*/ 59 w 167"/>
                    <a:gd name="T27" fmla="*/ 65 h 170"/>
                    <a:gd name="T28" fmla="*/ 50 w 167"/>
                    <a:gd name="T29" fmla="*/ 60 h 170"/>
                    <a:gd name="T30" fmla="*/ 49 w 167"/>
                    <a:gd name="T31" fmla="*/ 51 h 170"/>
                    <a:gd name="T32" fmla="*/ 42 w 167"/>
                    <a:gd name="T33" fmla="*/ 54 h 170"/>
                    <a:gd name="T34" fmla="*/ 36 w 167"/>
                    <a:gd name="T35" fmla="*/ 55 h 170"/>
                    <a:gd name="T36" fmla="*/ 32 w 167"/>
                    <a:gd name="T37" fmla="*/ 50 h 170"/>
                    <a:gd name="T38" fmla="*/ 30 w 167"/>
                    <a:gd name="T39" fmla="*/ 52 h 170"/>
                    <a:gd name="T40" fmla="*/ 32 w 167"/>
                    <a:gd name="T41" fmla="*/ 72 h 170"/>
                    <a:gd name="T42" fmla="*/ 32 w 167"/>
                    <a:gd name="T43" fmla="*/ 83 h 170"/>
                    <a:gd name="T44" fmla="*/ 3 w 167"/>
                    <a:gd name="T45" fmla="*/ 144 h 170"/>
                    <a:gd name="T46" fmla="*/ 10 w 167"/>
                    <a:gd name="T47" fmla="*/ 154 h 170"/>
                    <a:gd name="T48" fmla="*/ 17 w 167"/>
                    <a:gd name="T49" fmla="*/ 161 h 170"/>
                    <a:gd name="T50" fmla="*/ 34 w 167"/>
                    <a:gd name="T51" fmla="*/ 161 h 170"/>
                    <a:gd name="T52" fmla="*/ 40 w 167"/>
                    <a:gd name="T53" fmla="*/ 162 h 170"/>
                    <a:gd name="T54" fmla="*/ 45 w 167"/>
                    <a:gd name="T55" fmla="*/ 165 h 170"/>
                    <a:gd name="T56" fmla="*/ 53 w 167"/>
                    <a:gd name="T57" fmla="*/ 169 h 170"/>
                    <a:gd name="T58" fmla="*/ 62 w 167"/>
                    <a:gd name="T59" fmla="*/ 167 h 170"/>
                    <a:gd name="T60" fmla="*/ 66 w 167"/>
                    <a:gd name="T61" fmla="*/ 169 h 170"/>
                    <a:gd name="T62" fmla="*/ 84 w 167"/>
                    <a:gd name="T63" fmla="*/ 151 h 170"/>
                    <a:gd name="T64" fmla="*/ 98 w 167"/>
                    <a:gd name="T65" fmla="*/ 141 h 170"/>
                    <a:gd name="T66" fmla="*/ 99 w 167"/>
                    <a:gd name="T67" fmla="*/ 133 h 170"/>
                    <a:gd name="T68" fmla="*/ 110 w 167"/>
                    <a:gd name="T69" fmla="*/ 127 h 170"/>
                    <a:gd name="T70" fmla="*/ 119 w 167"/>
                    <a:gd name="T71" fmla="*/ 129 h 170"/>
                    <a:gd name="T72" fmla="*/ 119 w 167"/>
                    <a:gd name="T73" fmla="*/ 121 h 170"/>
                    <a:gd name="T74" fmla="*/ 143 w 167"/>
                    <a:gd name="T75" fmla="*/ 108 h 170"/>
                    <a:gd name="T76" fmla="*/ 159 w 167"/>
                    <a:gd name="T77" fmla="*/ 102 h 170"/>
                    <a:gd name="T78" fmla="*/ 155 w 167"/>
                    <a:gd name="T79" fmla="*/ 93 h 170"/>
                    <a:gd name="T80" fmla="*/ 159 w 167"/>
                    <a:gd name="T81" fmla="*/ 85 h 170"/>
                    <a:gd name="T82" fmla="*/ 162 w 167"/>
                    <a:gd name="T83" fmla="*/ 76 h 170"/>
                    <a:gd name="T84" fmla="*/ 166 w 167"/>
                    <a:gd name="T85" fmla="*/ 72 h 170"/>
                    <a:gd name="T86" fmla="*/ 164 w 167"/>
                    <a:gd name="T87" fmla="*/ 66 h 170"/>
                    <a:gd name="T88" fmla="*/ 164 w 167"/>
                    <a:gd name="T89" fmla="*/ 58 h 170"/>
                    <a:gd name="T90" fmla="*/ 167 w 167"/>
                    <a:gd name="T91" fmla="*/ 45 h 170"/>
                    <a:gd name="T92" fmla="*/ 167 w 167"/>
                    <a:gd name="T93" fmla="*/ 38 h 170"/>
                    <a:gd name="T94" fmla="*/ 166 w 167"/>
                    <a:gd name="T95" fmla="*/ 28 h 170"/>
                    <a:gd name="T96" fmla="*/ 160 w 167"/>
                    <a:gd name="T97" fmla="*/ 23 h 170"/>
                    <a:gd name="T98" fmla="*/ 156 w 167"/>
                    <a:gd name="T99" fmla="*/ 17 h 170"/>
                    <a:gd name="T100" fmla="*/ 150 w 167"/>
                    <a:gd name="T101" fmla="*/ 12 h 170"/>
                    <a:gd name="T102" fmla="*/ 139 w 167"/>
                    <a:gd name="T103" fmla="*/ 6 h 170"/>
                    <a:gd name="T104" fmla="*/ 132 w 167"/>
                    <a:gd name="T105" fmla="*/ 3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67" h="170">
                      <a:moveTo>
                        <a:pt x="101" y="6"/>
                      </a:moveTo>
                      <a:lnTo>
                        <a:pt x="96" y="19"/>
                      </a:lnTo>
                      <a:lnTo>
                        <a:pt x="97" y="23"/>
                      </a:lnTo>
                      <a:lnTo>
                        <a:pt x="98" y="25"/>
                      </a:lnTo>
                      <a:lnTo>
                        <a:pt x="100" y="26"/>
                      </a:lnTo>
                      <a:lnTo>
                        <a:pt x="100" y="27"/>
                      </a:lnTo>
                      <a:lnTo>
                        <a:pt x="98" y="29"/>
                      </a:lnTo>
                      <a:lnTo>
                        <a:pt x="99" y="31"/>
                      </a:lnTo>
                      <a:lnTo>
                        <a:pt x="98" y="34"/>
                      </a:lnTo>
                      <a:lnTo>
                        <a:pt x="99" y="36"/>
                      </a:lnTo>
                      <a:lnTo>
                        <a:pt x="98" y="40"/>
                      </a:lnTo>
                      <a:lnTo>
                        <a:pt x="98" y="41"/>
                      </a:lnTo>
                      <a:lnTo>
                        <a:pt x="98" y="41"/>
                      </a:lnTo>
                      <a:lnTo>
                        <a:pt x="97" y="43"/>
                      </a:lnTo>
                      <a:lnTo>
                        <a:pt x="94" y="46"/>
                      </a:lnTo>
                      <a:lnTo>
                        <a:pt x="94" y="48"/>
                      </a:lnTo>
                      <a:lnTo>
                        <a:pt x="94" y="58"/>
                      </a:lnTo>
                      <a:lnTo>
                        <a:pt x="94" y="62"/>
                      </a:lnTo>
                      <a:lnTo>
                        <a:pt x="96" y="64"/>
                      </a:lnTo>
                      <a:lnTo>
                        <a:pt x="100" y="69"/>
                      </a:lnTo>
                      <a:lnTo>
                        <a:pt x="101" y="72"/>
                      </a:lnTo>
                      <a:lnTo>
                        <a:pt x="102" y="74"/>
                      </a:lnTo>
                      <a:lnTo>
                        <a:pt x="108" y="74"/>
                      </a:lnTo>
                      <a:lnTo>
                        <a:pt x="108" y="73"/>
                      </a:lnTo>
                      <a:lnTo>
                        <a:pt x="108" y="72"/>
                      </a:lnTo>
                      <a:lnTo>
                        <a:pt x="108" y="70"/>
                      </a:lnTo>
                      <a:lnTo>
                        <a:pt x="111" y="69"/>
                      </a:lnTo>
                      <a:lnTo>
                        <a:pt x="112" y="70"/>
                      </a:lnTo>
                      <a:lnTo>
                        <a:pt x="113" y="88"/>
                      </a:lnTo>
                      <a:lnTo>
                        <a:pt x="112" y="89"/>
                      </a:lnTo>
                      <a:lnTo>
                        <a:pt x="110" y="89"/>
                      </a:lnTo>
                      <a:lnTo>
                        <a:pt x="110" y="88"/>
                      </a:lnTo>
                      <a:lnTo>
                        <a:pt x="109" y="88"/>
                      </a:lnTo>
                      <a:lnTo>
                        <a:pt x="107" y="89"/>
                      </a:lnTo>
                      <a:lnTo>
                        <a:pt x="105" y="89"/>
                      </a:lnTo>
                      <a:lnTo>
                        <a:pt x="103" y="89"/>
                      </a:lnTo>
                      <a:lnTo>
                        <a:pt x="100" y="86"/>
                      </a:lnTo>
                      <a:lnTo>
                        <a:pt x="97" y="82"/>
                      </a:lnTo>
                      <a:lnTo>
                        <a:pt x="94" y="79"/>
                      </a:lnTo>
                      <a:lnTo>
                        <a:pt x="91" y="75"/>
                      </a:lnTo>
                      <a:lnTo>
                        <a:pt x="88" y="72"/>
                      </a:lnTo>
                      <a:lnTo>
                        <a:pt x="83" y="70"/>
                      </a:lnTo>
                      <a:lnTo>
                        <a:pt x="80" y="68"/>
                      </a:lnTo>
                      <a:lnTo>
                        <a:pt x="79" y="66"/>
                      </a:lnTo>
                      <a:lnTo>
                        <a:pt x="77" y="63"/>
                      </a:lnTo>
                      <a:lnTo>
                        <a:pt x="77" y="58"/>
                      </a:lnTo>
                      <a:lnTo>
                        <a:pt x="76" y="58"/>
                      </a:lnTo>
                      <a:lnTo>
                        <a:pt x="74" y="58"/>
                      </a:lnTo>
                      <a:lnTo>
                        <a:pt x="73" y="59"/>
                      </a:lnTo>
                      <a:lnTo>
                        <a:pt x="71" y="63"/>
                      </a:lnTo>
                      <a:lnTo>
                        <a:pt x="71" y="65"/>
                      </a:lnTo>
                      <a:lnTo>
                        <a:pt x="67" y="67"/>
                      </a:lnTo>
                      <a:lnTo>
                        <a:pt x="65" y="67"/>
                      </a:lnTo>
                      <a:lnTo>
                        <a:pt x="64" y="65"/>
                      </a:lnTo>
                      <a:lnTo>
                        <a:pt x="61" y="65"/>
                      </a:lnTo>
                      <a:lnTo>
                        <a:pt x="59" y="65"/>
                      </a:lnTo>
                      <a:lnTo>
                        <a:pt x="55" y="62"/>
                      </a:lnTo>
                      <a:lnTo>
                        <a:pt x="54" y="62"/>
                      </a:lnTo>
                      <a:lnTo>
                        <a:pt x="51" y="60"/>
                      </a:lnTo>
                      <a:lnTo>
                        <a:pt x="50" y="60"/>
                      </a:lnTo>
                      <a:lnTo>
                        <a:pt x="50" y="59"/>
                      </a:lnTo>
                      <a:lnTo>
                        <a:pt x="50" y="56"/>
                      </a:lnTo>
                      <a:lnTo>
                        <a:pt x="49" y="55"/>
                      </a:lnTo>
                      <a:lnTo>
                        <a:pt x="49" y="51"/>
                      </a:lnTo>
                      <a:lnTo>
                        <a:pt x="48" y="51"/>
                      </a:lnTo>
                      <a:lnTo>
                        <a:pt x="45" y="52"/>
                      </a:lnTo>
                      <a:lnTo>
                        <a:pt x="43" y="54"/>
                      </a:lnTo>
                      <a:lnTo>
                        <a:pt x="42" y="54"/>
                      </a:lnTo>
                      <a:lnTo>
                        <a:pt x="39" y="55"/>
                      </a:lnTo>
                      <a:lnTo>
                        <a:pt x="38" y="57"/>
                      </a:lnTo>
                      <a:lnTo>
                        <a:pt x="37" y="56"/>
                      </a:lnTo>
                      <a:lnTo>
                        <a:pt x="36" y="55"/>
                      </a:lnTo>
                      <a:lnTo>
                        <a:pt x="36" y="52"/>
                      </a:lnTo>
                      <a:lnTo>
                        <a:pt x="35" y="51"/>
                      </a:lnTo>
                      <a:lnTo>
                        <a:pt x="33" y="50"/>
                      </a:lnTo>
                      <a:lnTo>
                        <a:pt x="32" y="50"/>
                      </a:lnTo>
                      <a:lnTo>
                        <a:pt x="31" y="49"/>
                      </a:lnTo>
                      <a:lnTo>
                        <a:pt x="31" y="50"/>
                      </a:lnTo>
                      <a:lnTo>
                        <a:pt x="31" y="51"/>
                      </a:lnTo>
                      <a:lnTo>
                        <a:pt x="30" y="52"/>
                      </a:lnTo>
                      <a:lnTo>
                        <a:pt x="31" y="59"/>
                      </a:lnTo>
                      <a:lnTo>
                        <a:pt x="31" y="65"/>
                      </a:lnTo>
                      <a:lnTo>
                        <a:pt x="31" y="69"/>
                      </a:lnTo>
                      <a:lnTo>
                        <a:pt x="32" y="72"/>
                      </a:lnTo>
                      <a:lnTo>
                        <a:pt x="32" y="75"/>
                      </a:lnTo>
                      <a:lnTo>
                        <a:pt x="31" y="76"/>
                      </a:lnTo>
                      <a:lnTo>
                        <a:pt x="31" y="81"/>
                      </a:lnTo>
                      <a:lnTo>
                        <a:pt x="32" y="83"/>
                      </a:lnTo>
                      <a:lnTo>
                        <a:pt x="1" y="83"/>
                      </a:lnTo>
                      <a:lnTo>
                        <a:pt x="0" y="139"/>
                      </a:lnTo>
                      <a:lnTo>
                        <a:pt x="1" y="141"/>
                      </a:lnTo>
                      <a:lnTo>
                        <a:pt x="3" y="144"/>
                      </a:lnTo>
                      <a:lnTo>
                        <a:pt x="4" y="146"/>
                      </a:lnTo>
                      <a:lnTo>
                        <a:pt x="5" y="148"/>
                      </a:lnTo>
                      <a:lnTo>
                        <a:pt x="8" y="149"/>
                      </a:lnTo>
                      <a:lnTo>
                        <a:pt x="10" y="154"/>
                      </a:lnTo>
                      <a:lnTo>
                        <a:pt x="12" y="155"/>
                      </a:lnTo>
                      <a:lnTo>
                        <a:pt x="15" y="156"/>
                      </a:lnTo>
                      <a:lnTo>
                        <a:pt x="15" y="158"/>
                      </a:lnTo>
                      <a:lnTo>
                        <a:pt x="17" y="161"/>
                      </a:lnTo>
                      <a:lnTo>
                        <a:pt x="18" y="162"/>
                      </a:lnTo>
                      <a:lnTo>
                        <a:pt x="19" y="165"/>
                      </a:lnTo>
                      <a:lnTo>
                        <a:pt x="33" y="161"/>
                      </a:lnTo>
                      <a:lnTo>
                        <a:pt x="34" y="161"/>
                      </a:lnTo>
                      <a:lnTo>
                        <a:pt x="38" y="160"/>
                      </a:lnTo>
                      <a:lnTo>
                        <a:pt x="39" y="161"/>
                      </a:lnTo>
                      <a:lnTo>
                        <a:pt x="39" y="161"/>
                      </a:lnTo>
                      <a:lnTo>
                        <a:pt x="40" y="162"/>
                      </a:lnTo>
                      <a:lnTo>
                        <a:pt x="42" y="162"/>
                      </a:lnTo>
                      <a:lnTo>
                        <a:pt x="42" y="162"/>
                      </a:lnTo>
                      <a:lnTo>
                        <a:pt x="43" y="162"/>
                      </a:lnTo>
                      <a:lnTo>
                        <a:pt x="45" y="165"/>
                      </a:lnTo>
                      <a:lnTo>
                        <a:pt x="46" y="165"/>
                      </a:lnTo>
                      <a:lnTo>
                        <a:pt x="49" y="165"/>
                      </a:lnTo>
                      <a:lnTo>
                        <a:pt x="53" y="167"/>
                      </a:lnTo>
                      <a:lnTo>
                        <a:pt x="53" y="169"/>
                      </a:lnTo>
                      <a:lnTo>
                        <a:pt x="55" y="169"/>
                      </a:lnTo>
                      <a:lnTo>
                        <a:pt x="58" y="167"/>
                      </a:lnTo>
                      <a:lnTo>
                        <a:pt x="61" y="166"/>
                      </a:lnTo>
                      <a:lnTo>
                        <a:pt x="62" y="167"/>
                      </a:lnTo>
                      <a:lnTo>
                        <a:pt x="63" y="167"/>
                      </a:lnTo>
                      <a:lnTo>
                        <a:pt x="63" y="168"/>
                      </a:lnTo>
                      <a:lnTo>
                        <a:pt x="64" y="168"/>
                      </a:lnTo>
                      <a:lnTo>
                        <a:pt x="66" y="169"/>
                      </a:lnTo>
                      <a:lnTo>
                        <a:pt x="69" y="170"/>
                      </a:lnTo>
                      <a:lnTo>
                        <a:pt x="73" y="169"/>
                      </a:lnTo>
                      <a:lnTo>
                        <a:pt x="77" y="162"/>
                      </a:lnTo>
                      <a:lnTo>
                        <a:pt x="84" y="151"/>
                      </a:lnTo>
                      <a:lnTo>
                        <a:pt x="92" y="145"/>
                      </a:lnTo>
                      <a:lnTo>
                        <a:pt x="97" y="143"/>
                      </a:lnTo>
                      <a:lnTo>
                        <a:pt x="98" y="141"/>
                      </a:lnTo>
                      <a:lnTo>
                        <a:pt x="98" y="141"/>
                      </a:lnTo>
                      <a:lnTo>
                        <a:pt x="98" y="139"/>
                      </a:lnTo>
                      <a:lnTo>
                        <a:pt x="98" y="138"/>
                      </a:lnTo>
                      <a:lnTo>
                        <a:pt x="98" y="136"/>
                      </a:lnTo>
                      <a:lnTo>
                        <a:pt x="99" y="133"/>
                      </a:lnTo>
                      <a:lnTo>
                        <a:pt x="103" y="131"/>
                      </a:lnTo>
                      <a:lnTo>
                        <a:pt x="105" y="130"/>
                      </a:lnTo>
                      <a:lnTo>
                        <a:pt x="107" y="129"/>
                      </a:lnTo>
                      <a:lnTo>
                        <a:pt x="110" y="127"/>
                      </a:lnTo>
                      <a:lnTo>
                        <a:pt x="114" y="127"/>
                      </a:lnTo>
                      <a:lnTo>
                        <a:pt x="115" y="129"/>
                      </a:lnTo>
                      <a:lnTo>
                        <a:pt x="116" y="128"/>
                      </a:lnTo>
                      <a:lnTo>
                        <a:pt x="119" y="129"/>
                      </a:lnTo>
                      <a:lnTo>
                        <a:pt x="120" y="129"/>
                      </a:lnTo>
                      <a:lnTo>
                        <a:pt x="121" y="128"/>
                      </a:lnTo>
                      <a:lnTo>
                        <a:pt x="121" y="127"/>
                      </a:lnTo>
                      <a:lnTo>
                        <a:pt x="119" y="121"/>
                      </a:lnTo>
                      <a:lnTo>
                        <a:pt x="121" y="119"/>
                      </a:lnTo>
                      <a:lnTo>
                        <a:pt x="126" y="116"/>
                      </a:lnTo>
                      <a:lnTo>
                        <a:pt x="129" y="116"/>
                      </a:lnTo>
                      <a:lnTo>
                        <a:pt x="143" y="108"/>
                      </a:lnTo>
                      <a:lnTo>
                        <a:pt x="146" y="108"/>
                      </a:lnTo>
                      <a:lnTo>
                        <a:pt x="154" y="103"/>
                      </a:lnTo>
                      <a:lnTo>
                        <a:pt x="159" y="102"/>
                      </a:lnTo>
                      <a:lnTo>
                        <a:pt x="159" y="102"/>
                      </a:lnTo>
                      <a:lnTo>
                        <a:pt x="159" y="100"/>
                      </a:lnTo>
                      <a:lnTo>
                        <a:pt x="157" y="97"/>
                      </a:lnTo>
                      <a:lnTo>
                        <a:pt x="156" y="94"/>
                      </a:lnTo>
                      <a:lnTo>
                        <a:pt x="155" y="93"/>
                      </a:lnTo>
                      <a:lnTo>
                        <a:pt x="157" y="92"/>
                      </a:lnTo>
                      <a:lnTo>
                        <a:pt x="159" y="89"/>
                      </a:lnTo>
                      <a:lnTo>
                        <a:pt x="159" y="86"/>
                      </a:lnTo>
                      <a:lnTo>
                        <a:pt x="159" y="85"/>
                      </a:lnTo>
                      <a:lnTo>
                        <a:pt x="159" y="83"/>
                      </a:lnTo>
                      <a:lnTo>
                        <a:pt x="159" y="81"/>
                      </a:lnTo>
                      <a:lnTo>
                        <a:pt x="159" y="79"/>
                      </a:lnTo>
                      <a:lnTo>
                        <a:pt x="162" y="76"/>
                      </a:lnTo>
                      <a:lnTo>
                        <a:pt x="164" y="75"/>
                      </a:lnTo>
                      <a:lnTo>
                        <a:pt x="165" y="74"/>
                      </a:lnTo>
                      <a:lnTo>
                        <a:pt x="167" y="73"/>
                      </a:lnTo>
                      <a:lnTo>
                        <a:pt x="166" y="72"/>
                      </a:lnTo>
                      <a:lnTo>
                        <a:pt x="164" y="71"/>
                      </a:lnTo>
                      <a:lnTo>
                        <a:pt x="164" y="69"/>
                      </a:lnTo>
                      <a:lnTo>
                        <a:pt x="163" y="67"/>
                      </a:lnTo>
                      <a:lnTo>
                        <a:pt x="164" y="66"/>
                      </a:lnTo>
                      <a:lnTo>
                        <a:pt x="165" y="65"/>
                      </a:lnTo>
                      <a:lnTo>
                        <a:pt x="163" y="62"/>
                      </a:lnTo>
                      <a:lnTo>
                        <a:pt x="165" y="60"/>
                      </a:lnTo>
                      <a:lnTo>
                        <a:pt x="164" y="58"/>
                      </a:lnTo>
                      <a:lnTo>
                        <a:pt x="164" y="55"/>
                      </a:lnTo>
                      <a:lnTo>
                        <a:pt x="163" y="52"/>
                      </a:lnTo>
                      <a:lnTo>
                        <a:pt x="163" y="49"/>
                      </a:lnTo>
                      <a:lnTo>
                        <a:pt x="167" y="45"/>
                      </a:lnTo>
                      <a:lnTo>
                        <a:pt x="167" y="44"/>
                      </a:lnTo>
                      <a:lnTo>
                        <a:pt x="167" y="43"/>
                      </a:lnTo>
                      <a:lnTo>
                        <a:pt x="167" y="40"/>
                      </a:lnTo>
                      <a:lnTo>
                        <a:pt x="167" y="38"/>
                      </a:lnTo>
                      <a:lnTo>
                        <a:pt x="164" y="35"/>
                      </a:lnTo>
                      <a:lnTo>
                        <a:pt x="163" y="34"/>
                      </a:lnTo>
                      <a:lnTo>
                        <a:pt x="165" y="29"/>
                      </a:lnTo>
                      <a:lnTo>
                        <a:pt x="166" y="28"/>
                      </a:lnTo>
                      <a:lnTo>
                        <a:pt x="163" y="27"/>
                      </a:lnTo>
                      <a:lnTo>
                        <a:pt x="162" y="26"/>
                      </a:lnTo>
                      <a:lnTo>
                        <a:pt x="161" y="24"/>
                      </a:lnTo>
                      <a:lnTo>
                        <a:pt x="160" y="23"/>
                      </a:lnTo>
                      <a:lnTo>
                        <a:pt x="160" y="20"/>
                      </a:lnTo>
                      <a:lnTo>
                        <a:pt x="160" y="20"/>
                      </a:lnTo>
                      <a:lnTo>
                        <a:pt x="158" y="20"/>
                      </a:lnTo>
                      <a:lnTo>
                        <a:pt x="156" y="17"/>
                      </a:lnTo>
                      <a:lnTo>
                        <a:pt x="155" y="13"/>
                      </a:lnTo>
                      <a:lnTo>
                        <a:pt x="153" y="13"/>
                      </a:lnTo>
                      <a:lnTo>
                        <a:pt x="152" y="12"/>
                      </a:lnTo>
                      <a:lnTo>
                        <a:pt x="150" y="12"/>
                      </a:lnTo>
                      <a:lnTo>
                        <a:pt x="144" y="10"/>
                      </a:lnTo>
                      <a:lnTo>
                        <a:pt x="141" y="9"/>
                      </a:lnTo>
                      <a:lnTo>
                        <a:pt x="139" y="7"/>
                      </a:lnTo>
                      <a:lnTo>
                        <a:pt x="139" y="6"/>
                      </a:lnTo>
                      <a:lnTo>
                        <a:pt x="137" y="4"/>
                      </a:lnTo>
                      <a:lnTo>
                        <a:pt x="136" y="4"/>
                      </a:lnTo>
                      <a:lnTo>
                        <a:pt x="133" y="3"/>
                      </a:lnTo>
                      <a:lnTo>
                        <a:pt x="132" y="3"/>
                      </a:lnTo>
                      <a:lnTo>
                        <a:pt x="127" y="0"/>
                      </a:lnTo>
                      <a:lnTo>
                        <a:pt x="125" y="0"/>
                      </a:lnTo>
                      <a:lnTo>
                        <a:pt x="101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61" name="Freeform 864">
                  <a:extLst>
                    <a:ext uri="{FF2B5EF4-FFF2-40B4-BE49-F238E27FC236}">
                      <a16:creationId xmlns:a16="http://schemas.microsoft.com/office/drawing/2014/main" id="{3177370F-6104-4072-AFB1-978727FD9C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67" y="2906"/>
                  <a:ext cx="177" cy="210"/>
                </a:xfrm>
                <a:custGeom>
                  <a:avLst/>
                  <a:gdLst>
                    <a:gd name="T0" fmla="*/ 4 w 177"/>
                    <a:gd name="T1" fmla="*/ 196 h 210"/>
                    <a:gd name="T2" fmla="*/ 12 w 177"/>
                    <a:gd name="T3" fmla="*/ 196 h 210"/>
                    <a:gd name="T4" fmla="*/ 21 w 177"/>
                    <a:gd name="T5" fmla="*/ 191 h 210"/>
                    <a:gd name="T6" fmla="*/ 25 w 177"/>
                    <a:gd name="T7" fmla="*/ 192 h 210"/>
                    <a:gd name="T8" fmla="*/ 28 w 177"/>
                    <a:gd name="T9" fmla="*/ 196 h 210"/>
                    <a:gd name="T10" fmla="*/ 36 w 177"/>
                    <a:gd name="T11" fmla="*/ 199 h 210"/>
                    <a:gd name="T12" fmla="*/ 94 w 177"/>
                    <a:gd name="T13" fmla="*/ 198 h 210"/>
                    <a:gd name="T14" fmla="*/ 100 w 177"/>
                    <a:gd name="T15" fmla="*/ 205 h 210"/>
                    <a:gd name="T16" fmla="*/ 107 w 177"/>
                    <a:gd name="T17" fmla="*/ 207 h 210"/>
                    <a:gd name="T18" fmla="*/ 117 w 177"/>
                    <a:gd name="T19" fmla="*/ 207 h 210"/>
                    <a:gd name="T20" fmla="*/ 121 w 177"/>
                    <a:gd name="T21" fmla="*/ 205 h 210"/>
                    <a:gd name="T22" fmla="*/ 131 w 177"/>
                    <a:gd name="T23" fmla="*/ 209 h 210"/>
                    <a:gd name="T24" fmla="*/ 135 w 177"/>
                    <a:gd name="T25" fmla="*/ 209 h 210"/>
                    <a:gd name="T26" fmla="*/ 139 w 177"/>
                    <a:gd name="T27" fmla="*/ 210 h 210"/>
                    <a:gd name="T28" fmla="*/ 164 w 177"/>
                    <a:gd name="T29" fmla="*/ 205 h 210"/>
                    <a:gd name="T30" fmla="*/ 160 w 177"/>
                    <a:gd name="T31" fmla="*/ 196 h 210"/>
                    <a:gd name="T32" fmla="*/ 150 w 177"/>
                    <a:gd name="T33" fmla="*/ 188 h 210"/>
                    <a:gd name="T34" fmla="*/ 145 w 177"/>
                    <a:gd name="T35" fmla="*/ 179 h 210"/>
                    <a:gd name="T36" fmla="*/ 176 w 177"/>
                    <a:gd name="T37" fmla="*/ 116 h 210"/>
                    <a:gd name="T38" fmla="*/ 176 w 177"/>
                    <a:gd name="T39" fmla="*/ 105 h 210"/>
                    <a:gd name="T40" fmla="*/ 176 w 177"/>
                    <a:gd name="T41" fmla="*/ 90 h 210"/>
                    <a:gd name="T42" fmla="*/ 171 w 177"/>
                    <a:gd name="T43" fmla="*/ 90 h 210"/>
                    <a:gd name="T44" fmla="*/ 164 w 177"/>
                    <a:gd name="T45" fmla="*/ 92 h 210"/>
                    <a:gd name="T46" fmla="*/ 156 w 177"/>
                    <a:gd name="T47" fmla="*/ 90 h 210"/>
                    <a:gd name="T48" fmla="*/ 151 w 177"/>
                    <a:gd name="T49" fmla="*/ 92 h 210"/>
                    <a:gd name="T50" fmla="*/ 152 w 177"/>
                    <a:gd name="T51" fmla="*/ 86 h 210"/>
                    <a:gd name="T52" fmla="*/ 151 w 177"/>
                    <a:gd name="T53" fmla="*/ 77 h 210"/>
                    <a:gd name="T54" fmla="*/ 149 w 177"/>
                    <a:gd name="T55" fmla="*/ 69 h 210"/>
                    <a:gd name="T56" fmla="*/ 146 w 177"/>
                    <a:gd name="T57" fmla="*/ 64 h 210"/>
                    <a:gd name="T58" fmla="*/ 145 w 177"/>
                    <a:gd name="T59" fmla="*/ 57 h 210"/>
                    <a:gd name="T60" fmla="*/ 145 w 177"/>
                    <a:gd name="T61" fmla="*/ 44 h 210"/>
                    <a:gd name="T62" fmla="*/ 145 w 177"/>
                    <a:gd name="T63" fmla="*/ 35 h 210"/>
                    <a:gd name="T64" fmla="*/ 146 w 177"/>
                    <a:gd name="T65" fmla="*/ 25 h 210"/>
                    <a:gd name="T66" fmla="*/ 130 w 177"/>
                    <a:gd name="T67" fmla="*/ 18 h 210"/>
                    <a:gd name="T68" fmla="*/ 111 w 177"/>
                    <a:gd name="T69" fmla="*/ 24 h 210"/>
                    <a:gd name="T70" fmla="*/ 110 w 177"/>
                    <a:gd name="T71" fmla="*/ 36 h 210"/>
                    <a:gd name="T72" fmla="*/ 90 w 177"/>
                    <a:gd name="T73" fmla="*/ 36 h 210"/>
                    <a:gd name="T74" fmla="*/ 82 w 177"/>
                    <a:gd name="T75" fmla="*/ 30 h 210"/>
                    <a:gd name="T76" fmla="*/ 77 w 177"/>
                    <a:gd name="T77" fmla="*/ 22 h 210"/>
                    <a:gd name="T78" fmla="*/ 75 w 177"/>
                    <a:gd name="T79" fmla="*/ 11 h 210"/>
                    <a:gd name="T80" fmla="*/ 73 w 177"/>
                    <a:gd name="T81" fmla="*/ 4 h 210"/>
                    <a:gd name="T82" fmla="*/ 49 w 177"/>
                    <a:gd name="T83" fmla="*/ 0 h 210"/>
                    <a:gd name="T84" fmla="*/ 33 w 177"/>
                    <a:gd name="T85" fmla="*/ 1 h 210"/>
                    <a:gd name="T86" fmla="*/ 23 w 177"/>
                    <a:gd name="T87" fmla="*/ 0 h 210"/>
                    <a:gd name="T88" fmla="*/ 17 w 177"/>
                    <a:gd name="T89" fmla="*/ 2 h 210"/>
                    <a:gd name="T90" fmla="*/ 11 w 177"/>
                    <a:gd name="T91" fmla="*/ 6 h 210"/>
                    <a:gd name="T92" fmla="*/ 21 w 177"/>
                    <a:gd name="T93" fmla="*/ 34 h 210"/>
                    <a:gd name="T94" fmla="*/ 23 w 177"/>
                    <a:gd name="T95" fmla="*/ 57 h 210"/>
                    <a:gd name="T96" fmla="*/ 30 w 177"/>
                    <a:gd name="T97" fmla="*/ 81 h 210"/>
                    <a:gd name="T98" fmla="*/ 26 w 177"/>
                    <a:gd name="T99" fmla="*/ 115 h 210"/>
                    <a:gd name="T100" fmla="*/ 11 w 177"/>
                    <a:gd name="T101" fmla="*/ 133 h 210"/>
                    <a:gd name="T102" fmla="*/ 5 w 177"/>
                    <a:gd name="T103" fmla="*/ 159 h 210"/>
                    <a:gd name="T104" fmla="*/ 0 w 177"/>
                    <a:gd name="T105" fmla="*/ 182 h 210"/>
                    <a:gd name="T106" fmla="*/ 0 w 177"/>
                    <a:gd name="T107" fmla="*/ 198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77" h="210">
                      <a:moveTo>
                        <a:pt x="2" y="198"/>
                      </a:moveTo>
                      <a:lnTo>
                        <a:pt x="3" y="198"/>
                      </a:lnTo>
                      <a:lnTo>
                        <a:pt x="4" y="198"/>
                      </a:lnTo>
                      <a:lnTo>
                        <a:pt x="4" y="196"/>
                      </a:lnTo>
                      <a:lnTo>
                        <a:pt x="5" y="195"/>
                      </a:lnTo>
                      <a:lnTo>
                        <a:pt x="9" y="196"/>
                      </a:lnTo>
                      <a:lnTo>
                        <a:pt x="11" y="198"/>
                      </a:lnTo>
                      <a:lnTo>
                        <a:pt x="12" y="196"/>
                      </a:lnTo>
                      <a:lnTo>
                        <a:pt x="12" y="194"/>
                      </a:lnTo>
                      <a:lnTo>
                        <a:pt x="17" y="191"/>
                      </a:lnTo>
                      <a:lnTo>
                        <a:pt x="18" y="191"/>
                      </a:lnTo>
                      <a:lnTo>
                        <a:pt x="21" y="191"/>
                      </a:lnTo>
                      <a:lnTo>
                        <a:pt x="21" y="192"/>
                      </a:lnTo>
                      <a:lnTo>
                        <a:pt x="22" y="191"/>
                      </a:lnTo>
                      <a:lnTo>
                        <a:pt x="23" y="191"/>
                      </a:lnTo>
                      <a:lnTo>
                        <a:pt x="25" y="192"/>
                      </a:lnTo>
                      <a:lnTo>
                        <a:pt x="25" y="193"/>
                      </a:lnTo>
                      <a:lnTo>
                        <a:pt x="27" y="194"/>
                      </a:lnTo>
                      <a:lnTo>
                        <a:pt x="26" y="195"/>
                      </a:lnTo>
                      <a:lnTo>
                        <a:pt x="28" y="196"/>
                      </a:lnTo>
                      <a:lnTo>
                        <a:pt x="31" y="199"/>
                      </a:lnTo>
                      <a:lnTo>
                        <a:pt x="34" y="201"/>
                      </a:lnTo>
                      <a:lnTo>
                        <a:pt x="36" y="199"/>
                      </a:lnTo>
                      <a:lnTo>
                        <a:pt x="36" y="199"/>
                      </a:lnTo>
                      <a:lnTo>
                        <a:pt x="38" y="198"/>
                      </a:lnTo>
                      <a:lnTo>
                        <a:pt x="40" y="198"/>
                      </a:lnTo>
                      <a:lnTo>
                        <a:pt x="41" y="198"/>
                      </a:lnTo>
                      <a:lnTo>
                        <a:pt x="94" y="198"/>
                      </a:lnTo>
                      <a:lnTo>
                        <a:pt x="94" y="199"/>
                      </a:lnTo>
                      <a:lnTo>
                        <a:pt x="96" y="202"/>
                      </a:lnTo>
                      <a:lnTo>
                        <a:pt x="97" y="203"/>
                      </a:lnTo>
                      <a:lnTo>
                        <a:pt x="100" y="205"/>
                      </a:lnTo>
                      <a:lnTo>
                        <a:pt x="103" y="205"/>
                      </a:lnTo>
                      <a:lnTo>
                        <a:pt x="105" y="205"/>
                      </a:lnTo>
                      <a:lnTo>
                        <a:pt x="107" y="206"/>
                      </a:lnTo>
                      <a:lnTo>
                        <a:pt x="107" y="207"/>
                      </a:lnTo>
                      <a:lnTo>
                        <a:pt x="109" y="208"/>
                      </a:lnTo>
                      <a:lnTo>
                        <a:pt x="111" y="206"/>
                      </a:lnTo>
                      <a:lnTo>
                        <a:pt x="113" y="205"/>
                      </a:lnTo>
                      <a:lnTo>
                        <a:pt x="117" y="207"/>
                      </a:lnTo>
                      <a:lnTo>
                        <a:pt x="118" y="206"/>
                      </a:lnTo>
                      <a:lnTo>
                        <a:pt x="119" y="205"/>
                      </a:lnTo>
                      <a:lnTo>
                        <a:pt x="120" y="205"/>
                      </a:lnTo>
                      <a:lnTo>
                        <a:pt x="121" y="205"/>
                      </a:lnTo>
                      <a:lnTo>
                        <a:pt x="125" y="209"/>
                      </a:lnTo>
                      <a:lnTo>
                        <a:pt x="127" y="210"/>
                      </a:lnTo>
                      <a:lnTo>
                        <a:pt x="130" y="210"/>
                      </a:lnTo>
                      <a:lnTo>
                        <a:pt x="131" y="209"/>
                      </a:lnTo>
                      <a:lnTo>
                        <a:pt x="131" y="209"/>
                      </a:lnTo>
                      <a:lnTo>
                        <a:pt x="132" y="208"/>
                      </a:lnTo>
                      <a:lnTo>
                        <a:pt x="134" y="209"/>
                      </a:lnTo>
                      <a:lnTo>
                        <a:pt x="135" y="209"/>
                      </a:lnTo>
                      <a:lnTo>
                        <a:pt x="136" y="209"/>
                      </a:lnTo>
                      <a:lnTo>
                        <a:pt x="137" y="210"/>
                      </a:lnTo>
                      <a:lnTo>
                        <a:pt x="139" y="210"/>
                      </a:lnTo>
                      <a:lnTo>
                        <a:pt x="139" y="210"/>
                      </a:lnTo>
                      <a:lnTo>
                        <a:pt x="140" y="210"/>
                      </a:lnTo>
                      <a:lnTo>
                        <a:pt x="142" y="210"/>
                      </a:lnTo>
                      <a:lnTo>
                        <a:pt x="142" y="210"/>
                      </a:lnTo>
                      <a:lnTo>
                        <a:pt x="164" y="205"/>
                      </a:lnTo>
                      <a:lnTo>
                        <a:pt x="163" y="202"/>
                      </a:lnTo>
                      <a:lnTo>
                        <a:pt x="162" y="201"/>
                      </a:lnTo>
                      <a:lnTo>
                        <a:pt x="160" y="198"/>
                      </a:lnTo>
                      <a:lnTo>
                        <a:pt x="160" y="196"/>
                      </a:lnTo>
                      <a:lnTo>
                        <a:pt x="157" y="195"/>
                      </a:lnTo>
                      <a:lnTo>
                        <a:pt x="155" y="194"/>
                      </a:lnTo>
                      <a:lnTo>
                        <a:pt x="153" y="189"/>
                      </a:lnTo>
                      <a:lnTo>
                        <a:pt x="150" y="188"/>
                      </a:lnTo>
                      <a:lnTo>
                        <a:pt x="149" y="186"/>
                      </a:lnTo>
                      <a:lnTo>
                        <a:pt x="148" y="184"/>
                      </a:lnTo>
                      <a:lnTo>
                        <a:pt x="146" y="181"/>
                      </a:lnTo>
                      <a:lnTo>
                        <a:pt x="145" y="179"/>
                      </a:lnTo>
                      <a:lnTo>
                        <a:pt x="146" y="123"/>
                      </a:lnTo>
                      <a:lnTo>
                        <a:pt x="177" y="123"/>
                      </a:lnTo>
                      <a:lnTo>
                        <a:pt x="176" y="121"/>
                      </a:lnTo>
                      <a:lnTo>
                        <a:pt x="176" y="116"/>
                      </a:lnTo>
                      <a:lnTo>
                        <a:pt x="177" y="115"/>
                      </a:lnTo>
                      <a:lnTo>
                        <a:pt x="177" y="112"/>
                      </a:lnTo>
                      <a:lnTo>
                        <a:pt x="176" y="109"/>
                      </a:lnTo>
                      <a:lnTo>
                        <a:pt x="176" y="105"/>
                      </a:lnTo>
                      <a:lnTo>
                        <a:pt x="176" y="99"/>
                      </a:lnTo>
                      <a:lnTo>
                        <a:pt x="175" y="92"/>
                      </a:lnTo>
                      <a:lnTo>
                        <a:pt x="176" y="91"/>
                      </a:lnTo>
                      <a:lnTo>
                        <a:pt x="176" y="90"/>
                      </a:lnTo>
                      <a:lnTo>
                        <a:pt x="176" y="89"/>
                      </a:lnTo>
                      <a:lnTo>
                        <a:pt x="176" y="88"/>
                      </a:lnTo>
                      <a:lnTo>
                        <a:pt x="173" y="89"/>
                      </a:lnTo>
                      <a:lnTo>
                        <a:pt x="171" y="90"/>
                      </a:lnTo>
                      <a:lnTo>
                        <a:pt x="168" y="91"/>
                      </a:lnTo>
                      <a:lnTo>
                        <a:pt x="167" y="92"/>
                      </a:lnTo>
                      <a:lnTo>
                        <a:pt x="166" y="92"/>
                      </a:lnTo>
                      <a:lnTo>
                        <a:pt x="164" y="92"/>
                      </a:lnTo>
                      <a:lnTo>
                        <a:pt x="160" y="92"/>
                      </a:lnTo>
                      <a:lnTo>
                        <a:pt x="159" y="91"/>
                      </a:lnTo>
                      <a:lnTo>
                        <a:pt x="157" y="90"/>
                      </a:lnTo>
                      <a:lnTo>
                        <a:pt x="156" y="90"/>
                      </a:lnTo>
                      <a:lnTo>
                        <a:pt x="155" y="91"/>
                      </a:lnTo>
                      <a:lnTo>
                        <a:pt x="153" y="91"/>
                      </a:lnTo>
                      <a:lnTo>
                        <a:pt x="153" y="92"/>
                      </a:lnTo>
                      <a:lnTo>
                        <a:pt x="151" y="92"/>
                      </a:lnTo>
                      <a:lnTo>
                        <a:pt x="151" y="91"/>
                      </a:lnTo>
                      <a:lnTo>
                        <a:pt x="151" y="88"/>
                      </a:lnTo>
                      <a:lnTo>
                        <a:pt x="152" y="87"/>
                      </a:lnTo>
                      <a:lnTo>
                        <a:pt x="152" y="86"/>
                      </a:lnTo>
                      <a:lnTo>
                        <a:pt x="153" y="83"/>
                      </a:lnTo>
                      <a:lnTo>
                        <a:pt x="151" y="81"/>
                      </a:lnTo>
                      <a:lnTo>
                        <a:pt x="150" y="78"/>
                      </a:lnTo>
                      <a:lnTo>
                        <a:pt x="151" y="77"/>
                      </a:lnTo>
                      <a:lnTo>
                        <a:pt x="151" y="75"/>
                      </a:lnTo>
                      <a:lnTo>
                        <a:pt x="149" y="73"/>
                      </a:lnTo>
                      <a:lnTo>
                        <a:pt x="149" y="71"/>
                      </a:lnTo>
                      <a:lnTo>
                        <a:pt x="149" y="69"/>
                      </a:lnTo>
                      <a:lnTo>
                        <a:pt x="149" y="67"/>
                      </a:lnTo>
                      <a:lnTo>
                        <a:pt x="149" y="67"/>
                      </a:lnTo>
                      <a:lnTo>
                        <a:pt x="148" y="65"/>
                      </a:lnTo>
                      <a:lnTo>
                        <a:pt x="146" y="64"/>
                      </a:lnTo>
                      <a:lnTo>
                        <a:pt x="146" y="62"/>
                      </a:lnTo>
                      <a:lnTo>
                        <a:pt x="146" y="60"/>
                      </a:lnTo>
                      <a:lnTo>
                        <a:pt x="146" y="58"/>
                      </a:lnTo>
                      <a:lnTo>
                        <a:pt x="145" y="57"/>
                      </a:lnTo>
                      <a:lnTo>
                        <a:pt x="146" y="53"/>
                      </a:lnTo>
                      <a:lnTo>
                        <a:pt x="146" y="47"/>
                      </a:lnTo>
                      <a:lnTo>
                        <a:pt x="145" y="45"/>
                      </a:lnTo>
                      <a:lnTo>
                        <a:pt x="145" y="44"/>
                      </a:lnTo>
                      <a:lnTo>
                        <a:pt x="146" y="43"/>
                      </a:lnTo>
                      <a:lnTo>
                        <a:pt x="146" y="40"/>
                      </a:lnTo>
                      <a:lnTo>
                        <a:pt x="144" y="38"/>
                      </a:lnTo>
                      <a:lnTo>
                        <a:pt x="145" y="35"/>
                      </a:lnTo>
                      <a:lnTo>
                        <a:pt x="146" y="32"/>
                      </a:lnTo>
                      <a:lnTo>
                        <a:pt x="146" y="29"/>
                      </a:lnTo>
                      <a:lnTo>
                        <a:pt x="146" y="27"/>
                      </a:lnTo>
                      <a:lnTo>
                        <a:pt x="146" y="25"/>
                      </a:lnTo>
                      <a:lnTo>
                        <a:pt x="129" y="23"/>
                      </a:lnTo>
                      <a:lnTo>
                        <a:pt x="129" y="22"/>
                      </a:lnTo>
                      <a:lnTo>
                        <a:pt x="130" y="20"/>
                      </a:lnTo>
                      <a:lnTo>
                        <a:pt x="130" y="18"/>
                      </a:lnTo>
                      <a:lnTo>
                        <a:pt x="125" y="18"/>
                      </a:lnTo>
                      <a:lnTo>
                        <a:pt x="125" y="19"/>
                      </a:lnTo>
                      <a:lnTo>
                        <a:pt x="112" y="19"/>
                      </a:lnTo>
                      <a:lnTo>
                        <a:pt x="111" y="24"/>
                      </a:lnTo>
                      <a:lnTo>
                        <a:pt x="111" y="27"/>
                      </a:lnTo>
                      <a:lnTo>
                        <a:pt x="109" y="28"/>
                      </a:lnTo>
                      <a:lnTo>
                        <a:pt x="110" y="31"/>
                      </a:lnTo>
                      <a:lnTo>
                        <a:pt x="110" y="36"/>
                      </a:lnTo>
                      <a:lnTo>
                        <a:pt x="99" y="36"/>
                      </a:lnTo>
                      <a:lnTo>
                        <a:pt x="97" y="38"/>
                      </a:lnTo>
                      <a:lnTo>
                        <a:pt x="92" y="37"/>
                      </a:lnTo>
                      <a:lnTo>
                        <a:pt x="90" y="36"/>
                      </a:lnTo>
                      <a:lnTo>
                        <a:pt x="88" y="37"/>
                      </a:lnTo>
                      <a:lnTo>
                        <a:pt x="84" y="38"/>
                      </a:lnTo>
                      <a:lnTo>
                        <a:pt x="83" y="36"/>
                      </a:lnTo>
                      <a:lnTo>
                        <a:pt x="82" y="30"/>
                      </a:lnTo>
                      <a:lnTo>
                        <a:pt x="80" y="27"/>
                      </a:lnTo>
                      <a:lnTo>
                        <a:pt x="79" y="25"/>
                      </a:lnTo>
                      <a:lnTo>
                        <a:pt x="78" y="24"/>
                      </a:lnTo>
                      <a:lnTo>
                        <a:pt x="77" y="22"/>
                      </a:lnTo>
                      <a:lnTo>
                        <a:pt x="77" y="21"/>
                      </a:lnTo>
                      <a:lnTo>
                        <a:pt x="76" y="16"/>
                      </a:lnTo>
                      <a:lnTo>
                        <a:pt x="75" y="13"/>
                      </a:lnTo>
                      <a:lnTo>
                        <a:pt x="75" y="11"/>
                      </a:lnTo>
                      <a:lnTo>
                        <a:pt x="76" y="9"/>
                      </a:lnTo>
                      <a:lnTo>
                        <a:pt x="75" y="8"/>
                      </a:lnTo>
                      <a:lnTo>
                        <a:pt x="74" y="5"/>
                      </a:lnTo>
                      <a:lnTo>
                        <a:pt x="73" y="4"/>
                      </a:lnTo>
                      <a:lnTo>
                        <a:pt x="74" y="3"/>
                      </a:lnTo>
                      <a:lnTo>
                        <a:pt x="74" y="1"/>
                      </a:lnTo>
                      <a:lnTo>
                        <a:pt x="59" y="0"/>
                      </a:lnTo>
                      <a:lnTo>
                        <a:pt x="49" y="0"/>
                      </a:lnTo>
                      <a:lnTo>
                        <a:pt x="45" y="1"/>
                      </a:lnTo>
                      <a:lnTo>
                        <a:pt x="40" y="1"/>
                      </a:lnTo>
                      <a:lnTo>
                        <a:pt x="38" y="0"/>
                      </a:lnTo>
                      <a:lnTo>
                        <a:pt x="33" y="1"/>
                      </a:lnTo>
                      <a:lnTo>
                        <a:pt x="30" y="1"/>
                      </a:lnTo>
                      <a:lnTo>
                        <a:pt x="28" y="1"/>
                      </a:lnTo>
                      <a:lnTo>
                        <a:pt x="25" y="1"/>
                      </a:lnTo>
                      <a:lnTo>
                        <a:pt x="23" y="0"/>
                      </a:lnTo>
                      <a:lnTo>
                        <a:pt x="21" y="1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7" y="2"/>
                      </a:lnTo>
                      <a:lnTo>
                        <a:pt x="16" y="3"/>
                      </a:lnTo>
                      <a:lnTo>
                        <a:pt x="16" y="3"/>
                      </a:lnTo>
                      <a:lnTo>
                        <a:pt x="15" y="3"/>
                      </a:lnTo>
                      <a:lnTo>
                        <a:pt x="11" y="6"/>
                      </a:lnTo>
                      <a:lnTo>
                        <a:pt x="13" y="8"/>
                      </a:lnTo>
                      <a:lnTo>
                        <a:pt x="13" y="10"/>
                      </a:lnTo>
                      <a:lnTo>
                        <a:pt x="21" y="21"/>
                      </a:lnTo>
                      <a:lnTo>
                        <a:pt x="21" y="34"/>
                      </a:lnTo>
                      <a:lnTo>
                        <a:pt x="25" y="41"/>
                      </a:lnTo>
                      <a:lnTo>
                        <a:pt x="25" y="48"/>
                      </a:lnTo>
                      <a:lnTo>
                        <a:pt x="20" y="55"/>
                      </a:lnTo>
                      <a:lnTo>
                        <a:pt x="23" y="57"/>
                      </a:lnTo>
                      <a:lnTo>
                        <a:pt x="23" y="63"/>
                      </a:lnTo>
                      <a:lnTo>
                        <a:pt x="25" y="67"/>
                      </a:lnTo>
                      <a:lnTo>
                        <a:pt x="25" y="71"/>
                      </a:lnTo>
                      <a:lnTo>
                        <a:pt x="30" y="81"/>
                      </a:lnTo>
                      <a:lnTo>
                        <a:pt x="30" y="84"/>
                      </a:lnTo>
                      <a:lnTo>
                        <a:pt x="31" y="87"/>
                      </a:lnTo>
                      <a:lnTo>
                        <a:pt x="31" y="102"/>
                      </a:lnTo>
                      <a:lnTo>
                        <a:pt x="26" y="115"/>
                      </a:lnTo>
                      <a:lnTo>
                        <a:pt x="25" y="115"/>
                      </a:lnTo>
                      <a:lnTo>
                        <a:pt x="18" y="120"/>
                      </a:lnTo>
                      <a:lnTo>
                        <a:pt x="18" y="124"/>
                      </a:lnTo>
                      <a:lnTo>
                        <a:pt x="11" y="133"/>
                      </a:lnTo>
                      <a:lnTo>
                        <a:pt x="10" y="138"/>
                      </a:lnTo>
                      <a:lnTo>
                        <a:pt x="9" y="140"/>
                      </a:lnTo>
                      <a:lnTo>
                        <a:pt x="9" y="153"/>
                      </a:lnTo>
                      <a:lnTo>
                        <a:pt x="5" y="159"/>
                      </a:lnTo>
                      <a:lnTo>
                        <a:pt x="4" y="165"/>
                      </a:lnTo>
                      <a:lnTo>
                        <a:pt x="0" y="171"/>
                      </a:lnTo>
                      <a:lnTo>
                        <a:pt x="0" y="177"/>
                      </a:lnTo>
                      <a:lnTo>
                        <a:pt x="0" y="182"/>
                      </a:lnTo>
                      <a:lnTo>
                        <a:pt x="0" y="191"/>
                      </a:lnTo>
                      <a:lnTo>
                        <a:pt x="0" y="196"/>
                      </a:lnTo>
                      <a:lnTo>
                        <a:pt x="0" y="198"/>
                      </a:lnTo>
                      <a:lnTo>
                        <a:pt x="0" y="198"/>
                      </a:lnTo>
                      <a:lnTo>
                        <a:pt x="2" y="19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62" name="Freeform 865">
                  <a:extLst>
                    <a:ext uri="{FF2B5EF4-FFF2-40B4-BE49-F238E27FC236}">
                      <a16:creationId xmlns:a16="http://schemas.microsoft.com/office/drawing/2014/main" id="{2CD22CCC-3368-4108-990F-E0293D99E2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57" y="3073"/>
                  <a:ext cx="111" cy="121"/>
                </a:xfrm>
                <a:custGeom>
                  <a:avLst/>
                  <a:gdLst>
                    <a:gd name="T0" fmla="*/ 70 w 111"/>
                    <a:gd name="T1" fmla="*/ 2 h 121"/>
                    <a:gd name="T2" fmla="*/ 62 w 111"/>
                    <a:gd name="T3" fmla="*/ 2 h 121"/>
                    <a:gd name="T4" fmla="*/ 54 w 111"/>
                    <a:gd name="T5" fmla="*/ 6 h 121"/>
                    <a:gd name="T6" fmla="*/ 53 w 111"/>
                    <a:gd name="T7" fmla="*/ 12 h 121"/>
                    <a:gd name="T8" fmla="*/ 52 w 111"/>
                    <a:gd name="T9" fmla="*/ 16 h 121"/>
                    <a:gd name="T10" fmla="*/ 32 w 111"/>
                    <a:gd name="T11" fmla="*/ 35 h 121"/>
                    <a:gd name="T12" fmla="*/ 21 w 111"/>
                    <a:gd name="T13" fmla="*/ 42 h 121"/>
                    <a:gd name="T14" fmla="*/ 18 w 111"/>
                    <a:gd name="T15" fmla="*/ 40 h 121"/>
                    <a:gd name="T16" fmla="*/ 13 w 111"/>
                    <a:gd name="T17" fmla="*/ 40 h 121"/>
                    <a:gd name="T18" fmla="*/ 8 w 111"/>
                    <a:gd name="T19" fmla="*/ 40 h 121"/>
                    <a:gd name="T20" fmla="*/ 0 w 111"/>
                    <a:gd name="T21" fmla="*/ 38 h 121"/>
                    <a:gd name="T22" fmla="*/ 1 w 111"/>
                    <a:gd name="T23" fmla="*/ 42 h 121"/>
                    <a:gd name="T24" fmla="*/ 3 w 111"/>
                    <a:gd name="T25" fmla="*/ 46 h 121"/>
                    <a:gd name="T26" fmla="*/ 7 w 111"/>
                    <a:gd name="T27" fmla="*/ 51 h 121"/>
                    <a:gd name="T28" fmla="*/ 9 w 111"/>
                    <a:gd name="T29" fmla="*/ 56 h 121"/>
                    <a:gd name="T30" fmla="*/ 11 w 111"/>
                    <a:gd name="T31" fmla="*/ 63 h 121"/>
                    <a:gd name="T32" fmla="*/ 15 w 111"/>
                    <a:gd name="T33" fmla="*/ 67 h 121"/>
                    <a:gd name="T34" fmla="*/ 25 w 111"/>
                    <a:gd name="T35" fmla="*/ 79 h 121"/>
                    <a:gd name="T36" fmla="*/ 28 w 111"/>
                    <a:gd name="T37" fmla="*/ 83 h 121"/>
                    <a:gd name="T38" fmla="*/ 31 w 111"/>
                    <a:gd name="T39" fmla="*/ 87 h 121"/>
                    <a:gd name="T40" fmla="*/ 32 w 111"/>
                    <a:gd name="T41" fmla="*/ 94 h 121"/>
                    <a:gd name="T42" fmla="*/ 36 w 111"/>
                    <a:gd name="T43" fmla="*/ 102 h 121"/>
                    <a:gd name="T44" fmla="*/ 42 w 111"/>
                    <a:gd name="T45" fmla="*/ 105 h 121"/>
                    <a:gd name="T46" fmla="*/ 51 w 111"/>
                    <a:gd name="T47" fmla="*/ 109 h 121"/>
                    <a:gd name="T48" fmla="*/ 54 w 111"/>
                    <a:gd name="T49" fmla="*/ 112 h 121"/>
                    <a:gd name="T50" fmla="*/ 61 w 111"/>
                    <a:gd name="T51" fmla="*/ 114 h 121"/>
                    <a:gd name="T52" fmla="*/ 67 w 111"/>
                    <a:gd name="T53" fmla="*/ 118 h 121"/>
                    <a:gd name="T54" fmla="*/ 73 w 111"/>
                    <a:gd name="T55" fmla="*/ 119 h 121"/>
                    <a:gd name="T56" fmla="*/ 84 w 111"/>
                    <a:gd name="T57" fmla="*/ 121 h 121"/>
                    <a:gd name="T58" fmla="*/ 101 w 111"/>
                    <a:gd name="T59" fmla="*/ 95 h 121"/>
                    <a:gd name="T60" fmla="*/ 101 w 111"/>
                    <a:gd name="T61" fmla="*/ 86 h 121"/>
                    <a:gd name="T62" fmla="*/ 105 w 111"/>
                    <a:gd name="T63" fmla="*/ 81 h 121"/>
                    <a:gd name="T64" fmla="*/ 108 w 111"/>
                    <a:gd name="T65" fmla="*/ 73 h 121"/>
                    <a:gd name="T66" fmla="*/ 108 w 111"/>
                    <a:gd name="T67" fmla="*/ 66 h 121"/>
                    <a:gd name="T68" fmla="*/ 105 w 111"/>
                    <a:gd name="T69" fmla="*/ 59 h 121"/>
                    <a:gd name="T70" fmla="*/ 107 w 111"/>
                    <a:gd name="T71" fmla="*/ 52 h 121"/>
                    <a:gd name="T72" fmla="*/ 108 w 111"/>
                    <a:gd name="T73" fmla="*/ 49 h 121"/>
                    <a:gd name="T74" fmla="*/ 108 w 111"/>
                    <a:gd name="T75" fmla="*/ 38 h 121"/>
                    <a:gd name="T76" fmla="*/ 110 w 111"/>
                    <a:gd name="T77" fmla="*/ 32 h 121"/>
                    <a:gd name="T78" fmla="*/ 111 w 111"/>
                    <a:gd name="T79" fmla="*/ 24 h 121"/>
                    <a:gd name="T80" fmla="*/ 106 w 111"/>
                    <a:gd name="T81" fmla="*/ 19 h 121"/>
                    <a:gd name="T82" fmla="*/ 97 w 111"/>
                    <a:gd name="T83" fmla="*/ 16 h 121"/>
                    <a:gd name="T84" fmla="*/ 87 w 111"/>
                    <a:gd name="T85" fmla="*/ 8 h 121"/>
                    <a:gd name="T86" fmla="*/ 83 w 111"/>
                    <a:gd name="T87" fmla="*/ 8 h 121"/>
                    <a:gd name="T88" fmla="*/ 76 w 111"/>
                    <a:gd name="T89" fmla="*/ 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11" h="121">
                      <a:moveTo>
                        <a:pt x="74" y="2"/>
                      </a:moveTo>
                      <a:lnTo>
                        <a:pt x="71" y="1"/>
                      </a:lnTo>
                      <a:lnTo>
                        <a:pt x="70" y="2"/>
                      </a:lnTo>
                      <a:lnTo>
                        <a:pt x="69" y="0"/>
                      </a:lnTo>
                      <a:lnTo>
                        <a:pt x="65" y="0"/>
                      </a:lnTo>
                      <a:lnTo>
                        <a:pt x="62" y="2"/>
                      </a:lnTo>
                      <a:lnTo>
                        <a:pt x="60" y="3"/>
                      </a:lnTo>
                      <a:lnTo>
                        <a:pt x="58" y="4"/>
                      </a:lnTo>
                      <a:lnTo>
                        <a:pt x="54" y="6"/>
                      </a:lnTo>
                      <a:lnTo>
                        <a:pt x="53" y="9"/>
                      </a:lnTo>
                      <a:lnTo>
                        <a:pt x="53" y="11"/>
                      </a:lnTo>
                      <a:lnTo>
                        <a:pt x="53" y="12"/>
                      </a:lnTo>
                      <a:lnTo>
                        <a:pt x="53" y="14"/>
                      </a:lnTo>
                      <a:lnTo>
                        <a:pt x="53" y="14"/>
                      </a:lnTo>
                      <a:lnTo>
                        <a:pt x="52" y="16"/>
                      </a:lnTo>
                      <a:lnTo>
                        <a:pt x="47" y="18"/>
                      </a:lnTo>
                      <a:lnTo>
                        <a:pt x="39" y="24"/>
                      </a:lnTo>
                      <a:lnTo>
                        <a:pt x="32" y="35"/>
                      </a:lnTo>
                      <a:lnTo>
                        <a:pt x="28" y="42"/>
                      </a:lnTo>
                      <a:lnTo>
                        <a:pt x="24" y="43"/>
                      </a:lnTo>
                      <a:lnTo>
                        <a:pt x="21" y="42"/>
                      </a:lnTo>
                      <a:lnTo>
                        <a:pt x="19" y="41"/>
                      </a:lnTo>
                      <a:lnTo>
                        <a:pt x="18" y="41"/>
                      </a:lnTo>
                      <a:lnTo>
                        <a:pt x="18" y="40"/>
                      </a:lnTo>
                      <a:lnTo>
                        <a:pt x="17" y="40"/>
                      </a:lnTo>
                      <a:lnTo>
                        <a:pt x="16" y="39"/>
                      </a:lnTo>
                      <a:lnTo>
                        <a:pt x="13" y="40"/>
                      </a:lnTo>
                      <a:lnTo>
                        <a:pt x="10" y="42"/>
                      </a:lnTo>
                      <a:lnTo>
                        <a:pt x="8" y="42"/>
                      </a:lnTo>
                      <a:lnTo>
                        <a:pt x="8" y="40"/>
                      </a:lnTo>
                      <a:lnTo>
                        <a:pt x="4" y="38"/>
                      </a:lnTo>
                      <a:lnTo>
                        <a:pt x="1" y="38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1" y="40"/>
                      </a:lnTo>
                      <a:lnTo>
                        <a:pt x="1" y="42"/>
                      </a:lnTo>
                      <a:lnTo>
                        <a:pt x="1" y="42"/>
                      </a:lnTo>
                      <a:lnTo>
                        <a:pt x="1" y="45"/>
                      </a:lnTo>
                      <a:lnTo>
                        <a:pt x="3" y="46"/>
                      </a:lnTo>
                      <a:lnTo>
                        <a:pt x="4" y="48"/>
                      </a:lnTo>
                      <a:lnTo>
                        <a:pt x="5" y="49"/>
                      </a:lnTo>
                      <a:lnTo>
                        <a:pt x="7" y="51"/>
                      </a:lnTo>
                      <a:lnTo>
                        <a:pt x="7" y="52"/>
                      </a:lnTo>
                      <a:lnTo>
                        <a:pt x="8" y="53"/>
                      </a:lnTo>
                      <a:lnTo>
                        <a:pt x="9" y="56"/>
                      </a:lnTo>
                      <a:lnTo>
                        <a:pt x="10" y="59"/>
                      </a:lnTo>
                      <a:lnTo>
                        <a:pt x="11" y="61"/>
                      </a:lnTo>
                      <a:lnTo>
                        <a:pt x="11" y="63"/>
                      </a:lnTo>
                      <a:lnTo>
                        <a:pt x="13" y="65"/>
                      </a:lnTo>
                      <a:lnTo>
                        <a:pt x="14" y="65"/>
                      </a:lnTo>
                      <a:lnTo>
                        <a:pt x="15" y="67"/>
                      </a:lnTo>
                      <a:lnTo>
                        <a:pt x="19" y="74"/>
                      </a:lnTo>
                      <a:lnTo>
                        <a:pt x="22" y="76"/>
                      </a:lnTo>
                      <a:lnTo>
                        <a:pt x="25" y="79"/>
                      </a:lnTo>
                      <a:lnTo>
                        <a:pt x="25" y="80"/>
                      </a:lnTo>
                      <a:lnTo>
                        <a:pt x="28" y="81"/>
                      </a:lnTo>
                      <a:lnTo>
                        <a:pt x="28" y="83"/>
                      </a:lnTo>
                      <a:lnTo>
                        <a:pt x="28" y="83"/>
                      </a:lnTo>
                      <a:lnTo>
                        <a:pt x="28" y="85"/>
                      </a:lnTo>
                      <a:lnTo>
                        <a:pt x="31" y="87"/>
                      </a:lnTo>
                      <a:lnTo>
                        <a:pt x="32" y="88"/>
                      </a:lnTo>
                      <a:lnTo>
                        <a:pt x="32" y="90"/>
                      </a:lnTo>
                      <a:lnTo>
                        <a:pt x="32" y="94"/>
                      </a:lnTo>
                      <a:lnTo>
                        <a:pt x="33" y="97"/>
                      </a:lnTo>
                      <a:lnTo>
                        <a:pt x="34" y="100"/>
                      </a:lnTo>
                      <a:lnTo>
                        <a:pt x="36" y="102"/>
                      </a:lnTo>
                      <a:lnTo>
                        <a:pt x="38" y="105"/>
                      </a:lnTo>
                      <a:lnTo>
                        <a:pt x="41" y="106"/>
                      </a:lnTo>
                      <a:lnTo>
                        <a:pt x="42" y="105"/>
                      </a:lnTo>
                      <a:lnTo>
                        <a:pt x="46" y="107"/>
                      </a:lnTo>
                      <a:lnTo>
                        <a:pt x="48" y="107"/>
                      </a:lnTo>
                      <a:lnTo>
                        <a:pt x="51" y="109"/>
                      </a:lnTo>
                      <a:lnTo>
                        <a:pt x="53" y="109"/>
                      </a:lnTo>
                      <a:lnTo>
                        <a:pt x="54" y="111"/>
                      </a:lnTo>
                      <a:lnTo>
                        <a:pt x="54" y="112"/>
                      </a:lnTo>
                      <a:lnTo>
                        <a:pt x="55" y="114"/>
                      </a:lnTo>
                      <a:lnTo>
                        <a:pt x="56" y="115"/>
                      </a:lnTo>
                      <a:lnTo>
                        <a:pt x="61" y="114"/>
                      </a:lnTo>
                      <a:lnTo>
                        <a:pt x="64" y="115"/>
                      </a:lnTo>
                      <a:lnTo>
                        <a:pt x="65" y="118"/>
                      </a:lnTo>
                      <a:lnTo>
                        <a:pt x="67" y="118"/>
                      </a:lnTo>
                      <a:lnTo>
                        <a:pt x="70" y="119"/>
                      </a:lnTo>
                      <a:lnTo>
                        <a:pt x="71" y="120"/>
                      </a:lnTo>
                      <a:lnTo>
                        <a:pt x="73" y="119"/>
                      </a:lnTo>
                      <a:lnTo>
                        <a:pt x="77" y="118"/>
                      </a:lnTo>
                      <a:lnTo>
                        <a:pt x="82" y="120"/>
                      </a:lnTo>
                      <a:lnTo>
                        <a:pt x="84" y="121"/>
                      </a:lnTo>
                      <a:lnTo>
                        <a:pt x="100" y="103"/>
                      </a:lnTo>
                      <a:lnTo>
                        <a:pt x="100" y="97"/>
                      </a:lnTo>
                      <a:lnTo>
                        <a:pt x="101" y="95"/>
                      </a:lnTo>
                      <a:lnTo>
                        <a:pt x="101" y="90"/>
                      </a:lnTo>
                      <a:lnTo>
                        <a:pt x="102" y="88"/>
                      </a:lnTo>
                      <a:lnTo>
                        <a:pt x="101" y="86"/>
                      </a:lnTo>
                      <a:lnTo>
                        <a:pt x="101" y="83"/>
                      </a:lnTo>
                      <a:lnTo>
                        <a:pt x="104" y="83"/>
                      </a:lnTo>
                      <a:lnTo>
                        <a:pt x="105" y="81"/>
                      </a:lnTo>
                      <a:lnTo>
                        <a:pt x="107" y="78"/>
                      </a:lnTo>
                      <a:lnTo>
                        <a:pt x="109" y="75"/>
                      </a:lnTo>
                      <a:lnTo>
                        <a:pt x="108" y="73"/>
                      </a:lnTo>
                      <a:lnTo>
                        <a:pt x="107" y="71"/>
                      </a:lnTo>
                      <a:lnTo>
                        <a:pt x="107" y="68"/>
                      </a:lnTo>
                      <a:lnTo>
                        <a:pt x="108" y="66"/>
                      </a:lnTo>
                      <a:lnTo>
                        <a:pt x="108" y="64"/>
                      </a:lnTo>
                      <a:lnTo>
                        <a:pt x="105" y="62"/>
                      </a:lnTo>
                      <a:lnTo>
                        <a:pt x="105" y="59"/>
                      </a:lnTo>
                      <a:lnTo>
                        <a:pt x="107" y="59"/>
                      </a:lnTo>
                      <a:lnTo>
                        <a:pt x="107" y="55"/>
                      </a:lnTo>
                      <a:lnTo>
                        <a:pt x="107" y="52"/>
                      </a:lnTo>
                      <a:lnTo>
                        <a:pt x="109" y="50"/>
                      </a:lnTo>
                      <a:lnTo>
                        <a:pt x="111" y="48"/>
                      </a:lnTo>
                      <a:lnTo>
                        <a:pt x="108" y="49"/>
                      </a:lnTo>
                      <a:lnTo>
                        <a:pt x="107" y="47"/>
                      </a:lnTo>
                      <a:lnTo>
                        <a:pt x="108" y="44"/>
                      </a:lnTo>
                      <a:lnTo>
                        <a:pt x="108" y="38"/>
                      </a:lnTo>
                      <a:lnTo>
                        <a:pt x="110" y="36"/>
                      </a:lnTo>
                      <a:lnTo>
                        <a:pt x="110" y="34"/>
                      </a:lnTo>
                      <a:lnTo>
                        <a:pt x="110" y="32"/>
                      </a:lnTo>
                      <a:lnTo>
                        <a:pt x="110" y="30"/>
                      </a:lnTo>
                      <a:lnTo>
                        <a:pt x="110" y="27"/>
                      </a:lnTo>
                      <a:lnTo>
                        <a:pt x="111" y="24"/>
                      </a:lnTo>
                      <a:lnTo>
                        <a:pt x="111" y="21"/>
                      </a:lnTo>
                      <a:lnTo>
                        <a:pt x="108" y="21"/>
                      </a:lnTo>
                      <a:lnTo>
                        <a:pt x="106" y="19"/>
                      </a:lnTo>
                      <a:lnTo>
                        <a:pt x="104" y="17"/>
                      </a:lnTo>
                      <a:lnTo>
                        <a:pt x="99" y="16"/>
                      </a:lnTo>
                      <a:lnTo>
                        <a:pt x="97" y="16"/>
                      </a:lnTo>
                      <a:lnTo>
                        <a:pt x="94" y="12"/>
                      </a:lnTo>
                      <a:lnTo>
                        <a:pt x="91" y="9"/>
                      </a:lnTo>
                      <a:lnTo>
                        <a:pt x="87" y="8"/>
                      </a:lnTo>
                      <a:lnTo>
                        <a:pt x="85" y="10"/>
                      </a:lnTo>
                      <a:lnTo>
                        <a:pt x="84" y="10"/>
                      </a:lnTo>
                      <a:lnTo>
                        <a:pt x="83" y="8"/>
                      </a:lnTo>
                      <a:lnTo>
                        <a:pt x="81" y="8"/>
                      </a:lnTo>
                      <a:lnTo>
                        <a:pt x="76" y="7"/>
                      </a:lnTo>
                      <a:lnTo>
                        <a:pt x="76" y="1"/>
                      </a:lnTo>
                      <a:lnTo>
                        <a:pt x="75" y="2"/>
                      </a:lnTo>
                      <a:lnTo>
                        <a:pt x="74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63" name="Freeform 866">
                  <a:extLst>
                    <a:ext uri="{FF2B5EF4-FFF2-40B4-BE49-F238E27FC236}">
                      <a16:creationId xmlns:a16="http://schemas.microsoft.com/office/drawing/2014/main" id="{E064FBCE-3435-44C1-B3E0-9B4FAF0D0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81" y="3111"/>
                  <a:ext cx="132" cy="159"/>
                </a:xfrm>
                <a:custGeom>
                  <a:avLst/>
                  <a:gdLst>
                    <a:gd name="T0" fmla="*/ 129 w 132"/>
                    <a:gd name="T1" fmla="*/ 71 h 159"/>
                    <a:gd name="T2" fmla="*/ 122 w 132"/>
                    <a:gd name="T3" fmla="*/ 69 h 159"/>
                    <a:gd name="T4" fmla="*/ 114 w 132"/>
                    <a:gd name="T5" fmla="*/ 67 h 159"/>
                    <a:gd name="T6" fmla="*/ 109 w 132"/>
                    <a:gd name="T7" fmla="*/ 59 h 159"/>
                    <a:gd name="T8" fmla="*/ 108 w 132"/>
                    <a:gd name="T9" fmla="*/ 50 h 159"/>
                    <a:gd name="T10" fmla="*/ 104 w 132"/>
                    <a:gd name="T11" fmla="*/ 45 h 159"/>
                    <a:gd name="T12" fmla="*/ 101 w 132"/>
                    <a:gd name="T13" fmla="*/ 42 h 159"/>
                    <a:gd name="T14" fmla="*/ 95 w 132"/>
                    <a:gd name="T15" fmla="*/ 36 h 159"/>
                    <a:gd name="T16" fmla="*/ 89 w 132"/>
                    <a:gd name="T17" fmla="*/ 27 h 159"/>
                    <a:gd name="T18" fmla="*/ 86 w 132"/>
                    <a:gd name="T19" fmla="*/ 21 h 159"/>
                    <a:gd name="T20" fmla="*/ 83 w 132"/>
                    <a:gd name="T21" fmla="*/ 14 h 159"/>
                    <a:gd name="T22" fmla="*/ 80 w 132"/>
                    <a:gd name="T23" fmla="*/ 10 h 159"/>
                    <a:gd name="T24" fmla="*/ 77 w 132"/>
                    <a:gd name="T25" fmla="*/ 4 h 159"/>
                    <a:gd name="T26" fmla="*/ 76 w 132"/>
                    <a:gd name="T27" fmla="*/ 0 h 159"/>
                    <a:gd name="T28" fmla="*/ 73 w 132"/>
                    <a:gd name="T29" fmla="*/ 1 h 159"/>
                    <a:gd name="T30" fmla="*/ 65 w 132"/>
                    <a:gd name="T31" fmla="*/ 4 h 159"/>
                    <a:gd name="T32" fmla="*/ 58 w 132"/>
                    <a:gd name="T33" fmla="*/ 7 h 159"/>
                    <a:gd name="T34" fmla="*/ 50 w 132"/>
                    <a:gd name="T35" fmla="*/ 14 h 159"/>
                    <a:gd name="T36" fmla="*/ 50 w 132"/>
                    <a:gd name="T37" fmla="*/ 10 h 159"/>
                    <a:gd name="T38" fmla="*/ 48 w 132"/>
                    <a:gd name="T39" fmla="*/ 7 h 159"/>
                    <a:gd name="T40" fmla="*/ 28 w 132"/>
                    <a:gd name="T41" fmla="*/ 13 h 159"/>
                    <a:gd name="T42" fmla="*/ 2 w 132"/>
                    <a:gd name="T43" fmla="*/ 73 h 159"/>
                    <a:gd name="T44" fmla="*/ 0 w 132"/>
                    <a:gd name="T45" fmla="*/ 128 h 159"/>
                    <a:gd name="T46" fmla="*/ 6 w 132"/>
                    <a:gd name="T47" fmla="*/ 136 h 159"/>
                    <a:gd name="T48" fmla="*/ 7 w 132"/>
                    <a:gd name="T49" fmla="*/ 155 h 159"/>
                    <a:gd name="T50" fmla="*/ 14 w 132"/>
                    <a:gd name="T51" fmla="*/ 159 h 159"/>
                    <a:gd name="T52" fmla="*/ 23 w 132"/>
                    <a:gd name="T53" fmla="*/ 157 h 159"/>
                    <a:gd name="T54" fmla="*/ 29 w 132"/>
                    <a:gd name="T55" fmla="*/ 151 h 159"/>
                    <a:gd name="T56" fmla="*/ 39 w 132"/>
                    <a:gd name="T57" fmla="*/ 139 h 159"/>
                    <a:gd name="T58" fmla="*/ 51 w 132"/>
                    <a:gd name="T59" fmla="*/ 135 h 159"/>
                    <a:gd name="T60" fmla="*/ 59 w 132"/>
                    <a:gd name="T61" fmla="*/ 141 h 159"/>
                    <a:gd name="T62" fmla="*/ 66 w 132"/>
                    <a:gd name="T63" fmla="*/ 141 h 159"/>
                    <a:gd name="T64" fmla="*/ 73 w 132"/>
                    <a:gd name="T65" fmla="*/ 142 h 159"/>
                    <a:gd name="T66" fmla="*/ 77 w 132"/>
                    <a:gd name="T67" fmla="*/ 139 h 159"/>
                    <a:gd name="T68" fmla="*/ 80 w 132"/>
                    <a:gd name="T69" fmla="*/ 132 h 159"/>
                    <a:gd name="T70" fmla="*/ 84 w 132"/>
                    <a:gd name="T71" fmla="*/ 124 h 159"/>
                    <a:gd name="T72" fmla="*/ 88 w 132"/>
                    <a:gd name="T73" fmla="*/ 121 h 159"/>
                    <a:gd name="T74" fmla="*/ 92 w 132"/>
                    <a:gd name="T75" fmla="*/ 116 h 159"/>
                    <a:gd name="T76" fmla="*/ 97 w 132"/>
                    <a:gd name="T77" fmla="*/ 114 h 159"/>
                    <a:gd name="T78" fmla="*/ 96 w 132"/>
                    <a:gd name="T79" fmla="*/ 105 h 159"/>
                    <a:gd name="T80" fmla="*/ 103 w 132"/>
                    <a:gd name="T81" fmla="*/ 98 h 159"/>
                    <a:gd name="T82" fmla="*/ 107 w 132"/>
                    <a:gd name="T83" fmla="*/ 93 h 159"/>
                    <a:gd name="T84" fmla="*/ 113 w 132"/>
                    <a:gd name="T85" fmla="*/ 88 h 159"/>
                    <a:gd name="T86" fmla="*/ 118 w 132"/>
                    <a:gd name="T87" fmla="*/ 87 h 159"/>
                    <a:gd name="T88" fmla="*/ 125 w 132"/>
                    <a:gd name="T89" fmla="*/ 85 h 159"/>
                    <a:gd name="T90" fmla="*/ 127 w 132"/>
                    <a:gd name="T91" fmla="*/ 79 h 159"/>
                    <a:gd name="T92" fmla="*/ 132 w 132"/>
                    <a:gd name="T93" fmla="*/ 77 h 1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32" h="159">
                      <a:moveTo>
                        <a:pt x="130" y="74"/>
                      </a:moveTo>
                      <a:lnTo>
                        <a:pt x="130" y="73"/>
                      </a:lnTo>
                      <a:lnTo>
                        <a:pt x="129" y="71"/>
                      </a:lnTo>
                      <a:lnTo>
                        <a:pt x="127" y="71"/>
                      </a:lnTo>
                      <a:lnTo>
                        <a:pt x="124" y="69"/>
                      </a:lnTo>
                      <a:lnTo>
                        <a:pt x="122" y="69"/>
                      </a:lnTo>
                      <a:lnTo>
                        <a:pt x="118" y="67"/>
                      </a:lnTo>
                      <a:lnTo>
                        <a:pt x="117" y="68"/>
                      </a:lnTo>
                      <a:lnTo>
                        <a:pt x="114" y="67"/>
                      </a:lnTo>
                      <a:lnTo>
                        <a:pt x="112" y="64"/>
                      </a:lnTo>
                      <a:lnTo>
                        <a:pt x="110" y="62"/>
                      </a:lnTo>
                      <a:lnTo>
                        <a:pt x="109" y="59"/>
                      </a:lnTo>
                      <a:lnTo>
                        <a:pt x="108" y="56"/>
                      </a:lnTo>
                      <a:lnTo>
                        <a:pt x="108" y="52"/>
                      </a:lnTo>
                      <a:lnTo>
                        <a:pt x="108" y="50"/>
                      </a:lnTo>
                      <a:lnTo>
                        <a:pt x="107" y="49"/>
                      </a:lnTo>
                      <a:lnTo>
                        <a:pt x="104" y="47"/>
                      </a:lnTo>
                      <a:lnTo>
                        <a:pt x="104" y="45"/>
                      </a:lnTo>
                      <a:lnTo>
                        <a:pt x="104" y="45"/>
                      </a:lnTo>
                      <a:lnTo>
                        <a:pt x="104" y="43"/>
                      </a:lnTo>
                      <a:lnTo>
                        <a:pt x="101" y="42"/>
                      </a:lnTo>
                      <a:lnTo>
                        <a:pt x="101" y="41"/>
                      </a:lnTo>
                      <a:lnTo>
                        <a:pt x="98" y="38"/>
                      </a:lnTo>
                      <a:lnTo>
                        <a:pt x="95" y="36"/>
                      </a:lnTo>
                      <a:lnTo>
                        <a:pt x="91" y="29"/>
                      </a:lnTo>
                      <a:lnTo>
                        <a:pt x="90" y="27"/>
                      </a:lnTo>
                      <a:lnTo>
                        <a:pt x="89" y="27"/>
                      </a:lnTo>
                      <a:lnTo>
                        <a:pt x="87" y="25"/>
                      </a:lnTo>
                      <a:lnTo>
                        <a:pt x="87" y="23"/>
                      </a:lnTo>
                      <a:lnTo>
                        <a:pt x="86" y="21"/>
                      </a:lnTo>
                      <a:lnTo>
                        <a:pt x="85" y="18"/>
                      </a:lnTo>
                      <a:lnTo>
                        <a:pt x="84" y="15"/>
                      </a:lnTo>
                      <a:lnTo>
                        <a:pt x="83" y="14"/>
                      </a:lnTo>
                      <a:lnTo>
                        <a:pt x="83" y="13"/>
                      </a:lnTo>
                      <a:lnTo>
                        <a:pt x="81" y="11"/>
                      </a:lnTo>
                      <a:lnTo>
                        <a:pt x="80" y="10"/>
                      </a:lnTo>
                      <a:lnTo>
                        <a:pt x="79" y="8"/>
                      </a:lnTo>
                      <a:lnTo>
                        <a:pt x="77" y="7"/>
                      </a:lnTo>
                      <a:lnTo>
                        <a:pt x="77" y="4"/>
                      </a:lnTo>
                      <a:lnTo>
                        <a:pt x="77" y="4"/>
                      </a:lnTo>
                      <a:lnTo>
                        <a:pt x="77" y="2"/>
                      </a:lnTo>
                      <a:lnTo>
                        <a:pt x="76" y="0"/>
                      </a:lnTo>
                      <a:lnTo>
                        <a:pt x="76" y="0"/>
                      </a:lnTo>
                      <a:lnTo>
                        <a:pt x="76" y="0"/>
                      </a:lnTo>
                      <a:lnTo>
                        <a:pt x="73" y="1"/>
                      </a:lnTo>
                      <a:lnTo>
                        <a:pt x="69" y="3"/>
                      </a:lnTo>
                      <a:lnTo>
                        <a:pt x="66" y="4"/>
                      </a:lnTo>
                      <a:lnTo>
                        <a:pt x="65" y="4"/>
                      </a:lnTo>
                      <a:lnTo>
                        <a:pt x="64" y="3"/>
                      </a:lnTo>
                      <a:lnTo>
                        <a:pt x="61" y="4"/>
                      </a:lnTo>
                      <a:lnTo>
                        <a:pt x="58" y="7"/>
                      </a:lnTo>
                      <a:lnTo>
                        <a:pt x="56" y="11"/>
                      </a:lnTo>
                      <a:lnTo>
                        <a:pt x="51" y="15"/>
                      </a:lnTo>
                      <a:lnTo>
                        <a:pt x="50" y="14"/>
                      </a:lnTo>
                      <a:lnTo>
                        <a:pt x="50" y="12"/>
                      </a:lnTo>
                      <a:lnTo>
                        <a:pt x="51" y="11"/>
                      </a:lnTo>
                      <a:lnTo>
                        <a:pt x="50" y="10"/>
                      </a:lnTo>
                      <a:lnTo>
                        <a:pt x="49" y="7"/>
                      </a:lnTo>
                      <a:lnTo>
                        <a:pt x="48" y="7"/>
                      </a:lnTo>
                      <a:lnTo>
                        <a:pt x="48" y="7"/>
                      </a:lnTo>
                      <a:lnTo>
                        <a:pt x="46" y="7"/>
                      </a:lnTo>
                      <a:lnTo>
                        <a:pt x="42" y="9"/>
                      </a:lnTo>
                      <a:lnTo>
                        <a:pt x="28" y="13"/>
                      </a:lnTo>
                      <a:lnTo>
                        <a:pt x="18" y="12"/>
                      </a:lnTo>
                      <a:lnTo>
                        <a:pt x="14" y="73"/>
                      </a:lnTo>
                      <a:lnTo>
                        <a:pt x="2" y="73"/>
                      </a:lnTo>
                      <a:lnTo>
                        <a:pt x="0" y="127"/>
                      </a:lnTo>
                      <a:lnTo>
                        <a:pt x="0" y="128"/>
                      </a:lnTo>
                      <a:lnTo>
                        <a:pt x="0" y="128"/>
                      </a:lnTo>
                      <a:lnTo>
                        <a:pt x="0" y="127"/>
                      </a:lnTo>
                      <a:lnTo>
                        <a:pt x="4" y="131"/>
                      </a:lnTo>
                      <a:lnTo>
                        <a:pt x="6" y="136"/>
                      </a:lnTo>
                      <a:lnTo>
                        <a:pt x="10" y="145"/>
                      </a:lnTo>
                      <a:lnTo>
                        <a:pt x="9" y="150"/>
                      </a:lnTo>
                      <a:lnTo>
                        <a:pt x="7" y="155"/>
                      </a:lnTo>
                      <a:lnTo>
                        <a:pt x="7" y="159"/>
                      </a:lnTo>
                      <a:lnTo>
                        <a:pt x="11" y="159"/>
                      </a:lnTo>
                      <a:lnTo>
                        <a:pt x="14" y="159"/>
                      </a:lnTo>
                      <a:lnTo>
                        <a:pt x="17" y="158"/>
                      </a:lnTo>
                      <a:lnTo>
                        <a:pt x="21" y="159"/>
                      </a:lnTo>
                      <a:lnTo>
                        <a:pt x="23" y="157"/>
                      </a:lnTo>
                      <a:lnTo>
                        <a:pt x="25" y="155"/>
                      </a:lnTo>
                      <a:lnTo>
                        <a:pt x="28" y="153"/>
                      </a:lnTo>
                      <a:lnTo>
                        <a:pt x="29" y="151"/>
                      </a:lnTo>
                      <a:lnTo>
                        <a:pt x="34" y="149"/>
                      </a:lnTo>
                      <a:lnTo>
                        <a:pt x="37" y="145"/>
                      </a:lnTo>
                      <a:lnTo>
                        <a:pt x="39" y="139"/>
                      </a:lnTo>
                      <a:lnTo>
                        <a:pt x="42" y="135"/>
                      </a:lnTo>
                      <a:lnTo>
                        <a:pt x="46" y="135"/>
                      </a:lnTo>
                      <a:lnTo>
                        <a:pt x="51" y="135"/>
                      </a:lnTo>
                      <a:lnTo>
                        <a:pt x="53" y="138"/>
                      </a:lnTo>
                      <a:lnTo>
                        <a:pt x="54" y="138"/>
                      </a:lnTo>
                      <a:lnTo>
                        <a:pt x="59" y="141"/>
                      </a:lnTo>
                      <a:lnTo>
                        <a:pt x="61" y="141"/>
                      </a:lnTo>
                      <a:lnTo>
                        <a:pt x="64" y="142"/>
                      </a:lnTo>
                      <a:lnTo>
                        <a:pt x="66" y="141"/>
                      </a:lnTo>
                      <a:lnTo>
                        <a:pt x="70" y="141"/>
                      </a:lnTo>
                      <a:lnTo>
                        <a:pt x="73" y="141"/>
                      </a:lnTo>
                      <a:lnTo>
                        <a:pt x="73" y="142"/>
                      </a:lnTo>
                      <a:lnTo>
                        <a:pt x="75" y="143"/>
                      </a:lnTo>
                      <a:lnTo>
                        <a:pt x="78" y="141"/>
                      </a:lnTo>
                      <a:lnTo>
                        <a:pt x="77" y="139"/>
                      </a:lnTo>
                      <a:lnTo>
                        <a:pt x="78" y="136"/>
                      </a:lnTo>
                      <a:lnTo>
                        <a:pt x="78" y="134"/>
                      </a:lnTo>
                      <a:lnTo>
                        <a:pt x="80" y="132"/>
                      </a:lnTo>
                      <a:lnTo>
                        <a:pt x="80" y="128"/>
                      </a:lnTo>
                      <a:lnTo>
                        <a:pt x="80" y="125"/>
                      </a:lnTo>
                      <a:lnTo>
                        <a:pt x="84" y="124"/>
                      </a:lnTo>
                      <a:lnTo>
                        <a:pt x="86" y="123"/>
                      </a:lnTo>
                      <a:lnTo>
                        <a:pt x="87" y="122"/>
                      </a:lnTo>
                      <a:lnTo>
                        <a:pt x="88" y="121"/>
                      </a:lnTo>
                      <a:lnTo>
                        <a:pt x="89" y="121"/>
                      </a:lnTo>
                      <a:lnTo>
                        <a:pt x="90" y="118"/>
                      </a:lnTo>
                      <a:lnTo>
                        <a:pt x="92" y="116"/>
                      </a:lnTo>
                      <a:lnTo>
                        <a:pt x="94" y="115"/>
                      </a:lnTo>
                      <a:lnTo>
                        <a:pt x="94" y="114"/>
                      </a:lnTo>
                      <a:lnTo>
                        <a:pt x="97" y="114"/>
                      </a:lnTo>
                      <a:lnTo>
                        <a:pt x="97" y="111"/>
                      </a:lnTo>
                      <a:lnTo>
                        <a:pt x="96" y="110"/>
                      </a:lnTo>
                      <a:lnTo>
                        <a:pt x="96" y="105"/>
                      </a:lnTo>
                      <a:lnTo>
                        <a:pt x="100" y="100"/>
                      </a:lnTo>
                      <a:lnTo>
                        <a:pt x="102" y="98"/>
                      </a:lnTo>
                      <a:lnTo>
                        <a:pt x="103" y="98"/>
                      </a:lnTo>
                      <a:lnTo>
                        <a:pt x="104" y="96"/>
                      </a:lnTo>
                      <a:lnTo>
                        <a:pt x="107" y="95"/>
                      </a:lnTo>
                      <a:lnTo>
                        <a:pt x="107" y="93"/>
                      </a:lnTo>
                      <a:lnTo>
                        <a:pt x="109" y="93"/>
                      </a:lnTo>
                      <a:lnTo>
                        <a:pt x="110" y="91"/>
                      </a:lnTo>
                      <a:lnTo>
                        <a:pt x="113" y="88"/>
                      </a:lnTo>
                      <a:lnTo>
                        <a:pt x="116" y="87"/>
                      </a:lnTo>
                      <a:lnTo>
                        <a:pt x="117" y="88"/>
                      </a:lnTo>
                      <a:lnTo>
                        <a:pt x="118" y="87"/>
                      </a:lnTo>
                      <a:lnTo>
                        <a:pt x="121" y="87"/>
                      </a:lnTo>
                      <a:lnTo>
                        <a:pt x="122" y="85"/>
                      </a:lnTo>
                      <a:lnTo>
                        <a:pt x="125" y="85"/>
                      </a:lnTo>
                      <a:lnTo>
                        <a:pt x="125" y="82"/>
                      </a:lnTo>
                      <a:lnTo>
                        <a:pt x="125" y="80"/>
                      </a:lnTo>
                      <a:lnTo>
                        <a:pt x="127" y="79"/>
                      </a:lnTo>
                      <a:lnTo>
                        <a:pt x="129" y="79"/>
                      </a:lnTo>
                      <a:lnTo>
                        <a:pt x="130" y="77"/>
                      </a:lnTo>
                      <a:lnTo>
                        <a:pt x="132" y="77"/>
                      </a:lnTo>
                      <a:lnTo>
                        <a:pt x="131" y="76"/>
                      </a:lnTo>
                      <a:lnTo>
                        <a:pt x="130" y="7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64" name="Freeform 867">
                  <a:extLst>
                    <a:ext uri="{FF2B5EF4-FFF2-40B4-BE49-F238E27FC236}">
                      <a16:creationId xmlns:a16="http://schemas.microsoft.com/office/drawing/2014/main" id="{1DEB105C-7B6C-44A3-809F-B58F1BD8E4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67" y="3097"/>
                  <a:ext cx="190" cy="214"/>
                </a:xfrm>
                <a:custGeom>
                  <a:avLst/>
                  <a:gdLst>
                    <a:gd name="T0" fmla="*/ 66 w 190"/>
                    <a:gd name="T1" fmla="*/ 201 h 214"/>
                    <a:gd name="T2" fmla="*/ 72 w 190"/>
                    <a:gd name="T3" fmla="*/ 200 h 214"/>
                    <a:gd name="T4" fmla="*/ 76 w 190"/>
                    <a:gd name="T5" fmla="*/ 209 h 214"/>
                    <a:gd name="T6" fmla="*/ 86 w 190"/>
                    <a:gd name="T7" fmla="*/ 211 h 214"/>
                    <a:gd name="T8" fmla="*/ 90 w 190"/>
                    <a:gd name="T9" fmla="*/ 211 h 214"/>
                    <a:gd name="T10" fmla="*/ 96 w 190"/>
                    <a:gd name="T11" fmla="*/ 213 h 214"/>
                    <a:gd name="T12" fmla="*/ 99 w 190"/>
                    <a:gd name="T13" fmla="*/ 209 h 214"/>
                    <a:gd name="T14" fmla="*/ 106 w 190"/>
                    <a:gd name="T15" fmla="*/ 202 h 214"/>
                    <a:gd name="T16" fmla="*/ 114 w 190"/>
                    <a:gd name="T17" fmla="*/ 142 h 214"/>
                    <a:gd name="T18" fmla="*/ 116 w 190"/>
                    <a:gd name="T19" fmla="*/ 87 h 214"/>
                    <a:gd name="T20" fmla="*/ 142 w 190"/>
                    <a:gd name="T21" fmla="*/ 27 h 214"/>
                    <a:gd name="T22" fmla="*/ 162 w 190"/>
                    <a:gd name="T23" fmla="*/ 21 h 214"/>
                    <a:gd name="T24" fmla="*/ 164 w 190"/>
                    <a:gd name="T25" fmla="*/ 24 h 214"/>
                    <a:gd name="T26" fmla="*/ 164 w 190"/>
                    <a:gd name="T27" fmla="*/ 28 h 214"/>
                    <a:gd name="T28" fmla="*/ 172 w 190"/>
                    <a:gd name="T29" fmla="*/ 21 h 214"/>
                    <a:gd name="T30" fmla="*/ 179 w 190"/>
                    <a:gd name="T31" fmla="*/ 18 h 214"/>
                    <a:gd name="T32" fmla="*/ 187 w 190"/>
                    <a:gd name="T33" fmla="*/ 15 h 214"/>
                    <a:gd name="T34" fmla="*/ 187 w 190"/>
                    <a:gd name="T35" fmla="*/ 11 h 214"/>
                    <a:gd name="T36" fmla="*/ 184 w 190"/>
                    <a:gd name="T37" fmla="*/ 10 h 214"/>
                    <a:gd name="T38" fmla="*/ 179 w 190"/>
                    <a:gd name="T39" fmla="*/ 10 h 214"/>
                    <a:gd name="T40" fmla="*/ 142 w 190"/>
                    <a:gd name="T41" fmla="*/ 19 h 214"/>
                    <a:gd name="T42" fmla="*/ 139 w 190"/>
                    <a:gd name="T43" fmla="*/ 19 h 214"/>
                    <a:gd name="T44" fmla="*/ 136 w 190"/>
                    <a:gd name="T45" fmla="*/ 18 h 214"/>
                    <a:gd name="T46" fmla="*/ 132 w 190"/>
                    <a:gd name="T47" fmla="*/ 17 h 214"/>
                    <a:gd name="T48" fmla="*/ 130 w 190"/>
                    <a:gd name="T49" fmla="*/ 19 h 214"/>
                    <a:gd name="T50" fmla="*/ 121 w 190"/>
                    <a:gd name="T51" fmla="*/ 14 h 214"/>
                    <a:gd name="T52" fmla="*/ 118 w 190"/>
                    <a:gd name="T53" fmla="*/ 15 h 214"/>
                    <a:gd name="T54" fmla="*/ 111 w 190"/>
                    <a:gd name="T55" fmla="*/ 15 h 214"/>
                    <a:gd name="T56" fmla="*/ 107 w 190"/>
                    <a:gd name="T57" fmla="*/ 15 h 214"/>
                    <a:gd name="T58" fmla="*/ 100 w 190"/>
                    <a:gd name="T59" fmla="*/ 14 h 214"/>
                    <a:gd name="T60" fmla="*/ 94 w 190"/>
                    <a:gd name="T61" fmla="*/ 8 h 214"/>
                    <a:gd name="T62" fmla="*/ 40 w 190"/>
                    <a:gd name="T63" fmla="*/ 7 h 214"/>
                    <a:gd name="T64" fmla="*/ 36 w 190"/>
                    <a:gd name="T65" fmla="*/ 8 h 214"/>
                    <a:gd name="T66" fmla="*/ 28 w 190"/>
                    <a:gd name="T67" fmla="*/ 5 h 214"/>
                    <a:gd name="T68" fmla="*/ 25 w 190"/>
                    <a:gd name="T69" fmla="*/ 2 h 214"/>
                    <a:gd name="T70" fmla="*/ 22 w 190"/>
                    <a:gd name="T71" fmla="*/ 0 h 214"/>
                    <a:gd name="T72" fmla="*/ 18 w 190"/>
                    <a:gd name="T73" fmla="*/ 0 h 214"/>
                    <a:gd name="T74" fmla="*/ 12 w 190"/>
                    <a:gd name="T75" fmla="*/ 5 h 214"/>
                    <a:gd name="T76" fmla="*/ 5 w 190"/>
                    <a:gd name="T77" fmla="*/ 4 h 214"/>
                    <a:gd name="T78" fmla="*/ 3 w 190"/>
                    <a:gd name="T79" fmla="*/ 7 h 214"/>
                    <a:gd name="T80" fmla="*/ 0 w 190"/>
                    <a:gd name="T81" fmla="*/ 7 h 214"/>
                    <a:gd name="T82" fmla="*/ 14 w 190"/>
                    <a:gd name="T83" fmla="*/ 41 h 214"/>
                    <a:gd name="T84" fmla="*/ 28 w 190"/>
                    <a:gd name="T85" fmla="*/ 79 h 214"/>
                    <a:gd name="T86" fmla="*/ 36 w 190"/>
                    <a:gd name="T87" fmla="*/ 104 h 214"/>
                    <a:gd name="T88" fmla="*/ 37 w 190"/>
                    <a:gd name="T89" fmla="*/ 127 h 214"/>
                    <a:gd name="T90" fmla="*/ 42 w 190"/>
                    <a:gd name="T91" fmla="*/ 152 h 214"/>
                    <a:gd name="T92" fmla="*/ 42 w 190"/>
                    <a:gd name="T93" fmla="*/ 165 h 214"/>
                    <a:gd name="T94" fmla="*/ 44 w 190"/>
                    <a:gd name="T95" fmla="*/ 170 h 214"/>
                    <a:gd name="T96" fmla="*/ 46 w 190"/>
                    <a:gd name="T97" fmla="*/ 183 h 214"/>
                    <a:gd name="T98" fmla="*/ 56 w 190"/>
                    <a:gd name="T99" fmla="*/ 200 h 214"/>
                    <a:gd name="T100" fmla="*/ 63 w 190"/>
                    <a:gd name="T101" fmla="*/ 205 h 2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90" h="214">
                      <a:moveTo>
                        <a:pt x="66" y="204"/>
                      </a:moveTo>
                      <a:lnTo>
                        <a:pt x="66" y="202"/>
                      </a:lnTo>
                      <a:lnTo>
                        <a:pt x="66" y="201"/>
                      </a:lnTo>
                      <a:lnTo>
                        <a:pt x="67" y="198"/>
                      </a:lnTo>
                      <a:lnTo>
                        <a:pt x="70" y="197"/>
                      </a:lnTo>
                      <a:lnTo>
                        <a:pt x="72" y="200"/>
                      </a:lnTo>
                      <a:lnTo>
                        <a:pt x="75" y="201"/>
                      </a:lnTo>
                      <a:lnTo>
                        <a:pt x="73" y="204"/>
                      </a:lnTo>
                      <a:lnTo>
                        <a:pt x="76" y="209"/>
                      </a:lnTo>
                      <a:lnTo>
                        <a:pt x="80" y="210"/>
                      </a:lnTo>
                      <a:lnTo>
                        <a:pt x="83" y="212"/>
                      </a:lnTo>
                      <a:lnTo>
                        <a:pt x="86" y="211"/>
                      </a:lnTo>
                      <a:lnTo>
                        <a:pt x="87" y="212"/>
                      </a:lnTo>
                      <a:lnTo>
                        <a:pt x="90" y="213"/>
                      </a:lnTo>
                      <a:lnTo>
                        <a:pt x="90" y="211"/>
                      </a:lnTo>
                      <a:lnTo>
                        <a:pt x="93" y="211"/>
                      </a:lnTo>
                      <a:lnTo>
                        <a:pt x="94" y="214"/>
                      </a:lnTo>
                      <a:lnTo>
                        <a:pt x="96" y="213"/>
                      </a:lnTo>
                      <a:lnTo>
                        <a:pt x="97" y="214"/>
                      </a:lnTo>
                      <a:lnTo>
                        <a:pt x="98" y="210"/>
                      </a:lnTo>
                      <a:lnTo>
                        <a:pt x="99" y="209"/>
                      </a:lnTo>
                      <a:lnTo>
                        <a:pt x="101" y="208"/>
                      </a:lnTo>
                      <a:lnTo>
                        <a:pt x="102" y="204"/>
                      </a:lnTo>
                      <a:lnTo>
                        <a:pt x="106" y="202"/>
                      </a:lnTo>
                      <a:lnTo>
                        <a:pt x="111" y="203"/>
                      </a:lnTo>
                      <a:lnTo>
                        <a:pt x="112" y="203"/>
                      </a:lnTo>
                      <a:lnTo>
                        <a:pt x="114" y="142"/>
                      </a:lnTo>
                      <a:lnTo>
                        <a:pt x="114" y="142"/>
                      </a:lnTo>
                      <a:lnTo>
                        <a:pt x="114" y="141"/>
                      </a:lnTo>
                      <a:lnTo>
                        <a:pt x="116" y="87"/>
                      </a:lnTo>
                      <a:lnTo>
                        <a:pt x="128" y="87"/>
                      </a:lnTo>
                      <a:lnTo>
                        <a:pt x="132" y="26"/>
                      </a:lnTo>
                      <a:lnTo>
                        <a:pt x="142" y="27"/>
                      </a:lnTo>
                      <a:lnTo>
                        <a:pt x="156" y="23"/>
                      </a:lnTo>
                      <a:lnTo>
                        <a:pt x="160" y="21"/>
                      </a:lnTo>
                      <a:lnTo>
                        <a:pt x="162" y="21"/>
                      </a:lnTo>
                      <a:lnTo>
                        <a:pt x="162" y="21"/>
                      </a:lnTo>
                      <a:lnTo>
                        <a:pt x="163" y="21"/>
                      </a:lnTo>
                      <a:lnTo>
                        <a:pt x="164" y="24"/>
                      </a:lnTo>
                      <a:lnTo>
                        <a:pt x="165" y="25"/>
                      </a:lnTo>
                      <a:lnTo>
                        <a:pt x="164" y="26"/>
                      </a:lnTo>
                      <a:lnTo>
                        <a:pt x="164" y="28"/>
                      </a:lnTo>
                      <a:lnTo>
                        <a:pt x="165" y="29"/>
                      </a:lnTo>
                      <a:lnTo>
                        <a:pt x="170" y="25"/>
                      </a:lnTo>
                      <a:lnTo>
                        <a:pt x="172" y="21"/>
                      </a:lnTo>
                      <a:lnTo>
                        <a:pt x="175" y="18"/>
                      </a:lnTo>
                      <a:lnTo>
                        <a:pt x="178" y="17"/>
                      </a:lnTo>
                      <a:lnTo>
                        <a:pt x="179" y="18"/>
                      </a:lnTo>
                      <a:lnTo>
                        <a:pt x="180" y="18"/>
                      </a:lnTo>
                      <a:lnTo>
                        <a:pt x="183" y="17"/>
                      </a:lnTo>
                      <a:lnTo>
                        <a:pt x="187" y="15"/>
                      </a:lnTo>
                      <a:lnTo>
                        <a:pt x="190" y="14"/>
                      </a:lnTo>
                      <a:lnTo>
                        <a:pt x="188" y="11"/>
                      </a:lnTo>
                      <a:lnTo>
                        <a:pt x="187" y="11"/>
                      </a:lnTo>
                      <a:lnTo>
                        <a:pt x="187" y="11"/>
                      </a:lnTo>
                      <a:lnTo>
                        <a:pt x="185" y="11"/>
                      </a:lnTo>
                      <a:lnTo>
                        <a:pt x="184" y="10"/>
                      </a:lnTo>
                      <a:lnTo>
                        <a:pt x="184" y="10"/>
                      </a:lnTo>
                      <a:lnTo>
                        <a:pt x="183" y="9"/>
                      </a:lnTo>
                      <a:lnTo>
                        <a:pt x="179" y="10"/>
                      </a:lnTo>
                      <a:lnTo>
                        <a:pt x="178" y="10"/>
                      </a:lnTo>
                      <a:lnTo>
                        <a:pt x="164" y="14"/>
                      </a:lnTo>
                      <a:lnTo>
                        <a:pt x="142" y="19"/>
                      </a:lnTo>
                      <a:lnTo>
                        <a:pt x="142" y="19"/>
                      </a:lnTo>
                      <a:lnTo>
                        <a:pt x="140" y="19"/>
                      </a:lnTo>
                      <a:lnTo>
                        <a:pt x="139" y="19"/>
                      </a:lnTo>
                      <a:lnTo>
                        <a:pt x="139" y="19"/>
                      </a:lnTo>
                      <a:lnTo>
                        <a:pt x="137" y="19"/>
                      </a:lnTo>
                      <a:lnTo>
                        <a:pt x="136" y="18"/>
                      </a:lnTo>
                      <a:lnTo>
                        <a:pt x="135" y="18"/>
                      </a:lnTo>
                      <a:lnTo>
                        <a:pt x="134" y="18"/>
                      </a:lnTo>
                      <a:lnTo>
                        <a:pt x="132" y="17"/>
                      </a:lnTo>
                      <a:lnTo>
                        <a:pt x="131" y="18"/>
                      </a:lnTo>
                      <a:lnTo>
                        <a:pt x="131" y="18"/>
                      </a:lnTo>
                      <a:lnTo>
                        <a:pt x="130" y="19"/>
                      </a:lnTo>
                      <a:lnTo>
                        <a:pt x="127" y="19"/>
                      </a:lnTo>
                      <a:lnTo>
                        <a:pt x="125" y="18"/>
                      </a:lnTo>
                      <a:lnTo>
                        <a:pt x="121" y="14"/>
                      </a:lnTo>
                      <a:lnTo>
                        <a:pt x="120" y="14"/>
                      </a:lnTo>
                      <a:lnTo>
                        <a:pt x="119" y="14"/>
                      </a:lnTo>
                      <a:lnTo>
                        <a:pt x="118" y="15"/>
                      </a:lnTo>
                      <a:lnTo>
                        <a:pt x="117" y="16"/>
                      </a:lnTo>
                      <a:lnTo>
                        <a:pt x="113" y="14"/>
                      </a:lnTo>
                      <a:lnTo>
                        <a:pt x="111" y="15"/>
                      </a:lnTo>
                      <a:lnTo>
                        <a:pt x="109" y="17"/>
                      </a:lnTo>
                      <a:lnTo>
                        <a:pt x="107" y="16"/>
                      </a:lnTo>
                      <a:lnTo>
                        <a:pt x="107" y="15"/>
                      </a:lnTo>
                      <a:lnTo>
                        <a:pt x="105" y="14"/>
                      </a:lnTo>
                      <a:lnTo>
                        <a:pt x="103" y="14"/>
                      </a:lnTo>
                      <a:lnTo>
                        <a:pt x="100" y="14"/>
                      </a:lnTo>
                      <a:lnTo>
                        <a:pt x="97" y="12"/>
                      </a:lnTo>
                      <a:lnTo>
                        <a:pt x="96" y="11"/>
                      </a:lnTo>
                      <a:lnTo>
                        <a:pt x="94" y="8"/>
                      </a:lnTo>
                      <a:lnTo>
                        <a:pt x="94" y="7"/>
                      </a:lnTo>
                      <a:lnTo>
                        <a:pt x="41" y="7"/>
                      </a:lnTo>
                      <a:lnTo>
                        <a:pt x="40" y="7"/>
                      </a:lnTo>
                      <a:lnTo>
                        <a:pt x="38" y="7"/>
                      </a:lnTo>
                      <a:lnTo>
                        <a:pt x="36" y="8"/>
                      </a:lnTo>
                      <a:lnTo>
                        <a:pt x="36" y="8"/>
                      </a:lnTo>
                      <a:lnTo>
                        <a:pt x="34" y="10"/>
                      </a:lnTo>
                      <a:lnTo>
                        <a:pt x="31" y="8"/>
                      </a:lnTo>
                      <a:lnTo>
                        <a:pt x="28" y="5"/>
                      </a:lnTo>
                      <a:lnTo>
                        <a:pt x="26" y="4"/>
                      </a:lnTo>
                      <a:lnTo>
                        <a:pt x="27" y="3"/>
                      </a:lnTo>
                      <a:lnTo>
                        <a:pt x="25" y="2"/>
                      </a:lnTo>
                      <a:lnTo>
                        <a:pt x="25" y="1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21" y="1"/>
                      </a:lnTo>
                      <a:lnTo>
                        <a:pt x="21" y="0"/>
                      </a:lnTo>
                      <a:lnTo>
                        <a:pt x="18" y="0"/>
                      </a:lnTo>
                      <a:lnTo>
                        <a:pt x="17" y="0"/>
                      </a:lnTo>
                      <a:lnTo>
                        <a:pt x="12" y="3"/>
                      </a:lnTo>
                      <a:lnTo>
                        <a:pt x="12" y="5"/>
                      </a:lnTo>
                      <a:lnTo>
                        <a:pt x="11" y="7"/>
                      </a:lnTo>
                      <a:lnTo>
                        <a:pt x="9" y="5"/>
                      </a:lnTo>
                      <a:lnTo>
                        <a:pt x="5" y="4"/>
                      </a:lnTo>
                      <a:lnTo>
                        <a:pt x="4" y="5"/>
                      </a:lnTo>
                      <a:lnTo>
                        <a:pt x="4" y="7"/>
                      </a:lnTo>
                      <a:lnTo>
                        <a:pt x="3" y="7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7"/>
                      </a:lnTo>
                      <a:lnTo>
                        <a:pt x="0" y="21"/>
                      </a:lnTo>
                      <a:lnTo>
                        <a:pt x="9" y="31"/>
                      </a:lnTo>
                      <a:lnTo>
                        <a:pt x="14" y="41"/>
                      </a:lnTo>
                      <a:lnTo>
                        <a:pt x="21" y="59"/>
                      </a:lnTo>
                      <a:lnTo>
                        <a:pt x="21" y="67"/>
                      </a:lnTo>
                      <a:lnTo>
                        <a:pt x="28" y="79"/>
                      </a:lnTo>
                      <a:lnTo>
                        <a:pt x="28" y="83"/>
                      </a:lnTo>
                      <a:lnTo>
                        <a:pt x="36" y="97"/>
                      </a:lnTo>
                      <a:lnTo>
                        <a:pt x="36" y="104"/>
                      </a:lnTo>
                      <a:lnTo>
                        <a:pt x="34" y="104"/>
                      </a:lnTo>
                      <a:lnTo>
                        <a:pt x="36" y="114"/>
                      </a:lnTo>
                      <a:lnTo>
                        <a:pt x="37" y="127"/>
                      </a:lnTo>
                      <a:lnTo>
                        <a:pt x="41" y="140"/>
                      </a:lnTo>
                      <a:lnTo>
                        <a:pt x="40" y="147"/>
                      </a:lnTo>
                      <a:lnTo>
                        <a:pt x="42" y="152"/>
                      </a:lnTo>
                      <a:lnTo>
                        <a:pt x="39" y="153"/>
                      </a:lnTo>
                      <a:lnTo>
                        <a:pt x="42" y="156"/>
                      </a:lnTo>
                      <a:lnTo>
                        <a:pt x="42" y="165"/>
                      </a:lnTo>
                      <a:lnTo>
                        <a:pt x="44" y="166"/>
                      </a:lnTo>
                      <a:lnTo>
                        <a:pt x="45" y="169"/>
                      </a:lnTo>
                      <a:lnTo>
                        <a:pt x="44" y="170"/>
                      </a:lnTo>
                      <a:lnTo>
                        <a:pt x="44" y="174"/>
                      </a:lnTo>
                      <a:lnTo>
                        <a:pt x="46" y="177"/>
                      </a:lnTo>
                      <a:lnTo>
                        <a:pt x="46" y="183"/>
                      </a:lnTo>
                      <a:lnTo>
                        <a:pt x="49" y="187"/>
                      </a:lnTo>
                      <a:lnTo>
                        <a:pt x="52" y="196"/>
                      </a:lnTo>
                      <a:lnTo>
                        <a:pt x="56" y="200"/>
                      </a:lnTo>
                      <a:lnTo>
                        <a:pt x="56" y="202"/>
                      </a:lnTo>
                      <a:lnTo>
                        <a:pt x="62" y="207"/>
                      </a:lnTo>
                      <a:lnTo>
                        <a:pt x="63" y="205"/>
                      </a:lnTo>
                      <a:lnTo>
                        <a:pt x="66" y="20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65" name="Freeform 868">
                  <a:extLst>
                    <a:ext uri="{FF2B5EF4-FFF2-40B4-BE49-F238E27FC236}">
                      <a16:creationId xmlns:a16="http://schemas.microsoft.com/office/drawing/2014/main" id="{43404A13-CD35-47B1-B1A7-89F6E6C5B1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51" y="3193"/>
                  <a:ext cx="5" cy="5"/>
                </a:xfrm>
                <a:custGeom>
                  <a:avLst/>
                  <a:gdLst>
                    <a:gd name="T0" fmla="*/ 5 w 5"/>
                    <a:gd name="T1" fmla="*/ 1 h 5"/>
                    <a:gd name="T2" fmla="*/ 4 w 5"/>
                    <a:gd name="T3" fmla="*/ 0 h 5"/>
                    <a:gd name="T4" fmla="*/ 2 w 5"/>
                    <a:gd name="T5" fmla="*/ 0 h 5"/>
                    <a:gd name="T6" fmla="*/ 1 w 5"/>
                    <a:gd name="T7" fmla="*/ 2 h 5"/>
                    <a:gd name="T8" fmla="*/ 0 w 5"/>
                    <a:gd name="T9" fmla="*/ 4 h 5"/>
                    <a:gd name="T10" fmla="*/ 2 w 5"/>
                    <a:gd name="T11" fmla="*/ 5 h 5"/>
                    <a:gd name="T12" fmla="*/ 5 w 5"/>
                    <a:gd name="T13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5">
                      <a:moveTo>
                        <a:pt x="5" y="1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1" y="2"/>
                      </a:lnTo>
                      <a:lnTo>
                        <a:pt x="0" y="4"/>
                      </a:lnTo>
                      <a:lnTo>
                        <a:pt x="2" y="5"/>
                      </a:lnTo>
                      <a:lnTo>
                        <a:pt x="5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66" name="Freeform 869">
                  <a:extLst>
                    <a:ext uri="{FF2B5EF4-FFF2-40B4-BE49-F238E27FC236}">
                      <a16:creationId xmlns:a16="http://schemas.microsoft.com/office/drawing/2014/main" id="{3B1B8D79-2C9F-421D-A3FE-765DE40579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59" y="3197"/>
                  <a:ext cx="6" cy="11"/>
                </a:xfrm>
                <a:custGeom>
                  <a:avLst/>
                  <a:gdLst>
                    <a:gd name="T0" fmla="*/ 1 w 6"/>
                    <a:gd name="T1" fmla="*/ 9 h 11"/>
                    <a:gd name="T2" fmla="*/ 5 w 6"/>
                    <a:gd name="T3" fmla="*/ 11 h 11"/>
                    <a:gd name="T4" fmla="*/ 6 w 6"/>
                    <a:gd name="T5" fmla="*/ 9 h 11"/>
                    <a:gd name="T6" fmla="*/ 4 w 6"/>
                    <a:gd name="T7" fmla="*/ 7 h 11"/>
                    <a:gd name="T8" fmla="*/ 4 w 6"/>
                    <a:gd name="T9" fmla="*/ 4 h 11"/>
                    <a:gd name="T10" fmla="*/ 4 w 6"/>
                    <a:gd name="T11" fmla="*/ 0 h 11"/>
                    <a:gd name="T12" fmla="*/ 3 w 6"/>
                    <a:gd name="T13" fmla="*/ 0 h 11"/>
                    <a:gd name="T14" fmla="*/ 0 w 6"/>
                    <a:gd name="T15" fmla="*/ 2 h 11"/>
                    <a:gd name="T16" fmla="*/ 0 w 6"/>
                    <a:gd name="T17" fmla="*/ 4 h 11"/>
                    <a:gd name="T18" fmla="*/ 0 w 6"/>
                    <a:gd name="T19" fmla="*/ 6 h 11"/>
                    <a:gd name="T20" fmla="*/ 1 w 6"/>
                    <a:gd name="T21" fmla="*/ 9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" h="11">
                      <a:moveTo>
                        <a:pt x="1" y="9"/>
                      </a:moveTo>
                      <a:lnTo>
                        <a:pt x="5" y="11"/>
                      </a:lnTo>
                      <a:lnTo>
                        <a:pt x="6" y="9"/>
                      </a:lnTo>
                      <a:lnTo>
                        <a:pt x="4" y="7"/>
                      </a:lnTo>
                      <a:lnTo>
                        <a:pt x="4" y="4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1" y="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67" name="Freeform 870">
                  <a:extLst>
                    <a:ext uri="{FF2B5EF4-FFF2-40B4-BE49-F238E27FC236}">
                      <a16:creationId xmlns:a16="http://schemas.microsoft.com/office/drawing/2014/main" id="{593588C0-1F3D-40AD-849D-6C338DF630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18" y="3184"/>
                  <a:ext cx="37" cy="50"/>
                </a:xfrm>
                <a:custGeom>
                  <a:avLst/>
                  <a:gdLst>
                    <a:gd name="T0" fmla="*/ 1 w 37"/>
                    <a:gd name="T1" fmla="*/ 9 h 50"/>
                    <a:gd name="T2" fmla="*/ 5 w 37"/>
                    <a:gd name="T3" fmla="*/ 18 h 50"/>
                    <a:gd name="T4" fmla="*/ 8 w 37"/>
                    <a:gd name="T5" fmla="*/ 20 h 50"/>
                    <a:gd name="T6" fmla="*/ 8 w 37"/>
                    <a:gd name="T7" fmla="*/ 23 h 50"/>
                    <a:gd name="T8" fmla="*/ 10 w 37"/>
                    <a:gd name="T9" fmla="*/ 26 h 50"/>
                    <a:gd name="T10" fmla="*/ 12 w 37"/>
                    <a:gd name="T11" fmla="*/ 26 h 50"/>
                    <a:gd name="T12" fmla="*/ 12 w 37"/>
                    <a:gd name="T13" fmla="*/ 28 h 50"/>
                    <a:gd name="T14" fmla="*/ 16 w 37"/>
                    <a:gd name="T15" fmla="*/ 32 h 50"/>
                    <a:gd name="T16" fmla="*/ 17 w 37"/>
                    <a:gd name="T17" fmla="*/ 37 h 50"/>
                    <a:gd name="T18" fmla="*/ 19 w 37"/>
                    <a:gd name="T19" fmla="*/ 36 h 50"/>
                    <a:gd name="T20" fmla="*/ 20 w 37"/>
                    <a:gd name="T21" fmla="*/ 36 h 50"/>
                    <a:gd name="T22" fmla="*/ 21 w 37"/>
                    <a:gd name="T23" fmla="*/ 41 h 50"/>
                    <a:gd name="T24" fmla="*/ 24 w 37"/>
                    <a:gd name="T25" fmla="*/ 41 h 50"/>
                    <a:gd name="T26" fmla="*/ 25 w 37"/>
                    <a:gd name="T27" fmla="*/ 45 h 50"/>
                    <a:gd name="T28" fmla="*/ 28 w 37"/>
                    <a:gd name="T29" fmla="*/ 47 h 50"/>
                    <a:gd name="T30" fmla="*/ 31 w 37"/>
                    <a:gd name="T31" fmla="*/ 46 h 50"/>
                    <a:gd name="T32" fmla="*/ 34 w 37"/>
                    <a:gd name="T33" fmla="*/ 48 h 50"/>
                    <a:gd name="T34" fmla="*/ 34 w 37"/>
                    <a:gd name="T35" fmla="*/ 48 h 50"/>
                    <a:gd name="T36" fmla="*/ 37 w 37"/>
                    <a:gd name="T37" fmla="*/ 50 h 50"/>
                    <a:gd name="T38" fmla="*/ 37 w 37"/>
                    <a:gd name="T39" fmla="*/ 45 h 50"/>
                    <a:gd name="T40" fmla="*/ 34 w 37"/>
                    <a:gd name="T41" fmla="*/ 44 h 50"/>
                    <a:gd name="T42" fmla="*/ 30 w 37"/>
                    <a:gd name="T43" fmla="*/ 39 h 50"/>
                    <a:gd name="T44" fmla="*/ 26 w 37"/>
                    <a:gd name="T45" fmla="*/ 32 h 50"/>
                    <a:gd name="T46" fmla="*/ 24 w 37"/>
                    <a:gd name="T47" fmla="*/ 30 h 50"/>
                    <a:gd name="T48" fmla="*/ 22 w 37"/>
                    <a:gd name="T49" fmla="*/ 31 h 50"/>
                    <a:gd name="T50" fmla="*/ 20 w 37"/>
                    <a:gd name="T51" fmla="*/ 24 h 50"/>
                    <a:gd name="T52" fmla="*/ 14 w 37"/>
                    <a:gd name="T53" fmla="*/ 16 h 50"/>
                    <a:gd name="T54" fmla="*/ 13 w 37"/>
                    <a:gd name="T55" fmla="*/ 15 h 50"/>
                    <a:gd name="T56" fmla="*/ 11 w 37"/>
                    <a:gd name="T57" fmla="*/ 12 h 50"/>
                    <a:gd name="T58" fmla="*/ 7 w 37"/>
                    <a:gd name="T59" fmla="*/ 9 h 50"/>
                    <a:gd name="T60" fmla="*/ 7 w 37"/>
                    <a:gd name="T61" fmla="*/ 7 h 50"/>
                    <a:gd name="T62" fmla="*/ 5 w 37"/>
                    <a:gd name="T63" fmla="*/ 3 h 50"/>
                    <a:gd name="T64" fmla="*/ 4 w 37"/>
                    <a:gd name="T65" fmla="*/ 7 h 50"/>
                    <a:gd name="T66" fmla="*/ 0 w 37"/>
                    <a:gd name="T67" fmla="*/ 0 h 50"/>
                    <a:gd name="T68" fmla="*/ 0 w 37"/>
                    <a:gd name="T69" fmla="*/ 3 h 50"/>
                    <a:gd name="T70" fmla="*/ 1 w 37"/>
                    <a:gd name="T71" fmla="*/ 5 h 50"/>
                    <a:gd name="T72" fmla="*/ 1 w 37"/>
                    <a:gd name="T73" fmla="*/ 9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37" h="50">
                      <a:moveTo>
                        <a:pt x="1" y="9"/>
                      </a:moveTo>
                      <a:lnTo>
                        <a:pt x="5" y="18"/>
                      </a:lnTo>
                      <a:lnTo>
                        <a:pt x="8" y="20"/>
                      </a:lnTo>
                      <a:lnTo>
                        <a:pt x="8" y="23"/>
                      </a:lnTo>
                      <a:lnTo>
                        <a:pt x="10" y="26"/>
                      </a:lnTo>
                      <a:lnTo>
                        <a:pt x="12" y="26"/>
                      </a:lnTo>
                      <a:lnTo>
                        <a:pt x="12" y="28"/>
                      </a:lnTo>
                      <a:lnTo>
                        <a:pt x="16" y="32"/>
                      </a:lnTo>
                      <a:lnTo>
                        <a:pt x="17" y="37"/>
                      </a:lnTo>
                      <a:lnTo>
                        <a:pt x="19" y="36"/>
                      </a:lnTo>
                      <a:lnTo>
                        <a:pt x="20" y="36"/>
                      </a:lnTo>
                      <a:lnTo>
                        <a:pt x="21" y="41"/>
                      </a:lnTo>
                      <a:lnTo>
                        <a:pt x="24" y="41"/>
                      </a:lnTo>
                      <a:lnTo>
                        <a:pt x="25" y="45"/>
                      </a:lnTo>
                      <a:lnTo>
                        <a:pt x="28" y="47"/>
                      </a:lnTo>
                      <a:lnTo>
                        <a:pt x="31" y="46"/>
                      </a:lnTo>
                      <a:lnTo>
                        <a:pt x="34" y="48"/>
                      </a:lnTo>
                      <a:lnTo>
                        <a:pt x="34" y="48"/>
                      </a:lnTo>
                      <a:lnTo>
                        <a:pt x="37" y="50"/>
                      </a:lnTo>
                      <a:lnTo>
                        <a:pt x="37" y="45"/>
                      </a:lnTo>
                      <a:lnTo>
                        <a:pt x="34" y="44"/>
                      </a:lnTo>
                      <a:lnTo>
                        <a:pt x="30" y="39"/>
                      </a:lnTo>
                      <a:lnTo>
                        <a:pt x="26" y="32"/>
                      </a:lnTo>
                      <a:lnTo>
                        <a:pt x="24" y="30"/>
                      </a:lnTo>
                      <a:lnTo>
                        <a:pt x="22" y="31"/>
                      </a:lnTo>
                      <a:lnTo>
                        <a:pt x="20" y="24"/>
                      </a:lnTo>
                      <a:lnTo>
                        <a:pt x="14" y="16"/>
                      </a:lnTo>
                      <a:lnTo>
                        <a:pt x="13" y="15"/>
                      </a:lnTo>
                      <a:lnTo>
                        <a:pt x="11" y="12"/>
                      </a:lnTo>
                      <a:lnTo>
                        <a:pt x="7" y="9"/>
                      </a:lnTo>
                      <a:lnTo>
                        <a:pt x="7" y="7"/>
                      </a:lnTo>
                      <a:lnTo>
                        <a:pt x="5" y="3"/>
                      </a:lnTo>
                      <a:lnTo>
                        <a:pt x="4" y="7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" y="5"/>
                      </a:lnTo>
                      <a:lnTo>
                        <a:pt x="1" y="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68" name="Freeform 871">
                  <a:extLst>
                    <a:ext uri="{FF2B5EF4-FFF2-40B4-BE49-F238E27FC236}">
                      <a16:creationId xmlns:a16="http://schemas.microsoft.com/office/drawing/2014/main" id="{3B60EC63-29C2-4DFA-AA6E-8C38B22264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68" y="3213"/>
                  <a:ext cx="5" cy="7"/>
                </a:xfrm>
                <a:custGeom>
                  <a:avLst/>
                  <a:gdLst>
                    <a:gd name="T0" fmla="*/ 5 w 5"/>
                    <a:gd name="T1" fmla="*/ 5 h 7"/>
                    <a:gd name="T2" fmla="*/ 5 w 5"/>
                    <a:gd name="T3" fmla="*/ 2 h 7"/>
                    <a:gd name="T4" fmla="*/ 4 w 5"/>
                    <a:gd name="T5" fmla="*/ 0 h 7"/>
                    <a:gd name="T6" fmla="*/ 0 w 5"/>
                    <a:gd name="T7" fmla="*/ 1 h 7"/>
                    <a:gd name="T8" fmla="*/ 0 w 5"/>
                    <a:gd name="T9" fmla="*/ 4 h 7"/>
                    <a:gd name="T10" fmla="*/ 2 w 5"/>
                    <a:gd name="T11" fmla="*/ 7 h 7"/>
                    <a:gd name="T12" fmla="*/ 4 w 5"/>
                    <a:gd name="T13" fmla="*/ 5 h 7"/>
                    <a:gd name="T14" fmla="*/ 5 w 5"/>
                    <a:gd name="T15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7">
                      <a:moveTo>
                        <a:pt x="5" y="5"/>
                      </a:moveTo>
                      <a:lnTo>
                        <a:pt x="5" y="2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5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69" name="Freeform 872">
                  <a:extLst>
                    <a:ext uri="{FF2B5EF4-FFF2-40B4-BE49-F238E27FC236}">
                      <a16:creationId xmlns:a16="http://schemas.microsoft.com/office/drawing/2014/main" id="{56619895-CAF5-4E0F-99C1-57F25AE0CE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33" y="3847"/>
                  <a:ext cx="6" cy="7"/>
                </a:xfrm>
                <a:custGeom>
                  <a:avLst/>
                  <a:gdLst>
                    <a:gd name="T0" fmla="*/ 1 w 6"/>
                    <a:gd name="T1" fmla="*/ 0 h 7"/>
                    <a:gd name="T2" fmla="*/ 0 w 6"/>
                    <a:gd name="T3" fmla="*/ 1 h 7"/>
                    <a:gd name="T4" fmla="*/ 1 w 6"/>
                    <a:gd name="T5" fmla="*/ 4 h 7"/>
                    <a:gd name="T6" fmla="*/ 1 w 6"/>
                    <a:gd name="T7" fmla="*/ 6 h 7"/>
                    <a:gd name="T8" fmla="*/ 3 w 6"/>
                    <a:gd name="T9" fmla="*/ 6 h 7"/>
                    <a:gd name="T10" fmla="*/ 5 w 6"/>
                    <a:gd name="T11" fmla="*/ 7 h 7"/>
                    <a:gd name="T12" fmla="*/ 6 w 6"/>
                    <a:gd name="T13" fmla="*/ 7 h 7"/>
                    <a:gd name="T14" fmla="*/ 3 w 6"/>
                    <a:gd name="T15" fmla="*/ 2 h 7"/>
                    <a:gd name="T16" fmla="*/ 1 w 6"/>
                    <a:gd name="T1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7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1" y="4"/>
                      </a:lnTo>
                      <a:lnTo>
                        <a:pt x="1" y="6"/>
                      </a:lnTo>
                      <a:lnTo>
                        <a:pt x="3" y="6"/>
                      </a:lnTo>
                      <a:lnTo>
                        <a:pt x="5" y="7"/>
                      </a:lnTo>
                      <a:lnTo>
                        <a:pt x="6" y="7"/>
                      </a:lnTo>
                      <a:lnTo>
                        <a:pt x="3" y="2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70" name="Freeform 873">
                  <a:extLst>
                    <a:ext uri="{FF2B5EF4-FFF2-40B4-BE49-F238E27FC236}">
                      <a16:creationId xmlns:a16="http://schemas.microsoft.com/office/drawing/2014/main" id="{7AB122A7-45F9-4295-8A19-7E78DB9F74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00" y="3745"/>
                  <a:ext cx="3" cy="3"/>
                </a:xfrm>
                <a:custGeom>
                  <a:avLst/>
                  <a:gdLst>
                    <a:gd name="T0" fmla="*/ 3 w 3"/>
                    <a:gd name="T1" fmla="*/ 1 h 3"/>
                    <a:gd name="T2" fmla="*/ 3 w 3"/>
                    <a:gd name="T3" fmla="*/ 0 h 3"/>
                    <a:gd name="T4" fmla="*/ 1 w 3"/>
                    <a:gd name="T5" fmla="*/ 1 h 3"/>
                    <a:gd name="T6" fmla="*/ 0 w 3"/>
                    <a:gd name="T7" fmla="*/ 2 h 3"/>
                    <a:gd name="T8" fmla="*/ 0 w 3"/>
                    <a:gd name="T9" fmla="*/ 3 h 3"/>
                    <a:gd name="T10" fmla="*/ 1 w 3"/>
                    <a:gd name="T11" fmla="*/ 3 h 3"/>
                    <a:gd name="T12" fmla="*/ 3 w 3"/>
                    <a:gd name="T13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3">
                      <a:moveTo>
                        <a:pt x="3" y="1"/>
                      </a:move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71" name="Freeform 874">
                  <a:extLst>
                    <a:ext uri="{FF2B5EF4-FFF2-40B4-BE49-F238E27FC236}">
                      <a16:creationId xmlns:a16="http://schemas.microsoft.com/office/drawing/2014/main" id="{38EAF7F5-D6FD-4F83-A783-D18F843423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92" y="3741"/>
                  <a:ext cx="23" cy="22"/>
                </a:xfrm>
                <a:custGeom>
                  <a:avLst/>
                  <a:gdLst>
                    <a:gd name="T0" fmla="*/ 20 w 23"/>
                    <a:gd name="T1" fmla="*/ 11 h 22"/>
                    <a:gd name="T2" fmla="*/ 19 w 23"/>
                    <a:gd name="T3" fmla="*/ 10 h 22"/>
                    <a:gd name="T4" fmla="*/ 16 w 23"/>
                    <a:gd name="T5" fmla="*/ 13 h 22"/>
                    <a:gd name="T6" fmla="*/ 14 w 23"/>
                    <a:gd name="T7" fmla="*/ 13 h 22"/>
                    <a:gd name="T8" fmla="*/ 13 w 23"/>
                    <a:gd name="T9" fmla="*/ 9 h 22"/>
                    <a:gd name="T10" fmla="*/ 14 w 23"/>
                    <a:gd name="T11" fmla="*/ 9 h 22"/>
                    <a:gd name="T12" fmla="*/ 14 w 23"/>
                    <a:gd name="T13" fmla="*/ 5 h 22"/>
                    <a:gd name="T14" fmla="*/ 13 w 23"/>
                    <a:gd name="T15" fmla="*/ 6 h 22"/>
                    <a:gd name="T16" fmla="*/ 12 w 23"/>
                    <a:gd name="T17" fmla="*/ 9 h 22"/>
                    <a:gd name="T18" fmla="*/ 10 w 23"/>
                    <a:gd name="T19" fmla="*/ 11 h 22"/>
                    <a:gd name="T20" fmla="*/ 9 w 23"/>
                    <a:gd name="T21" fmla="*/ 9 h 22"/>
                    <a:gd name="T22" fmla="*/ 6 w 23"/>
                    <a:gd name="T23" fmla="*/ 9 h 22"/>
                    <a:gd name="T24" fmla="*/ 5 w 23"/>
                    <a:gd name="T25" fmla="*/ 7 h 22"/>
                    <a:gd name="T26" fmla="*/ 5 w 23"/>
                    <a:gd name="T27" fmla="*/ 4 h 22"/>
                    <a:gd name="T28" fmla="*/ 5 w 23"/>
                    <a:gd name="T29" fmla="*/ 2 h 22"/>
                    <a:gd name="T30" fmla="*/ 6 w 23"/>
                    <a:gd name="T31" fmla="*/ 1 h 22"/>
                    <a:gd name="T32" fmla="*/ 6 w 23"/>
                    <a:gd name="T33" fmla="*/ 0 h 22"/>
                    <a:gd name="T34" fmla="*/ 4 w 23"/>
                    <a:gd name="T35" fmla="*/ 2 h 22"/>
                    <a:gd name="T36" fmla="*/ 3 w 23"/>
                    <a:gd name="T37" fmla="*/ 4 h 22"/>
                    <a:gd name="T38" fmla="*/ 3 w 23"/>
                    <a:gd name="T39" fmla="*/ 6 h 22"/>
                    <a:gd name="T40" fmla="*/ 3 w 23"/>
                    <a:gd name="T41" fmla="*/ 9 h 22"/>
                    <a:gd name="T42" fmla="*/ 4 w 23"/>
                    <a:gd name="T43" fmla="*/ 10 h 22"/>
                    <a:gd name="T44" fmla="*/ 5 w 23"/>
                    <a:gd name="T45" fmla="*/ 11 h 22"/>
                    <a:gd name="T46" fmla="*/ 2 w 23"/>
                    <a:gd name="T47" fmla="*/ 14 h 22"/>
                    <a:gd name="T48" fmla="*/ 0 w 23"/>
                    <a:gd name="T49" fmla="*/ 17 h 22"/>
                    <a:gd name="T50" fmla="*/ 1 w 23"/>
                    <a:gd name="T51" fmla="*/ 20 h 22"/>
                    <a:gd name="T52" fmla="*/ 2 w 23"/>
                    <a:gd name="T53" fmla="*/ 20 h 22"/>
                    <a:gd name="T54" fmla="*/ 6 w 23"/>
                    <a:gd name="T55" fmla="*/ 18 h 22"/>
                    <a:gd name="T56" fmla="*/ 7 w 23"/>
                    <a:gd name="T57" fmla="*/ 17 h 22"/>
                    <a:gd name="T58" fmla="*/ 8 w 23"/>
                    <a:gd name="T59" fmla="*/ 19 h 22"/>
                    <a:gd name="T60" fmla="*/ 10 w 23"/>
                    <a:gd name="T61" fmla="*/ 21 h 22"/>
                    <a:gd name="T62" fmla="*/ 12 w 23"/>
                    <a:gd name="T63" fmla="*/ 20 h 22"/>
                    <a:gd name="T64" fmla="*/ 13 w 23"/>
                    <a:gd name="T65" fmla="*/ 17 h 22"/>
                    <a:gd name="T66" fmla="*/ 14 w 23"/>
                    <a:gd name="T67" fmla="*/ 19 h 22"/>
                    <a:gd name="T68" fmla="*/ 14 w 23"/>
                    <a:gd name="T69" fmla="*/ 21 h 22"/>
                    <a:gd name="T70" fmla="*/ 16 w 23"/>
                    <a:gd name="T71" fmla="*/ 22 h 22"/>
                    <a:gd name="T72" fmla="*/ 18 w 23"/>
                    <a:gd name="T73" fmla="*/ 22 h 22"/>
                    <a:gd name="T74" fmla="*/ 21 w 23"/>
                    <a:gd name="T75" fmla="*/ 20 h 22"/>
                    <a:gd name="T76" fmla="*/ 21 w 23"/>
                    <a:gd name="T77" fmla="*/ 19 h 22"/>
                    <a:gd name="T78" fmla="*/ 17 w 23"/>
                    <a:gd name="T79" fmla="*/ 19 h 22"/>
                    <a:gd name="T80" fmla="*/ 16 w 23"/>
                    <a:gd name="T81" fmla="*/ 17 h 22"/>
                    <a:gd name="T82" fmla="*/ 17 w 23"/>
                    <a:gd name="T83" fmla="*/ 15 h 22"/>
                    <a:gd name="T84" fmla="*/ 19 w 23"/>
                    <a:gd name="T85" fmla="*/ 14 h 22"/>
                    <a:gd name="T86" fmla="*/ 22 w 23"/>
                    <a:gd name="T87" fmla="*/ 15 h 22"/>
                    <a:gd name="T88" fmla="*/ 23 w 23"/>
                    <a:gd name="T89" fmla="*/ 12 h 22"/>
                    <a:gd name="T90" fmla="*/ 22 w 23"/>
                    <a:gd name="T91" fmla="*/ 10 h 22"/>
                    <a:gd name="T92" fmla="*/ 20 w 23"/>
                    <a:gd name="T93" fmla="*/ 11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3" h="22">
                      <a:moveTo>
                        <a:pt x="20" y="11"/>
                      </a:moveTo>
                      <a:lnTo>
                        <a:pt x="19" y="10"/>
                      </a:lnTo>
                      <a:lnTo>
                        <a:pt x="16" y="13"/>
                      </a:lnTo>
                      <a:lnTo>
                        <a:pt x="14" y="13"/>
                      </a:lnTo>
                      <a:lnTo>
                        <a:pt x="13" y="9"/>
                      </a:lnTo>
                      <a:lnTo>
                        <a:pt x="14" y="9"/>
                      </a:lnTo>
                      <a:lnTo>
                        <a:pt x="14" y="5"/>
                      </a:lnTo>
                      <a:lnTo>
                        <a:pt x="13" y="6"/>
                      </a:lnTo>
                      <a:lnTo>
                        <a:pt x="12" y="9"/>
                      </a:lnTo>
                      <a:lnTo>
                        <a:pt x="10" y="11"/>
                      </a:lnTo>
                      <a:lnTo>
                        <a:pt x="9" y="9"/>
                      </a:lnTo>
                      <a:lnTo>
                        <a:pt x="6" y="9"/>
                      </a:lnTo>
                      <a:lnTo>
                        <a:pt x="5" y="7"/>
                      </a:lnTo>
                      <a:lnTo>
                        <a:pt x="5" y="4"/>
                      </a:lnTo>
                      <a:lnTo>
                        <a:pt x="5" y="2"/>
                      </a:lnTo>
                      <a:lnTo>
                        <a:pt x="6" y="1"/>
                      </a:lnTo>
                      <a:lnTo>
                        <a:pt x="6" y="0"/>
                      </a:lnTo>
                      <a:lnTo>
                        <a:pt x="4" y="2"/>
                      </a:lnTo>
                      <a:lnTo>
                        <a:pt x="3" y="4"/>
                      </a:lnTo>
                      <a:lnTo>
                        <a:pt x="3" y="6"/>
                      </a:lnTo>
                      <a:lnTo>
                        <a:pt x="3" y="9"/>
                      </a:lnTo>
                      <a:lnTo>
                        <a:pt x="4" y="10"/>
                      </a:lnTo>
                      <a:lnTo>
                        <a:pt x="5" y="11"/>
                      </a:lnTo>
                      <a:lnTo>
                        <a:pt x="2" y="14"/>
                      </a:lnTo>
                      <a:lnTo>
                        <a:pt x="0" y="17"/>
                      </a:lnTo>
                      <a:lnTo>
                        <a:pt x="1" y="20"/>
                      </a:lnTo>
                      <a:lnTo>
                        <a:pt x="2" y="20"/>
                      </a:lnTo>
                      <a:lnTo>
                        <a:pt x="6" y="18"/>
                      </a:lnTo>
                      <a:lnTo>
                        <a:pt x="7" y="17"/>
                      </a:lnTo>
                      <a:lnTo>
                        <a:pt x="8" y="19"/>
                      </a:lnTo>
                      <a:lnTo>
                        <a:pt x="10" y="21"/>
                      </a:lnTo>
                      <a:lnTo>
                        <a:pt x="12" y="20"/>
                      </a:lnTo>
                      <a:lnTo>
                        <a:pt x="13" y="17"/>
                      </a:lnTo>
                      <a:lnTo>
                        <a:pt x="14" y="19"/>
                      </a:lnTo>
                      <a:lnTo>
                        <a:pt x="14" y="21"/>
                      </a:lnTo>
                      <a:lnTo>
                        <a:pt x="16" y="22"/>
                      </a:lnTo>
                      <a:lnTo>
                        <a:pt x="18" y="22"/>
                      </a:lnTo>
                      <a:lnTo>
                        <a:pt x="21" y="20"/>
                      </a:lnTo>
                      <a:lnTo>
                        <a:pt x="21" y="19"/>
                      </a:lnTo>
                      <a:lnTo>
                        <a:pt x="17" y="19"/>
                      </a:lnTo>
                      <a:lnTo>
                        <a:pt x="16" y="17"/>
                      </a:lnTo>
                      <a:lnTo>
                        <a:pt x="17" y="15"/>
                      </a:lnTo>
                      <a:lnTo>
                        <a:pt x="19" y="14"/>
                      </a:lnTo>
                      <a:lnTo>
                        <a:pt x="22" y="15"/>
                      </a:lnTo>
                      <a:lnTo>
                        <a:pt x="23" y="12"/>
                      </a:lnTo>
                      <a:lnTo>
                        <a:pt x="22" y="10"/>
                      </a:lnTo>
                      <a:lnTo>
                        <a:pt x="20" y="1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72" name="Freeform 875">
                  <a:extLst>
                    <a:ext uri="{FF2B5EF4-FFF2-40B4-BE49-F238E27FC236}">
                      <a16:creationId xmlns:a16="http://schemas.microsoft.com/office/drawing/2014/main" id="{4D641EAA-4371-4868-85C4-4B8DBE1897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09" y="3153"/>
                  <a:ext cx="8" cy="11"/>
                </a:xfrm>
                <a:custGeom>
                  <a:avLst/>
                  <a:gdLst>
                    <a:gd name="T0" fmla="*/ 8 w 8"/>
                    <a:gd name="T1" fmla="*/ 1 h 11"/>
                    <a:gd name="T2" fmla="*/ 6 w 8"/>
                    <a:gd name="T3" fmla="*/ 0 h 11"/>
                    <a:gd name="T4" fmla="*/ 4 w 8"/>
                    <a:gd name="T5" fmla="*/ 1 h 11"/>
                    <a:gd name="T6" fmla="*/ 2 w 8"/>
                    <a:gd name="T7" fmla="*/ 1 h 11"/>
                    <a:gd name="T8" fmla="*/ 2 w 8"/>
                    <a:gd name="T9" fmla="*/ 5 h 11"/>
                    <a:gd name="T10" fmla="*/ 0 w 8"/>
                    <a:gd name="T11" fmla="*/ 7 h 11"/>
                    <a:gd name="T12" fmla="*/ 4 w 8"/>
                    <a:gd name="T13" fmla="*/ 11 h 11"/>
                    <a:gd name="T14" fmla="*/ 7 w 8"/>
                    <a:gd name="T15" fmla="*/ 9 h 11"/>
                    <a:gd name="T16" fmla="*/ 6 w 8"/>
                    <a:gd name="T17" fmla="*/ 6 h 11"/>
                    <a:gd name="T18" fmla="*/ 8 w 8"/>
                    <a:gd name="T19" fmla="*/ 3 h 11"/>
                    <a:gd name="T20" fmla="*/ 8 w 8"/>
                    <a:gd name="T21" fmla="*/ 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11">
                      <a:moveTo>
                        <a:pt x="8" y="1"/>
                      </a:moveTo>
                      <a:lnTo>
                        <a:pt x="6" y="0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2" y="5"/>
                      </a:lnTo>
                      <a:lnTo>
                        <a:pt x="0" y="7"/>
                      </a:lnTo>
                      <a:lnTo>
                        <a:pt x="4" y="11"/>
                      </a:lnTo>
                      <a:lnTo>
                        <a:pt x="7" y="9"/>
                      </a:lnTo>
                      <a:lnTo>
                        <a:pt x="6" y="6"/>
                      </a:lnTo>
                      <a:lnTo>
                        <a:pt x="8" y="3"/>
                      </a:lnTo>
                      <a:lnTo>
                        <a:pt x="8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73" name="Freeform 876">
                  <a:extLst>
                    <a:ext uri="{FF2B5EF4-FFF2-40B4-BE49-F238E27FC236}">
                      <a16:creationId xmlns:a16="http://schemas.microsoft.com/office/drawing/2014/main" id="{136FF4DC-A8D7-428F-9EF5-126E1CB2E2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0" y="3166"/>
                  <a:ext cx="9" cy="11"/>
                </a:xfrm>
                <a:custGeom>
                  <a:avLst/>
                  <a:gdLst>
                    <a:gd name="T0" fmla="*/ 5 w 9"/>
                    <a:gd name="T1" fmla="*/ 2 h 11"/>
                    <a:gd name="T2" fmla="*/ 3 w 9"/>
                    <a:gd name="T3" fmla="*/ 0 h 11"/>
                    <a:gd name="T4" fmla="*/ 0 w 9"/>
                    <a:gd name="T5" fmla="*/ 1 h 11"/>
                    <a:gd name="T6" fmla="*/ 0 w 9"/>
                    <a:gd name="T7" fmla="*/ 6 h 11"/>
                    <a:gd name="T8" fmla="*/ 4 w 9"/>
                    <a:gd name="T9" fmla="*/ 11 h 11"/>
                    <a:gd name="T10" fmla="*/ 5 w 9"/>
                    <a:gd name="T11" fmla="*/ 11 h 11"/>
                    <a:gd name="T12" fmla="*/ 9 w 9"/>
                    <a:gd name="T13" fmla="*/ 7 h 11"/>
                    <a:gd name="T14" fmla="*/ 7 w 9"/>
                    <a:gd name="T15" fmla="*/ 7 h 11"/>
                    <a:gd name="T16" fmla="*/ 5 w 9"/>
                    <a:gd name="T17" fmla="*/ 2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11">
                      <a:moveTo>
                        <a:pt x="5" y="2"/>
                      </a:move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6"/>
                      </a:lnTo>
                      <a:lnTo>
                        <a:pt x="4" y="11"/>
                      </a:lnTo>
                      <a:lnTo>
                        <a:pt x="5" y="11"/>
                      </a:lnTo>
                      <a:lnTo>
                        <a:pt x="9" y="7"/>
                      </a:lnTo>
                      <a:lnTo>
                        <a:pt x="7" y="7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74" name="Freeform 877">
                  <a:extLst>
                    <a:ext uri="{FF2B5EF4-FFF2-40B4-BE49-F238E27FC236}">
                      <a16:creationId xmlns:a16="http://schemas.microsoft.com/office/drawing/2014/main" id="{56D49161-CAFD-4DCD-83FF-5B00C0EF5E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90" y="3033"/>
                  <a:ext cx="0" cy="2"/>
                </a:xfrm>
                <a:custGeom>
                  <a:avLst/>
                  <a:gdLst>
                    <a:gd name="T0" fmla="*/ 2 h 2"/>
                    <a:gd name="T1" fmla="*/ 2 h 2"/>
                    <a:gd name="T2" fmla="*/ 0 h 2"/>
                    <a:gd name="T3" fmla="*/ 1 h 2"/>
                    <a:gd name="T4" fmla="*/ 2 h 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</a:cxnLst>
                  <a:rect l="0" t="0" r="r" b="b"/>
                  <a:pathLst>
                    <a:path h="2"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75" name="Freeform 878">
                  <a:extLst>
                    <a:ext uri="{FF2B5EF4-FFF2-40B4-BE49-F238E27FC236}">
                      <a16:creationId xmlns:a16="http://schemas.microsoft.com/office/drawing/2014/main" id="{C0347173-9534-40F6-A44E-C5DA1FC838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04" y="3093"/>
                  <a:ext cx="3" cy="8"/>
                </a:xfrm>
                <a:custGeom>
                  <a:avLst/>
                  <a:gdLst>
                    <a:gd name="T0" fmla="*/ 1 w 3"/>
                    <a:gd name="T1" fmla="*/ 2 h 8"/>
                    <a:gd name="T2" fmla="*/ 0 w 3"/>
                    <a:gd name="T3" fmla="*/ 4 h 8"/>
                    <a:gd name="T4" fmla="*/ 0 w 3"/>
                    <a:gd name="T5" fmla="*/ 6 h 8"/>
                    <a:gd name="T6" fmla="*/ 0 w 3"/>
                    <a:gd name="T7" fmla="*/ 8 h 8"/>
                    <a:gd name="T8" fmla="*/ 1 w 3"/>
                    <a:gd name="T9" fmla="*/ 5 h 8"/>
                    <a:gd name="T10" fmla="*/ 3 w 3"/>
                    <a:gd name="T11" fmla="*/ 3 h 8"/>
                    <a:gd name="T12" fmla="*/ 3 w 3"/>
                    <a:gd name="T13" fmla="*/ 0 h 8"/>
                    <a:gd name="T14" fmla="*/ 2 w 3"/>
                    <a:gd name="T15" fmla="*/ 2 h 8"/>
                    <a:gd name="T16" fmla="*/ 1 w 3"/>
                    <a:gd name="T17" fmla="*/ 2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8">
                      <a:moveTo>
                        <a:pt x="1" y="2"/>
                      </a:move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1" y="5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2" y="2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76" name="Freeform 879">
                  <a:extLst>
                    <a:ext uri="{FF2B5EF4-FFF2-40B4-BE49-F238E27FC236}">
                      <a16:creationId xmlns:a16="http://schemas.microsoft.com/office/drawing/2014/main" id="{C5D9A7E3-6420-4061-B42A-B428B03432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06" y="3011"/>
                  <a:ext cx="108" cy="242"/>
                </a:xfrm>
                <a:custGeom>
                  <a:avLst/>
                  <a:gdLst>
                    <a:gd name="T0" fmla="*/ 105 w 108"/>
                    <a:gd name="T1" fmla="*/ 44 h 242"/>
                    <a:gd name="T2" fmla="*/ 103 w 108"/>
                    <a:gd name="T3" fmla="*/ 25 h 242"/>
                    <a:gd name="T4" fmla="*/ 98 w 108"/>
                    <a:gd name="T5" fmla="*/ 12 h 242"/>
                    <a:gd name="T6" fmla="*/ 95 w 108"/>
                    <a:gd name="T7" fmla="*/ 0 h 242"/>
                    <a:gd name="T8" fmla="*/ 88 w 108"/>
                    <a:gd name="T9" fmla="*/ 7 h 242"/>
                    <a:gd name="T10" fmla="*/ 91 w 108"/>
                    <a:gd name="T11" fmla="*/ 14 h 242"/>
                    <a:gd name="T12" fmla="*/ 86 w 108"/>
                    <a:gd name="T13" fmla="*/ 28 h 242"/>
                    <a:gd name="T14" fmla="*/ 80 w 108"/>
                    <a:gd name="T15" fmla="*/ 34 h 242"/>
                    <a:gd name="T16" fmla="*/ 75 w 108"/>
                    <a:gd name="T17" fmla="*/ 31 h 242"/>
                    <a:gd name="T18" fmla="*/ 77 w 108"/>
                    <a:gd name="T19" fmla="*/ 41 h 242"/>
                    <a:gd name="T20" fmla="*/ 76 w 108"/>
                    <a:gd name="T21" fmla="*/ 45 h 242"/>
                    <a:gd name="T22" fmla="*/ 71 w 108"/>
                    <a:gd name="T23" fmla="*/ 48 h 242"/>
                    <a:gd name="T24" fmla="*/ 67 w 108"/>
                    <a:gd name="T25" fmla="*/ 49 h 242"/>
                    <a:gd name="T26" fmla="*/ 65 w 108"/>
                    <a:gd name="T27" fmla="*/ 53 h 242"/>
                    <a:gd name="T28" fmla="*/ 65 w 108"/>
                    <a:gd name="T29" fmla="*/ 61 h 242"/>
                    <a:gd name="T30" fmla="*/ 59 w 108"/>
                    <a:gd name="T31" fmla="*/ 61 h 242"/>
                    <a:gd name="T32" fmla="*/ 53 w 108"/>
                    <a:gd name="T33" fmla="*/ 67 h 242"/>
                    <a:gd name="T34" fmla="*/ 50 w 108"/>
                    <a:gd name="T35" fmla="*/ 69 h 242"/>
                    <a:gd name="T36" fmla="*/ 42 w 108"/>
                    <a:gd name="T37" fmla="*/ 66 h 242"/>
                    <a:gd name="T38" fmla="*/ 39 w 108"/>
                    <a:gd name="T39" fmla="*/ 72 h 242"/>
                    <a:gd name="T40" fmla="*/ 36 w 108"/>
                    <a:gd name="T41" fmla="*/ 71 h 242"/>
                    <a:gd name="T42" fmla="*/ 25 w 108"/>
                    <a:gd name="T43" fmla="*/ 74 h 242"/>
                    <a:gd name="T44" fmla="*/ 18 w 108"/>
                    <a:gd name="T45" fmla="*/ 89 h 242"/>
                    <a:gd name="T46" fmla="*/ 16 w 108"/>
                    <a:gd name="T47" fmla="*/ 100 h 242"/>
                    <a:gd name="T48" fmla="*/ 19 w 108"/>
                    <a:gd name="T49" fmla="*/ 121 h 242"/>
                    <a:gd name="T50" fmla="*/ 20 w 108"/>
                    <a:gd name="T51" fmla="*/ 131 h 242"/>
                    <a:gd name="T52" fmla="*/ 15 w 108"/>
                    <a:gd name="T53" fmla="*/ 148 h 242"/>
                    <a:gd name="T54" fmla="*/ 10 w 108"/>
                    <a:gd name="T55" fmla="*/ 160 h 242"/>
                    <a:gd name="T56" fmla="*/ 4 w 108"/>
                    <a:gd name="T57" fmla="*/ 170 h 242"/>
                    <a:gd name="T58" fmla="*/ 1 w 108"/>
                    <a:gd name="T59" fmla="*/ 183 h 242"/>
                    <a:gd name="T60" fmla="*/ 5 w 108"/>
                    <a:gd name="T61" fmla="*/ 200 h 242"/>
                    <a:gd name="T62" fmla="*/ 4 w 108"/>
                    <a:gd name="T63" fmla="*/ 204 h 242"/>
                    <a:gd name="T64" fmla="*/ 5 w 108"/>
                    <a:gd name="T65" fmla="*/ 221 h 242"/>
                    <a:gd name="T66" fmla="*/ 10 w 108"/>
                    <a:gd name="T67" fmla="*/ 229 h 242"/>
                    <a:gd name="T68" fmla="*/ 15 w 108"/>
                    <a:gd name="T69" fmla="*/ 235 h 242"/>
                    <a:gd name="T70" fmla="*/ 22 w 108"/>
                    <a:gd name="T71" fmla="*/ 241 h 242"/>
                    <a:gd name="T72" fmla="*/ 31 w 108"/>
                    <a:gd name="T73" fmla="*/ 238 h 242"/>
                    <a:gd name="T74" fmla="*/ 50 w 108"/>
                    <a:gd name="T75" fmla="*/ 231 h 242"/>
                    <a:gd name="T76" fmla="*/ 57 w 108"/>
                    <a:gd name="T77" fmla="*/ 218 h 242"/>
                    <a:gd name="T78" fmla="*/ 59 w 108"/>
                    <a:gd name="T79" fmla="*/ 207 h 242"/>
                    <a:gd name="T80" fmla="*/ 63 w 108"/>
                    <a:gd name="T81" fmla="*/ 200 h 242"/>
                    <a:gd name="T82" fmla="*/ 71 w 108"/>
                    <a:gd name="T83" fmla="*/ 174 h 242"/>
                    <a:gd name="T84" fmla="*/ 83 w 108"/>
                    <a:gd name="T85" fmla="*/ 141 h 242"/>
                    <a:gd name="T86" fmla="*/ 89 w 108"/>
                    <a:gd name="T87" fmla="*/ 120 h 242"/>
                    <a:gd name="T88" fmla="*/ 95 w 108"/>
                    <a:gd name="T89" fmla="*/ 97 h 242"/>
                    <a:gd name="T90" fmla="*/ 96 w 108"/>
                    <a:gd name="T91" fmla="*/ 83 h 242"/>
                    <a:gd name="T92" fmla="*/ 98 w 108"/>
                    <a:gd name="T93" fmla="*/ 71 h 242"/>
                    <a:gd name="T94" fmla="*/ 98 w 108"/>
                    <a:gd name="T95" fmla="*/ 61 h 242"/>
                    <a:gd name="T96" fmla="*/ 105 w 108"/>
                    <a:gd name="T97" fmla="*/ 70 h 242"/>
                    <a:gd name="T98" fmla="*/ 107 w 108"/>
                    <a:gd name="T99" fmla="*/ 61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08" h="242">
                      <a:moveTo>
                        <a:pt x="105" y="52"/>
                      </a:moveTo>
                      <a:lnTo>
                        <a:pt x="104" y="49"/>
                      </a:lnTo>
                      <a:lnTo>
                        <a:pt x="105" y="48"/>
                      </a:lnTo>
                      <a:lnTo>
                        <a:pt x="105" y="44"/>
                      </a:lnTo>
                      <a:lnTo>
                        <a:pt x="104" y="39"/>
                      </a:lnTo>
                      <a:lnTo>
                        <a:pt x="105" y="38"/>
                      </a:lnTo>
                      <a:lnTo>
                        <a:pt x="105" y="28"/>
                      </a:lnTo>
                      <a:lnTo>
                        <a:pt x="103" y="25"/>
                      </a:lnTo>
                      <a:lnTo>
                        <a:pt x="102" y="17"/>
                      </a:lnTo>
                      <a:lnTo>
                        <a:pt x="101" y="15"/>
                      </a:lnTo>
                      <a:lnTo>
                        <a:pt x="101" y="16"/>
                      </a:lnTo>
                      <a:lnTo>
                        <a:pt x="98" y="12"/>
                      </a:lnTo>
                      <a:lnTo>
                        <a:pt x="98" y="8"/>
                      </a:lnTo>
                      <a:lnTo>
                        <a:pt x="95" y="7"/>
                      </a:lnTo>
                      <a:lnTo>
                        <a:pt x="97" y="4"/>
                      </a:lnTo>
                      <a:lnTo>
                        <a:pt x="95" y="0"/>
                      </a:lnTo>
                      <a:lnTo>
                        <a:pt x="92" y="4"/>
                      </a:lnTo>
                      <a:lnTo>
                        <a:pt x="93" y="7"/>
                      </a:lnTo>
                      <a:lnTo>
                        <a:pt x="91" y="9"/>
                      </a:lnTo>
                      <a:lnTo>
                        <a:pt x="88" y="7"/>
                      </a:lnTo>
                      <a:lnTo>
                        <a:pt x="87" y="7"/>
                      </a:lnTo>
                      <a:lnTo>
                        <a:pt x="89" y="10"/>
                      </a:lnTo>
                      <a:lnTo>
                        <a:pt x="89" y="13"/>
                      </a:lnTo>
                      <a:lnTo>
                        <a:pt x="91" y="14"/>
                      </a:lnTo>
                      <a:lnTo>
                        <a:pt x="91" y="16"/>
                      </a:lnTo>
                      <a:lnTo>
                        <a:pt x="88" y="19"/>
                      </a:lnTo>
                      <a:lnTo>
                        <a:pt x="88" y="24"/>
                      </a:lnTo>
                      <a:lnTo>
                        <a:pt x="86" y="28"/>
                      </a:lnTo>
                      <a:lnTo>
                        <a:pt x="84" y="27"/>
                      </a:lnTo>
                      <a:lnTo>
                        <a:pt x="82" y="30"/>
                      </a:lnTo>
                      <a:lnTo>
                        <a:pt x="81" y="32"/>
                      </a:lnTo>
                      <a:lnTo>
                        <a:pt x="80" y="34"/>
                      </a:lnTo>
                      <a:lnTo>
                        <a:pt x="78" y="33"/>
                      </a:lnTo>
                      <a:lnTo>
                        <a:pt x="78" y="29"/>
                      </a:lnTo>
                      <a:lnTo>
                        <a:pt x="77" y="28"/>
                      </a:lnTo>
                      <a:lnTo>
                        <a:pt x="75" y="31"/>
                      </a:lnTo>
                      <a:lnTo>
                        <a:pt x="74" y="35"/>
                      </a:lnTo>
                      <a:lnTo>
                        <a:pt x="77" y="38"/>
                      </a:lnTo>
                      <a:lnTo>
                        <a:pt x="78" y="39"/>
                      </a:lnTo>
                      <a:lnTo>
                        <a:pt x="77" y="41"/>
                      </a:lnTo>
                      <a:lnTo>
                        <a:pt x="76" y="40"/>
                      </a:lnTo>
                      <a:lnTo>
                        <a:pt x="72" y="41"/>
                      </a:lnTo>
                      <a:lnTo>
                        <a:pt x="73" y="45"/>
                      </a:lnTo>
                      <a:lnTo>
                        <a:pt x="76" y="45"/>
                      </a:lnTo>
                      <a:lnTo>
                        <a:pt x="76" y="47"/>
                      </a:lnTo>
                      <a:lnTo>
                        <a:pt x="75" y="49"/>
                      </a:lnTo>
                      <a:lnTo>
                        <a:pt x="74" y="47"/>
                      </a:lnTo>
                      <a:lnTo>
                        <a:pt x="71" y="48"/>
                      </a:lnTo>
                      <a:lnTo>
                        <a:pt x="71" y="50"/>
                      </a:lnTo>
                      <a:lnTo>
                        <a:pt x="67" y="54"/>
                      </a:lnTo>
                      <a:lnTo>
                        <a:pt x="67" y="50"/>
                      </a:lnTo>
                      <a:lnTo>
                        <a:pt x="67" y="49"/>
                      </a:lnTo>
                      <a:lnTo>
                        <a:pt x="67" y="47"/>
                      </a:lnTo>
                      <a:lnTo>
                        <a:pt x="64" y="50"/>
                      </a:lnTo>
                      <a:lnTo>
                        <a:pt x="66" y="52"/>
                      </a:lnTo>
                      <a:lnTo>
                        <a:pt x="65" y="53"/>
                      </a:lnTo>
                      <a:lnTo>
                        <a:pt x="62" y="55"/>
                      </a:lnTo>
                      <a:lnTo>
                        <a:pt x="63" y="59"/>
                      </a:lnTo>
                      <a:lnTo>
                        <a:pt x="65" y="59"/>
                      </a:lnTo>
                      <a:lnTo>
                        <a:pt x="65" y="61"/>
                      </a:lnTo>
                      <a:lnTo>
                        <a:pt x="63" y="62"/>
                      </a:lnTo>
                      <a:lnTo>
                        <a:pt x="61" y="63"/>
                      </a:lnTo>
                      <a:lnTo>
                        <a:pt x="60" y="61"/>
                      </a:lnTo>
                      <a:lnTo>
                        <a:pt x="59" y="61"/>
                      </a:lnTo>
                      <a:lnTo>
                        <a:pt x="60" y="58"/>
                      </a:lnTo>
                      <a:lnTo>
                        <a:pt x="60" y="57"/>
                      </a:lnTo>
                      <a:lnTo>
                        <a:pt x="54" y="62"/>
                      </a:lnTo>
                      <a:lnTo>
                        <a:pt x="53" y="67"/>
                      </a:lnTo>
                      <a:lnTo>
                        <a:pt x="54" y="69"/>
                      </a:lnTo>
                      <a:lnTo>
                        <a:pt x="53" y="71"/>
                      </a:lnTo>
                      <a:lnTo>
                        <a:pt x="51" y="70"/>
                      </a:lnTo>
                      <a:lnTo>
                        <a:pt x="50" y="69"/>
                      </a:lnTo>
                      <a:lnTo>
                        <a:pt x="50" y="65"/>
                      </a:lnTo>
                      <a:lnTo>
                        <a:pt x="49" y="65"/>
                      </a:lnTo>
                      <a:lnTo>
                        <a:pt x="46" y="69"/>
                      </a:lnTo>
                      <a:lnTo>
                        <a:pt x="42" y="66"/>
                      </a:lnTo>
                      <a:lnTo>
                        <a:pt x="41" y="67"/>
                      </a:lnTo>
                      <a:lnTo>
                        <a:pt x="40" y="67"/>
                      </a:lnTo>
                      <a:lnTo>
                        <a:pt x="40" y="72"/>
                      </a:lnTo>
                      <a:lnTo>
                        <a:pt x="39" y="72"/>
                      </a:lnTo>
                      <a:lnTo>
                        <a:pt x="39" y="72"/>
                      </a:lnTo>
                      <a:lnTo>
                        <a:pt x="39" y="69"/>
                      </a:lnTo>
                      <a:lnTo>
                        <a:pt x="37" y="69"/>
                      </a:lnTo>
                      <a:lnTo>
                        <a:pt x="36" y="71"/>
                      </a:lnTo>
                      <a:lnTo>
                        <a:pt x="34" y="69"/>
                      </a:lnTo>
                      <a:lnTo>
                        <a:pt x="29" y="75"/>
                      </a:lnTo>
                      <a:lnTo>
                        <a:pt x="27" y="75"/>
                      </a:lnTo>
                      <a:lnTo>
                        <a:pt x="25" y="74"/>
                      </a:lnTo>
                      <a:lnTo>
                        <a:pt x="23" y="73"/>
                      </a:lnTo>
                      <a:lnTo>
                        <a:pt x="22" y="76"/>
                      </a:lnTo>
                      <a:lnTo>
                        <a:pt x="22" y="81"/>
                      </a:lnTo>
                      <a:lnTo>
                        <a:pt x="18" y="89"/>
                      </a:lnTo>
                      <a:lnTo>
                        <a:pt x="18" y="90"/>
                      </a:lnTo>
                      <a:lnTo>
                        <a:pt x="14" y="96"/>
                      </a:lnTo>
                      <a:lnTo>
                        <a:pt x="14" y="98"/>
                      </a:lnTo>
                      <a:lnTo>
                        <a:pt x="16" y="100"/>
                      </a:lnTo>
                      <a:lnTo>
                        <a:pt x="15" y="104"/>
                      </a:lnTo>
                      <a:lnTo>
                        <a:pt x="15" y="108"/>
                      </a:lnTo>
                      <a:lnTo>
                        <a:pt x="15" y="113"/>
                      </a:lnTo>
                      <a:lnTo>
                        <a:pt x="19" y="121"/>
                      </a:lnTo>
                      <a:lnTo>
                        <a:pt x="19" y="124"/>
                      </a:lnTo>
                      <a:lnTo>
                        <a:pt x="22" y="128"/>
                      </a:lnTo>
                      <a:lnTo>
                        <a:pt x="22" y="129"/>
                      </a:lnTo>
                      <a:lnTo>
                        <a:pt x="20" y="131"/>
                      </a:lnTo>
                      <a:lnTo>
                        <a:pt x="21" y="134"/>
                      </a:lnTo>
                      <a:lnTo>
                        <a:pt x="19" y="142"/>
                      </a:lnTo>
                      <a:lnTo>
                        <a:pt x="16" y="143"/>
                      </a:lnTo>
                      <a:lnTo>
                        <a:pt x="15" y="148"/>
                      </a:lnTo>
                      <a:lnTo>
                        <a:pt x="14" y="149"/>
                      </a:lnTo>
                      <a:lnTo>
                        <a:pt x="13" y="151"/>
                      </a:lnTo>
                      <a:lnTo>
                        <a:pt x="11" y="154"/>
                      </a:lnTo>
                      <a:lnTo>
                        <a:pt x="10" y="160"/>
                      </a:lnTo>
                      <a:lnTo>
                        <a:pt x="8" y="162"/>
                      </a:lnTo>
                      <a:lnTo>
                        <a:pt x="5" y="163"/>
                      </a:lnTo>
                      <a:lnTo>
                        <a:pt x="4" y="165"/>
                      </a:lnTo>
                      <a:lnTo>
                        <a:pt x="4" y="170"/>
                      </a:lnTo>
                      <a:lnTo>
                        <a:pt x="1" y="174"/>
                      </a:lnTo>
                      <a:lnTo>
                        <a:pt x="1" y="179"/>
                      </a:lnTo>
                      <a:lnTo>
                        <a:pt x="0" y="182"/>
                      </a:lnTo>
                      <a:lnTo>
                        <a:pt x="1" y="183"/>
                      </a:lnTo>
                      <a:lnTo>
                        <a:pt x="1" y="189"/>
                      </a:lnTo>
                      <a:lnTo>
                        <a:pt x="5" y="194"/>
                      </a:lnTo>
                      <a:lnTo>
                        <a:pt x="4" y="198"/>
                      </a:lnTo>
                      <a:lnTo>
                        <a:pt x="5" y="200"/>
                      </a:lnTo>
                      <a:lnTo>
                        <a:pt x="6" y="202"/>
                      </a:lnTo>
                      <a:lnTo>
                        <a:pt x="8" y="201"/>
                      </a:lnTo>
                      <a:lnTo>
                        <a:pt x="6" y="203"/>
                      </a:lnTo>
                      <a:lnTo>
                        <a:pt x="4" y="204"/>
                      </a:lnTo>
                      <a:lnTo>
                        <a:pt x="4" y="207"/>
                      </a:lnTo>
                      <a:lnTo>
                        <a:pt x="5" y="213"/>
                      </a:lnTo>
                      <a:lnTo>
                        <a:pt x="4" y="220"/>
                      </a:lnTo>
                      <a:lnTo>
                        <a:pt x="5" y="221"/>
                      </a:lnTo>
                      <a:lnTo>
                        <a:pt x="5" y="224"/>
                      </a:lnTo>
                      <a:lnTo>
                        <a:pt x="7" y="224"/>
                      </a:lnTo>
                      <a:lnTo>
                        <a:pt x="8" y="228"/>
                      </a:lnTo>
                      <a:lnTo>
                        <a:pt x="10" y="229"/>
                      </a:lnTo>
                      <a:lnTo>
                        <a:pt x="11" y="231"/>
                      </a:lnTo>
                      <a:lnTo>
                        <a:pt x="13" y="234"/>
                      </a:lnTo>
                      <a:lnTo>
                        <a:pt x="15" y="233"/>
                      </a:lnTo>
                      <a:lnTo>
                        <a:pt x="15" y="235"/>
                      </a:lnTo>
                      <a:lnTo>
                        <a:pt x="18" y="235"/>
                      </a:lnTo>
                      <a:lnTo>
                        <a:pt x="20" y="238"/>
                      </a:lnTo>
                      <a:lnTo>
                        <a:pt x="22" y="239"/>
                      </a:lnTo>
                      <a:lnTo>
                        <a:pt x="22" y="241"/>
                      </a:lnTo>
                      <a:lnTo>
                        <a:pt x="23" y="242"/>
                      </a:lnTo>
                      <a:lnTo>
                        <a:pt x="25" y="240"/>
                      </a:lnTo>
                      <a:lnTo>
                        <a:pt x="28" y="240"/>
                      </a:lnTo>
                      <a:lnTo>
                        <a:pt x="31" y="238"/>
                      </a:lnTo>
                      <a:lnTo>
                        <a:pt x="34" y="234"/>
                      </a:lnTo>
                      <a:lnTo>
                        <a:pt x="43" y="233"/>
                      </a:lnTo>
                      <a:lnTo>
                        <a:pt x="46" y="234"/>
                      </a:lnTo>
                      <a:lnTo>
                        <a:pt x="50" y="231"/>
                      </a:lnTo>
                      <a:lnTo>
                        <a:pt x="51" y="228"/>
                      </a:lnTo>
                      <a:lnTo>
                        <a:pt x="53" y="228"/>
                      </a:lnTo>
                      <a:lnTo>
                        <a:pt x="55" y="223"/>
                      </a:lnTo>
                      <a:lnTo>
                        <a:pt x="57" y="218"/>
                      </a:lnTo>
                      <a:lnTo>
                        <a:pt x="57" y="216"/>
                      </a:lnTo>
                      <a:lnTo>
                        <a:pt x="60" y="214"/>
                      </a:lnTo>
                      <a:lnTo>
                        <a:pt x="60" y="208"/>
                      </a:lnTo>
                      <a:lnTo>
                        <a:pt x="59" y="207"/>
                      </a:lnTo>
                      <a:lnTo>
                        <a:pt x="61" y="206"/>
                      </a:lnTo>
                      <a:lnTo>
                        <a:pt x="63" y="200"/>
                      </a:lnTo>
                      <a:lnTo>
                        <a:pt x="62" y="200"/>
                      </a:lnTo>
                      <a:lnTo>
                        <a:pt x="63" y="200"/>
                      </a:lnTo>
                      <a:lnTo>
                        <a:pt x="66" y="194"/>
                      </a:lnTo>
                      <a:lnTo>
                        <a:pt x="67" y="183"/>
                      </a:lnTo>
                      <a:lnTo>
                        <a:pt x="69" y="176"/>
                      </a:lnTo>
                      <a:lnTo>
                        <a:pt x="71" y="174"/>
                      </a:lnTo>
                      <a:lnTo>
                        <a:pt x="73" y="167"/>
                      </a:lnTo>
                      <a:lnTo>
                        <a:pt x="77" y="159"/>
                      </a:lnTo>
                      <a:lnTo>
                        <a:pt x="80" y="145"/>
                      </a:lnTo>
                      <a:lnTo>
                        <a:pt x="83" y="141"/>
                      </a:lnTo>
                      <a:lnTo>
                        <a:pt x="83" y="135"/>
                      </a:lnTo>
                      <a:lnTo>
                        <a:pt x="85" y="128"/>
                      </a:lnTo>
                      <a:lnTo>
                        <a:pt x="86" y="126"/>
                      </a:lnTo>
                      <a:lnTo>
                        <a:pt x="89" y="120"/>
                      </a:lnTo>
                      <a:lnTo>
                        <a:pt x="91" y="111"/>
                      </a:lnTo>
                      <a:lnTo>
                        <a:pt x="92" y="104"/>
                      </a:lnTo>
                      <a:lnTo>
                        <a:pt x="94" y="101"/>
                      </a:lnTo>
                      <a:lnTo>
                        <a:pt x="95" y="97"/>
                      </a:lnTo>
                      <a:lnTo>
                        <a:pt x="93" y="94"/>
                      </a:lnTo>
                      <a:lnTo>
                        <a:pt x="94" y="90"/>
                      </a:lnTo>
                      <a:lnTo>
                        <a:pt x="97" y="85"/>
                      </a:lnTo>
                      <a:lnTo>
                        <a:pt x="96" y="83"/>
                      </a:lnTo>
                      <a:lnTo>
                        <a:pt x="98" y="79"/>
                      </a:lnTo>
                      <a:lnTo>
                        <a:pt x="98" y="76"/>
                      </a:lnTo>
                      <a:lnTo>
                        <a:pt x="97" y="74"/>
                      </a:lnTo>
                      <a:lnTo>
                        <a:pt x="98" y="71"/>
                      </a:lnTo>
                      <a:lnTo>
                        <a:pt x="98" y="67"/>
                      </a:lnTo>
                      <a:lnTo>
                        <a:pt x="97" y="66"/>
                      </a:lnTo>
                      <a:lnTo>
                        <a:pt x="97" y="62"/>
                      </a:lnTo>
                      <a:lnTo>
                        <a:pt x="98" y="61"/>
                      </a:lnTo>
                      <a:lnTo>
                        <a:pt x="100" y="62"/>
                      </a:lnTo>
                      <a:lnTo>
                        <a:pt x="101" y="66"/>
                      </a:lnTo>
                      <a:lnTo>
                        <a:pt x="103" y="70"/>
                      </a:lnTo>
                      <a:lnTo>
                        <a:pt x="105" y="70"/>
                      </a:lnTo>
                      <a:lnTo>
                        <a:pt x="105" y="68"/>
                      </a:lnTo>
                      <a:lnTo>
                        <a:pt x="105" y="66"/>
                      </a:lnTo>
                      <a:lnTo>
                        <a:pt x="106" y="64"/>
                      </a:lnTo>
                      <a:lnTo>
                        <a:pt x="107" y="61"/>
                      </a:lnTo>
                      <a:lnTo>
                        <a:pt x="108" y="60"/>
                      </a:lnTo>
                      <a:lnTo>
                        <a:pt x="108" y="56"/>
                      </a:lnTo>
                      <a:lnTo>
                        <a:pt x="105" y="5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77" name="Freeform 880">
                  <a:extLst>
                    <a:ext uri="{FF2B5EF4-FFF2-40B4-BE49-F238E27FC236}">
                      <a16:creationId xmlns:a16="http://schemas.microsoft.com/office/drawing/2014/main" id="{936A513E-E3AE-40E0-AB2E-3745C8CCB4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90" y="3025"/>
                  <a:ext cx="2" cy="3"/>
                </a:xfrm>
                <a:custGeom>
                  <a:avLst/>
                  <a:gdLst>
                    <a:gd name="T0" fmla="*/ 2 w 2"/>
                    <a:gd name="T1" fmla="*/ 0 h 3"/>
                    <a:gd name="T2" fmla="*/ 2 w 2"/>
                    <a:gd name="T3" fmla="*/ 0 h 3"/>
                    <a:gd name="T4" fmla="*/ 0 w 2"/>
                    <a:gd name="T5" fmla="*/ 3 h 3"/>
                    <a:gd name="T6" fmla="*/ 0 w 2"/>
                    <a:gd name="T7" fmla="*/ 3 h 3"/>
                    <a:gd name="T8" fmla="*/ 2 w 2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78" name="Freeform 881">
                  <a:extLst>
                    <a:ext uri="{FF2B5EF4-FFF2-40B4-BE49-F238E27FC236}">
                      <a16:creationId xmlns:a16="http://schemas.microsoft.com/office/drawing/2014/main" id="{A6CCF0B4-7A61-45ED-9958-8059E937B3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3" y="3032"/>
                  <a:ext cx="4" cy="6"/>
                </a:xfrm>
                <a:custGeom>
                  <a:avLst/>
                  <a:gdLst>
                    <a:gd name="T0" fmla="*/ 4 w 4"/>
                    <a:gd name="T1" fmla="*/ 6 h 6"/>
                    <a:gd name="T2" fmla="*/ 4 w 4"/>
                    <a:gd name="T3" fmla="*/ 3 h 6"/>
                    <a:gd name="T4" fmla="*/ 3 w 4"/>
                    <a:gd name="T5" fmla="*/ 1 h 6"/>
                    <a:gd name="T6" fmla="*/ 3 w 4"/>
                    <a:gd name="T7" fmla="*/ 0 h 6"/>
                    <a:gd name="T8" fmla="*/ 2 w 4"/>
                    <a:gd name="T9" fmla="*/ 1 h 6"/>
                    <a:gd name="T10" fmla="*/ 0 w 4"/>
                    <a:gd name="T11" fmla="*/ 3 h 6"/>
                    <a:gd name="T12" fmla="*/ 3 w 4"/>
                    <a:gd name="T13" fmla="*/ 4 h 6"/>
                    <a:gd name="T14" fmla="*/ 4 w 4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6">
                      <a:moveTo>
                        <a:pt x="4" y="6"/>
                      </a:moveTo>
                      <a:lnTo>
                        <a:pt x="4" y="3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3" y="4"/>
                      </a:lnTo>
                      <a:lnTo>
                        <a:pt x="4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79" name="Freeform 882">
                  <a:extLst>
                    <a:ext uri="{FF2B5EF4-FFF2-40B4-BE49-F238E27FC236}">
                      <a16:creationId xmlns:a16="http://schemas.microsoft.com/office/drawing/2014/main" id="{F5C01F11-5AD5-4E96-B534-A533D9325A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31" y="2986"/>
                  <a:ext cx="148" cy="285"/>
                </a:xfrm>
                <a:custGeom>
                  <a:avLst/>
                  <a:gdLst>
                    <a:gd name="T0" fmla="*/ 137 w 148"/>
                    <a:gd name="T1" fmla="*/ 6 h 285"/>
                    <a:gd name="T2" fmla="*/ 126 w 148"/>
                    <a:gd name="T3" fmla="*/ 11 h 285"/>
                    <a:gd name="T4" fmla="*/ 113 w 148"/>
                    <a:gd name="T5" fmla="*/ 13 h 285"/>
                    <a:gd name="T6" fmla="*/ 105 w 148"/>
                    <a:gd name="T7" fmla="*/ 18 h 285"/>
                    <a:gd name="T8" fmla="*/ 96 w 148"/>
                    <a:gd name="T9" fmla="*/ 16 h 285"/>
                    <a:gd name="T10" fmla="*/ 87 w 148"/>
                    <a:gd name="T11" fmla="*/ 20 h 285"/>
                    <a:gd name="T12" fmla="*/ 80 w 148"/>
                    <a:gd name="T13" fmla="*/ 15 h 285"/>
                    <a:gd name="T14" fmla="*/ 58 w 148"/>
                    <a:gd name="T15" fmla="*/ 32 h 285"/>
                    <a:gd name="T16" fmla="*/ 69 w 148"/>
                    <a:gd name="T17" fmla="*/ 55 h 285"/>
                    <a:gd name="T18" fmla="*/ 81 w 148"/>
                    <a:gd name="T19" fmla="*/ 75 h 285"/>
                    <a:gd name="T20" fmla="*/ 76 w 148"/>
                    <a:gd name="T21" fmla="*/ 81 h 285"/>
                    <a:gd name="T22" fmla="*/ 77 w 148"/>
                    <a:gd name="T23" fmla="*/ 94 h 285"/>
                    <a:gd name="T24" fmla="*/ 69 w 148"/>
                    <a:gd name="T25" fmla="*/ 108 h 285"/>
                    <a:gd name="T26" fmla="*/ 67 w 148"/>
                    <a:gd name="T27" fmla="*/ 112 h 285"/>
                    <a:gd name="T28" fmla="*/ 57 w 148"/>
                    <a:gd name="T29" fmla="*/ 100 h 285"/>
                    <a:gd name="T30" fmla="*/ 58 w 148"/>
                    <a:gd name="T31" fmla="*/ 84 h 285"/>
                    <a:gd name="T32" fmla="*/ 56 w 148"/>
                    <a:gd name="T33" fmla="*/ 67 h 285"/>
                    <a:gd name="T34" fmla="*/ 47 w 148"/>
                    <a:gd name="T35" fmla="*/ 68 h 285"/>
                    <a:gd name="T36" fmla="*/ 40 w 148"/>
                    <a:gd name="T37" fmla="*/ 62 h 285"/>
                    <a:gd name="T38" fmla="*/ 10 w 148"/>
                    <a:gd name="T39" fmla="*/ 76 h 285"/>
                    <a:gd name="T40" fmla="*/ 2 w 148"/>
                    <a:gd name="T41" fmla="*/ 88 h 285"/>
                    <a:gd name="T42" fmla="*/ 11 w 148"/>
                    <a:gd name="T43" fmla="*/ 97 h 285"/>
                    <a:gd name="T44" fmla="*/ 25 w 148"/>
                    <a:gd name="T45" fmla="*/ 103 h 285"/>
                    <a:gd name="T46" fmla="*/ 37 w 148"/>
                    <a:gd name="T47" fmla="*/ 111 h 285"/>
                    <a:gd name="T48" fmla="*/ 36 w 148"/>
                    <a:gd name="T49" fmla="*/ 123 h 285"/>
                    <a:gd name="T50" fmla="*/ 37 w 148"/>
                    <a:gd name="T51" fmla="*/ 135 h 285"/>
                    <a:gd name="T52" fmla="*/ 31 w 148"/>
                    <a:gd name="T53" fmla="*/ 146 h 285"/>
                    <a:gd name="T54" fmla="*/ 33 w 148"/>
                    <a:gd name="T55" fmla="*/ 158 h 285"/>
                    <a:gd name="T56" fmla="*/ 30 w 148"/>
                    <a:gd name="T57" fmla="*/ 170 h 285"/>
                    <a:gd name="T58" fmla="*/ 27 w 148"/>
                    <a:gd name="T59" fmla="*/ 182 h 285"/>
                    <a:gd name="T60" fmla="*/ 11 w 148"/>
                    <a:gd name="T61" fmla="*/ 214 h 285"/>
                    <a:gd name="T62" fmla="*/ 14 w 148"/>
                    <a:gd name="T63" fmla="*/ 235 h 285"/>
                    <a:gd name="T64" fmla="*/ 14 w 148"/>
                    <a:gd name="T65" fmla="*/ 265 h 285"/>
                    <a:gd name="T66" fmla="*/ 19 w 148"/>
                    <a:gd name="T67" fmla="*/ 277 h 285"/>
                    <a:gd name="T68" fmla="*/ 19 w 148"/>
                    <a:gd name="T69" fmla="*/ 284 h 285"/>
                    <a:gd name="T70" fmla="*/ 29 w 148"/>
                    <a:gd name="T71" fmla="*/ 275 h 285"/>
                    <a:gd name="T72" fmla="*/ 24 w 148"/>
                    <a:gd name="T73" fmla="*/ 277 h 285"/>
                    <a:gd name="T74" fmla="*/ 25 w 148"/>
                    <a:gd name="T75" fmla="*/ 270 h 285"/>
                    <a:gd name="T76" fmla="*/ 37 w 148"/>
                    <a:gd name="T77" fmla="*/ 255 h 285"/>
                    <a:gd name="T78" fmla="*/ 66 w 148"/>
                    <a:gd name="T79" fmla="*/ 232 h 285"/>
                    <a:gd name="T80" fmla="*/ 64 w 148"/>
                    <a:gd name="T81" fmla="*/ 226 h 285"/>
                    <a:gd name="T82" fmla="*/ 67 w 148"/>
                    <a:gd name="T83" fmla="*/ 211 h 285"/>
                    <a:gd name="T84" fmla="*/ 65 w 148"/>
                    <a:gd name="T85" fmla="*/ 205 h 285"/>
                    <a:gd name="T86" fmla="*/ 63 w 148"/>
                    <a:gd name="T87" fmla="*/ 190 h 285"/>
                    <a:gd name="T88" fmla="*/ 62 w 148"/>
                    <a:gd name="T89" fmla="*/ 178 h 285"/>
                    <a:gd name="T90" fmla="*/ 60 w 148"/>
                    <a:gd name="T91" fmla="*/ 162 h 285"/>
                    <a:gd name="T92" fmla="*/ 64 w 148"/>
                    <a:gd name="T93" fmla="*/ 158 h 285"/>
                    <a:gd name="T94" fmla="*/ 80 w 148"/>
                    <a:gd name="T95" fmla="*/ 146 h 285"/>
                    <a:gd name="T96" fmla="*/ 89 w 148"/>
                    <a:gd name="T97" fmla="*/ 136 h 285"/>
                    <a:gd name="T98" fmla="*/ 94 w 148"/>
                    <a:gd name="T99" fmla="*/ 130 h 285"/>
                    <a:gd name="T100" fmla="*/ 109 w 148"/>
                    <a:gd name="T101" fmla="*/ 117 h 285"/>
                    <a:gd name="T102" fmla="*/ 124 w 148"/>
                    <a:gd name="T103" fmla="*/ 108 h 285"/>
                    <a:gd name="T104" fmla="*/ 138 w 148"/>
                    <a:gd name="T105" fmla="*/ 92 h 285"/>
                    <a:gd name="T106" fmla="*/ 143 w 148"/>
                    <a:gd name="T107" fmla="*/ 81 h 285"/>
                    <a:gd name="T108" fmla="*/ 146 w 148"/>
                    <a:gd name="T109" fmla="*/ 77 h 285"/>
                    <a:gd name="T110" fmla="*/ 146 w 148"/>
                    <a:gd name="T111" fmla="*/ 64 h 285"/>
                    <a:gd name="T112" fmla="*/ 145 w 148"/>
                    <a:gd name="T113" fmla="*/ 54 h 285"/>
                    <a:gd name="T114" fmla="*/ 147 w 148"/>
                    <a:gd name="T115" fmla="*/ 38 h 285"/>
                    <a:gd name="T116" fmla="*/ 145 w 148"/>
                    <a:gd name="T117" fmla="*/ 24 h 285"/>
                    <a:gd name="T118" fmla="*/ 145 w 148"/>
                    <a:gd name="T119" fmla="*/ 12 h 285"/>
                    <a:gd name="T120" fmla="*/ 148 w 148"/>
                    <a:gd name="T121" fmla="*/ 0 h 2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48" h="285">
                      <a:moveTo>
                        <a:pt x="146" y="2"/>
                      </a:moveTo>
                      <a:lnTo>
                        <a:pt x="143" y="1"/>
                      </a:lnTo>
                      <a:lnTo>
                        <a:pt x="141" y="4"/>
                      </a:lnTo>
                      <a:lnTo>
                        <a:pt x="139" y="6"/>
                      </a:lnTo>
                      <a:lnTo>
                        <a:pt x="137" y="6"/>
                      </a:lnTo>
                      <a:lnTo>
                        <a:pt x="135" y="8"/>
                      </a:lnTo>
                      <a:lnTo>
                        <a:pt x="131" y="9"/>
                      </a:lnTo>
                      <a:lnTo>
                        <a:pt x="130" y="11"/>
                      </a:lnTo>
                      <a:lnTo>
                        <a:pt x="128" y="11"/>
                      </a:lnTo>
                      <a:lnTo>
                        <a:pt x="126" y="11"/>
                      </a:lnTo>
                      <a:lnTo>
                        <a:pt x="121" y="12"/>
                      </a:lnTo>
                      <a:lnTo>
                        <a:pt x="119" y="14"/>
                      </a:lnTo>
                      <a:lnTo>
                        <a:pt x="117" y="15"/>
                      </a:lnTo>
                      <a:lnTo>
                        <a:pt x="115" y="12"/>
                      </a:lnTo>
                      <a:lnTo>
                        <a:pt x="113" y="13"/>
                      </a:lnTo>
                      <a:lnTo>
                        <a:pt x="110" y="12"/>
                      </a:lnTo>
                      <a:lnTo>
                        <a:pt x="110" y="13"/>
                      </a:lnTo>
                      <a:lnTo>
                        <a:pt x="110" y="15"/>
                      </a:lnTo>
                      <a:lnTo>
                        <a:pt x="109" y="18"/>
                      </a:lnTo>
                      <a:lnTo>
                        <a:pt x="105" y="18"/>
                      </a:lnTo>
                      <a:lnTo>
                        <a:pt x="102" y="19"/>
                      </a:lnTo>
                      <a:lnTo>
                        <a:pt x="100" y="18"/>
                      </a:lnTo>
                      <a:lnTo>
                        <a:pt x="99" y="18"/>
                      </a:lnTo>
                      <a:lnTo>
                        <a:pt x="98" y="17"/>
                      </a:lnTo>
                      <a:lnTo>
                        <a:pt x="96" y="16"/>
                      </a:lnTo>
                      <a:lnTo>
                        <a:pt x="96" y="17"/>
                      </a:lnTo>
                      <a:lnTo>
                        <a:pt x="94" y="18"/>
                      </a:lnTo>
                      <a:lnTo>
                        <a:pt x="91" y="20"/>
                      </a:lnTo>
                      <a:lnTo>
                        <a:pt x="87" y="22"/>
                      </a:lnTo>
                      <a:lnTo>
                        <a:pt x="87" y="20"/>
                      </a:lnTo>
                      <a:lnTo>
                        <a:pt x="86" y="18"/>
                      </a:lnTo>
                      <a:lnTo>
                        <a:pt x="84" y="18"/>
                      </a:lnTo>
                      <a:lnTo>
                        <a:pt x="83" y="17"/>
                      </a:lnTo>
                      <a:lnTo>
                        <a:pt x="80" y="16"/>
                      </a:lnTo>
                      <a:lnTo>
                        <a:pt x="80" y="15"/>
                      </a:lnTo>
                      <a:lnTo>
                        <a:pt x="79" y="15"/>
                      </a:lnTo>
                      <a:lnTo>
                        <a:pt x="78" y="16"/>
                      </a:lnTo>
                      <a:lnTo>
                        <a:pt x="76" y="17"/>
                      </a:lnTo>
                      <a:lnTo>
                        <a:pt x="62" y="17"/>
                      </a:lnTo>
                      <a:lnTo>
                        <a:pt x="58" y="32"/>
                      </a:lnTo>
                      <a:lnTo>
                        <a:pt x="61" y="48"/>
                      </a:lnTo>
                      <a:lnTo>
                        <a:pt x="65" y="51"/>
                      </a:lnTo>
                      <a:lnTo>
                        <a:pt x="67" y="53"/>
                      </a:lnTo>
                      <a:lnTo>
                        <a:pt x="69" y="55"/>
                      </a:lnTo>
                      <a:lnTo>
                        <a:pt x="69" y="55"/>
                      </a:lnTo>
                      <a:lnTo>
                        <a:pt x="75" y="61"/>
                      </a:lnTo>
                      <a:lnTo>
                        <a:pt x="76" y="63"/>
                      </a:lnTo>
                      <a:lnTo>
                        <a:pt x="79" y="69"/>
                      </a:lnTo>
                      <a:lnTo>
                        <a:pt x="80" y="73"/>
                      </a:lnTo>
                      <a:lnTo>
                        <a:pt x="81" y="75"/>
                      </a:lnTo>
                      <a:lnTo>
                        <a:pt x="81" y="77"/>
                      </a:lnTo>
                      <a:lnTo>
                        <a:pt x="79" y="78"/>
                      </a:lnTo>
                      <a:lnTo>
                        <a:pt x="79" y="80"/>
                      </a:lnTo>
                      <a:lnTo>
                        <a:pt x="77" y="80"/>
                      </a:lnTo>
                      <a:lnTo>
                        <a:pt x="76" y="81"/>
                      </a:lnTo>
                      <a:lnTo>
                        <a:pt x="77" y="82"/>
                      </a:lnTo>
                      <a:lnTo>
                        <a:pt x="77" y="84"/>
                      </a:lnTo>
                      <a:lnTo>
                        <a:pt x="78" y="86"/>
                      </a:lnTo>
                      <a:lnTo>
                        <a:pt x="78" y="92"/>
                      </a:lnTo>
                      <a:lnTo>
                        <a:pt x="77" y="94"/>
                      </a:lnTo>
                      <a:lnTo>
                        <a:pt x="76" y="97"/>
                      </a:lnTo>
                      <a:lnTo>
                        <a:pt x="72" y="98"/>
                      </a:lnTo>
                      <a:lnTo>
                        <a:pt x="71" y="102"/>
                      </a:lnTo>
                      <a:lnTo>
                        <a:pt x="71" y="105"/>
                      </a:lnTo>
                      <a:lnTo>
                        <a:pt x="69" y="108"/>
                      </a:lnTo>
                      <a:lnTo>
                        <a:pt x="70" y="112"/>
                      </a:lnTo>
                      <a:lnTo>
                        <a:pt x="69" y="115"/>
                      </a:lnTo>
                      <a:lnTo>
                        <a:pt x="67" y="116"/>
                      </a:lnTo>
                      <a:lnTo>
                        <a:pt x="66" y="114"/>
                      </a:lnTo>
                      <a:lnTo>
                        <a:pt x="67" y="112"/>
                      </a:lnTo>
                      <a:lnTo>
                        <a:pt x="65" y="109"/>
                      </a:lnTo>
                      <a:lnTo>
                        <a:pt x="64" y="108"/>
                      </a:lnTo>
                      <a:lnTo>
                        <a:pt x="62" y="106"/>
                      </a:lnTo>
                      <a:lnTo>
                        <a:pt x="59" y="103"/>
                      </a:lnTo>
                      <a:lnTo>
                        <a:pt x="57" y="100"/>
                      </a:lnTo>
                      <a:lnTo>
                        <a:pt x="57" y="97"/>
                      </a:lnTo>
                      <a:lnTo>
                        <a:pt x="55" y="94"/>
                      </a:lnTo>
                      <a:lnTo>
                        <a:pt x="55" y="91"/>
                      </a:lnTo>
                      <a:lnTo>
                        <a:pt x="57" y="87"/>
                      </a:lnTo>
                      <a:lnTo>
                        <a:pt x="58" y="84"/>
                      </a:lnTo>
                      <a:lnTo>
                        <a:pt x="61" y="80"/>
                      </a:lnTo>
                      <a:lnTo>
                        <a:pt x="61" y="76"/>
                      </a:lnTo>
                      <a:lnTo>
                        <a:pt x="61" y="71"/>
                      </a:lnTo>
                      <a:lnTo>
                        <a:pt x="59" y="69"/>
                      </a:lnTo>
                      <a:lnTo>
                        <a:pt x="56" y="67"/>
                      </a:lnTo>
                      <a:lnTo>
                        <a:pt x="53" y="67"/>
                      </a:lnTo>
                      <a:lnTo>
                        <a:pt x="51" y="69"/>
                      </a:lnTo>
                      <a:lnTo>
                        <a:pt x="50" y="69"/>
                      </a:lnTo>
                      <a:lnTo>
                        <a:pt x="49" y="70"/>
                      </a:lnTo>
                      <a:lnTo>
                        <a:pt x="47" y="68"/>
                      </a:lnTo>
                      <a:lnTo>
                        <a:pt x="46" y="66"/>
                      </a:lnTo>
                      <a:lnTo>
                        <a:pt x="45" y="64"/>
                      </a:lnTo>
                      <a:lnTo>
                        <a:pt x="44" y="63"/>
                      </a:lnTo>
                      <a:lnTo>
                        <a:pt x="44" y="61"/>
                      </a:lnTo>
                      <a:lnTo>
                        <a:pt x="40" y="62"/>
                      </a:lnTo>
                      <a:lnTo>
                        <a:pt x="40" y="62"/>
                      </a:lnTo>
                      <a:lnTo>
                        <a:pt x="35" y="63"/>
                      </a:lnTo>
                      <a:lnTo>
                        <a:pt x="27" y="68"/>
                      </a:lnTo>
                      <a:lnTo>
                        <a:pt x="24" y="68"/>
                      </a:lnTo>
                      <a:lnTo>
                        <a:pt x="10" y="76"/>
                      </a:lnTo>
                      <a:lnTo>
                        <a:pt x="7" y="76"/>
                      </a:lnTo>
                      <a:lnTo>
                        <a:pt x="2" y="79"/>
                      </a:lnTo>
                      <a:lnTo>
                        <a:pt x="0" y="81"/>
                      </a:lnTo>
                      <a:lnTo>
                        <a:pt x="2" y="87"/>
                      </a:lnTo>
                      <a:lnTo>
                        <a:pt x="2" y="88"/>
                      </a:lnTo>
                      <a:lnTo>
                        <a:pt x="2" y="94"/>
                      </a:lnTo>
                      <a:lnTo>
                        <a:pt x="7" y="95"/>
                      </a:lnTo>
                      <a:lnTo>
                        <a:pt x="9" y="95"/>
                      </a:lnTo>
                      <a:lnTo>
                        <a:pt x="10" y="97"/>
                      </a:lnTo>
                      <a:lnTo>
                        <a:pt x="11" y="97"/>
                      </a:lnTo>
                      <a:lnTo>
                        <a:pt x="13" y="95"/>
                      </a:lnTo>
                      <a:lnTo>
                        <a:pt x="17" y="96"/>
                      </a:lnTo>
                      <a:lnTo>
                        <a:pt x="20" y="99"/>
                      </a:lnTo>
                      <a:lnTo>
                        <a:pt x="23" y="103"/>
                      </a:lnTo>
                      <a:lnTo>
                        <a:pt x="25" y="103"/>
                      </a:lnTo>
                      <a:lnTo>
                        <a:pt x="30" y="104"/>
                      </a:lnTo>
                      <a:lnTo>
                        <a:pt x="32" y="106"/>
                      </a:lnTo>
                      <a:lnTo>
                        <a:pt x="34" y="108"/>
                      </a:lnTo>
                      <a:lnTo>
                        <a:pt x="37" y="108"/>
                      </a:lnTo>
                      <a:lnTo>
                        <a:pt x="37" y="111"/>
                      </a:lnTo>
                      <a:lnTo>
                        <a:pt x="36" y="114"/>
                      </a:lnTo>
                      <a:lnTo>
                        <a:pt x="36" y="117"/>
                      </a:lnTo>
                      <a:lnTo>
                        <a:pt x="36" y="119"/>
                      </a:lnTo>
                      <a:lnTo>
                        <a:pt x="36" y="121"/>
                      </a:lnTo>
                      <a:lnTo>
                        <a:pt x="36" y="123"/>
                      </a:lnTo>
                      <a:lnTo>
                        <a:pt x="34" y="125"/>
                      </a:lnTo>
                      <a:lnTo>
                        <a:pt x="34" y="131"/>
                      </a:lnTo>
                      <a:lnTo>
                        <a:pt x="33" y="134"/>
                      </a:lnTo>
                      <a:lnTo>
                        <a:pt x="34" y="136"/>
                      </a:lnTo>
                      <a:lnTo>
                        <a:pt x="37" y="135"/>
                      </a:lnTo>
                      <a:lnTo>
                        <a:pt x="35" y="137"/>
                      </a:lnTo>
                      <a:lnTo>
                        <a:pt x="33" y="139"/>
                      </a:lnTo>
                      <a:lnTo>
                        <a:pt x="33" y="142"/>
                      </a:lnTo>
                      <a:lnTo>
                        <a:pt x="33" y="146"/>
                      </a:lnTo>
                      <a:lnTo>
                        <a:pt x="31" y="146"/>
                      </a:lnTo>
                      <a:lnTo>
                        <a:pt x="31" y="149"/>
                      </a:lnTo>
                      <a:lnTo>
                        <a:pt x="34" y="151"/>
                      </a:lnTo>
                      <a:lnTo>
                        <a:pt x="34" y="153"/>
                      </a:lnTo>
                      <a:lnTo>
                        <a:pt x="33" y="155"/>
                      </a:lnTo>
                      <a:lnTo>
                        <a:pt x="33" y="158"/>
                      </a:lnTo>
                      <a:lnTo>
                        <a:pt x="34" y="160"/>
                      </a:lnTo>
                      <a:lnTo>
                        <a:pt x="35" y="162"/>
                      </a:lnTo>
                      <a:lnTo>
                        <a:pt x="33" y="165"/>
                      </a:lnTo>
                      <a:lnTo>
                        <a:pt x="31" y="168"/>
                      </a:lnTo>
                      <a:lnTo>
                        <a:pt x="30" y="170"/>
                      </a:lnTo>
                      <a:lnTo>
                        <a:pt x="27" y="170"/>
                      </a:lnTo>
                      <a:lnTo>
                        <a:pt x="27" y="173"/>
                      </a:lnTo>
                      <a:lnTo>
                        <a:pt x="28" y="175"/>
                      </a:lnTo>
                      <a:lnTo>
                        <a:pt x="27" y="177"/>
                      </a:lnTo>
                      <a:lnTo>
                        <a:pt x="27" y="182"/>
                      </a:lnTo>
                      <a:lnTo>
                        <a:pt x="26" y="184"/>
                      </a:lnTo>
                      <a:lnTo>
                        <a:pt x="26" y="190"/>
                      </a:lnTo>
                      <a:lnTo>
                        <a:pt x="10" y="208"/>
                      </a:lnTo>
                      <a:lnTo>
                        <a:pt x="10" y="209"/>
                      </a:lnTo>
                      <a:lnTo>
                        <a:pt x="11" y="214"/>
                      </a:lnTo>
                      <a:lnTo>
                        <a:pt x="13" y="218"/>
                      </a:lnTo>
                      <a:lnTo>
                        <a:pt x="14" y="222"/>
                      </a:lnTo>
                      <a:lnTo>
                        <a:pt x="14" y="230"/>
                      </a:lnTo>
                      <a:lnTo>
                        <a:pt x="13" y="232"/>
                      </a:lnTo>
                      <a:lnTo>
                        <a:pt x="14" y="235"/>
                      </a:lnTo>
                      <a:lnTo>
                        <a:pt x="15" y="238"/>
                      </a:lnTo>
                      <a:lnTo>
                        <a:pt x="16" y="242"/>
                      </a:lnTo>
                      <a:lnTo>
                        <a:pt x="16" y="255"/>
                      </a:lnTo>
                      <a:lnTo>
                        <a:pt x="14" y="260"/>
                      </a:lnTo>
                      <a:lnTo>
                        <a:pt x="14" y="265"/>
                      </a:lnTo>
                      <a:lnTo>
                        <a:pt x="14" y="270"/>
                      </a:lnTo>
                      <a:lnTo>
                        <a:pt x="14" y="271"/>
                      </a:lnTo>
                      <a:lnTo>
                        <a:pt x="16" y="272"/>
                      </a:lnTo>
                      <a:lnTo>
                        <a:pt x="17" y="274"/>
                      </a:lnTo>
                      <a:lnTo>
                        <a:pt x="19" y="277"/>
                      </a:lnTo>
                      <a:lnTo>
                        <a:pt x="18" y="277"/>
                      </a:lnTo>
                      <a:lnTo>
                        <a:pt x="18" y="280"/>
                      </a:lnTo>
                      <a:lnTo>
                        <a:pt x="17" y="283"/>
                      </a:lnTo>
                      <a:lnTo>
                        <a:pt x="17" y="284"/>
                      </a:lnTo>
                      <a:lnTo>
                        <a:pt x="19" y="284"/>
                      </a:lnTo>
                      <a:lnTo>
                        <a:pt x="24" y="285"/>
                      </a:lnTo>
                      <a:lnTo>
                        <a:pt x="27" y="285"/>
                      </a:lnTo>
                      <a:lnTo>
                        <a:pt x="27" y="282"/>
                      </a:lnTo>
                      <a:lnTo>
                        <a:pt x="28" y="280"/>
                      </a:lnTo>
                      <a:lnTo>
                        <a:pt x="29" y="275"/>
                      </a:lnTo>
                      <a:lnTo>
                        <a:pt x="29" y="273"/>
                      </a:lnTo>
                      <a:lnTo>
                        <a:pt x="27" y="274"/>
                      </a:lnTo>
                      <a:lnTo>
                        <a:pt x="27" y="276"/>
                      </a:lnTo>
                      <a:lnTo>
                        <a:pt x="25" y="275"/>
                      </a:lnTo>
                      <a:lnTo>
                        <a:pt x="24" y="277"/>
                      </a:lnTo>
                      <a:lnTo>
                        <a:pt x="24" y="274"/>
                      </a:lnTo>
                      <a:lnTo>
                        <a:pt x="23" y="271"/>
                      </a:lnTo>
                      <a:lnTo>
                        <a:pt x="22" y="270"/>
                      </a:lnTo>
                      <a:lnTo>
                        <a:pt x="24" y="269"/>
                      </a:lnTo>
                      <a:lnTo>
                        <a:pt x="25" y="270"/>
                      </a:lnTo>
                      <a:lnTo>
                        <a:pt x="26" y="265"/>
                      </a:lnTo>
                      <a:lnTo>
                        <a:pt x="27" y="263"/>
                      </a:lnTo>
                      <a:lnTo>
                        <a:pt x="29" y="261"/>
                      </a:lnTo>
                      <a:lnTo>
                        <a:pt x="32" y="260"/>
                      </a:lnTo>
                      <a:lnTo>
                        <a:pt x="37" y="255"/>
                      </a:lnTo>
                      <a:lnTo>
                        <a:pt x="49" y="252"/>
                      </a:lnTo>
                      <a:lnTo>
                        <a:pt x="58" y="247"/>
                      </a:lnTo>
                      <a:lnTo>
                        <a:pt x="64" y="240"/>
                      </a:lnTo>
                      <a:lnTo>
                        <a:pt x="65" y="236"/>
                      </a:lnTo>
                      <a:lnTo>
                        <a:pt x="66" y="232"/>
                      </a:lnTo>
                      <a:lnTo>
                        <a:pt x="66" y="231"/>
                      </a:lnTo>
                      <a:lnTo>
                        <a:pt x="64" y="232"/>
                      </a:lnTo>
                      <a:lnTo>
                        <a:pt x="63" y="229"/>
                      </a:lnTo>
                      <a:lnTo>
                        <a:pt x="64" y="229"/>
                      </a:lnTo>
                      <a:lnTo>
                        <a:pt x="64" y="226"/>
                      </a:lnTo>
                      <a:lnTo>
                        <a:pt x="65" y="224"/>
                      </a:lnTo>
                      <a:lnTo>
                        <a:pt x="65" y="221"/>
                      </a:lnTo>
                      <a:lnTo>
                        <a:pt x="67" y="216"/>
                      </a:lnTo>
                      <a:lnTo>
                        <a:pt x="66" y="215"/>
                      </a:lnTo>
                      <a:lnTo>
                        <a:pt x="67" y="211"/>
                      </a:lnTo>
                      <a:lnTo>
                        <a:pt x="68" y="208"/>
                      </a:lnTo>
                      <a:lnTo>
                        <a:pt x="68" y="205"/>
                      </a:lnTo>
                      <a:lnTo>
                        <a:pt x="68" y="205"/>
                      </a:lnTo>
                      <a:lnTo>
                        <a:pt x="67" y="201"/>
                      </a:lnTo>
                      <a:lnTo>
                        <a:pt x="65" y="205"/>
                      </a:lnTo>
                      <a:lnTo>
                        <a:pt x="65" y="208"/>
                      </a:lnTo>
                      <a:lnTo>
                        <a:pt x="65" y="208"/>
                      </a:lnTo>
                      <a:lnTo>
                        <a:pt x="64" y="205"/>
                      </a:lnTo>
                      <a:lnTo>
                        <a:pt x="65" y="194"/>
                      </a:lnTo>
                      <a:lnTo>
                        <a:pt x="63" y="190"/>
                      </a:lnTo>
                      <a:lnTo>
                        <a:pt x="62" y="186"/>
                      </a:lnTo>
                      <a:lnTo>
                        <a:pt x="62" y="183"/>
                      </a:lnTo>
                      <a:lnTo>
                        <a:pt x="60" y="182"/>
                      </a:lnTo>
                      <a:lnTo>
                        <a:pt x="62" y="180"/>
                      </a:lnTo>
                      <a:lnTo>
                        <a:pt x="62" y="178"/>
                      </a:lnTo>
                      <a:lnTo>
                        <a:pt x="58" y="171"/>
                      </a:lnTo>
                      <a:lnTo>
                        <a:pt x="59" y="169"/>
                      </a:lnTo>
                      <a:lnTo>
                        <a:pt x="58" y="167"/>
                      </a:lnTo>
                      <a:lnTo>
                        <a:pt x="60" y="165"/>
                      </a:lnTo>
                      <a:lnTo>
                        <a:pt x="60" y="162"/>
                      </a:lnTo>
                      <a:lnTo>
                        <a:pt x="58" y="160"/>
                      </a:lnTo>
                      <a:lnTo>
                        <a:pt x="58" y="159"/>
                      </a:lnTo>
                      <a:lnTo>
                        <a:pt x="60" y="158"/>
                      </a:lnTo>
                      <a:lnTo>
                        <a:pt x="62" y="160"/>
                      </a:lnTo>
                      <a:lnTo>
                        <a:pt x="64" y="158"/>
                      </a:lnTo>
                      <a:lnTo>
                        <a:pt x="67" y="158"/>
                      </a:lnTo>
                      <a:lnTo>
                        <a:pt x="70" y="156"/>
                      </a:lnTo>
                      <a:lnTo>
                        <a:pt x="69" y="152"/>
                      </a:lnTo>
                      <a:lnTo>
                        <a:pt x="77" y="146"/>
                      </a:lnTo>
                      <a:lnTo>
                        <a:pt x="80" y="146"/>
                      </a:lnTo>
                      <a:lnTo>
                        <a:pt x="80" y="143"/>
                      </a:lnTo>
                      <a:lnTo>
                        <a:pt x="82" y="143"/>
                      </a:lnTo>
                      <a:lnTo>
                        <a:pt x="83" y="142"/>
                      </a:lnTo>
                      <a:lnTo>
                        <a:pt x="83" y="140"/>
                      </a:lnTo>
                      <a:lnTo>
                        <a:pt x="89" y="136"/>
                      </a:lnTo>
                      <a:lnTo>
                        <a:pt x="89" y="133"/>
                      </a:lnTo>
                      <a:lnTo>
                        <a:pt x="91" y="132"/>
                      </a:lnTo>
                      <a:lnTo>
                        <a:pt x="92" y="129"/>
                      </a:lnTo>
                      <a:lnTo>
                        <a:pt x="93" y="131"/>
                      </a:lnTo>
                      <a:lnTo>
                        <a:pt x="94" y="130"/>
                      </a:lnTo>
                      <a:lnTo>
                        <a:pt x="98" y="125"/>
                      </a:lnTo>
                      <a:lnTo>
                        <a:pt x="98" y="123"/>
                      </a:lnTo>
                      <a:lnTo>
                        <a:pt x="99" y="124"/>
                      </a:lnTo>
                      <a:lnTo>
                        <a:pt x="105" y="119"/>
                      </a:lnTo>
                      <a:lnTo>
                        <a:pt x="109" y="117"/>
                      </a:lnTo>
                      <a:lnTo>
                        <a:pt x="109" y="116"/>
                      </a:lnTo>
                      <a:lnTo>
                        <a:pt x="113" y="117"/>
                      </a:lnTo>
                      <a:lnTo>
                        <a:pt x="121" y="111"/>
                      </a:lnTo>
                      <a:lnTo>
                        <a:pt x="122" y="108"/>
                      </a:lnTo>
                      <a:lnTo>
                        <a:pt x="124" y="108"/>
                      </a:lnTo>
                      <a:lnTo>
                        <a:pt x="133" y="102"/>
                      </a:lnTo>
                      <a:lnTo>
                        <a:pt x="133" y="99"/>
                      </a:lnTo>
                      <a:lnTo>
                        <a:pt x="135" y="99"/>
                      </a:lnTo>
                      <a:lnTo>
                        <a:pt x="138" y="94"/>
                      </a:lnTo>
                      <a:lnTo>
                        <a:pt x="138" y="92"/>
                      </a:lnTo>
                      <a:lnTo>
                        <a:pt x="141" y="87"/>
                      </a:lnTo>
                      <a:lnTo>
                        <a:pt x="143" y="87"/>
                      </a:lnTo>
                      <a:lnTo>
                        <a:pt x="143" y="84"/>
                      </a:lnTo>
                      <a:lnTo>
                        <a:pt x="145" y="81"/>
                      </a:lnTo>
                      <a:lnTo>
                        <a:pt x="143" y="81"/>
                      </a:lnTo>
                      <a:lnTo>
                        <a:pt x="142" y="82"/>
                      </a:lnTo>
                      <a:lnTo>
                        <a:pt x="141" y="80"/>
                      </a:lnTo>
                      <a:lnTo>
                        <a:pt x="144" y="78"/>
                      </a:lnTo>
                      <a:lnTo>
                        <a:pt x="145" y="78"/>
                      </a:lnTo>
                      <a:lnTo>
                        <a:pt x="146" y="77"/>
                      </a:lnTo>
                      <a:lnTo>
                        <a:pt x="145" y="75"/>
                      </a:lnTo>
                      <a:lnTo>
                        <a:pt x="146" y="74"/>
                      </a:lnTo>
                      <a:lnTo>
                        <a:pt x="148" y="72"/>
                      </a:lnTo>
                      <a:lnTo>
                        <a:pt x="147" y="65"/>
                      </a:lnTo>
                      <a:lnTo>
                        <a:pt x="146" y="64"/>
                      </a:lnTo>
                      <a:lnTo>
                        <a:pt x="144" y="64"/>
                      </a:lnTo>
                      <a:lnTo>
                        <a:pt x="143" y="63"/>
                      </a:lnTo>
                      <a:lnTo>
                        <a:pt x="143" y="62"/>
                      </a:lnTo>
                      <a:lnTo>
                        <a:pt x="145" y="62"/>
                      </a:lnTo>
                      <a:lnTo>
                        <a:pt x="145" y="54"/>
                      </a:lnTo>
                      <a:lnTo>
                        <a:pt x="145" y="53"/>
                      </a:lnTo>
                      <a:lnTo>
                        <a:pt x="145" y="53"/>
                      </a:lnTo>
                      <a:lnTo>
                        <a:pt x="146" y="44"/>
                      </a:lnTo>
                      <a:lnTo>
                        <a:pt x="145" y="40"/>
                      </a:lnTo>
                      <a:lnTo>
                        <a:pt x="147" y="38"/>
                      </a:lnTo>
                      <a:lnTo>
                        <a:pt x="147" y="34"/>
                      </a:lnTo>
                      <a:lnTo>
                        <a:pt x="146" y="33"/>
                      </a:lnTo>
                      <a:lnTo>
                        <a:pt x="146" y="29"/>
                      </a:lnTo>
                      <a:lnTo>
                        <a:pt x="147" y="28"/>
                      </a:lnTo>
                      <a:lnTo>
                        <a:pt x="145" y="24"/>
                      </a:lnTo>
                      <a:lnTo>
                        <a:pt x="145" y="18"/>
                      </a:lnTo>
                      <a:lnTo>
                        <a:pt x="145" y="17"/>
                      </a:lnTo>
                      <a:lnTo>
                        <a:pt x="145" y="15"/>
                      </a:lnTo>
                      <a:lnTo>
                        <a:pt x="145" y="15"/>
                      </a:lnTo>
                      <a:lnTo>
                        <a:pt x="145" y="12"/>
                      </a:lnTo>
                      <a:lnTo>
                        <a:pt x="148" y="8"/>
                      </a:lnTo>
                      <a:lnTo>
                        <a:pt x="147" y="7"/>
                      </a:lnTo>
                      <a:lnTo>
                        <a:pt x="148" y="4"/>
                      </a:lnTo>
                      <a:lnTo>
                        <a:pt x="148" y="1"/>
                      </a:lnTo>
                      <a:lnTo>
                        <a:pt x="148" y="0"/>
                      </a:lnTo>
                      <a:lnTo>
                        <a:pt x="147" y="0"/>
                      </a:lnTo>
                      <a:lnTo>
                        <a:pt x="146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80" name="Freeform 883">
                  <a:extLst>
                    <a:ext uri="{FF2B5EF4-FFF2-40B4-BE49-F238E27FC236}">
                      <a16:creationId xmlns:a16="http://schemas.microsoft.com/office/drawing/2014/main" id="{9B1B95EB-1817-4E13-8F8A-0218C50412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30" y="3251"/>
                  <a:ext cx="20" cy="27"/>
                </a:xfrm>
                <a:custGeom>
                  <a:avLst/>
                  <a:gdLst>
                    <a:gd name="T0" fmla="*/ 13 w 20"/>
                    <a:gd name="T1" fmla="*/ 5 h 27"/>
                    <a:gd name="T2" fmla="*/ 11 w 20"/>
                    <a:gd name="T3" fmla="*/ 2 h 27"/>
                    <a:gd name="T4" fmla="*/ 7 w 20"/>
                    <a:gd name="T5" fmla="*/ 0 h 27"/>
                    <a:gd name="T6" fmla="*/ 4 w 20"/>
                    <a:gd name="T7" fmla="*/ 2 h 27"/>
                    <a:gd name="T8" fmla="*/ 4 w 20"/>
                    <a:gd name="T9" fmla="*/ 5 h 27"/>
                    <a:gd name="T10" fmla="*/ 0 w 20"/>
                    <a:gd name="T11" fmla="*/ 12 h 27"/>
                    <a:gd name="T12" fmla="*/ 0 w 20"/>
                    <a:gd name="T13" fmla="*/ 16 h 27"/>
                    <a:gd name="T14" fmla="*/ 0 w 20"/>
                    <a:gd name="T15" fmla="*/ 19 h 27"/>
                    <a:gd name="T16" fmla="*/ 2 w 20"/>
                    <a:gd name="T17" fmla="*/ 20 h 27"/>
                    <a:gd name="T18" fmla="*/ 4 w 20"/>
                    <a:gd name="T19" fmla="*/ 24 h 27"/>
                    <a:gd name="T20" fmla="*/ 8 w 20"/>
                    <a:gd name="T21" fmla="*/ 27 h 27"/>
                    <a:gd name="T22" fmla="*/ 14 w 20"/>
                    <a:gd name="T23" fmla="*/ 27 h 27"/>
                    <a:gd name="T24" fmla="*/ 15 w 20"/>
                    <a:gd name="T25" fmla="*/ 26 h 27"/>
                    <a:gd name="T26" fmla="*/ 16 w 20"/>
                    <a:gd name="T27" fmla="*/ 23 h 27"/>
                    <a:gd name="T28" fmla="*/ 16 w 20"/>
                    <a:gd name="T29" fmla="*/ 21 h 27"/>
                    <a:gd name="T30" fmla="*/ 18 w 20"/>
                    <a:gd name="T31" fmla="*/ 19 h 27"/>
                    <a:gd name="T32" fmla="*/ 18 w 20"/>
                    <a:gd name="T33" fmla="*/ 19 h 27"/>
                    <a:gd name="T34" fmla="*/ 18 w 20"/>
                    <a:gd name="T35" fmla="*/ 18 h 27"/>
                    <a:gd name="T36" fmla="*/ 19 w 20"/>
                    <a:gd name="T37" fmla="*/ 15 h 27"/>
                    <a:gd name="T38" fmla="*/ 19 w 20"/>
                    <a:gd name="T39" fmla="*/ 12 h 27"/>
                    <a:gd name="T40" fmla="*/ 20 w 20"/>
                    <a:gd name="T41" fmla="*/ 12 h 27"/>
                    <a:gd name="T42" fmla="*/ 18 w 20"/>
                    <a:gd name="T43" fmla="*/ 9 h 27"/>
                    <a:gd name="T44" fmla="*/ 17 w 20"/>
                    <a:gd name="T45" fmla="*/ 7 h 27"/>
                    <a:gd name="T46" fmla="*/ 15 w 20"/>
                    <a:gd name="T47" fmla="*/ 6 h 27"/>
                    <a:gd name="T48" fmla="*/ 15 w 20"/>
                    <a:gd name="T49" fmla="*/ 5 h 27"/>
                    <a:gd name="T50" fmla="*/ 15 w 20"/>
                    <a:gd name="T51" fmla="*/ 5 h 27"/>
                    <a:gd name="T52" fmla="*/ 13 w 20"/>
                    <a:gd name="T53" fmla="*/ 5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" h="27">
                      <a:moveTo>
                        <a:pt x="13" y="5"/>
                      </a:moveTo>
                      <a:lnTo>
                        <a:pt x="11" y="2"/>
                      </a:lnTo>
                      <a:lnTo>
                        <a:pt x="7" y="0"/>
                      </a:lnTo>
                      <a:lnTo>
                        <a:pt x="4" y="2"/>
                      </a:lnTo>
                      <a:lnTo>
                        <a:pt x="4" y="5"/>
                      </a:lnTo>
                      <a:lnTo>
                        <a:pt x="0" y="12"/>
                      </a:lnTo>
                      <a:lnTo>
                        <a:pt x="0" y="16"/>
                      </a:lnTo>
                      <a:lnTo>
                        <a:pt x="0" y="19"/>
                      </a:lnTo>
                      <a:lnTo>
                        <a:pt x="2" y="20"/>
                      </a:lnTo>
                      <a:lnTo>
                        <a:pt x="4" y="24"/>
                      </a:lnTo>
                      <a:lnTo>
                        <a:pt x="8" y="27"/>
                      </a:lnTo>
                      <a:lnTo>
                        <a:pt x="14" y="27"/>
                      </a:lnTo>
                      <a:lnTo>
                        <a:pt x="15" y="26"/>
                      </a:lnTo>
                      <a:lnTo>
                        <a:pt x="16" y="23"/>
                      </a:lnTo>
                      <a:lnTo>
                        <a:pt x="16" y="21"/>
                      </a:lnTo>
                      <a:lnTo>
                        <a:pt x="18" y="19"/>
                      </a:lnTo>
                      <a:lnTo>
                        <a:pt x="18" y="19"/>
                      </a:lnTo>
                      <a:lnTo>
                        <a:pt x="18" y="18"/>
                      </a:lnTo>
                      <a:lnTo>
                        <a:pt x="19" y="15"/>
                      </a:lnTo>
                      <a:lnTo>
                        <a:pt x="19" y="12"/>
                      </a:lnTo>
                      <a:lnTo>
                        <a:pt x="20" y="12"/>
                      </a:lnTo>
                      <a:lnTo>
                        <a:pt x="18" y="9"/>
                      </a:lnTo>
                      <a:lnTo>
                        <a:pt x="17" y="7"/>
                      </a:lnTo>
                      <a:lnTo>
                        <a:pt x="15" y="6"/>
                      </a:lnTo>
                      <a:lnTo>
                        <a:pt x="15" y="5"/>
                      </a:lnTo>
                      <a:lnTo>
                        <a:pt x="15" y="5"/>
                      </a:lnTo>
                      <a:lnTo>
                        <a:pt x="13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81" name="Freeform 884">
                  <a:extLst>
                    <a:ext uri="{FF2B5EF4-FFF2-40B4-BE49-F238E27FC236}">
                      <a16:creationId xmlns:a16="http://schemas.microsoft.com/office/drawing/2014/main" id="{986EE932-D6F5-4692-9B34-5A78DC339BF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829" y="3187"/>
                  <a:ext cx="229" cy="235"/>
                </a:xfrm>
                <a:custGeom>
                  <a:avLst/>
                  <a:gdLst>
                    <a:gd name="T0" fmla="*/ 217 w 229"/>
                    <a:gd name="T1" fmla="*/ 87 h 235"/>
                    <a:gd name="T2" fmla="*/ 203 w 229"/>
                    <a:gd name="T3" fmla="*/ 84 h 235"/>
                    <a:gd name="T4" fmla="*/ 205 w 229"/>
                    <a:gd name="T5" fmla="*/ 66 h 235"/>
                    <a:gd name="T6" fmla="*/ 216 w 229"/>
                    <a:gd name="T7" fmla="*/ 64 h 235"/>
                    <a:gd name="T8" fmla="*/ 216 w 229"/>
                    <a:gd name="T9" fmla="*/ 34 h 235"/>
                    <a:gd name="T10" fmla="*/ 213 w 229"/>
                    <a:gd name="T11" fmla="*/ 13 h 235"/>
                    <a:gd name="T12" fmla="*/ 199 w 229"/>
                    <a:gd name="T13" fmla="*/ 6 h 235"/>
                    <a:gd name="T14" fmla="*/ 189 w 229"/>
                    <a:gd name="T15" fmla="*/ 0 h 235"/>
                    <a:gd name="T16" fmla="*/ 177 w 229"/>
                    <a:gd name="T17" fmla="*/ 4 h 235"/>
                    <a:gd name="T18" fmla="*/ 170 w 229"/>
                    <a:gd name="T19" fmla="*/ 11 h 235"/>
                    <a:gd name="T20" fmla="*/ 161 w 229"/>
                    <a:gd name="T21" fmla="*/ 17 h 235"/>
                    <a:gd name="T22" fmla="*/ 154 w 229"/>
                    <a:gd name="T23" fmla="*/ 22 h 235"/>
                    <a:gd name="T24" fmla="*/ 149 w 229"/>
                    <a:gd name="T25" fmla="*/ 38 h 235"/>
                    <a:gd name="T26" fmla="*/ 141 w 229"/>
                    <a:gd name="T27" fmla="*/ 45 h 235"/>
                    <a:gd name="T28" fmla="*/ 132 w 229"/>
                    <a:gd name="T29" fmla="*/ 49 h 235"/>
                    <a:gd name="T30" fmla="*/ 129 w 229"/>
                    <a:gd name="T31" fmla="*/ 63 h 235"/>
                    <a:gd name="T32" fmla="*/ 122 w 229"/>
                    <a:gd name="T33" fmla="*/ 65 h 235"/>
                    <a:gd name="T34" fmla="*/ 106 w 229"/>
                    <a:gd name="T35" fmla="*/ 62 h 235"/>
                    <a:gd name="T36" fmla="*/ 91 w 229"/>
                    <a:gd name="T37" fmla="*/ 63 h 235"/>
                    <a:gd name="T38" fmla="*/ 77 w 229"/>
                    <a:gd name="T39" fmla="*/ 79 h 235"/>
                    <a:gd name="T40" fmla="*/ 63 w 229"/>
                    <a:gd name="T41" fmla="*/ 83 h 235"/>
                    <a:gd name="T42" fmla="*/ 58 w 229"/>
                    <a:gd name="T43" fmla="*/ 60 h 235"/>
                    <a:gd name="T44" fmla="*/ 49 w 229"/>
                    <a:gd name="T45" fmla="*/ 113 h 235"/>
                    <a:gd name="T46" fmla="*/ 36 w 229"/>
                    <a:gd name="T47" fmla="*/ 120 h 235"/>
                    <a:gd name="T48" fmla="*/ 28 w 229"/>
                    <a:gd name="T49" fmla="*/ 121 h 235"/>
                    <a:gd name="T50" fmla="*/ 18 w 229"/>
                    <a:gd name="T51" fmla="*/ 120 h 235"/>
                    <a:gd name="T52" fmla="*/ 8 w 229"/>
                    <a:gd name="T53" fmla="*/ 107 h 235"/>
                    <a:gd name="T54" fmla="*/ 1 w 229"/>
                    <a:gd name="T55" fmla="*/ 115 h 235"/>
                    <a:gd name="T56" fmla="*/ 8 w 229"/>
                    <a:gd name="T57" fmla="*/ 136 h 235"/>
                    <a:gd name="T58" fmla="*/ 17 w 229"/>
                    <a:gd name="T59" fmla="*/ 170 h 235"/>
                    <a:gd name="T60" fmla="*/ 19 w 229"/>
                    <a:gd name="T61" fmla="*/ 194 h 235"/>
                    <a:gd name="T62" fmla="*/ 18 w 229"/>
                    <a:gd name="T63" fmla="*/ 203 h 235"/>
                    <a:gd name="T64" fmla="*/ 20 w 229"/>
                    <a:gd name="T65" fmla="*/ 221 h 235"/>
                    <a:gd name="T66" fmla="*/ 28 w 229"/>
                    <a:gd name="T67" fmla="*/ 222 h 235"/>
                    <a:gd name="T68" fmla="*/ 33 w 229"/>
                    <a:gd name="T69" fmla="*/ 228 h 235"/>
                    <a:gd name="T70" fmla="*/ 45 w 229"/>
                    <a:gd name="T71" fmla="*/ 235 h 235"/>
                    <a:gd name="T72" fmla="*/ 56 w 229"/>
                    <a:gd name="T73" fmla="*/ 227 h 235"/>
                    <a:gd name="T74" fmla="*/ 70 w 229"/>
                    <a:gd name="T75" fmla="*/ 226 h 235"/>
                    <a:gd name="T76" fmla="*/ 77 w 229"/>
                    <a:gd name="T77" fmla="*/ 221 h 235"/>
                    <a:gd name="T78" fmla="*/ 94 w 229"/>
                    <a:gd name="T79" fmla="*/ 220 h 235"/>
                    <a:gd name="T80" fmla="*/ 110 w 229"/>
                    <a:gd name="T81" fmla="*/ 222 h 235"/>
                    <a:gd name="T82" fmla="*/ 122 w 229"/>
                    <a:gd name="T83" fmla="*/ 221 h 235"/>
                    <a:gd name="T84" fmla="*/ 131 w 229"/>
                    <a:gd name="T85" fmla="*/ 215 h 235"/>
                    <a:gd name="T86" fmla="*/ 146 w 229"/>
                    <a:gd name="T87" fmla="*/ 208 h 235"/>
                    <a:gd name="T88" fmla="*/ 162 w 229"/>
                    <a:gd name="T89" fmla="*/ 193 h 235"/>
                    <a:gd name="T90" fmla="*/ 184 w 229"/>
                    <a:gd name="T91" fmla="*/ 170 h 235"/>
                    <a:gd name="T92" fmla="*/ 200 w 229"/>
                    <a:gd name="T93" fmla="*/ 143 h 235"/>
                    <a:gd name="T94" fmla="*/ 209 w 229"/>
                    <a:gd name="T95" fmla="*/ 128 h 235"/>
                    <a:gd name="T96" fmla="*/ 219 w 229"/>
                    <a:gd name="T97" fmla="*/ 117 h 235"/>
                    <a:gd name="T98" fmla="*/ 226 w 229"/>
                    <a:gd name="T99" fmla="*/ 94 h 235"/>
                    <a:gd name="T100" fmla="*/ 226 w 229"/>
                    <a:gd name="T101" fmla="*/ 84 h 235"/>
                    <a:gd name="T102" fmla="*/ 174 w 229"/>
                    <a:gd name="T103" fmla="*/ 141 h 235"/>
                    <a:gd name="T104" fmla="*/ 165 w 229"/>
                    <a:gd name="T105" fmla="*/ 147 h 235"/>
                    <a:gd name="T106" fmla="*/ 157 w 229"/>
                    <a:gd name="T107" fmla="*/ 155 h 235"/>
                    <a:gd name="T108" fmla="*/ 149 w 229"/>
                    <a:gd name="T109" fmla="*/ 144 h 235"/>
                    <a:gd name="T110" fmla="*/ 151 w 229"/>
                    <a:gd name="T111" fmla="*/ 131 h 235"/>
                    <a:gd name="T112" fmla="*/ 163 w 229"/>
                    <a:gd name="T113" fmla="*/ 120 h 235"/>
                    <a:gd name="T114" fmla="*/ 170 w 229"/>
                    <a:gd name="T115" fmla="*/ 121 h 235"/>
                    <a:gd name="T116" fmla="*/ 176 w 229"/>
                    <a:gd name="T117" fmla="*/ 136 h 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29" h="235">
                      <a:moveTo>
                        <a:pt x="221" y="83"/>
                      </a:moveTo>
                      <a:lnTo>
                        <a:pt x="219" y="83"/>
                      </a:lnTo>
                      <a:lnTo>
                        <a:pt x="219" y="83"/>
                      </a:lnTo>
                      <a:lnTo>
                        <a:pt x="217" y="85"/>
                      </a:lnTo>
                      <a:lnTo>
                        <a:pt x="217" y="87"/>
                      </a:lnTo>
                      <a:lnTo>
                        <a:pt x="216" y="90"/>
                      </a:lnTo>
                      <a:lnTo>
                        <a:pt x="215" y="91"/>
                      </a:lnTo>
                      <a:lnTo>
                        <a:pt x="209" y="91"/>
                      </a:lnTo>
                      <a:lnTo>
                        <a:pt x="205" y="88"/>
                      </a:lnTo>
                      <a:lnTo>
                        <a:pt x="203" y="84"/>
                      </a:lnTo>
                      <a:lnTo>
                        <a:pt x="201" y="83"/>
                      </a:lnTo>
                      <a:lnTo>
                        <a:pt x="201" y="80"/>
                      </a:lnTo>
                      <a:lnTo>
                        <a:pt x="201" y="76"/>
                      </a:lnTo>
                      <a:lnTo>
                        <a:pt x="205" y="69"/>
                      </a:lnTo>
                      <a:lnTo>
                        <a:pt x="205" y="66"/>
                      </a:lnTo>
                      <a:lnTo>
                        <a:pt x="208" y="64"/>
                      </a:lnTo>
                      <a:lnTo>
                        <a:pt x="212" y="66"/>
                      </a:lnTo>
                      <a:lnTo>
                        <a:pt x="214" y="69"/>
                      </a:lnTo>
                      <a:lnTo>
                        <a:pt x="216" y="69"/>
                      </a:lnTo>
                      <a:lnTo>
                        <a:pt x="216" y="64"/>
                      </a:lnTo>
                      <a:lnTo>
                        <a:pt x="216" y="59"/>
                      </a:lnTo>
                      <a:lnTo>
                        <a:pt x="218" y="54"/>
                      </a:lnTo>
                      <a:lnTo>
                        <a:pt x="218" y="41"/>
                      </a:lnTo>
                      <a:lnTo>
                        <a:pt x="217" y="37"/>
                      </a:lnTo>
                      <a:lnTo>
                        <a:pt x="216" y="34"/>
                      </a:lnTo>
                      <a:lnTo>
                        <a:pt x="215" y="31"/>
                      </a:lnTo>
                      <a:lnTo>
                        <a:pt x="216" y="29"/>
                      </a:lnTo>
                      <a:lnTo>
                        <a:pt x="216" y="21"/>
                      </a:lnTo>
                      <a:lnTo>
                        <a:pt x="215" y="17"/>
                      </a:lnTo>
                      <a:lnTo>
                        <a:pt x="213" y="13"/>
                      </a:lnTo>
                      <a:lnTo>
                        <a:pt x="212" y="8"/>
                      </a:lnTo>
                      <a:lnTo>
                        <a:pt x="210" y="6"/>
                      </a:lnTo>
                      <a:lnTo>
                        <a:pt x="205" y="4"/>
                      </a:lnTo>
                      <a:lnTo>
                        <a:pt x="201" y="5"/>
                      </a:lnTo>
                      <a:lnTo>
                        <a:pt x="199" y="6"/>
                      </a:lnTo>
                      <a:lnTo>
                        <a:pt x="198" y="5"/>
                      </a:lnTo>
                      <a:lnTo>
                        <a:pt x="195" y="4"/>
                      </a:lnTo>
                      <a:lnTo>
                        <a:pt x="193" y="4"/>
                      </a:lnTo>
                      <a:lnTo>
                        <a:pt x="192" y="1"/>
                      </a:lnTo>
                      <a:lnTo>
                        <a:pt x="189" y="0"/>
                      </a:lnTo>
                      <a:lnTo>
                        <a:pt x="184" y="1"/>
                      </a:lnTo>
                      <a:lnTo>
                        <a:pt x="182" y="1"/>
                      </a:lnTo>
                      <a:lnTo>
                        <a:pt x="181" y="3"/>
                      </a:lnTo>
                      <a:lnTo>
                        <a:pt x="179" y="3"/>
                      </a:lnTo>
                      <a:lnTo>
                        <a:pt x="177" y="4"/>
                      </a:lnTo>
                      <a:lnTo>
                        <a:pt x="177" y="6"/>
                      </a:lnTo>
                      <a:lnTo>
                        <a:pt x="177" y="9"/>
                      </a:lnTo>
                      <a:lnTo>
                        <a:pt x="174" y="9"/>
                      </a:lnTo>
                      <a:lnTo>
                        <a:pt x="173" y="11"/>
                      </a:lnTo>
                      <a:lnTo>
                        <a:pt x="170" y="11"/>
                      </a:lnTo>
                      <a:lnTo>
                        <a:pt x="169" y="12"/>
                      </a:lnTo>
                      <a:lnTo>
                        <a:pt x="168" y="11"/>
                      </a:lnTo>
                      <a:lnTo>
                        <a:pt x="165" y="12"/>
                      </a:lnTo>
                      <a:lnTo>
                        <a:pt x="162" y="15"/>
                      </a:lnTo>
                      <a:lnTo>
                        <a:pt x="161" y="17"/>
                      </a:lnTo>
                      <a:lnTo>
                        <a:pt x="159" y="17"/>
                      </a:lnTo>
                      <a:lnTo>
                        <a:pt x="159" y="19"/>
                      </a:lnTo>
                      <a:lnTo>
                        <a:pt x="156" y="20"/>
                      </a:lnTo>
                      <a:lnTo>
                        <a:pt x="155" y="22"/>
                      </a:lnTo>
                      <a:lnTo>
                        <a:pt x="154" y="22"/>
                      </a:lnTo>
                      <a:lnTo>
                        <a:pt x="152" y="24"/>
                      </a:lnTo>
                      <a:lnTo>
                        <a:pt x="148" y="29"/>
                      </a:lnTo>
                      <a:lnTo>
                        <a:pt x="148" y="34"/>
                      </a:lnTo>
                      <a:lnTo>
                        <a:pt x="149" y="35"/>
                      </a:lnTo>
                      <a:lnTo>
                        <a:pt x="149" y="38"/>
                      </a:lnTo>
                      <a:lnTo>
                        <a:pt x="146" y="38"/>
                      </a:lnTo>
                      <a:lnTo>
                        <a:pt x="146" y="39"/>
                      </a:lnTo>
                      <a:lnTo>
                        <a:pt x="144" y="40"/>
                      </a:lnTo>
                      <a:lnTo>
                        <a:pt x="142" y="42"/>
                      </a:lnTo>
                      <a:lnTo>
                        <a:pt x="141" y="45"/>
                      </a:lnTo>
                      <a:lnTo>
                        <a:pt x="140" y="45"/>
                      </a:lnTo>
                      <a:lnTo>
                        <a:pt x="139" y="46"/>
                      </a:lnTo>
                      <a:lnTo>
                        <a:pt x="138" y="47"/>
                      </a:lnTo>
                      <a:lnTo>
                        <a:pt x="136" y="48"/>
                      </a:lnTo>
                      <a:lnTo>
                        <a:pt x="132" y="49"/>
                      </a:lnTo>
                      <a:lnTo>
                        <a:pt x="132" y="52"/>
                      </a:lnTo>
                      <a:lnTo>
                        <a:pt x="132" y="56"/>
                      </a:lnTo>
                      <a:lnTo>
                        <a:pt x="130" y="58"/>
                      </a:lnTo>
                      <a:lnTo>
                        <a:pt x="130" y="60"/>
                      </a:lnTo>
                      <a:lnTo>
                        <a:pt x="129" y="63"/>
                      </a:lnTo>
                      <a:lnTo>
                        <a:pt x="130" y="65"/>
                      </a:lnTo>
                      <a:lnTo>
                        <a:pt x="127" y="67"/>
                      </a:lnTo>
                      <a:lnTo>
                        <a:pt x="125" y="66"/>
                      </a:lnTo>
                      <a:lnTo>
                        <a:pt x="125" y="65"/>
                      </a:lnTo>
                      <a:lnTo>
                        <a:pt x="122" y="65"/>
                      </a:lnTo>
                      <a:lnTo>
                        <a:pt x="118" y="65"/>
                      </a:lnTo>
                      <a:lnTo>
                        <a:pt x="116" y="66"/>
                      </a:lnTo>
                      <a:lnTo>
                        <a:pt x="113" y="65"/>
                      </a:lnTo>
                      <a:lnTo>
                        <a:pt x="111" y="65"/>
                      </a:lnTo>
                      <a:lnTo>
                        <a:pt x="106" y="62"/>
                      </a:lnTo>
                      <a:lnTo>
                        <a:pt x="105" y="62"/>
                      </a:lnTo>
                      <a:lnTo>
                        <a:pt x="103" y="59"/>
                      </a:lnTo>
                      <a:lnTo>
                        <a:pt x="98" y="59"/>
                      </a:lnTo>
                      <a:lnTo>
                        <a:pt x="94" y="59"/>
                      </a:lnTo>
                      <a:lnTo>
                        <a:pt x="91" y="63"/>
                      </a:lnTo>
                      <a:lnTo>
                        <a:pt x="89" y="69"/>
                      </a:lnTo>
                      <a:lnTo>
                        <a:pt x="86" y="73"/>
                      </a:lnTo>
                      <a:lnTo>
                        <a:pt x="81" y="75"/>
                      </a:lnTo>
                      <a:lnTo>
                        <a:pt x="80" y="77"/>
                      </a:lnTo>
                      <a:lnTo>
                        <a:pt x="77" y="79"/>
                      </a:lnTo>
                      <a:lnTo>
                        <a:pt x="75" y="81"/>
                      </a:lnTo>
                      <a:lnTo>
                        <a:pt x="73" y="83"/>
                      </a:lnTo>
                      <a:lnTo>
                        <a:pt x="69" y="82"/>
                      </a:lnTo>
                      <a:lnTo>
                        <a:pt x="66" y="83"/>
                      </a:lnTo>
                      <a:lnTo>
                        <a:pt x="63" y="83"/>
                      </a:lnTo>
                      <a:lnTo>
                        <a:pt x="59" y="83"/>
                      </a:lnTo>
                      <a:lnTo>
                        <a:pt x="59" y="79"/>
                      </a:lnTo>
                      <a:lnTo>
                        <a:pt x="61" y="74"/>
                      </a:lnTo>
                      <a:lnTo>
                        <a:pt x="62" y="69"/>
                      </a:lnTo>
                      <a:lnTo>
                        <a:pt x="58" y="60"/>
                      </a:lnTo>
                      <a:lnTo>
                        <a:pt x="56" y="55"/>
                      </a:lnTo>
                      <a:lnTo>
                        <a:pt x="52" y="51"/>
                      </a:lnTo>
                      <a:lnTo>
                        <a:pt x="52" y="52"/>
                      </a:lnTo>
                      <a:lnTo>
                        <a:pt x="50" y="113"/>
                      </a:lnTo>
                      <a:lnTo>
                        <a:pt x="49" y="113"/>
                      </a:lnTo>
                      <a:lnTo>
                        <a:pt x="44" y="112"/>
                      </a:lnTo>
                      <a:lnTo>
                        <a:pt x="40" y="114"/>
                      </a:lnTo>
                      <a:lnTo>
                        <a:pt x="39" y="118"/>
                      </a:lnTo>
                      <a:lnTo>
                        <a:pt x="37" y="119"/>
                      </a:lnTo>
                      <a:lnTo>
                        <a:pt x="36" y="120"/>
                      </a:lnTo>
                      <a:lnTo>
                        <a:pt x="35" y="124"/>
                      </a:lnTo>
                      <a:lnTo>
                        <a:pt x="34" y="123"/>
                      </a:lnTo>
                      <a:lnTo>
                        <a:pt x="32" y="124"/>
                      </a:lnTo>
                      <a:lnTo>
                        <a:pt x="31" y="121"/>
                      </a:lnTo>
                      <a:lnTo>
                        <a:pt x="28" y="121"/>
                      </a:lnTo>
                      <a:lnTo>
                        <a:pt x="28" y="123"/>
                      </a:lnTo>
                      <a:lnTo>
                        <a:pt x="25" y="122"/>
                      </a:lnTo>
                      <a:lnTo>
                        <a:pt x="24" y="121"/>
                      </a:lnTo>
                      <a:lnTo>
                        <a:pt x="21" y="122"/>
                      </a:lnTo>
                      <a:lnTo>
                        <a:pt x="18" y="120"/>
                      </a:lnTo>
                      <a:lnTo>
                        <a:pt x="14" y="119"/>
                      </a:lnTo>
                      <a:lnTo>
                        <a:pt x="11" y="114"/>
                      </a:lnTo>
                      <a:lnTo>
                        <a:pt x="13" y="111"/>
                      </a:lnTo>
                      <a:lnTo>
                        <a:pt x="10" y="110"/>
                      </a:lnTo>
                      <a:lnTo>
                        <a:pt x="8" y="107"/>
                      </a:lnTo>
                      <a:lnTo>
                        <a:pt x="5" y="108"/>
                      </a:lnTo>
                      <a:lnTo>
                        <a:pt x="4" y="111"/>
                      </a:lnTo>
                      <a:lnTo>
                        <a:pt x="4" y="112"/>
                      </a:lnTo>
                      <a:lnTo>
                        <a:pt x="4" y="114"/>
                      </a:lnTo>
                      <a:lnTo>
                        <a:pt x="1" y="115"/>
                      </a:lnTo>
                      <a:lnTo>
                        <a:pt x="0" y="117"/>
                      </a:lnTo>
                      <a:lnTo>
                        <a:pt x="0" y="117"/>
                      </a:lnTo>
                      <a:lnTo>
                        <a:pt x="1" y="122"/>
                      </a:lnTo>
                      <a:lnTo>
                        <a:pt x="5" y="126"/>
                      </a:lnTo>
                      <a:lnTo>
                        <a:pt x="8" y="136"/>
                      </a:lnTo>
                      <a:lnTo>
                        <a:pt x="8" y="141"/>
                      </a:lnTo>
                      <a:lnTo>
                        <a:pt x="11" y="150"/>
                      </a:lnTo>
                      <a:lnTo>
                        <a:pt x="13" y="160"/>
                      </a:lnTo>
                      <a:lnTo>
                        <a:pt x="17" y="166"/>
                      </a:lnTo>
                      <a:lnTo>
                        <a:pt x="17" y="170"/>
                      </a:lnTo>
                      <a:lnTo>
                        <a:pt x="21" y="178"/>
                      </a:lnTo>
                      <a:lnTo>
                        <a:pt x="21" y="181"/>
                      </a:lnTo>
                      <a:lnTo>
                        <a:pt x="22" y="186"/>
                      </a:lnTo>
                      <a:lnTo>
                        <a:pt x="21" y="192"/>
                      </a:lnTo>
                      <a:lnTo>
                        <a:pt x="19" y="194"/>
                      </a:lnTo>
                      <a:lnTo>
                        <a:pt x="18" y="194"/>
                      </a:lnTo>
                      <a:lnTo>
                        <a:pt x="17" y="192"/>
                      </a:lnTo>
                      <a:lnTo>
                        <a:pt x="15" y="194"/>
                      </a:lnTo>
                      <a:lnTo>
                        <a:pt x="15" y="198"/>
                      </a:lnTo>
                      <a:lnTo>
                        <a:pt x="18" y="203"/>
                      </a:lnTo>
                      <a:lnTo>
                        <a:pt x="20" y="205"/>
                      </a:lnTo>
                      <a:lnTo>
                        <a:pt x="22" y="211"/>
                      </a:lnTo>
                      <a:lnTo>
                        <a:pt x="21" y="214"/>
                      </a:lnTo>
                      <a:lnTo>
                        <a:pt x="21" y="219"/>
                      </a:lnTo>
                      <a:lnTo>
                        <a:pt x="20" y="221"/>
                      </a:lnTo>
                      <a:lnTo>
                        <a:pt x="21" y="225"/>
                      </a:lnTo>
                      <a:lnTo>
                        <a:pt x="22" y="227"/>
                      </a:lnTo>
                      <a:lnTo>
                        <a:pt x="22" y="224"/>
                      </a:lnTo>
                      <a:lnTo>
                        <a:pt x="25" y="221"/>
                      </a:lnTo>
                      <a:lnTo>
                        <a:pt x="28" y="222"/>
                      </a:lnTo>
                      <a:lnTo>
                        <a:pt x="28" y="225"/>
                      </a:lnTo>
                      <a:lnTo>
                        <a:pt x="27" y="227"/>
                      </a:lnTo>
                      <a:lnTo>
                        <a:pt x="28" y="228"/>
                      </a:lnTo>
                      <a:lnTo>
                        <a:pt x="31" y="226"/>
                      </a:lnTo>
                      <a:lnTo>
                        <a:pt x="33" y="228"/>
                      </a:lnTo>
                      <a:lnTo>
                        <a:pt x="33" y="231"/>
                      </a:lnTo>
                      <a:lnTo>
                        <a:pt x="35" y="231"/>
                      </a:lnTo>
                      <a:lnTo>
                        <a:pt x="42" y="235"/>
                      </a:lnTo>
                      <a:lnTo>
                        <a:pt x="43" y="234"/>
                      </a:lnTo>
                      <a:lnTo>
                        <a:pt x="45" y="235"/>
                      </a:lnTo>
                      <a:lnTo>
                        <a:pt x="46" y="232"/>
                      </a:lnTo>
                      <a:lnTo>
                        <a:pt x="48" y="231"/>
                      </a:lnTo>
                      <a:lnTo>
                        <a:pt x="51" y="228"/>
                      </a:lnTo>
                      <a:lnTo>
                        <a:pt x="55" y="228"/>
                      </a:lnTo>
                      <a:lnTo>
                        <a:pt x="56" y="227"/>
                      </a:lnTo>
                      <a:lnTo>
                        <a:pt x="59" y="227"/>
                      </a:lnTo>
                      <a:lnTo>
                        <a:pt x="63" y="228"/>
                      </a:lnTo>
                      <a:lnTo>
                        <a:pt x="65" y="228"/>
                      </a:lnTo>
                      <a:lnTo>
                        <a:pt x="69" y="228"/>
                      </a:lnTo>
                      <a:lnTo>
                        <a:pt x="70" y="226"/>
                      </a:lnTo>
                      <a:lnTo>
                        <a:pt x="71" y="224"/>
                      </a:lnTo>
                      <a:lnTo>
                        <a:pt x="73" y="224"/>
                      </a:lnTo>
                      <a:lnTo>
                        <a:pt x="74" y="224"/>
                      </a:lnTo>
                      <a:lnTo>
                        <a:pt x="75" y="222"/>
                      </a:lnTo>
                      <a:lnTo>
                        <a:pt x="77" y="221"/>
                      </a:lnTo>
                      <a:lnTo>
                        <a:pt x="84" y="221"/>
                      </a:lnTo>
                      <a:lnTo>
                        <a:pt x="88" y="223"/>
                      </a:lnTo>
                      <a:lnTo>
                        <a:pt x="91" y="222"/>
                      </a:lnTo>
                      <a:lnTo>
                        <a:pt x="91" y="221"/>
                      </a:lnTo>
                      <a:lnTo>
                        <a:pt x="94" y="220"/>
                      </a:lnTo>
                      <a:lnTo>
                        <a:pt x="101" y="221"/>
                      </a:lnTo>
                      <a:lnTo>
                        <a:pt x="103" y="223"/>
                      </a:lnTo>
                      <a:lnTo>
                        <a:pt x="110" y="225"/>
                      </a:lnTo>
                      <a:lnTo>
                        <a:pt x="111" y="224"/>
                      </a:lnTo>
                      <a:lnTo>
                        <a:pt x="110" y="222"/>
                      </a:lnTo>
                      <a:lnTo>
                        <a:pt x="111" y="219"/>
                      </a:lnTo>
                      <a:lnTo>
                        <a:pt x="114" y="220"/>
                      </a:lnTo>
                      <a:lnTo>
                        <a:pt x="117" y="221"/>
                      </a:lnTo>
                      <a:lnTo>
                        <a:pt x="122" y="221"/>
                      </a:lnTo>
                      <a:lnTo>
                        <a:pt x="122" y="221"/>
                      </a:lnTo>
                      <a:lnTo>
                        <a:pt x="120" y="218"/>
                      </a:lnTo>
                      <a:lnTo>
                        <a:pt x="122" y="215"/>
                      </a:lnTo>
                      <a:lnTo>
                        <a:pt x="125" y="214"/>
                      </a:lnTo>
                      <a:lnTo>
                        <a:pt x="129" y="214"/>
                      </a:lnTo>
                      <a:lnTo>
                        <a:pt x="131" y="215"/>
                      </a:lnTo>
                      <a:lnTo>
                        <a:pt x="134" y="215"/>
                      </a:lnTo>
                      <a:lnTo>
                        <a:pt x="137" y="213"/>
                      </a:lnTo>
                      <a:lnTo>
                        <a:pt x="143" y="211"/>
                      </a:lnTo>
                      <a:lnTo>
                        <a:pt x="143" y="210"/>
                      </a:lnTo>
                      <a:lnTo>
                        <a:pt x="146" y="208"/>
                      </a:lnTo>
                      <a:lnTo>
                        <a:pt x="148" y="206"/>
                      </a:lnTo>
                      <a:lnTo>
                        <a:pt x="158" y="198"/>
                      </a:lnTo>
                      <a:lnTo>
                        <a:pt x="160" y="195"/>
                      </a:lnTo>
                      <a:lnTo>
                        <a:pt x="160" y="194"/>
                      </a:lnTo>
                      <a:lnTo>
                        <a:pt x="162" y="193"/>
                      </a:lnTo>
                      <a:lnTo>
                        <a:pt x="177" y="176"/>
                      </a:lnTo>
                      <a:lnTo>
                        <a:pt x="177" y="175"/>
                      </a:lnTo>
                      <a:lnTo>
                        <a:pt x="179" y="175"/>
                      </a:lnTo>
                      <a:lnTo>
                        <a:pt x="181" y="171"/>
                      </a:lnTo>
                      <a:lnTo>
                        <a:pt x="184" y="170"/>
                      </a:lnTo>
                      <a:lnTo>
                        <a:pt x="184" y="166"/>
                      </a:lnTo>
                      <a:lnTo>
                        <a:pt x="189" y="160"/>
                      </a:lnTo>
                      <a:lnTo>
                        <a:pt x="195" y="149"/>
                      </a:lnTo>
                      <a:lnTo>
                        <a:pt x="197" y="143"/>
                      </a:lnTo>
                      <a:lnTo>
                        <a:pt x="200" y="143"/>
                      </a:lnTo>
                      <a:lnTo>
                        <a:pt x="201" y="139"/>
                      </a:lnTo>
                      <a:lnTo>
                        <a:pt x="201" y="138"/>
                      </a:lnTo>
                      <a:lnTo>
                        <a:pt x="205" y="134"/>
                      </a:lnTo>
                      <a:lnTo>
                        <a:pt x="206" y="130"/>
                      </a:lnTo>
                      <a:lnTo>
                        <a:pt x="209" y="128"/>
                      </a:lnTo>
                      <a:lnTo>
                        <a:pt x="211" y="125"/>
                      </a:lnTo>
                      <a:lnTo>
                        <a:pt x="214" y="124"/>
                      </a:lnTo>
                      <a:lnTo>
                        <a:pt x="215" y="122"/>
                      </a:lnTo>
                      <a:lnTo>
                        <a:pt x="215" y="122"/>
                      </a:lnTo>
                      <a:lnTo>
                        <a:pt x="219" y="117"/>
                      </a:lnTo>
                      <a:lnTo>
                        <a:pt x="220" y="114"/>
                      </a:lnTo>
                      <a:lnTo>
                        <a:pt x="222" y="111"/>
                      </a:lnTo>
                      <a:lnTo>
                        <a:pt x="224" y="104"/>
                      </a:lnTo>
                      <a:lnTo>
                        <a:pt x="226" y="99"/>
                      </a:lnTo>
                      <a:lnTo>
                        <a:pt x="226" y="94"/>
                      </a:lnTo>
                      <a:lnTo>
                        <a:pt x="228" y="88"/>
                      </a:lnTo>
                      <a:lnTo>
                        <a:pt x="227" y="87"/>
                      </a:lnTo>
                      <a:lnTo>
                        <a:pt x="229" y="85"/>
                      </a:lnTo>
                      <a:lnTo>
                        <a:pt x="229" y="84"/>
                      </a:lnTo>
                      <a:lnTo>
                        <a:pt x="226" y="84"/>
                      </a:lnTo>
                      <a:lnTo>
                        <a:pt x="221" y="83"/>
                      </a:lnTo>
                      <a:close/>
                      <a:moveTo>
                        <a:pt x="176" y="136"/>
                      </a:moveTo>
                      <a:lnTo>
                        <a:pt x="173" y="138"/>
                      </a:lnTo>
                      <a:lnTo>
                        <a:pt x="174" y="140"/>
                      </a:lnTo>
                      <a:lnTo>
                        <a:pt x="174" y="141"/>
                      </a:lnTo>
                      <a:lnTo>
                        <a:pt x="174" y="144"/>
                      </a:lnTo>
                      <a:lnTo>
                        <a:pt x="171" y="145"/>
                      </a:lnTo>
                      <a:lnTo>
                        <a:pt x="170" y="145"/>
                      </a:lnTo>
                      <a:lnTo>
                        <a:pt x="167" y="145"/>
                      </a:lnTo>
                      <a:lnTo>
                        <a:pt x="165" y="147"/>
                      </a:lnTo>
                      <a:lnTo>
                        <a:pt x="163" y="148"/>
                      </a:lnTo>
                      <a:lnTo>
                        <a:pt x="161" y="152"/>
                      </a:lnTo>
                      <a:lnTo>
                        <a:pt x="160" y="154"/>
                      </a:lnTo>
                      <a:lnTo>
                        <a:pt x="160" y="155"/>
                      </a:lnTo>
                      <a:lnTo>
                        <a:pt x="157" y="155"/>
                      </a:lnTo>
                      <a:lnTo>
                        <a:pt x="154" y="154"/>
                      </a:lnTo>
                      <a:lnTo>
                        <a:pt x="153" y="152"/>
                      </a:lnTo>
                      <a:lnTo>
                        <a:pt x="150" y="149"/>
                      </a:lnTo>
                      <a:lnTo>
                        <a:pt x="150" y="146"/>
                      </a:lnTo>
                      <a:lnTo>
                        <a:pt x="149" y="144"/>
                      </a:lnTo>
                      <a:lnTo>
                        <a:pt x="148" y="142"/>
                      </a:lnTo>
                      <a:lnTo>
                        <a:pt x="146" y="140"/>
                      </a:lnTo>
                      <a:lnTo>
                        <a:pt x="146" y="137"/>
                      </a:lnTo>
                      <a:lnTo>
                        <a:pt x="147" y="135"/>
                      </a:lnTo>
                      <a:lnTo>
                        <a:pt x="151" y="131"/>
                      </a:lnTo>
                      <a:lnTo>
                        <a:pt x="153" y="127"/>
                      </a:lnTo>
                      <a:lnTo>
                        <a:pt x="156" y="124"/>
                      </a:lnTo>
                      <a:lnTo>
                        <a:pt x="160" y="123"/>
                      </a:lnTo>
                      <a:lnTo>
                        <a:pt x="162" y="121"/>
                      </a:lnTo>
                      <a:lnTo>
                        <a:pt x="163" y="120"/>
                      </a:lnTo>
                      <a:lnTo>
                        <a:pt x="164" y="118"/>
                      </a:lnTo>
                      <a:lnTo>
                        <a:pt x="166" y="118"/>
                      </a:lnTo>
                      <a:lnTo>
                        <a:pt x="167" y="120"/>
                      </a:lnTo>
                      <a:lnTo>
                        <a:pt x="168" y="119"/>
                      </a:lnTo>
                      <a:lnTo>
                        <a:pt x="170" y="121"/>
                      </a:lnTo>
                      <a:lnTo>
                        <a:pt x="173" y="120"/>
                      </a:lnTo>
                      <a:lnTo>
                        <a:pt x="176" y="123"/>
                      </a:lnTo>
                      <a:lnTo>
                        <a:pt x="178" y="129"/>
                      </a:lnTo>
                      <a:lnTo>
                        <a:pt x="178" y="134"/>
                      </a:lnTo>
                      <a:lnTo>
                        <a:pt x="176" y="136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82" name="Freeform 885">
                  <a:extLst>
                    <a:ext uri="{FF2B5EF4-FFF2-40B4-BE49-F238E27FC236}">
                      <a16:creationId xmlns:a16="http://schemas.microsoft.com/office/drawing/2014/main" id="{ADB1AD58-E3CA-42E1-A7BA-94061F5265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3305"/>
                  <a:ext cx="32" cy="37"/>
                </a:xfrm>
                <a:custGeom>
                  <a:avLst/>
                  <a:gdLst>
                    <a:gd name="T0" fmla="*/ 30 w 32"/>
                    <a:gd name="T1" fmla="*/ 5 h 37"/>
                    <a:gd name="T2" fmla="*/ 27 w 32"/>
                    <a:gd name="T3" fmla="*/ 2 h 37"/>
                    <a:gd name="T4" fmla="*/ 24 w 32"/>
                    <a:gd name="T5" fmla="*/ 3 h 37"/>
                    <a:gd name="T6" fmla="*/ 22 w 32"/>
                    <a:gd name="T7" fmla="*/ 1 h 37"/>
                    <a:gd name="T8" fmla="*/ 21 w 32"/>
                    <a:gd name="T9" fmla="*/ 2 h 37"/>
                    <a:gd name="T10" fmla="*/ 20 w 32"/>
                    <a:gd name="T11" fmla="*/ 0 h 37"/>
                    <a:gd name="T12" fmla="*/ 18 w 32"/>
                    <a:gd name="T13" fmla="*/ 0 h 37"/>
                    <a:gd name="T14" fmla="*/ 17 w 32"/>
                    <a:gd name="T15" fmla="*/ 2 h 37"/>
                    <a:gd name="T16" fmla="*/ 16 w 32"/>
                    <a:gd name="T17" fmla="*/ 3 h 37"/>
                    <a:gd name="T18" fmla="*/ 14 w 32"/>
                    <a:gd name="T19" fmla="*/ 5 h 37"/>
                    <a:gd name="T20" fmla="*/ 10 w 32"/>
                    <a:gd name="T21" fmla="*/ 6 h 37"/>
                    <a:gd name="T22" fmla="*/ 7 w 32"/>
                    <a:gd name="T23" fmla="*/ 9 h 37"/>
                    <a:gd name="T24" fmla="*/ 5 w 32"/>
                    <a:gd name="T25" fmla="*/ 13 h 37"/>
                    <a:gd name="T26" fmla="*/ 1 w 32"/>
                    <a:gd name="T27" fmla="*/ 17 h 37"/>
                    <a:gd name="T28" fmla="*/ 0 w 32"/>
                    <a:gd name="T29" fmla="*/ 19 h 37"/>
                    <a:gd name="T30" fmla="*/ 0 w 32"/>
                    <a:gd name="T31" fmla="*/ 22 h 37"/>
                    <a:gd name="T32" fmla="*/ 2 w 32"/>
                    <a:gd name="T33" fmla="*/ 24 h 37"/>
                    <a:gd name="T34" fmla="*/ 3 w 32"/>
                    <a:gd name="T35" fmla="*/ 26 h 37"/>
                    <a:gd name="T36" fmla="*/ 4 w 32"/>
                    <a:gd name="T37" fmla="*/ 28 h 37"/>
                    <a:gd name="T38" fmla="*/ 4 w 32"/>
                    <a:gd name="T39" fmla="*/ 31 h 37"/>
                    <a:gd name="T40" fmla="*/ 7 w 32"/>
                    <a:gd name="T41" fmla="*/ 34 h 37"/>
                    <a:gd name="T42" fmla="*/ 8 w 32"/>
                    <a:gd name="T43" fmla="*/ 36 h 37"/>
                    <a:gd name="T44" fmla="*/ 11 w 32"/>
                    <a:gd name="T45" fmla="*/ 37 h 37"/>
                    <a:gd name="T46" fmla="*/ 14 w 32"/>
                    <a:gd name="T47" fmla="*/ 37 h 37"/>
                    <a:gd name="T48" fmla="*/ 14 w 32"/>
                    <a:gd name="T49" fmla="*/ 36 h 37"/>
                    <a:gd name="T50" fmla="*/ 15 w 32"/>
                    <a:gd name="T51" fmla="*/ 34 h 37"/>
                    <a:gd name="T52" fmla="*/ 17 w 32"/>
                    <a:gd name="T53" fmla="*/ 30 h 37"/>
                    <a:gd name="T54" fmla="*/ 19 w 32"/>
                    <a:gd name="T55" fmla="*/ 29 h 37"/>
                    <a:gd name="T56" fmla="*/ 21 w 32"/>
                    <a:gd name="T57" fmla="*/ 27 h 37"/>
                    <a:gd name="T58" fmla="*/ 24 w 32"/>
                    <a:gd name="T59" fmla="*/ 27 h 37"/>
                    <a:gd name="T60" fmla="*/ 25 w 32"/>
                    <a:gd name="T61" fmla="*/ 27 h 37"/>
                    <a:gd name="T62" fmla="*/ 28 w 32"/>
                    <a:gd name="T63" fmla="*/ 26 h 37"/>
                    <a:gd name="T64" fmla="*/ 28 w 32"/>
                    <a:gd name="T65" fmla="*/ 23 h 37"/>
                    <a:gd name="T66" fmla="*/ 28 w 32"/>
                    <a:gd name="T67" fmla="*/ 22 h 37"/>
                    <a:gd name="T68" fmla="*/ 27 w 32"/>
                    <a:gd name="T69" fmla="*/ 20 h 37"/>
                    <a:gd name="T70" fmla="*/ 30 w 32"/>
                    <a:gd name="T71" fmla="*/ 18 h 37"/>
                    <a:gd name="T72" fmla="*/ 32 w 32"/>
                    <a:gd name="T73" fmla="*/ 16 h 37"/>
                    <a:gd name="T74" fmla="*/ 32 w 32"/>
                    <a:gd name="T75" fmla="*/ 11 h 37"/>
                    <a:gd name="T76" fmla="*/ 30 w 32"/>
                    <a:gd name="T77" fmla="*/ 5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32" h="37">
                      <a:moveTo>
                        <a:pt x="30" y="5"/>
                      </a:moveTo>
                      <a:lnTo>
                        <a:pt x="27" y="2"/>
                      </a:lnTo>
                      <a:lnTo>
                        <a:pt x="24" y="3"/>
                      </a:lnTo>
                      <a:lnTo>
                        <a:pt x="22" y="1"/>
                      </a:lnTo>
                      <a:lnTo>
                        <a:pt x="21" y="2"/>
                      </a:lnTo>
                      <a:lnTo>
                        <a:pt x="20" y="0"/>
                      </a:lnTo>
                      <a:lnTo>
                        <a:pt x="18" y="0"/>
                      </a:lnTo>
                      <a:lnTo>
                        <a:pt x="17" y="2"/>
                      </a:lnTo>
                      <a:lnTo>
                        <a:pt x="16" y="3"/>
                      </a:lnTo>
                      <a:lnTo>
                        <a:pt x="14" y="5"/>
                      </a:lnTo>
                      <a:lnTo>
                        <a:pt x="10" y="6"/>
                      </a:lnTo>
                      <a:lnTo>
                        <a:pt x="7" y="9"/>
                      </a:lnTo>
                      <a:lnTo>
                        <a:pt x="5" y="13"/>
                      </a:lnTo>
                      <a:lnTo>
                        <a:pt x="1" y="17"/>
                      </a:lnTo>
                      <a:lnTo>
                        <a:pt x="0" y="19"/>
                      </a:lnTo>
                      <a:lnTo>
                        <a:pt x="0" y="22"/>
                      </a:lnTo>
                      <a:lnTo>
                        <a:pt x="2" y="24"/>
                      </a:lnTo>
                      <a:lnTo>
                        <a:pt x="3" y="26"/>
                      </a:lnTo>
                      <a:lnTo>
                        <a:pt x="4" y="28"/>
                      </a:lnTo>
                      <a:lnTo>
                        <a:pt x="4" y="31"/>
                      </a:lnTo>
                      <a:lnTo>
                        <a:pt x="7" y="34"/>
                      </a:lnTo>
                      <a:lnTo>
                        <a:pt x="8" y="36"/>
                      </a:lnTo>
                      <a:lnTo>
                        <a:pt x="11" y="37"/>
                      </a:lnTo>
                      <a:lnTo>
                        <a:pt x="14" y="37"/>
                      </a:lnTo>
                      <a:lnTo>
                        <a:pt x="14" y="36"/>
                      </a:lnTo>
                      <a:lnTo>
                        <a:pt x="15" y="34"/>
                      </a:lnTo>
                      <a:lnTo>
                        <a:pt x="17" y="30"/>
                      </a:lnTo>
                      <a:lnTo>
                        <a:pt x="19" y="29"/>
                      </a:lnTo>
                      <a:lnTo>
                        <a:pt x="21" y="27"/>
                      </a:lnTo>
                      <a:lnTo>
                        <a:pt x="24" y="27"/>
                      </a:lnTo>
                      <a:lnTo>
                        <a:pt x="25" y="27"/>
                      </a:lnTo>
                      <a:lnTo>
                        <a:pt x="28" y="26"/>
                      </a:lnTo>
                      <a:lnTo>
                        <a:pt x="28" y="23"/>
                      </a:lnTo>
                      <a:lnTo>
                        <a:pt x="28" y="22"/>
                      </a:lnTo>
                      <a:lnTo>
                        <a:pt x="27" y="20"/>
                      </a:lnTo>
                      <a:lnTo>
                        <a:pt x="30" y="18"/>
                      </a:lnTo>
                      <a:lnTo>
                        <a:pt x="32" y="16"/>
                      </a:lnTo>
                      <a:lnTo>
                        <a:pt x="32" y="11"/>
                      </a:lnTo>
                      <a:lnTo>
                        <a:pt x="30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83" name="Freeform 886">
                  <a:extLst>
                    <a:ext uri="{FF2B5EF4-FFF2-40B4-BE49-F238E27FC236}">
                      <a16:creationId xmlns:a16="http://schemas.microsoft.com/office/drawing/2014/main" id="{58C221F5-A2C6-464C-9926-3F0BEDE2CB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65" y="3724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84" name="Freeform 887">
                  <a:extLst>
                    <a:ext uri="{FF2B5EF4-FFF2-40B4-BE49-F238E27FC236}">
                      <a16:creationId xmlns:a16="http://schemas.microsoft.com/office/drawing/2014/main" id="{0E806E5B-70E8-49A3-A772-7449F9D65A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65" y="3724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85" name="Freeform 888">
                  <a:extLst>
                    <a:ext uri="{FF2B5EF4-FFF2-40B4-BE49-F238E27FC236}">
                      <a16:creationId xmlns:a16="http://schemas.microsoft.com/office/drawing/2014/main" id="{A294E3BD-EBA4-41F4-86AD-F08C425FE8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7" y="3056"/>
                  <a:ext cx="7" cy="9"/>
                </a:xfrm>
                <a:custGeom>
                  <a:avLst/>
                  <a:gdLst>
                    <a:gd name="T0" fmla="*/ 0 w 7"/>
                    <a:gd name="T1" fmla="*/ 9 h 9"/>
                    <a:gd name="T2" fmla="*/ 3 w 7"/>
                    <a:gd name="T3" fmla="*/ 8 h 9"/>
                    <a:gd name="T4" fmla="*/ 7 w 7"/>
                    <a:gd name="T5" fmla="*/ 9 h 9"/>
                    <a:gd name="T6" fmla="*/ 7 w 7"/>
                    <a:gd name="T7" fmla="*/ 6 h 9"/>
                    <a:gd name="T8" fmla="*/ 6 w 7"/>
                    <a:gd name="T9" fmla="*/ 6 h 9"/>
                    <a:gd name="T10" fmla="*/ 5 w 7"/>
                    <a:gd name="T11" fmla="*/ 6 h 9"/>
                    <a:gd name="T12" fmla="*/ 4 w 7"/>
                    <a:gd name="T13" fmla="*/ 5 h 9"/>
                    <a:gd name="T14" fmla="*/ 7 w 7"/>
                    <a:gd name="T15" fmla="*/ 2 h 9"/>
                    <a:gd name="T16" fmla="*/ 7 w 7"/>
                    <a:gd name="T17" fmla="*/ 1 h 9"/>
                    <a:gd name="T18" fmla="*/ 4 w 7"/>
                    <a:gd name="T19" fmla="*/ 3 h 9"/>
                    <a:gd name="T20" fmla="*/ 4 w 7"/>
                    <a:gd name="T21" fmla="*/ 0 h 9"/>
                    <a:gd name="T22" fmla="*/ 3 w 7"/>
                    <a:gd name="T23" fmla="*/ 0 h 9"/>
                    <a:gd name="T24" fmla="*/ 2 w 7"/>
                    <a:gd name="T25" fmla="*/ 2 h 9"/>
                    <a:gd name="T26" fmla="*/ 0 w 7"/>
                    <a:gd name="T27" fmla="*/ 2 h 9"/>
                    <a:gd name="T28" fmla="*/ 0 w 7"/>
                    <a:gd name="T29" fmla="*/ 3 h 9"/>
                    <a:gd name="T30" fmla="*/ 0 w 7"/>
                    <a:gd name="T31" fmla="*/ 3 h 9"/>
                    <a:gd name="T32" fmla="*/ 1 w 7"/>
                    <a:gd name="T33" fmla="*/ 7 h 9"/>
                    <a:gd name="T34" fmla="*/ 0 w 7"/>
                    <a:gd name="T35" fmla="*/ 9 h 9"/>
                    <a:gd name="T36" fmla="*/ 0 w 7"/>
                    <a:gd name="T37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7" h="9">
                      <a:moveTo>
                        <a:pt x="0" y="9"/>
                      </a:moveTo>
                      <a:lnTo>
                        <a:pt x="3" y="8"/>
                      </a:lnTo>
                      <a:lnTo>
                        <a:pt x="7" y="9"/>
                      </a:lnTo>
                      <a:lnTo>
                        <a:pt x="7" y="6"/>
                      </a:lnTo>
                      <a:lnTo>
                        <a:pt x="6" y="6"/>
                      </a:lnTo>
                      <a:lnTo>
                        <a:pt x="5" y="6"/>
                      </a:lnTo>
                      <a:lnTo>
                        <a:pt x="4" y="5"/>
                      </a:lnTo>
                      <a:lnTo>
                        <a:pt x="7" y="2"/>
                      </a:lnTo>
                      <a:lnTo>
                        <a:pt x="7" y="1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1" y="7"/>
                      </a:lnTo>
                      <a:lnTo>
                        <a:pt x="0" y="9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86" name="Freeform 889">
                  <a:extLst>
                    <a:ext uri="{FF2B5EF4-FFF2-40B4-BE49-F238E27FC236}">
                      <a16:creationId xmlns:a16="http://schemas.microsoft.com/office/drawing/2014/main" id="{053D2120-58F7-428A-8140-35EC9880DC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5" y="3003"/>
                  <a:ext cx="565" cy="606"/>
                </a:xfrm>
                <a:custGeom>
                  <a:avLst/>
                  <a:gdLst>
                    <a:gd name="T0" fmla="*/ 563 w 565"/>
                    <a:gd name="T1" fmla="*/ 296 h 606"/>
                    <a:gd name="T2" fmla="*/ 546 w 565"/>
                    <a:gd name="T3" fmla="*/ 259 h 606"/>
                    <a:gd name="T4" fmla="*/ 538 w 565"/>
                    <a:gd name="T5" fmla="*/ 225 h 606"/>
                    <a:gd name="T6" fmla="*/ 523 w 565"/>
                    <a:gd name="T7" fmla="*/ 210 h 606"/>
                    <a:gd name="T8" fmla="*/ 515 w 565"/>
                    <a:gd name="T9" fmla="*/ 178 h 606"/>
                    <a:gd name="T10" fmla="*/ 497 w 565"/>
                    <a:gd name="T11" fmla="*/ 163 h 606"/>
                    <a:gd name="T12" fmla="*/ 483 w 565"/>
                    <a:gd name="T13" fmla="*/ 116 h 606"/>
                    <a:gd name="T14" fmla="*/ 472 w 565"/>
                    <a:gd name="T15" fmla="*/ 68 h 606"/>
                    <a:gd name="T16" fmla="*/ 453 w 565"/>
                    <a:gd name="T17" fmla="*/ 39 h 606"/>
                    <a:gd name="T18" fmla="*/ 445 w 565"/>
                    <a:gd name="T19" fmla="*/ 2 h 606"/>
                    <a:gd name="T20" fmla="*/ 433 w 565"/>
                    <a:gd name="T21" fmla="*/ 34 h 606"/>
                    <a:gd name="T22" fmla="*/ 426 w 565"/>
                    <a:gd name="T23" fmla="*/ 79 h 606"/>
                    <a:gd name="T24" fmla="*/ 393 w 565"/>
                    <a:gd name="T25" fmla="*/ 127 h 606"/>
                    <a:gd name="T26" fmla="*/ 360 w 565"/>
                    <a:gd name="T27" fmla="*/ 98 h 606"/>
                    <a:gd name="T28" fmla="*/ 341 w 565"/>
                    <a:gd name="T29" fmla="*/ 66 h 606"/>
                    <a:gd name="T30" fmla="*/ 355 w 565"/>
                    <a:gd name="T31" fmla="*/ 43 h 606"/>
                    <a:gd name="T32" fmla="*/ 353 w 565"/>
                    <a:gd name="T33" fmla="*/ 18 h 606"/>
                    <a:gd name="T34" fmla="*/ 342 w 565"/>
                    <a:gd name="T35" fmla="*/ 21 h 606"/>
                    <a:gd name="T36" fmla="*/ 321 w 565"/>
                    <a:gd name="T37" fmla="*/ 18 h 606"/>
                    <a:gd name="T38" fmla="*/ 293 w 565"/>
                    <a:gd name="T39" fmla="*/ 5 h 606"/>
                    <a:gd name="T40" fmla="*/ 296 w 565"/>
                    <a:gd name="T41" fmla="*/ 23 h 606"/>
                    <a:gd name="T42" fmla="*/ 271 w 565"/>
                    <a:gd name="T43" fmla="*/ 32 h 606"/>
                    <a:gd name="T44" fmla="*/ 256 w 565"/>
                    <a:gd name="T45" fmla="*/ 51 h 606"/>
                    <a:gd name="T46" fmla="*/ 251 w 565"/>
                    <a:gd name="T47" fmla="*/ 73 h 606"/>
                    <a:gd name="T48" fmla="*/ 236 w 565"/>
                    <a:gd name="T49" fmla="*/ 76 h 606"/>
                    <a:gd name="T50" fmla="*/ 230 w 565"/>
                    <a:gd name="T51" fmla="*/ 74 h 606"/>
                    <a:gd name="T52" fmla="*/ 210 w 565"/>
                    <a:gd name="T53" fmla="*/ 57 h 606"/>
                    <a:gd name="T54" fmla="*/ 196 w 565"/>
                    <a:gd name="T55" fmla="*/ 64 h 606"/>
                    <a:gd name="T56" fmla="*/ 188 w 565"/>
                    <a:gd name="T57" fmla="*/ 84 h 606"/>
                    <a:gd name="T58" fmla="*/ 182 w 565"/>
                    <a:gd name="T59" fmla="*/ 101 h 606"/>
                    <a:gd name="T60" fmla="*/ 168 w 565"/>
                    <a:gd name="T61" fmla="*/ 109 h 606"/>
                    <a:gd name="T62" fmla="*/ 156 w 565"/>
                    <a:gd name="T63" fmla="*/ 102 h 606"/>
                    <a:gd name="T64" fmla="*/ 141 w 565"/>
                    <a:gd name="T65" fmla="*/ 139 h 606"/>
                    <a:gd name="T66" fmla="*/ 93 w 565"/>
                    <a:gd name="T67" fmla="*/ 169 h 606"/>
                    <a:gd name="T68" fmla="*/ 51 w 565"/>
                    <a:gd name="T69" fmla="*/ 184 h 606"/>
                    <a:gd name="T70" fmla="*/ 23 w 565"/>
                    <a:gd name="T71" fmla="*/ 198 h 606"/>
                    <a:gd name="T72" fmla="*/ 16 w 565"/>
                    <a:gd name="T73" fmla="*/ 282 h 606"/>
                    <a:gd name="T74" fmla="*/ 11 w 565"/>
                    <a:gd name="T75" fmla="*/ 295 h 606"/>
                    <a:gd name="T76" fmla="*/ 16 w 565"/>
                    <a:gd name="T77" fmla="*/ 359 h 606"/>
                    <a:gd name="T78" fmla="*/ 15 w 565"/>
                    <a:gd name="T79" fmla="*/ 429 h 606"/>
                    <a:gd name="T80" fmla="*/ 19 w 565"/>
                    <a:gd name="T81" fmla="*/ 471 h 606"/>
                    <a:gd name="T82" fmla="*/ 47 w 565"/>
                    <a:gd name="T83" fmla="*/ 466 h 606"/>
                    <a:gd name="T84" fmla="*/ 80 w 565"/>
                    <a:gd name="T85" fmla="*/ 450 h 606"/>
                    <a:gd name="T86" fmla="*/ 113 w 565"/>
                    <a:gd name="T87" fmla="*/ 454 h 606"/>
                    <a:gd name="T88" fmla="*/ 154 w 565"/>
                    <a:gd name="T89" fmla="*/ 423 h 606"/>
                    <a:gd name="T90" fmla="*/ 203 w 565"/>
                    <a:gd name="T91" fmla="*/ 408 h 606"/>
                    <a:gd name="T92" fmla="*/ 258 w 565"/>
                    <a:gd name="T93" fmla="*/ 418 h 606"/>
                    <a:gd name="T94" fmla="*/ 279 w 565"/>
                    <a:gd name="T95" fmla="*/ 445 h 606"/>
                    <a:gd name="T96" fmla="*/ 287 w 565"/>
                    <a:gd name="T97" fmla="*/ 486 h 606"/>
                    <a:gd name="T98" fmla="*/ 310 w 565"/>
                    <a:gd name="T99" fmla="*/ 459 h 606"/>
                    <a:gd name="T100" fmla="*/ 325 w 565"/>
                    <a:gd name="T101" fmla="*/ 458 h 606"/>
                    <a:gd name="T102" fmla="*/ 310 w 565"/>
                    <a:gd name="T103" fmla="*/ 493 h 606"/>
                    <a:gd name="T104" fmla="*/ 323 w 565"/>
                    <a:gd name="T105" fmla="*/ 507 h 606"/>
                    <a:gd name="T106" fmla="*/ 337 w 565"/>
                    <a:gd name="T107" fmla="*/ 522 h 606"/>
                    <a:gd name="T108" fmla="*/ 354 w 565"/>
                    <a:gd name="T109" fmla="*/ 578 h 606"/>
                    <a:gd name="T110" fmla="*/ 386 w 565"/>
                    <a:gd name="T111" fmla="*/ 586 h 606"/>
                    <a:gd name="T112" fmla="*/ 402 w 565"/>
                    <a:gd name="T113" fmla="*/ 586 h 606"/>
                    <a:gd name="T114" fmla="*/ 417 w 565"/>
                    <a:gd name="T115" fmla="*/ 602 h 606"/>
                    <a:gd name="T116" fmla="*/ 436 w 565"/>
                    <a:gd name="T117" fmla="*/ 580 h 606"/>
                    <a:gd name="T118" fmla="*/ 475 w 565"/>
                    <a:gd name="T119" fmla="*/ 553 h 606"/>
                    <a:gd name="T120" fmla="*/ 507 w 565"/>
                    <a:gd name="T121" fmla="*/ 481 h 606"/>
                    <a:gd name="T122" fmla="*/ 534 w 565"/>
                    <a:gd name="T123" fmla="*/ 446 h 606"/>
                    <a:gd name="T124" fmla="*/ 551 w 565"/>
                    <a:gd name="T125" fmla="*/ 391 h 6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565" h="606">
                      <a:moveTo>
                        <a:pt x="563" y="343"/>
                      </a:moveTo>
                      <a:lnTo>
                        <a:pt x="563" y="339"/>
                      </a:lnTo>
                      <a:lnTo>
                        <a:pt x="561" y="333"/>
                      </a:lnTo>
                      <a:lnTo>
                        <a:pt x="560" y="331"/>
                      </a:lnTo>
                      <a:lnTo>
                        <a:pt x="560" y="327"/>
                      </a:lnTo>
                      <a:lnTo>
                        <a:pt x="561" y="326"/>
                      </a:lnTo>
                      <a:lnTo>
                        <a:pt x="562" y="322"/>
                      </a:lnTo>
                      <a:lnTo>
                        <a:pt x="564" y="316"/>
                      </a:lnTo>
                      <a:lnTo>
                        <a:pt x="564" y="315"/>
                      </a:lnTo>
                      <a:lnTo>
                        <a:pt x="563" y="305"/>
                      </a:lnTo>
                      <a:lnTo>
                        <a:pt x="565" y="301"/>
                      </a:lnTo>
                      <a:lnTo>
                        <a:pt x="564" y="300"/>
                      </a:lnTo>
                      <a:lnTo>
                        <a:pt x="563" y="296"/>
                      </a:lnTo>
                      <a:lnTo>
                        <a:pt x="563" y="290"/>
                      </a:lnTo>
                      <a:lnTo>
                        <a:pt x="562" y="289"/>
                      </a:lnTo>
                      <a:lnTo>
                        <a:pt x="563" y="285"/>
                      </a:lnTo>
                      <a:lnTo>
                        <a:pt x="561" y="284"/>
                      </a:lnTo>
                      <a:lnTo>
                        <a:pt x="560" y="281"/>
                      </a:lnTo>
                      <a:lnTo>
                        <a:pt x="560" y="277"/>
                      </a:lnTo>
                      <a:lnTo>
                        <a:pt x="556" y="274"/>
                      </a:lnTo>
                      <a:lnTo>
                        <a:pt x="554" y="269"/>
                      </a:lnTo>
                      <a:lnTo>
                        <a:pt x="553" y="264"/>
                      </a:lnTo>
                      <a:lnTo>
                        <a:pt x="552" y="260"/>
                      </a:lnTo>
                      <a:lnTo>
                        <a:pt x="550" y="260"/>
                      </a:lnTo>
                      <a:lnTo>
                        <a:pt x="548" y="261"/>
                      </a:lnTo>
                      <a:lnTo>
                        <a:pt x="546" y="259"/>
                      </a:lnTo>
                      <a:lnTo>
                        <a:pt x="546" y="254"/>
                      </a:lnTo>
                      <a:lnTo>
                        <a:pt x="544" y="253"/>
                      </a:lnTo>
                      <a:lnTo>
                        <a:pt x="544" y="251"/>
                      </a:lnTo>
                      <a:lnTo>
                        <a:pt x="540" y="247"/>
                      </a:lnTo>
                      <a:lnTo>
                        <a:pt x="539" y="246"/>
                      </a:lnTo>
                      <a:lnTo>
                        <a:pt x="539" y="243"/>
                      </a:lnTo>
                      <a:lnTo>
                        <a:pt x="538" y="239"/>
                      </a:lnTo>
                      <a:lnTo>
                        <a:pt x="540" y="235"/>
                      </a:lnTo>
                      <a:lnTo>
                        <a:pt x="541" y="230"/>
                      </a:lnTo>
                      <a:lnTo>
                        <a:pt x="540" y="227"/>
                      </a:lnTo>
                      <a:lnTo>
                        <a:pt x="540" y="224"/>
                      </a:lnTo>
                      <a:lnTo>
                        <a:pt x="539" y="222"/>
                      </a:lnTo>
                      <a:lnTo>
                        <a:pt x="538" y="225"/>
                      </a:lnTo>
                      <a:lnTo>
                        <a:pt x="539" y="226"/>
                      </a:lnTo>
                      <a:lnTo>
                        <a:pt x="538" y="228"/>
                      </a:lnTo>
                      <a:lnTo>
                        <a:pt x="532" y="221"/>
                      </a:lnTo>
                      <a:lnTo>
                        <a:pt x="530" y="217"/>
                      </a:lnTo>
                      <a:lnTo>
                        <a:pt x="528" y="218"/>
                      </a:lnTo>
                      <a:lnTo>
                        <a:pt x="528" y="220"/>
                      </a:lnTo>
                      <a:lnTo>
                        <a:pt x="528" y="222"/>
                      </a:lnTo>
                      <a:lnTo>
                        <a:pt x="529" y="228"/>
                      </a:lnTo>
                      <a:lnTo>
                        <a:pt x="526" y="223"/>
                      </a:lnTo>
                      <a:lnTo>
                        <a:pt x="525" y="226"/>
                      </a:lnTo>
                      <a:lnTo>
                        <a:pt x="525" y="222"/>
                      </a:lnTo>
                      <a:lnTo>
                        <a:pt x="524" y="219"/>
                      </a:lnTo>
                      <a:lnTo>
                        <a:pt x="523" y="210"/>
                      </a:lnTo>
                      <a:lnTo>
                        <a:pt x="524" y="209"/>
                      </a:lnTo>
                      <a:lnTo>
                        <a:pt x="524" y="207"/>
                      </a:lnTo>
                      <a:lnTo>
                        <a:pt x="521" y="205"/>
                      </a:lnTo>
                      <a:lnTo>
                        <a:pt x="522" y="201"/>
                      </a:lnTo>
                      <a:lnTo>
                        <a:pt x="521" y="200"/>
                      </a:lnTo>
                      <a:lnTo>
                        <a:pt x="521" y="197"/>
                      </a:lnTo>
                      <a:lnTo>
                        <a:pt x="517" y="192"/>
                      </a:lnTo>
                      <a:lnTo>
                        <a:pt x="515" y="189"/>
                      </a:lnTo>
                      <a:lnTo>
                        <a:pt x="515" y="185"/>
                      </a:lnTo>
                      <a:lnTo>
                        <a:pt x="518" y="186"/>
                      </a:lnTo>
                      <a:lnTo>
                        <a:pt x="518" y="182"/>
                      </a:lnTo>
                      <a:lnTo>
                        <a:pt x="515" y="177"/>
                      </a:lnTo>
                      <a:lnTo>
                        <a:pt x="515" y="178"/>
                      </a:lnTo>
                      <a:lnTo>
                        <a:pt x="511" y="178"/>
                      </a:lnTo>
                      <a:lnTo>
                        <a:pt x="509" y="173"/>
                      </a:lnTo>
                      <a:lnTo>
                        <a:pt x="507" y="173"/>
                      </a:lnTo>
                      <a:lnTo>
                        <a:pt x="504" y="170"/>
                      </a:lnTo>
                      <a:lnTo>
                        <a:pt x="503" y="172"/>
                      </a:lnTo>
                      <a:lnTo>
                        <a:pt x="501" y="170"/>
                      </a:lnTo>
                      <a:lnTo>
                        <a:pt x="498" y="169"/>
                      </a:lnTo>
                      <a:lnTo>
                        <a:pt x="497" y="171"/>
                      </a:lnTo>
                      <a:lnTo>
                        <a:pt x="498" y="168"/>
                      </a:lnTo>
                      <a:lnTo>
                        <a:pt x="501" y="167"/>
                      </a:lnTo>
                      <a:lnTo>
                        <a:pt x="501" y="165"/>
                      </a:lnTo>
                      <a:lnTo>
                        <a:pt x="501" y="163"/>
                      </a:lnTo>
                      <a:lnTo>
                        <a:pt x="497" y="163"/>
                      </a:lnTo>
                      <a:lnTo>
                        <a:pt x="494" y="163"/>
                      </a:lnTo>
                      <a:lnTo>
                        <a:pt x="494" y="161"/>
                      </a:lnTo>
                      <a:lnTo>
                        <a:pt x="493" y="161"/>
                      </a:lnTo>
                      <a:lnTo>
                        <a:pt x="487" y="157"/>
                      </a:lnTo>
                      <a:lnTo>
                        <a:pt x="484" y="151"/>
                      </a:lnTo>
                      <a:lnTo>
                        <a:pt x="483" y="145"/>
                      </a:lnTo>
                      <a:lnTo>
                        <a:pt x="482" y="140"/>
                      </a:lnTo>
                      <a:lnTo>
                        <a:pt x="482" y="137"/>
                      </a:lnTo>
                      <a:lnTo>
                        <a:pt x="483" y="137"/>
                      </a:lnTo>
                      <a:lnTo>
                        <a:pt x="484" y="130"/>
                      </a:lnTo>
                      <a:lnTo>
                        <a:pt x="483" y="121"/>
                      </a:lnTo>
                      <a:lnTo>
                        <a:pt x="481" y="117"/>
                      </a:lnTo>
                      <a:lnTo>
                        <a:pt x="483" y="116"/>
                      </a:lnTo>
                      <a:lnTo>
                        <a:pt x="481" y="114"/>
                      </a:lnTo>
                      <a:lnTo>
                        <a:pt x="479" y="114"/>
                      </a:lnTo>
                      <a:lnTo>
                        <a:pt x="476" y="107"/>
                      </a:lnTo>
                      <a:lnTo>
                        <a:pt x="476" y="99"/>
                      </a:lnTo>
                      <a:lnTo>
                        <a:pt x="477" y="98"/>
                      </a:lnTo>
                      <a:lnTo>
                        <a:pt x="477" y="96"/>
                      </a:lnTo>
                      <a:lnTo>
                        <a:pt x="476" y="94"/>
                      </a:lnTo>
                      <a:lnTo>
                        <a:pt x="475" y="84"/>
                      </a:lnTo>
                      <a:lnTo>
                        <a:pt x="476" y="81"/>
                      </a:lnTo>
                      <a:lnTo>
                        <a:pt x="475" y="77"/>
                      </a:lnTo>
                      <a:lnTo>
                        <a:pt x="476" y="77"/>
                      </a:lnTo>
                      <a:lnTo>
                        <a:pt x="476" y="74"/>
                      </a:lnTo>
                      <a:lnTo>
                        <a:pt x="472" y="68"/>
                      </a:lnTo>
                      <a:lnTo>
                        <a:pt x="469" y="67"/>
                      </a:lnTo>
                      <a:lnTo>
                        <a:pt x="470" y="65"/>
                      </a:lnTo>
                      <a:lnTo>
                        <a:pt x="466" y="61"/>
                      </a:lnTo>
                      <a:lnTo>
                        <a:pt x="463" y="63"/>
                      </a:lnTo>
                      <a:lnTo>
                        <a:pt x="462" y="62"/>
                      </a:lnTo>
                      <a:lnTo>
                        <a:pt x="460" y="66"/>
                      </a:lnTo>
                      <a:lnTo>
                        <a:pt x="458" y="66"/>
                      </a:lnTo>
                      <a:lnTo>
                        <a:pt x="455" y="60"/>
                      </a:lnTo>
                      <a:lnTo>
                        <a:pt x="456" y="58"/>
                      </a:lnTo>
                      <a:lnTo>
                        <a:pt x="454" y="53"/>
                      </a:lnTo>
                      <a:lnTo>
                        <a:pt x="455" y="46"/>
                      </a:lnTo>
                      <a:lnTo>
                        <a:pt x="454" y="39"/>
                      </a:lnTo>
                      <a:lnTo>
                        <a:pt x="453" y="39"/>
                      </a:lnTo>
                      <a:lnTo>
                        <a:pt x="452" y="36"/>
                      </a:lnTo>
                      <a:lnTo>
                        <a:pt x="453" y="34"/>
                      </a:lnTo>
                      <a:lnTo>
                        <a:pt x="451" y="30"/>
                      </a:lnTo>
                      <a:lnTo>
                        <a:pt x="451" y="27"/>
                      </a:lnTo>
                      <a:lnTo>
                        <a:pt x="449" y="26"/>
                      </a:lnTo>
                      <a:lnTo>
                        <a:pt x="449" y="22"/>
                      </a:lnTo>
                      <a:lnTo>
                        <a:pt x="451" y="20"/>
                      </a:lnTo>
                      <a:lnTo>
                        <a:pt x="449" y="18"/>
                      </a:lnTo>
                      <a:lnTo>
                        <a:pt x="447" y="19"/>
                      </a:lnTo>
                      <a:lnTo>
                        <a:pt x="445" y="17"/>
                      </a:lnTo>
                      <a:lnTo>
                        <a:pt x="446" y="9"/>
                      </a:lnTo>
                      <a:lnTo>
                        <a:pt x="445" y="8"/>
                      </a:lnTo>
                      <a:lnTo>
                        <a:pt x="445" y="2"/>
                      </a:lnTo>
                      <a:lnTo>
                        <a:pt x="442" y="1"/>
                      </a:lnTo>
                      <a:lnTo>
                        <a:pt x="442" y="0"/>
                      </a:lnTo>
                      <a:lnTo>
                        <a:pt x="438" y="1"/>
                      </a:lnTo>
                      <a:lnTo>
                        <a:pt x="437" y="4"/>
                      </a:lnTo>
                      <a:lnTo>
                        <a:pt x="437" y="10"/>
                      </a:lnTo>
                      <a:lnTo>
                        <a:pt x="435" y="15"/>
                      </a:lnTo>
                      <a:lnTo>
                        <a:pt x="435" y="16"/>
                      </a:lnTo>
                      <a:lnTo>
                        <a:pt x="435" y="20"/>
                      </a:lnTo>
                      <a:lnTo>
                        <a:pt x="433" y="19"/>
                      </a:lnTo>
                      <a:lnTo>
                        <a:pt x="431" y="25"/>
                      </a:lnTo>
                      <a:lnTo>
                        <a:pt x="428" y="29"/>
                      </a:lnTo>
                      <a:lnTo>
                        <a:pt x="431" y="32"/>
                      </a:lnTo>
                      <a:lnTo>
                        <a:pt x="433" y="34"/>
                      </a:lnTo>
                      <a:lnTo>
                        <a:pt x="431" y="36"/>
                      </a:lnTo>
                      <a:lnTo>
                        <a:pt x="430" y="36"/>
                      </a:lnTo>
                      <a:lnTo>
                        <a:pt x="428" y="39"/>
                      </a:lnTo>
                      <a:lnTo>
                        <a:pt x="428" y="42"/>
                      </a:lnTo>
                      <a:lnTo>
                        <a:pt x="429" y="46"/>
                      </a:lnTo>
                      <a:lnTo>
                        <a:pt x="430" y="49"/>
                      </a:lnTo>
                      <a:lnTo>
                        <a:pt x="428" y="48"/>
                      </a:lnTo>
                      <a:lnTo>
                        <a:pt x="426" y="50"/>
                      </a:lnTo>
                      <a:lnTo>
                        <a:pt x="424" y="57"/>
                      </a:lnTo>
                      <a:lnTo>
                        <a:pt x="426" y="63"/>
                      </a:lnTo>
                      <a:lnTo>
                        <a:pt x="424" y="69"/>
                      </a:lnTo>
                      <a:lnTo>
                        <a:pt x="426" y="74"/>
                      </a:lnTo>
                      <a:lnTo>
                        <a:pt x="426" y="79"/>
                      </a:lnTo>
                      <a:lnTo>
                        <a:pt x="423" y="81"/>
                      </a:lnTo>
                      <a:lnTo>
                        <a:pt x="423" y="84"/>
                      </a:lnTo>
                      <a:lnTo>
                        <a:pt x="421" y="91"/>
                      </a:lnTo>
                      <a:lnTo>
                        <a:pt x="420" y="101"/>
                      </a:lnTo>
                      <a:lnTo>
                        <a:pt x="418" y="104"/>
                      </a:lnTo>
                      <a:lnTo>
                        <a:pt x="418" y="108"/>
                      </a:lnTo>
                      <a:lnTo>
                        <a:pt x="417" y="112"/>
                      </a:lnTo>
                      <a:lnTo>
                        <a:pt x="414" y="115"/>
                      </a:lnTo>
                      <a:lnTo>
                        <a:pt x="414" y="122"/>
                      </a:lnTo>
                      <a:lnTo>
                        <a:pt x="409" y="126"/>
                      </a:lnTo>
                      <a:lnTo>
                        <a:pt x="400" y="130"/>
                      </a:lnTo>
                      <a:lnTo>
                        <a:pt x="397" y="127"/>
                      </a:lnTo>
                      <a:lnTo>
                        <a:pt x="393" y="127"/>
                      </a:lnTo>
                      <a:lnTo>
                        <a:pt x="391" y="124"/>
                      </a:lnTo>
                      <a:lnTo>
                        <a:pt x="388" y="121"/>
                      </a:lnTo>
                      <a:lnTo>
                        <a:pt x="387" y="119"/>
                      </a:lnTo>
                      <a:lnTo>
                        <a:pt x="386" y="117"/>
                      </a:lnTo>
                      <a:lnTo>
                        <a:pt x="386" y="113"/>
                      </a:lnTo>
                      <a:lnTo>
                        <a:pt x="383" y="112"/>
                      </a:lnTo>
                      <a:lnTo>
                        <a:pt x="379" y="112"/>
                      </a:lnTo>
                      <a:lnTo>
                        <a:pt x="376" y="111"/>
                      </a:lnTo>
                      <a:lnTo>
                        <a:pt x="371" y="108"/>
                      </a:lnTo>
                      <a:lnTo>
                        <a:pt x="370" y="105"/>
                      </a:lnTo>
                      <a:lnTo>
                        <a:pt x="367" y="100"/>
                      </a:lnTo>
                      <a:lnTo>
                        <a:pt x="364" y="100"/>
                      </a:lnTo>
                      <a:lnTo>
                        <a:pt x="360" y="98"/>
                      </a:lnTo>
                      <a:lnTo>
                        <a:pt x="360" y="95"/>
                      </a:lnTo>
                      <a:lnTo>
                        <a:pt x="359" y="94"/>
                      </a:lnTo>
                      <a:lnTo>
                        <a:pt x="357" y="93"/>
                      </a:lnTo>
                      <a:lnTo>
                        <a:pt x="354" y="94"/>
                      </a:lnTo>
                      <a:lnTo>
                        <a:pt x="351" y="93"/>
                      </a:lnTo>
                      <a:lnTo>
                        <a:pt x="352" y="91"/>
                      </a:lnTo>
                      <a:lnTo>
                        <a:pt x="348" y="87"/>
                      </a:lnTo>
                      <a:lnTo>
                        <a:pt x="348" y="84"/>
                      </a:lnTo>
                      <a:lnTo>
                        <a:pt x="344" y="80"/>
                      </a:lnTo>
                      <a:lnTo>
                        <a:pt x="341" y="80"/>
                      </a:lnTo>
                      <a:lnTo>
                        <a:pt x="338" y="75"/>
                      </a:lnTo>
                      <a:lnTo>
                        <a:pt x="338" y="71"/>
                      </a:lnTo>
                      <a:lnTo>
                        <a:pt x="341" y="66"/>
                      </a:lnTo>
                      <a:lnTo>
                        <a:pt x="341" y="62"/>
                      </a:lnTo>
                      <a:lnTo>
                        <a:pt x="345" y="60"/>
                      </a:lnTo>
                      <a:lnTo>
                        <a:pt x="345" y="55"/>
                      </a:lnTo>
                      <a:lnTo>
                        <a:pt x="347" y="52"/>
                      </a:lnTo>
                      <a:lnTo>
                        <a:pt x="344" y="53"/>
                      </a:lnTo>
                      <a:lnTo>
                        <a:pt x="342" y="50"/>
                      </a:lnTo>
                      <a:lnTo>
                        <a:pt x="345" y="47"/>
                      </a:lnTo>
                      <a:lnTo>
                        <a:pt x="345" y="43"/>
                      </a:lnTo>
                      <a:lnTo>
                        <a:pt x="346" y="43"/>
                      </a:lnTo>
                      <a:lnTo>
                        <a:pt x="348" y="43"/>
                      </a:lnTo>
                      <a:lnTo>
                        <a:pt x="348" y="44"/>
                      </a:lnTo>
                      <a:lnTo>
                        <a:pt x="351" y="44"/>
                      </a:lnTo>
                      <a:lnTo>
                        <a:pt x="355" y="43"/>
                      </a:lnTo>
                      <a:lnTo>
                        <a:pt x="355" y="39"/>
                      </a:lnTo>
                      <a:lnTo>
                        <a:pt x="353" y="36"/>
                      </a:lnTo>
                      <a:lnTo>
                        <a:pt x="355" y="34"/>
                      </a:lnTo>
                      <a:lnTo>
                        <a:pt x="357" y="35"/>
                      </a:lnTo>
                      <a:lnTo>
                        <a:pt x="359" y="29"/>
                      </a:lnTo>
                      <a:lnTo>
                        <a:pt x="360" y="28"/>
                      </a:lnTo>
                      <a:lnTo>
                        <a:pt x="362" y="25"/>
                      </a:lnTo>
                      <a:lnTo>
                        <a:pt x="362" y="23"/>
                      </a:lnTo>
                      <a:lnTo>
                        <a:pt x="359" y="22"/>
                      </a:lnTo>
                      <a:lnTo>
                        <a:pt x="358" y="24"/>
                      </a:lnTo>
                      <a:lnTo>
                        <a:pt x="355" y="23"/>
                      </a:lnTo>
                      <a:lnTo>
                        <a:pt x="355" y="18"/>
                      </a:lnTo>
                      <a:lnTo>
                        <a:pt x="353" y="18"/>
                      </a:lnTo>
                      <a:lnTo>
                        <a:pt x="350" y="24"/>
                      </a:lnTo>
                      <a:lnTo>
                        <a:pt x="352" y="25"/>
                      </a:lnTo>
                      <a:lnTo>
                        <a:pt x="352" y="27"/>
                      </a:lnTo>
                      <a:lnTo>
                        <a:pt x="349" y="29"/>
                      </a:lnTo>
                      <a:lnTo>
                        <a:pt x="347" y="26"/>
                      </a:lnTo>
                      <a:lnTo>
                        <a:pt x="346" y="25"/>
                      </a:lnTo>
                      <a:lnTo>
                        <a:pt x="345" y="22"/>
                      </a:lnTo>
                      <a:lnTo>
                        <a:pt x="344" y="25"/>
                      </a:lnTo>
                      <a:lnTo>
                        <a:pt x="342" y="25"/>
                      </a:lnTo>
                      <a:lnTo>
                        <a:pt x="342" y="23"/>
                      </a:lnTo>
                      <a:lnTo>
                        <a:pt x="344" y="21"/>
                      </a:lnTo>
                      <a:lnTo>
                        <a:pt x="345" y="19"/>
                      </a:lnTo>
                      <a:lnTo>
                        <a:pt x="342" y="21"/>
                      </a:lnTo>
                      <a:lnTo>
                        <a:pt x="341" y="22"/>
                      </a:lnTo>
                      <a:lnTo>
                        <a:pt x="338" y="24"/>
                      </a:lnTo>
                      <a:lnTo>
                        <a:pt x="338" y="25"/>
                      </a:lnTo>
                      <a:lnTo>
                        <a:pt x="336" y="25"/>
                      </a:lnTo>
                      <a:lnTo>
                        <a:pt x="335" y="24"/>
                      </a:lnTo>
                      <a:lnTo>
                        <a:pt x="332" y="24"/>
                      </a:lnTo>
                      <a:lnTo>
                        <a:pt x="332" y="22"/>
                      </a:lnTo>
                      <a:lnTo>
                        <a:pt x="330" y="18"/>
                      </a:lnTo>
                      <a:lnTo>
                        <a:pt x="329" y="18"/>
                      </a:lnTo>
                      <a:lnTo>
                        <a:pt x="325" y="21"/>
                      </a:lnTo>
                      <a:lnTo>
                        <a:pt x="323" y="19"/>
                      </a:lnTo>
                      <a:lnTo>
                        <a:pt x="322" y="21"/>
                      </a:lnTo>
                      <a:lnTo>
                        <a:pt x="321" y="18"/>
                      </a:lnTo>
                      <a:lnTo>
                        <a:pt x="320" y="18"/>
                      </a:lnTo>
                      <a:lnTo>
                        <a:pt x="317" y="14"/>
                      </a:lnTo>
                      <a:lnTo>
                        <a:pt x="314" y="16"/>
                      </a:lnTo>
                      <a:lnTo>
                        <a:pt x="311" y="15"/>
                      </a:lnTo>
                      <a:lnTo>
                        <a:pt x="308" y="14"/>
                      </a:lnTo>
                      <a:lnTo>
                        <a:pt x="308" y="11"/>
                      </a:lnTo>
                      <a:lnTo>
                        <a:pt x="306" y="8"/>
                      </a:lnTo>
                      <a:lnTo>
                        <a:pt x="305" y="8"/>
                      </a:lnTo>
                      <a:lnTo>
                        <a:pt x="305" y="10"/>
                      </a:lnTo>
                      <a:lnTo>
                        <a:pt x="301" y="12"/>
                      </a:lnTo>
                      <a:lnTo>
                        <a:pt x="300" y="8"/>
                      </a:lnTo>
                      <a:lnTo>
                        <a:pt x="297" y="7"/>
                      </a:lnTo>
                      <a:lnTo>
                        <a:pt x="293" y="5"/>
                      </a:lnTo>
                      <a:lnTo>
                        <a:pt x="293" y="6"/>
                      </a:lnTo>
                      <a:lnTo>
                        <a:pt x="291" y="5"/>
                      </a:lnTo>
                      <a:lnTo>
                        <a:pt x="289" y="6"/>
                      </a:lnTo>
                      <a:lnTo>
                        <a:pt x="292" y="9"/>
                      </a:lnTo>
                      <a:lnTo>
                        <a:pt x="291" y="10"/>
                      </a:lnTo>
                      <a:lnTo>
                        <a:pt x="293" y="11"/>
                      </a:lnTo>
                      <a:lnTo>
                        <a:pt x="296" y="9"/>
                      </a:lnTo>
                      <a:lnTo>
                        <a:pt x="300" y="13"/>
                      </a:lnTo>
                      <a:lnTo>
                        <a:pt x="300" y="15"/>
                      </a:lnTo>
                      <a:lnTo>
                        <a:pt x="300" y="21"/>
                      </a:lnTo>
                      <a:lnTo>
                        <a:pt x="297" y="22"/>
                      </a:lnTo>
                      <a:lnTo>
                        <a:pt x="296" y="25"/>
                      </a:lnTo>
                      <a:lnTo>
                        <a:pt x="296" y="23"/>
                      </a:lnTo>
                      <a:lnTo>
                        <a:pt x="293" y="22"/>
                      </a:lnTo>
                      <a:lnTo>
                        <a:pt x="291" y="24"/>
                      </a:lnTo>
                      <a:lnTo>
                        <a:pt x="283" y="25"/>
                      </a:lnTo>
                      <a:lnTo>
                        <a:pt x="280" y="22"/>
                      </a:lnTo>
                      <a:lnTo>
                        <a:pt x="279" y="22"/>
                      </a:lnTo>
                      <a:lnTo>
                        <a:pt x="276" y="24"/>
                      </a:lnTo>
                      <a:lnTo>
                        <a:pt x="276" y="27"/>
                      </a:lnTo>
                      <a:lnTo>
                        <a:pt x="274" y="27"/>
                      </a:lnTo>
                      <a:lnTo>
                        <a:pt x="275" y="31"/>
                      </a:lnTo>
                      <a:lnTo>
                        <a:pt x="274" y="29"/>
                      </a:lnTo>
                      <a:lnTo>
                        <a:pt x="271" y="29"/>
                      </a:lnTo>
                      <a:lnTo>
                        <a:pt x="269" y="30"/>
                      </a:lnTo>
                      <a:lnTo>
                        <a:pt x="271" y="32"/>
                      </a:lnTo>
                      <a:lnTo>
                        <a:pt x="270" y="34"/>
                      </a:lnTo>
                      <a:lnTo>
                        <a:pt x="267" y="32"/>
                      </a:lnTo>
                      <a:lnTo>
                        <a:pt x="265" y="35"/>
                      </a:lnTo>
                      <a:lnTo>
                        <a:pt x="266" y="37"/>
                      </a:lnTo>
                      <a:lnTo>
                        <a:pt x="265" y="38"/>
                      </a:lnTo>
                      <a:lnTo>
                        <a:pt x="262" y="39"/>
                      </a:lnTo>
                      <a:lnTo>
                        <a:pt x="263" y="42"/>
                      </a:lnTo>
                      <a:lnTo>
                        <a:pt x="265" y="44"/>
                      </a:lnTo>
                      <a:lnTo>
                        <a:pt x="265" y="46"/>
                      </a:lnTo>
                      <a:lnTo>
                        <a:pt x="263" y="44"/>
                      </a:lnTo>
                      <a:lnTo>
                        <a:pt x="261" y="46"/>
                      </a:lnTo>
                      <a:lnTo>
                        <a:pt x="258" y="46"/>
                      </a:lnTo>
                      <a:lnTo>
                        <a:pt x="256" y="51"/>
                      </a:lnTo>
                      <a:lnTo>
                        <a:pt x="254" y="56"/>
                      </a:lnTo>
                      <a:lnTo>
                        <a:pt x="252" y="57"/>
                      </a:lnTo>
                      <a:lnTo>
                        <a:pt x="251" y="62"/>
                      </a:lnTo>
                      <a:lnTo>
                        <a:pt x="249" y="63"/>
                      </a:lnTo>
                      <a:lnTo>
                        <a:pt x="251" y="66"/>
                      </a:lnTo>
                      <a:lnTo>
                        <a:pt x="255" y="67"/>
                      </a:lnTo>
                      <a:lnTo>
                        <a:pt x="254" y="67"/>
                      </a:lnTo>
                      <a:lnTo>
                        <a:pt x="253" y="70"/>
                      </a:lnTo>
                      <a:lnTo>
                        <a:pt x="258" y="72"/>
                      </a:lnTo>
                      <a:lnTo>
                        <a:pt x="256" y="74"/>
                      </a:lnTo>
                      <a:lnTo>
                        <a:pt x="252" y="73"/>
                      </a:lnTo>
                      <a:lnTo>
                        <a:pt x="251" y="70"/>
                      </a:lnTo>
                      <a:lnTo>
                        <a:pt x="251" y="73"/>
                      </a:lnTo>
                      <a:lnTo>
                        <a:pt x="254" y="75"/>
                      </a:lnTo>
                      <a:lnTo>
                        <a:pt x="254" y="79"/>
                      </a:lnTo>
                      <a:lnTo>
                        <a:pt x="256" y="83"/>
                      </a:lnTo>
                      <a:lnTo>
                        <a:pt x="252" y="79"/>
                      </a:lnTo>
                      <a:lnTo>
                        <a:pt x="251" y="74"/>
                      </a:lnTo>
                      <a:lnTo>
                        <a:pt x="248" y="74"/>
                      </a:lnTo>
                      <a:lnTo>
                        <a:pt x="248" y="76"/>
                      </a:lnTo>
                      <a:lnTo>
                        <a:pt x="247" y="78"/>
                      </a:lnTo>
                      <a:lnTo>
                        <a:pt x="246" y="75"/>
                      </a:lnTo>
                      <a:lnTo>
                        <a:pt x="240" y="70"/>
                      </a:lnTo>
                      <a:lnTo>
                        <a:pt x="236" y="72"/>
                      </a:lnTo>
                      <a:lnTo>
                        <a:pt x="238" y="74"/>
                      </a:lnTo>
                      <a:lnTo>
                        <a:pt x="236" y="76"/>
                      </a:lnTo>
                      <a:lnTo>
                        <a:pt x="234" y="74"/>
                      </a:lnTo>
                      <a:lnTo>
                        <a:pt x="233" y="74"/>
                      </a:lnTo>
                      <a:lnTo>
                        <a:pt x="232" y="76"/>
                      </a:lnTo>
                      <a:lnTo>
                        <a:pt x="234" y="79"/>
                      </a:lnTo>
                      <a:lnTo>
                        <a:pt x="234" y="81"/>
                      </a:lnTo>
                      <a:lnTo>
                        <a:pt x="233" y="80"/>
                      </a:lnTo>
                      <a:lnTo>
                        <a:pt x="231" y="81"/>
                      </a:lnTo>
                      <a:lnTo>
                        <a:pt x="231" y="82"/>
                      </a:lnTo>
                      <a:lnTo>
                        <a:pt x="229" y="84"/>
                      </a:lnTo>
                      <a:lnTo>
                        <a:pt x="224" y="84"/>
                      </a:lnTo>
                      <a:lnTo>
                        <a:pt x="228" y="83"/>
                      </a:lnTo>
                      <a:lnTo>
                        <a:pt x="230" y="80"/>
                      </a:lnTo>
                      <a:lnTo>
                        <a:pt x="230" y="74"/>
                      </a:lnTo>
                      <a:lnTo>
                        <a:pt x="232" y="70"/>
                      </a:lnTo>
                      <a:lnTo>
                        <a:pt x="231" y="69"/>
                      </a:lnTo>
                      <a:lnTo>
                        <a:pt x="228" y="68"/>
                      </a:lnTo>
                      <a:lnTo>
                        <a:pt x="224" y="60"/>
                      </a:lnTo>
                      <a:lnTo>
                        <a:pt x="222" y="56"/>
                      </a:lnTo>
                      <a:lnTo>
                        <a:pt x="218" y="54"/>
                      </a:lnTo>
                      <a:lnTo>
                        <a:pt x="216" y="53"/>
                      </a:lnTo>
                      <a:lnTo>
                        <a:pt x="213" y="53"/>
                      </a:lnTo>
                      <a:lnTo>
                        <a:pt x="215" y="55"/>
                      </a:lnTo>
                      <a:lnTo>
                        <a:pt x="213" y="56"/>
                      </a:lnTo>
                      <a:lnTo>
                        <a:pt x="212" y="60"/>
                      </a:lnTo>
                      <a:lnTo>
                        <a:pt x="210" y="59"/>
                      </a:lnTo>
                      <a:lnTo>
                        <a:pt x="210" y="57"/>
                      </a:lnTo>
                      <a:lnTo>
                        <a:pt x="208" y="58"/>
                      </a:lnTo>
                      <a:lnTo>
                        <a:pt x="207" y="60"/>
                      </a:lnTo>
                      <a:lnTo>
                        <a:pt x="205" y="55"/>
                      </a:lnTo>
                      <a:lnTo>
                        <a:pt x="203" y="55"/>
                      </a:lnTo>
                      <a:lnTo>
                        <a:pt x="203" y="57"/>
                      </a:lnTo>
                      <a:lnTo>
                        <a:pt x="205" y="59"/>
                      </a:lnTo>
                      <a:lnTo>
                        <a:pt x="203" y="61"/>
                      </a:lnTo>
                      <a:lnTo>
                        <a:pt x="201" y="65"/>
                      </a:lnTo>
                      <a:lnTo>
                        <a:pt x="203" y="67"/>
                      </a:lnTo>
                      <a:lnTo>
                        <a:pt x="199" y="69"/>
                      </a:lnTo>
                      <a:lnTo>
                        <a:pt x="198" y="67"/>
                      </a:lnTo>
                      <a:lnTo>
                        <a:pt x="196" y="67"/>
                      </a:lnTo>
                      <a:lnTo>
                        <a:pt x="196" y="64"/>
                      </a:lnTo>
                      <a:lnTo>
                        <a:pt x="198" y="62"/>
                      </a:lnTo>
                      <a:lnTo>
                        <a:pt x="196" y="62"/>
                      </a:lnTo>
                      <a:lnTo>
                        <a:pt x="195" y="66"/>
                      </a:lnTo>
                      <a:lnTo>
                        <a:pt x="192" y="67"/>
                      </a:lnTo>
                      <a:lnTo>
                        <a:pt x="191" y="68"/>
                      </a:lnTo>
                      <a:lnTo>
                        <a:pt x="190" y="72"/>
                      </a:lnTo>
                      <a:lnTo>
                        <a:pt x="195" y="74"/>
                      </a:lnTo>
                      <a:lnTo>
                        <a:pt x="191" y="77"/>
                      </a:lnTo>
                      <a:lnTo>
                        <a:pt x="188" y="75"/>
                      </a:lnTo>
                      <a:lnTo>
                        <a:pt x="185" y="78"/>
                      </a:lnTo>
                      <a:lnTo>
                        <a:pt x="186" y="81"/>
                      </a:lnTo>
                      <a:lnTo>
                        <a:pt x="189" y="81"/>
                      </a:lnTo>
                      <a:lnTo>
                        <a:pt x="188" y="84"/>
                      </a:lnTo>
                      <a:lnTo>
                        <a:pt x="186" y="84"/>
                      </a:lnTo>
                      <a:lnTo>
                        <a:pt x="183" y="81"/>
                      </a:lnTo>
                      <a:lnTo>
                        <a:pt x="181" y="84"/>
                      </a:lnTo>
                      <a:lnTo>
                        <a:pt x="178" y="84"/>
                      </a:lnTo>
                      <a:lnTo>
                        <a:pt x="179" y="87"/>
                      </a:lnTo>
                      <a:lnTo>
                        <a:pt x="179" y="89"/>
                      </a:lnTo>
                      <a:lnTo>
                        <a:pt x="179" y="91"/>
                      </a:lnTo>
                      <a:lnTo>
                        <a:pt x="181" y="91"/>
                      </a:lnTo>
                      <a:lnTo>
                        <a:pt x="179" y="94"/>
                      </a:lnTo>
                      <a:lnTo>
                        <a:pt x="180" y="96"/>
                      </a:lnTo>
                      <a:lnTo>
                        <a:pt x="178" y="98"/>
                      </a:lnTo>
                      <a:lnTo>
                        <a:pt x="177" y="100"/>
                      </a:lnTo>
                      <a:lnTo>
                        <a:pt x="182" y="101"/>
                      </a:lnTo>
                      <a:lnTo>
                        <a:pt x="179" y="103"/>
                      </a:lnTo>
                      <a:lnTo>
                        <a:pt x="178" y="105"/>
                      </a:lnTo>
                      <a:lnTo>
                        <a:pt x="175" y="104"/>
                      </a:lnTo>
                      <a:lnTo>
                        <a:pt x="174" y="101"/>
                      </a:lnTo>
                      <a:lnTo>
                        <a:pt x="172" y="99"/>
                      </a:lnTo>
                      <a:lnTo>
                        <a:pt x="169" y="101"/>
                      </a:lnTo>
                      <a:lnTo>
                        <a:pt x="168" y="99"/>
                      </a:lnTo>
                      <a:lnTo>
                        <a:pt x="165" y="97"/>
                      </a:lnTo>
                      <a:lnTo>
                        <a:pt x="164" y="99"/>
                      </a:lnTo>
                      <a:lnTo>
                        <a:pt x="167" y="102"/>
                      </a:lnTo>
                      <a:lnTo>
                        <a:pt x="166" y="103"/>
                      </a:lnTo>
                      <a:lnTo>
                        <a:pt x="165" y="106"/>
                      </a:lnTo>
                      <a:lnTo>
                        <a:pt x="168" y="109"/>
                      </a:lnTo>
                      <a:lnTo>
                        <a:pt x="170" y="109"/>
                      </a:lnTo>
                      <a:lnTo>
                        <a:pt x="169" y="112"/>
                      </a:lnTo>
                      <a:lnTo>
                        <a:pt x="168" y="115"/>
                      </a:lnTo>
                      <a:lnTo>
                        <a:pt x="168" y="114"/>
                      </a:lnTo>
                      <a:lnTo>
                        <a:pt x="166" y="114"/>
                      </a:lnTo>
                      <a:lnTo>
                        <a:pt x="167" y="117"/>
                      </a:lnTo>
                      <a:lnTo>
                        <a:pt x="165" y="121"/>
                      </a:lnTo>
                      <a:lnTo>
                        <a:pt x="165" y="125"/>
                      </a:lnTo>
                      <a:lnTo>
                        <a:pt x="161" y="114"/>
                      </a:lnTo>
                      <a:lnTo>
                        <a:pt x="158" y="107"/>
                      </a:lnTo>
                      <a:lnTo>
                        <a:pt x="156" y="104"/>
                      </a:lnTo>
                      <a:lnTo>
                        <a:pt x="157" y="100"/>
                      </a:lnTo>
                      <a:lnTo>
                        <a:pt x="156" y="102"/>
                      </a:lnTo>
                      <a:lnTo>
                        <a:pt x="153" y="105"/>
                      </a:lnTo>
                      <a:lnTo>
                        <a:pt x="152" y="109"/>
                      </a:lnTo>
                      <a:lnTo>
                        <a:pt x="150" y="110"/>
                      </a:lnTo>
                      <a:lnTo>
                        <a:pt x="149" y="112"/>
                      </a:lnTo>
                      <a:lnTo>
                        <a:pt x="147" y="112"/>
                      </a:lnTo>
                      <a:lnTo>
                        <a:pt x="145" y="114"/>
                      </a:lnTo>
                      <a:lnTo>
                        <a:pt x="143" y="116"/>
                      </a:lnTo>
                      <a:lnTo>
                        <a:pt x="143" y="121"/>
                      </a:lnTo>
                      <a:lnTo>
                        <a:pt x="143" y="129"/>
                      </a:lnTo>
                      <a:lnTo>
                        <a:pt x="144" y="130"/>
                      </a:lnTo>
                      <a:lnTo>
                        <a:pt x="144" y="133"/>
                      </a:lnTo>
                      <a:lnTo>
                        <a:pt x="142" y="136"/>
                      </a:lnTo>
                      <a:lnTo>
                        <a:pt x="141" y="139"/>
                      </a:lnTo>
                      <a:lnTo>
                        <a:pt x="137" y="139"/>
                      </a:lnTo>
                      <a:lnTo>
                        <a:pt x="137" y="142"/>
                      </a:lnTo>
                      <a:lnTo>
                        <a:pt x="134" y="144"/>
                      </a:lnTo>
                      <a:lnTo>
                        <a:pt x="134" y="149"/>
                      </a:lnTo>
                      <a:lnTo>
                        <a:pt x="132" y="151"/>
                      </a:lnTo>
                      <a:lnTo>
                        <a:pt x="127" y="158"/>
                      </a:lnTo>
                      <a:lnTo>
                        <a:pt x="119" y="164"/>
                      </a:lnTo>
                      <a:lnTo>
                        <a:pt x="112" y="165"/>
                      </a:lnTo>
                      <a:lnTo>
                        <a:pt x="109" y="166"/>
                      </a:lnTo>
                      <a:lnTo>
                        <a:pt x="105" y="167"/>
                      </a:lnTo>
                      <a:lnTo>
                        <a:pt x="101" y="167"/>
                      </a:lnTo>
                      <a:lnTo>
                        <a:pt x="98" y="167"/>
                      </a:lnTo>
                      <a:lnTo>
                        <a:pt x="93" y="169"/>
                      </a:lnTo>
                      <a:lnTo>
                        <a:pt x="93" y="172"/>
                      </a:lnTo>
                      <a:lnTo>
                        <a:pt x="90" y="174"/>
                      </a:lnTo>
                      <a:lnTo>
                        <a:pt x="81" y="173"/>
                      </a:lnTo>
                      <a:lnTo>
                        <a:pt x="78" y="174"/>
                      </a:lnTo>
                      <a:lnTo>
                        <a:pt x="78" y="177"/>
                      </a:lnTo>
                      <a:lnTo>
                        <a:pt x="72" y="181"/>
                      </a:lnTo>
                      <a:lnTo>
                        <a:pt x="68" y="181"/>
                      </a:lnTo>
                      <a:lnTo>
                        <a:pt x="65" y="179"/>
                      </a:lnTo>
                      <a:lnTo>
                        <a:pt x="63" y="180"/>
                      </a:lnTo>
                      <a:lnTo>
                        <a:pt x="62" y="177"/>
                      </a:lnTo>
                      <a:lnTo>
                        <a:pt x="60" y="179"/>
                      </a:lnTo>
                      <a:lnTo>
                        <a:pt x="57" y="183"/>
                      </a:lnTo>
                      <a:lnTo>
                        <a:pt x="51" y="184"/>
                      </a:lnTo>
                      <a:lnTo>
                        <a:pt x="51" y="186"/>
                      </a:lnTo>
                      <a:lnTo>
                        <a:pt x="49" y="186"/>
                      </a:lnTo>
                      <a:lnTo>
                        <a:pt x="44" y="191"/>
                      </a:lnTo>
                      <a:lnTo>
                        <a:pt x="39" y="194"/>
                      </a:lnTo>
                      <a:lnTo>
                        <a:pt x="30" y="198"/>
                      </a:lnTo>
                      <a:lnTo>
                        <a:pt x="27" y="203"/>
                      </a:lnTo>
                      <a:lnTo>
                        <a:pt x="27" y="208"/>
                      </a:lnTo>
                      <a:lnTo>
                        <a:pt x="23" y="212"/>
                      </a:lnTo>
                      <a:lnTo>
                        <a:pt x="22" y="210"/>
                      </a:lnTo>
                      <a:lnTo>
                        <a:pt x="23" y="208"/>
                      </a:lnTo>
                      <a:lnTo>
                        <a:pt x="22" y="205"/>
                      </a:lnTo>
                      <a:lnTo>
                        <a:pt x="23" y="201"/>
                      </a:lnTo>
                      <a:lnTo>
                        <a:pt x="23" y="198"/>
                      </a:lnTo>
                      <a:lnTo>
                        <a:pt x="19" y="202"/>
                      </a:lnTo>
                      <a:lnTo>
                        <a:pt x="18" y="208"/>
                      </a:lnTo>
                      <a:lnTo>
                        <a:pt x="15" y="215"/>
                      </a:lnTo>
                      <a:lnTo>
                        <a:pt x="17" y="220"/>
                      </a:lnTo>
                      <a:lnTo>
                        <a:pt x="16" y="224"/>
                      </a:lnTo>
                      <a:lnTo>
                        <a:pt x="16" y="232"/>
                      </a:lnTo>
                      <a:lnTo>
                        <a:pt x="10" y="240"/>
                      </a:lnTo>
                      <a:lnTo>
                        <a:pt x="8" y="251"/>
                      </a:lnTo>
                      <a:lnTo>
                        <a:pt x="9" y="257"/>
                      </a:lnTo>
                      <a:lnTo>
                        <a:pt x="9" y="265"/>
                      </a:lnTo>
                      <a:lnTo>
                        <a:pt x="13" y="275"/>
                      </a:lnTo>
                      <a:lnTo>
                        <a:pt x="14" y="279"/>
                      </a:lnTo>
                      <a:lnTo>
                        <a:pt x="16" y="282"/>
                      </a:lnTo>
                      <a:lnTo>
                        <a:pt x="14" y="287"/>
                      </a:lnTo>
                      <a:lnTo>
                        <a:pt x="15" y="291"/>
                      </a:lnTo>
                      <a:lnTo>
                        <a:pt x="12" y="293"/>
                      </a:lnTo>
                      <a:lnTo>
                        <a:pt x="11" y="290"/>
                      </a:lnTo>
                      <a:lnTo>
                        <a:pt x="11" y="284"/>
                      </a:lnTo>
                      <a:lnTo>
                        <a:pt x="9" y="288"/>
                      </a:lnTo>
                      <a:lnTo>
                        <a:pt x="8" y="286"/>
                      </a:lnTo>
                      <a:lnTo>
                        <a:pt x="8" y="281"/>
                      </a:lnTo>
                      <a:lnTo>
                        <a:pt x="5" y="274"/>
                      </a:lnTo>
                      <a:lnTo>
                        <a:pt x="3" y="277"/>
                      </a:lnTo>
                      <a:lnTo>
                        <a:pt x="4" y="284"/>
                      </a:lnTo>
                      <a:lnTo>
                        <a:pt x="8" y="289"/>
                      </a:lnTo>
                      <a:lnTo>
                        <a:pt x="11" y="295"/>
                      </a:lnTo>
                      <a:lnTo>
                        <a:pt x="7" y="296"/>
                      </a:lnTo>
                      <a:lnTo>
                        <a:pt x="3" y="291"/>
                      </a:lnTo>
                      <a:lnTo>
                        <a:pt x="2" y="285"/>
                      </a:lnTo>
                      <a:lnTo>
                        <a:pt x="2" y="288"/>
                      </a:lnTo>
                      <a:lnTo>
                        <a:pt x="0" y="289"/>
                      </a:lnTo>
                      <a:lnTo>
                        <a:pt x="2" y="295"/>
                      </a:lnTo>
                      <a:lnTo>
                        <a:pt x="7" y="301"/>
                      </a:lnTo>
                      <a:lnTo>
                        <a:pt x="10" y="312"/>
                      </a:lnTo>
                      <a:lnTo>
                        <a:pt x="9" y="329"/>
                      </a:lnTo>
                      <a:lnTo>
                        <a:pt x="12" y="332"/>
                      </a:lnTo>
                      <a:lnTo>
                        <a:pt x="13" y="341"/>
                      </a:lnTo>
                      <a:lnTo>
                        <a:pt x="17" y="354"/>
                      </a:lnTo>
                      <a:lnTo>
                        <a:pt x="16" y="359"/>
                      </a:lnTo>
                      <a:lnTo>
                        <a:pt x="16" y="377"/>
                      </a:lnTo>
                      <a:lnTo>
                        <a:pt x="16" y="380"/>
                      </a:lnTo>
                      <a:lnTo>
                        <a:pt x="17" y="385"/>
                      </a:lnTo>
                      <a:lnTo>
                        <a:pt x="17" y="391"/>
                      </a:lnTo>
                      <a:lnTo>
                        <a:pt x="20" y="399"/>
                      </a:lnTo>
                      <a:lnTo>
                        <a:pt x="20" y="404"/>
                      </a:lnTo>
                      <a:lnTo>
                        <a:pt x="17" y="406"/>
                      </a:lnTo>
                      <a:lnTo>
                        <a:pt x="19" y="408"/>
                      </a:lnTo>
                      <a:lnTo>
                        <a:pt x="18" y="412"/>
                      </a:lnTo>
                      <a:lnTo>
                        <a:pt x="17" y="419"/>
                      </a:lnTo>
                      <a:lnTo>
                        <a:pt x="15" y="422"/>
                      </a:lnTo>
                      <a:lnTo>
                        <a:pt x="16" y="425"/>
                      </a:lnTo>
                      <a:lnTo>
                        <a:pt x="15" y="429"/>
                      </a:lnTo>
                      <a:lnTo>
                        <a:pt x="12" y="431"/>
                      </a:lnTo>
                      <a:lnTo>
                        <a:pt x="13" y="436"/>
                      </a:lnTo>
                      <a:lnTo>
                        <a:pt x="9" y="439"/>
                      </a:lnTo>
                      <a:lnTo>
                        <a:pt x="6" y="438"/>
                      </a:lnTo>
                      <a:lnTo>
                        <a:pt x="3" y="444"/>
                      </a:lnTo>
                      <a:lnTo>
                        <a:pt x="3" y="454"/>
                      </a:lnTo>
                      <a:lnTo>
                        <a:pt x="5" y="457"/>
                      </a:lnTo>
                      <a:lnTo>
                        <a:pt x="7" y="457"/>
                      </a:lnTo>
                      <a:lnTo>
                        <a:pt x="13" y="464"/>
                      </a:lnTo>
                      <a:lnTo>
                        <a:pt x="13" y="467"/>
                      </a:lnTo>
                      <a:lnTo>
                        <a:pt x="14" y="468"/>
                      </a:lnTo>
                      <a:lnTo>
                        <a:pt x="17" y="469"/>
                      </a:lnTo>
                      <a:lnTo>
                        <a:pt x="19" y="471"/>
                      </a:lnTo>
                      <a:lnTo>
                        <a:pt x="23" y="472"/>
                      </a:lnTo>
                      <a:lnTo>
                        <a:pt x="24" y="471"/>
                      </a:lnTo>
                      <a:lnTo>
                        <a:pt x="25" y="473"/>
                      </a:lnTo>
                      <a:lnTo>
                        <a:pt x="28" y="474"/>
                      </a:lnTo>
                      <a:lnTo>
                        <a:pt x="32" y="472"/>
                      </a:lnTo>
                      <a:lnTo>
                        <a:pt x="33" y="475"/>
                      </a:lnTo>
                      <a:lnTo>
                        <a:pt x="34" y="474"/>
                      </a:lnTo>
                      <a:lnTo>
                        <a:pt x="35" y="474"/>
                      </a:lnTo>
                      <a:lnTo>
                        <a:pt x="40" y="473"/>
                      </a:lnTo>
                      <a:lnTo>
                        <a:pt x="43" y="473"/>
                      </a:lnTo>
                      <a:lnTo>
                        <a:pt x="44" y="471"/>
                      </a:lnTo>
                      <a:lnTo>
                        <a:pt x="45" y="471"/>
                      </a:lnTo>
                      <a:lnTo>
                        <a:pt x="47" y="466"/>
                      </a:lnTo>
                      <a:lnTo>
                        <a:pt x="52" y="467"/>
                      </a:lnTo>
                      <a:lnTo>
                        <a:pt x="52" y="464"/>
                      </a:lnTo>
                      <a:lnTo>
                        <a:pt x="54" y="462"/>
                      </a:lnTo>
                      <a:lnTo>
                        <a:pt x="57" y="462"/>
                      </a:lnTo>
                      <a:lnTo>
                        <a:pt x="59" y="464"/>
                      </a:lnTo>
                      <a:lnTo>
                        <a:pt x="61" y="461"/>
                      </a:lnTo>
                      <a:lnTo>
                        <a:pt x="62" y="461"/>
                      </a:lnTo>
                      <a:lnTo>
                        <a:pt x="64" y="460"/>
                      </a:lnTo>
                      <a:lnTo>
                        <a:pt x="64" y="457"/>
                      </a:lnTo>
                      <a:lnTo>
                        <a:pt x="72" y="451"/>
                      </a:lnTo>
                      <a:lnTo>
                        <a:pt x="75" y="451"/>
                      </a:lnTo>
                      <a:lnTo>
                        <a:pt x="77" y="453"/>
                      </a:lnTo>
                      <a:lnTo>
                        <a:pt x="80" y="450"/>
                      </a:lnTo>
                      <a:lnTo>
                        <a:pt x="87" y="449"/>
                      </a:lnTo>
                      <a:lnTo>
                        <a:pt x="88" y="450"/>
                      </a:lnTo>
                      <a:lnTo>
                        <a:pt x="93" y="450"/>
                      </a:lnTo>
                      <a:lnTo>
                        <a:pt x="94" y="450"/>
                      </a:lnTo>
                      <a:lnTo>
                        <a:pt x="96" y="450"/>
                      </a:lnTo>
                      <a:lnTo>
                        <a:pt x="99" y="450"/>
                      </a:lnTo>
                      <a:lnTo>
                        <a:pt x="100" y="453"/>
                      </a:lnTo>
                      <a:lnTo>
                        <a:pt x="102" y="453"/>
                      </a:lnTo>
                      <a:lnTo>
                        <a:pt x="105" y="452"/>
                      </a:lnTo>
                      <a:lnTo>
                        <a:pt x="106" y="453"/>
                      </a:lnTo>
                      <a:lnTo>
                        <a:pt x="108" y="452"/>
                      </a:lnTo>
                      <a:lnTo>
                        <a:pt x="113" y="452"/>
                      </a:lnTo>
                      <a:lnTo>
                        <a:pt x="113" y="454"/>
                      </a:lnTo>
                      <a:lnTo>
                        <a:pt x="114" y="455"/>
                      </a:lnTo>
                      <a:lnTo>
                        <a:pt x="117" y="451"/>
                      </a:lnTo>
                      <a:lnTo>
                        <a:pt x="120" y="453"/>
                      </a:lnTo>
                      <a:lnTo>
                        <a:pt x="124" y="450"/>
                      </a:lnTo>
                      <a:lnTo>
                        <a:pt x="126" y="445"/>
                      </a:lnTo>
                      <a:lnTo>
                        <a:pt x="127" y="445"/>
                      </a:lnTo>
                      <a:lnTo>
                        <a:pt x="130" y="441"/>
                      </a:lnTo>
                      <a:lnTo>
                        <a:pt x="132" y="435"/>
                      </a:lnTo>
                      <a:lnTo>
                        <a:pt x="135" y="432"/>
                      </a:lnTo>
                      <a:lnTo>
                        <a:pt x="139" y="430"/>
                      </a:lnTo>
                      <a:lnTo>
                        <a:pt x="141" y="432"/>
                      </a:lnTo>
                      <a:lnTo>
                        <a:pt x="147" y="429"/>
                      </a:lnTo>
                      <a:lnTo>
                        <a:pt x="154" y="423"/>
                      </a:lnTo>
                      <a:lnTo>
                        <a:pt x="158" y="419"/>
                      </a:lnTo>
                      <a:lnTo>
                        <a:pt x="161" y="418"/>
                      </a:lnTo>
                      <a:lnTo>
                        <a:pt x="163" y="418"/>
                      </a:lnTo>
                      <a:lnTo>
                        <a:pt x="165" y="418"/>
                      </a:lnTo>
                      <a:lnTo>
                        <a:pt x="169" y="419"/>
                      </a:lnTo>
                      <a:lnTo>
                        <a:pt x="173" y="420"/>
                      </a:lnTo>
                      <a:lnTo>
                        <a:pt x="176" y="419"/>
                      </a:lnTo>
                      <a:lnTo>
                        <a:pt x="182" y="419"/>
                      </a:lnTo>
                      <a:lnTo>
                        <a:pt x="189" y="415"/>
                      </a:lnTo>
                      <a:lnTo>
                        <a:pt x="194" y="415"/>
                      </a:lnTo>
                      <a:lnTo>
                        <a:pt x="197" y="412"/>
                      </a:lnTo>
                      <a:lnTo>
                        <a:pt x="199" y="412"/>
                      </a:lnTo>
                      <a:lnTo>
                        <a:pt x="203" y="408"/>
                      </a:lnTo>
                      <a:lnTo>
                        <a:pt x="210" y="408"/>
                      </a:lnTo>
                      <a:lnTo>
                        <a:pt x="225" y="406"/>
                      </a:lnTo>
                      <a:lnTo>
                        <a:pt x="230" y="408"/>
                      </a:lnTo>
                      <a:lnTo>
                        <a:pt x="234" y="408"/>
                      </a:lnTo>
                      <a:lnTo>
                        <a:pt x="238" y="406"/>
                      </a:lnTo>
                      <a:lnTo>
                        <a:pt x="241" y="407"/>
                      </a:lnTo>
                      <a:lnTo>
                        <a:pt x="245" y="412"/>
                      </a:lnTo>
                      <a:lnTo>
                        <a:pt x="248" y="419"/>
                      </a:lnTo>
                      <a:lnTo>
                        <a:pt x="251" y="419"/>
                      </a:lnTo>
                      <a:lnTo>
                        <a:pt x="253" y="418"/>
                      </a:lnTo>
                      <a:lnTo>
                        <a:pt x="255" y="417"/>
                      </a:lnTo>
                      <a:lnTo>
                        <a:pt x="256" y="419"/>
                      </a:lnTo>
                      <a:lnTo>
                        <a:pt x="258" y="418"/>
                      </a:lnTo>
                      <a:lnTo>
                        <a:pt x="261" y="419"/>
                      </a:lnTo>
                      <a:lnTo>
                        <a:pt x="263" y="422"/>
                      </a:lnTo>
                      <a:lnTo>
                        <a:pt x="267" y="423"/>
                      </a:lnTo>
                      <a:lnTo>
                        <a:pt x="269" y="422"/>
                      </a:lnTo>
                      <a:lnTo>
                        <a:pt x="275" y="428"/>
                      </a:lnTo>
                      <a:lnTo>
                        <a:pt x="274" y="431"/>
                      </a:lnTo>
                      <a:lnTo>
                        <a:pt x="276" y="431"/>
                      </a:lnTo>
                      <a:lnTo>
                        <a:pt x="278" y="433"/>
                      </a:lnTo>
                      <a:lnTo>
                        <a:pt x="277" y="436"/>
                      </a:lnTo>
                      <a:lnTo>
                        <a:pt x="275" y="436"/>
                      </a:lnTo>
                      <a:lnTo>
                        <a:pt x="274" y="438"/>
                      </a:lnTo>
                      <a:lnTo>
                        <a:pt x="277" y="445"/>
                      </a:lnTo>
                      <a:lnTo>
                        <a:pt x="279" y="445"/>
                      </a:lnTo>
                      <a:lnTo>
                        <a:pt x="283" y="449"/>
                      </a:lnTo>
                      <a:lnTo>
                        <a:pt x="283" y="453"/>
                      </a:lnTo>
                      <a:lnTo>
                        <a:pt x="283" y="457"/>
                      </a:lnTo>
                      <a:lnTo>
                        <a:pt x="286" y="465"/>
                      </a:lnTo>
                      <a:lnTo>
                        <a:pt x="285" y="469"/>
                      </a:lnTo>
                      <a:lnTo>
                        <a:pt x="286" y="471"/>
                      </a:lnTo>
                      <a:lnTo>
                        <a:pt x="286" y="475"/>
                      </a:lnTo>
                      <a:lnTo>
                        <a:pt x="284" y="478"/>
                      </a:lnTo>
                      <a:lnTo>
                        <a:pt x="283" y="477"/>
                      </a:lnTo>
                      <a:lnTo>
                        <a:pt x="282" y="477"/>
                      </a:lnTo>
                      <a:lnTo>
                        <a:pt x="284" y="481"/>
                      </a:lnTo>
                      <a:lnTo>
                        <a:pt x="286" y="483"/>
                      </a:lnTo>
                      <a:lnTo>
                        <a:pt x="287" y="486"/>
                      </a:lnTo>
                      <a:lnTo>
                        <a:pt x="289" y="485"/>
                      </a:lnTo>
                      <a:lnTo>
                        <a:pt x="292" y="488"/>
                      </a:lnTo>
                      <a:lnTo>
                        <a:pt x="292" y="484"/>
                      </a:lnTo>
                      <a:lnTo>
                        <a:pt x="290" y="482"/>
                      </a:lnTo>
                      <a:lnTo>
                        <a:pt x="293" y="480"/>
                      </a:lnTo>
                      <a:lnTo>
                        <a:pt x="293" y="477"/>
                      </a:lnTo>
                      <a:lnTo>
                        <a:pt x="296" y="476"/>
                      </a:lnTo>
                      <a:lnTo>
                        <a:pt x="297" y="473"/>
                      </a:lnTo>
                      <a:lnTo>
                        <a:pt x="300" y="472"/>
                      </a:lnTo>
                      <a:lnTo>
                        <a:pt x="300" y="469"/>
                      </a:lnTo>
                      <a:lnTo>
                        <a:pt x="303" y="465"/>
                      </a:lnTo>
                      <a:lnTo>
                        <a:pt x="309" y="461"/>
                      </a:lnTo>
                      <a:lnTo>
                        <a:pt x="310" y="459"/>
                      </a:lnTo>
                      <a:lnTo>
                        <a:pt x="310" y="459"/>
                      </a:lnTo>
                      <a:lnTo>
                        <a:pt x="315" y="457"/>
                      </a:lnTo>
                      <a:lnTo>
                        <a:pt x="317" y="452"/>
                      </a:lnTo>
                      <a:lnTo>
                        <a:pt x="321" y="445"/>
                      </a:lnTo>
                      <a:lnTo>
                        <a:pt x="324" y="443"/>
                      </a:lnTo>
                      <a:lnTo>
                        <a:pt x="326" y="441"/>
                      </a:lnTo>
                      <a:lnTo>
                        <a:pt x="325" y="437"/>
                      </a:lnTo>
                      <a:lnTo>
                        <a:pt x="326" y="433"/>
                      </a:lnTo>
                      <a:lnTo>
                        <a:pt x="328" y="438"/>
                      </a:lnTo>
                      <a:lnTo>
                        <a:pt x="328" y="443"/>
                      </a:lnTo>
                      <a:lnTo>
                        <a:pt x="328" y="446"/>
                      </a:lnTo>
                      <a:lnTo>
                        <a:pt x="326" y="450"/>
                      </a:lnTo>
                      <a:lnTo>
                        <a:pt x="325" y="458"/>
                      </a:lnTo>
                      <a:lnTo>
                        <a:pt x="319" y="463"/>
                      </a:lnTo>
                      <a:lnTo>
                        <a:pt x="318" y="466"/>
                      </a:lnTo>
                      <a:lnTo>
                        <a:pt x="317" y="469"/>
                      </a:lnTo>
                      <a:lnTo>
                        <a:pt x="317" y="473"/>
                      </a:lnTo>
                      <a:lnTo>
                        <a:pt x="314" y="478"/>
                      </a:lnTo>
                      <a:lnTo>
                        <a:pt x="314" y="480"/>
                      </a:lnTo>
                      <a:lnTo>
                        <a:pt x="312" y="488"/>
                      </a:lnTo>
                      <a:lnTo>
                        <a:pt x="305" y="488"/>
                      </a:lnTo>
                      <a:lnTo>
                        <a:pt x="303" y="492"/>
                      </a:lnTo>
                      <a:lnTo>
                        <a:pt x="302" y="495"/>
                      </a:lnTo>
                      <a:lnTo>
                        <a:pt x="302" y="497"/>
                      </a:lnTo>
                      <a:lnTo>
                        <a:pt x="306" y="495"/>
                      </a:lnTo>
                      <a:lnTo>
                        <a:pt x="310" y="493"/>
                      </a:lnTo>
                      <a:lnTo>
                        <a:pt x="315" y="495"/>
                      </a:lnTo>
                      <a:lnTo>
                        <a:pt x="320" y="486"/>
                      </a:lnTo>
                      <a:lnTo>
                        <a:pt x="321" y="477"/>
                      </a:lnTo>
                      <a:lnTo>
                        <a:pt x="325" y="472"/>
                      </a:lnTo>
                      <a:lnTo>
                        <a:pt x="326" y="474"/>
                      </a:lnTo>
                      <a:lnTo>
                        <a:pt x="326" y="482"/>
                      </a:lnTo>
                      <a:lnTo>
                        <a:pt x="328" y="487"/>
                      </a:lnTo>
                      <a:lnTo>
                        <a:pt x="326" y="488"/>
                      </a:lnTo>
                      <a:lnTo>
                        <a:pt x="327" y="495"/>
                      </a:lnTo>
                      <a:lnTo>
                        <a:pt x="324" y="502"/>
                      </a:lnTo>
                      <a:lnTo>
                        <a:pt x="318" y="505"/>
                      </a:lnTo>
                      <a:lnTo>
                        <a:pt x="319" y="507"/>
                      </a:lnTo>
                      <a:lnTo>
                        <a:pt x="323" y="507"/>
                      </a:lnTo>
                      <a:lnTo>
                        <a:pt x="326" y="507"/>
                      </a:lnTo>
                      <a:lnTo>
                        <a:pt x="328" y="505"/>
                      </a:lnTo>
                      <a:lnTo>
                        <a:pt x="331" y="504"/>
                      </a:lnTo>
                      <a:lnTo>
                        <a:pt x="333" y="501"/>
                      </a:lnTo>
                      <a:lnTo>
                        <a:pt x="336" y="502"/>
                      </a:lnTo>
                      <a:lnTo>
                        <a:pt x="338" y="502"/>
                      </a:lnTo>
                      <a:lnTo>
                        <a:pt x="336" y="505"/>
                      </a:lnTo>
                      <a:lnTo>
                        <a:pt x="334" y="507"/>
                      </a:lnTo>
                      <a:lnTo>
                        <a:pt x="332" y="507"/>
                      </a:lnTo>
                      <a:lnTo>
                        <a:pt x="331" y="509"/>
                      </a:lnTo>
                      <a:lnTo>
                        <a:pt x="334" y="513"/>
                      </a:lnTo>
                      <a:lnTo>
                        <a:pt x="335" y="517"/>
                      </a:lnTo>
                      <a:lnTo>
                        <a:pt x="337" y="522"/>
                      </a:lnTo>
                      <a:lnTo>
                        <a:pt x="337" y="529"/>
                      </a:lnTo>
                      <a:lnTo>
                        <a:pt x="337" y="536"/>
                      </a:lnTo>
                      <a:lnTo>
                        <a:pt x="333" y="541"/>
                      </a:lnTo>
                      <a:lnTo>
                        <a:pt x="334" y="543"/>
                      </a:lnTo>
                      <a:lnTo>
                        <a:pt x="333" y="549"/>
                      </a:lnTo>
                      <a:lnTo>
                        <a:pt x="335" y="552"/>
                      </a:lnTo>
                      <a:lnTo>
                        <a:pt x="338" y="556"/>
                      </a:lnTo>
                      <a:lnTo>
                        <a:pt x="338" y="562"/>
                      </a:lnTo>
                      <a:lnTo>
                        <a:pt x="343" y="570"/>
                      </a:lnTo>
                      <a:lnTo>
                        <a:pt x="347" y="571"/>
                      </a:lnTo>
                      <a:lnTo>
                        <a:pt x="350" y="573"/>
                      </a:lnTo>
                      <a:lnTo>
                        <a:pt x="351" y="578"/>
                      </a:lnTo>
                      <a:lnTo>
                        <a:pt x="354" y="578"/>
                      </a:lnTo>
                      <a:lnTo>
                        <a:pt x="355" y="576"/>
                      </a:lnTo>
                      <a:lnTo>
                        <a:pt x="356" y="575"/>
                      </a:lnTo>
                      <a:lnTo>
                        <a:pt x="360" y="577"/>
                      </a:lnTo>
                      <a:lnTo>
                        <a:pt x="363" y="581"/>
                      </a:lnTo>
                      <a:lnTo>
                        <a:pt x="366" y="581"/>
                      </a:lnTo>
                      <a:lnTo>
                        <a:pt x="370" y="585"/>
                      </a:lnTo>
                      <a:lnTo>
                        <a:pt x="370" y="589"/>
                      </a:lnTo>
                      <a:lnTo>
                        <a:pt x="373" y="590"/>
                      </a:lnTo>
                      <a:lnTo>
                        <a:pt x="376" y="594"/>
                      </a:lnTo>
                      <a:lnTo>
                        <a:pt x="378" y="594"/>
                      </a:lnTo>
                      <a:lnTo>
                        <a:pt x="379" y="591"/>
                      </a:lnTo>
                      <a:lnTo>
                        <a:pt x="384" y="588"/>
                      </a:lnTo>
                      <a:lnTo>
                        <a:pt x="386" y="586"/>
                      </a:lnTo>
                      <a:lnTo>
                        <a:pt x="390" y="586"/>
                      </a:lnTo>
                      <a:lnTo>
                        <a:pt x="393" y="581"/>
                      </a:lnTo>
                      <a:lnTo>
                        <a:pt x="396" y="582"/>
                      </a:lnTo>
                      <a:lnTo>
                        <a:pt x="397" y="581"/>
                      </a:lnTo>
                      <a:lnTo>
                        <a:pt x="397" y="578"/>
                      </a:lnTo>
                      <a:lnTo>
                        <a:pt x="393" y="578"/>
                      </a:lnTo>
                      <a:lnTo>
                        <a:pt x="394" y="575"/>
                      </a:lnTo>
                      <a:lnTo>
                        <a:pt x="400" y="571"/>
                      </a:lnTo>
                      <a:lnTo>
                        <a:pt x="404" y="574"/>
                      </a:lnTo>
                      <a:lnTo>
                        <a:pt x="404" y="578"/>
                      </a:lnTo>
                      <a:lnTo>
                        <a:pt x="399" y="582"/>
                      </a:lnTo>
                      <a:lnTo>
                        <a:pt x="400" y="585"/>
                      </a:lnTo>
                      <a:lnTo>
                        <a:pt x="402" y="586"/>
                      </a:lnTo>
                      <a:lnTo>
                        <a:pt x="404" y="583"/>
                      </a:lnTo>
                      <a:lnTo>
                        <a:pt x="406" y="581"/>
                      </a:lnTo>
                      <a:lnTo>
                        <a:pt x="409" y="583"/>
                      </a:lnTo>
                      <a:lnTo>
                        <a:pt x="409" y="586"/>
                      </a:lnTo>
                      <a:lnTo>
                        <a:pt x="407" y="586"/>
                      </a:lnTo>
                      <a:lnTo>
                        <a:pt x="404" y="589"/>
                      </a:lnTo>
                      <a:lnTo>
                        <a:pt x="408" y="595"/>
                      </a:lnTo>
                      <a:lnTo>
                        <a:pt x="409" y="600"/>
                      </a:lnTo>
                      <a:lnTo>
                        <a:pt x="411" y="599"/>
                      </a:lnTo>
                      <a:lnTo>
                        <a:pt x="412" y="599"/>
                      </a:lnTo>
                      <a:lnTo>
                        <a:pt x="413" y="602"/>
                      </a:lnTo>
                      <a:lnTo>
                        <a:pt x="414" y="606"/>
                      </a:lnTo>
                      <a:lnTo>
                        <a:pt x="417" y="602"/>
                      </a:lnTo>
                      <a:lnTo>
                        <a:pt x="417" y="598"/>
                      </a:lnTo>
                      <a:lnTo>
                        <a:pt x="414" y="599"/>
                      </a:lnTo>
                      <a:lnTo>
                        <a:pt x="414" y="598"/>
                      </a:lnTo>
                      <a:lnTo>
                        <a:pt x="415" y="595"/>
                      </a:lnTo>
                      <a:lnTo>
                        <a:pt x="422" y="595"/>
                      </a:lnTo>
                      <a:lnTo>
                        <a:pt x="423" y="597"/>
                      </a:lnTo>
                      <a:lnTo>
                        <a:pt x="424" y="595"/>
                      </a:lnTo>
                      <a:lnTo>
                        <a:pt x="428" y="589"/>
                      </a:lnTo>
                      <a:lnTo>
                        <a:pt x="435" y="584"/>
                      </a:lnTo>
                      <a:lnTo>
                        <a:pt x="439" y="580"/>
                      </a:lnTo>
                      <a:lnTo>
                        <a:pt x="437" y="580"/>
                      </a:lnTo>
                      <a:lnTo>
                        <a:pt x="435" y="581"/>
                      </a:lnTo>
                      <a:lnTo>
                        <a:pt x="436" y="580"/>
                      </a:lnTo>
                      <a:lnTo>
                        <a:pt x="434" y="579"/>
                      </a:lnTo>
                      <a:lnTo>
                        <a:pt x="436" y="579"/>
                      </a:lnTo>
                      <a:lnTo>
                        <a:pt x="440" y="579"/>
                      </a:lnTo>
                      <a:lnTo>
                        <a:pt x="445" y="577"/>
                      </a:lnTo>
                      <a:lnTo>
                        <a:pt x="456" y="574"/>
                      </a:lnTo>
                      <a:lnTo>
                        <a:pt x="465" y="576"/>
                      </a:lnTo>
                      <a:lnTo>
                        <a:pt x="469" y="574"/>
                      </a:lnTo>
                      <a:lnTo>
                        <a:pt x="469" y="571"/>
                      </a:lnTo>
                      <a:lnTo>
                        <a:pt x="471" y="571"/>
                      </a:lnTo>
                      <a:lnTo>
                        <a:pt x="473" y="569"/>
                      </a:lnTo>
                      <a:lnTo>
                        <a:pt x="476" y="563"/>
                      </a:lnTo>
                      <a:lnTo>
                        <a:pt x="475" y="556"/>
                      </a:lnTo>
                      <a:lnTo>
                        <a:pt x="475" y="553"/>
                      </a:lnTo>
                      <a:lnTo>
                        <a:pt x="480" y="546"/>
                      </a:lnTo>
                      <a:lnTo>
                        <a:pt x="480" y="536"/>
                      </a:lnTo>
                      <a:lnTo>
                        <a:pt x="482" y="533"/>
                      </a:lnTo>
                      <a:lnTo>
                        <a:pt x="483" y="526"/>
                      </a:lnTo>
                      <a:lnTo>
                        <a:pt x="486" y="525"/>
                      </a:lnTo>
                      <a:lnTo>
                        <a:pt x="486" y="521"/>
                      </a:lnTo>
                      <a:lnTo>
                        <a:pt x="494" y="509"/>
                      </a:lnTo>
                      <a:lnTo>
                        <a:pt x="497" y="508"/>
                      </a:lnTo>
                      <a:lnTo>
                        <a:pt x="498" y="501"/>
                      </a:lnTo>
                      <a:lnTo>
                        <a:pt x="501" y="495"/>
                      </a:lnTo>
                      <a:lnTo>
                        <a:pt x="504" y="488"/>
                      </a:lnTo>
                      <a:lnTo>
                        <a:pt x="507" y="484"/>
                      </a:lnTo>
                      <a:lnTo>
                        <a:pt x="507" y="481"/>
                      </a:lnTo>
                      <a:lnTo>
                        <a:pt x="509" y="479"/>
                      </a:lnTo>
                      <a:lnTo>
                        <a:pt x="511" y="472"/>
                      </a:lnTo>
                      <a:lnTo>
                        <a:pt x="510" y="471"/>
                      </a:lnTo>
                      <a:lnTo>
                        <a:pt x="514" y="468"/>
                      </a:lnTo>
                      <a:lnTo>
                        <a:pt x="517" y="463"/>
                      </a:lnTo>
                      <a:lnTo>
                        <a:pt x="518" y="460"/>
                      </a:lnTo>
                      <a:lnTo>
                        <a:pt x="521" y="455"/>
                      </a:lnTo>
                      <a:lnTo>
                        <a:pt x="525" y="453"/>
                      </a:lnTo>
                      <a:lnTo>
                        <a:pt x="528" y="452"/>
                      </a:lnTo>
                      <a:lnTo>
                        <a:pt x="523" y="452"/>
                      </a:lnTo>
                      <a:lnTo>
                        <a:pt x="525" y="450"/>
                      </a:lnTo>
                      <a:lnTo>
                        <a:pt x="529" y="450"/>
                      </a:lnTo>
                      <a:lnTo>
                        <a:pt x="534" y="446"/>
                      </a:lnTo>
                      <a:lnTo>
                        <a:pt x="535" y="442"/>
                      </a:lnTo>
                      <a:lnTo>
                        <a:pt x="534" y="439"/>
                      </a:lnTo>
                      <a:lnTo>
                        <a:pt x="535" y="436"/>
                      </a:lnTo>
                      <a:lnTo>
                        <a:pt x="539" y="432"/>
                      </a:lnTo>
                      <a:lnTo>
                        <a:pt x="539" y="429"/>
                      </a:lnTo>
                      <a:lnTo>
                        <a:pt x="542" y="427"/>
                      </a:lnTo>
                      <a:lnTo>
                        <a:pt x="546" y="421"/>
                      </a:lnTo>
                      <a:lnTo>
                        <a:pt x="546" y="418"/>
                      </a:lnTo>
                      <a:lnTo>
                        <a:pt x="547" y="412"/>
                      </a:lnTo>
                      <a:lnTo>
                        <a:pt x="546" y="411"/>
                      </a:lnTo>
                      <a:lnTo>
                        <a:pt x="546" y="408"/>
                      </a:lnTo>
                      <a:lnTo>
                        <a:pt x="550" y="397"/>
                      </a:lnTo>
                      <a:lnTo>
                        <a:pt x="551" y="391"/>
                      </a:lnTo>
                      <a:lnTo>
                        <a:pt x="556" y="380"/>
                      </a:lnTo>
                      <a:lnTo>
                        <a:pt x="556" y="376"/>
                      </a:lnTo>
                      <a:lnTo>
                        <a:pt x="559" y="368"/>
                      </a:lnTo>
                      <a:lnTo>
                        <a:pt x="563" y="364"/>
                      </a:lnTo>
                      <a:lnTo>
                        <a:pt x="564" y="360"/>
                      </a:lnTo>
                      <a:lnTo>
                        <a:pt x="563" y="354"/>
                      </a:lnTo>
                      <a:lnTo>
                        <a:pt x="565" y="351"/>
                      </a:lnTo>
                      <a:lnTo>
                        <a:pt x="563" y="343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87" name="Freeform 890">
                  <a:extLst>
                    <a:ext uri="{FF2B5EF4-FFF2-40B4-BE49-F238E27FC236}">
                      <a16:creationId xmlns:a16="http://schemas.microsoft.com/office/drawing/2014/main" id="{0D0ACC36-7A96-41EA-926C-D640B4A0E6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89" y="3587"/>
                  <a:ext cx="2" cy="3"/>
                </a:xfrm>
                <a:custGeom>
                  <a:avLst/>
                  <a:gdLst>
                    <a:gd name="T0" fmla="*/ 2 w 2"/>
                    <a:gd name="T1" fmla="*/ 2 h 3"/>
                    <a:gd name="T2" fmla="*/ 1 w 2"/>
                    <a:gd name="T3" fmla="*/ 0 h 3"/>
                    <a:gd name="T4" fmla="*/ 0 w 2"/>
                    <a:gd name="T5" fmla="*/ 1 h 3"/>
                    <a:gd name="T6" fmla="*/ 1 w 2"/>
                    <a:gd name="T7" fmla="*/ 3 h 3"/>
                    <a:gd name="T8" fmla="*/ 2 w 2"/>
                    <a:gd name="T9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2"/>
                      </a:move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88" name="Freeform 891">
                  <a:extLst>
                    <a:ext uri="{FF2B5EF4-FFF2-40B4-BE49-F238E27FC236}">
                      <a16:creationId xmlns:a16="http://schemas.microsoft.com/office/drawing/2014/main" id="{601E554C-F943-48F6-90CE-9EC1670BB8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13" y="3641"/>
                  <a:ext cx="7" cy="5"/>
                </a:xfrm>
                <a:custGeom>
                  <a:avLst/>
                  <a:gdLst>
                    <a:gd name="T0" fmla="*/ 1 w 7"/>
                    <a:gd name="T1" fmla="*/ 0 h 5"/>
                    <a:gd name="T2" fmla="*/ 0 w 7"/>
                    <a:gd name="T3" fmla="*/ 2 h 5"/>
                    <a:gd name="T4" fmla="*/ 0 w 7"/>
                    <a:gd name="T5" fmla="*/ 4 h 5"/>
                    <a:gd name="T6" fmla="*/ 5 w 7"/>
                    <a:gd name="T7" fmla="*/ 4 h 5"/>
                    <a:gd name="T8" fmla="*/ 7 w 7"/>
                    <a:gd name="T9" fmla="*/ 5 h 5"/>
                    <a:gd name="T10" fmla="*/ 7 w 7"/>
                    <a:gd name="T11" fmla="*/ 3 h 5"/>
                    <a:gd name="T12" fmla="*/ 4 w 7"/>
                    <a:gd name="T13" fmla="*/ 0 h 5"/>
                    <a:gd name="T14" fmla="*/ 1 w 7"/>
                    <a:gd name="T1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5">
                      <a:moveTo>
                        <a:pt x="1" y="0"/>
                      </a:move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5" y="4"/>
                      </a:lnTo>
                      <a:lnTo>
                        <a:pt x="7" y="5"/>
                      </a:lnTo>
                      <a:lnTo>
                        <a:pt x="7" y="3"/>
                      </a:lnTo>
                      <a:lnTo>
                        <a:pt x="4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89" name="Freeform 892">
                  <a:extLst>
                    <a:ext uri="{FF2B5EF4-FFF2-40B4-BE49-F238E27FC236}">
                      <a16:creationId xmlns:a16="http://schemas.microsoft.com/office/drawing/2014/main" id="{893E3CFC-8C0F-4724-86C7-A19BAE038E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0" y="3005"/>
                  <a:ext cx="4" cy="7"/>
                </a:xfrm>
                <a:custGeom>
                  <a:avLst/>
                  <a:gdLst>
                    <a:gd name="T0" fmla="*/ 0 w 4"/>
                    <a:gd name="T1" fmla="*/ 6 h 7"/>
                    <a:gd name="T2" fmla="*/ 2 w 4"/>
                    <a:gd name="T3" fmla="*/ 7 h 7"/>
                    <a:gd name="T4" fmla="*/ 2 w 4"/>
                    <a:gd name="T5" fmla="*/ 5 h 7"/>
                    <a:gd name="T6" fmla="*/ 4 w 4"/>
                    <a:gd name="T7" fmla="*/ 2 h 7"/>
                    <a:gd name="T8" fmla="*/ 4 w 4"/>
                    <a:gd name="T9" fmla="*/ 0 h 7"/>
                    <a:gd name="T10" fmla="*/ 0 w 4"/>
                    <a:gd name="T11" fmla="*/ 4 h 7"/>
                    <a:gd name="T12" fmla="*/ 0 w 4"/>
                    <a:gd name="T13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7">
                      <a:moveTo>
                        <a:pt x="0" y="6"/>
                      </a:moveTo>
                      <a:lnTo>
                        <a:pt x="2" y="7"/>
                      </a:lnTo>
                      <a:lnTo>
                        <a:pt x="2" y="5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0" y="4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90" name="Freeform 893">
                  <a:extLst>
                    <a:ext uri="{FF2B5EF4-FFF2-40B4-BE49-F238E27FC236}">
                      <a16:creationId xmlns:a16="http://schemas.microsoft.com/office/drawing/2014/main" id="{A557A8F3-7569-4500-8C91-884E5F2994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75" y="3118"/>
                  <a:ext cx="3" cy="3"/>
                </a:xfrm>
                <a:custGeom>
                  <a:avLst/>
                  <a:gdLst>
                    <a:gd name="T0" fmla="*/ 1 w 3"/>
                    <a:gd name="T1" fmla="*/ 3 h 3"/>
                    <a:gd name="T2" fmla="*/ 3 w 3"/>
                    <a:gd name="T3" fmla="*/ 2 h 3"/>
                    <a:gd name="T4" fmla="*/ 3 w 3"/>
                    <a:gd name="T5" fmla="*/ 0 h 3"/>
                    <a:gd name="T6" fmla="*/ 0 w 3"/>
                    <a:gd name="T7" fmla="*/ 1 h 3"/>
                    <a:gd name="T8" fmla="*/ 1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1" y="3"/>
                      </a:move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91" name="Freeform 894">
                  <a:extLst>
                    <a:ext uri="{FF2B5EF4-FFF2-40B4-BE49-F238E27FC236}">
                      <a16:creationId xmlns:a16="http://schemas.microsoft.com/office/drawing/2014/main" id="{A9AEFF61-71CE-4D27-B13F-61B32F7C8A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7" y="3013"/>
                  <a:ext cx="1" cy="2"/>
                </a:xfrm>
                <a:custGeom>
                  <a:avLst/>
                  <a:gdLst>
                    <a:gd name="T0" fmla="*/ 1 w 1"/>
                    <a:gd name="T1" fmla="*/ 2 h 2"/>
                    <a:gd name="T2" fmla="*/ 1 w 1"/>
                    <a:gd name="T3" fmla="*/ 0 h 2"/>
                    <a:gd name="T4" fmla="*/ 0 w 1"/>
                    <a:gd name="T5" fmla="*/ 2 h 2"/>
                    <a:gd name="T6" fmla="*/ 1 w 1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2">
                      <a:moveTo>
                        <a:pt x="1" y="2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92" name="Freeform 895">
                  <a:extLst>
                    <a:ext uri="{FF2B5EF4-FFF2-40B4-BE49-F238E27FC236}">
                      <a16:creationId xmlns:a16="http://schemas.microsoft.com/office/drawing/2014/main" id="{E0D68464-68A0-4D64-B083-7E1C38F661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2" y="3090"/>
                  <a:ext cx="3" cy="6"/>
                </a:xfrm>
                <a:custGeom>
                  <a:avLst/>
                  <a:gdLst>
                    <a:gd name="T0" fmla="*/ 3 w 3"/>
                    <a:gd name="T1" fmla="*/ 4 h 6"/>
                    <a:gd name="T2" fmla="*/ 2 w 3"/>
                    <a:gd name="T3" fmla="*/ 0 h 6"/>
                    <a:gd name="T4" fmla="*/ 0 w 3"/>
                    <a:gd name="T5" fmla="*/ 4 h 6"/>
                    <a:gd name="T6" fmla="*/ 2 w 3"/>
                    <a:gd name="T7" fmla="*/ 6 h 6"/>
                    <a:gd name="T8" fmla="*/ 3 w 3"/>
                    <a:gd name="T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6">
                      <a:moveTo>
                        <a:pt x="3" y="4"/>
                      </a:move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2" y="6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93" name="Freeform 896">
                  <a:extLst>
                    <a:ext uri="{FF2B5EF4-FFF2-40B4-BE49-F238E27FC236}">
                      <a16:creationId xmlns:a16="http://schemas.microsoft.com/office/drawing/2014/main" id="{80A1C764-59D1-4753-B50B-8AF48019E5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72" y="3108"/>
                  <a:ext cx="8" cy="6"/>
                </a:xfrm>
                <a:custGeom>
                  <a:avLst/>
                  <a:gdLst>
                    <a:gd name="T0" fmla="*/ 10 w 10"/>
                    <a:gd name="T1" fmla="*/ 1 h 8"/>
                    <a:gd name="T2" fmla="*/ 5 w 10"/>
                    <a:gd name="T3" fmla="*/ 0 h 8"/>
                    <a:gd name="T4" fmla="*/ 1 w 10"/>
                    <a:gd name="T5" fmla="*/ 3 h 8"/>
                    <a:gd name="T6" fmla="*/ 0 w 10"/>
                    <a:gd name="T7" fmla="*/ 6 h 8"/>
                    <a:gd name="T8" fmla="*/ 2 w 10"/>
                    <a:gd name="T9" fmla="*/ 8 h 8"/>
                    <a:gd name="T10" fmla="*/ 4 w 10"/>
                    <a:gd name="T11" fmla="*/ 7 h 8"/>
                    <a:gd name="T12" fmla="*/ 6 w 10"/>
                    <a:gd name="T13" fmla="*/ 3 h 8"/>
                    <a:gd name="T14" fmla="*/ 10 w 10"/>
                    <a:gd name="T15" fmla="*/ 3 h 8"/>
                    <a:gd name="T16" fmla="*/ 10 w 10"/>
                    <a:gd name="T17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" h="8">
                      <a:moveTo>
                        <a:pt x="10" y="1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" y="3"/>
                        <a:pt x="0" y="6"/>
                        <a:pt x="0" y="6"/>
                      </a:cubicBezTo>
                      <a:cubicBezTo>
                        <a:pt x="2" y="8"/>
                        <a:pt x="2" y="8"/>
                        <a:pt x="2" y="8"/>
                      </a:cubicBez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10" y="3"/>
                        <a:pt x="10" y="3"/>
                        <a:pt x="10" y="3"/>
                      </a:cubicBezTo>
                      <a:lnTo>
                        <a:pt x="1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94" name="Freeform 897">
                  <a:extLst>
                    <a:ext uri="{FF2B5EF4-FFF2-40B4-BE49-F238E27FC236}">
                      <a16:creationId xmlns:a16="http://schemas.microsoft.com/office/drawing/2014/main" id="{4EE2CE2B-2C71-4EE7-8EBD-37A505B8D2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66" y="3637"/>
                  <a:ext cx="3" cy="6"/>
                </a:xfrm>
                <a:custGeom>
                  <a:avLst/>
                  <a:gdLst>
                    <a:gd name="T0" fmla="*/ 1 w 3"/>
                    <a:gd name="T1" fmla="*/ 2 h 6"/>
                    <a:gd name="T2" fmla="*/ 0 w 3"/>
                    <a:gd name="T3" fmla="*/ 4 h 6"/>
                    <a:gd name="T4" fmla="*/ 2 w 3"/>
                    <a:gd name="T5" fmla="*/ 6 h 6"/>
                    <a:gd name="T6" fmla="*/ 3 w 3"/>
                    <a:gd name="T7" fmla="*/ 3 h 6"/>
                    <a:gd name="T8" fmla="*/ 3 w 3"/>
                    <a:gd name="T9" fmla="*/ 0 h 6"/>
                    <a:gd name="T10" fmla="*/ 1 w 3"/>
                    <a:gd name="T11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6">
                      <a:moveTo>
                        <a:pt x="1" y="2"/>
                      </a:moveTo>
                      <a:lnTo>
                        <a:pt x="0" y="4"/>
                      </a:lnTo>
                      <a:lnTo>
                        <a:pt x="2" y="6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95" name="Freeform 898">
                  <a:extLst>
                    <a:ext uri="{FF2B5EF4-FFF2-40B4-BE49-F238E27FC236}">
                      <a16:creationId xmlns:a16="http://schemas.microsoft.com/office/drawing/2014/main" id="{11ADF239-5961-427B-9C94-9C87B1F3E6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4" y="3015"/>
                  <a:ext cx="3" cy="2"/>
                </a:xfrm>
                <a:custGeom>
                  <a:avLst/>
                  <a:gdLst>
                    <a:gd name="T0" fmla="*/ 3 w 3"/>
                    <a:gd name="T1" fmla="*/ 0 h 2"/>
                    <a:gd name="T2" fmla="*/ 0 w 3"/>
                    <a:gd name="T3" fmla="*/ 0 h 2"/>
                    <a:gd name="T4" fmla="*/ 1 w 3"/>
                    <a:gd name="T5" fmla="*/ 2 h 2"/>
                    <a:gd name="T6" fmla="*/ 3 w 3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96" name="Freeform 899">
                  <a:extLst>
                    <a:ext uri="{FF2B5EF4-FFF2-40B4-BE49-F238E27FC236}">
                      <a16:creationId xmlns:a16="http://schemas.microsoft.com/office/drawing/2014/main" id="{2142C034-9732-41CF-8EC9-637922A001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69" y="3644"/>
                  <a:ext cx="4" cy="4"/>
                </a:xfrm>
                <a:custGeom>
                  <a:avLst/>
                  <a:gdLst>
                    <a:gd name="T0" fmla="*/ 1 w 4"/>
                    <a:gd name="T1" fmla="*/ 3 h 4"/>
                    <a:gd name="T2" fmla="*/ 2 w 4"/>
                    <a:gd name="T3" fmla="*/ 4 h 4"/>
                    <a:gd name="T4" fmla="*/ 4 w 4"/>
                    <a:gd name="T5" fmla="*/ 2 h 4"/>
                    <a:gd name="T6" fmla="*/ 2 w 4"/>
                    <a:gd name="T7" fmla="*/ 0 h 4"/>
                    <a:gd name="T8" fmla="*/ 0 w 4"/>
                    <a:gd name="T9" fmla="*/ 1 h 4"/>
                    <a:gd name="T10" fmla="*/ 1 w 4"/>
                    <a:gd name="T11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4">
                      <a:moveTo>
                        <a:pt x="1" y="3"/>
                      </a:moveTo>
                      <a:lnTo>
                        <a:pt x="2" y="4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97" name="Freeform 900">
                  <a:extLst>
                    <a:ext uri="{FF2B5EF4-FFF2-40B4-BE49-F238E27FC236}">
                      <a16:creationId xmlns:a16="http://schemas.microsoft.com/office/drawing/2014/main" id="{8A8CD8B0-E769-4D86-885C-7D625E811A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21" y="2997"/>
                  <a:ext cx="2" cy="4"/>
                </a:xfrm>
                <a:custGeom>
                  <a:avLst/>
                  <a:gdLst>
                    <a:gd name="T0" fmla="*/ 0 w 2"/>
                    <a:gd name="T1" fmla="*/ 0 h 4"/>
                    <a:gd name="T2" fmla="*/ 0 w 2"/>
                    <a:gd name="T3" fmla="*/ 4 h 4"/>
                    <a:gd name="T4" fmla="*/ 2 w 2"/>
                    <a:gd name="T5" fmla="*/ 4 h 4"/>
                    <a:gd name="T6" fmla="*/ 2 w 2"/>
                    <a:gd name="T7" fmla="*/ 4 h 4"/>
                    <a:gd name="T8" fmla="*/ 2 w 2"/>
                    <a:gd name="T9" fmla="*/ 0 h 4"/>
                    <a:gd name="T10" fmla="*/ 0 w 2"/>
                    <a:gd name="T11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4">
                      <a:moveTo>
                        <a:pt x="0" y="0"/>
                      </a:move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98" name="Freeform 901">
                  <a:extLst>
                    <a:ext uri="{FF2B5EF4-FFF2-40B4-BE49-F238E27FC236}">
                      <a16:creationId xmlns:a16="http://schemas.microsoft.com/office/drawing/2014/main" id="{2A2B0D43-4132-445B-B6BD-B78B13AF78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03" y="3600"/>
                  <a:ext cx="3" cy="1"/>
                </a:xfrm>
                <a:custGeom>
                  <a:avLst/>
                  <a:gdLst>
                    <a:gd name="T0" fmla="*/ 3 w 3"/>
                    <a:gd name="T1" fmla="*/ 0 h 1"/>
                    <a:gd name="T2" fmla="*/ 0 w 3"/>
                    <a:gd name="T3" fmla="*/ 0 h 1"/>
                    <a:gd name="T4" fmla="*/ 1 w 3"/>
                    <a:gd name="T5" fmla="*/ 1 h 1"/>
                    <a:gd name="T6" fmla="*/ 3 w 3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99" name="Freeform 902">
                  <a:extLst>
                    <a:ext uri="{FF2B5EF4-FFF2-40B4-BE49-F238E27FC236}">
                      <a16:creationId xmlns:a16="http://schemas.microsoft.com/office/drawing/2014/main" id="{C8AAA5FE-C069-4C21-801F-6A9EFEDC42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71" y="3638"/>
                  <a:ext cx="1" cy="3"/>
                </a:xfrm>
                <a:custGeom>
                  <a:avLst/>
                  <a:gdLst>
                    <a:gd name="T0" fmla="*/ 0 w 1"/>
                    <a:gd name="T1" fmla="*/ 0 h 3"/>
                    <a:gd name="T2" fmla="*/ 0 w 1"/>
                    <a:gd name="T3" fmla="*/ 1 h 3"/>
                    <a:gd name="T4" fmla="*/ 0 w 1"/>
                    <a:gd name="T5" fmla="*/ 3 h 3"/>
                    <a:gd name="T6" fmla="*/ 1 w 1"/>
                    <a:gd name="T7" fmla="*/ 3 h 3"/>
                    <a:gd name="T8" fmla="*/ 0 w 1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3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00" name="Freeform 903">
                  <a:extLst>
                    <a:ext uri="{FF2B5EF4-FFF2-40B4-BE49-F238E27FC236}">
                      <a16:creationId xmlns:a16="http://schemas.microsoft.com/office/drawing/2014/main" id="{2B62D93A-57AF-4742-BB55-C752827A5B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61" y="3646"/>
                  <a:ext cx="54" cy="83"/>
                </a:xfrm>
                <a:custGeom>
                  <a:avLst/>
                  <a:gdLst>
                    <a:gd name="T0" fmla="*/ 61 w 69"/>
                    <a:gd name="T1" fmla="*/ 15 h 107"/>
                    <a:gd name="T2" fmla="*/ 58 w 69"/>
                    <a:gd name="T3" fmla="*/ 14 h 107"/>
                    <a:gd name="T4" fmla="*/ 53 w 69"/>
                    <a:gd name="T5" fmla="*/ 18 h 107"/>
                    <a:gd name="T6" fmla="*/ 40 w 69"/>
                    <a:gd name="T7" fmla="*/ 19 h 107"/>
                    <a:gd name="T8" fmla="*/ 38 w 69"/>
                    <a:gd name="T9" fmla="*/ 19 h 107"/>
                    <a:gd name="T10" fmla="*/ 32 w 69"/>
                    <a:gd name="T11" fmla="*/ 22 h 107"/>
                    <a:gd name="T12" fmla="*/ 23 w 69"/>
                    <a:gd name="T13" fmla="*/ 13 h 107"/>
                    <a:gd name="T14" fmla="*/ 17 w 69"/>
                    <a:gd name="T15" fmla="*/ 3 h 107"/>
                    <a:gd name="T16" fmla="*/ 15 w 69"/>
                    <a:gd name="T17" fmla="*/ 7 h 107"/>
                    <a:gd name="T18" fmla="*/ 9 w 69"/>
                    <a:gd name="T19" fmla="*/ 3 h 107"/>
                    <a:gd name="T20" fmla="*/ 4 w 69"/>
                    <a:gd name="T21" fmla="*/ 2 h 107"/>
                    <a:gd name="T22" fmla="*/ 3 w 69"/>
                    <a:gd name="T23" fmla="*/ 8 h 107"/>
                    <a:gd name="T24" fmla="*/ 4 w 69"/>
                    <a:gd name="T25" fmla="*/ 21 h 107"/>
                    <a:gd name="T26" fmla="*/ 3 w 69"/>
                    <a:gd name="T27" fmla="*/ 36 h 107"/>
                    <a:gd name="T28" fmla="*/ 3 w 69"/>
                    <a:gd name="T29" fmla="*/ 50 h 107"/>
                    <a:gd name="T30" fmla="*/ 5 w 69"/>
                    <a:gd name="T31" fmla="*/ 54 h 107"/>
                    <a:gd name="T32" fmla="*/ 4 w 69"/>
                    <a:gd name="T33" fmla="*/ 58 h 107"/>
                    <a:gd name="T34" fmla="*/ 0 w 69"/>
                    <a:gd name="T35" fmla="*/ 58 h 107"/>
                    <a:gd name="T36" fmla="*/ 2 w 69"/>
                    <a:gd name="T37" fmla="*/ 68 h 107"/>
                    <a:gd name="T38" fmla="*/ 2 w 69"/>
                    <a:gd name="T39" fmla="*/ 82 h 107"/>
                    <a:gd name="T40" fmla="*/ 3 w 69"/>
                    <a:gd name="T41" fmla="*/ 86 h 107"/>
                    <a:gd name="T42" fmla="*/ 7 w 69"/>
                    <a:gd name="T43" fmla="*/ 93 h 107"/>
                    <a:gd name="T44" fmla="*/ 5 w 69"/>
                    <a:gd name="T45" fmla="*/ 101 h 107"/>
                    <a:gd name="T46" fmla="*/ 10 w 69"/>
                    <a:gd name="T47" fmla="*/ 101 h 107"/>
                    <a:gd name="T48" fmla="*/ 15 w 69"/>
                    <a:gd name="T49" fmla="*/ 99 h 107"/>
                    <a:gd name="T50" fmla="*/ 17 w 69"/>
                    <a:gd name="T51" fmla="*/ 107 h 107"/>
                    <a:gd name="T52" fmla="*/ 23 w 69"/>
                    <a:gd name="T53" fmla="*/ 100 h 107"/>
                    <a:gd name="T54" fmla="*/ 25 w 69"/>
                    <a:gd name="T55" fmla="*/ 89 h 107"/>
                    <a:gd name="T56" fmla="*/ 29 w 69"/>
                    <a:gd name="T57" fmla="*/ 90 h 107"/>
                    <a:gd name="T58" fmla="*/ 34 w 69"/>
                    <a:gd name="T59" fmla="*/ 82 h 107"/>
                    <a:gd name="T60" fmla="*/ 36 w 69"/>
                    <a:gd name="T61" fmla="*/ 88 h 107"/>
                    <a:gd name="T62" fmla="*/ 41 w 69"/>
                    <a:gd name="T63" fmla="*/ 83 h 107"/>
                    <a:gd name="T64" fmla="*/ 42 w 69"/>
                    <a:gd name="T65" fmla="*/ 89 h 107"/>
                    <a:gd name="T66" fmla="*/ 39 w 69"/>
                    <a:gd name="T67" fmla="*/ 93 h 107"/>
                    <a:gd name="T68" fmla="*/ 44 w 69"/>
                    <a:gd name="T69" fmla="*/ 92 h 107"/>
                    <a:gd name="T70" fmla="*/ 48 w 69"/>
                    <a:gd name="T71" fmla="*/ 82 h 107"/>
                    <a:gd name="T72" fmla="*/ 47 w 69"/>
                    <a:gd name="T73" fmla="*/ 76 h 107"/>
                    <a:gd name="T74" fmla="*/ 50 w 69"/>
                    <a:gd name="T75" fmla="*/ 71 h 107"/>
                    <a:gd name="T76" fmla="*/ 52 w 69"/>
                    <a:gd name="T77" fmla="*/ 60 h 107"/>
                    <a:gd name="T78" fmla="*/ 56 w 69"/>
                    <a:gd name="T79" fmla="*/ 54 h 107"/>
                    <a:gd name="T80" fmla="*/ 58 w 69"/>
                    <a:gd name="T81" fmla="*/ 63 h 107"/>
                    <a:gd name="T82" fmla="*/ 60 w 69"/>
                    <a:gd name="T83" fmla="*/ 54 h 107"/>
                    <a:gd name="T84" fmla="*/ 60 w 69"/>
                    <a:gd name="T85" fmla="*/ 47 h 107"/>
                    <a:gd name="T86" fmla="*/ 63 w 69"/>
                    <a:gd name="T87" fmla="*/ 34 h 107"/>
                    <a:gd name="T88" fmla="*/ 68 w 69"/>
                    <a:gd name="T89" fmla="*/ 18 h 107"/>
                    <a:gd name="T90" fmla="*/ 65 w 69"/>
                    <a:gd name="T91" fmla="*/ 11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69" h="107">
                      <a:moveTo>
                        <a:pt x="63" y="11"/>
                      </a:moveTo>
                      <a:cubicBezTo>
                        <a:pt x="61" y="15"/>
                        <a:pt x="61" y="15"/>
                        <a:pt x="61" y="15"/>
                      </a:cubicBezTo>
                      <a:cubicBezTo>
                        <a:pt x="60" y="14"/>
                        <a:pt x="60" y="14"/>
                        <a:pt x="60" y="14"/>
                      </a:cubicBezTo>
                      <a:cubicBezTo>
                        <a:pt x="58" y="14"/>
                        <a:pt x="58" y="14"/>
                        <a:pt x="58" y="14"/>
                      </a:cubicBezTo>
                      <a:cubicBezTo>
                        <a:pt x="55" y="16"/>
                        <a:pt x="55" y="16"/>
                        <a:pt x="55" y="16"/>
                      </a:cubicBezTo>
                      <a:cubicBezTo>
                        <a:pt x="53" y="18"/>
                        <a:pt x="53" y="18"/>
                        <a:pt x="53" y="18"/>
                      </a:cubicBezTo>
                      <a:cubicBezTo>
                        <a:pt x="42" y="17"/>
                        <a:pt x="42" y="17"/>
                        <a:pt x="42" y="17"/>
                      </a:cubicBezTo>
                      <a:cubicBezTo>
                        <a:pt x="40" y="19"/>
                        <a:pt x="40" y="19"/>
                        <a:pt x="40" y="19"/>
                      </a:cubicBezTo>
                      <a:cubicBezTo>
                        <a:pt x="40" y="23"/>
                        <a:pt x="40" y="23"/>
                        <a:pt x="40" y="23"/>
                      </a:cubicBezTo>
                      <a:cubicBezTo>
                        <a:pt x="38" y="19"/>
                        <a:pt x="38" y="19"/>
                        <a:pt x="38" y="19"/>
                      </a:cubicBezTo>
                      <a:cubicBezTo>
                        <a:pt x="34" y="20"/>
                        <a:pt x="34" y="20"/>
                        <a:pt x="34" y="20"/>
                      </a:cubicBezTo>
                      <a:cubicBezTo>
                        <a:pt x="32" y="22"/>
                        <a:pt x="32" y="22"/>
                        <a:pt x="32" y="22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cubicBezTo>
                        <a:pt x="23" y="13"/>
                        <a:pt x="23" y="13"/>
                        <a:pt x="23" y="13"/>
                      </a:cubicBezTo>
                      <a:cubicBezTo>
                        <a:pt x="17" y="9"/>
                        <a:pt x="17" y="9"/>
                        <a:pt x="17" y="9"/>
                      </a:cubicBezTo>
                      <a:cubicBezTo>
                        <a:pt x="17" y="3"/>
                        <a:pt x="17" y="3"/>
                        <a:pt x="17" y="3"/>
                      </a:cubicBezTo>
                      <a:cubicBezTo>
                        <a:pt x="15" y="5"/>
                        <a:pt x="15" y="5"/>
                        <a:pt x="15" y="5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9" y="3"/>
                        <a:pt x="9" y="3"/>
                        <a:pt x="9" y="3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12"/>
                        <a:pt x="3" y="12"/>
                        <a:pt x="3" y="12"/>
                      </a:cubicBezTo>
                      <a:cubicBezTo>
                        <a:pt x="4" y="21"/>
                        <a:pt x="4" y="21"/>
                        <a:pt x="4" y="21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36"/>
                        <a:pt x="3" y="36"/>
                        <a:pt x="3" y="36"/>
                      </a:cubicBezTo>
                      <a:cubicBezTo>
                        <a:pt x="4" y="44"/>
                        <a:pt x="4" y="44"/>
                        <a:pt x="4" y="44"/>
                      </a:cubicBezTo>
                      <a:cubicBezTo>
                        <a:pt x="3" y="50"/>
                        <a:pt x="3" y="50"/>
                        <a:pt x="3" y="50"/>
                      </a:cubicBezTo>
                      <a:cubicBezTo>
                        <a:pt x="5" y="51"/>
                        <a:pt x="5" y="51"/>
                        <a:pt x="5" y="51"/>
                      </a:cubicBezTo>
                      <a:cubicBezTo>
                        <a:pt x="5" y="54"/>
                        <a:pt x="5" y="54"/>
                        <a:pt x="5" y="54"/>
                      </a:cubicBezTo>
                      <a:cubicBezTo>
                        <a:pt x="8" y="58"/>
                        <a:pt x="8" y="58"/>
                        <a:pt x="8" y="58"/>
                      </a:cubicBezTo>
                      <a:cubicBezTo>
                        <a:pt x="4" y="58"/>
                        <a:pt x="4" y="58"/>
                        <a:pt x="4" y="58"/>
                      </a:cubicBezTo>
                      <a:cubicBezTo>
                        <a:pt x="1" y="53"/>
                        <a:pt x="1" y="53"/>
                        <a:pt x="1" y="53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5"/>
                        <a:pt x="0" y="65"/>
                        <a:pt x="0" y="65"/>
                      </a:cubicBezTo>
                      <a:cubicBezTo>
                        <a:pt x="2" y="68"/>
                        <a:pt x="2" y="68"/>
                        <a:pt x="2" y="68"/>
                      </a:cubicBezTo>
                      <a:cubicBezTo>
                        <a:pt x="2" y="70"/>
                        <a:pt x="2" y="70"/>
                        <a:pt x="2" y="70"/>
                      </a:cubicBezTo>
                      <a:cubicBezTo>
                        <a:pt x="2" y="82"/>
                        <a:pt x="2" y="82"/>
                        <a:pt x="2" y="82"/>
                      </a:cubicBezTo>
                      <a:cubicBezTo>
                        <a:pt x="4" y="84"/>
                        <a:pt x="4" y="84"/>
                        <a:pt x="4" y="84"/>
                      </a:cubicBezTo>
                      <a:cubicBezTo>
                        <a:pt x="3" y="86"/>
                        <a:pt x="3" y="86"/>
                        <a:pt x="3" y="86"/>
                      </a:cubicBezTo>
                      <a:cubicBezTo>
                        <a:pt x="4" y="92"/>
                        <a:pt x="4" y="92"/>
                        <a:pt x="4" y="92"/>
                      </a:cubicBezTo>
                      <a:cubicBezTo>
                        <a:pt x="7" y="93"/>
                        <a:pt x="7" y="93"/>
                        <a:pt x="7" y="93"/>
                      </a:cubicBezTo>
                      <a:cubicBezTo>
                        <a:pt x="5" y="96"/>
                        <a:pt x="5" y="96"/>
                        <a:pt x="5" y="96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1"/>
                        <a:pt x="7" y="101"/>
                        <a:pt x="7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2" y="104"/>
                        <a:pt x="12" y="104"/>
                        <a:pt x="12" y="104"/>
                      </a:cubicBezTo>
                      <a:cubicBezTo>
                        <a:pt x="15" y="99"/>
                        <a:pt x="15" y="99"/>
                        <a:pt x="15" y="99"/>
                      </a:cubicBezTo>
                      <a:cubicBezTo>
                        <a:pt x="15" y="103"/>
                        <a:pt x="15" y="103"/>
                        <a:pt x="15" y="103"/>
                      </a:cubicBezTo>
                      <a:cubicBezTo>
                        <a:pt x="17" y="107"/>
                        <a:pt x="17" y="107"/>
                        <a:pt x="17" y="107"/>
                      </a:cubicBezTo>
                      <a:cubicBezTo>
                        <a:pt x="20" y="107"/>
                        <a:pt x="20" y="107"/>
                        <a:pt x="20" y="107"/>
                      </a:cubicBezTo>
                      <a:cubicBezTo>
                        <a:pt x="23" y="100"/>
                        <a:pt x="23" y="100"/>
                        <a:pt x="23" y="100"/>
                      </a:cubicBezTo>
                      <a:cubicBezTo>
                        <a:pt x="24" y="96"/>
                        <a:pt x="24" y="96"/>
                        <a:pt x="24" y="96"/>
                      </a:cubicBezTo>
                      <a:cubicBezTo>
                        <a:pt x="25" y="89"/>
                        <a:pt x="25" y="89"/>
                        <a:pt x="25" y="89"/>
                      </a:cubicBezTo>
                      <a:cubicBezTo>
                        <a:pt x="28" y="92"/>
                        <a:pt x="28" y="92"/>
                        <a:pt x="28" y="92"/>
                      </a:cubicBezTo>
                      <a:cubicBezTo>
                        <a:pt x="29" y="90"/>
                        <a:pt x="29" y="90"/>
                        <a:pt x="29" y="90"/>
                      </a:cubicBezTo>
                      <a:cubicBezTo>
                        <a:pt x="32" y="87"/>
                        <a:pt x="32" y="87"/>
                        <a:pt x="32" y="87"/>
                      </a:cubicBezTo>
                      <a:cubicBezTo>
                        <a:pt x="34" y="82"/>
                        <a:pt x="34" y="82"/>
                        <a:pt x="34" y="82"/>
                      </a:cubicBezTo>
                      <a:cubicBezTo>
                        <a:pt x="34" y="87"/>
                        <a:pt x="34" y="87"/>
                        <a:pt x="34" y="87"/>
                      </a:cubicBezTo>
                      <a:cubicBezTo>
                        <a:pt x="36" y="88"/>
                        <a:pt x="36" y="88"/>
                        <a:pt x="36" y="88"/>
                      </a:cubicBezTo>
                      <a:cubicBezTo>
                        <a:pt x="38" y="84"/>
                        <a:pt x="38" y="84"/>
                        <a:pt x="38" y="84"/>
                      </a:cubicBezTo>
                      <a:cubicBezTo>
                        <a:pt x="41" y="83"/>
                        <a:pt x="41" y="83"/>
                        <a:pt x="41" y="83"/>
                      </a:cubicBezTo>
                      <a:cubicBezTo>
                        <a:pt x="43" y="85"/>
                        <a:pt x="43" y="85"/>
                        <a:pt x="43" y="85"/>
                      </a:cubicBezTo>
                      <a:cubicBezTo>
                        <a:pt x="42" y="89"/>
                        <a:pt x="42" y="89"/>
                        <a:pt x="42" y="89"/>
                      </a:cubicBezTo>
                      <a:cubicBezTo>
                        <a:pt x="39" y="87"/>
                        <a:pt x="39" y="87"/>
                        <a:pt x="39" y="87"/>
                      </a:cubicBezTo>
                      <a:cubicBezTo>
                        <a:pt x="39" y="93"/>
                        <a:pt x="39" y="93"/>
                        <a:pt x="39" y="93"/>
                      </a:cubicBezTo>
                      <a:cubicBezTo>
                        <a:pt x="42" y="92"/>
                        <a:pt x="42" y="92"/>
                        <a:pt x="42" y="92"/>
                      </a:cubicBezTo>
                      <a:cubicBezTo>
                        <a:pt x="44" y="92"/>
                        <a:pt x="44" y="92"/>
                        <a:pt x="44" y="92"/>
                      </a:cubicBezTo>
                      <a:cubicBezTo>
                        <a:pt x="48" y="85"/>
                        <a:pt x="48" y="85"/>
                        <a:pt x="48" y="85"/>
                      </a:cubicBezTo>
                      <a:cubicBezTo>
                        <a:pt x="48" y="82"/>
                        <a:pt x="48" y="82"/>
                        <a:pt x="48" y="82"/>
                      </a:cubicBezTo>
                      <a:cubicBezTo>
                        <a:pt x="45" y="80"/>
                        <a:pt x="45" y="80"/>
                        <a:pt x="45" y="80"/>
                      </a:cubicBezTo>
                      <a:cubicBezTo>
                        <a:pt x="47" y="76"/>
                        <a:pt x="47" y="76"/>
                        <a:pt x="47" y="76"/>
                      </a:cubicBezTo>
                      <a:cubicBezTo>
                        <a:pt x="47" y="71"/>
                        <a:pt x="47" y="71"/>
                        <a:pt x="47" y="71"/>
                      </a:cubicBezTo>
                      <a:cubicBezTo>
                        <a:pt x="50" y="71"/>
                        <a:pt x="50" y="71"/>
                        <a:pt x="50" y="71"/>
                      </a:cubicBezTo>
                      <a:cubicBezTo>
                        <a:pt x="52" y="69"/>
                        <a:pt x="52" y="69"/>
                        <a:pt x="52" y="69"/>
                      </a:cubicBezTo>
                      <a:cubicBezTo>
                        <a:pt x="52" y="60"/>
                        <a:pt x="52" y="60"/>
                        <a:pt x="52" y="60"/>
                      </a:cubicBezTo>
                      <a:cubicBezTo>
                        <a:pt x="54" y="58"/>
                        <a:pt x="54" y="58"/>
                        <a:pt x="54" y="58"/>
                      </a:cubicBezTo>
                      <a:cubicBezTo>
                        <a:pt x="56" y="54"/>
                        <a:pt x="56" y="54"/>
                        <a:pt x="56" y="54"/>
                      </a:cubicBezTo>
                      <a:cubicBezTo>
                        <a:pt x="58" y="60"/>
                        <a:pt x="58" y="60"/>
                        <a:pt x="58" y="60"/>
                      </a:cubicBezTo>
                      <a:cubicBezTo>
                        <a:pt x="58" y="63"/>
                        <a:pt x="58" y="63"/>
                        <a:pt x="58" y="63"/>
                      </a:cubicBezTo>
                      <a:cubicBezTo>
                        <a:pt x="60" y="58"/>
                        <a:pt x="60" y="58"/>
                        <a:pt x="60" y="58"/>
                      </a:cubicBezTo>
                      <a:cubicBezTo>
                        <a:pt x="60" y="54"/>
                        <a:pt x="60" y="54"/>
                        <a:pt x="60" y="54"/>
                      </a:cubicBezTo>
                      <a:cubicBezTo>
                        <a:pt x="61" y="52"/>
                        <a:pt x="61" y="52"/>
                        <a:pt x="61" y="52"/>
                      </a:cubicBezTo>
                      <a:cubicBezTo>
                        <a:pt x="60" y="47"/>
                        <a:pt x="60" y="47"/>
                        <a:pt x="60" y="47"/>
                      </a:cubicBezTo>
                      <a:cubicBezTo>
                        <a:pt x="62" y="42"/>
                        <a:pt x="62" y="42"/>
                        <a:pt x="62" y="42"/>
                      </a:cubicBezTo>
                      <a:cubicBezTo>
                        <a:pt x="63" y="34"/>
                        <a:pt x="63" y="34"/>
                        <a:pt x="63" y="34"/>
                      </a:cubicBezTo>
                      <a:cubicBezTo>
                        <a:pt x="66" y="30"/>
                        <a:pt x="66" y="30"/>
                        <a:pt x="66" y="30"/>
                      </a:cubicBezTo>
                      <a:cubicBezTo>
                        <a:pt x="68" y="18"/>
                        <a:pt x="68" y="18"/>
                        <a:pt x="68" y="18"/>
                      </a:cubicBezTo>
                      <a:cubicBezTo>
                        <a:pt x="69" y="15"/>
                        <a:pt x="69" y="15"/>
                        <a:pt x="69" y="15"/>
                      </a:cubicBezTo>
                      <a:cubicBezTo>
                        <a:pt x="65" y="11"/>
                        <a:pt x="65" y="11"/>
                        <a:pt x="65" y="11"/>
                      </a:cubicBezTo>
                      <a:lnTo>
                        <a:pt x="63" y="1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01" name="Freeform 904">
                  <a:extLst>
                    <a:ext uri="{FF2B5EF4-FFF2-40B4-BE49-F238E27FC236}">
                      <a16:creationId xmlns:a16="http://schemas.microsoft.com/office/drawing/2014/main" id="{28AB4ABF-BB0D-48E4-96AF-8FBCFDBCFC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82" y="3717"/>
                  <a:ext cx="4" cy="8"/>
                </a:xfrm>
                <a:custGeom>
                  <a:avLst/>
                  <a:gdLst>
                    <a:gd name="T0" fmla="*/ 2 w 4"/>
                    <a:gd name="T1" fmla="*/ 1 h 8"/>
                    <a:gd name="T2" fmla="*/ 2 w 4"/>
                    <a:gd name="T3" fmla="*/ 3 h 8"/>
                    <a:gd name="T4" fmla="*/ 0 w 4"/>
                    <a:gd name="T5" fmla="*/ 7 h 8"/>
                    <a:gd name="T6" fmla="*/ 2 w 4"/>
                    <a:gd name="T7" fmla="*/ 8 h 8"/>
                    <a:gd name="T8" fmla="*/ 3 w 4"/>
                    <a:gd name="T9" fmla="*/ 4 h 8"/>
                    <a:gd name="T10" fmla="*/ 4 w 4"/>
                    <a:gd name="T11" fmla="*/ 2 h 8"/>
                    <a:gd name="T12" fmla="*/ 3 w 4"/>
                    <a:gd name="T13" fmla="*/ 0 h 8"/>
                    <a:gd name="T14" fmla="*/ 2 w 4"/>
                    <a:gd name="T15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8">
                      <a:moveTo>
                        <a:pt x="2" y="1"/>
                      </a:moveTo>
                      <a:lnTo>
                        <a:pt x="2" y="3"/>
                      </a:lnTo>
                      <a:lnTo>
                        <a:pt x="0" y="7"/>
                      </a:lnTo>
                      <a:lnTo>
                        <a:pt x="2" y="8"/>
                      </a:lnTo>
                      <a:lnTo>
                        <a:pt x="3" y="4"/>
                      </a:lnTo>
                      <a:lnTo>
                        <a:pt x="4" y="2"/>
                      </a:lnTo>
                      <a:lnTo>
                        <a:pt x="3" y="0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02" name="Freeform 905">
                  <a:extLst>
                    <a:ext uri="{FF2B5EF4-FFF2-40B4-BE49-F238E27FC236}">
                      <a16:creationId xmlns:a16="http://schemas.microsoft.com/office/drawing/2014/main" id="{D0CF058D-CCBA-4CC1-B52F-91EEF16D31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59" y="3615"/>
                  <a:ext cx="7" cy="17"/>
                </a:xfrm>
                <a:custGeom>
                  <a:avLst/>
                  <a:gdLst>
                    <a:gd name="T0" fmla="*/ 5 w 7"/>
                    <a:gd name="T1" fmla="*/ 13 h 17"/>
                    <a:gd name="T2" fmla="*/ 7 w 7"/>
                    <a:gd name="T3" fmla="*/ 9 h 17"/>
                    <a:gd name="T4" fmla="*/ 5 w 7"/>
                    <a:gd name="T5" fmla="*/ 7 h 17"/>
                    <a:gd name="T6" fmla="*/ 6 w 7"/>
                    <a:gd name="T7" fmla="*/ 1 h 17"/>
                    <a:gd name="T8" fmla="*/ 5 w 7"/>
                    <a:gd name="T9" fmla="*/ 0 h 17"/>
                    <a:gd name="T10" fmla="*/ 3 w 7"/>
                    <a:gd name="T11" fmla="*/ 1 h 17"/>
                    <a:gd name="T12" fmla="*/ 2 w 7"/>
                    <a:gd name="T13" fmla="*/ 4 h 17"/>
                    <a:gd name="T14" fmla="*/ 2 w 7"/>
                    <a:gd name="T15" fmla="*/ 7 h 17"/>
                    <a:gd name="T16" fmla="*/ 0 w 7"/>
                    <a:gd name="T17" fmla="*/ 10 h 17"/>
                    <a:gd name="T18" fmla="*/ 0 w 7"/>
                    <a:gd name="T19" fmla="*/ 13 h 17"/>
                    <a:gd name="T20" fmla="*/ 0 w 7"/>
                    <a:gd name="T21" fmla="*/ 15 h 17"/>
                    <a:gd name="T22" fmla="*/ 2 w 7"/>
                    <a:gd name="T23" fmla="*/ 17 h 17"/>
                    <a:gd name="T24" fmla="*/ 5 w 7"/>
                    <a:gd name="T25" fmla="*/ 14 h 17"/>
                    <a:gd name="T26" fmla="*/ 5 w 7"/>
                    <a:gd name="T27" fmla="*/ 13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" h="17">
                      <a:moveTo>
                        <a:pt x="5" y="13"/>
                      </a:moveTo>
                      <a:lnTo>
                        <a:pt x="7" y="9"/>
                      </a:lnTo>
                      <a:lnTo>
                        <a:pt x="5" y="7"/>
                      </a:lnTo>
                      <a:lnTo>
                        <a:pt x="6" y="1"/>
                      </a:lnTo>
                      <a:lnTo>
                        <a:pt x="5" y="0"/>
                      </a:lnTo>
                      <a:lnTo>
                        <a:pt x="3" y="1"/>
                      </a:lnTo>
                      <a:lnTo>
                        <a:pt x="2" y="4"/>
                      </a:lnTo>
                      <a:lnTo>
                        <a:pt x="2" y="7"/>
                      </a:lnTo>
                      <a:lnTo>
                        <a:pt x="0" y="10"/>
                      </a:lnTo>
                      <a:lnTo>
                        <a:pt x="0" y="13"/>
                      </a:lnTo>
                      <a:lnTo>
                        <a:pt x="0" y="15"/>
                      </a:lnTo>
                      <a:lnTo>
                        <a:pt x="2" y="17"/>
                      </a:lnTo>
                      <a:lnTo>
                        <a:pt x="5" y="14"/>
                      </a:lnTo>
                      <a:lnTo>
                        <a:pt x="5" y="1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03" name="Freeform 906">
                  <a:extLst>
                    <a:ext uri="{FF2B5EF4-FFF2-40B4-BE49-F238E27FC236}">
                      <a16:creationId xmlns:a16="http://schemas.microsoft.com/office/drawing/2014/main" id="{75E53436-2E0A-479E-A4B2-2BF75D2874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00" y="3702"/>
                  <a:ext cx="2" cy="3"/>
                </a:xfrm>
                <a:custGeom>
                  <a:avLst/>
                  <a:gdLst>
                    <a:gd name="T0" fmla="*/ 0 w 2"/>
                    <a:gd name="T1" fmla="*/ 3 h 3"/>
                    <a:gd name="T2" fmla="*/ 2 w 2"/>
                    <a:gd name="T3" fmla="*/ 3 h 3"/>
                    <a:gd name="T4" fmla="*/ 0 w 2"/>
                    <a:gd name="T5" fmla="*/ 0 h 3"/>
                    <a:gd name="T6" fmla="*/ 0 w 2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3"/>
                      </a:moveTo>
                      <a:lnTo>
                        <a:pt x="2" y="3"/>
                      </a:lnTo>
                      <a:lnTo>
                        <a:pt x="0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04" name="Freeform 907">
                  <a:extLst>
                    <a:ext uri="{FF2B5EF4-FFF2-40B4-BE49-F238E27FC236}">
                      <a16:creationId xmlns:a16="http://schemas.microsoft.com/office/drawing/2014/main" id="{0EF3E49A-700E-4313-ADD5-39F71B5995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22" y="3222"/>
                  <a:ext cx="1" cy="3"/>
                </a:xfrm>
                <a:custGeom>
                  <a:avLst/>
                  <a:gdLst>
                    <a:gd name="T0" fmla="*/ 1 w 1"/>
                    <a:gd name="T1" fmla="*/ 3 h 3"/>
                    <a:gd name="T2" fmla="*/ 1 w 1"/>
                    <a:gd name="T3" fmla="*/ 0 h 3"/>
                    <a:gd name="T4" fmla="*/ 0 w 1"/>
                    <a:gd name="T5" fmla="*/ 2 h 3"/>
                    <a:gd name="T6" fmla="*/ 1 w 1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3">
                      <a:moveTo>
                        <a:pt x="1" y="3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1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05" name="Freeform 908">
                  <a:extLst>
                    <a:ext uri="{FF2B5EF4-FFF2-40B4-BE49-F238E27FC236}">
                      <a16:creationId xmlns:a16="http://schemas.microsoft.com/office/drawing/2014/main" id="{CFAEEC91-DE28-4326-953C-3549C59111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0" y="3017"/>
                  <a:ext cx="1" cy="1"/>
                </a:xfrm>
                <a:custGeom>
                  <a:avLst/>
                  <a:gdLst>
                    <a:gd name="T0" fmla="*/ 1 w 1"/>
                    <a:gd name="T1" fmla="*/ 0 h 1"/>
                    <a:gd name="T2" fmla="*/ 0 w 1"/>
                    <a:gd name="T3" fmla="*/ 1 h 1"/>
                    <a:gd name="T4" fmla="*/ 1 w 1"/>
                    <a:gd name="T5" fmla="*/ 1 h 1"/>
                    <a:gd name="T6" fmla="*/ 1 w 1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06" name="Freeform 909">
                  <a:extLst>
                    <a:ext uri="{FF2B5EF4-FFF2-40B4-BE49-F238E27FC236}">
                      <a16:creationId xmlns:a16="http://schemas.microsoft.com/office/drawing/2014/main" id="{F1F1F512-AEE7-466A-A7DC-7485E1F233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49" y="3275"/>
                  <a:ext cx="6" cy="25"/>
                </a:xfrm>
                <a:custGeom>
                  <a:avLst/>
                  <a:gdLst>
                    <a:gd name="T0" fmla="*/ 5 w 6"/>
                    <a:gd name="T1" fmla="*/ 0 h 25"/>
                    <a:gd name="T2" fmla="*/ 4 w 6"/>
                    <a:gd name="T3" fmla="*/ 3 h 25"/>
                    <a:gd name="T4" fmla="*/ 5 w 6"/>
                    <a:gd name="T5" fmla="*/ 5 h 25"/>
                    <a:gd name="T6" fmla="*/ 3 w 6"/>
                    <a:gd name="T7" fmla="*/ 9 h 25"/>
                    <a:gd name="T8" fmla="*/ 1 w 6"/>
                    <a:gd name="T9" fmla="*/ 12 h 25"/>
                    <a:gd name="T10" fmla="*/ 1 w 6"/>
                    <a:gd name="T11" fmla="*/ 16 h 25"/>
                    <a:gd name="T12" fmla="*/ 0 w 6"/>
                    <a:gd name="T13" fmla="*/ 19 h 25"/>
                    <a:gd name="T14" fmla="*/ 2 w 6"/>
                    <a:gd name="T15" fmla="*/ 24 h 25"/>
                    <a:gd name="T16" fmla="*/ 3 w 6"/>
                    <a:gd name="T17" fmla="*/ 25 h 25"/>
                    <a:gd name="T18" fmla="*/ 2 w 6"/>
                    <a:gd name="T19" fmla="*/ 21 h 25"/>
                    <a:gd name="T20" fmla="*/ 3 w 6"/>
                    <a:gd name="T21" fmla="*/ 15 h 25"/>
                    <a:gd name="T22" fmla="*/ 6 w 6"/>
                    <a:gd name="T23" fmla="*/ 9 h 25"/>
                    <a:gd name="T24" fmla="*/ 6 w 6"/>
                    <a:gd name="T25" fmla="*/ 5 h 25"/>
                    <a:gd name="T26" fmla="*/ 6 w 6"/>
                    <a:gd name="T27" fmla="*/ 1 h 25"/>
                    <a:gd name="T28" fmla="*/ 5 w 6"/>
                    <a:gd name="T29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" h="25">
                      <a:moveTo>
                        <a:pt x="5" y="0"/>
                      </a:moveTo>
                      <a:lnTo>
                        <a:pt x="4" y="3"/>
                      </a:lnTo>
                      <a:lnTo>
                        <a:pt x="5" y="5"/>
                      </a:lnTo>
                      <a:lnTo>
                        <a:pt x="3" y="9"/>
                      </a:lnTo>
                      <a:lnTo>
                        <a:pt x="1" y="12"/>
                      </a:lnTo>
                      <a:lnTo>
                        <a:pt x="1" y="16"/>
                      </a:lnTo>
                      <a:lnTo>
                        <a:pt x="0" y="19"/>
                      </a:lnTo>
                      <a:lnTo>
                        <a:pt x="2" y="24"/>
                      </a:lnTo>
                      <a:lnTo>
                        <a:pt x="3" y="25"/>
                      </a:lnTo>
                      <a:lnTo>
                        <a:pt x="2" y="21"/>
                      </a:lnTo>
                      <a:lnTo>
                        <a:pt x="3" y="15"/>
                      </a:lnTo>
                      <a:lnTo>
                        <a:pt x="6" y="9"/>
                      </a:lnTo>
                      <a:lnTo>
                        <a:pt x="6" y="5"/>
                      </a:lnTo>
                      <a:lnTo>
                        <a:pt x="6" y="1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07" name="Freeform 910">
                  <a:extLst>
                    <a:ext uri="{FF2B5EF4-FFF2-40B4-BE49-F238E27FC236}">
                      <a16:creationId xmlns:a16="http://schemas.microsoft.com/office/drawing/2014/main" id="{9FBAACDB-6BEB-4617-BCE7-8349A9EC88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13" y="3628"/>
                  <a:ext cx="7" cy="11"/>
                </a:xfrm>
                <a:custGeom>
                  <a:avLst/>
                  <a:gdLst>
                    <a:gd name="T0" fmla="*/ 0 w 7"/>
                    <a:gd name="T1" fmla="*/ 1 h 11"/>
                    <a:gd name="T2" fmla="*/ 2 w 7"/>
                    <a:gd name="T3" fmla="*/ 3 h 11"/>
                    <a:gd name="T4" fmla="*/ 0 w 7"/>
                    <a:gd name="T5" fmla="*/ 6 h 11"/>
                    <a:gd name="T6" fmla="*/ 1 w 7"/>
                    <a:gd name="T7" fmla="*/ 8 h 11"/>
                    <a:gd name="T8" fmla="*/ 2 w 7"/>
                    <a:gd name="T9" fmla="*/ 11 h 11"/>
                    <a:gd name="T10" fmla="*/ 7 w 7"/>
                    <a:gd name="T11" fmla="*/ 8 h 11"/>
                    <a:gd name="T12" fmla="*/ 7 w 7"/>
                    <a:gd name="T13" fmla="*/ 5 h 11"/>
                    <a:gd name="T14" fmla="*/ 3 w 7"/>
                    <a:gd name="T15" fmla="*/ 0 h 11"/>
                    <a:gd name="T16" fmla="*/ 0 w 7"/>
                    <a:gd name="T17" fmla="*/ 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11">
                      <a:moveTo>
                        <a:pt x="0" y="1"/>
                      </a:moveTo>
                      <a:lnTo>
                        <a:pt x="2" y="3"/>
                      </a:lnTo>
                      <a:lnTo>
                        <a:pt x="0" y="6"/>
                      </a:lnTo>
                      <a:lnTo>
                        <a:pt x="1" y="8"/>
                      </a:lnTo>
                      <a:lnTo>
                        <a:pt x="2" y="11"/>
                      </a:lnTo>
                      <a:lnTo>
                        <a:pt x="7" y="8"/>
                      </a:lnTo>
                      <a:lnTo>
                        <a:pt x="7" y="5"/>
                      </a:lnTo>
                      <a:lnTo>
                        <a:pt x="3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08" name="Freeform 911">
                  <a:extLst>
                    <a:ext uri="{FF2B5EF4-FFF2-40B4-BE49-F238E27FC236}">
                      <a16:creationId xmlns:a16="http://schemas.microsoft.com/office/drawing/2014/main" id="{FC036D25-8A21-4FA6-9923-E915EFCE26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26" y="3019"/>
                  <a:ext cx="4" cy="5"/>
                </a:xfrm>
                <a:custGeom>
                  <a:avLst/>
                  <a:gdLst>
                    <a:gd name="T0" fmla="*/ 0 w 4"/>
                    <a:gd name="T1" fmla="*/ 2 h 5"/>
                    <a:gd name="T2" fmla="*/ 0 w 4"/>
                    <a:gd name="T3" fmla="*/ 5 h 5"/>
                    <a:gd name="T4" fmla="*/ 1 w 4"/>
                    <a:gd name="T5" fmla="*/ 2 h 5"/>
                    <a:gd name="T6" fmla="*/ 4 w 4"/>
                    <a:gd name="T7" fmla="*/ 2 h 5"/>
                    <a:gd name="T8" fmla="*/ 4 w 4"/>
                    <a:gd name="T9" fmla="*/ 0 h 5"/>
                    <a:gd name="T10" fmla="*/ 2 w 4"/>
                    <a:gd name="T11" fmla="*/ 1 h 5"/>
                    <a:gd name="T12" fmla="*/ 0 w 4"/>
                    <a:gd name="T13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5">
                      <a:moveTo>
                        <a:pt x="0" y="2"/>
                      </a:moveTo>
                      <a:lnTo>
                        <a:pt x="0" y="5"/>
                      </a:lnTo>
                      <a:lnTo>
                        <a:pt x="1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09" name="Freeform 912">
                  <a:extLst>
                    <a:ext uri="{FF2B5EF4-FFF2-40B4-BE49-F238E27FC236}">
                      <a16:creationId xmlns:a16="http://schemas.microsoft.com/office/drawing/2014/main" id="{06BF0A13-A910-494F-8061-7F28818623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21" y="3024"/>
                  <a:ext cx="4" cy="1"/>
                </a:xfrm>
                <a:custGeom>
                  <a:avLst/>
                  <a:gdLst>
                    <a:gd name="T0" fmla="*/ 2 w 4"/>
                    <a:gd name="T1" fmla="*/ 1 h 1"/>
                    <a:gd name="T2" fmla="*/ 4 w 4"/>
                    <a:gd name="T3" fmla="*/ 1 h 1"/>
                    <a:gd name="T4" fmla="*/ 4 w 4"/>
                    <a:gd name="T5" fmla="*/ 0 h 1"/>
                    <a:gd name="T6" fmla="*/ 0 w 4"/>
                    <a:gd name="T7" fmla="*/ 1 h 1"/>
                    <a:gd name="T8" fmla="*/ 2 w 4"/>
                    <a:gd name="T9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1">
                      <a:moveTo>
                        <a:pt x="2" y="1"/>
                      </a:move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10" name="Freeform 913">
                  <a:extLst>
                    <a:ext uri="{FF2B5EF4-FFF2-40B4-BE49-F238E27FC236}">
                      <a16:creationId xmlns:a16="http://schemas.microsoft.com/office/drawing/2014/main" id="{FF016400-692E-4B30-9925-63798C805F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84" y="3004"/>
                  <a:ext cx="3" cy="7"/>
                </a:xfrm>
                <a:custGeom>
                  <a:avLst/>
                  <a:gdLst>
                    <a:gd name="T0" fmla="*/ 0 w 3"/>
                    <a:gd name="T1" fmla="*/ 4 h 7"/>
                    <a:gd name="T2" fmla="*/ 1 w 3"/>
                    <a:gd name="T3" fmla="*/ 7 h 7"/>
                    <a:gd name="T4" fmla="*/ 1 w 3"/>
                    <a:gd name="T5" fmla="*/ 4 h 7"/>
                    <a:gd name="T6" fmla="*/ 3 w 3"/>
                    <a:gd name="T7" fmla="*/ 0 h 7"/>
                    <a:gd name="T8" fmla="*/ 1 w 3"/>
                    <a:gd name="T9" fmla="*/ 1 h 7"/>
                    <a:gd name="T10" fmla="*/ 0 w 3"/>
                    <a:gd name="T11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7">
                      <a:moveTo>
                        <a:pt x="0" y="4"/>
                      </a:moveTo>
                      <a:lnTo>
                        <a:pt x="1" y="7"/>
                      </a:lnTo>
                      <a:lnTo>
                        <a:pt x="1" y="4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11" name="Freeform 914">
                  <a:extLst>
                    <a:ext uri="{FF2B5EF4-FFF2-40B4-BE49-F238E27FC236}">
                      <a16:creationId xmlns:a16="http://schemas.microsoft.com/office/drawing/2014/main" id="{0702D397-07E2-44C8-9766-E842692BF1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49" y="3336"/>
                  <a:ext cx="2" cy="6"/>
                </a:xfrm>
                <a:custGeom>
                  <a:avLst/>
                  <a:gdLst>
                    <a:gd name="T0" fmla="*/ 0 w 2"/>
                    <a:gd name="T1" fmla="*/ 6 h 6"/>
                    <a:gd name="T2" fmla="*/ 2 w 2"/>
                    <a:gd name="T3" fmla="*/ 3 h 6"/>
                    <a:gd name="T4" fmla="*/ 1 w 2"/>
                    <a:gd name="T5" fmla="*/ 0 h 6"/>
                    <a:gd name="T6" fmla="*/ 0 w 2"/>
                    <a:gd name="T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6">
                      <a:moveTo>
                        <a:pt x="0" y="6"/>
                      </a:moveTo>
                      <a:lnTo>
                        <a:pt x="2" y="3"/>
                      </a:lnTo>
                      <a:lnTo>
                        <a:pt x="1" y="0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12" name="Freeform 915">
                  <a:extLst>
                    <a:ext uri="{FF2B5EF4-FFF2-40B4-BE49-F238E27FC236}">
                      <a16:creationId xmlns:a16="http://schemas.microsoft.com/office/drawing/2014/main" id="{3700CE13-F855-44A2-BBC1-9FDFD04211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27" y="3248"/>
                  <a:ext cx="4" cy="8"/>
                </a:xfrm>
                <a:custGeom>
                  <a:avLst/>
                  <a:gdLst>
                    <a:gd name="T0" fmla="*/ 2 w 4"/>
                    <a:gd name="T1" fmla="*/ 1 h 8"/>
                    <a:gd name="T2" fmla="*/ 0 w 4"/>
                    <a:gd name="T3" fmla="*/ 0 h 8"/>
                    <a:gd name="T4" fmla="*/ 0 w 4"/>
                    <a:gd name="T5" fmla="*/ 1 h 8"/>
                    <a:gd name="T6" fmla="*/ 2 w 4"/>
                    <a:gd name="T7" fmla="*/ 5 h 8"/>
                    <a:gd name="T8" fmla="*/ 4 w 4"/>
                    <a:gd name="T9" fmla="*/ 8 h 8"/>
                    <a:gd name="T10" fmla="*/ 4 w 4"/>
                    <a:gd name="T11" fmla="*/ 5 h 8"/>
                    <a:gd name="T12" fmla="*/ 4 w 4"/>
                    <a:gd name="T13" fmla="*/ 3 h 8"/>
                    <a:gd name="T14" fmla="*/ 4 w 4"/>
                    <a:gd name="T15" fmla="*/ 1 h 8"/>
                    <a:gd name="T16" fmla="*/ 2 w 4"/>
                    <a:gd name="T17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8">
                      <a:moveTo>
                        <a:pt x="2" y="1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5"/>
                      </a:lnTo>
                      <a:lnTo>
                        <a:pt x="4" y="8"/>
                      </a:lnTo>
                      <a:lnTo>
                        <a:pt x="4" y="5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13" name="Freeform 916">
                  <a:extLst>
                    <a:ext uri="{FF2B5EF4-FFF2-40B4-BE49-F238E27FC236}">
                      <a16:creationId xmlns:a16="http://schemas.microsoft.com/office/drawing/2014/main" id="{0B4CA12E-451C-42AC-B719-105025FD8C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4" y="3068"/>
                  <a:ext cx="2" cy="2"/>
                </a:xfrm>
                <a:custGeom>
                  <a:avLst/>
                  <a:gdLst>
                    <a:gd name="T0" fmla="*/ 1 w 2"/>
                    <a:gd name="T1" fmla="*/ 2 h 2"/>
                    <a:gd name="T2" fmla="*/ 2 w 2"/>
                    <a:gd name="T3" fmla="*/ 0 h 2"/>
                    <a:gd name="T4" fmla="*/ 0 w 2"/>
                    <a:gd name="T5" fmla="*/ 0 h 2"/>
                    <a:gd name="T6" fmla="*/ 0 w 2"/>
                    <a:gd name="T7" fmla="*/ 2 h 2"/>
                    <a:gd name="T8" fmla="*/ 1 w 2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14" name="Freeform 917">
                  <a:extLst>
                    <a:ext uri="{FF2B5EF4-FFF2-40B4-BE49-F238E27FC236}">
                      <a16:creationId xmlns:a16="http://schemas.microsoft.com/office/drawing/2014/main" id="{B88F4A84-90E5-4921-AA02-492A091546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14" y="3648"/>
                  <a:ext cx="2" cy="2"/>
                </a:xfrm>
                <a:custGeom>
                  <a:avLst/>
                  <a:gdLst>
                    <a:gd name="T0" fmla="*/ 1 w 2"/>
                    <a:gd name="T1" fmla="*/ 2 h 2"/>
                    <a:gd name="T2" fmla="*/ 2 w 2"/>
                    <a:gd name="T3" fmla="*/ 0 h 2"/>
                    <a:gd name="T4" fmla="*/ 0 w 2"/>
                    <a:gd name="T5" fmla="*/ 1 h 2"/>
                    <a:gd name="T6" fmla="*/ 1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15" name="Freeform 918">
                  <a:extLst>
                    <a:ext uri="{FF2B5EF4-FFF2-40B4-BE49-F238E27FC236}">
                      <a16:creationId xmlns:a16="http://schemas.microsoft.com/office/drawing/2014/main" id="{1344CEF6-889A-4FF8-9C10-2E105DBE1C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23" y="2988"/>
                  <a:ext cx="2" cy="2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2 h 2"/>
                    <a:gd name="T4" fmla="*/ 2 w 2"/>
                    <a:gd name="T5" fmla="*/ 1 h 2"/>
                    <a:gd name="T6" fmla="*/ 0 w 2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16" name="Freeform 919">
                  <a:extLst>
                    <a:ext uri="{FF2B5EF4-FFF2-40B4-BE49-F238E27FC236}">
                      <a16:creationId xmlns:a16="http://schemas.microsoft.com/office/drawing/2014/main" id="{95C51B64-3024-4E1B-B02C-1796F00FDE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8" y="3142"/>
                  <a:ext cx="4" cy="10"/>
                </a:xfrm>
                <a:custGeom>
                  <a:avLst/>
                  <a:gdLst>
                    <a:gd name="T0" fmla="*/ 3 w 4"/>
                    <a:gd name="T1" fmla="*/ 10 h 10"/>
                    <a:gd name="T2" fmla="*/ 4 w 4"/>
                    <a:gd name="T3" fmla="*/ 6 h 10"/>
                    <a:gd name="T4" fmla="*/ 4 w 4"/>
                    <a:gd name="T5" fmla="*/ 0 h 10"/>
                    <a:gd name="T6" fmla="*/ 3 w 4"/>
                    <a:gd name="T7" fmla="*/ 1 h 10"/>
                    <a:gd name="T8" fmla="*/ 0 w 4"/>
                    <a:gd name="T9" fmla="*/ 2 h 10"/>
                    <a:gd name="T10" fmla="*/ 2 w 4"/>
                    <a:gd name="T11" fmla="*/ 5 h 10"/>
                    <a:gd name="T12" fmla="*/ 1 w 4"/>
                    <a:gd name="T13" fmla="*/ 7 h 10"/>
                    <a:gd name="T14" fmla="*/ 3 w 4"/>
                    <a:gd name="T1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10">
                      <a:moveTo>
                        <a:pt x="3" y="10"/>
                      </a:moveTo>
                      <a:lnTo>
                        <a:pt x="4" y="6"/>
                      </a:lnTo>
                      <a:lnTo>
                        <a:pt x="4" y="0"/>
                      </a:lnTo>
                      <a:lnTo>
                        <a:pt x="3" y="1"/>
                      </a:lnTo>
                      <a:lnTo>
                        <a:pt x="0" y="2"/>
                      </a:lnTo>
                      <a:lnTo>
                        <a:pt x="2" y="5"/>
                      </a:lnTo>
                      <a:lnTo>
                        <a:pt x="1" y="7"/>
                      </a:lnTo>
                      <a:lnTo>
                        <a:pt x="3" y="1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17" name="Freeform 920">
                  <a:extLst>
                    <a:ext uri="{FF2B5EF4-FFF2-40B4-BE49-F238E27FC236}">
                      <a16:creationId xmlns:a16="http://schemas.microsoft.com/office/drawing/2014/main" id="{0342B6C9-B743-4F20-9796-D85908EDE5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3" y="3055"/>
                  <a:ext cx="3" cy="4"/>
                </a:xfrm>
                <a:custGeom>
                  <a:avLst/>
                  <a:gdLst>
                    <a:gd name="T0" fmla="*/ 0 w 3"/>
                    <a:gd name="T1" fmla="*/ 3 h 4"/>
                    <a:gd name="T2" fmla="*/ 0 w 3"/>
                    <a:gd name="T3" fmla="*/ 3 h 4"/>
                    <a:gd name="T4" fmla="*/ 1 w 3"/>
                    <a:gd name="T5" fmla="*/ 4 h 4"/>
                    <a:gd name="T6" fmla="*/ 3 w 3"/>
                    <a:gd name="T7" fmla="*/ 2 h 4"/>
                    <a:gd name="T8" fmla="*/ 1 w 3"/>
                    <a:gd name="T9" fmla="*/ 0 h 4"/>
                    <a:gd name="T10" fmla="*/ 0 w 3"/>
                    <a:gd name="T11" fmla="*/ 1 h 4"/>
                    <a:gd name="T12" fmla="*/ 0 w 3"/>
                    <a:gd name="T13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4">
                      <a:moveTo>
                        <a:pt x="0" y="3"/>
                      </a:move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3" y="2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18" name="Freeform 921">
                  <a:extLst>
                    <a:ext uri="{FF2B5EF4-FFF2-40B4-BE49-F238E27FC236}">
                      <a16:creationId xmlns:a16="http://schemas.microsoft.com/office/drawing/2014/main" id="{1DC6D3BE-369A-4679-83EE-1BBE2C8171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1" y="3277"/>
                  <a:ext cx="3" cy="10"/>
                </a:xfrm>
                <a:custGeom>
                  <a:avLst/>
                  <a:gdLst>
                    <a:gd name="T0" fmla="*/ 0 w 3"/>
                    <a:gd name="T1" fmla="*/ 4 h 10"/>
                    <a:gd name="T2" fmla="*/ 3 w 3"/>
                    <a:gd name="T3" fmla="*/ 10 h 10"/>
                    <a:gd name="T4" fmla="*/ 3 w 3"/>
                    <a:gd name="T5" fmla="*/ 6 h 10"/>
                    <a:gd name="T6" fmla="*/ 2 w 3"/>
                    <a:gd name="T7" fmla="*/ 0 h 10"/>
                    <a:gd name="T8" fmla="*/ 0 w 3"/>
                    <a:gd name="T9" fmla="*/ 4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10">
                      <a:moveTo>
                        <a:pt x="0" y="4"/>
                      </a:moveTo>
                      <a:lnTo>
                        <a:pt x="3" y="10"/>
                      </a:lnTo>
                      <a:lnTo>
                        <a:pt x="3" y="6"/>
                      </a:lnTo>
                      <a:lnTo>
                        <a:pt x="2" y="0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19" name="Freeform 922">
                  <a:extLst>
                    <a:ext uri="{FF2B5EF4-FFF2-40B4-BE49-F238E27FC236}">
                      <a16:creationId xmlns:a16="http://schemas.microsoft.com/office/drawing/2014/main" id="{545359CF-EC45-421E-A1A4-098972B169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25" y="3180"/>
                  <a:ext cx="3" cy="7"/>
                </a:xfrm>
                <a:custGeom>
                  <a:avLst/>
                  <a:gdLst>
                    <a:gd name="T0" fmla="*/ 0 w 3"/>
                    <a:gd name="T1" fmla="*/ 7 h 7"/>
                    <a:gd name="T2" fmla="*/ 2 w 3"/>
                    <a:gd name="T3" fmla="*/ 4 h 7"/>
                    <a:gd name="T4" fmla="*/ 3 w 3"/>
                    <a:gd name="T5" fmla="*/ 0 h 7"/>
                    <a:gd name="T6" fmla="*/ 0 w 3"/>
                    <a:gd name="T7" fmla="*/ 5 h 7"/>
                    <a:gd name="T8" fmla="*/ 0 w 3"/>
                    <a:gd name="T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7">
                      <a:moveTo>
                        <a:pt x="0" y="7"/>
                      </a:moveTo>
                      <a:lnTo>
                        <a:pt x="2" y="4"/>
                      </a:lnTo>
                      <a:lnTo>
                        <a:pt x="3" y="0"/>
                      </a:lnTo>
                      <a:lnTo>
                        <a:pt x="0" y="5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20" name="Freeform 923">
                  <a:extLst>
                    <a:ext uri="{FF2B5EF4-FFF2-40B4-BE49-F238E27FC236}">
                      <a16:creationId xmlns:a16="http://schemas.microsoft.com/office/drawing/2014/main" id="{A7031EDF-E08F-4DD6-A461-42CB40979A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54" y="3008"/>
                  <a:ext cx="17" cy="13"/>
                </a:xfrm>
                <a:custGeom>
                  <a:avLst/>
                  <a:gdLst>
                    <a:gd name="T0" fmla="*/ 9 w 17"/>
                    <a:gd name="T1" fmla="*/ 13 h 13"/>
                    <a:gd name="T2" fmla="*/ 14 w 17"/>
                    <a:gd name="T3" fmla="*/ 7 h 13"/>
                    <a:gd name="T4" fmla="*/ 15 w 17"/>
                    <a:gd name="T5" fmla="*/ 8 h 13"/>
                    <a:gd name="T6" fmla="*/ 15 w 17"/>
                    <a:gd name="T7" fmla="*/ 6 h 13"/>
                    <a:gd name="T8" fmla="*/ 17 w 17"/>
                    <a:gd name="T9" fmla="*/ 5 h 13"/>
                    <a:gd name="T10" fmla="*/ 15 w 17"/>
                    <a:gd name="T11" fmla="*/ 3 h 13"/>
                    <a:gd name="T12" fmla="*/ 14 w 17"/>
                    <a:gd name="T13" fmla="*/ 1 h 13"/>
                    <a:gd name="T14" fmla="*/ 13 w 17"/>
                    <a:gd name="T15" fmla="*/ 1 h 13"/>
                    <a:gd name="T16" fmla="*/ 11 w 17"/>
                    <a:gd name="T17" fmla="*/ 3 h 13"/>
                    <a:gd name="T18" fmla="*/ 7 w 17"/>
                    <a:gd name="T19" fmla="*/ 3 h 13"/>
                    <a:gd name="T20" fmla="*/ 6 w 17"/>
                    <a:gd name="T21" fmla="*/ 5 h 13"/>
                    <a:gd name="T22" fmla="*/ 4 w 17"/>
                    <a:gd name="T23" fmla="*/ 3 h 13"/>
                    <a:gd name="T24" fmla="*/ 4 w 17"/>
                    <a:gd name="T25" fmla="*/ 3 h 13"/>
                    <a:gd name="T26" fmla="*/ 2 w 17"/>
                    <a:gd name="T27" fmla="*/ 3 h 13"/>
                    <a:gd name="T28" fmla="*/ 0 w 17"/>
                    <a:gd name="T29" fmla="*/ 0 h 13"/>
                    <a:gd name="T30" fmla="*/ 0 w 17"/>
                    <a:gd name="T31" fmla="*/ 0 h 13"/>
                    <a:gd name="T32" fmla="*/ 0 w 17"/>
                    <a:gd name="T33" fmla="*/ 1 h 13"/>
                    <a:gd name="T34" fmla="*/ 0 w 17"/>
                    <a:gd name="T35" fmla="*/ 5 h 13"/>
                    <a:gd name="T36" fmla="*/ 3 w 17"/>
                    <a:gd name="T37" fmla="*/ 9 h 13"/>
                    <a:gd name="T38" fmla="*/ 5 w 17"/>
                    <a:gd name="T39" fmla="*/ 12 h 13"/>
                    <a:gd name="T40" fmla="*/ 9 w 17"/>
                    <a:gd name="T41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7" h="13">
                      <a:moveTo>
                        <a:pt x="9" y="13"/>
                      </a:moveTo>
                      <a:lnTo>
                        <a:pt x="14" y="7"/>
                      </a:lnTo>
                      <a:lnTo>
                        <a:pt x="15" y="8"/>
                      </a:lnTo>
                      <a:lnTo>
                        <a:pt x="15" y="6"/>
                      </a:lnTo>
                      <a:lnTo>
                        <a:pt x="17" y="5"/>
                      </a:lnTo>
                      <a:lnTo>
                        <a:pt x="15" y="3"/>
                      </a:lnTo>
                      <a:lnTo>
                        <a:pt x="14" y="1"/>
                      </a:lnTo>
                      <a:lnTo>
                        <a:pt x="13" y="1"/>
                      </a:lnTo>
                      <a:lnTo>
                        <a:pt x="11" y="3"/>
                      </a:lnTo>
                      <a:lnTo>
                        <a:pt x="7" y="3"/>
                      </a:lnTo>
                      <a:lnTo>
                        <a:pt x="6" y="5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5"/>
                      </a:lnTo>
                      <a:lnTo>
                        <a:pt x="3" y="9"/>
                      </a:lnTo>
                      <a:lnTo>
                        <a:pt x="5" y="12"/>
                      </a:lnTo>
                      <a:lnTo>
                        <a:pt x="9" y="1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21" name="Freeform 924">
                  <a:extLst>
                    <a:ext uri="{FF2B5EF4-FFF2-40B4-BE49-F238E27FC236}">
                      <a16:creationId xmlns:a16="http://schemas.microsoft.com/office/drawing/2014/main" id="{D9B56307-C8CA-4D93-96A5-B5809C17B0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81" y="3508"/>
                  <a:ext cx="22" cy="10"/>
                </a:xfrm>
                <a:custGeom>
                  <a:avLst/>
                  <a:gdLst>
                    <a:gd name="T0" fmla="*/ 19 w 22"/>
                    <a:gd name="T1" fmla="*/ 6 h 10"/>
                    <a:gd name="T2" fmla="*/ 17 w 22"/>
                    <a:gd name="T3" fmla="*/ 6 h 10"/>
                    <a:gd name="T4" fmla="*/ 18 w 22"/>
                    <a:gd name="T5" fmla="*/ 4 h 10"/>
                    <a:gd name="T6" fmla="*/ 16 w 22"/>
                    <a:gd name="T7" fmla="*/ 4 h 10"/>
                    <a:gd name="T8" fmla="*/ 15 w 22"/>
                    <a:gd name="T9" fmla="*/ 3 h 10"/>
                    <a:gd name="T10" fmla="*/ 15 w 22"/>
                    <a:gd name="T11" fmla="*/ 0 h 10"/>
                    <a:gd name="T12" fmla="*/ 14 w 22"/>
                    <a:gd name="T13" fmla="*/ 0 h 10"/>
                    <a:gd name="T14" fmla="*/ 11 w 22"/>
                    <a:gd name="T15" fmla="*/ 0 h 10"/>
                    <a:gd name="T16" fmla="*/ 4 w 22"/>
                    <a:gd name="T17" fmla="*/ 3 h 10"/>
                    <a:gd name="T18" fmla="*/ 0 w 22"/>
                    <a:gd name="T19" fmla="*/ 5 h 10"/>
                    <a:gd name="T20" fmla="*/ 0 w 22"/>
                    <a:gd name="T21" fmla="*/ 7 h 10"/>
                    <a:gd name="T22" fmla="*/ 2 w 22"/>
                    <a:gd name="T23" fmla="*/ 8 h 10"/>
                    <a:gd name="T24" fmla="*/ 5 w 22"/>
                    <a:gd name="T25" fmla="*/ 9 h 10"/>
                    <a:gd name="T26" fmla="*/ 6 w 22"/>
                    <a:gd name="T27" fmla="*/ 8 h 10"/>
                    <a:gd name="T28" fmla="*/ 8 w 22"/>
                    <a:gd name="T29" fmla="*/ 9 h 10"/>
                    <a:gd name="T30" fmla="*/ 11 w 22"/>
                    <a:gd name="T31" fmla="*/ 8 h 10"/>
                    <a:gd name="T32" fmla="*/ 11 w 22"/>
                    <a:gd name="T33" fmla="*/ 10 h 10"/>
                    <a:gd name="T34" fmla="*/ 13 w 22"/>
                    <a:gd name="T35" fmla="*/ 10 h 10"/>
                    <a:gd name="T36" fmla="*/ 13 w 22"/>
                    <a:gd name="T37" fmla="*/ 9 h 10"/>
                    <a:gd name="T38" fmla="*/ 14 w 22"/>
                    <a:gd name="T39" fmla="*/ 9 h 10"/>
                    <a:gd name="T40" fmla="*/ 15 w 22"/>
                    <a:gd name="T41" fmla="*/ 7 h 10"/>
                    <a:gd name="T42" fmla="*/ 21 w 22"/>
                    <a:gd name="T43" fmla="*/ 8 h 10"/>
                    <a:gd name="T44" fmla="*/ 22 w 22"/>
                    <a:gd name="T45" fmla="*/ 6 h 10"/>
                    <a:gd name="T46" fmla="*/ 21 w 22"/>
                    <a:gd name="T47" fmla="*/ 5 h 10"/>
                    <a:gd name="T48" fmla="*/ 19 w 22"/>
                    <a:gd name="T49" fmla="*/ 6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2" h="10">
                      <a:moveTo>
                        <a:pt x="19" y="6"/>
                      </a:moveTo>
                      <a:lnTo>
                        <a:pt x="17" y="6"/>
                      </a:lnTo>
                      <a:lnTo>
                        <a:pt x="18" y="4"/>
                      </a:lnTo>
                      <a:lnTo>
                        <a:pt x="16" y="4"/>
                      </a:lnTo>
                      <a:lnTo>
                        <a:pt x="15" y="3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4" y="3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2" y="8"/>
                      </a:lnTo>
                      <a:lnTo>
                        <a:pt x="5" y="9"/>
                      </a:lnTo>
                      <a:lnTo>
                        <a:pt x="6" y="8"/>
                      </a:lnTo>
                      <a:lnTo>
                        <a:pt x="8" y="9"/>
                      </a:lnTo>
                      <a:lnTo>
                        <a:pt x="11" y="8"/>
                      </a:lnTo>
                      <a:lnTo>
                        <a:pt x="11" y="10"/>
                      </a:lnTo>
                      <a:lnTo>
                        <a:pt x="13" y="10"/>
                      </a:lnTo>
                      <a:lnTo>
                        <a:pt x="13" y="9"/>
                      </a:lnTo>
                      <a:lnTo>
                        <a:pt x="14" y="9"/>
                      </a:lnTo>
                      <a:lnTo>
                        <a:pt x="15" y="7"/>
                      </a:lnTo>
                      <a:lnTo>
                        <a:pt x="21" y="8"/>
                      </a:lnTo>
                      <a:lnTo>
                        <a:pt x="22" y="6"/>
                      </a:lnTo>
                      <a:lnTo>
                        <a:pt x="21" y="5"/>
                      </a:lnTo>
                      <a:lnTo>
                        <a:pt x="19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22" name="Freeform 925">
                  <a:extLst>
                    <a:ext uri="{FF2B5EF4-FFF2-40B4-BE49-F238E27FC236}">
                      <a16:creationId xmlns:a16="http://schemas.microsoft.com/office/drawing/2014/main" id="{82BA64B4-CF6B-490F-95FC-1B3F6A02A3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4" y="3267"/>
                  <a:ext cx="1" cy="7"/>
                </a:xfrm>
                <a:custGeom>
                  <a:avLst/>
                  <a:gdLst>
                    <a:gd name="T0" fmla="*/ 2 w 2"/>
                    <a:gd name="T1" fmla="*/ 6 h 9"/>
                    <a:gd name="T2" fmla="*/ 1 w 2"/>
                    <a:gd name="T3" fmla="*/ 0 h 9"/>
                    <a:gd name="T4" fmla="*/ 0 w 2"/>
                    <a:gd name="T5" fmla="*/ 9 h 9"/>
                    <a:gd name="T6" fmla="*/ 2 w 2"/>
                    <a:gd name="T7" fmla="*/ 6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9">
                      <a:moveTo>
                        <a:pt x="2" y="6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9"/>
                        <a:pt x="2" y="6"/>
                        <a:pt x="2" y="6"/>
                      </a:cubicBez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23" name="Freeform 926">
                  <a:extLst>
                    <a:ext uri="{FF2B5EF4-FFF2-40B4-BE49-F238E27FC236}">
                      <a16:creationId xmlns:a16="http://schemas.microsoft.com/office/drawing/2014/main" id="{7A695DDC-E8C9-4E7F-9057-8DDC88F8C2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63" y="3081"/>
                  <a:ext cx="3" cy="4"/>
                </a:xfrm>
                <a:custGeom>
                  <a:avLst/>
                  <a:gdLst>
                    <a:gd name="T0" fmla="*/ 0 w 4"/>
                    <a:gd name="T1" fmla="*/ 3 h 5"/>
                    <a:gd name="T2" fmla="*/ 1 w 4"/>
                    <a:gd name="T3" fmla="*/ 5 h 5"/>
                    <a:gd name="T4" fmla="*/ 4 w 4"/>
                    <a:gd name="T5" fmla="*/ 4 h 5"/>
                    <a:gd name="T6" fmla="*/ 2 w 4"/>
                    <a:gd name="T7" fmla="*/ 0 h 5"/>
                    <a:gd name="T8" fmla="*/ 0 w 4"/>
                    <a:gd name="T9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5">
                      <a:moveTo>
                        <a:pt x="0" y="3"/>
                      </a:move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0" y="3"/>
                        <a:pt x="0" y="3"/>
                      </a:cubicBez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24" name="Freeform 927">
                  <a:extLst>
                    <a:ext uri="{FF2B5EF4-FFF2-40B4-BE49-F238E27FC236}">
                      <a16:creationId xmlns:a16="http://schemas.microsoft.com/office/drawing/2014/main" id="{1C6C4293-B0C0-4D4C-B659-F80D1C8478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62" y="3089"/>
                  <a:ext cx="2" cy="6"/>
                </a:xfrm>
                <a:custGeom>
                  <a:avLst/>
                  <a:gdLst>
                    <a:gd name="T0" fmla="*/ 2 w 2"/>
                    <a:gd name="T1" fmla="*/ 6 h 6"/>
                    <a:gd name="T2" fmla="*/ 2 w 2"/>
                    <a:gd name="T3" fmla="*/ 2 h 6"/>
                    <a:gd name="T4" fmla="*/ 0 w 2"/>
                    <a:gd name="T5" fmla="*/ 0 h 6"/>
                    <a:gd name="T6" fmla="*/ 0 w 2"/>
                    <a:gd name="T7" fmla="*/ 5 h 6"/>
                    <a:gd name="T8" fmla="*/ 2 w 2"/>
                    <a:gd name="T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25" name="Freeform 928">
                  <a:extLst>
                    <a:ext uri="{FF2B5EF4-FFF2-40B4-BE49-F238E27FC236}">
                      <a16:creationId xmlns:a16="http://schemas.microsoft.com/office/drawing/2014/main" id="{7DE7C9B9-DA72-4C01-B5BF-2632E3CFEA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50" y="3010"/>
                  <a:ext cx="7" cy="8"/>
                </a:xfrm>
                <a:custGeom>
                  <a:avLst/>
                  <a:gdLst>
                    <a:gd name="T0" fmla="*/ 4 w 7"/>
                    <a:gd name="T1" fmla="*/ 8 h 8"/>
                    <a:gd name="T2" fmla="*/ 7 w 7"/>
                    <a:gd name="T3" fmla="*/ 8 h 8"/>
                    <a:gd name="T4" fmla="*/ 7 w 7"/>
                    <a:gd name="T5" fmla="*/ 7 h 8"/>
                    <a:gd name="T6" fmla="*/ 4 w 7"/>
                    <a:gd name="T7" fmla="*/ 6 h 8"/>
                    <a:gd name="T8" fmla="*/ 4 w 7"/>
                    <a:gd name="T9" fmla="*/ 0 h 8"/>
                    <a:gd name="T10" fmla="*/ 1 w 7"/>
                    <a:gd name="T11" fmla="*/ 1 h 8"/>
                    <a:gd name="T12" fmla="*/ 1 w 7"/>
                    <a:gd name="T13" fmla="*/ 2 h 8"/>
                    <a:gd name="T14" fmla="*/ 1 w 7"/>
                    <a:gd name="T15" fmla="*/ 4 h 8"/>
                    <a:gd name="T16" fmla="*/ 2 w 7"/>
                    <a:gd name="T17" fmla="*/ 4 h 8"/>
                    <a:gd name="T18" fmla="*/ 2 w 7"/>
                    <a:gd name="T19" fmla="*/ 5 h 8"/>
                    <a:gd name="T20" fmla="*/ 0 w 7"/>
                    <a:gd name="T21" fmla="*/ 5 h 8"/>
                    <a:gd name="T22" fmla="*/ 0 w 7"/>
                    <a:gd name="T23" fmla="*/ 5 h 8"/>
                    <a:gd name="T24" fmla="*/ 0 w 7"/>
                    <a:gd name="T25" fmla="*/ 7 h 8"/>
                    <a:gd name="T26" fmla="*/ 3 w 7"/>
                    <a:gd name="T27" fmla="*/ 8 h 8"/>
                    <a:gd name="T28" fmla="*/ 4 w 7"/>
                    <a:gd name="T2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" h="8">
                      <a:moveTo>
                        <a:pt x="4" y="8"/>
                      </a:moveTo>
                      <a:lnTo>
                        <a:pt x="7" y="8"/>
                      </a:lnTo>
                      <a:lnTo>
                        <a:pt x="7" y="7"/>
                      </a:lnTo>
                      <a:lnTo>
                        <a:pt x="4" y="6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3" y="8"/>
                      </a:lnTo>
                      <a:lnTo>
                        <a:pt x="4" y="8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26" name="Freeform 929">
                  <a:extLst>
                    <a:ext uri="{FF2B5EF4-FFF2-40B4-BE49-F238E27FC236}">
                      <a16:creationId xmlns:a16="http://schemas.microsoft.com/office/drawing/2014/main" id="{54C628CD-8736-4720-AF15-D08134BCDF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09" y="3594"/>
                  <a:ext cx="2" cy="2"/>
                </a:xfrm>
                <a:custGeom>
                  <a:avLst/>
                  <a:gdLst>
                    <a:gd name="T0" fmla="*/ 1 w 2"/>
                    <a:gd name="T1" fmla="*/ 2 h 2"/>
                    <a:gd name="T2" fmla="*/ 2 w 2"/>
                    <a:gd name="T3" fmla="*/ 2 h 2"/>
                    <a:gd name="T4" fmla="*/ 2 w 2"/>
                    <a:gd name="T5" fmla="*/ 0 h 2"/>
                    <a:gd name="T6" fmla="*/ 0 w 2"/>
                    <a:gd name="T7" fmla="*/ 0 h 2"/>
                    <a:gd name="T8" fmla="*/ 1 w 2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27" name="Freeform 930">
                  <a:extLst>
                    <a:ext uri="{FF2B5EF4-FFF2-40B4-BE49-F238E27FC236}">
                      <a16:creationId xmlns:a16="http://schemas.microsoft.com/office/drawing/2014/main" id="{165AC941-81D7-4F4A-B72D-A2BD38F376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27" y="3822"/>
                  <a:ext cx="3" cy="4"/>
                </a:xfrm>
                <a:custGeom>
                  <a:avLst/>
                  <a:gdLst>
                    <a:gd name="T0" fmla="*/ 1 w 3"/>
                    <a:gd name="T1" fmla="*/ 4 h 4"/>
                    <a:gd name="T2" fmla="*/ 3 w 3"/>
                    <a:gd name="T3" fmla="*/ 3 h 4"/>
                    <a:gd name="T4" fmla="*/ 3 w 3"/>
                    <a:gd name="T5" fmla="*/ 1 h 4"/>
                    <a:gd name="T6" fmla="*/ 1 w 3"/>
                    <a:gd name="T7" fmla="*/ 0 h 4"/>
                    <a:gd name="T8" fmla="*/ 0 w 3"/>
                    <a:gd name="T9" fmla="*/ 2 h 4"/>
                    <a:gd name="T10" fmla="*/ 1 w 3"/>
                    <a:gd name="T11" fmla="*/ 2 h 4"/>
                    <a:gd name="T12" fmla="*/ 1 w 3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4">
                      <a:moveTo>
                        <a:pt x="1" y="4"/>
                      </a:moveTo>
                      <a:lnTo>
                        <a:pt x="3" y="3"/>
                      </a:lnTo>
                      <a:lnTo>
                        <a:pt x="3" y="1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28" name="Freeform 931">
                  <a:extLst>
                    <a:ext uri="{FF2B5EF4-FFF2-40B4-BE49-F238E27FC236}">
                      <a16:creationId xmlns:a16="http://schemas.microsoft.com/office/drawing/2014/main" id="{6BF0D6B7-1F60-4209-9854-592A329088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25" y="3691"/>
                  <a:ext cx="143" cy="168"/>
                </a:xfrm>
                <a:custGeom>
                  <a:avLst/>
                  <a:gdLst>
                    <a:gd name="T0" fmla="*/ 141 w 143"/>
                    <a:gd name="T1" fmla="*/ 12 h 168"/>
                    <a:gd name="T2" fmla="*/ 138 w 143"/>
                    <a:gd name="T3" fmla="*/ 20 h 168"/>
                    <a:gd name="T4" fmla="*/ 134 w 143"/>
                    <a:gd name="T5" fmla="*/ 15 h 168"/>
                    <a:gd name="T6" fmla="*/ 127 w 143"/>
                    <a:gd name="T7" fmla="*/ 14 h 168"/>
                    <a:gd name="T8" fmla="*/ 129 w 143"/>
                    <a:gd name="T9" fmla="*/ 9 h 168"/>
                    <a:gd name="T10" fmla="*/ 126 w 143"/>
                    <a:gd name="T11" fmla="*/ 7 h 168"/>
                    <a:gd name="T12" fmla="*/ 124 w 143"/>
                    <a:gd name="T13" fmla="*/ 0 h 168"/>
                    <a:gd name="T14" fmla="*/ 116 w 143"/>
                    <a:gd name="T15" fmla="*/ 10 h 168"/>
                    <a:gd name="T16" fmla="*/ 107 w 143"/>
                    <a:gd name="T17" fmla="*/ 28 h 168"/>
                    <a:gd name="T18" fmla="*/ 98 w 143"/>
                    <a:gd name="T19" fmla="*/ 33 h 168"/>
                    <a:gd name="T20" fmla="*/ 93 w 143"/>
                    <a:gd name="T21" fmla="*/ 43 h 168"/>
                    <a:gd name="T22" fmla="*/ 86 w 143"/>
                    <a:gd name="T23" fmla="*/ 59 h 168"/>
                    <a:gd name="T24" fmla="*/ 74 w 143"/>
                    <a:gd name="T25" fmla="*/ 69 h 168"/>
                    <a:gd name="T26" fmla="*/ 59 w 143"/>
                    <a:gd name="T27" fmla="*/ 78 h 168"/>
                    <a:gd name="T28" fmla="*/ 55 w 143"/>
                    <a:gd name="T29" fmla="*/ 90 h 168"/>
                    <a:gd name="T30" fmla="*/ 47 w 143"/>
                    <a:gd name="T31" fmla="*/ 88 h 168"/>
                    <a:gd name="T32" fmla="*/ 37 w 143"/>
                    <a:gd name="T33" fmla="*/ 94 h 168"/>
                    <a:gd name="T34" fmla="*/ 29 w 143"/>
                    <a:gd name="T35" fmla="*/ 106 h 168"/>
                    <a:gd name="T36" fmla="*/ 23 w 143"/>
                    <a:gd name="T37" fmla="*/ 106 h 168"/>
                    <a:gd name="T38" fmla="*/ 17 w 143"/>
                    <a:gd name="T39" fmla="*/ 116 h 168"/>
                    <a:gd name="T40" fmla="*/ 13 w 143"/>
                    <a:gd name="T41" fmla="*/ 126 h 168"/>
                    <a:gd name="T42" fmla="*/ 9 w 143"/>
                    <a:gd name="T43" fmla="*/ 125 h 168"/>
                    <a:gd name="T44" fmla="*/ 10 w 143"/>
                    <a:gd name="T45" fmla="*/ 136 h 168"/>
                    <a:gd name="T46" fmla="*/ 0 w 143"/>
                    <a:gd name="T47" fmla="*/ 141 h 168"/>
                    <a:gd name="T48" fmla="*/ 1 w 143"/>
                    <a:gd name="T49" fmla="*/ 147 h 168"/>
                    <a:gd name="T50" fmla="*/ 9 w 143"/>
                    <a:gd name="T51" fmla="*/ 152 h 168"/>
                    <a:gd name="T52" fmla="*/ 13 w 143"/>
                    <a:gd name="T53" fmla="*/ 151 h 168"/>
                    <a:gd name="T54" fmla="*/ 17 w 143"/>
                    <a:gd name="T55" fmla="*/ 156 h 168"/>
                    <a:gd name="T56" fmla="*/ 23 w 143"/>
                    <a:gd name="T57" fmla="*/ 165 h 168"/>
                    <a:gd name="T58" fmla="*/ 26 w 143"/>
                    <a:gd name="T59" fmla="*/ 167 h 168"/>
                    <a:gd name="T60" fmla="*/ 41 w 143"/>
                    <a:gd name="T61" fmla="*/ 161 h 168"/>
                    <a:gd name="T62" fmla="*/ 44 w 143"/>
                    <a:gd name="T63" fmla="*/ 156 h 168"/>
                    <a:gd name="T64" fmla="*/ 50 w 143"/>
                    <a:gd name="T65" fmla="*/ 150 h 168"/>
                    <a:gd name="T66" fmla="*/ 58 w 143"/>
                    <a:gd name="T67" fmla="*/ 146 h 168"/>
                    <a:gd name="T68" fmla="*/ 58 w 143"/>
                    <a:gd name="T69" fmla="*/ 144 h 168"/>
                    <a:gd name="T70" fmla="*/ 66 w 143"/>
                    <a:gd name="T71" fmla="*/ 127 h 168"/>
                    <a:gd name="T72" fmla="*/ 77 w 143"/>
                    <a:gd name="T73" fmla="*/ 110 h 168"/>
                    <a:gd name="T74" fmla="*/ 83 w 143"/>
                    <a:gd name="T75" fmla="*/ 100 h 168"/>
                    <a:gd name="T76" fmla="*/ 88 w 143"/>
                    <a:gd name="T77" fmla="*/ 96 h 168"/>
                    <a:gd name="T78" fmla="*/ 93 w 143"/>
                    <a:gd name="T79" fmla="*/ 90 h 168"/>
                    <a:gd name="T80" fmla="*/ 96 w 143"/>
                    <a:gd name="T81" fmla="*/ 93 h 168"/>
                    <a:gd name="T82" fmla="*/ 101 w 143"/>
                    <a:gd name="T83" fmla="*/ 90 h 168"/>
                    <a:gd name="T84" fmla="*/ 104 w 143"/>
                    <a:gd name="T85" fmla="*/ 93 h 168"/>
                    <a:gd name="T86" fmla="*/ 107 w 143"/>
                    <a:gd name="T87" fmla="*/ 89 h 168"/>
                    <a:gd name="T88" fmla="*/ 109 w 143"/>
                    <a:gd name="T89" fmla="*/ 87 h 168"/>
                    <a:gd name="T90" fmla="*/ 106 w 143"/>
                    <a:gd name="T91" fmla="*/ 79 h 168"/>
                    <a:gd name="T92" fmla="*/ 117 w 143"/>
                    <a:gd name="T93" fmla="*/ 68 h 168"/>
                    <a:gd name="T94" fmla="*/ 124 w 143"/>
                    <a:gd name="T95" fmla="*/ 55 h 168"/>
                    <a:gd name="T96" fmla="*/ 131 w 143"/>
                    <a:gd name="T97" fmla="*/ 45 h 168"/>
                    <a:gd name="T98" fmla="*/ 140 w 143"/>
                    <a:gd name="T99" fmla="*/ 32 h 168"/>
                    <a:gd name="T100" fmla="*/ 140 w 143"/>
                    <a:gd name="T101" fmla="*/ 24 h 168"/>
                    <a:gd name="T102" fmla="*/ 141 w 143"/>
                    <a:gd name="T103" fmla="*/ 18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43" h="168">
                      <a:moveTo>
                        <a:pt x="143" y="14"/>
                      </a:moveTo>
                      <a:lnTo>
                        <a:pt x="143" y="14"/>
                      </a:lnTo>
                      <a:lnTo>
                        <a:pt x="142" y="13"/>
                      </a:lnTo>
                      <a:lnTo>
                        <a:pt x="141" y="12"/>
                      </a:lnTo>
                      <a:lnTo>
                        <a:pt x="138" y="16"/>
                      </a:lnTo>
                      <a:lnTo>
                        <a:pt x="139" y="17"/>
                      </a:lnTo>
                      <a:lnTo>
                        <a:pt x="141" y="17"/>
                      </a:lnTo>
                      <a:lnTo>
                        <a:pt x="138" y="20"/>
                      </a:lnTo>
                      <a:lnTo>
                        <a:pt x="137" y="17"/>
                      </a:lnTo>
                      <a:lnTo>
                        <a:pt x="137" y="16"/>
                      </a:lnTo>
                      <a:lnTo>
                        <a:pt x="136" y="16"/>
                      </a:lnTo>
                      <a:lnTo>
                        <a:pt x="134" y="15"/>
                      </a:lnTo>
                      <a:lnTo>
                        <a:pt x="132" y="17"/>
                      </a:lnTo>
                      <a:lnTo>
                        <a:pt x="131" y="20"/>
                      </a:lnTo>
                      <a:lnTo>
                        <a:pt x="128" y="19"/>
                      </a:lnTo>
                      <a:lnTo>
                        <a:pt x="127" y="14"/>
                      </a:lnTo>
                      <a:lnTo>
                        <a:pt x="128" y="13"/>
                      </a:lnTo>
                      <a:lnTo>
                        <a:pt x="130" y="10"/>
                      </a:lnTo>
                      <a:lnTo>
                        <a:pt x="130" y="9"/>
                      </a:lnTo>
                      <a:lnTo>
                        <a:pt x="129" y="9"/>
                      </a:lnTo>
                      <a:lnTo>
                        <a:pt x="130" y="7"/>
                      </a:lnTo>
                      <a:lnTo>
                        <a:pt x="129" y="7"/>
                      </a:lnTo>
                      <a:lnTo>
                        <a:pt x="127" y="7"/>
                      </a:lnTo>
                      <a:lnTo>
                        <a:pt x="126" y="7"/>
                      </a:lnTo>
                      <a:lnTo>
                        <a:pt x="125" y="5"/>
                      </a:lnTo>
                      <a:lnTo>
                        <a:pt x="125" y="3"/>
                      </a:lnTo>
                      <a:lnTo>
                        <a:pt x="127" y="0"/>
                      </a:lnTo>
                      <a:lnTo>
                        <a:pt x="124" y="0"/>
                      </a:lnTo>
                      <a:lnTo>
                        <a:pt x="121" y="3"/>
                      </a:lnTo>
                      <a:lnTo>
                        <a:pt x="119" y="3"/>
                      </a:lnTo>
                      <a:lnTo>
                        <a:pt x="117" y="7"/>
                      </a:lnTo>
                      <a:lnTo>
                        <a:pt x="116" y="10"/>
                      </a:lnTo>
                      <a:lnTo>
                        <a:pt x="113" y="18"/>
                      </a:lnTo>
                      <a:lnTo>
                        <a:pt x="111" y="22"/>
                      </a:lnTo>
                      <a:lnTo>
                        <a:pt x="110" y="23"/>
                      </a:lnTo>
                      <a:lnTo>
                        <a:pt x="107" y="28"/>
                      </a:lnTo>
                      <a:lnTo>
                        <a:pt x="106" y="30"/>
                      </a:lnTo>
                      <a:lnTo>
                        <a:pt x="103" y="31"/>
                      </a:lnTo>
                      <a:lnTo>
                        <a:pt x="100" y="31"/>
                      </a:lnTo>
                      <a:lnTo>
                        <a:pt x="98" y="33"/>
                      </a:lnTo>
                      <a:lnTo>
                        <a:pt x="97" y="36"/>
                      </a:lnTo>
                      <a:lnTo>
                        <a:pt x="97" y="39"/>
                      </a:lnTo>
                      <a:lnTo>
                        <a:pt x="96" y="40"/>
                      </a:lnTo>
                      <a:lnTo>
                        <a:pt x="93" y="43"/>
                      </a:lnTo>
                      <a:lnTo>
                        <a:pt x="93" y="47"/>
                      </a:lnTo>
                      <a:lnTo>
                        <a:pt x="92" y="49"/>
                      </a:lnTo>
                      <a:lnTo>
                        <a:pt x="92" y="52"/>
                      </a:lnTo>
                      <a:lnTo>
                        <a:pt x="86" y="59"/>
                      </a:lnTo>
                      <a:lnTo>
                        <a:pt x="81" y="64"/>
                      </a:lnTo>
                      <a:lnTo>
                        <a:pt x="78" y="64"/>
                      </a:lnTo>
                      <a:lnTo>
                        <a:pt x="75" y="66"/>
                      </a:lnTo>
                      <a:lnTo>
                        <a:pt x="74" y="69"/>
                      </a:lnTo>
                      <a:lnTo>
                        <a:pt x="72" y="69"/>
                      </a:lnTo>
                      <a:lnTo>
                        <a:pt x="66" y="72"/>
                      </a:lnTo>
                      <a:lnTo>
                        <a:pt x="62" y="77"/>
                      </a:lnTo>
                      <a:lnTo>
                        <a:pt x="59" y="78"/>
                      </a:lnTo>
                      <a:lnTo>
                        <a:pt x="54" y="82"/>
                      </a:lnTo>
                      <a:lnTo>
                        <a:pt x="54" y="83"/>
                      </a:lnTo>
                      <a:lnTo>
                        <a:pt x="55" y="86"/>
                      </a:lnTo>
                      <a:lnTo>
                        <a:pt x="55" y="90"/>
                      </a:lnTo>
                      <a:lnTo>
                        <a:pt x="52" y="87"/>
                      </a:lnTo>
                      <a:lnTo>
                        <a:pt x="51" y="86"/>
                      </a:lnTo>
                      <a:lnTo>
                        <a:pt x="49" y="87"/>
                      </a:lnTo>
                      <a:lnTo>
                        <a:pt x="47" y="88"/>
                      </a:lnTo>
                      <a:lnTo>
                        <a:pt x="45" y="86"/>
                      </a:lnTo>
                      <a:lnTo>
                        <a:pt x="44" y="87"/>
                      </a:lnTo>
                      <a:lnTo>
                        <a:pt x="39" y="92"/>
                      </a:lnTo>
                      <a:lnTo>
                        <a:pt x="37" y="94"/>
                      </a:lnTo>
                      <a:lnTo>
                        <a:pt x="34" y="97"/>
                      </a:lnTo>
                      <a:lnTo>
                        <a:pt x="31" y="98"/>
                      </a:lnTo>
                      <a:lnTo>
                        <a:pt x="29" y="102"/>
                      </a:lnTo>
                      <a:lnTo>
                        <a:pt x="29" y="106"/>
                      </a:lnTo>
                      <a:lnTo>
                        <a:pt x="28" y="104"/>
                      </a:lnTo>
                      <a:lnTo>
                        <a:pt x="27" y="103"/>
                      </a:lnTo>
                      <a:lnTo>
                        <a:pt x="25" y="104"/>
                      </a:lnTo>
                      <a:lnTo>
                        <a:pt x="23" y="106"/>
                      </a:lnTo>
                      <a:lnTo>
                        <a:pt x="23" y="110"/>
                      </a:lnTo>
                      <a:lnTo>
                        <a:pt x="22" y="111"/>
                      </a:lnTo>
                      <a:lnTo>
                        <a:pt x="21" y="110"/>
                      </a:lnTo>
                      <a:lnTo>
                        <a:pt x="17" y="116"/>
                      </a:lnTo>
                      <a:lnTo>
                        <a:pt x="16" y="116"/>
                      </a:lnTo>
                      <a:lnTo>
                        <a:pt x="14" y="118"/>
                      </a:lnTo>
                      <a:lnTo>
                        <a:pt x="14" y="124"/>
                      </a:lnTo>
                      <a:lnTo>
                        <a:pt x="13" y="126"/>
                      </a:lnTo>
                      <a:lnTo>
                        <a:pt x="12" y="123"/>
                      </a:lnTo>
                      <a:lnTo>
                        <a:pt x="11" y="122"/>
                      </a:lnTo>
                      <a:lnTo>
                        <a:pt x="10" y="124"/>
                      </a:lnTo>
                      <a:lnTo>
                        <a:pt x="9" y="125"/>
                      </a:lnTo>
                      <a:lnTo>
                        <a:pt x="6" y="130"/>
                      </a:lnTo>
                      <a:lnTo>
                        <a:pt x="6" y="132"/>
                      </a:lnTo>
                      <a:lnTo>
                        <a:pt x="9" y="135"/>
                      </a:lnTo>
                      <a:lnTo>
                        <a:pt x="10" y="136"/>
                      </a:lnTo>
                      <a:lnTo>
                        <a:pt x="9" y="137"/>
                      </a:lnTo>
                      <a:lnTo>
                        <a:pt x="6" y="137"/>
                      </a:lnTo>
                      <a:lnTo>
                        <a:pt x="3" y="138"/>
                      </a:lnTo>
                      <a:lnTo>
                        <a:pt x="0" y="141"/>
                      </a:lnTo>
                      <a:lnTo>
                        <a:pt x="2" y="142"/>
                      </a:lnTo>
                      <a:lnTo>
                        <a:pt x="3" y="142"/>
                      </a:lnTo>
                      <a:lnTo>
                        <a:pt x="2" y="144"/>
                      </a:lnTo>
                      <a:lnTo>
                        <a:pt x="1" y="147"/>
                      </a:lnTo>
                      <a:lnTo>
                        <a:pt x="3" y="149"/>
                      </a:lnTo>
                      <a:lnTo>
                        <a:pt x="5" y="150"/>
                      </a:lnTo>
                      <a:lnTo>
                        <a:pt x="8" y="151"/>
                      </a:lnTo>
                      <a:lnTo>
                        <a:pt x="9" y="152"/>
                      </a:lnTo>
                      <a:lnTo>
                        <a:pt x="10" y="152"/>
                      </a:lnTo>
                      <a:lnTo>
                        <a:pt x="10" y="149"/>
                      </a:lnTo>
                      <a:lnTo>
                        <a:pt x="11" y="149"/>
                      </a:lnTo>
                      <a:lnTo>
                        <a:pt x="13" y="151"/>
                      </a:lnTo>
                      <a:lnTo>
                        <a:pt x="14" y="153"/>
                      </a:lnTo>
                      <a:lnTo>
                        <a:pt x="13" y="155"/>
                      </a:lnTo>
                      <a:lnTo>
                        <a:pt x="15" y="156"/>
                      </a:lnTo>
                      <a:lnTo>
                        <a:pt x="17" y="156"/>
                      </a:lnTo>
                      <a:lnTo>
                        <a:pt x="18" y="157"/>
                      </a:lnTo>
                      <a:lnTo>
                        <a:pt x="19" y="161"/>
                      </a:lnTo>
                      <a:lnTo>
                        <a:pt x="21" y="163"/>
                      </a:lnTo>
                      <a:lnTo>
                        <a:pt x="23" y="165"/>
                      </a:lnTo>
                      <a:lnTo>
                        <a:pt x="20" y="167"/>
                      </a:lnTo>
                      <a:lnTo>
                        <a:pt x="22" y="167"/>
                      </a:lnTo>
                      <a:lnTo>
                        <a:pt x="26" y="166"/>
                      </a:lnTo>
                      <a:lnTo>
                        <a:pt x="26" y="167"/>
                      </a:lnTo>
                      <a:lnTo>
                        <a:pt x="28" y="168"/>
                      </a:lnTo>
                      <a:lnTo>
                        <a:pt x="31" y="167"/>
                      </a:lnTo>
                      <a:lnTo>
                        <a:pt x="37" y="165"/>
                      </a:lnTo>
                      <a:lnTo>
                        <a:pt x="41" y="161"/>
                      </a:lnTo>
                      <a:lnTo>
                        <a:pt x="43" y="159"/>
                      </a:lnTo>
                      <a:lnTo>
                        <a:pt x="43" y="158"/>
                      </a:lnTo>
                      <a:lnTo>
                        <a:pt x="43" y="155"/>
                      </a:lnTo>
                      <a:lnTo>
                        <a:pt x="44" y="156"/>
                      </a:lnTo>
                      <a:lnTo>
                        <a:pt x="44" y="159"/>
                      </a:lnTo>
                      <a:lnTo>
                        <a:pt x="47" y="157"/>
                      </a:lnTo>
                      <a:lnTo>
                        <a:pt x="48" y="153"/>
                      </a:lnTo>
                      <a:lnTo>
                        <a:pt x="50" y="150"/>
                      </a:lnTo>
                      <a:lnTo>
                        <a:pt x="54" y="148"/>
                      </a:lnTo>
                      <a:lnTo>
                        <a:pt x="58" y="148"/>
                      </a:lnTo>
                      <a:lnTo>
                        <a:pt x="59" y="147"/>
                      </a:lnTo>
                      <a:lnTo>
                        <a:pt x="58" y="146"/>
                      </a:lnTo>
                      <a:lnTo>
                        <a:pt x="56" y="146"/>
                      </a:lnTo>
                      <a:lnTo>
                        <a:pt x="58" y="145"/>
                      </a:lnTo>
                      <a:lnTo>
                        <a:pt x="58" y="145"/>
                      </a:lnTo>
                      <a:lnTo>
                        <a:pt x="58" y="144"/>
                      </a:lnTo>
                      <a:lnTo>
                        <a:pt x="61" y="140"/>
                      </a:lnTo>
                      <a:lnTo>
                        <a:pt x="63" y="135"/>
                      </a:lnTo>
                      <a:lnTo>
                        <a:pt x="64" y="130"/>
                      </a:lnTo>
                      <a:lnTo>
                        <a:pt x="66" y="127"/>
                      </a:lnTo>
                      <a:lnTo>
                        <a:pt x="72" y="121"/>
                      </a:lnTo>
                      <a:lnTo>
                        <a:pt x="73" y="119"/>
                      </a:lnTo>
                      <a:lnTo>
                        <a:pt x="74" y="115"/>
                      </a:lnTo>
                      <a:lnTo>
                        <a:pt x="77" y="110"/>
                      </a:lnTo>
                      <a:lnTo>
                        <a:pt x="78" y="107"/>
                      </a:lnTo>
                      <a:lnTo>
                        <a:pt x="79" y="104"/>
                      </a:lnTo>
                      <a:lnTo>
                        <a:pt x="81" y="100"/>
                      </a:lnTo>
                      <a:lnTo>
                        <a:pt x="83" y="100"/>
                      </a:lnTo>
                      <a:lnTo>
                        <a:pt x="83" y="97"/>
                      </a:lnTo>
                      <a:lnTo>
                        <a:pt x="86" y="98"/>
                      </a:lnTo>
                      <a:lnTo>
                        <a:pt x="87" y="98"/>
                      </a:lnTo>
                      <a:lnTo>
                        <a:pt x="88" y="96"/>
                      </a:lnTo>
                      <a:lnTo>
                        <a:pt x="90" y="96"/>
                      </a:lnTo>
                      <a:lnTo>
                        <a:pt x="92" y="95"/>
                      </a:lnTo>
                      <a:lnTo>
                        <a:pt x="93" y="92"/>
                      </a:lnTo>
                      <a:lnTo>
                        <a:pt x="93" y="90"/>
                      </a:lnTo>
                      <a:lnTo>
                        <a:pt x="92" y="87"/>
                      </a:lnTo>
                      <a:lnTo>
                        <a:pt x="94" y="89"/>
                      </a:lnTo>
                      <a:lnTo>
                        <a:pt x="95" y="92"/>
                      </a:lnTo>
                      <a:lnTo>
                        <a:pt x="96" y="93"/>
                      </a:lnTo>
                      <a:lnTo>
                        <a:pt x="97" y="92"/>
                      </a:lnTo>
                      <a:lnTo>
                        <a:pt x="98" y="90"/>
                      </a:lnTo>
                      <a:lnTo>
                        <a:pt x="100" y="89"/>
                      </a:lnTo>
                      <a:lnTo>
                        <a:pt x="101" y="90"/>
                      </a:lnTo>
                      <a:lnTo>
                        <a:pt x="101" y="91"/>
                      </a:lnTo>
                      <a:lnTo>
                        <a:pt x="99" y="92"/>
                      </a:lnTo>
                      <a:lnTo>
                        <a:pt x="102" y="92"/>
                      </a:lnTo>
                      <a:lnTo>
                        <a:pt x="104" y="93"/>
                      </a:lnTo>
                      <a:lnTo>
                        <a:pt x="105" y="91"/>
                      </a:lnTo>
                      <a:lnTo>
                        <a:pt x="105" y="89"/>
                      </a:lnTo>
                      <a:lnTo>
                        <a:pt x="106" y="88"/>
                      </a:lnTo>
                      <a:lnTo>
                        <a:pt x="107" y="89"/>
                      </a:lnTo>
                      <a:lnTo>
                        <a:pt x="106" y="92"/>
                      </a:lnTo>
                      <a:lnTo>
                        <a:pt x="107" y="93"/>
                      </a:lnTo>
                      <a:lnTo>
                        <a:pt x="108" y="92"/>
                      </a:lnTo>
                      <a:lnTo>
                        <a:pt x="109" y="87"/>
                      </a:lnTo>
                      <a:lnTo>
                        <a:pt x="107" y="85"/>
                      </a:lnTo>
                      <a:lnTo>
                        <a:pt x="106" y="84"/>
                      </a:lnTo>
                      <a:lnTo>
                        <a:pt x="107" y="83"/>
                      </a:lnTo>
                      <a:lnTo>
                        <a:pt x="106" y="79"/>
                      </a:lnTo>
                      <a:lnTo>
                        <a:pt x="107" y="74"/>
                      </a:lnTo>
                      <a:lnTo>
                        <a:pt x="109" y="72"/>
                      </a:lnTo>
                      <a:lnTo>
                        <a:pt x="113" y="71"/>
                      </a:lnTo>
                      <a:lnTo>
                        <a:pt x="117" y="68"/>
                      </a:lnTo>
                      <a:lnTo>
                        <a:pt x="117" y="66"/>
                      </a:lnTo>
                      <a:lnTo>
                        <a:pt x="120" y="62"/>
                      </a:lnTo>
                      <a:lnTo>
                        <a:pt x="121" y="59"/>
                      </a:lnTo>
                      <a:lnTo>
                        <a:pt x="124" y="55"/>
                      </a:lnTo>
                      <a:lnTo>
                        <a:pt x="127" y="55"/>
                      </a:lnTo>
                      <a:lnTo>
                        <a:pt x="126" y="54"/>
                      </a:lnTo>
                      <a:lnTo>
                        <a:pt x="131" y="48"/>
                      </a:lnTo>
                      <a:lnTo>
                        <a:pt x="131" y="45"/>
                      </a:lnTo>
                      <a:lnTo>
                        <a:pt x="139" y="38"/>
                      </a:lnTo>
                      <a:lnTo>
                        <a:pt x="141" y="36"/>
                      </a:lnTo>
                      <a:lnTo>
                        <a:pt x="140" y="35"/>
                      </a:lnTo>
                      <a:lnTo>
                        <a:pt x="140" y="32"/>
                      </a:lnTo>
                      <a:lnTo>
                        <a:pt x="138" y="29"/>
                      </a:lnTo>
                      <a:lnTo>
                        <a:pt x="138" y="26"/>
                      </a:lnTo>
                      <a:lnTo>
                        <a:pt x="139" y="23"/>
                      </a:lnTo>
                      <a:lnTo>
                        <a:pt x="140" y="24"/>
                      </a:lnTo>
                      <a:lnTo>
                        <a:pt x="143" y="19"/>
                      </a:lnTo>
                      <a:lnTo>
                        <a:pt x="141" y="20"/>
                      </a:lnTo>
                      <a:lnTo>
                        <a:pt x="139" y="21"/>
                      </a:lnTo>
                      <a:lnTo>
                        <a:pt x="141" y="18"/>
                      </a:lnTo>
                      <a:lnTo>
                        <a:pt x="143" y="1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29" name="Freeform 932">
                  <a:extLst>
                    <a:ext uri="{FF2B5EF4-FFF2-40B4-BE49-F238E27FC236}">
                      <a16:creationId xmlns:a16="http://schemas.microsoft.com/office/drawing/2014/main" id="{A22EAAF6-3BB6-4E75-96EF-CC082B8796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72" y="3521"/>
                  <a:ext cx="81" cy="201"/>
                </a:xfrm>
                <a:custGeom>
                  <a:avLst/>
                  <a:gdLst>
                    <a:gd name="T0" fmla="*/ 77 w 81"/>
                    <a:gd name="T1" fmla="*/ 96 h 201"/>
                    <a:gd name="T2" fmla="*/ 62 w 81"/>
                    <a:gd name="T3" fmla="*/ 104 h 201"/>
                    <a:gd name="T4" fmla="*/ 50 w 81"/>
                    <a:gd name="T5" fmla="*/ 97 h 201"/>
                    <a:gd name="T6" fmla="*/ 50 w 81"/>
                    <a:gd name="T7" fmla="*/ 85 h 201"/>
                    <a:gd name="T8" fmla="*/ 46 w 81"/>
                    <a:gd name="T9" fmla="*/ 73 h 201"/>
                    <a:gd name="T10" fmla="*/ 45 w 81"/>
                    <a:gd name="T11" fmla="*/ 64 h 201"/>
                    <a:gd name="T12" fmla="*/ 43 w 81"/>
                    <a:gd name="T13" fmla="*/ 66 h 201"/>
                    <a:gd name="T14" fmla="*/ 41 w 81"/>
                    <a:gd name="T15" fmla="*/ 76 h 201"/>
                    <a:gd name="T16" fmla="*/ 39 w 81"/>
                    <a:gd name="T17" fmla="*/ 80 h 201"/>
                    <a:gd name="T18" fmla="*/ 34 w 81"/>
                    <a:gd name="T19" fmla="*/ 73 h 201"/>
                    <a:gd name="T20" fmla="*/ 35 w 81"/>
                    <a:gd name="T21" fmla="*/ 68 h 201"/>
                    <a:gd name="T22" fmla="*/ 37 w 81"/>
                    <a:gd name="T23" fmla="*/ 58 h 201"/>
                    <a:gd name="T24" fmla="*/ 36 w 81"/>
                    <a:gd name="T25" fmla="*/ 47 h 201"/>
                    <a:gd name="T26" fmla="*/ 37 w 81"/>
                    <a:gd name="T27" fmla="*/ 44 h 201"/>
                    <a:gd name="T28" fmla="*/ 38 w 81"/>
                    <a:gd name="T29" fmla="*/ 29 h 201"/>
                    <a:gd name="T30" fmla="*/ 31 w 81"/>
                    <a:gd name="T31" fmla="*/ 26 h 201"/>
                    <a:gd name="T32" fmla="*/ 31 w 81"/>
                    <a:gd name="T33" fmla="*/ 21 h 201"/>
                    <a:gd name="T34" fmla="*/ 29 w 81"/>
                    <a:gd name="T35" fmla="*/ 15 h 201"/>
                    <a:gd name="T36" fmla="*/ 29 w 81"/>
                    <a:gd name="T37" fmla="*/ 11 h 201"/>
                    <a:gd name="T38" fmla="*/ 25 w 81"/>
                    <a:gd name="T39" fmla="*/ 16 h 201"/>
                    <a:gd name="T40" fmla="*/ 22 w 81"/>
                    <a:gd name="T41" fmla="*/ 5 h 201"/>
                    <a:gd name="T42" fmla="*/ 21 w 81"/>
                    <a:gd name="T43" fmla="*/ 0 h 201"/>
                    <a:gd name="T44" fmla="*/ 18 w 81"/>
                    <a:gd name="T45" fmla="*/ 4 h 201"/>
                    <a:gd name="T46" fmla="*/ 19 w 81"/>
                    <a:gd name="T47" fmla="*/ 23 h 201"/>
                    <a:gd name="T48" fmla="*/ 20 w 81"/>
                    <a:gd name="T49" fmla="*/ 32 h 201"/>
                    <a:gd name="T50" fmla="*/ 22 w 81"/>
                    <a:gd name="T51" fmla="*/ 33 h 201"/>
                    <a:gd name="T52" fmla="*/ 25 w 81"/>
                    <a:gd name="T53" fmla="*/ 56 h 201"/>
                    <a:gd name="T54" fmla="*/ 25 w 81"/>
                    <a:gd name="T55" fmla="*/ 53 h 201"/>
                    <a:gd name="T56" fmla="*/ 29 w 81"/>
                    <a:gd name="T57" fmla="*/ 57 h 201"/>
                    <a:gd name="T58" fmla="*/ 30 w 81"/>
                    <a:gd name="T59" fmla="*/ 57 h 201"/>
                    <a:gd name="T60" fmla="*/ 27 w 81"/>
                    <a:gd name="T61" fmla="*/ 65 h 201"/>
                    <a:gd name="T62" fmla="*/ 27 w 81"/>
                    <a:gd name="T63" fmla="*/ 74 h 201"/>
                    <a:gd name="T64" fmla="*/ 31 w 81"/>
                    <a:gd name="T65" fmla="*/ 78 h 201"/>
                    <a:gd name="T66" fmla="*/ 30 w 81"/>
                    <a:gd name="T67" fmla="*/ 84 h 201"/>
                    <a:gd name="T68" fmla="*/ 27 w 81"/>
                    <a:gd name="T69" fmla="*/ 96 h 201"/>
                    <a:gd name="T70" fmla="*/ 25 w 81"/>
                    <a:gd name="T71" fmla="*/ 102 h 201"/>
                    <a:gd name="T72" fmla="*/ 22 w 81"/>
                    <a:gd name="T73" fmla="*/ 107 h 201"/>
                    <a:gd name="T74" fmla="*/ 17 w 81"/>
                    <a:gd name="T75" fmla="*/ 127 h 201"/>
                    <a:gd name="T76" fmla="*/ 5 w 81"/>
                    <a:gd name="T77" fmla="*/ 130 h 201"/>
                    <a:gd name="T78" fmla="*/ 5 w 81"/>
                    <a:gd name="T79" fmla="*/ 145 h 201"/>
                    <a:gd name="T80" fmla="*/ 16 w 81"/>
                    <a:gd name="T81" fmla="*/ 156 h 201"/>
                    <a:gd name="T82" fmla="*/ 16 w 81"/>
                    <a:gd name="T83" fmla="*/ 168 h 201"/>
                    <a:gd name="T84" fmla="*/ 1 w 81"/>
                    <a:gd name="T85" fmla="*/ 189 h 201"/>
                    <a:gd name="T86" fmla="*/ 4 w 81"/>
                    <a:gd name="T87" fmla="*/ 192 h 201"/>
                    <a:gd name="T88" fmla="*/ 5 w 81"/>
                    <a:gd name="T89" fmla="*/ 197 h 201"/>
                    <a:gd name="T90" fmla="*/ 8 w 81"/>
                    <a:gd name="T91" fmla="*/ 201 h 201"/>
                    <a:gd name="T92" fmla="*/ 24 w 81"/>
                    <a:gd name="T93" fmla="*/ 187 h 201"/>
                    <a:gd name="T94" fmla="*/ 37 w 81"/>
                    <a:gd name="T95" fmla="*/ 172 h 201"/>
                    <a:gd name="T96" fmla="*/ 42 w 81"/>
                    <a:gd name="T97" fmla="*/ 164 h 201"/>
                    <a:gd name="T98" fmla="*/ 48 w 81"/>
                    <a:gd name="T99" fmla="*/ 149 h 201"/>
                    <a:gd name="T100" fmla="*/ 43 w 81"/>
                    <a:gd name="T101" fmla="*/ 145 h 201"/>
                    <a:gd name="T102" fmla="*/ 59 w 81"/>
                    <a:gd name="T103" fmla="*/ 136 h 201"/>
                    <a:gd name="T104" fmla="*/ 63 w 81"/>
                    <a:gd name="T105" fmla="*/ 138 h 201"/>
                    <a:gd name="T106" fmla="*/ 64 w 81"/>
                    <a:gd name="T107" fmla="*/ 127 h 201"/>
                    <a:gd name="T108" fmla="*/ 70 w 81"/>
                    <a:gd name="T109" fmla="*/ 125 h 201"/>
                    <a:gd name="T110" fmla="*/ 75 w 81"/>
                    <a:gd name="T111" fmla="*/ 110 h 201"/>
                    <a:gd name="T112" fmla="*/ 81 w 81"/>
                    <a:gd name="T113" fmla="*/ 101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81" h="201">
                      <a:moveTo>
                        <a:pt x="77" y="99"/>
                      </a:moveTo>
                      <a:lnTo>
                        <a:pt x="76" y="97"/>
                      </a:lnTo>
                      <a:lnTo>
                        <a:pt x="77" y="97"/>
                      </a:lnTo>
                      <a:lnTo>
                        <a:pt x="77" y="96"/>
                      </a:lnTo>
                      <a:lnTo>
                        <a:pt x="74" y="95"/>
                      </a:lnTo>
                      <a:lnTo>
                        <a:pt x="70" y="98"/>
                      </a:lnTo>
                      <a:lnTo>
                        <a:pt x="66" y="104"/>
                      </a:lnTo>
                      <a:lnTo>
                        <a:pt x="62" y="104"/>
                      </a:lnTo>
                      <a:lnTo>
                        <a:pt x="60" y="105"/>
                      </a:lnTo>
                      <a:lnTo>
                        <a:pt x="58" y="104"/>
                      </a:lnTo>
                      <a:lnTo>
                        <a:pt x="52" y="97"/>
                      </a:lnTo>
                      <a:lnTo>
                        <a:pt x="50" y="97"/>
                      </a:lnTo>
                      <a:lnTo>
                        <a:pt x="48" y="94"/>
                      </a:lnTo>
                      <a:lnTo>
                        <a:pt x="47" y="91"/>
                      </a:lnTo>
                      <a:lnTo>
                        <a:pt x="49" y="89"/>
                      </a:lnTo>
                      <a:lnTo>
                        <a:pt x="50" y="85"/>
                      </a:lnTo>
                      <a:lnTo>
                        <a:pt x="47" y="80"/>
                      </a:lnTo>
                      <a:lnTo>
                        <a:pt x="47" y="77"/>
                      </a:lnTo>
                      <a:lnTo>
                        <a:pt x="46" y="76"/>
                      </a:lnTo>
                      <a:lnTo>
                        <a:pt x="46" y="73"/>
                      </a:lnTo>
                      <a:lnTo>
                        <a:pt x="47" y="70"/>
                      </a:lnTo>
                      <a:lnTo>
                        <a:pt x="46" y="70"/>
                      </a:lnTo>
                      <a:lnTo>
                        <a:pt x="46" y="66"/>
                      </a:lnTo>
                      <a:lnTo>
                        <a:pt x="45" y="64"/>
                      </a:lnTo>
                      <a:lnTo>
                        <a:pt x="44" y="65"/>
                      </a:lnTo>
                      <a:lnTo>
                        <a:pt x="42" y="63"/>
                      </a:lnTo>
                      <a:lnTo>
                        <a:pt x="41" y="64"/>
                      </a:lnTo>
                      <a:lnTo>
                        <a:pt x="43" y="66"/>
                      </a:lnTo>
                      <a:lnTo>
                        <a:pt x="43" y="70"/>
                      </a:lnTo>
                      <a:lnTo>
                        <a:pt x="43" y="71"/>
                      </a:lnTo>
                      <a:lnTo>
                        <a:pt x="41" y="73"/>
                      </a:lnTo>
                      <a:lnTo>
                        <a:pt x="41" y="76"/>
                      </a:lnTo>
                      <a:lnTo>
                        <a:pt x="43" y="79"/>
                      </a:lnTo>
                      <a:lnTo>
                        <a:pt x="43" y="81"/>
                      </a:lnTo>
                      <a:lnTo>
                        <a:pt x="41" y="82"/>
                      </a:lnTo>
                      <a:lnTo>
                        <a:pt x="39" y="80"/>
                      </a:lnTo>
                      <a:lnTo>
                        <a:pt x="39" y="77"/>
                      </a:lnTo>
                      <a:lnTo>
                        <a:pt x="36" y="77"/>
                      </a:lnTo>
                      <a:lnTo>
                        <a:pt x="36" y="75"/>
                      </a:lnTo>
                      <a:lnTo>
                        <a:pt x="34" y="73"/>
                      </a:lnTo>
                      <a:lnTo>
                        <a:pt x="32" y="73"/>
                      </a:lnTo>
                      <a:lnTo>
                        <a:pt x="32" y="72"/>
                      </a:lnTo>
                      <a:lnTo>
                        <a:pt x="34" y="70"/>
                      </a:lnTo>
                      <a:lnTo>
                        <a:pt x="35" y="68"/>
                      </a:lnTo>
                      <a:lnTo>
                        <a:pt x="32" y="66"/>
                      </a:lnTo>
                      <a:lnTo>
                        <a:pt x="34" y="63"/>
                      </a:lnTo>
                      <a:lnTo>
                        <a:pt x="36" y="62"/>
                      </a:lnTo>
                      <a:lnTo>
                        <a:pt x="37" y="58"/>
                      </a:lnTo>
                      <a:lnTo>
                        <a:pt x="36" y="56"/>
                      </a:lnTo>
                      <a:lnTo>
                        <a:pt x="36" y="54"/>
                      </a:lnTo>
                      <a:lnTo>
                        <a:pt x="36" y="51"/>
                      </a:lnTo>
                      <a:lnTo>
                        <a:pt x="36" y="47"/>
                      </a:lnTo>
                      <a:lnTo>
                        <a:pt x="33" y="45"/>
                      </a:lnTo>
                      <a:lnTo>
                        <a:pt x="33" y="43"/>
                      </a:lnTo>
                      <a:lnTo>
                        <a:pt x="35" y="44"/>
                      </a:lnTo>
                      <a:lnTo>
                        <a:pt x="37" y="44"/>
                      </a:lnTo>
                      <a:lnTo>
                        <a:pt x="38" y="40"/>
                      </a:lnTo>
                      <a:lnTo>
                        <a:pt x="39" y="39"/>
                      </a:lnTo>
                      <a:lnTo>
                        <a:pt x="39" y="34"/>
                      </a:lnTo>
                      <a:lnTo>
                        <a:pt x="38" y="29"/>
                      </a:lnTo>
                      <a:lnTo>
                        <a:pt x="38" y="27"/>
                      </a:lnTo>
                      <a:lnTo>
                        <a:pt x="37" y="28"/>
                      </a:lnTo>
                      <a:lnTo>
                        <a:pt x="33" y="29"/>
                      </a:lnTo>
                      <a:lnTo>
                        <a:pt x="31" y="26"/>
                      </a:lnTo>
                      <a:lnTo>
                        <a:pt x="32" y="25"/>
                      </a:lnTo>
                      <a:lnTo>
                        <a:pt x="31" y="23"/>
                      </a:lnTo>
                      <a:lnTo>
                        <a:pt x="30" y="22"/>
                      </a:lnTo>
                      <a:lnTo>
                        <a:pt x="31" y="21"/>
                      </a:lnTo>
                      <a:lnTo>
                        <a:pt x="33" y="19"/>
                      </a:lnTo>
                      <a:lnTo>
                        <a:pt x="32" y="18"/>
                      </a:lnTo>
                      <a:lnTo>
                        <a:pt x="30" y="17"/>
                      </a:lnTo>
                      <a:lnTo>
                        <a:pt x="29" y="15"/>
                      </a:lnTo>
                      <a:lnTo>
                        <a:pt x="27" y="15"/>
                      </a:lnTo>
                      <a:lnTo>
                        <a:pt x="26" y="13"/>
                      </a:lnTo>
                      <a:lnTo>
                        <a:pt x="27" y="13"/>
                      </a:lnTo>
                      <a:lnTo>
                        <a:pt x="29" y="11"/>
                      </a:lnTo>
                      <a:lnTo>
                        <a:pt x="27" y="11"/>
                      </a:lnTo>
                      <a:lnTo>
                        <a:pt x="25" y="11"/>
                      </a:lnTo>
                      <a:lnTo>
                        <a:pt x="25" y="14"/>
                      </a:lnTo>
                      <a:lnTo>
                        <a:pt x="25" y="16"/>
                      </a:lnTo>
                      <a:lnTo>
                        <a:pt x="22" y="15"/>
                      </a:lnTo>
                      <a:lnTo>
                        <a:pt x="23" y="12"/>
                      </a:lnTo>
                      <a:lnTo>
                        <a:pt x="22" y="10"/>
                      </a:lnTo>
                      <a:lnTo>
                        <a:pt x="22" y="5"/>
                      </a:lnTo>
                      <a:lnTo>
                        <a:pt x="22" y="3"/>
                      </a:lnTo>
                      <a:lnTo>
                        <a:pt x="22" y="1"/>
                      </a:lnTo>
                      <a:lnTo>
                        <a:pt x="22" y="1"/>
                      </a:lnTo>
                      <a:lnTo>
                        <a:pt x="21" y="0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5" y="1"/>
                      </a:lnTo>
                      <a:lnTo>
                        <a:pt x="18" y="4"/>
                      </a:lnTo>
                      <a:lnTo>
                        <a:pt x="21" y="12"/>
                      </a:lnTo>
                      <a:lnTo>
                        <a:pt x="21" y="16"/>
                      </a:lnTo>
                      <a:lnTo>
                        <a:pt x="21" y="22"/>
                      </a:lnTo>
                      <a:lnTo>
                        <a:pt x="19" y="23"/>
                      </a:lnTo>
                      <a:lnTo>
                        <a:pt x="18" y="23"/>
                      </a:lnTo>
                      <a:lnTo>
                        <a:pt x="18" y="24"/>
                      </a:lnTo>
                      <a:lnTo>
                        <a:pt x="19" y="31"/>
                      </a:lnTo>
                      <a:lnTo>
                        <a:pt x="20" y="32"/>
                      </a:lnTo>
                      <a:lnTo>
                        <a:pt x="22" y="30"/>
                      </a:lnTo>
                      <a:lnTo>
                        <a:pt x="25" y="30"/>
                      </a:lnTo>
                      <a:lnTo>
                        <a:pt x="23" y="31"/>
                      </a:lnTo>
                      <a:lnTo>
                        <a:pt x="22" y="33"/>
                      </a:lnTo>
                      <a:lnTo>
                        <a:pt x="22" y="38"/>
                      </a:lnTo>
                      <a:lnTo>
                        <a:pt x="24" y="42"/>
                      </a:lnTo>
                      <a:lnTo>
                        <a:pt x="25" y="51"/>
                      </a:lnTo>
                      <a:lnTo>
                        <a:pt x="25" y="56"/>
                      </a:lnTo>
                      <a:lnTo>
                        <a:pt x="25" y="60"/>
                      </a:lnTo>
                      <a:lnTo>
                        <a:pt x="26" y="59"/>
                      </a:lnTo>
                      <a:lnTo>
                        <a:pt x="26" y="56"/>
                      </a:lnTo>
                      <a:lnTo>
                        <a:pt x="25" y="53"/>
                      </a:lnTo>
                      <a:lnTo>
                        <a:pt x="27" y="53"/>
                      </a:lnTo>
                      <a:lnTo>
                        <a:pt x="28" y="55"/>
                      </a:lnTo>
                      <a:lnTo>
                        <a:pt x="28" y="57"/>
                      </a:lnTo>
                      <a:lnTo>
                        <a:pt x="29" y="57"/>
                      </a:lnTo>
                      <a:lnTo>
                        <a:pt x="29" y="56"/>
                      </a:lnTo>
                      <a:lnTo>
                        <a:pt x="29" y="55"/>
                      </a:lnTo>
                      <a:lnTo>
                        <a:pt x="30" y="55"/>
                      </a:lnTo>
                      <a:lnTo>
                        <a:pt x="30" y="57"/>
                      </a:lnTo>
                      <a:lnTo>
                        <a:pt x="29" y="60"/>
                      </a:lnTo>
                      <a:lnTo>
                        <a:pt x="28" y="63"/>
                      </a:lnTo>
                      <a:lnTo>
                        <a:pt x="28" y="64"/>
                      </a:lnTo>
                      <a:lnTo>
                        <a:pt x="27" y="65"/>
                      </a:lnTo>
                      <a:lnTo>
                        <a:pt x="25" y="63"/>
                      </a:lnTo>
                      <a:lnTo>
                        <a:pt x="25" y="63"/>
                      </a:lnTo>
                      <a:lnTo>
                        <a:pt x="25" y="68"/>
                      </a:lnTo>
                      <a:lnTo>
                        <a:pt x="27" y="74"/>
                      </a:lnTo>
                      <a:lnTo>
                        <a:pt x="29" y="75"/>
                      </a:lnTo>
                      <a:lnTo>
                        <a:pt x="29" y="74"/>
                      </a:lnTo>
                      <a:lnTo>
                        <a:pt x="30" y="77"/>
                      </a:lnTo>
                      <a:lnTo>
                        <a:pt x="31" y="78"/>
                      </a:lnTo>
                      <a:lnTo>
                        <a:pt x="32" y="80"/>
                      </a:lnTo>
                      <a:lnTo>
                        <a:pt x="29" y="82"/>
                      </a:lnTo>
                      <a:lnTo>
                        <a:pt x="29" y="83"/>
                      </a:lnTo>
                      <a:lnTo>
                        <a:pt x="30" y="84"/>
                      </a:lnTo>
                      <a:lnTo>
                        <a:pt x="29" y="87"/>
                      </a:lnTo>
                      <a:lnTo>
                        <a:pt x="28" y="92"/>
                      </a:lnTo>
                      <a:lnTo>
                        <a:pt x="28" y="95"/>
                      </a:lnTo>
                      <a:lnTo>
                        <a:pt x="27" y="96"/>
                      </a:lnTo>
                      <a:lnTo>
                        <a:pt x="28" y="98"/>
                      </a:lnTo>
                      <a:lnTo>
                        <a:pt x="28" y="99"/>
                      </a:lnTo>
                      <a:lnTo>
                        <a:pt x="25" y="100"/>
                      </a:lnTo>
                      <a:lnTo>
                        <a:pt x="25" y="102"/>
                      </a:lnTo>
                      <a:lnTo>
                        <a:pt x="25" y="104"/>
                      </a:lnTo>
                      <a:lnTo>
                        <a:pt x="26" y="105"/>
                      </a:lnTo>
                      <a:lnTo>
                        <a:pt x="25" y="107"/>
                      </a:lnTo>
                      <a:lnTo>
                        <a:pt x="22" y="107"/>
                      </a:lnTo>
                      <a:lnTo>
                        <a:pt x="22" y="111"/>
                      </a:lnTo>
                      <a:lnTo>
                        <a:pt x="19" y="122"/>
                      </a:lnTo>
                      <a:lnTo>
                        <a:pt x="19" y="125"/>
                      </a:lnTo>
                      <a:lnTo>
                        <a:pt x="17" y="127"/>
                      </a:lnTo>
                      <a:lnTo>
                        <a:pt x="15" y="128"/>
                      </a:lnTo>
                      <a:lnTo>
                        <a:pt x="13" y="126"/>
                      </a:lnTo>
                      <a:lnTo>
                        <a:pt x="10" y="127"/>
                      </a:lnTo>
                      <a:lnTo>
                        <a:pt x="5" y="130"/>
                      </a:lnTo>
                      <a:lnTo>
                        <a:pt x="2" y="133"/>
                      </a:lnTo>
                      <a:lnTo>
                        <a:pt x="1" y="137"/>
                      </a:lnTo>
                      <a:lnTo>
                        <a:pt x="2" y="142"/>
                      </a:lnTo>
                      <a:lnTo>
                        <a:pt x="5" y="145"/>
                      </a:lnTo>
                      <a:lnTo>
                        <a:pt x="8" y="148"/>
                      </a:lnTo>
                      <a:lnTo>
                        <a:pt x="11" y="152"/>
                      </a:lnTo>
                      <a:lnTo>
                        <a:pt x="15" y="153"/>
                      </a:lnTo>
                      <a:lnTo>
                        <a:pt x="16" y="156"/>
                      </a:lnTo>
                      <a:lnTo>
                        <a:pt x="16" y="163"/>
                      </a:lnTo>
                      <a:lnTo>
                        <a:pt x="17" y="163"/>
                      </a:lnTo>
                      <a:lnTo>
                        <a:pt x="16" y="164"/>
                      </a:lnTo>
                      <a:lnTo>
                        <a:pt x="16" y="168"/>
                      </a:lnTo>
                      <a:lnTo>
                        <a:pt x="15" y="171"/>
                      </a:lnTo>
                      <a:lnTo>
                        <a:pt x="9" y="180"/>
                      </a:lnTo>
                      <a:lnTo>
                        <a:pt x="5" y="185"/>
                      </a:lnTo>
                      <a:lnTo>
                        <a:pt x="1" y="189"/>
                      </a:lnTo>
                      <a:lnTo>
                        <a:pt x="0" y="191"/>
                      </a:lnTo>
                      <a:lnTo>
                        <a:pt x="0" y="193"/>
                      </a:lnTo>
                      <a:lnTo>
                        <a:pt x="3" y="194"/>
                      </a:lnTo>
                      <a:lnTo>
                        <a:pt x="4" y="192"/>
                      </a:lnTo>
                      <a:lnTo>
                        <a:pt x="5" y="192"/>
                      </a:lnTo>
                      <a:lnTo>
                        <a:pt x="5" y="194"/>
                      </a:lnTo>
                      <a:lnTo>
                        <a:pt x="5" y="196"/>
                      </a:lnTo>
                      <a:lnTo>
                        <a:pt x="5" y="197"/>
                      </a:lnTo>
                      <a:lnTo>
                        <a:pt x="6" y="196"/>
                      </a:lnTo>
                      <a:lnTo>
                        <a:pt x="7" y="198"/>
                      </a:lnTo>
                      <a:lnTo>
                        <a:pt x="7" y="200"/>
                      </a:lnTo>
                      <a:lnTo>
                        <a:pt x="8" y="201"/>
                      </a:lnTo>
                      <a:lnTo>
                        <a:pt x="10" y="201"/>
                      </a:lnTo>
                      <a:lnTo>
                        <a:pt x="15" y="197"/>
                      </a:lnTo>
                      <a:lnTo>
                        <a:pt x="19" y="192"/>
                      </a:lnTo>
                      <a:lnTo>
                        <a:pt x="24" y="187"/>
                      </a:lnTo>
                      <a:lnTo>
                        <a:pt x="28" y="181"/>
                      </a:lnTo>
                      <a:lnTo>
                        <a:pt x="32" y="174"/>
                      </a:lnTo>
                      <a:lnTo>
                        <a:pt x="35" y="172"/>
                      </a:lnTo>
                      <a:lnTo>
                        <a:pt x="37" y="172"/>
                      </a:lnTo>
                      <a:lnTo>
                        <a:pt x="38" y="170"/>
                      </a:lnTo>
                      <a:lnTo>
                        <a:pt x="38" y="167"/>
                      </a:lnTo>
                      <a:lnTo>
                        <a:pt x="39" y="166"/>
                      </a:lnTo>
                      <a:lnTo>
                        <a:pt x="42" y="164"/>
                      </a:lnTo>
                      <a:lnTo>
                        <a:pt x="44" y="158"/>
                      </a:lnTo>
                      <a:lnTo>
                        <a:pt x="46" y="153"/>
                      </a:lnTo>
                      <a:lnTo>
                        <a:pt x="46" y="151"/>
                      </a:lnTo>
                      <a:lnTo>
                        <a:pt x="48" y="149"/>
                      </a:lnTo>
                      <a:lnTo>
                        <a:pt x="46" y="147"/>
                      </a:lnTo>
                      <a:lnTo>
                        <a:pt x="43" y="146"/>
                      </a:lnTo>
                      <a:lnTo>
                        <a:pt x="42" y="147"/>
                      </a:lnTo>
                      <a:lnTo>
                        <a:pt x="43" y="145"/>
                      </a:lnTo>
                      <a:lnTo>
                        <a:pt x="46" y="145"/>
                      </a:lnTo>
                      <a:lnTo>
                        <a:pt x="52" y="136"/>
                      </a:lnTo>
                      <a:lnTo>
                        <a:pt x="54" y="135"/>
                      </a:lnTo>
                      <a:lnTo>
                        <a:pt x="59" y="136"/>
                      </a:lnTo>
                      <a:lnTo>
                        <a:pt x="61" y="136"/>
                      </a:lnTo>
                      <a:lnTo>
                        <a:pt x="61" y="139"/>
                      </a:lnTo>
                      <a:lnTo>
                        <a:pt x="61" y="141"/>
                      </a:lnTo>
                      <a:lnTo>
                        <a:pt x="63" y="138"/>
                      </a:lnTo>
                      <a:lnTo>
                        <a:pt x="65" y="137"/>
                      </a:lnTo>
                      <a:lnTo>
                        <a:pt x="62" y="135"/>
                      </a:lnTo>
                      <a:lnTo>
                        <a:pt x="62" y="132"/>
                      </a:lnTo>
                      <a:lnTo>
                        <a:pt x="64" y="127"/>
                      </a:lnTo>
                      <a:lnTo>
                        <a:pt x="66" y="125"/>
                      </a:lnTo>
                      <a:lnTo>
                        <a:pt x="68" y="125"/>
                      </a:lnTo>
                      <a:lnTo>
                        <a:pt x="69" y="126"/>
                      </a:lnTo>
                      <a:lnTo>
                        <a:pt x="70" y="125"/>
                      </a:lnTo>
                      <a:lnTo>
                        <a:pt x="71" y="122"/>
                      </a:lnTo>
                      <a:lnTo>
                        <a:pt x="75" y="115"/>
                      </a:lnTo>
                      <a:lnTo>
                        <a:pt x="75" y="112"/>
                      </a:lnTo>
                      <a:lnTo>
                        <a:pt x="75" y="110"/>
                      </a:lnTo>
                      <a:lnTo>
                        <a:pt x="76" y="106"/>
                      </a:lnTo>
                      <a:lnTo>
                        <a:pt x="78" y="103"/>
                      </a:lnTo>
                      <a:lnTo>
                        <a:pt x="81" y="101"/>
                      </a:lnTo>
                      <a:lnTo>
                        <a:pt x="81" y="101"/>
                      </a:lnTo>
                      <a:lnTo>
                        <a:pt x="77" y="99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30" name="Freeform 933">
                  <a:extLst>
                    <a:ext uri="{FF2B5EF4-FFF2-40B4-BE49-F238E27FC236}">
                      <a16:creationId xmlns:a16="http://schemas.microsoft.com/office/drawing/2014/main" id="{2DEE210B-EBC1-42A6-A06D-B5A46C6B81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63" y="3696"/>
                  <a:ext cx="3" cy="6"/>
                </a:xfrm>
                <a:custGeom>
                  <a:avLst/>
                  <a:gdLst>
                    <a:gd name="T0" fmla="*/ 3 w 3"/>
                    <a:gd name="T1" fmla="*/ 2 h 6"/>
                    <a:gd name="T2" fmla="*/ 3 w 3"/>
                    <a:gd name="T3" fmla="*/ 1 h 6"/>
                    <a:gd name="T4" fmla="*/ 1 w 3"/>
                    <a:gd name="T5" fmla="*/ 0 h 6"/>
                    <a:gd name="T6" fmla="*/ 0 w 3"/>
                    <a:gd name="T7" fmla="*/ 2 h 6"/>
                    <a:gd name="T8" fmla="*/ 0 w 3"/>
                    <a:gd name="T9" fmla="*/ 5 h 6"/>
                    <a:gd name="T10" fmla="*/ 0 w 3"/>
                    <a:gd name="T11" fmla="*/ 6 h 6"/>
                    <a:gd name="T12" fmla="*/ 0 w 3"/>
                    <a:gd name="T13" fmla="*/ 6 h 6"/>
                    <a:gd name="T14" fmla="*/ 1 w 3"/>
                    <a:gd name="T15" fmla="*/ 4 h 6"/>
                    <a:gd name="T16" fmla="*/ 3 w 3"/>
                    <a:gd name="T17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6">
                      <a:moveTo>
                        <a:pt x="3" y="2"/>
                      </a:moveTo>
                      <a:lnTo>
                        <a:pt x="3" y="1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31" name="Freeform 934">
                  <a:extLst>
                    <a:ext uri="{FF2B5EF4-FFF2-40B4-BE49-F238E27FC236}">
                      <a16:creationId xmlns:a16="http://schemas.microsoft.com/office/drawing/2014/main" id="{FAEF4CDD-72F9-42BB-BA6B-E93B87E7FC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62" y="3704"/>
                  <a:ext cx="2" cy="1"/>
                </a:xfrm>
                <a:custGeom>
                  <a:avLst/>
                  <a:gdLst>
                    <a:gd name="T0" fmla="*/ 2 w 2"/>
                    <a:gd name="T1" fmla="*/ 0 h 1"/>
                    <a:gd name="T2" fmla="*/ 1 w 2"/>
                    <a:gd name="T3" fmla="*/ 0 h 1"/>
                    <a:gd name="T4" fmla="*/ 0 w 2"/>
                    <a:gd name="T5" fmla="*/ 1 h 1"/>
                    <a:gd name="T6" fmla="*/ 1 w 2"/>
                    <a:gd name="T7" fmla="*/ 1 h 1"/>
                    <a:gd name="T8" fmla="*/ 2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32" name="Freeform 935">
                  <a:extLst>
                    <a:ext uri="{FF2B5EF4-FFF2-40B4-BE49-F238E27FC236}">
                      <a16:creationId xmlns:a16="http://schemas.microsoft.com/office/drawing/2014/main" id="{373589D9-8C5C-4E29-B0D4-2F32F8BD7E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59" y="3703"/>
                  <a:ext cx="4" cy="2"/>
                </a:xfrm>
                <a:custGeom>
                  <a:avLst/>
                  <a:gdLst>
                    <a:gd name="T0" fmla="*/ 4 w 4"/>
                    <a:gd name="T1" fmla="*/ 1 h 2"/>
                    <a:gd name="T2" fmla="*/ 4 w 4"/>
                    <a:gd name="T3" fmla="*/ 0 h 2"/>
                    <a:gd name="T4" fmla="*/ 0 w 4"/>
                    <a:gd name="T5" fmla="*/ 2 h 2"/>
                    <a:gd name="T6" fmla="*/ 2 w 4"/>
                    <a:gd name="T7" fmla="*/ 2 h 2"/>
                    <a:gd name="T8" fmla="*/ 4 w 4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4" y="1"/>
                      </a:move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4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33" name="Freeform 936">
                  <a:extLst>
                    <a:ext uri="{FF2B5EF4-FFF2-40B4-BE49-F238E27FC236}">
                      <a16:creationId xmlns:a16="http://schemas.microsoft.com/office/drawing/2014/main" id="{BFB27DCC-5900-4F76-8BF5-7C83851817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16" y="3574"/>
                  <a:ext cx="3" cy="7"/>
                </a:xfrm>
                <a:custGeom>
                  <a:avLst/>
                  <a:gdLst>
                    <a:gd name="T0" fmla="*/ 2 w 3"/>
                    <a:gd name="T1" fmla="*/ 7 h 7"/>
                    <a:gd name="T2" fmla="*/ 2 w 3"/>
                    <a:gd name="T3" fmla="*/ 5 h 7"/>
                    <a:gd name="T4" fmla="*/ 3 w 3"/>
                    <a:gd name="T5" fmla="*/ 4 h 7"/>
                    <a:gd name="T6" fmla="*/ 2 w 3"/>
                    <a:gd name="T7" fmla="*/ 3 h 7"/>
                    <a:gd name="T8" fmla="*/ 2 w 3"/>
                    <a:gd name="T9" fmla="*/ 0 h 7"/>
                    <a:gd name="T10" fmla="*/ 0 w 3"/>
                    <a:gd name="T11" fmla="*/ 5 h 7"/>
                    <a:gd name="T12" fmla="*/ 2 w 3"/>
                    <a:gd name="T13" fmla="*/ 7 h 7"/>
                    <a:gd name="T14" fmla="*/ 2 w 3"/>
                    <a:gd name="T15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7">
                      <a:moveTo>
                        <a:pt x="2" y="7"/>
                      </a:moveTo>
                      <a:lnTo>
                        <a:pt x="2" y="5"/>
                      </a:lnTo>
                      <a:lnTo>
                        <a:pt x="3" y="4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0" y="5"/>
                      </a:lnTo>
                      <a:lnTo>
                        <a:pt x="2" y="7"/>
                      </a:lnTo>
                      <a:lnTo>
                        <a:pt x="2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34" name="Freeform 937">
                  <a:extLst>
                    <a:ext uri="{FF2B5EF4-FFF2-40B4-BE49-F238E27FC236}">
                      <a16:creationId xmlns:a16="http://schemas.microsoft.com/office/drawing/2014/main" id="{ABCA7F66-7EA0-4CF0-8354-5C50577293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12" y="3578"/>
                  <a:ext cx="2" cy="2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1 h 2"/>
                    <a:gd name="T4" fmla="*/ 1 w 2"/>
                    <a:gd name="T5" fmla="*/ 2 h 2"/>
                    <a:gd name="T6" fmla="*/ 2 w 2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1" y="2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35" name="Freeform 938">
                  <a:extLst>
                    <a:ext uri="{FF2B5EF4-FFF2-40B4-BE49-F238E27FC236}">
                      <a16:creationId xmlns:a16="http://schemas.microsoft.com/office/drawing/2014/main" id="{A81DB2B9-9105-4709-B1A7-702E63BD5B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22" y="1444"/>
                  <a:ext cx="125" cy="92"/>
                </a:xfrm>
                <a:custGeom>
                  <a:avLst/>
                  <a:gdLst>
                    <a:gd name="T0" fmla="*/ 51 w 125"/>
                    <a:gd name="T1" fmla="*/ 86 h 92"/>
                    <a:gd name="T2" fmla="*/ 67 w 125"/>
                    <a:gd name="T3" fmla="*/ 87 h 92"/>
                    <a:gd name="T4" fmla="*/ 75 w 125"/>
                    <a:gd name="T5" fmla="*/ 80 h 92"/>
                    <a:gd name="T6" fmla="*/ 82 w 125"/>
                    <a:gd name="T7" fmla="*/ 82 h 92"/>
                    <a:gd name="T8" fmla="*/ 89 w 125"/>
                    <a:gd name="T9" fmla="*/ 80 h 92"/>
                    <a:gd name="T10" fmla="*/ 106 w 125"/>
                    <a:gd name="T11" fmla="*/ 65 h 92"/>
                    <a:gd name="T12" fmla="*/ 111 w 125"/>
                    <a:gd name="T13" fmla="*/ 65 h 92"/>
                    <a:gd name="T14" fmla="*/ 115 w 125"/>
                    <a:gd name="T15" fmla="*/ 56 h 92"/>
                    <a:gd name="T16" fmla="*/ 120 w 125"/>
                    <a:gd name="T17" fmla="*/ 55 h 92"/>
                    <a:gd name="T18" fmla="*/ 120 w 125"/>
                    <a:gd name="T19" fmla="*/ 40 h 92"/>
                    <a:gd name="T20" fmla="*/ 123 w 125"/>
                    <a:gd name="T21" fmla="*/ 30 h 92"/>
                    <a:gd name="T22" fmla="*/ 113 w 125"/>
                    <a:gd name="T23" fmla="*/ 25 h 92"/>
                    <a:gd name="T24" fmla="*/ 116 w 125"/>
                    <a:gd name="T25" fmla="*/ 15 h 92"/>
                    <a:gd name="T26" fmla="*/ 111 w 125"/>
                    <a:gd name="T27" fmla="*/ 11 h 92"/>
                    <a:gd name="T28" fmla="*/ 110 w 125"/>
                    <a:gd name="T29" fmla="*/ 5 h 92"/>
                    <a:gd name="T30" fmla="*/ 102 w 125"/>
                    <a:gd name="T31" fmla="*/ 7 h 92"/>
                    <a:gd name="T32" fmla="*/ 94 w 125"/>
                    <a:gd name="T33" fmla="*/ 3 h 92"/>
                    <a:gd name="T34" fmla="*/ 88 w 125"/>
                    <a:gd name="T35" fmla="*/ 13 h 92"/>
                    <a:gd name="T36" fmla="*/ 80 w 125"/>
                    <a:gd name="T37" fmla="*/ 16 h 92"/>
                    <a:gd name="T38" fmla="*/ 71 w 125"/>
                    <a:gd name="T39" fmla="*/ 16 h 92"/>
                    <a:gd name="T40" fmla="*/ 69 w 125"/>
                    <a:gd name="T41" fmla="*/ 16 h 92"/>
                    <a:gd name="T42" fmla="*/ 59 w 125"/>
                    <a:gd name="T43" fmla="*/ 17 h 92"/>
                    <a:gd name="T44" fmla="*/ 54 w 125"/>
                    <a:gd name="T45" fmla="*/ 18 h 92"/>
                    <a:gd name="T46" fmla="*/ 50 w 125"/>
                    <a:gd name="T47" fmla="*/ 23 h 92"/>
                    <a:gd name="T48" fmla="*/ 43 w 125"/>
                    <a:gd name="T49" fmla="*/ 29 h 92"/>
                    <a:gd name="T50" fmla="*/ 36 w 125"/>
                    <a:gd name="T51" fmla="*/ 34 h 92"/>
                    <a:gd name="T52" fmla="*/ 36 w 125"/>
                    <a:gd name="T53" fmla="*/ 24 h 92"/>
                    <a:gd name="T54" fmla="*/ 36 w 125"/>
                    <a:gd name="T55" fmla="*/ 15 h 92"/>
                    <a:gd name="T56" fmla="*/ 30 w 125"/>
                    <a:gd name="T57" fmla="*/ 7 h 92"/>
                    <a:gd name="T58" fmla="*/ 18 w 125"/>
                    <a:gd name="T59" fmla="*/ 0 h 92"/>
                    <a:gd name="T60" fmla="*/ 23 w 125"/>
                    <a:gd name="T61" fmla="*/ 3 h 92"/>
                    <a:gd name="T62" fmla="*/ 21 w 125"/>
                    <a:gd name="T63" fmla="*/ 6 h 92"/>
                    <a:gd name="T64" fmla="*/ 26 w 125"/>
                    <a:gd name="T65" fmla="*/ 16 h 92"/>
                    <a:gd name="T66" fmla="*/ 20 w 125"/>
                    <a:gd name="T67" fmla="*/ 11 h 92"/>
                    <a:gd name="T68" fmla="*/ 14 w 125"/>
                    <a:gd name="T69" fmla="*/ 13 h 92"/>
                    <a:gd name="T70" fmla="*/ 13 w 125"/>
                    <a:gd name="T71" fmla="*/ 14 h 92"/>
                    <a:gd name="T72" fmla="*/ 14 w 125"/>
                    <a:gd name="T73" fmla="*/ 20 h 92"/>
                    <a:gd name="T74" fmla="*/ 7 w 125"/>
                    <a:gd name="T75" fmla="*/ 19 h 92"/>
                    <a:gd name="T76" fmla="*/ 6 w 125"/>
                    <a:gd name="T77" fmla="*/ 27 h 92"/>
                    <a:gd name="T78" fmla="*/ 6 w 125"/>
                    <a:gd name="T79" fmla="*/ 31 h 92"/>
                    <a:gd name="T80" fmla="*/ 16 w 125"/>
                    <a:gd name="T81" fmla="*/ 25 h 92"/>
                    <a:gd name="T82" fmla="*/ 21 w 125"/>
                    <a:gd name="T83" fmla="*/ 29 h 92"/>
                    <a:gd name="T84" fmla="*/ 28 w 125"/>
                    <a:gd name="T85" fmla="*/ 26 h 92"/>
                    <a:gd name="T86" fmla="*/ 33 w 125"/>
                    <a:gd name="T87" fmla="*/ 31 h 92"/>
                    <a:gd name="T88" fmla="*/ 22 w 125"/>
                    <a:gd name="T89" fmla="*/ 36 h 92"/>
                    <a:gd name="T90" fmla="*/ 32 w 125"/>
                    <a:gd name="T91" fmla="*/ 35 h 92"/>
                    <a:gd name="T92" fmla="*/ 21 w 125"/>
                    <a:gd name="T93" fmla="*/ 44 h 92"/>
                    <a:gd name="T94" fmla="*/ 17 w 125"/>
                    <a:gd name="T95" fmla="*/ 40 h 92"/>
                    <a:gd name="T96" fmla="*/ 9 w 125"/>
                    <a:gd name="T97" fmla="*/ 44 h 92"/>
                    <a:gd name="T98" fmla="*/ 6 w 125"/>
                    <a:gd name="T99" fmla="*/ 50 h 92"/>
                    <a:gd name="T100" fmla="*/ 23 w 125"/>
                    <a:gd name="T101" fmla="*/ 50 h 92"/>
                    <a:gd name="T102" fmla="*/ 23 w 125"/>
                    <a:gd name="T103" fmla="*/ 59 h 92"/>
                    <a:gd name="T104" fmla="*/ 24 w 125"/>
                    <a:gd name="T105" fmla="*/ 63 h 92"/>
                    <a:gd name="T106" fmla="*/ 32 w 125"/>
                    <a:gd name="T107" fmla="*/ 62 h 92"/>
                    <a:gd name="T108" fmla="*/ 23 w 125"/>
                    <a:gd name="T109" fmla="*/ 70 h 92"/>
                    <a:gd name="T110" fmla="*/ 16 w 125"/>
                    <a:gd name="T111" fmla="*/ 69 h 92"/>
                    <a:gd name="T112" fmla="*/ 16 w 125"/>
                    <a:gd name="T113" fmla="*/ 80 h 92"/>
                    <a:gd name="T114" fmla="*/ 30 w 125"/>
                    <a:gd name="T115" fmla="*/ 78 h 92"/>
                    <a:gd name="T116" fmla="*/ 40 w 125"/>
                    <a:gd name="T117" fmla="*/ 8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25" h="92">
                      <a:moveTo>
                        <a:pt x="40" y="83"/>
                      </a:moveTo>
                      <a:lnTo>
                        <a:pt x="44" y="87"/>
                      </a:lnTo>
                      <a:lnTo>
                        <a:pt x="46" y="88"/>
                      </a:lnTo>
                      <a:lnTo>
                        <a:pt x="48" y="86"/>
                      </a:lnTo>
                      <a:lnTo>
                        <a:pt x="51" y="86"/>
                      </a:lnTo>
                      <a:lnTo>
                        <a:pt x="55" y="91"/>
                      </a:lnTo>
                      <a:lnTo>
                        <a:pt x="61" y="90"/>
                      </a:lnTo>
                      <a:lnTo>
                        <a:pt x="64" y="92"/>
                      </a:lnTo>
                      <a:lnTo>
                        <a:pt x="67" y="90"/>
                      </a:lnTo>
                      <a:lnTo>
                        <a:pt x="67" y="87"/>
                      </a:lnTo>
                      <a:lnTo>
                        <a:pt x="68" y="85"/>
                      </a:lnTo>
                      <a:lnTo>
                        <a:pt x="68" y="87"/>
                      </a:lnTo>
                      <a:lnTo>
                        <a:pt x="71" y="88"/>
                      </a:lnTo>
                      <a:lnTo>
                        <a:pt x="75" y="85"/>
                      </a:lnTo>
                      <a:lnTo>
                        <a:pt x="75" y="80"/>
                      </a:lnTo>
                      <a:lnTo>
                        <a:pt x="78" y="80"/>
                      </a:lnTo>
                      <a:lnTo>
                        <a:pt x="77" y="82"/>
                      </a:lnTo>
                      <a:lnTo>
                        <a:pt x="78" y="83"/>
                      </a:lnTo>
                      <a:lnTo>
                        <a:pt x="79" y="82"/>
                      </a:lnTo>
                      <a:lnTo>
                        <a:pt x="82" y="82"/>
                      </a:lnTo>
                      <a:lnTo>
                        <a:pt x="84" y="77"/>
                      </a:lnTo>
                      <a:lnTo>
                        <a:pt x="85" y="79"/>
                      </a:lnTo>
                      <a:lnTo>
                        <a:pt x="86" y="78"/>
                      </a:lnTo>
                      <a:lnTo>
                        <a:pt x="89" y="78"/>
                      </a:lnTo>
                      <a:lnTo>
                        <a:pt x="89" y="80"/>
                      </a:lnTo>
                      <a:lnTo>
                        <a:pt x="89" y="78"/>
                      </a:lnTo>
                      <a:lnTo>
                        <a:pt x="96" y="72"/>
                      </a:lnTo>
                      <a:lnTo>
                        <a:pt x="98" y="69"/>
                      </a:lnTo>
                      <a:lnTo>
                        <a:pt x="105" y="67"/>
                      </a:lnTo>
                      <a:lnTo>
                        <a:pt x="106" y="65"/>
                      </a:lnTo>
                      <a:lnTo>
                        <a:pt x="106" y="63"/>
                      </a:lnTo>
                      <a:lnTo>
                        <a:pt x="106" y="61"/>
                      </a:lnTo>
                      <a:lnTo>
                        <a:pt x="107" y="61"/>
                      </a:lnTo>
                      <a:lnTo>
                        <a:pt x="108" y="63"/>
                      </a:lnTo>
                      <a:lnTo>
                        <a:pt x="111" y="65"/>
                      </a:lnTo>
                      <a:lnTo>
                        <a:pt x="113" y="62"/>
                      </a:lnTo>
                      <a:lnTo>
                        <a:pt x="113" y="60"/>
                      </a:lnTo>
                      <a:lnTo>
                        <a:pt x="113" y="59"/>
                      </a:lnTo>
                      <a:lnTo>
                        <a:pt x="113" y="57"/>
                      </a:lnTo>
                      <a:lnTo>
                        <a:pt x="115" y="56"/>
                      </a:lnTo>
                      <a:lnTo>
                        <a:pt x="113" y="52"/>
                      </a:lnTo>
                      <a:lnTo>
                        <a:pt x="115" y="51"/>
                      </a:lnTo>
                      <a:lnTo>
                        <a:pt x="117" y="52"/>
                      </a:lnTo>
                      <a:lnTo>
                        <a:pt x="117" y="56"/>
                      </a:lnTo>
                      <a:lnTo>
                        <a:pt x="120" y="55"/>
                      </a:lnTo>
                      <a:lnTo>
                        <a:pt x="121" y="51"/>
                      </a:lnTo>
                      <a:lnTo>
                        <a:pt x="120" y="49"/>
                      </a:lnTo>
                      <a:lnTo>
                        <a:pt x="118" y="45"/>
                      </a:lnTo>
                      <a:lnTo>
                        <a:pt x="118" y="42"/>
                      </a:lnTo>
                      <a:lnTo>
                        <a:pt x="120" y="40"/>
                      </a:lnTo>
                      <a:lnTo>
                        <a:pt x="120" y="37"/>
                      </a:lnTo>
                      <a:lnTo>
                        <a:pt x="122" y="35"/>
                      </a:lnTo>
                      <a:lnTo>
                        <a:pt x="124" y="35"/>
                      </a:lnTo>
                      <a:lnTo>
                        <a:pt x="125" y="33"/>
                      </a:lnTo>
                      <a:lnTo>
                        <a:pt x="123" y="30"/>
                      </a:lnTo>
                      <a:lnTo>
                        <a:pt x="117" y="30"/>
                      </a:lnTo>
                      <a:lnTo>
                        <a:pt x="116" y="31"/>
                      </a:lnTo>
                      <a:lnTo>
                        <a:pt x="117" y="28"/>
                      </a:lnTo>
                      <a:lnTo>
                        <a:pt x="116" y="26"/>
                      </a:lnTo>
                      <a:lnTo>
                        <a:pt x="113" y="25"/>
                      </a:lnTo>
                      <a:lnTo>
                        <a:pt x="113" y="26"/>
                      </a:lnTo>
                      <a:lnTo>
                        <a:pt x="112" y="23"/>
                      </a:lnTo>
                      <a:lnTo>
                        <a:pt x="113" y="21"/>
                      </a:lnTo>
                      <a:lnTo>
                        <a:pt x="116" y="20"/>
                      </a:lnTo>
                      <a:lnTo>
                        <a:pt x="116" y="15"/>
                      </a:lnTo>
                      <a:lnTo>
                        <a:pt x="114" y="14"/>
                      </a:lnTo>
                      <a:lnTo>
                        <a:pt x="112" y="16"/>
                      </a:lnTo>
                      <a:lnTo>
                        <a:pt x="109" y="14"/>
                      </a:lnTo>
                      <a:lnTo>
                        <a:pt x="109" y="11"/>
                      </a:lnTo>
                      <a:lnTo>
                        <a:pt x="111" y="11"/>
                      </a:lnTo>
                      <a:lnTo>
                        <a:pt x="112" y="7"/>
                      </a:lnTo>
                      <a:lnTo>
                        <a:pt x="113" y="7"/>
                      </a:lnTo>
                      <a:lnTo>
                        <a:pt x="116" y="6"/>
                      </a:lnTo>
                      <a:lnTo>
                        <a:pt x="113" y="4"/>
                      </a:lnTo>
                      <a:lnTo>
                        <a:pt x="110" y="5"/>
                      </a:lnTo>
                      <a:lnTo>
                        <a:pt x="106" y="10"/>
                      </a:lnTo>
                      <a:lnTo>
                        <a:pt x="105" y="13"/>
                      </a:lnTo>
                      <a:lnTo>
                        <a:pt x="103" y="13"/>
                      </a:lnTo>
                      <a:lnTo>
                        <a:pt x="102" y="10"/>
                      </a:lnTo>
                      <a:lnTo>
                        <a:pt x="102" y="7"/>
                      </a:lnTo>
                      <a:lnTo>
                        <a:pt x="101" y="6"/>
                      </a:lnTo>
                      <a:lnTo>
                        <a:pt x="101" y="3"/>
                      </a:lnTo>
                      <a:lnTo>
                        <a:pt x="98" y="2"/>
                      </a:lnTo>
                      <a:lnTo>
                        <a:pt x="96" y="4"/>
                      </a:lnTo>
                      <a:lnTo>
                        <a:pt x="94" y="3"/>
                      </a:lnTo>
                      <a:lnTo>
                        <a:pt x="93" y="6"/>
                      </a:lnTo>
                      <a:lnTo>
                        <a:pt x="94" y="9"/>
                      </a:lnTo>
                      <a:lnTo>
                        <a:pt x="93" y="11"/>
                      </a:lnTo>
                      <a:lnTo>
                        <a:pt x="90" y="11"/>
                      </a:lnTo>
                      <a:lnTo>
                        <a:pt x="88" y="13"/>
                      </a:lnTo>
                      <a:lnTo>
                        <a:pt x="88" y="11"/>
                      </a:lnTo>
                      <a:lnTo>
                        <a:pt x="86" y="9"/>
                      </a:lnTo>
                      <a:lnTo>
                        <a:pt x="85" y="12"/>
                      </a:lnTo>
                      <a:lnTo>
                        <a:pt x="83" y="16"/>
                      </a:lnTo>
                      <a:lnTo>
                        <a:pt x="80" y="16"/>
                      </a:lnTo>
                      <a:lnTo>
                        <a:pt x="78" y="11"/>
                      </a:lnTo>
                      <a:lnTo>
                        <a:pt x="75" y="11"/>
                      </a:lnTo>
                      <a:lnTo>
                        <a:pt x="75" y="11"/>
                      </a:lnTo>
                      <a:lnTo>
                        <a:pt x="72" y="11"/>
                      </a:lnTo>
                      <a:lnTo>
                        <a:pt x="71" y="16"/>
                      </a:lnTo>
                      <a:lnTo>
                        <a:pt x="74" y="22"/>
                      </a:lnTo>
                      <a:lnTo>
                        <a:pt x="71" y="31"/>
                      </a:lnTo>
                      <a:lnTo>
                        <a:pt x="72" y="24"/>
                      </a:lnTo>
                      <a:lnTo>
                        <a:pt x="69" y="18"/>
                      </a:lnTo>
                      <a:lnTo>
                        <a:pt x="69" y="16"/>
                      </a:lnTo>
                      <a:lnTo>
                        <a:pt x="68" y="14"/>
                      </a:lnTo>
                      <a:lnTo>
                        <a:pt x="68" y="11"/>
                      </a:lnTo>
                      <a:lnTo>
                        <a:pt x="66" y="9"/>
                      </a:lnTo>
                      <a:lnTo>
                        <a:pt x="60" y="13"/>
                      </a:lnTo>
                      <a:lnTo>
                        <a:pt x="59" y="17"/>
                      </a:lnTo>
                      <a:lnTo>
                        <a:pt x="61" y="20"/>
                      </a:lnTo>
                      <a:lnTo>
                        <a:pt x="58" y="25"/>
                      </a:lnTo>
                      <a:lnTo>
                        <a:pt x="56" y="25"/>
                      </a:lnTo>
                      <a:lnTo>
                        <a:pt x="55" y="19"/>
                      </a:lnTo>
                      <a:lnTo>
                        <a:pt x="54" y="18"/>
                      </a:lnTo>
                      <a:lnTo>
                        <a:pt x="53" y="11"/>
                      </a:lnTo>
                      <a:lnTo>
                        <a:pt x="51" y="9"/>
                      </a:lnTo>
                      <a:lnTo>
                        <a:pt x="47" y="13"/>
                      </a:lnTo>
                      <a:lnTo>
                        <a:pt x="48" y="21"/>
                      </a:lnTo>
                      <a:lnTo>
                        <a:pt x="50" y="23"/>
                      </a:lnTo>
                      <a:lnTo>
                        <a:pt x="50" y="28"/>
                      </a:lnTo>
                      <a:lnTo>
                        <a:pt x="47" y="31"/>
                      </a:lnTo>
                      <a:lnTo>
                        <a:pt x="45" y="31"/>
                      </a:lnTo>
                      <a:lnTo>
                        <a:pt x="45" y="27"/>
                      </a:lnTo>
                      <a:lnTo>
                        <a:pt x="43" y="29"/>
                      </a:lnTo>
                      <a:lnTo>
                        <a:pt x="41" y="33"/>
                      </a:lnTo>
                      <a:lnTo>
                        <a:pt x="40" y="34"/>
                      </a:lnTo>
                      <a:lnTo>
                        <a:pt x="40" y="39"/>
                      </a:lnTo>
                      <a:lnTo>
                        <a:pt x="37" y="35"/>
                      </a:lnTo>
                      <a:lnTo>
                        <a:pt x="36" y="34"/>
                      </a:lnTo>
                      <a:lnTo>
                        <a:pt x="36" y="31"/>
                      </a:lnTo>
                      <a:lnTo>
                        <a:pt x="38" y="28"/>
                      </a:lnTo>
                      <a:lnTo>
                        <a:pt x="38" y="26"/>
                      </a:lnTo>
                      <a:lnTo>
                        <a:pt x="35" y="26"/>
                      </a:lnTo>
                      <a:lnTo>
                        <a:pt x="36" y="24"/>
                      </a:lnTo>
                      <a:lnTo>
                        <a:pt x="34" y="20"/>
                      </a:lnTo>
                      <a:lnTo>
                        <a:pt x="37" y="21"/>
                      </a:lnTo>
                      <a:lnTo>
                        <a:pt x="39" y="18"/>
                      </a:lnTo>
                      <a:lnTo>
                        <a:pt x="38" y="17"/>
                      </a:lnTo>
                      <a:lnTo>
                        <a:pt x="36" y="15"/>
                      </a:lnTo>
                      <a:lnTo>
                        <a:pt x="38" y="13"/>
                      </a:lnTo>
                      <a:lnTo>
                        <a:pt x="36" y="10"/>
                      </a:lnTo>
                      <a:lnTo>
                        <a:pt x="34" y="11"/>
                      </a:lnTo>
                      <a:lnTo>
                        <a:pt x="33" y="9"/>
                      </a:lnTo>
                      <a:lnTo>
                        <a:pt x="30" y="7"/>
                      </a:lnTo>
                      <a:lnTo>
                        <a:pt x="30" y="4"/>
                      </a:lnTo>
                      <a:lnTo>
                        <a:pt x="28" y="0"/>
                      </a:lnTo>
                      <a:lnTo>
                        <a:pt x="25" y="1"/>
                      </a:lnTo>
                      <a:lnTo>
                        <a:pt x="23" y="0"/>
                      </a:lnTo>
                      <a:lnTo>
                        <a:pt x="18" y="0"/>
                      </a:lnTo>
                      <a:lnTo>
                        <a:pt x="18" y="2"/>
                      </a:lnTo>
                      <a:lnTo>
                        <a:pt x="19" y="4"/>
                      </a:lnTo>
                      <a:lnTo>
                        <a:pt x="21" y="4"/>
                      </a:lnTo>
                      <a:lnTo>
                        <a:pt x="21" y="3"/>
                      </a:lnTo>
                      <a:lnTo>
                        <a:pt x="23" y="3"/>
                      </a:lnTo>
                      <a:lnTo>
                        <a:pt x="25" y="4"/>
                      </a:lnTo>
                      <a:lnTo>
                        <a:pt x="27" y="5"/>
                      </a:lnTo>
                      <a:lnTo>
                        <a:pt x="26" y="7"/>
                      </a:lnTo>
                      <a:lnTo>
                        <a:pt x="23" y="5"/>
                      </a:lnTo>
                      <a:lnTo>
                        <a:pt x="21" y="6"/>
                      </a:lnTo>
                      <a:lnTo>
                        <a:pt x="21" y="7"/>
                      </a:lnTo>
                      <a:lnTo>
                        <a:pt x="25" y="10"/>
                      </a:lnTo>
                      <a:lnTo>
                        <a:pt x="27" y="14"/>
                      </a:lnTo>
                      <a:lnTo>
                        <a:pt x="26" y="16"/>
                      </a:lnTo>
                      <a:lnTo>
                        <a:pt x="26" y="16"/>
                      </a:lnTo>
                      <a:lnTo>
                        <a:pt x="26" y="14"/>
                      </a:lnTo>
                      <a:lnTo>
                        <a:pt x="23" y="11"/>
                      </a:lnTo>
                      <a:lnTo>
                        <a:pt x="21" y="14"/>
                      </a:lnTo>
                      <a:lnTo>
                        <a:pt x="19" y="13"/>
                      </a:lnTo>
                      <a:lnTo>
                        <a:pt x="20" y="11"/>
                      </a:lnTo>
                      <a:lnTo>
                        <a:pt x="18" y="7"/>
                      </a:lnTo>
                      <a:lnTo>
                        <a:pt x="15" y="6"/>
                      </a:lnTo>
                      <a:lnTo>
                        <a:pt x="13" y="7"/>
                      </a:lnTo>
                      <a:lnTo>
                        <a:pt x="15" y="11"/>
                      </a:lnTo>
                      <a:lnTo>
                        <a:pt x="14" y="13"/>
                      </a:lnTo>
                      <a:lnTo>
                        <a:pt x="12" y="10"/>
                      </a:lnTo>
                      <a:lnTo>
                        <a:pt x="10" y="9"/>
                      </a:lnTo>
                      <a:lnTo>
                        <a:pt x="9" y="11"/>
                      </a:lnTo>
                      <a:lnTo>
                        <a:pt x="11" y="14"/>
                      </a:lnTo>
                      <a:lnTo>
                        <a:pt x="13" y="14"/>
                      </a:lnTo>
                      <a:lnTo>
                        <a:pt x="14" y="16"/>
                      </a:lnTo>
                      <a:lnTo>
                        <a:pt x="11" y="15"/>
                      </a:lnTo>
                      <a:lnTo>
                        <a:pt x="9" y="16"/>
                      </a:lnTo>
                      <a:lnTo>
                        <a:pt x="10" y="19"/>
                      </a:lnTo>
                      <a:lnTo>
                        <a:pt x="14" y="20"/>
                      </a:lnTo>
                      <a:lnTo>
                        <a:pt x="12" y="21"/>
                      </a:lnTo>
                      <a:lnTo>
                        <a:pt x="12" y="21"/>
                      </a:lnTo>
                      <a:lnTo>
                        <a:pt x="12" y="23"/>
                      </a:lnTo>
                      <a:lnTo>
                        <a:pt x="11" y="24"/>
                      </a:lnTo>
                      <a:lnTo>
                        <a:pt x="7" y="19"/>
                      </a:lnTo>
                      <a:lnTo>
                        <a:pt x="6" y="19"/>
                      </a:lnTo>
                      <a:lnTo>
                        <a:pt x="5" y="21"/>
                      </a:lnTo>
                      <a:lnTo>
                        <a:pt x="6" y="25"/>
                      </a:lnTo>
                      <a:lnTo>
                        <a:pt x="8" y="27"/>
                      </a:lnTo>
                      <a:lnTo>
                        <a:pt x="6" y="27"/>
                      </a:lnTo>
                      <a:lnTo>
                        <a:pt x="4" y="23"/>
                      </a:lnTo>
                      <a:lnTo>
                        <a:pt x="2" y="22"/>
                      </a:lnTo>
                      <a:lnTo>
                        <a:pt x="0" y="26"/>
                      </a:lnTo>
                      <a:lnTo>
                        <a:pt x="3" y="28"/>
                      </a:lnTo>
                      <a:lnTo>
                        <a:pt x="6" y="31"/>
                      </a:lnTo>
                      <a:lnTo>
                        <a:pt x="9" y="31"/>
                      </a:lnTo>
                      <a:lnTo>
                        <a:pt x="11" y="28"/>
                      </a:lnTo>
                      <a:lnTo>
                        <a:pt x="14" y="27"/>
                      </a:lnTo>
                      <a:lnTo>
                        <a:pt x="15" y="24"/>
                      </a:lnTo>
                      <a:lnTo>
                        <a:pt x="16" y="25"/>
                      </a:lnTo>
                      <a:lnTo>
                        <a:pt x="16" y="28"/>
                      </a:lnTo>
                      <a:lnTo>
                        <a:pt x="18" y="28"/>
                      </a:lnTo>
                      <a:lnTo>
                        <a:pt x="19" y="26"/>
                      </a:lnTo>
                      <a:lnTo>
                        <a:pt x="20" y="29"/>
                      </a:lnTo>
                      <a:lnTo>
                        <a:pt x="21" y="29"/>
                      </a:lnTo>
                      <a:lnTo>
                        <a:pt x="23" y="27"/>
                      </a:lnTo>
                      <a:lnTo>
                        <a:pt x="24" y="25"/>
                      </a:lnTo>
                      <a:lnTo>
                        <a:pt x="24" y="28"/>
                      </a:lnTo>
                      <a:lnTo>
                        <a:pt x="25" y="28"/>
                      </a:lnTo>
                      <a:lnTo>
                        <a:pt x="28" y="26"/>
                      </a:lnTo>
                      <a:lnTo>
                        <a:pt x="28" y="28"/>
                      </a:lnTo>
                      <a:lnTo>
                        <a:pt x="27" y="30"/>
                      </a:lnTo>
                      <a:lnTo>
                        <a:pt x="28" y="31"/>
                      </a:lnTo>
                      <a:lnTo>
                        <a:pt x="30" y="29"/>
                      </a:lnTo>
                      <a:lnTo>
                        <a:pt x="33" y="31"/>
                      </a:lnTo>
                      <a:lnTo>
                        <a:pt x="31" y="32"/>
                      </a:lnTo>
                      <a:lnTo>
                        <a:pt x="30" y="32"/>
                      </a:lnTo>
                      <a:lnTo>
                        <a:pt x="28" y="34"/>
                      </a:lnTo>
                      <a:lnTo>
                        <a:pt x="26" y="34"/>
                      </a:lnTo>
                      <a:lnTo>
                        <a:pt x="22" y="36"/>
                      </a:lnTo>
                      <a:lnTo>
                        <a:pt x="22" y="38"/>
                      </a:lnTo>
                      <a:lnTo>
                        <a:pt x="26" y="39"/>
                      </a:lnTo>
                      <a:lnTo>
                        <a:pt x="29" y="38"/>
                      </a:lnTo>
                      <a:lnTo>
                        <a:pt x="30" y="36"/>
                      </a:lnTo>
                      <a:lnTo>
                        <a:pt x="32" y="35"/>
                      </a:lnTo>
                      <a:lnTo>
                        <a:pt x="31" y="38"/>
                      </a:lnTo>
                      <a:lnTo>
                        <a:pt x="30" y="41"/>
                      </a:lnTo>
                      <a:lnTo>
                        <a:pt x="25" y="42"/>
                      </a:lnTo>
                      <a:lnTo>
                        <a:pt x="23" y="41"/>
                      </a:lnTo>
                      <a:lnTo>
                        <a:pt x="21" y="44"/>
                      </a:lnTo>
                      <a:lnTo>
                        <a:pt x="20" y="42"/>
                      </a:lnTo>
                      <a:lnTo>
                        <a:pt x="19" y="41"/>
                      </a:lnTo>
                      <a:lnTo>
                        <a:pt x="19" y="39"/>
                      </a:lnTo>
                      <a:lnTo>
                        <a:pt x="18" y="39"/>
                      </a:lnTo>
                      <a:lnTo>
                        <a:pt x="17" y="40"/>
                      </a:lnTo>
                      <a:lnTo>
                        <a:pt x="18" y="42"/>
                      </a:lnTo>
                      <a:lnTo>
                        <a:pt x="16" y="43"/>
                      </a:lnTo>
                      <a:lnTo>
                        <a:pt x="14" y="42"/>
                      </a:lnTo>
                      <a:lnTo>
                        <a:pt x="12" y="42"/>
                      </a:lnTo>
                      <a:lnTo>
                        <a:pt x="9" y="44"/>
                      </a:lnTo>
                      <a:lnTo>
                        <a:pt x="6" y="42"/>
                      </a:lnTo>
                      <a:lnTo>
                        <a:pt x="4" y="43"/>
                      </a:lnTo>
                      <a:lnTo>
                        <a:pt x="3" y="43"/>
                      </a:lnTo>
                      <a:lnTo>
                        <a:pt x="5" y="47"/>
                      </a:lnTo>
                      <a:lnTo>
                        <a:pt x="6" y="50"/>
                      </a:lnTo>
                      <a:lnTo>
                        <a:pt x="9" y="50"/>
                      </a:lnTo>
                      <a:lnTo>
                        <a:pt x="9" y="49"/>
                      </a:lnTo>
                      <a:lnTo>
                        <a:pt x="14" y="50"/>
                      </a:lnTo>
                      <a:lnTo>
                        <a:pt x="19" y="50"/>
                      </a:lnTo>
                      <a:lnTo>
                        <a:pt x="23" y="50"/>
                      </a:lnTo>
                      <a:lnTo>
                        <a:pt x="23" y="52"/>
                      </a:lnTo>
                      <a:lnTo>
                        <a:pt x="20" y="53"/>
                      </a:lnTo>
                      <a:lnTo>
                        <a:pt x="20" y="55"/>
                      </a:lnTo>
                      <a:lnTo>
                        <a:pt x="23" y="57"/>
                      </a:lnTo>
                      <a:lnTo>
                        <a:pt x="23" y="59"/>
                      </a:lnTo>
                      <a:lnTo>
                        <a:pt x="25" y="59"/>
                      </a:lnTo>
                      <a:lnTo>
                        <a:pt x="29" y="56"/>
                      </a:lnTo>
                      <a:lnTo>
                        <a:pt x="28" y="59"/>
                      </a:lnTo>
                      <a:lnTo>
                        <a:pt x="26" y="60"/>
                      </a:lnTo>
                      <a:lnTo>
                        <a:pt x="24" y="63"/>
                      </a:lnTo>
                      <a:lnTo>
                        <a:pt x="26" y="65"/>
                      </a:lnTo>
                      <a:lnTo>
                        <a:pt x="30" y="61"/>
                      </a:lnTo>
                      <a:lnTo>
                        <a:pt x="33" y="62"/>
                      </a:lnTo>
                      <a:lnTo>
                        <a:pt x="34" y="64"/>
                      </a:lnTo>
                      <a:lnTo>
                        <a:pt x="32" y="62"/>
                      </a:lnTo>
                      <a:lnTo>
                        <a:pt x="30" y="64"/>
                      </a:lnTo>
                      <a:lnTo>
                        <a:pt x="27" y="66"/>
                      </a:lnTo>
                      <a:lnTo>
                        <a:pt x="25" y="66"/>
                      </a:lnTo>
                      <a:lnTo>
                        <a:pt x="25" y="69"/>
                      </a:lnTo>
                      <a:lnTo>
                        <a:pt x="23" y="70"/>
                      </a:lnTo>
                      <a:lnTo>
                        <a:pt x="22" y="70"/>
                      </a:lnTo>
                      <a:lnTo>
                        <a:pt x="20" y="71"/>
                      </a:lnTo>
                      <a:lnTo>
                        <a:pt x="19" y="69"/>
                      </a:lnTo>
                      <a:lnTo>
                        <a:pt x="16" y="67"/>
                      </a:lnTo>
                      <a:lnTo>
                        <a:pt x="16" y="69"/>
                      </a:lnTo>
                      <a:lnTo>
                        <a:pt x="16" y="69"/>
                      </a:lnTo>
                      <a:lnTo>
                        <a:pt x="16" y="73"/>
                      </a:lnTo>
                      <a:lnTo>
                        <a:pt x="17" y="73"/>
                      </a:lnTo>
                      <a:lnTo>
                        <a:pt x="16" y="74"/>
                      </a:lnTo>
                      <a:lnTo>
                        <a:pt x="16" y="80"/>
                      </a:lnTo>
                      <a:lnTo>
                        <a:pt x="19" y="80"/>
                      </a:lnTo>
                      <a:lnTo>
                        <a:pt x="20" y="79"/>
                      </a:lnTo>
                      <a:lnTo>
                        <a:pt x="23" y="80"/>
                      </a:lnTo>
                      <a:lnTo>
                        <a:pt x="27" y="80"/>
                      </a:lnTo>
                      <a:lnTo>
                        <a:pt x="30" y="78"/>
                      </a:lnTo>
                      <a:lnTo>
                        <a:pt x="33" y="80"/>
                      </a:lnTo>
                      <a:lnTo>
                        <a:pt x="36" y="78"/>
                      </a:lnTo>
                      <a:lnTo>
                        <a:pt x="36" y="80"/>
                      </a:lnTo>
                      <a:lnTo>
                        <a:pt x="37" y="80"/>
                      </a:lnTo>
                      <a:lnTo>
                        <a:pt x="40" y="80"/>
                      </a:lnTo>
                      <a:lnTo>
                        <a:pt x="40" y="8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36" name="Freeform 939">
                  <a:extLst>
                    <a:ext uri="{FF2B5EF4-FFF2-40B4-BE49-F238E27FC236}">
                      <a16:creationId xmlns:a16="http://schemas.microsoft.com/office/drawing/2014/main" id="{D86AF92E-6BB4-41EB-9BDC-FBC2AC789E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66" y="1534"/>
                  <a:ext cx="2" cy="5"/>
                </a:xfrm>
                <a:custGeom>
                  <a:avLst/>
                  <a:gdLst>
                    <a:gd name="T0" fmla="*/ 0 w 2"/>
                    <a:gd name="T1" fmla="*/ 0 h 5"/>
                    <a:gd name="T2" fmla="*/ 0 w 2"/>
                    <a:gd name="T3" fmla="*/ 3 h 5"/>
                    <a:gd name="T4" fmla="*/ 0 w 2"/>
                    <a:gd name="T5" fmla="*/ 5 h 5"/>
                    <a:gd name="T6" fmla="*/ 2 w 2"/>
                    <a:gd name="T7" fmla="*/ 4 h 5"/>
                    <a:gd name="T8" fmla="*/ 2 w 2"/>
                    <a:gd name="T9" fmla="*/ 0 h 5"/>
                    <a:gd name="T10" fmla="*/ 0 w 2"/>
                    <a:gd name="T11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5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2" y="4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37" name="Freeform 940">
                  <a:extLst>
                    <a:ext uri="{FF2B5EF4-FFF2-40B4-BE49-F238E27FC236}">
                      <a16:creationId xmlns:a16="http://schemas.microsoft.com/office/drawing/2014/main" id="{8E22C302-E116-49FE-9D5C-05CDC672AB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06" y="2493"/>
                  <a:ext cx="5" cy="3"/>
                </a:xfrm>
                <a:custGeom>
                  <a:avLst/>
                  <a:gdLst>
                    <a:gd name="T0" fmla="*/ 0 w 5"/>
                    <a:gd name="T1" fmla="*/ 3 h 3"/>
                    <a:gd name="T2" fmla="*/ 5 w 5"/>
                    <a:gd name="T3" fmla="*/ 3 h 3"/>
                    <a:gd name="T4" fmla="*/ 3 w 5"/>
                    <a:gd name="T5" fmla="*/ 0 h 3"/>
                    <a:gd name="T6" fmla="*/ 0 w 5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3">
                      <a:moveTo>
                        <a:pt x="0" y="3"/>
                      </a:moveTo>
                      <a:lnTo>
                        <a:pt x="5" y="3"/>
                      </a:lnTo>
                      <a:lnTo>
                        <a:pt x="3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38" name="Freeform 941">
                  <a:extLst>
                    <a:ext uri="{FF2B5EF4-FFF2-40B4-BE49-F238E27FC236}">
                      <a16:creationId xmlns:a16="http://schemas.microsoft.com/office/drawing/2014/main" id="{34D94BBF-0214-4395-B055-43DB285F8C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6" y="2493"/>
                  <a:ext cx="3" cy="7"/>
                </a:xfrm>
                <a:custGeom>
                  <a:avLst/>
                  <a:gdLst>
                    <a:gd name="T0" fmla="*/ 2 w 3"/>
                    <a:gd name="T1" fmla="*/ 0 h 7"/>
                    <a:gd name="T2" fmla="*/ 0 w 3"/>
                    <a:gd name="T3" fmla="*/ 4 h 7"/>
                    <a:gd name="T4" fmla="*/ 2 w 3"/>
                    <a:gd name="T5" fmla="*/ 7 h 7"/>
                    <a:gd name="T6" fmla="*/ 3 w 3"/>
                    <a:gd name="T7" fmla="*/ 4 h 7"/>
                    <a:gd name="T8" fmla="*/ 2 w 3"/>
                    <a:gd name="T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7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2" y="7"/>
                      </a:lnTo>
                      <a:lnTo>
                        <a:pt x="3" y="4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39" name="Freeform 942">
                  <a:extLst>
                    <a:ext uri="{FF2B5EF4-FFF2-40B4-BE49-F238E27FC236}">
                      <a16:creationId xmlns:a16="http://schemas.microsoft.com/office/drawing/2014/main" id="{A7D7526C-6739-4C89-B6CA-BCB46E08F6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32" y="2500"/>
                  <a:ext cx="4" cy="4"/>
                </a:xfrm>
                <a:custGeom>
                  <a:avLst/>
                  <a:gdLst>
                    <a:gd name="T0" fmla="*/ 4 w 4"/>
                    <a:gd name="T1" fmla="*/ 4 h 4"/>
                    <a:gd name="T2" fmla="*/ 2 w 4"/>
                    <a:gd name="T3" fmla="*/ 0 h 4"/>
                    <a:gd name="T4" fmla="*/ 0 w 4"/>
                    <a:gd name="T5" fmla="*/ 1 h 4"/>
                    <a:gd name="T6" fmla="*/ 2 w 4"/>
                    <a:gd name="T7" fmla="*/ 4 h 4"/>
                    <a:gd name="T8" fmla="*/ 4 w 4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4">
                      <a:moveTo>
                        <a:pt x="4" y="4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40" name="Freeform 943">
                  <a:extLst>
                    <a:ext uri="{FF2B5EF4-FFF2-40B4-BE49-F238E27FC236}">
                      <a16:creationId xmlns:a16="http://schemas.microsoft.com/office/drawing/2014/main" id="{99778B61-BF1E-449A-B261-30FB6EB188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6" y="2504"/>
                  <a:ext cx="4" cy="4"/>
                </a:xfrm>
                <a:custGeom>
                  <a:avLst/>
                  <a:gdLst>
                    <a:gd name="T0" fmla="*/ 0 w 4"/>
                    <a:gd name="T1" fmla="*/ 3 h 4"/>
                    <a:gd name="T2" fmla="*/ 1 w 4"/>
                    <a:gd name="T3" fmla="*/ 4 h 4"/>
                    <a:gd name="T4" fmla="*/ 4 w 4"/>
                    <a:gd name="T5" fmla="*/ 3 h 4"/>
                    <a:gd name="T6" fmla="*/ 0 w 4"/>
                    <a:gd name="T7" fmla="*/ 0 h 4"/>
                    <a:gd name="T8" fmla="*/ 0 w 4"/>
                    <a:gd name="T9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4">
                      <a:moveTo>
                        <a:pt x="0" y="3"/>
                      </a:moveTo>
                      <a:lnTo>
                        <a:pt x="1" y="4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41" name="Freeform 944">
                  <a:extLst>
                    <a:ext uri="{FF2B5EF4-FFF2-40B4-BE49-F238E27FC236}">
                      <a16:creationId xmlns:a16="http://schemas.microsoft.com/office/drawing/2014/main" id="{741DBD0F-65D6-4CAA-A7FD-1AE5EC068C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28" y="2487"/>
                  <a:ext cx="5" cy="6"/>
                </a:xfrm>
                <a:custGeom>
                  <a:avLst/>
                  <a:gdLst>
                    <a:gd name="T0" fmla="*/ 0 w 5"/>
                    <a:gd name="T1" fmla="*/ 2 h 6"/>
                    <a:gd name="T2" fmla="*/ 0 w 5"/>
                    <a:gd name="T3" fmla="*/ 3 h 6"/>
                    <a:gd name="T4" fmla="*/ 3 w 5"/>
                    <a:gd name="T5" fmla="*/ 6 h 6"/>
                    <a:gd name="T6" fmla="*/ 4 w 5"/>
                    <a:gd name="T7" fmla="*/ 2 h 6"/>
                    <a:gd name="T8" fmla="*/ 5 w 5"/>
                    <a:gd name="T9" fmla="*/ 0 h 6"/>
                    <a:gd name="T10" fmla="*/ 2 w 5"/>
                    <a:gd name="T11" fmla="*/ 0 h 6"/>
                    <a:gd name="T12" fmla="*/ 0 w 5"/>
                    <a:gd name="T13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6">
                      <a:moveTo>
                        <a:pt x="0" y="2"/>
                      </a:moveTo>
                      <a:lnTo>
                        <a:pt x="0" y="3"/>
                      </a:lnTo>
                      <a:lnTo>
                        <a:pt x="3" y="6"/>
                      </a:lnTo>
                      <a:lnTo>
                        <a:pt x="4" y="2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42" name="Freeform 945">
                  <a:extLst>
                    <a:ext uri="{FF2B5EF4-FFF2-40B4-BE49-F238E27FC236}">
                      <a16:creationId xmlns:a16="http://schemas.microsoft.com/office/drawing/2014/main" id="{BCC0FCE7-A5E7-410F-B13C-A49E654AA8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96" y="2490"/>
                  <a:ext cx="7" cy="2"/>
                </a:xfrm>
                <a:custGeom>
                  <a:avLst/>
                  <a:gdLst>
                    <a:gd name="T0" fmla="*/ 7 w 7"/>
                    <a:gd name="T1" fmla="*/ 0 h 2"/>
                    <a:gd name="T2" fmla="*/ 2 w 7"/>
                    <a:gd name="T3" fmla="*/ 0 h 2"/>
                    <a:gd name="T4" fmla="*/ 0 w 7"/>
                    <a:gd name="T5" fmla="*/ 2 h 2"/>
                    <a:gd name="T6" fmla="*/ 5 w 7"/>
                    <a:gd name="T7" fmla="*/ 2 h 2"/>
                    <a:gd name="T8" fmla="*/ 7 w 7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7" y="0"/>
                      </a:move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43" name="Freeform 946">
                  <a:extLst>
                    <a:ext uri="{FF2B5EF4-FFF2-40B4-BE49-F238E27FC236}">
                      <a16:creationId xmlns:a16="http://schemas.microsoft.com/office/drawing/2014/main" id="{D5B065EE-3FBB-41C9-8EFD-59E92D38D2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72" y="2483"/>
                  <a:ext cx="25" cy="11"/>
                </a:xfrm>
                <a:custGeom>
                  <a:avLst/>
                  <a:gdLst>
                    <a:gd name="T0" fmla="*/ 1 w 25"/>
                    <a:gd name="T1" fmla="*/ 10 h 11"/>
                    <a:gd name="T2" fmla="*/ 8 w 25"/>
                    <a:gd name="T3" fmla="*/ 10 h 11"/>
                    <a:gd name="T4" fmla="*/ 10 w 25"/>
                    <a:gd name="T5" fmla="*/ 11 h 11"/>
                    <a:gd name="T6" fmla="*/ 15 w 25"/>
                    <a:gd name="T7" fmla="*/ 10 h 11"/>
                    <a:gd name="T8" fmla="*/ 16 w 25"/>
                    <a:gd name="T9" fmla="*/ 10 h 11"/>
                    <a:gd name="T10" fmla="*/ 21 w 25"/>
                    <a:gd name="T11" fmla="*/ 8 h 11"/>
                    <a:gd name="T12" fmla="*/ 25 w 25"/>
                    <a:gd name="T13" fmla="*/ 4 h 11"/>
                    <a:gd name="T14" fmla="*/ 22 w 25"/>
                    <a:gd name="T15" fmla="*/ 3 h 11"/>
                    <a:gd name="T16" fmla="*/ 22 w 25"/>
                    <a:gd name="T17" fmla="*/ 0 h 11"/>
                    <a:gd name="T18" fmla="*/ 20 w 25"/>
                    <a:gd name="T19" fmla="*/ 0 h 11"/>
                    <a:gd name="T20" fmla="*/ 14 w 25"/>
                    <a:gd name="T21" fmla="*/ 0 h 11"/>
                    <a:gd name="T22" fmla="*/ 4 w 25"/>
                    <a:gd name="T23" fmla="*/ 0 h 11"/>
                    <a:gd name="T24" fmla="*/ 2 w 25"/>
                    <a:gd name="T25" fmla="*/ 2 h 11"/>
                    <a:gd name="T26" fmla="*/ 0 w 25"/>
                    <a:gd name="T27" fmla="*/ 4 h 11"/>
                    <a:gd name="T28" fmla="*/ 1 w 25"/>
                    <a:gd name="T29" fmla="*/ 6 h 11"/>
                    <a:gd name="T30" fmla="*/ 0 w 25"/>
                    <a:gd name="T31" fmla="*/ 7 h 11"/>
                    <a:gd name="T32" fmla="*/ 1 w 25"/>
                    <a:gd name="T33" fmla="*/ 1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11">
                      <a:moveTo>
                        <a:pt x="1" y="10"/>
                      </a:moveTo>
                      <a:lnTo>
                        <a:pt x="8" y="10"/>
                      </a:lnTo>
                      <a:lnTo>
                        <a:pt x="10" y="11"/>
                      </a:lnTo>
                      <a:lnTo>
                        <a:pt x="15" y="10"/>
                      </a:lnTo>
                      <a:lnTo>
                        <a:pt x="16" y="10"/>
                      </a:lnTo>
                      <a:lnTo>
                        <a:pt x="21" y="8"/>
                      </a:lnTo>
                      <a:lnTo>
                        <a:pt x="25" y="4"/>
                      </a:lnTo>
                      <a:lnTo>
                        <a:pt x="22" y="3"/>
                      </a:lnTo>
                      <a:lnTo>
                        <a:pt x="22" y="0"/>
                      </a:lnTo>
                      <a:lnTo>
                        <a:pt x="20" y="0"/>
                      </a:lnTo>
                      <a:lnTo>
                        <a:pt x="14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0" y="7"/>
                      </a:lnTo>
                      <a:lnTo>
                        <a:pt x="1" y="1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44" name="Freeform 947">
                  <a:extLst>
                    <a:ext uri="{FF2B5EF4-FFF2-40B4-BE49-F238E27FC236}">
                      <a16:creationId xmlns:a16="http://schemas.microsoft.com/office/drawing/2014/main" id="{52230F25-C8BA-473B-861F-F90BDDD3C8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52" y="2487"/>
                  <a:ext cx="5" cy="4"/>
                </a:xfrm>
                <a:custGeom>
                  <a:avLst/>
                  <a:gdLst>
                    <a:gd name="T0" fmla="*/ 4 w 5"/>
                    <a:gd name="T1" fmla="*/ 2 h 4"/>
                    <a:gd name="T2" fmla="*/ 1 w 5"/>
                    <a:gd name="T3" fmla="*/ 0 h 4"/>
                    <a:gd name="T4" fmla="*/ 0 w 5"/>
                    <a:gd name="T5" fmla="*/ 0 h 4"/>
                    <a:gd name="T6" fmla="*/ 2 w 5"/>
                    <a:gd name="T7" fmla="*/ 3 h 4"/>
                    <a:gd name="T8" fmla="*/ 4 w 5"/>
                    <a:gd name="T9" fmla="*/ 4 h 4"/>
                    <a:gd name="T10" fmla="*/ 5 w 5"/>
                    <a:gd name="T11" fmla="*/ 3 h 4"/>
                    <a:gd name="T12" fmla="*/ 4 w 5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4" y="2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2" y="3"/>
                      </a:lnTo>
                      <a:lnTo>
                        <a:pt x="4" y="4"/>
                      </a:lnTo>
                      <a:lnTo>
                        <a:pt x="5" y="3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45" name="Freeform 948">
                  <a:extLst>
                    <a:ext uri="{FF2B5EF4-FFF2-40B4-BE49-F238E27FC236}">
                      <a16:creationId xmlns:a16="http://schemas.microsoft.com/office/drawing/2014/main" id="{4D329443-C4DD-413A-AEC1-24225BC402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5" y="2456"/>
                  <a:ext cx="54" cy="44"/>
                </a:xfrm>
                <a:custGeom>
                  <a:avLst/>
                  <a:gdLst>
                    <a:gd name="T0" fmla="*/ 54 w 54"/>
                    <a:gd name="T1" fmla="*/ 24 h 44"/>
                    <a:gd name="T2" fmla="*/ 53 w 54"/>
                    <a:gd name="T3" fmla="*/ 22 h 44"/>
                    <a:gd name="T4" fmla="*/ 47 w 54"/>
                    <a:gd name="T5" fmla="*/ 18 h 44"/>
                    <a:gd name="T6" fmla="*/ 45 w 54"/>
                    <a:gd name="T7" fmla="*/ 18 h 44"/>
                    <a:gd name="T8" fmla="*/ 42 w 54"/>
                    <a:gd name="T9" fmla="*/ 17 h 44"/>
                    <a:gd name="T10" fmla="*/ 40 w 54"/>
                    <a:gd name="T11" fmla="*/ 17 h 44"/>
                    <a:gd name="T12" fmla="*/ 36 w 54"/>
                    <a:gd name="T13" fmla="*/ 15 h 44"/>
                    <a:gd name="T14" fmla="*/ 32 w 54"/>
                    <a:gd name="T15" fmla="*/ 12 h 44"/>
                    <a:gd name="T16" fmla="*/ 29 w 54"/>
                    <a:gd name="T17" fmla="*/ 12 h 44"/>
                    <a:gd name="T18" fmla="*/ 31 w 54"/>
                    <a:gd name="T19" fmla="*/ 11 h 44"/>
                    <a:gd name="T20" fmla="*/ 35 w 54"/>
                    <a:gd name="T21" fmla="*/ 13 h 44"/>
                    <a:gd name="T22" fmla="*/ 41 w 54"/>
                    <a:gd name="T23" fmla="*/ 13 h 44"/>
                    <a:gd name="T24" fmla="*/ 44 w 54"/>
                    <a:gd name="T25" fmla="*/ 12 h 44"/>
                    <a:gd name="T26" fmla="*/ 42 w 54"/>
                    <a:gd name="T27" fmla="*/ 10 h 44"/>
                    <a:gd name="T28" fmla="*/ 40 w 54"/>
                    <a:gd name="T29" fmla="*/ 11 h 44"/>
                    <a:gd name="T30" fmla="*/ 36 w 54"/>
                    <a:gd name="T31" fmla="*/ 10 h 44"/>
                    <a:gd name="T32" fmla="*/ 33 w 54"/>
                    <a:gd name="T33" fmla="*/ 4 h 44"/>
                    <a:gd name="T34" fmla="*/ 30 w 54"/>
                    <a:gd name="T35" fmla="*/ 4 h 44"/>
                    <a:gd name="T36" fmla="*/ 30 w 54"/>
                    <a:gd name="T37" fmla="*/ 5 h 44"/>
                    <a:gd name="T38" fmla="*/ 28 w 54"/>
                    <a:gd name="T39" fmla="*/ 3 h 44"/>
                    <a:gd name="T40" fmla="*/ 16 w 54"/>
                    <a:gd name="T41" fmla="*/ 0 h 44"/>
                    <a:gd name="T42" fmla="*/ 15 w 54"/>
                    <a:gd name="T43" fmla="*/ 1 h 44"/>
                    <a:gd name="T44" fmla="*/ 12 w 54"/>
                    <a:gd name="T45" fmla="*/ 0 h 44"/>
                    <a:gd name="T46" fmla="*/ 7 w 54"/>
                    <a:gd name="T47" fmla="*/ 2 h 44"/>
                    <a:gd name="T48" fmla="*/ 6 w 54"/>
                    <a:gd name="T49" fmla="*/ 5 h 44"/>
                    <a:gd name="T50" fmla="*/ 6 w 54"/>
                    <a:gd name="T51" fmla="*/ 6 h 44"/>
                    <a:gd name="T52" fmla="*/ 5 w 54"/>
                    <a:gd name="T53" fmla="*/ 10 h 44"/>
                    <a:gd name="T54" fmla="*/ 6 w 54"/>
                    <a:gd name="T55" fmla="*/ 13 h 44"/>
                    <a:gd name="T56" fmla="*/ 5 w 54"/>
                    <a:gd name="T57" fmla="*/ 16 h 44"/>
                    <a:gd name="T58" fmla="*/ 2 w 54"/>
                    <a:gd name="T59" fmla="*/ 17 h 44"/>
                    <a:gd name="T60" fmla="*/ 2 w 54"/>
                    <a:gd name="T61" fmla="*/ 19 h 44"/>
                    <a:gd name="T62" fmla="*/ 4 w 54"/>
                    <a:gd name="T63" fmla="*/ 22 h 44"/>
                    <a:gd name="T64" fmla="*/ 3 w 54"/>
                    <a:gd name="T65" fmla="*/ 25 h 44"/>
                    <a:gd name="T66" fmla="*/ 3 w 54"/>
                    <a:gd name="T67" fmla="*/ 27 h 44"/>
                    <a:gd name="T68" fmla="*/ 0 w 54"/>
                    <a:gd name="T69" fmla="*/ 31 h 44"/>
                    <a:gd name="T70" fmla="*/ 0 w 54"/>
                    <a:gd name="T71" fmla="*/ 34 h 44"/>
                    <a:gd name="T72" fmla="*/ 2 w 54"/>
                    <a:gd name="T73" fmla="*/ 34 h 44"/>
                    <a:gd name="T74" fmla="*/ 3 w 54"/>
                    <a:gd name="T75" fmla="*/ 37 h 44"/>
                    <a:gd name="T76" fmla="*/ 2 w 54"/>
                    <a:gd name="T77" fmla="*/ 40 h 44"/>
                    <a:gd name="T78" fmla="*/ 5 w 54"/>
                    <a:gd name="T79" fmla="*/ 41 h 44"/>
                    <a:gd name="T80" fmla="*/ 6 w 54"/>
                    <a:gd name="T81" fmla="*/ 43 h 44"/>
                    <a:gd name="T82" fmla="*/ 7 w 54"/>
                    <a:gd name="T83" fmla="*/ 44 h 44"/>
                    <a:gd name="T84" fmla="*/ 9 w 54"/>
                    <a:gd name="T85" fmla="*/ 39 h 44"/>
                    <a:gd name="T86" fmla="*/ 13 w 54"/>
                    <a:gd name="T87" fmla="*/ 34 h 44"/>
                    <a:gd name="T88" fmla="*/ 13 w 54"/>
                    <a:gd name="T89" fmla="*/ 32 h 44"/>
                    <a:gd name="T90" fmla="*/ 13 w 54"/>
                    <a:gd name="T91" fmla="*/ 30 h 44"/>
                    <a:gd name="T92" fmla="*/ 15 w 54"/>
                    <a:gd name="T93" fmla="*/ 31 h 44"/>
                    <a:gd name="T94" fmla="*/ 17 w 54"/>
                    <a:gd name="T95" fmla="*/ 31 h 44"/>
                    <a:gd name="T96" fmla="*/ 19 w 54"/>
                    <a:gd name="T97" fmla="*/ 27 h 44"/>
                    <a:gd name="T98" fmla="*/ 21 w 54"/>
                    <a:gd name="T99" fmla="*/ 29 h 44"/>
                    <a:gd name="T100" fmla="*/ 21 w 54"/>
                    <a:gd name="T101" fmla="*/ 32 h 44"/>
                    <a:gd name="T102" fmla="*/ 23 w 54"/>
                    <a:gd name="T103" fmla="*/ 34 h 44"/>
                    <a:gd name="T104" fmla="*/ 26 w 54"/>
                    <a:gd name="T105" fmla="*/ 32 h 44"/>
                    <a:gd name="T106" fmla="*/ 30 w 54"/>
                    <a:gd name="T107" fmla="*/ 28 h 44"/>
                    <a:gd name="T108" fmla="*/ 34 w 54"/>
                    <a:gd name="T109" fmla="*/ 27 h 44"/>
                    <a:gd name="T110" fmla="*/ 39 w 54"/>
                    <a:gd name="T111" fmla="*/ 28 h 44"/>
                    <a:gd name="T112" fmla="*/ 41 w 54"/>
                    <a:gd name="T113" fmla="*/ 27 h 44"/>
                    <a:gd name="T114" fmla="*/ 44 w 54"/>
                    <a:gd name="T115" fmla="*/ 28 h 44"/>
                    <a:gd name="T116" fmla="*/ 47 w 54"/>
                    <a:gd name="T117" fmla="*/ 29 h 44"/>
                    <a:gd name="T118" fmla="*/ 51 w 54"/>
                    <a:gd name="T119" fmla="*/ 30 h 44"/>
                    <a:gd name="T120" fmla="*/ 51 w 54"/>
                    <a:gd name="T121" fmla="*/ 27 h 44"/>
                    <a:gd name="T122" fmla="*/ 53 w 54"/>
                    <a:gd name="T123" fmla="*/ 27 h 44"/>
                    <a:gd name="T124" fmla="*/ 54 w 54"/>
                    <a:gd name="T125" fmla="*/ 24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54" h="44">
                      <a:moveTo>
                        <a:pt x="54" y="24"/>
                      </a:moveTo>
                      <a:lnTo>
                        <a:pt x="53" y="22"/>
                      </a:lnTo>
                      <a:lnTo>
                        <a:pt x="47" y="18"/>
                      </a:lnTo>
                      <a:lnTo>
                        <a:pt x="45" y="18"/>
                      </a:lnTo>
                      <a:lnTo>
                        <a:pt x="42" y="17"/>
                      </a:lnTo>
                      <a:lnTo>
                        <a:pt x="40" y="17"/>
                      </a:lnTo>
                      <a:lnTo>
                        <a:pt x="36" y="15"/>
                      </a:lnTo>
                      <a:lnTo>
                        <a:pt x="32" y="12"/>
                      </a:lnTo>
                      <a:lnTo>
                        <a:pt x="29" y="12"/>
                      </a:lnTo>
                      <a:lnTo>
                        <a:pt x="31" y="11"/>
                      </a:lnTo>
                      <a:lnTo>
                        <a:pt x="35" y="13"/>
                      </a:lnTo>
                      <a:lnTo>
                        <a:pt x="41" y="13"/>
                      </a:lnTo>
                      <a:lnTo>
                        <a:pt x="44" y="12"/>
                      </a:lnTo>
                      <a:lnTo>
                        <a:pt x="42" y="10"/>
                      </a:lnTo>
                      <a:lnTo>
                        <a:pt x="40" y="11"/>
                      </a:lnTo>
                      <a:lnTo>
                        <a:pt x="36" y="10"/>
                      </a:lnTo>
                      <a:lnTo>
                        <a:pt x="33" y="4"/>
                      </a:lnTo>
                      <a:lnTo>
                        <a:pt x="30" y="4"/>
                      </a:lnTo>
                      <a:lnTo>
                        <a:pt x="30" y="5"/>
                      </a:lnTo>
                      <a:lnTo>
                        <a:pt x="28" y="3"/>
                      </a:lnTo>
                      <a:lnTo>
                        <a:pt x="16" y="0"/>
                      </a:lnTo>
                      <a:lnTo>
                        <a:pt x="15" y="1"/>
                      </a:lnTo>
                      <a:lnTo>
                        <a:pt x="12" y="0"/>
                      </a:lnTo>
                      <a:lnTo>
                        <a:pt x="7" y="2"/>
                      </a:lnTo>
                      <a:lnTo>
                        <a:pt x="6" y="5"/>
                      </a:lnTo>
                      <a:lnTo>
                        <a:pt x="6" y="6"/>
                      </a:lnTo>
                      <a:lnTo>
                        <a:pt x="5" y="10"/>
                      </a:lnTo>
                      <a:lnTo>
                        <a:pt x="6" y="13"/>
                      </a:lnTo>
                      <a:lnTo>
                        <a:pt x="5" y="16"/>
                      </a:lnTo>
                      <a:lnTo>
                        <a:pt x="2" y="17"/>
                      </a:lnTo>
                      <a:lnTo>
                        <a:pt x="2" y="19"/>
                      </a:lnTo>
                      <a:lnTo>
                        <a:pt x="4" y="22"/>
                      </a:lnTo>
                      <a:lnTo>
                        <a:pt x="3" y="25"/>
                      </a:lnTo>
                      <a:lnTo>
                        <a:pt x="3" y="27"/>
                      </a:lnTo>
                      <a:lnTo>
                        <a:pt x="0" y="31"/>
                      </a:lnTo>
                      <a:lnTo>
                        <a:pt x="0" y="34"/>
                      </a:lnTo>
                      <a:lnTo>
                        <a:pt x="2" y="34"/>
                      </a:lnTo>
                      <a:lnTo>
                        <a:pt x="3" y="37"/>
                      </a:lnTo>
                      <a:lnTo>
                        <a:pt x="2" y="40"/>
                      </a:lnTo>
                      <a:lnTo>
                        <a:pt x="5" y="41"/>
                      </a:lnTo>
                      <a:lnTo>
                        <a:pt x="6" y="43"/>
                      </a:lnTo>
                      <a:lnTo>
                        <a:pt x="7" y="44"/>
                      </a:lnTo>
                      <a:lnTo>
                        <a:pt x="9" y="39"/>
                      </a:lnTo>
                      <a:lnTo>
                        <a:pt x="13" y="34"/>
                      </a:lnTo>
                      <a:lnTo>
                        <a:pt x="13" y="32"/>
                      </a:lnTo>
                      <a:lnTo>
                        <a:pt x="13" y="30"/>
                      </a:lnTo>
                      <a:lnTo>
                        <a:pt x="15" y="31"/>
                      </a:lnTo>
                      <a:lnTo>
                        <a:pt x="17" y="31"/>
                      </a:lnTo>
                      <a:lnTo>
                        <a:pt x="19" y="27"/>
                      </a:lnTo>
                      <a:lnTo>
                        <a:pt x="21" y="29"/>
                      </a:lnTo>
                      <a:lnTo>
                        <a:pt x="21" y="32"/>
                      </a:lnTo>
                      <a:lnTo>
                        <a:pt x="23" y="34"/>
                      </a:lnTo>
                      <a:lnTo>
                        <a:pt x="26" y="32"/>
                      </a:lnTo>
                      <a:lnTo>
                        <a:pt x="30" y="28"/>
                      </a:lnTo>
                      <a:lnTo>
                        <a:pt x="34" y="27"/>
                      </a:lnTo>
                      <a:lnTo>
                        <a:pt x="39" y="28"/>
                      </a:lnTo>
                      <a:lnTo>
                        <a:pt x="41" y="27"/>
                      </a:lnTo>
                      <a:lnTo>
                        <a:pt x="44" y="28"/>
                      </a:lnTo>
                      <a:lnTo>
                        <a:pt x="47" y="29"/>
                      </a:lnTo>
                      <a:lnTo>
                        <a:pt x="51" y="30"/>
                      </a:lnTo>
                      <a:lnTo>
                        <a:pt x="51" y="27"/>
                      </a:lnTo>
                      <a:lnTo>
                        <a:pt x="53" y="27"/>
                      </a:lnTo>
                      <a:lnTo>
                        <a:pt x="54" y="2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46" name="Freeform 949">
                  <a:extLst>
                    <a:ext uri="{FF2B5EF4-FFF2-40B4-BE49-F238E27FC236}">
                      <a16:creationId xmlns:a16="http://schemas.microsoft.com/office/drawing/2014/main" id="{D60E21B8-87C3-44DF-8EAF-973BB208F9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11" y="799"/>
                  <a:ext cx="6" cy="13"/>
                </a:xfrm>
                <a:custGeom>
                  <a:avLst/>
                  <a:gdLst>
                    <a:gd name="T0" fmla="*/ 5 w 6"/>
                    <a:gd name="T1" fmla="*/ 13 h 13"/>
                    <a:gd name="T2" fmla="*/ 6 w 6"/>
                    <a:gd name="T3" fmla="*/ 10 h 13"/>
                    <a:gd name="T4" fmla="*/ 6 w 6"/>
                    <a:gd name="T5" fmla="*/ 3 h 13"/>
                    <a:gd name="T6" fmla="*/ 4 w 6"/>
                    <a:gd name="T7" fmla="*/ 0 h 13"/>
                    <a:gd name="T8" fmla="*/ 2 w 6"/>
                    <a:gd name="T9" fmla="*/ 0 h 13"/>
                    <a:gd name="T10" fmla="*/ 0 w 6"/>
                    <a:gd name="T11" fmla="*/ 0 h 13"/>
                    <a:gd name="T12" fmla="*/ 0 w 6"/>
                    <a:gd name="T13" fmla="*/ 3 h 13"/>
                    <a:gd name="T14" fmla="*/ 1 w 6"/>
                    <a:gd name="T15" fmla="*/ 6 h 13"/>
                    <a:gd name="T16" fmla="*/ 0 w 6"/>
                    <a:gd name="T17" fmla="*/ 9 h 13"/>
                    <a:gd name="T18" fmla="*/ 5 w 6"/>
                    <a:gd name="T19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" h="13">
                      <a:moveTo>
                        <a:pt x="5" y="13"/>
                      </a:moveTo>
                      <a:lnTo>
                        <a:pt x="6" y="10"/>
                      </a:lnTo>
                      <a:lnTo>
                        <a:pt x="6" y="3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" y="6"/>
                      </a:lnTo>
                      <a:lnTo>
                        <a:pt x="0" y="9"/>
                      </a:lnTo>
                      <a:lnTo>
                        <a:pt x="5" y="1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47" name="Freeform 950">
                  <a:extLst>
                    <a:ext uri="{FF2B5EF4-FFF2-40B4-BE49-F238E27FC236}">
                      <a16:creationId xmlns:a16="http://schemas.microsoft.com/office/drawing/2014/main" id="{E26CA530-0514-421B-A98E-AA5C09DE7B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09" y="785"/>
                  <a:ext cx="8" cy="11"/>
                </a:xfrm>
                <a:custGeom>
                  <a:avLst/>
                  <a:gdLst>
                    <a:gd name="T0" fmla="*/ 0 w 8"/>
                    <a:gd name="T1" fmla="*/ 4 h 11"/>
                    <a:gd name="T2" fmla="*/ 0 w 8"/>
                    <a:gd name="T3" fmla="*/ 7 h 11"/>
                    <a:gd name="T4" fmla="*/ 1 w 8"/>
                    <a:gd name="T5" fmla="*/ 10 h 11"/>
                    <a:gd name="T6" fmla="*/ 2 w 8"/>
                    <a:gd name="T7" fmla="*/ 11 h 11"/>
                    <a:gd name="T8" fmla="*/ 6 w 8"/>
                    <a:gd name="T9" fmla="*/ 10 h 11"/>
                    <a:gd name="T10" fmla="*/ 8 w 8"/>
                    <a:gd name="T11" fmla="*/ 8 h 11"/>
                    <a:gd name="T12" fmla="*/ 7 w 8"/>
                    <a:gd name="T13" fmla="*/ 5 h 11"/>
                    <a:gd name="T14" fmla="*/ 5 w 8"/>
                    <a:gd name="T15" fmla="*/ 4 h 11"/>
                    <a:gd name="T16" fmla="*/ 5 w 8"/>
                    <a:gd name="T17" fmla="*/ 1 h 11"/>
                    <a:gd name="T18" fmla="*/ 4 w 8"/>
                    <a:gd name="T19" fmla="*/ 0 h 11"/>
                    <a:gd name="T20" fmla="*/ 1 w 8"/>
                    <a:gd name="T21" fmla="*/ 1 h 11"/>
                    <a:gd name="T22" fmla="*/ 0 w 8"/>
                    <a:gd name="T23" fmla="*/ 4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11">
                      <a:moveTo>
                        <a:pt x="0" y="4"/>
                      </a:moveTo>
                      <a:lnTo>
                        <a:pt x="0" y="7"/>
                      </a:lnTo>
                      <a:lnTo>
                        <a:pt x="1" y="10"/>
                      </a:lnTo>
                      <a:lnTo>
                        <a:pt x="2" y="11"/>
                      </a:lnTo>
                      <a:lnTo>
                        <a:pt x="6" y="10"/>
                      </a:lnTo>
                      <a:lnTo>
                        <a:pt x="8" y="8"/>
                      </a:lnTo>
                      <a:lnTo>
                        <a:pt x="7" y="5"/>
                      </a:lnTo>
                      <a:lnTo>
                        <a:pt x="5" y="4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48" name="Freeform 951">
                  <a:extLst>
                    <a:ext uri="{FF2B5EF4-FFF2-40B4-BE49-F238E27FC236}">
                      <a16:creationId xmlns:a16="http://schemas.microsoft.com/office/drawing/2014/main" id="{0E7E45CB-A153-409C-BE6A-81E87E2525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16" y="727"/>
                  <a:ext cx="7" cy="9"/>
                </a:xfrm>
                <a:custGeom>
                  <a:avLst/>
                  <a:gdLst>
                    <a:gd name="T0" fmla="*/ 4 w 7"/>
                    <a:gd name="T1" fmla="*/ 7 h 9"/>
                    <a:gd name="T2" fmla="*/ 5 w 7"/>
                    <a:gd name="T3" fmla="*/ 9 h 9"/>
                    <a:gd name="T4" fmla="*/ 7 w 7"/>
                    <a:gd name="T5" fmla="*/ 9 h 9"/>
                    <a:gd name="T6" fmla="*/ 7 w 7"/>
                    <a:gd name="T7" fmla="*/ 7 h 9"/>
                    <a:gd name="T8" fmla="*/ 5 w 7"/>
                    <a:gd name="T9" fmla="*/ 5 h 9"/>
                    <a:gd name="T10" fmla="*/ 4 w 7"/>
                    <a:gd name="T11" fmla="*/ 5 h 9"/>
                    <a:gd name="T12" fmla="*/ 4 w 7"/>
                    <a:gd name="T13" fmla="*/ 2 h 9"/>
                    <a:gd name="T14" fmla="*/ 2 w 7"/>
                    <a:gd name="T15" fmla="*/ 0 h 9"/>
                    <a:gd name="T16" fmla="*/ 0 w 7"/>
                    <a:gd name="T17" fmla="*/ 3 h 9"/>
                    <a:gd name="T18" fmla="*/ 0 w 7"/>
                    <a:gd name="T19" fmla="*/ 4 h 9"/>
                    <a:gd name="T20" fmla="*/ 1 w 7"/>
                    <a:gd name="T21" fmla="*/ 6 h 9"/>
                    <a:gd name="T22" fmla="*/ 4 w 7"/>
                    <a:gd name="T23" fmla="*/ 7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" h="9">
                      <a:moveTo>
                        <a:pt x="4" y="7"/>
                      </a:moveTo>
                      <a:lnTo>
                        <a:pt x="5" y="9"/>
                      </a:lnTo>
                      <a:lnTo>
                        <a:pt x="7" y="9"/>
                      </a:lnTo>
                      <a:lnTo>
                        <a:pt x="7" y="7"/>
                      </a:lnTo>
                      <a:lnTo>
                        <a:pt x="5" y="5"/>
                      </a:lnTo>
                      <a:lnTo>
                        <a:pt x="4" y="5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4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49" name="Freeform 952">
                  <a:extLst>
                    <a:ext uri="{FF2B5EF4-FFF2-40B4-BE49-F238E27FC236}">
                      <a16:creationId xmlns:a16="http://schemas.microsoft.com/office/drawing/2014/main" id="{448F8405-C2F1-4EAD-ADBD-10BB7FA23C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4" y="814"/>
                  <a:ext cx="3" cy="16"/>
                </a:xfrm>
                <a:custGeom>
                  <a:avLst/>
                  <a:gdLst>
                    <a:gd name="T0" fmla="*/ 1 w 3"/>
                    <a:gd name="T1" fmla="*/ 16 h 16"/>
                    <a:gd name="T2" fmla="*/ 2 w 3"/>
                    <a:gd name="T3" fmla="*/ 14 h 16"/>
                    <a:gd name="T4" fmla="*/ 3 w 3"/>
                    <a:gd name="T5" fmla="*/ 11 h 16"/>
                    <a:gd name="T6" fmla="*/ 2 w 3"/>
                    <a:gd name="T7" fmla="*/ 6 h 16"/>
                    <a:gd name="T8" fmla="*/ 3 w 3"/>
                    <a:gd name="T9" fmla="*/ 3 h 16"/>
                    <a:gd name="T10" fmla="*/ 2 w 3"/>
                    <a:gd name="T11" fmla="*/ 0 h 16"/>
                    <a:gd name="T12" fmla="*/ 0 w 3"/>
                    <a:gd name="T13" fmla="*/ 2 h 16"/>
                    <a:gd name="T14" fmla="*/ 0 w 3"/>
                    <a:gd name="T15" fmla="*/ 4 h 16"/>
                    <a:gd name="T16" fmla="*/ 1 w 3"/>
                    <a:gd name="T17" fmla="*/ 5 h 16"/>
                    <a:gd name="T18" fmla="*/ 1 w 3"/>
                    <a:gd name="T19" fmla="*/ 8 h 16"/>
                    <a:gd name="T20" fmla="*/ 0 w 3"/>
                    <a:gd name="T21" fmla="*/ 11 h 16"/>
                    <a:gd name="T22" fmla="*/ 1 w 3"/>
                    <a:gd name="T23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" h="16">
                      <a:moveTo>
                        <a:pt x="1" y="16"/>
                      </a:moveTo>
                      <a:lnTo>
                        <a:pt x="2" y="14"/>
                      </a:lnTo>
                      <a:lnTo>
                        <a:pt x="3" y="11"/>
                      </a:lnTo>
                      <a:lnTo>
                        <a:pt x="2" y="6"/>
                      </a:lnTo>
                      <a:lnTo>
                        <a:pt x="3" y="3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1" y="5"/>
                      </a:lnTo>
                      <a:lnTo>
                        <a:pt x="1" y="8"/>
                      </a:lnTo>
                      <a:lnTo>
                        <a:pt x="0" y="11"/>
                      </a:lnTo>
                      <a:lnTo>
                        <a:pt x="1" y="1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50" name="Freeform 953">
                  <a:extLst>
                    <a:ext uri="{FF2B5EF4-FFF2-40B4-BE49-F238E27FC236}">
                      <a16:creationId xmlns:a16="http://schemas.microsoft.com/office/drawing/2014/main" id="{38444EEC-03F3-4CA8-B88C-0DF149EA3F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60" y="751"/>
                  <a:ext cx="8" cy="38"/>
                </a:xfrm>
                <a:custGeom>
                  <a:avLst/>
                  <a:gdLst>
                    <a:gd name="T0" fmla="*/ 4 w 8"/>
                    <a:gd name="T1" fmla="*/ 31 h 38"/>
                    <a:gd name="T2" fmla="*/ 6 w 8"/>
                    <a:gd name="T3" fmla="*/ 37 h 38"/>
                    <a:gd name="T4" fmla="*/ 8 w 8"/>
                    <a:gd name="T5" fmla="*/ 38 h 38"/>
                    <a:gd name="T6" fmla="*/ 8 w 8"/>
                    <a:gd name="T7" fmla="*/ 34 h 38"/>
                    <a:gd name="T8" fmla="*/ 8 w 8"/>
                    <a:gd name="T9" fmla="*/ 31 h 38"/>
                    <a:gd name="T10" fmla="*/ 5 w 8"/>
                    <a:gd name="T11" fmla="*/ 27 h 38"/>
                    <a:gd name="T12" fmla="*/ 5 w 8"/>
                    <a:gd name="T13" fmla="*/ 21 h 38"/>
                    <a:gd name="T14" fmla="*/ 6 w 8"/>
                    <a:gd name="T15" fmla="*/ 16 h 38"/>
                    <a:gd name="T16" fmla="*/ 7 w 8"/>
                    <a:gd name="T17" fmla="*/ 11 h 38"/>
                    <a:gd name="T18" fmla="*/ 5 w 8"/>
                    <a:gd name="T19" fmla="*/ 7 h 38"/>
                    <a:gd name="T20" fmla="*/ 5 w 8"/>
                    <a:gd name="T21" fmla="*/ 3 h 38"/>
                    <a:gd name="T22" fmla="*/ 5 w 8"/>
                    <a:gd name="T23" fmla="*/ 0 h 38"/>
                    <a:gd name="T24" fmla="*/ 1 w 8"/>
                    <a:gd name="T25" fmla="*/ 3 h 38"/>
                    <a:gd name="T26" fmla="*/ 1 w 8"/>
                    <a:gd name="T27" fmla="*/ 12 h 38"/>
                    <a:gd name="T28" fmla="*/ 0 w 8"/>
                    <a:gd name="T29" fmla="*/ 15 h 38"/>
                    <a:gd name="T30" fmla="*/ 0 w 8"/>
                    <a:gd name="T31" fmla="*/ 19 h 38"/>
                    <a:gd name="T32" fmla="*/ 3 w 8"/>
                    <a:gd name="T33" fmla="*/ 27 h 38"/>
                    <a:gd name="T34" fmla="*/ 4 w 8"/>
                    <a:gd name="T35" fmla="*/ 31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8" h="38">
                      <a:moveTo>
                        <a:pt x="4" y="31"/>
                      </a:moveTo>
                      <a:lnTo>
                        <a:pt x="6" y="37"/>
                      </a:lnTo>
                      <a:lnTo>
                        <a:pt x="8" y="38"/>
                      </a:lnTo>
                      <a:lnTo>
                        <a:pt x="8" y="34"/>
                      </a:lnTo>
                      <a:lnTo>
                        <a:pt x="8" y="31"/>
                      </a:lnTo>
                      <a:lnTo>
                        <a:pt x="5" y="27"/>
                      </a:lnTo>
                      <a:lnTo>
                        <a:pt x="5" y="21"/>
                      </a:lnTo>
                      <a:lnTo>
                        <a:pt x="6" y="16"/>
                      </a:lnTo>
                      <a:lnTo>
                        <a:pt x="7" y="11"/>
                      </a:lnTo>
                      <a:lnTo>
                        <a:pt x="5" y="7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1" y="3"/>
                      </a:lnTo>
                      <a:lnTo>
                        <a:pt x="1" y="12"/>
                      </a:lnTo>
                      <a:lnTo>
                        <a:pt x="0" y="15"/>
                      </a:lnTo>
                      <a:lnTo>
                        <a:pt x="0" y="19"/>
                      </a:lnTo>
                      <a:lnTo>
                        <a:pt x="3" y="27"/>
                      </a:lnTo>
                      <a:lnTo>
                        <a:pt x="4" y="3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51" name="Freeform 954">
                  <a:extLst>
                    <a:ext uri="{FF2B5EF4-FFF2-40B4-BE49-F238E27FC236}">
                      <a16:creationId xmlns:a16="http://schemas.microsoft.com/office/drawing/2014/main" id="{1ECA4049-933C-424D-B01F-ABCD377E48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3" y="815"/>
                  <a:ext cx="5" cy="6"/>
                </a:xfrm>
                <a:custGeom>
                  <a:avLst/>
                  <a:gdLst>
                    <a:gd name="T0" fmla="*/ 0 w 5"/>
                    <a:gd name="T1" fmla="*/ 1 h 6"/>
                    <a:gd name="T2" fmla="*/ 2 w 5"/>
                    <a:gd name="T3" fmla="*/ 2 h 6"/>
                    <a:gd name="T4" fmla="*/ 3 w 5"/>
                    <a:gd name="T5" fmla="*/ 5 h 6"/>
                    <a:gd name="T6" fmla="*/ 5 w 5"/>
                    <a:gd name="T7" fmla="*/ 6 h 6"/>
                    <a:gd name="T8" fmla="*/ 5 w 5"/>
                    <a:gd name="T9" fmla="*/ 2 h 6"/>
                    <a:gd name="T10" fmla="*/ 3 w 5"/>
                    <a:gd name="T11" fmla="*/ 0 h 6"/>
                    <a:gd name="T12" fmla="*/ 0 w 5"/>
                    <a:gd name="T13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6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3" y="5"/>
                      </a:lnTo>
                      <a:lnTo>
                        <a:pt x="5" y="6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52" name="Freeform 955">
                  <a:extLst>
                    <a:ext uri="{FF2B5EF4-FFF2-40B4-BE49-F238E27FC236}">
                      <a16:creationId xmlns:a16="http://schemas.microsoft.com/office/drawing/2014/main" id="{AB79D63F-7DD9-4351-B73D-6F0F3D6B1D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30" y="731"/>
                  <a:ext cx="3" cy="6"/>
                </a:xfrm>
                <a:custGeom>
                  <a:avLst/>
                  <a:gdLst>
                    <a:gd name="T0" fmla="*/ 3 w 3"/>
                    <a:gd name="T1" fmla="*/ 6 h 6"/>
                    <a:gd name="T2" fmla="*/ 3 w 3"/>
                    <a:gd name="T3" fmla="*/ 2 h 6"/>
                    <a:gd name="T4" fmla="*/ 1 w 3"/>
                    <a:gd name="T5" fmla="*/ 0 h 6"/>
                    <a:gd name="T6" fmla="*/ 0 w 3"/>
                    <a:gd name="T7" fmla="*/ 1 h 6"/>
                    <a:gd name="T8" fmla="*/ 1 w 3"/>
                    <a:gd name="T9" fmla="*/ 6 h 6"/>
                    <a:gd name="T10" fmla="*/ 3 w 3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6">
                      <a:moveTo>
                        <a:pt x="3" y="6"/>
                      </a:moveTo>
                      <a:lnTo>
                        <a:pt x="3" y="2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6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53" name="Freeform 956">
                  <a:extLst>
                    <a:ext uri="{FF2B5EF4-FFF2-40B4-BE49-F238E27FC236}">
                      <a16:creationId xmlns:a16="http://schemas.microsoft.com/office/drawing/2014/main" id="{67B8E730-1CD6-40D5-A628-924C58EDD8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32" y="723"/>
                  <a:ext cx="11" cy="16"/>
                </a:xfrm>
                <a:custGeom>
                  <a:avLst/>
                  <a:gdLst>
                    <a:gd name="T0" fmla="*/ 4 w 11"/>
                    <a:gd name="T1" fmla="*/ 10 h 16"/>
                    <a:gd name="T2" fmla="*/ 7 w 11"/>
                    <a:gd name="T3" fmla="*/ 15 h 16"/>
                    <a:gd name="T4" fmla="*/ 9 w 11"/>
                    <a:gd name="T5" fmla="*/ 16 h 16"/>
                    <a:gd name="T6" fmla="*/ 10 w 11"/>
                    <a:gd name="T7" fmla="*/ 12 h 16"/>
                    <a:gd name="T8" fmla="*/ 10 w 11"/>
                    <a:gd name="T9" fmla="*/ 8 h 16"/>
                    <a:gd name="T10" fmla="*/ 11 w 11"/>
                    <a:gd name="T11" fmla="*/ 7 h 16"/>
                    <a:gd name="T12" fmla="*/ 11 w 11"/>
                    <a:gd name="T13" fmla="*/ 5 h 16"/>
                    <a:gd name="T14" fmla="*/ 9 w 11"/>
                    <a:gd name="T15" fmla="*/ 4 h 16"/>
                    <a:gd name="T16" fmla="*/ 7 w 11"/>
                    <a:gd name="T17" fmla="*/ 0 h 16"/>
                    <a:gd name="T18" fmla="*/ 5 w 11"/>
                    <a:gd name="T19" fmla="*/ 0 h 16"/>
                    <a:gd name="T20" fmla="*/ 4 w 11"/>
                    <a:gd name="T21" fmla="*/ 2 h 16"/>
                    <a:gd name="T22" fmla="*/ 4 w 11"/>
                    <a:gd name="T23" fmla="*/ 5 h 16"/>
                    <a:gd name="T24" fmla="*/ 5 w 11"/>
                    <a:gd name="T25" fmla="*/ 7 h 16"/>
                    <a:gd name="T26" fmla="*/ 3 w 11"/>
                    <a:gd name="T27" fmla="*/ 8 h 16"/>
                    <a:gd name="T28" fmla="*/ 2 w 11"/>
                    <a:gd name="T29" fmla="*/ 6 h 16"/>
                    <a:gd name="T30" fmla="*/ 0 w 11"/>
                    <a:gd name="T31" fmla="*/ 7 h 16"/>
                    <a:gd name="T32" fmla="*/ 2 w 11"/>
                    <a:gd name="T33" fmla="*/ 10 h 16"/>
                    <a:gd name="T34" fmla="*/ 4 w 11"/>
                    <a:gd name="T35" fmla="*/ 1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" h="16">
                      <a:moveTo>
                        <a:pt x="4" y="10"/>
                      </a:moveTo>
                      <a:lnTo>
                        <a:pt x="7" y="15"/>
                      </a:lnTo>
                      <a:lnTo>
                        <a:pt x="9" y="16"/>
                      </a:lnTo>
                      <a:lnTo>
                        <a:pt x="10" y="12"/>
                      </a:lnTo>
                      <a:lnTo>
                        <a:pt x="10" y="8"/>
                      </a:lnTo>
                      <a:lnTo>
                        <a:pt x="11" y="7"/>
                      </a:lnTo>
                      <a:lnTo>
                        <a:pt x="11" y="5"/>
                      </a:lnTo>
                      <a:lnTo>
                        <a:pt x="9" y="4"/>
                      </a:lnTo>
                      <a:lnTo>
                        <a:pt x="7" y="0"/>
                      </a:lnTo>
                      <a:lnTo>
                        <a:pt x="5" y="0"/>
                      </a:lnTo>
                      <a:lnTo>
                        <a:pt x="4" y="2"/>
                      </a:lnTo>
                      <a:lnTo>
                        <a:pt x="4" y="5"/>
                      </a:lnTo>
                      <a:lnTo>
                        <a:pt x="5" y="7"/>
                      </a:lnTo>
                      <a:lnTo>
                        <a:pt x="3" y="8"/>
                      </a:lnTo>
                      <a:lnTo>
                        <a:pt x="2" y="6"/>
                      </a:lnTo>
                      <a:lnTo>
                        <a:pt x="0" y="7"/>
                      </a:lnTo>
                      <a:lnTo>
                        <a:pt x="2" y="10"/>
                      </a:lnTo>
                      <a:lnTo>
                        <a:pt x="4" y="1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54" name="Freeform 957">
                  <a:extLst>
                    <a:ext uri="{FF2B5EF4-FFF2-40B4-BE49-F238E27FC236}">
                      <a16:creationId xmlns:a16="http://schemas.microsoft.com/office/drawing/2014/main" id="{55ABD736-D14E-4050-B2D0-F58490B542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5" y="715"/>
                  <a:ext cx="2" cy="4"/>
                </a:xfrm>
                <a:custGeom>
                  <a:avLst/>
                  <a:gdLst>
                    <a:gd name="T0" fmla="*/ 1 w 2"/>
                    <a:gd name="T1" fmla="*/ 4 h 4"/>
                    <a:gd name="T2" fmla="*/ 2 w 2"/>
                    <a:gd name="T3" fmla="*/ 3 h 4"/>
                    <a:gd name="T4" fmla="*/ 2 w 2"/>
                    <a:gd name="T5" fmla="*/ 1 h 4"/>
                    <a:gd name="T6" fmla="*/ 1 w 2"/>
                    <a:gd name="T7" fmla="*/ 0 h 4"/>
                    <a:gd name="T8" fmla="*/ 0 w 2"/>
                    <a:gd name="T9" fmla="*/ 1 h 4"/>
                    <a:gd name="T10" fmla="*/ 0 w 2"/>
                    <a:gd name="T11" fmla="*/ 3 h 4"/>
                    <a:gd name="T12" fmla="*/ 1 w 2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4">
                      <a:moveTo>
                        <a:pt x="1" y="4"/>
                      </a:move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55" name="Freeform 958">
                  <a:extLst>
                    <a:ext uri="{FF2B5EF4-FFF2-40B4-BE49-F238E27FC236}">
                      <a16:creationId xmlns:a16="http://schemas.microsoft.com/office/drawing/2014/main" id="{2EC39EF2-9D38-4EAC-9601-6C218579E3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3" y="700"/>
                  <a:ext cx="3" cy="6"/>
                </a:xfrm>
                <a:custGeom>
                  <a:avLst/>
                  <a:gdLst>
                    <a:gd name="T0" fmla="*/ 1 w 3"/>
                    <a:gd name="T1" fmla="*/ 6 h 6"/>
                    <a:gd name="T2" fmla="*/ 2 w 3"/>
                    <a:gd name="T3" fmla="*/ 6 h 6"/>
                    <a:gd name="T4" fmla="*/ 3 w 3"/>
                    <a:gd name="T5" fmla="*/ 2 h 6"/>
                    <a:gd name="T6" fmla="*/ 2 w 3"/>
                    <a:gd name="T7" fmla="*/ 0 h 6"/>
                    <a:gd name="T8" fmla="*/ 0 w 3"/>
                    <a:gd name="T9" fmla="*/ 0 h 6"/>
                    <a:gd name="T10" fmla="*/ 0 w 3"/>
                    <a:gd name="T11" fmla="*/ 3 h 6"/>
                    <a:gd name="T12" fmla="*/ 0 w 3"/>
                    <a:gd name="T13" fmla="*/ 6 h 6"/>
                    <a:gd name="T14" fmla="*/ 1 w 3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6">
                      <a:moveTo>
                        <a:pt x="1" y="6"/>
                      </a:moveTo>
                      <a:lnTo>
                        <a:pt x="2" y="6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56" name="Freeform 959">
                  <a:extLst>
                    <a:ext uri="{FF2B5EF4-FFF2-40B4-BE49-F238E27FC236}">
                      <a16:creationId xmlns:a16="http://schemas.microsoft.com/office/drawing/2014/main" id="{5CA90F2A-F77A-41BD-9232-881E67BCB6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94" y="708"/>
                  <a:ext cx="4" cy="5"/>
                </a:xfrm>
                <a:custGeom>
                  <a:avLst/>
                  <a:gdLst>
                    <a:gd name="T0" fmla="*/ 0 w 4"/>
                    <a:gd name="T1" fmla="*/ 4 h 5"/>
                    <a:gd name="T2" fmla="*/ 0 w 4"/>
                    <a:gd name="T3" fmla="*/ 5 h 5"/>
                    <a:gd name="T4" fmla="*/ 2 w 4"/>
                    <a:gd name="T5" fmla="*/ 5 h 5"/>
                    <a:gd name="T6" fmla="*/ 4 w 4"/>
                    <a:gd name="T7" fmla="*/ 3 h 5"/>
                    <a:gd name="T8" fmla="*/ 4 w 4"/>
                    <a:gd name="T9" fmla="*/ 0 h 5"/>
                    <a:gd name="T10" fmla="*/ 2 w 4"/>
                    <a:gd name="T11" fmla="*/ 0 h 5"/>
                    <a:gd name="T12" fmla="*/ 0 w 4"/>
                    <a:gd name="T13" fmla="*/ 2 h 5"/>
                    <a:gd name="T14" fmla="*/ 0 w 4"/>
                    <a:gd name="T15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5">
                      <a:moveTo>
                        <a:pt x="0" y="4"/>
                      </a:move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57" name="Freeform 960">
                  <a:extLst>
                    <a:ext uri="{FF2B5EF4-FFF2-40B4-BE49-F238E27FC236}">
                      <a16:creationId xmlns:a16="http://schemas.microsoft.com/office/drawing/2014/main" id="{8303AB57-89EB-4916-BC65-1585FFE57E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2" y="706"/>
                  <a:ext cx="7" cy="13"/>
                </a:xfrm>
                <a:custGeom>
                  <a:avLst/>
                  <a:gdLst>
                    <a:gd name="T0" fmla="*/ 2 w 7"/>
                    <a:gd name="T1" fmla="*/ 10 h 13"/>
                    <a:gd name="T2" fmla="*/ 3 w 7"/>
                    <a:gd name="T3" fmla="*/ 13 h 13"/>
                    <a:gd name="T4" fmla="*/ 4 w 7"/>
                    <a:gd name="T5" fmla="*/ 13 h 13"/>
                    <a:gd name="T6" fmla="*/ 6 w 7"/>
                    <a:gd name="T7" fmla="*/ 10 h 13"/>
                    <a:gd name="T8" fmla="*/ 7 w 7"/>
                    <a:gd name="T9" fmla="*/ 9 h 13"/>
                    <a:gd name="T10" fmla="*/ 4 w 7"/>
                    <a:gd name="T11" fmla="*/ 5 h 13"/>
                    <a:gd name="T12" fmla="*/ 3 w 7"/>
                    <a:gd name="T13" fmla="*/ 2 h 13"/>
                    <a:gd name="T14" fmla="*/ 1 w 7"/>
                    <a:gd name="T15" fmla="*/ 0 h 13"/>
                    <a:gd name="T16" fmla="*/ 0 w 7"/>
                    <a:gd name="T17" fmla="*/ 2 h 13"/>
                    <a:gd name="T18" fmla="*/ 0 w 7"/>
                    <a:gd name="T19" fmla="*/ 4 h 13"/>
                    <a:gd name="T20" fmla="*/ 0 w 7"/>
                    <a:gd name="T21" fmla="*/ 5 h 13"/>
                    <a:gd name="T22" fmla="*/ 0 w 7"/>
                    <a:gd name="T23" fmla="*/ 7 h 13"/>
                    <a:gd name="T24" fmla="*/ 2 w 7"/>
                    <a:gd name="T25" fmla="*/ 1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" h="13">
                      <a:moveTo>
                        <a:pt x="2" y="10"/>
                      </a:moveTo>
                      <a:lnTo>
                        <a:pt x="3" y="13"/>
                      </a:lnTo>
                      <a:lnTo>
                        <a:pt x="4" y="13"/>
                      </a:lnTo>
                      <a:lnTo>
                        <a:pt x="6" y="10"/>
                      </a:lnTo>
                      <a:lnTo>
                        <a:pt x="7" y="9"/>
                      </a:lnTo>
                      <a:lnTo>
                        <a:pt x="4" y="5"/>
                      </a:lnTo>
                      <a:lnTo>
                        <a:pt x="3" y="2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7"/>
                      </a:lnTo>
                      <a:lnTo>
                        <a:pt x="2" y="1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58" name="Freeform 961">
                  <a:extLst>
                    <a:ext uri="{FF2B5EF4-FFF2-40B4-BE49-F238E27FC236}">
                      <a16:creationId xmlns:a16="http://schemas.microsoft.com/office/drawing/2014/main" id="{9C8273BC-D319-4D42-B027-AC21C9E03F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42" y="820"/>
                  <a:ext cx="4" cy="12"/>
                </a:xfrm>
                <a:custGeom>
                  <a:avLst/>
                  <a:gdLst>
                    <a:gd name="T0" fmla="*/ 0 w 4"/>
                    <a:gd name="T1" fmla="*/ 11 h 12"/>
                    <a:gd name="T2" fmla="*/ 1 w 4"/>
                    <a:gd name="T3" fmla="*/ 12 h 12"/>
                    <a:gd name="T4" fmla="*/ 3 w 4"/>
                    <a:gd name="T5" fmla="*/ 10 h 12"/>
                    <a:gd name="T6" fmla="*/ 3 w 4"/>
                    <a:gd name="T7" fmla="*/ 6 h 12"/>
                    <a:gd name="T8" fmla="*/ 4 w 4"/>
                    <a:gd name="T9" fmla="*/ 5 h 12"/>
                    <a:gd name="T10" fmla="*/ 4 w 4"/>
                    <a:gd name="T11" fmla="*/ 2 h 12"/>
                    <a:gd name="T12" fmla="*/ 3 w 4"/>
                    <a:gd name="T13" fmla="*/ 0 h 12"/>
                    <a:gd name="T14" fmla="*/ 1 w 4"/>
                    <a:gd name="T15" fmla="*/ 1 h 12"/>
                    <a:gd name="T16" fmla="*/ 0 w 4"/>
                    <a:gd name="T17" fmla="*/ 4 h 12"/>
                    <a:gd name="T18" fmla="*/ 0 w 4"/>
                    <a:gd name="T19" fmla="*/ 7 h 12"/>
                    <a:gd name="T20" fmla="*/ 0 w 4"/>
                    <a:gd name="T21" fmla="*/ 11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" h="12">
                      <a:moveTo>
                        <a:pt x="0" y="11"/>
                      </a:moveTo>
                      <a:lnTo>
                        <a:pt x="1" y="12"/>
                      </a:lnTo>
                      <a:lnTo>
                        <a:pt x="3" y="10"/>
                      </a:lnTo>
                      <a:lnTo>
                        <a:pt x="3" y="6"/>
                      </a:lnTo>
                      <a:lnTo>
                        <a:pt x="4" y="5"/>
                      </a:lnTo>
                      <a:lnTo>
                        <a:pt x="4" y="2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59" name="Freeform 962">
                  <a:extLst>
                    <a:ext uri="{FF2B5EF4-FFF2-40B4-BE49-F238E27FC236}">
                      <a16:creationId xmlns:a16="http://schemas.microsoft.com/office/drawing/2014/main" id="{C22CD425-66AF-4160-9BFA-BCBD43F981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05" y="751"/>
                  <a:ext cx="6" cy="13"/>
                </a:xfrm>
                <a:custGeom>
                  <a:avLst/>
                  <a:gdLst>
                    <a:gd name="T0" fmla="*/ 1 w 6"/>
                    <a:gd name="T1" fmla="*/ 10 h 13"/>
                    <a:gd name="T2" fmla="*/ 2 w 6"/>
                    <a:gd name="T3" fmla="*/ 12 h 13"/>
                    <a:gd name="T4" fmla="*/ 4 w 6"/>
                    <a:gd name="T5" fmla="*/ 13 h 13"/>
                    <a:gd name="T6" fmla="*/ 5 w 6"/>
                    <a:gd name="T7" fmla="*/ 12 h 13"/>
                    <a:gd name="T8" fmla="*/ 6 w 6"/>
                    <a:gd name="T9" fmla="*/ 10 h 13"/>
                    <a:gd name="T10" fmla="*/ 5 w 6"/>
                    <a:gd name="T11" fmla="*/ 7 h 13"/>
                    <a:gd name="T12" fmla="*/ 4 w 6"/>
                    <a:gd name="T13" fmla="*/ 3 h 13"/>
                    <a:gd name="T14" fmla="*/ 1 w 6"/>
                    <a:gd name="T15" fmla="*/ 0 h 13"/>
                    <a:gd name="T16" fmla="*/ 0 w 6"/>
                    <a:gd name="T17" fmla="*/ 0 h 13"/>
                    <a:gd name="T18" fmla="*/ 0 w 6"/>
                    <a:gd name="T19" fmla="*/ 3 h 13"/>
                    <a:gd name="T20" fmla="*/ 1 w 6"/>
                    <a:gd name="T21" fmla="*/ 6 h 13"/>
                    <a:gd name="T22" fmla="*/ 1 w 6"/>
                    <a:gd name="T23" fmla="*/ 1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" h="13">
                      <a:moveTo>
                        <a:pt x="1" y="10"/>
                      </a:moveTo>
                      <a:lnTo>
                        <a:pt x="2" y="12"/>
                      </a:lnTo>
                      <a:lnTo>
                        <a:pt x="4" y="13"/>
                      </a:lnTo>
                      <a:lnTo>
                        <a:pt x="5" y="12"/>
                      </a:lnTo>
                      <a:lnTo>
                        <a:pt x="6" y="10"/>
                      </a:lnTo>
                      <a:lnTo>
                        <a:pt x="5" y="7"/>
                      </a:lnTo>
                      <a:lnTo>
                        <a:pt x="4" y="3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" y="6"/>
                      </a:lnTo>
                      <a:lnTo>
                        <a:pt x="1" y="1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60" name="Freeform 963">
                  <a:extLst>
                    <a:ext uri="{FF2B5EF4-FFF2-40B4-BE49-F238E27FC236}">
                      <a16:creationId xmlns:a16="http://schemas.microsoft.com/office/drawing/2014/main" id="{DCC47DAA-7669-425D-9B8A-E7AF745EC3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70" y="761"/>
                  <a:ext cx="3" cy="6"/>
                </a:xfrm>
                <a:custGeom>
                  <a:avLst/>
                  <a:gdLst>
                    <a:gd name="T0" fmla="*/ 3 w 3"/>
                    <a:gd name="T1" fmla="*/ 4 h 6"/>
                    <a:gd name="T2" fmla="*/ 2 w 3"/>
                    <a:gd name="T3" fmla="*/ 4 h 6"/>
                    <a:gd name="T4" fmla="*/ 2 w 3"/>
                    <a:gd name="T5" fmla="*/ 1 h 6"/>
                    <a:gd name="T6" fmla="*/ 2 w 3"/>
                    <a:gd name="T7" fmla="*/ 0 h 6"/>
                    <a:gd name="T8" fmla="*/ 0 w 3"/>
                    <a:gd name="T9" fmla="*/ 0 h 6"/>
                    <a:gd name="T10" fmla="*/ 0 w 3"/>
                    <a:gd name="T11" fmla="*/ 3 h 6"/>
                    <a:gd name="T12" fmla="*/ 2 w 3"/>
                    <a:gd name="T13" fmla="*/ 6 h 6"/>
                    <a:gd name="T14" fmla="*/ 3 w 3"/>
                    <a:gd name="T15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6">
                      <a:moveTo>
                        <a:pt x="3" y="4"/>
                      </a:moveTo>
                      <a:lnTo>
                        <a:pt x="2" y="4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6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61" name="Freeform 964">
                  <a:extLst>
                    <a:ext uri="{FF2B5EF4-FFF2-40B4-BE49-F238E27FC236}">
                      <a16:creationId xmlns:a16="http://schemas.microsoft.com/office/drawing/2014/main" id="{BB87CD66-825A-49CB-83B5-C1471C3BF7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45" y="832"/>
                  <a:ext cx="4" cy="9"/>
                </a:xfrm>
                <a:custGeom>
                  <a:avLst/>
                  <a:gdLst>
                    <a:gd name="T0" fmla="*/ 0 w 4"/>
                    <a:gd name="T1" fmla="*/ 6 h 12"/>
                    <a:gd name="T2" fmla="*/ 2 w 4"/>
                    <a:gd name="T3" fmla="*/ 11 h 12"/>
                    <a:gd name="T4" fmla="*/ 3 w 4"/>
                    <a:gd name="T5" fmla="*/ 12 h 12"/>
                    <a:gd name="T6" fmla="*/ 4 w 4"/>
                    <a:gd name="T7" fmla="*/ 9 h 12"/>
                    <a:gd name="T8" fmla="*/ 4 w 4"/>
                    <a:gd name="T9" fmla="*/ 1 h 12"/>
                    <a:gd name="T10" fmla="*/ 3 w 4"/>
                    <a:gd name="T11" fmla="*/ 0 h 12"/>
                    <a:gd name="T12" fmla="*/ 1 w 4"/>
                    <a:gd name="T13" fmla="*/ 2 h 12"/>
                    <a:gd name="T14" fmla="*/ 0 w 4"/>
                    <a:gd name="T15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12">
                      <a:moveTo>
                        <a:pt x="0" y="6"/>
                      </a:moveTo>
                      <a:cubicBezTo>
                        <a:pt x="2" y="11"/>
                        <a:pt x="2" y="11"/>
                        <a:pt x="2" y="11"/>
                      </a:cubicBezTo>
                      <a:cubicBezTo>
                        <a:pt x="2" y="11"/>
                        <a:pt x="3" y="12"/>
                        <a:pt x="3" y="12"/>
                      </a:cubicBezTo>
                      <a:cubicBezTo>
                        <a:pt x="4" y="9"/>
                        <a:pt x="4" y="9"/>
                        <a:pt x="4" y="9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2"/>
                        <a:pt x="1" y="2"/>
                        <a:pt x="1" y="2"/>
                      </a:cubicBez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62" name="Freeform 965">
                  <a:extLst>
                    <a:ext uri="{FF2B5EF4-FFF2-40B4-BE49-F238E27FC236}">
                      <a16:creationId xmlns:a16="http://schemas.microsoft.com/office/drawing/2014/main" id="{AAA29AB9-5790-4BFB-A309-529E130645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4" y="1401"/>
                  <a:ext cx="5" cy="2"/>
                </a:xfrm>
                <a:custGeom>
                  <a:avLst/>
                  <a:gdLst>
                    <a:gd name="T0" fmla="*/ 3 w 5"/>
                    <a:gd name="T1" fmla="*/ 2 h 2"/>
                    <a:gd name="T2" fmla="*/ 5 w 5"/>
                    <a:gd name="T3" fmla="*/ 2 h 2"/>
                    <a:gd name="T4" fmla="*/ 1 w 5"/>
                    <a:gd name="T5" fmla="*/ 0 h 2"/>
                    <a:gd name="T6" fmla="*/ 0 w 5"/>
                    <a:gd name="T7" fmla="*/ 1 h 2"/>
                    <a:gd name="T8" fmla="*/ 0 w 5"/>
                    <a:gd name="T9" fmla="*/ 2 h 2"/>
                    <a:gd name="T10" fmla="*/ 1 w 5"/>
                    <a:gd name="T11" fmla="*/ 2 h 2"/>
                    <a:gd name="T12" fmla="*/ 3 w 5"/>
                    <a:gd name="T13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2">
                      <a:moveTo>
                        <a:pt x="3" y="2"/>
                      </a:moveTo>
                      <a:lnTo>
                        <a:pt x="5" y="2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63" name="Freeform 966">
                  <a:extLst>
                    <a:ext uri="{FF2B5EF4-FFF2-40B4-BE49-F238E27FC236}">
                      <a16:creationId xmlns:a16="http://schemas.microsoft.com/office/drawing/2014/main" id="{77739873-5F22-4A46-975B-588D40B443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9" y="1283"/>
                  <a:ext cx="32" cy="40"/>
                </a:xfrm>
                <a:custGeom>
                  <a:avLst/>
                  <a:gdLst>
                    <a:gd name="T0" fmla="*/ 1 w 32"/>
                    <a:gd name="T1" fmla="*/ 15 h 40"/>
                    <a:gd name="T2" fmla="*/ 1 w 32"/>
                    <a:gd name="T3" fmla="*/ 17 h 40"/>
                    <a:gd name="T4" fmla="*/ 0 w 32"/>
                    <a:gd name="T5" fmla="*/ 20 h 40"/>
                    <a:gd name="T6" fmla="*/ 4 w 32"/>
                    <a:gd name="T7" fmla="*/ 23 h 40"/>
                    <a:gd name="T8" fmla="*/ 2 w 32"/>
                    <a:gd name="T9" fmla="*/ 23 h 40"/>
                    <a:gd name="T10" fmla="*/ 1 w 32"/>
                    <a:gd name="T11" fmla="*/ 24 h 40"/>
                    <a:gd name="T12" fmla="*/ 2 w 32"/>
                    <a:gd name="T13" fmla="*/ 27 h 40"/>
                    <a:gd name="T14" fmla="*/ 9 w 32"/>
                    <a:gd name="T15" fmla="*/ 30 h 40"/>
                    <a:gd name="T16" fmla="*/ 10 w 32"/>
                    <a:gd name="T17" fmla="*/ 31 h 40"/>
                    <a:gd name="T18" fmla="*/ 11 w 32"/>
                    <a:gd name="T19" fmla="*/ 32 h 40"/>
                    <a:gd name="T20" fmla="*/ 16 w 32"/>
                    <a:gd name="T21" fmla="*/ 28 h 40"/>
                    <a:gd name="T22" fmla="*/ 13 w 32"/>
                    <a:gd name="T23" fmla="*/ 33 h 40"/>
                    <a:gd name="T24" fmla="*/ 10 w 32"/>
                    <a:gd name="T25" fmla="*/ 34 h 40"/>
                    <a:gd name="T26" fmla="*/ 6 w 32"/>
                    <a:gd name="T27" fmla="*/ 31 h 40"/>
                    <a:gd name="T28" fmla="*/ 5 w 32"/>
                    <a:gd name="T29" fmla="*/ 32 h 40"/>
                    <a:gd name="T30" fmla="*/ 4 w 32"/>
                    <a:gd name="T31" fmla="*/ 35 h 40"/>
                    <a:gd name="T32" fmla="*/ 6 w 32"/>
                    <a:gd name="T33" fmla="*/ 37 h 40"/>
                    <a:gd name="T34" fmla="*/ 10 w 32"/>
                    <a:gd name="T35" fmla="*/ 37 h 40"/>
                    <a:gd name="T36" fmla="*/ 11 w 32"/>
                    <a:gd name="T37" fmla="*/ 40 h 40"/>
                    <a:gd name="T38" fmla="*/ 13 w 32"/>
                    <a:gd name="T39" fmla="*/ 40 h 40"/>
                    <a:gd name="T40" fmla="*/ 15 w 32"/>
                    <a:gd name="T41" fmla="*/ 38 h 40"/>
                    <a:gd name="T42" fmla="*/ 23 w 32"/>
                    <a:gd name="T43" fmla="*/ 37 h 40"/>
                    <a:gd name="T44" fmla="*/ 27 w 32"/>
                    <a:gd name="T45" fmla="*/ 37 h 40"/>
                    <a:gd name="T46" fmla="*/ 32 w 32"/>
                    <a:gd name="T47" fmla="*/ 32 h 40"/>
                    <a:gd name="T48" fmla="*/ 31 w 32"/>
                    <a:gd name="T49" fmla="*/ 27 h 40"/>
                    <a:gd name="T50" fmla="*/ 30 w 32"/>
                    <a:gd name="T51" fmla="*/ 23 h 40"/>
                    <a:gd name="T52" fmla="*/ 27 w 32"/>
                    <a:gd name="T53" fmla="*/ 22 h 40"/>
                    <a:gd name="T54" fmla="*/ 24 w 32"/>
                    <a:gd name="T55" fmla="*/ 20 h 40"/>
                    <a:gd name="T56" fmla="*/ 22 w 32"/>
                    <a:gd name="T57" fmla="*/ 13 h 40"/>
                    <a:gd name="T58" fmla="*/ 20 w 32"/>
                    <a:gd name="T59" fmla="*/ 7 h 40"/>
                    <a:gd name="T60" fmla="*/ 15 w 32"/>
                    <a:gd name="T61" fmla="*/ 6 h 40"/>
                    <a:gd name="T62" fmla="*/ 13 w 32"/>
                    <a:gd name="T63" fmla="*/ 3 h 40"/>
                    <a:gd name="T64" fmla="*/ 8 w 32"/>
                    <a:gd name="T65" fmla="*/ 2 h 40"/>
                    <a:gd name="T66" fmla="*/ 5 w 32"/>
                    <a:gd name="T67" fmla="*/ 0 h 40"/>
                    <a:gd name="T68" fmla="*/ 5 w 32"/>
                    <a:gd name="T69" fmla="*/ 3 h 40"/>
                    <a:gd name="T70" fmla="*/ 2 w 32"/>
                    <a:gd name="T71" fmla="*/ 6 h 40"/>
                    <a:gd name="T72" fmla="*/ 2 w 32"/>
                    <a:gd name="T73" fmla="*/ 10 h 40"/>
                    <a:gd name="T74" fmla="*/ 5 w 32"/>
                    <a:gd name="T75" fmla="*/ 13 h 40"/>
                    <a:gd name="T76" fmla="*/ 6 w 32"/>
                    <a:gd name="T77" fmla="*/ 16 h 40"/>
                    <a:gd name="T78" fmla="*/ 3 w 32"/>
                    <a:gd name="T79" fmla="*/ 13 h 40"/>
                    <a:gd name="T80" fmla="*/ 1 w 32"/>
                    <a:gd name="T81" fmla="*/ 15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32" h="40">
                      <a:moveTo>
                        <a:pt x="1" y="15"/>
                      </a:moveTo>
                      <a:lnTo>
                        <a:pt x="1" y="17"/>
                      </a:lnTo>
                      <a:lnTo>
                        <a:pt x="0" y="20"/>
                      </a:lnTo>
                      <a:lnTo>
                        <a:pt x="4" y="23"/>
                      </a:lnTo>
                      <a:lnTo>
                        <a:pt x="2" y="23"/>
                      </a:lnTo>
                      <a:lnTo>
                        <a:pt x="1" y="24"/>
                      </a:lnTo>
                      <a:lnTo>
                        <a:pt x="2" y="27"/>
                      </a:lnTo>
                      <a:lnTo>
                        <a:pt x="9" y="30"/>
                      </a:lnTo>
                      <a:lnTo>
                        <a:pt x="10" y="31"/>
                      </a:lnTo>
                      <a:lnTo>
                        <a:pt x="11" y="32"/>
                      </a:lnTo>
                      <a:lnTo>
                        <a:pt x="16" y="28"/>
                      </a:lnTo>
                      <a:lnTo>
                        <a:pt x="13" y="33"/>
                      </a:lnTo>
                      <a:lnTo>
                        <a:pt x="10" y="34"/>
                      </a:lnTo>
                      <a:lnTo>
                        <a:pt x="6" y="31"/>
                      </a:lnTo>
                      <a:lnTo>
                        <a:pt x="5" y="32"/>
                      </a:lnTo>
                      <a:lnTo>
                        <a:pt x="4" y="35"/>
                      </a:lnTo>
                      <a:lnTo>
                        <a:pt x="6" y="37"/>
                      </a:lnTo>
                      <a:lnTo>
                        <a:pt x="10" y="37"/>
                      </a:lnTo>
                      <a:lnTo>
                        <a:pt x="11" y="40"/>
                      </a:lnTo>
                      <a:lnTo>
                        <a:pt x="13" y="40"/>
                      </a:lnTo>
                      <a:lnTo>
                        <a:pt x="15" y="38"/>
                      </a:lnTo>
                      <a:lnTo>
                        <a:pt x="23" y="37"/>
                      </a:lnTo>
                      <a:lnTo>
                        <a:pt x="27" y="37"/>
                      </a:lnTo>
                      <a:lnTo>
                        <a:pt x="32" y="32"/>
                      </a:lnTo>
                      <a:lnTo>
                        <a:pt x="31" y="27"/>
                      </a:lnTo>
                      <a:lnTo>
                        <a:pt x="30" y="23"/>
                      </a:lnTo>
                      <a:lnTo>
                        <a:pt x="27" y="22"/>
                      </a:lnTo>
                      <a:lnTo>
                        <a:pt x="24" y="20"/>
                      </a:lnTo>
                      <a:lnTo>
                        <a:pt x="22" y="13"/>
                      </a:lnTo>
                      <a:lnTo>
                        <a:pt x="20" y="7"/>
                      </a:lnTo>
                      <a:lnTo>
                        <a:pt x="15" y="6"/>
                      </a:lnTo>
                      <a:lnTo>
                        <a:pt x="13" y="3"/>
                      </a:lnTo>
                      <a:lnTo>
                        <a:pt x="8" y="2"/>
                      </a:lnTo>
                      <a:lnTo>
                        <a:pt x="5" y="0"/>
                      </a:lnTo>
                      <a:lnTo>
                        <a:pt x="5" y="3"/>
                      </a:lnTo>
                      <a:lnTo>
                        <a:pt x="2" y="6"/>
                      </a:lnTo>
                      <a:lnTo>
                        <a:pt x="2" y="10"/>
                      </a:lnTo>
                      <a:lnTo>
                        <a:pt x="5" y="13"/>
                      </a:lnTo>
                      <a:lnTo>
                        <a:pt x="6" y="16"/>
                      </a:lnTo>
                      <a:lnTo>
                        <a:pt x="3" y="13"/>
                      </a:lnTo>
                      <a:lnTo>
                        <a:pt x="1" y="1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64" name="Freeform 967">
                  <a:extLst>
                    <a:ext uri="{FF2B5EF4-FFF2-40B4-BE49-F238E27FC236}">
                      <a16:creationId xmlns:a16="http://schemas.microsoft.com/office/drawing/2014/main" id="{74AA5928-A16B-4D23-8626-2E16145008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5" y="1370"/>
                  <a:ext cx="4" cy="4"/>
                </a:xfrm>
                <a:custGeom>
                  <a:avLst/>
                  <a:gdLst>
                    <a:gd name="T0" fmla="*/ 4 w 4"/>
                    <a:gd name="T1" fmla="*/ 2 h 4"/>
                    <a:gd name="T2" fmla="*/ 4 w 4"/>
                    <a:gd name="T3" fmla="*/ 0 h 4"/>
                    <a:gd name="T4" fmla="*/ 3 w 4"/>
                    <a:gd name="T5" fmla="*/ 0 h 4"/>
                    <a:gd name="T6" fmla="*/ 0 w 4"/>
                    <a:gd name="T7" fmla="*/ 2 h 4"/>
                    <a:gd name="T8" fmla="*/ 0 w 4"/>
                    <a:gd name="T9" fmla="*/ 3 h 4"/>
                    <a:gd name="T10" fmla="*/ 0 w 4"/>
                    <a:gd name="T11" fmla="*/ 4 h 4"/>
                    <a:gd name="T12" fmla="*/ 2 w 4"/>
                    <a:gd name="T13" fmla="*/ 4 h 4"/>
                    <a:gd name="T14" fmla="*/ 4 w 4"/>
                    <a:gd name="T15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4">
                      <a:moveTo>
                        <a:pt x="4" y="2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65" name="Freeform 968">
                  <a:extLst>
                    <a:ext uri="{FF2B5EF4-FFF2-40B4-BE49-F238E27FC236}">
                      <a16:creationId xmlns:a16="http://schemas.microsoft.com/office/drawing/2014/main" id="{C6A2566D-B213-4639-ABB7-2A73F0C29B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03" y="1275"/>
                  <a:ext cx="4" cy="5"/>
                </a:xfrm>
                <a:custGeom>
                  <a:avLst/>
                  <a:gdLst>
                    <a:gd name="T0" fmla="*/ 3 w 4"/>
                    <a:gd name="T1" fmla="*/ 5 h 5"/>
                    <a:gd name="T2" fmla="*/ 4 w 4"/>
                    <a:gd name="T3" fmla="*/ 3 h 5"/>
                    <a:gd name="T4" fmla="*/ 2 w 4"/>
                    <a:gd name="T5" fmla="*/ 0 h 5"/>
                    <a:gd name="T6" fmla="*/ 1 w 4"/>
                    <a:gd name="T7" fmla="*/ 0 h 5"/>
                    <a:gd name="T8" fmla="*/ 0 w 4"/>
                    <a:gd name="T9" fmla="*/ 1 h 5"/>
                    <a:gd name="T10" fmla="*/ 2 w 4"/>
                    <a:gd name="T11" fmla="*/ 4 h 5"/>
                    <a:gd name="T12" fmla="*/ 3 w 4"/>
                    <a:gd name="T1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5">
                      <a:moveTo>
                        <a:pt x="3" y="5"/>
                      </a:moveTo>
                      <a:lnTo>
                        <a:pt x="4" y="3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66" name="Freeform 969">
                  <a:extLst>
                    <a:ext uri="{FF2B5EF4-FFF2-40B4-BE49-F238E27FC236}">
                      <a16:creationId xmlns:a16="http://schemas.microsoft.com/office/drawing/2014/main" id="{D2350E8A-B863-42AF-91FD-CE206AC648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04" y="1475"/>
                  <a:ext cx="3" cy="4"/>
                </a:xfrm>
                <a:custGeom>
                  <a:avLst/>
                  <a:gdLst>
                    <a:gd name="T0" fmla="*/ 1 w 4"/>
                    <a:gd name="T1" fmla="*/ 5 h 6"/>
                    <a:gd name="T2" fmla="*/ 3 w 4"/>
                    <a:gd name="T3" fmla="*/ 3 h 6"/>
                    <a:gd name="T4" fmla="*/ 4 w 4"/>
                    <a:gd name="T5" fmla="*/ 1 h 6"/>
                    <a:gd name="T6" fmla="*/ 3 w 4"/>
                    <a:gd name="T7" fmla="*/ 0 h 6"/>
                    <a:gd name="T8" fmla="*/ 0 w 4"/>
                    <a:gd name="T9" fmla="*/ 4 h 6"/>
                    <a:gd name="T10" fmla="*/ 0 w 4"/>
                    <a:gd name="T11" fmla="*/ 6 h 6"/>
                    <a:gd name="T12" fmla="*/ 1 w 4"/>
                    <a:gd name="T13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6">
                      <a:moveTo>
                        <a:pt x="1" y="5"/>
                      </a:move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0" y="6"/>
                        <a:pt x="0" y="6"/>
                      </a:cubicBezTo>
                      <a:lnTo>
                        <a:pt x="1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67" name="Freeform 970">
                  <a:extLst>
                    <a:ext uri="{FF2B5EF4-FFF2-40B4-BE49-F238E27FC236}">
                      <a16:creationId xmlns:a16="http://schemas.microsoft.com/office/drawing/2014/main" id="{E11C37CF-B18B-4E25-A358-F2C811D1DD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09" y="1344"/>
                  <a:ext cx="5" cy="4"/>
                </a:xfrm>
                <a:custGeom>
                  <a:avLst/>
                  <a:gdLst>
                    <a:gd name="T0" fmla="*/ 0 w 5"/>
                    <a:gd name="T1" fmla="*/ 1 h 4"/>
                    <a:gd name="T2" fmla="*/ 0 w 5"/>
                    <a:gd name="T3" fmla="*/ 3 h 4"/>
                    <a:gd name="T4" fmla="*/ 1 w 5"/>
                    <a:gd name="T5" fmla="*/ 4 h 4"/>
                    <a:gd name="T6" fmla="*/ 5 w 5"/>
                    <a:gd name="T7" fmla="*/ 3 h 4"/>
                    <a:gd name="T8" fmla="*/ 4 w 5"/>
                    <a:gd name="T9" fmla="*/ 1 h 4"/>
                    <a:gd name="T10" fmla="*/ 2 w 5"/>
                    <a:gd name="T11" fmla="*/ 0 h 4"/>
                    <a:gd name="T12" fmla="*/ 0 w 5"/>
                    <a:gd name="T13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0" y="1"/>
                      </a:move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5" y="3"/>
                      </a:ln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68" name="Freeform 971">
                  <a:extLst>
                    <a:ext uri="{FF2B5EF4-FFF2-40B4-BE49-F238E27FC236}">
                      <a16:creationId xmlns:a16="http://schemas.microsoft.com/office/drawing/2014/main" id="{B762BFF9-D628-4127-9ABB-FE56FFC7C3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0" y="1343"/>
                  <a:ext cx="5" cy="2"/>
                </a:xfrm>
                <a:custGeom>
                  <a:avLst/>
                  <a:gdLst>
                    <a:gd name="T0" fmla="*/ 3 w 5"/>
                    <a:gd name="T1" fmla="*/ 2 h 2"/>
                    <a:gd name="T2" fmla="*/ 5 w 5"/>
                    <a:gd name="T3" fmla="*/ 1 h 2"/>
                    <a:gd name="T4" fmla="*/ 3 w 5"/>
                    <a:gd name="T5" fmla="*/ 0 h 2"/>
                    <a:gd name="T6" fmla="*/ 0 w 5"/>
                    <a:gd name="T7" fmla="*/ 1 h 2"/>
                    <a:gd name="T8" fmla="*/ 1 w 5"/>
                    <a:gd name="T9" fmla="*/ 2 h 2"/>
                    <a:gd name="T10" fmla="*/ 3 w 5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2">
                      <a:moveTo>
                        <a:pt x="3" y="2"/>
                      </a:move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1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69" name="Freeform 972">
                  <a:extLst>
                    <a:ext uri="{FF2B5EF4-FFF2-40B4-BE49-F238E27FC236}">
                      <a16:creationId xmlns:a16="http://schemas.microsoft.com/office/drawing/2014/main" id="{15880E54-2D76-44BB-A8F8-53A83E24D2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8" y="1401"/>
                  <a:ext cx="2" cy="2"/>
                </a:xfrm>
                <a:custGeom>
                  <a:avLst/>
                  <a:gdLst>
                    <a:gd name="T0" fmla="*/ 2 w 2"/>
                    <a:gd name="T1" fmla="*/ 2 h 2"/>
                    <a:gd name="T2" fmla="*/ 2 w 2"/>
                    <a:gd name="T3" fmla="*/ 0 h 2"/>
                    <a:gd name="T4" fmla="*/ 1 w 2"/>
                    <a:gd name="T5" fmla="*/ 0 h 2"/>
                    <a:gd name="T6" fmla="*/ 0 w 2"/>
                    <a:gd name="T7" fmla="*/ 0 h 2"/>
                    <a:gd name="T8" fmla="*/ 1 w 2"/>
                    <a:gd name="T9" fmla="*/ 2 h 2"/>
                    <a:gd name="T10" fmla="*/ 2 w 2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70" name="Freeform 973">
                  <a:extLst>
                    <a:ext uri="{FF2B5EF4-FFF2-40B4-BE49-F238E27FC236}">
                      <a16:creationId xmlns:a16="http://schemas.microsoft.com/office/drawing/2014/main" id="{C42F98C8-12A6-43D8-931A-2CD8562802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3" y="1548"/>
                  <a:ext cx="1" cy="3"/>
                </a:xfrm>
                <a:custGeom>
                  <a:avLst/>
                  <a:gdLst>
                    <a:gd name="T0" fmla="*/ 1 w 1"/>
                    <a:gd name="T1" fmla="*/ 0 h 3"/>
                    <a:gd name="T2" fmla="*/ 0 w 1"/>
                    <a:gd name="T3" fmla="*/ 1 h 3"/>
                    <a:gd name="T4" fmla="*/ 0 w 1"/>
                    <a:gd name="T5" fmla="*/ 3 h 3"/>
                    <a:gd name="T6" fmla="*/ 1 w 1"/>
                    <a:gd name="T7" fmla="*/ 2 h 3"/>
                    <a:gd name="T8" fmla="*/ 1 w 1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3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71" name="Freeform 974">
                  <a:extLst>
                    <a:ext uri="{FF2B5EF4-FFF2-40B4-BE49-F238E27FC236}">
                      <a16:creationId xmlns:a16="http://schemas.microsoft.com/office/drawing/2014/main" id="{BCD7792E-F922-4449-9B8B-57225EB5D9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04" y="1476"/>
                  <a:ext cx="5" cy="6"/>
                </a:xfrm>
                <a:custGeom>
                  <a:avLst/>
                  <a:gdLst>
                    <a:gd name="T0" fmla="*/ 1 w 5"/>
                    <a:gd name="T1" fmla="*/ 6 h 6"/>
                    <a:gd name="T2" fmla="*/ 3 w 5"/>
                    <a:gd name="T3" fmla="*/ 3 h 6"/>
                    <a:gd name="T4" fmla="*/ 5 w 5"/>
                    <a:gd name="T5" fmla="*/ 0 h 6"/>
                    <a:gd name="T6" fmla="*/ 4 w 5"/>
                    <a:gd name="T7" fmla="*/ 0 h 6"/>
                    <a:gd name="T8" fmla="*/ 3 w 5"/>
                    <a:gd name="T9" fmla="*/ 3 h 6"/>
                    <a:gd name="T10" fmla="*/ 0 w 5"/>
                    <a:gd name="T11" fmla="*/ 6 h 6"/>
                    <a:gd name="T12" fmla="*/ 1 w 5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6">
                      <a:moveTo>
                        <a:pt x="1" y="6"/>
                      </a:moveTo>
                      <a:lnTo>
                        <a:pt x="3" y="3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3" y="3"/>
                      </a:lnTo>
                      <a:lnTo>
                        <a:pt x="0" y="6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72" name="Freeform 975">
                  <a:extLst>
                    <a:ext uri="{FF2B5EF4-FFF2-40B4-BE49-F238E27FC236}">
                      <a16:creationId xmlns:a16="http://schemas.microsoft.com/office/drawing/2014/main" id="{A2405C38-FE45-4D4A-86CB-D32C32CAFA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2" y="1405"/>
                  <a:ext cx="3" cy="1"/>
                </a:xfrm>
                <a:custGeom>
                  <a:avLst/>
                  <a:gdLst>
                    <a:gd name="T0" fmla="*/ 3 w 3"/>
                    <a:gd name="T1" fmla="*/ 1 h 1"/>
                    <a:gd name="T2" fmla="*/ 3 w 3"/>
                    <a:gd name="T3" fmla="*/ 1 h 1"/>
                    <a:gd name="T4" fmla="*/ 3 w 3"/>
                    <a:gd name="T5" fmla="*/ 0 h 1"/>
                    <a:gd name="T6" fmla="*/ 0 w 3"/>
                    <a:gd name="T7" fmla="*/ 1 h 1"/>
                    <a:gd name="T8" fmla="*/ 3 w 3"/>
                    <a:gd name="T9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1">
                      <a:moveTo>
                        <a:pt x="3" y="1"/>
                      </a:move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73" name="Freeform 976">
                  <a:extLst>
                    <a:ext uri="{FF2B5EF4-FFF2-40B4-BE49-F238E27FC236}">
                      <a16:creationId xmlns:a16="http://schemas.microsoft.com/office/drawing/2014/main" id="{3A154955-90EA-4B91-828E-D94C2E46C4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4" y="1191"/>
                  <a:ext cx="9" cy="9"/>
                </a:xfrm>
                <a:custGeom>
                  <a:avLst/>
                  <a:gdLst>
                    <a:gd name="T0" fmla="*/ 2 w 9"/>
                    <a:gd name="T1" fmla="*/ 2 h 9"/>
                    <a:gd name="T2" fmla="*/ 1 w 9"/>
                    <a:gd name="T3" fmla="*/ 5 h 9"/>
                    <a:gd name="T4" fmla="*/ 0 w 9"/>
                    <a:gd name="T5" fmla="*/ 5 h 9"/>
                    <a:gd name="T6" fmla="*/ 0 w 9"/>
                    <a:gd name="T7" fmla="*/ 8 h 9"/>
                    <a:gd name="T8" fmla="*/ 0 w 9"/>
                    <a:gd name="T9" fmla="*/ 9 h 9"/>
                    <a:gd name="T10" fmla="*/ 1 w 9"/>
                    <a:gd name="T11" fmla="*/ 9 h 9"/>
                    <a:gd name="T12" fmla="*/ 2 w 9"/>
                    <a:gd name="T13" fmla="*/ 8 h 9"/>
                    <a:gd name="T14" fmla="*/ 6 w 9"/>
                    <a:gd name="T15" fmla="*/ 5 h 9"/>
                    <a:gd name="T16" fmla="*/ 9 w 9"/>
                    <a:gd name="T17" fmla="*/ 1 h 9"/>
                    <a:gd name="T18" fmla="*/ 9 w 9"/>
                    <a:gd name="T19" fmla="*/ 0 h 9"/>
                    <a:gd name="T20" fmla="*/ 6 w 9"/>
                    <a:gd name="T21" fmla="*/ 0 h 9"/>
                    <a:gd name="T22" fmla="*/ 4 w 9"/>
                    <a:gd name="T23" fmla="*/ 2 h 9"/>
                    <a:gd name="T24" fmla="*/ 2 w 9"/>
                    <a:gd name="T25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" h="9">
                      <a:moveTo>
                        <a:pt x="2" y="2"/>
                      </a:moveTo>
                      <a:lnTo>
                        <a:pt x="1" y="5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0" y="9"/>
                      </a:lnTo>
                      <a:lnTo>
                        <a:pt x="1" y="9"/>
                      </a:lnTo>
                      <a:lnTo>
                        <a:pt x="2" y="8"/>
                      </a:lnTo>
                      <a:lnTo>
                        <a:pt x="6" y="5"/>
                      </a:lnTo>
                      <a:lnTo>
                        <a:pt x="9" y="1"/>
                      </a:lnTo>
                      <a:lnTo>
                        <a:pt x="9" y="0"/>
                      </a:lnTo>
                      <a:lnTo>
                        <a:pt x="6" y="0"/>
                      </a:lnTo>
                      <a:lnTo>
                        <a:pt x="4" y="2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74" name="Freeform 977">
                  <a:extLst>
                    <a:ext uri="{FF2B5EF4-FFF2-40B4-BE49-F238E27FC236}">
                      <a16:creationId xmlns:a16="http://schemas.microsoft.com/office/drawing/2014/main" id="{758C9424-9FDC-4064-B1A2-BE67B2ACDF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9" y="1358"/>
                  <a:ext cx="5" cy="4"/>
                </a:xfrm>
                <a:custGeom>
                  <a:avLst/>
                  <a:gdLst>
                    <a:gd name="T0" fmla="*/ 5 w 5"/>
                    <a:gd name="T1" fmla="*/ 1 h 4"/>
                    <a:gd name="T2" fmla="*/ 1 w 5"/>
                    <a:gd name="T3" fmla="*/ 0 h 4"/>
                    <a:gd name="T4" fmla="*/ 0 w 5"/>
                    <a:gd name="T5" fmla="*/ 1 h 4"/>
                    <a:gd name="T6" fmla="*/ 0 w 5"/>
                    <a:gd name="T7" fmla="*/ 3 h 4"/>
                    <a:gd name="T8" fmla="*/ 1 w 5"/>
                    <a:gd name="T9" fmla="*/ 4 h 4"/>
                    <a:gd name="T10" fmla="*/ 5 w 5"/>
                    <a:gd name="T11" fmla="*/ 3 h 4"/>
                    <a:gd name="T12" fmla="*/ 5 w 5"/>
                    <a:gd name="T13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5" y="1"/>
                      </a:move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5" y="3"/>
                      </a:lnTo>
                      <a:lnTo>
                        <a:pt x="5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75" name="Freeform 978">
                  <a:extLst>
                    <a:ext uri="{FF2B5EF4-FFF2-40B4-BE49-F238E27FC236}">
                      <a16:creationId xmlns:a16="http://schemas.microsoft.com/office/drawing/2014/main" id="{0FC317B4-363C-432A-9AB0-41EEB95260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37" y="1268"/>
                  <a:ext cx="3" cy="4"/>
                </a:xfrm>
                <a:custGeom>
                  <a:avLst/>
                  <a:gdLst>
                    <a:gd name="T0" fmla="*/ 1 w 5"/>
                    <a:gd name="T1" fmla="*/ 0 h 5"/>
                    <a:gd name="T2" fmla="*/ 0 w 5"/>
                    <a:gd name="T3" fmla="*/ 2 h 5"/>
                    <a:gd name="T4" fmla="*/ 4 w 5"/>
                    <a:gd name="T5" fmla="*/ 5 h 5"/>
                    <a:gd name="T6" fmla="*/ 5 w 5"/>
                    <a:gd name="T7" fmla="*/ 5 h 5"/>
                    <a:gd name="T8" fmla="*/ 4 w 5"/>
                    <a:gd name="T9" fmla="*/ 1 h 5"/>
                    <a:gd name="T10" fmla="*/ 1 w 5"/>
                    <a:gd name="T11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5"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4" y="5"/>
                        <a:pt x="4" y="5"/>
                        <a:pt x="4" y="5"/>
                      </a:cubicBezTo>
                      <a:cubicBezTo>
                        <a:pt x="5" y="5"/>
                        <a:pt x="5" y="5"/>
                        <a:pt x="5" y="5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1" y="0"/>
                        <a:pt x="1" y="0"/>
                      </a:cubicBez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76" name="Freeform 979">
                  <a:extLst>
                    <a:ext uri="{FF2B5EF4-FFF2-40B4-BE49-F238E27FC236}">
                      <a16:creationId xmlns:a16="http://schemas.microsoft.com/office/drawing/2014/main" id="{10BB27D3-E1DD-4750-BE15-A5929203AF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2" y="1117"/>
                  <a:ext cx="12" cy="6"/>
                </a:xfrm>
                <a:custGeom>
                  <a:avLst/>
                  <a:gdLst>
                    <a:gd name="T0" fmla="*/ 11 w 12"/>
                    <a:gd name="T1" fmla="*/ 5 h 6"/>
                    <a:gd name="T2" fmla="*/ 11 w 12"/>
                    <a:gd name="T3" fmla="*/ 6 h 6"/>
                    <a:gd name="T4" fmla="*/ 12 w 12"/>
                    <a:gd name="T5" fmla="*/ 3 h 6"/>
                    <a:gd name="T6" fmla="*/ 10 w 12"/>
                    <a:gd name="T7" fmla="*/ 1 h 6"/>
                    <a:gd name="T8" fmla="*/ 7 w 12"/>
                    <a:gd name="T9" fmla="*/ 0 h 6"/>
                    <a:gd name="T10" fmla="*/ 5 w 12"/>
                    <a:gd name="T11" fmla="*/ 1 h 6"/>
                    <a:gd name="T12" fmla="*/ 3 w 12"/>
                    <a:gd name="T13" fmla="*/ 0 h 6"/>
                    <a:gd name="T14" fmla="*/ 0 w 12"/>
                    <a:gd name="T15" fmla="*/ 0 h 6"/>
                    <a:gd name="T16" fmla="*/ 0 w 12"/>
                    <a:gd name="T17" fmla="*/ 1 h 6"/>
                    <a:gd name="T18" fmla="*/ 0 w 12"/>
                    <a:gd name="T19" fmla="*/ 3 h 6"/>
                    <a:gd name="T20" fmla="*/ 2 w 12"/>
                    <a:gd name="T21" fmla="*/ 3 h 6"/>
                    <a:gd name="T22" fmla="*/ 4 w 12"/>
                    <a:gd name="T23" fmla="*/ 4 h 6"/>
                    <a:gd name="T24" fmla="*/ 8 w 12"/>
                    <a:gd name="T25" fmla="*/ 3 h 6"/>
                    <a:gd name="T26" fmla="*/ 11 w 12"/>
                    <a:gd name="T27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6">
                      <a:moveTo>
                        <a:pt x="11" y="5"/>
                      </a:moveTo>
                      <a:lnTo>
                        <a:pt x="11" y="6"/>
                      </a:lnTo>
                      <a:lnTo>
                        <a:pt x="12" y="3"/>
                      </a:lnTo>
                      <a:lnTo>
                        <a:pt x="10" y="1"/>
                      </a:lnTo>
                      <a:lnTo>
                        <a:pt x="7" y="0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4" y="4"/>
                      </a:lnTo>
                      <a:lnTo>
                        <a:pt x="8" y="3"/>
                      </a:lnTo>
                      <a:lnTo>
                        <a:pt x="11" y="5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77" name="Rectangle 980">
                  <a:extLst>
                    <a:ext uri="{FF2B5EF4-FFF2-40B4-BE49-F238E27FC236}">
                      <a16:creationId xmlns:a16="http://schemas.microsoft.com/office/drawing/2014/main" id="{1E01285A-B222-4D9E-9B19-D7FB2875CA2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16" y="1124"/>
                  <a:ext cx="1" cy="1"/>
                </a:xfrm>
                <a:prstGeom prst="rect">
                  <a:avLst/>
                </a:pr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78" name="Freeform 981">
                  <a:extLst>
                    <a:ext uri="{FF2B5EF4-FFF2-40B4-BE49-F238E27FC236}">
                      <a16:creationId xmlns:a16="http://schemas.microsoft.com/office/drawing/2014/main" id="{9C1A5F98-E990-4C16-B6B0-A127C469A8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04" y="962"/>
                  <a:ext cx="11" cy="7"/>
                </a:xfrm>
                <a:custGeom>
                  <a:avLst/>
                  <a:gdLst>
                    <a:gd name="T0" fmla="*/ 11 w 11"/>
                    <a:gd name="T1" fmla="*/ 6 h 7"/>
                    <a:gd name="T2" fmla="*/ 8 w 11"/>
                    <a:gd name="T3" fmla="*/ 2 h 7"/>
                    <a:gd name="T4" fmla="*/ 4 w 11"/>
                    <a:gd name="T5" fmla="*/ 0 h 7"/>
                    <a:gd name="T6" fmla="*/ 1 w 11"/>
                    <a:gd name="T7" fmla="*/ 0 h 7"/>
                    <a:gd name="T8" fmla="*/ 0 w 11"/>
                    <a:gd name="T9" fmla="*/ 2 h 7"/>
                    <a:gd name="T10" fmla="*/ 2 w 11"/>
                    <a:gd name="T11" fmla="*/ 6 h 7"/>
                    <a:gd name="T12" fmla="*/ 5 w 11"/>
                    <a:gd name="T13" fmla="*/ 6 h 7"/>
                    <a:gd name="T14" fmla="*/ 8 w 11"/>
                    <a:gd name="T15" fmla="*/ 7 h 7"/>
                    <a:gd name="T16" fmla="*/ 11 w 11"/>
                    <a:gd name="T17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7">
                      <a:moveTo>
                        <a:pt x="11" y="6"/>
                      </a:moveTo>
                      <a:lnTo>
                        <a:pt x="8" y="2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2" y="6"/>
                      </a:lnTo>
                      <a:lnTo>
                        <a:pt x="5" y="6"/>
                      </a:lnTo>
                      <a:lnTo>
                        <a:pt x="8" y="7"/>
                      </a:lnTo>
                      <a:lnTo>
                        <a:pt x="11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79" name="Freeform 982">
                  <a:extLst>
                    <a:ext uri="{FF2B5EF4-FFF2-40B4-BE49-F238E27FC236}">
                      <a16:creationId xmlns:a16="http://schemas.microsoft.com/office/drawing/2014/main" id="{936B0059-9852-4289-B753-873050491F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37" y="1304"/>
                  <a:ext cx="7" cy="10"/>
                </a:xfrm>
                <a:custGeom>
                  <a:avLst/>
                  <a:gdLst>
                    <a:gd name="T0" fmla="*/ 2 w 7"/>
                    <a:gd name="T1" fmla="*/ 10 h 10"/>
                    <a:gd name="T2" fmla="*/ 3 w 7"/>
                    <a:gd name="T3" fmla="*/ 9 h 10"/>
                    <a:gd name="T4" fmla="*/ 5 w 7"/>
                    <a:gd name="T5" fmla="*/ 4 h 10"/>
                    <a:gd name="T6" fmla="*/ 7 w 7"/>
                    <a:gd name="T7" fmla="*/ 2 h 10"/>
                    <a:gd name="T8" fmla="*/ 6 w 7"/>
                    <a:gd name="T9" fmla="*/ 0 h 10"/>
                    <a:gd name="T10" fmla="*/ 4 w 7"/>
                    <a:gd name="T11" fmla="*/ 1 h 10"/>
                    <a:gd name="T12" fmla="*/ 2 w 7"/>
                    <a:gd name="T13" fmla="*/ 1 h 10"/>
                    <a:gd name="T14" fmla="*/ 0 w 7"/>
                    <a:gd name="T15" fmla="*/ 2 h 10"/>
                    <a:gd name="T16" fmla="*/ 0 w 7"/>
                    <a:gd name="T17" fmla="*/ 4 h 10"/>
                    <a:gd name="T18" fmla="*/ 1 w 7"/>
                    <a:gd name="T19" fmla="*/ 3 h 10"/>
                    <a:gd name="T20" fmla="*/ 2 w 7"/>
                    <a:gd name="T21" fmla="*/ 6 h 10"/>
                    <a:gd name="T22" fmla="*/ 1 w 7"/>
                    <a:gd name="T23" fmla="*/ 9 h 10"/>
                    <a:gd name="T24" fmla="*/ 2 w 7"/>
                    <a:gd name="T2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" h="10">
                      <a:moveTo>
                        <a:pt x="2" y="10"/>
                      </a:moveTo>
                      <a:lnTo>
                        <a:pt x="3" y="9"/>
                      </a:lnTo>
                      <a:lnTo>
                        <a:pt x="5" y="4"/>
                      </a:lnTo>
                      <a:lnTo>
                        <a:pt x="7" y="2"/>
                      </a:lnTo>
                      <a:lnTo>
                        <a:pt x="6" y="0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1" y="3"/>
                      </a:lnTo>
                      <a:lnTo>
                        <a:pt x="2" y="6"/>
                      </a:lnTo>
                      <a:lnTo>
                        <a:pt x="1" y="9"/>
                      </a:lnTo>
                      <a:lnTo>
                        <a:pt x="2" y="1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80" name="Freeform 983">
                  <a:extLst>
                    <a:ext uri="{FF2B5EF4-FFF2-40B4-BE49-F238E27FC236}">
                      <a16:creationId xmlns:a16="http://schemas.microsoft.com/office/drawing/2014/main" id="{B7613528-A269-47CA-B325-2A61218DAC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1" y="1251"/>
                  <a:ext cx="5" cy="9"/>
                </a:xfrm>
                <a:custGeom>
                  <a:avLst/>
                  <a:gdLst>
                    <a:gd name="T0" fmla="*/ 1 w 5"/>
                    <a:gd name="T1" fmla="*/ 2 h 9"/>
                    <a:gd name="T2" fmla="*/ 0 w 5"/>
                    <a:gd name="T3" fmla="*/ 4 h 9"/>
                    <a:gd name="T4" fmla="*/ 0 w 5"/>
                    <a:gd name="T5" fmla="*/ 7 h 9"/>
                    <a:gd name="T6" fmla="*/ 2 w 5"/>
                    <a:gd name="T7" fmla="*/ 9 h 9"/>
                    <a:gd name="T8" fmla="*/ 4 w 5"/>
                    <a:gd name="T9" fmla="*/ 7 h 9"/>
                    <a:gd name="T10" fmla="*/ 4 w 5"/>
                    <a:gd name="T11" fmla="*/ 4 h 9"/>
                    <a:gd name="T12" fmla="*/ 5 w 5"/>
                    <a:gd name="T13" fmla="*/ 0 h 9"/>
                    <a:gd name="T14" fmla="*/ 1 w 5"/>
                    <a:gd name="T15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9">
                      <a:moveTo>
                        <a:pt x="1" y="2"/>
                      </a:move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2" y="9"/>
                      </a:lnTo>
                      <a:lnTo>
                        <a:pt x="4" y="7"/>
                      </a:lnTo>
                      <a:lnTo>
                        <a:pt x="4" y="4"/>
                      </a:lnTo>
                      <a:lnTo>
                        <a:pt x="5" y="0"/>
                      </a:lnTo>
                      <a:lnTo>
                        <a:pt x="1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81" name="Freeform 984">
                  <a:extLst>
                    <a:ext uri="{FF2B5EF4-FFF2-40B4-BE49-F238E27FC236}">
                      <a16:creationId xmlns:a16="http://schemas.microsoft.com/office/drawing/2014/main" id="{C252FDB7-08B1-44E4-9411-DBBEB95989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30" y="1251"/>
                  <a:ext cx="6" cy="8"/>
                </a:xfrm>
                <a:custGeom>
                  <a:avLst/>
                  <a:gdLst>
                    <a:gd name="T0" fmla="*/ 0 w 6"/>
                    <a:gd name="T1" fmla="*/ 7 h 8"/>
                    <a:gd name="T2" fmla="*/ 1 w 6"/>
                    <a:gd name="T3" fmla="*/ 8 h 8"/>
                    <a:gd name="T4" fmla="*/ 3 w 6"/>
                    <a:gd name="T5" fmla="*/ 7 h 8"/>
                    <a:gd name="T6" fmla="*/ 6 w 6"/>
                    <a:gd name="T7" fmla="*/ 5 h 8"/>
                    <a:gd name="T8" fmla="*/ 5 w 6"/>
                    <a:gd name="T9" fmla="*/ 1 h 8"/>
                    <a:gd name="T10" fmla="*/ 3 w 6"/>
                    <a:gd name="T11" fmla="*/ 0 h 8"/>
                    <a:gd name="T12" fmla="*/ 0 w 6"/>
                    <a:gd name="T13" fmla="*/ 1 h 8"/>
                    <a:gd name="T14" fmla="*/ 0 w 6"/>
                    <a:gd name="T15" fmla="*/ 7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8">
                      <a:moveTo>
                        <a:pt x="0" y="7"/>
                      </a:moveTo>
                      <a:lnTo>
                        <a:pt x="1" y="8"/>
                      </a:lnTo>
                      <a:lnTo>
                        <a:pt x="3" y="7"/>
                      </a:lnTo>
                      <a:lnTo>
                        <a:pt x="6" y="5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82" name="Freeform 985">
                  <a:extLst>
                    <a:ext uri="{FF2B5EF4-FFF2-40B4-BE49-F238E27FC236}">
                      <a16:creationId xmlns:a16="http://schemas.microsoft.com/office/drawing/2014/main" id="{AEE5E3CB-D33A-4111-8591-38E6CB6808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9" y="1239"/>
                  <a:ext cx="7" cy="6"/>
                </a:xfrm>
                <a:custGeom>
                  <a:avLst/>
                  <a:gdLst>
                    <a:gd name="T0" fmla="*/ 7 w 7"/>
                    <a:gd name="T1" fmla="*/ 2 h 6"/>
                    <a:gd name="T2" fmla="*/ 4 w 7"/>
                    <a:gd name="T3" fmla="*/ 1 h 6"/>
                    <a:gd name="T4" fmla="*/ 2 w 7"/>
                    <a:gd name="T5" fmla="*/ 0 h 6"/>
                    <a:gd name="T6" fmla="*/ 1 w 7"/>
                    <a:gd name="T7" fmla="*/ 2 h 6"/>
                    <a:gd name="T8" fmla="*/ 0 w 7"/>
                    <a:gd name="T9" fmla="*/ 4 h 6"/>
                    <a:gd name="T10" fmla="*/ 1 w 7"/>
                    <a:gd name="T11" fmla="*/ 6 h 6"/>
                    <a:gd name="T12" fmla="*/ 2 w 7"/>
                    <a:gd name="T13" fmla="*/ 6 h 6"/>
                    <a:gd name="T14" fmla="*/ 4 w 7"/>
                    <a:gd name="T15" fmla="*/ 4 h 6"/>
                    <a:gd name="T16" fmla="*/ 7 w 7"/>
                    <a:gd name="T17" fmla="*/ 2 h 6"/>
                    <a:gd name="T18" fmla="*/ 7 w 7"/>
                    <a:gd name="T1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6">
                      <a:moveTo>
                        <a:pt x="7" y="2"/>
                      </a:move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1" y="2"/>
                      </a:ln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2" y="6"/>
                      </a:lnTo>
                      <a:lnTo>
                        <a:pt x="4" y="4"/>
                      </a:lnTo>
                      <a:lnTo>
                        <a:pt x="7" y="2"/>
                      </a:lnTo>
                      <a:lnTo>
                        <a:pt x="7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83" name="Freeform 986">
                  <a:extLst>
                    <a:ext uri="{FF2B5EF4-FFF2-40B4-BE49-F238E27FC236}">
                      <a16:creationId xmlns:a16="http://schemas.microsoft.com/office/drawing/2014/main" id="{63FB40A4-F8E7-4D21-814A-C153BC65D9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4" y="1340"/>
                  <a:ext cx="7" cy="4"/>
                </a:xfrm>
                <a:custGeom>
                  <a:avLst/>
                  <a:gdLst>
                    <a:gd name="T0" fmla="*/ 3 w 7"/>
                    <a:gd name="T1" fmla="*/ 0 h 4"/>
                    <a:gd name="T2" fmla="*/ 0 w 7"/>
                    <a:gd name="T3" fmla="*/ 1 h 4"/>
                    <a:gd name="T4" fmla="*/ 0 w 7"/>
                    <a:gd name="T5" fmla="*/ 1 h 4"/>
                    <a:gd name="T6" fmla="*/ 3 w 7"/>
                    <a:gd name="T7" fmla="*/ 4 h 4"/>
                    <a:gd name="T8" fmla="*/ 5 w 7"/>
                    <a:gd name="T9" fmla="*/ 3 h 4"/>
                    <a:gd name="T10" fmla="*/ 7 w 7"/>
                    <a:gd name="T11" fmla="*/ 1 h 4"/>
                    <a:gd name="T12" fmla="*/ 5 w 7"/>
                    <a:gd name="T13" fmla="*/ 1 h 4"/>
                    <a:gd name="T14" fmla="*/ 3 w 7"/>
                    <a:gd name="T1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4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3" y="4"/>
                      </a:lnTo>
                      <a:lnTo>
                        <a:pt x="5" y="3"/>
                      </a:lnTo>
                      <a:lnTo>
                        <a:pt x="7" y="1"/>
                      </a:lnTo>
                      <a:lnTo>
                        <a:pt x="5" y="1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84" name="Freeform 987">
                  <a:extLst>
                    <a:ext uri="{FF2B5EF4-FFF2-40B4-BE49-F238E27FC236}">
                      <a16:creationId xmlns:a16="http://schemas.microsoft.com/office/drawing/2014/main" id="{1945763F-379A-41E2-9C37-F0FD62BB93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67" y="1448"/>
                  <a:ext cx="8" cy="10"/>
                </a:xfrm>
                <a:custGeom>
                  <a:avLst/>
                  <a:gdLst>
                    <a:gd name="T0" fmla="*/ 5 w 8"/>
                    <a:gd name="T1" fmla="*/ 2 h 10"/>
                    <a:gd name="T2" fmla="*/ 5 w 8"/>
                    <a:gd name="T3" fmla="*/ 0 h 10"/>
                    <a:gd name="T4" fmla="*/ 3 w 8"/>
                    <a:gd name="T5" fmla="*/ 0 h 10"/>
                    <a:gd name="T6" fmla="*/ 1 w 8"/>
                    <a:gd name="T7" fmla="*/ 3 h 10"/>
                    <a:gd name="T8" fmla="*/ 1 w 8"/>
                    <a:gd name="T9" fmla="*/ 4 h 10"/>
                    <a:gd name="T10" fmla="*/ 0 w 8"/>
                    <a:gd name="T11" fmla="*/ 7 h 10"/>
                    <a:gd name="T12" fmla="*/ 2 w 8"/>
                    <a:gd name="T13" fmla="*/ 8 h 10"/>
                    <a:gd name="T14" fmla="*/ 2 w 8"/>
                    <a:gd name="T15" fmla="*/ 10 h 10"/>
                    <a:gd name="T16" fmla="*/ 4 w 8"/>
                    <a:gd name="T17" fmla="*/ 10 h 10"/>
                    <a:gd name="T18" fmla="*/ 5 w 8"/>
                    <a:gd name="T19" fmla="*/ 8 h 10"/>
                    <a:gd name="T20" fmla="*/ 8 w 8"/>
                    <a:gd name="T21" fmla="*/ 8 h 10"/>
                    <a:gd name="T22" fmla="*/ 8 w 8"/>
                    <a:gd name="T23" fmla="*/ 7 h 10"/>
                    <a:gd name="T24" fmla="*/ 6 w 8"/>
                    <a:gd name="T25" fmla="*/ 3 h 10"/>
                    <a:gd name="T26" fmla="*/ 5 w 8"/>
                    <a:gd name="T27" fmla="*/ 2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" h="10">
                      <a:moveTo>
                        <a:pt x="5" y="2"/>
                      </a:move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0" y="7"/>
                      </a:lnTo>
                      <a:lnTo>
                        <a:pt x="2" y="8"/>
                      </a:lnTo>
                      <a:lnTo>
                        <a:pt x="2" y="10"/>
                      </a:lnTo>
                      <a:lnTo>
                        <a:pt x="4" y="10"/>
                      </a:lnTo>
                      <a:lnTo>
                        <a:pt x="5" y="8"/>
                      </a:lnTo>
                      <a:lnTo>
                        <a:pt x="8" y="8"/>
                      </a:lnTo>
                      <a:lnTo>
                        <a:pt x="8" y="7"/>
                      </a:lnTo>
                      <a:lnTo>
                        <a:pt x="6" y="3"/>
                      </a:lnTo>
                      <a:lnTo>
                        <a:pt x="5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85" name="Freeform 988">
                  <a:extLst>
                    <a:ext uri="{FF2B5EF4-FFF2-40B4-BE49-F238E27FC236}">
                      <a16:creationId xmlns:a16="http://schemas.microsoft.com/office/drawing/2014/main" id="{53614B68-71F0-4F4E-AA6C-2D0E8B27F2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78" y="1452"/>
                  <a:ext cx="1" cy="5"/>
                </a:xfrm>
                <a:custGeom>
                  <a:avLst/>
                  <a:gdLst>
                    <a:gd name="T0" fmla="*/ 1 w 1"/>
                    <a:gd name="T1" fmla="*/ 0 h 5"/>
                    <a:gd name="T2" fmla="*/ 0 w 1"/>
                    <a:gd name="T3" fmla="*/ 2 h 5"/>
                    <a:gd name="T4" fmla="*/ 0 w 1"/>
                    <a:gd name="T5" fmla="*/ 4 h 5"/>
                    <a:gd name="T6" fmla="*/ 1 w 1"/>
                    <a:gd name="T7" fmla="*/ 5 h 5"/>
                    <a:gd name="T8" fmla="*/ 1 w 1"/>
                    <a:gd name="T9" fmla="*/ 4 h 5"/>
                    <a:gd name="T10" fmla="*/ 1 w 1"/>
                    <a:gd name="T11" fmla="*/ 3 h 5"/>
                    <a:gd name="T12" fmla="*/ 1 w 1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" h="5">
                      <a:moveTo>
                        <a:pt x="1" y="0"/>
                      </a:move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86" name="Freeform 989">
                  <a:extLst>
                    <a:ext uri="{FF2B5EF4-FFF2-40B4-BE49-F238E27FC236}">
                      <a16:creationId xmlns:a16="http://schemas.microsoft.com/office/drawing/2014/main" id="{049373A3-6017-4D93-BF78-BDDA38B5ED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48" y="1459"/>
                  <a:ext cx="1" cy="3"/>
                </a:xfrm>
                <a:custGeom>
                  <a:avLst/>
                  <a:gdLst>
                    <a:gd name="T0" fmla="*/ 0 w 1"/>
                    <a:gd name="T1" fmla="*/ 0 h 3"/>
                    <a:gd name="T2" fmla="*/ 0 w 1"/>
                    <a:gd name="T3" fmla="*/ 1 h 3"/>
                    <a:gd name="T4" fmla="*/ 1 w 1"/>
                    <a:gd name="T5" fmla="*/ 3 h 3"/>
                    <a:gd name="T6" fmla="*/ 1 w 1"/>
                    <a:gd name="T7" fmla="*/ 2 h 3"/>
                    <a:gd name="T8" fmla="*/ 0 w 1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3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87" name="Freeform 990">
                  <a:extLst>
                    <a:ext uri="{FF2B5EF4-FFF2-40B4-BE49-F238E27FC236}">
                      <a16:creationId xmlns:a16="http://schemas.microsoft.com/office/drawing/2014/main" id="{FC5BC012-89C4-4A36-BDBC-5B121DE2D4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2" y="695"/>
                  <a:ext cx="590" cy="915"/>
                </a:xfrm>
                <a:custGeom>
                  <a:avLst/>
                  <a:gdLst>
                    <a:gd name="T0" fmla="*/ 666 w 761"/>
                    <a:gd name="T1" fmla="*/ 204 h 1179"/>
                    <a:gd name="T2" fmla="*/ 642 w 761"/>
                    <a:gd name="T3" fmla="*/ 204 h 1179"/>
                    <a:gd name="T4" fmla="*/ 588 w 761"/>
                    <a:gd name="T5" fmla="*/ 147 h 1179"/>
                    <a:gd name="T6" fmla="*/ 558 w 761"/>
                    <a:gd name="T7" fmla="*/ 137 h 1179"/>
                    <a:gd name="T8" fmla="*/ 679 w 761"/>
                    <a:gd name="T9" fmla="*/ 106 h 1179"/>
                    <a:gd name="T10" fmla="*/ 612 w 761"/>
                    <a:gd name="T11" fmla="*/ 64 h 1179"/>
                    <a:gd name="T12" fmla="*/ 526 w 761"/>
                    <a:gd name="T13" fmla="*/ 52 h 1179"/>
                    <a:gd name="T14" fmla="*/ 595 w 761"/>
                    <a:gd name="T15" fmla="*/ 20 h 1179"/>
                    <a:gd name="T16" fmla="*/ 486 w 761"/>
                    <a:gd name="T17" fmla="*/ 41 h 1179"/>
                    <a:gd name="T18" fmla="*/ 436 w 761"/>
                    <a:gd name="T19" fmla="*/ 59 h 1179"/>
                    <a:gd name="T20" fmla="*/ 395 w 761"/>
                    <a:gd name="T21" fmla="*/ 78 h 1179"/>
                    <a:gd name="T22" fmla="*/ 374 w 761"/>
                    <a:gd name="T23" fmla="*/ 90 h 1179"/>
                    <a:gd name="T24" fmla="*/ 309 w 761"/>
                    <a:gd name="T25" fmla="*/ 122 h 1179"/>
                    <a:gd name="T26" fmla="*/ 255 w 761"/>
                    <a:gd name="T27" fmla="*/ 78 h 1179"/>
                    <a:gd name="T28" fmla="*/ 189 w 761"/>
                    <a:gd name="T29" fmla="*/ 141 h 1179"/>
                    <a:gd name="T30" fmla="*/ 117 w 761"/>
                    <a:gd name="T31" fmla="*/ 190 h 1179"/>
                    <a:gd name="T32" fmla="*/ 100 w 761"/>
                    <a:gd name="T33" fmla="*/ 258 h 1179"/>
                    <a:gd name="T34" fmla="*/ 16 w 761"/>
                    <a:gd name="T35" fmla="*/ 315 h 1179"/>
                    <a:gd name="T36" fmla="*/ 60 w 761"/>
                    <a:gd name="T37" fmla="*/ 364 h 1179"/>
                    <a:gd name="T38" fmla="*/ 27 w 761"/>
                    <a:gd name="T39" fmla="*/ 400 h 1179"/>
                    <a:gd name="T40" fmla="*/ 67 w 761"/>
                    <a:gd name="T41" fmla="*/ 436 h 1179"/>
                    <a:gd name="T42" fmla="*/ 132 w 761"/>
                    <a:gd name="T43" fmla="*/ 516 h 1179"/>
                    <a:gd name="T44" fmla="*/ 139 w 761"/>
                    <a:gd name="T45" fmla="*/ 622 h 1179"/>
                    <a:gd name="T46" fmla="*/ 121 w 761"/>
                    <a:gd name="T47" fmla="*/ 695 h 1179"/>
                    <a:gd name="T48" fmla="*/ 159 w 761"/>
                    <a:gd name="T49" fmla="*/ 698 h 1179"/>
                    <a:gd name="T50" fmla="*/ 166 w 761"/>
                    <a:gd name="T51" fmla="*/ 733 h 1179"/>
                    <a:gd name="T52" fmla="*/ 149 w 761"/>
                    <a:gd name="T53" fmla="*/ 773 h 1179"/>
                    <a:gd name="T54" fmla="*/ 171 w 761"/>
                    <a:gd name="T55" fmla="*/ 826 h 1179"/>
                    <a:gd name="T56" fmla="*/ 149 w 761"/>
                    <a:gd name="T57" fmla="*/ 858 h 1179"/>
                    <a:gd name="T58" fmla="*/ 138 w 761"/>
                    <a:gd name="T59" fmla="*/ 879 h 1179"/>
                    <a:gd name="T60" fmla="*/ 107 w 761"/>
                    <a:gd name="T61" fmla="*/ 889 h 1179"/>
                    <a:gd name="T62" fmla="*/ 113 w 761"/>
                    <a:gd name="T63" fmla="*/ 924 h 1179"/>
                    <a:gd name="T64" fmla="*/ 108 w 761"/>
                    <a:gd name="T65" fmla="*/ 951 h 1179"/>
                    <a:gd name="T66" fmla="*/ 113 w 761"/>
                    <a:gd name="T67" fmla="*/ 993 h 1179"/>
                    <a:gd name="T68" fmla="*/ 127 w 761"/>
                    <a:gd name="T69" fmla="*/ 1018 h 1179"/>
                    <a:gd name="T70" fmla="*/ 127 w 761"/>
                    <a:gd name="T71" fmla="*/ 1056 h 1179"/>
                    <a:gd name="T72" fmla="*/ 131 w 761"/>
                    <a:gd name="T73" fmla="*/ 1119 h 1179"/>
                    <a:gd name="T74" fmla="*/ 184 w 761"/>
                    <a:gd name="T75" fmla="*/ 1144 h 1179"/>
                    <a:gd name="T76" fmla="*/ 202 w 761"/>
                    <a:gd name="T77" fmla="*/ 1174 h 1179"/>
                    <a:gd name="T78" fmla="*/ 225 w 761"/>
                    <a:gd name="T79" fmla="*/ 1148 h 1179"/>
                    <a:gd name="T80" fmla="*/ 246 w 761"/>
                    <a:gd name="T81" fmla="*/ 1098 h 1179"/>
                    <a:gd name="T82" fmla="*/ 258 w 761"/>
                    <a:gd name="T83" fmla="*/ 1057 h 1179"/>
                    <a:gd name="T84" fmla="*/ 278 w 761"/>
                    <a:gd name="T85" fmla="*/ 1003 h 1179"/>
                    <a:gd name="T86" fmla="*/ 330 w 761"/>
                    <a:gd name="T87" fmla="*/ 952 h 1179"/>
                    <a:gd name="T88" fmla="*/ 384 w 761"/>
                    <a:gd name="T89" fmla="*/ 952 h 1179"/>
                    <a:gd name="T90" fmla="*/ 426 w 761"/>
                    <a:gd name="T91" fmla="*/ 867 h 1179"/>
                    <a:gd name="T92" fmla="*/ 498 w 761"/>
                    <a:gd name="T93" fmla="*/ 875 h 1179"/>
                    <a:gd name="T94" fmla="*/ 566 w 761"/>
                    <a:gd name="T95" fmla="*/ 831 h 1179"/>
                    <a:gd name="T96" fmla="*/ 522 w 761"/>
                    <a:gd name="T97" fmla="*/ 802 h 1179"/>
                    <a:gd name="T98" fmla="*/ 531 w 761"/>
                    <a:gd name="T99" fmla="*/ 753 h 1179"/>
                    <a:gd name="T100" fmla="*/ 558 w 761"/>
                    <a:gd name="T101" fmla="*/ 791 h 1179"/>
                    <a:gd name="T102" fmla="*/ 585 w 761"/>
                    <a:gd name="T103" fmla="*/ 761 h 1179"/>
                    <a:gd name="T104" fmla="*/ 536 w 761"/>
                    <a:gd name="T105" fmla="*/ 703 h 1179"/>
                    <a:gd name="T106" fmla="*/ 522 w 761"/>
                    <a:gd name="T107" fmla="*/ 675 h 1179"/>
                    <a:gd name="T108" fmla="*/ 586 w 761"/>
                    <a:gd name="T109" fmla="*/ 652 h 1179"/>
                    <a:gd name="T110" fmla="*/ 597 w 761"/>
                    <a:gd name="T111" fmla="*/ 614 h 1179"/>
                    <a:gd name="T112" fmla="*/ 608 w 761"/>
                    <a:gd name="T113" fmla="*/ 548 h 1179"/>
                    <a:gd name="T114" fmla="*/ 630 w 761"/>
                    <a:gd name="T115" fmla="*/ 521 h 1179"/>
                    <a:gd name="T116" fmla="*/ 649 w 761"/>
                    <a:gd name="T117" fmla="*/ 492 h 1179"/>
                    <a:gd name="T118" fmla="*/ 640 w 761"/>
                    <a:gd name="T119" fmla="*/ 428 h 1179"/>
                    <a:gd name="T120" fmla="*/ 672 w 761"/>
                    <a:gd name="T121" fmla="*/ 295 h 1179"/>
                    <a:gd name="T122" fmla="*/ 677 w 761"/>
                    <a:gd name="T123" fmla="*/ 260 h 1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761" h="1179">
                      <a:moveTo>
                        <a:pt x="759" y="203"/>
                      </a:moveTo>
                      <a:cubicBezTo>
                        <a:pt x="757" y="200"/>
                        <a:pt x="757" y="200"/>
                        <a:pt x="757" y="200"/>
                      </a:cubicBezTo>
                      <a:cubicBezTo>
                        <a:pt x="756" y="198"/>
                        <a:pt x="756" y="198"/>
                        <a:pt x="756" y="198"/>
                      </a:cubicBezTo>
                      <a:cubicBezTo>
                        <a:pt x="750" y="193"/>
                        <a:pt x="750" y="193"/>
                        <a:pt x="750" y="193"/>
                      </a:cubicBezTo>
                      <a:cubicBezTo>
                        <a:pt x="750" y="190"/>
                        <a:pt x="750" y="190"/>
                        <a:pt x="750" y="190"/>
                      </a:cubicBezTo>
                      <a:cubicBezTo>
                        <a:pt x="749" y="187"/>
                        <a:pt x="749" y="187"/>
                        <a:pt x="749" y="187"/>
                      </a:cubicBezTo>
                      <a:cubicBezTo>
                        <a:pt x="745" y="185"/>
                        <a:pt x="745" y="185"/>
                        <a:pt x="745" y="185"/>
                      </a:cubicBezTo>
                      <a:cubicBezTo>
                        <a:pt x="743" y="184"/>
                        <a:pt x="743" y="184"/>
                        <a:pt x="743" y="184"/>
                      </a:cubicBezTo>
                      <a:cubicBezTo>
                        <a:pt x="741" y="182"/>
                        <a:pt x="741" y="182"/>
                        <a:pt x="741" y="182"/>
                      </a:cubicBezTo>
                      <a:cubicBezTo>
                        <a:pt x="738" y="180"/>
                        <a:pt x="738" y="180"/>
                        <a:pt x="738" y="180"/>
                      </a:cubicBezTo>
                      <a:cubicBezTo>
                        <a:pt x="734" y="179"/>
                        <a:pt x="734" y="179"/>
                        <a:pt x="734" y="179"/>
                      </a:cubicBezTo>
                      <a:cubicBezTo>
                        <a:pt x="729" y="177"/>
                        <a:pt x="729" y="177"/>
                        <a:pt x="729" y="177"/>
                      </a:cubicBezTo>
                      <a:cubicBezTo>
                        <a:pt x="724" y="175"/>
                        <a:pt x="724" y="175"/>
                        <a:pt x="724" y="175"/>
                      </a:cubicBezTo>
                      <a:cubicBezTo>
                        <a:pt x="720" y="173"/>
                        <a:pt x="720" y="173"/>
                        <a:pt x="720" y="173"/>
                      </a:cubicBezTo>
                      <a:cubicBezTo>
                        <a:pt x="718" y="174"/>
                        <a:pt x="718" y="174"/>
                        <a:pt x="718" y="174"/>
                      </a:cubicBezTo>
                      <a:cubicBezTo>
                        <a:pt x="714" y="174"/>
                        <a:pt x="714" y="174"/>
                        <a:pt x="714" y="174"/>
                      </a:cubicBezTo>
                      <a:cubicBezTo>
                        <a:pt x="709" y="176"/>
                        <a:pt x="709" y="176"/>
                        <a:pt x="709" y="176"/>
                      </a:cubicBezTo>
                      <a:cubicBezTo>
                        <a:pt x="707" y="179"/>
                        <a:pt x="707" y="179"/>
                        <a:pt x="707" y="179"/>
                      </a:cubicBezTo>
                      <a:cubicBezTo>
                        <a:pt x="704" y="181"/>
                        <a:pt x="704" y="181"/>
                        <a:pt x="704" y="181"/>
                      </a:cubicBezTo>
                      <a:cubicBezTo>
                        <a:pt x="700" y="179"/>
                        <a:pt x="700" y="179"/>
                        <a:pt x="700" y="179"/>
                      </a:cubicBezTo>
                      <a:cubicBezTo>
                        <a:pt x="699" y="177"/>
                        <a:pt x="699" y="177"/>
                        <a:pt x="699" y="177"/>
                      </a:cubicBezTo>
                      <a:cubicBezTo>
                        <a:pt x="697" y="178"/>
                        <a:pt x="697" y="178"/>
                        <a:pt x="697" y="178"/>
                      </a:cubicBezTo>
                      <a:cubicBezTo>
                        <a:pt x="696" y="180"/>
                        <a:pt x="696" y="180"/>
                        <a:pt x="696" y="180"/>
                      </a:cubicBezTo>
                      <a:cubicBezTo>
                        <a:pt x="697" y="184"/>
                        <a:pt x="697" y="184"/>
                        <a:pt x="697" y="184"/>
                      </a:cubicBezTo>
                      <a:cubicBezTo>
                        <a:pt x="697" y="188"/>
                        <a:pt x="697" y="188"/>
                        <a:pt x="697" y="188"/>
                      </a:cubicBezTo>
                      <a:cubicBezTo>
                        <a:pt x="695" y="191"/>
                        <a:pt x="695" y="191"/>
                        <a:pt x="695" y="191"/>
                      </a:cubicBezTo>
                      <a:cubicBezTo>
                        <a:pt x="693" y="191"/>
                        <a:pt x="693" y="191"/>
                        <a:pt x="693" y="191"/>
                      </a:cubicBezTo>
                      <a:cubicBezTo>
                        <a:pt x="693" y="193"/>
                        <a:pt x="693" y="193"/>
                        <a:pt x="693" y="193"/>
                      </a:cubicBezTo>
                      <a:cubicBezTo>
                        <a:pt x="694" y="195"/>
                        <a:pt x="694" y="195"/>
                        <a:pt x="694" y="195"/>
                      </a:cubicBezTo>
                      <a:cubicBezTo>
                        <a:pt x="694" y="197"/>
                        <a:pt x="694" y="197"/>
                        <a:pt x="694" y="197"/>
                      </a:cubicBezTo>
                      <a:cubicBezTo>
                        <a:pt x="690" y="199"/>
                        <a:pt x="690" y="199"/>
                        <a:pt x="690" y="199"/>
                      </a:cubicBezTo>
                      <a:cubicBezTo>
                        <a:pt x="687" y="199"/>
                        <a:pt x="687" y="199"/>
                        <a:pt x="687" y="199"/>
                      </a:cubicBezTo>
                      <a:cubicBezTo>
                        <a:pt x="685" y="196"/>
                        <a:pt x="685" y="196"/>
                        <a:pt x="685" y="196"/>
                      </a:cubicBezTo>
                      <a:cubicBezTo>
                        <a:pt x="685" y="193"/>
                        <a:pt x="685" y="193"/>
                        <a:pt x="685" y="193"/>
                      </a:cubicBezTo>
                      <a:cubicBezTo>
                        <a:pt x="683" y="192"/>
                        <a:pt x="683" y="192"/>
                        <a:pt x="683" y="192"/>
                      </a:cubicBezTo>
                      <a:cubicBezTo>
                        <a:pt x="682" y="194"/>
                        <a:pt x="682" y="194"/>
                        <a:pt x="682" y="194"/>
                      </a:cubicBezTo>
                      <a:cubicBezTo>
                        <a:pt x="682" y="198"/>
                        <a:pt x="682" y="198"/>
                        <a:pt x="682" y="198"/>
                      </a:cubicBezTo>
                      <a:cubicBezTo>
                        <a:pt x="682" y="199"/>
                        <a:pt x="682" y="199"/>
                        <a:pt x="682" y="199"/>
                      </a:cubicBezTo>
                      <a:cubicBezTo>
                        <a:pt x="681" y="202"/>
                        <a:pt x="681" y="202"/>
                        <a:pt x="681" y="202"/>
                      </a:cubicBezTo>
                      <a:cubicBezTo>
                        <a:pt x="680" y="206"/>
                        <a:pt x="680" y="206"/>
                        <a:pt x="680" y="206"/>
                      </a:cubicBezTo>
                      <a:cubicBezTo>
                        <a:pt x="679" y="208"/>
                        <a:pt x="679" y="208"/>
                        <a:pt x="679" y="208"/>
                      </a:cubicBezTo>
                      <a:cubicBezTo>
                        <a:pt x="679" y="206"/>
                        <a:pt x="679" y="206"/>
                        <a:pt x="679" y="206"/>
                      </a:cubicBezTo>
                      <a:cubicBezTo>
                        <a:pt x="680" y="204"/>
                        <a:pt x="680" y="204"/>
                        <a:pt x="680" y="204"/>
                      </a:cubicBezTo>
                      <a:cubicBezTo>
                        <a:pt x="679" y="199"/>
                        <a:pt x="679" y="199"/>
                        <a:pt x="679" y="199"/>
                      </a:cubicBezTo>
                      <a:cubicBezTo>
                        <a:pt x="678" y="196"/>
                        <a:pt x="678" y="196"/>
                        <a:pt x="678" y="196"/>
                      </a:cubicBezTo>
                      <a:cubicBezTo>
                        <a:pt x="678" y="193"/>
                        <a:pt x="678" y="193"/>
                        <a:pt x="678" y="193"/>
                      </a:cubicBezTo>
                      <a:cubicBezTo>
                        <a:pt x="678" y="190"/>
                        <a:pt x="678" y="190"/>
                        <a:pt x="678" y="190"/>
                      </a:cubicBezTo>
                      <a:cubicBezTo>
                        <a:pt x="677" y="187"/>
                        <a:pt x="677" y="187"/>
                        <a:pt x="677" y="187"/>
                      </a:cubicBezTo>
                      <a:cubicBezTo>
                        <a:pt x="677" y="185"/>
                        <a:pt x="677" y="185"/>
                        <a:pt x="677" y="185"/>
                      </a:cubicBezTo>
                      <a:cubicBezTo>
                        <a:pt x="675" y="186"/>
                        <a:pt x="675" y="186"/>
                        <a:pt x="675" y="186"/>
                      </a:cubicBezTo>
                      <a:cubicBezTo>
                        <a:pt x="674" y="188"/>
                        <a:pt x="674" y="188"/>
                        <a:pt x="674" y="188"/>
                      </a:cubicBezTo>
                      <a:cubicBezTo>
                        <a:pt x="672" y="191"/>
                        <a:pt x="672" y="191"/>
                        <a:pt x="672" y="191"/>
                      </a:cubicBezTo>
                      <a:cubicBezTo>
                        <a:pt x="672" y="194"/>
                        <a:pt x="672" y="194"/>
                        <a:pt x="672" y="194"/>
                      </a:cubicBezTo>
                      <a:cubicBezTo>
                        <a:pt x="671" y="198"/>
                        <a:pt x="671" y="198"/>
                        <a:pt x="671" y="198"/>
                      </a:cubicBezTo>
                      <a:cubicBezTo>
                        <a:pt x="666" y="204"/>
                        <a:pt x="666" y="204"/>
                        <a:pt x="666" y="204"/>
                      </a:cubicBezTo>
                      <a:cubicBezTo>
                        <a:pt x="663" y="207"/>
                        <a:pt x="663" y="207"/>
                        <a:pt x="663" y="207"/>
                      </a:cubicBezTo>
                      <a:cubicBezTo>
                        <a:pt x="661" y="207"/>
                        <a:pt x="661" y="207"/>
                        <a:pt x="661" y="207"/>
                      </a:cubicBezTo>
                      <a:cubicBezTo>
                        <a:pt x="659" y="210"/>
                        <a:pt x="659" y="210"/>
                        <a:pt x="659" y="210"/>
                      </a:cubicBezTo>
                      <a:cubicBezTo>
                        <a:pt x="656" y="212"/>
                        <a:pt x="656" y="212"/>
                        <a:pt x="656" y="212"/>
                      </a:cubicBezTo>
                      <a:cubicBezTo>
                        <a:pt x="653" y="212"/>
                        <a:pt x="653" y="212"/>
                        <a:pt x="653" y="212"/>
                      </a:cubicBezTo>
                      <a:cubicBezTo>
                        <a:pt x="650" y="216"/>
                        <a:pt x="650" y="216"/>
                        <a:pt x="650" y="216"/>
                      </a:cubicBezTo>
                      <a:cubicBezTo>
                        <a:pt x="645" y="219"/>
                        <a:pt x="645" y="219"/>
                        <a:pt x="645" y="219"/>
                      </a:cubicBezTo>
                      <a:cubicBezTo>
                        <a:pt x="640" y="219"/>
                        <a:pt x="640" y="219"/>
                        <a:pt x="640" y="219"/>
                      </a:cubicBezTo>
                      <a:cubicBezTo>
                        <a:pt x="636" y="220"/>
                        <a:pt x="636" y="220"/>
                        <a:pt x="636" y="220"/>
                      </a:cubicBezTo>
                      <a:cubicBezTo>
                        <a:pt x="636" y="222"/>
                        <a:pt x="636" y="222"/>
                        <a:pt x="636" y="222"/>
                      </a:cubicBezTo>
                      <a:cubicBezTo>
                        <a:pt x="634" y="224"/>
                        <a:pt x="634" y="224"/>
                        <a:pt x="634" y="224"/>
                      </a:cubicBezTo>
                      <a:cubicBezTo>
                        <a:pt x="630" y="224"/>
                        <a:pt x="630" y="224"/>
                        <a:pt x="630" y="224"/>
                      </a:cubicBezTo>
                      <a:cubicBezTo>
                        <a:pt x="628" y="224"/>
                        <a:pt x="628" y="224"/>
                        <a:pt x="628" y="224"/>
                      </a:cubicBezTo>
                      <a:cubicBezTo>
                        <a:pt x="626" y="225"/>
                        <a:pt x="626" y="225"/>
                        <a:pt x="626" y="225"/>
                      </a:cubicBezTo>
                      <a:cubicBezTo>
                        <a:pt x="621" y="230"/>
                        <a:pt x="621" y="230"/>
                        <a:pt x="621" y="230"/>
                      </a:cubicBezTo>
                      <a:cubicBezTo>
                        <a:pt x="615" y="236"/>
                        <a:pt x="615" y="236"/>
                        <a:pt x="615" y="236"/>
                      </a:cubicBezTo>
                      <a:cubicBezTo>
                        <a:pt x="615" y="240"/>
                        <a:pt x="615" y="240"/>
                        <a:pt x="615" y="240"/>
                      </a:cubicBezTo>
                      <a:cubicBezTo>
                        <a:pt x="613" y="240"/>
                        <a:pt x="613" y="240"/>
                        <a:pt x="613" y="240"/>
                      </a:cubicBezTo>
                      <a:cubicBezTo>
                        <a:pt x="607" y="246"/>
                        <a:pt x="607" y="246"/>
                        <a:pt x="607" y="246"/>
                      </a:cubicBezTo>
                      <a:cubicBezTo>
                        <a:pt x="604" y="250"/>
                        <a:pt x="604" y="250"/>
                        <a:pt x="604" y="250"/>
                      </a:cubicBezTo>
                      <a:cubicBezTo>
                        <a:pt x="603" y="249"/>
                        <a:pt x="603" y="249"/>
                        <a:pt x="603" y="249"/>
                      </a:cubicBezTo>
                      <a:cubicBezTo>
                        <a:pt x="602" y="249"/>
                        <a:pt x="602" y="249"/>
                        <a:pt x="602" y="249"/>
                      </a:cubicBezTo>
                      <a:cubicBezTo>
                        <a:pt x="598" y="251"/>
                        <a:pt x="598" y="251"/>
                        <a:pt x="598" y="251"/>
                      </a:cubicBezTo>
                      <a:cubicBezTo>
                        <a:pt x="596" y="256"/>
                        <a:pt x="596" y="256"/>
                        <a:pt x="596" y="256"/>
                      </a:cubicBezTo>
                      <a:cubicBezTo>
                        <a:pt x="592" y="261"/>
                        <a:pt x="592" y="261"/>
                        <a:pt x="592" y="261"/>
                      </a:cubicBezTo>
                      <a:cubicBezTo>
                        <a:pt x="591" y="264"/>
                        <a:pt x="591" y="264"/>
                        <a:pt x="591" y="264"/>
                      </a:cubicBezTo>
                      <a:cubicBezTo>
                        <a:pt x="590" y="266"/>
                        <a:pt x="590" y="266"/>
                        <a:pt x="590" y="266"/>
                      </a:cubicBezTo>
                      <a:cubicBezTo>
                        <a:pt x="590" y="264"/>
                        <a:pt x="590" y="264"/>
                        <a:pt x="590" y="264"/>
                      </a:cubicBezTo>
                      <a:cubicBezTo>
                        <a:pt x="591" y="259"/>
                        <a:pt x="591" y="259"/>
                        <a:pt x="591" y="259"/>
                      </a:cubicBezTo>
                      <a:cubicBezTo>
                        <a:pt x="591" y="256"/>
                        <a:pt x="591" y="256"/>
                        <a:pt x="591" y="256"/>
                      </a:cubicBezTo>
                      <a:cubicBezTo>
                        <a:pt x="591" y="252"/>
                        <a:pt x="591" y="252"/>
                        <a:pt x="591" y="252"/>
                      </a:cubicBezTo>
                      <a:cubicBezTo>
                        <a:pt x="594" y="252"/>
                        <a:pt x="594" y="252"/>
                        <a:pt x="594" y="252"/>
                      </a:cubicBezTo>
                      <a:cubicBezTo>
                        <a:pt x="595" y="250"/>
                        <a:pt x="595" y="250"/>
                        <a:pt x="595" y="250"/>
                      </a:cubicBezTo>
                      <a:cubicBezTo>
                        <a:pt x="599" y="246"/>
                        <a:pt x="599" y="246"/>
                        <a:pt x="599" y="246"/>
                      </a:cubicBezTo>
                      <a:cubicBezTo>
                        <a:pt x="602" y="245"/>
                        <a:pt x="602" y="245"/>
                        <a:pt x="602" y="245"/>
                      </a:cubicBezTo>
                      <a:cubicBezTo>
                        <a:pt x="605" y="241"/>
                        <a:pt x="605" y="241"/>
                        <a:pt x="605" y="241"/>
                      </a:cubicBezTo>
                      <a:cubicBezTo>
                        <a:pt x="610" y="236"/>
                        <a:pt x="610" y="236"/>
                        <a:pt x="610" y="236"/>
                      </a:cubicBezTo>
                      <a:cubicBezTo>
                        <a:pt x="611" y="233"/>
                        <a:pt x="611" y="233"/>
                        <a:pt x="611" y="233"/>
                      </a:cubicBezTo>
                      <a:cubicBezTo>
                        <a:pt x="615" y="231"/>
                        <a:pt x="615" y="231"/>
                        <a:pt x="615" y="231"/>
                      </a:cubicBezTo>
                      <a:cubicBezTo>
                        <a:pt x="618" y="225"/>
                        <a:pt x="618" y="225"/>
                        <a:pt x="618" y="225"/>
                      </a:cubicBezTo>
                      <a:cubicBezTo>
                        <a:pt x="619" y="222"/>
                        <a:pt x="619" y="222"/>
                        <a:pt x="619" y="222"/>
                      </a:cubicBezTo>
                      <a:cubicBezTo>
                        <a:pt x="618" y="219"/>
                        <a:pt x="618" y="219"/>
                        <a:pt x="618" y="219"/>
                      </a:cubicBezTo>
                      <a:cubicBezTo>
                        <a:pt x="620" y="217"/>
                        <a:pt x="620" y="217"/>
                        <a:pt x="620" y="217"/>
                      </a:cubicBezTo>
                      <a:cubicBezTo>
                        <a:pt x="620" y="219"/>
                        <a:pt x="620" y="219"/>
                        <a:pt x="620" y="219"/>
                      </a:cubicBezTo>
                      <a:cubicBezTo>
                        <a:pt x="622" y="219"/>
                        <a:pt x="622" y="219"/>
                        <a:pt x="622" y="219"/>
                      </a:cubicBezTo>
                      <a:cubicBezTo>
                        <a:pt x="624" y="216"/>
                        <a:pt x="624" y="216"/>
                        <a:pt x="624" y="216"/>
                      </a:cubicBezTo>
                      <a:cubicBezTo>
                        <a:pt x="627" y="215"/>
                        <a:pt x="627" y="215"/>
                        <a:pt x="627" y="215"/>
                      </a:cubicBezTo>
                      <a:cubicBezTo>
                        <a:pt x="628" y="212"/>
                        <a:pt x="628" y="212"/>
                        <a:pt x="628" y="212"/>
                      </a:cubicBezTo>
                      <a:cubicBezTo>
                        <a:pt x="630" y="207"/>
                        <a:pt x="630" y="207"/>
                        <a:pt x="630" y="207"/>
                      </a:cubicBezTo>
                      <a:cubicBezTo>
                        <a:pt x="631" y="206"/>
                        <a:pt x="631" y="206"/>
                        <a:pt x="631" y="206"/>
                      </a:cubicBezTo>
                      <a:cubicBezTo>
                        <a:pt x="634" y="207"/>
                        <a:pt x="634" y="207"/>
                        <a:pt x="634" y="207"/>
                      </a:cubicBezTo>
                      <a:cubicBezTo>
                        <a:pt x="636" y="204"/>
                        <a:pt x="636" y="204"/>
                        <a:pt x="636" y="204"/>
                      </a:cubicBezTo>
                      <a:cubicBezTo>
                        <a:pt x="639" y="203"/>
                        <a:pt x="639" y="203"/>
                        <a:pt x="639" y="203"/>
                      </a:cubicBezTo>
                      <a:cubicBezTo>
                        <a:pt x="640" y="204"/>
                        <a:pt x="640" y="204"/>
                        <a:pt x="640" y="204"/>
                      </a:cubicBezTo>
                      <a:cubicBezTo>
                        <a:pt x="642" y="204"/>
                        <a:pt x="642" y="204"/>
                        <a:pt x="642" y="204"/>
                      </a:cubicBezTo>
                      <a:cubicBezTo>
                        <a:pt x="652" y="193"/>
                        <a:pt x="652" y="193"/>
                        <a:pt x="652" y="193"/>
                      </a:cubicBezTo>
                      <a:cubicBezTo>
                        <a:pt x="654" y="189"/>
                        <a:pt x="654" y="189"/>
                        <a:pt x="654" y="189"/>
                      </a:cubicBezTo>
                      <a:cubicBezTo>
                        <a:pt x="654" y="184"/>
                        <a:pt x="654" y="184"/>
                        <a:pt x="654" y="184"/>
                      </a:cubicBezTo>
                      <a:cubicBezTo>
                        <a:pt x="657" y="177"/>
                        <a:pt x="657" y="177"/>
                        <a:pt x="657" y="177"/>
                      </a:cubicBezTo>
                      <a:cubicBezTo>
                        <a:pt x="660" y="172"/>
                        <a:pt x="660" y="172"/>
                        <a:pt x="660" y="172"/>
                      </a:cubicBezTo>
                      <a:cubicBezTo>
                        <a:pt x="660" y="167"/>
                        <a:pt x="660" y="167"/>
                        <a:pt x="660" y="167"/>
                      </a:cubicBezTo>
                      <a:cubicBezTo>
                        <a:pt x="660" y="160"/>
                        <a:pt x="660" y="160"/>
                        <a:pt x="660" y="160"/>
                      </a:cubicBezTo>
                      <a:cubicBezTo>
                        <a:pt x="660" y="156"/>
                        <a:pt x="660" y="156"/>
                        <a:pt x="660" y="156"/>
                      </a:cubicBezTo>
                      <a:cubicBezTo>
                        <a:pt x="657" y="155"/>
                        <a:pt x="657" y="155"/>
                        <a:pt x="657" y="155"/>
                      </a:cubicBezTo>
                      <a:cubicBezTo>
                        <a:pt x="653" y="156"/>
                        <a:pt x="653" y="156"/>
                        <a:pt x="653" y="156"/>
                      </a:cubicBezTo>
                      <a:cubicBezTo>
                        <a:pt x="649" y="156"/>
                        <a:pt x="649" y="156"/>
                        <a:pt x="649" y="156"/>
                      </a:cubicBezTo>
                      <a:cubicBezTo>
                        <a:pt x="644" y="155"/>
                        <a:pt x="644" y="155"/>
                        <a:pt x="644" y="155"/>
                      </a:cubicBezTo>
                      <a:cubicBezTo>
                        <a:pt x="641" y="155"/>
                        <a:pt x="641" y="155"/>
                        <a:pt x="641" y="155"/>
                      </a:cubicBezTo>
                      <a:cubicBezTo>
                        <a:pt x="638" y="157"/>
                        <a:pt x="638" y="157"/>
                        <a:pt x="638" y="157"/>
                      </a:cubicBezTo>
                      <a:cubicBezTo>
                        <a:pt x="637" y="160"/>
                        <a:pt x="637" y="160"/>
                        <a:pt x="637" y="160"/>
                      </a:cubicBezTo>
                      <a:cubicBezTo>
                        <a:pt x="638" y="162"/>
                        <a:pt x="638" y="162"/>
                        <a:pt x="638" y="162"/>
                      </a:cubicBezTo>
                      <a:cubicBezTo>
                        <a:pt x="637" y="164"/>
                        <a:pt x="637" y="164"/>
                        <a:pt x="637" y="164"/>
                      </a:cubicBezTo>
                      <a:cubicBezTo>
                        <a:pt x="637" y="170"/>
                        <a:pt x="637" y="170"/>
                        <a:pt x="637" y="170"/>
                      </a:cubicBezTo>
                      <a:cubicBezTo>
                        <a:pt x="635" y="176"/>
                        <a:pt x="635" y="176"/>
                        <a:pt x="635" y="176"/>
                      </a:cubicBezTo>
                      <a:cubicBezTo>
                        <a:pt x="632" y="181"/>
                        <a:pt x="632" y="181"/>
                        <a:pt x="632" y="181"/>
                      </a:cubicBezTo>
                      <a:cubicBezTo>
                        <a:pt x="631" y="179"/>
                        <a:pt x="631" y="179"/>
                        <a:pt x="631" y="179"/>
                      </a:cubicBezTo>
                      <a:cubicBezTo>
                        <a:pt x="628" y="178"/>
                        <a:pt x="628" y="178"/>
                        <a:pt x="628" y="178"/>
                      </a:cubicBezTo>
                      <a:cubicBezTo>
                        <a:pt x="627" y="179"/>
                        <a:pt x="627" y="179"/>
                        <a:pt x="627" y="179"/>
                      </a:cubicBezTo>
                      <a:cubicBezTo>
                        <a:pt x="626" y="181"/>
                        <a:pt x="626" y="181"/>
                        <a:pt x="626" y="181"/>
                      </a:cubicBezTo>
                      <a:cubicBezTo>
                        <a:pt x="625" y="182"/>
                        <a:pt x="625" y="182"/>
                        <a:pt x="625" y="182"/>
                      </a:cubicBezTo>
                      <a:cubicBezTo>
                        <a:pt x="622" y="180"/>
                        <a:pt x="622" y="180"/>
                        <a:pt x="622" y="180"/>
                      </a:cubicBezTo>
                      <a:cubicBezTo>
                        <a:pt x="620" y="180"/>
                        <a:pt x="620" y="180"/>
                        <a:pt x="620" y="180"/>
                      </a:cubicBezTo>
                      <a:cubicBezTo>
                        <a:pt x="620" y="180"/>
                        <a:pt x="614" y="178"/>
                        <a:pt x="614" y="177"/>
                      </a:cubicBezTo>
                      <a:cubicBezTo>
                        <a:pt x="613" y="177"/>
                        <a:pt x="607" y="178"/>
                        <a:pt x="607" y="178"/>
                      </a:cubicBezTo>
                      <a:cubicBezTo>
                        <a:pt x="604" y="180"/>
                        <a:pt x="604" y="180"/>
                        <a:pt x="604" y="180"/>
                      </a:cubicBezTo>
                      <a:cubicBezTo>
                        <a:pt x="599" y="181"/>
                        <a:pt x="599" y="181"/>
                        <a:pt x="599" y="181"/>
                      </a:cubicBezTo>
                      <a:cubicBezTo>
                        <a:pt x="595" y="183"/>
                        <a:pt x="595" y="183"/>
                        <a:pt x="595" y="183"/>
                      </a:cubicBezTo>
                      <a:cubicBezTo>
                        <a:pt x="594" y="182"/>
                        <a:pt x="594" y="182"/>
                        <a:pt x="594" y="182"/>
                      </a:cubicBezTo>
                      <a:cubicBezTo>
                        <a:pt x="593" y="180"/>
                        <a:pt x="593" y="180"/>
                        <a:pt x="593" y="180"/>
                      </a:cubicBezTo>
                      <a:cubicBezTo>
                        <a:pt x="594" y="176"/>
                        <a:pt x="594" y="176"/>
                        <a:pt x="594" y="176"/>
                      </a:cubicBezTo>
                      <a:cubicBezTo>
                        <a:pt x="594" y="174"/>
                        <a:pt x="594" y="174"/>
                        <a:pt x="594" y="174"/>
                      </a:cubicBezTo>
                      <a:cubicBezTo>
                        <a:pt x="595" y="170"/>
                        <a:pt x="595" y="170"/>
                        <a:pt x="595" y="170"/>
                      </a:cubicBezTo>
                      <a:cubicBezTo>
                        <a:pt x="596" y="170"/>
                        <a:pt x="596" y="170"/>
                        <a:pt x="596" y="170"/>
                      </a:cubicBezTo>
                      <a:cubicBezTo>
                        <a:pt x="597" y="171"/>
                        <a:pt x="597" y="171"/>
                        <a:pt x="597" y="171"/>
                      </a:cubicBezTo>
                      <a:cubicBezTo>
                        <a:pt x="599" y="171"/>
                        <a:pt x="599" y="171"/>
                        <a:pt x="599" y="171"/>
                      </a:cubicBezTo>
                      <a:cubicBezTo>
                        <a:pt x="603" y="169"/>
                        <a:pt x="603" y="169"/>
                        <a:pt x="603" y="169"/>
                      </a:cubicBezTo>
                      <a:cubicBezTo>
                        <a:pt x="612" y="167"/>
                        <a:pt x="612" y="167"/>
                        <a:pt x="612" y="167"/>
                      </a:cubicBezTo>
                      <a:cubicBezTo>
                        <a:pt x="614" y="166"/>
                        <a:pt x="614" y="166"/>
                        <a:pt x="614" y="166"/>
                      </a:cubicBezTo>
                      <a:cubicBezTo>
                        <a:pt x="616" y="162"/>
                        <a:pt x="616" y="162"/>
                        <a:pt x="616" y="162"/>
                      </a:cubicBezTo>
                      <a:cubicBezTo>
                        <a:pt x="616" y="159"/>
                        <a:pt x="616" y="159"/>
                        <a:pt x="616" y="159"/>
                      </a:cubicBezTo>
                      <a:cubicBezTo>
                        <a:pt x="618" y="157"/>
                        <a:pt x="618" y="157"/>
                        <a:pt x="618" y="157"/>
                      </a:cubicBezTo>
                      <a:cubicBezTo>
                        <a:pt x="619" y="154"/>
                        <a:pt x="619" y="154"/>
                        <a:pt x="619" y="154"/>
                      </a:cubicBezTo>
                      <a:cubicBezTo>
                        <a:pt x="618" y="153"/>
                        <a:pt x="618" y="153"/>
                        <a:pt x="618" y="153"/>
                      </a:cubicBezTo>
                      <a:cubicBezTo>
                        <a:pt x="617" y="151"/>
                        <a:pt x="617" y="151"/>
                        <a:pt x="617" y="151"/>
                      </a:cubicBezTo>
                      <a:cubicBezTo>
                        <a:pt x="614" y="151"/>
                        <a:pt x="614" y="151"/>
                        <a:pt x="614" y="151"/>
                      </a:cubicBezTo>
                      <a:cubicBezTo>
                        <a:pt x="608" y="150"/>
                        <a:pt x="608" y="150"/>
                        <a:pt x="608" y="150"/>
                      </a:cubicBezTo>
                      <a:cubicBezTo>
                        <a:pt x="602" y="149"/>
                        <a:pt x="602" y="149"/>
                        <a:pt x="602" y="149"/>
                      </a:cubicBezTo>
                      <a:cubicBezTo>
                        <a:pt x="598" y="147"/>
                        <a:pt x="598" y="147"/>
                        <a:pt x="598" y="147"/>
                      </a:cubicBezTo>
                      <a:cubicBezTo>
                        <a:pt x="596" y="146"/>
                        <a:pt x="596" y="146"/>
                        <a:pt x="596" y="146"/>
                      </a:cubicBezTo>
                      <a:cubicBezTo>
                        <a:pt x="588" y="147"/>
                        <a:pt x="588" y="147"/>
                        <a:pt x="588" y="147"/>
                      </a:cubicBezTo>
                      <a:cubicBezTo>
                        <a:pt x="584" y="146"/>
                        <a:pt x="584" y="146"/>
                        <a:pt x="584" y="146"/>
                      </a:cubicBezTo>
                      <a:cubicBezTo>
                        <a:pt x="580" y="144"/>
                        <a:pt x="580" y="144"/>
                        <a:pt x="580" y="144"/>
                      </a:cubicBezTo>
                      <a:cubicBezTo>
                        <a:pt x="576" y="144"/>
                        <a:pt x="576" y="144"/>
                        <a:pt x="576" y="144"/>
                      </a:cubicBezTo>
                      <a:cubicBezTo>
                        <a:pt x="572" y="145"/>
                        <a:pt x="572" y="145"/>
                        <a:pt x="572" y="145"/>
                      </a:cubicBezTo>
                      <a:cubicBezTo>
                        <a:pt x="570" y="144"/>
                        <a:pt x="570" y="144"/>
                        <a:pt x="570" y="144"/>
                      </a:cubicBezTo>
                      <a:cubicBezTo>
                        <a:pt x="566" y="144"/>
                        <a:pt x="566" y="144"/>
                        <a:pt x="566" y="144"/>
                      </a:cubicBezTo>
                      <a:cubicBezTo>
                        <a:pt x="564" y="144"/>
                        <a:pt x="564" y="144"/>
                        <a:pt x="564" y="144"/>
                      </a:cubicBezTo>
                      <a:cubicBezTo>
                        <a:pt x="562" y="148"/>
                        <a:pt x="562" y="148"/>
                        <a:pt x="562" y="148"/>
                      </a:cubicBezTo>
                      <a:cubicBezTo>
                        <a:pt x="562" y="152"/>
                        <a:pt x="562" y="152"/>
                        <a:pt x="562" y="152"/>
                      </a:cubicBezTo>
                      <a:cubicBezTo>
                        <a:pt x="559" y="154"/>
                        <a:pt x="559" y="154"/>
                        <a:pt x="559" y="154"/>
                      </a:cubicBezTo>
                      <a:cubicBezTo>
                        <a:pt x="558" y="154"/>
                        <a:pt x="558" y="154"/>
                        <a:pt x="558" y="154"/>
                      </a:cubicBezTo>
                      <a:cubicBezTo>
                        <a:pt x="559" y="151"/>
                        <a:pt x="559" y="151"/>
                        <a:pt x="559" y="151"/>
                      </a:cubicBezTo>
                      <a:cubicBezTo>
                        <a:pt x="559" y="150"/>
                        <a:pt x="559" y="150"/>
                        <a:pt x="559" y="150"/>
                      </a:cubicBezTo>
                      <a:cubicBezTo>
                        <a:pt x="556" y="149"/>
                        <a:pt x="556" y="149"/>
                        <a:pt x="556" y="149"/>
                      </a:cubicBezTo>
                      <a:cubicBezTo>
                        <a:pt x="549" y="153"/>
                        <a:pt x="549" y="153"/>
                        <a:pt x="549" y="153"/>
                      </a:cubicBezTo>
                      <a:cubicBezTo>
                        <a:pt x="544" y="154"/>
                        <a:pt x="544" y="154"/>
                        <a:pt x="544" y="154"/>
                      </a:cubicBezTo>
                      <a:cubicBezTo>
                        <a:pt x="542" y="157"/>
                        <a:pt x="542" y="157"/>
                        <a:pt x="542" y="157"/>
                      </a:cubicBezTo>
                      <a:cubicBezTo>
                        <a:pt x="541" y="159"/>
                        <a:pt x="541" y="159"/>
                        <a:pt x="541" y="159"/>
                      </a:cubicBezTo>
                      <a:cubicBezTo>
                        <a:pt x="538" y="159"/>
                        <a:pt x="538" y="159"/>
                        <a:pt x="538" y="159"/>
                      </a:cubicBezTo>
                      <a:cubicBezTo>
                        <a:pt x="535" y="159"/>
                        <a:pt x="535" y="159"/>
                        <a:pt x="535" y="159"/>
                      </a:cubicBezTo>
                      <a:cubicBezTo>
                        <a:pt x="532" y="161"/>
                        <a:pt x="532" y="161"/>
                        <a:pt x="532" y="161"/>
                      </a:cubicBezTo>
                      <a:cubicBezTo>
                        <a:pt x="529" y="162"/>
                        <a:pt x="529" y="162"/>
                        <a:pt x="529" y="162"/>
                      </a:cubicBezTo>
                      <a:cubicBezTo>
                        <a:pt x="527" y="164"/>
                        <a:pt x="527" y="164"/>
                        <a:pt x="527" y="164"/>
                      </a:cubicBezTo>
                      <a:cubicBezTo>
                        <a:pt x="526" y="167"/>
                        <a:pt x="526" y="167"/>
                        <a:pt x="526" y="167"/>
                      </a:cubicBezTo>
                      <a:cubicBezTo>
                        <a:pt x="525" y="170"/>
                        <a:pt x="525" y="170"/>
                        <a:pt x="525" y="170"/>
                      </a:cubicBezTo>
                      <a:cubicBezTo>
                        <a:pt x="523" y="170"/>
                        <a:pt x="523" y="170"/>
                        <a:pt x="523" y="170"/>
                      </a:cubicBezTo>
                      <a:cubicBezTo>
                        <a:pt x="522" y="167"/>
                        <a:pt x="522" y="167"/>
                        <a:pt x="522" y="167"/>
                      </a:cubicBezTo>
                      <a:cubicBezTo>
                        <a:pt x="522" y="164"/>
                        <a:pt x="522" y="164"/>
                        <a:pt x="522" y="164"/>
                      </a:cubicBezTo>
                      <a:cubicBezTo>
                        <a:pt x="521" y="161"/>
                        <a:pt x="521" y="161"/>
                        <a:pt x="521" y="161"/>
                      </a:cubicBezTo>
                      <a:cubicBezTo>
                        <a:pt x="519" y="159"/>
                        <a:pt x="519" y="159"/>
                        <a:pt x="519" y="159"/>
                      </a:cubicBezTo>
                      <a:cubicBezTo>
                        <a:pt x="519" y="156"/>
                        <a:pt x="519" y="156"/>
                        <a:pt x="519" y="156"/>
                      </a:cubicBezTo>
                      <a:cubicBezTo>
                        <a:pt x="521" y="153"/>
                        <a:pt x="521" y="153"/>
                        <a:pt x="521" y="153"/>
                      </a:cubicBezTo>
                      <a:cubicBezTo>
                        <a:pt x="524" y="153"/>
                        <a:pt x="524" y="153"/>
                        <a:pt x="524" y="153"/>
                      </a:cubicBezTo>
                      <a:cubicBezTo>
                        <a:pt x="527" y="150"/>
                        <a:pt x="527" y="150"/>
                        <a:pt x="527" y="150"/>
                      </a:cubicBezTo>
                      <a:cubicBezTo>
                        <a:pt x="531" y="150"/>
                        <a:pt x="531" y="150"/>
                        <a:pt x="531" y="150"/>
                      </a:cubicBezTo>
                      <a:cubicBezTo>
                        <a:pt x="533" y="149"/>
                        <a:pt x="533" y="149"/>
                        <a:pt x="533" y="149"/>
                      </a:cubicBezTo>
                      <a:cubicBezTo>
                        <a:pt x="534" y="147"/>
                        <a:pt x="534" y="147"/>
                        <a:pt x="534" y="147"/>
                      </a:cubicBezTo>
                      <a:cubicBezTo>
                        <a:pt x="537" y="146"/>
                        <a:pt x="537" y="146"/>
                        <a:pt x="537" y="146"/>
                      </a:cubicBezTo>
                      <a:cubicBezTo>
                        <a:pt x="542" y="145"/>
                        <a:pt x="542" y="145"/>
                        <a:pt x="542" y="145"/>
                      </a:cubicBezTo>
                      <a:cubicBezTo>
                        <a:pt x="546" y="143"/>
                        <a:pt x="546" y="143"/>
                        <a:pt x="546" y="143"/>
                      </a:cubicBezTo>
                      <a:cubicBezTo>
                        <a:pt x="548" y="141"/>
                        <a:pt x="548" y="141"/>
                        <a:pt x="548" y="141"/>
                      </a:cubicBezTo>
                      <a:cubicBezTo>
                        <a:pt x="551" y="141"/>
                        <a:pt x="551" y="141"/>
                        <a:pt x="551" y="141"/>
                      </a:cubicBezTo>
                      <a:cubicBezTo>
                        <a:pt x="553" y="142"/>
                        <a:pt x="553" y="142"/>
                        <a:pt x="553" y="142"/>
                      </a:cubicBezTo>
                      <a:cubicBezTo>
                        <a:pt x="555" y="140"/>
                        <a:pt x="555" y="140"/>
                        <a:pt x="555" y="140"/>
                      </a:cubicBezTo>
                      <a:cubicBezTo>
                        <a:pt x="556" y="137"/>
                        <a:pt x="556" y="137"/>
                        <a:pt x="556" y="137"/>
                      </a:cubicBezTo>
                      <a:cubicBezTo>
                        <a:pt x="555" y="135"/>
                        <a:pt x="555" y="135"/>
                        <a:pt x="555" y="135"/>
                      </a:cubicBezTo>
                      <a:cubicBezTo>
                        <a:pt x="554" y="133"/>
                        <a:pt x="554" y="133"/>
                        <a:pt x="554" y="133"/>
                      </a:cubicBezTo>
                      <a:cubicBezTo>
                        <a:pt x="550" y="133"/>
                        <a:pt x="550" y="133"/>
                        <a:pt x="550" y="133"/>
                      </a:cubicBezTo>
                      <a:cubicBezTo>
                        <a:pt x="549" y="133"/>
                        <a:pt x="549" y="133"/>
                        <a:pt x="549" y="133"/>
                      </a:cubicBezTo>
                      <a:cubicBezTo>
                        <a:pt x="549" y="132"/>
                        <a:pt x="549" y="132"/>
                        <a:pt x="549" y="132"/>
                      </a:cubicBezTo>
                      <a:cubicBezTo>
                        <a:pt x="552" y="132"/>
                        <a:pt x="552" y="132"/>
                        <a:pt x="552" y="132"/>
                      </a:cubicBezTo>
                      <a:cubicBezTo>
                        <a:pt x="553" y="132"/>
                        <a:pt x="553" y="132"/>
                        <a:pt x="553" y="132"/>
                      </a:cubicBezTo>
                      <a:cubicBezTo>
                        <a:pt x="556" y="132"/>
                        <a:pt x="556" y="132"/>
                        <a:pt x="556" y="132"/>
                      </a:cubicBezTo>
                      <a:cubicBezTo>
                        <a:pt x="557" y="133"/>
                        <a:pt x="557" y="133"/>
                        <a:pt x="557" y="133"/>
                      </a:cubicBezTo>
                      <a:cubicBezTo>
                        <a:pt x="558" y="137"/>
                        <a:pt x="558" y="137"/>
                        <a:pt x="558" y="137"/>
                      </a:cubicBezTo>
                      <a:cubicBezTo>
                        <a:pt x="559" y="137"/>
                        <a:pt x="559" y="137"/>
                        <a:pt x="559" y="137"/>
                      </a:cubicBezTo>
                      <a:cubicBezTo>
                        <a:pt x="560" y="136"/>
                        <a:pt x="560" y="136"/>
                        <a:pt x="560" y="136"/>
                      </a:cubicBezTo>
                      <a:cubicBezTo>
                        <a:pt x="563" y="134"/>
                        <a:pt x="563" y="134"/>
                        <a:pt x="563" y="134"/>
                      </a:cubicBezTo>
                      <a:cubicBezTo>
                        <a:pt x="567" y="134"/>
                        <a:pt x="567" y="134"/>
                        <a:pt x="567" y="134"/>
                      </a:cubicBezTo>
                      <a:cubicBezTo>
                        <a:pt x="570" y="133"/>
                        <a:pt x="570" y="133"/>
                        <a:pt x="570" y="133"/>
                      </a:cubicBezTo>
                      <a:cubicBezTo>
                        <a:pt x="572" y="131"/>
                        <a:pt x="572" y="131"/>
                        <a:pt x="572" y="131"/>
                      </a:cubicBezTo>
                      <a:cubicBezTo>
                        <a:pt x="574" y="130"/>
                        <a:pt x="574" y="130"/>
                        <a:pt x="574" y="130"/>
                      </a:cubicBezTo>
                      <a:cubicBezTo>
                        <a:pt x="577" y="132"/>
                        <a:pt x="577" y="132"/>
                        <a:pt x="577" y="132"/>
                      </a:cubicBezTo>
                      <a:cubicBezTo>
                        <a:pt x="580" y="132"/>
                        <a:pt x="580" y="132"/>
                        <a:pt x="580" y="132"/>
                      </a:cubicBezTo>
                      <a:cubicBezTo>
                        <a:pt x="584" y="131"/>
                        <a:pt x="584" y="131"/>
                        <a:pt x="584" y="131"/>
                      </a:cubicBezTo>
                      <a:cubicBezTo>
                        <a:pt x="586" y="132"/>
                        <a:pt x="586" y="132"/>
                        <a:pt x="586" y="132"/>
                      </a:cubicBezTo>
                      <a:cubicBezTo>
                        <a:pt x="589" y="133"/>
                        <a:pt x="589" y="133"/>
                        <a:pt x="589" y="133"/>
                      </a:cubicBezTo>
                      <a:cubicBezTo>
                        <a:pt x="594" y="133"/>
                        <a:pt x="594" y="133"/>
                        <a:pt x="594" y="133"/>
                      </a:cubicBezTo>
                      <a:cubicBezTo>
                        <a:pt x="595" y="134"/>
                        <a:pt x="595" y="134"/>
                        <a:pt x="595" y="134"/>
                      </a:cubicBezTo>
                      <a:cubicBezTo>
                        <a:pt x="596" y="134"/>
                        <a:pt x="596" y="134"/>
                        <a:pt x="596" y="134"/>
                      </a:cubicBezTo>
                      <a:cubicBezTo>
                        <a:pt x="601" y="138"/>
                        <a:pt x="601" y="138"/>
                        <a:pt x="601" y="138"/>
                      </a:cubicBezTo>
                      <a:cubicBezTo>
                        <a:pt x="603" y="139"/>
                        <a:pt x="603" y="139"/>
                        <a:pt x="603" y="139"/>
                      </a:cubicBezTo>
                      <a:cubicBezTo>
                        <a:pt x="607" y="138"/>
                        <a:pt x="607" y="138"/>
                        <a:pt x="607" y="138"/>
                      </a:cubicBezTo>
                      <a:cubicBezTo>
                        <a:pt x="608" y="136"/>
                        <a:pt x="608" y="136"/>
                        <a:pt x="608" y="136"/>
                      </a:cubicBezTo>
                      <a:cubicBezTo>
                        <a:pt x="611" y="137"/>
                        <a:pt x="611" y="137"/>
                        <a:pt x="611" y="137"/>
                      </a:cubicBezTo>
                      <a:cubicBezTo>
                        <a:pt x="613" y="138"/>
                        <a:pt x="613" y="138"/>
                        <a:pt x="613" y="138"/>
                      </a:cubicBezTo>
                      <a:cubicBezTo>
                        <a:pt x="616" y="138"/>
                        <a:pt x="616" y="138"/>
                        <a:pt x="616" y="138"/>
                      </a:cubicBezTo>
                      <a:cubicBezTo>
                        <a:pt x="618" y="139"/>
                        <a:pt x="618" y="139"/>
                        <a:pt x="618" y="139"/>
                      </a:cubicBezTo>
                      <a:cubicBezTo>
                        <a:pt x="621" y="139"/>
                        <a:pt x="621" y="139"/>
                        <a:pt x="621" y="139"/>
                      </a:cubicBezTo>
                      <a:cubicBezTo>
                        <a:pt x="625" y="137"/>
                        <a:pt x="625" y="137"/>
                        <a:pt x="625" y="137"/>
                      </a:cubicBezTo>
                      <a:cubicBezTo>
                        <a:pt x="628" y="135"/>
                        <a:pt x="628" y="135"/>
                        <a:pt x="628" y="135"/>
                      </a:cubicBezTo>
                      <a:cubicBezTo>
                        <a:pt x="631" y="135"/>
                        <a:pt x="631" y="135"/>
                        <a:pt x="631" y="135"/>
                      </a:cubicBezTo>
                      <a:cubicBezTo>
                        <a:pt x="633" y="137"/>
                        <a:pt x="633" y="137"/>
                        <a:pt x="633" y="137"/>
                      </a:cubicBezTo>
                      <a:cubicBezTo>
                        <a:pt x="635" y="137"/>
                        <a:pt x="635" y="137"/>
                        <a:pt x="635" y="137"/>
                      </a:cubicBezTo>
                      <a:cubicBezTo>
                        <a:pt x="638" y="135"/>
                        <a:pt x="638" y="135"/>
                        <a:pt x="638" y="135"/>
                      </a:cubicBezTo>
                      <a:cubicBezTo>
                        <a:pt x="641" y="136"/>
                        <a:pt x="641" y="136"/>
                        <a:pt x="641" y="136"/>
                      </a:cubicBezTo>
                      <a:cubicBezTo>
                        <a:pt x="644" y="136"/>
                        <a:pt x="644" y="136"/>
                        <a:pt x="644" y="136"/>
                      </a:cubicBezTo>
                      <a:cubicBezTo>
                        <a:pt x="645" y="134"/>
                        <a:pt x="645" y="134"/>
                        <a:pt x="645" y="134"/>
                      </a:cubicBezTo>
                      <a:cubicBezTo>
                        <a:pt x="643" y="133"/>
                        <a:pt x="643" y="133"/>
                        <a:pt x="643" y="133"/>
                      </a:cubicBezTo>
                      <a:cubicBezTo>
                        <a:pt x="643" y="131"/>
                        <a:pt x="643" y="131"/>
                        <a:pt x="643" y="131"/>
                      </a:cubicBezTo>
                      <a:cubicBezTo>
                        <a:pt x="644" y="130"/>
                        <a:pt x="644" y="130"/>
                        <a:pt x="644" y="130"/>
                      </a:cubicBezTo>
                      <a:cubicBezTo>
                        <a:pt x="645" y="132"/>
                        <a:pt x="645" y="132"/>
                        <a:pt x="645" y="132"/>
                      </a:cubicBezTo>
                      <a:cubicBezTo>
                        <a:pt x="647" y="134"/>
                        <a:pt x="647" y="134"/>
                        <a:pt x="647" y="134"/>
                      </a:cubicBezTo>
                      <a:cubicBezTo>
                        <a:pt x="650" y="134"/>
                        <a:pt x="650" y="134"/>
                        <a:pt x="650" y="134"/>
                      </a:cubicBezTo>
                      <a:cubicBezTo>
                        <a:pt x="651" y="133"/>
                        <a:pt x="651" y="133"/>
                        <a:pt x="651" y="133"/>
                      </a:cubicBezTo>
                      <a:cubicBezTo>
                        <a:pt x="656" y="133"/>
                        <a:pt x="656" y="133"/>
                        <a:pt x="656" y="133"/>
                      </a:cubicBezTo>
                      <a:cubicBezTo>
                        <a:pt x="662" y="130"/>
                        <a:pt x="662" y="130"/>
                        <a:pt x="662" y="130"/>
                      </a:cubicBezTo>
                      <a:cubicBezTo>
                        <a:pt x="665" y="128"/>
                        <a:pt x="665" y="128"/>
                        <a:pt x="665" y="128"/>
                      </a:cubicBezTo>
                      <a:cubicBezTo>
                        <a:pt x="666" y="126"/>
                        <a:pt x="666" y="126"/>
                        <a:pt x="666" y="126"/>
                      </a:cubicBezTo>
                      <a:cubicBezTo>
                        <a:pt x="666" y="124"/>
                        <a:pt x="666" y="124"/>
                        <a:pt x="666" y="124"/>
                      </a:cubicBezTo>
                      <a:cubicBezTo>
                        <a:pt x="667" y="123"/>
                        <a:pt x="667" y="123"/>
                        <a:pt x="667" y="123"/>
                      </a:cubicBezTo>
                      <a:cubicBezTo>
                        <a:pt x="669" y="124"/>
                        <a:pt x="669" y="124"/>
                        <a:pt x="669" y="124"/>
                      </a:cubicBezTo>
                      <a:cubicBezTo>
                        <a:pt x="672" y="123"/>
                        <a:pt x="672" y="123"/>
                        <a:pt x="672" y="123"/>
                      </a:cubicBezTo>
                      <a:cubicBezTo>
                        <a:pt x="675" y="120"/>
                        <a:pt x="675" y="120"/>
                        <a:pt x="675" y="120"/>
                      </a:cubicBezTo>
                      <a:cubicBezTo>
                        <a:pt x="677" y="119"/>
                        <a:pt x="677" y="119"/>
                        <a:pt x="677" y="119"/>
                      </a:cubicBezTo>
                      <a:cubicBezTo>
                        <a:pt x="677" y="116"/>
                        <a:pt x="677" y="116"/>
                        <a:pt x="677" y="116"/>
                      </a:cubicBezTo>
                      <a:cubicBezTo>
                        <a:pt x="678" y="113"/>
                        <a:pt x="678" y="113"/>
                        <a:pt x="678" y="113"/>
                      </a:cubicBezTo>
                      <a:cubicBezTo>
                        <a:pt x="679" y="112"/>
                        <a:pt x="679" y="112"/>
                        <a:pt x="679" y="112"/>
                      </a:cubicBezTo>
                      <a:cubicBezTo>
                        <a:pt x="679" y="108"/>
                        <a:pt x="679" y="108"/>
                        <a:pt x="679" y="108"/>
                      </a:cubicBezTo>
                      <a:cubicBezTo>
                        <a:pt x="679" y="106"/>
                        <a:pt x="679" y="106"/>
                        <a:pt x="679" y="106"/>
                      </a:cubicBezTo>
                      <a:cubicBezTo>
                        <a:pt x="675" y="103"/>
                        <a:pt x="675" y="103"/>
                        <a:pt x="675" y="103"/>
                      </a:cubicBezTo>
                      <a:cubicBezTo>
                        <a:pt x="671" y="101"/>
                        <a:pt x="671" y="101"/>
                        <a:pt x="671" y="101"/>
                      </a:cubicBezTo>
                      <a:cubicBezTo>
                        <a:pt x="667" y="97"/>
                        <a:pt x="667" y="97"/>
                        <a:pt x="667" y="97"/>
                      </a:cubicBezTo>
                      <a:cubicBezTo>
                        <a:pt x="667" y="95"/>
                        <a:pt x="667" y="95"/>
                        <a:pt x="667" y="95"/>
                      </a:cubicBezTo>
                      <a:cubicBezTo>
                        <a:pt x="665" y="93"/>
                        <a:pt x="665" y="93"/>
                        <a:pt x="665" y="93"/>
                      </a:cubicBezTo>
                      <a:cubicBezTo>
                        <a:pt x="660" y="92"/>
                        <a:pt x="660" y="92"/>
                        <a:pt x="660" y="92"/>
                      </a:cubicBezTo>
                      <a:cubicBezTo>
                        <a:pt x="658" y="89"/>
                        <a:pt x="658" y="89"/>
                        <a:pt x="658" y="89"/>
                      </a:cubicBezTo>
                      <a:cubicBezTo>
                        <a:pt x="657" y="86"/>
                        <a:pt x="657" y="86"/>
                        <a:pt x="657" y="86"/>
                      </a:cubicBezTo>
                      <a:cubicBezTo>
                        <a:pt x="655" y="85"/>
                        <a:pt x="655" y="85"/>
                        <a:pt x="655" y="85"/>
                      </a:cubicBezTo>
                      <a:cubicBezTo>
                        <a:pt x="654" y="86"/>
                        <a:pt x="654" y="86"/>
                        <a:pt x="654" y="86"/>
                      </a:cubicBezTo>
                      <a:cubicBezTo>
                        <a:pt x="652" y="87"/>
                        <a:pt x="652" y="87"/>
                        <a:pt x="652" y="87"/>
                      </a:cubicBezTo>
                      <a:cubicBezTo>
                        <a:pt x="651" y="86"/>
                        <a:pt x="651" y="86"/>
                        <a:pt x="651" y="86"/>
                      </a:cubicBezTo>
                      <a:cubicBezTo>
                        <a:pt x="650" y="83"/>
                        <a:pt x="650" y="83"/>
                        <a:pt x="650" y="83"/>
                      </a:cubicBezTo>
                      <a:cubicBezTo>
                        <a:pt x="648" y="82"/>
                        <a:pt x="648" y="82"/>
                        <a:pt x="648" y="82"/>
                      </a:cubicBezTo>
                      <a:cubicBezTo>
                        <a:pt x="641" y="82"/>
                        <a:pt x="641" y="82"/>
                        <a:pt x="641" y="82"/>
                      </a:cubicBezTo>
                      <a:cubicBezTo>
                        <a:pt x="638" y="82"/>
                        <a:pt x="638" y="82"/>
                        <a:pt x="638" y="82"/>
                      </a:cubicBezTo>
                      <a:cubicBezTo>
                        <a:pt x="638" y="85"/>
                        <a:pt x="638" y="85"/>
                        <a:pt x="638" y="85"/>
                      </a:cubicBezTo>
                      <a:cubicBezTo>
                        <a:pt x="637" y="87"/>
                        <a:pt x="637" y="87"/>
                        <a:pt x="637" y="87"/>
                      </a:cubicBezTo>
                      <a:cubicBezTo>
                        <a:pt x="636" y="85"/>
                        <a:pt x="636" y="85"/>
                        <a:pt x="636" y="85"/>
                      </a:cubicBezTo>
                      <a:cubicBezTo>
                        <a:pt x="634" y="85"/>
                        <a:pt x="634" y="85"/>
                        <a:pt x="634" y="85"/>
                      </a:cubicBezTo>
                      <a:cubicBezTo>
                        <a:pt x="629" y="88"/>
                        <a:pt x="629" y="88"/>
                        <a:pt x="629" y="88"/>
                      </a:cubicBezTo>
                      <a:cubicBezTo>
                        <a:pt x="626" y="89"/>
                        <a:pt x="626" y="89"/>
                        <a:pt x="626" y="89"/>
                      </a:cubicBezTo>
                      <a:cubicBezTo>
                        <a:pt x="622" y="87"/>
                        <a:pt x="622" y="87"/>
                        <a:pt x="622" y="87"/>
                      </a:cubicBezTo>
                      <a:cubicBezTo>
                        <a:pt x="619" y="86"/>
                        <a:pt x="619" y="86"/>
                        <a:pt x="619" y="86"/>
                      </a:cubicBezTo>
                      <a:cubicBezTo>
                        <a:pt x="616" y="85"/>
                        <a:pt x="616" y="85"/>
                        <a:pt x="616" y="85"/>
                      </a:cubicBezTo>
                      <a:cubicBezTo>
                        <a:pt x="615" y="82"/>
                        <a:pt x="615" y="82"/>
                        <a:pt x="615" y="82"/>
                      </a:cubicBezTo>
                      <a:cubicBezTo>
                        <a:pt x="615" y="80"/>
                        <a:pt x="615" y="80"/>
                        <a:pt x="615" y="80"/>
                      </a:cubicBezTo>
                      <a:cubicBezTo>
                        <a:pt x="617" y="80"/>
                        <a:pt x="617" y="80"/>
                        <a:pt x="617" y="80"/>
                      </a:cubicBezTo>
                      <a:cubicBezTo>
                        <a:pt x="619" y="82"/>
                        <a:pt x="619" y="82"/>
                        <a:pt x="619" y="82"/>
                      </a:cubicBezTo>
                      <a:cubicBezTo>
                        <a:pt x="622" y="84"/>
                        <a:pt x="622" y="84"/>
                        <a:pt x="622" y="84"/>
                      </a:cubicBezTo>
                      <a:cubicBezTo>
                        <a:pt x="623" y="83"/>
                        <a:pt x="623" y="83"/>
                        <a:pt x="623" y="83"/>
                      </a:cubicBezTo>
                      <a:cubicBezTo>
                        <a:pt x="622" y="81"/>
                        <a:pt x="622" y="81"/>
                        <a:pt x="622" y="81"/>
                      </a:cubicBezTo>
                      <a:cubicBezTo>
                        <a:pt x="619" y="78"/>
                        <a:pt x="619" y="78"/>
                        <a:pt x="619" y="78"/>
                      </a:cubicBezTo>
                      <a:cubicBezTo>
                        <a:pt x="619" y="75"/>
                        <a:pt x="619" y="75"/>
                        <a:pt x="619" y="75"/>
                      </a:cubicBezTo>
                      <a:cubicBezTo>
                        <a:pt x="620" y="74"/>
                        <a:pt x="620" y="74"/>
                        <a:pt x="620" y="74"/>
                      </a:cubicBezTo>
                      <a:cubicBezTo>
                        <a:pt x="622" y="76"/>
                        <a:pt x="622" y="76"/>
                        <a:pt x="622" y="76"/>
                      </a:cubicBezTo>
                      <a:cubicBezTo>
                        <a:pt x="625" y="78"/>
                        <a:pt x="625" y="78"/>
                        <a:pt x="625" y="78"/>
                      </a:cubicBezTo>
                      <a:cubicBezTo>
                        <a:pt x="628" y="79"/>
                        <a:pt x="628" y="79"/>
                        <a:pt x="628" y="79"/>
                      </a:cubicBezTo>
                      <a:cubicBezTo>
                        <a:pt x="633" y="77"/>
                        <a:pt x="633" y="77"/>
                        <a:pt x="633" y="77"/>
                      </a:cubicBezTo>
                      <a:cubicBezTo>
                        <a:pt x="638" y="72"/>
                        <a:pt x="638" y="72"/>
                        <a:pt x="638" y="72"/>
                      </a:cubicBezTo>
                      <a:cubicBezTo>
                        <a:pt x="638" y="70"/>
                        <a:pt x="638" y="70"/>
                        <a:pt x="638" y="70"/>
                      </a:cubicBezTo>
                      <a:cubicBezTo>
                        <a:pt x="637" y="68"/>
                        <a:pt x="637" y="68"/>
                        <a:pt x="637" y="68"/>
                      </a:cubicBezTo>
                      <a:cubicBezTo>
                        <a:pt x="636" y="66"/>
                        <a:pt x="636" y="66"/>
                        <a:pt x="636" y="66"/>
                      </a:cubicBezTo>
                      <a:cubicBezTo>
                        <a:pt x="636" y="64"/>
                        <a:pt x="636" y="64"/>
                        <a:pt x="636" y="64"/>
                      </a:cubicBezTo>
                      <a:cubicBezTo>
                        <a:pt x="637" y="62"/>
                        <a:pt x="637" y="62"/>
                        <a:pt x="637" y="62"/>
                      </a:cubicBezTo>
                      <a:cubicBezTo>
                        <a:pt x="637" y="61"/>
                        <a:pt x="637" y="61"/>
                        <a:pt x="637" y="61"/>
                      </a:cubicBezTo>
                      <a:cubicBezTo>
                        <a:pt x="634" y="58"/>
                        <a:pt x="634" y="58"/>
                        <a:pt x="634" y="58"/>
                      </a:cubicBezTo>
                      <a:cubicBezTo>
                        <a:pt x="632" y="55"/>
                        <a:pt x="632" y="55"/>
                        <a:pt x="632" y="55"/>
                      </a:cubicBezTo>
                      <a:cubicBezTo>
                        <a:pt x="630" y="54"/>
                        <a:pt x="630" y="54"/>
                        <a:pt x="630" y="54"/>
                      </a:cubicBezTo>
                      <a:cubicBezTo>
                        <a:pt x="628" y="54"/>
                        <a:pt x="628" y="54"/>
                        <a:pt x="628" y="54"/>
                      </a:cubicBezTo>
                      <a:cubicBezTo>
                        <a:pt x="626" y="58"/>
                        <a:pt x="626" y="58"/>
                        <a:pt x="626" y="58"/>
                      </a:cubicBezTo>
                      <a:cubicBezTo>
                        <a:pt x="621" y="61"/>
                        <a:pt x="621" y="61"/>
                        <a:pt x="621" y="61"/>
                      </a:cubicBezTo>
                      <a:cubicBezTo>
                        <a:pt x="618" y="60"/>
                        <a:pt x="618" y="60"/>
                        <a:pt x="618" y="60"/>
                      </a:cubicBezTo>
                      <a:cubicBezTo>
                        <a:pt x="615" y="60"/>
                        <a:pt x="615" y="60"/>
                        <a:pt x="615" y="60"/>
                      </a:cubicBezTo>
                      <a:cubicBezTo>
                        <a:pt x="612" y="64"/>
                        <a:pt x="612" y="64"/>
                        <a:pt x="612" y="64"/>
                      </a:cubicBezTo>
                      <a:cubicBezTo>
                        <a:pt x="611" y="64"/>
                        <a:pt x="611" y="64"/>
                        <a:pt x="611" y="64"/>
                      </a:cubicBezTo>
                      <a:cubicBezTo>
                        <a:pt x="609" y="62"/>
                        <a:pt x="609" y="62"/>
                        <a:pt x="609" y="62"/>
                      </a:cubicBezTo>
                      <a:cubicBezTo>
                        <a:pt x="608" y="60"/>
                        <a:pt x="608" y="60"/>
                        <a:pt x="608" y="60"/>
                      </a:cubicBezTo>
                      <a:cubicBezTo>
                        <a:pt x="605" y="61"/>
                        <a:pt x="605" y="61"/>
                        <a:pt x="605" y="61"/>
                      </a:cubicBezTo>
                      <a:cubicBezTo>
                        <a:pt x="603" y="62"/>
                        <a:pt x="603" y="62"/>
                        <a:pt x="603" y="62"/>
                      </a:cubicBezTo>
                      <a:cubicBezTo>
                        <a:pt x="601" y="61"/>
                        <a:pt x="601" y="61"/>
                        <a:pt x="601" y="61"/>
                      </a:cubicBezTo>
                      <a:cubicBezTo>
                        <a:pt x="598" y="59"/>
                        <a:pt x="598" y="59"/>
                        <a:pt x="598" y="59"/>
                      </a:cubicBezTo>
                      <a:cubicBezTo>
                        <a:pt x="595" y="58"/>
                        <a:pt x="595" y="58"/>
                        <a:pt x="595" y="58"/>
                      </a:cubicBezTo>
                      <a:cubicBezTo>
                        <a:pt x="592" y="56"/>
                        <a:pt x="592" y="56"/>
                        <a:pt x="592" y="56"/>
                      </a:cubicBezTo>
                      <a:cubicBezTo>
                        <a:pt x="589" y="55"/>
                        <a:pt x="589" y="55"/>
                        <a:pt x="589" y="55"/>
                      </a:cubicBezTo>
                      <a:cubicBezTo>
                        <a:pt x="586" y="53"/>
                        <a:pt x="586" y="53"/>
                        <a:pt x="586" y="53"/>
                      </a:cubicBezTo>
                      <a:cubicBezTo>
                        <a:pt x="581" y="52"/>
                        <a:pt x="581" y="52"/>
                        <a:pt x="581" y="52"/>
                      </a:cubicBezTo>
                      <a:cubicBezTo>
                        <a:pt x="574" y="52"/>
                        <a:pt x="574" y="52"/>
                        <a:pt x="574" y="52"/>
                      </a:cubicBezTo>
                      <a:cubicBezTo>
                        <a:pt x="571" y="54"/>
                        <a:pt x="571" y="54"/>
                        <a:pt x="571" y="54"/>
                      </a:cubicBezTo>
                      <a:cubicBezTo>
                        <a:pt x="566" y="56"/>
                        <a:pt x="566" y="56"/>
                        <a:pt x="566" y="56"/>
                      </a:cubicBezTo>
                      <a:cubicBezTo>
                        <a:pt x="561" y="57"/>
                        <a:pt x="561" y="57"/>
                        <a:pt x="561" y="57"/>
                      </a:cubicBezTo>
                      <a:cubicBezTo>
                        <a:pt x="557" y="58"/>
                        <a:pt x="557" y="58"/>
                        <a:pt x="557" y="58"/>
                      </a:cubicBezTo>
                      <a:cubicBezTo>
                        <a:pt x="554" y="57"/>
                        <a:pt x="554" y="57"/>
                        <a:pt x="554" y="57"/>
                      </a:cubicBezTo>
                      <a:cubicBezTo>
                        <a:pt x="550" y="58"/>
                        <a:pt x="550" y="58"/>
                        <a:pt x="550" y="58"/>
                      </a:cubicBezTo>
                      <a:cubicBezTo>
                        <a:pt x="549" y="59"/>
                        <a:pt x="549" y="59"/>
                        <a:pt x="549" y="59"/>
                      </a:cubicBezTo>
                      <a:cubicBezTo>
                        <a:pt x="550" y="64"/>
                        <a:pt x="550" y="64"/>
                        <a:pt x="550" y="64"/>
                      </a:cubicBezTo>
                      <a:cubicBezTo>
                        <a:pt x="550" y="67"/>
                        <a:pt x="550" y="67"/>
                        <a:pt x="550" y="67"/>
                      </a:cubicBezTo>
                      <a:cubicBezTo>
                        <a:pt x="549" y="67"/>
                        <a:pt x="549" y="67"/>
                        <a:pt x="549" y="67"/>
                      </a:cubicBezTo>
                      <a:cubicBezTo>
                        <a:pt x="547" y="65"/>
                        <a:pt x="547" y="65"/>
                        <a:pt x="547" y="65"/>
                      </a:cubicBezTo>
                      <a:cubicBezTo>
                        <a:pt x="545" y="60"/>
                        <a:pt x="545" y="60"/>
                        <a:pt x="545" y="60"/>
                      </a:cubicBezTo>
                      <a:cubicBezTo>
                        <a:pt x="544" y="57"/>
                        <a:pt x="544" y="57"/>
                        <a:pt x="544" y="57"/>
                      </a:cubicBezTo>
                      <a:cubicBezTo>
                        <a:pt x="543" y="57"/>
                        <a:pt x="543" y="57"/>
                        <a:pt x="543" y="57"/>
                      </a:cubicBezTo>
                      <a:cubicBezTo>
                        <a:pt x="540" y="58"/>
                        <a:pt x="540" y="58"/>
                        <a:pt x="540" y="58"/>
                      </a:cubicBezTo>
                      <a:cubicBezTo>
                        <a:pt x="537" y="58"/>
                        <a:pt x="537" y="58"/>
                        <a:pt x="537" y="58"/>
                      </a:cubicBezTo>
                      <a:cubicBezTo>
                        <a:pt x="532" y="58"/>
                        <a:pt x="532" y="58"/>
                        <a:pt x="532" y="58"/>
                      </a:cubicBezTo>
                      <a:cubicBezTo>
                        <a:pt x="530" y="58"/>
                        <a:pt x="530" y="58"/>
                        <a:pt x="530" y="58"/>
                      </a:cubicBezTo>
                      <a:cubicBezTo>
                        <a:pt x="530" y="58"/>
                        <a:pt x="526" y="60"/>
                        <a:pt x="526" y="60"/>
                      </a:cubicBezTo>
                      <a:cubicBezTo>
                        <a:pt x="526" y="61"/>
                        <a:pt x="524" y="64"/>
                        <a:pt x="524" y="64"/>
                      </a:cubicBezTo>
                      <a:cubicBezTo>
                        <a:pt x="523" y="71"/>
                        <a:pt x="523" y="71"/>
                        <a:pt x="523" y="71"/>
                      </a:cubicBezTo>
                      <a:cubicBezTo>
                        <a:pt x="521" y="73"/>
                        <a:pt x="521" y="73"/>
                        <a:pt x="521" y="73"/>
                      </a:cubicBezTo>
                      <a:cubicBezTo>
                        <a:pt x="520" y="74"/>
                        <a:pt x="520" y="74"/>
                        <a:pt x="520" y="74"/>
                      </a:cubicBezTo>
                      <a:cubicBezTo>
                        <a:pt x="519" y="72"/>
                        <a:pt x="519" y="72"/>
                        <a:pt x="519" y="72"/>
                      </a:cubicBezTo>
                      <a:cubicBezTo>
                        <a:pt x="521" y="68"/>
                        <a:pt x="521" y="68"/>
                        <a:pt x="521" y="68"/>
                      </a:cubicBezTo>
                      <a:cubicBezTo>
                        <a:pt x="522" y="66"/>
                        <a:pt x="522" y="66"/>
                        <a:pt x="522" y="66"/>
                      </a:cubicBezTo>
                      <a:cubicBezTo>
                        <a:pt x="521" y="64"/>
                        <a:pt x="521" y="64"/>
                        <a:pt x="521" y="64"/>
                      </a:cubicBezTo>
                      <a:cubicBezTo>
                        <a:pt x="519" y="65"/>
                        <a:pt x="519" y="65"/>
                        <a:pt x="519" y="65"/>
                      </a:cubicBezTo>
                      <a:cubicBezTo>
                        <a:pt x="515" y="65"/>
                        <a:pt x="515" y="65"/>
                        <a:pt x="515" y="65"/>
                      </a:cubicBezTo>
                      <a:cubicBezTo>
                        <a:pt x="513" y="67"/>
                        <a:pt x="513" y="67"/>
                        <a:pt x="513" y="67"/>
                      </a:cubicBezTo>
                      <a:cubicBezTo>
                        <a:pt x="513" y="68"/>
                        <a:pt x="513" y="68"/>
                        <a:pt x="513" y="68"/>
                      </a:cubicBezTo>
                      <a:cubicBezTo>
                        <a:pt x="512" y="71"/>
                        <a:pt x="512" y="71"/>
                        <a:pt x="512" y="71"/>
                      </a:cubicBezTo>
                      <a:cubicBezTo>
                        <a:pt x="512" y="75"/>
                        <a:pt x="512" y="75"/>
                        <a:pt x="512" y="75"/>
                      </a:cubicBezTo>
                      <a:cubicBezTo>
                        <a:pt x="509" y="76"/>
                        <a:pt x="509" y="76"/>
                        <a:pt x="509" y="76"/>
                      </a:cubicBezTo>
                      <a:cubicBezTo>
                        <a:pt x="508" y="75"/>
                        <a:pt x="508" y="75"/>
                        <a:pt x="508" y="75"/>
                      </a:cubicBezTo>
                      <a:cubicBezTo>
                        <a:pt x="509" y="72"/>
                        <a:pt x="509" y="72"/>
                        <a:pt x="509" y="72"/>
                      </a:cubicBezTo>
                      <a:cubicBezTo>
                        <a:pt x="510" y="69"/>
                        <a:pt x="510" y="69"/>
                        <a:pt x="510" y="69"/>
                      </a:cubicBezTo>
                      <a:cubicBezTo>
                        <a:pt x="510" y="63"/>
                        <a:pt x="510" y="63"/>
                        <a:pt x="510" y="63"/>
                      </a:cubicBezTo>
                      <a:cubicBezTo>
                        <a:pt x="511" y="60"/>
                        <a:pt x="511" y="60"/>
                        <a:pt x="511" y="60"/>
                      </a:cubicBezTo>
                      <a:cubicBezTo>
                        <a:pt x="517" y="55"/>
                        <a:pt x="517" y="55"/>
                        <a:pt x="517" y="55"/>
                      </a:cubicBezTo>
                      <a:cubicBezTo>
                        <a:pt x="522" y="52"/>
                        <a:pt x="522" y="52"/>
                        <a:pt x="522" y="52"/>
                      </a:cubicBezTo>
                      <a:cubicBezTo>
                        <a:pt x="526" y="52"/>
                        <a:pt x="526" y="52"/>
                        <a:pt x="526" y="52"/>
                      </a:cubicBezTo>
                      <a:cubicBezTo>
                        <a:pt x="530" y="54"/>
                        <a:pt x="530" y="54"/>
                        <a:pt x="530" y="54"/>
                      </a:cubicBezTo>
                      <a:cubicBezTo>
                        <a:pt x="534" y="53"/>
                        <a:pt x="534" y="53"/>
                        <a:pt x="534" y="53"/>
                      </a:cubicBezTo>
                      <a:cubicBezTo>
                        <a:pt x="535" y="52"/>
                        <a:pt x="535" y="52"/>
                        <a:pt x="535" y="52"/>
                      </a:cubicBezTo>
                      <a:cubicBezTo>
                        <a:pt x="539" y="52"/>
                        <a:pt x="539" y="52"/>
                        <a:pt x="539" y="52"/>
                      </a:cubicBezTo>
                      <a:cubicBezTo>
                        <a:pt x="542" y="52"/>
                        <a:pt x="542" y="52"/>
                        <a:pt x="542" y="52"/>
                      </a:cubicBezTo>
                      <a:cubicBezTo>
                        <a:pt x="543" y="52"/>
                        <a:pt x="543" y="52"/>
                        <a:pt x="543" y="52"/>
                      </a:cubicBezTo>
                      <a:cubicBezTo>
                        <a:pt x="546" y="50"/>
                        <a:pt x="546" y="50"/>
                        <a:pt x="546" y="50"/>
                      </a:cubicBezTo>
                      <a:cubicBezTo>
                        <a:pt x="547" y="47"/>
                        <a:pt x="547" y="47"/>
                        <a:pt x="547" y="47"/>
                      </a:cubicBezTo>
                      <a:cubicBezTo>
                        <a:pt x="545" y="47"/>
                        <a:pt x="545" y="47"/>
                        <a:pt x="545" y="47"/>
                      </a:cubicBezTo>
                      <a:cubicBezTo>
                        <a:pt x="543" y="44"/>
                        <a:pt x="543" y="44"/>
                        <a:pt x="543" y="44"/>
                      </a:cubicBezTo>
                      <a:cubicBezTo>
                        <a:pt x="542" y="40"/>
                        <a:pt x="542" y="40"/>
                        <a:pt x="542" y="40"/>
                      </a:cubicBezTo>
                      <a:cubicBezTo>
                        <a:pt x="545" y="37"/>
                        <a:pt x="545" y="37"/>
                        <a:pt x="545" y="37"/>
                      </a:cubicBezTo>
                      <a:cubicBezTo>
                        <a:pt x="548" y="36"/>
                        <a:pt x="548" y="36"/>
                        <a:pt x="548" y="36"/>
                      </a:cubicBezTo>
                      <a:cubicBezTo>
                        <a:pt x="551" y="36"/>
                        <a:pt x="551" y="36"/>
                        <a:pt x="551" y="36"/>
                      </a:cubicBezTo>
                      <a:cubicBezTo>
                        <a:pt x="552" y="38"/>
                        <a:pt x="552" y="38"/>
                        <a:pt x="552" y="38"/>
                      </a:cubicBezTo>
                      <a:cubicBezTo>
                        <a:pt x="551" y="40"/>
                        <a:pt x="551" y="40"/>
                        <a:pt x="551" y="40"/>
                      </a:cubicBezTo>
                      <a:cubicBezTo>
                        <a:pt x="549" y="40"/>
                        <a:pt x="549" y="40"/>
                        <a:pt x="549" y="40"/>
                      </a:cubicBezTo>
                      <a:cubicBezTo>
                        <a:pt x="548" y="42"/>
                        <a:pt x="548" y="42"/>
                        <a:pt x="548" y="42"/>
                      </a:cubicBezTo>
                      <a:cubicBezTo>
                        <a:pt x="548" y="46"/>
                        <a:pt x="548" y="46"/>
                        <a:pt x="548" y="46"/>
                      </a:cubicBezTo>
                      <a:cubicBezTo>
                        <a:pt x="550" y="49"/>
                        <a:pt x="550" y="49"/>
                        <a:pt x="550" y="49"/>
                      </a:cubicBezTo>
                      <a:cubicBezTo>
                        <a:pt x="555" y="50"/>
                        <a:pt x="555" y="50"/>
                        <a:pt x="555" y="50"/>
                      </a:cubicBezTo>
                      <a:cubicBezTo>
                        <a:pt x="559" y="47"/>
                        <a:pt x="559" y="47"/>
                        <a:pt x="559" y="47"/>
                      </a:cubicBezTo>
                      <a:cubicBezTo>
                        <a:pt x="562" y="47"/>
                        <a:pt x="562" y="47"/>
                        <a:pt x="562" y="47"/>
                      </a:cubicBezTo>
                      <a:cubicBezTo>
                        <a:pt x="565" y="48"/>
                        <a:pt x="565" y="48"/>
                        <a:pt x="565" y="48"/>
                      </a:cubicBezTo>
                      <a:cubicBezTo>
                        <a:pt x="567" y="47"/>
                        <a:pt x="567" y="47"/>
                        <a:pt x="567" y="47"/>
                      </a:cubicBezTo>
                      <a:cubicBezTo>
                        <a:pt x="573" y="44"/>
                        <a:pt x="573" y="44"/>
                        <a:pt x="573" y="44"/>
                      </a:cubicBezTo>
                      <a:cubicBezTo>
                        <a:pt x="577" y="44"/>
                        <a:pt x="577" y="44"/>
                        <a:pt x="577" y="44"/>
                      </a:cubicBezTo>
                      <a:cubicBezTo>
                        <a:pt x="578" y="46"/>
                        <a:pt x="578" y="46"/>
                        <a:pt x="578" y="46"/>
                      </a:cubicBezTo>
                      <a:cubicBezTo>
                        <a:pt x="580" y="45"/>
                        <a:pt x="580" y="45"/>
                        <a:pt x="580" y="45"/>
                      </a:cubicBezTo>
                      <a:cubicBezTo>
                        <a:pt x="582" y="44"/>
                        <a:pt x="582" y="44"/>
                        <a:pt x="582" y="44"/>
                      </a:cubicBezTo>
                      <a:cubicBezTo>
                        <a:pt x="586" y="44"/>
                        <a:pt x="586" y="44"/>
                        <a:pt x="586" y="44"/>
                      </a:cubicBezTo>
                      <a:cubicBezTo>
                        <a:pt x="589" y="45"/>
                        <a:pt x="589" y="45"/>
                        <a:pt x="589" y="45"/>
                      </a:cubicBezTo>
                      <a:cubicBezTo>
                        <a:pt x="591" y="45"/>
                        <a:pt x="591" y="45"/>
                        <a:pt x="591" y="45"/>
                      </a:cubicBezTo>
                      <a:cubicBezTo>
                        <a:pt x="594" y="47"/>
                        <a:pt x="594" y="47"/>
                        <a:pt x="594" y="47"/>
                      </a:cubicBezTo>
                      <a:cubicBezTo>
                        <a:pt x="601" y="50"/>
                        <a:pt x="601" y="50"/>
                        <a:pt x="601" y="50"/>
                      </a:cubicBezTo>
                      <a:cubicBezTo>
                        <a:pt x="605" y="51"/>
                        <a:pt x="605" y="51"/>
                        <a:pt x="605" y="51"/>
                      </a:cubicBezTo>
                      <a:cubicBezTo>
                        <a:pt x="609" y="50"/>
                        <a:pt x="609" y="50"/>
                        <a:pt x="609" y="50"/>
                      </a:cubicBezTo>
                      <a:cubicBezTo>
                        <a:pt x="610" y="50"/>
                        <a:pt x="610" y="50"/>
                        <a:pt x="610" y="50"/>
                      </a:cubicBezTo>
                      <a:cubicBezTo>
                        <a:pt x="613" y="50"/>
                        <a:pt x="613" y="50"/>
                        <a:pt x="613" y="50"/>
                      </a:cubicBezTo>
                      <a:cubicBezTo>
                        <a:pt x="615" y="47"/>
                        <a:pt x="615" y="47"/>
                        <a:pt x="615" y="47"/>
                      </a:cubicBezTo>
                      <a:cubicBezTo>
                        <a:pt x="617" y="46"/>
                        <a:pt x="617" y="46"/>
                        <a:pt x="617" y="46"/>
                      </a:cubicBezTo>
                      <a:cubicBezTo>
                        <a:pt x="620" y="46"/>
                        <a:pt x="620" y="46"/>
                        <a:pt x="620" y="46"/>
                      </a:cubicBezTo>
                      <a:cubicBezTo>
                        <a:pt x="623" y="47"/>
                        <a:pt x="623" y="47"/>
                        <a:pt x="623" y="47"/>
                      </a:cubicBezTo>
                      <a:cubicBezTo>
                        <a:pt x="625" y="43"/>
                        <a:pt x="625" y="43"/>
                        <a:pt x="625" y="43"/>
                      </a:cubicBezTo>
                      <a:cubicBezTo>
                        <a:pt x="625" y="41"/>
                        <a:pt x="625" y="41"/>
                        <a:pt x="625" y="41"/>
                      </a:cubicBezTo>
                      <a:cubicBezTo>
                        <a:pt x="620" y="37"/>
                        <a:pt x="620" y="37"/>
                        <a:pt x="620" y="37"/>
                      </a:cubicBezTo>
                      <a:cubicBezTo>
                        <a:pt x="618" y="35"/>
                        <a:pt x="618" y="35"/>
                        <a:pt x="618" y="35"/>
                      </a:cubicBezTo>
                      <a:cubicBezTo>
                        <a:pt x="616" y="31"/>
                        <a:pt x="616" y="31"/>
                        <a:pt x="616" y="31"/>
                      </a:cubicBezTo>
                      <a:cubicBezTo>
                        <a:pt x="612" y="28"/>
                        <a:pt x="612" y="28"/>
                        <a:pt x="612" y="28"/>
                      </a:cubicBezTo>
                      <a:cubicBezTo>
                        <a:pt x="607" y="26"/>
                        <a:pt x="607" y="26"/>
                        <a:pt x="607" y="26"/>
                      </a:cubicBezTo>
                      <a:cubicBezTo>
                        <a:pt x="604" y="23"/>
                        <a:pt x="604" y="23"/>
                        <a:pt x="604" y="23"/>
                      </a:cubicBezTo>
                      <a:cubicBezTo>
                        <a:pt x="601" y="22"/>
                        <a:pt x="601" y="22"/>
                        <a:pt x="601" y="22"/>
                      </a:cubicBezTo>
                      <a:cubicBezTo>
                        <a:pt x="597" y="23"/>
                        <a:pt x="597" y="23"/>
                        <a:pt x="597" y="23"/>
                      </a:cubicBezTo>
                      <a:cubicBezTo>
                        <a:pt x="596" y="21"/>
                        <a:pt x="596" y="21"/>
                        <a:pt x="596" y="21"/>
                      </a:cubicBezTo>
                      <a:cubicBezTo>
                        <a:pt x="595" y="20"/>
                        <a:pt x="595" y="20"/>
                        <a:pt x="595" y="20"/>
                      </a:cubicBezTo>
                      <a:cubicBezTo>
                        <a:pt x="591" y="21"/>
                        <a:pt x="591" y="21"/>
                        <a:pt x="591" y="21"/>
                      </a:cubicBezTo>
                      <a:cubicBezTo>
                        <a:pt x="589" y="19"/>
                        <a:pt x="589" y="19"/>
                        <a:pt x="589" y="19"/>
                      </a:cubicBezTo>
                      <a:cubicBezTo>
                        <a:pt x="582" y="19"/>
                        <a:pt x="582" y="19"/>
                        <a:pt x="582" y="19"/>
                      </a:cubicBezTo>
                      <a:cubicBezTo>
                        <a:pt x="578" y="14"/>
                        <a:pt x="578" y="14"/>
                        <a:pt x="578" y="14"/>
                      </a:cubicBezTo>
                      <a:cubicBezTo>
                        <a:pt x="576" y="14"/>
                        <a:pt x="576" y="14"/>
                        <a:pt x="576" y="14"/>
                      </a:cubicBezTo>
                      <a:cubicBezTo>
                        <a:pt x="570" y="10"/>
                        <a:pt x="570" y="10"/>
                        <a:pt x="570" y="10"/>
                      </a:cubicBezTo>
                      <a:cubicBezTo>
                        <a:pt x="568" y="10"/>
                        <a:pt x="568" y="10"/>
                        <a:pt x="568" y="10"/>
                      </a:cubicBezTo>
                      <a:cubicBezTo>
                        <a:pt x="568" y="11"/>
                        <a:pt x="568" y="11"/>
                        <a:pt x="568" y="11"/>
                      </a:cubicBezTo>
                      <a:cubicBezTo>
                        <a:pt x="566" y="13"/>
                        <a:pt x="566" y="13"/>
                        <a:pt x="566" y="13"/>
                      </a:cubicBezTo>
                      <a:cubicBezTo>
                        <a:pt x="561" y="8"/>
                        <a:pt x="561" y="8"/>
                        <a:pt x="561" y="8"/>
                      </a:cubicBezTo>
                      <a:cubicBezTo>
                        <a:pt x="560" y="6"/>
                        <a:pt x="560" y="6"/>
                        <a:pt x="560" y="6"/>
                      </a:cubicBezTo>
                      <a:cubicBezTo>
                        <a:pt x="558" y="4"/>
                        <a:pt x="558" y="4"/>
                        <a:pt x="558" y="4"/>
                      </a:cubicBezTo>
                      <a:cubicBezTo>
                        <a:pt x="556" y="5"/>
                        <a:pt x="556" y="5"/>
                        <a:pt x="556" y="5"/>
                      </a:cubicBezTo>
                      <a:cubicBezTo>
                        <a:pt x="553" y="5"/>
                        <a:pt x="553" y="5"/>
                        <a:pt x="553" y="5"/>
                      </a:cubicBezTo>
                      <a:cubicBezTo>
                        <a:pt x="552" y="4"/>
                        <a:pt x="552" y="4"/>
                        <a:pt x="552" y="4"/>
                      </a:cubicBezTo>
                      <a:cubicBezTo>
                        <a:pt x="545" y="3"/>
                        <a:pt x="545" y="3"/>
                        <a:pt x="545" y="3"/>
                      </a:cubicBezTo>
                      <a:cubicBezTo>
                        <a:pt x="542" y="2"/>
                        <a:pt x="542" y="2"/>
                        <a:pt x="542" y="2"/>
                      </a:cubicBezTo>
                      <a:cubicBezTo>
                        <a:pt x="540" y="4"/>
                        <a:pt x="540" y="4"/>
                        <a:pt x="540" y="4"/>
                      </a:cubicBezTo>
                      <a:cubicBezTo>
                        <a:pt x="538" y="4"/>
                        <a:pt x="538" y="4"/>
                        <a:pt x="538" y="4"/>
                      </a:cubicBezTo>
                      <a:cubicBezTo>
                        <a:pt x="537" y="2"/>
                        <a:pt x="537" y="2"/>
                        <a:pt x="537" y="2"/>
                      </a:cubicBezTo>
                      <a:cubicBezTo>
                        <a:pt x="535" y="1"/>
                        <a:pt x="535" y="1"/>
                        <a:pt x="535" y="1"/>
                      </a:cubicBezTo>
                      <a:cubicBezTo>
                        <a:pt x="529" y="1"/>
                        <a:pt x="529" y="1"/>
                        <a:pt x="529" y="1"/>
                      </a:cubicBezTo>
                      <a:cubicBezTo>
                        <a:pt x="525" y="0"/>
                        <a:pt x="525" y="0"/>
                        <a:pt x="525" y="0"/>
                      </a:cubicBezTo>
                      <a:cubicBezTo>
                        <a:pt x="523" y="1"/>
                        <a:pt x="523" y="1"/>
                        <a:pt x="523" y="1"/>
                      </a:cubicBezTo>
                      <a:cubicBezTo>
                        <a:pt x="521" y="3"/>
                        <a:pt x="521" y="3"/>
                        <a:pt x="521" y="3"/>
                      </a:cubicBezTo>
                      <a:cubicBezTo>
                        <a:pt x="521" y="6"/>
                        <a:pt x="521" y="6"/>
                        <a:pt x="521" y="6"/>
                      </a:cubicBezTo>
                      <a:cubicBezTo>
                        <a:pt x="522" y="9"/>
                        <a:pt x="522" y="9"/>
                        <a:pt x="522" y="9"/>
                      </a:cubicBezTo>
                      <a:cubicBezTo>
                        <a:pt x="522" y="12"/>
                        <a:pt x="522" y="12"/>
                        <a:pt x="522" y="12"/>
                      </a:cubicBezTo>
                      <a:cubicBezTo>
                        <a:pt x="520" y="14"/>
                        <a:pt x="520" y="14"/>
                        <a:pt x="520" y="14"/>
                      </a:cubicBezTo>
                      <a:cubicBezTo>
                        <a:pt x="519" y="12"/>
                        <a:pt x="519" y="12"/>
                        <a:pt x="519" y="12"/>
                      </a:cubicBezTo>
                      <a:cubicBezTo>
                        <a:pt x="517" y="7"/>
                        <a:pt x="517" y="7"/>
                        <a:pt x="517" y="7"/>
                      </a:cubicBezTo>
                      <a:cubicBezTo>
                        <a:pt x="516" y="4"/>
                        <a:pt x="516" y="4"/>
                        <a:pt x="516" y="4"/>
                      </a:cubicBezTo>
                      <a:cubicBezTo>
                        <a:pt x="515" y="3"/>
                        <a:pt x="515" y="3"/>
                        <a:pt x="515" y="3"/>
                      </a:cubicBezTo>
                      <a:cubicBezTo>
                        <a:pt x="513" y="2"/>
                        <a:pt x="513" y="2"/>
                        <a:pt x="513" y="2"/>
                      </a:cubicBezTo>
                      <a:cubicBezTo>
                        <a:pt x="511" y="1"/>
                        <a:pt x="511" y="1"/>
                        <a:pt x="511" y="1"/>
                      </a:cubicBezTo>
                      <a:cubicBezTo>
                        <a:pt x="510" y="3"/>
                        <a:pt x="510" y="3"/>
                        <a:pt x="510" y="3"/>
                      </a:cubicBezTo>
                      <a:cubicBezTo>
                        <a:pt x="509" y="7"/>
                        <a:pt x="509" y="7"/>
                        <a:pt x="509" y="7"/>
                      </a:cubicBezTo>
                      <a:cubicBezTo>
                        <a:pt x="508" y="9"/>
                        <a:pt x="508" y="9"/>
                        <a:pt x="508" y="9"/>
                      </a:cubicBezTo>
                      <a:cubicBezTo>
                        <a:pt x="505" y="9"/>
                        <a:pt x="505" y="9"/>
                        <a:pt x="505" y="9"/>
                      </a:cubicBezTo>
                      <a:cubicBezTo>
                        <a:pt x="503" y="9"/>
                        <a:pt x="503" y="9"/>
                        <a:pt x="503" y="9"/>
                      </a:cubicBezTo>
                      <a:cubicBezTo>
                        <a:pt x="502" y="13"/>
                        <a:pt x="502" y="13"/>
                        <a:pt x="502" y="13"/>
                      </a:cubicBezTo>
                      <a:cubicBezTo>
                        <a:pt x="503" y="16"/>
                        <a:pt x="503" y="16"/>
                        <a:pt x="503" y="16"/>
                      </a:cubicBezTo>
                      <a:cubicBezTo>
                        <a:pt x="504" y="18"/>
                        <a:pt x="504" y="18"/>
                        <a:pt x="504" y="18"/>
                      </a:cubicBezTo>
                      <a:cubicBezTo>
                        <a:pt x="502" y="20"/>
                        <a:pt x="502" y="20"/>
                        <a:pt x="502" y="20"/>
                      </a:cubicBezTo>
                      <a:cubicBezTo>
                        <a:pt x="499" y="25"/>
                        <a:pt x="499" y="25"/>
                        <a:pt x="499" y="25"/>
                      </a:cubicBezTo>
                      <a:cubicBezTo>
                        <a:pt x="499" y="27"/>
                        <a:pt x="499" y="27"/>
                        <a:pt x="499" y="27"/>
                      </a:cubicBezTo>
                      <a:cubicBezTo>
                        <a:pt x="501" y="28"/>
                        <a:pt x="501" y="28"/>
                        <a:pt x="501" y="28"/>
                      </a:cubicBezTo>
                      <a:cubicBezTo>
                        <a:pt x="502" y="31"/>
                        <a:pt x="502" y="31"/>
                        <a:pt x="502" y="31"/>
                      </a:cubicBezTo>
                      <a:cubicBezTo>
                        <a:pt x="501" y="32"/>
                        <a:pt x="501" y="32"/>
                        <a:pt x="501" y="32"/>
                      </a:cubicBezTo>
                      <a:cubicBezTo>
                        <a:pt x="497" y="32"/>
                        <a:pt x="497" y="32"/>
                        <a:pt x="497" y="32"/>
                      </a:cubicBezTo>
                      <a:cubicBezTo>
                        <a:pt x="493" y="29"/>
                        <a:pt x="493" y="29"/>
                        <a:pt x="493" y="29"/>
                      </a:cubicBezTo>
                      <a:cubicBezTo>
                        <a:pt x="489" y="29"/>
                        <a:pt x="489" y="29"/>
                        <a:pt x="489" y="29"/>
                      </a:cubicBezTo>
                      <a:cubicBezTo>
                        <a:pt x="486" y="29"/>
                        <a:pt x="486" y="29"/>
                        <a:pt x="486" y="29"/>
                      </a:cubicBezTo>
                      <a:cubicBezTo>
                        <a:pt x="485" y="35"/>
                        <a:pt x="485" y="35"/>
                        <a:pt x="485" y="35"/>
                      </a:cubicBezTo>
                      <a:cubicBezTo>
                        <a:pt x="486" y="41"/>
                        <a:pt x="486" y="41"/>
                        <a:pt x="486" y="41"/>
                      </a:cubicBezTo>
                      <a:cubicBezTo>
                        <a:pt x="488" y="47"/>
                        <a:pt x="488" y="47"/>
                        <a:pt x="488" y="47"/>
                      </a:cubicBezTo>
                      <a:cubicBezTo>
                        <a:pt x="493" y="49"/>
                        <a:pt x="493" y="49"/>
                        <a:pt x="493" y="49"/>
                      </a:cubicBezTo>
                      <a:cubicBezTo>
                        <a:pt x="495" y="51"/>
                        <a:pt x="495" y="51"/>
                        <a:pt x="495" y="51"/>
                      </a:cubicBezTo>
                      <a:cubicBezTo>
                        <a:pt x="495" y="53"/>
                        <a:pt x="495" y="53"/>
                        <a:pt x="495" y="53"/>
                      </a:cubicBezTo>
                      <a:cubicBezTo>
                        <a:pt x="490" y="52"/>
                        <a:pt x="490" y="52"/>
                        <a:pt x="490" y="52"/>
                      </a:cubicBezTo>
                      <a:cubicBezTo>
                        <a:pt x="486" y="49"/>
                        <a:pt x="486" y="49"/>
                        <a:pt x="486" y="49"/>
                      </a:cubicBezTo>
                      <a:cubicBezTo>
                        <a:pt x="483" y="42"/>
                        <a:pt x="483" y="42"/>
                        <a:pt x="483" y="42"/>
                      </a:cubicBezTo>
                      <a:cubicBezTo>
                        <a:pt x="477" y="37"/>
                        <a:pt x="477" y="37"/>
                        <a:pt x="477" y="37"/>
                      </a:cubicBezTo>
                      <a:cubicBezTo>
                        <a:pt x="475" y="35"/>
                        <a:pt x="475" y="35"/>
                        <a:pt x="475" y="35"/>
                      </a:cubicBezTo>
                      <a:cubicBezTo>
                        <a:pt x="474" y="37"/>
                        <a:pt x="474" y="37"/>
                        <a:pt x="474" y="37"/>
                      </a:cubicBezTo>
                      <a:cubicBezTo>
                        <a:pt x="475" y="39"/>
                        <a:pt x="475" y="39"/>
                        <a:pt x="475" y="39"/>
                      </a:cubicBezTo>
                      <a:cubicBezTo>
                        <a:pt x="475" y="43"/>
                        <a:pt x="475" y="43"/>
                        <a:pt x="475" y="43"/>
                      </a:cubicBezTo>
                      <a:cubicBezTo>
                        <a:pt x="476" y="45"/>
                        <a:pt x="476" y="45"/>
                        <a:pt x="476" y="45"/>
                      </a:cubicBezTo>
                      <a:cubicBezTo>
                        <a:pt x="478" y="49"/>
                        <a:pt x="478" y="49"/>
                        <a:pt x="478" y="49"/>
                      </a:cubicBezTo>
                      <a:cubicBezTo>
                        <a:pt x="477" y="54"/>
                        <a:pt x="477" y="54"/>
                        <a:pt x="477" y="54"/>
                      </a:cubicBezTo>
                      <a:cubicBezTo>
                        <a:pt x="475" y="57"/>
                        <a:pt x="475" y="57"/>
                        <a:pt x="475" y="57"/>
                      </a:cubicBezTo>
                      <a:cubicBezTo>
                        <a:pt x="475" y="51"/>
                        <a:pt x="475" y="51"/>
                        <a:pt x="475" y="51"/>
                      </a:cubicBezTo>
                      <a:cubicBezTo>
                        <a:pt x="474" y="46"/>
                        <a:pt x="474" y="46"/>
                        <a:pt x="474" y="46"/>
                      </a:cubicBezTo>
                      <a:cubicBezTo>
                        <a:pt x="472" y="40"/>
                        <a:pt x="472" y="40"/>
                        <a:pt x="472" y="40"/>
                      </a:cubicBezTo>
                      <a:cubicBezTo>
                        <a:pt x="472" y="37"/>
                        <a:pt x="472" y="37"/>
                        <a:pt x="472" y="37"/>
                      </a:cubicBezTo>
                      <a:cubicBezTo>
                        <a:pt x="469" y="33"/>
                        <a:pt x="469" y="33"/>
                        <a:pt x="469" y="33"/>
                      </a:cubicBezTo>
                      <a:cubicBezTo>
                        <a:pt x="465" y="31"/>
                        <a:pt x="465" y="31"/>
                        <a:pt x="465" y="31"/>
                      </a:cubicBezTo>
                      <a:cubicBezTo>
                        <a:pt x="463" y="36"/>
                        <a:pt x="463" y="36"/>
                        <a:pt x="463" y="36"/>
                      </a:cubicBezTo>
                      <a:cubicBezTo>
                        <a:pt x="461" y="39"/>
                        <a:pt x="461" y="39"/>
                        <a:pt x="461" y="39"/>
                      </a:cubicBezTo>
                      <a:cubicBezTo>
                        <a:pt x="460" y="36"/>
                        <a:pt x="460" y="36"/>
                        <a:pt x="460" y="36"/>
                      </a:cubicBezTo>
                      <a:cubicBezTo>
                        <a:pt x="462" y="33"/>
                        <a:pt x="462" y="33"/>
                        <a:pt x="462" y="33"/>
                      </a:cubicBezTo>
                      <a:cubicBezTo>
                        <a:pt x="462" y="31"/>
                        <a:pt x="462" y="31"/>
                        <a:pt x="462" y="31"/>
                      </a:cubicBezTo>
                      <a:cubicBezTo>
                        <a:pt x="460" y="29"/>
                        <a:pt x="460" y="29"/>
                        <a:pt x="460" y="29"/>
                      </a:cubicBezTo>
                      <a:cubicBezTo>
                        <a:pt x="459" y="26"/>
                        <a:pt x="459" y="26"/>
                        <a:pt x="459" y="26"/>
                      </a:cubicBezTo>
                      <a:cubicBezTo>
                        <a:pt x="458" y="24"/>
                        <a:pt x="458" y="24"/>
                        <a:pt x="458" y="24"/>
                      </a:cubicBezTo>
                      <a:cubicBezTo>
                        <a:pt x="455" y="24"/>
                        <a:pt x="455" y="24"/>
                        <a:pt x="455" y="24"/>
                      </a:cubicBezTo>
                      <a:cubicBezTo>
                        <a:pt x="452" y="26"/>
                        <a:pt x="452" y="26"/>
                        <a:pt x="452" y="26"/>
                      </a:cubicBezTo>
                      <a:cubicBezTo>
                        <a:pt x="451" y="24"/>
                        <a:pt x="451" y="24"/>
                        <a:pt x="451" y="24"/>
                      </a:cubicBezTo>
                      <a:cubicBezTo>
                        <a:pt x="452" y="21"/>
                        <a:pt x="452" y="21"/>
                        <a:pt x="452" y="21"/>
                      </a:cubicBezTo>
                      <a:cubicBezTo>
                        <a:pt x="455" y="19"/>
                        <a:pt x="455" y="19"/>
                        <a:pt x="455" y="19"/>
                      </a:cubicBezTo>
                      <a:cubicBezTo>
                        <a:pt x="451" y="19"/>
                        <a:pt x="451" y="19"/>
                        <a:pt x="451" y="19"/>
                      </a:cubicBezTo>
                      <a:cubicBezTo>
                        <a:pt x="448" y="23"/>
                        <a:pt x="448" y="23"/>
                        <a:pt x="448" y="23"/>
                      </a:cubicBezTo>
                      <a:cubicBezTo>
                        <a:pt x="447" y="26"/>
                        <a:pt x="447" y="26"/>
                        <a:pt x="447" y="26"/>
                      </a:cubicBezTo>
                      <a:cubicBezTo>
                        <a:pt x="444" y="28"/>
                        <a:pt x="444" y="28"/>
                        <a:pt x="444" y="28"/>
                      </a:cubicBezTo>
                      <a:cubicBezTo>
                        <a:pt x="441" y="29"/>
                        <a:pt x="441" y="29"/>
                        <a:pt x="441" y="29"/>
                      </a:cubicBezTo>
                      <a:cubicBezTo>
                        <a:pt x="438" y="36"/>
                        <a:pt x="438" y="36"/>
                        <a:pt x="438" y="36"/>
                      </a:cubicBezTo>
                      <a:cubicBezTo>
                        <a:pt x="437" y="36"/>
                        <a:pt x="437" y="36"/>
                        <a:pt x="437" y="36"/>
                      </a:cubicBezTo>
                      <a:cubicBezTo>
                        <a:pt x="435" y="32"/>
                        <a:pt x="435" y="32"/>
                        <a:pt x="435" y="32"/>
                      </a:cubicBezTo>
                      <a:cubicBezTo>
                        <a:pt x="432" y="29"/>
                        <a:pt x="432" y="29"/>
                        <a:pt x="432" y="29"/>
                      </a:cubicBezTo>
                      <a:cubicBezTo>
                        <a:pt x="430" y="28"/>
                        <a:pt x="430" y="28"/>
                        <a:pt x="430" y="28"/>
                      </a:cubicBezTo>
                      <a:cubicBezTo>
                        <a:pt x="430" y="32"/>
                        <a:pt x="430" y="32"/>
                        <a:pt x="430" y="32"/>
                      </a:cubicBezTo>
                      <a:cubicBezTo>
                        <a:pt x="429" y="35"/>
                        <a:pt x="429" y="35"/>
                        <a:pt x="429" y="35"/>
                      </a:cubicBezTo>
                      <a:cubicBezTo>
                        <a:pt x="430" y="40"/>
                        <a:pt x="430" y="40"/>
                        <a:pt x="430" y="40"/>
                      </a:cubicBezTo>
                      <a:cubicBezTo>
                        <a:pt x="434" y="44"/>
                        <a:pt x="434" y="44"/>
                        <a:pt x="434" y="44"/>
                      </a:cubicBezTo>
                      <a:cubicBezTo>
                        <a:pt x="434" y="46"/>
                        <a:pt x="434" y="46"/>
                        <a:pt x="434" y="46"/>
                      </a:cubicBezTo>
                      <a:cubicBezTo>
                        <a:pt x="431" y="47"/>
                        <a:pt x="431" y="47"/>
                        <a:pt x="431" y="47"/>
                      </a:cubicBezTo>
                      <a:cubicBezTo>
                        <a:pt x="430" y="51"/>
                        <a:pt x="430" y="51"/>
                        <a:pt x="430" y="51"/>
                      </a:cubicBezTo>
                      <a:cubicBezTo>
                        <a:pt x="430" y="56"/>
                        <a:pt x="430" y="56"/>
                        <a:pt x="430" y="56"/>
                      </a:cubicBezTo>
                      <a:cubicBezTo>
                        <a:pt x="434" y="59"/>
                        <a:pt x="434" y="59"/>
                        <a:pt x="434" y="59"/>
                      </a:cubicBezTo>
                      <a:cubicBezTo>
                        <a:pt x="436" y="59"/>
                        <a:pt x="436" y="59"/>
                        <a:pt x="436" y="59"/>
                      </a:cubicBezTo>
                      <a:cubicBezTo>
                        <a:pt x="439" y="57"/>
                        <a:pt x="439" y="57"/>
                        <a:pt x="439" y="57"/>
                      </a:cubicBezTo>
                      <a:cubicBezTo>
                        <a:pt x="442" y="57"/>
                        <a:pt x="442" y="57"/>
                        <a:pt x="442" y="57"/>
                      </a:cubicBezTo>
                      <a:cubicBezTo>
                        <a:pt x="444" y="58"/>
                        <a:pt x="444" y="58"/>
                        <a:pt x="444" y="58"/>
                      </a:cubicBezTo>
                      <a:cubicBezTo>
                        <a:pt x="448" y="64"/>
                        <a:pt x="448" y="64"/>
                        <a:pt x="448" y="64"/>
                      </a:cubicBezTo>
                      <a:cubicBezTo>
                        <a:pt x="451" y="66"/>
                        <a:pt x="451" y="66"/>
                        <a:pt x="451" y="66"/>
                      </a:cubicBezTo>
                      <a:cubicBezTo>
                        <a:pt x="453" y="69"/>
                        <a:pt x="453" y="69"/>
                        <a:pt x="453" y="69"/>
                      </a:cubicBezTo>
                      <a:cubicBezTo>
                        <a:pt x="452" y="70"/>
                        <a:pt x="452" y="70"/>
                        <a:pt x="452" y="70"/>
                      </a:cubicBezTo>
                      <a:cubicBezTo>
                        <a:pt x="452" y="73"/>
                        <a:pt x="452" y="73"/>
                        <a:pt x="452" y="73"/>
                      </a:cubicBezTo>
                      <a:cubicBezTo>
                        <a:pt x="452" y="78"/>
                        <a:pt x="452" y="78"/>
                        <a:pt x="452" y="78"/>
                      </a:cubicBezTo>
                      <a:cubicBezTo>
                        <a:pt x="451" y="84"/>
                        <a:pt x="451" y="84"/>
                        <a:pt x="451" y="84"/>
                      </a:cubicBezTo>
                      <a:cubicBezTo>
                        <a:pt x="451" y="87"/>
                        <a:pt x="451" y="87"/>
                        <a:pt x="451" y="87"/>
                      </a:cubicBezTo>
                      <a:cubicBezTo>
                        <a:pt x="453" y="91"/>
                        <a:pt x="453" y="91"/>
                        <a:pt x="453" y="91"/>
                      </a:cubicBezTo>
                      <a:cubicBezTo>
                        <a:pt x="453" y="96"/>
                        <a:pt x="453" y="96"/>
                        <a:pt x="453" y="96"/>
                      </a:cubicBezTo>
                      <a:cubicBezTo>
                        <a:pt x="453" y="99"/>
                        <a:pt x="453" y="99"/>
                        <a:pt x="453" y="99"/>
                      </a:cubicBezTo>
                      <a:cubicBezTo>
                        <a:pt x="457" y="102"/>
                        <a:pt x="457" y="102"/>
                        <a:pt x="457" y="102"/>
                      </a:cubicBezTo>
                      <a:cubicBezTo>
                        <a:pt x="460" y="102"/>
                        <a:pt x="460" y="102"/>
                        <a:pt x="460" y="102"/>
                      </a:cubicBezTo>
                      <a:cubicBezTo>
                        <a:pt x="462" y="105"/>
                        <a:pt x="462" y="105"/>
                        <a:pt x="462" y="105"/>
                      </a:cubicBezTo>
                      <a:cubicBezTo>
                        <a:pt x="466" y="107"/>
                        <a:pt x="466" y="107"/>
                        <a:pt x="466" y="107"/>
                      </a:cubicBezTo>
                      <a:cubicBezTo>
                        <a:pt x="466" y="109"/>
                        <a:pt x="466" y="109"/>
                        <a:pt x="466" y="109"/>
                      </a:cubicBezTo>
                      <a:cubicBezTo>
                        <a:pt x="467" y="112"/>
                        <a:pt x="467" y="112"/>
                        <a:pt x="467" y="112"/>
                      </a:cubicBezTo>
                      <a:cubicBezTo>
                        <a:pt x="462" y="108"/>
                        <a:pt x="462" y="108"/>
                        <a:pt x="462" y="108"/>
                      </a:cubicBezTo>
                      <a:cubicBezTo>
                        <a:pt x="458" y="105"/>
                        <a:pt x="458" y="105"/>
                        <a:pt x="458" y="105"/>
                      </a:cubicBezTo>
                      <a:cubicBezTo>
                        <a:pt x="453" y="105"/>
                        <a:pt x="453" y="105"/>
                        <a:pt x="453" y="105"/>
                      </a:cubicBezTo>
                      <a:cubicBezTo>
                        <a:pt x="450" y="103"/>
                        <a:pt x="450" y="103"/>
                        <a:pt x="450" y="103"/>
                      </a:cubicBezTo>
                      <a:cubicBezTo>
                        <a:pt x="449" y="100"/>
                        <a:pt x="449" y="100"/>
                        <a:pt x="449" y="100"/>
                      </a:cubicBezTo>
                      <a:cubicBezTo>
                        <a:pt x="449" y="96"/>
                        <a:pt x="449" y="96"/>
                        <a:pt x="449" y="96"/>
                      </a:cubicBezTo>
                      <a:cubicBezTo>
                        <a:pt x="447" y="87"/>
                        <a:pt x="447" y="87"/>
                        <a:pt x="447" y="87"/>
                      </a:cubicBezTo>
                      <a:cubicBezTo>
                        <a:pt x="449" y="84"/>
                        <a:pt x="449" y="84"/>
                        <a:pt x="449" y="84"/>
                      </a:cubicBezTo>
                      <a:cubicBezTo>
                        <a:pt x="449" y="80"/>
                        <a:pt x="449" y="80"/>
                        <a:pt x="449" y="80"/>
                      </a:cubicBezTo>
                      <a:cubicBezTo>
                        <a:pt x="445" y="75"/>
                        <a:pt x="445" y="75"/>
                        <a:pt x="445" y="75"/>
                      </a:cubicBezTo>
                      <a:cubicBezTo>
                        <a:pt x="445" y="73"/>
                        <a:pt x="445" y="73"/>
                        <a:pt x="445" y="73"/>
                      </a:cubicBezTo>
                      <a:cubicBezTo>
                        <a:pt x="443" y="67"/>
                        <a:pt x="443" y="67"/>
                        <a:pt x="443" y="67"/>
                      </a:cubicBezTo>
                      <a:cubicBezTo>
                        <a:pt x="442" y="65"/>
                        <a:pt x="442" y="65"/>
                        <a:pt x="442" y="65"/>
                      </a:cubicBezTo>
                      <a:cubicBezTo>
                        <a:pt x="439" y="64"/>
                        <a:pt x="439" y="64"/>
                        <a:pt x="439" y="64"/>
                      </a:cubicBezTo>
                      <a:cubicBezTo>
                        <a:pt x="436" y="61"/>
                        <a:pt x="436" y="61"/>
                        <a:pt x="436" y="61"/>
                      </a:cubicBezTo>
                      <a:cubicBezTo>
                        <a:pt x="433" y="61"/>
                        <a:pt x="433" y="61"/>
                        <a:pt x="433" y="61"/>
                      </a:cubicBezTo>
                      <a:cubicBezTo>
                        <a:pt x="430" y="63"/>
                        <a:pt x="430" y="63"/>
                        <a:pt x="430" y="63"/>
                      </a:cubicBezTo>
                      <a:cubicBezTo>
                        <a:pt x="426" y="64"/>
                        <a:pt x="426" y="64"/>
                        <a:pt x="426" y="64"/>
                      </a:cubicBezTo>
                      <a:cubicBezTo>
                        <a:pt x="423" y="63"/>
                        <a:pt x="423" y="63"/>
                        <a:pt x="423" y="63"/>
                      </a:cubicBezTo>
                      <a:cubicBezTo>
                        <a:pt x="421" y="63"/>
                        <a:pt x="421" y="63"/>
                        <a:pt x="421" y="63"/>
                      </a:cubicBezTo>
                      <a:cubicBezTo>
                        <a:pt x="419" y="69"/>
                        <a:pt x="419" y="69"/>
                        <a:pt x="419" y="69"/>
                      </a:cubicBezTo>
                      <a:cubicBezTo>
                        <a:pt x="421" y="71"/>
                        <a:pt x="421" y="71"/>
                        <a:pt x="421" y="71"/>
                      </a:cubicBezTo>
                      <a:cubicBezTo>
                        <a:pt x="421" y="75"/>
                        <a:pt x="421" y="75"/>
                        <a:pt x="421" y="75"/>
                      </a:cubicBezTo>
                      <a:cubicBezTo>
                        <a:pt x="419" y="77"/>
                        <a:pt x="419" y="77"/>
                        <a:pt x="419" y="77"/>
                      </a:cubicBezTo>
                      <a:cubicBezTo>
                        <a:pt x="414" y="74"/>
                        <a:pt x="414" y="74"/>
                        <a:pt x="414" y="74"/>
                      </a:cubicBezTo>
                      <a:cubicBezTo>
                        <a:pt x="408" y="66"/>
                        <a:pt x="408" y="66"/>
                        <a:pt x="408" y="66"/>
                      </a:cubicBezTo>
                      <a:cubicBezTo>
                        <a:pt x="406" y="66"/>
                        <a:pt x="406" y="66"/>
                        <a:pt x="406" y="66"/>
                      </a:cubicBezTo>
                      <a:cubicBezTo>
                        <a:pt x="405" y="68"/>
                        <a:pt x="405" y="68"/>
                        <a:pt x="405" y="68"/>
                      </a:cubicBezTo>
                      <a:cubicBezTo>
                        <a:pt x="403" y="68"/>
                        <a:pt x="403" y="68"/>
                        <a:pt x="403" y="68"/>
                      </a:cubicBezTo>
                      <a:cubicBezTo>
                        <a:pt x="402" y="66"/>
                        <a:pt x="402" y="66"/>
                        <a:pt x="402" y="66"/>
                      </a:cubicBezTo>
                      <a:cubicBezTo>
                        <a:pt x="396" y="64"/>
                        <a:pt x="396" y="64"/>
                        <a:pt x="396" y="64"/>
                      </a:cubicBezTo>
                      <a:cubicBezTo>
                        <a:pt x="395" y="66"/>
                        <a:pt x="395" y="66"/>
                        <a:pt x="395" y="66"/>
                      </a:cubicBezTo>
                      <a:cubicBezTo>
                        <a:pt x="395" y="71"/>
                        <a:pt x="395" y="71"/>
                        <a:pt x="395" y="71"/>
                      </a:cubicBezTo>
                      <a:cubicBezTo>
                        <a:pt x="397" y="75"/>
                        <a:pt x="397" y="75"/>
                        <a:pt x="397" y="75"/>
                      </a:cubicBezTo>
                      <a:cubicBezTo>
                        <a:pt x="395" y="78"/>
                        <a:pt x="395" y="78"/>
                        <a:pt x="395" y="78"/>
                      </a:cubicBezTo>
                      <a:cubicBezTo>
                        <a:pt x="397" y="83"/>
                        <a:pt x="397" y="83"/>
                        <a:pt x="397" y="83"/>
                      </a:cubicBezTo>
                      <a:cubicBezTo>
                        <a:pt x="399" y="88"/>
                        <a:pt x="399" y="88"/>
                        <a:pt x="399" y="88"/>
                      </a:cubicBezTo>
                      <a:cubicBezTo>
                        <a:pt x="399" y="93"/>
                        <a:pt x="399" y="93"/>
                        <a:pt x="399" y="93"/>
                      </a:cubicBezTo>
                      <a:cubicBezTo>
                        <a:pt x="400" y="95"/>
                        <a:pt x="400" y="95"/>
                        <a:pt x="400" y="95"/>
                      </a:cubicBezTo>
                      <a:cubicBezTo>
                        <a:pt x="401" y="101"/>
                        <a:pt x="401" y="101"/>
                        <a:pt x="401" y="101"/>
                      </a:cubicBezTo>
                      <a:cubicBezTo>
                        <a:pt x="400" y="102"/>
                        <a:pt x="400" y="102"/>
                        <a:pt x="400" y="102"/>
                      </a:cubicBezTo>
                      <a:cubicBezTo>
                        <a:pt x="400" y="106"/>
                        <a:pt x="400" y="106"/>
                        <a:pt x="400" y="106"/>
                      </a:cubicBezTo>
                      <a:cubicBezTo>
                        <a:pt x="403" y="112"/>
                        <a:pt x="403" y="112"/>
                        <a:pt x="403" y="112"/>
                      </a:cubicBezTo>
                      <a:cubicBezTo>
                        <a:pt x="403" y="116"/>
                        <a:pt x="403" y="116"/>
                        <a:pt x="403" y="116"/>
                      </a:cubicBezTo>
                      <a:cubicBezTo>
                        <a:pt x="403" y="121"/>
                        <a:pt x="403" y="121"/>
                        <a:pt x="403" y="121"/>
                      </a:cubicBezTo>
                      <a:cubicBezTo>
                        <a:pt x="402" y="124"/>
                        <a:pt x="402" y="124"/>
                        <a:pt x="402" y="124"/>
                      </a:cubicBezTo>
                      <a:cubicBezTo>
                        <a:pt x="405" y="128"/>
                        <a:pt x="405" y="128"/>
                        <a:pt x="405" y="128"/>
                      </a:cubicBezTo>
                      <a:cubicBezTo>
                        <a:pt x="406" y="133"/>
                        <a:pt x="406" y="133"/>
                        <a:pt x="406" y="133"/>
                      </a:cubicBezTo>
                      <a:cubicBezTo>
                        <a:pt x="406" y="136"/>
                        <a:pt x="406" y="136"/>
                        <a:pt x="406" y="136"/>
                      </a:cubicBezTo>
                      <a:cubicBezTo>
                        <a:pt x="409" y="139"/>
                        <a:pt x="409" y="139"/>
                        <a:pt x="409" y="139"/>
                      </a:cubicBezTo>
                      <a:cubicBezTo>
                        <a:pt x="411" y="143"/>
                        <a:pt x="411" y="143"/>
                        <a:pt x="411" y="143"/>
                      </a:cubicBezTo>
                      <a:cubicBezTo>
                        <a:pt x="411" y="147"/>
                        <a:pt x="411" y="147"/>
                        <a:pt x="411" y="147"/>
                      </a:cubicBezTo>
                      <a:cubicBezTo>
                        <a:pt x="412" y="149"/>
                        <a:pt x="412" y="149"/>
                        <a:pt x="412" y="149"/>
                      </a:cubicBezTo>
                      <a:cubicBezTo>
                        <a:pt x="415" y="149"/>
                        <a:pt x="415" y="149"/>
                        <a:pt x="415" y="149"/>
                      </a:cubicBezTo>
                      <a:cubicBezTo>
                        <a:pt x="415" y="151"/>
                        <a:pt x="415" y="151"/>
                        <a:pt x="415" y="151"/>
                      </a:cubicBezTo>
                      <a:cubicBezTo>
                        <a:pt x="416" y="154"/>
                        <a:pt x="416" y="154"/>
                        <a:pt x="416" y="154"/>
                      </a:cubicBezTo>
                      <a:cubicBezTo>
                        <a:pt x="419" y="156"/>
                        <a:pt x="419" y="156"/>
                        <a:pt x="419" y="156"/>
                      </a:cubicBezTo>
                      <a:cubicBezTo>
                        <a:pt x="420" y="157"/>
                        <a:pt x="420" y="157"/>
                        <a:pt x="420" y="157"/>
                      </a:cubicBezTo>
                      <a:cubicBezTo>
                        <a:pt x="419" y="159"/>
                        <a:pt x="419" y="159"/>
                        <a:pt x="419" y="159"/>
                      </a:cubicBezTo>
                      <a:cubicBezTo>
                        <a:pt x="416" y="159"/>
                        <a:pt x="416" y="159"/>
                        <a:pt x="416" y="159"/>
                      </a:cubicBezTo>
                      <a:cubicBezTo>
                        <a:pt x="414" y="158"/>
                        <a:pt x="414" y="158"/>
                        <a:pt x="414" y="158"/>
                      </a:cubicBezTo>
                      <a:cubicBezTo>
                        <a:pt x="411" y="158"/>
                        <a:pt x="411" y="158"/>
                        <a:pt x="411" y="158"/>
                      </a:cubicBezTo>
                      <a:cubicBezTo>
                        <a:pt x="410" y="155"/>
                        <a:pt x="410" y="155"/>
                        <a:pt x="410" y="155"/>
                      </a:cubicBezTo>
                      <a:cubicBezTo>
                        <a:pt x="410" y="153"/>
                        <a:pt x="410" y="153"/>
                        <a:pt x="410" y="153"/>
                      </a:cubicBezTo>
                      <a:cubicBezTo>
                        <a:pt x="409" y="150"/>
                        <a:pt x="409" y="150"/>
                        <a:pt x="409" y="150"/>
                      </a:cubicBezTo>
                      <a:cubicBezTo>
                        <a:pt x="407" y="149"/>
                        <a:pt x="407" y="149"/>
                        <a:pt x="407" y="149"/>
                      </a:cubicBezTo>
                      <a:cubicBezTo>
                        <a:pt x="405" y="150"/>
                        <a:pt x="405" y="150"/>
                        <a:pt x="405" y="150"/>
                      </a:cubicBezTo>
                      <a:cubicBezTo>
                        <a:pt x="403" y="150"/>
                        <a:pt x="403" y="150"/>
                        <a:pt x="403" y="150"/>
                      </a:cubicBezTo>
                      <a:cubicBezTo>
                        <a:pt x="402" y="148"/>
                        <a:pt x="402" y="148"/>
                        <a:pt x="402" y="148"/>
                      </a:cubicBezTo>
                      <a:cubicBezTo>
                        <a:pt x="403" y="144"/>
                        <a:pt x="403" y="144"/>
                        <a:pt x="403" y="144"/>
                      </a:cubicBezTo>
                      <a:cubicBezTo>
                        <a:pt x="402" y="143"/>
                        <a:pt x="402" y="143"/>
                        <a:pt x="402" y="143"/>
                      </a:cubicBezTo>
                      <a:cubicBezTo>
                        <a:pt x="400" y="146"/>
                        <a:pt x="400" y="146"/>
                        <a:pt x="400" y="146"/>
                      </a:cubicBezTo>
                      <a:cubicBezTo>
                        <a:pt x="398" y="151"/>
                        <a:pt x="398" y="151"/>
                        <a:pt x="398" y="151"/>
                      </a:cubicBezTo>
                      <a:cubicBezTo>
                        <a:pt x="394" y="153"/>
                        <a:pt x="394" y="153"/>
                        <a:pt x="394" y="153"/>
                      </a:cubicBezTo>
                      <a:cubicBezTo>
                        <a:pt x="391" y="153"/>
                        <a:pt x="391" y="153"/>
                        <a:pt x="391" y="153"/>
                      </a:cubicBezTo>
                      <a:cubicBezTo>
                        <a:pt x="387" y="149"/>
                        <a:pt x="387" y="149"/>
                        <a:pt x="387" y="149"/>
                      </a:cubicBezTo>
                      <a:cubicBezTo>
                        <a:pt x="384" y="149"/>
                        <a:pt x="384" y="149"/>
                        <a:pt x="384" y="149"/>
                      </a:cubicBezTo>
                      <a:cubicBezTo>
                        <a:pt x="383" y="146"/>
                        <a:pt x="383" y="146"/>
                        <a:pt x="383" y="146"/>
                      </a:cubicBezTo>
                      <a:cubicBezTo>
                        <a:pt x="382" y="142"/>
                        <a:pt x="382" y="142"/>
                        <a:pt x="382" y="142"/>
                      </a:cubicBezTo>
                      <a:cubicBezTo>
                        <a:pt x="383" y="137"/>
                        <a:pt x="383" y="137"/>
                        <a:pt x="383" y="137"/>
                      </a:cubicBezTo>
                      <a:cubicBezTo>
                        <a:pt x="381" y="130"/>
                        <a:pt x="381" y="130"/>
                        <a:pt x="381" y="130"/>
                      </a:cubicBezTo>
                      <a:cubicBezTo>
                        <a:pt x="379" y="128"/>
                        <a:pt x="379" y="128"/>
                        <a:pt x="379" y="128"/>
                      </a:cubicBezTo>
                      <a:cubicBezTo>
                        <a:pt x="378" y="124"/>
                        <a:pt x="378" y="124"/>
                        <a:pt x="378" y="124"/>
                      </a:cubicBezTo>
                      <a:cubicBezTo>
                        <a:pt x="378" y="120"/>
                        <a:pt x="378" y="120"/>
                        <a:pt x="378" y="120"/>
                      </a:cubicBezTo>
                      <a:cubicBezTo>
                        <a:pt x="380" y="118"/>
                        <a:pt x="380" y="118"/>
                        <a:pt x="380" y="118"/>
                      </a:cubicBezTo>
                      <a:cubicBezTo>
                        <a:pt x="381" y="116"/>
                        <a:pt x="381" y="116"/>
                        <a:pt x="381" y="116"/>
                      </a:cubicBezTo>
                      <a:cubicBezTo>
                        <a:pt x="380" y="106"/>
                        <a:pt x="380" y="106"/>
                        <a:pt x="380" y="106"/>
                      </a:cubicBezTo>
                      <a:cubicBezTo>
                        <a:pt x="378" y="101"/>
                        <a:pt x="378" y="101"/>
                        <a:pt x="378" y="101"/>
                      </a:cubicBezTo>
                      <a:cubicBezTo>
                        <a:pt x="374" y="94"/>
                        <a:pt x="374" y="94"/>
                        <a:pt x="374" y="94"/>
                      </a:cubicBezTo>
                      <a:cubicBezTo>
                        <a:pt x="374" y="90"/>
                        <a:pt x="374" y="90"/>
                        <a:pt x="374" y="90"/>
                      </a:cubicBezTo>
                      <a:cubicBezTo>
                        <a:pt x="371" y="82"/>
                        <a:pt x="371" y="82"/>
                        <a:pt x="371" y="82"/>
                      </a:cubicBezTo>
                      <a:cubicBezTo>
                        <a:pt x="370" y="78"/>
                        <a:pt x="370" y="78"/>
                        <a:pt x="370" y="78"/>
                      </a:cubicBezTo>
                      <a:cubicBezTo>
                        <a:pt x="367" y="76"/>
                        <a:pt x="367" y="76"/>
                        <a:pt x="367" y="76"/>
                      </a:cubicBezTo>
                      <a:cubicBezTo>
                        <a:pt x="366" y="73"/>
                        <a:pt x="366" y="73"/>
                        <a:pt x="366" y="73"/>
                      </a:cubicBezTo>
                      <a:cubicBezTo>
                        <a:pt x="364" y="72"/>
                        <a:pt x="364" y="72"/>
                        <a:pt x="364" y="72"/>
                      </a:cubicBezTo>
                      <a:cubicBezTo>
                        <a:pt x="361" y="72"/>
                        <a:pt x="361" y="72"/>
                        <a:pt x="361" y="72"/>
                      </a:cubicBezTo>
                      <a:cubicBezTo>
                        <a:pt x="359" y="70"/>
                        <a:pt x="359" y="70"/>
                        <a:pt x="359" y="70"/>
                      </a:cubicBezTo>
                      <a:cubicBezTo>
                        <a:pt x="356" y="70"/>
                        <a:pt x="356" y="70"/>
                        <a:pt x="356" y="70"/>
                      </a:cubicBezTo>
                      <a:cubicBezTo>
                        <a:pt x="354" y="73"/>
                        <a:pt x="354" y="73"/>
                        <a:pt x="354" y="73"/>
                      </a:cubicBezTo>
                      <a:cubicBezTo>
                        <a:pt x="354" y="78"/>
                        <a:pt x="354" y="78"/>
                        <a:pt x="354" y="78"/>
                      </a:cubicBezTo>
                      <a:cubicBezTo>
                        <a:pt x="353" y="80"/>
                        <a:pt x="353" y="80"/>
                        <a:pt x="353" y="80"/>
                      </a:cubicBezTo>
                      <a:cubicBezTo>
                        <a:pt x="354" y="83"/>
                        <a:pt x="354" y="83"/>
                        <a:pt x="354" y="83"/>
                      </a:cubicBezTo>
                      <a:cubicBezTo>
                        <a:pt x="353" y="86"/>
                        <a:pt x="353" y="86"/>
                        <a:pt x="353" y="86"/>
                      </a:cubicBezTo>
                      <a:cubicBezTo>
                        <a:pt x="351" y="93"/>
                        <a:pt x="351" y="93"/>
                        <a:pt x="351" y="93"/>
                      </a:cubicBezTo>
                      <a:cubicBezTo>
                        <a:pt x="350" y="98"/>
                        <a:pt x="350" y="98"/>
                        <a:pt x="350" y="98"/>
                      </a:cubicBezTo>
                      <a:cubicBezTo>
                        <a:pt x="351" y="104"/>
                        <a:pt x="351" y="104"/>
                        <a:pt x="351" y="104"/>
                      </a:cubicBezTo>
                      <a:cubicBezTo>
                        <a:pt x="353" y="106"/>
                        <a:pt x="353" y="106"/>
                        <a:pt x="353" y="106"/>
                      </a:cubicBezTo>
                      <a:cubicBezTo>
                        <a:pt x="352" y="112"/>
                        <a:pt x="352" y="112"/>
                        <a:pt x="352" y="112"/>
                      </a:cubicBezTo>
                      <a:cubicBezTo>
                        <a:pt x="351" y="118"/>
                        <a:pt x="351" y="118"/>
                        <a:pt x="351" y="118"/>
                      </a:cubicBezTo>
                      <a:cubicBezTo>
                        <a:pt x="352" y="122"/>
                        <a:pt x="352" y="122"/>
                        <a:pt x="352" y="122"/>
                      </a:cubicBezTo>
                      <a:cubicBezTo>
                        <a:pt x="352" y="130"/>
                        <a:pt x="352" y="130"/>
                        <a:pt x="352" y="130"/>
                      </a:cubicBezTo>
                      <a:cubicBezTo>
                        <a:pt x="350" y="131"/>
                        <a:pt x="350" y="131"/>
                        <a:pt x="350" y="131"/>
                      </a:cubicBezTo>
                      <a:cubicBezTo>
                        <a:pt x="349" y="129"/>
                        <a:pt x="349" y="129"/>
                        <a:pt x="349" y="129"/>
                      </a:cubicBezTo>
                      <a:cubicBezTo>
                        <a:pt x="348" y="128"/>
                        <a:pt x="348" y="128"/>
                        <a:pt x="348" y="128"/>
                      </a:cubicBezTo>
                      <a:cubicBezTo>
                        <a:pt x="346" y="130"/>
                        <a:pt x="346" y="130"/>
                        <a:pt x="346" y="130"/>
                      </a:cubicBezTo>
                      <a:cubicBezTo>
                        <a:pt x="344" y="129"/>
                        <a:pt x="344" y="129"/>
                        <a:pt x="344" y="129"/>
                      </a:cubicBezTo>
                      <a:cubicBezTo>
                        <a:pt x="343" y="128"/>
                        <a:pt x="343" y="128"/>
                        <a:pt x="343" y="128"/>
                      </a:cubicBezTo>
                      <a:cubicBezTo>
                        <a:pt x="341" y="127"/>
                        <a:pt x="341" y="127"/>
                        <a:pt x="341" y="127"/>
                      </a:cubicBezTo>
                      <a:cubicBezTo>
                        <a:pt x="337" y="126"/>
                        <a:pt x="337" y="126"/>
                        <a:pt x="337" y="126"/>
                      </a:cubicBezTo>
                      <a:cubicBezTo>
                        <a:pt x="335" y="124"/>
                        <a:pt x="335" y="124"/>
                        <a:pt x="335" y="124"/>
                      </a:cubicBezTo>
                      <a:cubicBezTo>
                        <a:pt x="333" y="124"/>
                        <a:pt x="333" y="124"/>
                        <a:pt x="333" y="124"/>
                      </a:cubicBezTo>
                      <a:cubicBezTo>
                        <a:pt x="333" y="125"/>
                        <a:pt x="333" y="125"/>
                        <a:pt x="333" y="125"/>
                      </a:cubicBezTo>
                      <a:cubicBezTo>
                        <a:pt x="333" y="127"/>
                        <a:pt x="333" y="127"/>
                        <a:pt x="333" y="127"/>
                      </a:cubicBezTo>
                      <a:cubicBezTo>
                        <a:pt x="336" y="130"/>
                        <a:pt x="336" y="130"/>
                        <a:pt x="336" y="130"/>
                      </a:cubicBezTo>
                      <a:cubicBezTo>
                        <a:pt x="336" y="132"/>
                        <a:pt x="336" y="132"/>
                        <a:pt x="336" y="132"/>
                      </a:cubicBezTo>
                      <a:cubicBezTo>
                        <a:pt x="335" y="134"/>
                        <a:pt x="335" y="134"/>
                        <a:pt x="335" y="134"/>
                      </a:cubicBezTo>
                      <a:cubicBezTo>
                        <a:pt x="335" y="135"/>
                        <a:pt x="335" y="135"/>
                        <a:pt x="335" y="135"/>
                      </a:cubicBezTo>
                      <a:cubicBezTo>
                        <a:pt x="333" y="136"/>
                        <a:pt x="333" y="136"/>
                        <a:pt x="333" y="136"/>
                      </a:cubicBezTo>
                      <a:cubicBezTo>
                        <a:pt x="332" y="134"/>
                        <a:pt x="332" y="134"/>
                        <a:pt x="332" y="134"/>
                      </a:cubicBezTo>
                      <a:cubicBezTo>
                        <a:pt x="329" y="134"/>
                        <a:pt x="329" y="134"/>
                        <a:pt x="329" y="134"/>
                      </a:cubicBezTo>
                      <a:cubicBezTo>
                        <a:pt x="328" y="132"/>
                        <a:pt x="328" y="132"/>
                        <a:pt x="328" y="132"/>
                      </a:cubicBezTo>
                      <a:cubicBezTo>
                        <a:pt x="327" y="127"/>
                        <a:pt x="327" y="127"/>
                        <a:pt x="327" y="127"/>
                      </a:cubicBezTo>
                      <a:cubicBezTo>
                        <a:pt x="324" y="122"/>
                        <a:pt x="324" y="122"/>
                        <a:pt x="324" y="122"/>
                      </a:cubicBezTo>
                      <a:cubicBezTo>
                        <a:pt x="324" y="117"/>
                        <a:pt x="324" y="117"/>
                        <a:pt x="324" y="117"/>
                      </a:cubicBezTo>
                      <a:cubicBezTo>
                        <a:pt x="323" y="114"/>
                        <a:pt x="323" y="114"/>
                        <a:pt x="323" y="114"/>
                      </a:cubicBezTo>
                      <a:cubicBezTo>
                        <a:pt x="321" y="111"/>
                        <a:pt x="321" y="111"/>
                        <a:pt x="321" y="111"/>
                      </a:cubicBezTo>
                      <a:cubicBezTo>
                        <a:pt x="321" y="107"/>
                        <a:pt x="321" y="107"/>
                        <a:pt x="321" y="107"/>
                      </a:cubicBezTo>
                      <a:cubicBezTo>
                        <a:pt x="319" y="104"/>
                        <a:pt x="319" y="104"/>
                        <a:pt x="319" y="104"/>
                      </a:cubicBezTo>
                      <a:cubicBezTo>
                        <a:pt x="317" y="107"/>
                        <a:pt x="317" y="107"/>
                        <a:pt x="317" y="107"/>
                      </a:cubicBezTo>
                      <a:cubicBezTo>
                        <a:pt x="316" y="111"/>
                        <a:pt x="316" y="111"/>
                        <a:pt x="316" y="111"/>
                      </a:cubicBezTo>
                      <a:cubicBezTo>
                        <a:pt x="314" y="113"/>
                        <a:pt x="314" y="113"/>
                        <a:pt x="314" y="113"/>
                      </a:cubicBezTo>
                      <a:cubicBezTo>
                        <a:pt x="314" y="116"/>
                        <a:pt x="314" y="116"/>
                        <a:pt x="314" y="116"/>
                      </a:cubicBezTo>
                      <a:cubicBezTo>
                        <a:pt x="313" y="119"/>
                        <a:pt x="313" y="119"/>
                        <a:pt x="313" y="119"/>
                      </a:cubicBezTo>
                      <a:cubicBezTo>
                        <a:pt x="311" y="121"/>
                        <a:pt x="311" y="121"/>
                        <a:pt x="311" y="121"/>
                      </a:cubicBezTo>
                      <a:cubicBezTo>
                        <a:pt x="309" y="122"/>
                        <a:pt x="309" y="122"/>
                        <a:pt x="309" y="122"/>
                      </a:cubicBezTo>
                      <a:cubicBezTo>
                        <a:pt x="307" y="125"/>
                        <a:pt x="307" y="125"/>
                        <a:pt x="307" y="125"/>
                      </a:cubicBezTo>
                      <a:cubicBezTo>
                        <a:pt x="304" y="131"/>
                        <a:pt x="304" y="131"/>
                        <a:pt x="304" y="131"/>
                      </a:cubicBezTo>
                      <a:cubicBezTo>
                        <a:pt x="301" y="135"/>
                        <a:pt x="301" y="135"/>
                        <a:pt x="301" y="135"/>
                      </a:cubicBezTo>
                      <a:cubicBezTo>
                        <a:pt x="301" y="137"/>
                        <a:pt x="301" y="137"/>
                        <a:pt x="301" y="137"/>
                      </a:cubicBezTo>
                      <a:cubicBezTo>
                        <a:pt x="300" y="139"/>
                        <a:pt x="300" y="139"/>
                        <a:pt x="300" y="139"/>
                      </a:cubicBezTo>
                      <a:cubicBezTo>
                        <a:pt x="297" y="144"/>
                        <a:pt x="297" y="144"/>
                        <a:pt x="297" y="144"/>
                      </a:cubicBezTo>
                      <a:cubicBezTo>
                        <a:pt x="295" y="144"/>
                        <a:pt x="295" y="144"/>
                        <a:pt x="295" y="144"/>
                      </a:cubicBezTo>
                      <a:cubicBezTo>
                        <a:pt x="294" y="143"/>
                        <a:pt x="294" y="143"/>
                        <a:pt x="294" y="143"/>
                      </a:cubicBezTo>
                      <a:cubicBezTo>
                        <a:pt x="295" y="139"/>
                        <a:pt x="295" y="139"/>
                        <a:pt x="295" y="139"/>
                      </a:cubicBezTo>
                      <a:cubicBezTo>
                        <a:pt x="297" y="134"/>
                        <a:pt x="297" y="134"/>
                        <a:pt x="297" y="134"/>
                      </a:cubicBezTo>
                      <a:cubicBezTo>
                        <a:pt x="298" y="130"/>
                        <a:pt x="298" y="130"/>
                        <a:pt x="298" y="130"/>
                      </a:cubicBezTo>
                      <a:cubicBezTo>
                        <a:pt x="299" y="128"/>
                        <a:pt x="299" y="128"/>
                        <a:pt x="299" y="128"/>
                      </a:cubicBezTo>
                      <a:cubicBezTo>
                        <a:pt x="302" y="126"/>
                        <a:pt x="302" y="126"/>
                        <a:pt x="302" y="126"/>
                      </a:cubicBezTo>
                      <a:cubicBezTo>
                        <a:pt x="304" y="121"/>
                        <a:pt x="304" y="121"/>
                        <a:pt x="304" y="121"/>
                      </a:cubicBezTo>
                      <a:cubicBezTo>
                        <a:pt x="307" y="117"/>
                        <a:pt x="307" y="117"/>
                        <a:pt x="307" y="117"/>
                      </a:cubicBezTo>
                      <a:cubicBezTo>
                        <a:pt x="308" y="114"/>
                        <a:pt x="308" y="114"/>
                        <a:pt x="308" y="114"/>
                      </a:cubicBezTo>
                      <a:cubicBezTo>
                        <a:pt x="308" y="111"/>
                        <a:pt x="308" y="111"/>
                        <a:pt x="308" y="111"/>
                      </a:cubicBezTo>
                      <a:cubicBezTo>
                        <a:pt x="306" y="109"/>
                        <a:pt x="306" y="109"/>
                        <a:pt x="306" y="109"/>
                      </a:cubicBezTo>
                      <a:cubicBezTo>
                        <a:pt x="307" y="107"/>
                        <a:pt x="307" y="107"/>
                        <a:pt x="307" y="107"/>
                      </a:cubicBezTo>
                      <a:cubicBezTo>
                        <a:pt x="309" y="106"/>
                        <a:pt x="309" y="106"/>
                        <a:pt x="309" y="106"/>
                      </a:cubicBezTo>
                      <a:cubicBezTo>
                        <a:pt x="310" y="104"/>
                        <a:pt x="310" y="104"/>
                        <a:pt x="310" y="104"/>
                      </a:cubicBezTo>
                      <a:cubicBezTo>
                        <a:pt x="310" y="101"/>
                        <a:pt x="310" y="101"/>
                        <a:pt x="310" y="101"/>
                      </a:cubicBezTo>
                      <a:cubicBezTo>
                        <a:pt x="312" y="96"/>
                        <a:pt x="312" y="96"/>
                        <a:pt x="312" y="96"/>
                      </a:cubicBezTo>
                      <a:cubicBezTo>
                        <a:pt x="314" y="90"/>
                        <a:pt x="314" y="90"/>
                        <a:pt x="314" y="90"/>
                      </a:cubicBezTo>
                      <a:cubicBezTo>
                        <a:pt x="314" y="86"/>
                        <a:pt x="314" y="86"/>
                        <a:pt x="314" y="86"/>
                      </a:cubicBezTo>
                      <a:cubicBezTo>
                        <a:pt x="316" y="80"/>
                        <a:pt x="316" y="80"/>
                        <a:pt x="316" y="80"/>
                      </a:cubicBezTo>
                      <a:cubicBezTo>
                        <a:pt x="316" y="69"/>
                        <a:pt x="316" y="69"/>
                        <a:pt x="316" y="69"/>
                      </a:cubicBezTo>
                      <a:cubicBezTo>
                        <a:pt x="315" y="67"/>
                        <a:pt x="315" y="67"/>
                        <a:pt x="315" y="67"/>
                      </a:cubicBezTo>
                      <a:cubicBezTo>
                        <a:pt x="310" y="66"/>
                        <a:pt x="310" y="66"/>
                        <a:pt x="310" y="66"/>
                      </a:cubicBezTo>
                      <a:cubicBezTo>
                        <a:pt x="307" y="67"/>
                        <a:pt x="307" y="67"/>
                        <a:pt x="307" y="67"/>
                      </a:cubicBezTo>
                      <a:cubicBezTo>
                        <a:pt x="304" y="69"/>
                        <a:pt x="304" y="69"/>
                        <a:pt x="304" y="69"/>
                      </a:cubicBezTo>
                      <a:cubicBezTo>
                        <a:pt x="301" y="68"/>
                        <a:pt x="301" y="68"/>
                        <a:pt x="301" y="68"/>
                      </a:cubicBezTo>
                      <a:cubicBezTo>
                        <a:pt x="298" y="67"/>
                        <a:pt x="298" y="67"/>
                        <a:pt x="298" y="67"/>
                      </a:cubicBezTo>
                      <a:cubicBezTo>
                        <a:pt x="297" y="69"/>
                        <a:pt x="297" y="69"/>
                        <a:pt x="297" y="69"/>
                      </a:cubicBezTo>
                      <a:cubicBezTo>
                        <a:pt x="297" y="72"/>
                        <a:pt x="297" y="72"/>
                        <a:pt x="297" y="72"/>
                      </a:cubicBezTo>
                      <a:cubicBezTo>
                        <a:pt x="300" y="74"/>
                        <a:pt x="300" y="74"/>
                        <a:pt x="300" y="74"/>
                      </a:cubicBezTo>
                      <a:cubicBezTo>
                        <a:pt x="300" y="80"/>
                        <a:pt x="300" y="80"/>
                        <a:pt x="300" y="80"/>
                      </a:cubicBezTo>
                      <a:cubicBezTo>
                        <a:pt x="299" y="84"/>
                        <a:pt x="299" y="84"/>
                        <a:pt x="299" y="84"/>
                      </a:cubicBezTo>
                      <a:cubicBezTo>
                        <a:pt x="298" y="81"/>
                        <a:pt x="298" y="81"/>
                        <a:pt x="298" y="81"/>
                      </a:cubicBezTo>
                      <a:cubicBezTo>
                        <a:pt x="297" y="76"/>
                        <a:pt x="297" y="76"/>
                        <a:pt x="297" y="76"/>
                      </a:cubicBezTo>
                      <a:cubicBezTo>
                        <a:pt x="294" y="74"/>
                        <a:pt x="294" y="74"/>
                        <a:pt x="294" y="74"/>
                      </a:cubicBezTo>
                      <a:cubicBezTo>
                        <a:pt x="292" y="72"/>
                        <a:pt x="292" y="72"/>
                        <a:pt x="292" y="72"/>
                      </a:cubicBezTo>
                      <a:cubicBezTo>
                        <a:pt x="287" y="77"/>
                        <a:pt x="287" y="77"/>
                        <a:pt x="287" y="77"/>
                      </a:cubicBezTo>
                      <a:cubicBezTo>
                        <a:pt x="286" y="81"/>
                        <a:pt x="286" y="81"/>
                        <a:pt x="286" y="81"/>
                      </a:cubicBezTo>
                      <a:cubicBezTo>
                        <a:pt x="288" y="84"/>
                        <a:pt x="288" y="84"/>
                        <a:pt x="288" y="84"/>
                      </a:cubicBezTo>
                      <a:cubicBezTo>
                        <a:pt x="287" y="87"/>
                        <a:pt x="287" y="87"/>
                        <a:pt x="287" y="87"/>
                      </a:cubicBezTo>
                      <a:cubicBezTo>
                        <a:pt x="284" y="87"/>
                        <a:pt x="284" y="87"/>
                        <a:pt x="284" y="87"/>
                      </a:cubicBezTo>
                      <a:cubicBezTo>
                        <a:pt x="284" y="86"/>
                        <a:pt x="284" y="86"/>
                        <a:pt x="284" y="86"/>
                      </a:cubicBezTo>
                      <a:cubicBezTo>
                        <a:pt x="284" y="82"/>
                        <a:pt x="284" y="82"/>
                        <a:pt x="284" y="82"/>
                      </a:cubicBezTo>
                      <a:cubicBezTo>
                        <a:pt x="283" y="78"/>
                        <a:pt x="283" y="78"/>
                        <a:pt x="283" y="78"/>
                      </a:cubicBezTo>
                      <a:cubicBezTo>
                        <a:pt x="281" y="76"/>
                        <a:pt x="281" y="76"/>
                        <a:pt x="281" y="76"/>
                      </a:cubicBezTo>
                      <a:cubicBezTo>
                        <a:pt x="274" y="76"/>
                        <a:pt x="274" y="76"/>
                        <a:pt x="274" y="76"/>
                      </a:cubicBezTo>
                      <a:cubicBezTo>
                        <a:pt x="267" y="79"/>
                        <a:pt x="267" y="79"/>
                        <a:pt x="267" y="79"/>
                      </a:cubicBezTo>
                      <a:cubicBezTo>
                        <a:pt x="260" y="80"/>
                        <a:pt x="260" y="80"/>
                        <a:pt x="260" y="80"/>
                      </a:cubicBezTo>
                      <a:cubicBezTo>
                        <a:pt x="255" y="78"/>
                        <a:pt x="255" y="78"/>
                        <a:pt x="255" y="78"/>
                      </a:cubicBezTo>
                      <a:cubicBezTo>
                        <a:pt x="253" y="78"/>
                        <a:pt x="253" y="78"/>
                        <a:pt x="253" y="78"/>
                      </a:cubicBezTo>
                      <a:cubicBezTo>
                        <a:pt x="250" y="80"/>
                        <a:pt x="250" y="80"/>
                        <a:pt x="250" y="80"/>
                      </a:cubicBezTo>
                      <a:cubicBezTo>
                        <a:pt x="248" y="79"/>
                        <a:pt x="248" y="79"/>
                        <a:pt x="248" y="79"/>
                      </a:cubicBezTo>
                      <a:cubicBezTo>
                        <a:pt x="244" y="79"/>
                        <a:pt x="244" y="79"/>
                        <a:pt x="244" y="79"/>
                      </a:cubicBezTo>
                      <a:cubicBezTo>
                        <a:pt x="241" y="82"/>
                        <a:pt x="241" y="82"/>
                        <a:pt x="241" y="82"/>
                      </a:cubicBezTo>
                      <a:cubicBezTo>
                        <a:pt x="240" y="84"/>
                        <a:pt x="240" y="84"/>
                        <a:pt x="240" y="84"/>
                      </a:cubicBezTo>
                      <a:cubicBezTo>
                        <a:pt x="241" y="87"/>
                        <a:pt x="241" y="87"/>
                        <a:pt x="241" y="87"/>
                      </a:cubicBezTo>
                      <a:cubicBezTo>
                        <a:pt x="241" y="91"/>
                        <a:pt x="241" y="91"/>
                        <a:pt x="241" y="91"/>
                      </a:cubicBezTo>
                      <a:cubicBezTo>
                        <a:pt x="243" y="94"/>
                        <a:pt x="243" y="94"/>
                        <a:pt x="243" y="94"/>
                      </a:cubicBezTo>
                      <a:cubicBezTo>
                        <a:pt x="244" y="96"/>
                        <a:pt x="244" y="96"/>
                        <a:pt x="244" y="96"/>
                      </a:cubicBezTo>
                      <a:cubicBezTo>
                        <a:pt x="243" y="100"/>
                        <a:pt x="243" y="100"/>
                        <a:pt x="243" y="100"/>
                      </a:cubicBezTo>
                      <a:cubicBezTo>
                        <a:pt x="241" y="106"/>
                        <a:pt x="241" y="106"/>
                        <a:pt x="241" y="106"/>
                      </a:cubicBezTo>
                      <a:cubicBezTo>
                        <a:pt x="242" y="112"/>
                        <a:pt x="242" y="112"/>
                        <a:pt x="242" y="112"/>
                      </a:cubicBezTo>
                      <a:cubicBezTo>
                        <a:pt x="246" y="119"/>
                        <a:pt x="246" y="119"/>
                        <a:pt x="246" y="119"/>
                      </a:cubicBezTo>
                      <a:cubicBezTo>
                        <a:pt x="246" y="123"/>
                        <a:pt x="246" y="123"/>
                        <a:pt x="246" y="123"/>
                      </a:cubicBezTo>
                      <a:cubicBezTo>
                        <a:pt x="247" y="130"/>
                        <a:pt x="247" y="130"/>
                        <a:pt x="247" y="130"/>
                      </a:cubicBezTo>
                      <a:cubicBezTo>
                        <a:pt x="246" y="132"/>
                        <a:pt x="246" y="132"/>
                        <a:pt x="246" y="132"/>
                      </a:cubicBezTo>
                      <a:cubicBezTo>
                        <a:pt x="245" y="130"/>
                        <a:pt x="245" y="130"/>
                        <a:pt x="245" y="130"/>
                      </a:cubicBezTo>
                      <a:cubicBezTo>
                        <a:pt x="243" y="126"/>
                        <a:pt x="243" y="126"/>
                        <a:pt x="243" y="126"/>
                      </a:cubicBezTo>
                      <a:cubicBezTo>
                        <a:pt x="239" y="121"/>
                        <a:pt x="239" y="121"/>
                        <a:pt x="239" y="121"/>
                      </a:cubicBezTo>
                      <a:cubicBezTo>
                        <a:pt x="237" y="119"/>
                        <a:pt x="237" y="119"/>
                        <a:pt x="237" y="119"/>
                      </a:cubicBezTo>
                      <a:cubicBezTo>
                        <a:pt x="237" y="111"/>
                        <a:pt x="237" y="111"/>
                        <a:pt x="237" y="111"/>
                      </a:cubicBezTo>
                      <a:cubicBezTo>
                        <a:pt x="237" y="103"/>
                        <a:pt x="237" y="103"/>
                        <a:pt x="237" y="103"/>
                      </a:cubicBezTo>
                      <a:cubicBezTo>
                        <a:pt x="237" y="100"/>
                        <a:pt x="237" y="100"/>
                        <a:pt x="237" y="100"/>
                      </a:cubicBezTo>
                      <a:cubicBezTo>
                        <a:pt x="234" y="94"/>
                        <a:pt x="234" y="94"/>
                        <a:pt x="234" y="94"/>
                      </a:cubicBezTo>
                      <a:cubicBezTo>
                        <a:pt x="234" y="90"/>
                        <a:pt x="234" y="90"/>
                        <a:pt x="234" y="90"/>
                      </a:cubicBezTo>
                      <a:cubicBezTo>
                        <a:pt x="233" y="88"/>
                        <a:pt x="233" y="88"/>
                        <a:pt x="233" y="88"/>
                      </a:cubicBezTo>
                      <a:cubicBezTo>
                        <a:pt x="232" y="87"/>
                        <a:pt x="232" y="87"/>
                        <a:pt x="232" y="87"/>
                      </a:cubicBezTo>
                      <a:cubicBezTo>
                        <a:pt x="228" y="89"/>
                        <a:pt x="228" y="89"/>
                        <a:pt x="228" y="89"/>
                      </a:cubicBezTo>
                      <a:cubicBezTo>
                        <a:pt x="223" y="91"/>
                        <a:pt x="223" y="91"/>
                        <a:pt x="223" y="91"/>
                      </a:cubicBezTo>
                      <a:cubicBezTo>
                        <a:pt x="219" y="92"/>
                        <a:pt x="219" y="92"/>
                        <a:pt x="219" y="92"/>
                      </a:cubicBezTo>
                      <a:cubicBezTo>
                        <a:pt x="216" y="95"/>
                        <a:pt x="216" y="95"/>
                        <a:pt x="216" y="95"/>
                      </a:cubicBezTo>
                      <a:cubicBezTo>
                        <a:pt x="215" y="100"/>
                        <a:pt x="215" y="100"/>
                        <a:pt x="215" y="100"/>
                      </a:cubicBezTo>
                      <a:cubicBezTo>
                        <a:pt x="216" y="104"/>
                        <a:pt x="216" y="104"/>
                        <a:pt x="216" y="104"/>
                      </a:cubicBezTo>
                      <a:cubicBezTo>
                        <a:pt x="215" y="108"/>
                        <a:pt x="215" y="108"/>
                        <a:pt x="215" y="108"/>
                      </a:cubicBezTo>
                      <a:cubicBezTo>
                        <a:pt x="213" y="112"/>
                        <a:pt x="213" y="112"/>
                        <a:pt x="213" y="112"/>
                      </a:cubicBezTo>
                      <a:cubicBezTo>
                        <a:pt x="212" y="114"/>
                        <a:pt x="212" y="114"/>
                        <a:pt x="212" y="114"/>
                      </a:cubicBezTo>
                      <a:cubicBezTo>
                        <a:pt x="212" y="116"/>
                        <a:pt x="212" y="116"/>
                        <a:pt x="212" y="116"/>
                      </a:cubicBezTo>
                      <a:cubicBezTo>
                        <a:pt x="214" y="116"/>
                        <a:pt x="214" y="116"/>
                        <a:pt x="214" y="116"/>
                      </a:cubicBezTo>
                      <a:cubicBezTo>
                        <a:pt x="216" y="117"/>
                        <a:pt x="216" y="117"/>
                        <a:pt x="216" y="117"/>
                      </a:cubicBezTo>
                      <a:cubicBezTo>
                        <a:pt x="216" y="122"/>
                        <a:pt x="216" y="122"/>
                        <a:pt x="216" y="122"/>
                      </a:cubicBezTo>
                      <a:cubicBezTo>
                        <a:pt x="214" y="126"/>
                        <a:pt x="214" y="126"/>
                        <a:pt x="214" y="126"/>
                      </a:cubicBezTo>
                      <a:cubicBezTo>
                        <a:pt x="209" y="129"/>
                        <a:pt x="209" y="129"/>
                        <a:pt x="209" y="129"/>
                      </a:cubicBezTo>
                      <a:cubicBezTo>
                        <a:pt x="206" y="129"/>
                        <a:pt x="206" y="129"/>
                        <a:pt x="206" y="129"/>
                      </a:cubicBezTo>
                      <a:cubicBezTo>
                        <a:pt x="205" y="131"/>
                        <a:pt x="205" y="131"/>
                        <a:pt x="205" y="131"/>
                      </a:cubicBezTo>
                      <a:cubicBezTo>
                        <a:pt x="204" y="135"/>
                        <a:pt x="204" y="135"/>
                        <a:pt x="204" y="135"/>
                      </a:cubicBezTo>
                      <a:cubicBezTo>
                        <a:pt x="203" y="137"/>
                        <a:pt x="203" y="137"/>
                        <a:pt x="203" y="137"/>
                      </a:cubicBezTo>
                      <a:cubicBezTo>
                        <a:pt x="202" y="139"/>
                        <a:pt x="202" y="139"/>
                        <a:pt x="202" y="139"/>
                      </a:cubicBezTo>
                      <a:cubicBezTo>
                        <a:pt x="203" y="142"/>
                        <a:pt x="203" y="142"/>
                        <a:pt x="203" y="142"/>
                      </a:cubicBezTo>
                      <a:cubicBezTo>
                        <a:pt x="202" y="144"/>
                        <a:pt x="202" y="144"/>
                        <a:pt x="202" y="144"/>
                      </a:cubicBezTo>
                      <a:cubicBezTo>
                        <a:pt x="199" y="144"/>
                        <a:pt x="199" y="144"/>
                        <a:pt x="199" y="144"/>
                      </a:cubicBezTo>
                      <a:cubicBezTo>
                        <a:pt x="198" y="145"/>
                        <a:pt x="198" y="145"/>
                        <a:pt x="198" y="145"/>
                      </a:cubicBezTo>
                      <a:cubicBezTo>
                        <a:pt x="193" y="146"/>
                        <a:pt x="193" y="146"/>
                        <a:pt x="193" y="146"/>
                      </a:cubicBezTo>
                      <a:cubicBezTo>
                        <a:pt x="190" y="144"/>
                        <a:pt x="190" y="144"/>
                        <a:pt x="190" y="144"/>
                      </a:cubicBezTo>
                      <a:cubicBezTo>
                        <a:pt x="189" y="141"/>
                        <a:pt x="189" y="141"/>
                        <a:pt x="189" y="141"/>
                      </a:cubicBezTo>
                      <a:cubicBezTo>
                        <a:pt x="190" y="138"/>
                        <a:pt x="190" y="138"/>
                        <a:pt x="190" y="138"/>
                      </a:cubicBezTo>
                      <a:cubicBezTo>
                        <a:pt x="188" y="137"/>
                        <a:pt x="188" y="137"/>
                        <a:pt x="188" y="137"/>
                      </a:cubicBezTo>
                      <a:cubicBezTo>
                        <a:pt x="187" y="137"/>
                        <a:pt x="187" y="137"/>
                        <a:pt x="187" y="137"/>
                      </a:cubicBezTo>
                      <a:cubicBezTo>
                        <a:pt x="186" y="135"/>
                        <a:pt x="186" y="135"/>
                        <a:pt x="186" y="135"/>
                      </a:cubicBezTo>
                      <a:cubicBezTo>
                        <a:pt x="185" y="133"/>
                        <a:pt x="185" y="133"/>
                        <a:pt x="185" y="133"/>
                      </a:cubicBezTo>
                      <a:cubicBezTo>
                        <a:pt x="184" y="133"/>
                        <a:pt x="184" y="133"/>
                        <a:pt x="184" y="133"/>
                      </a:cubicBezTo>
                      <a:cubicBezTo>
                        <a:pt x="182" y="134"/>
                        <a:pt x="182" y="134"/>
                        <a:pt x="182" y="134"/>
                      </a:cubicBezTo>
                      <a:cubicBezTo>
                        <a:pt x="181" y="136"/>
                        <a:pt x="181" y="136"/>
                        <a:pt x="181" y="136"/>
                      </a:cubicBezTo>
                      <a:cubicBezTo>
                        <a:pt x="179" y="136"/>
                        <a:pt x="179" y="136"/>
                        <a:pt x="179" y="136"/>
                      </a:cubicBezTo>
                      <a:cubicBezTo>
                        <a:pt x="177" y="138"/>
                        <a:pt x="177" y="138"/>
                        <a:pt x="177" y="138"/>
                      </a:cubicBezTo>
                      <a:cubicBezTo>
                        <a:pt x="177" y="143"/>
                        <a:pt x="177" y="143"/>
                        <a:pt x="177" y="143"/>
                      </a:cubicBezTo>
                      <a:cubicBezTo>
                        <a:pt x="177" y="146"/>
                        <a:pt x="177" y="146"/>
                        <a:pt x="177" y="146"/>
                      </a:cubicBezTo>
                      <a:cubicBezTo>
                        <a:pt x="177" y="150"/>
                        <a:pt x="177" y="150"/>
                        <a:pt x="177" y="150"/>
                      </a:cubicBezTo>
                      <a:cubicBezTo>
                        <a:pt x="178" y="156"/>
                        <a:pt x="178" y="156"/>
                        <a:pt x="178" y="156"/>
                      </a:cubicBezTo>
                      <a:cubicBezTo>
                        <a:pt x="178" y="163"/>
                        <a:pt x="178" y="163"/>
                        <a:pt x="178" y="163"/>
                      </a:cubicBezTo>
                      <a:cubicBezTo>
                        <a:pt x="176" y="166"/>
                        <a:pt x="176" y="166"/>
                        <a:pt x="176" y="166"/>
                      </a:cubicBezTo>
                      <a:cubicBezTo>
                        <a:pt x="175" y="166"/>
                        <a:pt x="175" y="166"/>
                        <a:pt x="175" y="166"/>
                      </a:cubicBezTo>
                      <a:cubicBezTo>
                        <a:pt x="176" y="158"/>
                        <a:pt x="176" y="158"/>
                        <a:pt x="176" y="158"/>
                      </a:cubicBezTo>
                      <a:cubicBezTo>
                        <a:pt x="175" y="152"/>
                        <a:pt x="175" y="152"/>
                        <a:pt x="175" y="152"/>
                      </a:cubicBezTo>
                      <a:cubicBezTo>
                        <a:pt x="174" y="149"/>
                        <a:pt x="174" y="149"/>
                        <a:pt x="174" y="149"/>
                      </a:cubicBezTo>
                      <a:cubicBezTo>
                        <a:pt x="175" y="141"/>
                        <a:pt x="175" y="141"/>
                        <a:pt x="175" y="141"/>
                      </a:cubicBezTo>
                      <a:cubicBezTo>
                        <a:pt x="174" y="137"/>
                        <a:pt x="174" y="137"/>
                        <a:pt x="174" y="137"/>
                      </a:cubicBezTo>
                      <a:cubicBezTo>
                        <a:pt x="173" y="136"/>
                        <a:pt x="173" y="136"/>
                        <a:pt x="173" y="136"/>
                      </a:cubicBezTo>
                      <a:cubicBezTo>
                        <a:pt x="171" y="137"/>
                        <a:pt x="171" y="137"/>
                        <a:pt x="171" y="137"/>
                      </a:cubicBezTo>
                      <a:cubicBezTo>
                        <a:pt x="169" y="137"/>
                        <a:pt x="169" y="137"/>
                        <a:pt x="169" y="137"/>
                      </a:cubicBezTo>
                      <a:cubicBezTo>
                        <a:pt x="166" y="141"/>
                        <a:pt x="166" y="141"/>
                        <a:pt x="166" y="141"/>
                      </a:cubicBezTo>
                      <a:cubicBezTo>
                        <a:pt x="163" y="142"/>
                        <a:pt x="163" y="142"/>
                        <a:pt x="163" y="142"/>
                      </a:cubicBezTo>
                      <a:cubicBezTo>
                        <a:pt x="160" y="144"/>
                        <a:pt x="160" y="144"/>
                        <a:pt x="160" y="144"/>
                      </a:cubicBezTo>
                      <a:cubicBezTo>
                        <a:pt x="159" y="148"/>
                        <a:pt x="159" y="148"/>
                        <a:pt x="159" y="148"/>
                      </a:cubicBezTo>
                      <a:cubicBezTo>
                        <a:pt x="159" y="150"/>
                        <a:pt x="159" y="150"/>
                        <a:pt x="159" y="150"/>
                      </a:cubicBezTo>
                      <a:cubicBezTo>
                        <a:pt x="155" y="156"/>
                        <a:pt x="155" y="156"/>
                        <a:pt x="155" y="156"/>
                      </a:cubicBezTo>
                      <a:cubicBezTo>
                        <a:pt x="153" y="157"/>
                        <a:pt x="153" y="157"/>
                        <a:pt x="153" y="157"/>
                      </a:cubicBezTo>
                      <a:cubicBezTo>
                        <a:pt x="153" y="155"/>
                        <a:pt x="153" y="155"/>
                        <a:pt x="153" y="155"/>
                      </a:cubicBezTo>
                      <a:cubicBezTo>
                        <a:pt x="149" y="155"/>
                        <a:pt x="149" y="155"/>
                        <a:pt x="149" y="155"/>
                      </a:cubicBezTo>
                      <a:cubicBezTo>
                        <a:pt x="147" y="156"/>
                        <a:pt x="147" y="156"/>
                        <a:pt x="147" y="156"/>
                      </a:cubicBezTo>
                      <a:cubicBezTo>
                        <a:pt x="147" y="158"/>
                        <a:pt x="147" y="158"/>
                        <a:pt x="147" y="158"/>
                      </a:cubicBezTo>
                      <a:cubicBezTo>
                        <a:pt x="149" y="159"/>
                        <a:pt x="149" y="159"/>
                        <a:pt x="149" y="159"/>
                      </a:cubicBezTo>
                      <a:cubicBezTo>
                        <a:pt x="150" y="160"/>
                        <a:pt x="150" y="160"/>
                        <a:pt x="150" y="160"/>
                      </a:cubicBezTo>
                      <a:cubicBezTo>
                        <a:pt x="148" y="161"/>
                        <a:pt x="148" y="161"/>
                        <a:pt x="148" y="161"/>
                      </a:cubicBezTo>
                      <a:cubicBezTo>
                        <a:pt x="143" y="160"/>
                        <a:pt x="143" y="160"/>
                        <a:pt x="143" y="160"/>
                      </a:cubicBezTo>
                      <a:cubicBezTo>
                        <a:pt x="140" y="162"/>
                        <a:pt x="140" y="162"/>
                        <a:pt x="140" y="162"/>
                      </a:cubicBezTo>
                      <a:cubicBezTo>
                        <a:pt x="138" y="165"/>
                        <a:pt x="138" y="165"/>
                        <a:pt x="138" y="165"/>
                      </a:cubicBezTo>
                      <a:cubicBezTo>
                        <a:pt x="133" y="167"/>
                        <a:pt x="133" y="167"/>
                        <a:pt x="133" y="167"/>
                      </a:cubicBezTo>
                      <a:cubicBezTo>
                        <a:pt x="132" y="169"/>
                        <a:pt x="132" y="169"/>
                        <a:pt x="132" y="169"/>
                      </a:cubicBezTo>
                      <a:cubicBezTo>
                        <a:pt x="130" y="171"/>
                        <a:pt x="130" y="171"/>
                        <a:pt x="130" y="171"/>
                      </a:cubicBezTo>
                      <a:cubicBezTo>
                        <a:pt x="127" y="173"/>
                        <a:pt x="127" y="173"/>
                        <a:pt x="127" y="173"/>
                      </a:cubicBezTo>
                      <a:cubicBezTo>
                        <a:pt x="125" y="174"/>
                        <a:pt x="125" y="174"/>
                        <a:pt x="125" y="174"/>
                      </a:cubicBezTo>
                      <a:cubicBezTo>
                        <a:pt x="123" y="175"/>
                        <a:pt x="123" y="175"/>
                        <a:pt x="123" y="175"/>
                      </a:cubicBezTo>
                      <a:cubicBezTo>
                        <a:pt x="124" y="178"/>
                        <a:pt x="124" y="178"/>
                        <a:pt x="124" y="178"/>
                      </a:cubicBezTo>
                      <a:cubicBezTo>
                        <a:pt x="125" y="180"/>
                        <a:pt x="125" y="180"/>
                        <a:pt x="125" y="180"/>
                      </a:cubicBezTo>
                      <a:cubicBezTo>
                        <a:pt x="124" y="182"/>
                        <a:pt x="124" y="182"/>
                        <a:pt x="124" y="182"/>
                      </a:cubicBezTo>
                      <a:cubicBezTo>
                        <a:pt x="123" y="183"/>
                        <a:pt x="123" y="183"/>
                        <a:pt x="123" y="183"/>
                      </a:cubicBezTo>
                      <a:cubicBezTo>
                        <a:pt x="121" y="185"/>
                        <a:pt x="121" y="185"/>
                        <a:pt x="121" y="185"/>
                      </a:cubicBezTo>
                      <a:cubicBezTo>
                        <a:pt x="119" y="188"/>
                        <a:pt x="119" y="188"/>
                        <a:pt x="119" y="188"/>
                      </a:cubicBezTo>
                      <a:cubicBezTo>
                        <a:pt x="117" y="190"/>
                        <a:pt x="117" y="190"/>
                        <a:pt x="117" y="190"/>
                      </a:cubicBezTo>
                      <a:cubicBezTo>
                        <a:pt x="116" y="192"/>
                        <a:pt x="116" y="192"/>
                        <a:pt x="116" y="192"/>
                      </a:cubicBezTo>
                      <a:cubicBezTo>
                        <a:pt x="116" y="195"/>
                        <a:pt x="116" y="195"/>
                        <a:pt x="116" y="195"/>
                      </a:cubicBezTo>
                      <a:cubicBezTo>
                        <a:pt x="117" y="195"/>
                        <a:pt x="117" y="195"/>
                        <a:pt x="117" y="195"/>
                      </a:cubicBezTo>
                      <a:cubicBezTo>
                        <a:pt x="117" y="198"/>
                        <a:pt x="117" y="198"/>
                        <a:pt x="117" y="198"/>
                      </a:cubicBezTo>
                      <a:cubicBezTo>
                        <a:pt x="117" y="200"/>
                        <a:pt x="117" y="200"/>
                        <a:pt x="117" y="200"/>
                      </a:cubicBezTo>
                      <a:cubicBezTo>
                        <a:pt x="119" y="201"/>
                        <a:pt x="119" y="201"/>
                        <a:pt x="119" y="201"/>
                      </a:cubicBezTo>
                      <a:cubicBezTo>
                        <a:pt x="121" y="201"/>
                        <a:pt x="121" y="201"/>
                        <a:pt x="121" y="201"/>
                      </a:cubicBezTo>
                      <a:cubicBezTo>
                        <a:pt x="123" y="202"/>
                        <a:pt x="123" y="202"/>
                        <a:pt x="123" y="202"/>
                      </a:cubicBezTo>
                      <a:cubicBezTo>
                        <a:pt x="125" y="203"/>
                        <a:pt x="125" y="203"/>
                        <a:pt x="125" y="203"/>
                      </a:cubicBezTo>
                      <a:cubicBezTo>
                        <a:pt x="127" y="201"/>
                        <a:pt x="127" y="201"/>
                        <a:pt x="127" y="201"/>
                      </a:cubicBezTo>
                      <a:cubicBezTo>
                        <a:pt x="129" y="200"/>
                        <a:pt x="129" y="200"/>
                        <a:pt x="129" y="200"/>
                      </a:cubicBezTo>
                      <a:cubicBezTo>
                        <a:pt x="132" y="203"/>
                        <a:pt x="132" y="203"/>
                        <a:pt x="132" y="203"/>
                      </a:cubicBezTo>
                      <a:cubicBezTo>
                        <a:pt x="133" y="206"/>
                        <a:pt x="133" y="206"/>
                        <a:pt x="133" y="206"/>
                      </a:cubicBezTo>
                      <a:cubicBezTo>
                        <a:pt x="136" y="205"/>
                        <a:pt x="136" y="205"/>
                        <a:pt x="136" y="205"/>
                      </a:cubicBezTo>
                      <a:cubicBezTo>
                        <a:pt x="139" y="202"/>
                        <a:pt x="139" y="202"/>
                        <a:pt x="139" y="202"/>
                      </a:cubicBezTo>
                      <a:cubicBezTo>
                        <a:pt x="141" y="202"/>
                        <a:pt x="141" y="202"/>
                        <a:pt x="141" y="202"/>
                      </a:cubicBezTo>
                      <a:cubicBezTo>
                        <a:pt x="144" y="203"/>
                        <a:pt x="144" y="203"/>
                        <a:pt x="144" y="203"/>
                      </a:cubicBezTo>
                      <a:cubicBezTo>
                        <a:pt x="149" y="203"/>
                        <a:pt x="149" y="203"/>
                        <a:pt x="149" y="203"/>
                      </a:cubicBezTo>
                      <a:cubicBezTo>
                        <a:pt x="151" y="202"/>
                        <a:pt x="151" y="202"/>
                        <a:pt x="151" y="202"/>
                      </a:cubicBezTo>
                      <a:cubicBezTo>
                        <a:pt x="152" y="198"/>
                        <a:pt x="152" y="198"/>
                        <a:pt x="152" y="198"/>
                      </a:cubicBezTo>
                      <a:cubicBezTo>
                        <a:pt x="154" y="195"/>
                        <a:pt x="154" y="195"/>
                        <a:pt x="154" y="195"/>
                      </a:cubicBezTo>
                      <a:cubicBezTo>
                        <a:pt x="155" y="195"/>
                        <a:pt x="155" y="195"/>
                        <a:pt x="155" y="195"/>
                      </a:cubicBezTo>
                      <a:cubicBezTo>
                        <a:pt x="155" y="199"/>
                        <a:pt x="155" y="199"/>
                        <a:pt x="155" y="199"/>
                      </a:cubicBezTo>
                      <a:cubicBezTo>
                        <a:pt x="156" y="200"/>
                        <a:pt x="156" y="200"/>
                        <a:pt x="156" y="200"/>
                      </a:cubicBezTo>
                      <a:cubicBezTo>
                        <a:pt x="155" y="203"/>
                        <a:pt x="155" y="203"/>
                        <a:pt x="155" y="203"/>
                      </a:cubicBezTo>
                      <a:cubicBezTo>
                        <a:pt x="151" y="205"/>
                        <a:pt x="151" y="205"/>
                        <a:pt x="151" y="205"/>
                      </a:cubicBezTo>
                      <a:cubicBezTo>
                        <a:pt x="147" y="207"/>
                        <a:pt x="147" y="207"/>
                        <a:pt x="147" y="207"/>
                      </a:cubicBezTo>
                      <a:cubicBezTo>
                        <a:pt x="142" y="206"/>
                        <a:pt x="142" y="206"/>
                        <a:pt x="142" y="206"/>
                      </a:cubicBezTo>
                      <a:cubicBezTo>
                        <a:pt x="139" y="207"/>
                        <a:pt x="139" y="207"/>
                        <a:pt x="139" y="207"/>
                      </a:cubicBezTo>
                      <a:cubicBezTo>
                        <a:pt x="139" y="210"/>
                        <a:pt x="139" y="210"/>
                        <a:pt x="139" y="210"/>
                      </a:cubicBezTo>
                      <a:cubicBezTo>
                        <a:pt x="139" y="212"/>
                        <a:pt x="139" y="212"/>
                        <a:pt x="139" y="212"/>
                      </a:cubicBezTo>
                      <a:cubicBezTo>
                        <a:pt x="142" y="215"/>
                        <a:pt x="142" y="215"/>
                        <a:pt x="142" y="215"/>
                      </a:cubicBezTo>
                      <a:cubicBezTo>
                        <a:pt x="146" y="215"/>
                        <a:pt x="146" y="215"/>
                        <a:pt x="146" y="215"/>
                      </a:cubicBezTo>
                      <a:cubicBezTo>
                        <a:pt x="147" y="216"/>
                        <a:pt x="147" y="216"/>
                        <a:pt x="147" y="216"/>
                      </a:cubicBezTo>
                      <a:cubicBezTo>
                        <a:pt x="146" y="219"/>
                        <a:pt x="146" y="219"/>
                        <a:pt x="146" y="219"/>
                      </a:cubicBezTo>
                      <a:cubicBezTo>
                        <a:pt x="142" y="222"/>
                        <a:pt x="142" y="222"/>
                        <a:pt x="142" y="222"/>
                      </a:cubicBezTo>
                      <a:cubicBezTo>
                        <a:pt x="138" y="221"/>
                        <a:pt x="138" y="221"/>
                        <a:pt x="138" y="221"/>
                      </a:cubicBezTo>
                      <a:cubicBezTo>
                        <a:pt x="135" y="222"/>
                        <a:pt x="135" y="222"/>
                        <a:pt x="135" y="222"/>
                      </a:cubicBezTo>
                      <a:cubicBezTo>
                        <a:pt x="132" y="226"/>
                        <a:pt x="132" y="226"/>
                        <a:pt x="132" y="226"/>
                      </a:cubicBezTo>
                      <a:cubicBezTo>
                        <a:pt x="132" y="230"/>
                        <a:pt x="132" y="230"/>
                        <a:pt x="132" y="230"/>
                      </a:cubicBezTo>
                      <a:cubicBezTo>
                        <a:pt x="135" y="231"/>
                        <a:pt x="135" y="231"/>
                        <a:pt x="135" y="231"/>
                      </a:cubicBezTo>
                      <a:cubicBezTo>
                        <a:pt x="133" y="235"/>
                        <a:pt x="133" y="235"/>
                        <a:pt x="133" y="235"/>
                      </a:cubicBezTo>
                      <a:cubicBezTo>
                        <a:pt x="131" y="236"/>
                        <a:pt x="131" y="236"/>
                        <a:pt x="131" y="236"/>
                      </a:cubicBezTo>
                      <a:cubicBezTo>
                        <a:pt x="127" y="242"/>
                        <a:pt x="127" y="242"/>
                        <a:pt x="127" y="242"/>
                      </a:cubicBezTo>
                      <a:cubicBezTo>
                        <a:pt x="126" y="245"/>
                        <a:pt x="126" y="245"/>
                        <a:pt x="126" y="245"/>
                      </a:cubicBezTo>
                      <a:cubicBezTo>
                        <a:pt x="122" y="247"/>
                        <a:pt x="122" y="247"/>
                        <a:pt x="122" y="247"/>
                      </a:cubicBezTo>
                      <a:cubicBezTo>
                        <a:pt x="119" y="252"/>
                        <a:pt x="119" y="252"/>
                        <a:pt x="119" y="252"/>
                      </a:cubicBezTo>
                      <a:cubicBezTo>
                        <a:pt x="117" y="256"/>
                        <a:pt x="117" y="256"/>
                        <a:pt x="117" y="256"/>
                      </a:cubicBezTo>
                      <a:cubicBezTo>
                        <a:pt x="114" y="260"/>
                        <a:pt x="114" y="260"/>
                        <a:pt x="114" y="260"/>
                      </a:cubicBezTo>
                      <a:cubicBezTo>
                        <a:pt x="113" y="262"/>
                        <a:pt x="113" y="262"/>
                        <a:pt x="113" y="262"/>
                      </a:cubicBezTo>
                      <a:cubicBezTo>
                        <a:pt x="111" y="263"/>
                        <a:pt x="111" y="263"/>
                        <a:pt x="111" y="263"/>
                      </a:cubicBezTo>
                      <a:cubicBezTo>
                        <a:pt x="109" y="263"/>
                        <a:pt x="109" y="263"/>
                        <a:pt x="109" y="263"/>
                      </a:cubicBezTo>
                      <a:cubicBezTo>
                        <a:pt x="105" y="260"/>
                        <a:pt x="105" y="260"/>
                        <a:pt x="105" y="260"/>
                      </a:cubicBezTo>
                      <a:cubicBezTo>
                        <a:pt x="103" y="258"/>
                        <a:pt x="103" y="258"/>
                        <a:pt x="103" y="258"/>
                      </a:cubicBezTo>
                      <a:cubicBezTo>
                        <a:pt x="100" y="258"/>
                        <a:pt x="100" y="258"/>
                        <a:pt x="100" y="258"/>
                      </a:cubicBezTo>
                      <a:cubicBezTo>
                        <a:pt x="99" y="256"/>
                        <a:pt x="99" y="256"/>
                        <a:pt x="99" y="256"/>
                      </a:cubicBezTo>
                      <a:cubicBezTo>
                        <a:pt x="94" y="255"/>
                        <a:pt x="94" y="255"/>
                        <a:pt x="94" y="255"/>
                      </a:cubicBezTo>
                      <a:cubicBezTo>
                        <a:pt x="90" y="255"/>
                        <a:pt x="90" y="255"/>
                        <a:pt x="90" y="255"/>
                      </a:cubicBezTo>
                      <a:cubicBezTo>
                        <a:pt x="87" y="258"/>
                        <a:pt x="87" y="258"/>
                        <a:pt x="87" y="258"/>
                      </a:cubicBezTo>
                      <a:cubicBezTo>
                        <a:pt x="84" y="257"/>
                        <a:pt x="84" y="257"/>
                        <a:pt x="84" y="257"/>
                      </a:cubicBezTo>
                      <a:cubicBezTo>
                        <a:pt x="82" y="255"/>
                        <a:pt x="82" y="255"/>
                        <a:pt x="82" y="255"/>
                      </a:cubicBezTo>
                      <a:cubicBezTo>
                        <a:pt x="78" y="256"/>
                        <a:pt x="78" y="256"/>
                        <a:pt x="78" y="256"/>
                      </a:cubicBezTo>
                      <a:cubicBezTo>
                        <a:pt x="72" y="256"/>
                        <a:pt x="72" y="256"/>
                        <a:pt x="72" y="256"/>
                      </a:cubicBezTo>
                      <a:cubicBezTo>
                        <a:pt x="68" y="259"/>
                        <a:pt x="68" y="259"/>
                        <a:pt x="68" y="259"/>
                      </a:cubicBezTo>
                      <a:cubicBezTo>
                        <a:pt x="67" y="261"/>
                        <a:pt x="67" y="261"/>
                        <a:pt x="67" y="261"/>
                      </a:cubicBezTo>
                      <a:cubicBezTo>
                        <a:pt x="68" y="263"/>
                        <a:pt x="68" y="263"/>
                        <a:pt x="68" y="263"/>
                      </a:cubicBezTo>
                      <a:cubicBezTo>
                        <a:pt x="67" y="266"/>
                        <a:pt x="67" y="266"/>
                        <a:pt x="67" y="266"/>
                      </a:cubicBezTo>
                      <a:cubicBezTo>
                        <a:pt x="66" y="264"/>
                        <a:pt x="66" y="264"/>
                        <a:pt x="66" y="264"/>
                      </a:cubicBezTo>
                      <a:cubicBezTo>
                        <a:pt x="63" y="264"/>
                        <a:pt x="63" y="264"/>
                        <a:pt x="63" y="264"/>
                      </a:cubicBezTo>
                      <a:cubicBezTo>
                        <a:pt x="50" y="268"/>
                        <a:pt x="50" y="268"/>
                        <a:pt x="50" y="268"/>
                      </a:cubicBezTo>
                      <a:cubicBezTo>
                        <a:pt x="47" y="268"/>
                        <a:pt x="47" y="268"/>
                        <a:pt x="47" y="268"/>
                      </a:cubicBezTo>
                      <a:cubicBezTo>
                        <a:pt x="46" y="268"/>
                        <a:pt x="46" y="268"/>
                        <a:pt x="46" y="268"/>
                      </a:cubicBezTo>
                      <a:cubicBezTo>
                        <a:pt x="44" y="270"/>
                        <a:pt x="44" y="270"/>
                        <a:pt x="44" y="270"/>
                      </a:cubicBezTo>
                      <a:cubicBezTo>
                        <a:pt x="43" y="270"/>
                        <a:pt x="43" y="270"/>
                        <a:pt x="43" y="270"/>
                      </a:cubicBezTo>
                      <a:cubicBezTo>
                        <a:pt x="40" y="269"/>
                        <a:pt x="40" y="269"/>
                        <a:pt x="40" y="269"/>
                      </a:cubicBezTo>
                      <a:cubicBezTo>
                        <a:pt x="38" y="271"/>
                        <a:pt x="38" y="271"/>
                        <a:pt x="38" y="271"/>
                      </a:cubicBezTo>
                      <a:cubicBezTo>
                        <a:pt x="37" y="273"/>
                        <a:pt x="37" y="273"/>
                        <a:pt x="37" y="273"/>
                      </a:cubicBezTo>
                      <a:cubicBezTo>
                        <a:pt x="35" y="274"/>
                        <a:pt x="35" y="274"/>
                        <a:pt x="35" y="274"/>
                      </a:cubicBezTo>
                      <a:cubicBezTo>
                        <a:pt x="34" y="273"/>
                        <a:pt x="34" y="273"/>
                        <a:pt x="34" y="273"/>
                      </a:cubicBezTo>
                      <a:cubicBezTo>
                        <a:pt x="34" y="272"/>
                        <a:pt x="34" y="272"/>
                        <a:pt x="34" y="272"/>
                      </a:cubicBezTo>
                      <a:cubicBezTo>
                        <a:pt x="31" y="271"/>
                        <a:pt x="31" y="271"/>
                        <a:pt x="31" y="271"/>
                      </a:cubicBezTo>
                      <a:cubicBezTo>
                        <a:pt x="29" y="271"/>
                        <a:pt x="29" y="271"/>
                        <a:pt x="29" y="271"/>
                      </a:cubicBezTo>
                      <a:cubicBezTo>
                        <a:pt x="27" y="273"/>
                        <a:pt x="27" y="273"/>
                        <a:pt x="27" y="273"/>
                      </a:cubicBezTo>
                      <a:cubicBezTo>
                        <a:pt x="24" y="274"/>
                        <a:pt x="24" y="274"/>
                        <a:pt x="24" y="274"/>
                      </a:cubicBezTo>
                      <a:cubicBezTo>
                        <a:pt x="22" y="273"/>
                        <a:pt x="22" y="273"/>
                        <a:pt x="22" y="273"/>
                      </a:cubicBezTo>
                      <a:cubicBezTo>
                        <a:pt x="20" y="273"/>
                        <a:pt x="20" y="273"/>
                        <a:pt x="20" y="273"/>
                      </a:cubicBezTo>
                      <a:cubicBezTo>
                        <a:pt x="18" y="274"/>
                        <a:pt x="18" y="274"/>
                        <a:pt x="18" y="274"/>
                      </a:cubicBezTo>
                      <a:cubicBezTo>
                        <a:pt x="15" y="275"/>
                        <a:pt x="15" y="275"/>
                        <a:pt x="15" y="275"/>
                      </a:cubicBezTo>
                      <a:cubicBezTo>
                        <a:pt x="15" y="278"/>
                        <a:pt x="15" y="278"/>
                        <a:pt x="15" y="278"/>
                      </a:cubicBezTo>
                      <a:cubicBezTo>
                        <a:pt x="15" y="280"/>
                        <a:pt x="15" y="280"/>
                        <a:pt x="15" y="280"/>
                      </a:cubicBezTo>
                      <a:cubicBezTo>
                        <a:pt x="9" y="283"/>
                        <a:pt x="9" y="283"/>
                        <a:pt x="9" y="283"/>
                      </a:cubicBezTo>
                      <a:cubicBezTo>
                        <a:pt x="6" y="283"/>
                        <a:pt x="6" y="283"/>
                        <a:pt x="6" y="283"/>
                      </a:cubicBezTo>
                      <a:cubicBezTo>
                        <a:pt x="5" y="284"/>
                        <a:pt x="5" y="284"/>
                        <a:pt x="5" y="284"/>
                      </a:cubicBezTo>
                      <a:cubicBezTo>
                        <a:pt x="7" y="287"/>
                        <a:pt x="7" y="287"/>
                        <a:pt x="7" y="287"/>
                      </a:cubicBezTo>
                      <a:cubicBezTo>
                        <a:pt x="10" y="287"/>
                        <a:pt x="10" y="287"/>
                        <a:pt x="10" y="287"/>
                      </a:cubicBezTo>
                      <a:cubicBezTo>
                        <a:pt x="11" y="288"/>
                        <a:pt x="11" y="288"/>
                        <a:pt x="11" y="288"/>
                      </a:cubicBezTo>
                      <a:cubicBezTo>
                        <a:pt x="12" y="290"/>
                        <a:pt x="12" y="290"/>
                        <a:pt x="12" y="290"/>
                      </a:cubicBezTo>
                      <a:cubicBezTo>
                        <a:pt x="10" y="290"/>
                        <a:pt x="10" y="290"/>
                        <a:pt x="10" y="290"/>
                      </a:cubicBezTo>
                      <a:cubicBezTo>
                        <a:pt x="9" y="289"/>
                        <a:pt x="9" y="289"/>
                        <a:pt x="9" y="289"/>
                      </a:cubicBezTo>
                      <a:cubicBezTo>
                        <a:pt x="7" y="291"/>
                        <a:pt x="7" y="291"/>
                        <a:pt x="7" y="291"/>
                      </a:cubicBezTo>
                      <a:cubicBezTo>
                        <a:pt x="6" y="294"/>
                        <a:pt x="6" y="294"/>
                        <a:pt x="6" y="294"/>
                      </a:cubicBezTo>
                      <a:cubicBezTo>
                        <a:pt x="3" y="296"/>
                        <a:pt x="3" y="296"/>
                        <a:pt x="3" y="296"/>
                      </a:cubicBezTo>
                      <a:cubicBezTo>
                        <a:pt x="0" y="297"/>
                        <a:pt x="0" y="297"/>
                        <a:pt x="0" y="297"/>
                      </a:cubicBezTo>
                      <a:cubicBezTo>
                        <a:pt x="2" y="299"/>
                        <a:pt x="2" y="299"/>
                        <a:pt x="2" y="299"/>
                      </a:cubicBezTo>
                      <a:cubicBezTo>
                        <a:pt x="5" y="301"/>
                        <a:pt x="5" y="301"/>
                        <a:pt x="5" y="301"/>
                      </a:cubicBezTo>
                      <a:cubicBezTo>
                        <a:pt x="7" y="303"/>
                        <a:pt x="7" y="303"/>
                        <a:pt x="7" y="303"/>
                      </a:cubicBezTo>
                      <a:cubicBezTo>
                        <a:pt x="10" y="312"/>
                        <a:pt x="10" y="312"/>
                        <a:pt x="10" y="312"/>
                      </a:cubicBezTo>
                      <a:cubicBezTo>
                        <a:pt x="12" y="314"/>
                        <a:pt x="12" y="314"/>
                        <a:pt x="12" y="314"/>
                      </a:cubicBezTo>
                      <a:cubicBezTo>
                        <a:pt x="15" y="314"/>
                        <a:pt x="15" y="314"/>
                        <a:pt x="15" y="314"/>
                      </a:cubicBezTo>
                      <a:cubicBezTo>
                        <a:pt x="16" y="315"/>
                        <a:pt x="16" y="315"/>
                        <a:pt x="16" y="315"/>
                      </a:cubicBezTo>
                      <a:cubicBezTo>
                        <a:pt x="17" y="317"/>
                        <a:pt x="17" y="317"/>
                        <a:pt x="17" y="317"/>
                      </a:cubicBezTo>
                      <a:cubicBezTo>
                        <a:pt x="16" y="318"/>
                        <a:pt x="16" y="318"/>
                        <a:pt x="16" y="318"/>
                      </a:cubicBezTo>
                      <a:cubicBezTo>
                        <a:pt x="14" y="320"/>
                        <a:pt x="14" y="320"/>
                        <a:pt x="14" y="320"/>
                      </a:cubicBezTo>
                      <a:cubicBezTo>
                        <a:pt x="13" y="323"/>
                        <a:pt x="13" y="323"/>
                        <a:pt x="13" y="323"/>
                      </a:cubicBezTo>
                      <a:cubicBezTo>
                        <a:pt x="14" y="326"/>
                        <a:pt x="14" y="326"/>
                        <a:pt x="14" y="326"/>
                      </a:cubicBezTo>
                      <a:cubicBezTo>
                        <a:pt x="17" y="326"/>
                        <a:pt x="17" y="326"/>
                        <a:pt x="17" y="326"/>
                      </a:cubicBezTo>
                      <a:cubicBezTo>
                        <a:pt x="22" y="325"/>
                        <a:pt x="22" y="325"/>
                        <a:pt x="22" y="325"/>
                      </a:cubicBezTo>
                      <a:cubicBezTo>
                        <a:pt x="25" y="323"/>
                        <a:pt x="25" y="323"/>
                        <a:pt x="25" y="323"/>
                      </a:cubicBezTo>
                      <a:cubicBezTo>
                        <a:pt x="27" y="320"/>
                        <a:pt x="27" y="320"/>
                        <a:pt x="27" y="320"/>
                      </a:cubicBezTo>
                      <a:cubicBezTo>
                        <a:pt x="28" y="319"/>
                        <a:pt x="28" y="319"/>
                        <a:pt x="28" y="319"/>
                      </a:cubicBezTo>
                      <a:cubicBezTo>
                        <a:pt x="29" y="320"/>
                        <a:pt x="29" y="320"/>
                        <a:pt x="29" y="320"/>
                      </a:cubicBezTo>
                      <a:cubicBezTo>
                        <a:pt x="30" y="322"/>
                        <a:pt x="30" y="322"/>
                        <a:pt x="30" y="322"/>
                      </a:cubicBezTo>
                      <a:cubicBezTo>
                        <a:pt x="28" y="327"/>
                        <a:pt x="28" y="327"/>
                        <a:pt x="28" y="327"/>
                      </a:cubicBezTo>
                      <a:cubicBezTo>
                        <a:pt x="25" y="330"/>
                        <a:pt x="25" y="330"/>
                        <a:pt x="25" y="330"/>
                      </a:cubicBezTo>
                      <a:cubicBezTo>
                        <a:pt x="21" y="331"/>
                        <a:pt x="21" y="331"/>
                        <a:pt x="21" y="331"/>
                      </a:cubicBezTo>
                      <a:cubicBezTo>
                        <a:pt x="20" y="333"/>
                        <a:pt x="20" y="333"/>
                        <a:pt x="20" y="333"/>
                      </a:cubicBezTo>
                      <a:cubicBezTo>
                        <a:pt x="21" y="335"/>
                        <a:pt x="21" y="335"/>
                        <a:pt x="21" y="335"/>
                      </a:cubicBezTo>
                      <a:cubicBezTo>
                        <a:pt x="24" y="336"/>
                        <a:pt x="24" y="336"/>
                        <a:pt x="24" y="336"/>
                      </a:cubicBezTo>
                      <a:cubicBezTo>
                        <a:pt x="27" y="335"/>
                        <a:pt x="27" y="335"/>
                        <a:pt x="27" y="335"/>
                      </a:cubicBezTo>
                      <a:cubicBezTo>
                        <a:pt x="31" y="333"/>
                        <a:pt x="31" y="333"/>
                        <a:pt x="31" y="333"/>
                      </a:cubicBezTo>
                      <a:cubicBezTo>
                        <a:pt x="32" y="334"/>
                        <a:pt x="32" y="334"/>
                        <a:pt x="32" y="334"/>
                      </a:cubicBezTo>
                      <a:cubicBezTo>
                        <a:pt x="33" y="335"/>
                        <a:pt x="33" y="335"/>
                        <a:pt x="33" y="335"/>
                      </a:cubicBezTo>
                      <a:cubicBezTo>
                        <a:pt x="27" y="338"/>
                        <a:pt x="27" y="338"/>
                        <a:pt x="27" y="338"/>
                      </a:cubicBezTo>
                      <a:cubicBezTo>
                        <a:pt x="23" y="340"/>
                        <a:pt x="23" y="340"/>
                        <a:pt x="23" y="340"/>
                      </a:cubicBezTo>
                      <a:cubicBezTo>
                        <a:pt x="22" y="341"/>
                        <a:pt x="22" y="341"/>
                        <a:pt x="22" y="341"/>
                      </a:cubicBezTo>
                      <a:cubicBezTo>
                        <a:pt x="28" y="348"/>
                        <a:pt x="28" y="348"/>
                        <a:pt x="28" y="348"/>
                      </a:cubicBezTo>
                      <a:cubicBezTo>
                        <a:pt x="32" y="350"/>
                        <a:pt x="32" y="350"/>
                        <a:pt x="32" y="350"/>
                      </a:cubicBezTo>
                      <a:cubicBezTo>
                        <a:pt x="37" y="350"/>
                        <a:pt x="37" y="350"/>
                        <a:pt x="37" y="350"/>
                      </a:cubicBezTo>
                      <a:cubicBezTo>
                        <a:pt x="39" y="348"/>
                        <a:pt x="39" y="348"/>
                        <a:pt x="39" y="348"/>
                      </a:cubicBezTo>
                      <a:cubicBezTo>
                        <a:pt x="39" y="343"/>
                        <a:pt x="39" y="343"/>
                        <a:pt x="39" y="343"/>
                      </a:cubicBezTo>
                      <a:cubicBezTo>
                        <a:pt x="38" y="341"/>
                        <a:pt x="38" y="341"/>
                        <a:pt x="38" y="341"/>
                      </a:cubicBezTo>
                      <a:cubicBezTo>
                        <a:pt x="37" y="339"/>
                        <a:pt x="37" y="339"/>
                        <a:pt x="37" y="339"/>
                      </a:cubicBezTo>
                      <a:cubicBezTo>
                        <a:pt x="38" y="338"/>
                        <a:pt x="38" y="338"/>
                        <a:pt x="38" y="338"/>
                      </a:cubicBezTo>
                      <a:cubicBezTo>
                        <a:pt x="40" y="338"/>
                        <a:pt x="40" y="338"/>
                        <a:pt x="40" y="338"/>
                      </a:cubicBezTo>
                      <a:cubicBezTo>
                        <a:pt x="43" y="342"/>
                        <a:pt x="43" y="342"/>
                        <a:pt x="43" y="342"/>
                      </a:cubicBezTo>
                      <a:cubicBezTo>
                        <a:pt x="43" y="344"/>
                        <a:pt x="43" y="344"/>
                        <a:pt x="43" y="344"/>
                      </a:cubicBezTo>
                      <a:cubicBezTo>
                        <a:pt x="43" y="345"/>
                        <a:pt x="43" y="345"/>
                        <a:pt x="43" y="345"/>
                      </a:cubicBezTo>
                      <a:cubicBezTo>
                        <a:pt x="46" y="348"/>
                        <a:pt x="46" y="348"/>
                        <a:pt x="46" y="348"/>
                      </a:cubicBezTo>
                      <a:cubicBezTo>
                        <a:pt x="52" y="349"/>
                        <a:pt x="52" y="349"/>
                        <a:pt x="52" y="349"/>
                      </a:cubicBezTo>
                      <a:cubicBezTo>
                        <a:pt x="55" y="348"/>
                        <a:pt x="55" y="348"/>
                        <a:pt x="55" y="348"/>
                      </a:cubicBezTo>
                      <a:cubicBezTo>
                        <a:pt x="59" y="345"/>
                        <a:pt x="59" y="345"/>
                        <a:pt x="59" y="345"/>
                      </a:cubicBezTo>
                      <a:cubicBezTo>
                        <a:pt x="61" y="345"/>
                        <a:pt x="61" y="345"/>
                        <a:pt x="61" y="345"/>
                      </a:cubicBezTo>
                      <a:cubicBezTo>
                        <a:pt x="63" y="346"/>
                        <a:pt x="63" y="346"/>
                        <a:pt x="63" y="346"/>
                      </a:cubicBezTo>
                      <a:cubicBezTo>
                        <a:pt x="63" y="349"/>
                        <a:pt x="63" y="349"/>
                        <a:pt x="63" y="349"/>
                      </a:cubicBezTo>
                      <a:cubicBezTo>
                        <a:pt x="64" y="350"/>
                        <a:pt x="64" y="350"/>
                        <a:pt x="64" y="350"/>
                      </a:cubicBezTo>
                      <a:cubicBezTo>
                        <a:pt x="66" y="350"/>
                        <a:pt x="66" y="350"/>
                        <a:pt x="66" y="350"/>
                      </a:cubicBezTo>
                      <a:cubicBezTo>
                        <a:pt x="68" y="351"/>
                        <a:pt x="68" y="351"/>
                        <a:pt x="68" y="351"/>
                      </a:cubicBezTo>
                      <a:cubicBezTo>
                        <a:pt x="69" y="357"/>
                        <a:pt x="69" y="357"/>
                        <a:pt x="69" y="357"/>
                      </a:cubicBezTo>
                      <a:cubicBezTo>
                        <a:pt x="67" y="358"/>
                        <a:pt x="67" y="358"/>
                        <a:pt x="67" y="358"/>
                      </a:cubicBezTo>
                      <a:cubicBezTo>
                        <a:pt x="63" y="361"/>
                        <a:pt x="63" y="361"/>
                        <a:pt x="63" y="361"/>
                      </a:cubicBezTo>
                      <a:cubicBezTo>
                        <a:pt x="63" y="364"/>
                        <a:pt x="63" y="364"/>
                        <a:pt x="63" y="364"/>
                      </a:cubicBezTo>
                      <a:cubicBezTo>
                        <a:pt x="64" y="366"/>
                        <a:pt x="64" y="366"/>
                        <a:pt x="64" y="366"/>
                      </a:cubicBezTo>
                      <a:cubicBezTo>
                        <a:pt x="64" y="368"/>
                        <a:pt x="64" y="368"/>
                        <a:pt x="64" y="368"/>
                      </a:cubicBezTo>
                      <a:cubicBezTo>
                        <a:pt x="61" y="366"/>
                        <a:pt x="61" y="366"/>
                        <a:pt x="61" y="366"/>
                      </a:cubicBezTo>
                      <a:cubicBezTo>
                        <a:pt x="60" y="364"/>
                        <a:pt x="60" y="364"/>
                        <a:pt x="60" y="364"/>
                      </a:cubicBezTo>
                      <a:cubicBezTo>
                        <a:pt x="58" y="364"/>
                        <a:pt x="58" y="364"/>
                        <a:pt x="58" y="364"/>
                      </a:cubicBezTo>
                      <a:cubicBezTo>
                        <a:pt x="56" y="360"/>
                        <a:pt x="56" y="360"/>
                        <a:pt x="56" y="360"/>
                      </a:cubicBezTo>
                      <a:cubicBezTo>
                        <a:pt x="50" y="358"/>
                        <a:pt x="50" y="358"/>
                        <a:pt x="50" y="358"/>
                      </a:cubicBezTo>
                      <a:cubicBezTo>
                        <a:pt x="43" y="357"/>
                        <a:pt x="43" y="357"/>
                        <a:pt x="43" y="357"/>
                      </a:cubicBezTo>
                      <a:cubicBezTo>
                        <a:pt x="38" y="357"/>
                        <a:pt x="38" y="357"/>
                        <a:pt x="38" y="357"/>
                      </a:cubicBezTo>
                      <a:cubicBezTo>
                        <a:pt x="31" y="358"/>
                        <a:pt x="31" y="358"/>
                        <a:pt x="31" y="358"/>
                      </a:cubicBezTo>
                      <a:cubicBezTo>
                        <a:pt x="31" y="360"/>
                        <a:pt x="31" y="360"/>
                        <a:pt x="31" y="360"/>
                      </a:cubicBezTo>
                      <a:cubicBezTo>
                        <a:pt x="34" y="364"/>
                        <a:pt x="34" y="364"/>
                        <a:pt x="34" y="364"/>
                      </a:cubicBezTo>
                      <a:cubicBezTo>
                        <a:pt x="40" y="365"/>
                        <a:pt x="40" y="365"/>
                        <a:pt x="40" y="365"/>
                      </a:cubicBezTo>
                      <a:cubicBezTo>
                        <a:pt x="43" y="365"/>
                        <a:pt x="43" y="365"/>
                        <a:pt x="43" y="365"/>
                      </a:cubicBezTo>
                      <a:cubicBezTo>
                        <a:pt x="48" y="370"/>
                        <a:pt x="48" y="370"/>
                        <a:pt x="48" y="370"/>
                      </a:cubicBezTo>
                      <a:cubicBezTo>
                        <a:pt x="54" y="373"/>
                        <a:pt x="54" y="373"/>
                        <a:pt x="54" y="373"/>
                      </a:cubicBezTo>
                      <a:cubicBezTo>
                        <a:pt x="57" y="373"/>
                        <a:pt x="57" y="373"/>
                        <a:pt x="57" y="373"/>
                      </a:cubicBezTo>
                      <a:cubicBezTo>
                        <a:pt x="60" y="374"/>
                        <a:pt x="60" y="374"/>
                        <a:pt x="60" y="374"/>
                      </a:cubicBezTo>
                      <a:cubicBezTo>
                        <a:pt x="55" y="376"/>
                        <a:pt x="55" y="376"/>
                        <a:pt x="55" y="376"/>
                      </a:cubicBezTo>
                      <a:cubicBezTo>
                        <a:pt x="54" y="375"/>
                        <a:pt x="54" y="375"/>
                        <a:pt x="54" y="375"/>
                      </a:cubicBezTo>
                      <a:cubicBezTo>
                        <a:pt x="51" y="375"/>
                        <a:pt x="51" y="375"/>
                        <a:pt x="51" y="375"/>
                      </a:cubicBezTo>
                      <a:cubicBezTo>
                        <a:pt x="44" y="370"/>
                        <a:pt x="44" y="370"/>
                        <a:pt x="44" y="370"/>
                      </a:cubicBezTo>
                      <a:cubicBezTo>
                        <a:pt x="42" y="369"/>
                        <a:pt x="42" y="369"/>
                        <a:pt x="42" y="369"/>
                      </a:cubicBezTo>
                      <a:cubicBezTo>
                        <a:pt x="37" y="369"/>
                        <a:pt x="37" y="369"/>
                        <a:pt x="37" y="369"/>
                      </a:cubicBezTo>
                      <a:cubicBezTo>
                        <a:pt x="30" y="365"/>
                        <a:pt x="30" y="365"/>
                        <a:pt x="30" y="365"/>
                      </a:cubicBezTo>
                      <a:cubicBezTo>
                        <a:pt x="24" y="364"/>
                        <a:pt x="24" y="364"/>
                        <a:pt x="24" y="364"/>
                      </a:cubicBezTo>
                      <a:cubicBezTo>
                        <a:pt x="20" y="361"/>
                        <a:pt x="20" y="361"/>
                        <a:pt x="20" y="361"/>
                      </a:cubicBezTo>
                      <a:cubicBezTo>
                        <a:pt x="14" y="359"/>
                        <a:pt x="14" y="359"/>
                        <a:pt x="14" y="359"/>
                      </a:cubicBezTo>
                      <a:cubicBezTo>
                        <a:pt x="8" y="362"/>
                        <a:pt x="8" y="362"/>
                        <a:pt x="8" y="362"/>
                      </a:cubicBezTo>
                      <a:cubicBezTo>
                        <a:pt x="8" y="367"/>
                        <a:pt x="8" y="367"/>
                        <a:pt x="8" y="367"/>
                      </a:cubicBezTo>
                      <a:cubicBezTo>
                        <a:pt x="6" y="365"/>
                        <a:pt x="6" y="365"/>
                        <a:pt x="6" y="365"/>
                      </a:cubicBezTo>
                      <a:cubicBezTo>
                        <a:pt x="4" y="365"/>
                        <a:pt x="4" y="365"/>
                        <a:pt x="4" y="365"/>
                      </a:cubicBezTo>
                      <a:cubicBezTo>
                        <a:pt x="3" y="367"/>
                        <a:pt x="3" y="367"/>
                        <a:pt x="3" y="367"/>
                      </a:cubicBezTo>
                      <a:cubicBezTo>
                        <a:pt x="1" y="367"/>
                        <a:pt x="1" y="367"/>
                        <a:pt x="1" y="367"/>
                      </a:cubicBezTo>
                      <a:cubicBezTo>
                        <a:pt x="0" y="369"/>
                        <a:pt x="0" y="369"/>
                        <a:pt x="0" y="369"/>
                      </a:cubicBezTo>
                      <a:cubicBezTo>
                        <a:pt x="0" y="376"/>
                        <a:pt x="0" y="376"/>
                        <a:pt x="0" y="376"/>
                      </a:cubicBezTo>
                      <a:cubicBezTo>
                        <a:pt x="1" y="375"/>
                        <a:pt x="1" y="375"/>
                        <a:pt x="1" y="375"/>
                      </a:cubicBezTo>
                      <a:cubicBezTo>
                        <a:pt x="3" y="375"/>
                        <a:pt x="3" y="375"/>
                        <a:pt x="3" y="375"/>
                      </a:cubicBezTo>
                      <a:cubicBezTo>
                        <a:pt x="4" y="376"/>
                        <a:pt x="4" y="376"/>
                        <a:pt x="4" y="376"/>
                      </a:cubicBezTo>
                      <a:cubicBezTo>
                        <a:pt x="2" y="378"/>
                        <a:pt x="2" y="378"/>
                        <a:pt x="2" y="378"/>
                      </a:cubicBezTo>
                      <a:cubicBezTo>
                        <a:pt x="1" y="381"/>
                        <a:pt x="1" y="381"/>
                        <a:pt x="1" y="381"/>
                      </a:cubicBezTo>
                      <a:cubicBezTo>
                        <a:pt x="2" y="385"/>
                        <a:pt x="2" y="385"/>
                        <a:pt x="2" y="385"/>
                      </a:cubicBezTo>
                      <a:cubicBezTo>
                        <a:pt x="6" y="387"/>
                        <a:pt x="6" y="387"/>
                        <a:pt x="6" y="387"/>
                      </a:cubicBezTo>
                      <a:cubicBezTo>
                        <a:pt x="8" y="384"/>
                        <a:pt x="8" y="384"/>
                        <a:pt x="8" y="384"/>
                      </a:cubicBezTo>
                      <a:cubicBezTo>
                        <a:pt x="9" y="383"/>
                        <a:pt x="9" y="383"/>
                        <a:pt x="9" y="383"/>
                      </a:cubicBezTo>
                      <a:cubicBezTo>
                        <a:pt x="11" y="383"/>
                        <a:pt x="11" y="383"/>
                        <a:pt x="11" y="383"/>
                      </a:cubicBezTo>
                      <a:cubicBezTo>
                        <a:pt x="13" y="378"/>
                        <a:pt x="13" y="378"/>
                        <a:pt x="13" y="378"/>
                      </a:cubicBezTo>
                      <a:cubicBezTo>
                        <a:pt x="15" y="376"/>
                        <a:pt x="15" y="376"/>
                        <a:pt x="15" y="376"/>
                      </a:cubicBezTo>
                      <a:cubicBezTo>
                        <a:pt x="18" y="376"/>
                        <a:pt x="18" y="376"/>
                        <a:pt x="18" y="376"/>
                      </a:cubicBezTo>
                      <a:cubicBezTo>
                        <a:pt x="16" y="378"/>
                        <a:pt x="16" y="378"/>
                        <a:pt x="16" y="378"/>
                      </a:cubicBezTo>
                      <a:cubicBezTo>
                        <a:pt x="15" y="383"/>
                        <a:pt x="15" y="383"/>
                        <a:pt x="15" y="383"/>
                      </a:cubicBezTo>
                      <a:cubicBezTo>
                        <a:pt x="12" y="385"/>
                        <a:pt x="12" y="385"/>
                        <a:pt x="12" y="385"/>
                      </a:cubicBezTo>
                      <a:cubicBezTo>
                        <a:pt x="10" y="387"/>
                        <a:pt x="10" y="387"/>
                        <a:pt x="10" y="387"/>
                      </a:cubicBezTo>
                      <a:cubicBezTo>
                        <a:pt x="10" y="393"/>
                        <a:pt x="10" y="393"/>
                        <a:pt x="10" y="393"/>
                      </a:cubicBezTo>
                      <a:cubicBezTo>
                        <a:pt x="16" y="399"/>
                        <a:pt x="16" y="399"/>
                        <a:pt x="16" y="399"/>
                      </a:cubicBezTo>
                      <a:cubicBezTo>
                        <a:pt x="17" y="397"/>
                        <a:pt x="17" y="397"/>
                        <a:pt x="17" y="397"/>
                      </a:cubicBezTo>
                      <a:cubicBezTo>
                        <a:pt x="19" y="397"/>
                        <a:pt x="19" y="397"/>
                        <a:pt x="19" y="397"/>
                      </a:cubicBezTo>
                      <a:cubicBezTo>
                        <a:pt x="24" y="400"/>
                        <a:pt x="24" y="400"/>
                        <a:pt x="24" y="400"/>
                      </a:cubicBezTo>
                      <a:cubicBezTo>
                        <a:pt x="27" y="400"/>
                        <a:pt x="27" y="400"/>
                        <a:pt x="27" y="400"/>
                      </a:cubicBezTo>
                      <a:cubicBezTo>
                        <a:pt x="27" y="402"/>
                        <a:pt x="27" y="402"/>
                        <a:pt x="27" y="402"/>
                      </a:cubicBezTo>
                      <a:cubicBezTo>
                        <a:pt x="26" y="404"/>
                        <a:pt x="26" y="404"/>
                        <a:pt x="26" y="404"/>
                      </a:cubicBezTo>
                      <a:cubicBezTo>
                        <a:pt x="24" y="406"/>
                        <a:pt x="24" y="406"/>
                        <a:pt x="24" y="406"/>
                      </a:cubicBezTo>
                      <a:cubicBezTo>
                        <a:pt x="22" y="405"/>
                        <a:pt x="22" y="405"/>
                        <a:pt x="22" y="405"/>
                      </a:cubicBezTo>
                      <a:cubicBezTo>
                        <a:pt x="18" y="405"/>
                        <a:pt x="18" y="405"/>
                        <a:pt x="18" y="405"/>
                      </a:cubicBezTo>
                      <a:cubicBezTo>
                        <a:pt x="15" y="406"/>
                        <a:pt x="15" y="406"/>
                        <a:pt x="15" y="406"/>
                      </a:cubicBezTo>
                      <a:cubicBezTo>
                        <a:pt x="13" y="408"/>
                        <a:pt x="13" y="408"/>
                        <a:pt x="13" y="408"/>
                      </a:cubicBezTo>
                      <a:cubicBezTo>
                        <a:pt x="8" y="409"/>
                        <a:pt x="8" y="409"/>
                        <a:pt x="8" y="409"/>
                      </a:cubicBezTo>
                      <a:cubicBezTo>
                        <a:pt x="6" y="411"/>
                        <a:pt x="6" y="411"/>
                        <a:pt x="6" y="411"/>
                      </a:cubicBezTo>
                      <a:cubicBezTo>
                        <a:pt x="6" y="416"/>
                        <a:pt x="6" y="416"/>
                        <a:pt x="6" y="416"/>
                      </a:cubicBezTo>
                      <a:cubicBezTo>
                        <a:pt x="9" y="420"/>
                        <a:pt x="9" y="420"/>
                        <a:pt x="9" y="420"/>
                      </a:cubicBezTo>
                      <a:cubicBezTo>
                        <a:pt x="11" y="423"/>
                        <a:pt x="11" y="423"/>
                        <a:pt x="11" y="423"/>
                      </a:cubicBezTo>
                      <a:cubicBezTo>
                        <a:pt x="13" y="429"/>
                        <a:pt x="13" y="429"/>
                        <a:pt x="13" y="429"/>
                      </a:cubicBezTo>
                      <a:cubicBezTo>
                        <a:pt x="17" y="431"/>
                        <a:pt x="17" y="431"/>
                        <a:pt x="17" y="431"/>
                      </a:cubicBezTo>
                      <a:cubicBezTo>
                        <a:pt x="16" y="432"/>
                        <a:pt x="16" y="432"/>
                        <a:pt x="16" y="432"/>
                      </a:cubicBezTo>
                      <a:cubicBezTo>
                        <a:pt x="16" y="433"/>
                        <a:pt x="16" y="433"/>
                        <a:pt x="16" y="433"/>
                      </a:cubicBezTo>
                      <a:cubicBezTo>
                        <a:pt x="18" y="435"/>
                        <a:pt x="18" y="435"/>
                        <a:pt x="18" y="435"/>
                      </a:cubicBezTo>
                      <a:cubicBezTo>
                        <a:pt x="21" y="439"/>
                        <a:pt x="21" y="439"/>
                        <a:pt x="21" y="439"/>
                      </a:cubicBezTo>
                      <a:cubicBezTo>
                        <a:pt x="24" y="442"/>
                        <a:pt x="24" y="442"/>
                        <a:pt x="24" y="442"/>
                      </a:cubicBezTo>
                      <a:cubicBezTo>
                        <a:pt x="28" y="444"/>
                        <a:pt x="28" y="444"/>
                        <a:pt x="28" y="444"/>
                      </a:cubicBezTo>
                      <a:cubicBezTo>
                        <a:pt x="31" y="447"/>
                        <a:pt x="31" y="447"/>
                        <a:pt x="31" y="447"/>
                      </a:cubicBezTo>
                      <a:cubicBezTo>
                        <a:pt x="34" y="449"/>
                        <a:pt x="34" y="449"/>
                        <a:pt x="34" y="449"/>
                      </a:cubicBezTo>
                      <a:cubicBezTo>
                        <a:pt x="34" y="448"/>
                        <a:pt x="34" y="448"/>
                        <a:pt x="34" y="448"/>
                      </a:cubicBezTo>
                      <a:cubicBezTo>
                        <a:pt x="35" y="445"/>
                        <a:pt x="35" y="445"/>
                        <a:pt x="35" y="445"/>
                      </a:cubicBezTo>
                      <a:cubicBezTo>
                        <a:pt x="34" y="439"/>
                        <a:pt x="34" y="439"/>
                        <a:pt x="34" y="439"/>
                      </a:cubicBezTo>
                      <a:cubicBezTo>
                        <a:pt x="34" y="436"/>
                        <a:pt x="34" y="436"/>
                        <a:pt x="34" y="436"/>
                      </a:cubicBezTo>
                      <a:cubicBezTo>
                        <a:pt x="36" y="435"/>
                        <a:pt x="36" y="435"/>
                        <a:pt x="36" y="435"/>
                      </a:cubicBezTo>
                      <a:cubicBezTo>
                        <a:pt x="37" y="430"/>
                        <a:pt x="37" y="430"/>
                        <a:pt x="37" y="430"/>
                      </a:cubicBezTo>
                      <a:cubicBezTo>
                        <a:pt x="37" y="427"/>
                        <a:pt x="37" y="427"/>
                        <a:pt x="37" y="427"/>
                      </a:cubicBezTo>
                      <a:cubicBezTo>
                        <a:pt x="39" y="427"/>
                        <a:pt x="39" y="427"/>
                        <a:pt x="39" y="427"/>
                      </a:cubicBezTo>
                      <a:cubicBezTo>
                        <a:pt x="40" y="427"/>
                        <a:pt x="40" y="427"/>
                        <a:pt x="40" y="427"/>
                      </a:cubicBezTo>
                      <a:cubicBezTo>
                        <a:pt x="41" y="430"/>
                        <a:pt x="41" y="430"/>
                        <a:pt x="41" y="430"/>
                      </a:cubicBezTo>
                      <a:cubicBezTo>
                        <a:pt x="42" y="434"/>
                        <a:pt x="42" y="434"/>
                        <a:pt x="42" y="434"/>
                      </a:cubicBezTo>
                      <a:cubicBezTo>
                        <a:pt x="42" y="437"/>
                        <a:pt x="42" y="437"/>
                        <a:pt x="42" y="437"/>
                      </a:cubicBezTo>
                      <a:cubicBezTo>
                        <a:pt x="43" y="439"/>
                        <a:pt x="43" y="439"/>
                        <a:pt x="43" y="439"/>
                      </a:cubicBezTo>
                      <a:cubicBezTo>
                        <a:pt x="44" y="438"/>
                        <a:pt x="44" y="438"/>
                        <a:pt x="44" y="438"/>
                      </a:cubicBezTo>
                      <a:cubicBezTo>
                        <a:pt x="45" y="436"/>
                        <a:pt x="45" y="436"/>
                        <a:pt x="45" y="436"/>
                      </a:cubicBezTo>
                      <a:cubicBezTo>
                        <a:pt x="47" y="436"/>
                        <a:pt x="47" y="436"/>
                        <a:pt x="47" y="436"/>
                      </a:cubicBezTo>
                      <a:cubicBezTo>
                        <a:pt x="50" y="433"/>
                        <a:pt x="50" y="433"/>
                        <a:pt x="50" y="433"/>
                      </a:cubicBezTo>
                      <a:cubicBezTo>
                        <a:pt x="52" y="434"/>
                        <a:pt x="52" y="434"/>
                        <a:pt x="52" y="434"/>
                      </a:cubicBezTo>
                      <a:cubicBezTo>
                        <a:pt x="54" y="434"/>
                        <a:pt x="54" y="434"/>
                        <a:pt x="54" y="434"/>
                      </a:cubicBezTo>
                      <a:cubicBezTo>
                        <a:pt x="55" y="435"/>
                        <a:pt x="55" y="435"/>
                        <a:pt x="55" y="435"/>
                      </a:cubicBezTo>
                      <a:cubicBezTo>
                        <a:pt x="52" y="438"/>
                        <a:pt x="52" y="438"/>
                        <a:pt x="52" y="438"/>
                      </a:cubicBezTo>
                      <a:cubicBezTo>
                        <a:pt x="50" y="442"/>
                        <a:pt x="50" y="442"/>
                        <a:pt x="50" y="442"/>
                      </a:cubicBezTo>
                      <a:cubicBezTo>
                        <a:pt x="51" y="446"/>
                        <a:pt x="51" y="446"/>
                        <a:pt x="51" y="446"/>
                      </a:cubicBezTo>
                      <a:cubicBezTo>
                        <a:pt x="53" y="447"/>
                        <a:pt x="53" y="447"/>
                        <a:pt x="53" y="447"/>
                      </a:cubicBezTo>
                      <a:cubicBezTo>
                        <a:pt x="54" y="446"/>
                        <a:pt x="54" y="446"/>
                        <a:pt x="54" y="446"/>
                      </a:cubicBezTo>
                      <a:cubicBezTo>
                        <a:pt x="56" y="439"/>
                        <a:pt x="56" y="439"/>
                        <a:pt x="56" y="439"/>
                      </a:cubicBezTo>
                      <a:cubicBezTo>
                        <a:pt x="57" y="436"/>
                        <a:pt x="57" y="436"/>
                        <a:pt x="57" y="436"/>
                      </a:cubicBezTo>
                      <a:cubicBezTo>
                        <a:pt x="59" y="437"/>
                        <a:pt x="59" y="437"/>
                        <a:pt x="59" y="437"/>
                      </a:cubicBezTo>
                      <a:cubicBezTo>
                        <a:pt x="61" y="442"/>
                        <a:pt x="61" y="442"/>
                        <a:pt x="61" y="442"/>
                      </a:cubicBezTo>
                      <a:cubicBezTo>
                        <a:pt x="63" y="444"/>
                        <a:pt x="63" y="444"/>
                        <a:pt x="63" y="444"/>
                      </a:cubicBezTo>
                      <a:cubicBezTo>
                        <a:pt x="65" y="442"/>
                        <a:pt x="65" y="442"/>
                        <a:pt x="65" y="442"/>
                      </a:cubicBezTo>
                      <a:cubicBezTo>
                        <a:pt x="65" y="439"/>
                        <a:pt x="65" y="439"/>
                        <a:pt x="65" y="439"/>
                      </a:cubicBezTo>
                      <a:cubicBezTo>
                        <a:pt x="67" y="436"/>
                        <a:pt x="67" y="436"/>
                        <a:pt x="67" y="436"/>
                      </a:cubicBezTo>
                      <a:cubicBezTo>
                        <a:pt x="71" y="437"/>
                        <a:pt x="71" y="437"/>
                        <a:pt x="71" y="437"/>
                      </a:cubicBezTo>
                      <a:cubicBezTo>
                        <a:pt x="72" y="438"/>
                        <a:pt x="72" y="438"/>
                        <a:pt x="72" y="438"/>
                      </a:cubicBezTo>
                      <a:cubicBezTo>
                        <a:pt x="72" y="442"/>
                        <a:pt x="72" y="442"/>
                        <a:pt x="72" y="442"/>
                      </a:cubicBezTo>
                      <a:cubicBezTo>
                        <a:pt x="70" y="446"/>
                        <a:pt x="70" y="446"/>
                        <a:pt x="70" y="446"/>
                      </a:cubicBezTo>
                      <a:cubicBezTo>
                        <a:pt x="70" y="449"/>
                        <a:pt x="70" y="449"/>
                        <a:pt x="70" y="449"/>
                      </a:cubicBezTo>
                      <a:cubicBezTo>
                        <a:pt x="72" y="447"/>
                        <a:pt x="72" y="447"/>
                        <a:pt x="72" y="447"/>
                      </a:cubicBezTo>
                      <a:cubicBezTo>
                        <a:pt x="75" y="444"/>
                        <a:pt x="75" y="444"/>
                        <a:pt x="75" y="444"/>
                      </a:cubicBezTo>
                      <a:cubicBezTo>
                        <a:pt x="77" y="440"/>
                        <a:pt x="77" y="440"/>
                        <a:pt x="77" y="440"/>
                      </a:cubicBezTo>
                      <a:cubicBezTo>
                        <a:pt x="79" y="437"/>
                        <a:pt x="79" y="437"/>
                        <a:pt x="79" y="437"/>
                      </a:cubicBezTo>
                      <a:cubicBezTo>
                        <a:pt x="83" y="437"/>
                        <a:pt x="83" y="437"/>
                        <a:pt x="83" y="437"/>
                      </a:cubicBezTo>
                      <a:cubicBezTo>
                        <a:pt x="86" y="438"/>
                        <a:pt x="86" y="438"/>
                        <a:pt x="86" y="438"/>
                      </a:cubicBezTo>
                      <a:cubicBezTo>
                        <a:pt x="89" y="441"/>
                        <a:pt x="89" y="441"/>
                        <a:pt x="89" y="441"/>
                      </a:cubicBezTo>
                      <a:cubicBezTo>
                        <a:pt x="93" y="443"/>
                        <a:pt x="93" y="443"/>
                        <a:pt x="93" y="443"/>
                      </a:cubicBezTo>
                      <a:cubicBezTo>
                        <a:pt x="98" y="448"/>
                        <a:pt x="98" y="448"/>
                        <a:pt x="98" y="448"/>
                      </a:cubicBezTo>
                      <a:cubicBezTo>
                        <a:pt x="101" y="449"/>
                        <a:pt x="101" y="449"/>
                        <a:pt x="101" y="449"/>
                      </a:cubicBezTo>
                      <a:cubicBezTo>
                        <a:pt x="103" y="447"/>
                        <a:pt x="103" y="447"/>
                        <a:pt x="103" y="447"/>
                      </a:cubicBezTo>
                      <a:cubicBezTo>
                        <a:pt x="104" y="447"/>
                        <a:pt x="104" y="447"/>
                        <a:pt x="104" y="447"/>
                      </a:cubicBezTo>
                      <a:cubicBezTo>
                        <a:pt x="107" y="451"/>
                        <a:pt x="107" y="451"/>
                        <a:pt x="107" y="451"/>
                      </a:cubicBezTo>
                      <a:cubicBezTo>
                        <a:pt x="111" y="455"/>
                        <a:pt x="111" y="455"/>
                        <a:pt x="111" y="455"/>
                      </a:cubicBezTo>
                      <a:cubicBezTo>
                        <a:pt x="111" y="459"/>
                        <a:pt x="111" y="459"/>
                        <a:pt x="111" y="459"/>
                      </a:cubicBezTo>
                      <a:cubicBezTo>
                        <a:pt x="111" y="460"/>
                        <a:pt x="111" y="460"/>
                        <a:pt x="111" y="460"/>
                      </a:cubicBezTo>
                      <a:cubicBezTo>
                        <a:pt x="113" y="460"/>
                        <a:pt x="113" y="460"/>
                        <a:pt x="113" y="460"/>
                      </a:cubicBezTo>
                      <a:cubicBezTo>
                        <a:pt x="113" y="459"/>
                        <a:pt x="113" y="459"/>
                        <a:pt x="113" y="459"/>
                      </a:cubicBezTo>
                      <a:cubicBezTo>
                        <a:pt x="115" y="459"/>
                        <a:pt x="115" y="459"/>
                        <a:pt x="115" y="459"/>
                      </a:cubicBezTo>
                      <a:cubicBezTo>
                        <a:pt x="117" y="462"/>
                        <a:pt x="117" y="462"/>
                        <a:pt x="117" y="462"/>
                      </a:cubicBezTo>
                      <a:cubicBezTo>
                        <a:pt x="119" y="464"/>
                        <a:pt x="119" y="464"/>
                        <a:pt x="119" y="464"/>
                      </a:cubicBezTo>
                      <a:cubicBezTo>
                        <a:pt x="121" y="466"/>
                        <a:pt x="121" y="466"/>
                        <a:pt x="121" y="466"/>
                      </a:cubicBezTo>
                      <a:cubicBezTo>
                        <a:pt x="122" y="469"/>
                        <a:pt x="122" y="469"/>
                        <a:pt x="122" y="469"/>
                      </a:cubicBezTo>
                      <a:cubicBezTo>
                        <a:pt x="123" y="470"/>
                        <a:pt x="123" y="470"/>
                        <a:pt x="123" y="470"/>
                      </a:cubicBezTo>
                      <a:cubicBezTo>
                        <a:pt x="124" y="470"/>
                        <a:pt x="124" y="470"/>
                        <a:pt x="124" y="470"/>
                      </a:cubicBezTo>
                      <a:cubicBezTo>
                        <a:pt x="125" y="468"/>
                        <a:pt x="125" y="468"/>
                        <a:pt x="125" y="468"/>
                      </a:cubicBezTo>
                      <a:cubicBezTo>
                        <a:pt x="126" y="468"/>
                        <a:pt x="126" y="468"/>
                        <a:pt x="126" y="468"/>
                      </a:cubicBezTo>
                      <a:cubicBezTo>
                        <a:pt x="128" y="469"/>
                        <a:pt x="128" y="469"/>
                        <a:pt x="128" y="469"/>
                      </a:cubicBezTo>
                      <a:cubicBezTo>
                        <a:pt x="129" y="472"/>
                        <a:pt x="129" y="472"/>
                        <a:pt x="129" y="472"/>
                      </a:cubicBezTo>
                      <a:cubicBezTo>
                        <a:pt x="133" y="476"/>
                        <a:pt x="133" y="476"/>
                        <a:pt x="133" y="476"/>
                      </a:cubicBezTo>
                      <a:cubicBezTo>
                        <a:pt x="135" y="480"/>
                        <a:pt x="135" y="480"/>
                        <a:pt x="135" y="480"/>
                      </a:cubicBezTo>
                      <a:cubicBezTo>
                        <a:pt x="137" y="481"/>
                        <a:pt x="137" y="481"/>
                        <a:pt x="137" y="481"/>
                      </a:cubicBezTo>
                      <a:cubicBezTo>
                        <a:pt x="139" y="483"/>
                        <a:pt x="139" y="483"/>
                        <a:pt x="139" y="483"/>
                      </a:cubicBezTo>
                      <a:cubicBezTo>
                        <a:pt x="138" y="486"/>
                        <a:pt x="138" y="486"/>
                        <a:pt x="138" y="486"/>
                      </a:cubicBezTo>
                      <a:cubicBezTo>
                        <a:pt x="138" y="487"/>
                        <a:pt x="138" y="487"/>
                        <a:pt x="138" y="487"/>
                      </a:cubicBezTo>
                      <a:cubicBezTo>
                        <a:pt x="138" y="489"/>
                        <a:pt x="138" y="489"/>
                        <a:pt x="138" y="489"/>
                      </a:cubicBezTo>
                      <a:cubicBezTo>
                        <a:pt x="136" y="491"/>
                        <a:pt x="136" y="491"/>
                        <a:pt x="136" y="491"/>
                      </a:cubicBezTo>
                      <a:cubicBezTo>
                        <a:pt x="135" y="495"/>
                        <a:pt x="135" y="495"/>
                        <a:pt x="135" y="495"/>
                      </a:cubicBezTo>
                      <a:cubicBezTo>
                        <a:pt x="133" y="497"/>
                        <a:pt x="133" y="497"/>
                        <a:pt x="133" y="497"/>
                      </a:cubicBezTo>
                      <a:cubicBezTo>
                        <a:pt x="133" y="499"/>
                        <a:pt x="133" y="499"/>
                        <a:pt x="133" y="499"/>
                      </a:cubicBezTo>
                      <a:cubicBezTo>
                        <a:pt x="136" y="499"/>
                        <a:pt x="136" y="499"/>
                        <a:pt x="136" y="499"/>
                      </a:cubicBezTo>
                      <a:cubicBezTo>
                        <a:pt x="136" y="500"/>
                        <a:pt x="136" y="500"/>
                        <a:pt x="136" y="500"/>
                      </a:cubicBezTo>
                      <a:cubicBezTo>
                        <a:pt x="135" y="502"/>
                        <a:pt x="135" y="502"/>
                        <a:pt x="135" y="502"/>
                      </a:cubicBezTo>
                      <a:cubicBezTo>
                        <a:pt x="133" y="503"/>
                        <a:pt x="133" y="503"/>
                        <a:pt x="133" y="503"/>
                      </a:cubicBezTo>
                      <a:cubicBezTo>
                        <a:pt x="130" y="507"/>
                        <a:pt x="130" y="507"/>
                        <a:pt x="130" y="507"/>
                      </a:cubicBezTo>
                      <a:cubicBezTo>
                        <a:pt x="129" y="508"/>
                        <a:pt x="129" y="508"/>
                        <a:pt x="129" y="508"/>
                      </a:cubicBezTo>
                      <a:cubicBezTo>
                        <a:pt x="129" y="510"/>
                        <a:pt x="129" y="510"/>
                        <a:pt x="129" y="510"/>
                      </a:cubicBezTo>
                      <a:cubicBezTo>
                        <a:pt x="130" y="511"/>
                        <a:pt x="130" y="511"/>
                        <a:pt x="130" y="511"/>
                      </a:cubicBezTo>
                      <a:cubicBezTo>
                        <a:pt x="131" y="514"/>
                        <a:pt x="131" y="514"/>
                        <a:pt x="131" y="514"/>
                      </a:cubicBezTo>
                      <a:cubicBezTo>
                        <a:pt x="132" y="516"/>
                        <a:pt x="132" y="516"/>
                        <a:pt x="132" y="516"/>
                      </a:cubicBezTo>
                      <a:cubicBezTo>
                        <a:pt x="138" y="522"/>
                        <a:pt x="138" y="522"/>
                        <a:pt x="138" y="522"/>
                      </a:cubicBezTo>
                      <a:cubicBezTo>
                        <a:pt x="139" y="525"/>
                        <a:pt x="139" y="525"/>
                        <a:pt x="139" y="525"/>
                      </a:cubicBezTo>
                      <a:cubicBezTo>
                        <a:pt x="139" y="529"/>
                        <a:pt x="139" y="529"/>
                        <a:pt x="139" y="529"/>
                      </a:cubicBezTo>
                      <a:cubicBezTo>
                        <a:pt x="140" y="531"/>
                        <a:pt x="140" y="531"/>
                        <a:pt x="140" y="531"/>
                      </a:cubicBezTo>
                      <a:cubicBezTo>
                        <a:pt x="139" y="533"/>
                        <a:pt x="139" y="533"/>
                        <a:pt x="139" y="533"/>
                      </a:cubicBezTo>
                      <a:cubicBezTo>
                        <a:pt x="139" y="536"/>
                        <a:pt x="139" y="536"/>
                        <a:pt x="139" y="536"/>
                      </a:cubicBezTo>
                      <a:cubicBezTo>
                        <a:pt x="141" y="539"/>
                        <a:pt x="141" y="539"/>
                        <a:pt x="141" y="539"/>
                      </a:cubicBezTo>
                      <a:cubicBezTo>
                        <a:pt x="142" y="539"/>
                        <a:pt x="142" y="539"/>
                        <a:pt x="142" y="539"/>
                      </a:cubicBezTo>
                      <a:cubicBezTo>
                        <a:pt x="143" y="540"/>
                        <a:pt x="143" y="540"/>
                        <a:pt x="143" y="540"/>
                      </a:cubicBezTo>
                      <a:cubicBezTo>
                        <a:pt x="144" y="543"/>
                        <a:pt x="144" y="543"/>
                        <a:pt x="144" y="543"/>
                      </a:cubicBezTo>
                      <a:cubicBezTo>
                        <a:pt x="146" y="547"/>
                        <a:pt x="146" y="547"/>
                        <a:pt x="146" y="547"/>
                      </a:cubicBezTo>
                      <a:cubicBezTo>
                        <a:pt x="147" y="549"/>
                        <a:pt x="147" y="549"/>
                        <a:pt x="147" y="549"/>
                      </a:cubicBezTo>
                      <a:cubicBezTo>
                        <a:pt x="148" y="552"/>
                        <a:pt x="148" y="552"/>
                        <a:pt x="148" y="552"/>
                      </a:cubicBezTo>
                      <a:cubicBezTo>
                        <a:pt x="147" y="555"/>
                        <a:pt x="147" y="555"/>
                        <a:pt x="147" y="555"/>
                      </a:cubicBezTo>
                      <a:cubicBezTo>
                        <a:pt x="144" y="556"/>
                        <a:pt x="144" y="556"/>
                        <a:pt x="144" y="556"/>
                      </a:cubicBezTo>
                      <a:cubicBezTo>
                        <a:pt x="141" y="559"/>
                        <a:pt x="141" y="559"/>
                        <a:pt x="141" y="559"/>
                      </a:cubicBezTo>
                      <a:cubicBezTo>
                        <a:pt x="140" y="563"/>
                        <a:pt x="140" y="563"/>
                        <a:pt x="140" y="563"/>
                      </a:cubicBezTo>
                      <a:cubicBezTo>
                        <a:pt x="138" y="565"/>
                        <a:pt x="138" y="565"/>
                        <a:pt x="138" y="565"/>
                      </a:cubicBezTo>
                      <a:cubicBezTo>
                        <a:pt x="137" y="565"/>
                        <a:pt x="137" y="565"/>
                        <a:pt x="137" y="565"/>
                      </a:cubicBezTo>
                      <a:cubicBezTo>
                        <a:pt x="133" y="568"/>
                        <a:pt x="133" y="568"/>
                        <a:pt x="133" y="568"/>
                      </a:cubicBezTo>
                      <a:cubicBezTo>
                        <a:pt x="132" y="570"/>
                        <a:pt x="132" y="570"/>
                        <a:pt x="132" y="570"/>
                      </a:cubicBezTo>
                      <a:cubicBezTo>
                        <a:pt x="134" y="571"/>
                        <a:pt x="134" y="571"/>
                        <a:pt x="134" y="571"/>
                      </a:cubicBezTo>
                      <a:cubicBezTo>
                        <a:pt x="136" y="570"/>
                        <a:pt x="136" y="570"/>
                        <a:pt x="136" y="570"/>
                      </a:cubicBezTo>
                      <a:cubicBezTo>
                        <a:pt x="137" y="569"/>
                        <a:pt x="137" y="569"/>
                        <a:pt x="137" y="569"/>
                      </a:cubicBezTo>
                      <a:cubicBezTo>
                        <a:pt x="139" y="568"/>
                        <a:pt x="139" y="568"/>
                        <a:pt x="139" y="568"/>
                      </a:cubicBezTo>
                      <a:cubicBezTo>
                        <a:pt x="142" y="565"/>
                        <a:pt x="142" y="565"/>
                        <a:pt x="142" y="565"/>
                      </a:cubicBezTo>
                      <a:cubicBezTo>
                        <a:pt x="144" y="564"/>
                        <a:pt x="144" y="564"/>
                        <a:pt x="144" y="564"/>
                      </a:cubicBezTo>
                      <a:cubicBezTo>
                        <a:pt x="145" y="565"/>
                        <a:pt x="145" y="565"/>
                        <a:pt x="145" y="565"/>
                      </a:cubicBezTo>
                      <a:cubicBezTo>
                        <a:pt x="144" y="569"/>
                        <a:pt x="144" y="569"/>
                        <a:pt x="144" y="569"/>
                      </a:cubicBezTo>
                      <a:cubicBezTo>
                        <a:pt x="143" y="572"/>
                        <a:pt x="143" y="572"/>
                        <a:pt x="143" y="572"/>
                      </a:cubicBezTo>
                      <a:cubicBezTo>
                        <a:pt x="144" y="574"/>
                        <a:pt x="144" y="574"/>
                        <a:pt x="144" y="574"/>
                      </a:cubicBezTo>
                      <a:cubicBezTo>
                        <a:pt x="144" y="577"/>
                        <a:pt x="144" y="577"/>
                        <a:pt x="144" y="577"/>
                      </a:cubicBezTo>
                      <a:cubicBezTo>
                        <a:pt x="145" y="580"/>
                        <a:pt x="145" y="580"/>
                        <a:pt x="145" y="580"/>
                      </a:cubicBezTo>
                      <a:cubicBezTo>
                        <a:pt x="146" y="584"/>
                        <a:pt x="146" y="584"/>
                        <a:pt x="146" y="584"/>
                      </a:cubicBezTo>
                      <a:cubicBezTo>
                        <a:pt x="144" y="588"/>
                        <a:pt x="144" y="588"/>
                        <a:pt x="144" y="588"/>
                      </a:cubicBezTo>
                      <a:cubicBezTo>
                        <a:pt x="144" y="590"/>
                        <a:pt x="144" y="590"/>
                        <a:pt x="144" y="590"/>
                      </a:cubicBezTo>
                      <a:cubicBezTo>
                        <a:pt x="145" y="593"/>
                        <a:pt x="145" y="593"/>
                        <a:pt x="145" y="593"/>
                      </a:cubicBezTo>
                      <a:cubicBezTo>
                        <a:pt x="145" y="594"/>
                        <a:pt x="145" y="594"/>
                        <a:pt x="145" y="594"/>
                      </a:cubicBezTo>
                      <a:cubicBezTo>
                        <a:pt x="144" y="592"/>
                        <a:pt x="144" y="592"/>
                        <a:pt x="144" y="592"/>
                      </a:cubicBezTo>
                      <a:cubicBezTo>
                        <a:pt x="142" y="593"/>
                        <a:pt x="142" y="593"/>
                        <a:pt x="142" y="593"/>
                      </a:cubicBezTo>
                      <a:cubicBezTo>
                        <a:pt x="143" y="597"/>
                        <a:pt x="143" y="597"/>
                        <a:pt x="143" y="597"/>
                      </a:cubicBezTo>
                      <a:cubicBezTo>
                        <a:pt x="145" y="601"/>
                        <a:pt x="145" y="601"/>
                        <a:pt x="145" y="601"/>
                      </a:cubicBezTo>
                      <a:cubicBezTo>
                        <a:pt x="145" y="602"/>
                        <a:pt x="145" y="602"/>
                        <a:pt x="145" y="602"/>
                      </a:cubicBezTo>
                      <a:cubicBezTo>
                        <a:pt x="144" y="602"/>
                        <a:pt x="144" y="602"/>
                        <a:pt x="144" y="602"/>
                      </a:cubicBezTo>
                      <a:cubicBezTo>
                        <a:pt x="142" y="604"/>
                        <a:pt x="142" y="604"/>
                        <a:pt x="142" y="604"/>
                      </a:cubicBezTo>
                      <a:cubicBezTo>
                        <a:pt x="143" y="607"/>
                        <a:pt x="143" y="607"/>
                        <a:pt x="143" y="607"/>
                      </a:cubicBezTo>
                      <a:cubicBezTo>
                        <a:pt x="144" y="608"/>
                        <a:pt x="144" y="608"/>
                        <a:pt x="144" y="608"/>
                      </a:cubicBezTo>
                      <a:cubicBezTo>
                        <a:pt x="146" y="609"/>
                        <a:pt x="146" y="609"/>
                        <a:pt x="146" y="609"/>
                      </a:cubicBezTo>
                      <a:cubicBezTo>
                        <a:pt x="147" y="611"/>
                        <a:pt x="147" y="611"/>
                        <a:pt x="147" y="611"/>
                      </a:cubicBezTo>
                      <a:cubicBezTo>
                        <a:pt x="148" y="613"/>
                        <a:pt x="148" y="613"/>
                        <a:pt x="148" y="613"/>
                      </a:cubicBezTo>
                      <a:cubicBezTo>
                        <a:pt x="146" y="615"/>
                        <a:pt x="146" y="615"/>
                        <a:pt x="146" y="615"/>
                      </a:cubicBezTo>
                      <a:cubicBezTo>
                        <a:pt x="146" y="619"/>
                        <a:pt x="146" y="619"/>
                        <a:pt x="146" y="619"/>
                      </a:cubicBezTo>
                      <a:cubicBezTo>
                        <a:pt x="143" y="621"/>
                        <a:pt x="143" y="621"/>
                        <a:pt x="143" y="621"/>
                      </a:cubicBezTo>
                      <a:cubicBezTo>
                        <a:pt x="142" y="623"/>
                        <a:pt x="142" y="623"/>
                        <a:pt x="142" y="623"/>
                      </a:cubicBezTo>
                      <a:cubicBezTo>
                        <a:pt x="139" y="622"/>
                        <a:pt x="139" y="622"/>
                        <a:pt x="139" y="622"/>
                      </a:cubicBezTo>
                      <a:cubicBezTo>
                        <a:pt x="138" y="623"/>
                        <a:pt x="138" y="623"/>
                        <a:pt x="138" y="623"/>
                      </a:cubicBezTo>
                      <a:cubicBezTo>
                        <a:pt x="137" y="625"/>
                        <a:pt x="137" y="625"/>
                        <a:pt x="137" y="625"/>
                      </a:cubicBezTo>
                      <a:cubicBezTo>
                        <a:pt x="140" y="626"/>
                        <a:pt x="140" y="626"/>
                        <a:pt x="140" y="626"/>
                      </a:cubicBezTo>
                      <a:cubicBezTo>
                        <a:pt x="142" y="626"/>
                        <a:pt x="142" y="626"/>
                        <a:pt x="142" y="626"/>
                      </a:cubicBezTo>
                      <a:cubicBezTo>
                        <a:pt x="144" y="628"/>
                        <a:pt x="144" y="628"/>
                        <a:pt x="144" y="628"/>
                      </a:cubicBezTo>
                      <a:cubicBezTo>
                        <a:pt x="146" y="628"/>
                        <a:pt x="146" y="628"/>
                        <a:pt x="146" y="628"/>
                      </a:cubicBezTo>
                      <a:cubicBezTo>
                        <a:pt x="148" y="629"/>
                        <a:pt x="148" y="629"/>
                        <a:pt x="148" y="629"/>
                      </a:cubicBezTo>
                      <a:cubicBezTo>
                        <a:pt x="149" y="631"/>
                        <a:pt x="149" y="631"/>
                        <a:pt x="149" y="631"/>
                      </a:cubicBezTo>
                      <a:cubicBezTo>
                        <a:pt x="148" y="636"/>
                        <a:pt x="148" y="636"/>
                        <a:pt x="148" y="636"/>
                      </a:cubicBezTo>
                      <a:cubicBezTo>
                        <a:pt x="149" y="640"/>
                        <a:pt x="149" y="640"/>
                        <a:pt x="149" y="640"/>
                      </a:cubicBezTo>
                      <a:cubicBezTo>
                        <a:pt x="146" y="644"/>
                        <a:pt x="146" y="644"/>
                        <a:pt x="146" y="644"/>
                      </a:cubicBezTo>
                      <a:cubicBezTo>
                        <a:pt x="145" y="647"/>
                        <a:pt x="145" y="647"/>
                        <a:pt x="145" y="647"/>
                      </a:cubicBezTo>
                      <a:cubicBezTo>
                        <a:pt x="147" y="649"/>
                        <a:pt x="147" y="649"/>
                        <a:pt x="147" y="649"/>
                      </a:cubicBezTo>
                      <a:cubicBezTo>
                        <a:pt x="145" y="655"/>
                        <a:pt x="145" y="655"/>
                        <a:pt x="145" y="655"/>
                      </a:cubicBezTo>
                      <a:cubicBezTo>
                        <a:pt x="141" y="657"/>
                        <a:pt x="141" y="657"/>
                        <a:pt x="141" y="657"/>
                      </a:cubicBezTo>
                      <a:cubicBezTo>
                        <a:pt x="139" y="657"/>
                        <a:pt x="139" y="657"/>
                        <a:pt x="139" y="657"/>
                      </a:cubicBezTo>
                      <a:cubicBezTo>
                        <a:pt x="137" y="655"/>
                        <a:pt x="137" y="655"/>
                        <a:pt x="137" y="655"/>
                      </a:cubicBezTo>
                      <a:cubicBezTo>
                        <a:pt x="135" y="655"/>
                        <a:pt x="135" y="655"/>
                        <a:pt x="135" y="655"/>
                      </a:cubicBezTo>
                      <a:cubicBezTo>
                        <a:pt x="131" y="658"/>
                        <a:pt x="131" y="658"/>
                        <a:pt x="131" y="658"/>
                      </a:cubicBezTo>
                      <a:cubicBezTo>
                        <a:pt x="130" y="661"/>
                        <a:pt x="130" y="661"/>
                        <a:pt x="130" y="661"/>
                      </a:cubicBezTo>
                      <a:cubicBezTo>
                        <a:pt x="131" y="662"/>
                        <a:pt x="131" y="662"/>
                        <a:pt x="131" y="662"/>
                      </a:cubicBezTo>
                      <a:cubicBezTo>
                        <a:pt x="132" y="662"/>
                        <a:pt x="132" y="662"/>
                        <a:pt x="132" y="662"/>
                      </a:cubicBezTo>
                      <a:cubicBezTo>
                        <a:pt x="137" y="662"/>
                        <a:pt x="137" y="662"/>
                        <a:pt x="137" y="662"/>
                      </a:cubicBezTo>
                      <a:cubicBezTo>
                        <a:pt x="139" y="661"/>
                        <a:pt x="139" y="661"/>
                        <a:pt x="139" y="661"/>
                      </a:cubicBezTo>
                      <a:cubicBezTo>
                        <a:pt x="140" y="660"/>
                        <a:pt x="140" y="660"/>
                        <a:pt x="140" y="660"/>
                      </a:cubicBezTo>
                      <a:cubicBezTo>
                        <a:pt x="141" y="661"/>
                        <a:pt x="141" y="661"/>
                        <a:pt x="141" y="661"/>
                      </a:cubicBezTo>
                      <a:cubicBezTo>
                        <a:pt x="141" y="663"/>
                        <a:pt x="141" y="663"/>
                        <a:pt x="141" y="663"/>
                      </a:cubicBezTo>
                      <a:cubicBezTo>
                        <a:pt x="142" y="664"/>
                        <a:pt x="142" y="664"/>
                        <a:pt x="142" y="664"/>
                      </a:cubicBezTo>
                      <a:cubicBezTo>
                        <a:pt x="141" y="665"/>
                        <a:pt x="141" y="665"/>
                        <a:pt x="141" y="665"/>
                      </a:cubicBezTo>
                      <a:cubicBezTo>
                        <a:pt x="139" y="666"/>
                        <a:pt x="139" y="666"/>
                        <a:pt x="139" y="666"/>
                      </a:cubicBezTo>
                      <a:cubicBezTo>
                        <a:pt x="138" y="667"/>
                        <a:pt x="138" y="667"/>
                        <a:pt x="138" y="667"/>
                      </a:cubicBezTo>
                      <a:cubicBezTo>
                        <a:pt x="138" y="670"/>
                        <a:pt x="138" y="670"/>
                        <a:pt x="138" y="670"/>
                      </a:cubicBezTo>
                      <a:cubicBezTo>
                        <a:pt x="137" y="671"/>
                        <a:pt x="137" y="671"/>
                        <a:pt x="137" y="671"/>
                      </a:cubicBezTo>
                      <a:cubicBezTo>
                        <a:pt x="135" y="672"/>
                        <a:pt x="135" y="672"/>
                        <a:pt x="135" y="672"/>
                      </a:cubicBezTo>
                      <a:cubicBezTo>
                        <a:pt x="131" y="676"/>
                        <a:pt x="131" y="676"/>
                        <a:pt x="131" y="676"/>
                      </a:cubicBezTo>
                      <a:cubicBezTo>
                        <a:pt x="128" y="678"/>
                        <a:pt x="128" y="678"/>
                        <a:pt x="128" y="678"/>
                      </a:cubicBezTo>
                      <a:cubicBezTo>
                        <a:pt x="128" y="680"/>
                        <a:pt x="128" y="680"/>
                        <a:pt x="128" y="680"/>
                      </a:cubicBezTo>
                      <a:cubicBezTo>
                        <a:pt x="131" y="683"/>
                        <a:pt x="131" y="683"/>
                        <a:pt x="131" y="683"/>
                      </a:cubicBezTo>
                      <a:cubicBezTo>
                        <a:pt x="135" y="684"/>
                        <a:pt x="135" y="684"/>
                        <a:pt x="135" y="684"/>
                      </a:cubicBezTo>
                      <a:cubicBezTo>
                        <a:pt x="138" y="683"/>
                        <a:pt x="138" y="683"/>
                        <a:pt x="138" y="683"/>
                      </a:cubicBezTo>
                      <a:cubicBezTo>
                        <a:pt x="141" y="679"/>
                        <a:pt x="141" y="679"/>
                        <a:pt x="141" y="679"/>
                      </a:cubicBezTo>
                      <a:cubicBezTo>
                        <a:pt x="143" y="675"/>
                        <a:pt x="143" y="675"/>
                        <a:pt x="143" y="675"/>
                      </a:cubicBezTo>
                      <a:cubicBezTo>
                        <a:pt x="145" y="674"/>
                        <a:pt x="145" y="674"/>
                        <a:pt x="145" y="674"/>
                      </a:cubicBezTo>
                      <a:cubicBezTo>
                        <a:pt x="146" y="674"/>
                        <a:pt x="146" y="674"/>
                        <a:pt x="146" y="674"/>
                      </a:cubicBezTo>
                      <a:cubicBezTo>
                        <a:pt x="146" y="676"/>
                        <a:pt x="146" y="676"/>
                        <a:pt x="146" y="676"/>
                      </a:cubicBezTo>
                      <a:cubicBezTo>
                        <a:pt x="143" y="682"/>
                        <a:pt x="143" y="682"/>
                        <a:pt x="143" y="682"/>
                      </a:cubicBezTo>
                      <a:cubicBezTo>
                        <a:pt x="139" y="687"/>
                        <a:pt x="139" y="687"/>
                        <a:pt x="139" y="687"/>
                      </a:cubicBezTo>
                      <a:cubicBezTo>
                        <a:pt x="137" y="687"/>
                        <a:pt x="137" y="687"/>
                        <a:pt x="137" y="687"/>
                      </a:cubicBezTo>
                      <a:cubicBezTo>
                        <a:pt x="132" y="687"/>
                        <a:pt x="132" y="687"/>
                        <a:pt x="132" y="687"/>
                      </a:cubicBezTo>
                      <a:cubicBezTo>
                        <a:pt x="130" y="688"/>
                        <a:pt x="130" y="688"/>
                        <a:pt x="130" y="688"/>
                      </a:cubicBezTo>
                      <a:cubicBezTo>
                        <a:pt x="128" y="691"/>
                        <a:pt x="128" y="691"/>
                        <a:pt x="128" y="691"/>
                      </a:cubicBezTo>
                      <a:cubicBezTo>
                        <a:pt x="127" y="690"/>
                        <a:pt x="127" y="690"/>
                        <a:pt x="127" y="690"/>
                      </a:cubicBezTo>
                      <a:cubicBezTo>
                        <a:pt x="124" y="691"/>
                        <a:pt x="124" y="691"/>
                        <a:pt x="124" y="691"/>
                      </a:cubicBezTo>
                      <a:cubicBezTo>
                        <a:pt x="121" y="693"/>
                        <a:pt x="121" y="693"/>
                        <a:pt x="121" y="693"/>
                      </a:cubicBezTo>
                      <a:cubicBezTo>
                        <a:pt x="121" y="695"/>
                        <a:pt x="121" y="695"/>
                        <a:pt x="121" y="695"/>
                      </a:cubicBezTo>
                      <a:cubicBezTo>
                        <a:pt x="122" y="697"/>
                        <a:pt x="122" y="697"/>
                        <a:pt x="122" y="697"/>
                      </a:cubicBezTo>
                      <a:cubicBezTo>
                        <a:pt x="123" y="699"/>
                        <a:pt x="123" y="699"/>
                        <a:pt x="123" y="699"/>
                      </a:cubicBezTo>
                      <a:cubicBezTo>
                        <a:pt x="122" y="702"/>
                        <a:pt x="122" y="702"/>
                        <a:pt x="122" y="702"/>
                      </a:cubicBezTo>
                      <a:cubicBezTo>
                        <a:pt x="123" y="707"/>
                        <a:pt x="123" y="707"/>
                        <a:pt x="123" y="707"/>
                      </a:cubicBezTo>
                      <a:cubicBezTo>
                        <a:pt x="124" y="707"/>
                        <a:pt x="124" y="707"/>
                        <a:pt x="124" y="707"/>
                      </a:cubicBezTo>
                      <a:cubicBezTo>
                        <a:pt x="125" y="704"/>
                        <a:pt x="125" y="704"/>
                        <a:pt x="125" y="704"/>
                      </a:cubicBezTo>
                      <a:cubicBezTo>
                        <a:pt x="127" y="704"/>
                        <a:pt x="127" y="704"/>
                        <a:pt x="127" y="704"/>
                      </a:cubicBezTo>
                      <a:cubicBezTo>
                        <a:pt x="128" y="706"/>
                        <a:pt x="128" y="706"/>
                        <a:pt x="128" y="706"/>
                      </a:cubicBezTo>
                      <a:cubicBezTo>
                        <a:pt x="129" y="708"/>
                        <a:pt x="129" y="708"/>
                        <a:pt x="129" y="708"/>
                      </a:cubicBezTo>
                      <a:cubicBezTo>
                        <a:pt x="129" y="711"/>
                        <a:pt x="129" y="711"/>
                        <a:pt x="129" y="711"/>
                      </a:cubicBezTo>
                      <a:cubicBezTo>
                        <a:pt x="130" y="713"/>
                        <a:pt x="130" y="713"/>
                        <a:pt x="130" y="713"/>
                      </a:cubicBezTo>
                      <a:cubicBezTo>
                        <a:pt x="135" y="714"/>
                        <a:pt x="135" y="714"/>
                        <a:pt x="135" y="714"/>
                      </a:cubicBezTo>
                      <a:cubicBezTo>
                        <a:pt x="137" y="711"/>
                        <a:pt x="137" y="711"/>
                        <a:pt x="137" y="711"/>
                      </a:cubicBezTo>
                      <a:cubicBezTo>
                        <a:pt x="138" y="710"/>
                        <a:pt x="138" y="710"/>
                        <a:pt x="138" y="710"/>
                      </a:cubicBezTo>
                      <a:cubicBezTo>
                        <a:pt x="140" y="710"/>
                        <a:pt x="140" y="710"/>
                        <a:pt x="140" y="710"/>
                      </a:cubicBezTo>
                      <a:cubicBezTo>
                        <a:pt x="143" y="710"/>
                        <a:pt x="143" y="710"/>
                        <a:pt x="143" y="710"/>
                      </a:cubicBezTo>
                      <a:cubicBezTo>
                        <a:pt x="144" y="707"/>
                        <a:pt x="144" y="707"/>
                        <a:pt x="144" y="707"/>
                      </a:cubicBezTo>
                      <a:cubicBezTo>
                        <a:pt x="145" y="704"/>
                        <a:pt x="145" y="704"/>
                        <a:pt x="145" y="704"/>
                      </a:cubicBezTo>
                      <a:cubicBezTo>
                        <a:pt x="145" y="701"/>
                        <a:pt x="145" y="701"/>
                        <a:pt x="145" y="701"/>
                      </a:cubicBezTo>
                      <a:cubicBezTo>
                        <a:pt x="143" y="700"/>
                        <a:pt x="143" y="700"/>
                        <a:pt x="143" y="700"/>
                      </a:cubicBezTo>
                      <a:cubicBezTo>
                        <a:pt x="145" y="700"/>
                        <a:pt x="145" y="700"/>
                        <a:pt x="145" y="700"/>
                      </a:cubicBezTo>
                      <a:cubicBezTo>
                        <a:pt x="146" y="700"/>
                        <a:pt x="146" y="700"/>
                        <a:pt x="146" y="700"/>
                      </a:cubicBezTo>
                      <a:cubicBezTo>
                        <a:pt x="147" y="698"/>
                        <a:pt x="147" y="698"/>
                        <a:pt x="147" y="698"/>
                      </a:cubicBezTo>
                      <a:cubicBezTo>
                        <a:pt x="147" y="692"/>
                        <a:pt x="147" y="692"/>
                        <a:pt x="147" y="692"/>
                      </a:cubicBezTo>
                      <a:cubicBezTo>
                        <a:pt x="149" y="695"/>
                        <a:pt x="149" y="695"/>
                        <a:pt x="149" y="695"/>
                      </a:cubicBezTo>
                      <a:cubicBezTo>
                        <a:pt x="151" y="698"/>
                        <a:pt x="151" y="698"/>
                        <a:pt x="151" y="698"/>
                      </a:cubicBezTo>
                      <a:cubicBezTo>
                        <a:pt x="152" y="697"/>
                        <a:pt x="152" y="697"/>
                        <a:pt x="152" y="697"/>
                      </a:cubicBezTo>
                      <a:cubicBezTo>
                        <a:pt x="154" y="694"/>
                        <a:pt x="154" y="694"/>
                        <a:pt x="154" y="694"/>
                      </a:cubicBezTo>
                      <a:cubicBezTo>
                        <a:pt x="154" y="688"/>
                        <a:pt x="154" y="688"/>
                        <a:pt x="154" y="688"/>
                      </a:cubicBezTo>
                      <a:cubicBezTo>
                        <a:pt x="154" y="684"/>
                        <a:pt x="154" y="684"/>
                        <a:pt x="154" y="684"/>
                      </a:cubicBezTo>
                      <a:cubicBezTo>
                        <a:pt x="153" y="680"/>
                        <a:pt x="153" y="680"/>
                        <a:pt x="153" y="680"/>
                      </a:cubicBezTo>
                      <a:cubicBezTo>
                        <a:pt x="152" y="677"/>
                        <a:pt x="152" y="677"/>
                        <a:pt x="152" y="677"/>
                      </a:cubicBezTo>
                      <a:cubicBezTo>
                        <a:pt x="153" y="670"/>
                        <a:pt x="153" y="670"/>
                        <a:pt x="153" y="670"/>
                      </a:cubicBezTo>
                      <a:cubicBezTo>
                        <a:pt x="154" y="668"/>
                        <a:pt x="154" y="668"/>
                        <a:pt x="154" y="668"/>
                      </a:cubicBezTo>
                      <a:cubicBezTo>
                        <a:pt x="155" y="668"/>
                        <a:pt x="155" y="668"/>
                        <a:pt x="155" y="668"/>
                      </a:cubicBezTo>
                      <a:cubicBezTo>
                        <a:pt x="155" y="671"/>
                        <a:pt x="155" y="671"/>
                        <a:pt x="155" y="671"/>
                      </a:cubicBezTo>
                      <a:cubicBezTo>
                        <a:pt x="154" y="674"/>
                        <a:pt x="154" y="674"/>
                        <a:pt x="154" y="674"/>
                      </a:cubicBezTo>
                      <a:cubicBezTo>
                        <a:pt x="154" y="678"/>
                        <a:pt x="154" y="678"/>
                        <a:pt x="154" y="678"/>
                      </a:cubicBezTo>
                      <a:cubicBezTo>
                        <a:pt x="156" y="683"/>
                        <a:pt x="156" y="683"/>
                        <a:pt x="156" y="683"/>
                      </a:cubicBezTo>
                      <a:cubicBezTo>
                        <a:pt x="156" y="688"/>
                        <a:pt x="156" y="688"/>
                        <a:pt x="156" y="688"/>
                      </a:cubicBezTo>
                      <a:cubicBezTo>
                        <a:pt x="155" y="693"/>
                        <a:pt x="155" y="693"/>
                        <a:pt x="155" y="693"/>
                      </a:cubicBezTo>
                      <a:cubicBezTo>
                        <a:pt x="154" y="697"/>
                        <a:pt x="154" y="697"/>
                        <a:pt x="154" y="697"/>
                      </a:cubicBezTo>
                      <a:cubicBezTo>
                        <a:pt x="156" y="697"/>
                        <a:pt x="156" y="697"/>
                        <a:pt x="156" y="697"/>
                      </a:cubicBezTo>
                      <a:cubicBezTo>
                        <a:pt x="157" y="696"/>
                        <a:pt x="157" y="696"/>
                        <a:pt x="157" y="696"/>
                      </a:cubicBezTo>
                      <a:cubicBezTo>
                        <a:pt x="159" y="693"/>
                        <a:pt x="159" y="693"/>
                        <a:pt x="159" y="693"/>
                      </a:cubicBezTo>
                      <a:cubicBezTo>
                        <a:pt x="160" y="691"/>
                        <a:pt x="160" y="691"/>
                        <a:pt x="160" y="691"/>
                      </a:cubicBezTo>
                      <a:cubicBezTo>
                        <a:pt x="163" y="686"/>
                        <a:pt x="163" y="686"/>
                        <a:pt x="163" y="686"/>
                      </a:cubicBezTo>
                      <a:cubicBezTo>
                        <a:pt x="166" y="685"/>
                        <a:pt x="166" y="685"/>
                        <a:pt x="166" y="685"/>
                      </a:cubicBezTo>
                      <a:cubicBezTo>
                        <a:pt x="167" y="685"/>
                        <a:pt x="167" y="685"/>
                        <a:pt x="167" y="685"/>
                      </a:cubicBezTo>
                      <a:cubicBezTo>
                        <a:pt x="167" y="686"/>
                        <a:pt x="167" y="686"/>
                        <a:pt x="167" y="686"/>
                      </a:cubicBezTo>
                      <a:cubicBezTo>
                        <a:pt x="165" y="688"/>
                        <a:pt x="165" y="688"/>
                        <a:pt x="165" y="688"/>
                      </a:cubicBezTo>
                      <a:cubicBezTo>
                        <a:pt x="163" y="689"/>
                        <a:pt x="163" y="689"/>
                        <a:pt x="163" y="689"/>
                      </a:cubicBezTo>
                      <a:cubicBezTo>
                        <a:pt x="161" y="694"/>
                        <a:pt x="161" y="694"/>
                        <a:pt x="161" y="694"/>
                      </a:cubicBezTo>
                      <a:cubicBezTo>
                        <a:pt x="159" y="697"/>
                        <a:pt x="159" y="697"/>
                        <a:pt x="159" y="697"/>
                      </a:cubicBezTo>
                      <a:cubicBezTo>
                        <a:pt x="159" y="698"/>
                        <a:pt x="159" y="698"/>
                        <a:pt x="159" y="698"/>
                      </a:cubicBezTo>
                      <a:cubicBezTo>
                        <a:pt x="160" y="699"/>
                        <a:pt x="160" y="699"/>
                        <a:pt x="160" y="699"/>
                      </a:cubicBezTo>
                      <a:cubicBezTo>
                        <a:pt x="163" y="699"/>
                        <a:pt x="163" y="699"/>
                        <a:pt x="163" y="699"/>
                      </a:cubicBezTo>
                      <a:cubicBezTo>
                        <a:pt x="165" y="700"/>
                        <a:pt x="165" y="700"/>
                        <a:pt x="165" y="700"/>
                      </a:cubicBezTo>
                      <a:cubicBezTo>
                        <a:pt x="166" y="703"/>
                        <a:pt x="166" y="703"/>
                        <a:pt x="166" y="703"/>
                      </a:cubicBezTo>
                      <a:cubicBezTo>
                        <a:pt x="168" y="704"/>
                        <a:pt x="168" y="704"/>
                        <a:pt x="168" y="704"/>
                      </a:cubicBezTo>
                      <a:cubicBezTo>
                        <a:pt x="171" y="702"/>
                        <a:pt x="171" y="702"/>
                        <a:pt x="171" y="702"/>
                      </a:cubicBezTo>
                      <a:cubicBezTo>
                        <a:pt x="174" y="700"/>
                        <a:pt x="174" y="700"/>
                        <a:pt x="174" y="700"/>
                      </a:cubicBezTo>
                      <a:cubicBezTo>
                        <a:pt x="176" y="700"/>
                        <a:pt x="176" y="700"/>
                        <a:pt x="176" y="700"/>
                      </a:cubicBezTo>
                      <a:cubicBezTo>
                        <a:pt x="177" y="701"/>
                        <a:pt x="177" y="701"/>
                        <a:pt x="177" y="701"/>
                      </a:cubicBezTo>
                      <a:cubicBezTo>
                        <a:pt x="176" y="703"/>
                        <a:pt x="176" y="703"/>
                        <a:pt x="176" y="703"/>
                      </a:cubicBezTo>
                      <a:cubicBezTo>
                        <a:pt x="172" y="706"/>
                        <a:pt x="172" y="706"/>
                        <a:pt x="172" y="706"/>
                      </a:cubicBezTo>
                      <a:cubicBezTo>
                        <a:pt x="167" y="707"/>
                        <a:pt x="167" y="707"/>
                        <a:pt x="167" y="707"/>
                      </a:cubicBezTo>
                      <a:cubicBezTo>
                        <a:pt x="162" y="708"/>
                        <a:pt x="162" y="708"/>
                        <a:pt x="162" y="708"/>
                      </a:cubicBezTo>
                      <a:cubicBezTo>
                        <a:pt x="160" y="710"/>
                        <a:pt x="160" y="710"/>
                        <a:pt x="160" y="710"/>
                      </a:cubicBezTo>
                      <a:cubicBezTo>
                        <a:pt x="158" y="712"/>
                        <a:pt x="158" y="712"/>
                        <a:pt x="158" y="712"/>
                      </a:cubicBezTo>
                      <a:cubicBezTo>
                        <a:pt x="158" y="714"/>
                        <a:pt x="158" y="714"/>
                        <a:pt x="158" y="714"/>
                      </a:cubicBezTo>
                      <a:cubicBezTo>
                        <a:pt x="159" y="715"/>
                        <a:pt x="159" y="715"/>
                        <a:pt x="159" y="715"/>
                      </a:cubicBezTo>
                      <a:cubicBezTo>
                        <a:pt x="163" y="714"/>
                        <a:pt x="163" y="714"/>
                        <a:pt x="163" y="714"/>
                      </a:cubicBezTo>
                      <a:cubicBezTo>
                        <a:pt x="165" y="715"/>
                        <a:pt x="165" y="715"/>
                        <a:pt x="165" y="715"/>
                      </a:cubicBezTo>
                      <a:cubicBezTo>
                        <a:pt x="167" y="715"/>
                        <a:pt x="167" y="715"/>
                        <a:pt x="167" y="715"/>
                      </a:cubicBezTo>
                      <a:cubicBezTo>
                        <a:pt x="169" y="712"/>
                        <a:pt x="169" y="712"/>
                        <a:pt x="169" y="712"/>
                      </a:cubicBezTo>
                      <a:cubicBezTo>
                        <a:pt x="174" y="713"/>
                        <a:pt x="174" y="713"/>
                        <a:pt x="174" y="713"/>
                      </a:cubicBezTo>
                      <a:cubicBezTo>
                        <a:pt x="174" y="713"/>
                        <a:pt x="174" y="713"/>
                        <a:pt x="174" y="713"/>
                      </a:cubicBezTo>
                      <a:cubicBezTo>
                        <a:pt x="173" y="715"/>
                        <a:pt x="173" y="715"/>
                        <a:pt x="173" y="715"/>
                      </a:cubicBezTo>
                      <a:cubicBezTo>
                        <a:pt x="171" y="716"/>
                        <a:pt x="171" y="716"/>
                        <a:pt x="171" y="716"/>
                      </a:cubicBezTo>
                      <a:cubicBezTo>
                        <a:pt x="168" y="718"/>
                        <a:pt x="168" y="718"/>
                        <a:pt x="168" y="718"/>
                      </a:cubicBezTo>
                      <a:cubicBezTo>
                        <a:pt x="166" y="718"/>
                        <a:pt x="166" y="718"/>
                        <a:pt x="166" y="718"/>
                      </a:cubicBezTo>
                      <a:cubicBezTo>
                        <a:pt x="165" y="718"/>
                        <a:pt x="165" y="718"/>
                        <a:pt x="165" y="718"/>
                      </a:cubicBezTo>
                      <a:cubicBezTo>
                        <a:pt x="163" y="721"/>
                        <a:pt x="163" y="721"/>
                        <a:pt x="163" y="721"/>
                      </a:cubicBezTo>
                      <a:cubicBezTo>
                        <a:pt x="162" y="724"/>
                        <a:pt x="162" y="724"/>
                        <a:pt x="162" y="724"/>
                      </a:cubicBezTo>
                      <a:cubicBezTo>
                        <a:pt x="160" y="726"/>
                        <a:pt x="160" y="726"/>
                        <a:pt x="160" y="726"/>
                      </a:cubicBezTo>
                      <a:cubicBezTo>
                        <a:pt x="160" y="728"/>
                        <a:pt x="160" y="728"/>
                        <a:pt x="160" y="728"/>
                      </a:cubicBezTo>
                      <a:cubicBezTo>
                        <a:pt x="161" y="728"/>
                        <a:pt x="161" y="728"/>
                        <a:pt x="161" y="728"/>
                      </a:cubicBezTo>
                      <a:cubicBezTo>
                        <a:pt x="166" y="723"/>
                        <a:pt x="166" y="723"/>
                        <a:pt x="166" y="723"/>
                      </a:cubicBezTo>
                      <a:cubicBezTo>
                        <a:pt x="168" y="722"/>
                        <a:pt x="168" y="722"/>
                        <a:pt x="168" y="722"/>
                      </a:cubicBezTo>
                      <a:cubicBezTo>
                        <a:pt x="170" y="722"/>
                        <a:pt x="170" y="722"/>
                        <a:pt x="170" y="722"/>
                      </a:cubicBezTo>
                      <a:cubicBezTo>
                        <a:pt x="171" y="721"/>
                        <a:pt x="171" y="721"/>
                        <a:pt x="171" y="721"/>
                      </a:cubicBezTo>
                      <a:cubicBezTo>
                        <a:pt x="172" y="720"/>
                        <a:pt x="172" y="720"/>
                        <a:pt x="172" y="720"/>
                      </a:cubicBezTo>
                      <a:cubicBezTo>
                        <a:pt x="174" y="723"/>
                        <a:pt x="174" y="723"/>
                        <a:pt x="174" y="723"/>
                      </a:cubicBezTo>
                      <a:cubicBezTo>
                        <a:pt x="175" y="725"/>
                        <a:pt x="175" y="725"/>
                        <a:pt x="175" y="725"/>
                      </a:cubicBezTo>
                      <a:cubicBezTo>
                        <a:pt x="174" y="727"/>
                        <a:pt x="174" y="727"/>
                        <a:pt x="174" y="727"/>
                      </a:cubicBezTo>
                      <a:cubicBezTo>
                        <a:pt x="172" y="725"/>
                        <a:pt x="172" y="725"/>
                        <a:pt x="172" y="725"/>
                      </a:cubicBezTo>
                      <a:cubicBezTo>
                        <a:pt x="170" y="725"/>
                        <a:pt x="170" y="725"/>
                        <a:pt x="170" y="725"/>
                      </a:cubicBezTo>
                      <a:cubicBezTo>
                        <a:pt x="166" y="727"/>
                        <a:pt x="166" y="727"/>
                        <a:pt x="166" y="727"/>
                      </a:cubicBezTo>
                      <a:cubicBezTo>
                        <a:pt x="165" y="729"/>
                        <a:pt x="165" y="729"/>
                        <a:pt x="165" y="729"/>
                      </a:cubicBezTo>
                      <a:cubicBezTo>
                        <a:pt x="166" y="731"/>
                        <a:pt x="166" y="731"/>
                        <a:pt x="166" y="731"/>
                      </a:cubicBezTo>
                      <a:cubicBezTo>
                        <a:pt x="169" y="732"/>
                        <a:pt x="169" y="732"/>
                        <a:pt x="169" y="732"/>
                      </a:cubicBezTo>
                      <a:cubicBezTo>
                        <a:pt x="172" y="731"/>
                        <a:pt x="172" y="731"/>
                        <a:pt x="172" y="731"/>
                      </a:cubicBezTo>
                      <a:cubicBezTo>
                        <a:pt x="174" y="730"/>
                        <a:pt x="174" y="730"/>
                        <a:pt x="174" y="730"/>
                      </a:cubicBezTo>
                      <a:cubicBezTo>
                        <a:pt x="175" y="730"/>
                        <a:pt x="175" y="730"/>
                        <a:pt x="175" y="730"/>
                      </a:cubicBezTo>
                      <a:cubicBezTo>
                        <a:pt x="178" y="734"/>
                        <a:pt x="178" y="734"/>
                        <a:pt x="178" y="734"/>
                      </a:cubicBezTo>
                      <a:cubicBezTo>
                        <a:pt x="178" y="736"/>
                        <a:pt x="178" y="736"/>
                        <a:pt x="178" y="736"/>
                      </a:cubicBezTo>
                      <a:cubicBezTo>
                        <a:pt x="176" y="738"/>
                        <a:pt x="176" y="738"/>
                        <a:pt x="176" y="738"/>
                      </a:cubicBezTo>
                      <a:cubicBezTo>
                        <a:pt x="169" y="735"/>
                        <a:pt x="169" y="735"/>
                        <a:pt x="169" y="735"/>
                      </a:cubicBezTo>
                      <a:cubicBezTo>
                        <a:pt x="166" y="733"/>
                        <a:pt x="166" y="733"/>
                        <a:pt x="166" y="733"/>
                      </a:cubicBezTo>
                      <a:cubicBezTo>
                        <a:pt x="165" y="735"/>
                        <a:pt x="165" y="735"/>
                        <a:pt x="165" y="735"/>
                      </a:cubicBezTo>
                      <a:cubicBezTo>
                        <a:pt x="166" y="737"/>
                        <a:pt x="166" y="737"/>
                        <a:pt x="166" y="737"/>
                      </a:cubicBezTo>
                      <a:cubicBezTo>
                        <a:pt x="169" y="740"/>
                        <a:pt x="169" y="740"/>
                        <a:pt x="169" y="740"/>
                      </a:cubicBezTo>
                      <a:cubicBezTo>
                        <a:pt x="172" y="745"/>
                        <a:pt x="172" y="745"/>
                        <a:pt x="172" y="745"/>
                      </a:cubicBezTo>
                      <a:cubicBezTo>
                        <a:pt x="174" y="749"/>
                        <a:pt x="174" y="749"/>
                        <a:pt x="174" y="749"/>
                      </a:cubicBezTo>
                      <a:cubicBezTo>
                        <a:pt x="172" y="748"/>
                        <a:pt x="172" y="748"/>
                        <a:pt x="172" y="748"/>
                      </a:cubicBezTo>
                      <a:cubicBezTo>
                        <a:pt x="170" y="745"/>
                        <a:pt x="170" y="745"/>
                        <a:pt x="170" y="745"/>
                      </a:cubicBezTo>
                      <a:cubicBezTo>
                        <a:pt x="168" y="744"/>
                        <a:pt x="168" y="744"/>
                        <a:pt x="168" y="744"/>
                      </a:cubicBezTo>
                      <a:cubicBezTo>
                        <a:pt x="168" y="746"/>
                        <a:pt x="168" y="746"/>
                        <a:pt x="168" y="746"/>
                      </a:cubicBezTo>
                      <a:cubicBezTo>
                        <a:pt x="169" y="748"/>
                        <a:pt x="169" y="748"/>
                        <a:pt x="169" y="748"/>
                      </a:cubicBezTo>
                      <a:cubicBezTo>
                        <a:pt x="173" y="752"/>
                        <a:pt x="173" y="752"/>
                        <a:pt x="173" y="752"/>
                      </a:cubicBezTo>
                      <a:cubicBezTo>
                        <a:pt x="177" y="756"/>
                        <a:pt x="177" y="756"/>
                        <a:pt x="177" y="756"/>
                      </a:cubicBezTo>
                      <a:cubicBezTo>
                        <a:pt x="177" y="758"/>
                        <a:pt x="177" y="758"/>
                        <a:pt x="177" y="758"/>
                      </a:cubicBezTo>
                      <a:cubicBezTo>
                        <a:pt x="175" y="758"/>
                        <a:pt x="175" y="758"/>
                        <a:pt x="175" y="758"/>
                      </a:cubicBezTo>
                      <a:cubicBezTo>
                        <a:pt x="175" y="760"/>
                        <a:pt x="175" y="760"/>
                        <a:pt x="175" y="760"/>
                      </a:cubicBezTo>
                      <a:cubicBezTo>
                        <a:pt x="173" y="760"/>
                        <a:pt x="173" y="760"/>
                        <a:pt x="173" y="760"/>
                      </a:cubicBezTo>
                      <a:cubicBezTo>
                        <a:pt x="170" y="756"/>
                        <a:pt x="170" y="756"/>
                        <a:pt x="170" y="756"/>
                      </a:cubicBezTo>
                      <a:cubicBezTo>
                        <a:pt x="169" y="756"/>
                        <a:pt x="169" y="756"/>
                        <a:pt x="169" y="756"/>
                      </a:cubicBezTo>
                      <a:cubicBezTo>
                        <a:pt x="169" y="758"/>
                        <a:pt x="169" y="758"/>
                        <a:pt x="169" y="758"/>
                      </a:cubicBezTo>
                      <a:cubicBezTo>
                        <a:pt x="172" y="763"/>
                        <a:pt x="172" y="763"/>
                        <a:pt x="172" y="763"/>
                      </a:cubicBezTo>
                      <a:cubicBezTo>
                        <a:pt x="174" y="765"/>
                        <a:pt x="174" y="765"/>
                        <a:pt x="174" y="765"/>
                      </a:cubicBezTo>
                      <a:cubicBezTo>
                        <a:pt x="176" y="765"/>
                        <a:pt x="176" y="765"/>
                        <a:pt x="176" y="765"/>
                      </a:cubicBezTo>
                      <a:cubicBezTo>
                        <a:pt x="178" y="764"/>
                        <a:pt x="178" y="764"/>
                        <a:pt x="178" y="764"/>
                      </a:cubicBezTo>
                      <a:cubicBezTo>
                        <a:pt x="179" y="764"/>
                        <a:pt x="179" y="764"/>
                        <a:pt x="179" y="764"/>
                      </a:cubicBezTo>
                      <a:cubicBezTo>
                        <a:pt x="177" y="768"/>
                        <a:pt x="177" y="768"/>
                        <a:pt x="177" y="768"/>
                      </a:cubicBezTo>
                      <a:cubicBezTo>
                        <a:pt x="175" y="769"/>
                        <a:pt x="175" y="769"/>
                        <a:pt x="175" y="769"/>
                      </a:cubicBezTo>
                      <a:cubicBezTo>
                        <a:pt x="172" y="767"/>
                        <a:pt x="172" y="767"/>
                        <a:pt x="172" y="767"/>
                      </a:cubicBezTo>
                      <a:cubicBezTo>
                        <a:pt x="169" y="764"/>
                        <a:pt x="169" y="764"/>
                        <a:pt x="169" y="764"/>
                      </a:cubicBezTo>
                      <a:cubicBezTo>
                        <a:pt x="166" y="761"/>
                        <a:pt x="166" y="761"/>
                        <a:pt x="166" y="761"/>
                      </a:cubicBezTo>
                      <a:cubicBezTo>
                        <a:pt x="163" y="758"/>
                        <a:pt x="163" y="758"/>
                        <a:pt x="163" y="758"/>
                      </a:cubicBezTo>
                      <a:cubicBezTo>
                        <a:pt x="161" y="750"/>
                        <a:pt x="161" y="750"/>
                        <a:pt x="161" y="750"/>
                      </a:cubicBezTo>
                      <a:cubicBezTo>
                        <a:pt x="159" y="747"/>
                        <a:pt x="159" y="747"/>
                        <a:pt x="159" y="747"/>
                      </a:cubicBezTo>
                      <a:cubicBezTo>
                        <a:pt x="157" y="746"/>
                        <a:pt x="157" y="746"/>
                        <a:pt x="157" y="746"/>
                      </a:cubicBezTo>
                      <a:cubicBezTo>
                        <a:pt x="155" y="745"/>
                        <a:pt x="155" y="745"/>
                        <a:pt x="155" y="745"/>
                      </a:cubicBezTo>
                      <a:cubicBezTo>
                        <a:pt x="152" y="743"/>
                        <a:pt x="152" y="743"/>
                        <a:pt x="152" y="743"/>
                      </a:cubicBezTo>
                      <a:cubicBezTo>
                        <a:pt x="149" y="743"/>
                        <a:pt x="149" y="743"/>
                        <a:pt x="149" y="743"/>
                      </a:cubicBezTo>
                      <a:cubicBezTo>
                        <a:pt x="147" y="742"/>
                        <a:pt x="147" y="742"/>
                        <a:pt x="147" y="742"/>
                      </a:cubicBezTo>
                      <a:cubicBezTo>
                        <a:pt x="145" y="742"/>
                        <a:pt x="145" y="742"/>
                        <a:pt x="145" y="742"/>
                      </a:cubicBezTo>
                      <a:cubicBezTo>
                        <a:pt x="141" y="741"/>
                        <a:pt x="141" y="741"/>
                        <a:pt x="141" y="741"/>
                      </a:cubicBezTo>
                      <a:cubicBezTo>
                        <a:pt x="138" y="737"/>
                        <a:pt x="138" y="737"/>
                        <a:pt x="138" y="737"/>
                      </a:cubicBezTo>
                      <a:cubicBezTo>
                        <a:pt x="135" y="737"/>
                        <a:pt x="135" y="737"/>
                        <a:pt x="135" y="737"/>
                      </a:cubicBezTo>
                      <a:cubicBezTo>
                        <a:pt x="133" y="736"/>
                        <a:pt x="133" y="736"/>
                        <a:pt x="133" y="736"/>
                      </a:cubicBezTo>
                      <a:cubicBezTo>
                        <a:pt x="131" y="737"/>
                        <a:pt x="131" y="737"/>
                        <a:pt x="131" y="737"/>
                      </a:cubicBezTo>
                      <a:cubicBezTo>
                        <a:pt x="128" y="737"/>
                        <a:pt x="128" y="737"/>
                        <a:pt x="128" y="737"/>
                      </a:cubicBezTo>
                      <a:cubicBezTo>
                        <a:pt x="124" y="741"/>
                        <a:pt x="124" y="741"/>
                        <a:pt x="124" y="741"/>
                      </a:cubicBezTo>
                      <a:cubicBezTo>
                        <a:pt x="124" y="743"/>
                        <a:pt x="124" y="743"/>
                        <a:pt x="124" y="743"/>
                      </a:cubicBezTo>
                      <a:cubicBezTo>
                        <a:pt x="126" y="745"/>
                        <a:pt x="126" y="745"/>
                        <a:pt x="126" y="745"/>
                      </a:cubicBezTo>
                      <a:cubicBezTo>
                        <a:pt x="128" y="748"/>
                        <a:pt x="128" y="748"/>
                        <a:pt x="128" y="748"/>
                      </a:cubicBezTo>
                      <a:cubicBezTo>
                        <a:pt x="129" y="753"/>
                        <a:pt x="129" y="753"/>
                        <a:pt x="129" y="753"/>
                      </a:cubicBezTo>
                      <a:cubicBezTo>
                        <a:pt x="129" y="756"/>
                        <a:pt x="129" y="756"/>
                        <a:pt x="129" y="756"/>
                      </a:cubicBezTo>
                      <a:cubicBezTo>
                        <a:pt x="132" y="760"/>
                        <a:pt x="132" y="760"/>
                        <a:pt x="132" y="760"/>
                      </a:cubicBezTo>
                      <a:cubicBezTo>
                        <a:pt x="137" y="762"/>
                        <a:pt x="137" y="762"/>
                        <a:pt x="137" y="762"/>
                      </a:cubicBezTo>
                      <a:cubicBezTo>
                        <a:pt x="144" y="766"/>
                        <a:pt x="144" y="766"/>
                        <a:pt x="144" y="766"/>
                      </a:cubicBezTo>
                      <a:cubicBezTo>
                        <a:pt x="147" y="769"/>
                        <a:pt x="147" y="769"/>
                        <a:pt x="147" y="769"/>
                      </a:cubicBezTo>
                      <a:cubicBezTo>
                        <a:pt x="149" y="773"/>
                        <a:pt x="149" y="773"/>
                        <a:pt x="149" y="773"/>
                      </a:cubicBezTo>
                      <a:cubicBezTo>
                        <a:pt x="149" y="775"/>
                        <a:pt x="149" y="775"/>
                        <a:pt x="149" y="775"/>
                      </a:cubicBezTo>
                      <a:cubicBezTo>
                        <a:pt x="151" y="776"/>
                        <a:pt x="151" y="776"/>
                        <a:pt x="151" y="776"/>
                      </a:cubicBezTo>
                      <a:cubicBezTo>
                        <a:pt x="154" y="776"/>
                        <a:pt x="154" y="776"/>
                        <a:pt x="154" y="776"/>
                      </a:cubicBezTo>
                      <a:cubicBezTo>
                        <a:pt x="156" y="779"/>
                        <a:pt x="156" y="779"/>
                        <a:pt x="156" y="779"/>
                      </a:cubicBezTo>
                      <a:cubicBezTo>
                        <a:pt x="159" y="780"/>
                        <a:pt x="159" y="780"/>
                        <a:pt x="159" y="780"/>
                      </a:cubicBezTo>
                      <a:cubicBezTo>
                        <a:pt x="161" y="779"/>
                        <a:pt x="161" y="779"/>
                        <a:pt x="161" y="779"/>
                      </a:cubicBezTo>
                      <a:cubicBezTo>
                        <a:pt x="162" y="781"/>
                        <a:pt x="162" y="781"/>
                        <a:pt x="162" y="781"/>
                      </a:cubicBezTo>
                      <a:cubicBezTo>
                        <a:pt x="165" y="782"/>
                        <a:pt x="165" y="782"/>
                        <a:pt x="165" y="782"/>
                      </a:cubicBezTo>
                      <a:cubicBezTo>
                        <a:pt x="167" y="780"/>
                        <a:pt x="167" y="780"/>
                        <a:pt x="167" y="780"/>
                      </a:cubicBezTo>
                      <a:cubicBezTo>
                        <a:pt x="169" y="783"/>
                        <a:pt x="169" y="783"/>
                        <a:pt x="169" y="783"/>
                      </a:cubicBezTo>
                      <a:cubicBezTo>
                        <a:pt x="172" y="783"/>
                        <a:pt x="172" y="783"/>
                        <a:pt x="172" y="783"/>
                      </a:cubicBezTo>
                      <a:cubicBezTo>
                        <a:pt x="175" y="780"/>
                        <a:pt x="175" y="780"/>
                        <a:pt x="175" y="780"/>
                      </a:cubicBezTo>
                      <a:cubicBezTo>
                        <a:pt x="178" y="780"/>
                        <a:pt x="178" y="780"/>
                        <a:pt x="178" y="780"/>
                      </a:cubicBezTo>
                      <a:cubicBezTo>
                        <a:pt x="180" y="781"/>
                        <a:pt x="180" y="781"/>
                        <a:pt x="180" y="781"/>
                      </a:cubicBezTo>
                      <a:cubicBezTo>
                        <a:pt x="181" y="784"/>
                        <a:pt x="181" y="784"/>
                        <a:pt x="181" y="784"/>
                      </a:cubicBezTo>
                      <a:cubicBezTo>
                        <a:pt x="178" y="784"/>
                        <a:pt x="178" y="784"/>
                        <a:pt x="178" y="784"/>
                      </a:cubicBezTo>
                      <a:cubicBezTo>
                        <a:pt x="176" y="785"/>
                        <a:pt x="176" y="785"/>
                        <a:pt x="176" y="785"/>
                      </a:cubicBezTo>
                      <a:cubicBezTo>
                        <a:pt x="176" y="786"/>
                        <a:pt x="176" y="786"/>
                        <a:pt x="176" y="786"/>
                      </a:cubicBezTo>
                      <a:cubicBezTo>
                        <a:pt x="178" y="786"/>
                        <a:pt x="178" y="786"/>
                        <a:pt x="178" y="786"/>
                      </a:cubicBezTo>
                      <a:cubicBezTo>
                        <a:pt x="180" y="789"/>
                        <a:pt x="180" y="789"/>
                        <a:pt x="180" y="789"/>
                      </a:cubicBezTo>
                      <a:cubicBezTo>
                        <a:pt x="177" y="791"/>
                        <a:pt x="177" y="791"/>
                        <a:pt x="177" y="791"/>
                      </a:cubicBezTo>
                      <a:cubicBezTo>
                        <a:pt x="177" y="792"/>
                        <a:pt x="177" y="792"/>
                        <a:pt x="177" y="792"/>
                      </a:cubicBezTo>
                      <a:cubicBezTo>
                        <a:pt x="175" y="793"/>
                        <a:pt x="175" y="793"/>
                        <a:pt x="175" y="793"/>
                      </a:cubicBezTo>
                      <a:cubicBezTo>
                        <a:pt x="173" y="796"/>
                        <a:pt x="173" y="796"/>
                        <a:pt x="173" y="796"/>
                      </a:cubicBezTo>
                      <a:cubicBezTo>
                        <a:pt x="170" y="797"/>
                        <a:pt x="170" y="797"/>
                        <a:pt x="170" y="797"/>
                      </a:cubicBezTo>
                      <a:cubicBezTo>
                        <a:pt x="169" y="799"/>
                        <a:pt x="169" y="799"/>
                        <a:pt x="169" y="799"/>
                      </a:cubicBezTo>
                      <a:cubicBezTo>
                        <a:pt x="170" y="800"/>
                        <a:pt x="170" y="800"/>
                        <a:pt x="170" y="800"/>
                      </a:cubicBezTo>
                      <a:cubicBezTo>
                        <a:pt x="173" y="800"/>
                        <a:pt x="173" y="800"/>
                        <a:pt x="173" y="800"/>
                      </a:cubicBezTo>
                      <a:cubicBezTo>
                        <a:pt x="175" y="801"/>
                        <a:pt x="175" y="801"/>
                        <a:pt x="175" y="801"/>
                      </a:cubicBezTo>
                      <a:cubicBezTo>
                        <a:pt x="175" y="803"/>
                        <a:pt x="175" y="803"/>
                        <a:pt x="175" y="803"/>
                      </a:cubicBezTo>
                      <a:cubicBezTo>
                        <a:pt x="173" y="803"/>
                        <a:pt x="173" y="803"/>
                        <a:pt x="173" y="803"/>
                      </a:cubicBezTo>
                      <a:cubicBezTo>
                        <a:pt x="171" y="804"/>
                        <a:pt x="171" y="804"/>
                        <a:pt x="171" y="804"/>
                      </a:cubicBezTo>
                      <a:cubicBezTo>
                        <a:pt x="170" y="803"/>
                        <a:pt x="170" y="803"/>
                        <a:pt x="170" y="803"/>
                      </a:cubicBezTo>
                      <a:cubicBezTo>
                        <a:pt x="168" y="805"/>
                        <a:pt x="168" y="805"/>
                        <a:pt x="168" y="805"/>
                      </a:cubicBezTo>
                      <a:cubicBezTo>
                        <a:pt x="165" y="810"/>
                        <a:pt x="165" y="810"/>
                        <a:pt x="165" y="810"/>
                      </a:cubicBezTo>
                      <a:cubicBezTo>
                        <a:pt x="164" y="810"/>
                        <a:pt x="164" y="810"/>
                        <a:pt x="164" y="810"/>
                      </a:cubicBezTo>
                      <a:cubicBezTo>
                        <a:pt x="162" y="812"/>
                        <a:pt x="162" y="812"/>
                        <a:pt x="162" y="812"/>
                      </a:cubicBezTo>
                      <a:cubicBezTo>
                        <a:pt x="162" y="814"/>
                        <a:pt x="162" y="814"/>
                        <a:pt x="162" y="814"/>
                      </a:cubicBezTo>
                      <a:cubicBezTo>
                        <a:pt x="165" y="814"/>
                        <a:pt x="165" y="814"/>
                        <a:pt x="165" y="814"/>
                      </a:cubicBezTo>
                      <a:cubicBezTo>
                        <a:pt x="167" y="815"/>
                        <a:pt x="167" y="815"/>
                        <a:pt x="167" y="815"/>
                      </a:cubicBezTo>
                      <a:cubicBezTo>
                        <a:pt x="168" y="814"/>
                        <a:pt x="168" y="814"/>
                        <a:pt x="168" y="814"/>
                      </a:cubicBezTo>
                      <a:cubicBezTo>
                        <a:pt x="169" y="814"/>
                        <a:pt x="169" y="814"/>
                        <a:pt x="169" y="814"/>
                      </a:cubicBezTo>
                      <a:cubicBezTo>
                        <a:pt x="170" y="816"/>
                        <a:pt x="170" y="816"/>
                        <a:pt x="170" y="816"/>
                      </a:cubicBezTo>
                      <a:cubicBezTo>
                        <a:pt x="172" y="816"/>
                        <a:pt x="172" y="816"/>
                        <a:pt x="172" y="816"/>
                      </a:cubicBezTo>
                      <a:cubicBezTo>
                        <a:pt x="174" y="817"/>
                        <a:pt x="174" y="817"/>
                        <a:pt x="174" y="817"/>
                      </a:cubicBezTo>
                      <a:cubicBezTo>
                        <a:pt x="174" y="819"/>
                        <a:pt x="174" y="819"/>
                        <a:pt x="174" y="819"/>
                      </a:cubicBezTo>
                      <a:cubicBezTo>
                        <a:pt x="170" y="820"/>
                        <a:pt x="170" y="820"/>
                        <a:pt x="170" y="820"/>
                      </a:cubicBezTo>
                      <a:cubicBezTo>
                        <a:pt x="167" y="820"/>
                        <a:pt x="167" y="820"/>
                        <a:pt x="167" y="820"/>
                      </a:cubicBezTo>
                      <a:cubicBezTo>
                        <a:pt x="167" y="822"/>
                        <a:pt x="167" y="822"/>
                        <a:pt x="167" y="822"/>
                      </a:cubicBezTo>
                      <a:cubicBezTo>
                        <a:pt x="172" y="822"/>
                        <a:pt x="172" y="822"/>
                        <a:pt x="172" y="822"/>
                      </a:cubicBezTo>
                      <a:cubicBezTo>
                        <a:pt x="174" y="824"/>
                        <a:pt x="174" y="824"/>
                        <a:pt x="174" y="824"/>
                      </a:cubicBezTo>
                      <a:cubicBezTo>
                        <a:pt x="174" y="826"/>
                        <a:pt x="174" y="826"/>
                        <a:pt x="174" y="826"/>
                      </a:cubicBezTo>
                      <a:cubicBezTo>
                        <a:pt x="173" y="826"/>
                        <a:pt x="173" y="826"/>
                        <a:pt x="173" y="826"/>
                      </a:cubicBezTo>
                      <a:cubicBezTo>
                        <a:pt x="171" y="825"/>
                        <a:pt x="171" y="825"/>
                        <a:pt x="171" y="825"/>
                      </a:cubicBezTo>
                      <a:cubicBezTo>
                        <a:pt x="171" y="826"/>
                        <a:pt x="171" y="826"/>
                        <a:pt x="171" y="826"/>
                      </a:cubicBezTo>
                      <a:cubicBezTo>
                        <a:pt x="169" y="826"/>
                        <a:pt x="169" y="826"/>
                        <a:pt x="169" y="826"/>
                      </a:cubicBezTo>
                      <a:cubicBezTo>
                        <a:pt x="167" y="824"/>
                        <a:pt x="167" y="824"/>
                        <a:pt x="167" y="824"/>
                      </a:cubicBezTo>
                      <a:cubicBezTo>
                        <a:pt x="165" y="825"/>
                        <a:pt x="165" y="825"/>
                        <a:pt x="165" y="825"/>
                      </a:cubicBezTo>
                      <a:cubicBezTo>
                        <a:pt x="162" y="824"/>
                        <a:pt x="162" y="824"/>
                        <a:pt x="162" y="824"/>
                      </a:cubicBezTo>
                      <a:cubicBezTo>
                        <a:pt x="162" y="822"/>
                        <a:pt x="162" y="822"/>
                        <a:pt x="162" y="822"/>
                      </a:cubicBezTo>
                      <a:cubicBezTo>
                        <a:pt x="163" y="821"/>
                        <a:pt x="163" y="821"/>
                        <a:pt x="163" y="821"/>
                      </a:cubicBezTo>
                      <a:cubicBezTo>
                        <a:pt x="161" y="817"/>
                        <a:pt x="161" y="817"/>
                        <a:pt x="161" y="817"/>
                      </a:cubicBezTo>
                      <a:cubicBezTo>
                        <a:pt x="160" y="816"/>
                        <a:pt x="160" y="816"/>
                        <a:pt x="160" y="816"/>
                      </a:cubicBezTo>
                      <a:cubicBezTo>
                        <a:pt x="158" y="817"/>
                        <a:pt x="158" y="817"/>
                        <a:pt x="158" y="817"/>
                      </a:cubicBezTo>
                      <a:cubicBezTo>
                        <a:pt x="159" y="820"/>
                        <a:pt x="159" y="820"/>
                        <a:pt x="159" y="820"/>
                      </a:cubicBezTo>
                      <a:cubicBezTo>
                        <a:pt x="156" y="829"/>
                        <a:pt x="156" y="829"/>
                        <a:pt x="156" y="829"/>
                      </a:cubicBezTo>
                      <a:cubicBezTo>
                        <a:pt x="155" y="832"/>
                        <a:pt x="155" y="832"/>
                        <a:pt x="155" y="832"/>
                      </a:cubicBezTo>
                      <a:cubicBezTo>
                        <a:pt x="156" y="834"/>
                        <a:pt x="156" y="834"/>
                        <a:pt x="156" y="834"/>
                      </a:cubicBezTo>
                      <a:cubicBezTo>
                        <a:pt x="157" y="834"/>
                        <a:pt x="157" y="834"/>
                        <a:pt x="157" y="834"/>
                      </a:cubicBezTo>
                      <a:cubicBezTo>
                        <a:pt x="160" y="831"/>
                        <a:pt x="160" y="831"/>
                        <a:pt x="160" y="831"/>
                      </a:cubicBezTo>
                      <a:cubicBezTo>
                        <a:pt x="161" y="832"/>
                        <a:pt x="161" y="832"/>
                        <a:pt x="161" y="832"/>
                      </a:cubicBezTo>
                      <a:cubicBezTo>
                        <a:pt x="160" y="834"/>
                        <a:pt x="160" y="834"/>
                        <a:pt x="160" y="834"/>
                      </a:cubicBezTo>
                      <a:cubicBezTo>
                        <a:pt x="157" y="836"/>
                        <a:pt x="157" y="836"/>
                        <a:pt x="157" y="836"/>
                      </a:cubicBezTo>
                      <a:cubicBezTo>
                        <a:pt x="156" y="838"/>
                        <a:pt x="156" y="838"/>
                        <a:pt x="156" y="838"/>
                      </a:cubicBezTo>
                      <a:cubicBezTo>
                        <a:pt x="154" y="839"/>
                        <a:pt x="154" y="839"/>
                        <a:pt x="154" y="839"/>
                      </a:cubicBezTo>
                      <a:cubicBezTo>
                        <a:pt x="154" y="841"/>
                        <a:pt x="154" y="841"/>
                        <a:pt x="154" y="841"/>
                      </a:cubicBezTo>
                      <a:cubicBezTo>
                        <a:pt x="150" y="840"/>
                        <a:pt x="150" y="840"/>
                        <a:pt x="150" y="840"/>
                      </a:cubicBezTo>
                      <a:cubicBezTo>
                        <a:pt x="147" y="840"/>
                        <a:pt x="147" y="840"/>
                        <a:pt x="147" y="840"/>
                      </a:cubicBezTo>
                      <a:cubicBezTo>
                        <a:pt x="144" y="841"/>
                        <a:pt x="144" y="841"/>
                        <a:pt x="144" y="841"/>
                      </a:cubicBezTo>
                      <a:cubicBezTo>
                        <a:pt x="143" y="840"/>
                        <a:pt x="143" y="840"/>
                        <a:pt x="143" y="840"/>
                      </a:cubicBezTo>
                      <a:cubicBezTo>
                        <a:pt x="139" y="840"/>
                        <a:pt x="139" y="840"/>
                        <a:pt x="139" y="840"/>
                      </a:cubicBezTo>
                      <a:cubicBezTo>
                        <a:pt x="137" y="841"/>
                        <a:pt x="137" y="841"/>
                        <a:pt x="137" y="841"/>
                      </a:cubicBezTo>
                      <a:cubicBezTo>
                        <a:pt x="132" y="844"/>
                        <a:pt x="132" y="844"/>
                        <a:pt x="132" y="844"/>
                      </a:cubicBezTo>
                      <a:cubicBezTo>
                        <a:pt x="128" y="845"/>
                        <a:pt x="128" y="845"/>
                        <a:pt x="128" y="845"/>
                      </a:cubicBezTo>
                      <a:cubicBezTo>
                        <a:pt x="128" y="846"/>
                        <a:pt x="128" y="846"/>
                        <a:pt x="128" y="846"/>
                      </a:cubicBezTo>
                      <a:cubicBezTo>
                        <a:pt x="132" y="845"/>
                        <a:pt x="132" y="845"/>
                        <a:pt x="132" y="845"/>
                      </a:cubicBezTo>
                      <a:cubicBezTo>
                        <a:pt x="134" y="845"/>
                        <a:pt x="134" y="845"/>
                        <a:pt x="134" y="845"/>
                      </a:cubicBezTo>
                      <a:cubicBezTo>
                        <a:pt x="132" y="847"/>
                        <a:pt x="132" y="847"/>
                        <a:pt x="132" y="847"/>
                      </a:cubicBezTo>
                      <a:cubicBezTo>
                        <a:pt x="130" y="848"/>
                        <a:pt x="130" y="848"/>
                        <a:pt x="130" y="848"/>
                      </a:cubicBezTo>
                      <a:cubicBezTo>
                        <a:pt x="131" y="850"/>
                        <a:pt x="131" y="850"/>
                        <a:pt x="131" y="850"/>
                      </a:cubicBezTo>
                      <a:cubicBezTo>
                        <a:pt x="134" y="851"/>
                        <a:pt x="134" y="851"/>
                        <a:pt x="134" y="851"/>
                      </a:cubicBezTo>
                      <a:cubicBezTo>
                        <a:pt x="135" y="854"/>
                        <a:pt x="135" y="854"/>
                        <a:pt x="135" y="854"/>
                      </a:cubicBezTo>
                      <a:cubicBezTo>
                        <a:pt x="139" y="853"/>
                        <a:pt x="139" y="853"/>
                        <a:pt x="139" y="853"/>
                      </a:cubicBezTo>
                      <a:cubicBezTo>
                        <a:pt x="141" y="854"/>
                        <a:pt x="141" y="854"/>
                        <a:pt x="141" y="854"/>
                      </a:cubicBezTo>
                      <a:cubicBezTo>
                        <a:pt x="143" y="853"/>
                        <a:pt x="143" y="853"/>
                        <a:pt x="143" y="853"/>
                      </a:cubicBezTo>
                      <a:cubicBezTo>
                        <a:pt x="147" y="853"/>
                        <a:pt x="147" y="853"/>
                        <a:pt x="147" y="853"/>
                      </a:cubicBezTo>
                      <a:cubicBezTo>
                        <a:pt x="148" y="852"/>
                        <a:pt x="148" y="852"/>
                        <a:pt x="148" y="852"/>
                      </a:cubicBezTo>
                      <a:cubicBezTo>
                        <a:pt x="146" y="849"/>
                        <a:pt x="146" y="849"/>
                        <a:pt x="146" y="849"/>
                      </a:cubicBezTo>
                      <a:cubicBezTo>
                        <a:pt x="145" y="848"/>
                        <a:pt x="145" y="848"/>
                        <a:pt x="145" y="848"/>
                      </a:cubicBezTo>
                      <a:cubicBezTo>
                        <a:pt x="146" y="846"/>
                        <a:pt x="146" y="846"/>
                        <a:pt x="146" y="846"/>
                      </a:cubicBezTo>
                      <a:cubicBezTo>
                        <a:pt x="151" y="846"/>
                        <a:pt x="151" y="846"/>
                        <a:pt x="151" y="846"/>
                      </a:cubicBezTo>
                      <a:cubicBezTo>
                        <a:pt x="153" y="845"/>
                        <a:pt x="153" y="845"/>
                        <a:pt x="153" y="845"/>
                      </a:cubicBezTo>
                      <a:cubicBezTo>
                        <a:pt x="155" y="846"/>
                        <a:pt x="155" y="846"/>
                        <a:pt x="155" y="846"/>
                      </a:cubicBezTo>
                      <a:cubicBezTo>
                        <a:pt x="155" y="846"/>
                        <a:pt x="155" y="846"/>
                        <a:pt x="155" y="846"/>
                      </a:cubicBezTo>
                      <a:cubicBezTo>
                        <a:pt x="154" y="847"/>
                        <a:pt x="154" y="847"/>
                        <a:pt x="154" y="847"/>
                      </a:cubicBezTo>
                      <a:cubicBezTo>
                        <a:pt x="153" y="850"/>
                        <a:pt x="153" y="850"/>
                        <a:pt x="153" y="850"/>
                      </a:cubicBezTo>
                      <a:cubicBezTo>
                        <a:pt x="153" y="853"/>
                        <a:pt x="153" y="853"/>
                        <a:pt x="153" y="853"/>
                      </a:cubicBezTo>
                      <a:cubicBezTo>
                        <a:pt x="148" y="855"/>
                        <a:pt x="148" y="855"/>
                        <a:pt x="148" y="855"/>
                      </a:cubicBezTo>
                      <a:cubicBezTo>
                        <a:pt x="148" y="856"/>
                        <a:pt x="148" y="856"/>
                        <a:pt x="148" y="856"/>
                      </a:cubicBezTo>
                      <a:cubicBezTo>
                        <a:pt x="149" y="858"/>
                        <a:pt x="149" y="858"/>
                        <a:pt x="149" y="858"/>
                      </a:cubicBezTo>
                      <a:cubicBezTo>
                        <a:pt x="156" y="865"/>
                        <a:pt x="156" y="865"/>
                        <a:pt x="156" y="865"/>
                      </a:cubicBezTo>
                      <a:cubicBezTo>
                        <a:pt x="159" y="869"/>
                        <a:pt x="159" y="869"/>
                        <a:pt x="159" y="869"/>
                      </a:cubicBezTo>
                      <a:cubicBezTo>
                        <a:pt x="159" y="870"/>
                        <a:pt x="159" y="870"/>
                        <a:pt x="159" y="870"/>
                      </a:cubicBezTo>
                      <a:cubicBezTo>
                        <a:pt x="157" y="870"/>
                        <a:pt x="157" y="870"/>
                        <a:pt x="157" y="870"/>
                      </a:cubicBezTo>
                      <a:cubicBezTo>
                        <a:pt x="156" y="869"/>
                        <a:pt x="156" y="869"/>
                        <a:pt x="156" y="869"/>
                      </a:cubicBezTo>
                      <a:cubicBezTo>
                        <a:pt x="153" y="867"/>
                        <a:pt x="153" y="867"/>
                        <a:pt x="153" y="867"/>
                      </a:cubicBezTo>
                      <a:cubicBezTo>
                        <a:pt x="149" y="864"/>
                        <a:pt x="149" y="864"/>
                        <a:pt x="149" y="864"/>
                      </a:cubicBezTo>
                      <a:cubicBezTo>
                        <a:pt x="147" y="863"/>
                        <a:pt x="147" y="863"/>
                        <a:pt x="147" y="863"/>
                      </a:cubicBezTo>
                      <a:cubicBezTo>
                        <a:pt x="144" y="863"/>
                        <a:pt x="144" y="863"/>
                        <a:pt x="144" y="863"/>
                      </a:cubicBezTo>
                      <a:cubicBezTo>
                        <a:pt x="143" y="864"/>
                        <a:pt x="143" y="864"/>
                        <a:pt x="143" y="864"/>
                      </a:cubicBezTo>
                      <a:cubicBezTo>
                        <a:pt x="140" y="864"/>
                        <a:pt x="140" y="864"/>
                        <a:pt x="140" y="864"/>
                      </a:cubicBezTo>
                      <a:cubicBezTo>
                        <a:pt x="134" y="860"/>
                        <a:pt x="134" y="860"/>
                        <a:pt x="134" y="860"/>
                      </a:cubicBezTo>
                      <a:cubicBezTo>
                        <a:pt x="133" y="857"/>
                        <a:pt x="133" y="857"/>
                        <a:pt x="133" y="857"/>
                      </a:cubicBezTo>
                      <a:cubicBezTo>
                        <a:pt x="131" y="854"/>
                        <a:pt x="131" y="854"/>
                        <a:pt x="131" y="854"/>
                      </a:cubicBezTo>
                      <a:cubicBezTo>
                        <a:pt x="130" y="854"/>
                        <a:pt x="130" y="854"/>
                        <a:pt x="130" y="854"/>
                      </a:cubicBezTo>
                      <a:cubicBezTo>
                        <a:pt x="131" y="858"/>
                        <a:pt x="131" y="858"/>
                        <a:pt x="131" y="858"/>
                      </a:cubicBezTo>
                      <a:cubicBezTo>
                        <a:pt x="132" y="860"/>
                        <a:pt x="132" y="860"/>
                        <a:pt x="132" y="860"/>
                      </a:cubicBezTo>
                      <a:cubicBezTo>
                        <a:pt x="132" y="861"/>
                        <a:pt x="132" y="861"/>
                        <a:pt x="132" y="861"/>
                      </a:cubicBezTo>
                      <a:cubicBezTo>
                        <a:pt x="128" y="858"/>
                        <a:pt x="128" y="858"/>
                        <a:pt x="128" y="858"/>
                      </a:cubicBezTo>
                      <a:cubicBezTo>
                        <a:pt x="125" y="853"/>
                        <a:pt x="125" y="853"/>
                        <a:pt x="125" y="853"/>
                      </a:cubicBezTo>
                      <a:cubicBezTo>
                        <a:pt x="121" y="851"/>
                        <a:pt x="121" y="851"/>
                        <a:pt x="121" y="851"/>
                      </a:cubicBezTo>
                      <a:cubicBezTo>
                        <a:pt x="119" y="852"/>
                        <a:pt x="119" y="852"/>
                        <a:pt x="119" y="852"/>
                      </a:cubicBezTo>
                      <a:cubicBezTo>
                        <a:pt x="120" y="854"/>
                        <a:pt x="120" y="854"/>
                        <a:pt x="120" y="854"/>
                      </a:cubicBezTo>
                      <a:cubicBezTo>
                        <a:pt x="122" y="855"/>
                        <a:pt x="122" y="855"/>
                        <a:pt x="122" y="855"/>
                      </a:cubicBezTo>
                      <a:cubicBezTo>
                        <a:pt x="123" y="858"/>
                        <a:pt x="123" y="858"/>
                        <a:pt x="123" y="858"/>
                      </a:cubicBezTo>
                      <a:cubicBezTo>
                        <a:pt x="127" y="863"/>
                        <a:pt x="127" y="863"/>
                        <a:pt x="127" y="863"/>
                      </a:cubicBezTo>
                      <a:cubicBezTo>
                        <a:pt x="129" y="865"/>
                        <a:pt x="129" y="865"/>
                        <a:pt x="129" y="865"/>
                      </a:cubicBezTo>
                      <a:cubicBezTo>
                        <a:pt x="131" y="864"/>
                        <a:pt x="131" y="864"/>
                        <a:pt x="131" y="864"/>
                      </a:cubicBezTo>
                      <a:cubicBezTo>
                        <a:pt x="133" y="865"/>
                        <a:pt x="133" y="865"/>
                        <a:pt x="133" y="865"/>
                      </a:cubicBezTo>
                      <a:cubicBezTo>
                        <a:pt x="134" y="867"/>
                        <a:pt x="134" y="867"/>
                        <a:pt x="134" y="867"/>
                      </a:cubicBezTo>
                      <a:cubicBezTo>
                        <a:pt x="129" y="867"/>
                        <a:pt x="129" y="867"/>
                        <a:pt x="129" y="867"/>
                      </a:cubicBezTo>
                      <a:cubicBezTo>
                        <a:pt x="125" y="865"/>
                        <a:pt x="125" y="865"/>
                        <a:pt x="125" y="865"/>
                      </a:cubicBezTo>
                      <a:cubicBezTo>
                        <a:pt x="122" y="862"/>
                        <a:pt x="122" y="862"/>
                        <a:pt x="122" y="862"/>
                      </a:cubicBezTo>
                      <a:cubicBezTo>
                        <a:pt x="121" y="862"/>
                        <a:pt x="121" y="862"/>
                        <a:pt x="121" y="862"/>
                      </a:cubicBezTo>
                      <a:cubicBezTo>
                        <a:pt x="120" y="865"/>
                        <a:pt x="120" y="865"/>
                        <a:pt x="120" y="865"/>
                      </a:cubicBezTo>
                      <a:cubicBezTo>
                        <a:pt x="120" y="867"/>
                        <a:pt x="120" y="867"/>
                        <a:pt x="120" y="867"/>
                      </a:cubicBezTo>
                      <a:cubicBezTo>
                        <a:pt x="118" y="869"/>
                        <a:pt x="118" y="869"/>
                        <a:pt x="118" y="869"/>
                      </a:cubicBezTo>
                      <a:cubicBezTo>
                        <a:pt x="117" y="869"/>
                        <a:pt x="117" y="869"/>
                        <a:pt x="117" y="869"/>
                      </a:cubicBezTo>
                      <a:cubicBezTo>
                        <a:pt x="117" y="871"/>
                        <a:pt x="117" y="871"/>
                        <a:pt x="117" y="871"/>
                      </a:cubicBezTo>
                      <a:cubicBezTo>
                        <a:pt x="115" y="872"/>
                        <a:pt x="115" y="872"/>
                        <a:pt x="115" y="872"/>
                      </a:cubicBezTo>
                      <a:cubicBezTo>
                        <a:pt x="114" y="873"/>
                        <a:pt x="114" y="873"/>
                        <a:pt x="114" y="873"/>
                      </a:cubicBezTo>
                      <a:cubicBezTo>
                        <a:pt x="110" y="879"/>
                        <a:pt x="110" y="879"/>
                        <a:pt x="110" y="879"/>
                      </a:cubicBezTo>
                      <a:cubicBezTo>
                        <a:pt x="110" y="881"/>
                        <a:pt x="110" y="881"/>
                        <a:pt x="110" y="881"/>
                      </a:cubicBezTo>
                      <a:cubicBezTo>
                        <a:pt x="111" y="882"/>
                        <a:pt x="111" y="882"/>
                        <a:pt x="111" y="882"/>
                      </a:cubicBezTo>
                      <a:cubicBezTo>
                        <a:pt x="114" y="881"/>
                        <a:pt x="114" y="881"/>
                        <a:pt x="114" y="881"/>
                      </a:cubicBezTo>
                      <a:cubicBezTo>
                        <a:pt x="117" y="876"/>
                        <a:pt x="117" y="876"/>
                        <a:pt x="117" y="876"/>
                      </a:cubicBezTo>
                      <a:cubicBezTo>
                        <a:pt x="119" y="874"/>
                        <a:pt x="119" y="874"/>
                        <a:pt x="119" y="874"/>
                      </a:cubicBezTo>
                      <a:cubicBezTo>
                        <a:pt x="122" y="874"/>
                        <a:pt x="122" y="874"/>
                        <a:pt x="122" y="874"/>
                      </a:cubicBezTo>
                      <a:cubicBezTo>
                        <a:pt x="127" y="873"/>
                        <a:pt x="127" y="873"/>
                        <a:pt x="127" y="873"/>
                      </a:cubicBezTo>
                      <a:cubicBezTo>
                        <a:pt x="128" y="871"/>
                        <a:pt x="128" y="871"/>
                        <a:pt x="128" y="871"/>
                      </a:cubicBezTo>
                      <a:cubicBezTo>
                        <a:pt x="129" y="871"/>
                        <a:pt x="129" y="871"/>
                        <a:pt x="129" y="871"/>
                      </a:cubicBezTo>
                      <a:cubicBezTo>
                        <a:pt x="130" y="873"/>
                        <a:pt x="130" y="873"/>
                        <a:pt x="130" y="873"/>
                      </a:cubicBezTo>
                      <a:cubicBezTo>
                        <a:pt x="131" y="874"/>
                        <a:pt x="131" y="874"/>
                        <a:pt x="131" y="874"/>
                      </a:cubicBezTo>
                      <a:cubicBezTo>
                        <a:pt x="134" y="874"/>
                        <a:pt x="134" y="874"/>
                        <a:pt x="134" y="874"/>
                      </a:cubicBezTo>
                      <a:cubicBezTo>
                        <a:pt x="138" y="879"/>
                        <a:pt x="138" y="879"/>
                        <a:pt x="138" y="879"/>
                      </a:cubicBezTo>
                      <a:cubicBezTo>
                        <a:pt x="140" y="880"/>
                        <a:pt x="140" y="880"/>
                        <a:pt x="140" y="880"/>
                      </a:cubicBezTo>
                      <a:cubicBezTo>
                        <a:pt x="142" y="878"/>
                        <a:pt x="142" y="878"/>
                        <a:pt x="142" y="878"/>
                      </a:cubicBezTo>
                      <a:cubicBezTo>
                        <a:pt x="144" y="876"/>
                        <a:pt x="144" y="876"/>
                        <a:pt x="144" y="876"/>
                      </a:cubicBezTo>
                      <a:cubicBezTo>
                        <a:pt x="144" y="873"/>
                        <a:pt x="144" y="873"/>
                        <a:pt x="144" y="873"/>
                      </a:cubicBezTo>
                      <a:cubicBezTo>
                        <a:pt x="143" y="871"/>
                        <a:pt x="143" y="871"/>
                        <a:pt x="143" y="871"/>
                      </a:cubicBezTo>
                      <a:cubicBezTo>
                        <a:pt x="143" y="869"/>
                        <a:pt x="143" y="869"/>
                        <a:pt x="143" y="869"/>
                      </a:cubicBezTo>
                      <a:cubicBezTo>
                        <a:pt x="145" y="869"/>
                        <a:pt x="145" y="869"/>
                        <a:pt x="145" y="869"/>
                      </a:cubicBezTo>
                      <a:cubicBezTo>
                        <a:pt x="147" y="869"/>
                        <a:pt x="147" y="869"/>
                        <a:pt x="147" y="869"/>
                      </a:cubicBezTo>
                      <a:cubicBezTo>
                        <a:pt x="148" y="868"/>
                        <a:pt x="148" y="868"/>
                        <a:pt x="148" y="868"/>
                      </a:cubicBezTo>
                      <a:cubicBezTo>
                        <a:pt x="150" y="868"/>
                        <a:pt x="150" y="868"/>
                        <a:pt x="150" y="868"/>
                      </a:cubicBezTo>
                      <a:cubicBezTo>
                        <a:pt x="151" y="871"/>
                        <a:pt x="151" y="871"/>
                        <a:pt x="151" y="871"/>
                      </a:cubicBezTo>
                      <a:cubicBezTo>
                        <a:pt x="150" y="872"/>
                        <a:pt x="150" y="872"/>
                        <a:pt x="150" y="872"/>
                      </a:cubicBezTo>
                      <a:cubicBezTo>
                        <a:pt x="149" y="872"/>
                        <a:pt x="149" y="872"/>
                        <a:pt x="149" y="872"/>
                      </a:cubicBezTo>
                      <a:cubicBezTo>
                        <a:pt x="147" y="873"/>
                        <a:pt x="147" y="873"/>
                        <a:pt x="147" y="873"/>
                      </a:cubicBezTo>
                      <a:cubicBezTo>
                        <a:pt x="147" y="876"/>
                        <a:pt x="147" y="876"/>
                        <a:pt x="147" y="876"/>
                      </a:cubicBezTo>
                      <a:cubicBezTo>
                        <a:pt x="149" y="877"/>
                        <a:pt x="149" y="877"/>
                        <a:pt x="149" y="877"/>
                      </a:cubicBezTo>
                      <a:cubicBezTo>
                        <a:pt x="154" y="877"/>
                        <a:pt x="154" y="877"/>
                        <a:pt x="154" y="877"/>
                      </a:cubicBezTo>
                      <a:cubicBezTo>
                        <a:pt x="155" y="876"/>
                        <a:pt x="155" y="876"/>
                        <a:pt x="155" y="876"/>
                      </a:cubicBezTo>
                      <a:cubicBezTo>
                        <a:pt x="154" y="875"/>
                        <a:pt x="154" y="875"/>
                        <a:pt x="154" y="875"/>
                      </a:cubicBezTo>
                      <a:cubicBezTo>
                        <a:pt x="154" y="873"/>
                        <a:pt x="154" y="873"/>
                        <a:pt x="154" y="873"/>
                      </a:cubicBezTo>
                      <a:cubicBezTo>
                        <a:pt x="156" y="872"/>
                        <a:pt x="156" y="872"/>
                        <a:pt x="156" y="872"/>
                      </a:cubicBezTo>
                      <a:cubicBezTo>
                        <a:pt x="160" y="874"/>
                        <a:pt x="160" y="874"/>
                        <a:pt x="160" y="874"/>
                      </a:cubicBezTo>
                      <a:cubicBezTo>
                        <a:pt x="161" y="876"/>
                        <a:pt x="161" y="876"/>
                        <a:pt x="161" y="876"/>
                      </a:cubicBezTo>
                      <a:cubicBezTo>
                        <a:pt x="159" y="878"/>
                        <a:pt x="159" y="878"/>
                        <a:pt x="159" y="878"/>
                      </a:cubicBezTo>
                      <a:cubicBezTo>
                        <a:pt x="155" y="880"/>
                        <a:pt x="155" y="880"/>
                        <a:pt x="155" y="880"/>
                      </a:cubicBezTo>
                      <a:cubicBezTo>
                        <a:pt x="149" y="880"/>
                        <a:pt x="149" y="880"/>
                        <a:pt x="149" y="880"/>
                      </a:cubicBezTo>
                      <a:cubicBezTo>
                        <a:pt x="147" y="880"/>
                        <a:pt x="147" y="880"/>
                        <a:pt x="147" y="880"/>
                      </a:cubicBezTo>
                      <a:cubicBezTo>
                        <a:pt x="147" y="882"/>
                        <a:pt x="147" y="882"/>
                        <a:pt x="147" y="882"/>
                      </a:cubicBezTo>
                      <a:cubicBezTo>
                        <a:pt x="151" y="887"/>
                        <a:pt x="151" y="887"/>
                        <a:pt x="151" y="887"/>
                      </a:cubicBezTo>
                      <a:cubicBezTo>
                        <a:pt x="155" y="891"/>
                        <a:pt x="155" y="891"/>
                        <a:pt x="155" y="891"/>
                      </a:cubicBezTo>
                      <a:cubicBezTo>
                        <a:pt x="157" y="891"/>
                        <a:pt x="157" y="891"/>
                        <a:pt x="157" y="891"/>
                      </a:cubicBezTo>
                      <a:cubicBezTo>
                        <a:pt x="158" y="890"/>
                        <a:pt x="158" y="890"/>
                        <a:pt x="158" y="890"/>
                      </a:cubicBezTo>
                      <a:cubicBezTo>
                        <a:pt x="161" y="889"/>
                        <a:pt x="161" y="889"/>
                        <a:pt x="161" y="889"/>
                      </a:cubicBezTo>
                      <a:cubicBezTo>
                        <a:pt x="162" y="891"/>
                        <a:pt x="162" y="891"/>
                        <a:pt x="162" y="891"/>
                      </a:cubicBezTo>
                      <a:cubicBezTo>
                        <a:pt x="161" y="892"/>
                        <a:pt x="161" y="892"/>
                        <a:pt x="161" y="892"/>
                      </a:cubicBezTo>
                      <a:cubicBezTo>
                        <a:pt x="160" y="892"/>
                        <a:pt x="160" y="892"/>
                        <a:pt x="160" y="892"/>
                      </a:cubicBezTo>
                      <a:cubicBezTo>
                        <a:pt x="157" y="894"/>
                        <a:pt x="157" y="894"/>
                        <a:pt x="157" y="894"/>
                      </a:cubicBezTo>
                      <a:cubicBezTo>
                        <a:pt x="153" y="892"/>
                        <a:pt x="153" y="892"/>
                        <a:pt x="153" y="892"/>
                      </a:cubicBezTo>
                      <a:cubicBezTo>
                        <a:pt x="149" y="889"/>
                        <a:pt x="149" y="889"/>
                        <a:pt x="149" y="889"/>
                      </a:cubicBezTo>
                      <a:cubicBezTo>
                        <a:pt x="145" y="884"/>
                        <a:pt x="145" y="884"/>
                        <a:pt x="145" y="884"/>
                      </a:cubicBezTo>
                      <a:cubicBezTo>
                        <a:pt x="141" y="883"/>
                        <a:pt x="141" y="883"/>
                        <a:pt x="141" y="883"/>
                      </a:cubicBezTo>
                      <a:cubicBezTo>
                        <a:pt x="138" y="883"/>
                        <a:pt x="138" y="883"/>
                        <a:pt x="138" y="883"/>
                      </a:cubicBezTo>
                      <a:cubicBezTo>
                        <a:pt x="135" y="879"/>
                        <a:pt x="135" y="879"/>
                        <a:pt x="135" y="879"/>
                      </a:cubicBezTo>
                      <a:cubicBezTo>
                        <a:pt x="131" y="878"/>
                        <a:pt x="131" y="878"/>
                        <a:pt x="131" y="878"/>
                      </a:cubicBezTo>
                      <a:cubicBezTo>
                        <a:pt x="130" y="877"/>
                        <a:pt x="130" y="877"/>
                        <a:pt x="130" y="877"/>
                      </a:cubicBezTo>
                      <a:cubicBezTo>
                        <a:pt x="128" y="877"/>
                        <a:pt x="128" y="877"/>
                        <a:pt x="128" y="877"/>
                      </a:cubicBezTo>
                      <a:cubicBezTo>
                        <a:pt x="126" y="878"/>
                        <a:pt x="126" y="878"/>
                        <a:pt x="126" y="878"/>
                      </a:cubicBezTo>
                      <a:cubicBezTo>
                        <a:pt x="123" y="878"/>
                        <a:pt x="123" y="878"/>
                        <a:pt x="123" y="878"/>
                      </a:cubicBezTo>
                      <a:cubicBezTo>
                        <a:pt x="122" y="876"/>
                        <a:pt x="122" y="876"/>
                        <a:pt x="122" y="876"/>
                      </a:cubicBezTo>
                      <a:cubicBezTo>
                        <a:pt x="120" y="877"/>
                        <a:pt x="120" y="877"/>
                        <a:pt x="120" y="877"/>
                      </a:cubicBezTo>
                      <a:cubicBezTo>
                        <a:pt x="117" y="879"/>
                        <a:pt x="117" y="879"/>
                        <a:pt x="117" y="879"/>
                      </a:cubicBezTo>
                      <a:cubicBezTo>
                        <a:pt x="116" y="883"/>
                        <a:pt x="116" y="883"/>
                        <a:pt x="116" y="883"/>
                      </a:cubicBezTo>
                      <a:cubicBezTo>
                        <a:pt x="112" y="885"/>
                        <a:pt x="112" y="885"/>
                        <a:pt x="112" y="885"/>
                      </a:cubicBezTo>
                      <a:cubicBezTo>
                        <a:pt x="110" y="887"/>
                        <a:pt x="110" y="887"/>
                        <a:pt x="110" y="887"/>
                      </a:cubicBezTo>
                      <a:cubicBezTo>
                        <a:pt x="107" y="889"/>
                        <a:pt x="107" y="889"/>
                        <a:pt x="107" y="889"/>
                      </a:cubicBezTo>
                      <a:cubicBezTo>
                        <a:pt x="105" y="892"/>
                        <a:pt x="105" y="892"/>
                        <a:pt x="105" y="892"/>
                      </a:cubicBezTo>
                      <a:cubicBezTo>
                        <a:pt x="104" y="895"/>
                        <a:pt x="104" y="895"/>
                        <a:pt x="104" y="895"/>
                      </a:cubicBezTo>
                      <a:cubicBezTo>
                        <a:pt x="105" y="896"/>
                        <a:pt x="105" y="896"/>
                        <a:pt x="105" y="896"/>
                      </a:cubicBezTo>
                      <a:cubicBezTo>
                        <a:pt x="108" y="894"/>
                        <a:pt x="108" y="894"/>
                        <a:pt x="108" y="894"/>
                      </a:cubicBezTo>
                      <a:cubicBezTo>
                        <a:pt x="111" y="893"/>
                        <a:pt x="111" y="893"/>
                        <a:pt x="111" y="893"/>
                      </a:cubicBezTo>
                      <a:cubicBezTo>
                        <a:pt x="113" y="893"/>
                        <a:pt x="113" y="893"/>
                        <a:pt x="113" y="893"/>
                      </a:cubicBezTo>
                      <a:cubicBezTo>
                        <a:pt x="114" y="894"/>
                        <a:pt x="114" y="894"/>
                        <a:pt x="114" y="894"/>
                      </a:cubicBezTo>
                      <a:cubicBezTo>
                        <a:pt x="117" y="894"/>
                        <a:pt x="117" y="894"/>
                        <a:pt x="117" y="894"/>
                      </a:cubicBezTo>
                      <a:cubicBezTo>
                        <a:pt x="124" y="892"/>
                        <a:pt x="124" y="892"/>
                        <a:pt x="124" y="892"/>
                      </a:cubicBezTo>
                      <a:cubicBezTo>
                        <a:pt x="129" y="892"/>
                        <a:pt x="129" y="892"/>
                        <a:pt x="129" y="892"/>
                      </a:cubicBezTo>
                      <a:cubicBezTo>
                        <a:pt x="133" y="895"/>
                        <a:pt x="133" y="895"/>
                        <a:pt x="133" y="895"/>
                      </a:cubicBezTo>
                      <a:cubicBezTo>
                        <a:pt x="134" y="897"/>
                        <a:pt x="134" y="897"/>
                        <a:pt x="134" y="897"/>
                      </a:cubicBezTo>
                      <a:cubicBezTo>
                        <a:pt x="132" y="897"/>
                        <a:pt x="132" y="897"/>
                        <a:pt x="132" y="897"/>
                      </a:cubicBezTo>
                      <a:cubicBezTo>
                        <a:pt x="128" y="897"/>
                        <a:pt x="128" y="897"/>
                        <a:pt x="128" y="897"/>
                      </a:cubicBezTo>
                      <a:cubicBezTo>
                        <a:pt x="125" y="897"/>
                        <a:pt x="125" y="897"/>
                        <a:pt x="125" y="897"/>
                      </a:cubicBezTo>
                      <a:cubicBezTo>
                        <a:pt x="113" y="897"/>
                        <a:pt x="113" y="897"/>
                        <a:pt x="113" y="897"/>
                      </a:cubicBezTo>
                      <a:cubicBezTo>
                        <a:pt x="110" y="897"/>
                        <a:pt x="110" y="897"/>
                        <a:pt x="110" y="897"/>
                      </a:cubicBezTo>
                      <a:cubicBezTo>
                        <a:pt x="109" y="898"/>
                        <a:pt x="109" y="898"/>
                        <a:pt x="109" y="898"/>
                      </a:cubicBezTo>
                      <a:cubicBezTo>
                        <a:pt x="104" y="898"/>
                        <a:pt x="104" y="898"/>
                        <a:pt x="104" y="898"/>
                      </a:cubicBezTo>
                      <a:cubicBezTo>
                        <a:pt x="104" y="900"/>
                        <a:pt x="104" y="900"/>
                        <a:pt x="104" y="900"/>
                      </a:cubicBezTo>
                      <a:cubicBezTo>
                        <a:pt x="105" y="902"/>
                        <a:pt x="105" y="902"/>
                        <a:pt x="105" y="902"/>
                      </a:cubicBezTo>
                      <a:cubicBezTo>
                        <a:pt x="108" y="902"/>
                        <a:pt x="108" y="902"/>
                        <a:pt x="108" y="902"/>
                      </a:cubicBezTo>
                      <a:cubicBezTo>
                        <a:pt x="109" y="903"/>
                        <a:pt x="109" y="903"/>
                        <a:pt x="109" y="903"/>
                      </a:cubicBezTo>
                      <a:cubicBezTo>
                        <a:pt x="107" y="904"/>
                        <a:pt x="107" y="904"/>
                        <a:pt x="107" y="904"/>
                      </a:cubicBezTo>
                      <a:cubicBezTo>
                        <a:pt x="105" y="903"/>
                        <a:pt x="105" y="903"/>
                        <a:pt x="105" y="903"/>
                      </a:cubicBezTo>
                      <a:cubicBezTo>
                        <a:pt x="101" y="903"/>
                        <a:pt x="101" y="903"/>
                        <a:pt x="101" y="903"/>
                      </a:cubicBezTo>
                      <a:cubicBezTo>
                        <a:pt x="101" y="904"/>
                        <a:pt x="101" y="904"/>
                        <a:pt x="101" y="904"/>
                      </a:cubicBezTo>
                      <a:cubicBezTo>
                        <a:pt x="103" y="906"/>
                        <a:pt x="103" y="906"/>
                        <a:pt x="103" y="906"/>
                      </a:cubicBezTo>
                      <a:cubicBezTo>
                        <a:pt x="106" y="907"/>
                        <a:pt x="106" y="907"/>
                        <a:pt x="106" y="907"/>
                      </a:cubicBezTo>
                      <a:cubicBezTo>
                        <a:pt x="114" y="910"/>
                        <a:pt x="114" y="910"/>
                        <a:pt x="114" y="910"/>
                      </a:cubicBezTo>
                      <a:cubicBezTo>
                        <a:pt x="117" y="909"/>
                        <a:pt x="117" y="909"/>
                        <a:pt x="117" y="909"/>
                      </a:cubicBezTo>
                      <a:cubicBezTo>
                        <a:pt x="118" y="908"/>
                        <a:pt x="118" y="908"/>
                        <a:pt x="118" y="908"/>
                      </a:cubicBezTo>
                      <a:cubicBezTo>
                        <a:pt x="120" y="908"/>
                        <a:pt x="120" y="908"/>
                        <a:pt x="120" y="908"/>
                      </a:cubicBezTo>
                      <a:cubicBezTo>
                        <a:pt x="121" y="909"/>
                        <a:pt x="121" y="909"/>
                        <a:pt x="121" y="909"/>
                      </a:cubicBezTo>
                      <a:cubicBezTo>
                        <a:pt x="121" y="911"/>
                        <a:pt x="121" y="911"/>
                        <a:pt x="121" y="911"/>
                      </a:cubicBezTo>
                      <a:cubicBezTo>
                        <a:pt x="122" y="914"/>
                        <a:pt x="122" y="914"/>
                        <a:pt x="122" y="914"/>
                      </a:cubicBezTo>
                      <a:cubicBezTo>
                        <a:pt x="120" y="915"/>
                        <a:pt x="120" y="915"/>
                        <a:pt x="120" y="915"/>
                      </a:cubicBezTo>
                      <a:cubicBezTo>
                        <a:pt x="118" y="914"/>
                        <a:pt x="118" y="914"/>
                        <a:pt x="118" y="914"/>
                      </a:cubicBezTo>
                      <a:cubicBezTo>
                        <a:pt x="116" y="915"/>
                        <a:pt x="116" y="915"/>
                        <a:pt x="116" y="915"/>
                      </a:cubicBezTo>
                      <a:cubicBezTo>
                        <a:pt x="115" y="914"/>
                        <a:pt x="115" y="914"/>
                        <a:pt x="115" y="914"/>
                      </a:cubicBezTo>
                      <a:cubicBezTo>
                        <a:pt x="112" y="915"/>
                        <a:pt x="112" y="915"/>
                        <a:pt x="112" y="915"/>
                      </a:cubicBezTo>
                      <a:cubicBezTo>
                        <a:pt x="112" y="917"/>
                        <a:pt x="112" y="917"/>
                        <a:pt x="112" y="917"/>
                      </a:cubicBezTo>
                      <a:cubicBezTo>
                        <a:pt x="113" y="918"/>
                        <a:pt x="113" y="918"/>
                        <a:pt x="113" y="918"/>
                      </a:cubicBezTo>
                      <a:cubicBezTo>
                        <a:pt x="114" y="917"/>
                        <a:pt x="114" y="917"/>
                        <a:pt x="114" y="917"/>
                      </a:cubicBezTo>
                      <a:cubicBezTo>
                        <a:pt x="117" y="919"/>
                        <a:pt x="117" y="919"/>
                        <a:pt x="117" y="919"/>
                      </a:cubicBezTo>
                      <a:cubicBezTo>
                        <a:pt x="117" y="920"/>
                        <a:pt x="117" y="920"/>
                        <a:pt x="117" y="920"/>
                      </a:cubicBezTo>
                      <a:cubicBezTo>
                        <a:pt x="114" y="922"/>
                        <a:pt x="114" y="922"/>
                        <a:pt x="114" y="922"/>
                      </a:cubicBezTo>
                      <a:cubicBezTo>
                        <a:pt x="111" y="921"/>
                        <a:pt x="111" y="921"/>
                        <a:pt x="111" y="921"/>
                      </a:cubicBezTo>
                      <a:cubicBezTo>
                        <a:pt x="108" y="919"/>
                        <a:pt x="108" y="919"/>
                        <a:pt x="108" y="919"/>
                      </a:cubicBezTo>
                      <a:cubicBezTo>
                        <a:pt x="105" y="920"/>
                        <a:pt x="105" y="920"/>
                        <a:pt x="105" y="920"/>
                      </a:cubicBezTo>
                      <a:cubicBezTo>
                        <a:pt x="104" y="922"/>
                        <a:pt x="104" y="922"/>
                        <a:pt x="104" y="922"/>
                      </a:cubicBezTo>
                      <a:cubicBezTo>
                        <a:pt x="105" y="925"/>
                        <a:pt x="105" y="925"/>
                        <a:pt x="105" y="925"/>
                      </a:cubicBezTo>
                      <a:cubicBezTo>
                        <a:pt x="107" y="925"/>
                        <a:pt x="107" y="925"/>
                        <a:pt x="107" y="925"/>
                      </a:cubicBezTo>
                      <a:cubicBezTo>
                        <a:pt x="109" y="924"/>
                        <a:pt x="109" y="924"/>
                        <a:pt x="109" y="924"/>
                      </a:cubicBezTo>
                      <a:cubicBezTo>
                        <a:pt x="113" y="924"/>
                        <a:pt x="113" y="924"/>
                        <a:pt x="113" y="924"/>
                      </a:cubicBezTo>
                      <a:cubicBezTo>
                        <a:pt x="115" y="925"/>
                        <a:pt x="115" y="925"/>
                        <a:pt x="115" y="925"/>
                      </a:cubicBezTo>
                      <a:cubicBezTo>
                        <a:pt x="116" y="927"/>
                        <a:pt x="116" y="927"/>
                        <a:pt x="116" y="927"/>
                      </a:cubicBezTo>
                      <a:cubicBezTo>
                        <a:pt x="113" y="927"/>
                        <a:pt x="113" y="927"/>
                        <a:pt x="113" y="927"/>
                      </a:cubicBezTo>
                      <a:cubicBezTo>
                        <a:pt x="108" y="927"/>
                        <a:pt x="108" y="927"/>
                        <a:pt x="108" y="927"/>
                      </a:cubicBezTo>
                      <a:cubicBezTo>
                        <a:pt x="106" y="928"/>
                        <a:pt x="106" y="928"/>
                        <a:pt x="106" y="928"/>
                      </a:cubicBezTo>
                      <a:cubicBezTo>
                        <a:pt x="104" y="926"/>
                        <a:pt x="104" y="926"/>
                        <a:pt x="104" y="926"/>
                      </a:cubicBezTo>
                      <a:cubicBezTo>
                        <a:pt x="102" y="926"/>
                        <a:pt x="102" y="926"/>
                        <a:pt x="102" y="926"/>
                      </a:cubicBezTo>
                      <a:cubicBezTo>
                        <a:pt x="100" y="929"/>
                        <a:pt x="100" y="929"/>
                        <a:pt x="100" y="929"/>
                      </a:cubicBezTo>
                      <a:cubicBezTo>
                        <a:pt x="100" y="936"/>
                        <a:pt x="100" y="936"/>
                        <a:pt x="100" y="936"/>
                      </a:cubicBezTo>
                      <a:cubicBezTo>
                        <a:pt x="99" y="938"/>
                        <a:pt x="99" y="938"/>
                        <a:pt x="99" y="938"/>
                      </a:cubicBezTo>
                      <a:cubicBezTo>
                        <a:pt x="99" y="940"/>
                        <a:pt x="99" y="940"/>
                        <a:pt x="99" y="940"/>
                      </a:cubicBezTo>
                      <a:cubicBezTo>
                        <a:pt x="102" y="940"/>
                        <a:pt x="102" y="940"/>
                        <a:pt x="102" y="940"/>
                      </a:cubicBezTo>
                      <a:cubicBezTo>
                        <a:pt x="109" y="936"/>
                        <a:pt x="109" y="936"/>
                        <a:pt x="109" y="936"/>
                      </a:cubicBezTo>
                      <a:cubicBezTo>
                        <a:pt x="111" y="935"/>
                        <a:pt x="111" y="935"/>
                        <a:pt x="111" y="935"/>
                      </a:cubicBezTo>
                      <a:cubicBezTo>
                        <a:pt x="117" y="933"/>
                        <a:pt x="117" y="933"/>
                        <a:pt x="117" y="933"/>
                      </a:cubicBezTo>
                      <a:cubicBezTo>
                        <a:pt x="120" y="931"/>
                        <a:pt x="120" y="931"/>
                        <a:pt x="120" y="931"/>
                      </a:cubicBezTo>
                      <a:cubicBezTo>
                        <a:pt x="123" y="926"/>
                        <a:pt x="123" y="926"/>
                        <a:pt x="123" y="926"/>
                      </a:cubicBezTo>
                      <a:cubicBezTo>
                        <a:pt x="127" y="921"/>
                        <a:pt x="127" y="921"/>
                        <a:pt x="127" y="921"/>
                      </a:cubicBezTo>
                      <a:cubicBezTo>
                        <a:pt x="137" y="916"/>
                        <a:pt x="137" y="916"/>
                        <a:pt x="137" y="916"/>
                      </a:cubicBezTo>
                      <a:cubicBezTo>
                        <a:pt x="141" y="914"/>
                        <a:pt x="141" y="914"/>
                        <a:pt x="141" y="914"/>
                      </a:cubicBezTo>
                      <a:cubicBezTo>
                        <a:pt x="143" y="915"/>
                        <a:pt x="143" y="915"/>
                        <a:pt x="143" y="915"/>
                      </a:cubicBezTo>
                      <a:cubicBezTo>
                        <a:pt x="144" y="917"/>
                        <a:pt x="144" y="917"/>
                        <a:pt x="144" y="917"/>
                      </a:cubicBezTo>
                      <a:cubicBezTo>
                        <a:pt x="142" y="918"/>
                        <a:pt x="142" y="918"/>
                        <a:pt x="142" y="918"/>
                      </a:cubicBezTo>
                      <a:cubicBezTo>
                        <a:pt x="139" y="919"/>
                        <a:pt x="139" y="919"/>
                        <a:pt x="139" y="919"/>
                      </a:cubicBezTo>
                      <a:cubicBezTo>
                        <a:pt x="135" y="921"/>
                        <a:pt x="135" y="921"/>
                        <a:pt x="135" y="921"/>
                      </a:cubicBezTo>
                      <a:cubicBezTo>
                        <a:pt x="129" y="924"/>
                        <a:pt x="129" y="924"/>
                        <a:pt x="129" y="924"/>
                      </a:cubicBezTo>
                      <a:cubicBezTo>
                        <a:pt x="123" y="932"/>
                        <a:pt x="123" y="932"/>
                        <a:pt x="123" y="932"/>
                      </a:cubicBezTo>
                      <a:cubicBezTo>
                        <a:pt x="121" y="936"/>
                        <a:pt x="121" y="936"/>
                        <a:pt x="121" y="936"/>
                      </a:cubicBezTo>
                      <a:cubicBezTo>
                        <a:pt x="115" y="937"/>
                        <a:pt x="115" y="937"/>
                        <a:pt x="115" y="937"/>
                      </a:cubicBezTo>
                      <a:cubicBezTo>
                        <a:pt x="113" y="938"/>
                        <a:pt x="113" y="938"/>
                        <a:pt x="113" y="938"/>
                      </a:cubicBezTo>
                      <a:cubicBezTo>
                        <a:pt x="108" y="942"/>
                        <a:pt x="108" y="942"/>
                        <a:pt x="108" y="942"/>
                      </a:cubicBezTo>
                      <a:cubicBezTo>
                        <a:pt x="103" y="944"/>
                        <a:pt x="103" y="944"/>
                        <a:pt x="103" y="944"/>
                      </a:cubicBezTo>
                      <a:cubicBezTo>
                        <a:pt x="101" y="944"/>
                        <a:pt x="101" y="944"/>
                        <a:pt x="101" y="944"/>
                      </a:cubicBezTo>
                      <a:cubicBezTo>
                        <a:pt x="100" y="946"/>
                        <a:pt x="100" y="946"/>
                        <a:pt x="100" y="946"/>
                      </a:cubicBezTo>
                      <a:cubicBezTo>
                        <a:pt x="102" y="946"/>
                        <a:pt x="102" y="946"/>
                        <a:pt x="102" y="946"/>
                      </a:cubicBezTo>
                      <a:cubicBezTo>
                        <a:pt x="104" y="946"/>
                        <a:pt x="104" y="946"/>
                        <a:pt x="104" y="946"/>
                      </a:cubicBezTo>
                      <a:cubicBezTo>
                        <a:pt x="106" y="946"/>
                        <a:pt x="106" y="946"/>
                        <a:pt x="106" y="946"/>
                      </a:cubicBezTo>
                      <a:cubicBezTo>
                        <a:pt x="106" y="948"/>
                        <a:pt x="106" y="948"/>
                        <a:pt x="106" y="948"/>
                      </a:cubicBezTo>
                      <a:cubicBezTo>
                        <a:pt x="109" y="945"/>
                        <a:pt x="109" y="945"/>
                        <a:pt x="109" y="945"/>
                      </a:cubicBezTo>
                      <a:cubicBezTo>
                        <a:pt x="111" y="943"/>
                        <a:pt x="111" y="943"/>
                        <a:pt x="111" y="943"/>
                      </a:cubicBezTo>
                      <a:cubicBezTo>
                        <a:pt x="112" y="943"/>
                        <a:pt x="112" y="943"/>
                        <a:pt x="112" y="943"/>
                      </a:cubicBezTo>
                      <a:cubicBezTo>
                        <a:pt x="114" y="946"/>
                        <a:pt x="114" y="946"/>
                        <a:pt x="114" y="946"/>
                      </a:cubicBezTo>
                      <a:cubicBezTo>
                        <a:pt x="116" y="947"/>
                        <a:pt x="116" y="947"/>
                        <a:pt x="116" y="947"/>
                      </a:cubicBezTo>
                      <a:cubicBezTo>
                        <a:pt x="118" y="945"/>
                        <a:pt x="118" y="945"/>
                        <a:pt x="118" y="945"/>
                      </a:cubicBezTo>
                      <a:cubicBezTo>
                        <a:pt x="122" y="942"/>
                        <a:pt x="122" y="942"/>
                        <a:pt x="122" y="942"/>
                      </a:cubicBezTo>
                      <a:cubicBezTo>
                        <a:pt x="124" y="943"/>
                        <a:pt x="124" y="943"/>
                        <a:pt x="124" y="943"/>
                      </a:cubicBezTo>
                      <a:cubicBezTo>
                        <a:pt x="125" y="944"/>
                        <a:pt x="125" y="944"/>
                        <a:pt x="125" y="944"/>
                      </a:cubicBezTo>
                      <a:cubicBezTo>
                        <a:pt x="124" y="946"/>
                        <a:pt x="124" y="946"/>
                        <a:pt x="124" y="946"/>
                      </a:cubicBezTo>
                      <a:cubicBezTo>
                        <a:pt x="122" y="946"/>
                        <a:pt x="122" y="946"/>
                        <a:pt x="122" y="946"/>
                      </a:cubicBezTo>
                      <a:cubicBezTo>
                        <a:pt x="119" y="949"/>
                        <a:pt x="119" y="949"/>
                        <a:pt x="119" y="949"/>
                      </a:cubicBezTo>
                      <a:cubicBezTo>
                        <a:pt x="116" y="950"/>
                        <a:pt x="116" y="950"/>
                        <a:pt x="116" y="950"/>
                      </a:cubicBezTo>
                      <a:cubicBezTo>
                        <a:pt x="113" y="949"/>
                        <a:pt x="113" y="949"/>
                        <a:pt x="113" y="949"/>
                      </a:cubicBezTo>
                      <a:cubicBezTo>
                        <a:pt x="112" y="948"/>
                        <a:pt x="112" y="948"/>
                        <a:pt x="112" y="948"/>
                      </a:cubicBezTo>
                      <a:cubicBezTo>
                        <a:pt x="110" y="948"/>
                        <a:pt x="110" y="948"/>
                        <a:pt x="110" y="948"/>
                      </a:cubicBezTo>
                      <a:cubicBezTo>
                        <a:pt x="108" y="951"/>
                        <a:pt x="108" y="951"/>
                        <a:pt x="108" y="951"/>
                      </a:cubicBezTo>
                      <a:cubicBezTo>
                        <a:pt x="104" y="953"/>
                        <a:pt x="104" y="953"/>
                        <a:pt x="104" y="953"/>
                      </a:cubicBezTo>
                      <a:cubicBezTo>
                        <a:pt x="103" y="954"/>
                        <a:pt x="103" y="954"/>
                        <a:pt x="103" y="954"/>
                      </a:cubicBezTo>
                      <a:cubicBezTo>
                        <a:pt x="106" y="956"/>
                        <a:pt x="106" y="956"/>
                        <a:pt x="106" y="956"/>
                      </a:cubicBezTo>
                      <a:cubicBezTo>
                        <a:pt x="108" y="956"/>
                        <a:pt x="108" y="956"/>
                        <a:pt x="108" y="956"/>
                      </a:cubicBezTo>
                      <a:cubicBezTo>
                        <a:pt x="110" y="958"/>
                        <a:pt x="110" y="958"/>
                        <a:pt x="110" y="958"/>
                      </a:cubicBezTo>
                      <a:cubicBezTo>
                        <a:pt x="108" y="962"/>
                        <a:pt x="108" y="962"/>
                        <a:pt x="108" y="962"/>
                      </a:cubicBezTo>
                      <a:cubicBezTo>
                        <a:pt x="108" y="963"/>
                        <a:pt x="108" y="963"/>
                        <a:pt x="108" y="963"/>
                      </a:cubicBezTo>
                      <a:cubicBezTo>
                        <a:pt x="110" y="964"/>
                        <a:pt x="110" y="964"/>
                        <a:pt x="110" y="964"/>
                      </a:cubicBezTo>
                      <a:cubicBezTo>
                        <a:pt x="110" y="966"/>
                        <a:pt x="110" y="966"/>
                        <a:pt x="110" y="966"/>
                      </a:cubicBezTo>
                      <a:cubicBezTo>
                        <a:pt x="110" y="968"/>
                        <a:pt x="110" y="968"/>
                        <a:pt x="110" y="968"/>
                      </a:cubicBezTo>
                      <a:cubicBezTo>
                        <a:pt x="112" y="968"/>
                        <a:pt x="112" y="968"/>
                        <a:pt x="112" y="968"/>
                      </a:cubicBezTo>
                      <a:cubicBezTo>
                        <a:pt x="114" y="965"/>
                        <a:pt x="114" y="965"/>
                        <a:pt x="114" y="965"/>
                      </a:cubicBezTo>
                      <a:cubicBezTo>
                        <a:pt x="117" y="964"/>
                        <a:pt x="117" y="964"/>
                        <a:pt x="117" y="964"/>
                      </a:cubicBezTo>
                      <a:cubicBezTo>
                        <a:pt x="119" y="962"/>
                        <a:pt x="119" y="962"/>
                        <a:pt x="119" y="962"/>
                      </a:cubicBezTo>
                      <a:cubicBezTo>
                        <a:pt x="120" y="959"/>
                        <a:pt x="120" y="959"/>
                        <a:pt x="120" y="959"/>
                      </a:cubicBezTo>
                      <a:cubicBezTo>
                        <a:pt x="122" y="958"/>
                        <a:pt x="122" y="958"/>
                        <a:pt x="122" y="958"/>
                      </a:cubicBezTo>
                      <a:cubicBezTo>
                        <a:pt x="124" y="958"/>
                        <a:pt x="124" y="958"/>
                        <a:pt x="124" y="958"/>
                      </a:cubicBezTo>
                      <a:cubicBezTo>
                        <a:pt x="131" y="953"/>
                        <a:pt x="131" y="953"/>
                        <a:pt x="131" y="953"/>
                      </a:cubicBezTo>
                      <a:cubicBezTo>
                        <a:pt x="132" y="954"/>
                        <a:pt x="132" y="954"/>
                        <a:pt x="132" y="954"/>
                      </a:cubicBezTo>
                      <a:cubicBezTo>
                        <a:pt x="133" y="956"/>
                        <a:pt x="133" y="956"/>
                        <a:pt x="133" y="956"/>
                      </a:cubicBezTo>
                      <a:cubicBezTo>
                        <a:pt x="136" y="957"/>
                        <a:pt x="136" y="957"/>
                        <a:pt x="136" y="957"/>
                      </a:cubicBezTo>
                      <a:cubicBezTo>
                        <a:pt x="137" y="960"/>
                        <a:pt x="137" y="960"/>
                        <a:pt x="137" y="960"/>
                      </a:cubicBezTo>
                      <a:cubicBezTo>
                        <a:pt x="135" y="960"/>
                        <a:pt x="135" y="960"/>
                        <a:pt x="135" y="960"/>
                      </a:cubicBezTo>
                      <a:cubicBezTo>
                        <a:pt x="133" y="958"/>
                        <a:pt x="133" y="958"/>
                        <a:pt x="133" y="958"/>
                      </a:cubicBezTo>
                      <a:cubicBezTo>
                        <a:pt x="127" y="959"/>
                        <a:pt x="127" y="959"/>
                        <a:pt x="127" y="959"/>
                      </a:cubicBezTo>
                      <a:cubicBezTo>
                        <a:pt x="126" y="961"/>
                        <a:pt x="126" y="961"/>
                        <a:pt x="126" y="961"/>
                      </a:cubicBezTo>
                      <a:cubicBezTo>
                        <a:pt x="125" y="959"/>
                        <a:pt x="125" y="959"/>
                        <a:pt x="125" y="959"/>
                      </a:cubicBezTo>
                      <a:cubicBezTo>
                        <a:pt x="123" y="960"/>
                        <a:pt x="123" y="960"/>
                        <a:pt x="123" y="960"/>
                      </a:cubicBezTo>
                      <a:cubicBezTo>
                        <a:pt x="122" y="963"/>
                        <a:pt x="122" y="963"/>
                        <a:pt x="122" y="963"/>
                      </a:cubicBezTo>
                      <a:cubicBezTo>
                        <a:pt x="120" y="964"/>
                        <a:pt x="120" y="964"/>
                        <a:pt x="120" y="964"/>
                      </a:cubicBezTo>
                      <a:cubicBezTo>
                        <a:pt x="119" y="967"/>
                        <a:pt x="119" y="967"/>
                        <a:pt x="119" y="967"/>
                      </a:cubicBezTo>
                      <a:cubicBezTo>
                        <a:pt x="114" y="968"/>
                        <a:pt x="114" y="968"/>
                        <a:pt x="114" y="968"/>
                      </a:cubicBezTo>
                      <a:cubicBezTo>
                        <a:pt x="112" y="970"/>
                        <a:pt x="112" y="970"/>
                        <a:pt x="112" y="970"/>
                      </a:cubicBezTo>
                      <a:cubicBezTo>
                        <a:pt x="109" y="970"/>
                        <a:pt x="109" y="970"/>
                        <a:pt x="109" y="970"/>
                      </a:cubicBezTo>
                      <a:cubicBezTo>
                        <a:pt x="106" y="973"/>
                        <a:pt x="106" y="973"/>
                        <a:pt x="106" y="973"/>
                      </a:cubicBezTo>
                      <a:cubicBezTo>
                        <a:pt x="107" y="976"/>
                        <a:pt x="107" y="976"/>
                        <a:pt x="107" y="976"/>
                      </a:cubicBezTo>
                      <a:cubicBezTo>
                        <a:pt x="109" y="976"/>
                        <a:pt x="109" y="976"/>
                        <a:pt x="109" y="976"/>
                      </a:cubicBezTo>
                      <a:cubicBezTo>
                        <a:pt x="111" y="974"/>
                        <a:pt x="111" y="974"/>
                        <a:pt x="111" y="974"/>
                      </a:cubicBezTo>
                      <a:cubicBezTo>
                        <a:pt x="112" y="974"/>
                        <a:pt x="112" y="974"/>
                        <a:pt x="112" y="974"/>
                      </a:cubicBezTo>
                      <a:cubicBezTo>
                        <a:pt x="113" y="977"/>
                        <a:pt x="113" y="977"/>
                        <a:pt x="113" y="977"/>
                      </a:cubicBezTo>
                      <a:cubicBezTo>
                        <a:pt x="113" y="980"/>
                        <a:pt x="113" y="980"/>
                        <a:pt x="113" y="980"/>
                      </a:cubicBezTo>
                      <a:cubicBezTo>
                        <a:pt x="110" y="982"/>
                        <a:pt x="110" y="982"/>
                        <a:pt x="110" y="982"/>
                      </a:cubicBezTo>
                      <a:cubicBezTo>
                        <a:pt x="110" y="988"/>
                        <a:pt x="110" y="988"/>
                        <a:pt x="110" y="988"/>
                      </a:cubicBezTo>
                      <a:cubicBezTo>
                        <a:pt x="112" y="991"/>
                        <a:pt x="112" y="991"/>
                        <a:pt x="112" y="991"/>
                      </a:cubicBezTo>
                      <a:cubicBezTo>
                        <a:pt x="114" y="991"/>
                        <a:pt x="114" y="991"/>
                        <a:pt x="114" y="991"/>
                      </a:cubicBezTo>
                      <a:cubicBezTo>
                        <a:pt x="117" y="989"/>
                        <a:pt x="117" y="989"/>
                        <a:pt x="117" y="989"/>
                      </a:cubicBezTo>
                      <a:cubicBezTo>
                        <a:pt x="117" y="986"/>
                        <a:pt x="117" y="986"/>
                        <a:pt x="117" y="986"/>
                      </a:cubicBezTo>
                      <a:cubicBezTo>
                        <a:pt x="120" y="987"/>
                        <a:pt x="120" y="987"/>
                        <a:pt x="120" y="987"/>
                      </a:cubicBezTo>
                      <a:cubicBezTo>
                        <a:pt x="121" y="985"/>
                        <a:pt x="121" y="985"/>
                        <a:pt x="121" y="985"/>
                      </a:cubicBezTo>
                      <a:cubicBezTo>
                        <a:pt x="123" y="985"/>
                        <a:pt x="123" y="985"/>
                        <a:pt x="123" y="985"/>
                      </a:cubicBezTo>
                      <a:cubicBezTo>
                        <a:pt x="125" y="987"/>
                        <a:pt x="125" y="987"/>
                        <a:pt x="125" y="987"/>
                      </a:cubicBezTo>
                      <a:cubicBezTo>
                        <a:pt x="123" y="988"/>
                        <a:pt x="123" y="988"/>
                        <a:pt x="123" y="988"/>
                      </a:cubicBezTo>
                      <a:cubicBezTo>
                        <a:pt x="121" y="991"/>
                        <a:pt x="121" y="991"/>
                        <a:pt x="121" y="991"/>
                      </a:cubicBezTo>
                      <a:cubicBezTo>
                        <a:pt x="118" y="991"/>
                        <a:pt x="118" y="991"/>
                        <a:pt x="118" y="991"/>
                      </a:cubicBezTo>
                      <a:cubicBezTo>
                        <a:pt x="113" y="993"/>
                        <a:pt x="113" y="993"/>
                        <a:pt x="113" y="993"/>
                      </a:cubicBezTo>
                      <a:cubicBezTo>
                        <a:pt x="111" y="994"/>
                        <a:pt x="111" y="994"/>
                        <a:pt x="111" y="994"/>
                      </a:cubicBezTo>
                      <a:cubicBezTo>
                        <a:pt x="110" y="997"/>
                        <a:pt x="110" y="997"/>
                        <a:pt x="110" y="997"/>
                      </a:cubicBezTo>
                      <a:cubicBezTo>
                        <a:pt x="110" y="1000"/>
                        <a:pt x="110" y="1000"/>
                        <a:pt x="110" y="1000"/>
                      </a:cubicBezTo>
                      <a:cubicBezTo>
                        <a:pt x="112" y="1002"/>
                        <a:pt x="112" y="1002"/>
                        <a:pt x="112" y="1002"/>
                      </a:cubicBezTo>
                      <a:cubicBezTo>
                        <a:pt x="111" y="1004"/>
                        <a:pt x="111" y="1004"/>
                        <a:pt x="111" y="1004"/>
                      </a:cubicBezTo>
                      <a:cubicBezTo>
                        <a:pt x="110" y="1008"/>
                        <a:pt x="110" y="1008"/>
                        <a:pt x="110" y="1008"/>
                      </a:cubicBezTo>
                      <a:cubicBezTo>
                        <a:pt x="111" y="1013"/>
                        <a:pt x="111" y="1013"/>
                        <a:pt x="111" y="1013"/>
                      </a:cubicBezTo>
                      <a:cubicBezTo>
                        <a:pt x="113" y="1013"/>
                        <a:pt x="113" y="1013"/>
                        <a:pt x="113" y="1013"/>
                      </a:cubicBezTo>
                      <a:cubicBezTo>
                        <a:pt x="115" y="1007"/>
                        <a:pt x="115" y="1007"/>
                        <a:pt x="115" y="1007"/>
                      </a:cubicBezTo>
                      <a:cubicBezTo>
                        <a:pt x="117" y="1007"/>
                        <a:pt x="117" y="1007"/>
                        <a:pt x="117" y="1007"/>
                      </a:cubicBezTo>
                      <a:cubicBezTo>
                        <a:pt x="121" y="1002"/>
                        <a:pt x="121" y="1002"/>
                        <a:pt x="121" y="1002"/>
                      </a:cubicBezTo>
                      <a:cubicBezTo>
                        <a:pt x="122" y="1002"/>
                        <a:pt x="122" y="1002"/>
                        <a:pt x="122" y="1002"/>
                      </a:cubicBezTo>
                      <a:cubicBezTo>
                        <a:pt x="124" y="999"/>
                        <a:pt x="124" y="999"/>
                        <a:pt x="124" y="999"/>
                      </a:cubicBezTo>
                      <a:cubicBezTo>
                        <a:pt x="126" y="998"/>
                        <a:pt x="126" y="998"/>
                        <a:pt x="126" y="998"/>
                      </a:cubicBezTo>
                      <a:cubicBezTo>
                        <a:pt x="127" y="998"/>
                        <a:pt x="127" y="998"/>
                        <a:pt x="127" y="998"/>
                      </a:cubicBezTo>
                      <a:cubicBezTo>
                        <a:pt x="125" y="1000"/>
                        <a:pt x="125" y="1000"/>
                        <a:pt x="125" y="1000"/>
                      </a:cubicBezTo>
                      <a:cubicBezTo>
                        <a:pt x="125" y="1002"/>
                        <a:pt x="125" y="1002"/>
                        <a:pt x="125" y="1002"/>
                      </a:cubicBezTo>
                      <a:cubicBezTo>
                        <a:pt x="126" y="1003"/>
                        <a:pt x="126" y="1003"/>
                        <a:pt x="126" y="1003"/>
                      </a:cubicBezTo>
                      <a:cubicBezTo>
                        <a:pt x="128" y="1002"/>
                        <a:pt x="128" y="1002"/>
                        <a:pt x="128" y="1002"/>
                      </a:cubicBezTo>
                      <a:cubicBezTo>
                        <a:pt x="132" y="997"/>
                        <a:pt x="132" y="997"/>
                        <a:pt x="132" y="997"/>
                      </a:cubicBezTo>
                      <a:cubicBezTo>
                        <a:pt x="133" y="995"/>
                        <a:pt x="133" y="995"/>
                        <a:pt x="133" y="995"/>
                      </a:cubicBezTo>
                      <a:cubicBezTo>
                        <a:pt x="135" y="998"/>
                        <a:pt x="135" y="998"/>
                        <a:pt x="135" y="998"/>
                      </a:cubicBezTo>
                      <a:cubicBezTo>
                        <a:pt x="137" y="997"/>
                        <a:pt x="137" y="997"/>
                        <a:pt x="137" y="997"/>
                      </a:cubicBezTo>
                      <a:cubicBezTo>
                        <a:pt x="139" y="995"/>
                        <a:pt x="139" y="995"/>
                        <a:pt x="139" y="995"/>
                      </a:cubicBezTo>
                      <a:cubicBezTo>
                        <a:pt x="141" y="995"/>
                        <a:pt x="141" y="995"/>
                        <a:pt x="141" y="995"/>
                      </a:cubicBezTo>
                      <a:cubicBezTo>
                        <a:pt x="141" y="997"/>
                        <a:pt x="141" y="997"/>
                        <a:pt x="141" y="997"/>
                      </a:cubicBezTo>
                      <a:cubicBezTo>
                        <a:pt x="138" y="999"/>
                        <a:pt x="138" y="999"/>
                        <a:pt x="138" y="999"/>
                      </a:cubicBezTo>
                      <a:cubicBezTo>
                        <a:pt x="139" y="1006"/>
                        <a:pt x="139" y="1006"/>
                        <a:pt x="139" y="1006"/>
                      </a:cubicBezTo>
                      <a:cubicBezTo>
                        <a:pt x="140" y="1008"/>
                        <a:pt x="140" y="1008"/>
                        <a:pt x="140" y="1008"/>
                      </a:cubicBezTo>
                      <a:cubicBezTo>
                        <a:pt x="142" y="1011"/>
                        <a:pt x="142" y="1011"/>
                        <a:pt x="142" y="1011"/>
                      </a:cubicBezTo>
                      <a:cubicBezTo>
                        <a:pt x="141" y="1012"/>
                        <a:pt x="141" y="1012"/>
                        <a:pt x="141" y="1012"/>
                      </a:cubicBezTo>
                      <a:cubicBezTo>
                        <a:pt x="139" y="1010"/>
                        <a:pt x="139" y="1010"/>
                        <a:pt x="139" y="1010"/>
                      </a:cubicBezTo>
                      <a:cubicBezTo>
                        <a:pt x="136" y="1006"/>
                        <a:pt x="136" y="1006"/>
                        <a:pt x="136" y="1006"/>
                      </a:cubicBezTo>
                      <a:cubicBezTo>
                        <a:pt x="134" y="1003"/>
                        <a:pt x="134" y="1003"/>
                        <a:pt x="134" y="1003"/>
                      </a:cubicBezTo>
                      <a:cubicBezTo>
                        <a:pt x="133" y="1003"/>
                        <a:pt x="133" y="1003"/>
                        <a:pt x="133" y="1003"/>
                      </a:cubicBezTo>
                      <a:cubicBezTo>
                        <a:pt x="132" y="1004"/>
                        <a:pt x="132" y="1004"/>
                        <a:pt x="132" y="1004"/>
                      </a:cubicBezTo>
                      <a:cubicBezTo>
                        <a:pt x="130" y="1004"/>
                        <a:pt x="130" y="1004"/>
                        <a:pt x="130" y="1004"/>
                      </a:cubicBezTo>
                      <a:cubicBezTo>
                        <a:pt x="129" y="1006"/>
                        <a:pt x="129" y="1006"/>
                        <a:pt x="129" y="1006"/>
                      </a:cubicBezTo>
                      <a:cubicBezTo>
                        <a:pt x="130" y="1008"/>
                        <a:pt x="130" y="1008"/>
                        <a:pt x="130" y="1008"/>
                      </a:cubicBezTo>
                      <a:cubicBezTo>
                        <a:pt x="132" y="1008"/>
                        <a:pt x="132" y="1008"/>
                        <a:pt x="132" y="1008"/>
                      </a:cubicBezTo>
                      <a:cubicBezTo>
                        <a:pt x="135" y="1011"/>
                        <a:pt x="135" y="1011"/>
                        <a:pt x="135" y="1011"/>
                      </a:cubicBezTo>
                      <a:cubicBezTo>
                        <a:pt x="136" y="1012"/>
                        <a:pt x="136" y="1012"/>
                        <a:pt x="136" y="1012"/>
                      </a:cubicBezTo>
                      <a:cubicBezTo>
                        <a:pt x="136" y="1014"/>
                        <a:pt x="136" y="1014"/>
                        <a:pt x="136" y="1014"/>
                      </a:cubicBezTo>
                      <a:cubicBezTo>
                        <a:pt x="134" y="1014"/>
                        <a:pt x="134" y="1014"/>
                        <a:pt x="134" y="1014"/>
                      </a:cubicBezTo>
                      <a:cubicBezTo>
                        <a:pt x="131" y="1011"/>
                        <a:pt x="131" y="1011"/>
                        <a:pt x="131" y="1011"/>
                      </a:cubicBezTo>
                      <a:cubicBezTo>
                        <a:pt x="130" y="1010"/>
                        <a:pt x="130" y="1010"/>
                        <a:pt x="130" y="1010"/>
                      </a:cubicBezTo>
                      <a:cubicBezTo>
                        <a:pt x="127" y="1011"/>
                        <a:pt x="127" y="1011"/>
                        <a:pt x="127" y="1011"/>
                      </a:cubicBezTo>
                      <a:cubicBezTo>
                        <a:pt x="124" y="1016"/>
                        <a:pt x="124" y="1016"/>
                        <a:pt x="124" y="1016"/>
                      </a:cubicBezTo>
                      <a:cubicBezTo>
                        <a:pt x="121" y="1018"/>
                        <a:pt x="121" y="1018"/>
                        <a:pt x="121" y="1018"/>
                      </a:cubicBezTo>
                      <a:cubicBezTo>
                        <a:pt x="115" y="1018"/>
                        <a:pt x="115" y="1018"/>
                        <a:pt x="115" y="1018"/>
                      </a:cubicBezTo>
                      <a:cubicBezTo>
                        <a:pt x="115" y="1019"/>
                        <a:pt x="115" y="1019"/>
                        <a:pt x="115" y="1019"/>
                      </a:cubicBezTo>
                      <a:cubicBezTo>
                        <a:pt x="116" y="1020"/>
                        <a:pt x="116" y="1020"/>
                        <a:pt x="116" y="1020"/>
                      </a:cubicBezTo>
                      <a:cubicBezTo>
                        <a:pt x="119" y="1020"/>
                        <a:pt x="119" y="1020"/>
                        <a:pt x="119" y="1020"/>
                      </a:cubicBezTo>
                      <a:cubicBezTo>
                        <a:pt x="122" y="1019"/>
                        <a:pt x="122" y="1019"/>
                        <a:pt x="122" y="1019"/>
                      </a:cubicBezTo>
                      <a:cubicBezTo>
                        <a:pt x="127" y="1018"/>
                        <a:pt x="127" y="1018"/>
                        <a:pt x="127" y="1018"/>
                      </a:cubicBezTo>
                      <a:cubicBezTo>
                        <a:pt x="130" y="1015"/>
                        <a:pt x="130" y="1015"/>
                        <a:pt x="130" y="1015"/>
                      </a:cubicBezTo>
                      <a:cubicBezTo>
                        <a:pt x="133" y="1016"/>
                        <a:pt x="133" y="1016"/>
                        <a:pt x="133" y="1016"/>
                      </a:cubicBezTo>
                      <a:cubicBezTo>
                        <a:pt x="136" y="1016"/>
                        <a:pt x="136" y="1016"/>
                        <a:pt x="136" y="1016"/>
                      </a:cubicBezTo>
                      <a:cubicBezTo>
                        <a:pt x="135" y="1017"/>
                        <a:pt x="135" y="1017"/>
                        <a:pt x="135" y="1017"/>
                      </a:cubicBezTo>
                      <a:cubicBezTo>
                        <a:pt x="133" y="1020"/>
                        <a:pt x="133" y="1020"/>
                        <a:pt x="133" y="1020"/>
                      </a:cubicBezTo>
                      <a:cubicBezTo>
                        <a:pt x="128" y="1020"/>
                        <a:pt x="128" y="1020"/>
                        <a:pt x="128" y="1020"/>
                      </a:cubicBezTo>
                      <a:cubicBezTo>
                        <a:pt x="124" y="1021"/>
                        <a:pt x="124" y="1021"/>
                        <a:pt x="124" y="1021"/>
                      </a:cubicBezTo>
                      <a:cubicBezTo>
                        <a:pt x="117" y="1021"/>
                        <a:pt x="117" y="1021"/>
                        <a:pt x="117" y="1021"/>
                      </a:cubicBezTo>
                      <a:cubicBezTo>
                        <a:pt x="114" y="1022"/>
                        <a:pt x="114" y="1022"/>
                        <a:pt x="114" y="1022"/>
                      </a:cubicBezTo>
                      <a:cubicBezTo>
                        <a:pt x="113" y="1025"/>
                        <a:pt x="113" y="1025"/>
                        <a:pt x="113" y="1025"/>
                      </a:cubicBezTo>
                      <a:cubicBezTo>
                        <a:pt x="114" y="1028"/>
                        <a:pt x="114" y="1028"/>
                        <a:pt x="114" y="1028"/>
                      </a:cubicBezTo>
                      <a:cubicBezTo>
                        <a:pt x="117" y="1029"/>
                        <a:pt x="117" y="1029"/>
                        <a:pt x="117" y="1029"/>
                      </a:cubicBezTo>
                      <a:cubicBezTo>
                        <a:pt x="121" y="1028"/>
                        <a:pt x="121" y="1028"/>
                        <a:pt x="121" y="1028"/>
                      </a:cubicBezTo>
                      <a:cubicBezTo>
                        <a:pt x="122" y="1029"/>
                        <a:pt x="122" y="1029"/>
                        <a:pt x="122" y="1029"/>
                      </a:cubicBezTo>
                      <a:cubicBezTo>
                        <a:pt x="119" y="1031"/>
                        <a:pt x="119" y="1031"/>
                        <a:pt x="119" y="1031"/>
                      </a:cubicBezTo>
                      <a:cubicBezTo>
                        <a:pt x="115" y="1031"/>
                        <a:pt x="115" y="1031"/>
                        <a:pt x="115" y="1031"/>
                      </a:cubicBezTo>
                      <a:cubicBezTo>
                        <a:pt x="113" y="1034"/>
                        <a:pt x="113" y="1034"/>
                        <a:pt x="113" y="1034"/>
                      </a:cubicBezTo>
                      <a:cubicBezTo>
                        <a:pt x="114" y="1037"/>
                        <a:pt x="114" y="1037"/>
                        <a:pt x="114" y="1037"/>
                      </a:cubicBezTo>
                      <a:cubicBezTo>
                        <a:pt x="116" y="1039"/>
                        <a:pt x="116" y="1039"/>
                        <a:pt x="116" y="1039"/>
                      </a:cubicBezTo>
                      <a:cubicBezTo>
                        <a:pt x="118" y="1038"/>
                        <a:pt x="118" y="1038"/>
                        <a:pt x="118" y="1038"/>
                      </a:cubicBezTo>
                      <a:cubicBezTo>
                        <a:pt x="119" y="1035"/>
                        <a:pt x="119" y="1035"/>
                        <a:pt x="119" y="1035"/>
                      </a:cubicBezTo>
                      <a:cubicBezTo>
                        <a:pt x="122" y="1035"/>
                        <a:pt x="122" y="1035"/>
                        <a:pt x="122" y="1035"/>
                      </a:cubicBezTo>
                      <a:cubicBezTo>
                        <a:pt x="123" y="1036"/>
                        <a:pt x="123" y="1036"/>
                        <a:pt x="123" y="1036"/>
                      </a:cubicBezTo>
                      <a:cubicBezTo>
                        <a:pt x="126" y="1036"/>
                        <a:pt x="126" y="1036"/>
                        <a:pt x="126" y="1036"/>
                      </a:cubicBezTo>
                      <a:cubicBezTo>
                        <a:pt x="128" y="1035"/>
                        <a:pt x="128" y="1035"/>
                        <a:pt x="128" y="1035"/>
                      </a:cubicBezTo>
                      <a:cubicBezTo>
                        <a:pt x="129" y="1034"/>
                        <a:pt x="129" y="1034"/>
                        <a:pt x="129" y="1034"/>
                      </a:cubicBezTo>
                      <a:cubicBezTo>
                        <a:pt x="130" y="1035"/>
                        <a:pt x="130" y="1035"/>
                        <a:pt x="130" y="1035"/>
                      </a:cubicBezTo>
                      <a:cubicBezTo>
                        <a:pt x="129" y="1037"/>
                        <a:pt x="129" y="1037"/>
                        <a:pt x="129" y="1037"/>
                      </a:cubicBezTo>
                      <a:cubicBezTo>
                        <a:pt x="125" y="1039"/>
                        <a:pt x="125" y="1039"/>
                        <a:pt x="125" y="1039"/>
                      </a:cubicBezTo>
                      <a:cubicBezTo>
                        <a:pt x="123" y="1038"/>
                        <a:pt x="123" y="1038"/>
                        <a:pt x="123" y="1038"/>
                      </a:cubicBezTo>
                      <a:cubicBezTo>
                        <a:pt x="121" y="1038"/>
                        <a:pt x="121" y="1038"/>
                        <a:pt x="121" y="1038"/>
                      </a:cubicBezTo>
                      <a:cubicBezTo>
                        <a:pt x="119" y="1038"/>
                        <a:pt x="119" y="1038"/>
                        <a:pt x="119" y="1038"/>
                      </a:cubicBezTo>
                      <a:cubicBezTo>
                        <a:pt x="121" y="1040"/>
                        <a:pt x="121" y="1040"/>
                        <a:pt x="121" y="1040"/>
                      </a:cubicBezTo>
                      <a:cubicBezTo>
                        <a:pt x="124" y="1040"/>
                        <a:pt x="124" y="1040"/>
                        <a:pt x="124" y="1040"/>
                      </a:cubicBezTo>
                      <a:cubicBezTo>
                        <a:pt x="125" y="1041"/>
                        <a:pt x="125" y="1041"/>
                        <a:pt x="125" y="1041"/>
                      </a:cubicBezTo>
                      <a:cubicBezTo>
                        <a:pt x="123" y="1042"/>
                        <a:pt x="123" y="1042"/>
                        <a:pt x="123" y="1042"/>
                      </a:cubicBezTo>
                      <a:cubicBezTo>
                        <a:pt x="119" y="1042"/>
                        <a:pt x="119" y="1042"/>
                        <a:pt x="119" y="1042"/>
                      </a:cubicBezTo>
                      <a:cubicBezTo>
                        <a:pt x="116" y="1045"/>
                        <a:pt x="116" y="1045"/>
                        <a:pt x="116" y="1045"/>
                      </a:cubicBezTo>
                      <a:cubicBezTo>
                        <a:pt x="118" y="1047"/>
                        <a:pt x="118" y="1047"/>
                        <a:pt x="118" y="1047"/>
                      </a:cubicBezTo>
                      <a:cubicBezTo>
                        <a:pt x="120" y="1048"/>
                        <a:pt x="120" y="1048"/>
                        <a:pt x="120" y="1048"/>
                      </a:cubicBezTo>
                      <a:cubicBezTo>
                        <a:pt x="121" y="1047"/>
                        <a:pt x="121" y="1047"/>
                        <a:pt x="121" y="1047"/>
                      </a:cubicBezTo>
                      <a:cubicBezTo>
                        <a:pt x="125" y="1046"/>
                        <a:pt x="125" y="1046"/>
                        <a:pt x="125" y="1046"/>
                      </a:cubicBezTo>
                      <a:cubicBezTo>
                        <a:pt x="127" y="1047"/>
                        <a:pt x="127" y="1047"/>
                        <a:pt x="127" y="1047"/>
                      </a:cubicBezTo>
                      <a:cubicBezTo>
                        <a:pt x="128" y="1048"/>
                        <a:pt x="128" y="1048"/>
                        <a:pt x="128" y="1048"/>
                      </a:cubicBezTo>
                      <a:cubicBezTo>
                        <a:pt x="127" y="1049"/>
                        <a:pt x="127" y="1049"/>
                        <a:pt x="127" y="1049"/>
                      </a:cubicBezTo>
                      <a:cubicBezTo>
                        <a:pt x="122" y="1050"/>
                        <a:pt x="122" y="1050"/>
                        <a:pt x="122" y="1050"/>
                      </a:cubicBezTo>
                      <a:cubicBezTo>
                        <a:pt x="120" y="1049"/>
                        <a:pt x="120" y="1049"/>
                        <a:pt x="120" y="1049"/>
                      </a:cubicBezTo>
                      <a:cubicBezTo>
                        <a:pt x="117" y="1050"/>
                        <a:pt x="117" y="1050"/>
                        <a:pt x="117" y="1050"/>
                      </a:cubicBezTo>
                      <a:cubicBezTo>
                        <a:pt x="116" y="1052"/>
                        <a:pt x="116" y="1052"/>
                        <a:pt x="116" y="1052"/>
                      </a:cubicBezTo>
                      <a:cubicBezTo>
                        <a:pt x="117" y="1055"/>
                        <a:pt x="117" y="1055"/>
                        <a:pt x="117" y="1055"/>
                      </a:cubicBezTo>
                      <a:cubicBezTo>
                        <a:pt x="119" y="1055"/>
                        <a:pt x="119" y="1055"/>
                        <a:pt x="119" y="1055"/>
                      </a:cubicBezTo>
                      <a:cubicBezTo>
                        <a:pt x="122" y="1053"/>
                        <a:pt x="122" y="1053"/>
                        <a:pt x="122" y="1053"/>
                      </a:cubicBezTo>
                      <a:cubicBezTo>
                        <a:pt x="125" y="1053"/>
                        <a:pt x="125" y="1053"/>
                        <a:pt x="125" y="1053"/>
                      </a:cubicBezTo>
                      <a:cubicBezTo>
                        <a:pt x="127" y="1055"/>
                        <a:pt x="127" y="1055"/>
                        <a:pt x="127" y="1055"/>
                      </a:cubicBezTo>
                      <a:cubicBezTo>
                        <a:pt x="127" y="1056"/>
                        <a:pt x="127" y="1056"/>
                        <a:pt x="127" y="1056"/>
                      </a:cubicBezTo>
                      <a:cubicBezTo>
                        <a:pt x="122" y="1058"/>
                        <a:pt x="122" y="1058"/>
                        <a:pt x="122" y="1058"/>
                      </a:cubicBezTo>
                      <a:cubicBezTo>
                        <a:pt x="122" y="1060"/>
                        <a:pt x="122" y="1060"/>
                        <a:pt x="122" y="1060"/>
                      </a:cubicBezTo>
                      <a:cubicBezTo>
                        <a:pt x="123" y="1065"/>
                        <a:pt x="123" y="1065"/>
                        <a:pt x="123" y="1065"/>
                      </a:cubicBezTo>
                      <a:cubicBezTo>
                        <a:pt x="124" y="1065"/>
                        <a:pt x="124" y="1065"/>
                        <a:pt x="124" y="1065"/>
                      </a:cubicBezTo>
                      <a:cubicBezTo>
                        <a:pt x="125" y="1063"/>
                        <a:pt x="125" y="1063"/>
                        <a:pt x="125" y="1063"/>
                      </a:cubicBezTo>
                      <a:cubicBezTo>
                        <a:pt x="128" y="1063"/>
                        <a:pt x="128" y="1063"/>
                        <a:pt x="128" y="1063"/>
                      </a:cubicBezTo>
                      <a:cubicBezTo>
                        <a:pt x="129" y="1066"/>
                        <a:pt x="129" y="1066"/>
                        <a:pt x="129" y="1066"/>
                      </a:cubicBezTo>
                      <a:cubicBezTo>
                        <a:pt x="130" y="1064"/>
                        <a:pt x="130" y="1064"/>
                        <a:pt x="130" y="1064"/>
                      </a:cubicBezTo>
                      <a:cubicBezTo>
                        <a:pt x="131" y="1063"/>
                        <a:pt x="131" y="1063"/>
                        <a:pt x="131" y="1063"/>
                      </a:cubicBezTo>
                      <a:cubicBezTo>
                        <a:pt x="132" y="1065"/>
                        <a:pt x="132" y="1065"/>
                        <a:pt x="132" y="1065"/>
                      </a:cubicBezTo>
                      <a:cubicBezTo>
                        <a:pt x="131" y="1067"/>
                        <a:pt x="131" y="1067"/>
                        <a:pt x="131" y="1067"/>
                      </a:cubicBezTo>
                      <a:cubicBezTo>
                        <a:pt x="130" y="1069"/>
                        <a:pt x="130" y="1069"/>
                        <a:pt x="130" y="1069"/>
                      </a:cubicBezTo>
                      <a:cubicBezTo>
                        <a:pt x="132" y="1071"/>
                        <a:pt x="132" y="1071"/>
                        <a:pt x="132" y="1071"/>
                      </a:cubicBezTo>
                      <a:cubicBezTo>
                        <a:pt x="129" y="1076"/>
                        <a:pt x="129" y="1076"/>
                        <a:pt x="129" y="1076"/>
                      </a:cubicBezTo>
                      <a:cubicBezTo>
                        <a:pt x="128" y="1076"/>
                        <a:pt x="128" y="1076"/>
                        <a:pt x="128" y="1076"/>
                      </a:cubicBezTo>
                      <a:cubicBezTo>
                        <a:pt x="126" y="1079"/>
                        <a:pt x="126" y="1079"/>
                        <a:pt x="126" y="1079"/>
                      </a:cubicBezTo>
                      <a:cubicBezTo>
                        <a:pt x="124" y="1082"/>
                        <a:pt x="124" y="1082"/>
                        <a:pt x="124" y="1082"/>
                      </a:cubicBezTo>
                      <a:cubicBezTo>
                        <a:pt x="125" y="1083"/>
                        <a:pt x="125" y="1083"/>
                        <a:pt x="125" y="1083"/>
                      </a:cubicBezTo>
                      <a:cubicBezTo>
                        <a:pt x="127" y="1083"/>
                        <a:pt x="127" y="1083"/>
                        <a:pt x="127" y="1083"/>
                      </a:cubicBezTo>
                      <a:cubicBezTo>
                        <a:pt x="129" y="1082"/>
                        <a:pt x="129" y="1082"/>
                        <a:pt x="129" y="1082"/>
                      </a:cubicBezTo>
                      <a:cubicBezTo>
                        <a:pt x="131" y="1082"/>
                        <a:pt x="131" y="1082"/>
                        <a:pt x="131" y="1082"/>
                      </a:cubicBezTo>
                      <a:cubicBezTo>
                        <a:pt x="131" y="1085"/>
                        <a:pt x="131" y="1085"/>
                        <a:pt x="131" y="1085"/>
                      </a:cubicBezTo>
                      <a:cubicBezTo>
                        <a:pt x="130" y="1087"/>
                        <a:pt x="130" y="1087"/>
                        <a:pt x="130" y="1087"/>
                      </a:cubicBezTo>
                      <a:cubicBezTo>
                        <a:pt x="130" y="1088"/>
                        <a:pt x="130" y="1088"/>
                        <a:pt x="130" y="1088"/>
                      </a:cubicBezTo>
                      <a:cubicBezTo>
                        <a:pt x="133" y="1088"/>
                        <a:pt x="133" y="1088"/>
                        <a:pt x="133" y="1088"/>
                      </a:cubicBezTo>
                      <a:cubicBezTo>
                        <a:pt x="134" y="1089"/>
                        <a:pt x="134" y="1089"/>
                        <a:pt x="134" y="1089"/>
                      </a:cubicBezTo>
                      <a:cubicBezTo>
                        <a:pt x="134" y="1091"/>
                        <a:pt x="134" y="1091"/>
                        <a:pt x="134" y="1091"/>
                      </a:cubicBezTo>
                      <a:cubicBezTo>
                        <a:pt x="132" y="1092"/>
                        <a:pt x="132" y="1092"/>
                        <a:pt x="132" y="1092"/>
                      </a:cubicBezTo>
                      <a:cubicBezTo>
                        <a:pt x="134" y="1094"/>
                        <a:pt x="134" y="1094"/>
                        <a:pt x="134" y="1094"/>
                      </a:cubicBezTo>
                      <a:cubicBezTo>
                        <a:pt x="133" y="1097"/>
                        <a:pt x="133" y="1097"/>
                        <a:pt x="133" y="1097"/>
                      </a:cubicBezTo>
                      <a:cubicBezTo>
                        <a:pt x="131" y="1098"/>
                        <a:pt x="131" y="1098"/>
                        <a:pt x="131" y="1098"/>
                      </a:cubicBezTo>
                      <a:cubicBezTo>
                        <a:pt x="130" y="1100"/>
                        <a:pt x="130" y="1100"/>
                        <a:pt x="130" y="1100"/>
                      </a:cubicBezTo>
                      <a:cubicBezTo>
                        <a:pt x="133" y="1100"/>
                        <a:pt x="133" y="1100"/>
                        <a:pt x="133" y="1100"/>
                      </a:cubicBezTo>
                      <a:cubicBezTo>
                        <a:pt x="134" y="1098"/>
                        <a:pt x="134" y="1098"/>
                        <a:pt x="134" y="1098"/>
                      </a:cubicBezTo>
                      <a:cubicBezTo>
                        <a:pt x="135" y="1096"/>
                        <a:pt x="135" y="1096"/>
                        <a:pt x="135" y="1096"/>
                      </a:cubicBezTo>
                      <a:cubicBezTo>
                        <a:pt x="140" y="1094"/>
                        <a:pt x="140" y="1094"/>
                        <a:pt x="140" y="1094"/>
                      </a:cubicBezTo>
                      <a:cubicBezTo>
                        <a:pt x="141" y="1096"/>
                        <a:pt x="141" y="1096"/>
                        <a:pt x="141" y="1096"/>
                      </a:cubicBezTo>
                      <a:cubicBezTo>
                        <a:pt x="140" y="1098"/>
                        <a:pt x="140" y="1098"/>
                        <a:pt x="140" y="1098"/>
                      </a:cubicBezTo>
                      <a:cubicBezTo>
                        <a:pt x="140" y="1100"/>
                        <a:pt x="140" y="1100"/>
                        <a:pt x="140" y="1100"/>
                      </a:cubicBezTo>
                      <a:cubicBezTo>
                        <a:pt x="138" y="1102"/>
                        <a:pt x="138" y="1102"/>
                        <a:pt x="138" y="1102"/>
                      </a:cubicBezTo>
                      <a:cubicBezTo>
                        <a:pt x="136" y="1104"/>
                        <a:pt x="136" y="1104"/>
                        <a:pt x="136" y="1104"/>
                      </a:cubicBezTo>
                      <a:cubicBezTo>
                        <a:pt x="134" y="1103"/>
                        <a:pt x="134" y="1103"/>
                        <a:pt x="134" y="1103"/>
                      </a:cubicBezTo>
                      <a:cubicBezTo>
                        <a:pt x="132" y="1104"/>
                        <a:pt x="132" y="1104"/>
                        <a:pt x="132" y="1104"/>
                      </a:cubicBezTo>
                      <a:cubicBezTo>
                        <a:pt x="130" y="1106"/>
                        <a:pt x="130" y="1106"/>
                        <a:pt x="130" y="1106"/>
                      </a:cubicBezTo>
                      <a:cubicBezTo>
                        <a:pt x="132" y="1108"/>
                        <a:pt x="132" y="1108"/>
                        <a:pt x="132" y="1108"/>
                      </a:cubicBezTo>
                      <a:cubicBezTo>
                        <a:pt x="135" y="1107"/>
                        <a:pt x="135" y="1107"/>
                        <a:pt x="135" y="1107"/>
                      </a:cubicBezTo>
                      <a:cubicBezTo>
                        <a:pt x="137" y="1105"/>
                        <a:pt x="137" y="1105"/>
                        <a:pt x="137" y="1105"/>
                      </a:cubicBezTo>
                      <a:cubicBezTo>
                        <a:pt x="140" y="1106"/>
                        <a:pt x="140" y="1106"/>
                        <a:pt x="140" y="1106"/>
                      </a:cubicBezTo>
                      <a:cubicBezTo>
                        <a:pt x="141" y="1107"/>
                        <a:pt x="141" y="1107"/>
                        <a:pt x="141" y="1107"/>
                      </a:cubicBezTo>
                      <a:cubicBezTo>
                        <a:pt x="140" y="1109"/>
                        <a:pt x="140" y="1109"/>
                        <a:pt x="140" y="1109"/>
                      </a:cubicBezTo>
                      <a:cubicBezTo>
                        <a:pt x="136" y="1111"/>
                        <a:pt x="136" y="1111"/>
                        <a:pt x="136" y="1111"/>
                      </a:cubicBezTo>
                      <a:cubicBezTo>
                        <a:pt x="136" y="1114"/>
                        <a:pt x="136" y="1114"/>
                        <a:pt x="136" y="1114"/>
                      </a:cubicBezTo>
                      <a:cubicBezTo>
                        <a:pt x="134" y="1116"/>
                        <a:pt x="134" y="1116"/>
                        <a:pt x="134" y="1116"/>
                      </a:cubicBezTo>
                      <a:cubicBezTo>
                        <a:pt x="131" y="1117"/>
                        <a:pt x="131" y="1117"/>
                        <a:pt x="131" y="1117"/>
                      </a:cubicBezTo>
                      <a:cubicBezTo>
                        <a:pt x="131" y="1119"/>
                        <a:pt x="131" y="1119"/>
                        <a:pt x="131" y="1119"/>
                      </a:cubicBezTo>
                      <a:cubicBezTo>
                        <a:pt x="133" y="1121"/>
                        <a:pt x="133" y="1121"/>
                        <a:pt x="133" y="1121"/>
                      </a:cubicBezTo>
                      <a:cubicBezTo>
                        <a:pt x="137" y="1120"/>
                        <a:pt x="137" y="1120"/>
                        <a:pt x="137" y="1120"/>
                      </a:cubicBezTo>
                      <a:cubicBezTo>
                        <a:pt x="140" y="1118"/>
                        <a:pt x="140" y="1118"/>
                        <a:pt x="140" y="1118"/>
                      </a:cubicBezTo>
                      <a:cubicBezTo>
                        <a:pt x="143" y="1116"/>
                        <a:pt x="143" y="1116"/>
                        <a:pt x="143" y="1116"/>
                      </a:cubicBezTo>
                      <a:cubicBezTo>
                        <a:pt x="146" y="1117"/>
                        <a:pt x="146" y="1117"/>
                        <a:pt x="146" y="1117"/>
                      </a:cubicBezTo>
                      <a:cubicBezTo>
                        <a:pt x="146" y="1119"/>
                        <a:pt x="146" y="1119"/>
                        <a:pt x="146" y="1119"/>
                      </a:cubicBezTo>
                      <a:cubicBezTo>
                        <a:pt x="145" y="1120"/>
                        <a:pt x="145" y="1120"/>
                        <a:pt x="145" y="1120"/>
                      </a:cubicBezTo>
                      <a:cubicBezTo>
                        <a:pt x="143" y="1120"/>
                        <a:pt x="143" y="1120"/>
                        <a:pt x="143" y="1120"/>
                      </a:cubicBezTo>
                      <a:cubicBezTo>
                        <a:pt x="139" y="1123"/>
                        <a:pt x="139" y="1123"/>
                        <a:pt x="139" y="1123"/>
                      </a:cubicBezTo>
                      <a:cubicBezTo>
                        <a:pt x="139" y="1124"/>
                        <a:pt x="139" y="1124"/>
                        <a:pt x="139" y="1124"/>
                      </a:cubicBezTo>
                      <a:cubicBezTo>
                        <a:pt x="141" y="1124"/>
                        <a:pt x="141" y="1124"/>
                        <a:pt x="141" y="1124"/>
                      </a:cubicBezTo>
                      <a:cubicBezTo>
                        <a:pt x="142" y="1126"/>
                        <a:pt x="142" y="1126"/>
                        <a:pt x="142" y="1126"/>
                      </a:cubicBezTo>
                      <a:cubicBezTo>
                        <a:pt x="139" y="1129"/>
                        <a:pt x="139" y="1129"/>
                        <a:pt x="139" y="1129"/>
                      </a:cubicBezTo>
                      <a:cubicBezTo>
                        <a:pt x="140" y="1132"/>
                        <a:pt x="140" y="1132"/>
                        <a:pt x="140" y="1132"/>
                      </a:cubicBezTo>
                      <a:cubicBezTo>
                        <a:pt x="143" y="1133"/>
                        <a:pt x="143" y="1133"/>
                        <a:pt x="143" y="1133"/>
                      </a:cubicBezTo>
                      <a:cubicBezTo>
                        <a:pt x="147" y="1129"/>
                        <a:pt x="147" y="1129"/>
                        <a:pt x="147" y="1129"/>
                      </a:cubicBezTo>
                      <a:cubicBezTo>
                        <a:pt x="149" y="1128"/>
                        <a:pt x="149" y="1128"/>
                        <a:pt x="149" y="1128"/>
                      </a:cubicBezTo>
                      <a:cubicBezTo>
                        <a:pt x="150" y="1130"/>
                        <a:pt x="150" y="1130"/>
                        <a:pt x="150" y="1130"/>
                      </a:cubicBezTo>
                      <a:cubicBezTo>
                        <a:pt x="152" y="1132"/>
                        <a:pt x="152" y="1132"/>
                        <a:pt x="152" y="1132"/>
                      </a:cubicBezTo>
                      <a:cubicBezTo>
                        <a:pt x="153" y="1137"/>
                        <a:pt x="153" y="1137"/>
                        <a:pt x="153" y="1137"/>
                      </a:cubicBezTo>
                      <a:cubicBezTo>
                        <a:pt x="155" y="1138"/>
                        <a:pt x="155" y="1138"/>
                        <a:pt x="155" y="1138"/>
                      </a:cubicBezTo>
                      <a:cubicBezTo>
                        <a:pt x="156" y="1139"/>
                        <a:pt x="156" y="1139"/>
                        <a:pt x="156" y="1139"/>
                      </a:cubicBezTo>
                      <a:cubicBezTo>
                        <a:pt x="154" y="1142"/>
                        <a:pt x="154" y="1142"/>
                        <a:pt x="154" y="1142"/>
                      </a:cubicBezTo>
                      <a:cubicBezTo>
                        <a:pt x="151" y="1142"/>
                        <a:pt x="151" y="1142"/>
                        <a:pt x="151" y="1142"/>
                      </a:cubicBezTo>
                      <a:cubicBezTo>
                        <a:pt x="150" y="1145"/>
                        <a:pt x="150" y="1145"/>
                        <a:pt x="150" y="1145"/>
                      </a:cubicBezTo>
                      <a:cubicBezTo>
                        <a:pt x="150" y="1147"/>
                        <a:pt x="150" y="1147"/>
                        <a:pt x="150" y="1147"/>
                      </a:cubicBezTo>
                      <a:cubicBezTo>
                        <a:pt x="155" y="1149"/>
                        <a:pt x="155" y="1149"/>
                        <a:pt x="155" y="1149"/>
                      </a:cubicBezTo>
                      <a:cubicBezTo>
                        <a:pt x="157" y="1148"/>
                        <a:pt x="157" y="1148"/>
                        <a:pt x="157" y="1148"/>
                      </a:cubicBezTo>
                      <a:cubicBezTo>
                        <a:pt x="156" y="1146"/>
                        <a:pt x="156" y="1146"/>
                        <a:pt x="156" y="1146"/>
                      </a:cubicBezTo>
                      <a:cubicBezTo>
                        <a:pt x="156" y="1144"/>
                        <a:pt x="156" y="1144"/>
                        <a:pt x="156" y="1144"/>
                      </a:cubicBezTo>
                      <a:cubicBezTo>
                        <a:pt x="158" y="1143"/>
                        <a:pt x="158" y="1143"/>
                        <a:pt x="158" y="1143"/>
                      </a:cubicBezTo>
                      <a:cubicBezTo>
                        <a:pt x="160" y="1144"/>
                        <a:pt x="160" y="1144"/>
                        <a:pt x="160" y="1144"/>
                      </a:cubicBezTo>
                      <a:cubicBezTo>
                        <a:pt x="162" y="1142"/>
                        <a:pt x="162" y="1142"/>
                        <a:pt x="162" y="1142"/>
                      </a:cubicBezTo>
                      <a:cubicBezTo>
                        <a:pt x="164" y="1141"/>
                        <a:pt x="164" y="1141"/>
                        <a:pt x="164" y="1141"/>
                      </a:cubicBezTo>
                      <a:cubicBezTo>
                        <a:pt x="166" y="1143"/>
                        <a:pt x="166" y="1143"/>
                        <a:pt x="166" y="1143"/>
                      </a:cubicBezTo>
                      <a:cubicBezTo>
                        <a:pt x="168" y="1144"/>
                        <a:pt x="168" y="1144"/>
                        <a:pt x="168" y="1144"/>
                      </a:cubicBezTo>
                      <a:cubicBezTo>
                        <a:pt x="170" y="1143"/>
                        <a:pt x="170" y="1143"/>
                        <a:pt x="170" y="1143"/>
                      </a:cubicBezTo>
                      <a:cubicBezTo>
                        <a:pt x="171" y="1140"/>
                        <a:pt x="171" y="1140"/>
                        <a:pt x="171" y="1140"/>
                      </a:cubicBezTo>
                      <a:cubicBezTo>
                        <a:pt x="173" y="1138"/>
                        <a:pt x="173" y="1138"/>
                        <a:pt x="173" y="1138"/>
                      </a:cubicBezTo>
                      <a:cubicBezTo>
                        <a:pt x="175" y="1138"/>
                        <a:pt x="175" y="1138"/>
                        <a:pt x="175" y="1138"/>
                      </a:cubicBezTo>
                      <a:cubicBezTo>
                        <a:pt x="178" y="1138"/>
                        <a:pt x="178" y="1138"/>
                        <a:pt x="178" y="1138"/>
                      </a:cubicBezTo>
                      <a:cubicBezTo>
                        <a:pt x="180" y="1139"/>
                        <a:pt x="180" y="1139"/>
                        <a:pt x="180" y="1139"/>
                      </a:cubicBezTo>
                      <a:cubicBezTo>
                        <a:pt x="182" y="1137"/>
                        <a:pt x="182" y="1137"/>
                        <a:pt x="182" y="1137"/>
                      </a:cubicBezTo>
                      <a:cubicBezTo>
                        <a:pt x="182" y="1135"/>
                        <a:pt x="182" y="1135"/>
                        <a:pt x="182" y="1135"/>
                      </a:cubicBezTo>
                      <a:cubicBezTo>
                        <a:pt x="181" y="1133"/>
                        <a:pt x="181" y="1133"/>
                        <a:pt x="181" y="1133"/>
                      </a:cubicBezTo>
                      <a:cubicBezTo>
                        <a:pt x="181" y="1131"/>
                        <a:pt x="181" y="1131"/>
                        <a:pt x="181" y="1131"/>
                      </a:cubicBezTo>
                      <a:cubicBezTo>
                        <a:pt x="183" y="1129"/>
                        <a:pt x="183" y="1129"/>
                        <a:pt x="183" y="1129"/>
                      </a:cubicBezTo>
                      <a:cubicBezTo>
                        <a:pt x="184" y="1130"/>
                        <a:pt x="184" y="1130"/>
                        <a:pt x="184" y="1130"/>
                      </a:cubicBezTo>
                      <a:cubicBezTo>
                        <a:pt x="186" y="1134"/>
                        <a:pt x="186" y="1134"/>
                        <a:pt x="186" y="1134"/>
                      </a:cubicBezTo>
                      <a:cubicBezTo>
                        <a:pt x="186" y="1138"/>
                        <a:pt x="186" y="1138"/>
                        <a:pt x="186" y="1138"/>
                      </a:cubicBezTo>
                      <a:cubicBezTo>
                        <a:pt x="183" y="1141"/>
                        <a:pt x="183" y="1141"/>
                        <a:pt x="183" y="1141"/>
                      </a:cubicBezTo>
                      <a:cubicBezTo>
                        <a:pt x="181" y="1142"/>
                        <a:pt x="181" y="1142"/>
                        <a:pt x="181" y="1142"/>
                      </a:cubicBezTo>
                      <a:cubicBezTo>
                        <a:pt x="179" y="1144"/>
                        <a:pt x="179" y="1144"/>
                        <a:pt x="179" y="1144"/>
                      </a:cubicBezTo>
                      <a:cubicBezTo>
                        <a:pt x="180" y="1145"/>
                        <a:pt x="180" y="1145"/>
                        <a:pt x="180" y="1145"/>
                      </a:cubicBezTo>
                      <a:cubicBezTo>
                        <a:pt x="184" y="1144"/>
                        <a:pt x="184" y="1144"/>
                        <a:pt x="184" y="1144"/>
                      </a:cubicBezTo>
                      <a:cubicBezTo>
                        <a:pt x="189" y="1139"/>
                        <a:pt x="189" y="1139"/>
                        <a:pt x="189" y="1139"/>
                      </a:cubicBezTo>
                      <a:cubicBezTo>
                        <a:pt x="192" y="1134"/>
                        <a:pt x="192" y="1134"/>
                        <a:pt x="192" y="1134"/>
                      </a:cubicBezTo>
                      <a:cubicBezTo>
                        <a:pt x="194" y="1134"/>
                        <a:pt x="194" y="1134"/>
                        <a:pt x="194" y="1134"/>
                      </a:cubicBezTo>
                      <a:cubicBezTo>
                        <a:pt x="195" y="1137"/>
                        <a:pt x="195" y="1137"/>
                        <a:pt x="195" y="1137"/>
                      </a:cubicBezTo>
                      <a:cubicBezTo>
                        <a:pt x="195" y="1140"/>
                        <a:pt x="195" y="1140"/>
                        <a:pt x="195" y="1140"/>
                      </a:cubicBezTo>
                      <a:cubicBezTo>
                        <a:pt x="193" y="1141"/>
                        <a:pt x="193" y="1141"/>
                        <a:pt x="193" y="1141"/>
                      </a:cubicBezTo>
                      <a:cubicBezTo>
                        <a:pt x="190" y="1143"/>
                        <a:pt x="190" y="1143"/>
                        <a:pt x="190" y="1143"/>
                      </a:cubicBezTo>
                      <a:cubicBezTo>
                        <a:pt x="187" y="1146"/>
                        <a:pt x="187" y="1146"/>
                        <a:pt x="187" y="1146"/>
                      </a:cubicBezTo>
                      <a:cubicBezTo>
                        <a:pt x="184" y="1147"/>
                        <a:pt x="184" y="1147"/>
                        <a:pt x="184" y="1147"/>
                      </a:cubicBezTo>
                      <a:cubicBezTo>
                        <a:pt x="183" y="1148"/>
                        <a:pt x="183" y="1148"/>
                        <a:pt x="183" y="1148"/>
                      </a:cubicBezTo>
                      <a:cubicBezTo>
                        <a:pt x="184" y="1149"/>
                        <a:pt x="184" y="1149"/>
                        <a:pt x="184" y="1149"/>
                      </a:cubicBezTo>
                      <a:cubicBezTo>
                        <a:pt x="187" y="1148"/>
                        <a:pt x="187" y="1148"/>
                        <a:pt x="187" y="1148"/>
                      </a:cubicBezTo>
                      <a:cubicBezTo>
                        <a:pt x="191" y="1144"/>
                        <a:pt x="191" y="1144"/>
                        <a:pt x="191" y="1144"/>
                      </a:cubicBezTo>
                      <a:cubicBezTo>
                        <a:pt x="191" y="1145"/>
                        <a:pt x="191" y="1145"/>
                        <a:pt x="191" y="1145"/>
                      </a:cubicBezTo>
                      <a:cubicBezTo>
                        <a:pt x="188" y="1149"/>
                        <a:pt x="188" y="1149"/>
                        <a:pt x="188" y="1149"/>
                      </a:cubicBezTo>
                      <a:cubicBezTo>
                        <a:pt x="185" y="1150"/>
                        <a:pt x="185" y="1150"/>
                        <a:pt x="185" y="1150"/>
                      </a:cubicBezTo>
                      <a:cubicBezTo>
                        <a:pt x="185" y="1153"/>
                        <a:pt x="185" y="1153"/>
                        <a:pt x="185" y="1153"/>
                      </a:cubicBezTo>
                      <a:cubicBezTo>
                        <a:pt x="180" y="1158"/>
                        <a:pt x="180" y="1158"/>
                        <a:pt x="180" y="1158"/>
                      </a:cubicBezTo>
                      <a:cubicBezTo>
                        <a:pt x="179" y="1160"/>
                        <a:pt x="179" y="1160"/>
                        <a:pt x="179" y="1160"/>
                      </a:cubicBezTo>
                      <a:cubicBezTo>
                        <a:pt x="181" y="1160"/>
                        <a:pt x="181" y="1160"/>
                        <a:pt x="181" y="1160"/>
                      </a:cubicBezTo>
                      <a:cubicBezTo>
                        <a:pt x="183" y="1158"/>
                        <a:pt x="183" y="1158"/>
                        <a:pt x="183" y="1158"/>
                      </a:cubicBezTo>
                      <a:cubicBezTo>
                        <a:pt x="184" y="1158"/>
                        <a:pt x="184" y="1158"/>
                        <a:pt x="184" y="1158"/>
                      </a:cubicBezTo>
                      <a:cubicBezTo>
                        <a:pt x="184" y="1159"/>
                        <a:pt x="184" y="1159"/>
                        <a:pt x="184" y="1159"/>
                      </a:cubicBezTo>
                      <a:cubicBezTo>
                        <a:pt x="185" y="1163"/>
                        <a:pt x="185" y="1163"/>
                        <a:pt x="185" y="1163"/>
                      </a:cubicBezTo>
                      <a:cubicBezTo>
                        <a:pt x="186" y="1160"/>
                        <a:pt x="186" y="1160"/>
                        <a:pt x="186" y="1160"/>
                      </a:cubicBezTo>
                      <a:cubicBezTo>
                        <a:pt x="188" y="1158"/>
                        <a:pt x="188" y="1158"/>
                        <a:pt x="188" y="1158"/>
                      </a:cubicBezTo>
                      <a:cubicBezTo>
                        <a:pt x="189" y="1156"/>
                        <a:pt x="189" y="1156"/>
                        <a:pt x="189" y="1156"/>
                      </a:cubicBezTo>
                      <a:cubicBezTo>
                        <a:pt x="191" y="1156"/>
                        <a:pt x="191" y="1156"/>
                        <a:pt x="191" y="1156"/>
                      </a:cubicBezTo>
                      <a:cubicBezTo>
                        <a:pt x="192" y="1157"/>
                        <a:pt x="192" y="1157"/>
                        <a:pt x="192" y="1157"/>
                      </a:cubicBezTo>
                      <a:cubicBezTo>
                        <a:pt x="189" y="1159"/>
                        <a:pt x="189" y="1159"/>
                        <a:pt x="189" y="1159"/>
                      </a:cubicBezTo>
                      <a:cubicBezTo>
                        <a:pt x="188" y="1163"/>
                        <a:pt x="188" y="1163"/>
                        <a:pt x="188" y="1163"/>
                      </a:cubicBezTo>
                      <a:cubicBezTo>
                        <a:pt x="189" y="1164"/>
                        <a:pt x="189" y="1164"/>
                        <a:pt x="189" y="1164"/>
                      </a:cubicBezTo>
                      <a:cubicBezTo>
                        <a:pt x="192" y="1163"/>
                        <a:pt x="192" y="1163"/>
                        <a:pt x="192" y="1163"/>
                      </a:cubicBezTo>
                      <a:cubicBezTo>
                        <a:pt x="193" y="1160"/>
                        <a:pt x="193" y="1160"/>
                        <a:pt x="193" y="1160"/>
                      </a:cubicBezTo>
                      <a:cubicBezTo>
                        <a:pt x="194" y="1160"/>
                        <a:pt x="194" y="1160"/>
                        <a:pt x="194" y="1160"/>
                      </a:cubicBezTo>
                      <a:cubicBezTo>
                        <a:pt x="197" y="1159"/>
                        <a:pt x="197" y="1159"/>
                        <a:pt x="197" y="1159"/>
                      </a:cubicBezTo>
                      <a:cubicBezTo>
                        <a:pt x="195" y="1163"/>
                        <a:pt x="195" y="1163"/>
                        <a:pt x="195" y="1163"/>
                      </a:cubicBezTo>
                      <a:cubicBezTo>
                        <a:pt x="194" y="1167"/>
                        <a:pt x="194" y="1167"/>
                        <a:pt x="194" y="1167"/>
                      </a:cubicBezTo>
                      <a:cubicBezTo>
                        <a:pt x="191" y="1170"/>
                        <a:pt x="191" y="1170"/>
                        <a:pt x="191" y="1170"/>
                      </a:cubicBezTo>
                      <a:cubicBezTo>
                        <a:pt x="190" y="1173"/>
                        <a:pt x="190" y="1173"/>
                        <a:pt x="190" y="1173"/>
                      </a:cubicBezTo>
                      <a:cubicBezTo>
                        <a:pt x="192" y="1174"/>
                        <a:pt x="192" y="1174"/>
                        <a:pt x="192" y="1174"/>
                      </a:cubicBezTo>
                      <a:cubicBezTo>
                        <a:pt x="195" y="1171"/>
                        <a:pt x="195" y="1171"/>
                        <a:pt x="195" y="1171"/>
                      </a:cubicBezTo>
                      <a:cubicBezTo>
                        <a:pt x="197" y="1164"/>
                        <a:pt x="197" y="1164"/>
                        <a:pt x="197" y="1164"/>
                      </a:cubicBezTo>
                      <a:cubicBezTo>
                        <a:pt x="199" y="1162"/>
                        <a:pt x="199" y="1162"/>
                        <a:pt x="199" y="1162"/>
                      </a:cubicBezTo>
                      <a:cubicBezTo>
                        <a:pt x="200" y="1163"/>
                        <a:pt x="200" y="1163"/>
                        <a:pt x="200" y="1163"/>
                      </a:cubicBezTo>
                      <a:cubicBezTo>
                        <a:pt x="197" y="1168"/>
                        <a:pt x="197" y="1168"/>
                        <a:pt x="197" y="1168"/>
                      </a:cubicBezTo>
                      <a:cubicBezTo>
                        <a:pt x="197" y="1171"/>
                        <a:pt x="197" y="1171"/>
                        <a:pt x="197" y="1171"/>
                      </a:cubicBezTo>
                      <a:cubicBezTo>
                        <a:pt x="196" y="1174"/>
                        <a:pt x="196" y="1174"/>
                        <a:pt x="196" y="1174"/>
                      </a:cubicBezTo>
                      <a:cubicBezTo>
                        <a:pt x="195" y="1178"/>
                        <a:pt x="195" y="1178"/>
                        <a:pt x="195" y="1178"/>
                      </a:cubicBezTo>
                      <a:cubicBezTo>
                        <a:pt x="197" y="1179"/>
                        <a:pt x="197" y="1179"/>
                        <a:pt x="197" y="1179"/>
                      </a:cubicBezTo>
                      <a:cubicBezTo>
                        <a:pt x="198" y="1177"/>
                        <a:pt x="198" y="1177"/>
                        <a:pt x="198" y="1177"/>
                      </a:cubicBezTo>
                      <a:cubicBezTo>
                        <a:pt x="198" y="1174"/>
                        <a:pt x="198" y="1174"/>
                        <a:pt x="198" y="1174"/>
                      </a:cubicBezTo>
                      <a:cubicBezTo>
                        <a:pt x="198" y="1172"/>
                        <a:pt x="198" y="1172"/>
                        <a:pt x="198" y="1172"/>
                      </a:cubicBezTo>
                      <a:cubicBezTo>
                        <a:pt x="200" y="1172"/>
                        <a:pt x="200" y="1172"/>
                        <a:pt x="200" y="1172"/>
                      </a:cubicBezTo>
                      <a:cubicBezTo>
                        <a:pt x="202" y="1174"/>
                        <a:pt x="202" y="1174"/>
                        <a:pt x="202" y="1174"/>
                      </a:cubicBezTo>
                      <a:cubicBezTo>
                        <a:pt x="202" y="1168"/>
                        <a:pt x="202" y="1168"/>
                        <a:pt x="202" y="1168"/>
                      </a:cubicBezTo>
                      <a:cubicBezTo>
                        <a:pt x="204" y="1168"/>
                        <a:pt x="204" y="1168"/>
                        <a:pt x="204" y="1168"/>
                      </a:cubicBezTo>
                      <a:cubicBezTo>
                        <a:pt x="205" y="1165"/>
                        <a:pt x="205" y="1165"/>
                        <a:pt x="205" y="1165"/>
                      </a:cubicBezTo>
                      <a:cubicBezTo>
                        <a:pt x="207" y="1166"/>
                        <a:pt x="207" y="1166"/>
                        <a:pt x="207" y="1166"/>
                      </a:cubicBezTo>
                      <a:cubicBezTo>
                        <a:pt x="207" y="1168"/>
                        <a:pt x="207" y="1168"/>
                        <a:pt x="207" y="1168"/>
                      </a:cubicBezTo>
                      <a:cubicBezTo>
                        <a:pt x="206" y="1168"/>
                        <a:pt x="206" y="1168"/>
                        <a:pt x="206" y="1168"/>
                      </a:cubicBezTo>
                      <a:cubicBezTo>
                        <a:pt x="205" y="1171"/>
                        <a:pt x="205" y="1171"/>
                        <a:pt x="205" y="1171"/>
                      </a:cubicBezTo>
                      <a:cubicBezTo>
                        <a:pt x="206" y="1173"/>
                        <a:pt x="206" y="1173"/>
                        <a:pt x="206" y="1173"/>
                      </a:cubicBezTo>
                      <a:cubicBezTo>
                        <a:pt x="210" y="1173"/>
                        <a:pt x="210" y="1173"/>
                        <a:pt x="210" y="1173"/>
                      </a:cubicBezTo>
                      <a:cubicBezTo>
                        <a:pt x="219" y="1178"/>
                        <a:pt x="219" y="1178"/>
                        <a:pt x="219" y="1178"/>
                      </a:cubicBezTo>
                      <a:cubicBezTo>
                        <a:pt x="220" y="1178"/>
                        <a:pt x="220" y="1178"/>
                        <a:pt x="220" y="1178"/>
                      </a:cubicBezTo>
                      <a:cubicBezTo>
                        <a:pt x="220" y="1177"/>
                        <a:pt x="220" y="1177"/>
                        <a:pt x="220" y="1177"/>
                      </a:cubicBezTo>
                      <a:cubicBezTo>
                        <a:pt x="222" y="1175"/>
                        <a:pt x="222" y="1175"/>
                        <a:pt x="222" y="1175"/>
                      </a:cubicBezTo>
                      <a:cubicBezTo>
                        <a:pt x="223" y="1174"/>
                        <a:pt x="223" y="1174"/>
                        <a:pt x="223" y="1174"/>
                      </a:cubicBezTo>
                      <a:cubicBezTo>
                        <a:pt x="223" y="1173"/>
                        <a:pt x="223" y="1173"/>
                        <a:pt x="223" y="1173"/>
                      </a:cubicBezTo>
                      <a:cubicBezTo>
                        <a:pt x="222" y="1172"/>
                        <a:pt x="222" y="1172"/>
                        <a:pt x="222" y="1172"/>
                      </a:cubicBezTo>
                      <a:cubicBezTo>
                        <a:pt x="221" y="1171"/>
                        <a:pt x="221" y="1171"/>
                        <a:pt x="221" y="1171"/>
                      </a:cubicBezTo>
                      <a:cubicBezTo>
                        <a:pt x="219" y="1171"/>
                        <a:pt x="219" y="1171"/>
                        <a:pt x="219" y="1171"/>
                      </a:cubicBezTo>
                      <a:cubicBezTo>
                        <a:pt x="217" y="1171"/>
                        <a:pt x="217" y="1171"/>
                        <a:pt x="217" y="1171"/>
                      </a:cubicBezTo>
                      <a:cubicBezTo>
                        <a:pt x="217" y="1170"/>
                        <a:pt x="217" y="1170"/>
                        <a:pt x="217" y="1170"/>
                      </a:cubicBezTo>
                      <a:cubicBezTo>
                        <a:pt x="218" y="1168"/>
                        <a:pt x="218" y="1168"/>
                        <a:pt x="218" y="1168"/>
                      </a:cubicBezTo>
                      <a:cubicBezTo>
                        <a:pt x="218" y="1166"/>
                        <a:pt x="218" y="1166"/>
                        <a:pt x="218" y="1166"/>
                      </a:cubicBezTo>
                      <a:cubicBezTo>
                        <a:pt x="215" y="1164"/>
                        <a:pt x="215" y="1164"/>
                        <a:pt x="215" y="1164"/>
                      </a:cubicBezTo>
                      <a:cubicBezTo>
                        <a:pt x="209" y="1161"/>
                        <a:pt x="209" y="1161"/>
                        <a:pt x="209" y="1161"/>
                      </a:cubicBezTo>
                      <a:cubicBezTo>
                        <a:pt x="209" y="1159"/>
                        <a:pt x="209" y="1159"/>
                        <a:pt x="209" y="1159"/>
                      </a:cubicBezTo>
                      <a:cubicBezTo>
                        <a:pt x="209" y="1158"/>
                        <a:pt x="209" y="1158"/>
                        <a:pt x="209" y="1158"/>
                      </a:cubicBezTo>
                      <a:cubicBezTo>
                        <a:pt x="212" y="1159"/>
                        <a:pt x="212" y="1159"/>
                        <a:pt x="212" y="1159"/>
                      </a:cubicBezTo>
                      <a:cubicBezTo>
                        <a:pt x="214" y="1158"/>
                        <a:pt x="214" y="1158"/>
                        <a:pt x="214" y="1158"/>
                      </a:cubicBezTo>
                      <a:cubicBezTo>
                        <a:pt x="215" y="1158"/>
                        <a:pt x="215" y="1158"/>
                        <a:pt x="215" y="1158"/>
                      </a:cubicBezTo>
                      <a:cubicBezTo>
                        <a:pt x="215" y="1160"/>
                        <a:pt x="215" y="1160"/>
                        <a:pt x="215" y="1160"/>
                      </a:cubicBezTo>
                      <a:cubicBezTo>
                        <a:pt x="218" y="1163"/>
                        <a:pt x="218" y="1163"/>
                        <a:pt x="218" y="1163"/>
                      </a:cubicBezTo>
                      <a:cubicBezTo>
                        <a:pt x="220" y="1165"/>
                        <a:pt x="220" y="1165"/>
                        <a:pt x="220" y="1165"/>
                      </a:cubicBezTo>
                      <a:cubicBezTo>
                        <a:pt x="223" y="1165"/>
                        <a:pt x="223" y="1165"/>
                        <a:pt x="223" y="1165"/>
                      </a:cubicBezTo>
                      <a:cubicBezTo>
                        <a:pt x="226" y="1164"/>
                        <a:pt x="226" y="1164"/>
                        <a:pt x="226" y="1164"/>
                      </a:cubicBezTo>
                      <a:cubicBezTo>
                        <a:pt x="228" y="1162"/>
                        <a:pt x="228" y="1162"/>
                        <a:pt x="228" y="1162"/>
                      </a:cubicBezTo>
                      <a:cubicBezTo>
                        <a:pt x="229" y="1160"/>
                        <a:pt x="229" y="1160"/>
                        <a:pt x="229" y="1160"/>
                      </a:cubicBezTo>
                      <a:cubicBezTo>
                        <a:pt x="226" y="1160"/>
                        <a:pt x="226" y="1160"/>
                        <a:pt x="226" y="1160"/>
                      </a:cubicBezTo>
                      <a:cubicBezTo>
                        <a:pt x="223" y="1160"/>
                        <a:pt x="223" y="1160"/>
                        <a:pt x="223" y="1160"/>
                      </a:cubicBezTo>
                      <a:cubicBezTo>
                        <a:pt x="221" y="1159"/>
                        <a:pt x="221" y="1159"/>
                        <a:pt x="221" y="1159"/>
                      </a:cubicBezTo>
                      <a:cubicBezTo>
                        <a:pt x="221" y="1157"/>
                        <a:pt x="221" y="1157"/>
                        <a:pt x="221" y="1157"/>
                      </a:cubicBezTo>
                      <a:cubicBezTo>
                        <a:pt x="223" y="1158"/>
                        <a:pt x="223" y="1158"/>
                        <a:pt x="223" y="1158"/>
                      </a:cubicBezTo>
                      <a:cubicBezTo>
                        <a:pt x="225" y="1158"/>
                        <a:pt x="225" y="1158"/>
                        <a:pt x="225" y="1158"/>
                      </a:cubicBezTo>
                      <a:cubicBezTo>
                        <a:pt x="228" y="1156"/>
                        <a:pt x="228" y="1156"/>
                        <a:pt x="228" y="1156"/>
                      </a:cubicBezTo>
                      <a:cubicBezTo>
                        <a:pt x="227" y="1155"/>
                        <a:pt x="227" y="1155"/>
                        <a:pt x="227" y="1155"/>
                      </a:cubicBezTo>
                      <a:cubicBezTo>
                        <a:pt x="224" y="1153"/>
                        <a:pt x="224" y="1153"/>
                        <a:pt x="224" y="1153"/>
                      </a:cubicBezTo>
                      <a:cubicBezTo>
                        <a:pt x="222" y="1152"/>
                        <a:pt x="222" y="1152"/>
                        <a:pt x="222" y="1152"/>
                      </a:cubicBezTo>
                      <a:cubicBezTo>
                        <a:pt x="222" y="1152"/>
                        <a:pt x="222" y="1152"/>
                        <a:pt x="222" y="1152"/>
                      </a:cubicBezTo>
                      <a:cubicBezTo>
                        <a:pt x="224" y="1151"/>
                        <a:pt x="224" y="1151"/>
                        <a:pt x="224" y="1151"/>
                      </a:cubicBezTo>
                      <a:cubicBezTo>
                        <a:pt x="224" y="1151"/>
                        <a:pt x="224" y="1151"/>
                        <a:pt x="224" y="1151"/>
                      </a:cubicBezTo>
                      <a:cubicBezTo>
                        <a:pt x="223" y="1149"/>
                        <a:pt x="223" y="1149"/>
                        <a:pt x="223" y="1149"/>
                      </a:cubicBezTo>
                      <a:cubicBezTo>
                        <a:pt x="220" y="1148"/>
                        <a:pt x="220" y="1148"/>
                        <a:pt x="220" y="1148"/>
                      </a:cubicBezTo>
                      <a:cubicBezTo>
                        <a:pt x="218" y="1146"/>
                        <a:pt x="218" y="1146"/>
                        <a:pt x="218" y="1146"/>
                      </a:cubicBezTo>
                      <a:cubicBezTo>
                        <a:pt x="219" y="1145"/>
                        <a:pt x="219" y="1145"/>
                        <a:pt x="219" y="1145"/>
                      </a:cubicBezTo>
                      <a:cubicBezTo>
                        <a:pt x="222" y="1147"/>
                        <a:pt x="222" y="1147"/>
                        <a:pt x="222" y="1147"/>
                      </a:cubicBezTo>
                      <a:cubicBezTo>
                        <a:pt x="225" y="1148"/>
                        <a:pt x="225" y="1148"/>
                        <a:pt x="225" y="1148"/>
                      </a:cubicBezTo>
                      <a:cubicBezTo>
                        <a:pt x="230" y="1147"/>
                        <a:pt x="230" y="1147"/>
                        <a:pt x="230" y="1147"/>
                      </a:cubicBezTo>
                      <a:cubicBezTo>
                        <a:pt x="233" y="1145"/>
                        <a:pt x="233" y="1145"/>
                        <a:pt x="233" y="1145"/>
                      </a:cubicBezTo>
                      <a:cubicBezTo>
                        <a:pt x="233" y="1144"/>
                        <a:pt x="233" y="1144"/>
                        <a:pt x="233" y="1144"/>
                      </a:cubicBezTo>
                      <a:cubicBezTo>
                        <a:pt x="232" y="1142"/>
                        <a:pt x="232" y="1142"/>
                        <a:pt x="232" y="1142"/>
                      </a:cubicBezTo>
                      <a:cubicBezTo>
                        <a:pt x="230" y="1140"/>
                        <a:pt x="230" y="1140"/>
                        <a:pt x="230" y="1140"/>
                      </a:cubicBezTo>
                      <a:cubicBezTo>
                        <a:pt x="223" y="1140"/>
                        <a:pt x="223" y="1140"/>
                        <a:pt x="223" y="1140"/>
                      </a:cubicBezTo>
                      <a:cubicBezTo>
                        <a:pt x="221" y="1138"/>
                        <a:pt x="221" y="1138"/>
                        <a:pt x="221" y="1138"/>
                      </a:cubicBezTo>
                      <a:cubicBezTo>
                        <a:pt x="221" y="1137"/>
                        <a:pt x="221" y="1137"/>
                        <a:pt x="221" y="1137"/>
                      </a:cubicBezTo>
                      <a:cubicBezTo>
                        <a:pt x="222" y="1137"/>
                        <a:pt x="222" y="1137"/>
                        <a:pt x="222" y="1137"/>
                      </a:cubicBezTo>
                      <a:cubicBezTo>
                        <a:pt x="224" y="1138"/>
                        <a:pt x="224" y="1138"/>
                        <a:pt x="224" y="1138"/>
                      </a:cubicBezTo>
                      <a:cubicBezTo>
                        <a:pt x="229" y="1139"/>
                        <a:pt x="229" y="1139"/>
                        <a:pt x="229" y="1139"/>
                      </a:cubicBezTo>
                      <a:cubicBezTo>
                        <a:pt x="231" y="1137"/>
                        <a:pt x="231" y="1137"/>
                        <a:pt x="231" y="1137"/>
                      </a:cubicBezTo>
                      <a:cubicBezTo>
                        <a:pt x="231" y="1134"/>
                        <a:pt x="231" y="1134"/>
                        <a:pt x="231" y="1134"/>
                      </a:cubicBezTo>
                      <a:cubicBezTo>
                        <a:pt x="229" y="1132"/>
                        <a:pt x="229" y="1132"/>
                        <a:pt x="229" y="1132"/>
                      </a:cubicBezTo>
                      <a:cubicBezTo>
                        <a:pt x="227" y="1131"/>
                        <a:pt x="227" y="1131"/>
                        <a:pt x="227" y="1131"/>
                      </a:cubicBezTo>
                      <a:cubicBezTo>
                        <a:pt x="226" y="1129"/>
                        <a:pt x="226" y="1129"/>
                        <a:pt x="226" y="1129"/>
                      </a:cubicBezTo>
                      <a:cubicBezTo>
                        <a:pt x="228" y="1129"/>
                        <a:pt x="228" y="1129"/>
                        <a:pt x="228" y="1129"/>
                      </a:cubicBezTo>
                      <a:cubicBezTo>
                        <a:pt x="230" y="1130"/>
                        <a:pt x="230" y="1130"/>
                        <a:pt x="230" y="1130"/>
                      </a:cubicBezTo>
                      <a:cubicBezTo>
                        <a:pt x="231" y="1132"/>
                        <a:pt x="231" y="1132"/>
                        <a:pt x="231" y="1132"/>
                      </a:cubicBezTo>
                      <a:cubicBezTo>
                        <a:pt x="233" y="1130"/>
                        <a:pt x="233" y="1130"/>
                        <a:pt x="233" y="1130"/>
                      </a:cubicBezTo>
                      <a:cubicBezTo>
                        <a:pt x="235" y="1128"/>
                        <a:pt x="235" y="1128"/>
                        <a:pt x="235" y="1128"/>
                      </a:cubicBezTo>
                      <a:cubicBezTo>
                        <a:pt x="235" y="1126"/>
                        <a:pt x="235" y="1126"/>
                        <a:pt x="235" y="1126"/>
                      </a:cubicBezTo>
                      <a:cubicBezTo>
                        <a:pt x="234" y="1125"/>
                        <a:pt x="234" y="1125"/>
                        <a:pt x="234" y="1125"/>
                      </a:cubicBezTo>
                      <a:cubicBezTo>
                        <a:pt x="231" y="1124"/>
                        <a:pt x="231" y="1124"/>
                        <a:pt x="231" y="1124"/>
                      </a:cubicBezTo>
                      <a:cubicBezTo>
                        <a:pt x="231" y="1122"/>
                        <a:pt x="231" y="1122"/>
                        <a:pt x="231" y="1122"/>
                      </a:cubicBezTo>
                      <a:cubicBezTo>
                        <a:pt x="233" y="1122"/>
                        <a:pt x="233" y="1122"/>
                        <a:pt x="233" y="1122"/>
                      </a:cubicBezTo>
                      <a:cubicBezTo>
                        <a:pt x="234" y="1124"/>
                        <a:pt x="234" y="1124"/>
                        <a:pt x="234" y="1124"/>
                      </a:cubicBezTo>
                      <a:cubicBezTo>
                        <a:pt x="236" y="1124"/>
                        <a:pt x="236" y="1124"/>
                        <a:pt x="236" y="1124"/>
                      </a:cubicBezTo>
                      <a:cubicBezTo>
                        <a:pt x="238" y="1121"/>
                        <a:pt x="238" y="1121"/>
                        <a:pt x="238" y="1121"/>
                      </a:cubicBezTo>
                      <a:cubicBezTo>
                        <a:pt x="238" y="1120"/>
                        <a:pt x="238" y="1120"/>
                        <a:pt x="238" y="1120"/>
                      </a:cubicBezTo>
                      <a:cubicBezTo>
                        <a:pt x="234" y="1119"/>
                        <a:pt x="234" y="1119"/>
                        <a:pt x="234" y="1119"/>
                      </a:cubicBezTo>
                      <a:cubicBezTo>
                        <a:pt x="232" y="1117"/>
                        <a:pt x="232" y="1117"/>
                        <a:pt x="232" y="1117"/>
                      </a:cubicBezTo>
                      <a:cubicBezTo>
                        <a:pt x="231" y="1115"/>
                        <a:pt x="231" y="1115"/>
                        <a:pt x="231" y="1115"/>
                      </a:cubicBezTo>
                      <a:cubicBezTo>
                        <a:pt x="232" y="1115"/>
                        <a:pt x="232" y="1115"/>
                        <a:pt x="232" y="1115"/>
                      </a:cubicBezTo>
                      <a:cubicBezTo>
                        <a:pt x="235" y="1117"/>
                        <a:pt x="235" y="1117"/>
                        <a:pt x="235" y="1117"/>
                      </a:cubicBezTo>
                      <a:cubicBezTo>
                        <a:pt x="237" y="1117"/>
                        <a:pt x="237" y="1117"/>
                        <a:pt x="237" y="1117"/>
                      </a:cubicBezTo>
                      <a:cubicBezTo>
                        <a:pt x="239" y="1119"/>
                        <a:pt x="239" y="1119"/>
                        <a:pt x="239" y="1119"/>
                      </a:cubicBezTo>
                      <a:cubicBezTo>
                        <a:pt x="241" y="1119"/>
                        <a:pt x="241" y="1119"/>
                        <a:pt x="241" y="1119"/>
                      </a:cubicBezTo>
                      <a:cubicBezTo>
                        <a:pt x="242" y="1115"/>
                        <a:pt x="242" y="1115"/>
                        <a:pt x="242" y="1115"/>
                      </a:cubicBezTo>
                      <a:cubicBezTo>
                        <a:pt x="242" y="1113"/>
                        <a:pt x="242" y="1113"/>
                        <a:pt x="242" y="1113"/>
                      </a:cubicBezTo>
                      <a:cubicBezTo>
                        <a:pt x="244" y="1112"/>
                        <a:pt x="244" y="1112"/>
                        <a:pt x="244" y="1112"/>
                      </a:cubicBezTo>
                      <a:cubicBezTo>
                        <a:pt x="244" y="1110"/>
                        <a:pt x="244" y="1110"/>
                        <a:pt x="244" y="1110"/>
                      </a:cubicBezTo>
                      <a:cubicBezTo>
                        <a:pt x="244" y="1108"/>
                        <a:pt x="244" y="1108"/>
                        <a:pt x="244" y="1108"/>
                      </a:cubicBezTo>
                      <a:cubicBezTo>
                        <a:pt x="244" y="1104"/>
                        <a:pt x="244" y="1104"/>
                        <a:pt x="244" y="1104"/>
                      </a:cubicBezTo>
                      <a:cubicBezTo>
                        <a:pt x="245" y="1102"/>
                        <a:pt x="245" y="1102"/>
                        <a:pt x="245" y="1102"/>
                      </a:cubicBezTo>
                      <a:cubicBezTo>
                        <a:pt x="242" y="1099"/>
                        <a:pt x="242" y="1099"/>
                        <a:pt x="242" y="1099"/>
                      </a:cubicBezTo>
                      <a:cubicBezTo>
                        <a:pt x="239" y="1095"/>
                        <a:pt x="239" y="1095"/>
                        <a:pt x="239" y="1095"/>
                      </a:cubicBezTo>
                      <a:cubicBezTo>
                        <a:pt x="236" y="1094"/>
                        <a:pt x="236" y="1094"/>
                        <a:pt x="236" y="1094"/>
                      </a:cubicBezTo>
                      <a:cubicBezTo>
                        <a:pt x="234" y="1092"/>
                        <a:pt x="234" y="1092"/>
                        <a:pt x="234" y="1092"/>
                      </a:cubicBezTo>
                      <a:cubicBezTo>
                        <a:pt x="234" y="1091"/>
                        <a:pt x="234" y="1091"/>
                        <a:pt x="234" y="1091"/>
                      </a:cubicBezTo>
                      <a:cubicBezTo>
                        <a:pt x="236" y="1090"/>
                        <a:pt x="236" y="1090"/>
                        <a:pt x="236" y="1090"/>
                      </a:cubicBezTo>
                      <a:cubicBezTo>
                        <a:pt x="238" y="1092"/>
                        <a:pt x="238" y="1092"/>
                        <a:pt x="238" y="1092"/>
                      </a:cubicBezTo>
                      <a:cubicBezTo>
                        <a:pt x="242" y="1095"/>
                        <a:pt x="242" y="1095"/>
                        <a:pt x="242" y="1095"/>
                      </a:cubicBezTo>
                      <a:cubicBezTo>
                        <a:pt x="244" y="1098"/>
                        <a:pt x="244" y="1098"/>
                        <a:pt x="244" y="1098"/>
                      </a:cubicBezTo>
                      <a:cubicBezTo>
                        <a:pt x="246" y="1098"/>
                        <a:pt x="246" y="1098"/>
                        <a:pt x="246" y="1098"/>
                      </a:cubicBezTo>
                      <a:cubicBezTo>
                        <a:pt x="248" y="1097"/>
                        <a:pt x="248" y="1097"/>
                        <a:pt x="248" y="1097"/>
                      </a:cubicBezTo>
                      <a:cubicBezTo>
                        <a:pt x="246" y="1093"/>
                        <a:pt x="246" y="1093"/>
                        <a:pt x="246" y="1093"/>
                      </a:cubicBezTo>
                      <a:cubicBezTo>
                        <a:pt x="245" y="1089"/>
                        <a:pt x="245" y="1089"/>
                        <a:pt x="245" y="1089"/>
                      </a:cubicBezTo>
                      <a:cubicBezTo>
                        <a:pt x="241" y="1088"/>
                        <a:pt x="241" y="1088"/>
                        <a:pt x="241" y="1088"/>
                      </a:cubicBezTo>
                      <a:cubicBezTo>
                        <a:pt x="235" y="1085"/>
                        <a:pt x="235" y="1085"/>
                        <a:pt x="235" y="1085"/>
                      </a:cubicBezTo>
                      <a:cubicBezTo>
                        <a:pt x="234" y="1084"/>
                        <a:pt x="234" y="1084"/>
                        <a:pt x="234" y="1084"/>
                      </a:cubicBezTo>
                      <a:cubicBezTo>
                        <a:pt x="234" y="1081"/>
                        <a:pt x="234" y="1081"/>
                        <a:pt x="234" y="1081"/>
                      </a:cubicBezTo>
                      <a:cubicBezTo>
                        <a:pt x="236" y="1081"/>
                        <a:pt x="236" y="1081"/>
                        <a:pt x="236" y="1081"/>
                      </a:cubicBezTo>
                      <a:cubicBezTo>
                        <a:pt x="238" y="1082"/>
                        <a:pt x="238" y="1082"/>
                        <a:pt x="238" y="1082"/>
                      </a:cubicBezTo>
                      <a:cubicBezTo>
                        <a:pt x="239" y="1084"/>
                        <a:pt x="239" y="1084"/>
                        <a:pt x="239" y="1084"/>
                      </a:cubicBezTo>
                      <a:cubicBezTo>
                        <a:pt x="242" y="1084"/>
                        <a:pt x="242" y="1084"/>
                        <a:pt x="242" y="1084"/>
                      </a:cubicBezTo>
                      <a:cubicBezTo>
                        <a:pt x="244" y="1081"/>
                        <a:pt x="244" y="1081"/>
                        <a:pt x="244" y="1081"/>
                      </a:cubicBezTo>
                      <a:cubicBezTo>
                        <a:pt x="244" y="1079"/>
                        <a:pt x="244" y="1079"/>
                        <a:pt x="244" y="1079"/>
                      </a:cubicBezTo>
                      <a:cubicBezTo>
                        <a:pt x="244" y="1076"/>
                        <a:pt x="244" y="1076"/>
                        <a:pt x="244" y="1076"/>
                      </a:cubicBezTo>
                      <a:cubicBezTo>
                        <a:pt x="245" y="1076"/>
                        <a:pt x="245" y="1076"/>
                        <a:pt x="245" y="1076"/>
                      </a:cubicBezTo>
                      <a:cubicBezTo>
                        <a:pt x="247" y="1077"/>
                        <a:pt x="247" y="1077"/>
                        <a:pt x="247" y="1077"/>
                      </a:cubicBezTo>
                      <a:cubicBezTo>
                        <a:pt x="247" y="1078"/>
                        <a:pt x="247" y="1078"/>
                        <a:pt x="247" y="1078"/>
                      </a:cubicBezTo>
                      <a:cubicBezTo>
                        <a:pt x="247" y="1080"/>
                        <a:pt x="247" y="1080"/>
                        <a:pt x="247" y="1080"/>
                      </a:cubicBezTo>
                      <a:cubicBezTo>
                        <a:pt x="250" y="1082"/>
                        <a:pt x="250" y="1082"/>
                        <a:pt x="250" y="1082"/>
                      </a:cubicBezTo>
                      <a:cubicBezTo>
                        <a:pt x="252" y="1082"/>
                        <a:pt x="252" y="1082"/>
                        <a:pt x="252" y="1082"/>
                      </a:cubicBezTo>
                      <a:cubicBezTo>
                        <a:pt x="254" y="1083"/>
                        <a:pt x="254" y="1083"/>
                        <a:pt x="254" y="1083"/>
                      </a:cubicBezTo>
                      <a:cubicBezTo>
                        <a:pt x="256" y="1083"/>
                        <a:pt x="256" y="1083"/>
                        <a:pt x="256" y="1083"/>
                      </a:cubicBezTo>
                      <a:cubicBezTo>
                        <a:pt x="257" y="1081"/>
                        <a:pt x="257" y="1081"/>
                        <a:pt x="257" y="1081"/>
                      </a:cubicBezTo>
                      <a:cubicBezTo>
                        <a:pt x="259" y="1079"/>
                        <a:pt x="259" y="1079"/>
                        <a:pt x="259" y="1079"/>
                      </a:cubicBezTo>
                      <a:cubicBezTo>
                        <a:pt x="260" y="1078"/>
                        <a:pt x="260" y="1078"/>
                        <a:pt x="260" y="1078"/>
                      </a:cubicBezTo>
                      <a:cubicBezTo>
                        <a:pt x="259" y="1076"/>
                        <a:pt x="259" y="1076"/>
                        <a:pt x="259" y="1076"/>
                      </a:cubicBezTo>
                      <a:cubicBezTo>
                        <a:pt x="257" y="1075"/>
                        <a:pt x="257" y="1075"/>
                        <a:pt x="257" y="1075"/>
                      </a:cubicBezTo>
                      <a:cubicBezTo>
                        <a:pt x="252" y="1075"/>
                        <a:pt x="252" y="1075"/>
                        <a:pt x="252" y="1075"/>
                      </a:cubicBezTo>
                      <a:cubicBezTo>
                        <a:pt x="251" y="1074"/>
                        <a:pt x="251" y="1074"/>
                        <a:pt x="251" y="1074"/>
                      </a:cubicBezTo>
                      <a:cubicBezTo>
                        <a:pt x="251" y="1073"/>
                        <a:pt x="251" y="1073"/>
                        <a:pt x="251" y="1073"/>
                      </a:cubicBezTo>
                      <a:cubicBezTo>
                        <a:pt x="251" y="1070"/>
                        <a:pt x="251" y="1070"/>
                        <a:pt x="251" y="1070"/>
                      </a:cubicBezTo>
                      <a:cubicBezTo>
                        <a:pt x="249" y="1068"/>
                        <a:pt x="249" y="1068"/>
                        <a:pt x="249" y="1068"/>
                      </a:cubicBezTo>
                      <a:cubicBezTo>
                        <a:pt x="249" y="1066"/>
                        <a:pt x="249" y="1066"/>
                        <a:pt x="249" y="1066"/>
                      </a:cubicBezTo>
                      <a:cubicBezTo>
                        <a:pt x="250" y="1064"/>
                        <a:pt x="250" y="1064"/>
                        <a:pt x="250" y="1064"/>
                      </a:cubicBezTo>
                      <a:cubicBezTo>
                        <a:pt x="251" y="1064"/>
                        <a:pt x="251" y="1064"/>
                        <a:pt x="251" y="1064"/>
                      </a:cubicBezTo>
                      <a:cubicBezTo>
                        <a:pt x="253" y="1066"/>
                        <a:pt x="253" y="1066"/>
                        <a:pt x="253" y="1066"/>
                      </a:cubicBezTo>
                      <a:cubicBezTo>
                        <a:pt x="254" y="1069"/>
                        <a:pt x="254" y="1069"/>
                        <a:pt x="254" y="1069"/>
                      </a:cubicBezTo>
                      <a:cubicBezTo>
                        <a:pt x="255" y="1071"/>
                        <a:pt x="255" y="1071"/>
                        <a:pt x="255" y="1071"/>
                      </a:cubicBezTo>
                      <a:cubicBezTo>
                        <a:pt x="259" y="1072"/>
                        <a:pt x="259" y="1072"/>
                        <a:pt x="259" y="1072"/>
                      </a:cubicBezTo>
                      <a:cubicBezTo>
                        <a:pt x="260" y="1071"/>
                        <a:pt x="260" y="1071"/>
                        <a:pt x="260" y="1071"/>
                      </a:cubicBezTo>
                      <a:cubicBezTo>
                        <a:pt x="260" y="1069"/>
                        <a:pt x="260" y="1069"/>
                        <a:pt x="260" y="1069"/>
                      </a:cubicBezTo>
                      <a:cubicBezTo>
                        <a:pt x="260" y="1067"/>
                        <a:pt x="260" y="1067"/>
                        <a:pt x="260" y="1067"/>
                      </a:cubicBezTo>
                      <a:cubicBezTo>
                        <a:pt x="256" y="1065"/>
                        <a:pt x="256" y="1065"/>
                        <a:pt x="256" y="1065"/>
                      </a:cubicBezTo>
                      <a:cubicBezTo>
                        <a:pt x="254" y="1063"/>
                        <a:pt x="254" y="1063"/>
                        <a:pt x="254" y="1063"/>
                      </a:cubicBezTo>
                      <a:cubicBezTo>
                        <a:pt x="253" y="1059"/>
                        <a:pt x="253" y="1059"/>
                        <a:pt x="253" y="1059"/>
                      </a:cubicBezTo>
                      <a:cubicBezTo>
                        <a:pt x="254" y="1059"/>
                        <a:pt x="254" y="1059"/>
                        <a:pt x="254" y="1059"/>
                      </a:cubicBezTo>
                      <a:cubicBezTo>
                        <a:pt x="256" y="1062"/>
                        <a:pt x="256" y="1062"/>
                        <a:pt x="256" y="1062"/>
                      </a:cubicBezTo>
                      <a:cubicBezTo>
                        <a:pt x="259" y="1064"/>
                        <a:pt x="259" y="1064"/>
                        <a:pt x="259" y="1064"/>
                      </a:cubicBezTo>
                      <a:cubicBezTo>
                        <a:pt x="261" y="1065"/>
                        <a:pt x="261" y="1065"/>
                        <a:pt x="261" y="1065"/>
                      </a:cubicBezTo>
                      <a:cubicBezTo>
                        <a:pt x="263" y="1067"/>
                        <a:pt x="263" y="1067"/>
                        <a:pt x="263" y="1067"/>
                      </a:cubicBezTo>
                      <a:cubicBezTo>
                        <a:pt x="264" y="1066"/>
                        <a:pt x="264" y="1066"/>
                        <a:pt x="264" y="1066"/>
                      </a:cubicBezTo>
                      <a:cubicBezTo>
                        <a:pt x="264" y="1064"/>
                        <a:pt x="264" y="1064"/>
                        <a:pt x="264" y="1064"/>
                      </a:cubicBezTo>
                      <a:cubicBezTo>
                        <a:pt x="263" y="1062"/>
                        <a:pt x="263" y="1062"/>
                        <a:pt x="263" y="1062"/>
                      </a:cubicBezTo>
                      <a:cubicBezTo>
                        <a:pt x="260" y="1060"/>
                        <a:pt x="260" y="1060"/>
                        <a:pt x="260" y="1060"/>
                      </a:cubicBezTo>
                      <a:cubicBezTo>
                        <a:pt x="258" y="1057"/>
                        <a:pt x="258" y="1057"/>
                        <a:pt x="258" y="1057"/>
                      </a:cubicBezTo>
                      <a:cubicBezTo>
                        <a:pt x="257" y="1054"/>
                        <a:pt x="257" y="1054"/>
                        <a:pt x="257" y="1054"/>
                      </a:cubicBezTo>
                      <a:cubicBezTo>
                        <a:pt x="259" y="1052"/>
                        <a:pt x="259" y="1052"/>
                        <a:pt x="259" y="1052"/>
                      </a:cubicBezTo>
                      <a:cubicBezTo>
                        <a:pt x="260" y="1051"/>
                        <a:pt x="260" y="1051"/>
                        <a:pt x="260" y="1051"/>
                      </a:cubicBezTo>
                      <a:cubicBezTo>
                        <a:pt x="262" y="1051"/>
                        <a:pt x="262" y="1051"/>
                        <a:pt x="262" y="1051"/>
                      </a:cubicBezTo>
                      <a:cubicBezTo>
                        <a:pt x="263" y="1053"/>
                        <a:pt x="263" y="1053"/>
                        <a:pt x="263" y="1053"/>
                      </a:cubicBezTo>
                      <a:cubicBezTo>
                        <a:pt x="267" y="1057"/>
                        <a:pt x="267" y="1057"/>
                        <a:pt x="267" y="1057"/>
                      </a:cubicBezTo>
                      <a:cubicBezTo>
                        <a:pt x="269" y="1057"/>
                        <a:pt x="269" y="1057"/>
                        <a:pt x="269" y="1057"/>
                      </a:cubicBezTo>
                      <a:cubicBezTo>
                        <a:pt x="270" y="1056"/>
                        <a:pt x="270" y="1056"/>
                        <a:pt x="270" y="1056"/>
                      </a:cubicBezTo>
                      <a:cubicBezTo>
                        <a:pt x="272" y="1056"/>
                        <a:pt x="272" y="1056"/>
                        <a:pt x="272" y="1056"/>
                      </a:cubicBezTo>
                      <a:cubicBezTo>
                        <a:pt x="275" y="1055"/>
                        <a:pt x="275" y="1055"/>
                        <a:pt x="275" y="1055"/>
                      </a:cubicBezTo>
                      <a:cubicBezTo>
                        <a:pt x="276" y="1052"/>
                        <a:pt x="276" y="1052"/>
                        <a:pt x="276" y="1052"/>
                      </a:cubicBezTo>
                      <a:cubicBezTo>
                        <a:pt x="275" y="1050"/>
                        <a:pt x="275" y="1050"/>
                        <a:pt x="275" y="1050"/>
                      </a:cubicBezTo>
                      <a:cubicBezTo>
                        <a:pt x="273" y="1049"/>
                        <a:pt x="273" y="1049"/>
                        <a:pt x="273" y="1049"/>
                      </a:cubicBezTo>
                      <a:cubicBezTo>
                        <a:pt x="270" y="1047"/>
                        <a:pt x="270" y="1047"/>
                        <a:pt x="270" y="1047"/>
                      </a:cubicBezTo>
                      <a:cubicBezTo>
                        <a:pt x="267" y="1045"/>
                        <a:pt x="267" y="1045"/>
                        <a:pt x="267" y="1045"/>
                      </a:cubicBezTo>
                      <a:cubicBezTo>
                        <a:pt x="265" y="1045"/>
                        <a:pt x="265" y="1045"/>
                        <a:pt x="265" y="1045"/>
                      </a:cubicBezTo>
                      <a:cubicBezTo>
                        <a:pt x="263" y="1044"/>
                        <a:pt x="263" y="1044"/>
                        <a:pt x="263" y="1044"/>
                      </a:cubicBezTo>
                      <a:cubicBezTo>
                        <a:pt x="263" y="1042"/>
                        <a:pt x="263" y="1042"/>
                        <a:pt x="263" y="1042"/>
                      </a:cubicBezTo>
                      <a:cubicBezTo>
                        <a:pt x="264" y="1041"/>
                        <a:pt x="264" y="1041"/>
                        <a:pt x="264" y="1041"/>
                      </a:cubicBezTo>
                      <a:cubicBezTo>
                        <a:pt x="266" y="1041"/>
                        <a:pt x="266" y="1041"/>
                        <a:pt x="266" y="1041"/>
                      </a:cubicBezTo>
                      <a:cubicBezTo>
                        <a:pt x="268" y="1043"/>
                        <a:pt x="268" y="1043"/>
                        <a:pt x="268" y="1043"/>
                      </a:cubicBezTo>
                      <a:cubicBezTo>
                        <a:pt x="270" y="1044"/>
                        <a:pt x="270" y="1044"/>
                        <a:pt x="270" y="1044"/>
                      </a:cubicBezTo>
                      <a:cubicBezTo>
                        <a:pt x="271" y="1044"/>
                        <a:pt x="271" y="1044"/>
                        <a:pt x="271" y="1044"/>
                      </a:cubicBezTo>
                      <a:cubicBezTo>
                        <a:pt x="274" y="1048"/>
                        <a:pt x="274" y="1048"/>
                        <a:pt x="274" y="1048"/>
                      </a:cubicBezTo>
                      <a:cubicBezTo>
                        <a:pt x="276" y="1049"/>
                        <a:pt x="276" y="1049"/>
                        <a:pt x="276" y="1049"/>
                      </a:cubicBezTo>
                      <a:cubicBezTo>
                        <a:pt x="277" y="1049"/>
                        <a:pt x="277" y="1049"/>
                        <a:pt x="277" y="1049"/>
                      </a:cubicBezTo>
                      <a:cubicBezTo>
                        <a:pt x="278" y="1047"/>
                        <a:pt x="278" y="1047"/>
                        <a:pt x="278" y="1047"/>
                      </a:cubicBezTo>
                      <a:cubicBezTo>
                        <a:pt x="278" y="1045"/>
                        <a:pt x="278" y="1045"/>
                        <a:pt x="278" y="1045"/>
                      </a:cubicBezTo>
                      <a:cubicBezTo>
                        <a:pt x="278" y="1041"/>
                        <a:pt x="278" y="1041"/>
                        <a:pt x="278" y="1041"/>
                      </a:cubicBezTo>
                      <a:cubicBezTo>
                        <a:pt x="278" y="1039"/>
                        <a:pt x="278" y="1039"/>
                        <a:pt x="278" y="1039"/>
                      </a:cubicBezTo>
                      <a:cubicBezTo>
                        <a:pt x="276" y="1038"/>
                        <a:pt x="276" y="1038"/>
                        <a:pt x="276" y="1038"/>
                      </a:cubicBezTo>
                      <a:cubicBezTo>
                        <a:pt x="276" y="1037"/>
                        <a:pt x="276" y="1037"/>
                        <a:pt x="276" y="1037"/>
                      </a:cubicBezTo>
                      <a:cubicBezTo>
                        <a:pt x="278" y="1037"/>
                        <a:pt x="278" y="1037"/>
                        <a:pt x="278" y="1037"/>
                      </a:cubicBezTo>
                      <a:cubicBezTo>
                        <a:pt x="280" y="1036"/>
                        <a:pt x="280" y="1036"/>
                        <a:pt x="280" y="1036"/>
                      </a:cubicBezTo>
                      <a:cubicBezTo>
                        <a:pt x="280" y="1033"/>
                        <a:pt x="280" y="1033"/>
                        <a:pt x="280" y="1033"/>
                      </a:cubicBezTo>
                      <a:cubicBezTo>
                        <a:pt x="280" y="1031"/>
                        <a:pt x="280" y="1031"/>
                        <a:pt x="280" y="1031"/>
                      </a:cubicBezTo>
                      <a:cubicBezTo>
                        <a:pt x="279" y="1031"/>
                        <a:pt x="279" y="1031"/>
                        <a:pt x="279" y="1031"/>
                      </a:cubicBezTo>
                      <a:cubicBezTo>
                        <a:pt x="277" y="1032"/>
                        <a:pt x="277" y="1032"/>
                        <a:pt x="277" y="1032"/>
                      </a:cubicBezTo>
                      <a:cubicBezTo>
                        <a:pt x="276" y="1030"/>
                        <a:pt x="276" y="1030"/>
                        <a:pt x="276" y="1030"/>
                      </a:cubicBezTo>
                      <a:cubicBezTo>
                        <a:pt x="274" y="1028"/>
                        <a:pt x="274" y="1028"/>
                        <a:pt x="274" y="1028"/>
                      </a:cubicBezTo>
                      <a:cubicBezTo>
                        <a:pt x="271" y="1028"/>
                        <a:pt x="271" y="1028"/>
                        <a:pt x="271" y="1028"/>
                      </a:cubicBezTo>
                      <a:cubicBezTo>
                        <a:pt x="267" y="1025"/>
                        <a:pt x="267" y="1025"/>
                        <a:pt x="267" y="1025"/>
                      </a:cubicBezTo>
                      <a:cubicBezTo>
                        <a:pt x="267" y="1024"/>
                        <a:pt x="267" y="1024"/>
                        <a:pt x="267" y="1024"/>
                      </a:cubicBezTo>
                      <a:cubicBezTo>
                        <a:pt x="268" y="1022"/>
                        <a:pt x="268" y="1022"/>
                        <a:pt x="268" y="1022"/>
                      </a:cubicBezTo>
                      <a:cubicBezTo>
                        <a:pt x="271" y="1022"/>
                        <a:pt x="271" y="1022"/>
                        <a:pt x="271" y="1022"/>
                      </a:cubicBezTo>
                      <a:cubicBezTo>
                        <a:pt x="275" y="1023"/>
                        <a:pt x="275" y="1023"/>
                        <a:pt x="275" y="1023"/>
                      </a:cubicBezTo>
                      <a:cubicBezTo>
                        <a:pt x="277" y="1022"/>
                        <a:pt x="277" y="1022"/>
                        <a:pt x="277" y="1022"/>
                      </a:cubicBezTo>
                      <a:cubicBezTo>
                        <a:pt x="278" y="1020"/>
                        <a:pt x="278" y="1020"/>
                        <a:pt x="278" y="1020"/>
                      </a:cubicBezTo>
                      <a:cubicBezTo>
                        <a:pt x="280" y="1020"/>
                        <a:pt x="280" y="1020"/>
                        <a:pt x="280" y="1020"/>
                      </a:cubicBezTo>
                      <a:cubicBezTo>
                        <a:pt x="282" y="1022"/>
                        <a:pt x="282" y="1022"/>
                        <a:pt x="282" y="1022"/>
                      </a:cubicBezTo>
                      <a:cubicBezTo>
                        <a:pt x="283" y="1018"/>
                        <a:pt x="283" y="1018"/>
                        <a:pt x="283" y="1018"/>
                      </a:cubicBezTo>
                      <a:cubicBezTo>
                        <a:pt x="282" y="1012"/>
                        <a:pt x="282" y="1012"/>
                        <a:pt x="282" y="1012"/>
                      </a:cubicBezTo>
                      <a:cubicBezTo>
                        <a:pt x="281" y="1008"/>
                        <a:pt x="281" y="1008"/>
                        <a:pt x="281" y="1008"/>
                      </a:cubicBezTo>
                      <a:cubicBezTo>
                        <a:pt x="279" y="1006"/>
                        <a:pt x="279" y="1006"/>
                        <a:pt x="279" y="1006"/>
                      </a:cubicBezTo>
                      <a:cubicBezTo>
                        <a:pt x="278" y="1003"/>
                        <a:pt x="278" y="1003"/>
                        <a:pt x="278" y="1003"/>
                      </a:cubicBezTo>
                      <a:cubicBezTo>
                        <a:pt x="278" y="1001"/>
                        <a:pt x="278" y="1001"/>
                        <a:pt x="278" y="1001"/>
                      </a:cubicBezTo>
                      <a:cubicBezTo>
                        <a:pt x="280" y="999"/>
                        <a:pt x="280" y="999"/>
                        <a:pt x="280" y="999"/>
                      </a:cubicBezTo>
                      <a:cubicBezTo>
                        <a:pt x="279" y="995"/>
                        <a:pt x="279" y="995"/>
                        <a:pt x="279" y="995"/>
                      </a:cubicBezTo>
                      <a:cubicBezTo>
                        <a:pt x="279" y="994"/>
                        <a:pt x="279" y="994"/>
                        <a:pt x="279" y="994"/>
                      </a:cubicBezTo>
                      <a:cubicBezTo>
                        <a:pt x="279" y="992"/>
                        <a:pt x="279" y="992"/>
                        <a:pt x="279" y="992"/>
                      </a:cubicBezTo>
                      <a:cubicBezTo>
                        <a:pt x="280" y="992"/>
                        <a:pt x="280" y="992"/>
                        <a:pt x="280" y="992"/>
                      </a:cubicBezTo>
                      <a:cubicBezTo>
                        <a:pt x="281" y="995"/>
                        <a:pt x="281" y="995"/>
                        <a:pt x="281" y="995"/>
                      </a:cubicBezTo>
                      <a:cubicBezTo>
                        <a:pt x="284" y="996"/>
                        <a:pt x="284" y="996"/>
                        <a:pt x="284" y="996"/>
                      </a:cubicBezTo>
                      <a:cubicBezTo>
                        <a:pt x="284" y="994"/>
                        <a:pt x="284" y="994"/>
                        <a:pt x="284" y="994"/>
                      </a:cubicBezTo>
                      <a:cubicBezTo>
                        <a:pt x="286" y="993"/>
                        <a:pt x="286" y="993"/>
                        <a:pt x="286" y="993"/>
                      </a:cubicBezTo>
                      <a:cubicBezTo>
                        <a:pt x="288" y="995"/>
                        <a:pt x="288" y="995"/>
                        <a:pt x="288" y="995"/>
                      </a:cubicBezTo>
                      <a:cubicBezTo>
                        <a:pt x="289" y="999"/>
                        <a:pt x="289" y="999"/>
                        <a:pt x="289" y="999"/>
                      </a:cubicBezTo>
                      <a:cubicBezTo>
                        <a:pt x="290" y="1001"/>
                        <a:pt x="290" y="1001"/>
                        <a:pt x="290" y="1001"/>
                      </a:cubicBezTo>
                      <a:cubicBezTo>
                        <a:pt x="292" y="1000"/>
                        <a:pt x="292" y="1000"/>
                        <a:pt x="292" y="1000"/>
                      </a:cubicBezTo>
                      <a:cubicBezTo>
                        <a:pt x="296" y="996"/>
                        <a:pt x="296" y="996"/>
                        <a:pt x="296" y="996"/>
                      </a:cubicBezTo>
                      <a:cubicBezTo>
                        <a:pt x="297" y="991"/>
                        <a:pt x="297" y="991"/>
                        <a:pt x="297" y="991"/>
                      </a:cubicBezTo>
                      <a:cubicBezTo>
                        <a:pt x="297" y="986"/>
                        <a:pt x="297" y="986"/>
                        <a:pt x="297" y="986"/>
                      </a:cubicBezTo>
                      <a:cubicBezTo>
                        <a:pt x="296" y="983"/>
                        <a:pt x="296" y="983"/>
                        <a:pt x="296" y="983"/>
                      </a:cubicBezTo>
                      <a:cubicBezTo>
                        <a:pt x="296" y="981"/>
                        <a:pt x="296" y="981"/>
                        <a:pt x="296" y="981"/>
                      </a:cubicBezTo>
                      <a:cubicBezTo>
                        <a:pt x="297" y="980"/>
                        <a:pt x="297" y="980"/>
                        <a:pt x="297" y="980"/>
                      </a:cubicBezTo>
                      <a:cubicBezTo>
                        <a:pt x="299" y="980"/>
                        <a:pt x="299" y="980"/>
                        <a:pt x="299" y="980"/>
                      </a:cubicBezTo>
                      <a:cubicBezTo>
                        <a:pt x="300" y="978"/>
                        <a:pt x="300" y="978"/>
                        <a:pt x="300" y="978"/>
                      </a:cubicBezTo>
                      <a:cubicBezTo>
                        <a:pt x="302" y="977"/>
                        <a:pt x="302" y="977"/>
                        <a:pt x="302" y="977"/>
                      </a:cubicBezTo>
                      <a:cubicBezTo>
                        <a:pt x="303" y="980"/>
                        <a:pt x="303" y="980"/>
                        <a:pt x="303" y="980"/>
                      </a:cubicBezTo>
                      <a:cubicBezTo>
                        <a:pt x="304" y="983"/>
                        <a:pt x="304" y="983"/>
                        <a:pt x="304" y="983"/>
                      </a:cubicBezTo>
                      <a:cubicBezTo>
                        <a:pt x="306" y="983"/>
                        <a:pt x="306" y="983"/>
                        <a:pt x="306" y="983"/>
                      </a:cubicBezTo>
                      <a:cubicBezTo>
                        <a:pt x="308" y="981"/>
                        <a:pt x="308" y="981"/>
                        <a:pt x="308" y="981"/>
                      </a:cubicBezTo>
                      <a:cubicBezTo>
                        <a:pt x="308" y="979"/>
                        <a:pt x="308" y="979"/>
                        <a:pt x="308" y="979"/>
                      </a:cubicBezTo>
                      <a:cubicBezTo>
                        <a:pt x="308" y="977"/>
                        <a:pt x="308" y="977"/>
                        <a:pt x="308" y="977"/>
                      </a:cubicBezTo>
                      <a:cubicBezTo>
                        <a:pt x="309" y="977"/>
                        <a:pt x="309" y="977"/>
                        <a:pt x="309" y="977"/>
                      </a:cubicBezTo>
                      <a:cubicBezTo>
                        <a:pt x="310" y="980"/>
                        <a:pt x="310" y="980"/>
                        <a:pt x="310" y="980"/>
                      </a:cubicBezTo>
                      <a:cubicBezTo>
                        <a:pt x="311" y="983"/>
                        <a:pt x="311" y="983"/>
                        <a:pt x="311" y="983"/>
                      </a:cubicBezTo>
                      <a:cubicBezTo>
                        <a:pt x="313" y="985"/>
                        <a:pt x="313" y="985"/>
                        <a:pt x="313" y="985"/>
                      </a:cubicBezTo>
                      <a:cubicBezTo>
                        <a:pt x="315" y="983"/>
                        <a:pt x="315" y="983"/>
                        <a:pt x="315" y="983"/>
                      </a:cubicBezTo>
                      <a:cubicBezTo>
                        <a:pt x="317" y="981"/>
                        <a:pt x="317" y="981"/>
                        <a:pt x="317" y="981"/>
                      </a:cubicBezTo>
                      <a:cubicBezTo>
                        <a:pt x="318" y="980"/>
                        <a:pt x="318" y="980"/>
                        <a:pt x="318" y="980"/>
                      </a:cubicBezTo>
                      <a:cubicBezTo>
                        <a:pt x="320" y="982"/>
                        <a:pt x="320" y="982"/>
                        <a:pt x="320" y="982"/>
                      </a:cubicBezTo>
                      <a:cubicBezTo>
                        <a:pt x="322" y="982"/>
                        <a:pt x="322" y="982"/>
                        <a:pt x="322" y="982"/>
                      </a:cubicBezTo>
                      <a:cubicBezTo>
                        <a:pt x="325" y="980"/>
                        <a:pt x="325" y="980"/>
                        <a:pt x="325" y="980"/>
                      </a:cubicBezTo>
                      <a:cubicBezTo>
                        <a:pt x="325" y="978"/>
                        <a:pt x="325" y="978"/>
                        <a:pt x="325" y="978"/>
                      </a:cubicBezTo>
                      <a:cubicBezTo>
                        <a:pt x="326" y="977"/>
                        <a:pt x="326" y="977"/>
                        <a:pt x="326" y="977"/>
                      </a:cubicBezTo>
                      <a:cubicBezTo>
                        <a:pt x="327" y="975"/>
                        <a:pt x="327" y="975"/>
                        <a:pt x="327" y="975"/>
                      </a:cubicBezTo>
                      <a:cubicBezTo>
                        <a:pt x="325" y="973"/>
                        <a:pt x="325" y="973"/>
                        <a:pt x="325" y="973"/>
                      </a:cubicBezTo>
                      <a:cubicBezTo>
                        <a:pt x="323" y="968"/>
                        <a:pt x="323" y="968"/>
                        <a:pt x="323" y="968"/>
                      </a:cubicBezTo>
                      <a:cubicBezTo>
                        <a:pt x="323" y="965"/>
                        <a:pt x="323" y="965"/>
                        <a:pt x="323" y="965"/>
                      </a:cubicBezTo>
                      <a:cubicBezTo>
                        <a:pt x="324" y="963"/>
                        <a:pt x="324" y="963"/>
                        <a:pt x="324" y="963"/>
                      </a:cubicBezTo>
                      <a:cubicBezTo>
                        <a:pt x="325" y="964"/>
                        <a:pt x="325" y="964"/>
                        <a:pt x="325" y="964"/>
                      </a:cubicBezTo>
                      <a:cubicBezTo>
                        <a:pt x="326" y="968"/>
                        <a:pt x="326" y="968"/>
                        <a:pt x="326" y="968"/>
                      </a:cubicBezTo>
                      <a:cubicBezTo>
                        <a:pt x="328" y="968"/>
                        <a:pt x="328" y="968"/>
                        <a:pt x="328" y="968"/>
                      </a:cubicBezTo>
                      <a:cubicBezTo>
                        <a:pt x="330" y="964"/>
                        <a:pt x="330" y="964"/>
                        <a:pt x="330" y="964"/>
                      </a:cubicBezTo>
                      <a:cubicBezTo>
                        <a:pt x="331" y="961"/>
                        <a:pt x="331" y="961"/>
                        <a:pt x="331" y="961"/>
                      </a:cubicBezTo>
                      <a:cubicBezTo>
                        <a:pt x="332" y="959"/>
                        <a:pt x="332" y="959"/>
                        <a:pt x="332" y="959"/>
                      </a:cubicBezTo>
                      <a:cubicBezTo>
                        <a:pt x="333" y="956"/>
                        <a:pt x="333" y="956"/>
                        <a:pt x="333" y="956"/>
                      </a:cubicBezTo>
                      <a:cubicBezTo>
                        <a:pt x="330" y="953"/>
                        <a:pt x="330" y="953"/>
                        <a:pt x="330" y="953"/>
                      </a:cubicBezTo>
                      <a:cubicBezTo>
                        <a:pt x="330" y="952"/>
                        <a:pt x="330" y="952"/>
                        <a:pt x="330" y="952"/>
                      </a:cubicBezTo>
                      <a:cubicBezTo>
                        <a:pt x="332" y="949"/>
                        <a:pt x="332" y="949"/>
                        <a:pt x="332" y="949"/>
                      </a:cubicBezTo>
                      <a:cubicBezTo>
                        <a:pt x="333" y="949"/>
                        <a:pt x="333" y="949"/>
                        <a:pt x="333" y="949"/>
                      </a:cubicBezTo>
                      <a:cubicBezTo>
                        <a:pt x="334" y="949"/>
                        <a:pt x="334" y="949"/>
                        <a:pt x="334" y="949"/>
                      </a:cubicBezTo>
                      <a:cubicBezTo>
                        <a:pt x="334" y="950"/>
                        <a:pt x="334" y="950"/>
                        <a:pt x="334" y="950"/>
                      </a:cubicBezTo>
                      <a:cubicBezTo>
                        <a:pt x="336" y="953"/>
                        <a:pt x="336" y="953"/>
                        <a:pt x="336" y="953"/>
                      </a:cubicBezTo>
                      <a:cubicBezTo>
                        <a:pt x="339" y="954"/>
                        <a:pt x="339" y="954"/>
                        <a:pt x="339" y="954"/>
                      </a:cubicBezTo>
                      <a:cubicBezTo>
                        <a:pt x="340" y="955"/>
                        <a:pt x="340" y="955"/>
                        <a:pt x="340" y="955"/>
                      </a:cubicBezTo>
                      <a:cubicBezTo>
                        <a:pt x="338" y="957"/>
                        <a:pt x="338" y="957"/>
                        <a:pt x="338" y="957"/>
                      </a:cubicBezTo>
                      <a:cubicBezTo>
                        <a:pt x="336" y="960"/>
                        <a:pt x="336" y="960"/>
                        <a:pt x="336" y="960"/>
                      </a:cubicBezTo>
                      <a:cubicBezTo>
                        <a:pt x="334" y="964"/>
                        <a:pt x="334" y="964"/>
                        <a:pt x="334" y="964"/>
                      </a:cubicBezTo>
                      <a:cubicBezTo>
                        <a:pt x="334" y="967"/>
                        <a:pt x="334" y="967"/>
                        <a:pt x="334" y="967"/>
                      </a:cubicBezTo>
                      <a:cubicBezTo>
                        <a:pt x="338" y="973"/>
                        <a:pt x="338" y="973"/>
                        <a:pt x="338" y="973"/>
                      </a:cubicBezTo>
                      <a:cubicBezTo>
                        <a:pt x="340" y="974"/>
                        <a:pt x="340" y="974"/>
                        <a:pt x="340" y="974"/>
                      </a:cubicBezTo>
                      <a:cubicBezTo>
                        <a:pt x="341" y="971"/>
                        <a:pt x="341" y="971"/>
                        <a:pt x="341" y="971"/>
                      </a:cubicBezTo>
                      <a:cubicBezTo>
                        <a:pt x="341" y="969"/>
                        <a:pt x="341" y="969"/>
                        <a:pt x="341" y="969"/>
                      </a:cubicBezTo>
                      <a:cubicBezTo>
                        <a:pt x="342" y="965"/>
                        <a:pt x="342" y="965"/>
                        <a:pt x="342" y="965"/>
                      </a:cubicBezTo>
                      <a:cubicBezTo>
                        <a:pt x="342" y="961"/>
                        <a:pt x="342" y="961"/>
                        <a:pt x="342" y="961"/>
                      </a:cubicBezTo>
                      <a:cubicBezTo>
                        <a:pt x="343" y="961"/>
                        <a:pt x="343" y="961"/>
                        <a:pt x="343" y="961"/>
                      </a:cubicBezTo>
                      <a:cubicBezTo>
                        <a:pt x="344" y="963"/>
                        <a:pt x="344" y="963"/>
                        <a:pt x="344" y="963"/>
                      </a:cubicBezTo>
                      <a:cubicBezTo>
                        <a:pt x="343" y="966"/>
                        <a:pt x="343" y="966"/>
                        <a:pt x="343" y="966"/>
                      </a:cubicBezTo>
                      <a:cubicBezTo>
                        <a:pt x="343" y="969"/>
                        <a:pt x="343" y="969"/>
                        <a:pt x="343" y="969"/>
                      </a:cubicBezTo>
                      <a:cubicBezTo>
                        <a:pt x="344" y="972"/>
                        <a:pt x="344" y="972"/>
                        <a:pt x="344" y="972"/>
                      </a:cubicBezTo>
                      <a:cubicBezTo>
                        <a:pt x="347" y="973"/>
                        <a:pt x="347" y="973"/>
                        <a:pt x="347" y="973"/>
                      </a:cubicBezTo>
                      <a:cubicBezTo>
                        <a:pt x="350" y="972"/>
                        <a:pt x="350" y="972"/>
                        <a:pt x="350" y="972"/>
                      </a:cubicBezTo>
                      <a:cubicBezTo>
                        <a:pt x="352" y="972"/>
                        <a:pt x="352" y="972"/>
                        <a:pt x="352" y="972"/>
                      </a:cubicBezTo>
                      <a:cubicBezTo>
                        <a:pt x="352" y="970"/>
                        <a:pt x="352" y="970"/>
                        <a:pt x="352" y="970"/>
                      </a:cubicBezTo>
                      <a:cubicBezTo>
                        <a:pt x="352" y="968"/>
                        <a:pt x="352" y="968"/>
                        <a:pt x="352" y="968"/>
                      </a:cubicBezTo>
                      <a:cubicBezTo>
                        <a:pt x="353" y="965"/>
                        <a:pt x="353" y="965"/>
                        <a:pt x="353" y="965"/>
                      </a:cubicBezTo>
                      <a:cubicBezTo>
                        <a:pt x="354" y="965"/>
                        <a:pt x="354" y="965"/>
                        <a:pt x="354" y="965"/>
                      </a:cubicBezTo>
                      <a:cubicBezTo>
                        <a:pt x="355" y="966"/>
                        <a:pt x="355" y="966"/>
                        <a:pt x="355" y="966"/>
                      </a:cubicBezTo>
                      <a:cubicBezTo>
                        <a:pt x="354" y="968"/>
                        <a:pt x="354" y="968"/>
                        <a:pt x="354" y="968"/>
                      </a:cubicBezTo>
                      <a:cubicBezTo>
                        <a:pt x="354" y="970"/>
                        <a:pt x="354" y="970"/>
                        <a:pt x="354" y="970"/>
                      </a:cubicBezTo>
                      <a:cubicBezTo>
                        <a:pt x="356" y="972"/>
                        <a:pt x="356" y="972"/>
                        <a:pt x="356" y="972"/>
                      </a:cubicBezTo>
                      <a:cubicBezTo>
                        <a:pt x="359" y="971"/>
                        <a:pt x="359" y="971"/>
                        <a:pt x="359" y="971"/>
                      </a:cubicBezTo>
                      <a:cubicBezTo>
                        <a:pt x="361" y="968"/>
                        <a:pt x="361" y="968"/>
                        <a:pt x="361" y="968"/>
                      </a:cubicBezTo>
                      <a:cubicBezTo>
                        <a:pt x="366" y="964"/>
                        <a:pt x="366" y="964"/>
                        <a:pt x="366" y="964"/>
                      </a:cubicBezTo>
                      <a:cubicBezTo>
                        <a:pt x="367" y="964"/>
                        <a:pt x="367" y="964"/>
                        <a:pt x="367" y="964"/>
                      </a:cubicBezTo>
                      <a:cubicBezTo>
                        <a:pt x="369" y="963"/>
                        <a:pt x="369" y="963"/>
                        <a:pt x="369" y="963"/>
                      </a:cubicBezTo>
                      <a:cubicBezTo>
                        <a:pt x="369" y="960"/>
                        <a:pt x="369" y="960"/>
                        <a:pt x="369" y="960"/>
                      </a:cubicBezTo>
                      <a:cubicBezTo>
                        <a:pt x="368" y="957"/>
                        <a:pt x="368" y="957"/>
                        <a:pt x="368" y="957"/>
                      </a:cubicBezTo>
                      <a:cubicBezTo>
                        <a:pt x="366" y="956"/>
                        <a:pt x="366" y="956"/>
                        <a:pt x="366" y="956"/>
                      </a:cubicBezTo>
                      <a:cubicBezTo>
                        <a:pt x="365" y="954"/>
                        <a:pt x="365" y="954"/>
                        <a:pt x="365" y="954"/>
                      </a:cubicBezTo>
                      <a:cubicBezTo>
                        <a:pt x="366" y="953"/>
                        <a:pt x="366" y="953"/>
                        <a:pt x="366" y="953"/>
                      </a:cubicBezTo>
                      <a:cubicBezTo>
                        <a:pt x="367" y="953"/>
                        <a:pt x="367" y="953"/>
                        <a:pt x="367" y="953"/>
                      </a:cubicBezTo>
                      <a:cubicBezTo>
                        <a:pt x="368" y="955"/>
                        <a:pt x="368" y="955"/>
                        <a:pt x="368" y="955"/>
                      </a:cubicBezTo>
                      <a:cubicBezTo>
                        <a:pt x="371" y="957"/>
                        <a:pt x="371" y="957"/>
                        <a:pt x="371" y="957"/>
                      </a:cubicBezTo>
                      <a:cubicBezTo>
                        <a:pt x="373" y="957"/>
                        <a:pt x="373" y="957"/>
                        <a:pt x="373" y="957"/>
                      </a:cubicBezTo>
                      <a:cubicBezTo>
                        <a:pt x="373" y="955"/>
                        <a:pt x="373" y="955"/>
                        <a:pt x="373" y="955"/>
                      </a:cubicBezTo>
                      <a:cubicBezTo>
                        <a:pt x="375" y="954"/>
                        <a:pt x="375" y="954"/>
                        <a:pt x="375" y="954"/>
                      </a:cubicBezTo>
                      <a:cubicBezTo>
                        <a:pt x="376" y="956"/>
                        <a:pt x="376" y="956"/>
                        <a:pt x="376" y="956"/>
                      </a:cubicBezTo>
                      <a:cubicBezTo>
                        <a:pt x="376" y="958"/>
                        <a:pt x="376" y="958"/>
                        <a:pt x="376" y="958"/>
                      </a:cubicBezTo>
                      <a:cubicBezTo>
                        <a:pt x="377" y="959"/>
                        <a:pt x="377" y="959"/>
                        <a:pt x="377" y="959"/>
                      </a:cubicBezTo>
                      <a:cubicBezTo>
                        <a:pt x="379" y="958"/>
                        <a:pt x="379" y="958"/>
                        <a:pt x="379" y="958"/>
                      </a:cubicBezTo>
                      <a:cubicBezTo>
                        <a:pt x="383" y="953"/>
                        <a:pt x="383" y="953"/>
                        <a:pt x="383" y="953"/>
                      </a:cubicBezTo>
                      <a:cubicBezTo>
                        <a:pt x="384" y="952"/>
                        <a:pt x="384" y="952"/>
                        <a:pt x="384" y="952"/>
                      </a:cubicBezTo>
                      <a:cubicBezTo>
                        <a:pt x="384" y="951"/>
                        <a:pt x="384" y="951"/>
                        <a:pt x="384" y="951"/>
                      </a:cubicBezTo>
                      <a:cubicBezTo>
                        <a:pt x="384" y="948"/>
                        <a:pt x="384" y="948"/>
                        <a:pt x="384" y="948"/>
                      </a:cubicBezTo>
                      <a:cubicBezTo>
                        <a:pt x="385" y="946"/>
                        <a:pt x="385" y="946"/>
                        <a:pt x="385" y="946"/>
                      </a:cubicBezTo>
                      <a:cubicBezTo>
                        <a:pt x="387" y="945"/>
                        <a:pt x="387" y="945"/>
                        <a:pt x="387" y="945"/>
                      </a:cubicBezTo>
                      <a:cubicBezTo>
                        <a:pt x="386" y="947"/>
                        <a:pt x="386" y="947"/>
                        <a:pt x="386" y="947"/>
                      </a:cubicBezTo>
                      <a:cubicBezTo>
                        <a:pt x="387" y="948"/>
                        <a:pt x="387" y="948"/>
                        <a:pt x="387" y="948"/>
                      </a:cubicBezTo>
                      <a:cubicBezTo>
                        <a:pt x="388" y="949"/>
                        <a:pt x="388" y="949"/>
                        <a:pt x="388" y="949"/>
                      </a:cubicBezTo>
                      <a:cubicBezTo>
                        <a:pt x="390" y="948"/>
                        <a:pt x="390" y="948"/>
                        <a:pt x="390" y="948"/>
                      </a:cubicBezTo>
                      <a:cubicBezTo>
                        <a:pt x="392" y="944"/>
                        <a:pt x="392" y="944"/>
                        <a:pt x="392" y="944"/>
                      </a:cubicBezTo>
                      <a:cubicBezTo>
                        <a:pt x="393" y="941"/>
                        <a:pt x="393" y="941"/>
                        <a:pt x="393" y="941"/>
                      </a:cubicBezTo>
                      <a:cubicBezTo>
                        <a:pt x="393" y="938"/>
                        <a:pt x="393" y="938"/>
                        <a:pt x="393" y="938"/>
                      </a:cubicBezTo>
                      <a:cubicBezTo>
                        <a:pt x="393" y="935"/>
                        <a:pt x="393" y="935"/>
                        <a:pt x="393" y="935"/>
                      </a:cubicBezTo>
                      <a:cubicBezTo>
                        <a:pt x="397" y="930"/>
                        <a:pt x="397" y="930"/>
                        <a:pt x="397" y="930"/>
                      </a:cubicBezTo>
                      <a:cubicBezTo>
                        <a:pt x="400" y="929"/>
                        <a:pt x="400" y="929"/>
                        <a:pt x="400" y="929"/>
                      </a:cubicBezTo>
                      <a:cubicBezTo>
                        <a:pt x="401" y="927"/>
                        <a:pt x="401" y="927"/>
                        <a:pt x="401" y="927"/>
                      </a:cubicBezTo>
                      <a:cubicBezTo>
                        <a:pt x="401" y="925"/>
                        <a:pt x="401" y="925"/>
                        <a:pt x="401" y="925"/>
                      </a:cubicBezTo>
                      <a:cubicBezTo>
                        <a:pt x="400" y="923"/>
                        <a:pt x="400" y="923"/>
                        <a:pt x="400" y="923"/>
                      </a:cubicBezTo>
                      <a:cubicBezTo>
                        <a:pt x="401" y="922"/>
                        <a:pt x="401" y="922"/>
                        <a:pt x="401" y="922"/>
                      </a:cubicBezTo>
                      <a:cubicBezTo>
                        <a:pt x="402" y="923"/>
                        <a:pt x="402" y="923"/>
                        <a:pt x="402" y="923"/>
                      </a:cubicBezTo>
                      <a:cubicBezTo>
                        <a:pt x="404" y="924"/>
                        <a:pt x="404" y="924"/>
                        <a:pt x="404" y="924"/>
                      </a:cubicBezTo>
                      <a:cubicBezTo>
                        <a:pt x="405" y="924"/>
                        <a:pt x="405" y="924"/>
                        <a:pt x="405" y="924"/>
                      </a:cubicBezTo>
                      <a:cubicBezTo>
                        <a:pt x="406" y="921"/>
                        <a:pt x="406" y="921"/>
                        <a:pt x="406" y="921"/>
                      </a:cubicBezTo>
                      <a:cubicBezTo>
                        <a:pt x="405" y="919"/>
                        <a:pt x="405" y="919"/>
                        <a:pt x="405" y="919"/>
                      </a:cubicBezTo>
                      <a:cubicBezTo>
                        <a:pt x="404" y="917"/>
                        <a:pt x="404" y="917"/>
                        <a:pt x="404" y="917"/>
                      </a:cubicBezTo>
                      <a:cubicBezTo>
                        <a:pt x="406" y="918"/>
                        <a:pt x="406" y="918"/>
                        <a:pt x="406" y="918"/>
                      </a:cubicBezTo>
                      <a:cubicBezTo>
                        <a:pt x="407" y="920"/>
                        <a:pt x="407" y="920"/>
                        <a:pt x="407" y="920"/>
                      </a:cubicBezTo>
                      <a:cubicBezTo>
                        <a:pt x="408" y="918"/>
                        <a:pt x="408" y="918"/>
                        <a:pt x="408" y="918"/>
                      </a:cubicBezTo>
                      <a:cubicBezTo>
                        <a:pt x="408" y="916"/>
                        <a:pt x="408" y="916"/>
                        <a:pt x="408" y="916"/>
                      </a:cubicBezTo>
                      <a:cubicBezTo>
                        <a:pt x="408" y="913"/>
                        <a:pt x="408" y="913"/>
                        <a:pt x="408" y="913"/>
                      </a:cubicBezTo>
                      <a:cubicBezTo>
                        <a:pt x="410" y="913"/>
                        <a:pt x="410" y="913"/>
                        <a:pt x="410" y="913"/>
                      </a:cubicBezTo>
                      <a:cubicBezTo>
                        <a:pt x="413" y="911"/>
                        <a:pt x="413" y="911"/>
                        <a:pt x="413" y="911"/>
                      </a:cubicBezTo>
                      <a:cubicBezTo>
                        <a:pt x="413" y="908"/>
                        <a:pt x="413" y="908"/>
                        <a:pt x="413" y="908"/>
                      </a:cubicBezTo>
                      <a:cubicBezTo>
                        <a:pt x="412" y="907"/>
                        <a:pt x="412" y="907"/>
                        <a:pt x="412" y="907"/>
                      </a:cubicBezTo>
                      <a:cubicBezTo>
                        <a:pt x="413" y="906"/>
                        <a:pt x="413" y="906"/>
                        <a:pt x="413" y="906"/>
                      </a:cubicBezTo>
                      <a:cubicBezTo>
                        <a:pt x="416" y="906"/>
                        <a:pt x="416" y="906"/>
                        <a:pt x="416" y="906"/>
                      </a:cubicBezTo>
                      <a:cubicBezTo>
                        <a:pt x="417" y="905"/>
                        <a:pt x="417" y="905"/>
                        <a:pt x="417" y="905"/>
                      </a:cubicBezTo>
                      <a:cubicBezTo>
                        <a:pt x="420" y="901"/>
                        <a:pt x="420" y="901"/>
                        <a:pt x="420" y="901"/>
                      </a:cubicBezTo>
                      <a:cubicBezTo>
                        <a:pt x="422" y="900"/>
                        <a:pt x="422" y="900"/>
                        <a:pt x="422" y="900"/>
                      </a:cubicBezTo>
                      <a:cubicBezTo>
                        <a:pt x="424" y="900"/>
                        <a:pt x="424" y="900"/>
                        <a:pt x="424" y="900"/>
                      </a:cubicBezTo>
                      <a:cubicBezTo>
                        <a:pt x="425" y="901"/>
                        <a:pt x="425" y="901"/>
                        <a:pt x="425" y="901"/>
                      </a:cubicBezTo>
                      <a:cubicBezTo>
                        <a:pt x="427" y="900"/>
                        <a:pt x="427" y="900"/>
                        <a:pt x="427" y="900"/>
                      </a:cubicBezTo>
                      <a:cubicBezTo>
                        <a:pt x="429" y="897"/>
                        <a:pt x="429" y="897"/>
                        <a:pt x="429" y="897"/>
                      </a:cubicBezTo>
                      <a:cubicBezTo>
                        <a:pt x="429" y="892"/>
                        <a:pt x="429" y="892"/>
                        <a:pt x="429" y="892"/>
                      </a:cubicBezTo>
                      <a:cubicBezTo>
                        <a:pt x="429" y="887"/>
                        <a:pt x="429" y="887"/>
                        <a:pt x="429" y="887"/>
                      </a:cubicBezTo>
                      <a:cubicBezTo>
                        <a:pt x="427" y="887"/>
                        <a:pt x="427" y="887"/>
                        <a:pt x="427" y="887"/>
                      </a:cubicBezTo>
                      <a:cubicBezTo>
                        <a:pt x="426" y="886"/>
                        <a:pt x="426" y="886"/>
                        <a:pt x="426" y="886"/>
                      </a:cubicBezTo>
                      <a:cubicBezTo>
                        <a:pt x="427" y="883"/>
                        <a:pt x="427" y="883"/>
                        <a:pt x="427" y="883"/>
                      </a:cubicBezTo>
                      <a:cubicBezTo>
                        <a:pt x="427" y="879"/>
                        <a:pt x="427" y="879"/>
                        <a:pt x="427" y="879"/>
                      </a:cubicBezTo>
                      <a:cubicBezTo>
                        <a:pt x="426" y="877"/>
                        <a:pt x="426" y="877"/>
                        <a:pt x="426" y="877"/>
                      </a:cubicBezTo>
                      <a:cubicBezTo>
                        <a:pt x="424" y="875"/>
                        <a:pt x="424" y="875"/>
                        <a:pt x="424" y="875"/>
                      </a:cubicBezTo>
                      <a:cubicBezTo>
                        <a:pt x="423" y="871"/>
                        <a:pt x="423" y="871"/>
                        <a:pt x="423" y="871"/>
                      </a:cubicBezTo>
                      <a:cubicBezTo>
                        <a:pt x="422" y="869"/>
                        <a:pt x="422" y="869"/>
                        <a:pt x="422" y="869"/>
                      </a:cubicBezTo>
                      <a:cubicBezTo>
                        <a:pt x="423" y="866"/>
                        <a:pt x="423" y="866"/>
                        <a:pt x="423" y="866"/>
                      </a:cubicBezTo>
                      <a:cubicBezTo>
                        <a:pt x="424" y="866"/>
                        <a:pt x="424" y="866"/>
                        <a:pt x="424" y="866"/>
                      </a:cubicBezTo>
                      <a:cubicBezTo>
                        <a:pt x="426" y="867"/>
                        <a:pt x="426" y="867"/>
                        <a:pt x="426" y="867"/>
                      </a:cubicBezTo>
                      <a:cubicBezTo>
                        <a:pt x="427" y="871"/>
                        <a:pt x="427" y="871"/>
                        <a:pt x="427" y="871"/>
                      </a:cubicBezTo>
                      <a:cubicBezTo>
                        <a:pt x="428" y="874"/>
                        <a:pt x="428" y="874"/>
                        <a:pt x="428" y="874"/>
                      </a:cubicBezTo>
                      <a:cubicBezTo>
                        <a:pt x="428" y="877"/>
                        <a:pt x="428" y="877"/>
                        <a:pt x="428" y="877"/>
                      </a:cubicBezTo>
                      <a:cubicBezTo>
                        <a:pt x="430" y="881"/>
                        <a:pt x="430" y="881"/>
                        <a:pt x="430" y="881"/>
                      </a:cubicBezTo>
                      <a:cubicBezTo>
                        <a:pt x="432" y="882"/>
                        <a:pt x="432" y="882"/>
                        <a:pt x="432" y="882"/>
                      </a:cubicBezTo>
                      <a:cubicBezTo>
                        <a:pt x="433" y="883"/>
                        <a:pt x="433" y="883"/>
                        <a:pt x="433" y="883"/>
                      </a:cubicBezTo>
                      <a:cubicBezTo>
                        <a:pt x="432" y="887"/>
                        <a:pt x="432" y="887"/>
                        <a:pt x="432" y="887"/>
                      </a:cubicBezTo>
                      <a:cubicBezTo>
                        <a:pt x="434" y="890"/>
                        <a:pt x="434" y="890"/>
                        <a:pt x="434" y="890"/>
                      </a:cubicBezTo>
                      <a:cubicBezTo>
                        <a:pt x="436" y="892"/>
                        <a:pt x="436" y="892"/>
                        <a:pt x="436" y="892"/>
                      </a:cubicBezTo>
                      <a:cubicBezTo>
                        <a:pt x="438" y="892"/>
                        <a:pt x="438" y="892"/>
                        <a:pt x="438" y="892"/>
                      </a:cubicBezTo>
                      <a:cubicBezTo>
                        <a:pt x="438" y="891"/>
                        <a:pt x="438" y="891"/>
                        <a:pt x="438" y="891"/>
                      </a:cubicBezTo>
                      <a:cubicBezTo>
                        <a:pt x="440" y="888"/>
                        <a:pt x="440" y="888"/>
                        <a:pt x="440" y="888"/>
                      </a:cubicBezTo>
                      <a:cubicBezTo>
                        <a:pt x="441" y="888"/>
                        <a:pt x="441" y="888"/>
                        <a:pt x="441" y="888"/>
                      </a:cubicBezTo>
                      <a:cubicBezTo>
                        <a:pt x="443" y="891"/>
                        <a:pt x="443" y="891"/>
                        <a:pt x="443" y="891"/>
                      </a:cubicBezTo>
                      <a:cubicBezTo>
                        <a:pt x="445" y="892"/>
                        <a:pt x="445" y="892"/>
                        <a:pt x="445" y="892"/>
                      </a:cubicBezTo>
                      <a:cubicBezTo>
                        <a:pt x="448" y="891"/>
                        <a:pt x="448" y="891"/>
                        <a:pt x="448" y="891"/>
                      </a:cubicBezTo>
                      <a:cubicBezTo>
                        <a:pt x="450" y="889"/>
                        <a:pt x="450" y="889"/>
                        <a:pt x="450" y="889"/>
                      </a:cubicBezTo>
                      <a:cubicBezTo>
                        <a:pt x="451" y="890"/>
                        <a:pt x="451" y="890"/>
                        <a:pt x="451" y="890"/>
                      </a:cubicBezTo>
                      <a:cubicBezTo>
                        <a:pt x="453" y="890"/>
                        <a:pt x="453" y="890"/>
                        <a:pt x="453" y="890"/>
                      </a:cubicBezTo>
                      <a:cubicBezTo>
                        <a:pt x="455" y="888"/>
                        <a:pt x="455" y="888"/>
                        <a:pt x="455" y="888"/>
                      </a:cubicBezTo>
                      <a:cubicBezTo>
                        <a:pt x="456" y="885"/>
                        <a:pt x="456" y="885"/>
                        <a:pt x="456" y="885"/>
                      </a:cubicBezTo>
                      <a:cubicBezTo>
                        <a:pt x="457" y="885"/>
                        <a:pt x="457" y="885"/>
                        <a:pt x="457" y="885"/>
                      </a:cubicBezTo>
                      <a:cubicBezTo>
                        <a:pt x="457" y="883"/>
                        <a:pt x="457" y="883"/>
                        <a:pt x="457" y="883"/>
                      </a:cubicBezTo>
                      <a:cubicBezTo>
                        <a:pt x="459" y="882"/>
                        <a:pt x="459" y="882"/>
                        <a:pt x="459" y="882"/>
                      </a:cubicBezTo>
                      <a:cubicBezTo>
                        <a:pt x="461" y="883"/>
                        <a:pt x="461" y="883"/>
                        <a:pt x="461" y="883"/>
                      </a:cubicBezTo>
                      <a:cubicBezTo>
                        <a:pt x="464" y="888"/>
                        <a:pt x="464" y="888"/>
                        <a:pt x="464" y="888"/>
                      </a:cubicBezTo>
                      <a:cubicBezTo>
                        <a:pt x="465" y="890"/>
                        <a:pt x="465" y="890"/>
                        <a:pt x="465" y="890"/>
                      </a:cubicBezTo>
                      <a:cubicBezTo>
                        <a:pt x="467" y="890"/>
                        <a:pt x="467" y="890"/>
                        <a:pt x="467" y="890"/>
                      </a:cubicBezTo>
                      <a:cubicBezTo>
                        <a:pt x="468" y="888"/>
                        <a:pt x="468" y="888"/>
                        <a:pt x="468" y="888"/>
                      </a:cubicBezTo>
                      <a:cubicBezTo>
                        <a:pt x="470" y="887"/>
                        <a:pt x="470" y="887"/>
                        <a:pt x="470" y="887"/>
                      </a:cubicBezTo>
                      <a:cubicBezTo>
                        <a:pt x="470" y="884"/>
                        <a:pt x="470" y="884"/>
                        <a:pt x="470" y="884"/>
                      </a:cubicBezTo>
                      <a:cubicBezTo>
                        <a:pt x="471" y="883"/>
                        <a:pt x="471" y="883"/>
                        <a:pt x="471" y="883"/>
                      </a:cubicBezTo>
                      <a:cubicBezTo>
                        <a:pt x="472" y="885"/>
                        <a:pt x="472" y="885"/>
                        <a:pt x="472" y="885"/>
                      </a:cubicBezTo>
                      <a:cubicBezTo>
                        <a:pt x="474" y="885"/>
                        <a:pt x="474" y="885"/>
                        <a:pt x="474" y="885"/>
                      </a:cubicBezTo>
                      <a:cubicBezTo>
                        <a:pt x="474" y="883"/>
                        <a:pt x="474" y="883"/>
                        <a:pt x="474" y="883"/>
                      </a:cubicBezTo>
                      <a:cubicBezTo>
                        <a:pt x="475" y="882"/>
                        <a:pt x="475" y="882"/>
                        <a:pt x="475" y="882"/>
                      </a:cubicBezTo>
                      <a:cubicBezTo>
                        <a:pt x="476" y="883"/>
                        <a:pt x="476" y="883"/>
                        <a:pt x="476" y="883"/>
                      </a:cubicBezTo>
                      <a:cubicBezTo>
                        <a:pt x="478" y="883"/>
                        <a:pt x="478" y="883"/>
                        <a:pt x="478" y="883"/>
                      </a:cubicBezTo>
                      <a:cubicBezTo>
                        <a:pt x="479" y="881"/>
                        <a:pt x="479" y="881"/>
                        <a:pt x="479" y="881"/>
                      </a:cubicBezTo>
                      <a:cubicBezTo>
                        <a:pt x="479" y="879"/>
                        <a:pt x="479" y="879"/>
                        <a:pt x="479" y="879"/>
                      </a:cubicBezTo>
                      <a:cubicBezTo>
                        <a:pt x="481" y="879"/>
                        <a:pt x="481" y="879"/>
                        <a:pt x="481" y="879"/>
                      </a:cubicBezTo>
                      <a:cubicBezTo>
                        <a:pt x="483" y="879"/>
                        <a:pt x="483" y="879"/>
                        <a:pt x="483" y="879"/>
                      </a:cubicBezTo>
                      <a:cubicBezTo>
                        <a:pt x="485" y="878"/>
                        <a:pt x="485" y="878"/>
                        <a:pt x="485" y="878"/>
                      </a:cubicBezTo>
                      <a:cubicBezTo>
                        <a:pt x="485" y="876"/>
                        <a:pt x="485" y="876"/>
                        <a:pt x="485" y="876"/>
                      </a:cubicBezTo>
                      <a:cubicBezTo>
                        <a:pt x="486" y="876"/>
                        <a:pt x="486" y="876"/>
                        <a:pt x="486" y="876"/>
                      </a:cubicBezTo>
                      <a:cubicBezTo>
                        <a:pt x="486" y="878"/>
                        <a:pt x="486" y="878"/>
                        <a:pt x="486" y="878"/>
                      </a:cubicBezTo>
                      <a:cubicBezTo>
                        <a:pt x="488" y="879"/>
                        <a:pt x="488" y="879"/>
                        <a:pt x="488" y="879"/>
                      </a:cubicBezTo>
                      <a:cubicBezTo>
                        <a:pt x="489" y="877"/>
                        <a:pt x="489" y="877"/>
                        <a:pt x="489" y="877"/>
                      </a:cubicBezTo>
                      <a:cubicBezTo>
                        <a:pt x="490" y="874"/>
                        <a:pt x="490" y="874"/>
                        <a:pt x="490" y="874"/>
                      </a:cubicBezTo>
                      <a:cubicBezTo>
                        <a:pt x="491" y="874"/>
                        <a:pt x="491" y="874"/>
                        <a:pt x="491" y="874"/>
                      </a:cubicBezTo>
                      <a:cubicBezTo>
                        <a:pt x="493" y="877"/>
                        <a:pt x="493" y="877"/>
                        <a:pt x="493" y="877"/>
                      </a:cubicBezTo>
                      <a:cubicBezTo>
                        <a:pt x="494" y="878"/>
                        <a:pt x="494" y="878"/>
                        <a:pt x="494" y="878"/>
                      </a:cubicBezTo>
                      <a:cubicBezTo>
                        <a:pt x="496" y="874"/>
                        <a:pt x="496" y="874"/>
                        <a:pt x="496" y="874"/>
                      </a:cubicBezTo>
                      <a:cubicBezTo>
                        <a:pt x="497" y="874"/>
                        <a:pt x="497" y="874"/>
                        <a:pt x="497" y="874"/>
                      </a:cubicBezTo>
                      <a:cubicBezTo>
                        <a:pt x="498" y="875"/>
                        <a:pt x="498" y="875"/>
                        <a:pt x="498" y="875"/>
                      </a:cubicBezTo>
                      <a:cubicBezTo>
                        <a:pt x="500" y="876"/>
                        <a:pt x="500" y="876"/>
                        <a:pt x="500" y="876"/>
                      </a:cubicBezTo>
                      <a:cubicBezTo>
                        <a:pt x="502" y="876"/>
                        <a:pt x="502" y="876"/>
                        <a:pt x="502" y="876"/>
                      </a:cubicBezTo>
                      <a:cubicBezTo>
                        <a:pt x="503" y="873"/>
                        <a:pt x="503" y="873"/>
                        <a:pt x="503" y="873"/>
                      </a:cubicBezTo>
                      <a:cubicBezTo>
                        <a:pt x="504" y="872"/>
                        <a:pt x="504" y="872"/>
                        <a:pt x="504" y="872"/>
                      </a:cubicBezTo>
                      <a:cubicBezTo>
                        <a:pt x="507" y="872"/>
                        <a:pt x="507" y="872"/>
                        <a:pt x="507" y="872"/>
                      </a:cubicBezTo>
                      <a:cubicBezTo>
                        <a:pt x="510" y="870"/>
                        <a:pt x="510" y="870"/>
                        <a:pt x="510" y="870"/>
                      </a:cubicBezTo>
                      <a:cubicBezTo>
                        <a:pt x="512" y="870"/>
                        <a:pt x="512" y="870"/>
                        <a:pt x="512" y="870"/>
                      </a:cubicBezTo>
                      <a:cubicBezTo>
                        <a:pt x="513" y="873"/>
                        <a:pt x="513" y="873"/>
                        <a:pt x="513" y="873"/>
                      </a:cubicBezTo>
                      <a:cubicBezTo>
                        <a:pt x="515" y="873"/>
                        <a:pt x="515" y="873"/>
                        <a:pt x="515" y="873"/>
                      </a:cubicBezTo>
                      <a:cubicBezTo>
                        <a:pt x="516" y="870"/>
                        <a:pt x="516" y="870"/>
                        <a:pt x="516" y="870"/>
                      </a:cubicBezTo>
                      <a:cubicBezTo>
                        <a:pt x="518" y="867"/>
                        <a:pt x="518" y="867"/>
                        <a:pt x="518" y="867"/>
                      </a:cubicBezTo>
                      <a:cubicBezTo>
                        <a:pt x="521" y="867"/>
                        <a:pt x="521" y="867"/>
                        <a:pt x="521" y="867"/>
                      </a:cubicBezTo>
                      <a:cubicBezTo>
                        <a:pt x="522" y="865"/>
                        <a:pt x="522" y="865"/>
                        <a:pt x="522" y="865"/>
                      </a:cubicBezTo>
                      <a:cubicBezTo>
                        <a:pt x="525" y="864"/>
                        <a:pt x="525" y="864"/>
                        <a:pt x="525" y="864"/>
                      </a:cubicBezTo>
                      <a:cubicBezTo>
                        <a:pt x="527" y="863"/>
                        <a:pt x="527" y="863"/>
                        <a:pt x="527" y="863"/>
                      </a:cubicBezTo>
                      <a:cubicBezTo>
                        <a:pt x="527" y="861"/>
                        <a:pt x="527" y="861"/>
                        <a:pt x="527" y="861"/>
                      </a:cubicBezTo>
                      <a:cubicBezTo>
                        <a:pt x="526" y="858"/>
                        <a:pt x="526" y="858"/>
                        <a:pt x="526" y="858"/>
                      </a:cubicBezTo>
                      <a:cubicBezTo>
                        <a:pt x="526" y="856"/>
                        <a:pt x="526" y="856"/>
                        <a:pt x="526" y="856"/>
                      </a:cubicBezTo>
                      <a:cubicBezTo>
                        <a:pt x="528" y="855"/>
                        <a:pt x="528" y="855"/>
                        <a:pt x="528" y="855"/>
                      </a:cubicBezTo>
                      <a:cubicBezTo>
                        <a:pt x="530" y="857"/>
                        <a:pt x="530" y="857"/>
                        <a:pt x="530" y="857"/>
                      </a:cubicBezTo>
                      <a:cubicBezTo>
                        <a:pt x="531" y="859"/>
                        <a:pt x="531" y="859"/>
                        <a:pt x="531" y="859"/>
                      </a:cubicBezTo>
                      <a:cubicBezTo>
                        <a:pt x="532" y="860"/>
                        <a:pt x="532" y="860"/>
                        <a:pt x="532" y="860"/>
                      </a:cubicBezTo>
                      <a:cubicBezTo>
                        <a:pt x="536" y="857"/>
                        <a:pt x="536" y="857"/>
                        <a:pt x="536" y="857"/>
                      </a:cubicBezTo>
                      <a:cubicBezTo>
                        <a:pt x="536" y="854"/>
                        <a:pt x="536" y="854"/>
                        <a:pt x="536" y="854"/>
                      </a:cubicBezTo>
                      <a:cubicBezTo>
                        <a:pt x="534" y="852"/>
                        <a:pt x="534" y="852"/>
                        <a:pt x="534" y="852"/>
                      </a:cubicBezTo>
                      <a:cubicBezTo>
                        <a:pt x="535" y="851"/>
                        <a:pt x="535" y="851"/>
                        <a:pt x="535" y="851"/>
                      </a:cubicBezTo>
                      <a:cubicBezTo>
                        <a:pt x="537" y="850"/>
                        <a:pt x="537" y="850"/>
                        <a:pt x="537" y="850"/>
                      </a:cubicBezTo>
                      <a:cubicBezTo>
                        <a:pt x="538" y="852"/>
                        <a:pt x="538" y="852"/>
                        <a:pt x="538" y="852"/>
                      </a:cubicBezTo>
                      <a:cubicBezTo>
                        <a:pt x="540" y="853"/>
                        <a:pt x="540" y="853"/>
                        <a:pt x="540" y="853"/>
                      </a:cubicBezTo>
                      <a:cubicBezTo>
                        <a:pt x="541" y="850"/>
                        <a:pt x="541" y="850"/>
                        <a:pt x="541" y="850"/>
                      </a:cubicBezTo>
                      <a:cubicBezTo>
                        <a:pt x="541" y="847"/>
                        <a:pt x="541" y="847"/>
                        <a:pt x="541" y="847"/>
                      </a:cubicBezTo>
                      <a:cubicBezTo>
                        <a:pt x="541" y="844"/>
                        <a:pt x="541" y="844"/>
                        <a:pt x="541" y="844"/>
                      </a:cubicBezTo>
                      <a:cubicBezTo>
                        <a:pt x="542" y="844"/>
                        <a:pt x="542" y="844"/>
                        <a:pt x="542" y="844"/>
                      </a:cubicBezTo>
                      <a:cubicBezTo>
                        <a:pt x="543" y="845"/>
                        <a:pt x="543" y="845"/>
                        <a:pt x="543" y="845"/>
                      </a:cubicBezTo>
                      <a:cubicBezTo>
                        <a:pt x="545" y="847"/>
                        <a:pt x="545" y="847"/>
                        <a:pt x="545" y="847"/>
                      </a:cubicBezTo>
                      <a:cubicBezTo>
                        <a:pt x="547" y="845"/>
                        <a:pt x="547" y="845"/>
                        <a:pt x="547" y="845"/>
                      </a:cubicBezTo>
                      <a:cubicBezTo>
                        <a:pt x="548" y="844"/>
                        <a:pt x="548" y="844"/>
                        <a:pt x="548" y="844"/>
                      </a:cubicBezTo>
                      <a:cubicBezTo>
                        <a:pt x="550" y="844"/>
                        <a:pt x="550" y="844"/>
                        <a:pt x="550" y="844"/>
                      </a:cubicBezTo>
                      <a:cubicBezTo>
                        <a:pt x="550" y="841"/>
                        <a:pt x="550" y="841"/>
                        <a:pt x="550" y="841"/>
                      </a:cubicBezTo>
                      <a:cubicBezTo>
                        <a:pt x="550" y="839"/>
                        <a:pt x="550" y="839"/>
                        <a:pt x="550" y="839"/>
                      </a:cubicBezTo>
                      <a:cubicBezTo>
                        <a:pt x="551" y="838"/>
                        <a:pt x="551" y="838"/>
                        <a:pt x="551" y="838"/>
                      </a:cubicBezTo>
                      <a:cubicBezTo>
                        <a:pt x="552" y="839"/>
                        <a:pt x="552" y="839"/>
                        <a:pt x="552" y="839"/>
                      </a:cubicBezTo>
                      <a:cubicBezTo>
                        <a:pt x="553" y="840"/>
                        <a:pt x="553" y="840"/>
                        <a:pt x="553" y="840"/>
                      </a:cubicBezTo>
                      <a:cubicBezTo>
                        <a:pt x="556" y="839"/>
                        <a:pt x="556" y="839"/>
                        <a:pt x="556" y="839"/>
                      </a:cubicBezTo>
                      <a:cubicBezTo>
                        <a:pt x="558" y="838"/>
                        <a:pt x="558" y="838"/>
                        <a:pt x="558" y="838"/>
                      </a:cubicBezTo>
                      <a:cubicBezTo>
                        <a:pt x="558" y="835"/>
                        <a:pt x="558" y="835"/>
                        <a:pt x="558" y="835"/>
                      </a:cubicBezTo>
                      <a:cubicBezTo>
                        <a:pt x="557" y="834"/>
                        <a:pt x="557" y="834"/>
                        <a:pt x="557" y="834"/>
                      </a:cubicBezTo>
                      <a:cubicBezTo>
                        <a:pt x="556" y="832"/>
                        <a:pt x="556" y="832"/>
                        <a:pt x="556" y="832"/>
                      </a:cubicBezTo>
                      <a:cubicBezTo>
                        <a:pt x="557" y="831"/>
                        <a:pt x="557" y="831"/>
                        <a:pt x="557" y="831"/>
                      </a:cubicBezTo>
                      <a:cubicBezTo>
                        <a:pt x="560" y="831"/>
                        <a:pt x="560" y="831"/>
                        <a:pt x="560" y="831"/>
                      </a:cubicBezTo>
                      <a:cubicBezTo>
                        <a:pt x="562" y="832"/>
                        <a:pt x="562" y="832"/>
                        <a:pt x="562" y="832"/>
                      </a:cubicBezTo>
                      <a:cubicBezTo>
                        <a:pt x="562" y="831"/>
                        <a:pt x="562" y="831"/>
                        <a:pt x="562" y="831"/>
                      </a:cubicBezTo>
                      <a:cubicBezTo>
                        <a:pt x="563" y="828"/>
                        <a:pt x="563" y="828"/>
                        <a:pt x="563" y="828"/>
                      </a:cubicBezTo>
                      <a:cubicBezTo>
                        <a:pt x="565" y="829"/>
                        <a:pt x="565" y="829"/>
                        <a:pt x="565" y="829"/>
                      </a:cubicBezTo>
                      <a:cubicBezTo>
                        <a:pt x="566" y="831"/>
                        <a:pt x="566" y="831"/>
                        <a:pt x="566" y="831"/>
                      </a:cubicBezTo>
                      <a:cubicBezTo>
                        <a:pt x="568" y="831"/>
                        <a:pt x="568" y="831"/>
                        <a:pt x="568" y="831"/>
                      </a:cubicBezTo>
                      <a:cubicBezTo>
                        <a:pt x="569" y="830"/>
                        <a:pt x="569" y="830"/>
                        <a:pt x="569" y="830"/>
                      </a:cubicBezTo>
                      <a:cubicBezTo>
                        <a:pt x="568" y="828"/>
                        <a:pt x="568" y="828"/>
                        <a:pt x="568" y="828"/>
                      </a:cubicBezTo>
                      <a:cubicBezTo>
                        <a:pt x="567" y="827"/>
                        <a:pt x="567" y="827"/>
                        <a:pt x="567" y="827"/>
                      </a:cubicBezTo>
                      <a:cubicBezTo>
                        <a:pt x="567" y="825"/>
                        <a:pt x="567" y="825"/>
                        <a:pt x="567" y="825"/>
                      </a:cubicBezTo>
                      <a:cubicBezTo>
                        <a:pt x="569" y="822"/>
                        <a:pt x="569" y="822"/>
                        <a:pt x="569" y="822"/>
                      </a:cubicBezTo>
                      <a:cubicBezTo>
                        <a:pt x="571" y="823"/>
                        <a:pt x="571" y="823"/>
                        <a:pt x="571" y="823"/>
                      </a:cubicBezTo>
                      <a:cubicBezTo>
                        <a:pt x="575" y="822"/>
                        <a:pt x="575" y="822"/>
                        <a:pt x="575" y="822"/>
                      </a:cubicBezTo>
                      <a:cubicBezTo>
                        <a:pt x="578" y="820"/>
                        <a:pt x="578" y="820"/>
                        <a:pt x="578" y="820"/>
                      </a:cubicBezTo>
                      <a:cubicBezTo>
                        <a:pt x="580" y="816"/>
                        <a:pt x="580" y="816"/>
                        <a:pt x="580" y="816"/>
                      </a:cubicBezTo>
                      <a:cubicBezTo>
                        <a:pt x="580" y="815"/>
                        <a:pt x="580" y="815"/>
                        <a:pt x="580" y="815"/>
                      </a:cubicBezTo>
                      <a:cubicBezTo>
                        <a:pt x="575" y="817"/>
                        <a:pt x="575" y="817"/>
                        <a:pt x="575" y="817"/>
                      </a:cubicBezTo>
                      <a:cubicBezTo>
                        <a:pt x="571" y="816"/>
                        <a:pt x="571" y="816"/>
                        <a:pt x="571" y="816"/>
                      </a:cubicBezTo>
                      <a:cubicBezTo>
                        <a:pt x="570" y="815"/>
                        <a:pt x="570" y="815"/>
                        <a:pt x="570" y="815"/>
                      </a:cubicBezTo>
                      <a:cubicBezTo>
                        <a:pt x="565" y="815"/>
                        <a:pt x="565" y="815"/>
                        <a:pt x="565" y="815"/>
                      </a:cubicBezTo>
                      <a:cubicBezTo>
                        <a:pt x="562" y="815"/>
                        <a:pt x="562" y="815"/>
                        <a:pt x="562" y="815"/>
                      </a:cubicBezTo>
                      <a:cubicBezTo>
                        <a:pt x="558" y="814"/>
                        <a:pt x="558" y="814"/>
                        <a:pt x="558" y="814"/>
                      </a:cubicBezTo>
                      <a:cubicBezTo>
                        <a:pt x="554" y="812"/>
                        <a:pt x="554" y="812"/>
                        <a:pt x="554" y="812"/>
                      </a:cubicBezTo>
                      <a:cubicBezTo>
                        <a:pt x="549" y="811"/>
                        <a:pt x="549" y="811"/>
                        <a:pt x="549" y="811"/>
                      </a:cubicBezTo>
                      <a:cubicBezTo>
                        <a:pt x="544" y="806"/>
                        <a:pt x="544" y="806"/>
                        <a:pt x="544" y="806"/>
                      </a:cubicBezTo>
                      <a:cubicBezTo>
                        <a:pt x="543" y="804"/>
                        <a:pt x="543" y="804"/>
                        <a:pt x="543" y="804"/>
                      </a:cubicBezTo>
                      <a:cubicBezTo>
                        <a:pt x="541" y="804"/>
                        <a:pt x="541" y="804"/>
                        <a:pt x="541" y="804"/>
                      </a:cubicBezTo>
                      <a:cubicBezTo>
                        <a:pt x="539" y="807"/>
                        <a:pt x="539" y="807"/>
                        <a:pt x="539" y="807"/>
                      </a:cubicBezTo>
                      <a:cubicBezTo>
                        <a:pt x="538" y="806"/>
                        <a:pt x="538" y="806"/>
                        <a:pt x="538" y="806"/>
                      </a:cubicBezTo>
                      <a:cubicBezTo>
                        <a:pt x="539" y="804"/>
                        <a:pt x="539" y="804"/>
                        <a:pt x="539" y="804"/>
                      </a:cubicBezTo>
                      <a:cubicBezTo>
                        <a:pt x="539" y="802"/>
                        <a:pt x="539" y="802"/>
                        <a:pt x="539" y="802"/>
                      </a:cubicBezTo>
                      <a:cubicBezTo>
                        <a:pt x="537" y="804"/>
                        <a:pt x="537" y="804"/>
                        <a:pt x="537" y="804"/>
                      </a:cubicBezTo>
                      <a:cubicBezTo>
                        <a:pt x="532" y="809"/>
                        <a:pt x="532" y="809"/>
                        <a:pt x="532" y="809"/>
                      </a:cubicBezTo>
                      <a:cubicBezTo>
                        <a:pt x="529" y="810"/>
                        <a:pt x="529" y="810"/>
                        <a:pt x="529" y="810"/>
                      </a:cubicBezTo>
                      <a:cubicBezTo>
                        <a:pt x="524" y="810"/>
                        <a:pt x="524" y="810"/>
                        <a:pt x="524" y="810"/>
                      </a:cubicBezTo>
                      <a:cubicBezTo>
                        <a:pt x="522" y="811"/>
                        <a:pt x="522" y="811"/>
                        <a:pt x="522" y="811"/>
                      </a:cubicBezTo>
                      <a:cubicBezTo>
                        <a:pt x="521" y="810"/>
                        <a:pt x="521" y="810"/>
                        <a:pt x="521" y="810"/>
                      </a:cubicBezTo>
                      <a:cubicBezTo>
                        <a:pt x="519" y="809"/>
                        <a:pt x="519" y="809"/>
                        <a:pt x="519" y="809"/>
                      </a:cubicBezTo>
                      <a:cubicBezTo>
                        <a:pt x="519" y="809"/>
                        <a:pt x="517" y="810"/>
                        <a:pt x="517" y="810"/>
                      </a:cubicBezTo>
                      <a:cubicBezTo>
                        <a:pt x="516" y="810"/>
                        <a:pt x="514" y="810"/>
                        <a:pt x="514" y="810"/>
                      </a:cubicBezTo>
                      <a:cubicBezTo>
                        <a:pt x="510" y="815"/>
                        <a:pt x="510" y="815"/>
                        <a:pt x="510" y="815"/>
                      </a:cubicBezTo>
                      <a:cubicBezTo>
                        <a:pt x="508" y="818"/>
                        <a:pt x="508" y="818"/>
                        <a:pt x="508" y="818"/>
                      </a:cubicBezTo>
                      <a:cubicBezTo>
                        <a:pt x="507" y="815"/>
                        <a:pt x="507" y="815"/>
                        <a:pt x="507" y="815"/>
                      </a:cubicBezTo>
                      <a:cubicBezTo>
                        <a:pt x="505" y="814"/>
                        <a:pt x="505" y="814"/>
                        <a:pt x="505" y="814"/>
                      </a:cubicBezTo>
                      <a:cubicBezTo>
                        <a:pt x="499" y="814"/>
                        <a:pt x="499" y="814"/>
                        <a:pt x="499" y="814"/>
                      </a:cubicBezTo>
                      <a:cubicBezTo>
                        <a:pt x="497" y="812"/>
                        <a:pt x="497" y="812"/>
                        <a:pt x="497" y="812"/>
                      </a:cubicBezTo>
                      <a:cubicBezTo>
                        <a:pt x="495" y="813"/>
                        <a:pt x="495" y="813"/>
                        <a:pt x="495" y="813"/>
                      </a:cubicBezTo>
                      <a:cubicBezTo>
                        <a:pt x="494" y="812"/>
                        <a:pt x="494" y="812"/>
                        <a:pt x="494" y="812"/>
                      </a:cubicBezTo>
                      <a:cubicBezTo>
                        <a:pt x="496" y="809"/>
                        <a:pt x="496" y="809"/>
                        <a:pt x="496" y="809"/>
                      </a:cubicBezTo>
                      <a:cubicBezTo>
                        <a:pt x="499" y="809"/>
                        <a:pt x="499" y="809"/>
                        <a:pt x="499" y="809"/>
                      </a:cubicBezTo>
                      <a:cubicBezTo>
                        <a:pt x="501" y="811"/>
                        <a:pt x="501" y="811"/>
                        <a:pt x="501" y="811"/>
                      </a:cubicBezTo>
                      <a:cubicBezTo>
                        <a:pt x="503" y="812"/>
                        <a:pt x="503" y="812"/>
                        <a:pt x="503" y="812"/>
                      </a:cubicBezTo>
                      <a:cubicBezTo>
                        <a:pt x="506" y="810"/>
                        <a:pt x="506" y="810"/>
                        <a:pt x="506" y="810"/>
                      </a:cubicBezTo>
                      <a:cubicBezTo>
                        <a:pt x="510" y="810"/>
                        <a:pt x="510" y="810"/>
                        <a:pt x="510" y="810"/>
                      </a:cubicBezTo>
                      <a:cubicBezTo>
                        <a:pt x="513" y="807"/>
                        <a:pt x="513" y="807"/>
                        <a:pt x="513" y="807"/>
                      </a:cubicBezTo>
                      <a:cubicBezTo>
                        <a:pt x="516" y="806"/>
                        <a:pt x="516" y="806"/>
                        <a:pt x="516" y="806"/>
                      </a:cubicBezTo>
                      <a:cubicBezTo>
                        <a:pt x="519" y="807"/>
                        <a:pt x="519" y="807"/>
                        <a:pt x="519" y="807"/>
                      </a:cubicBezTo>
                      <a:cubicBezTo>
                        <a:pt x="522" y="806"/>
                        <a:pt x="522" y="806"/>
                        <a:pt x="522" y="806"/>
                      </a:cubicBezTo>
                      <a:cubicBezTo>
                        <a:pt x="523" y="804"/>
                        <a:pt x="523" y="804"/>
                        <a:pt x="523" y="804"/>
                      </a:cubicBezTo>
                      <a:cubicBezTo>
                        <a:pt x="522" y="802"/>
                        <a:pt x="522" y="802"/>
                        <a:pt x="522" y="802"/>
                      </a:cubicBezTo>
                      <a:cubicBezTo>
                        <a:pt x="521" y="802"/>
                        <a:pt x="521" y="802"/>
                        <a:pt x="521" y="802"/>
                      </a:cubicBezTo>
                      <a:cubicBezTo>
                        <a:pt x="520" y="801"/>
                        <a:pt x="520" y="801"/>
                        <a:pt x="520" y="801"/>
                      </a:cubicBezTo>
                      <a:cubicBezTo>
                        <a:pt x="518" y="800"/>
                        <a:pt x="518" y="800"/>
                        <a:pt x="518" y="800"/>
                      </a:cubicBezTo>
                      <a:cubicBezTo>
                        <a:pt x="515" y="801"/>
                        <a:pt x="515" y="801"/>
                        <a:pt x="515" y="801"/>
                      </a:cubicBezTo>
                      <a:cubicBezTo>
                        <a:pt x="513" y="800"/>
                        <a:pt x="513" y="800"/>
                        <a:pt x="513" y="800"/>
                      </a:cubicBezTo>
                      <a:cubicBezTo>
                        <a:pt x="507" y="800"/>
                        <a:pt x="507" y="800"/>
                        <a:pt x="507" y="800"/>
                      </a:cubicBezTo>
                      <a:cubicBezTo>
                        <a:pt x="504" y="801"/>
                        <a:pt x="504" y="801"/>
                        <a:pt x="504" y="801"/>
                      </a:cubicBezTo>
                      <a:cubicBezTo>
                        <a:pt x="501" y="801"/>
                        <a:pt x="501" y="801"/>
                        <a:pt x="501" y="801"/>
                      </a:cubicBezTo>
                      <a:cubicBezTo>
                        <a:pt x="497" y="800"/>
                        <a:pt x="497" y="800"/>
                        <a:pt x="497" y="800"/>
                      </a:cubicBezTo>
                      <a:cubicBezTo>
                        <a:pt x="496" y="798"/>
                        <a:pt x="496" y="798"/>
                        <a:pt x="496" y="798"/>
                      </a:cubicBezTo>
                      <a:cubicBezTo>
                        <a:pt x="494" y="797"/>
                        <a:pt x="494" y="797"/>
                        <a:pt x="494" y="797"/>
                      </a:cubicBezTo>
                      <a:cubicBezTo>
                        <a:pt x="491" y="798"/>
                        <a:pt x="491" y="798"/>
                        <a:pt x="491" y="798"/>
                      </a:cubicBezTo>
                      <a:cubicBezTo>
                        <a:pt x="487" y="798"/>
                        <a:pt x="487" y="798"/>
                        <a:pt x="487" y="798"/>
                      </a:cubicBezTo>
                      <a:cubicBezTo>
                        <a:pt x="481" y="802"/>
                        <a:pt x="481" y="802"/>
                        <a:pt x="481" y="802"/>
                      </a:cubicBezTo>
                      <a:cubicBezTo>
                        <a:pt x="480" y="801"/>
                        <a:pt x="480" y="801"/>
                        <a:pt x="480" y="801"/>
                      </a:cubicBezTo>
                      <a:cubicBezTo>
                        <a:pt x="481" y="798"/>
                        <a:pt x="481" y="798"/>
                        <a:pt x="481" y="798"/>
                      </a:cubicBezTo>
                      <a:cubicBezTo>
                        <a:pt x="484" y="795"/>
                        <a:pt x="484" y="795"/>
                        <a:pt x="484" y="795"/>
                      </a:cubicBezTo>
                      <a:cubicBezTo>
                        <a:pt x="486" y="795"/>
                        <a:pt x="486" y="795"/>
                        <a:pt x="486" y="795"/>
                      </a:cubicBezTo>
                      <a:cubicBezTo>
                        <a:pt x="489" y="795"/>
                        <a:pt x="489" y="795"/>
                        <a:pt x="489" y="795"/>
                      </a:cubicBezTo>
                      <a:cubicBezTo>
                        <a:pt x="496" y="792"/>
                        <a:pt x="496" y="792"/>
                        <a:pt x="496" y="792"/>
                      </a:cubicBezTo>
                      <a:cubicBezTo>
                        <a:pt x="498" y="790"/>
                        <a:pt x="498" y="790"/>
                        <a:pt x="498" y="790"/>
                      </a:cubicBezTo>
                      <a:cubicBezTo>
                        <a:pt x="498" y="787"/>
                        <a:pt x="498" y="787"/>
                        <a:pt x="498" y="787"/>
                      </a:cubicBezTo>
                      <a:cubicBezTo>
                        <a:pt x="499" y="785"/>
                        <a:pt x="499" y="785"/>
                        <a:pt x="499" y="785"/>
                      </a:cubicBezTo>
                      <a:cubicBezTo>
                        <a:pt x="501" y="785"/>
                        <a:pt x="501" y="785"/>
                        <a:pt x="501" y="785"/>
                      </a:cubicBezTo>
                      <a:cubicBezTo>
                        <a:pt x="502" y="784"/>
                        <a:pt x="502" y="784"/>
                        <a:pt x="502" y="784"/>
                      </a:cubicBezTo>
                      <a:cubicBezTo>
                        <a:pt x="504" y="782"/>
                        <a:pt x="504" y="782"/>
                        <a:pt x="504" y="782"/>
                      </a:cubicBezTo>
                      <a:cubicBezTo>
                        <a:pt x="504" y="779"/>
                        <a:pt x="504" y="779"/>
                        <a:pt x="504" y="779"/>
                      </a:cubicBezTo>
                      <a:cubicBezTo>
                        <a:pt x="502" y="778"/>
                        <a:pt x="502" y="778"/>
                        <a:pt x="502" y="778"/>
                      </a:cubicBezTo>
                      <a:cubicBezTo>
                        <a:pt x="499" y="777"/>
                        <a:pt x="499" y="777"/>
                        <a:pt x="499" y="777"/>
                      </a:cubicBezTo>
                      <a:cubicBezTo>
                        <a:pt x="498" y="775"/>
                        <a:pt x="498" y="775"/>
                        <a:pt x="498" y="775"/>
                      </a:cubicBezTo>
                      <a:cubicBezTo>
                        <a:pt x="501" y="773"/>
                        <a:pt x="501" y="773"/>
                        <a:pt x="501" y="773"/>
                      </a:cubicBezTo>
                      <a:cubicBezTo>
                        <a:pt x="502" y="774"/>
                        <a:pt x="502" y="774"/>
                        <a:pt x="502" y="774"/>
                      </a:cubicBezTo>
                      <a:cubicBezTo>
                        <a:pt x="503" y="775"/>
                        <a:pt x="503" y="775"/>
                        <a:pt x="503" y="775"/>
                      </a:cubicBezTo>
                      <a:cubicBezTo>
                        <a:pt x="505" y="775"/>
                        <a:pt x="505" y="775"/>
                        <a:pt x="505" y="775"/>
                      </a:cubicBezTo>
                      <a:cubicBezTo>
                        <a:pt x="506" y="774"/>
                        <a:pt x="506" y="774"/>
                        <a:pt x="506" y="774"/>
                      </a:cubicBezTo>
                      <a:cubicBezTo>
                        <a:pt x="506" y="772"/>
                        <a:pt x="506" y="772"/>
                        <a:pt x="506" y="772"/>
                      </a:cubicBezTo>
                      <a:cubicBezTo>
                        <a:pt x="505" y="771"/>
                        <a:pt x="505" y="771"/>
                        <a:pt x="505" y="771"/>
                      </a:cubicBezTo>
                      <a:cubicBezTo>
                        <a:pt x="505" y="766"/>
                        <a:pt x="505" y="766"/>
                        <a:pt x="505" y="766"/>
                      </a:cubicBezTo>
                      <a:cubicBezTo>
                        <a:pt x="507" y="767"/>
                        <a:pt x="507" y="767"/>
                        <a:pt x="507" y="767"/>
                      </a:cubicBezTo>
                      <a:cubicBezTo>
                        <a:pt x="508" y="769"/>
                        <a:pt x="508" y="769"/>
                        <a:pt x="508" y="769"/>
                      </a:cubicBezTo>
                      <a:cubicBezTo>
                        <a:pt x="508" y="772"/>
                        <a:pt x="508" y="772"/>
                        <a:pt x="508" y="772"/>
                      </a:cubicBezTo>
                      <a:cubicBezTo>
                        <a:pt x="510" y="776"/>
                        <a:pt x="510" y="776"/>
                        <a:pt x="510" y="776"/>
                      </a:cubicBezTo>
                      <a:cubicBezTo>
                        <a:pt x="512" y="778"/>
                        <a:pt x="512" y="778"/>
                        <a:pt x="512" y="778"/>
                      </a:cubicBezTo>
                      <a:cubicBezTo>
                        <a:pt x="515" y="776"/>
                        <a:pt x="515" y="776"/>
                        <a:pt x="515" y="776"/>
                      </a:cubicBezTo>
                      <a:cubicBezTo>
                        <a:pt x="520" y="776"/>
                        <a:pt x="520" y="776"/>
                        <a:pt x="520" y="776"/>
                      </a:cubicBezTo>
                      <a:cubicBezTo>
                        <a:pt x="529" y="771"/>
                        <a:pt x="529" y="771"/>
                        <a:pt x="529" y="771"/>
                      </a:cubicBezTo>
                      <a:cubicBezTo>
                        <a:pt x="531" y="771"/>
                        <a:pt x="531" y="771"/>
                        <a:pt x="531" y="771"/>
                      </a:cubicBezTo>
                      <a:cubicBezTo>
                        <a:pt x="533" y="769"/>
                        <a:pt x="533" y="769"/>
                        <a:pt x="533" y="769"/>
                      </a:cubicBezTo>
                      <a:cubicBezTo>
                        <a:pt x="535" y="767"/>
                        <a:pt x="535" y="767"/>
                        <a:pt x="535" y="767"/>
                      </a:cubicBezTo>
                      <a:cubicBezTo>
                        <a:pt x="538" y="766"/>
                        <a:pt x="538" y="766"/>
                        <a:pt x="538" y="766"/>
                      </a:cubicBezTo>
                      <a:cubicBezTo>
                        <a:pt x="539" y="762"/>
                        <a:pt x="539" y="762"/>
                        <a:pt x="539" y="762"/>
                      </a:cubicBezTo>
                      <a:cubicBezTo>
                        <a:pt x="537" y="758"/>
                        <a:pt x="537" y="758"/>
                        <a:pt x="537" y="758"/>
                      </a:cubicBezTo>
                      <a:cubicBezTo>
                        <a:pt x="536" y="755"/>
                        <a:pt x="536" y="755"/>
                        <a:pt x="536" y="755"/>
                      </a:cubicBezTo>
                      <a:cubicBezTo>
                        <a:pt x="535" y="755"/>
                        <a:pt x="535" y="755"/>
                        <a:pt x="535" y="755"/>
                      </a:cubicBezTo>
                      <a:cubicBezTo>
                        <a:pt x="531" y="753"/>
                        <a:pt x="531" y="753"/>
                        <a:pt x="531" y="753"/>
                      </a:cubicBezTo>
                      <a:cubicBezTo>
                        <a:pt x="523" y="750"/>
                        <a:pt x="523" y="750"/>
                        <a:pt x="523" y="750"/>
                      </a:cubicBezTo>
                      <a:cubicBezTo>
                        <a:pt x="522" y="750"/>
                        <a:pt x="522" y="750"/>
                        <a:pt x="522" y="750"/>
                      </a:cubicBezTo>
                      <a:cubicBezTo>
                        <a:pt x="518" y="752"/>
                        <a:pt x="518" y="752"/>
                        <a:pt x="518" y="752"/>
                      </a:cubicBezTo>
                      <a:cubicBezTo>
                        <a:pt x="517" y="750"/>
                        <a:pt x="517" y="750"/>
                        <a:pt x="517" y="750"/>
                      </a:cubicBezTo>
                      <a:cubicBezTo>
                        <a:pt x="517" y="747"/>
                        <a:pt x="517" y="747"/>
                        <a:pt x="517" y="747"/>
                      </a:cubicBezTo>
                      <a:cubicBezTo>
                        <a:pt x="516" y="746"/>
                        <a:pt x="516" y="746"/>
                        <a:pt x="516" y="746"/>
                      </a:cubicBezTo>
                      <a:cubicBezTo>
                        <a:pt x="512" y="747"/>
                        <a:pt x="512" y="747"/>
                        <a:pt x="512" y="747"/>
                      </a:cubicBezTo>
                      <a:cubicBezTo>
                        <a:pt x="510" y="747"/>
                        <a:pt x="510" y="747"/>
                        <a:pt x="510" y="747"/>
                      </a:cubicBezTo>
                      <a:cubicBezTo>
                        <a:pt x="507" y="751"/>
                        <a:pt x="507" y="751"/>
                        <a:pt x="507" y="751"/>
                      </a:cubicBezTo>
                      <a:cubicBezTo>
                        <a:pt x="505" y="751"/>
                        <a:pt x="505" y="751"/>
                        <a:pt x="505" y="751"/>
                      </a:cubicBezTo>
                      <a:cubicBezTo>
                        <a:pt x="502" y="749"/>
                        <a:pt x="502" y="749"/>
                        <a:pt x="502" y="749"/>
                      </a:cubicBezTo>
                      <a:cubicBezTo>
                        <a:pt x="502" y="747"/>
                        <a:pt x="502" y="747"/>
                        <a:pt x="502" y="747"/>
                      </a:cubicBezTo>
                      <a:cubicBezTo>
                        <a:pt x="504" y="749"/>
                        <a:pt x="504" y="749"/>
                        <a:pt x="504" y="749"/>
                      </a:cubicBezTo>
                      <a:cubicBezTo>
                        <a:pt x="507" y="747"/>
                        <a:pt x="507" y="747"/>
                        <a:pt x="507" y="747"/>
                      </a:cubicBezTo>
                      <a:cubicBezTo>
                        <a:pt x="508" y="745"/>
                        <a:pt x="508" y="745"/>
                        <a:pt x="508" y="745"/>
                      </a:cubicBezTo>
                      <a:cubicBezTo>
                        <a:pt x="512" y="746"/>
                        <a:pt x="512" y="746"/>
                        <a:pt x="512" y="746"/>
                      </a:cubicBezTo>
                      <a:cubicBezTo>
                        <a:pt x="513" y="744"/>
                        <a:pt x="513" y="744"/>
                        <a:pt x="513" y="744"/>
                      </a:cubicBezTo>
                      <a:cubicBezTo>
                        <a:pt x="511" y="741"/>
                        <a:pt x="511" y="741"/>
                        <a:pt x="511" y="741"/>
                      </a:cubicBezTo>
                      <a:cubicBezTo>
                        <a:pt x="509" y="737"/>
                        <a:pt x="509" y="737"/>
                        <a:pt x="509" y="737"/>
                      </a:cubicBezTo>
                      <a:cubicBezTo>
                        <a:pt x="507" y="735"/>
                        <a:pt x="507" y="735"/>
                        <a:pt x="507" y="735"/>
                      </a:cubicBezTo>
                      <a:cubicBezTo>
                        <a:pt x="504" y="735"/>
                        <a:pt x="504" y="735"/>
                        <a:pt x="504" y="735"/>
                      </a:cubicBezTo>
                      <a:cubicBezTo>
                        <a:pt x="505" y="733"/>
                        <a:pt x="505" y="733"/>
                        <a:pt x="505" y="733"/>
                      </a:cubicBezTo>
                      <a:cubicBezTo>
                        <a:pt x="509" y="731"/>
                        <a:pt x="509" y="731"/>
                        <a:pt x="509" y="731"/>
                      </a:cubicBezTo>
                      <a:cubicBezTo>
                        <a:pt x="509" y="730"/>
                        <a:pt x="509" y="730"/>
                        <a:pt x="509" y="730"/>
                      </a:cubicBezTo>
                      <a:cubicBezTo>
                        <a:pt x="508" y="726"/>
                        <a:pt x="508" y="726"/>
                        <a:pt x="508" y="726"/>
                      </a:cubicBezTo>
                      <a:cubicBezTo>
                        <a:pt x="509" y="724"/>
                        <a:pt x="509" y="724"/>
                        <a:pt x="509" y="724"/>
                      </a:cubicBezTo>
                      <a:cubicBezTo>
                        <a:pt x="511" y="727"/>
                        <a:pt x="511" y="727"/>
                        <a:pt x="511" y="727"/>
                      </a:cubicBezTo>
                      <a:cubicBezTo>
                        <a:pt x="512" y="731"/>
                        <a:pt x="512" y="731"/>
                        <a:pt x="512" y="731"/>
                      </a:cubicBezTo>
                      <a:cubicBezTo>
                        <a:pt x="514" y="734"/>
                        <a:pt x="514" y="734"/>
                        <a:pt x="514" y="734"/>
                      </a:cubicBezTo>
                      <a:cubicBezTo>
                        <a:pt x="514" y="736"/>
                        <a:pt x="514" y="736"/>
                        <a:pt x="514" y="736"/>
                      </a:cubicBezTo>
                      <a:cubicBezTo>
                        <a:pt x="518" y="740"/>
                        <a:pt x="518" y="740"/>
                        <a:pt x="518" y="740"/>
                      </a:cubicBezTo>
                      <a:cubicBezTo>
                        <a:pt x="518" y="742"/>
                        <a:pt x="518" y="742"/>
                        <a:pt x="518" y="742"/>
                      </a:cubicBezTo>
                      <a:cubicBezTo>
                        <a:pt x="520" y="746"/>
                        <a:pt x="520" y="746"/>
                        <a:pt x="520" y="746"/>
                      </a:cubicBezTo>
                      <a:cubicBezTo>
                        <a:pt x="522" y="747"/>
                        <a:pt x="522" y="747"/>
                        <a:pt x="522" y="747"/>
                      </a:cubicBezTo>
                      <a:cubicBezTo>
                        <a:pt x="524" y="746"/>
                        <a:pt x="524" y="746"/>
                        <a:pt x="524" y="746"/>
                      </a:cubicBezTo>
                      <a:cubicBezTo>
                        <a:pt x="525" y="745"/>
                        <a:pt x="525" y="745"/>
                        <a:pt x="525" y="745"/>
                      </a:cubicBezTo>
                      <a:cubicBezTo>
                        <a:pt x="528" y="746"/>
                        <a:pt x="528" y="746"/>
                        <a:pt x="528" y="746"/>
                      </a:cubicBezTo>
                      <a:cubicBezTo>
                        <a:pt x="532" y="746"/>
                        <a:pt x="532" y="746"/>
                        <a:pt x="532" y="746"/>
                      </a:cubicBezTo>
                      <a:cubicBezTo>
                        <a:pt x="534" y="744"/>
                        <a:pt x="534" y="744"/>
                        <a:pt x="534" y="744"/>
                      </a:cubicBezTo>
                      <a:cubicBezTo>
                        <a:pt x="535" y="746"/>
                        <a:pt x="535" y="746"/>
                        <a:pt x="535" y="746"/>
                      </a:cubicBezTo>
                      <a:cubicBezTo>
                        <a:pt x="536" y="749"/>
                        <a:pt x="536" y="749"/>
                        <a:pt x="536" y="749"/>
                      </a:cubicBezTo>
                      <a:cubicBezTo>
                        <a:pt x="542" y="759"/>
                        <a:pt x="542" y="759"/>
                        <a:pt x="542" y="759"/>
                      </a:cubicBezTo>
                      <a:cubicBezTo>
                        <a:pt x="544" y="761"/>
                        <a:pt x="544" y="761"/>
                        <a:pt x="544" y="761"/>
                      </a:cubicBezTo>
                      <a:cubicBezTo>
                        <a:pt x="545" y="759"/>
                        <a:pt x="545" y="759"/>
                        <a:pt x="545" y="759"/>
                      </a:cubicBezTo>
                      <a:cubicBezTo>
                        <a:pt x="549" y="758"/>
                        <a:pt x="549" y="758"/>
                        <a:pt x="549" y="758"/>
                      </a:cubicBezTo>
                      <a:cubicBezTo>
                        <a:pt x="550" y="758"/>
                        <a:pt x="550" y="758"/>
                        <a:pt x="550" y="758"/>
                      </a:cubicBezTo>
                      <a:cubicBezTo>
                        <a:pt x="551" y="760"/>
                        <a:pt x="551" y="760"/>
                        <a:pt x="551" y="760"/>
                      </a:cubicBezTo>
                      <a:cubicBezTo>
                        <a:pt x="549" y="763"/>
                        <a:pt x="549" y="763"/>
                        <a:pt x="549" y="763"/>
                      </a:cubicBezTo>
                      <a:cubicBezTo>
                        <a:pt x="549" y="767"/>
                        <a:pt x="549" y="767"/>
                        <a:pt x="549" y="767"/>
                      </a:cubicBezTo>
                      <a:cubicBezTo>
                        <a:pt x="549" y="772"/>
                        <a:pt x="549" y="772"/>
                        <a:pt x="549" y="772"/>
                      </a:cubicBezTo>
                      <a:cubicBezTo>
                        <a:pt x="551" y="775"/>
                        <a:pt x="551" y="775"/>
                        <a:pt x="551" y="775"/>
                      </a:cubicBezTo>
                      <a:cubicBezTo>
                        <a:pt x="553" y="778"/>
                        <a:pt x="553" y="778"/>
                        <a:pt x="553" y="778"/>
                      </a:cubicBezTo>
                      <a:cubicBezTo>
                        <a:pt x="554" y="785"/>
                        <a:pt x="554" y="785"/>
                        <a:pt x="554" y="785"/>
                      </a:cubicBezTo>
                      <a:cubicBezTo>
                        <a:pt x="556" y="788"/>
                        <a:pt x="556" y="788"/>
                        <a:pt x="556" y="788"/>
                      </a:cubicBezTo>
                      <a:cubicBezTo>
                        <a:pt x="558" y="791"/>
                        <a:pt x="558" y="791"/>
                        <a:pt x="558" y="791"/>
                      </a:cubicBezTo>
                      <a:cubicBezTo>
                        <a:pt x="561" y="797"/>
                        <a:pt x="561" y="797"/>
                        <a:pt x="561" y="797"/>
                      </a:cubicBezTo>
                      <a:cubicBezTo>
                        <a:pt x="565" y="802"/>
                        <a:pt x="565" y="802"/>
                        <a:pt x="565" y="802"/>
                      </a:cubicBezTo>
                      <a:cubicBezTo>
                        <a:pt x="567" y="804"/>
                        <a:pt x="567" y="804"/>
                        <a:pt x="567" y="804"/>
                      </a:cubicBezTo>
                      <a:cubicBezTo>
                        <a:pt x="569" y="803"/>
                        <a:pt x="569" y="803"/>
                        <a:pt x="569" y="803"/>
                      </a:cubicBezTo>
                      <a:cubicBezTo>
                        <a:pt x="572" y="802"/>
                        <a:pt x="572" y="802"/>
                        <a:pt x="572" y="802"/>
                      </a:cubicBezTo>
                      <a:cubicBezTo>
                        <a:pt x="574" y="802"/>
                        <a:pt x="574" y="802"/>
                        <a:pt x="574" y="802"/>
                      </a:cubicBezTo>
                      <a:cubicBezTo>
                        <a:pt x="575" y="801"/>
                        <a:pt x="575" y="801"/>
                        <a:pt x="575" y="801"/>
                      </a:cubicBezTo>
                      <a:cubicBezTo>
                        <a:pt x="575" y="799"/>
                        <a:pt x="575" y="799"/>
                        <a:pt x="575" y="799"/>
                      </a:cubicBezTo>
                      <a:cubicBezTo>
                        <a:pt x="575" y="794"/>
                        <a:pt x="575" y="794"/>
                        <a:pt x="575" y="794"/>
                      </a:cubicBezTo>
                      <a:cubicBezTo>
                        <a:pt x="575" y="788"/>
                        <a:pt x="575" y="788"/>
                        <a:pt x="575" y="788"/>
                      </a:cubicBezTo>
                      <a:cubicBezTo>
                        <a:pt x="576" y="784"/>
                        <a:pt x="576" y="784"/>
                        <a:pt x="576" y="784"/>
                      </a:cubicBezTo>
                      <a:cubicBezTo>
                        <a:pt x="577" y="782"/>
                        <a:pt x="577" y="782"/>
                        <a:pt x="577" y="782"/>
                      </a:cubicBezTo>
                      <a:cubicBezTo>
                        <a:pt x="578" y="782"/>
                        <a:pt x="578" y="782"/>
                        <a:pt x="578" y="782"/>
                      </a:cubicBezTo>
                      <a:cubicBezTo>
                        <a:pt x="579" y="783"/>
                        <a:pt x="579" y="783"/>
                        <a:pt x="579" y="783"/>
                      </a:cubicBezTo>
                      <a:cubicBezTo>
                        <a:pt x="578" y="787"/>
                        <a:pt x="578" y="787"/>
                        <a:pt x="578" y="787"/>
                      </a:cubicBezTo>
                      <a:cubicBezTo>
                        <a:pt x="578" y="790"/>
                        <a:pt x="578" y="790"/>
                        <a:pt x="578" y="790"/>
                      </a:cubicBezTo>
                      <a:cubicBezTo>
                        <a:pt x="579" y="794"/>
                        <a:pt x="579" y="794"/>
                        <a:pt x="579" y="794"/>
                      </a:cubicBezTo>
                      <a:cubicBezTo>
                        <a:pt x="578" y="797"/>
                        <a:pt x="578" y="797"/>
                        <a:pt x="578" y="797"/>
                      </a:cubicBezTo>
                      <a:cubicBezTo>
                        <a:pt x="578" y="800"/>
                        <a:pt x="578" y="800"/>
                        <a:pt x="578" y="800"/>
                      </a:cubicBezTo>
                      <a:cubicBezTo>
                        <a:pt x="579" y="801"/>
                        <a:pt x="579" y="801"/>
                        <a:pt x="579" y="801"/>
                      </a:cubicBezTo>
                      <a:cubicBezTo>
                        <a:pt x="581" y="799"/>
                        <a:pt x="581" y="799"/>
                        <a:pt x="581" y="799"/>
                      </a:cubicBezTo>
                      <a:cubicBezTo>
                        <a:pt x="583" y="798"/>
                        <a:pt x="583" y="798"/>
                        <a:pt x="583" y="798"/>
                      </a:cubicBezTo>
                      <a:cubicBezTo>
                        <a:pt x="584" y="800"/>
                        <a:pt x="584" y="800"/>
                        <a:pt x="584" y="800"/>
                      </a:cubicBezTo>
                      <a:cubicBezTo>
                        <a:pt x="585" y="802"/>
                        <a:pt x="585" y="802"/>
                        <a:pt x="585" y="802"/>
                      </a:cubicBezTo>
                      <a:cubicBezTo>
                        <a:pt x="584" y="804"/>
                        <a:pt x="584" y="804"/>
                        <a:pt x="584" y="804"/>
                      </a:cubicBezTo>
                      <a:cubicBezTo>
                        <a:pt x="585" y="805"/>
                        <a:pt x="585" y="805"/>
                        <a:pt x="585" y="805"/>
                      </a:cubicBezTo>
                      <a:cubicBezTo>
                        <a:pt x="586" y="805"/>
                        <a:pt x="586" y="805"/>
                        <a:pt x="586" y="805"/>
                      </a:cubicBezTo>
                      <a:cubicBezTo>
                        <a:pt x="588" y="805"/>
                        <a:pt x="588" y="805"/>
                        <a:pt x="588" y="805"/>
                      </a:cubicBezTo>
                      <a:cubicBezTo>
                        <a:pt x="590" y="803"/>
                        <a:pt x="590" y="803"/>
                        <a:pt x="590" y="803"/>
                      </a:cubicBezTo>
                      <a:cubicBezTo>
                        <a:pt x="590" y="800"/>
                        <a:pt x="590" y="800"/>
                        <a:pt x="590" y="800"/>
                      </a:cubicBezTo>
                      <a:cubicBezTo>
                        <a:pt x="590" y="798"/>
                        <a:pt x="590" y="798"/>
                        <a:pt x="590" y="798"/>
                      </a:cubicBezTo>
                      <a:cubicBezTo>
                        <a:pt x="590" y="791"/>
                        <a:pt x="590" y="791"/>
                        <a:pt x="590" y="791"/>
                      </a:cubicBezTo>
                      <a:cubicBezTo>
                        <a:pt x="591" y="788"/>
                        <a:pt x="591" y="788"/>
                        <a:pt x="591" y="788"/>
                      </a:cubicBezTo>
                      <a:cubicBezTo>
                        <a:pt x="591" y="784"/>
                        <a:pt x="591" y="784"/>
                        <a:pt x="591" y="784"/>
                      </a:cubicBezTo>
                      <a:cubicBezTo>
                        <a:pt x="591" y="783"/>
                        <a:pt x="591" y="783"/>
                        <a:pt x="591" y="783"/>
                      </a:cubicBezTo>
                      <a:cubicBezTo>
                        <a:pt x="590" y="780"/>
                        <a:pt x="590" y="780"/>
                        <a:pt x="590" y="780"/>
                      </a:cubicBezTo>
                      <a:cubicBezTo>
                        <a:pt x="589" y="780"/>
                        <a:pt x="589" y="780"/>
                        <a:pt x="589" y="780"/>
                      </a:cubicBezTo>
                      <a:cubicBezTo>
                        <a:pt x="590" y="777"/>
                        <a:pt x="590" y="777"/>
                        <a:pt x="590" y="777"/>
                      </a:cubicBezTo>
                      <a:cubicBezTo>
                        <a:pt x="590" y="775"/>
                        <a:pt x="590" y="775"/>
                        <a:pt x="590" y="775"/>
                      </a:cubicBezTo>
                      <a:cubicBezTo>
                        <a:pt x="589" y="774"/>
                        <a:pt x="589" y="774"/>
                        <a:pt x="589" y="774"/>
                      </a:cubicBezTo>
                      <a:cubicBezTo>
                        <a:pt x="586" y="776"/>
                        <a:pt x="586" y="776"/>
                        <a:pt x="586" y="776"/>
                      </a:cubicBezTo>
                      <a:cubicBezTo>
                        <a:pt x="586" y="774"/>
                        <a:pt x="586" y="774"/>
                        <a:pt x="586" y="774"/>
                      </a:cubicBezTo>
                      <a:cubicBezTo>
                        <a:pt x="587" y="772"/>
                        <a:pt x="587" y="772"/>
                        <a:pt x="587" y="772"/>
                      </a:cubicBezTo>
                      <a:cubicBezTo>
                        <a:pt x="590" y="772"/>
                        <a:pt x="590" y="772"/>
                        <a:pt x="590" y="772"/>
                      </a:cubicBezTo>
                      <a:cubicBezTo>
                        <a:pt x="591" y="770"/>
                        <a:pt x="591" y="770"/>
                        <a:pt x="591" y="770"/>
                      </a:cubicBezTo>
                      <a:cubicBezTo>
                        <a:pt x="592" y="766"/>
                        <a:pt x="592" y="766"/>
                        <a:pt x="592" y="766"/>
                      </a:cubicBezTo>
                      <a:cubicBezTo>
                        <a:pt x="591" y="764"/>
                        <a:pt x="591" y="764"/>
                        <a:pt x="591" y="764"/>
                      </a:cubicBezTo>
                      <a:cubicBezTo>
                        <a:pt x="589" y="765"/>
                        <a:pt x="589" y="765"/>
                        <a:pt x="589" y="765"/>
                      </a:cubicBezTo>
                      <a:cubicBezTo>
                        <a:pt x="588" y="763"/>
                        <a:pt x="588" y="763"/>
                        <a:pt x="588" y="763"/>
                      </a:cubicBezTo>
                      <a:cubicBezTo>
                        <a:pt x="590" y="760"/>
                        <a:pt x="590" y="760"/>
                        <a:pt x="590" y="760"/>
                      </a:cubicBezTo>
                      <a:cubicBezTo>
                        <a:pt x="591" y="756"/>
                        <a:pt x="591" y="756"/>
                        <a:pt x="591" y="756"/>
                      </a:cubicBezTo>
                      <a:cubicBezTo>
                        <a:pt x="591" y="754"/>
                        <a:pt x="591" y="754"/>
                        <a:pt x="591" y="754"/>
                      </a:cubicBezTo>
                      <a:cubicBezTo>
                        <a:pt x="590" y="755"/>
                        <a:pt x="590" y="755"/>
                        <a:pt x="590" y="755"/>
                      </a:cubicBezTo>
                      <a:cubicBezTo>
                        <a:pt x="587" y="756"/>
                        <a:pt x="587" y="756"/>
                        <a:pt x="587" y="756"/>
                      </a:cubicBezTo>
                      <a:cubicBezTo>
                        <a:pt x="585" y="761"/>
                        <a:pt x="585" y="761"/>
                        <a:pt x="585" y="761"/>
                      </a:cubicBezTo>
                      <a:cubicBezTo>
                        <a:pt x="584" y="766"/>
                        <a:pt x="584" y="766"/>
                        <a:pt x="584" y="766"/>
                      </a:cubicBezTo>
                      <a:cubicBezTo>
                        <a:pt x="582" y="767"/>
                        <a:pt x="582" y="767"/>
                        <a:pt x="582" y="767"/>
                      </a:cubicBezTo>
                      <a:cubicBezTo>
                        <a:pt x="582" y="765"/>
                        <a:pt x="582" y="765"/>
                        <a:pt x="582" y="765"/>
                      </a:cubicBezTo>
                      <a:cubicBezTo>
                        <a:pt x="583" y="761"/>
                        <a:pt x="583" y="761"/>
                        <a:pt x="583" y="761"/>
                      </a:cubicBezTo>
                      <a:cubicBezTo>
                        <a:pt x="583" y="759"/>
                        <a:pt x="583" y="759"/>
                        <a:pt x="583" y="759"/>
                      </a:cubicBezTo>
                      <a:cubicBezTo>
                        <a:pt x="582" y="757"/>
                        <a:pt x="582" y="757"/>
                        <a:pt x="582" y="757"/>
                      </a:cubicBezTo>
                      <a:cubicBezTo>
                        <a:pt x="582" y="755"/>
                        <a:pt x="582" y="755"/>
                        <a:pt x="582" y="755"/>
                      </a:cubicBezTo>
                      <a:cubicBezTo>
                        <a:pt x="583" y="752"/>
                        <a:pt x="583" y="752"/>
                        <a:pt x="583" y="752"/>
                      </a:cubicBezTo>
                      <a:cubicBezTo>
                        <a:pt x="586" y="749"/>
                        <a:pt x="586" y="749"/>
                        <a:pt x="586" y="749"/>
                      </a:cubicBezTo>
                      <a:cubicBezTo>
                        <a:pt x="588" y="747"/>
                        <a:pt x="588" y="747"/>
                        <a:pt x="588" y="747"/>
                      </a:cubicBezTo>
                      <a:cubicBezTo>
                        <a:pt x="590" y="744"/>
                        <a:pt x="590" y="744"/>
                        <a:pt x="590" y="744"/>
                      </a:cubicBezTo>
                      <a:cubicBezTo>
                        <a:pt x="588" y="742"/>
                        <a:pt x="588" y="742"/>
                        <a:pt x="588" y="742"/>
                      </a:cubicBezTo>
                      <a:cubicBezTo>
                        <a:pt x="586" y="742"/>
                        <a:pt x="586" y="742"/>
                        <a:pt x="586" y="742"/>
                      </a:cubicBezTo>
                      <a:cubicBezTo>
                        <a:pt x="584" y="744"/>
                        <a:pt x="584" y="744"/>
                        <a:pt x="584" y="744"/>
                      </a:cubicBezTo>
                      <a:cubicBezTo>
                        <a:pt x="584" y="746"/>
                        <a:pt x="584" y="746"/>
                        <a:pt x="584" y="746"/>
                      </a:cubicBezTo>
                      <a:cubicBezTo>
                        <a:pt x="582" y="747"/>
                        <a:pt x="582" y="747"/>
                        <a:pt x="582" y="747"/>
                      </a:cubicBezTo>
                      <a:cubicBezTo>
                        <a:pt x="584" y="743"/>
                        <a:pt x="584" y="743"/>
                        <a:pt x="584" y="743"/>
                      </a:cubicBezTo>
                      <a:cubicBezTo>
                        <a:pt x="585" y="741"/>
                        <a:pt x="585" y="741"/>
                        <a:pt x="585" y="741"/>
                      </a:cubicBezTo>
                      <a:cubicBezTo>
                        <a:pt x="584" y="740"/>
                        <a:pt x="584" y="740"/>
                        <a:pt x="584" y="740"/>
                      </a:cubicBezTo>
                      <a:cubicBezTo>
                        <a:pt x="582" y="741"/>
                        <a:pt x="582" y="741"/>
                        <a:pt x="582" y="741"/>
                      </a:cubicBezTo>
                      <a:cubicBezTo>
                        <a:pt x="579" y="744"/>
                        <a:pt x="579" y="744"/>
                        <a:pt x="579" y="744"/>
                      </a:cubicBezTo>
                      <a:cubicBezTo>
                        <a:pt x="576" y="747"/>
                        <a:pt x="576" y="747"/>
                        <a:pt x="576" y="747"/>
                      </a:cubicBezTo>
                      <a:cubicBezTo>
                        <a:pt x="576" y="746"/>
                        <a:pt x="576" y="746"/>
                        <a:pt x="576" y="746"/>
                      </a:cubicBezTo>
                      <a:cubicBezTo>
                        <a:pt x="577" y="744"/>
                        <a:pt x="577" y="744"/>
                        <a:pt x="577" y="744"/>
                      </a:cubicBezTo>
                      <a:cubicBezTo>
                        <a:pt x="578" y="741"/>
                        <a:pt x="578" y="741"/>
                        <a:pt x="578" y="741"/>
                      </a:cubicBezTo>
                      <a:cubicBezTo>
                        <a:pt x="580" y="739"/>
                        <a:pt x="580" y="739"/>
                        <a:pt x="580" y="739"/>
                      </a:cubicBezTo>
                      <a:cubicBezTo>
                        <a:pt x="582" y="735"/>
                        <a:pt x="582" y="735"/>
                        <a:pt x="582" y="735"/>
                      </a:cubicBezTo>
                      <a:cubicBezTo>
                        <a:pt x="582" y="734"/>
                        <a:pt x="582" y="734"/>
                        <a:pt x="582" y="734"/>
                      </a:cubicBezTo>
                      <a:cubicBezTo>
                        <a:pt x="581" y="732"/>
                        <a:pt x="581" y="732"/>
                        <a:pt x="581" y="732"/>
                      </a:cubicBezTo>
                      <a:cubicBezTo>
                        <a:pt x="580" y="730"/>
                        <a:pt x="580" y="730"/>
                        <a:pt x="580" y="730"/>
                      </a:cubicBezTo>
                      <a:cubicBezTo>
                        <a:pt x="578" y="730"/>
                        <a:pt x="578" y="730"/>
                        <a:pt x="578" y="730"/>
                      </a:cubicBezTo>
                      <a:cubicBezTo>
                        <a:pt x="577" y="728"/>
                        <a:pt x="577" y="728"/>
                        <a:pt x="577" y="728"/>
                      </a:cubicBezTo>
                      <a:cubicBezTo>
                        <a:pt x="577" y="727"/>
                        <a:pt x="577" y="727"/>
                        <a:pt x="577" y="727"/>
                      </a:cubicBezTo>
                      <a:cubicBezTo>
                        <a:pt x="576" y="727"/>
                        <a:pt x="575" y="726"/>
                        <a:pt x="575" y="726"/>
                      </a:cubicBezTo>
                      <a:cubicBezTo>
                        <a:pt x="574" y="725"/>
                        <a:pt x="574" y="724"/>
                        <a:pt x="573" y="723"/>
                      </a:cubicBezTo>
                      <a:cubicBezTo>
                        <a:pt x="572" y="721"/>
                        <a:pt x="572" y="721"/>
                        <a:pt x="572" y="721"/>
                      </a:cubicBezTo>
                      <a:cubicBezTo>
                        <a:pt x="570" y="721"/>
                        <a:pt x="570" y="721"/>
                        <a:pt x="570" y="721"/>
                      </a:cubicBezTo>
                      <a:cubicBezTo>
                        <a:pt x="569" y="720"/>
                        <a:pt x="569" y="720"/>
                        <a:pt x="569" y="720"/>
                      </a:cubicBezTo>
                      <a:cubicBezTo>
                        <a:pt x="567" y="720"/>
                        <a:pt x="567" y="720"/>
                        <a:pt x="567" y="720"/>
                      </a:cubicBezTo>
                      <a:cubicBezTo>
                        <a:pt x="567" y="718"/>
                        <a:pt x="567" y="718"/>
                        <a:pt x="567" y="718"/>
                      </a:cubicBezTo>
                      <a:cubicBezTo>
                        <a:pt x="566" y="717"/>
                        <a:pt x="566" y="717"/>
                        <a:pt x="566" y="717"/>
                      </a:cubicBezTo>
                      <a:cubicBezTo>
                        <a:pt x="560" y="712"/>
                        <a:pt x="560" y="712"/>
                        <a:pt x="560" y="712"/>
                      </a:cubicBezTo>
                      <a:cubicBezTo>
                        <a:pt x="560" y="711"/>
                        <a:pt x="560" y="711"/>
                        <a:pt x="560" y="711"/>
                      </a:cubicBezTo>
                      <a:cubicBezTo>
                        <a:pt x="560" y="711"/>
                        <a:pt x="559" y="710"/>
                        <a:pt x="558" y="709"/>
                      </a:cubicBezTo>
                      <a:cubicBezTo>
                        <a:pt x="556" y="708"/>
                        <a:pt x="556" y="708"/>
                        <a:pt x="556" y="708"/>
                      </a:cubicBezTo>
                      <a:cubicBezTo>
                        <a:pt x="553" y="708"/>
                        <a:pt x="553" y="708"/>
                        <a:pt x="553" y="708"/>
                      </a:cubicBezTo>
                      <a:cubicBezTo>
                        <a:pt x="550" y="709"/>
                        <a:pt x="550" y="709"/>
                        <a:pt x="550" y="709"/>
                      </a:cubicBezTo>
                      <a:cubicBezTo>
                        <a:pt x="547" y="712"/>
                        <a:pt x="547" y="712"/>
                        <a:pt x="547" y="712"/>
                      </a:cubicBezTo>
                      <a:cubicBezTo>
                        <a:pt x="547" y="710"/>
                        <a:pt x="547" y="710"/>
                        <a:pt x="547" y="710"/>
                      </a:cubicBezTo>
                      <a:cubicBezTo>
                        <a:pt x="547" y="708"/>
                        <a:pt x="547" y="708"/>
                        <a:pt x="547" y="708"/>
                      </a:cubicBezTo>
                      <a:cubicBezTo>
                        <a:pt x="542" y="706"/>
                        <a:pt x="542" y="706"/>
                        <a:pt x="542" y="706"/>
                      </a:cubicBezTo>
                      <a:cubicBezTo>
                        <a:pt x="538" y="706"/>
                        <a:pt x="538" y="706"/>
                        <a:pt x="538" y="706"/>
                      </a:cubicBezTo>
                      <a:cubicBezTo>
                        <a:pt x="534" y="707"/>
                        <a:pt x="534" y="707"/>
                        <a:pt x="534" y="707"/>
                      </a:cubicBezTo>
                      <a:cubicBezTo>
                        <a:pt x="533" y="706"/>
                        <a:pt x="533" y="706"/>
                        <a:pt x="533" y="706"/>
                      </a:cubicBezTo>
                      <a:cubicBezTo>
                        <a:pt x="536" y="703"/>
                        <a:pt x="536" y="703"/>
                        <a:pt x="536" y="703"/>
                      </a:cubicBezTo>
                      <a:cubicBezTo>
                        <a:pt x="537" y="704"/>
                        <a:pt x="537" y="704"/>
                        <a:pt x="537" y="704"/>
                      </a:cubicBezTo>
                      <a:cubicBezTo>
                        <a:pt x="543" y="704"/>
                        <a:pt x="543" y="704"/>
                        <a:pt x="543" y="704"/>
                      </a:cubicBezTo>
                      <a:cubicBezTo>
                        <a:pt x="546" y="705"/>
                        <a:pt x="546" y="705"/>
                        <a:pt x="546" y="705"/>
                      </a:cubicBezTo>
                      <a:cubicBezTo>
                        <a:pt x="549" y="705"/>
                        <a:pt x="549" y="705"/>
                        <a:pt x="549" y="705"/>
                      </a:cubicBezTo>
                      <a:cubicBezTo>
                        <a:pt x="552" y="705"/>
                        <a:pt x="552" y="705"/>
                        <a:pt x="552" y="705"/>
                      </a:cubicBezTo>
                      <a:cubicBezTo>
                        <a:pt x="554" y="703"/>
                        <a:pt x="554" y="703"/>
                        <a:pt x="554" y="703"/>
                      </a:cubicBezTo>
                      <a:cubicBezTo>
                        <a:pt x="550" y="699"/>
                        <a:pt x="547" y="694"/>
                        <a:pt x="547" y="688"/>
                      </a:cubicBezTo>
                      <a:cubicBezTo>
                        <a:pt x="546" y="687"/>
                        <a:pt x="546" y="687"/>
                        <a:pt x="546" y="687"/>
                      </a:cubicBezTo>
                      <a:cubicBezTo>
                        <a:pt x="545" y="687"/>
                        <a:pt x="545" y="687"/>
                        <a:pt x="545" y="687"/>
                      </a:cubicBezTo>
                      <a:cubicBezTo>
                        <a:pt x="542" y="690"/>
                        <a:pt x="542" y="690"/>
                        <a:pt x="542" y="690"/>
                      </a:cubicBezTo>
                      <a:cubicBezTo>
                        <a:pt x="540" y="690"/>
                        <a:pt x="540" y="690"/>
                        <a:pt x="540" y="690"/>
                      </a:cubicBezTo>
                      <a:cubicBezTo>
                        <a:pt x="538" y="691"/>
                        <a:pt x="538" y="691"/>
                        <a:pt x="538" y="691"/>
                      </a:cubicBezTo>
                      <a:cubicBezTo>
                        <a:pt x="536" y="694"/>
                        <a:pt x="536" y="694"/>
                        <a:pt x="536" y="694"/>
                      </a:cubicBezTo>
                      <a:cubicBezTo>
                        <a:pt x="535" y="694"/>
                        <a:pt x="535" y="694"/>
                        <a:pt x="535" y="694"/>
                      </a:cubicBezTo>
                      <a:cubicBezTo>
                        <a:pt x="535" y="692"/>
                        <a:pt x="535" y="692"/>
                        <a:pt x="535" y="692"/>
                      </a:cubicBezTo>
                      <a:cubicBezTo>
                        <a:pt x="534" y="690"/>
                        <a:pt x="534" y="690"/>
                        <a:pt x="534" y="690"/>
                      </a:cubicBezTo>
                      <a:cubicBezTo>
                        <a:pt x="532" y="690"/>
                        <a:pt x="532" y="690"/>
                        <a:pt x="532" y="690"/>
                      </a:cubicBezTo>
                      <a:cubicBezTo>
                        <a:pt x="528" y="691"/>
                        <a:pt x="528" y="691"/>
                        <a:pt x="528" y="691"/>
                      </a:cubicBezTo>
                      <a:cubicBezTo>
                        <a:pt x="527" y="692"/>
                        <a:pt x="527" y="692"/>
                        <a:pt x="527" y="692"/>
                      </a:cubicBezTo>
                      <a:cubicBezTo>
                        <a:pt x="525" y="692"/>
                        <a:pt x="525" y="692"/>
                        <a:pt x="525" y="692"/>
                      </a:cubicBezTo>
                      <a:cubicBezTo>
                        <a:pt x="526" y="690"/>
                        <a:pt x="526" y="690"/>
                        <a:pt x="526" y="690"/>
                      </a:cubicBezTo>
                      <a:cubicBezTo>
                        <a:pt x="529" y="688"/>
                        <a:pt x="529" y="688"/>
                        <a:pt x="529" y="688"/>
                      </a:cubicBezTo>
                      <a:cubicBezTo>
                        <a:pt x="532" y="688"/>
                        <a:pt x="532" y="688"/>
                        <a:pt x="532" y="688"/>
                      </a:cubicBezTo>
                      <a:cubicBezTo>
                        <a:pt x="533" y="686"/>
                        <a:pt x="533" y="686"/>
                        <a:pt x="533" y="686"/>
                      </a:cubicBezTo>
                      <a:cubicBezTo>
                        <a:pt x="532" y="684"/>
                        <a:pt x="532" y="684"/>
                        <a:pt x="532" y="684"/>
                      </a:cubicBezTo>
                      <a:cubicBezTo>
                        <a:pt x="530" y="684"/>
                        <a:pt x="530" y="684"/>
                        <a:pt x="530" y="684"/>
                      </a:cubicBezTo>
                      <a:cubicBezTo>
                        <a:pt x="529" y="685"/>
                        <a:pt x="529" y="685"/>
                        <a:pt x="529" y="685"/>
                      </a:cubicBezTo>
                      <a:cubicBezTo>
                        <a:pt x="525" y="685"/>
                        <a:pt x="525" y="685"/>
                        <a:pt x="525" y="685"/>
                      </a:cubicBezTo>
                      <a:cubicBezTo>
                        <a:pt x="524" y="685"/>
                        <a:pt x="524" y="685"/>
                        <a:pt x="524" y="685"/>
                      </a:cubicBezTo>
                      <a:cubicBezTo>
                        <a:pt x="524" y="683"/>
                        <a:pt x="524" y="683"/>
                        <a:pt x="524" y="683"/>
                      </a:cubicBezTo>
                      <a:cubicBezTo>
                        <a:pt x="525" y="683"/>
                        <a:pt x="525" y="683"/>
                        <a:pt x="525" y="683"/>
                      </a:cubicBezTo>
                      <a:cubicBezTo>
                        <a:pt x="526" y="684"/>
                        <a:pt x="526" y="684"/>
                        <a:pt x="526" y="684"/>
                      </a:cubicBezTo>
                      <a:cubicBezTo>
                        <a:pt x="528" y="683"/>
                        <a:pt x="528" y="683"/>
                        <a:pt x="528" y="683"/>
                      </a:cubicBezTo>
                      <a:cubicBezTo>
                        <a:pt x="530" y="681"/>
                        <a:pt x="530" y="681"/>
                        <a:pt x="530" y="681"/>
                      </a:cubicBezTo>
                      <a:cubicBezTo>
                        <a:pt x="531" y="681"/>
                        <a:pt x="531" y="681"/>
                        <a:pt x="531" y="681"/>
                      </a:cubicBezTo>
                      <a:cubicBezTo>
                        <a:pt x="533" y="682"/>
                        <a:pt x="533" y="682"/>
                        <a:pt x="533" y="682"/>
                      </a:cubicBezTo>
                      <a:cubicBezTo>
                        <a:pt x="537" y="686"/>
                        <a:pt x="537" y="686"/>
                        <a:pt x="537" y="686"/>
                      </a:cubicBezTo>
                      <a:cubicBezTo>
                        <a:pt x="539" y="687"/>
                        <a:pt x="539" y="687"/>
                        <a:pt x="539" y="687"/>
                      </a:cubicBezTo>
                      <a:cubicBezTo>
                        <a:pt x="542" y="685"/>
                        <a:pt x="542" y="685"/>
                        <a:pt x="542" y="685"/>
                      </a:cubicBezTo>
                      <a:cubicBezTo>
                        <a:pt x="545" y="682"/>
                        <a:pt x="545" y="682"/>
                        <a:pt x="545" y="682"/>
                      </a:cubicBezTo>
                      <a:cubicBezTo>
                        <a:pt x="547" y="682"/>
                        <a:pt x="547" y="682"/>
                        <a:pt x="547" y="682"/>
                      </a:cubicBezTo>
                      <a:cubicBezTo>
                        <a:pt x="547" y="682"/>
                        <a:pt x="547" y="681"/>
                        <a:pt x="547" y="681"/>
                      </a:cubicBezTo>
                      <a:cubicBezTo>
                        <a:pt x="545" y="678"/>
                        <a:pt x="545" y="674"/>
                        <a:pt x="544" y="671"/>
                      </a:cubicBezTo>
                      <a:cubicBezTo>
                        <a:pt x="544" y="670"/>
                        <a:pt x="544" y="669"/>
                        <a:pt x="544" y="669"/>
                      </a:cubicBezTo>
                      <a:cubicBezTo>
                        <a:pt x="544" y="668"/>
                        <a:pt x="544" y="668"/>
                        <a:pt x="544" y="668"/>
                      </a:cubicBezTo>
                      <a:cubicBezTo>
                        <a:pt x="540" y="668"/>
                        <a:pt x="540" y="668"/>
                        <a:pt x="540" y="668"/>
                      </a:cubicBezTo>
                      <a:cubicBezTo>
                        <a:pt x="537" y="667"/>
                        <a:pt x="537" y="667"/>
                        <a:pt x="537" y="667"/>
                      </a:cubicBezTo>
                      <a:cubicBezTo>
                        <a:pt x="535" y="668"/>
                        <a:pt x="535" y="668"/>
                        <a:pt x="535" y="668"/>
                      </a:cubicBezTo>
                      <a:cubicBezTo>
                        <a:pt x="534" y="671"/>
                        <a:pt x="534" y="671"/>
                        <a:pt x="534" y="671"/>
                      </a:cubicBezTo>
                      <a:cubicBezTo>
                        <a:pt x="532" y="672"/>
                        <a:pt x="532" y="672"/>
                        <a:pt x="532" y="672"/>
                      </a:cubicBezTo>
                      <a:cubicBezTo>
                        <a:pt x="532" y="672"/>
                        <a:pt x="530" y="671"/>
                        <a:pt x="530" y="671"/>
                      </a:cubicBezTo>
                      <a:cubicBezTo>
                        <a:pt x="529" y="671"/>
                        <a:pt x="527" y="670"/>
                        <a:pt x="527" y="670"/>
                      </a:cubicBezTo>
                      <a:cubicBezTo>
                        <a:pt x="524" y="670"/>
                        <a:pt x="524" y="670"/>
                        <a:pt x="524" y="670"/>
                      </a:cubicBezTo>
                      <a:cubicBezTo>
                        <a:pt x="523" y="673"/>
                        <a:pt x="523" y="673"/>
                        <a:pt x="523" y="673"/>
                      </a:cubicBezTo>
                      <a:cubicBezTo>
                        <a:pt x="522" y="675"/>
                        <a:pt x="522" y="675"/>
                        <a:pt x="522" y="675"/>
                      </a:cubicBezTo>
                      <a:cubicBezTo>
                        <a:pt x="521" y="674"/>
                        <a:pt x="521" y="674"/>
                        <a:pt x="521" y="674"/>
                      </a:cubicBezTo>
                      <a:cubicBezTo>
                        <a:pt x="520" y="672"/>
                        <a:pt x="520" y="672"/>
                        <a:pt x="520" y="672"/>
                      </a:cubicBezTo>
                      <a:cubicBezTo>
                        <a:pt x="518" y="671"/>
                        <a:pt x="518" y="671"/>
                        <a:pt x="518" y="671"/>
                      </a:cubicBezTo>
                      <a:cubicBezTo>
                        <a:pt x="518" y="670"/>
                        <a:pt x="518" y="670"/>
                        <a:pt x="518" y="670"/>
                      </a:cubicBezTo>
                      <a:cubicBezTo>
                        <a:pt x="520" y="668"/>
                        <a:pt x="520" y="668"/>
                        <a:pt x="520" y="668"/>
                      </a:cubicBezTo>
                      <a:cubicBezTo>
                        <a:pt x="523" y="666"/>
                        <a:pt x="523" y="666"/>
                        <a:pt x="523" y="666"/>
                      </a:cubicBezTo>
                      <a:cubicBezTo>
                        <a:pt x="526" y="667"/>
                        <a:pt x="526" y="667"/>
                        <a:pt x="526" y="667"/>
                      </a:cubicBezTo>
                      <a:cubicBezTo>
                        <a:pt x="532" y="667"/>
                        <a:pt x="532" y="667"/>
                        <a:pt x="532" y="667"/>
                      </a:cubicBezTo>
                      <a:cubicBezTo>
                        <a:pt x="534" y="666"/>
                        <a:pt x="534" y="666"/>
                        <a:pt x="534" y="666"/>
                      </a:cubicBezTo>
                      <a:cubicBezTo>
                        <a:pt x="534" y="664"/>
                        <a:pt x="534" y="664"/>
                        <a:pt x="534" y="664"/>
                      </a:cubicBezTo>
                      <a:cubicBezTo>
                        <a:pt x="532" y="660"/>
                        <a:pt x="532" y="660"/>
                        <a:pt x="532" y="660"/>
                      </a:cubicBezTo>
                      <a:cubicBezTo>
                        <a:pt x="528" y="657"/>
                        <a:pt x="528" y="657"/>
                        <a:pt x="528" y="657"/>
                      </a:cubicBezTo>
                      <a:cubicBezTo>
                        <a:pt x="526" y="655"/>
                        <a:pt x="526" y="655"/>
                        <a:pt x="526" y="655"/>
                      </a:cubicBezTo>
                      <a:cubicBezTo>
                        <a:pt x="524" y="652"/>
                        <a:pt x="524" y="652"/>
                        <a:pt x="524" y="652"/>
                      </a:cubicBezTo>
                      <a:cubicBezTo>
                        <a:pt x="525" y="649"/>
                        <a:pt x="525" y="649"/>
                        <a:pt x="525" y="649"/>
                      </a:cubicBezTo>
                      <a:cubicBezTo>
                        <a:pt x="525" y="648"/>
                        <a:pt x="525" y="648"/>
                        <a:pt x="525" y="648"/>
                      </a:cubicBezTo>
                      <a:cubicBezTo>
                        <a:pt x="526" y="649"/>
                        <a:pt x="526" y="649"/>
                        <a:pt x="526" y="649"/>
                      </a:cubicBezTo>
                      <a:cubicBezTo>
                        <a:pt x="527" y="651"/>
                        <a:pt x="527" y="651"/>
                        <a:pt x="527" y="651"/>
                      </a:cubicBezTo>
                      <a:cubicBezTo>
                        <a:pt x="527" y="653"/>
                        <a:pt x="527" y="653"/>
                        <a:pt x="527" y="653"/>
                      </a:cubicBezTo>
                      <a:cubicBezTo>
                        <a:pt x="529" y="655"/>
                        <a:pt x="529" y="655"/>
                        <a:pt x="529" y="655"/>
                      </a:cubicBezTo>
                      <a:cubicBezTo>
                        <a:pt x="533" y="658"/>
                        <a:pt x="533" y="658"/>
                        <a:pt x="533" y="658"/>
                      </a:cubicBezTo>
                      <a:cubicBezTo>
                        <a:pt x="534" y="660"/>
                        <a:pt x="534" y="660"/>
                        <a:pt x="534" y="660"/>
                      </a:cubicBezTo>
                      <a:cubicBezTo>
                        <a:pt x="536" y="661"/>
                        <a:pt x="536" y="661"/>
                        <a:pt x="536" y="661"/>
                      </a:cubicBezTo>
                      <a:cubicBezTo>
                        <a:pt x="537" y="661"/>
                        <a:pt x="537" y="661"/>
                        <a:pt x="537" y="661"/>
                      </a:cubicBezTo>
                      <a:cubicBezTo>
                        <a:pt x="540" y="664"/>
                        <a:pt x="540" y="664"/>
                        <a:pt x="540" y="664"/>
                      </a:cubicBezTo>
                      <a:cubicBezTo>
                        <a:pt x="542" y="664"/>
                        <a:pt x="542" y="664"/>
                        <a:pt x="542" y="664"/>
                      </a:cubicBezTo>
                      <a:cubicBezTo>
                        <a:pt x="545" y="663"/>
                        <a:pt x="545" y="663"/>
                        <a:pt x="545" y="663"/>
                      </a:cubicBezTo>
                      <a:cubicBezTo>
                        <a:pt x="546" y="663"/>
                        <a:pt x="546" y="663"/>
                        <a:pt x="546" y="663"/>
                      </a:cubicBezTo>
                      <a:cubicBezTo>
                        <a:pt x="547" y="660"/>
                        <a:pt x="548" y="658"/>
                        <a:pt x="550" y="656"/>
                      </a:cubicBezTo>
                      <a:cubicBezTo>
                        <a:pt x="552" y="653"/>
                        <a:pt x="555" y="651"/>
                        <a:pt x="558" y="650"/>
                      </a:cubicBezTo>
                      <a:cubicBezTo>
                        <a:pt x="556" y="648"/>
                        <a:pt x="556" y="648"/>
                        <a:pt x="556" y="648"/>
                      </a:cubicBezTo>
                      <a:cubicBezTo>
                        <a:pt x="555" y="646"/>
                        <a:pt x="555" y="646"/>
                        <a:pt x="555" y="646"/>
                      </a:cubicBezTo>
                      <a:cubicBezTo>
                        <a:pt x="551" y="638"/>
                        <a:pt x="551" y="638"/>
                        <a:pt x="551" y="638"/>
                      </a:cubicBezTo>
                      <a:cubicBezTo>
                        <a:pt x="549" y="635"/>
                        <a:pt x="549" y="635"/>
                        <a:pt x="549" y="635"/>
                      </a:cubicBezTo>
                      <a:cubicBezTo>
                        <a:pt x="549" y="633"/>
                        <a:pt x="549" y="633"/>
                        <a:pt x="549" y="633"/>
                      </a:cubicBezTo>
                      <a:cubicBezTo>
                        <a:pt x="549" y="632"/>
                        <a:pt x="549" y="632"/>
                        <a:pt x="549" y="632"/>
                      </a:cubicBezTo>
                      <a:cubicBezTo>
                        <a:pt x="550" y="632"/>
                        <a:pt x="550" y="632"/>
                        <a:pt x="550" y="632"/>
                      </a:cubicBezTo>
                      <a:cubicBezTo>
                        <a:pt x="552" y="634"/>
                        <a:pt x="552" y="634"/>
                        <a:pt x="552" y="634"/>
                      </a:cubicBezTo>
                      <a:cubicBezTo>
                        <a:pt x="552" y="636"/>
                        <a:pt x="552" y="636"/>
                        <a:pt x="552" y="636"/>
                      </a:cubicBezTo>
                      <a:cubicBezTo>
                        <a:pt x="553" y="638"/>
                        <a:pt x="553" y="638"/>
                        <a:pt x="553" y="638"/>
                      </a:cubicBezTo>
                      <a:cubicBezTo>
                        <a:pt x="557" y="646"/>
                        <a:pt x="557" y="646"/>
                        <a:pt x="557" y="646"/>
                      </a:cubicBezTo>
                      <a:cubicBezTo>
                        <a:pt x="560" y="650"/>
                        <a:pt x="560" y="650"/>
                        <a:pt x="560" y="650"/>
                      </a:cubicBezTo>
                      <a:cubicBezTo>
                        <a:pt x="561" y="649"/>
                        <a:pt x="562" y="649"/>
                        <a:pt x="564" y="649"/>
                      </a:cubicBezTo>
                      <a:cubicBezTo>
                        <a:pt x="564" y="649"/>
                        <a:pt x="564" y="649"/>
                        <a:pt x="564" y="649"/>
                      </a:cubicBezTo>
                      <a:cubicBezTo>
                        <a:pt x="565" y="644"/>
                        <a:pt x="565" y="644"/>
                        <a:pt x="565" y="644"/>
                      </a:cubicBezTo>
                      <a:cubicBezTo>
                        <a:pt x="565" y="640"/>
                        <a:pt x="565" y="640"/>
                        <a:pt x="565" y="640"/>
                      </a:cubicBezTo>
                      <a:cubicBezTo>
                        <a:pt x="567" y="638"/>
                        <a:pt x="567" y="638"/>
                        <a:pt x="567" y="638"/>
                      </a:cubicBezTo>
                      <a:cubicBezTo>
                        <a:pt x="568" y="638"/>
                        <a:pt x="568" y="638"/>
                        <a:pt x="568" y="638"/>
                      </a:cubicBezTo>
                      <a:cubicBezTo>
                        <a:pt x="570" y="639"/>
                        <a:pt x="570" y="639"/>
                        <a:pt x="570" y="639"/>
                      </a:cubicBezTo>
                      <a:cubicBezTo>
                        <a:pt x="569" y="641"/>
                        <a:pt x="569" y="641"/>
                        <a:pt x="569" y="641"/>
                      </a:cubicBezTo>
                      <a:cubicBezTo>
                        <a:pt x="570" y="643"/>
                        <a:pt x="570" y="643"/>
                        <a:pt x="570" y="643"/>
                      </a:cubicBezTo>
                      <a:cubicBezTo>
                        <a:pt x="572" y="643"/>
                        <a:pt x="572" y="643"/>
                        <a:pt x="572" y="643"/>
                      </a:cubicBezTo>
                      <a:cubicBezTo>
                        <a:pt x="578" y="646"/>
                        <a:pt x="578" y="646"/>
                        <a:pt x="578" y="646"/>
                      </a:cubicBezTo>
                      <a:cubicBezTo>
                        <a:pt x="583" y="650"/>
                        <a:pt x="583" y="650"/>
                        <a:pt x="583" y="650"/>
                      </a:cubicBezTo>
                      <a:cubicBezTo>
                        <a:pt x="586" y="652"/>
                        <a:pt x="586" y="652"/>
                        <a:pt x="586" y="652"/>
                      </a:cubicBezTo>
                      <a:cubicBezTo>
                        <a:pt x="588" y="651"/>
                        <a:pt x="588" y="651"/>
                        <a:pt x="588" y="651"/>
                      </a:cubicBezTo>
                      <a:cubicBezTo>
                        <a:pt x="590" y="650"/>
                        <a:pt x="590" y="650"/>
                        <a:pt x="590" y="650"/>
                      </a:cubicBezTo>
                      <a:cubicBezTo>
                        <a:pt x="591" y="652"/>
                        <a:pt x="591" y="652"/>
                        <a:pt x="591" y="652"/>
                      </a:cubicBezTo>
                      <a:cubicBezTo>
                        <a:pt x="591" y="653"/>
                        <a:pt x="591" y="653"/>
                        <a:pt x="591" y="653"/>
                      </a:cubicBezTo>
                      <a:cubicBezTo>
                        <a:pt x="586" y="655"/>
                        <a:pt x="586" y="655"/>
                        <a:pt x="586" y="655"/>
                      </a:cubicBezTo>
                      <a:cubicBezTo>
                        <a:pt x="585" y="655"/>
                        <a:pt x="585" y="655"/>
                        <a:pt x="585" y="655"/>
                      </a:cubicBezTo>
                      <a:cubicBezTo>
                        <a:pt x="581" y="651"/>
                        <a:pt x="581" y="651"/>
                        <a:pt x="581" y="651"/>
                      </a:cubicBezTo>
                      <a:cubicBezTo>
                        <a:pt x="575" y="648"/>
                        <a:pt x="575" y="648"/>
                        <a:pt x="575" y="648"/>
                      </a:cubicBezTo>
                      <a:cubicBezTo>
                        <a:pt x="573" y="647"/>
                        <a:pt x="573" y="647"/>
                        <a:pt x="573" y="647"/>
                      </a:cubicBezTo>
                      <a:cubicBezTo>
                        <a:pt x="572" y="646"/>
                        <a:pt x="572" y="646"/>
                        <a:pt x="572" y="646"/>
                      </a:cubicBezTo>
                      <a:cubicBezTo>
                        <a:pt x="570" y="646"/>
                        <a:pt x="570" y="646"/>
                        <a:pt x="570" y="646"/>
                      </a:cubicBezTo>
                      <a:cubicBezTo>
                        <a:pt x="569" y="647"/>
                        <a:pt x="569" y="647"/>
                        <a:pt x="569" y="647"/>
                      </a:cubicBezTo>
                      <a:cubicBezTo>
                        <a:pt x="569" y="649"/>
                        <a:pt x="569" y="649"/>
                        <a:pt x="569" y="649"/>
                      </a:cubicBezTo>
                      <a:cubicBezTo>
                        <a:pt x="570" y="651"/>
                        <a:pt x="570" y="651"/>
                        <a:pt x="570" y="651"/>
                      </a:cubicBezTo>
                      <a:cubicBezTo>
                        <a:pt x="573" y="652"/>
                        <a:pt x="576" y="654"/>
                        <a:pt x="578" y="656"/>
                      </a:cubicBezTo>
                      <a:cubicBezTo>
                        <a:pt x="578" y="656"/>
                        <a:pt x="578" y="656"/>
                        <a:pt x="578" y="656"/>
                      </a:cubicBezTo>
                      <a:cubicBezTo>
                        <a:pt x="586" y="657"/>
                        <a:pt x="591" y="662"/>
                        <a:pt x="594" y="669"/>
                      </a:cubicBezTo>
                      <a:cubicBezTo>
                        <a:pt x="595" y="666"/>
                        <a:pt x="595" y="666"/>
                        <a:pt x="595" y="666"/>
                      </a:cubicBezTo>
                      <a:cubicBezTo>
                        <a:pt x="596" y="666"/>
                        <a:pt x="596" y="666"/>
                        <a:pt x="596" y="666"/>
                      </a:cubicBezTo>
                      <a:cubicBezTo>
                        <a:pt x="599" y="666"/>
                        <a:pt x="599" y="666"/>
                        <a:pt x="599" y="666"/>
                      </a:cubicBezTo>
                      <a:cubicBezTo>
                        <a:pt x="600" y="664"/>
                        <a:pt x="600" y="664"/>
                        <a:pt x="600" y="664"/>
                      </a:cubicBezTo>
                      <a:cubicBezTo>
                        <a:pt x="600" y="662"/>
                        <a:pt x="600" y="662"/>
                        <a:pt x="600" y="662"/>
                      </a:cubicBezTo>
                      <a:cubicBezTo>
                        <a:pt x="603" y="660"/>
                        <a:pt x="603" y="660"/>
                        <a:pt x="603" y="660"/>
                      </a:cubicBezTo>
                      <a:cubicBezTo>
                        <a:pt x="605" y="660"/>
                        <a:pt x="605" y="660"/>
                        <a:pt x="605" y="660"/>
                      </a:cubicBezTo>
                      <a:cubicBezTo>
                        <a:pt x="607" y="661"/>
                        <a:pt x="607" y="661"/>
                        <a:pt x="607" y="661"/>
                      </a:cubicBezTo>
                      <a:cubicBezTo>
                        <a:pt x="609" y="661"/>
                        <a:pt x="609" y="661"/>
                        <a:pt x="609" y="661"/>
                      </a:cubicBezTo>
                      <a:cubicBezTo>
                        <a:pt x="613" y="660"/>
                        <a:pt x="613" y="660"/>
                        <a:pt x="613" y="660"/>
                      </a:cubicBezTo>
                      <a:cubicBezTo>
                        <a:pt x="616" y="661"/>
                        <a:pt x="616" y="661"/>
                        <a:pt x="616" y="661"/>
                      </a:cubicBezTo>
                      <a:cubicBezTo>
                        <a:pt x="617" y="659"/>
                        <a:pt x="617" y="659"/>
                        <a:pt x="617" y="659"/>
                      </a:cubicBezTo>
                      <a:cubicBezTo>
                        <a:pt x="617" y="654"/>
                        <a:pt x="617" y="654"/>
                        <a:pt x="617" y="654"/>
                      </a:cubicBezTo>
                      <a:cubicBezTo>
                        <a:pt x="617" y="652"/>
                        <a:pt x="617" y="652"/>
                        <a:pt x="617" y="652"/>
                      </a:cubicBezTo>
                      <a:cubicBezTo>
                        <a:pt x="613" y="650"/>
                        <a:pt x="609" y="646"/>
                        <a:pt x="606" y="641"/>
                      </a:cubicBezTo>
                      <a:cubicBezTo>
                        <a:pt x="605" y="641"/>
                        <a:pt x="605" y="640"/>
                        <a:pt x="605" y="639"/>
                      </a:cubicBezTo>
                      <a:cubicBezTo>
                        <a:pt x="604" y="639"/>
                        <a:pt x="604" y="638"/>
                        <a:pt x="604" y="638"/>
                      </a:cubicBezTo>
                      <a:cubicBezTo>
                        <a:pt x="604" y="638"/>
                        <a:pt x="604" y="638"/>
                        <a:pt x="604" y="638"/>
                      </a:cubicBezTo>
                      <a:cubicBezTo>
                        <a:pt x="603" y="637"/>
                        <a:pt x="602" y="635"/>
                        <a:pt x="601" y="634"/>
                      </a:cubicBezTo>
                      <a:cubicBezTo>
                        <a:pt x="601" y="637"/>
                        <a:pt x="601" y="637"/>
                        <a:pt x="601" y="637"/>
                      </a:cubicBezTo>
                      <a:cubicBezTo>
                        <a:pt x="602" y="638"/>
                        <a:pt x="602" y="638"/>
                        <a:pt x="602" y="638"/>
                      </a:cubicBezTo>
                      <a:cubicBezTo>
                        <a:pt x="603" y="641"/>
                        <a:pt x="603" y="641"/>
                        <a:pt x="603" y="641"/>
                      </a:cubicBezTo>
                      <a:cubicBezTo>
                        <a:pt x="601" y="644"/>
                        <a:pt x="601" y="644"/>
                        <a:pt x="601" y="644"/>
                      </a:cubicBezTo>
                      <a:cubicBezTo>
                        <a:pt x="600" y="647"/>
                        <a:pt x="600" y="647"/>
                        <a:pt x="600" y="647"/>
                      </a:cubicBezTo>
                      <a:cubicBezTo>
                        <a:pt x="600" y="646"/>
                        <a:pt x="600" y="646"/>
                        <a:pt x="600" y="646"/>
                      </a:cubicBezTo>
                      <a:cubicBezTo>
                        <a:pt x="601" y="641"/>
                        <a:pt x="601" y="641"/>
                        <a:pt x="601" y="641"/>
                      </a:cubicBezTo>
                      <a:cubicBezTo>
                        <a:pt x="600" y="636"/>
                        <a:pt x="600" y="636"/>
                        <a:pt x="600" y="636"/>
                      </a:cubicBezTo>
                      <a:cubicBezTo>
                        <a:pt x="598" y="635"/>
                        <a:pt x="598" y="635"/>
                        <a:pt x="598" y="635"/>
                      </a:cubicBezTo>
                      <a:cubicBezTo>
                        <a:pt x="597" y="631"/>
                        <a:pt x="597" y="631"/>
                        <a:pt x="597" y="631"/>
                      </a:cubicBezTo>
                      <a:cubicBezTo>
                        <a:pt x="595" y="629"/>
                        <a:pt x="595" y="629"/>
                        <a:pt x="595" y="629"/>
                      </a:cubicBezTo>
                      <a:cubicBezTo>
                        <a:pt x="594" y="627"/>
                        <a:pt x="594" y="627"/>
                        <a:pt x="594" y="627"/>
                      </a:cubicBezTo>
                      <a:cubicBezTo>
                        <a:pt x="594" y="626"/>
                        <a:pt x="594" y="626"/>
                        <a:pt x="594" y="626"/>
                      </a:cubicBezTo>
                      <a:cubicBezTo>
                        <a:pt x="596" y="625"/>
                        <a:pt x="596" y="625"/>
                        <a:pt x="596" y="625"/>
                      </a:cubicBezTo>
                      <a:cubicBezTo>
                        <a:pt x="598" y="622"/>
                        <a:pt x="598" y="622"/>
                        <a:pt x="598" y="622"/>
                      </a:cubicBezTo>
                      <a:cubicBezTo>
                        <a:pt x="598" y="620"/>
                        <a:pt x="598" y="619"/>
                        <a:pt x="599" y="617"/>
                      </a:cubicBezTo>
                      <a:cubicBezTo>
                        <a:pt x="598" y="616"/>
                        <a:pt x="598" y="616"/>
                        <a:pt x="598" y="616"/>
                      </a:cubicBezTo>
                      <a:cubicBezTo>
                        <a:pt x="596" y="615"/>
                        <a:pt x="596" y="615"/>
                        <a:pt x="596" y="615"/>
                      </a:cubicBezTo>
                      <a:cubicBezTo>
                        <a:pt x="597" y="614"/>
                        <a:pt x="597" y="614"/>
                        <a:pt x="597" y="614"/>
                      </a:cubicBezTo>
                      <a:cubicBezTo>
                        <a:pt x="600" y="614"/>
                        <a:pt x="600" y="614"/>
                        <a:pt x="600" y="614"/>
                      </a:cubicBezTo>
                      <a:cubicBezTo>
                        <a:pt x="600" y="612"/>
                        <a:pt x="602" y="610"/>
                        <a:pt x="603" y="608"/>
                      </a:cubicBezTo>
                      <a:cubicBezTo>
                        <a:pt x="603" y="605"/>
                        <a:pt x="603" y="605"/>
                        <a:pt x="603" y="605"/>
                      </a:cubicBezTo>
                      <a:cubicBezTo>
                        <a:pt x="602" y="603"/>
                        <a:pt x="602" y="603"/>
                        <a:pt x="602" y="603"/>
                      </a:cubicBezTo>
                      <a:cubicBezTo>
                        <a:pt x="602" y="601"/>
                        <a:pt x="602" y="601"/>
                        <a:pt x="602" y="601"/>
                      </a:cubicBezTo>
                      <a:cubicBezTo>
                        <a:pt x="603" y="601"/>
                        <a:pt x="603" y="601"/>
                        <a:pt x="603" y="601"/>
                      </a:cubicBezTo>
                      <a:cubicBezTo>
                        <a:pt x="605" y="604"/>
                        <a:pt x="605" y="604"/>
                        <a:pt x="605" y="604"/>
                      </a:cubicBezTo>
                      <a:cubicBezTo>
                        <a:pt x="606" y="605"/>
                        <a:pt x="606" y="605"/>
                        <a:pt x="606" y="605"/>
                      </a:cubicBezTo>
                      <a:cubicBezTo>
                        <a:pt x="607" y="604"/>
                        <a:pt x="609" y="603"/>
                        <a:pt x="611" y="602"/>
                      </a:cubicBezTo>
                      <a:cubicBezTo>
                        <a:pt x="612" y="600"/>
                        <a:pt x="613" y="598"/>
                        <a:pt x="615" y="596"/>
                      </a:cubicBezTo>
                      <a:cubicBezTo>
                        <a:pt x="615" y="596"/>
                        <a:pt x="615" y="595"/>
                        <a:pt x="615" y="595"/>
                      </a:cubicBezTo>
                      <a:cubicBezTo>
                        <a:pt x="616" y="593"/>
                        <a:pt x="618" y="591"/>
                        <a:pt x="620" y="589"/>
                      </a:cubicBezTo>
                      <a:cubicBezTo>
                        <a:pt x="620" y="586"/>
                        <a:pt x="620" y="586"/>
                        <a:pt x="620" y="586"/>
                      </a:cubicBezTo>
                      <a:cubicBezTo>
                        <a:pt x="621" y="584"/>
                        <a:pt x="621" y="584"/>
                        <a:pt x="621" y="584"/>
                      </a:cubicBezTo>
                      <a:cubicBezTo>
                        <a:pt x="621" y="582"/>
                        <a:pt x="621" y="582"/>
                        <a:pt x="621" y="582"/>
                      </a:cubicBezTo>
                      <a:cubicBezTo>
                        <a:pt x="617" y="579"/>
                        <a:pt x="617" y="579"/>
                        <a:pt x="617" y="579"/>
                      </a:cubicBezTo>
                      <a:cubicBezTo>
                        <a:pt x="615" y="579"/>
                        <a:pt x="615" y="579"/>
                        <a:pt x="615" y="579"/>
                      </a:cubicBezTo>
                      <a:cubicBezTo>
                        <a:pt x="612" y="584"/>
                        <a:pt x="612" y="584"/>
                        <a:pt x="612" y="584"/>
                      </a:cubicBezTo>
                      <a:cubicBezTo>
                        <a:pt x="609" y="585"/>
                        <a:pt x="609" y="585"/>
                        <a:pt x="609" y="585"/>
                      </a:cubicBezTo>
                      <a:cubicBezTo>
                        <a:pt x="605" y="584"/>
                        <a:pt x="605" y="584"/>
                        <a:pt x="605" y="584"/>
                      </a:cubicBezTo>
                      <a:cubicBezTo>
                        <a:pt x="604" y="581"/>
                        <a:pt x="604" y="581"/>
                        <a:pt x="604" y="581"/>
                      </a:cubicBezTo>
                      <a:cubicBezTo>
                        <a:pt x="604" y="577"/>
                        <a:pt x="604" y="577"/>
                        <a:pt x="604" y="577"/>
                      </a:cubicBezTo>
                      <a:cubicBezTo>
                        <a:pt x="603" y="575"/>
                        <a:pt x="603" y="575"/>
                        <a:pt x="603" y="575"/>
                      </a:cubicBezTo>
                      <a:cubicBezTo>
                        <a:pt x="603" y="572"/>
                        <a:pt x="603" y="572"/>
                        <a:pt x="603" y="572"/>
                      </a:cubicBezTo>
                      <a:cubicBezTo>
                        <a:pt x="605" y="574"/>
                        <a:pt x="605" y="574"/>
                        <a:pt x="605" y="574"/>
                      </a:cubicBezTo>
                      <a:cubicBezTo>
                        <a:pt x="606" y="576"/>
                        <a:pt x="606" y="576"/>
                        <a:pt x="606" y="576"/>
                      </a:cubicBezTo>
                      <a:cubicBezTo>
                        <a:pt x="605" y="577"/>
                        <a:pt x="605" y="577"/>
                        <a:pt x="605" y="577"/>
                      </a:cubicBezTo>
                      <a:cubicBezTo>
                        <a:pt x="606" y="580"/>
                        <a:pt x="606" y="580"/>
                        <a:pt x="606" y="580"/>
                      </a:cubicBezTo>
                      <a:cubicBezTo>
                        <a:pt x="609" y="582"/>
                        <a:pt x="609" y="582"/>
                        <a:pt x="609" y="582"/>
                      </a:cubicBezTo>
                      <a:cubicBezTo>
                        <a:pt x="611" y="581"/>
                        <a:pt x="611" y="581"/>
                        <a:pt x="611" y="581"/>
                      </a:cubicBezTo>
                      <a:cubicBezTo>
                        <a:pt x="614" y="578"/>
                        <a:pt x="614" y="578"/>
                        <a:pt x="614" y="578"/>
                      </a:cubicBezTo>
                      <a:cubicBezTo>
                        <a:pt x="616" y="576"/>
                        <a:pt x="616" y="576"/>
                        <a:pt x="616" y="576"/>
                      </a:cubicBezTo>
                      <a:cubicBezTo>
                        <a:pt x="619" y="576"/>
                        <a:pt x="619" y="576"/>
                        <a:pt x="619" y="576"/>
                      </a:cubicBezTo>
                      <a:cubicBezTo>
                        <a:pt x="622" y="578"/>
                        <a:pt x="622" y="578"/>
                        <a:pt x="622" y="578"/>
                      </a:cubicBezTo>
                      <a:cubicBezTo>
                        <a:pt x="623" y="578"/>
                        <a:pt x="623" y="578"/>
                        <a:pt x="623" y="578"/>
                      </a:cubicBezTo>
                      <a:cubicBezTo>
                        <a:pt x="624" y="576"/>
                        <a:pt x="624" y="576"/>
                        <a:pt x="624" y="576"/>
                      </a:cubicBezTo>
                      <a:cubicBezTo>
                        <a:pt x="623" y="574"/>
                        <a:pt x="623" y="574"/>
                        <a:pt x="623" y="574"/>
                      </a:cubicBezTo>
                      <a:cubicBezTo>
                        <a:pt x="617" y="566"/>
                        <a:pt x="617" y="566"/>
                        <a:pt x="617" y="566"/>
                      </a:cubicBezTo>
                      <a:cubicBezTo>
                        <a:pt x="612" y="561"/>
                        <a:pt x="612" y="561"/>
                        <a:pt x="612" y="561"/>
                      </a:cubicBezTo>
                      <a:cubicBezTo>
                        <a:pt x="607" y="561"/>
                        <a:pt x="607" y="561"/>
                        <a:pt x="607" y="561"/>
                      </a:cubicBezTo>
                      <a:cubicBezTo>
                        <a:pt x="602" y="558"/>
                        <a:pt x="602" y="558"/>
                        <a:pt x="602" y="558"/>
                      </a:cubicBezTo>
                      <a:cubicBezTo>
                        <a:pt x="599" y="554"/>
                        <a:pt x="599" y="554"/>
                        <a:pt x="599" y="554"/>
                      </a:cubicBezTo>
                      <a:cubicBezTo>
                        <a:pt x="599" y="551"/>
                        <a:pt x="599" y="551"/>
                        <a:pt x="599" y="551"/>
                      </a:cubicBezTo>
                      <a:cubicBezTo>
                        <a:pt x="599" y="549"/>
                        <a:pt x="599" y="549"/>
                        <a:pt x="599" y="549"/>
                      </a:cubicBezTo>
                      <a:cubicBezTo>
                        <a:pt x="601" y="551"/>
                        <a:pt x="601" y="551"/>
                        <a:pt x="601" y="551"/>
                      </a:cubicBezTo>
                      <a:cubicBezTo>
                        <a:pt x="602" y="555"/>
                        <a:pt x="602" y="555"/>
                        <a:pt x="602" y="555"/>
                      </a:cubicBezTo>
                      <a:cubicBezTo>
                        <a:pt x="604" y="557"/>
                        <a:pt x="604" y="557"/>
                        <a:pt x="604" y="557"/>
                      </a:cubicBezTo>
                      <a:cubicBezTo>
                        <a:pt x="609" y="558"/>
                        <a:pt x="609" y="558"/>
                        <a:pt x="609" y="558"/>
                      </a:cubicBezTo>
                      <a:cubicBezTo>
                        <a:pt x="610" y="556"/>
                        <a:pt x="610" y="556"/>
                        <a:pt x="610" y="556"/>
                      </a:cubicBezTo>
                      <a:cubicBezTo>
                        <a:pt x="609" y="554"/>
                        <a:pt x="609" y="554"/>
                        <a:pt x="609" y="554"/>
                      </a:cubicBezTo>
                      <a:cubicBezTo>
                        <a:pt x="606" y="550"/>
                        <a:pt x="606" y="550"/>
                        <a:pt x="606" y="550"/>
                      </a:cubicBezTo>
                      <a:cubicBezTo>
                        <a:pt x="606" y="548"/>
                        <a:pt x="606" y="548"/>
                        <a:pt x="606" y="548"/>
                      </a:cubicBezTo>
                      <a:cubicBezTo>
                        <a:pt x="606" y="547"/>
                        <a:pt x="606" y="547"/>
                        <a:pt x="606" y="547"/>
                      </a:cubicBezTo>
                      <a:cubicBezTo>
                        <a:pt x="606" y="547"/>
                        <a:pt x="606" y="547"/>
                        <a:pt x="606" y="547"/>
                      </a:cubicBezTo>
                      <a:cubicBezTo>
                        <a:pt x="608" y="548"/>
                        <a:pt x="608" y="548"/>
                        <a:pt x="608" y="548"/>
                      </a:cubicBezTo>
                      <a:cubicBezTo>
                        <a:pt x="612" y="553"/>
                        <a:pt x="612" y="553"/>
                        <a:pt x="612" y="553"/>
                      </a:cubicBezTo>
                      <a:cubicBezTo>
                        <a:pt x="614" y="557"/>
                        <a:pt x="614" y="557"/>
                        <a:pt x="614" y="557"/>
                      </a:cubicBezTo>
                      <a:cubicBezTo>
                        <a:pt x="614" y="559"/>
                        <a:pt x="614" y="559"/>
                        <a:pt x="614" y="559"/>
                      </a:cubicBezTo>
                      <a:cubicBezTo>
                        <a:pt x="617" y="563"/>
                        <a:pt x="617" y="563"/>
                        <a:pt x="617" y="563"/>
                      </a:cubicBezTo>
                      <a:cubicBezTo>
                        <a:pt x="620" y="566"/>
                        <a:pt x="620" y="566"/>
                        <a:pt x="620" y="566"/>
                      </a:cubicBezTo>
                      <a:cubicBezTo>
                        <a:pt x="624" y="571"/>
                        <a:pt x="624" y="571"/>
                        <a:pt x="624" y="571"/>
                      </a:cubicBezTo>
                      <a:cubicBezTo>
                        <a:pt x="626" y="572"/>
                        <a:pt x="626" y="572"/>
                        <a:pt x="626" y="572"/>
                      </a:cubicBezTo>
                      <a:cubicBezTo>
                        <a:pt x="628" y="571"/>
                        <a:pt x="628" y="571"/>
                        <a:pt x="628" y="571"/>
                      </a:cubicBezTo>
                      <a:cubicBezTo>
                        <a:pt x="630" y="572"/>
                        <a:pt x="630" y="572"/>
                        <a:pt x="630" y="572"/>
                      </a:cubicBezTo>
                      <a:cubicBezTo>
                        <a:pt x="630" y="574"/>
                        <a:pt x="630" y="574"/>
                        <a:pt x="630" y="574"/>
                      </a:cubicBezTo>
                      <a:cubicBezTo>
                        <a:pt x="628" y="576"/>
                        <a:pt x="628" y="576"/>
                        <a:pt x="628" y="576"/>
                      </a:cubicBezTo>
                      <a:cubicBezTo>
                        <a:pt x="630" y="579"/>
                        <a:pt x="630" y="579"/>
                        <a:pt x="630" y="579"/>
                      </a:cubicBezTo>
                      <a:cubicBezTo>
                        <a:pt x="631" y="581"/>
                        <a:pt x="631" y="581"/>
                        <a:pt x="631" y="581"/>
                      </a:cubicBezTo>
                      <a:cubicBezTo>
                        <a:pt x="633" y="581"/>
                        <a:pt x="633" y="581"/>
                        <a:pt x="633" y="581"/>
                      </a:cubicBezTo>
                      <a:cubicBezTo>
                        <a:pt x="635" y="578"/>
                        <a:pt x="635" y="578"/>
                        <a:pt x="635" y="578"/>
                      </a:cubicBezTo>
                      <a:cubicBezTo>
                        <a:pt x="637" y="571"/>
                        <a:pt x="637" y="571"/>
                        <a:pt x="637" y="571"/>
                      </a:cubicBezTo>
                      <a:cubicBezTo>
                        <a:pt x="638" y="569"/>
                        <a:pt x="638" y="569"/>
                        <a:pt x="638" y="569"/>
                      </a:cubicBezTo>
                      <a:cubicBezTo>
                        <a:pt x="639" y="566"/>
                        <a:pt x="639" y="566"/>
                        <a:pt x="639" y="566"/>
                      </a:cubicBezTo>
                      <a:cubicBezTo>
                        <a:pt x="638" y="563"/>
                        <a:pt x="638" y="563"/>
                        <a:pt x="638" y="563"/>
                      </a:cubicBezTo>
                      <a:cubicBezTo>
                        <a:pt x="639" y="561"/>
                        <a:pt x="639" y="561"/>
                        <a:pt x="639" y="561"/>
                      </a:cubicBezTo>
                      <a:cubicBezTo>
                        <a:pt x="638" y="556"/>
                        <a:pt x="638" y="556"/>
                        <a:pt x="638" y="556"/>
                      </a:cubicBezTo>
                      <a:cubicBezTo>
                        <a:pt x="637" y="552"/>
                        <a:pt x="637" y="552"/>
                        <a:pt x="637" y="552"/>
                      </a:cubicBezTo>
                      <a:cubicBezTo>
                        <a:pt x="637" y="550"/>
                        <a:pt x="637" y="550"/>
                        <a:pt x="637" y="550"/>
                      </a:cubicBezTo>
                      <a:cubicBezTo>
                        <a:pt x="638" y="549"/>
                        <a:pt x="638" y="549"/>
                        <a:pt x="638" y="549"/>
                      </a:cubicBezTo>
                      <a:cubicBezTo>
                        <a:pt x="639" y="550"/>
                        <a:pt x="639" y="550"/>
                        <a:pt x="639" y="550"/>
                      </a:cubicBezTo>
                      <a:cubicBezTo>
                        <a:pt x="639" y="550"/>
                        <a:pt x="639" y="550"/>
                        <a:pt x="639" y="550"/>
                      </a:cubicBezTo>
                      <a:cubicBezTo>
                        <a:pt x="639" y="549"/>
                        <a:pt x="639" y="548"/>
                        <a:pt x="639" y="547"/>
                      </a:cubicBezTo>
                      <a:cubicBezTo>
                        <a:pt x="639" y="546"/>
                        <a:pt x="639" y="546"/>
                        <a:pt x="639" y="546"/>
                      </a:cubicBezTo>
                      <a:cubicBezTo>
                        <a:pt x="639" y="545"/>
                        <a:pt x="639" y="545"/>
                        <a:pt x="639" y="545"/>
                      </a:cubicBezTo>
                      <a:cubicBezTo>
                        <a:pt x="637" y="541"/>
                        <a:pt x="637" y="541"/>
                        <a:pt x="637" y="541"/>
                      </a:cubicBezTo>
                      <a:cubicBezTo>
                        <a:pt x="635" y="539"/>
                        <a:pt x="635" y="539"/>
                        <a:pt x="635" y="539"/>
                      </a:cubicBezTo>
                      <a:cubicBezTo>
                        <a:pt x="632" y="538"/>
                        <a:pt x="632" y="538"/>
                        <a:pt x="632" y="538"/>
                      </a:cubicBezTo>
                      <a:cubicBezTo>
                        <a:pt x="630" y="538"/>
                        <a:pt x="630" y="538"/>
                        <a:pt x="630" y="538"/>
                      </a:cubicBezTo>
                      <a:cubicBezTo>
                        <a:pt x="628" y="535"/>
                        <a:pt x="628" y="535"/>
                        <a:pt x="628" y="535"/>
                      </a:cubicBezTo>
                      <a:cubicBezTo>
                        <a:pt x="626" y="534"/>
                        <a:pt x="626" y="534"/>
                        <a:pt x="626" y="534"/>
                      </a:cubicBezTo>
                      <a:cubicBezTo>
                        <a:pt x="620" y="534"/>
                        <a:pt x="620" y="534"/>
                        <a:pt x="620" y="534"/>
                      </a:cubicBezTo>
                      <a:cubicBezTo>
                        <a:pt x="617" y="535"/>
                        <a:pt x="617" y="535"/>
                        <a:pt x="617" y="535"/>
                      </a:cubicBezTo>
                      <a:cubicBezTo>
                        <a:pt x="615" y="535"/>
                        <a:pt x="615" y="535"/>
                        <a:pt x="615" y="535"/>
                      </a:cubicBezTo>
                      <a:cubicBezTo>
                        <a:pt x="615" y="533"/>
                        <a:pt x="615" y="533"/>
                        <a:pt x="615" y="533"/>
                      </a:cubicBezTo>
                      <a:cubicBezTo>
                        <a:pt x="614" y="532"/>
                        <a:pt x="614" y="532"/>
                        <a:pt x="614" y="532"/>
                      </a:cubicBezTo>
                      <a:cubicBezTo>
                        <a:pt x="614" y="530"/>
                        <a:pt x="614" y="530"/>
                        <a:pt x="614" y="530"/>
                      </a:cubicBezTo>
                      <a:cubicBezTo>
                        <a:pt x="615" y="532"/>
                        <a:pt x="615" y="532"/>
                        <a:pt x="615" y="532"/>
                      </a:cubicBezTo>
                      <a:cubicBezTo>
                        <a:pt x="617" y="532"/>
                        <a:pt x="617" y="532"/>
                        <a:pt x="617" y="532"/>
                      </a:cubicBezTo>
                      <a:cubicBezTo>
                        <a:pt x="621" y="531"/>
                        <a:pt x="621" y="531"/>
                        <a:pt x="621" y="531"/>
                      </a:cubicBezTo>
                      <a:cubicBezTo>
                        <a:pt x="626" y="530"/>
                        <a:pt x="626" y="530"/>
                        <a:pt x="626" y="530"/>
                      </a:cubicBezTo>
                      <a:cubicBezTo>
                        <a:pt x="627" y="532"/>
                        <a:pt x="627" y="532"/>
                        <a:pt x="627" y="532"/>
                      </a:cubicBezTo>
                      <a:cubicBezTo>
                        <a:pt x="629" y="531"/>
                        <a:pt x="629" y="531"/>
                        <a:pt x="629" y="531"/>
                      </a:cubicBezTo>
                      <a:cubicBezTo>
                        <a:pt x="632" y="530"/>
                        <a:pt x="632" y="530"/>
                        <a:pt x="632" y="530"/>
                      </a:cubicBezTo>
                      <a:cubicBezTo>
                        <a:pt x="634" y="531"/>
                        <a:pt x="634" y="531"/>
                        <a:pt x="634" y="531"/>
                      </a:cubicBezTo>
                      <a:cubicBezTo>
                        <a:pt x="635" y="532"/>
                        <a:pt x="635" y="532"/>
                        <a:pt x="635" y="532"/>
                      </a:cubicBezTo>
                      <a:cubicBezTo>
                        <a:pt x="636" y="532"/>
                        <a:pt x="636" y="532"/>
                        <a:pt x="636" y="532"/>
                      </a:cubicBezTo>
                      <a:cubicBezTo>
                        <a:pt x="636" y="528"/>
                        <a:pt x="635" y="525"/>
                        <a:pt x="635" y="521"/>
                      </a:cubicBezTo>
                      <a:cubicBezTo>
                        <a:pt x="635" y="521"/>
                        <a:pt x="635" y="521"/>
                        <a:pt x="635" y="521"/>
                      </a:cubicBezTo>
                      <a:cubicBezTo>
                        <a:pt x="633" y="522"/>
                        <a:pt x="633" y="522"/>
                        <a:pt x="633" y="522"/>
                      </a:cubicBezTo>
                      <a:cubicBezTo>
                        <a:pt x="630" y="521"/>
                        <a:pt x="630" y="521"/>
                        <a:pt x="630" y="521"/>
                      </a:cubicBezTo>
                      <a:cubicBezTo>
                        <a:pt x="626" y="521"/>
                        <a:pt x="626" y="521"/>
                        <a:pt x="626" y="521"/>
                      </a:cubicBezTo>
                      <a:cubicBezTo>
                        <a:pt x="625" y="519"/>
                        <a:pt x="625" y="519"/>
                        <a:pt x="625" y="519"/>
                      </a:cubicBezTo>
                      <a:cubicBezTo>
                        <a:pt x="621" y="518"/>
                        <a:pt x="621" y="518"/>
                        <a:pt x="621" y="518"/>
                      </a:cubicBezTo>
                      <a:cubicBezTo>
                        <a:pt x="618" y="519"/>
                        <a:pt x="618" y="519"/>
                        <a:pt x="618" y="519"/>
                      </a:cubicBezTo>
                      <a:cubicBezTo>
                        <a:pt x="617" y="521"/>
                        <a:pt x="617" y="521"/>
                        <a:pt x="617" y="521"/>
                      </a:cubicBezTo>
                      <a:cubicBezTo>
                        <a:pt x="616" y="521"/>
                        <a:pt x="616" y="521"/>
                        <a:pt x="616" y="521"/>
                      </a:cubicBezTo>
                      <a:cubicBezTo>
                        <a:pt x="616" y="517"/>
                        <a:pt x="616" y="517"/>
                        <a:pt x="616" y="517"/>
                      </a:cubicBezTo>
                      <a:cubicBezTo>
                        <a:pt x="616" y="514"/>
                        <a:pt x="616" y="514"/>
                        <a:pt x="616" y="514"/>
                      </a:cubicBezTo>
                      <a:cubicBezTo>
                        <a:pt x="615" y="512"/>
                        <a:pt x="615" y="512"/>
                        <a:pt x="615" y="512"/>
                      </a:cubicBezTo>
                      <a:cubicBezTo>
                        <a:pt x="611" y="513"/>
                        <a:pt x="611" y="513"/>
                        <a:pt x="611" y="513"/>
                      </a:cubicBezTo>
                      <a:cubicBezTo>
                        <a:pt x="609" y="513"/>
                        <a:pt x="609" y="513"/>
                        <a:pt x="609" y="513"/>
                      </a:cubicBezTo>
                      <a:cubicBezTo>
                        <a:pt x="607" y="511"/>
                        <a:pt x="607" y="511"/>
                        <a:pt x="607" y="511"/>
                      </a:cubicBezTo>
                      <a:cubicBezTo>
                        <a:pt x="607" y="509"/>
                        <a:pt x="607" y="509"/>
                        <a:pt x="607" y="509"/>
                      </a:cubicBezTo>
                      <a:cubicBezTo>
                        <a:pt x="609" y="509"/>
                        <a:pt x="609" y="509"/>
                        <a:pt x="609" y="509"/>
                      </a:cubicBezTo>
                      <a:cubicBezTo>
                        <a:pt x="613" y="510"/>
                        <a:pt x="613" y="510"/>
                        <a:pt x="613" y="510"/>
                      </a:cubicBezTo>
                      <a:cubicBezTo>
                        <a:pt x="614" y="509"/>
                        <a:pt x="614" y="509"/>
                        <a:pt x="614" y="509"/>
                      </a:cubicBezTo>
                      <a:cubicBezTo>
                        <a:pt x="614" y="507"/>
                        <a:pt x="614" y="507"/>
                        <a:pt x="614" y="507"/>
                      </a:cubicBezTo>
                      <a:cubicBezTo>
                        <a:pt x="613" y="506"/>
                        <a:pt x="613" y="506"/>
                        <a:pt x="613" y="506"/>
                      </a:cubicBezTo>
                      <a:cubicBezTo>
                        <a:pt x="614" y="504"/>
                        <a:pt x="614" y="504"/>
                        <a:pt x="614" y="504"/>
                      </a:cubicBezTo>
                      <a:cubicBezTo>
                        <a:pt x="614" y="501"/>
                        <a:pt x="614" y="501"/>
                        <a:pt x="614" y="501"/>
                      </a:cubicBezTo>
                      <a:cubicBezTo>
                        <a:pt x="613" y="499"/>
                        <a:pt x="613" y="499"/>
                        <a:pt x="613" y="499"/>
                      </a:cubicBezTo>
                      <a:cubicBezTo>
                        <a:pt x="614" y="497"/>
                        <a:pt x="614" y="497"/>
                        <a:pt x="614" y="497"/>
                      </a:cubicBezTo>
                      <a:cubicBezTo>
                        <a:pt x="613" y="495"/>
                        <a:pt x="613" y="495"/>
                        <a:pt x="613" y="495"/>
                      </a:cubicBezTo>
                      <a:cubicBezTo>
                        <a:pt x="613" y="492"/>
                        <a:pt x="613" y="492"/>
                        <a:pt x="613" y="492"/>
                      </a:cubicBezTo>
                      <a:cubicBezTo>
                        <a:pt x="615" y="491"/>
                        <a:pt x="615" y="491"/>
                        <a:pt x="615" y="491"/>
                      </a:cubicBezTo>
                      <a:cubicBezTo>
                        <a:pt x="616" y="492"/>
                        <a:pt x="616" y="492"/>
                        <a:pt x="616" y="492"/>
                      </a:cubicBezTo>
                      <a:cubicBezTo>
                        <a:pt x="616" y="495"/>
                        <a:pt x="616" y="495"/>
                        <a:pt x="616" y="495"/>
                      </a:cubicBezTo>
                      <a:cubicBezTo>
                        <a:pt x="617" y="497"/>
                        <a:pt x="617" y="497"/>
                        <a:pt x="617" y="497"/>
                      </a:cubicBezTo>
                      <a:cubicBezTo>
                        <a:pt x="619" y="497"/>
                        <a:pt x="619" y="497"/>
                        <a:pt x="619" y="497"/>
                      </a:cubicBezTo>
                      <a:cubicBezTo>
                        <a:pt x="622" y="495"/>
                        <a:pt x="622" y="495"/>
                        <a:pt x="622" y="495"/>
                      </a:cubicBezTo>
                      <a:cubicBezTo>
                        <a:pt x="626" y="490"/>
                        <a:pt x="626" y="490"/>
                        <a:pt x="626" y="490"/>
                      </a:cubicBezTo>
                      <a:cubicBezTo>
                        <a:pt x="628" y="489"/>
                        <a:pt x="628" y="489"/>
                        <a:pt x="628" y="489"/>
                      </a:cubicBezTo>
                      <a:cubicBezTo>
                        <a:pt x="629" y="488"/>
                        <a:pt x="629" y="488"/>
                        <a:pt x="629" y="488"/>
                      </a:cubicBezTo>
                      <a:cubicBezTo>
                        <a:pt x="628" y="487"/>
                        <a:pt x="628" y="487"/>
                        <a:pt x="628" y="487"/>
                      </a:cubicBezTo>
                      <a:cubicBezTo>
                        <a:pt x="625" y="486"/>
                        <a:pt x="625" y="486"/>
                        <a:pt x="625" y="486"/>
                      </a:cubicBezTo>
                      <a:cubicBezTo>
                        <a:pt x="622" y="486"/>
                        <a:pt x="622" y="486"/>
                        <a:pt x="622" y="486"/>
                      </a:cubicBezTo>
                      <a:cubicBezTo>
                        <a:pt x="621" y="485"/>
                        <a:pt x="621" y="485"/>
                        <a:pt x="621" y="485"/>
                      </a:cubicBezTo>
                      <a:cubicBezTo>
                        <a:pt x="624" y="484"/>
                        <a:pt x="624" y="484"/>
                        <a:pt x="624" y="484"/>
                      </a:cubicBezTo>
                      <a:cubicBezTo>
                        <a:pt x="627" y="484"/>
                        <a:pt x="627" y="484"/>
                        <a:pt x="627" y="484"/>
                      </a:cubicBezTo>
                      <a:cubicBezTo>
                        <a:pt x="628" y="485"/>
                        <a:pt x="628" y="485"/>
                        <a:pt x="628" y="485"/>
                      </a:cubicBezTo>
                      <a:cubicBezTo>
                        <a:pt x="630" y="485"/>
                        <a:pt x="630" y="485"/>
                        <a:pt x="630" y="485"/>
                      </a:cubicBezTo>
                      <a:cubicBezTo>
                        <a:pt x="630" y="483"/>
                        <a:pt x="630" y="483"/>
                        <a:pt x="630" y="483"/>
                      </a:cubicBezTo>
                      <a:cubicBezTo>
                        <a:pt x="629" y="481"/>
                        <a:pt x="629" y="481"/>
                        <a:pt x="629" y="481"/>
                      </a:cubicBezTo>
                      <a:cubicBezTo>
                        <a:pt x="632" y="480"/>
                        <a:pt x="632" y="480"/>
                        <a:pt x="632" y="480"/>
                      </a:cubicBezTo>
                      <a:cubicBezTo>
                        <a:pt x="635" y="480"/>
                        <a:pt x="635" y="480"/>
                        <a:pt x="635" y="480"/>
                      </a:cubicBezTo>
                      <a:cubicBezTo>
                        <a:pt x="637" y="483"/>
                        <a:pt x="637" y="483"/>
                        <a:pt x="637" y="483"/>
                      </a:cubicBezTo>
                      <a:cubicBezTo>
                        <a:pt x="639" y="484"/>
                        <a:pt x="639" y="484"/>
                        <a:pt x="639" y="484"/>
                      </a:cubicBezTo>
                      <a:cubicBezTo>
                        <a:pt x="640" y="483"/>
                        <a:pt x="640" y="483"/>
                        <a:pt x="640" y="483"/>
                      </a:cubicBezTo>
                      <a:cubicBezTo>
                        <a:pt x="642" y="484"/>
                        <a:pt x="642" y="484"/>
                        <a:pt x="642" y="484"/>
                      </a:cubicBezTo>
                      <a:cubicBezTo>
                        <a:pt x="644" y="486"/>
                        <a:pt x="644" y="486"/>
                        <a:pt x="644" y="486"/>
                      </a:cubicBezTo>
                      <a:cubicBezTo>
                        <a:pt x="643" y="489"/>
                        <a:pt x="643" y="489"/>
                        <a:pt x="643" y="489"/>
                      </a:cubicBezTo>
                      <a:cubicBezTo>
                        <a:pt x="644" y="491"/>
                        <a:pt x="644" y="491"/>
                        <a:pt x="644" y="491"/>
                      </a:cubicBezTo>
                      <a:cubicBezTo>
                        <a:pt x="647" y="492"/>
                        <a:pt x="647" y="492"/>
                        <a:pt x="647" y="492"/>
                      </a:cubicBezTo>
                      <a:cubicBezTo>
                        <a:pt x="648" y="491"/>
                        <a:pt x="648" y="491"/>
                        <a:pt x="648" y="491"/>
                      </a:cubicBezTo>
                      <a:cubicBezTo>
                        <a:pt x="649" y="492"/>
                        <a:pt x="649" y="492"/>
                        <a:pt x="649" y="492"/>
                      </a:cubicBezTo>
                      <a:cubicBezTo>
                        <a:pt x="651" y="495"/>
                        <a:pt x="651" y="495"/>
                        <a:pt x="651" y="495"/>
                      </a:cubicBezTo>
                      <a:cubicBezTo>
                        <a:pt x="655" y="496"/>
                        <a:pt x="655" y="496"/>
                        <a:pt x="655" y="496"/>
                      </a:cubicBezTo>
                      <a:cubicBezTo>
                        <a:pt x="656" y="499"/>
                        <a:pt x="656" y="499"/>
                        <a:pt x="656" y="499"/>
                      </a:cubicBezTo>
                      <a:cubicBezTo>
                        <a:pt x="657" y="499"/>
                        <a:pt x="658" y="499"/>
                        <a:pt x="659" y="499"/>
                      </a:cubicBezTo>
                      <a:cubicBezTo>
                        <a:pt x="659" y="499"/>
                        <a:pt x="659" y="499"/>
                        <a:pt x="659" y="499"/>
                      </a:cubicBezTo>
                      <a:cubicBezTo>
                        <a:pt x="659" y="495"/>
                        <a:pt x="659" y="495"/>
                        <a:pt x="659" y="495"/>
                      </a:cubicBezTo>
                      <a:cubicBezTo>
                        <a:pt x="661" y="492"/>
                        <a:pt x="661" y="492"/>
                        <a:pt x="661" y="492"/>
                      </a:cubicBezTo>
                      <a:cubicBezTo>
                        <a:pt x="662" y="487"/>
                        <a:pt x="662" y="487"/>
                        <a:pt x="662" y="487"/>
                      </a:cubicBezTo>
                      <a:cubicBezTo>
                        <a:pt x="662" y="485"/>
                        <a:pt x="662" y="485"/>
                        <a:pt x="662" y="485"/>
                      </a:cubicBezTo>
                      <a:cubicBezTo>
                        <a:pt x="663" y="479"/>
                        <a:pt x="663" y="479"/>
                        <a:pt x="663" y="479"/>
                      </a:cubicBezTo>
                      <a:cubicBezTo>
                        <a:pt x="663" y="474"/>
                        <a:pt x="663" y="474"/>
                        <a:pt x="663" y="474"/>
                      </a:cubicBezTo>
                      <a:cubicBezTo>
                        <a:pt x="664" y="472"/>
                        <a:pt x="664" y="472"/>
                        <a:pt x="664" y="472"/>
                      </a:cubicBezTo>
                      <a:cubicBezTo>
                        <a:pt x="664" y="469"/>
                        <a:pt x="664" y="469"/>
                        <a:pt x="664" y="469"/>
                      </a:cubicBezTo>
                      <a:cubicBezTo>
                        <a:pt x="663" y="466"/>
                        <a:pt x="663" y="466"/>
                        <a:pt x="663" y="466"/>
                      </a:cubicBezTo>
                      <a:cubicBezTo>
                        <a:pt x="661" y="464"/>
                        <a:pt x="661" y="464"/>
                        <a:pt x="661" y="464"/>
                      </a:cubicBezTo>
                      <a:cubicBezTo>
                        <a:pt x="659" y="462"/>
                        <a:pt x="659" y="462"/>
                        <a:pt x="659" y="462"/>
                      </a:cubicBezTo>
                      <a:cubicBezTo>
                        <a:pt x="657" y="462"/>
                        <a:pt x="657" y="462"/>
                        <a:pt x="657" y="462"/>
                      </a:cubicBezTo>
                      <a:cubicBezTo>
                        <a:pt x="656" y="460"/>
                        <a:pt x="656" y="460"/>
                        <a:pt x="656" y="460"/>
                      </a:cubicBezTo>
                      <a:cubicBezTo>
                        <a:pt x="656" y="458"/>
                        <a:pt x="656" y="458"/>
                        <a:pt x="656" y="458"/>
                      </a:cubicBezTo>
                      <a:cubicBezTo>
                        <a:pt x="655" y="459"/>
                        <a:pt x="655" y="459"/>
                        <a:pt x="655" y="459"/>
                      </a:cubicBezTo>
                      <a:cubicBezTo>
                        <a:pt x="653" y="462"/>
                        <a:pt x="653" y="462"/>
                        <a:pt x="653" y="462"/>
                      </a:cubicBezTo>
                      <a:cubicBezTo>
                        <a:pt x="650" y="466"/>
                        <a:pt x="650" y="466"/>
                        <a:pt x="650" y="466"/>
                      </a:cubicBezTo>
                      <a:cubicBezTo>
                        <a:pt x="648" y="467"/>
                        <a:pt x="648" y="467"/>
                        <a:pt x="648" y="467"/>
                      </a:cubicBezTo>
                      <a:cubicBezTo>
                        <a:pt x="647" y="466"/>
                        <a:pt x="647" y="466"/>
                        <a:pt x="647" y="466"/>
                      </a:cubicBezTo>
                      <a:cubicBezTo>
                        <a:pt x="647" y="464"/>
                        <a:pt x="647" y="464"/>
                        <a:pt x="647" y="464"/>
                      </a:cubicBezTo>
                      <a:cubicBezTo>
                        <a:pt x="647" y="461"/>
                        <a:pt x="647" y="461"/>
                        <a:pt x="647" y="461"/>
                      </a:cubicBezTo>
                      <a:cubicBezTo>
                        <a:pt x="646" y="459"/>
                        <a:pt x="646" y="459"/>
                        <a:pt x="646" y="459"/>
                      </a:cubicBezTo>
                      <a:cubicBezTo>
                        <a:pt x="643" y="458"/>
                        <a:pt x="643" y="458"/>
                        <a:pt x="643" y="458"/>
                      </a:cubicBezTo>
                      <a:cubicBezTo>
                        <a:pt x="640" y="458"/>
                        <a:pt x="640" y="458"/>
                        <a:pt x="640" y="458"/>
                      </a:cubicBezTo>
                      <a:cubicBezTo>
                        <a:pt x="639" y="457"/>
                        <a:pt x="639" y="457"/>
                        <a:pt x="639" y="457"/>
                      </a:cubicBezTo>
                      <a:cubicBezTo>
                        <a:pt x="641" y="456"/>
                        <a:pt x="641" y="456"/>
                        <a:pt x="641" y="456"/>
                      </a:cubicBezTo>
                      <a:cubicBezTo>
                        <a:pt x="641" y="454"/>
                        <a:pt x="641" y="454"/>
                        <a:pt x="641" y="454"/>
                      </a:cubicBezTo>
                      <a:cubicBezTo>
                        <a:pt x="638" y="452"/>
                        <a:pt x="638" y="452"/>
                        <a:pt x="638" y="452"/>
                      </a:cubicBezTo>
                      <a:cubicBezTo>
                        <a:pt x="637" y="451"/>
                        <a:pt x="637" y="451"/>
                        <a:pt x="637" y="451"/>
                      </a:cubicBezTo>
                      <a:cubicBezTo>
                        <a:pt x="638" y="449"/>
                        <a:pt x="638" y="449"/>
                        <a:pt x="638" y="449"/>
                      </a:cubicBezTo>
                      <a:cubicBezTo>
                        <a:pt x="639" y="450"/>
                        <a:pt x="639" y="450"/>
                        <a:pt x="639" y="450"/>
                      </a:cubicBezTo>
                      <a:cubicBezTo>
                        <a:pt x="642" y="451"/>
                        <a:pt x="642" y="451"/>
                        <a:pt x="642" y="451"/>
                      </a:cubicBezTo>
                      <a:cubicBezTo>
                        <a:pt x="642" y="449"/>
                        <a:pt x="642" y="449"/>
                        <a:pt x="642" y="449"/>
                      </a:cubicBezTo>
                      <a:cubicBezTo>
                        <a:pt x="640" y="446"/>
                        <a:pt x="640" y="446"/>
                        <a:pt x="640" y="446"/>
                      </a:cubicBezTo>
                      <a:cubicBezTo>
                        <a:pt x="639" y="443"/>
                        <a:pt x="639" y="443"/>
                        <a:pt x="639" y="443"/>
                      </a:cubicBezTo>
                      <a:cubicBezTo>
                        <a:pt x="640" y="441"/>
                        <a:pt x="640" y="441"/>
                        <a:pt x="640" y="441"/>
                      </a:cubicBezTo>
                      <a:cubicBezTo>
                        <a:pt x="641" y="440"/>
                        <a:pt x="641" y="440"/>
                        <a:pt x="641" y="440"/>
                      </a:cubicBezTo>
                      <a:cubicBezTo>
                        <a:pt x="642" y="441"/>
                        <a:pt x="642" y="441"/>
                        <a:pt x="642" y="441"/>
                      </a:cubicBezTo>
                      <a:cubicBezTo>
                        <a:pt x="644" y="442"/>
                        <a:pt x="644" y="442"/>
                        <a:pt x="644" y="442"/>
                      </a:cubicBezTo>
                      <a:cubicBezTo>
                        <a:pt x="645" y="444"/>
                        <a:pt x="645" y="444"/>
                        <a:pt x="645" y="444"/>
                      </a:cubicBezTo>
                      <a:cubicBezTo>
                        <a:pt x="649" y="449"/>
                        <a:pt x="649" y="449"/>
                        <a:pt x="649" y="449"/>
                      </a:cubicBezTo>
                      <a:cubicBezTo>
                        <a:pt x="651" y="451"/>
                        <a:pt x="651" y="451"/>
                        <a:pt x="651" y="451"/>
                      </a:cubicBezTo>
                      <a:cubicBezTo>
                        <a:pt x="653" y="451"/>
                        <a:pt x="653" y="451"/>
                        <a:pt x="653" y="451"/>
                      </a:cubicBezTo>
                      <a:cubicBezTo>
                        <a:pt x="655" y="448"/>
                        <a:pt x="655" y="448"/>
                        <a:pt x="655" y="448"/>
                      </a:cubicBezTo>
                      <a:cubicBezTo>
                        <a:pt x="653" y="443"/>
                        <a:pt x="653" y="443"/>
                        <a:pt x="653" y="443"/>
                      </a:cubicBezTo>
                      <a:cubicBezTo>
                        <a:pt x="649" y="439"/>
                        <a:pt x="649" y="439"/>
                        <a:pt x="649" y="439"/>
                      </a:cubicBezTo>
                      <a:cubicBezTo>
                        <a:pt x="647" y="437"/>
                        <a:pt x="647" y="437"/>
                        <a:pt x="647" y="437"/>
                      </a:cubicBezTo>
                      <a:cubicBezTo>
                        <a:pt x="643" y="436"/>
                        <a:pt x="643" y="436"/>
                        <a:pt x="643" y="436"/>
                      </a:cubicBezTo>
                      <a:cubicBezTo>
                        <a:pt x="642" y="431"/>
                        <a:pt x="642" y="431"/>
                        <a:pt x="642" y="431"/>
                      </a:cubicBezTo>
                      <a:cubicBezTo>
                        <a:pt x="640" y="428"/>
                        <a:pt x="640" y="428"/>
                        <a:pt x="640" y="428"/>
                      </a:cubicBezTo>
                      <a:cubicBezTo>
                        <a:pt x="638" y="425"/>
                        <a:pt x="638" y="425"/>
                        <a:pt x="638" y="425"/>
                      </a:cubicBezTo>
                      <a:cubicBezTo>
                        <a:pt x="636" y="424"/>
                        <a:pt x="636" y="424"/>
                        <a:pt x="636" y="424"/>
                      </a:cubicBezTo>
                      <a:cubicBezTo>
                        <a:pt x="634" y="421"/>
                        <a:pt x="634" y="421"/>
                        <a:pt x="634" y="421"/>
                      </a:cubicBezTo>
                      <a:cubicBezTo>
                        <a:pt x="634" y="419"/>
                        <a:pt x="634" y="419"/>
                        <a:pt x="634" y="419"/>
                      </a:cubicBezTo>
                      <a:cubicBezTo>
                        <a:pt x="635" y="418"/>
                        <a:pt x="635" y="418"/>
                        <a:pt x="635" y="418"/>
                      </a:cubicBezTo>
                      <a:cubicBezTo>
                        <a:pt x="636" y="415"/>
                        <a:pt x="636" y="415"/>
                        <a:pt x="636" y="415"/>
                      </a:cubicBezTo>
                      <a:cubicBezTo>
                        <a:pt x="635" y="414"/>
                        <a:pt x="635" y="414"/>
                        <a:pt x="635" y="414"/>
                      </a:cubicBezTo>
                      <a:cubicBezTo>
                        <a:pt x="634" y="413"/>
                        <a:pt x="634" y="413"/>
                        <a:pt x="634" y="413"/>
                      </a:cubicBezTo>
                      <a:cubicBezTo>
                        <a:pt x="636" y="411"/>
                        <a:pt x="636" y="411"/>
                        <a:pt x="636" y="411"/>
                      </a:cubicBezTo>
                      <a:cubicBezTo>
                        <a:pt x="638" y="411"/>
                        <a:pt x="638" y="411"/>
                        <a:pt x="638" y="411"/>
                      </a:cubicBezTo>
                      <a:cubicBezTo>
                        <a:pt x="639" y="409"/>
                        <a:pt x="639" y="409"/>
                        <a:pt x="639" y="409"/>
                      </a:cubicBezTo>
                      <a:cubicBezTo>
                        <a:pt x="642" y="410"/>
                        <a:pt x="642" y="410"/>
                        <a:pt x="642" y="410"/>
                      </a:cubicBezTo>
                      <a:cubicBezTo>
                        <a:pt x="643" y="412"/>
                        <a:pt x="643" y="412"/>
                        <a:pt x="643" y="412"/>
                      </a:cubicBezTo>
                      <a:cubicBezTo>
                        <a:pt x="640" y="414"/>
                        <a:pt x="640" y="414"/>
                        <a:pt x="640" y="414"/>
                      </a:cubicBezTo>
                      <a:cubicBezTo>
                        <a:pt x="642" y="415"/>
                        <a:pt x="642" y="415"/>
                        <a:pt x="642" y="415"/>
                      </a:cubicBezTo>
                      <a:cubicBezTo>
                        <a:pt x="644" y="417"/>
                        <a:pt x="644" y="417"/>
                        <a:pt x="644" y="417"/>
                      </a:cubicBezTo>
                      <a:cubicBezTo>
                        <a:pt x="644" y="419"/>
                        <a:pt x="644" y="419"/>
                        <a:pt x="644" y="419"/>
                      </a:cubicBezTo>
                      <a:cubicBezTo>
                        <a:pt x="645" y="422"/>
                        <a:pt x="645" y="422"/>
                        <a:pt x="645" y="422"/>
                      </a:cubicBezTo>
                      <a:cubicBezTo>
                        <a:pt x="647" y="422"/>
                        <a:pt x="647" y="422"/>
                        <a:pt x="647" y="422"/>
                      </a:cubicBezTo>
                      <a:cubicBezTo>
                        <a:pt x="650" y="419"/>
                        <a:pt x="650" y="419"/>
                        <a:pt x="650" y="419"/>
                      </a:cubicBezTo>
                      <a:cubicBezTo>
                        <a:pt x="652" y="414"/>
                        <a:pt x="652" y="414"/>
                        <a:pt x="652" y="414"/>
                      </a:cubicBezTo>
                      <a:cubicBezTo>
                        <a:pt x="652" y="409"/>
                        <a:pt x="652" y="409"/>
                        <a:pt x="652" y="409"/>
                      </a:cubicBezTo>
                      <a:cubicBezTo>
                        <a:pt x="654" y="406"/>
                        <a:pt x="654" y="406"/>
                        <a:pt x="654" y="406"/>
                      </a:cubicBezTo>
                      <a:cubicBezTo>
                        <a:pt x="654" y="404"/>
                        <a:pt x="654" y="404"/>
                        <a:pt x="654" y="404"/>
                      </a:cubicBezTo>
                      <a:cubicBezTo>
                        <a:pt x="654" y="399"/>
                        <a:pt x="654" y="399"/>
                        <a:pt x="654" y="399"/>
                      </a:cubicBezTo>
                      <a:cubicBezTo>
                        <a:pt x="656" y="396"/>
                        <a:pt x="656" y="396"/>
                        <a:pt x="656" y="396"/>
                      </a:cubicBezTo>
                      <a:cubicBezTo>
                        <a:pt x="658" y="394"/>
                        <a:pt x="658" y="394"/>
                        <a:pt x="658" y="394"/>
                      </a:cubicBezTo>
                      <a:cubicBezTo>
                        <a:pt x="659" y="388"/>
                        <a:pt x="659" y="388"/>
                        <a:pt x="659" y="388"/>
                      </a:cubicBezTo>
                      <a:cubicBezTo>
                        <a:pt x="659" y="383"/>
                        <a:pt x="659" y="383"/>
                        <a:pt x="659" y="383"/>
                      </a:cubicBezTo>
                      <a:cubicBezTo>
                        <a:pt x="657" y="380"/>
                        <a:pt x="657" y="380"/>
                        <a:pt x="657" y="380"/>
                      </a:cubicBezTo>
                      <a:cubicBezTo>
                        <a:pt x="659" y="373"/>
                        <a:pt x="659" y="373"/>
                        <a:pt x="659" y="373"/>
                      </a:cubicBezTo>
                      <a:cubicBezTo>
                        <a:pt x="660" y="367"/>
                        <a:pt x="660" y="367"/>
                        <a:pt x="660" y="367"/>
                      </a:cubicBezTo>
                      <a:cubicBezTo>
                        <a:pt x="661" y="361"/>
                        <a:pt x="661" y="361"/>
                        <a:pt x="661" y="361"/>
                      </a:cubicBezTo>
                      <a:cubicBezTo>
                        <a:pt x="663" y="358"/>
                        <a:pt x="663" y="358"/>
                        <a:pt x="663" y="358"/>
                      </a:cubicBezTo>
                      <a:cubicBezTo>
                        <a:pt x="663" y="355"/>
                        <a:pt x="663" y="355"/>
                        <a:pt x="663" y="355"/>
                      </a:cubicBezTo>
                      <a:cubicBezTo>
                        <a:pt x="664" y="350"/>
                        <a:pt x="664" y="350"/>
                        <a:pt x="664" y="350"/>
                      </a:cubicBezTo>
                      <a:cubicBezTo>
                        <a:pt x="664" y="345"/>
                        <a:pt x="664" y="345"/>
                        <a:pt x="664" y="345"/>
                      </a:cubicBezTo>
                      <a:cubicBezTo>
                        <a:pt x="667" y="342"/>
                        <a:pt x="667" y="342"/>
                        <a:pt x="667" y="342"/>
                      </a:cubicBezTo>
                      <a:cubicBezTo>
                        <a:pt x="669" y="337"/>
                        <a:pt x="669" y="337"/>
                        <a:pt x="669" y="337"/>
                      </a:cubicBezTo>
                      <a:cubicBezTo>
                        <a:pt x="675" y="328"/>
                        <a:pt x="675" y="328"/>
                        <a:pt x="675" y="328"/>
                      </a:cubicBezTo>
                      <a:cubicBezTo>
                        <a:pt x="678" y="322"/>
                        <a:pt x="678" y="322"/>
                        <a:pt x="678" y="322"/>
                      </a:cubicBezTo>
                      <a:cubicBezTo>
                        <a:pt x="683" y="317"/>
                        <a:pt x="683" y="317"/>
                        <a:pt x="683" y="317"/>
                      </a:cubicBezTo>
                      <a:cubicBezTo>
                        <a:pt x="684" y="314"/>
                        <a:pt x="684" y="314"/>
                        <a:pt x="684" y="314"/>
                      </a:cubicBezTo>
                      <a:cubicBezTo>
                        <a:pt x="687" y="310"/>
                        <a:pt x="687" y="310"/>
                        <a:pt x="687" y="310"/>
                      </a:cubicBezTo>
                      <a:cubicBezTo>
                        <a:pt x="689" y="305"/>
                        <a:pt x="689" y="305"/>
                        <a:pt x="689" y="305"/>
                      </a:cubicBezTo>
                      <a:cubicBezTo>
                        <a:pt x="693" y="301"/>
                        <a:pt x="693" y="301"/>
                        <a:pt x="693" y="301"/>
                      </a:cubicBezTo>
                      <a:cubicBezTo>
                        <a:pt x="694" y="299"/>
                        <a:pt x="694" y="299"/>
                        <a:pt x="694" y="299"/>
                      </a:cubicBezTo>
                      <a:cubicBezTo>
                        <a:pt x="693" y="298"/>
                        <a:pt x="693" y="298"/>
                        <a:pt x="693" y="298"/>
                      </a:cubicBezTo>
                      <a:cubicBezTo>
                        <a:pt x="691" y="296"/>
                        <a:pt x="691" y="296"/>
                        <a:pt x="691" y="296"/>
                      </a:cubicBezTo>
                      <a:cubicBezTo>
                        <a:pt x="688" y="294"/>
                        <a:pt x="688" y="294"/>
                        <a:pt x="688" y="294"/>
                      </a:cubicBezTo>
                      <a:cubicBezTo>
                        <a:pt x="686" y="293"/>
                        <a:pt x="686" y="293"/>
                        <a:pt x="686" y="293"/>
                      </a:cubicBezTo>
                      <a:cubicBezTo>
                        <a:pt x="685" y="291"/>
                        <a:pt x="685" y="291"/>
                        <a:pt x="685" y="291"/>
                      </a:cubicBezTo>
                      <a:cubicBezTo>
                        <a:pt x="682" y="292"/>
                        <a:pt x="682" y="292"/>
                        <a:pt x="682" y="292"/>
                      </a:cubicBezTo>
                      <a:cubicBezTo>
                        <a:pt x="677" y="294"/>
                        <a:pt x="677" y="294"/>
                        <a:pt x="677" y="294"/>
                      </a:cubicBezTo>
                      <a:cubicBezTo>
                        <a:pt x="672" y="295"/>
                        <a:pt x="672" y="295"/>
                        <a:pt x="672" y="295"/>
                      </a:cubicBezTo>
                      <a:cubicBezTo>
                        <a:pt x="668" y="298"/>
                        <a:pt x="668" y="298"/>
                        <a:pt x="668" y="298"/>
                      </a:cubicBezTo>
                      <a:cubicBezTo>
                        <a:pt x="665" y="301"/>
                        <a:pt x="665" y="301"/>
                        <a:pt x="665" y="301"/>
                      </a:cubicBezTo>
                      <a:cubicBezTo>
                        <a:pt x="662" y="304"/>
                        <a:pt x="662" y="304"/>
                        <a:pt x="662" y="304"/>
                      </a:cubicBezTo>
                      <a:cubicBezTo>
                        <a:pt x="661" y="306"/>
                        <a:pt x="661" y="306"/>
                        <a:pt x="661" y="306"/>
                      </a:cubicBezTo>
                      <a:cubicBezTo>
                        <a:pt x="659" y="306"/>
                        <a:pt x="659" y="306"/>
                        <a:pt x="659" y="306"/>
                      </a:cubicBezTo>
                      <a:cubicBezTo>
                        <a:pt x="656" y="305"/>
                        <a:pt x="656" y="305"/>
                        <a:pt x="656" y="305"/>
                      </a:cubicBezTo>
                      <a:cubicBezTo>
                        <a:pt x="654" y="303"/>
                        <a:pt x="654" y="303"/>
                        <a:pt x="654" y="303"/>
                      </a:cubicBezTo>
                      <a:cubicBezTo>
                        <a:pt x="654" y="300"/>
                        <a:pt x="654" y="300"/>
                        <a:pt x="654" y="300"/>
                      </a:cubicBezTo>
                      <a:cubicBezTo>
                        <a:pt x="657" y="301"/>
                        <a:pt x="657" y="301"/>
                        <a:pt x="657" y="301"/>
                      </a:cubicBezTo>
                      <a:cubicBezTo>
                        <a:pt x="658" y="299"/>
                        <a:pt x="658" y="299"/>
                        <a:pt x="658" y="299"/>
                      </a:cubicBezTo>
                      <a:cubicBezTo>
                        <a:pt x="658" y="296"/>
                        <a:pt x="658" y="296"/>
                        <a:pt x="658" y="296"/>
                      </a:cubicBezTo>
                      <a:cubicBezTo>
                        <a:pt x="657" y="293"/>
                        <a:pt x="657" y="293"/>
                        <a:pt x="657" y="293"/>
                      </a:cubicBezTo>
                      <a:cubicBezTo>
                        <a:pt x="655" y="293"/>
                        <a:pt x="655" y="293"/>
                        <a:pt x="655" y="293"/>
                      </a:cubicBezTo>
                      <a:cubicBezTo>
                        <a:pt x="653" y="292"/>
                        <a:pt x="653" y="292"/>
                        <a:pt x="653" y="292"/>
                      </a:cubicBezTo>
                      <a:cubicBezTo>
                        <a:pt x="655" y="291"/>
                        <a:pt x="655" y="291"/>
                        <a:pt x="655" y="291"/>
                      </a:cubicBezTo>
                      <a:cubicBezTo>
                        <a:pt x="657" y="289"/>
                        <a:pt x="657" y="289"/>
                        <a:pt x="657" y="289"/>
                      </a:cubicBezTo>
                      <a:cubicBezTo>
                        <a:pt x="660" y="287"/>
                        <a:pt x="660" y="287"/>
                        <a:pt x="660" y="287"/>
                      </a:cubicBezTo>
                      <a:cubicBezTo>
                        <a:pt x="663" y="281"/>
                        <a:pt x="663" y="281"/>
                        <a:pt x="663" y="281"/>
                      </a:cubicBezTo>
                      <a:cubicBezTo>
                        <a:pt x="666" y="278"/>
                        <a:pt x="666" y="278"/>
                        <a:pt x="666" y="278"/>
                      </a:cubicBezTo>
                      <a:cubicBezTo>
                        <a:pt x="668" y="278"/>
                        <a:pt x="668" y="278"/>
                        <a:pt x="668" y="278"/>
                      </a:cubicBezTo>
                      <a:cubicBezTo>
                        <a:pt x="673" y="279"/>
                        <a:pt x="673" y="279"/>
                        <a:pt x="673" y="279"/>
                      </a:cubicBezTo>
                      <a:cubicBezTo>
                        <a:pt x="680" y="285"/>
                        <a:pt x="680" y="285"/>
                        <a:pt x="680" y="285"/>
                      </a:cubicBezTo>
                      <a:cubicBezTo>
                        <a:pt x="682" y="288"/>
                        <a:pt x="682" y="288"/>
                        <a:pt x="682" y="288"/>
                      </a:cubicBezTo>
                      <a:cubicBezTo>
                        <a:pt x="689" y="288"/>
                        <a:pt x="689" y="288"/>
                        <a:pt x="689" y="288"/>
                      </a:cubicBezTo>
                      <a:cubicBezTo>
                        <a:pt x="692" y="287"/>
                        <a:pt x="692" y="287"/>
                        <a:pt x="692" y="287"/>
                      </a:cubicBezTo>
                      <a:cubicBezTo>
                        <a:pt x="695" y="288"/>
                        <a:pt x="695" y="288"/>
                        <a:pt x="695" y="288"/>
                      </a:cubicBezTo>
                      <a:cubicBezTo>
                        <a:pt x="702" y="286"/>
                        <a:pt x="702" y="286"/>
                        <a:pt x="702" y="286"/>
                      </a:cubicBezTo>
                      <a:cubicBezTo>
                        <a:pt x="705" y="284"/>
                        <a:pt x="705" y="284"/>
                        <a:pt x="705" y="284"/>
                      </a:cubicBezTo>
                      <a:cubicBezTo>
                        <a:pt x="705" y="280"/>
                        <a:pt x="705" y="280"/>
                        <a:pt x="705" y="280"/>
                      </a:cubicBezTo>
                      <a:cubicBezTo>
                        <a:pt x="704" y="278"/>
                        <a:pt x="704" y="278"/>
                        <a:pt x="704" y="278"/>
                      </a:cubicBezTo>
                      <a:cubicBezTo>
                        <a:pt x="705" y="278"/>
                        <a:pt x="705" y="278"/>
                        <a:pt x="705" y="278"/>
                      </a:cubicBezTo>
                      <a:cubicBezTo>
                        <a:pt x="708" y="278"/>
                        <a:pt x="708" y="278"/>
                        <a:pt x="708" y="278"/>
                      </a:cubicBezTo>
                      <a:cubicBezTo>
                        <a:pt x="711" y="275"/>
                        <a:pt x="711" y="275"/>
                        <a:pt x="711" y="275"/>
                      </a:cubicBezTo>
                      <a:cubicBezTo>
                        <a:pt x="711" y="272"/>
                        <a:pt x="711" y="272"/>
                        <a:pt x="711" y="272"/>
                      </a:cubicBezTo>
                      <a:cubicBezTo>
                        <a:pt x="709" y="269"/>
                        <a:pt x="709" y="269"/>
                        <a:pt x="709" y="269"/>
                      </a:cubicBezTo>
                      <a:cubicBezTo>
                        <a:pt x="706" y="268"/>
                        <a:pt x="706" y="268"/>
                        <a:pt x="706" y="268"/>
                      </a:cubicBezTo>
                      <a:cubicBezTo>
                        <a:pt x="705" y="265"/>
                        <a:pt x="705" y="265"/>
                        <a:pt x="705" y="265"/>
                      </a:cubicBezTo>
                      <a:cubicBezTo>
                        <a:pt x="703" y="264"/>
                        <a:pt x="703" y="264"/>
                        <a:pt x="703" y="264"/>
                      </a:cubicBezTo>
                      <a:cubicBezTo>
                        <a:pt x="700" y="265"/>
                        <a:pt x="700" y="265"/>
                        <a:pt x="700" y="265"/>
                      </a:cubicBezTo>
                      <a:cubicBezTo>
                        <a:pt x="698" y="267"/>
                        <a:pt x="698" y="267"/>
                        <a:pt x="698" y="267"/>
                      </a:cubicBezTo>
                      <a:cubicBezTo>
                        <a:pt x="696" y="267"/>
                        <a:pt x="696" y="267"/>
                        <a:pt x="696" y="267"/>
                      </a:cubicBezTo>
                      <a:cubicBezTo>
                        <a:pt x="694" y="265"/>
                        <a:pt x="694" y="265"/>
                        <a:pt x="694" y="265"/>
                      </a:cubicBezTo>
                      <a:cubicBezTo>
                        <a:pt x="686" y="265"/>
                        <a:pt x="686" y="265"/>
                        <a:pt x="686" y="265"/>
                      </a:cubicBezTo>
                      <a:cubicBezTo>
                        <a:pt x="682" y="264"/>
                        <a:pt x="682" y="264"/>
                        <a:pt x="682" y="264"/>
                      </a:cubicBezTo>
                      <a:cubicBezTo>
                        <a:pt x="680" y="262"/>
                        <a:pt x="680" y="262"/>
                        <a:pt x="680" y="262"/>
                      </a:cubicBezTo>
                      <a:cubicBezTo>
                        <a:pt x="677" y="262"/>
                        <a:pt x="677" y="262"/>
                        <a:pt x="677" y="262"/>
                      </a:cubicBezTo>
                      <a:cubicBezTo>
                        <a:pt x="675" y="263"/>
                        <a:pt x="675" y="263"/>
                        <a:pt x="675" y="263"/>
                      </a:cubicBezTo>
                      <a:cubicBezTo>
                        <a:pt x="667" y="264"/>
                        <a:pt x="667" y="264"/>
                        <a:pt x="667" y="264"/>
                      </a:cubicBezTo>
                      <a:cubicBezTo>
                        <a:pt x="665" y="263"/>
                        <a:pt x="665" y="263"/>
                        <a:pt x="665" y="263"/>
                      </a:cubicBezTo>
                      <a:cubicBezTo>
                        <a:pt x="662" y="262"/>
                        <a:pt x="662" y="262"/>
                        <a:pt x="662" y="262"/>
                      </a:cubicBezTo>
                      <a:cubicBezTo>
                        <a:pt x="665" y="261"/>
                        <a:pt x="665" y="261"/>
                        <a:pt x="665" y="261"/>
                      </a:cubicBezTo>
                      <a:cubicBezTo>
                        <a:pt x="668" y="262"/>
                        <a:pt x="668" y="262"/>
                        <a:pt x="668" y="262"/>
                      </a:cubicBezTo>
                      <a:cubicBezTo>
                        <a:pt x="671" y="260"/>
                        <a:pt x="671" y="260"/>
                        <a:pt x="671" y="260"/>
                      </a:cubicBezTo>
                      <a:cubicBezTo>
                        <a:pt x="675" y="259"/>
                        <a:pt x="675" y="259"/>
                        <a:pt x="675" y="259"/>
                      </a:cubicBezTo>
                      <a:cubicBezTo>
                        <a:pt x="677" y="260"/>
                        <a:pt x="677" y="260"/>
                        <a:pt x="677" y="260"/>
                      </a:cubicBezTo>
                      <a:cubicBezTo>
                        <a:pt x="681" y="261"/>
                        <a:pt x="681" y="261"/>
                        <a:pt x="681" y="261"/>
                      </a:cubicBezTo>
                      <a:cubicBezTo>
                        <a:pt x="682" y="260"/>
                        <a:pt x="682" y="260"/>
                        <a:pt x="682" y="260"/>
                      </a:cubicBezTo>
                      <a:cubicBezTo>
                        <a:pt x="684" y="259"/>
                        <a:pt x="684" y="259"/>
                        <a:pt x="684" y="259"/>
                      </a:cubicBezTo>
                      <a:cubicBezTo>
                        <a:pt x="686" y="259"/>
                        <a:pt x="686" y="259"/>
                        <a:pt x="686" y="259"/>
                      </a:cubicBezTo>
                      <a:cubicBezTo>
                        <a:pt x="688" y="259"/>
                        <a:pt x="688" y="259"/>
                        <a:pt x="688" y="259"/>
                      </a:cubicBezTo>
                      <a:cubicBezTo>
                        <a:pt x="690" y="257"/>
                        <a:pt x="690" y="257"/>
                        <a:pt x="690" y="257"/>
                      </a:cubicBezTo>
                      <a:cubicBezTo>
                        <a:pt x="691" y="256"/>
                        <a:pt x="691" y="256"/>
                        <a:pt x="691" y="256"/>
                      </a:cubicBezTo>
                      <a:cubicBezTo>
                        <a:pt x="693" y="256"/>
                        <a:pt x="693" y="256"/>
                        <a:pt x="693" y="256"/>
                      </a:cubicBezTo>
                      <a:cubicBezTo>
                        <a:pt x="694" y="256"/>
                        <a:pt x="694" y="256"/>
                        <a:pt x="694" y="256"/>
                      </a:cubicBezTo>
                      <a:cubicBezTo>
                        <a:pt x="695" y="255"/>
                        <a:pt x="695" y="255"/>
                        <a:pt x="695" y="255"/>
                      </a:cubicBezTo>
                      <a:cubicBezTo>
                        <a:pt x="696" y="254"/>
                        <a:pt x="696" y="254"/>
                        <a:pt x="696" y="254"/>
                      </a:cubicBezTo>
                      <a:cubicBezTo>
                        <a:pt x="698" y="254"/>
                        <a:pt x="698" y="254"/>
                        <a:pt x="698" y="254"/>
                      </a:cubicBezTo>
                      <a:cubicBezTo>
                        <a:pt x="698" y="255"/>
                        <a:pt x="698" y="255"/>
                        <a:pt x="698" y="255"/>
                      </a:cubicBezTo>
                      <a:cubicBezTo>
                        <a:pt x="700" y="256"/>
                        <a:pt x="700" y="256"/>
                        <a:pt x="700" y="256"/>
                      </a:cubicBezTo>
                      <a:cubicBezTo>
                        <a:pt x="702" y="257"/>
                        <a:pt x="702" y="257"/>
                        <a:pt x="702" y="257"/>
                      </a:cubicBezTo>
                      <a:cubicBezTo>
                        <a:pt x="705" y="257"/>
                        <a:pt x="705" y="257"/>
                        <a:pt x="705" y="257"/>
                      </a:cubicBezTo>
                      <a:cubicBezTo>
                        <a:pt x="708" y="258"/>
                        <a:pt x="708" y="258"/>
                        <a:pt x="708" y="258"/>
                      </a:cubicBezTo>
                      <a:cubicBezTo>
                        <a:pt x="710" y="260"/>
                        <a:pt x="710" y="260"/>
                        <a:pt x="710" y="260"/>
                      </a:cubicBezTo>
                      <a:cubicBezTo>
                        <a:pt x="712" y="260"/>
                        <a:pt x="712" y="260"/>
                        <a:pt x="712" y="260"/>
                      </a:cubicBezTo>
                      <a:cubicBezTo>
                        <a:pt x="715" y="260"/>
                        <a:pt x="715" y="260"/>
                        <a:pt x="715" y="260"/>
                      </a:cubicBezTo>
                      <a:cubicBezTo>
                        <a:pt x="719" y="257"/>
                        <a:pt x="719" y="257"/>
                        <a:pt x="719" y="257"/>
                      </a:cubicBezTo>
                      <a:cubicBezTo>
                        <a:pt x="724" y="253"/>
                        <a:pt x="724" y="253"/>
                        <a:pt x="724" y="253"/>
                      </a:cubicBezTo>
                      <a:cubicBezTo>
                        <a:pt x="726" y="253"/>
                        <a:pt x="726" y="253"/>
                        <a:pt x="726" y="253"/>
                      </a:cubicBezTo>
                      <a:cubicBezTo>
                        <a:pt x="729" y="253"/>
                        <a:pt x="729" y="253"/>
                        <a:pt x="729" y="253"/>
                      </a:cubicBezTo>
                      <a:cubicBezTo>
                        <a:pt x="730" y="251"/>
                        <a:pt x="730" y="251"/>
                        <a:pt x="730" y="251"/>
                      </a:cubicBezTo>
                      <a:cubicBezTo>
                        <a:pt x="730" y="248"/>
                        <a:pt x="730" y="248"/>
                        <a:pt x="730" y="248"/>
                      </a:cubicBezTo>
                      <a:cubicBezTo>
                        <a:pt x="729" y="247"/>
                        <a:pt x="729" y="247"/>
                        <a:pt x="729" y="247"/>
                      </a:cubicBezTo>
                      <a:cubicBezTo>
                        <a:pt x="727" y="244"/>
                        <a:pt x="727" y="244"/>
                        <a:pt x="727" y="244"/>
                      </a:cubicBezTo>
                      <a:cubicBezTo>
                        <a:pt x="727" y="241"/>
                        <a:pt x="727" y="241"/>
                        <a:pt x="727" y="241"/>
                      </a:cubicBezTo>
                      <a:cubicBezTo>
                        <a:pt x="726" y="240"/>
                        <a:pt x="726" y="240"/>
                        <a:pt x="726" y="240"/>
                      </a:cubicBezTo>
                      <a:cubicBezTo>
                        <a:pt x="726" y="239"/>
                        <a:pt x="726" y="239"/>
                        <a:pt x="726" y="239"/>
                      </a:cubicBezTo>
                      <a:cubicBezTo>
                        <a:pt x="727" y="235"/>
                        <a:pt x="727" y="235"/>
                        <a:pt x="727" y="235"/>
                      </a:cubicBezTo>
                      <a:cubicBezTo>
                        <a:pt x="730" y="232"/>
                        <a:pt x="730" y="232"/>
                        <a:pt x="730" y="232"/>
                      </a:cubicBezTo>
                      <a:cubicBezTo>
                        <a:pt x="732" y="232"/>
                        <a:pt x="732" y="232"/>
                        <a:pt x="732" y="232"/>
                      </a:cubicBezTo>
                      <a:cubicBezTo>
                        <a:pt x="737" y="236"/>
                        <a:pt x="737" y="236"/>
                        <a:pt x="737" y="236"/>
                      </a:cubicBezTo>
                      <a:cubicBezTo>
                        <a:pt x="739" y="237"/>
                        <a:pt x="739" y="237"/>
                        <a:pt x="739" y="237"/>
                      </a:cubicBezTo>
                      <a:cubicBezTo>
                        <a:pt x="741" y="236"/>
                        <a:pt x="741" y="236"/>
                        <a:pt x="741" y="236"/>
                      </a:cubicBezTo>
                      <a:cubicBezTo>
                        <a:pt x="743" y="233"/>
                        <a:pt x="743" y="233"/>
                        <a:pt x="743" y="233"/>
                      </a:cubicBezTo>
                      <a:cubicBezTo>
                        <a:pt x="746" y="227"/>
                        <a:pt x="746" y="227"/>
                        <a:pt x="746" y="227"/>
                      </a:cubicBezTo>
                      <a:cubicBezTo>
                        <a:pt x="749" y="224"/>
                        <a:pt x="749" y="224"/>
                        <a:pt x="749" y="224"/>
                      </a:cubicBezTo>
                      <a:cubicBezTo>
                        <a:pt x="751" y="223"/>
                        <a:pt x="751" y="223"/>
                        <a:pt x="751" y="223"/>
                      </a:cubicBezTo>
                      <a:cubicBezTo>
                        <a:pt x="752" y="221"/>
                        <a:pt x="752" y="221"/>
                        <a:pt x="752" y="221"/>
                      </a:cubicBezTo>
                      <a:cubicBezTo>
                        <a:pt x="755" y="219"/>
                        <a:pt x="755" y="219"/>
                        <a:pt x="755" y="219"/>
                      </a:cubicBezTo>
                      <a:cubicBezTo>
                        <a:pt x="759" y="217"/>
                        <a:pt x="759" y="217"/>
                        <a:pt x="759" y="217"/>
                      </a:cubicBezTo>
                      <a:cubicBezTo>
                        <a:pt x="760" y="214"/>
                        <a:pt x="760" y="214"/>
                        <a:pt x="760" y="214"/>
                      </a:cubicBezTo>
                      <a:cubicBezTo>
                        <a:pt x="761" y="210"/>
                        <a:pt x="761" y="210"/>
                        <a:pt x="761" y="210"/>
                      </a:cubicBezTo>
                      <a:lnTo>
                        <a:pt x="759" y="203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88" name="Freeform 991">
                  <a:extLst>
                    <a:ext uri="{FF2B5EF4-FFF2-40B4-BE49-F238E27FC236}">
                      <a16:creationId xmlns:a16="http://schemas.microsoft.com/office/drawing/2014/main" id="{0B183C66-6BFB-4105-BB4B-3D7CD4723A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2" y="1535"/>
                  <a:ext cx="7" cy="4"/>
                </a:xfrm>
                <a:custGeom>
                  <a:avLst/>
                  <a:gdLst>
                    <a:gd name="T0" fmla="*/ 7 w 7"/>
                    <a:gd name="T1" fmla="*/ 3 h 4"/>
                    <a:gd name="T2" fmla="*/ 5 w 7"/>
                    <a:gd name="T3" fmla="*/ 2 h 4"/>
                    <a:gd name="T4" fmla="*/ 3 w 7"/>
                    <a:gd name="T5" fmla="*/ 2 h 4"/>
                    <a:gd name="T6" fmla="*/ 1 w 7"/>
                    <a:gd name="T7" fmla="*/ 0 h 4"/>
                    <a:gd name="T8" fmla="*/ 0 w 7"/>
                    <a:gd name="T9" fmla="*/ 1 h 4"/>
                    <a:gd name="T10" fmla="*/ 1 w 7"/>
                    <a:gd name="T11" fmla="*/ 3 h 4"/>
                    <a:gd name="T12" fmla="*/ 3 w 7"/>
                    <a:gd name="T13" fmla="*/ 3 h 4"/>
                    <a:gd name="T14" fmla="*/ 4 w 7"/>
                    <a:gd name="T15" fmla="*/ 4 h 4"/>
                    <a:gd name="T16" fmla="*/ 7 w 7"/>
                    <a:gd name="T17" fmla="*/ 4 h 4"/>
                    <a:gd name="T18" fmla="*/ 7 w 7"/>
                    <a:gd name="T19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4">
                      <a:moveTo>
                        <a:pt x="7" y="3"/>
                      </a:move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4" y="4"/>
                      </a:lnTo>
                      <a:lnTo>
                        <a:pt x="7" y="4"/>
                      </a:lnTo>
                      <a:lnTo>
                        <a:pt x="7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89" name="Freeform 992">
                  <a:extLst>
                    <a:ext uri="{FF2B5EF4-FFF2-40B4-BE49-F238E27FC236}">
                      <a16:creationId xmlns:a16="http://schemas.microsoft.com/office/drawing/2014/main" id="{AE6438CE-5766-456C-A9D2-76F781C12A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31" y="1473"/>
                  <a:ext cx="4" cy="13"/>
                </a:xfrm>
                <a:custGeom>
                  <a:avLst/>
                  <a:gdLst>
                    <a:gd name="T0" fmla="*/ 3 w 4"/>
                    <a:gd name="T1" fmla="*/ 6 h 13"/>
                    <a:gd name="T2" fmla="*/ 3 w 4"/>
                    <a:gd name="T3" fmla="*/ 5 h 13"/>
                    <a:gd name="T4" fmla="*/ 2 w 4"/>
                    <a:gd name="T5" fmla="*/ 2 h 13"/>
                    <a:gd name="T6" fmla="*/ 0 w 4"/>
                    <a:gd name="T7" fmla="*/ 0 h 13"/>
                    <a:gd name="T8" fmla="*/ 0 w 4"/>
                    <a:gd name="T9" fmla="*/ 2 h 13"/>
                    <a:gd name="T10" fmla="*/ 0 w 4"/>
                    <a:gd name="T11" fmla="*/ 4 h 13"/>
                    <a:gd name="T12" fmla="*/ 2 w 4"/>
                    <a:gd name="T13" fmla="*/ 6 h 13"/>
                    <a:gd name="T14" fmla="*/ 1 w 4"/>
                    <a:gd name="T15" fmla="*/ 10 h 13"/>
                    <a:gd name="T16" fmla="*/ 3 w 4"/>
                    <a:gd name="T17" fmla="*/ 13 h 13"/>
                    <a:gd name="T18" fmla="*/ 4 w 4"/>
                    <a:gd name="T19" fmla="*/ 13 h 13"/>
                    <a:gd name="T20" fmla="*/ 3 w 4"/>
                    <a:gd name="T21" fmla="*/ 9 h 13"/>
                    <a:gd name="T22" fmla="*/ 3 w 4"/>
                    <a:gd name="T23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" h="13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2" y="6"/>
                      </a:lnTo>
                      <a:lnTo>
                        <a:pt x="1" y="10"/>
                      </a:lnTo>
                      <a:lnTo>
                        <a:pt x="3" y="13"/>
                      </a:lnTo>
                      <a:lnTo>
                        <a:pt x="4" y="13"/>
                      </a:lnTo>
                      <a:lnTo>
                        <a:pt x="3" y="9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90" name="Freeform 993">
                  <a:extLst>
                    <a:ext uri="{FF2B5EF4-FFF2-40B4-BE49-F238E27FC236}">
                      <a16:creationId xmlns:a16="http://schemas.microsoft.com/office/drawing/2014/main" id="{ED835DC1-C076-4A81-9698-4533120153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14" y="1531"/>
                  <a:ext cx="2" cy="3"/>
                </a:xfrm>
                <a:custGeom>
                  <a:avLst/>
                  <a:gdLst>
                    <a:gd name="T0" fmla="*/ 0 w 2"/>
                    <a:gd name="T1" fmla="*/ 0 h 3"/>
                    <a:gd name="T2" fmla="*/ 0 w 2"/>
                    <a:gd name="T3" fmla="*/ 3 h 3"/>
                    <a:gd name="T4" fmla="*/ 2 w 2"/>
                    <a:gd name="T5" fmla="*/ 2 h 3"/>
                    <a:gd name="T6" fmla="*/ 1 w 2"/>
                    <a:gd name="T7" fmla="*/ 0 h 3"/>
                    <a:gd name="T8" fmla="*/ 0 w 2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2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91" name="Freeform 994">
                  <a:extLst>
                    <a:ext uri="{FF2B5EF4-FFF2-40B4-BE49-F238E27FC236}">
                      <a16:creationId xmlns:a16="http://schemas.microsoft.com/office/drawing/2014/main" id="{7EF6772A-0E33-447A-A105-D582AFFB63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13" y="1513"/>
                  <a:ext cx="7" cy="7"/>
                </a:xfrm>
                <a:custGeom>
                  <a:avLst/>
                  <a:gdLst>
                    <a:gd name="T0" fmla="*/ 7 w 7"/>
                    <a:gd name="T1" fmla="*/ 6 h 7"/>
                    <a:gd name="T2" fmla="*/ 5 w 7"/>
                    <a:gd name="T3" fmla="*/ 4 h 7"/>
                    <a:gd name="T4" fmla="*/ 2 w 7"/>
                    <a:gd name="T5" fmla="*/ 2 h 7"/>
                    <a:gd name="T6" fmla="*/ 1 w 7"/>
                    <a:gd name="T7" fmla="*/ 0 h 7"/>
                    <a:gd name="T8" fmla="*/ 0 w 7"/>
                    <a:gd name="T9" fmla="*/ 0 h 7"/>
                    <a:gd name="T10" fmla="*/ 0 w 7"/>
                    <a:gd name="T11" fmla="*/ 1 h 7"/>
                    <a:gd name="T12" fmla="*/ 2 w 7"/>
                    <a:gd name="T13" fmla="*/ 4 h 7"/>
                    <a:gd name="T14" fmla="*/ 5 w 7"/>
                    <a:gd name="T15" fmla="*/ 6 h 7"/>
                    <a:gd name="T16" fmla="*/ 6 w 7"/>
                    <a:gd name="T17" fmla="*/ 7 h 7"/>
                    <a:gd name="T18" fmla="*/ 7 w 7"/>
                    <a:gd name="T19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" h="7">
                      <a:moveTo>
                        <a:pt x="7" y="6"/>
                      </a:moveTo>
                      <a:lnTo>
                        <a:pt x="5" y="4"/>
                      </a:lnTo>
                      <a:lnTo>
                        <a:pt x="2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5" y="6"/>
                      </a:lnTo>
                      <a:lnTo>
                        <a:pt x="6" y="7"/>
                      </a:lnTo>
                      <a:lnTo>
                        <a:pt x="7" y="6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92" name="Freeform 995">
                  <a:extLst>
                    <a:ext uri="{FF2B5EF4-FFF2-40B4-BE49-F238E27FC236}">
                      <a16:creationId xmlns:a16="http://schemas.microsoft.com/office/drawing/2014/main" id="{2032859E-FE95-480D-A945-EC7AD86214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44" y="1464"/>
                  <a:ext cx="3" cy="3"/>
                </a:xfrm>
                <a:custGeom>
                  <a:avLst/>
                  <a:gdLst>
                    <a:gd name="T0" fmla="*/ 3 w 3"/>
                    <a:gd name="T1" fmla="*/ 1 h 3"/>
                    <a:gd name="T2" fmla="*/ 1 w 3"/>
                    <a:gd name="T3" fmla="*/ 0 h 3"/>
                    <a:gd name="T4" fmla="*/ 0 w 3"/>
                    <a:gd name="T5" fmla="*/ 0 h 3"/>
                    <a:gd name="T6" fmla="*/ 0 w 3"/>
                    <a:gd name="T7" fmla="*/ 1 h 3"/>
                    <a:gd name="T8" fmla="*/ 2 w 3"/>
                    <a:gd name="T9" fmla="*/ 3 h 3"/>
                    <a:gd name="T10" fmla="*/ 3 w 3"/>
                    <a:gd name="T11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3">
                      <a:moveTo>
                        <a:pt x="3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3"/>
                      </a:lnTo>
                      <a:lnTo>
                        <a:pt x="3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93" name="Freeform 996">
                  <a:extLst>
                    <a:ext uri="{FF2B5EF4-FFF2-40B4-BE49-F238E27FC236}">
                      <a16:creationId xmlns:a16="http://schemas.microsoft.com/office/drawing/2014/main" id="{9980AE86-0506-4FAC-9747-7C200C23DA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2" y="1553"/>
                  <a:ext cx="0" cy="2"/>
                </a:xfrm>
                <a:custGeom>
                  <a:avLst/>
                  <a:gdLst>
                    <a:gd name="T0" fmla="*/ 0 h 2"/>
                    <a:gd name="T1" fmla="*/ 2 h 2"/>
                    <a:gd name="T2" fmla="*/ 0 h 2"/>
                    <a:gd name="T3" fmla="*/ 0 h 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94" name="Freeform 997">
                  <a:extLst>
                    <a:ext uri="{FF2B5EF4-FFF2-40B4-BE49-F238E27FC236}">
                      <a16:creationId xmlns:a16="http://schemas.microsoft.com/office/drawing/2014/main" id="{492BD9F4-FE0D-4BE5-976D-E00698ED04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5" y="1543"/>
                  <a:ext cx="1" cy="1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1 h 1"/>
                    <a:gd name="T4" fmla="*/ 1 w 1"/>
                    <a:gd name="T5" fmla="*/ 1 h 1"/>
                    <a:gd name="T6" fmla="*/ 1 w 1"/>
                    <a:gd name="T7" fmla="*/ 0 h 1"/>
                    <a:gd name="T8" fmla="*/ 0 w 1"/>
                    <a:gd name="T9" fmla="*/ 0 h 1"/>
                    <a:gd name="T10" fmla="*/ 0 w 1"/>
                    <a:gd name="T11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95" name="Freeform 998">
                  <a:extLst>
                    <a:ext uri="{FF2B5EF4-FFF2-40B4-BE49-F238E27FC236}">
                      <a16:creationId xmlns:a16="http://schemas.microsoft.com/office/drawing/2014/main" id="{BC5C23BA-DF01-4754-AD34-37C809A221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3" y="1585"/>
                  <a:ext cx="4" cy="4"/>
                </a:xfrm>
                <a:custGeom>
                  <a:avLst/>
                  <a:gdLst>
                    <a:gd name="T0" fmla="*/ 2 w 4"/>
                    <a:gd name="T1" fmla="*/ 2 h 4"/>
                    <a:gd name="T2" fmla="*/ 3 w 4"/>
                    <a:gd name="T3" fmla="*/ 4 h 4"/>
                    <a:gd name="T4" fmla="*/ 4 w 4"/>
                    <a:gd name="T5" fmla="*/ 3 h 4"/>
                    <a:gd name="T6" fmla="*/ 3 w 4"/>
                    <a:gd name="T7" fmla="*/ 1 h 4"/>
                    <a:gd name="T8" fmla="*/ 1 w 4"/>
                    <a:gd name="T9" fmla="*/ 0 h 4"/>
                    <a:gd name="T10" fmla="*/ 0 w 4"/>
                    <a:gd name="T11" fmla="*/ 1 h 4"/>
                    <a:gd name="T12" fmla="*/ 0 w 4"/>
                    <a:gd name="T13" fmla="*/ 1 h 4"/>
                    <a:gd name="T14" fmla="*/ 2 w 4"/>
                    <a:gd name="T15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" h="4">
                      <a:moveTo>
                        <a:pt x="2" y="2"/>
                      </a:moveTo>
                      <a:lnTo>
                        <a:pt x="3" y="4"/>
                      </a:lnTo>
                      <a:lnTo>
                        <a:pt x="4" y="3"/>
                      </a:lnTo>
                      <a:lnTo>
                        <a:pt x="3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96" name="Freeform 999">
                  <a:extLst>
                    <a:ext uri="{FF2B5EF4-FFF2-40B4-BE49-F238E27FC236}">
                      <a16:creationId xmlns:a16="http://schemas.microsoft.com/office/drawing/2014/main" id="{A449A566-2612-42A7-AF1C-B938D767F9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1" y="1443"/>
                  <a:ext cx="3" cy="2"/>
                </a:xfrm>
                <a:custGeom>
                  <a:avLst/>
                  <a:gdLst>
                    <a:gd name="T0" fmla="*/ 1 w 3"/>
                    <a:gd name="T1" fmla="*/ 0 h 2"/>
                    <a:gd name="T2" fmla="*/ 0 w 3"/>
                    <a:gd name="T3" fmla="*/ 2 h 2"/>
                    <a:gd name="T4" fmla="*/ 1 w 3"/>
                    <a:gd name="T5" fmla="*/ 2 h 2"/>
                    <a:gd name="T6" fmla="*/ 3 w 3"/>
                    <a:gd name="T7" fmla="*/ 1 h 2"/>
                    <a:gd name="T8" fmla="*/ 3 w 3"/>
                    <a:gd name="T9" fmla="*/ 0 h 2"/>
                    <a:gd name="T10" fmla="*/ 1 w 3"/>
                    <a:gd name="T11" fmla="*/ 0 h 2"/>
                    <a:gd name="T12" fmla="*/ 1 w 3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2">
                      <a:moveTo>
                        <a:pt x="1" y="0"/>
                      </a:move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97" name="Freeform 1000">
                  <a:extLst>
                    <a:ext uri="{FF2B5EF4-FFF2-40B4-BE49-F238E27FC236}">
                      <a16:creationId xmlns:a16="http://schemas.microsoft.com/office/drawing/2014/main" id="{F300718D-5256-444E-8DCA-E1EE3D624E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1" y="1438"/>
                  <a:ext cx="2" cy="3"/>
                </a:xfrm>
                <a:custGeom>
                  <a:avLst/>
                  <a:gdLst>
                    <a:gd name="T0" fmla="*/ 0 w 2"/>
                    <a:gd name="T1" fmla="*/ 1 h 3"/>
                    <a:gd name="T2" fmla="*/ 1 w 2"/>
                    <a:gd name="T3" fmla="*/ 3 h 3"/>
                    <a:gd name="T4" fmla="*/ 2 w 2"/>
                    <a:gd name="T5" fmla="*/ 3 h 3"/>
                    <a:gd name="T6" fmla="*/ 2 w 2"/>
                    <a:gd name="T7" fmla="*/ 1 h 3"/>
                    <a:gd name="T8" fmla="*/ 1 w 2"/>
                    <a:gd name="T9" fmla="*/ 0 h 3"/>
                    <a:gd name="T10" fmla="*/ 0 w 2"/>
                    <a:gd name="T11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3">
                      <a:moveTo>
                        <a:pt x="0" y="1"/>
                      </a:move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98" name="Freeform 1001">
                  <a:extLst>
                    <a:ext uri="{FF2B5EF4-FFF2-40B4-BE49-F238E27FC236}">
                      <a16:creationId xmlns:a16="http://schemas.microsoft.com/office/drawing/2014/main" id="{B764FCEE-7D25-4B68-BD45-8A477494BC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39" y="1582"/>
                  <a:ext cx="2" cy="4"/>
                </a:xfrm>
                <a:custGeom>
                  <a:avLst/>
                  <a:gdLst>
                    <a:gd name="T0" fmla="*/ 2 w 2"/>
                    <a:gd name="T1" fmla="*/ 2 h 4"/>
                    <a:gd name="T2" fmla="*/ 1 w 2"/>
                    <a:gd name="T3" fmla="*/ 0 h 4"/>
                    <a:gd name="T4" fmla="*/ 0 w 2"/>
                    <a:gd name="T5" fmla="*/ 1 h 4"/>
                    <a:gd name="T6" fmla="*/ 0 w 2"/>
                    <a:gd name="T7" fmla="*/ 4 h 4"/>
                    <a:gd name="T8" fmla="*/ 1 w 2"/>
                    <a:gd name="T9" fmla="*/ 4 h 4"/>
                    <a:gd name="T10" fmla="*/ 2 w 2"/>
                    <a:gd name="T11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4">
                      <a:moveTo>
                        <a:pt x="2" y="2"/>
                      </a:move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99" name="Freeform 1002">
                  <a:extLst>
                    <a:ext uri="{FF2B5EF4-FFF2-40B4-BE49-F238E27FC236}">
                      <a16:creationId xmlns:a16="http://schemas.microsoft.com/office/drawing/2014/main" id="{18FF054C-5FBA-4530-83FB-394DB4C3F3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69" y="1614"/>
                  <a:ext cx="6" cy="4"/>
                </a:xfrm>
                <a:custGeom>
                  <a:avLst/>
                  <a:gdLst>
                    <a:gd name="T0" fmla="*/ 0 w 6"/>
                    <a:gd name="T1" fmla="*/ 3 h 4"/>
                    <a:gd name="T2" fmla="*/ 2 w 6"/>
                    <a:gd name="T3" fmla="*/ 4 h 4"/>
                    <a:gd name="T4" fmla="*/ 2 w 6"/>
                    <a:gd name="T5" fmla="*/ 3 h 4"/>
                    <a:gd name="T6" fmla="*/ 5 w 6"/>
                    <a:gd name="T7" fmla="*/ 3 h 4"/>
                    <a:gd name="T8" fmla="*/ 6 w 6"/>
                    <a:gd name="T9" fmla="*/ 1 h 4"/>
                    <a:gd name="T10" fmla="*/ 5 w 6"/>
                    <a:gd name="T11" fmla="*/ 0 h 4"/>
                    <a:gd name="T12" fmla="*/ 2 w 6"/>
                    <a:gd name="T13" fmla="*/ 0 h 4"/>
                    <a:gd name="T14" fmla="*/ 0 w 6"/>
                    <a:gd name="T15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4">
                      <a:moveTo>
                        <a:pt x="0" y="3"/>
                      </a:move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5" y="3"/>
                      </a:lnTo>
                      <a:lnTo>
                        <a:pt x="6" y="1"/>
                      </a:lnTo>
                      <a:lnTo>
                        <a:pt x="5" y="0"/>
                      </a:lnTo>
                      <a:lnTo>
                        <a:pt x="2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00" name="Freeform 1003">
                  <a:extLst>
                    <a:ext uri="{FF2B5EF4-FFF2-40B4-BE49-F238E27FC236}">
                      <a16:creationId xmlns:a16="http://schemas.microsoft.com/office/drawing/2014/main" id="{E99BD891-59FB-4698-B49F-89F468E846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88" y="1586"/>
                  <a:ext cx="3" cy="3"/>
                </a:xfrm>
                <a:custGeom>
                  <a:avLst/>
                  <a:gdLst>
                    <a:gd name="T0" fmla="*/ 1 w 3"/>
                    <a:gd name="T1" fmla="*/ 0 h 3"/>
                    <a:gd name="T2" fmla="*/ 0 w 3"/>
                    <a:gd name="T3" fmla="*/ 1 h 3"/>
                    <a:gd name="T4" fmla="*/ 2 w 3"/>
                    <a:gd name="T5" fmla="*/ 3 h 3"/>
                    <a:gd name="T6" fmla="*/ 3 w 3"/>
                    <a:gd name="T7" fmla="*/ 2 h 3"/>
                    <a:gd name="T8" fmla="*/ 2 w 3"/>
                    <a:gd name="T9" fmla="*/ 0 h 3"/>
                    <a:gd name="T10" fmla="*/ 1 w 3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3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2" y="3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01" name="Freeform 1004">
                  <a:extLst>
                    <a:ext uri="{FF2B5EF4-FFF2-40B4-BE49-F238E27FC236}">
                      <a16:creationId xmlns:a16="http://schemas.microsoft.com/office/drawing/2014/main" id="{27378468-D6C5-49A5-BC78-37C24AB9ED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4" y="1582"/>
                  <a:ext cx="4" cy="3"/>
                </a:xfrm>
                <a:custGeom>
                  <a:avLst/>
                  <a:gdLst>
                    <a:gd name="T0" fmla="*/ 3 w 4"/>
                    <a:gd name="T1" fmla="*/ 3 h 3"/>
                    <a:gd name="T2" fmla="*/ 4 w 4"/>
                    <a:gd name="T3" fmla="*/ 2 h 3"/>
                    <a:gd name="T4" fmla="*/ 3 w 4"/>
                    <a:gd name="T5" fmla="*/ 0 h 3"/>
                    <a:gd name="T6" fmla="*/ 2 w 4"/>
                    <a:gd name="T7" fmla="*/ 0 h 3"/>
                    <a:gd name="T8" fmla="*/ 0 w 4"/>
                    <a:gd name="T9" fmla="*/ 2 h 3"/>
                    <a:gd name="T10" fmla="*/ 0 w 4"/>
                    <a:gd name="T11" fmla="*/ 3 h 3"/>
                    <a:gd name="T12" fmla="*/ 3 w 4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3">
                      <a:moveTo>
                        <a:pt x="3" y="3"/>
                      </a:moveTo>
                      <a:lnTo>
                        <a:pt x="4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02" name="Freeform 1005">
                  <a:extLst>
                    <a:ext uri="{FF2B5EF4-FFF2-40B4-BE49-F238E27FC236}">
                      <a16:creationId xmlns:a16="http://schemas.microsoft.com/office/drawing/2014/main" id="{157202A3-7A71-4B75-9D0E-CF2AE95CA6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71" y="1607"/>
                  <a:ext cx="7" cy="4"/>
                </a:xfrm>
                <a:custGeom>
                  <a:avLst/>
                  <a:gdLst>
                    <a:gd name="T0" fmla="*/ 5 w 7"/>
                    <a:gd name="T1" fmla="*/ 4 h 4"/>
                    <a:gd name="T2" fmla="*/ 7 w 7"/>
                    <a:gd name="T3" fmla="*/ 3 h 4"/>
                    <a:gd name="T4" fmla="*/ 3 w 7"/>
                    <a:gd name="T5" fmla="*/ 0 h 4"/>
                    <a:gd name="T6" fmla="*/ 0 w 7"/>
                    <a:gd name="T7" fmla="*/ 0 h 4"/>
                    <a:gd name="T8" fmla="*/ 0 w 7"/>
                    <a:gd name="T9" fmla="*/ 0 h 4"/>
                    <a:gd name="T10" fmla="*/ 4 w 7"/>
                    <a:gd name="T11" fmla="*/ 4 h 4"/>
                    <a:gd name="T12" fmla="*/ 5 w 7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4">
                      <a:moveTo>
                        <a:pt x="5" y="4"/>
                      </a:moveTo>
                      <a:lnTo>
                        <a:pt x="7" y="3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4" y="4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03" name="Freeform 1006">
                  <a:extLst>
                    <a:ext uri="{FF2B5EF4-FFF2-40B4-BE49-F238E27FC236}">
                      <a16:creationId xmlns:a16="http://schemas.microsoft.com/office/drawing/2014/main" id="{24023C9D-E867-4B5A-95FE-6DF896D0DA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54" y="1601"/>
                  <a:ext cx="3" cy="6"/>
                </a:xfrm>
                <a:custGeom>
                  <a:avLst/>
                  <a:gdLst>
                    <a:gd name="T0" fmla="*/ 2 w 3"/>
                    <a:gd name="T1" fmla="*/ 4 h 6"/>
                    <a:gd name="T2" fmla="*/ 3 w 3"/>
                    <a:gd name="T3" fmla="*/ 2 h 6"/>
                    <a:gd name="T4" fmla="*/ 3 w 3"/>
                    <a:gd name="T5" fmla="*/ 0 h 6"/>
                    <a:gd name="T6" fmla="*/ 2 w 3"/>
                    <a:gd name="T7" fmla="*/ 0 h 6"/>
                    <a:gd name="T8" fmla="*/ 1 w 3"/>
                    <a:gd name="T9" fmla="*/ 1 h 6"/>
                    <a:gd name="T10" fmla="*/ 0 w 3"/>
                    <a:gd name="T11" fmla="*/ 2 h 6"/>
                    <a:gd name="T12" fmla="*/ 0 w 3"/>
                    <a:gd name="T13" fmla="*/ 6 h 6"/>
                    <a:gd name="T14" fmla="*/ 2 w 3"/>
                    <a:gd name="T15" fmla="*/ 6 h 6"/>
                    <a:gd name="T16" fmla="*/ 2 w 3"/>
                    <a:gd name="T17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6">
                      <a:moveTo>
                        <a:pt x="2" y="4"/>
                      </a:move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04" name="Freeform 1007">
                  <a:extLst>
                    <a:ext uri="{FF2B5EF4-FFF2-40B4-BE49-F238E27FC236}">
                      <a16:creationId xmlns:a16="http://schemas.microsoft.com/office/drawing/2014/main" id="{ADDBA6EB-C344-4971-8F0F-74AC918B4C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39" y="1275"/>
                  <a:ext cx="2" cy="4"/>
                </a:xfrm>
                <a:custGeom>
                  <a:avLst/>
                  <a:gdLst>
                    <a:gd name="T0" fmla="*/ 1 w 2"/>
                    <a:gd name="T1" fmla="*/ 4 h 4"/>
                    <a:gd name="T2" fmla="*/ 1 w 2"/>
                    <a:gd name="T3" fmla="*/ 4 h 4"/>
                    <a:gd name="T4" fmla="*/ 2 w 2"/>
                    <a:gd name="T5" fmla="*/ 3 h 4"/>
                    <a:gd name="T6" fmla="*/ 1 w 2"/>
                    <a:gd name="T7" fmla="*/ 1 h 4"/>
                    <a:gd name="T8" fmla="*/ 0 w 2"/>
                    <a:gd name="T9" fmla="*/ 0 h 4"/>
                    <a:gd name="T10" fmla="*/ 1 w 2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4">
                      <a:moveTo>
                        <a:pt x="1" y="4"/>
                      </a:moveTo>
                      <a:lnTo>
                        <a:pt x="1" y="4"/>
                      </a:lnTo>
                      <a:lnTo>
                        <a:pt x="2" y="3"/>
                      </a:lnTo>
                      <a:lnTo>
                        <a:pt x="1" y="1"/>
                      </a:lnTo>
                      <a:lnTo>
                        <a:pt x="0" y="0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05" name="Freeform 1008">
                  <a:extLst>
                    <a:ext uri="{FF2B5EF4-FFF2-40B4-BE49-F238E27FC236}">
                      <a16:creationId xmlns:a16="http://schemas.microsoft.com/office/drawing/2014/main" id="{A9D06DF2-1C7E-47FB-9DDC-B0C7E6A293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5" y="1089"/>
                  <a:ext cx="5" cy="3"/>
                </a:xfrm>
                <a:custGeom>
                  <a:avLst/>
                  <a:gdLst>
                    <a:gd name="T0" fmla="*/ 4 w 5"/>
                    <a:gd name="T1" fmla="*/ 3 h 3"/>
                    <a:gd name="T2" fmla="*/ 5 w 5"/>
                    <a:gd name="T3" fmla="*/ 2 h 3"/>
                    <a:gd name="T4" fmla="*/ 4 w 5"/>
                    <a:gd name="T5" fmla="*/ 0 h 3"/>
                    <a:gd name="T6" fmla="*/ 2 w 5"/>
                    <a:gd name="T7" fmla="*/ 0 h 3"/>
                    <a:gd name="T8" fmla="*/ 1 w 5"/>
                    <a:gd name="T9" fmla="*/ 0 h 3"/>
                    <a:gd name="T10" fmla="*/ 0 w 5"/>
                    <a:gd name="T11" fmla="*/ 3 h 3"/>
                    <a:gd name="T12" fmla="*/ 1 w 5"/>
                    <a:gd name="T13" fmla="*/ 3 h 3"/>
                    <a:gd name="T14" fmla="*/ 4 w 5"/>
                    <a:gd name="T1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3">
                      <a:moveTo>
                        <a:pt x="4" y="3"/>
                      </a:moveTo>
                      <a:lnTo>
                        <a:pt x="5" y="2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4" y="3"/>
                      </a:lnTo>
                      <a:close/>
                    </a:path>
                  </a:pathLst>
                </a:cu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26" name="Freeform 1211">
                <a:extLst>
                  <a:ext uri="{FF2B5EF4-FFF2-40B4-BE49-F238E27FC236}">
                    <a16:creationId xmlns:a16="http://schemas.microsoft.com/office/drawing/2014/main" id="{1C5C0964-45AB-4E61-8795-F4BFB48E5A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1763" y="2009775"/>
                <a:ext cx="3175" cy="6350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3 h 4"/>
                  <a:gd name="T4" fmla="*/ 2 w 2"/>
                  <a:gd name="T5" fmla="*/ 0 h 4"/>
                  <a:gd name="T6" fmla="*/ 0 w 2"/>
                  <a:gd name="T7" fmla="*/ 0 h 4"/>
                  <a:gd name="T8" fmla="*/ 0 w 2"/>
                  <a:gd name="T9" fmla="*/ 2 h 4"/>
                  <a:gd name="T10" fmla="*/ 0 w 2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3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212">
                <a:extLst>
                  <a:ext uri="{FF2B5EF4-FFF2-40B4-BE49-F238E27FC236}">
                    <a16:creationId xmlns:a16="http://schemas.microsoft.com/office/drawing/2014/main" id="{99D609FD-BE7D-4F4D-8CF6-D2183611C9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7488" y="1941513"/>
                <a:ext cx="12700" cy="17463"/>
              </a:xfrm>
              <a:custGeom>
                <a:avLst/>
                <a:gdLst>
                  <a:gd name="T0" fmla="*/ 7 w 10"/>
                  <a:gd name="T1" fmla="*/ 13 h 14"/>
                  <a:gd name="T2" fmla="*/ 10 w 10"/>
                  <a:gd name="T3" fmla="*/ 6 h 14"/>
                  <a:gd name="T4" fmla="*/ 10 w 10"/>
                  <a:gd name="T5" fmla="*/ 2 h 14"/>
                  <a:gd name="T6" fmla="*/ 6 w 10"/>
                  <a:gd name="T7" fmla="*/ 0 h 14"/>
                  <a:gd name="T8" fmla="*/ 2 w 10"/>
                  <a:gd name="T9" fmla="*/ 4 h 14"/>
                  <a:gd name="T10" fmla="*/ 0 w 10"/>
                  <a:gd name="T11" fmla="*/ 11 h 14"/>
                  <a:gd name="T12" fmla="*/ 2 w 10"/>
                  <a:gd name="T13" fmla="*/ 12 h 14"/>
                  <a:gd name="T14" fmla="*/ 3 w 10"/>
                  <a:gd name="T15" fmla="*/ 9 h 14"/>
                  <a:gd name="T16" fmla="*/ 4 w 10"/>
                  <a:gd name="T17" fmla="*/ 7 h 14"/>
                  <a:gd name="T18" fmla="*/ 5 w 10"/>
                  <a:gd name="T19" fmla="*/ 11 h 14"/>
                  <a:gd name="T20" fmla="*/ 4 w 10"/>
                  <a:gd name="T21" fmla="*/ 14 h 14"/>
                  <a:gd name="T22" fmla="*/ 7 w 10"/>
                  <a:gd name="T23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14">
                    <a:moveTo>
                      <a:pt x="7" y="13"/>
                    </a:moveTo>
                    <a:cubicBezTo>
                      <a:pt x="10" y="6"/>
                      <a:pt x="10" y="6"/>
                      <a:pt x="10" y="6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2"/>
                      <a:pt x="2" y="12"/>
                      <a:pt x="2" y="12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4" y="14"/>
                      <a:pt x="4" y="14"/>
                      <a:pt x="4" y="14"/>
                    </a:cubicBezTo>
                    <a:lnTo>
                      <a:pt x="7" y="1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213">
                <a:extLst>
                  <a:ext uri="{FF2B5EF4-FFF2-40B4-BE49-F238E27FC236}">
                    <a16:creationId xmlns:a16="http://schemas.microsoft.com/office/drawing/2014/main" id="{6410917C-C450-48A5-8937-11E4A54C2F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6076" y="2071688"/>
                <a:ext cx="9525" cy="6350"/>
              </a:xfrm>
              <a:custGeom>
                <a:avLst/>
                <a:gdLst>
                  <a:gd name="T0" fmla="*/ 0 w 6"/>
                  <a:gd name="T1" fmla="*/ 0 h 4"/>
                  <a:gd name="T2" fmla="*/ 0 w 6"/>
                  <a:gd name="T3" fmla="*/ 3 h 4"/>
                  <a:gd name="T4" fmla="*/ 1 w 6"/>
                  <a:gd name="T5" fmla="*/ 4 h 4"/>
                  <a:gd name="T6" fmla="*/ 4 w 6"/>
                  <a:gd name="T7" fmla="*/ 4 h 4"/>
                  <a:gd name="T8" fmla="*/ 6 w 6"/>
                  <a:gd name="T9" fmla="*/ 1 h 4"/>
                  <a:gd name="T10" fmla="*/ 6 w 6"/>
                  <a:gd name="T11" fmla="*/ 1 h 4"/>
                  <a:gd name="T12" fmla="*/ 3 w 6"/>
                  <a:gd name="T13" fmla="*/ 0 h 4"/>
                  <a:gd name="T14" fmla="*/ 0 w 6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0" y="3"/>
                    </a:lnTo>
                    <a:lnTo>
                      <a:pt x="1" y="4"/>
                    </a:lnTo>
                    <a:lnTo>
                      <a:pt x="4" y="4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214">
                <a:extLst>
                  <a:ext uri="{FF2B5EF4-FFF2-40B4-BE49-F238E27FC236}">
                    <a16:creationId xmlns:a16="http://schemas.microsoft.com/office/drawing/2014/main" id="{2694B320-C1BE-4AB2-9B15-B25180E4A8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0513" y="1657350"/>
                <a:ext cx="133350" cy="141288"/>
              </a:xfrm>
              <a:custGeom>
                <a:avLst/>
                <a:gdLst>
                  <a:gd name="T0" fmla="*/ 66 w 108"/>
                  <a:gd name="T1" fmla="*/ 78 h 114"/>
                  <a:gd name="T2" fmla="*/ 76 w 108"/>
                  <a:gd name="T3" fmla="*/ 68 h 114"/>
                  <a:gd name="T4" fmla="*/ 77 w 108"/>
                  <a:gd name="T5" fmla="*/ 63 h 114"/>
                  <a:gd name="T6" fmla="*/ 81 w 108"/>
                  <a:gd name="T7" fmla="*/ 61 h 114"/>
                  <a:gd name="T8" fmla="*/ 93 w 108"/>
                  <a:gd name="T9" fmla="*/ 48 h 114"/>
                  <a:gd name="T10" fmla="*/ 96 w 108"/>
                  <a:gd name="T11" fmla="*/ 45 h 114"/>
                  <a:gd name="T12" fmla="*/ 104 w 108"/>
                  <a:gd name="T13" fmla="*/ 35 h 114"/>
                  <a:gd name="T14" fmla="*/ 107 w 108"/>
                  <a:gd name="T15" fmla="*/ 30 h 114"/>
                  <a:gd name="T16" fmla="*/ 108 w 108"/>
                  <a:gd name="T17" fmla="*/ 27 h 114"/>
                  <a:gd name="T18" fmla="*/ 105 w 108"/>
                  <a:gd name="T19" fmla="*/ 22 h 114"/>
                  <a:gd name="T20" fmla="*/ 92 w 108"/>
                  <a:gd name="T21" fmla="*/ 17 h 114"/>
                  <a:gd name="T22" fmla="*/ 84 w 108"/>
                  <a:gd name="T23" fmla="*/ 18 h 114"/>
                  <a:gd name="T24" fmla="*/ 83 w 108"/>
                  <a:gd name="T25" fmla="*/ 13 h 114"/>
                  <a:gd name="T26" fmla="*/ 80 w 108"/>
                  <a:gd name="T27" fmla="*/ 9 h 114"/>
                  <a:gd name="T28" fmla="*/ 75 w 108"/>
                  <a:gd name="T29" fmla="*/ 6 h 114"/>
                  <a:gd name="T30" fmla="*/ 68 w 108"/>
                  <a:gd name="T31" fmla="*/ 1 h 114"/>
                  <a:gd name="T32" fmla="*/ 65 w 108"/>
                  <a:gd name="T33" fmla="*/ 1 h 114"/>
                  <a:gd name="T34" fmla="*/ 60 w 108"/>
                  <a:gd name="T35" fmla="*/ 0 h 114"/>
                  <a:gd name="T36" fmla="*/ 52 w 108"/>
                  <a:gd name="T37" fmla="*/ 1 h 114"/>
                  <a:gd name="T38" fmla="*/ 41 w 108"/>
                  <a:gd name="T39" fmla="*/ 9 h 114"/>
                  <a:gd name="T40" fmla="*/ 41 w 108"/>
                  <a:gd name="T41" fmla="*/ 14 h 114"/>
                  <a:gd name="T42" fmla="*/ 43 w 108"/>
                  <a:gd name="T43" fmla="*/ 20 h 114"/>
                  <a:gd name="T44" fmla="*/ 40 w 108"/>
                  <a:gd name="T45" fmla="*/ 24 h 114"/>
                  <a:gd name="T46" fmla="*/ 36 w 108"/>
                  <a:gd name="T47" fmla="*/ 15 h 114"/>
                  <a:gd name="T48" fmla="*/ 31 w 108"/>
                  <a:gd name="T49" fmla="*/ 19 h 114"/>
                  <a:gd name="T50" fmla="*/ 32 w 108"/>
                  <a:gd name="T51" fmla="*/ 24 h 114"/>
                  <a:gd name="T52" fmla="*/ 28 w 108"/>
                  <a:gd name="T53" fmla="*/ 31 h 114"/>
                  <a:gd name="T54" fmla="*/ 23 w 108"/>
                  <a:gd name="T55" fmla="*/ 41 h 114"/>
                  <a:gd name="T56" fmla="*/ 20 w 108"/>
                  <a:gd name="T57" fmla="*/ 49 h 114"/>
                  <a:gd name="T58" fmla="*/ 17 w 108"/>
                  <a:gd name="T59" fmla="*/ 55 h 114"/>
                  <a:gd name="T60" fmla="*/ 11 w 108"/>
                  <a:gd name="T61" fmla="*/ 66 h 114"/>
                  <a:gd name="T62" fmla="*/ 9 w 108"/>
                  <a:gd name="T63" fmla="*/ 74 h 114"/>
                  <a:gd name="T64" fmla="*/ 12 w 108"/>
                  <a:gd name="T65" fmla="*/ 79 h 114"/>
                  <a:gd name="T66" fmla="*/ 10 w 108"/>
                  <a:gd name="T67" fmla="*/ 85 h 114"/>
                  <a:gd name="T68" fmla="*/ 4 w 108"/>
                  <a:gd name="T69" fmla="*/ 99 h 114"/>
                  <a:gd name="T70" fmla="*/ 8 w 108"/>
                  <a:gd name="T71" fmla="*/ 101 h 114"/>
                  <a:gd name="T72" fmla="*/ 7 w 108"/>
                  <a:gd name="T73" fmla="*/ 104 h 114"/>
                  <a:gd name="T74" fmla="*/ 2 w 108"/>
                  <a:gd name="T75" fmla="*/ 104 h 114"/>
                  <a:gd name="T76" fmla="*/ 6 w 108"/>
                  <a:gd name="T77" fmla="*/ 110 h 114"/>
                  <a:gd name="T78" fmla="*/ 14 w 108"/>
                  <a:gd name="T79" fmla="*/ 114 h 114"/>
                  <a:gd name="T80" fmla="*/ 15 w 108"/>
                  <a:gd name="T81" fmla="*/ 109 h 114"/>
                  <a:gd name="T82" fmla="*/ 21 w 108"/>
                  <a:gd name="T83" fmla="*/ 106 h 114"/>
                  <a:gd name="T84" fmla="*/ 25 w 108"/>
                  <a:gd name="T85" fmla="*/ 99 h 114"/>
                  <a:gd name="T86" fmla="*/ 30 w 108"/>
                  <a:gd name="T87" fmla="*/ 97 h 114"/>
                  <a:gd name="T88" fmla="*/ 34 w 108"/>
                  <a:gd name="T89" fmla="*/ 91 h 114"/>
                  <a:gd name="T90" fmla="*/ 32 w 108"/>
                  <a:gd name="T91" fmla="*/ 84 h 114"/>
                  <a:gd name="T92" fmla="*/ 36 w 108"/>
                  <a:gd name="T93" fmla="*/ 77 h 114"/>
                  <a:gd name="T94" fmla="*/ 28 w 108"/>
                  <a:gd name="T95" fmla="*/ 75 h 114"/>
                  <a:gd name="T96" fmla="*/ 31 w 108"/>
                  <a:gd name="T97" fmla="*/ 72 h 114"/>
                  <a:gd name="T98" fmla="*/ 36 w 108"/>
                  <a:gd name="T99" fmla="*/ 74 h 114"/>
                  <a:gd name="T100" fmla="*/ 42 w 108"/>
                  <a:gd name="T101" fmla="*/ 73 h 114"/>
                  <a:gd name="T102" fmla="*/ 45 w 108"/>
                  <a:gd name="T103" fmla="*/ 78 h 114"/>
                  <a:gd name="T104" fmla="*/ 53 w 108"/>
                  <a:gd name="T105" fmla="*/ 83 h 114"/>
                  <a:gd name="T106" fmla="*/ 55 w 108"/>
                  <a:gd name="T107" fmla="*/ 86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8" h="114">
                    <a:moveTo>
                      <a:pt x="60" y="84"/>
                    </a:moveTo>
                    <a:cubicBezTo>
                      <a:pt x="66" y="78"/>
                      <a:pt x="66" y="78"/>
                      <a:pt x="66" y="78"/>
                    </a:cubicBezTo>
                    <a:cubicBezTo>
                      <a:pt x="71" y="73"/>
                      <a:pt x="71" y="73"/>
                      <a:pt x="71" y="73"/>
                    </a:cubicBezTo>
                    <a:cubicBezTo>
                      <a:pt x="76" y="68"/>
                      <a:pt x="76" y="68"/>
                      <a:pt x="76" y="68"/>
                    </a:cubicBezTo>
                    <a:cubicBezTo>
                      <a:pt x="78" y="65"/>
                      <a:pt x="78" y="65"/>
                      <a:pt x="78" y="65"/>
                    </a:cubicBezTo>
                    <a:cubicBezTo>
                      <a:pt x="77" y="63"/>
                      <a:pt x="77" y="63"/>
                      <a:pt x="77" y="63"/>
                    </a:cubicBezTo>
                    <a:cubicBezTo>
                      <a:pt x="77" y="61"/>
                      <a:pt x="77" y="61"/>
                      <a:pt x="77" y="61"/>
                    </a:cubicBezTo>
                    <a:cubicBezTo>
                      <a:pt x="81" y="61"/>
                      <a:pt x="81" y="61"/>
                      <a:pt x="81" y="61"/>
                    </a:cubicBezTo>
                    <a:cubicBezTo>
                      <a:pt x="85" y="55"/>
                      <a:pt x="85" y="55"/>
                      <a:pt x="85" y="55"/>
                    </a:cubicBezTo>
                    <a:cubicBezTo>
                      <a:pt x="93" y="48"/>
                      <a:pt x="93" y="48"/>
                      <a:pt x="93" y="48"/>
                    </a:cubicBezTo>
                    <a:cubicBezTo>
                      <a:pt x="93" y="46"/>
                      <a:pt x="93" y="46"/>
                      <a:pt x="93" y="46"/>
                    </a:cubicBezTo>
                    <a:cubicBezTo>
                      <a:pt x="96" y="45"/>
                      <a:pt x="96" y="45"/>
                      <a:pt x="96" y="45"/>
                    </a:cubicBezTo>
                    <a:cubicBezTo>
                      <a:pt x="98" y="41"/>
                      <a:pt x="98" y="41"/>
                      <a:pt x="98" y="41"/>
                    </a:cubicBezTo>
                    <a:cubicBezTo>
                      <a:pt x="104" y="35"/>
                      <a:pt x="104" y="35"/>
                      <a:pt x="104" y="35"/>
                    </a:cubicBezTo>
                    <a:cubicBezTo>
                      <a:pt x="105" y="30"/>
                      <a:pt x="105" y="30"/>
                      <a:pt x="105" y="30"/>
                    </a:cubicBezTo>
                    <a:cubicBezTo>
                      <a:pt x="107" y="30"/>
                      <a:pt x="107" y="30"/>
                      <a:pt x="107" y="30"/>
                    </a:cubicBezTo>
                    <a:cubicBezTo>
                      <a:pt x="108" y="31"/>
                      <a:pt x="108" y="31"/>
                      <a:pt x="108" y="31"/>
                    </a:cubicBezTo>
                    <a:cubicBezTo>
                      <a:pt x="108" y="27"/>
                      <a:pt x="108" y="27"/>
                      <a:pt x="108" y="27"/>
                    </a:cubicBezTo>
                    <a:cubicBezTo>
                      <a:pt x="105" y="25"/>
                      <a:pt x="105" y="25"/>
                      <a:pt x="105" y="25"/>
                    </a:cubicBezTo>
                    <a:cubicBezTo>
                      <a:pt x="105" y="22"/>
                      <a:pt x="105" y="22"/>
                      <a:pt x="105" y="22"/>
                    </a:cubicBezTo>
                    <a:cubicBezTo>
                      <a:pt x="100" y="18"/>
                      <a:pt x="100" y="18"/>
                      <a:pt x="100" y="18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7" y="16"/>
                      <a:pt x="87" y="16"/>
                      <a:pt x="87" y="16"/>
                    </a:cubicBezTo>
                    <a:cubicBezTo>
                      <a:pt x="84" y="18"/>
                      <a:pt x="84" y="18"/>
                      <a:pt x="84" y="18"/>
                    </a:cubicBezTo>
                    <a:cubicBezTo>
                      <a:pt x="83" y="16"/>
                      <a:pt x="83" y="16"/>
                      <a:pt x="83" y="16"/>
                    </a:cubicBezTo>
                    <a:cubicBezTo>
                      <a:pt x="83" y="13"/>
                      <a:pt x="83" y="13"/>
                      <a:pt x="83" y="13"/>
                    </a:cubicBezTo>
                    <a:cubicBezTo>
                      <a:pt x="81" y="9"/>
                      <a:pt x="81" y="9"/>
                      <a:pt x="81" y="9"/>
                    </a:cubicBezTo>
                    <a:cubicBezTo>
                      <a:pt x="80" y="9"/>
                      <a:pt x="80" y="9"/>
                      <a:pt x="80" y="9"/>
                    </a:cubicBezTo>
                    <a:cubicBezTo>
                      <a:pt x="79" y="8"/>
                      <a:pt x="79" y="8"/>
                      <a:pt x="79" y="8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73" y="2"/>
                      <a:pt x="73" y="2"/>
                      <a:pt x="73" y="2"/>
                    </a:cubicBezTo>
                    <a:cubicBezTo>
                      <a:pt x="68" y="1"/>
                      <a:pt x="68" y="1"/>
                      <a:pt x="68" y="1"/>
                    </a:cubicBezTo>
                    <a:cubicBezTo>
                      <a:pt x="66" y="4"/>
                      <a:pt x="66" y="4"/>
                      <a:pt x="66" y="4"/>
                    </a:cubicBezTo>
                    <a:cubicBezTo>
                      <a:pt x="65" y="1"/>
                      <a:pt x="65" y="1"/>
                      <a:pt x="65" y="1"/>
                    </a:cubicBezTo>
                    <a:cubicBezTo>
                      <a:pt x="62" y="1"/>
                      <a:pt x="62" y="1"/>
                      <a:pt x="62" y="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2" y="1"/>
                      <a:pt x="52" y="1"/>
                      <a:pt x="52" y="1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3" y="13"/>
                      <a:pt x="43" y="13"/>
                      <a:pt x="43" y="13"/>
                    </a:cubicBezTo>
                    <a:cubicBezTo>
                      <a:pt x="41" y="14"/>
                      <a:pt x="41" y="14"/>
                      <a:pt x="41" y="14"/>
                    </a:cubicBezTo>
                    <a:cubicBezTo>
                      <a:pt x="40" y="16"/>
                      <a:pt x="40" y="16"/>
                      <a:pt x="40" y="16"/>
                    </a:cubicBezTo>
                    <a:cubicBezTo>
                      <a:pt x="43" y="20"/>
                      <a:pt x="43" y="20"/>
                      <a:pt x="43" y="20"/>
                    </a:cubicBezTo>
                    <a:cubicBezTo>
                      <a:pt x="44" y="25"/>
                      <a:pt x="44" y="25"/>
                      <a:pt x="44" y="25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39" y="20"/>
                      <a:pt x="39" y="20"/>
                      <a:pt x="39" y="20"/>
                    </a:cubicBezTo>
                    <a:cubicBezTo>
                      <a:pt x="36" y="15"/>
                      <a:pt x="36" y="15"/>
                      <a:pt x="36" y="15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31" y="19"/>
                      <a:pt x="31" y="19"/>
                      <a:pt x="31" y="19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2" y="24"/>
                      <a:pt x="32" y="24"/>
                      <a:pt x="32" y="24"/>
                    </a:cubicBezTo>
                    <a:cubicBezTo>
                      <a:pt x="29" y="25"/>
                      <a:pt x="29" y="25"/>
                      <a:pt x="29" y="25"/>
                    </a:cubicBezTo>
                    <a:cubicBezTo>
                      <a:pt x="28" y="31"/>
                      <a:pt x="28" y="31"/>
                      <a:pt x="28" y="31"/>
                    </a:cubicBezTo>
                    <a:cubicBezTo>
                      <a:pt x="23" y="37"/>
                      <a:pt x="23" y="37"/>
                      <a:pt x="23" y="37"/>
                    </a:cubicBezTo>
                    <a:cubicBezTo>
                      <a:pt x="23" y="41"/>
                      <a:pt x="23" y="41"/>
                      <a:pt x="23" y="41"/>
                    </a:cubicBezTo>
                    <a:cubicBezTo>
                      <a:pt x="21" y="44"/>
                      <a:pt x="21" y="44"/>
                      <a:pt x="21" y="44"/>
                    </a:cubicBezTo>
                    <a:cubicBezTo>
                      <a:pt x="20" y="49"/>
                      <a:pt x="20" y="49"/>
                      <a:pt x="20" y="49"/>
                    </a:cubicBezTo>
                    <a:cubicBezTo>
                      <a:pt x="17" y="51"/>
                      <a:pt x="17" y="51"/>
                      <a:pt x="17" y="51"/>
                    </a:cubicBezTo>
                    <a:cubicBezTo>
                      <a:pt x="17" y="55"/>
                      <a:pt x="17" y="55"/>
                      <a:pt x="17" y="55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11" y="66"/>
                      <a:pt x="11" y="66"/>
                      <a:pt x="11" y="66"/>
                    </a:cubicBezTo>
                    <a:cubicBezTo>
                      <a:pt x="11" y="71"/>
                      <a:pt x="11" y="71"/>
                      <a:pt x="11" y="71"/>
                    </a:cubicBezTo>
                    <a:cubicBezTo>
                      <a:pt x="9" y="74"/>
                      <a:pt x="9" y="74"/>
                      <a:pt x="9" y="74"/>
                    </a:cubicBezTo>
                    <a:cubicBezTo>
                      <a:pt x="12" y="77"/>
                      <a:pt x="12" y="77"/>
                      <a:pt x="12" y="77"/>
                    </a:cubicBezTo>
                    <a:cubicBezTo>
                      <a:pt x="12" y="79"/>
                      <a:pt x="12" y="79"/>
                      <a:pt x="12" y="79"/>
                    </a:cubicBezTo>
                    <a:cubicBezTo>
                      <a:pt x="10" y="81"/>
                      <a:pt x="10" y="81"/>
                      <a:pt x="10" y="81"/>
                    </a:cubicBezTo>
                    <a:cubicBezTo>
                      <a:pt x="10" y="85"/>
                      <a:pt x="10" y="85"/>
                      <a:pt x="10" y="85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4" y="99"/>
                      <a:pt x="4" y="99"/>
                      <a:pt x="4" y="99"/>
                    </a:cubicBezTo>
                    <a:cubicBezTo>
                      <a:pt x="5" y="101"/>
                      <a:pt x="5" y="101"/>
                      <a:pt x="5" y="101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8" y="102"/>
                      <a:pt x="8" y="102"/>
                      <a:pt x="8" y="102"/>
                    </a:cubicBezTo>
                    <a:cubicBezTo>
                      <a:pt x="7" y="104"/>
                      <a:pt x="7" y="104"/>
                      <a:pt x="7" y="104"/>
                    </a:cubicBezTo>
                    <a:cubicBezTo>
                      <a:pt x="5" y="103"/>
                      <a:pt x="5" y="103"/>
                      <a:pt x="5" y="103"/>
                    </a:cubicBezTo>
                    <a:cubicBezTo>
                      <a:pt x="2" y="104"/>
                      <a:pt x="2" y="104"/>
                      <a:pt x="2" y="104"/>
                    </a:cubicBezTo>
                    <a:cubicBezTo>
                      <a:pt x="0" y="109"/>
                      <a:pt x="0" y="109"/>
                      <a:pt x="0" y="109"/>
                    </a:cubicBezTo>
                    <a:cubicBezTo>
                      <a:pt x="6" y="110"/>
                      <a:pt x="6" y="110"/>
                      <a:pt x="6" y="110"/>
                    </a:cubicBezTo>
                    <a:cubicBezTo>
                      <a:pt x="9" y="109"/>
                      <a:pt x="9" y="109"/>
                      <a:pt x="9" y="109"/>
                    </a:cubicBezTo>
                    <a:cubicBezTo>
                      <a:pt x="14" y="114"/>
                      <a:pt x="14" y="114"/>
                      <a:pt x="14" y="114"/>
                    </a:cubicBezTo>
                    <a:cubicBezTo>
                      <a:pt x="14" y="114"/>
                      <a:pt x="15" y="113"/>
                      <a:pt x="15" y="113"/>
                    </a:cubicBezTo>
                    <a:cubicBezTo>
                      <a:pt x="15" y="109"/>
                      <a:pt x="15" y="109"/>
                      <a:pt x="15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21" y="106"/>
                      <a:pt x="21" y="106"/>
                      <a:pt x="21" y="106"/>
                    </a:cubicBezTo>
                    <a:cubicBezTo>
                      <a:pt x="22" y="102"/>
                      <a:pt x="22" y="102"/>
                      <a:pt x="22" y="102"/>
                    </a:cubicBezTo>
                    <a:cubicBezTo>
                      <a:pt x="25" y="99"/>
                      <a:pt x="25" y="99"/>
                      <a:pt x="25" y="99"/>
                    </a:cubicBezTo>
                    <a:cubicBezTo>
                      <a:pt x="28" y="99"/>
                      <a:pt x="28" y="99"/>
                      <a:pt x="28" y="99"/>
                    </a:cubicBezTo>
                    <a:cubicBezTo>
                      <a:pt x="30" y="97"/>
                      <a:pt x="30" y="97"/>
                      <a:pt x="30" y="97"/>
                    </a:cubicBezTo>
                    <a:cubicBezTo>
                      <a:pt x="33" y="95"/>
                      <a:pt x="33" y="95"/>
                      <a:pt x="33" y="95"/>
                    </a:cubicBezTo>
                    <a:cubicBezTo>
                      <a:pt x="34" y="91"/>
                      <a:pt x="34" y="91"/>
                      <a:pt x="34" y="91"/>
                    </a:cubicBezTo>
                    <a:cubicBezTo>
                      <a:pt x="34" y="86"/>
                      <a:pt x="34" y="86"/>
                      <a:pt x="34" y="86"/>
                    </a:cubicBezTo>
                    <a:cubicBezTo>
                      <a:pt x="32" y="84"/>
                      <a:pt x="32" y="84"/>
                      <a:pt x="32" y="84"/>
                    </a:cubicBezTo>
                    <a:cubicBezTo>
                      <a:pt x="35" y="81"/>
                      <a:pt x="35" y="81"/>
                      <a:pt x="35" y="81"/>
                    </a:cubicBezTo>
                    <a:cubicBezTo>
                      <a:pt x="36" y="77"/>
                      <a:pt x="36" y="77"/>
                      <a:pt x="36" y="77"/>
                    </a:cubicBezTo>
                    <a:cubicBezTo>
                      <a:pt x="29" y="77"/>
                      <a:pt x="29" y="77"/>
                      <a:pt x="29" y="77"/>
                    </a:cubicBezTo>
                    <a:cubicBezTo>
                      <a:pt x="28" y="75"/>
                      <a:pt x="28" y="75"/>
                      <a:pt x="28" y="75"/>
                    </a:cubicBezTo>
                    <a:cubicBezTo>
                      <a:pt x="28" y="72"/>
                      <a:pt x="28" y="72"/>
                      <a:pt x="28" y="72"/>
                    </a:cubicBezTo>
                    <a:cubicBezTo>
                      <a:pt x="31" y="72"/>
                      <a:pt x="31" y="72"/>
                      <a:pt x="31" y="72"/>
                    </a:cubicBezTo>
                    <a:cubicBezTo>
                      <a:pt x="33" y="74"/>
                      <a:pt x="33" y="74"/>
                      <a:pt x="33" y="74"/>
                    </a:cubicBezTo>
                    <a:cubicBezTo>
                      <a:pt x="36" y="74"/>
                      <a:pt x="36" y="74"/>
                      <a:pt x="36" y="74"/>
                    </a:cubicBezTo>
                    <a:cubicBezTo>
                      <a:pt x="40" y="75"/>
                      <a:pt x="40" y="75"/>
                      <a:pt x="40" y="75"/>
                    </a:cubicBezTo>
                    <a:cubicBezTo>
                      <a:pt x="42" y="73"/>
                      <a:pt x="42" y="73"/>
                      <a:pt x="42" y="73"/>
                    </a:cubicBezTo>
                    <a:cubicBezTo>
                      <a:pt x="45" y="75"/>
                      <a:pt x="45" y="75"/>
                      <a:pt x="45" y="75"/>
                    </a:cubicBezTo>
                    <a:cubicBezTo>
                      <a:pt x="45" y="78"/>
                      <a:pt x="45" y="78"/>
                      <a:pt x="45" y="78"/>
                    </a:cubicBezTo>
                    <a:cubicBezTo>
                      <a:pt x="50" y="83"/>
                      <a:pt x="50" y="83"/>
                      <a:pt x="50" y="83"/>
                    </a:cubicBezTo>
                    <a:cubicBezTo>
                      <a:pt x="53" y="83"/>
                      <a:pt x="53" y="83"/>
                      <a:pt x="53" y="83"/>
                    </a:cubicBezTo>
                    <a:cubicBezTo>
                      <a:pt x="53" y="85"/>
                      <a:pt x="53" y="85"/>
                      <a:pt x="53" y="85"/>
                    </a:cubicBezTo>
                    <a:cubicBezTo>
                      <a:pt x="55" y="86"/>
                      <a:pt x="55" y="86"/>
                      <a:pt x="55" y="86"/>
                    </a:cubicBezTo>
                    <a:lnTo>
                      <a:pt x="60" y="8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1215">
                <a:extLst>
                  <a:ext uri="{FF2B5EF4-FFF2-40B4-BE49-F238E27FC236}">
                    <a16:creationId xmlns:a16="http://schemas.microsoft.com/office/drawing/2014/main" id="{2F0C6DBB-EE33-41E7-8AF1-9B85C26DBA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4151" y="1643063"/>
                <a:ext cx="127000" cy="184150"/>
              </a:xfrm>
              <a:custGeom>
                <a:avLst/>
                <a:gdLst>
                  <a:gd name="T0" fmla="*/ 87 w 103"/>
                  <a:gd name="T1" fmla="*/ 85 h 150"/>
                  <a:gd name="T2" fmla="*/ 86 w 103"/>
                  <a:gd name="T3" fmla="*/ 78 h 150"/>
                  <a:gd name="T4" fmla="*/ 79 w 103"/>
                  <a:gd name="T5" fmla="*/ 78 h 150"/>
                  <a:gd name="T6" fmla="*/ 78 w 103"/>
                  <a:gd name="T7" fmla="*/ 67 h 150"/>
                  <a:gd name="T8" fmla="*/ 76 w 103"/>
                  <a:gd name="T9" fmla="*/ 57 h 150"/>
                  <a:gd name="T10" fmla="*/ 65 w 103"/>
                  <a:gd name="T11" fmla="*/ 61 h 150"/>
                  <a:gd name="T12" fmla="*/ 74 w 103"/>
                  <a:gd name="T13" fmla="*/ 49 h 150"/>
                  <a:gd name="T14" fmla="*/ 89 w 103"/>
                  <a:gd name="T15" fmla="*/ 43 h 150"/>
                  <a:gd name="T16" fmla="*/ 94 w 103"/>
                  <a:gd name="T17" fmla="*/ 36 h 150"/>
                  <a:gd name="T18" fmla="*/ 93 w 103"/>
                  <a:gd name="T19" fmla="*/ 27 h 150"/>
                  <a:gd name="T20" fmla="*/ 103 w 103"/>
                  <a:gd name="T21" fmla="*/ 24 h 150"/>
                  <a:gd name="T22" fmla="*/ 100 w 103"/>
                  <a:gd name="T23" fmla="*/ 17 h 150"/>
                  <a:gd name="T24" fmla="*/ 84 w 103"/>
                  <a:gd name="T25" fmla="*/ 14 h 150"/>
                  <a:gd name="T26" fmla="*/ 70 w 103"/>
                  <a:gd name="T27" fmla="*/ 9 h 150"/>
                  <a:gd name="T28" fmla="*/ 68 w 103"/>
                  <a:gd name="T29" fmla="*/ 0 h 150"/>
                  <a:gd name="T30" fmla="*/ 61 w 103"/>
                  <a:gd name="T31" fmla="*/ 5 h 150"/>
                  <a:gd name="T32" fmla="*/ 55 w 103"/>
                  <a:gd name="T33" fmla="*/ 3 h 150"/>
                  <a:gd name="T34" fmla="*/ 48 w 103"/>
                  <a:gd name="T35" fmla="*/ 9 h 150"/>
                  <a:gd name="T36" fmla="*/ 50 w 103"/>
                  <a:gd name="T37" fmla="*/ 20 h 150"/>
                  <a:gd name="T38" fmla="*/ 47 w 103"/>
                  <a:gd name="T39" fmla="*/ 31 h 150"/>
                  <a:gd name="T40" fmla="*/ 41 w 103"/>
                  <a:gd name="T41" fmla="*/ 20 h 150"/>
                  <a:gd name="T42" fmla="*/ 39 w 103"/>
                  <a:gd name="T43" fmla="*/ 32 h 150"/>
                  <a:gd name="T44" fmla="*/ 48 w 103"/>
                  <a:gd name="T45" fmla="*/ 36 h 150"/>
                  <a:gd name="T46" fmla="*/ 52 w 103"/>
                  <a:gd name="T47" fmla="*/ 48 h 150"/>
                  <a:gd name="T48" fmla="*/ 43 w 103"/>
                  <a:gd name="T49" fmla="*/ 43 h 150"/>
                  <a:gd name="T50" fmla="*/ 40 w 103"/>
                  <a:gd name="T51" fmla="*/ 55 h 150"/>
                  <a:gd name="T52" fmla="*/ 37 w 103"/>
                  <a:gd name="T53" fmla="*/ 68 h 150"/>
                  <a:gd name="T54" fmla="*/ 29 w 103"/>
                  <a:gd name="T55" fmla="*/ 61 h 150"/>
                  <a:gd name="T56" fmla="*/ 22 w 103"/>
                  <a:gd name="T57" fmla="*/ 48 h 150"/>
                  <a:gd name="T58" fmla="*/ 23 w 103"/>
                  <a:gd name="T59" fmla="*/ 41 h 150"/>
                  <a:gd name="T60" fmla="*/ 12 w 103"/>
                  <a:gd name="T61" fmla="*/ 40 h 150"/>
                  <a:gd name="T62" fmla="*/ 4 w 103"/>
                  <a:gd name="T63" fmla="*/ 54 h 150"/>
                  <a:gd name="T64" fmla="*/ 4 w 103"/>
                  <a:gd name="T65" fmla="*/ 73 h 150"/>
                  <a:gd name="T66" fmla="*/ 5 w 103"/>
                  <a:gd name="T67" fmla="*/ 82 h 150"/>
                  <a:gd name="T68" fmla="*/ 11 w 103"/>
                  <a:gd name="T69" fmla="*/ 88 h 150"/>
                  <a:gd name="T70" fmla="*/ 16 w 103"/>
                  <a:gd name="T71" fmla="*/ 102 h 150"/>
                  <a:gd name="T72" fmla="*/ 23 w 103"/>
                  <a:gd name="T73" fmla="*/ 115 h 150"/>
                  <a:gd name="T74" fmla="*/ 23 w 103"/>
                  <a:gd name="T75" fmla="*/ 132 h 150"/>
                  <a:gd name="T76" fmla="*/ 26 w 103"/>
                  <a:gd name="T77" fmla="*/ 141 h 150"/>
                  <a:gd name="T78" fmla="*/ 35 w 103"/>
                  <a:gd name="T79" fmla="*/ 148 h 150"/>
                  <a:gd name="T80" fmla="*/ 40 w 103"/>
                  <a:gd name="T81" fmla="*/ 134 h 150"/>
                  <a:gd name="T82" fmla="*/ 43 w 103"/>
                  <a:gd name="T83" fmla="*/ 118 h 150"/>
                  <a:gd name="T84" fmla="*/ 47 w 103"/>
                  <a:gd name="T85" fmla="*/ 131 h 150"/>
                  <a:gd name="T86" fmla="*/ 61 w 103"/>
                  <a:gd name="T87" fmla="*/ 127 h 150"/>
                  <a:gd name="T88" fmla="*/ 72 w 103"/>
                  <a:gd name="T89" fmla="*/ 122 h 150"/>
                  <a:gd name="T90" fmla="*/ 70 w 103"/>
                  <a:gd name="T91" fmla="*/ 113 h 150"/>
                  <a:gd name="T92" fmla="*/ 75 w 103"/>
                  <a:gd name="T93" fmla="*/ 111 h 150"/>
                  <a:gd name="T94" fmla="*/ 79 w 103"/>
                  <a:gd name="T95" fmla="*/ 10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3" h="150">
                    <a:moveTo>
                      <a:pt x="79" y="100"/>
                    </a:moveTo>
                    <a:cubicBezTo>
                      <a:pt x="85" y="96"/>
                      <a:pt x="85" y="96"/>
                      <a:pt x="85" y="96"/>
                    </a:cubicBezTo>
                    <a:cubicBezTo>
                      <a:pt x="85" y="92"/>
                      <a:pt x="85" y="92"/>
                      <a:pt x="85" y="92"/>
                    </a:cubicBezTo>
                    <a:cubicBezTo>
                      <a:pt x="87" y="85"/>
                      <a:pt x="87" y="85"/>
                      <a:pt x="87" y="85"/>
                    </a:cubicBezTo>
                    <a:cubicBezTo>
                      <a:pt x="87" y="79"/>
                      <a:pt x="87" y="79"/>
                      <a:pt x="87" y="79"/>
                    </a:cubicBezTo>
                    <a:cubicBezTo>
                      <a:pt x="89" y="76"/>
                      <a:pt x="89" y="76"/>
                      <a:pt x="89" y="76"/>
                    </a:cubicBezTo>
                    <a:cubicBezTo>
                      <a:pt x="87" y="76"/>
                      <a:pt x="87" y="76"/>
                      <a:pt x="87" y="76"/>
                    </a:cubicBezTo>
                    <a:cubicBezTo>
                      <a:pt x="86" y="78"/>
                      <a:pt x="86" y="78"/>
                      <a:pt x="86" y="78"/>
                    </a:cubicBezTo>
                    <a:cubicBezTo>
                      <a:pt x="82" y="80"/>
                      <a:pt x="82" y="80"/>
                      <a:pt x="82" y="80"/>
                    </a:cubicBezTo>
                    <a:cubicBezTo>
                      <a:pt x="80" y="85"/>
                      <a:pt x="80" y="85"/>
                      <a:pt x="80" y="85"/>
                    </a:cubicBezTo>
                    <a:cubicBezTo>
                      <a:pt x="79" y="83"/>
                      <a:pt x="79" y="83"/>
                      <a:pt x="79" y="83"/>
                    </a:cubicBezTo>
                    <a:cubicBezTo>
                      <a:pt x="79" y="78"/>
                      <a:pt x="79" y="78"/>
                      <a:pt x="79" y="78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82" y="72"/>
                      <a:pt x="82" y="72"/>
                      <a:pt x="82" y="72"/>
                    </a:cubicBezTo>
                    <a:cubicBezTo>
                      <a:pt x="81" y="69"/>
                      <a:pt x="81" y="69"/>
                      <a:pt x="81" y="69"/>
                    </a:cubicBezTo>
                    <a:cubicBezTo>
                      <a:pt x="78" y="67"/>
                      <a:pt x="78" y="67"/>
                      <a:pt x="78" y="67"/>
                    </a:cubicBezTo>
                    <a:cubicBezTo>
                      <a:pt x="81" y="67"/>
                      <a:pt x="81" y="67"/>
                      <a:pt x="81" y="67"/>
                    </a:cubicBezTo>
                    <a:cubicBezTo>
                      <a:pt x="82" y="65"/>
                      <a:pt x="82" y="65"/>
                      <a:pt x="82" y="65"/>
                    </a:cubicBezTo>
                    <a:cubicBezTo>
                      <a:pt x="81" y="61"/>
                      <a:pt x="81" y="61"/>
                      <a:pt x="81" y="61"/>
                    </a:cubicBezTo>
                    <a:cubicBezTo>
                      <a:pt x="76" y="57"/>
                      <a:pt x="76" y="57"/>
                      <a:pt x="76" y="57"/>
                    </a:cubicBezTo>
                    <a:cubicBezTo>
                      <a:pt x="74" y="58"/>
                      <a:pt x="74" y="58"/>
                      <a:pt x="74" y="58"/>
                    </a:cubicBezTo>
                    <a:cubicBezTo>
                      <a:pt x="68" y="59"/>
                      <a:pt x="68" y="59"/>
                      <a:pt x="68" y="59"/>
                    </a:cubicBezTo>
                    <a:cubicBezTo>
                      <a:pt x="68" y="61"/>
                      <a:pt x="68" y="61"/>
                      <a:pt x="68" y="61"/>
                    </a:cubicBezTo>
                    <a:cubicBezTo>
                      <a:pt x="65" y="61"/>
                      <a:pt x="65" y="61"/>
                      <a:pt x="65" y="61"/>
                    </a:cubicBezTo>
                    <a:cubicBezTo>
                      <a:pt x="65" y="59"/>
                      <a:pt x="65" y="59"/>
                      <a:pt x="65" y="59"/>
                    </a:cubicBezTo>
                    <a:cubicBezTo>
                      <a:pt x="68" y="54"/>
                      <a:pt x="68" y="54"/>
                      <a:pt x="68" y="54"/>
                    </a:cubicBezTo>
                    <a:cubicBezTo>
                      <a:pt x="70" y="53"/>
                      <a:pt x="70" y="53"/>
                      <a:pt x="70" y="53"/>
                    </a:cubicBezTo>
                    <a:cubicBezTo>
                      <a:pt x="74" y="49"/>
                      <a:pt x="74" y="49"/>
                      <a:pt x="74" y="49"/>
                    </a:cubicBezTo>
                    <a:cubicBezTo>
                      <a:pt x="81" y="47"/>
                      <a:pt x="81" y="47"/>
                      <a:pt x="81" y="47"/>
                    </a:cubicBezTo>
                    <a:cubicBezTo>
                      <a:pt x="83" y="45"/>
                      <a:pt x="83" y="45"/>
                      <a:pt x="83" y="45"/>
                    </a:cubicBezTo>
                    <a:cubicBezTo>
                      <a:pt x="86" y="44"/>
                      <a:pt x="86" y="44"/>
                      <a:pt x="86" y="44"/>
                    </a:cubicBezTo>
                    <a:cubicBezTo>
                      <a:pt x="89" y="43"/>
                      <a:pt x="89" y="43"/>
                      <a:pt x="89" y="43"/>
                    </a:cubicBezTo>
                    <a:cubicBezTo>
                      <a:pt x="90" y="45"/>
                      <a:pt x="90" y="45"/>
                      <a:pt x="90" y="45"/>
                    </a:cubicBezTo>
                    <a:cubicBezTo>
                      <a:pt x="92" y="44"/>
                      <a:pt x="92" y="44"/>
                      <a:pt x="92" y="44"/>
                    </a:cubicBezTo>
                    <a:cubicBezTo>
                      <a:pt x="93" y="38"/>
                      <a:pt x="93" y="38"/>
                      <a:pt x="93" y="38"/>
                    </a:cubicBezTo>
                    <a:cubicBezTo>
                      <a:pt x="94" y="36"/>
                      <a:pt x="94" y="36"/>
                      <a:pt x="94" y="36"/>
                    </a:cubicBezTo>
                    <a:cubicBezTo>
                      <a:pt x="90" y="33"/>
                      <a:pt x="90" y="33"/>
                      <a:pt x="90" y="33"/>
                    </a:cubicBezTo>
                    <a:cubicBezTo>
                      <a:pt x="89" y="30"/>
                      <a:pt x="89" y="30"/>
                      <a:pt x="89" y="30"/>
                    </a:cubicBezTo>
                    <a:cubicBezTo>
                      <a:pt x="92" y="29"/>
                      <a:pt x="92" y="29"/>
                      <a:pt x="92" y="29"/>
                    </a:cubicBezTo>
                    <a:cubicBezTo>
                      <a:pt x="93" y="27"/>
                      <a:pt x="93" y="27"/>
                      <a:pt x="93" y="27"/>
                    </a:cubicBezTo>
                    <a:cubicBezTo>
                      <a:pt x="94" y="29"/>
                      <a:pt x="94" y="29"/>
                      <a:pt x="94" y="29"/>
                    </a:cubicBezTo>
                    <a:cubicBezTo>
                      <a:pt x="97" y="31"/>
                      <a:pt x="97" y="31"/>
                      <a:pt x="97" y="31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103" y="24"/>
                      <a:pt x="103" y="24"/>
                      <a:pt x="103" y="24"/>
                    </a:cubicBezTo>
                    <a:cubicBezTo>
                      <a:pt x="102" y="21"/>
                      <a:pt x="102" y="21"/>
                      <a:pt x="102" y="21"/>
                    </a:cubicBezTo>
                    <a:cubicBezTo>
                      <a:pt x="103" y="18"/>
                      <a:pt x="103" y="18"/>
                      <a:pt x="103" y="18"/>
                    </a:cubicBezTo>
                    <a:cubicBezTo>
                      <a:pt x="102" y="16"/>
                      <a:pt x="102" y="16"/>
                      <a:pt x="102" y="16"/>
                    </a:cubicBezTo>
                    <a:cubicBezTo>
                      <a:pt x="100" y="17"/>
                      <a:pt x="100" y="17"/>
                      <a:pt x="100" y="17"/>
                    </a:cubicBezTo>
                    <a:cubicBezTo>
                      <a:pt x="97" y="13"/>
                      <a:pt x="97" y="13"/>
                      <a:pt x="97" y="13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6" y="12"/>
                      <a:pt x="86" y="12"/>
                      <a:pt x="86" y="12"/>
                    </a:cubicBezTo>
                    <a:cubicBezTo>
                      <a:pt x="84" y="14"/>
                      <a:pt x="84" y="14"/>
                      <a:pt x="84" y="14"/>
                    </a:cubicBezTo>
                    <a:cubicBezTo>
                      <a:pt x="79" y="14"/>
                      <a:pt x="79" y="14"/>
                      <a:pt x="79" y="14"/>
                    </a:cubicBezTo>
                    <a:cubicBezTo>
                      <a:pt x="76" y="12"/>
                      <a:pt x="76" y="12"/>
                      <a:pt x="76" y="12"/>
                    </a:cubicBezTo>
                    <a:cubicBezTo>
                      <a:pt x="73" y="13"/>
                      <a:pt x="73" y="13"/>
                      <a:pt x="73" y="13"/>
                    </a:cubicBezTo>
                    <a:cubicBezTo>
                      <a:pt x="70" y="9"/>
                      <a:pt x="70" y="9"/>
                      <a:pt x="70" y="9"/>
                    </a:cubicBezTo>
                    <a:cubicBezTo>
                      <a:pt x="68" y="7"/>
                      <a:pt x="68" y="7"/>
                      <a:pt x="68" y="7"/>
                    </a:cubicBezTo>
                    <a:cubicBezTo>
                      <a:pt x="68" y="4"/>
                      <a:pt x="68" y="4"/>
                      <a:pt x="68" y="4"/>
                    </a:cubicBezTo>
                    <a:cubicBezTo>
                      <a:pt x="69" y="2"/>
                      <a:pt x="69" y="2"/>
                      <a:pt x="69" y="2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1" y="1"/>
                      <a:pt x="61" y="1"/>
                      <a:pt x="61" y="1"/>
                    </a:cubicBezTo>
                    <a:cubicBezTo>
                      <a:pt x="59" y="3"/>
                      <a:pt x="59" y="3"/>
                      <a:pt x="59" y="3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62" y="9"/>
                      <a:pt x="62" y="9"/>
                      <a:pt x="62" y="9"/>
                    </a:cubicBezTo>
                    <a:cubicBezTo>
                      <a:pt x="58" y="8"/>
                      <a:pt x="58" y="8"/>
                      <a:pt x="58" y="8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49" y="4"/>
                      <a:pt x="49" y="4"/>
                      <a:pt x="49" y="4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6" y="10"/>
                      <a:pt x="46" y="10"/>
                      <a:pt x="46" y="10"/>
                    </a:cubicBezTo>
                    <a:cubicBezTo>
                      <a:pt x="47" y="14"/>
                      <a:pt x="47" y="14"/>
                      <a:pt x="47" y="14"/>
                    </a:cubicBezTo>
                    <a:cubicBezTo>
                      <a:pt x="47" y="18"/>
                      <a:pt x="47" y="18"/>
                      <a:pt x="47" y="18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0" y="24"/>
                      <a:pt x="50" y="24"/>
                      <a:pt x="50" y="24"/>
                    </a:cubicBezTo>
                    <a:cubicBezTo>
                      <a:pt x="49" y="26"/>
                      <a:pt x="49" y="26"/>
                      <a:pt x="49" y="26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47" y="31"/>
                      <a:pt x="47" y="31"/>
                      <a:pt x="47" y="31"/>
                    </a:cubicBezTo>
                    <a:cubicBezTo>
                      <a:pt x="46" y="22"/>
                      <a:pt x="46" y="22"/>
                      <a:pt x="46" y="22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1" y="17"/>
                      <a:pt x="41" y="17"/>
                      <a:pt x="41" y="17"/>
                    </a:cubicBezTo>
                    <a:cubicBezTo>
                      <a:pt x="41" y="20"/>
                      <a:pt x="41" y="20"/>
                      <a:pt x="41" y="20"/>
                    </a:cubicBezTo>
                    <a:cubicBezTo>
                      <a:pt x="38" y="20"/>
                      <a:pt x="38" y="20"/>
                      <a:pt x="38" y="20"/>
                    </a:cubicBezTo>
                    <a:cubicBezTo>
                      <a:pt x="36" y="22"/>
                      <a:pt x="36" y="22"/>
                      <a:pt x="36" y="22"/>
                    </a:cubicBezTo>
                    <a:cubicBezTo>
                      <a:pt x="36" y="27"/>
                      <a:pt x="36" y="27"/>
                      <a:pt x="36" y="27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39" y="35"/>
                      <a:pt x="39" y="35"/>
                      <a:pt x="39" y="35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46" y="40"/>
                      <a:pt x="46" y="40"/>
                      <a:pt x="46" y="40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49" y="36"/>
                      <a:pt x="49" y="36"/>
                      <a:pt x="49" y="36"/>
                    </a:cubicBezTo>
                    <a:cubicBezTo>
                      <a:pt x="49" y="40"/>
                      <a:pt x="49" y="40"/>
                      <a:pt x="49" y="40"/>
                    </a:cubicBezTo>
                    <a:cubicBezTo>
                      <a:pt x="52" y="45"/>
                      <a:pt x="52" y="45"/>
                      <a:pt x="52" y="45"/>
                    </a:cubicBezTo>
                    <a:cubicBezTo>
                      <a:pt x="52" y="48"/>
                      <a:pt x="52" y="48"/>
                      <a:pt x="52" y="48"/>
                    </a:cubicBezTo>
                    <a:cubicBezTo>
                      <a:pt x="50" y="48"/>
                      <a:pt x="50" y="48"/>
                      <a:pt x="50" y="48"/>
                    </a:cubicBezTo>
                    <a:cubicBezTo>
                      <a:pt x="48" y="43"/>
                      <a:pt x="48" y="43"/>
                      <a:pt x="48" y="43"/>
                    </a:cubicBezTo>
                    <a:cubicBezTo>
                      <a:pt x="46" y="42"/>
                      <a:pt x="46" y="42"/>
                      <a:pt x="46" y="42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41" y="45"/>
                      <a:pt x="41" y="45"/>
                      <a:pt x="41" y="45"/>
                    </a:cubicBezTo>
                    <a:cubicBezTo>
                      <a:pt x="43" y="49"/>
                      <a:pt x="43" y="49"/>
                      <a:pt x="43" y="49"/>
                    </a:cubicBezTo>
                    <a:cubicBezTo>
                      <a:pt x="42" y="52"/>
                      <a:pt x="42" y="52"/>
                      <a:pt x="42" y="52"/>
                    </a:cubicBezTo>
                    <a:cubicBezTo>
                      <a:pt x="40" y="55"/>
                      <a:pt x="40" y="55"/>
                      <a:pt x="40" y="55"/>
                    </a:cubicBezTo>
                    <a:cubicBezTo>
                      <a:pt x="40" y="58"/>
                      <a:pt x="40" y="58"/>
                      <a:pt x="40" y="5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6" y="64"/>
                      <a:pt x="36" y="64"/>
                      <a:pt x="36" y="64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32" y="69"/>
                      <a:pt x="32" y="69"/>
                      <a:pt x="32" y="69"/>
                    </a:cubicBezTo>
                    <a:cubicBezTo>
                      <a:pt x="29" y="65"/>
                      <a:pt x="29" y="65"/>
                      <a:pt x="29" y="65"/>
                    </a:cubicBezTo>
                    <a:cubicBezTo>
                      <a:pt x="29" y="61"/>
                      <a:pt x="29" y="61"/>
                      <a:pt x="29" y="61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2"/>
                      <a:pt x="25" y="52"/>
                      <a:pt x="25" y="52"/>
                    </a:cubicBezTo>
                    <a:cubicBezTo>
                      <a:pt x="25" y="49"/>
                      <a:pt x="25" y="49"/>
                      <a:pt x="25" y="49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2" y="46"/>
                      <a:pt x="22" y="46"/>
                      <a:pt x="22" y="46"/>
                    </a:cubicBezTo>
                    <a:cubicBezTo>
                      <a:pt x="23" y="46"/>
                      <a:pt x="23" y="46"/>
                      <a:pt x="23" y="46"/>
                    </a:cubicBezTo>
                    <a:cubicBezTo>
                      <a:pt x="25" y="43"/>
                      <a:pt x="25" y="43"/>
                      <a:pt x="25" y="43"/>
                    </a:cubicBezTo>
                    <a:cubicBezTo>
                      <a:pt x="23" y="41"/>
                      <a:pt x="23" y="41"/>
                      <a:pt x="23" y="41"/>
                    </a:cubicBezTo>
                    <a:cubicBezTo>
                      <a:pt x="20" y="40"/>
                      <a:pt x="20" y="40"/>
                      <a:pt x="20" y="40"/>
                    </a:cubicBezTo>
                    <a:cubicBezTo>
                      <a:pt x="15" y="42"/>
                      <a:pt x="15" y="42"/>
                      <a:pt x="15" y="42"/>
                    </a:cubicBezTo>
                    <a:cubicBezTo>
                      <a:pt x="14" y="40"/>
                      <a:pt x="14" y="40"/>
                      <a:pt x="14" y="40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7" y="45"/>
                      <a:pt x="7" y="45"/>
                      <a:pt x="7" y="45"/>
                    </a:cubicBezTo>
                    <a:cubicBezTo>
                      <a:pt x="2" y="51"/>
                      <a:pt x="2" y="51"/>
                      <a:pt x="2" y="51"/>
                    </a:cubicBezTo>
                    <a:cubicBezTo>
                      <a:pt x="4" y="54"/>
                      <a:pt x="4" y="54"/>
                      <a:pt x="4" y="54"/>
                    </a:cubicBezTo>
                    <a:cubicBezTo>
                      <a:pt x="4" y="62"/>
                      <a:pt x="4" y="62"/>
                      <a:pt x="4" y="62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5" y="67"/>
                      <a:pt x="5" y="67"/>
                      <a:pt x="5" y="67"/>
                    </a:cubicBezTo>
                    <a:cubicBezTo>
                      <a:pt x="4" y="73"/>
                      <a:pt x="4" y="73"/>
                      <a:pt x="4" y="73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1" y="81"/>
                      <a:pt x="1" y="81"/>
                      <a:pt x="1" y="81"/>
                    </a:cubicBezTo>
                    <a:cubicBezTo>
                      <a:pt x="2" y="83"/>
                      <a:pt x="2" y="83"/>
                      <a:pt x="2" y="83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9" y="82"/>
                      <a:pt x="9" y="82"/>
                      <a:pt x="9" y="82"/>
                    </a:cubicBezTo>
                    <a:cubicBezTo>
                      <a:pt x="11" y="83"/>
                      <a:pt x="11" y="83"/>
                      <a:pt x="11" y="83"/>
                    </a:cubicBezTo>
                    <a:cubicBezTo>
                      <a:pt x="11" y="88"/>
                      <a:pt x="11" y="88"/>
                      <a:pt x="11" y="88"/>
                    </a:cubicBezTo>
                    <a:cubicBezTo>
                      <a:pt x="12" y="90"/>
                      <a:pt x="12" y="90"/>
                      <a:pt x="12" y="90"/>
                    </a:cubicBezTo>
                    <a:cubicBezTo>
                      <a:pt x="14" y="90"/>
                      <a:pt x="14" y="90"/>
                      <a:pt x="14" y="90"/>
                    </a:cubicBezTo>
                    <a:cubicBezTo>
                      <a:pt x="16" y="95"/>
                      <a:pt x="16" y="95"/>
                      <a:pt x="16" y="95"/>
                    </a:cubicBezTo>
                    <a:cubicBezTo>
                      <a:pt x="16" y="102"/>
                      <a:pt x="16" y="102"/>
                      <a:pt x="16" y="102"/>
                    </a:cubicBezTo>
                    <a:cubicBezTo>
                      <a:pt x="19" y="106"/>
                      <a:pt x="19" y="106"/>
                      <a:pt x="19" y="106"/>
                    </a:cubicBezTo>
                    <a:cubicBezTo>
                      <a:pt x="19" y="110"/>
                      <a:pt x="19" y="110"/>
                      <a:pt x="19" y="110"/>
                    </a:cubicBezTo>
                    <a:cubicBezTo>
                      <a:pt x="20" y="114"/>
                      <a:pt x="20" y="114"/>
                      <a:pt x="20" y="114"/>
                    </a:cubicBezTo>
                    <a:cubicBezTo>
                      <a:pt x="23" y="115"/>
                      <a:pt x="23" y="115"/>
                      <a:pt x="23" y="115"/>
                    </a:cubicBezTo>
                    <a:cubicBezTo>
                      <a:pt x="22" y="118"/>
                      <a:pt x="22" y="118"/>
                      <a:pt x="22" y="118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0" y="129"/>
                      <a:pt x="20" y="129"/>
                      <a:pt x="20" y="129"/>
                    </a:cubicBezTo>
                    <a:cubicBezTo>
                      <a:pt x="23" y="132"/>
                      <a:pt x="23" y="132"/>
                      <a:pt x="23" y="132"/>
                    </a:cubicBezTo>
                    <a:cubicBezTo>
                      <a:pt x="24" y="137"/>
                      <a:pt x="24" y="137"/>
                      <a:pt x="24" y="137"/>
                    </a:cubicBezTo>
                    <a:cubicBezTo>
                      <a:pt x="23" y="141"/>
                      <a:pt x="23" y="141"/>
                      <a:pt x="23" y="141"/>
                    </a:cubicBezTo>
                    <a:cubicBezTo>
                      <a:pt x="24" y="143"/>
                      <a:pt x="24" y="143"/>
                      <a:pt x="24" y="143"/>
                    </a:cubicBezTo>
                    <a:cubicBezTo>
                      <a:pt x="26" y="141"/>
                      <a:pt x="26" y="141"/>
                      <a:pt x="26" y="141"/>
                    </a:cubicBezTo>
                    <a:cubicBezTo>
                      <a:pt x="27" y="143"/>
                      <a:pt x="27" y="143"/>
                      <a:pt x="27" y="143"/>
                    </a:cubicBezTo>
                    <a:cubicBezTo>
                      <a:pt x="28" y="148"/>
                      <a:pt x="28" y="148"/>
                      <a:pt x="28" y="148"/>
                    </a:cubicBezTo>
                    <a:cubicBezTo>
                      <a:pt x="30" y="150"/>
                      <a:pt x="30" y="150"/>
                      <a:pt x="30" y="150"/>
                    </a:cubicBezTo>
                    <a:cubicBezTo>
                      <a:pt x="30" y="150"/>
                      <a:pt x="35" y="148"/>
                      <a:pt x="35" y="148"/>
                    </a:cubicBezTo>
                    <a:cubicBezTo>
                      <a:pt x="36" y="144"/>
                      <a:pt x="36" y="144"/>
                      <a:pt x="36" y="144"/>
                    </a:cubicBezTo>
                    <a:cubicBezTo>
                      <a:pt x="41" y="141"/>
                      <a:pt x="41" y="141"/>
                      <a:pt x="41" y="141"/>
                    </a:cubicBezTo>
                    <a:cubicBezTo>
                      <a:pt x="41" y="137"/>
                      <a:pt x="41" y="137"/>
                      <a:pt x="41" y="137"/>
                    </a:cubicBezTo>
                    <a:cubicBezTo>
                      <a:pt x="40" y="134"/>
                      <a:pt x="40" y="134"/>
                      <a:pt x="40" y="134"/>
                    </a:cubicBezTo>
                    <a:cubicBezTo>
                      <a:pt x="37" y="126"/>
                      <a:pt x="37" y="126"/>
                      <a:pt x="37" y="126"/>
                    </a:cubicBezTo>
                    <a:cubicBezTo>
                      <a:pt x="38" y="122"/>
                      <a:pt x="38" y="122"/>
                      <a:pt x="38" y="122"/>
                    </a:cubicBezTo>
                    <a:cubicBezTo>
                      <a:pt x="44" y="115"/>
                      <a:pt x="44" y="115"/>
                      <a:pt x="44" y="115"/>
                    </a:cubicBezTo>
                    <a:cubicBezTo>
                      <a:pt x="43" y="118"/>
                      <a:pt x="43" y="118"/>
                      <a:pt x="43" y="118"/>
                    </a:cubicBezTo>
                    <a:cubicBezTo>
                      <a:pt x="40" y="124"/>
                      <a:pt x="40" y="124"/>
                      <a:pt x="40" y="124"/>
                    </a:cubicBezTo>
                    <a:cubicBezTo>
                      <a:pt x="42" y="132"/>
                      <a:pt x="42" y="132"/>
                      <a:pt x="42" y="132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47" y="131"/>
                      <a:pt x="47" y="131"/>
                      <a:pt x="47" y="131"/>
                    </a:cubicBezTo>
                    <a:cubicBezTo>
                      <a:pt x="52" y="134"/>
                      <a:pt x="52" y="134"/>
                      <a:pt x="52" y="134"/>
                    </a:cubicBezTo>
                    <a:cubicBezTo>
                      <a:pt x="57" y="132"/>
                      <a:pt x="57" y="132"/>
                      <a:pt x="57" y="132"/>
                    </a:cubicBezTo>
                    <a:cubicBezTo>
                      <a:pt x="57" y="129"/>
                      <a:pt x="57" y="129"/>
                      <a:pt x="57" y="129"/>
                    </a:cubicBezTo>
                    <a:cubicBezTo>
                      <a:pt x="61" y="127"/>
                      <a:pt x="61" y="127"/>
                      <a:pt x="61" y="127"/>
                    </a:cubicBezTo>
                    <a:cubicBezTo>
                      <a:pt x="64" y="127"/>
                      <a:pt x="64" y="127"/>
                      <a:pt x="64" y="127"/>
                    </a:cubicBezTo>
                    <a:cubicBezTo>
                      <a:pt x="67" y="125"/>
                      <a:pt x="67" y="125"/>
                      <a:pt x="67" y="125"/>
                    </a:cubicBezTo>
                    <a:cubicBezTo>
                      <a:pt x="68" y="126"/>
                      <a:pt x="68" y="126"/>
                      <a:pt x="68" y="126"/>
                    </a:cubicBezTo>
                    <a:cubicBezTo>
                      <a:pt x="72" y="122"/>
                      <a:pt x="72" y="122"/>
                      <a:pt x="72" y="122"/>
                    </a:cubicBezTo>
                    <a:cubicBezTo>
                      <a:pt x="70" y="118"/>
                      <a:pt x="70" y="118"/>
                      <a:pt x="70" y="118"/>
                    </a:cubicBezTo>
                    <a:cubicBezTo>
                      <a:pt x="74" y="118"/>
                      <a:pt x="74" y="118"/>
                      <a:pt x="74" y="118"/>
                    </a:cubicBezTo>
                    <a:cubicBezTo>
                      <a:pt x="74" y="116"/>
                      <a:pt x="74" y="116"/>
                      <a:pt x="74" y="116"/>
                    </a:cubicBezTo>
                    <a:cubicBezTo>
                      <a:pt x="70" y="113"/>
                      <a:pt x="70" y="113"/>
                      <a:pt x="70" y="113"/>
                    </a:cubicBezTo>
                    <a:cubicBezTo>
                      <a:pt x="70" y="111"/>
                      <a:pt x="70" y="111"/>
                      <a:pt x="70" y="111"/>
                    </a:cubicBezTo>
                    <a:cubicBezTo>
                      <a:pt x="72" y="109"/>
                      <a:pt x="72" y="109"/>
                      <a:pt x="72" y="109"/>
                    </a:cubicBezTo>
                    <a:cubicBezTo>
                      <a:pt x="73" y="111"/>
                      <a:pt x="73" y="111"/>
                      <a:pt x="73" y="111"/>
                    </a:cubicBezTo>
                    <a:cubicBezTo>
                      <a:pt x="75" y="111"/>
                      <a:pt x="75" y="111"/>
                      <a:pt x="75" y="111"/>
                    </a:cubicBezTo>
                    <a:cubicBezTo>
                      <a:pt x="77" y="105"/>
                      <a:pt x="77" y="105"/>
                      <a:pt x="77" y="105"/>
                    </a:cubicBezTo>
                    <a:cubicBezTo>
                      <a:pt x="75" y="102"/>
                      <a:pt x="75" y="102"/>
                      <a:pt x="75" y="102"/>
                    </a:cubicBezTo>
                    <a:cubicBezTo>
                      <a:pt x="76" y="100"/>
                      <a:pt x="76" y="100"/>
                      <a:pt x="76" y="100"/>
                    </a:cubicBezTo>
                    <a:lnTo>
                      <a:pt x="79" y="10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1216">
                <a:extLst>
                  <a:ext uri="{FF2B5EF4-FFF2-40B4-BE49-F238E27FC236}">
                    <a16:creationId xmlns:a16="http://schemas.microsoft.com/office/drawing/2014/main" id="{426EF625-2AA6-43D5-8C05-58540C0BAE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6063" y="1827213"/>
                <a:ext cx="3175" cy="4763"/>
              </a:xfrm>
              <a:custGeom>
                <a:avLst/>
                <a:gdLst>
                  <a:gd name="T0" fmla="*/ 0 w 2"/>
                  <a:gd name="T1" fmla="*/ 3 h 3"/>
                  <a:gd name="T2" fmla="*/ 0 w 2"/>
                  <a:gd name="T3" fmla="*/ 3 h 3"/>
                  <a:gd name="T4" fmla="*/ 2 w 2"/>
                  <a:gd name="T5" fmla="*/ 3 h 3"/>
                  <a:gd name="T6" fmla="*/ 2 w 2"/>
                  <a:gd name="T7" fmla="*/ 0 h 3"/>
                  <a:gd name="T8" fmla="*/ 0 w 2"/>
                  <a:gd name="T9" fmla="*/ 0 h 3"/>
                  <a:gd name="T10" fmla="*/ 0 w 2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1217">
                <a:extLst>
                  <a:ext uri="{FF2B5EF4-FFF2-40B4-BE49-F238E27FC236}">
                    <a16:creationId xmlns:a16="http://schemas.microsoft.com/office/drawing/2014/main" id="{5B29E649-9928-42EA-BF44-7CB2C7849C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7663" y="2051050"/>
                <a:ext cx="11113" cy="19050"/>
              </a:xfrm>
              <a:custGeom>
                <a:avLst/>
                <a:gdLst>
                  <a:gd name="T0" fmla="*/ 6 w 7"/>
                  <a:gd name="T1" fmla="*/ 7 h 12"/>
                  <a:gd name="T2" fmla="*/ 7 w 7"/>
                  <a:gd name="T3" fmla="*/ 4 h 12"/>
                  <a:gd name="T4" fmla="*/ 7 w 7"/>
                  <a:gd name="T5" fmla="*/ 1 h 12"/>
                  <a:gd name="T6" fmla="*/ 6 w 7"/>
                  <a:gd name="T7" fmla="*/ 0 h 12"/>
                  <a:gd name="T8" fmla="*/ 5 w 7"/>
                  <a:gd name="T9" fmla="*/ 2 h 12"/>
                  <a:gd name="T10" fmla="*/ 2 w 7"/>
                  <a:gd name="T11" fmla="*/ 5 h 12"/>
                  <a:gd name="T12" fmla="*/ 2 w 7"/>
                  <a:gd name="T13" fmla="*/ 9 h 12"/>
                  <a:gd name="T14" fmla="*/ 0 w 7"/>
                  <a:gd name="T15" fmla="*/ 12 h 12"/>
                  <a:gd name="T16" fmla="*/ 4 w 7"/>
                  <a:gd name="T17" fmla="*/ 12 h 12"/>
                  <a:gd name="T18" fmla="*/ 6 w 7"/>
                  <a:gd name="T19" fmla="*/ 11 h 12"/>
                  <a:gd name="T20" fmla="*/ 6 w 7"/>
                  <a:gd name="T21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12">
                    <a:moveTo>
                      <a:pt x="6" y="7"/>
                    </a:moveTo>
                    <a:lnTo>
                      <a:pt x="7" y="4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5" y="2"/>
                    </a:lnTo>
                    <a:lnTo>
                      <a:pt x="2" y="5"/>
                    </a:lnTo>
                    <a:lnTo>
                      <a:pt x="2" y="9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6" y="11"/>
                    </a:lnTo>
                    <a:lnTo>
                      <a:pt x="6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1218">
                <a:extLst>
                  <a:ext uri="{FF2B5EF4-FFF2-40B4-BE49-F238E27FC236}">
                    <a16:creationId xmlns:a16="http://schemas.microsoft.com/office/drawing/2014/main" id="{4398E096-A940-4872-ADA3-8D6421BEF8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5151" y="2544763"/>
                <a:ext cx="4763" cy="7938"/>
              </a:xfrm>
              <a:custGeom>
                <a:avLst/>
                <a:gdLst>
                  <a:gd name="T0" fmla="*/ 2 w 3"/>
                  <a:gd name="T1" fmla="*/ 5 h 5"/>
                  <a:gd name="T2" fmla="*/ 3 w 3"/>
                  <a:gd name="T3" fmla="*/ 2 h 5"/>
                  <a:gd name="T4" fmla="*/ 1 w 3"/>
                  <a:gd name="T5" fmla="*/ 0 h 5"/>
                  <a:gd name="T6" fmla="*/ 0 w 3"/>
                  <a:gd name="T7" fmla="*/ 1 h 5"/>
                  <a:gd name="T8" fmla="*/ 1 w 3"/>
                  <a:gd name="T9" fmla="*/ 4 h 5"/>
                  <a:gd name="T10" fmla="*/ 1 w 3"/>
                  <a:gd name="T11" fmla="*/ 5 h 5"/>
                  <a:gd name="T12" fmla="*/ 2 w 3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5">
                    <a:moveTo>
                      <a:pt x="2" y="5"/>
                    </a:moveTo>
                    <a:lnTo>
                      <a:pt x="3" y="2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1" y="4"/>
                    </a:lnTo>
                    <a:lnTo>
                      <a:pt x="1" y="5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1219">
                <a:extLst>
                  <a:ext uri="{FF2B5EF4-FFF2-40B4-BE49-F238E27FC236}">
                    <a16:creationId xmlns:a16="http://schemas.microsoft.com/office/drawing/2014/main" id="{D436F325-A534-4AC0-B44E-9C2490777C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6863" y="2768600"/>
                <a:ext cx="3175" cy="7938"/>
              </a:xfrm>
              <a:custGeom>
                <a:avLst/>
                <a:gdLst>
                  <a:gd name="T0" fmla="*/ 2 w 2"/>
                  <a:gd name="T1" fmla="*/ 4 h 5"/>
                  <a:gd name="T2" fmla="*/ 2 w 2"/>
                  <a:gd name="T3" fmla="*/ 0 h 5"/>
                  <a:gd name="T4" fmla="*/ 1 w 2"/>
                  <a:gd name="T5" fmla="*/ 1 h 5"/>
                  <a:gd name="T6" fmla="*/ 0 w 2"/>
                  <a:gd name="T7" fmla="*/ 1 h 5"/>
                  <a:gd name="T8" fmla="*/ 1 w 2"/>
                  <a:gd name="T9" fmla="*/ 4 h 5"/>
                  <a:gd name="T10" fmla="*/ 2 w 2"/>
                  <a:gd name="T11" fmla="*/ 5 h 5"/>
                  <a:gd name="T12" fmla="*/ 2 w 2"/>
                  <a:gd name="T13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5">
                    <a:moveTo>
                      <a:pt x="2" y="4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1" y="4"/>
                    </a:lnTo>
                    <a:lnTo>
                      <a:pt x="2" y="5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1220">
                <a:extLst>
                  <a:ext uri="{FF2B5EF4-FFF2-40B4-BE49-F238E27FC236}">
                    <a16:creationId xmlns:a16="http://schemas.microsoft.com/office/drawing/2014/main" id="{B537C7DB-65FB-4FC8-A397-1A30AF99B0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7663" y="2176463"/>
                <a:ext cx="7938" cy="23813"/>
              </a:xfrm>
              <a:custGeom>
                <a:avLst/>
                <a:gdLst>
                  <a:gd name="T0" fmla="*/ 3 w 5"/>
                  <a:gd name="T1" fmla="*/ 0 h 15"/>
                  <a:gd name="T2" fmla="*/ 2 w 5"/>
                  <a:gd name="T3" fmla="*/ 0 h 15"/>
                  <a:gd name="T4" fmla="*/ 1 w 5"/>
                  <a:gd name="T5" fmla="*/ 3 h 15"/>
                  <a:gd name="T6" fmla="*/ 1 w 5"/>
                  <a:gd name="T7" fmla="*/ 8 h 15"/>
                  <a:gd name="T8" fmla="*/ 0 w 5"/>
                  <a:gd name="T9" fmla="*/ 10 h 15"/>
                  <a:gd name="T10" fmla="*/ 1 w 5"/>
                  <a:gd name="T11" fmla="*/ 11 h 15"/>
                  <a:gd name="T12" fmla="*/ 1 w 5"/>
                  <a:gd name="T13" fmla="*/ 15 h 15"/>
                  <a:gd name="T14" fmla="*/ 2 w 5"/>
                  <a:gd name="T15" fmla="*/ 14 h 15"/>
                  <a:gd name="T16" fmla="*/ 5 w 5"/>
                  <a:gd name="T17" fmla="*/ 8 h 15"/>
                  <a:gd name="T18" fmla="*/ 3 w 5"/>
                  <a:gd name="T19" fmla="*/ 6 h 15"/>
                  <a:gd name="T20" fmla="*/ 3 w 5"/>
                  <a:gd name="T21" fmla="*/ 4 h 15"/>
                  <a:gd name="T22" fmla="*/ 4 w 5"/>
                  <a:gd name="T23" fmla="*/ 3 h 15"/>
                  <a:gd name="T24" fmla="*/ 3 w 5"/>
                  <a:gd name="T2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" h="15">
                    <a:moveTo>
                      <a:pt x="3" y="0"/>
                    </a:moveTo>
                    <a:lnTo>
                      <a:pt x="2" y="0"/>
                    </a:lnTo>
                    <a:lnTo>
                      <a:pt x="1" y="3"/>
                    </a:lnTo>
                    <a:lnTo>
                      <a:pt x="1" y="8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1" y="15"/>
                    </a:lnTo>
                    <a:lnTo>
                      <a:pt x="2" y="14"/>
                    </a:lnTo>
                    <a:lnTo>
                      <a:pt x="5" y="8"/>
                    </a:lnTo>
                    <a:lnTo>
                      <a:pt x="3" y="6"/>
                    </a:lnTo>
                    <a:lnTo>
                      <a:pt x="3" y="4"/>
                    </a:lnTo>
                    <a:lnTo>
                      <a:pt x="4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Freeform 1221">
                <a:extLst>
                  <a:ext uri="{FF2B5EF4-FFF2-40B4-BE49-F238E27FC236}">
                    <a16:creationId xmlns:a16="http://schemas.microsoft.com/office/drawing/2014/main" id="{F442D858-06C6-4E40-9A0E-258334B5FD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6863" y="2824163"/>
                <a:ext cx="7938" cy="6350"/>
              </a:xfrm>
              <a:custGeom>
                <a:avLst/>
                <a:gdLst>
                  <a:gd name="T0" fmla="*/ 2 w 5"/>
                  <a:gd name="T1" fmla="*/ 4 h 4"/>
                  <a:gd name="T2" fmla="*/ 5 w 5"/>
                  <a:gd name="T3" fmla="*/ 2 h 4"/>
                  <a:gd name="T4" fmla="*/ 4 w 5"/>
                  <a:gd name="T5" fmla="*/ 0 h 4"/>
                  <a:gd name="T6" fmla="*/ 3 w 5"/>
                  <a:gd name="T7" fmla="*/ 0 h 4"/>
                  <a:gd name="T8" fmla="*/ 1 w 5"/>
                  <a:gd name="T9" fmla="*/ 1 h 4"/>
                  <a:gd name="T10" fmla="*/ 0 w 5"/>
                  <a:gd name="T11" fmla="*/ 4 h 4"/>
                  <a:gd name="T12" fmla="*/ 2 w 5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4">
                    <a:moveTo>
                      <a:pt x="2" y="4"/>
                    </a:moveTo>
                    <a:lnTo>
                      <a:pt x="5" y="2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Freeform 1222">
                <a:extLst>
                  <a:ext uri="{FF2B5EF4-FFF2-40B4-BE49-F238E27FC236}">
                    <a16:creationId xmlns:a16="http://schemas.microsoft.com/office/drawing/2014/main" id="{4B03D683-20C4-460D-89F5-D88690E91A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6076" y="2651125"/>
                <a:ext cx="4763" cy="9525"/>
              </a:xfrm>
              <a:custGeom>
                <a:avLst/>
                <a:gdLst>
                  <a:gd name="T0" fmla="*/ 4 w 4"/>
                  <a:gd name="T1" fmla="*/ 5 h 7"/>
                  <a:gd name="T2" fmla="*/ 4 w 4"/>
                  <a:gd name="T3" fmla="*/ 0 h 7"/>
                  <a:gd name="T4" fmla="*/ 3 w 4"/>
                  <a:gd name="T5" fmla="*/ 0 h 7"/>
                  <a:gd name="T6" fmla="*/ 3 w 4"/>
                  <a:gd name="T7" fmla="*/ 4 h 7"/>
                  <a:gd name="T8" fmla="*/ 0 w 4"/>
                  <a:gd name="T9" fmla="*/ 7 h 7"/>
                  <a:gd name="T10" fmla="*/ 2 w 4"/>
                  <a:gd name="T11" fmla="*/ 7 h 7"/>
                  <a:gd name="T12" fmla="*/ 4 w 4"/>
                  <a:gd name="T13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7">
                    <a:moveTo>
                      <a:pt x="4" y="5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2" y="7"/>
                      <a:pt x="2" y="7"/>
                    </a:cubicBezTo>
                    <a:lnTo>
                      <a:pt x="4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Freeform 1223">
                <a:extLst>
                  <a:ext uri="{FF2B5EF4-FFF2-40B4-BE49-F238E27FC236}">
                    <a16:creationId xmlns:a16="http://schemas.microsoft.com/office/drawing/2014/main" id="{60C53FD6-77D3-4C82-8551-A9B10A1574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4488" y="2636838"/>
                <a:ext cx="1588" cy="3175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1 h 2"/>
                  <a:gd name="T4" fmla="*/ 1 w 1"/>
                  <a:gd name="T5" fmla="*/ 2 h 2"/>
                  <a:gd name="T6" fmla="*/ 1 w 1"/>
                  <a:gd name="T7" fmla="*/ 1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0" y="1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Freeform 1224">
                <a:extLst>
                  <a:ext uri="{FF2B5EF4-FFF2-40B4-BE49-F238E27FC236}">
                    <a16:creationId xmlns:a16="http://schemas.microsoft.com/office/drawing/2014/main" id="{104D1B68-4D50-4295-9497-08F79F8861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5126" y="2171700"/>
                <a:ext cx="19050" cy="28575"/>
              </a:xfrm>
              <a:custGeom>
                <a:avLst/>
                <a:gdLst>
                  <a:gd name="T0" fmla="*/ 5 w 12"/>
                  <a:gd name="T1" fmla="*/ 7 h 18"/>
                  <a:gd name="T2" fmla="*/ 5 w 12"/>
                  <a:gd name="T3" fmla="*/ 4 h 18"/>
                  <a:gd name="T4" fmla="*/ 1 w 12"/>
                  <a:gd name="T5" fmla="*/ 4 h 18"/>
                  <a:gd name="T6" fmla="*/ 1 w 12"/>
                  <a:gd name="T7" fmla="*/ 0 h 18"/>
                  <a:gd name="T8" fmla="*/ 0 w 12"/>
                  <a:gd name="T9" fmla="*/ 1 h 18"/>
                  <a:gd name="T10" fmla="*/ 0 w 12"/>
                  <a:gd name="T11" fmla="*/ 6 h 18"/>
                  <a:gd name="T12" fmla="*/ 1 w 12"/>
                  <a:gd name="T13" fmla="*/ 7 h 18"/>
                  <a:gd name="T14" fmla="*/ 2 w 12"/>
                  <a:gd name="T15" fmla="*/ 11 h 18"/>
                  <a:gd name="T16" fmla="*/ 2 w 12"/>
                  <a:gd name="T17" fmla="*/ 13 h 18"/>
                  <a:gd name="T18" fmla="*/ 5 w 12"/>
                  <a:gd name="T19" fmla="*/ 14 h 18"/>
                  <a:gd name="T20" fmla="*/ 6 w 12"/>
                  <a:gd name="T21" fmla="*/ 16 h 18"/>
                  <a:gd name="T22" fmla="*/ 6 w 12"/>
                  <a:gd name="T23" fmla="*/ 18 h 18"/>
                  <a:gd name="T24" fmla="*/ 8 w 12"/>
                  <a:gd name="T25" fmla="*/ 18 h 18"/>
                  <a:gd name="T26" fmla="*/ 11 w 12"/>
                  <a:gd name="T27" fmla="*/ 18 h 18"/>
                  <a:gd name="T28" fmla="*/ 12 w 12"/>
                  <a:gd name="T29" fmla="*/ 15 h 18"/>
                  <a:gd name="T30" fmla="*/ 9 w 12"/>
                  <a:gd name="T31" fmla="*/ 15 h 18"/>
                  <a:gd name="T32" fmla="*/ 6 w 12"/>
                  <a:gd name="T33" fmla="*/ 13 h 18"/>
                  <a:gd name="T34" fmla="*/ 6 w 12"/>
                  <a:gd name="T35" fmla="*/ 8 h 18"/>
                  <a:gd name="T36" fmla="*/ 5 w 12"/>
                  <a:gd name="T37" fmla="*/ 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" h="18">
                    <a:moveTo>
                      <a:pt x="5" y="7"/>
                    </a:moveTo>
                    <a:lnTo>
                      <a:pt x="5" y="4"/>
                    </a:lnTo>
                    <a:lnTo>
                      <a:pt x="1" y="4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6"/>
                    </a:lnTo>
                    <a:lnTo>
                      <a:pt x="1" y="7"/>
                    </a:lnTo>
                    <a:lnTo>
                      <a:pt x="2" y="11"/>
                    </a:lnTo>
                    <a:lnTo>
                      <a:pt x="2" y="13"/>
                    </a:lnTo>
                    <a:lnTo>
                      <a:pt x="5" y="14"/>
                    </a:lnTo>
                    <a:lnTo>
                      <a:pt x="6" y="16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11" y="18"/>
                    </a:lnTo>
                    <a:lnTo>
                      <a:pt x="12" y="15"/>
                    </a:lnTo>
                    <a:lnTo>
                      <a:pt x="9" y="15"/>
                    </a:lnTo>
                    <a:lnTo>
                      <a:pt x="6" y="13"/>
                    </a:lnTo>
                    <a:lnTo>
                      <a:pt x="6" y="8"/>
                    </a:lnTo>
                    <a:lnTo>
                      <a:pt x="5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Freeform 1225">
                <a:extLst>
                  <a:ext uri="{FF2B5EF4-FFF2-40B4-BE49-F238E27FC236}">
                    <a16:creationId xmlns:a16="http://schemas.microsoft.com/office/drawing/2014/main" id="{2AB4243B-279F-4D5D-B451-AB34DB55C8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088" y="2339975"/>
                <a:ext cx="47625" cy="38100"/>
              </a:xfrm>
              <a:custGeom>
                <a:avLst/>
                <a:gdLst>
                  <a:gd name="T0" fmla="*/ 31 w 38"/>
                  <a:gd name="T1" fmla="*/ 15 h 31"/>
                  <a:gd name="T2" fmla="*/ 35 w 38"/>
                  <a:gd name="T3" fmla="*/ 11 h 31"/>
                  <a:gd name="T4" fmla="*/ 35 w 38"/>
                  <a:gd name="T5" fmla="*/ 8 h 31"/>
                  <a:gd name="T6" fmla="*/ 38 w 38"/>
                  <a:gd name="T7" fmla="*/ 4 h 31"/>
                  <a:gd name="T8" fmla="*/ 37 w 38"/>
                  <a:gd name="T9" fmla="*/ 3 h 31"/>
                  <a:gd name="T10" fmla="*/ 33 w 38"/>
                  <a:gd name="T11" fmla="*/ 3 h 31"/>
                  <a:gd name="T12" fmla="*/ 32 w 38"/>
                  <a:gd name="T13" fmla="*/ 2 h 31"/>
                  <a:gd name="T14" fmla="*/ 29 w 38"/>
                  <a:gd name="T15" fmla="*/ 1 h 31"/>
                  <a:gd name="T16" fmla="*/ 26 w 38"/>
                  <a:gd name="T17" fmla="*/ 3 h 31"/>
                  <a:gd name="T18" fmla="*/ 25 w 38"/>
                  <a:gd name="T19" fmla="*/ 2 h 31"/>
                  <a:gd name="T20" fmla="*/ 23 w 38"/>
                  <a:gd name="T21" fmla="*/ 3 h 31"/>
                  <a:gd name="T22" fmla="*/ 21 w 38"/>
                  <a:gd name="T23" fmla="*/ 6 h 31"/>
                  <a:gd name="T24" fmla="*/ 18 w 38"/>
                  <a:gd name="T25" fmla="*/ 4 h 31"/>
                  <a:gd name="T26" fmla="*/ 17 w 38"/>
                  <a:gd name="T27" fmla="*/ 0 h 31"/>
                  <a:gd name="T28" fmla="*/ 16 w 38"/>
                  <a:gd name="T29" fmla="*/ 1 h 31"/>
                  <a:gd name="T30" fmla="*/ 12 w 38"/>
                  <a:gd name="T31" fmla="*/ 2 h 31"/>
                  <a:gd name="T32" fmla="*/ 9 w 38"/>
                  <a:gd name="T33" fmla="*/ 8 h 31"/>
                  <a:gd name="T34" fmla="*/ 8 w 38"/>
                  <a:gd name="T35" fmla="*/ 10 h 31"/>
                  <a:gd name="T36" fmla="*/ 7 w 38"/>
                  <a:gd name="T37" fmla="*/ 12 h 31"/>
                  <a:gd name="T38" fmla="*/ 0 w 38"/>
                  <a:gd name="T39" fmla="*/ 14 h 31"/>
                  <a:gd name="T40" fmla="*/ 0 w 38"/>
                  <a:gd name="T41" fmla="*/ 17 h 31"/>
                  <a:gd name="T42" fmla="*/ 1 w 38"/>
                  <a:gd name="T43" fmla="*/ 19 h 31"/>
                  <a:gd name="T44" fmla="*/ 2 w 38"/>
                  <a:gd name="T45" fmla="*/ 23 h 31"/>
                  <a:gd name="T46" fmla="*/ 1 w 38"/>
                  <a:gd name="T47" fmla="*/ 26 h 31"/>
                  <a:gd name="T48" fmla="*/ 1 w 38"/>
                  <a:gd name="T49" fmla="*/ 30 h 31"/>
                  <a:gd name="T50" fmla="*/ 2 w 38"/>
                  <a:gd name="T51" fmla="*/ 31 h 31"/>
                  <a:gd name="T52" fmla="*/ 4 w 38"/>
                  <a:gd name="T53" fmla="*/ 30 h 31"/>
                  <a:gd name="T54" fmla="*/ 7 w 38"/>
                  <a:gd name="T55" fmla="*/ 26 h 31"/>
                  <a:gd name="T56" fmla="*/ 9 w 38"/>
                  <a:gd name="T57" fmla="*/ 25 h 31"/>
                  <a:gd name="T58" fmla="*/ 11 w 38"/>
                  <a:gd name="T59" fmla="*/ 26 h 31"/>
                  <a:gd name="T60" fmla="*/ 11 w 38"/>
                  <a:gd name="T61" fmla="*/ 28 h 31"/>
                  <a:gd name="T62" fmla="*/ 14 w 38"/>
                  <a:gd name="T63" fmla="*/ 28 h 31"/>
                  <a:gd name="T64" fmla="*/ 19 w 38"/>
                  <a:gd name="T65" fmla="*/ 23 h 31"/>
                  <a:gd name="T66" fmla="*/ 22 w 38"/>
                  <a:gd name="T67" fmla="*/ 22 h 31"/>
                  <a:gd name="T68" fmla="*/ 25 w 38"/>
                  <a:gd name="T69" fmla="*/ 20 h 31"/>
                  <a:gd name="T70" fmla="*/ 28 w 38"/>
                  <a:gd name="T71" fmla="*/ 15 h 31"/>
                  <a:gd name="T72" fmla="*/ 31 w 38"/>
                  <a:gd name="T73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8" h="31">
                    <a:moveTo>
                      <a:pt x="31" y="15"/>
                    </a:moveTo>
                    <a:cubicBezTo>
                      <a:pt x="35" y="11"/>
                      <a:pt x="35" y="11"/>
                      <a:pt x="35" y="11"/>
                    </a:cubicBezTo>
                    <a:cubicBezTo>
                      <a:pt x="35" y="8"/>
                      <a:pt x="35" y="8"/>
                      <a:pt x="35" y="8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33" y="3"/>
                      <a:pt x="33" y="3"/>
                      <a:pt x="33" y="3"/>
                    </a:cubicBezTo>
                    <a:cubicBezTo>
                      <a:pt x="32" y="2"/>
                      <a:pt x="32" y="2"/>
                      <a:pt x="32" y="2"/>
                    </a:cubicBezTo>
                    <a:cubicBezTo>
                      <a:pt x="29" y="1"/>
                      <a:pt x="29" y="1"/>
                      <a:pt x="29" y="1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5" y="2"/>
                      <a:pt x="25" y="2"/>
                      <a:pt x="25" y="2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1" y="26"/>
                      <a:pt x="1" y="26"/>
                      <a:pt x="1" y="26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1" y="30"/>
                      <a:pt x="2" y="31"/>
                      <a:pt x="2" y="31"/>
                    </a:cubicBezTo>
                    <a:cubicBezTo>
                      <a:pt x="4" y="30"/>
                      <a:pt x="4" y="30"/>
                      <a:pt x="4" y="30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11" y="28"/>
                      <a:pt x="11" y="28"/>
                      <a:pt x="11" y="28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8" y="15"/>
                      <a:pt x="28" y="15"/>
                      <a:pt x="28" y="15"/>
                    </a:cubicBezTo>
                    <a:lnTo>
                      <a:pt x="31" y="1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Freeform 1226">
                <a:extLst>
                  <a:ext uri="{FF2B5EF4-FFF2-40B4-BE49-F238E27FC236}">
                    <a16:creationId xmlns:a16="http://schemas.microsoft.com/office/drawing/2014/main" id="{A2D9A748-62BA-4060-85B0-6649B11DAD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1976" y="2544763"/>
                <a:ext cx="1588" cy="1588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0 h 1"/>
                  <a:gd name="T4" fmla="*/ 1 w 1"/>
                  <a:gd name="T5" fmla="*/ 0 h 1"/>
                  <a:gd name="T6" fmla="*/ 0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Freeform 1227">
                <a:extLst>
                  <a:ext uri="{FF2B5EF4-FFF2-40B4-BE49-F238E27FC236}">
                    <a16:creationId xmlns:a16="http://schemas.microsoft.com/office/drawing/2014/main" id="{D3A73DEA-BB2C-4336-AD03-A261CBCCF5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0676" y="2641600"/>
                <a:ext cx="14288" cy="12700"/>
              </a:xfrm>
              <a:custGeom>
                <a:avLst/>
                <a:gdLst>
                  <a:gd name="T0" fmla="*/ 9 w 9"/>
                  <a:gd name="T1" fmla="*/ 0 h 8"/>
                  <a:gd name="T2" fmla="*/ 7 w 9"/>
                  <a:gd name="T3" fmla="*/ 1 h 8"/>
                  <a:gd name="T4" fmla="*/ 5 w 9"/>
                  <a:gd name="T5" fmla="*/ 3 h 8"/>
                  <a:gd name="T6" fmla="*/ 4 w 9"/>
                  <a:gd name="T7" fmla="*/ 3 h 8"/>
                  <a:gd name="T8" fmla="*/ 3 w 9"/>
                  <a:gd name="T9" fmla="*/ 4 h 8"/>
                  <a:gd name="T10" fmla="*/ 2 w 9"/>
                  <a:gd name="T11" fmla="*/ 4 h 8"/>
                  <a:gd name="T12" fmla="*/ 0 w 9"/>
                  <a:gd name="T13" fmla="*/ 8 h 8"/>
                  <a:gd name="T14" fmla="*/ 1 w 9"/>
                  <a:gd name="T15" fmla="*/ 8 h 8"/>
                  <a:gd name="T16" fmla="*/ 3 w 9"/>
                  <a:gd name="T17" fmla="*/ 7 h 8"/>
                  <a:gd name="T18" fmla="*/ 6 w 9"/>
                  <a:gd name="T19" fmla="*/ 4 h 8"/>
                  <a:gd name="T20" fmla="*/ 9 w 9"/>
                  <a:gd name="T2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8">
                    <a:moveTo>
                      <a:pt x="9" y="0"/>
                    </a:moveTo>
                    <a:lnTo>
                      <a:pt x="7" y="1"/>
                    </a:lnTo>
                    <a:lnTo>
                      <a:pt x="5" y="3"/>
                    </a:lnTo>
                    <a:lnTo>
                      <a:pt x="4" y="3"/>
                    </a:lnTo>
                    <a:lnTo>
                      <a:pt x="3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1" y="8"/>
                    </a:lnTo>
                    <a:lnTo>
                      <a:pt x="3" y="7"/>
                    </a:lnTo>
                    <a:lnTo>
                      <a:pt x="6" y="4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Freeform 1228">
                <a:extLst>
                  <a:ext uri="{FF2B5EF4-FFF2-40B4-BE49-F238E27FC236}">
                    <a16:creationId xmlns:a16="http://schemas.microsoft.com/office/drawing/2014/main" id="{3B08F621-E2E1-4DD0-9CD4-49FA8DFF19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5151" y="2544763"/>
                <a:ext cx="0" cy="3175"/>
              </a:xfrm>
              <a:custGeom>
                <a:avLst/>
                <a:gdLst>
                  <a:gd name="T0" fmla="*/ 1 h 2"/>
                  <a:gd name="T1" fmla="*/ 0 h 2"/>
                  <a:gd name="T2" fmla="*/ 2 h 2"/>
                  <a:gd name="T3" fmla="*/ 1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1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1229">
                <a:extLst>
                  <a:ext uri="{FF2B5EF4-FFF2-40B4-BE49-F238E27FC236}">
                    <a16:creationId xmlns:a16="http://schemas.microsoft.com/office/drawing/2014/main" id="{34F031A1-98F1-477C-B0F9-956543036F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5313" y="2928938"/>
                <a:ext cx="53975" cy="39688"/>
              </a:xfrm>
              <a:custGeom>
                <a:avLst/>
                <a:gdLst>
                  <a:gd name="T0" fmla="*/ 23 w 34"/>
                  <a:gd name="T1" fmla="*/ 21 h 25"/>
                  <a:gd name="T2" fmla="*/ 26 w 34"/>
                  <a:gd name="T3" fmla="*/ 24 h 25"/>
                  <a:gd name="T4" fmla="*/ 27 w 34"/>
                  <a:gd name="T5" fmla="*/ 24 h 25"/>
                  <a:gd name="T6" fmla="*/ 30 w 34"/>
                  <a:gd name="T7" fmla="*/ 25 h 25"/>
                  <a:gd name="T8" fmla="*/ 33 w 34"/>
                  <a:gd name="T9" fmla="*/ 24 h 25"/>
                  <a:gd name="T10" fmla="*/ 34 w 34"/>
                  <a:gd name="T11" fmla="*/ 22 h 25"/>
                  <a:gd name="T12" fmla="*/ 33 w 34"/>
                  <a:gd name="T13" fmla="*/ 20 h 25"/>
                  <a:gd name="T14" fmla="*/ 32 w 34"/>
                  <a:gd name="T15" fmla="*/ 18 h 25"/>
                  <a:gd name="T16" fmla="*/ 30 w 34"/>
                  <a:gd name="T17" fmla="*/ 17 h 25"/>
                  <a:gd name="T18" fmla="*/ 28 w 34"/>
                  <a:gd name="T19" fmla="*/ 16 h 25"/>
                  <a:gd name="T20" fmla="*/ 26 w 34"/>
                  <a:gd name="T21" fmla="*/ 13 h 25"/>
                  <a:gd name="T22" fmla="*/ 23 w 34"/>
                  <a:gd name="T23" fmla="*/ 10 h 25"/>
                  <a:gd name="T24" fmla="*/ 22 w 34"/>
                  <a:gd name="T25" fmla="*/ 10 h 25"/>
                  <a:gd name="T26" fmla="*/ 19 w 34"/>
                  <a:gd name="T27" fmla="*/ 7 h 25"/>
                  <a:gd name="T28" fmla="*/ 16 w 34"/>
                  <a:gd name="T29" fmla="*/ 5 h 25"/>
                  <a:gd name="T30" fmla="*/ 12 w 34"/>
                  <a:gd name="T31" fmla="*/ 4 h 25"/>
                  <a:gd name="T32" fmla="*/ 5 w 34"/>
                  <a:gd name="T33" fmla="*/ 2 h 25"/>
                  <a:gd name="T34" fmla="*/ 2 w 34"/>
                  <a:gd name="T35" fmla="*/ 0 h 25"/>
                  <a:gd name="T36" fmla="*/ 0 w 34"/>
                  <a:gd name="T37" fmla="*/ 3 h 25"/>
                  <a:gd name="T38" fmla="*/ 1 w 34"/>
                  <a:gd name="T39" fmla="*/ 5 h 25"/>
                  <a:gd name="T40" fmla="*/ 4 w 34"/>
                  <a:gd name="T41" fmla="*/ 7 h 25"/>
                  <a:gd name="T42" fmla="*/ 9 w 34"/>
                  <a:gd name="T43" fmla="*/ 11 h 25"/>
                  <a:gd name="T44" fmla="*/ 9 w 34"/>
                  <a:gd name="T45" fmla="*/ 14 h 25"/>
                  <a:gd name="T46" fmla="*/ 10 w 34"/>
                  <a:gd name="T47" fmla="*/ 16 h 25"/>
                  <a:gd name="T48" fmla="*/ 12 w 34"/>
                  <a:gd name="T49" fmla="*/ 16 h 25"/>
                  <a:gd name="T50" fmla="*/ 17 w 34"/>
                  <a:gd name="T51" fmla="*/ 20 h 25"/>
                  <a:gd name="T52" fmla="*/ 21 w 34"/>
                  <a:gd name="T53" fmla="*/ 20 h 25"/>
                  <a:gd name="T54" fmla="*/ 23 w 34"/>
                  <a:gd name="T55" fmla="*/ 2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4" h="25">
                    <a:moveTo>
                      <a:pt x="23" y="21"/>
                    </a:moveTo>
                    <a:lnTo>
                      <a:pt x="26" y="24"/>
                    </a:lnTo>
                    <a:lnTo>
                      <a:pt x="27" y="24"/>
                    </a:lnTo>
                    <a:lnTo>
                      <a:pt x="30" y="25"/>
                    </a:lnTo>
                    <a:lnTo>
                      <a:pt x="33" y="24"/>
                    </a:lnTo>
                    <a:lnTo>
                      <a:pt x="34" y="22"/>
                    </a:lnTo>
                    <a:lnTo>
                      <a:pt x="33" y="20"/>
                    </a:lnTo>
                    <a:lnTo>
                      <a:pt x="32" y="18"/>
                    </a:lnTo>
                    <a:lnTo>
                      <a:pt x="30" y="17"/>
                    </a:lnTo>
                    <a:lnTo>
                      <a:pt x="28" y="16"/>
                    </a:lnTo>
                    <a:lnTo>
                      <a:pt x="26" y="13"/>
                    </a:lnTo>
                    <a:lnTo>
                      <a:pt x="23" y="10"/>
                    </a:lnTo>
                    <a:lnTo>
                      <a:pt x="22" y="10"/>
                    </a:lnTo>
                    <a:lnTo>
                      <a:pt x="19" y="7"/>
                    </a:lnTo>
                    <a:lnTo>
                      <a:pt x="16" y="5"/>
                    </a:lnTo>
                    <a:lnTo>
                      <a:pt x="12" y="4"/>
                    </a:lnTo>
                    <a:lnTo>
                      <a:pt x="5" y="2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1" y="5"/>
                    </a:lnTo>
                    <a:lnTo>
                      <a:pt x="4" y="7"/>
                    </a:lnTo>
                    <a:lnTo>
                      <a:pt x="9" y="11"/>
                    </a:lnTo>
                    <a:lnTo>
                      <a:pt x="9" y="14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7" y="20"/>
                    </a:lnTo>
                    <a:lnTo>
                      <a:pt x="21" y="20"/>
                    </a:lnTo>
                    <a:lnTo>
                      <a:pt x="23" y="2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1230">
                <a:extLst>
                  <a:ext uri="{FF2B5EF4-FFF2-40B4-BE49-F238E27FC236}">
                    <a16:creationId xmlns:a16="http://schemas.microsoft.com/office/drawing/2014/main" id="{B4187B2D-5BB9-49FA-B596-8FA7DD535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5588" y="2774950"/>
                <a:ext cx="26988" cy="19050"/>
              </a:xfrm>
              <a:custGeom>
                <a:avLst/>
                <a:gdLst>
                  <a:gd name="T0" fmla="*/ 8 w 17"/>
                  <a:gd name="T1" fmla="*/ 9 h 12"/>
                  <a:gd name="T2" fmla="*/ 10 w 17"/>
                  <a:gd name="T3" fmla="*/ 10 h 12"/>
                  <a:gd name="T4" fmla="*/ 16 w 17"/>
                  <a:gd name="T5" fmla="*/ 12 h 12"/>
                  <a:gd name="T6" fmla="*/ 17 w 17"/>
                  <a:gd name="T7" fmla="*/ 10 h 12"/>
                  <a:gd name="T8" fmla="*/ 16 w 17"/>
                  <a:gd name="T9" fmla="*/ 8 h 12"/>
                  <a:gd name="T10" fmla="*/ 15 w 17"/>
                  <a:gd name="T11" fmla="*/ 5 h 12"/>
                  <a:gd name="T12" fmla="*/ 12 w 17"/>
                  <a:gd name="T13" fmla="*/ 1 h 12"/>
                  <a:gd name="T14" fmla="*/ 10 w 17"/>
                  <a:gd name="T15" fmla="*/ 2 h 12"/>
                  <a:gd name="T16" fmla="*/ 9 w 17"/>
                  <a:gd name="T17" fmla="*/ 0 h 12"/>
                  <a:gd name="T18" fmla="*/ 7 w 17"/>
                  <a:gd name="T19" fmla="*/ 0 h 12"/>
                  <a:gd name="T20" fmla="*/ 5 w 17"/>
                  <a:gd name="T21" fmla="*/ 2 h 12"/>
                  <a:gd name="T22" fmla="*/ 5 w 17"/>
                  <a:gd name="T23" fmla="*/ 4 h 12"/>
                  <a:gd name="T24" fmla="*/ 3 w 17"/>
                  <a:gd name="T25" fmla="*/ 4 h 12"/>
                  <a:gd name="T26" fmla="*/ 0 w 17"/>
                  <a:gd name="T27" fmla="*/ 7 h 12"/>
                  <a:gd name="T28" fmla="*/ 1 w 17"/>
                  <a:gd name="T29" fmla="*/ 9 h 12"/>
                  <a:gd name="T30" fmla="*/ 3 w 17"/>
                  <a:gd name="T31" fmla="*/ 9 h 12"/>
                  <a:gd name="T32" fmla="*/ 4 w 17"/>
                  <a:gd name="T33" fmla="*/ 10 h 12"/>
                  <a:gd name="T34" fmla="*/ 5 w 17"/>
                  <a:gd name="T35" fmla="*/ 12 h 12"/>
                  <a:gd name="T36" fmla="*/ 5 w 17"/>
                  <a:gd name="T37" fmla="*/ 11 h 12"/>
                  <a:gd name="T38" fmla="*/ 5 w 17"/>
                  <a:gd name="T39" fmla="*/ 9 h 12"/>
                  <a:gd name="T40" fmla="*/ 8 w 17"/>
                  <a:gd name="T4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" h="12">
                    <a:moveTo>
                      <a:pt x="8" y="9"/>
                    </a:moveTo>
                    <a:lnTo>
                      <a:pt x="10" y="10"/>
                    </a:lnTo>
                    <a:lnTo>
                      <a:pt x="16" y="12"/>
                    </a:lnTo>
                    <a:lnTo>
                      <a:pt x="17" y="10"/>
                    </a:lnTo>
                    <a:lnTo>
                      <a:pt x="16" y="8"/>
                    </a:lnTo>
                    <a:lnTo>
                      <a:pt x="15" y="5"/>
                    </a:lnTo>
                    <a:lnTo>
                      <a:pt x="12" y="1"/>
                    </a:lnTo>
                    <a:lnTo>
                      <a:pt x="10" y="2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0" y="7"/>
                    </a:lnTo>
                    <a:lnTo>
                      <a:pt x="1" y="9"/>
                    </a:lnTo>
                    <a:lnTo>
                      <a:pt x="3" y="9"/>
                    </a:lnTo>
                    <a:lnTo>
                      <a:pt x="4" y="10"/>
                    </a:lnTo>
                    <a:lnTo>
                      <a:pt x="5" y="12"/>
                    </a:lnTo>
                    <a:lnTo>
                      <a:pt x="5" y="11"/>
                    </a:lnTo>
                    <a:lnTo>
                      <a:pt x="5" y="9"/>
                    </a:lnTo>
                    <a:lnTo>
                      <a:pt x="8" y="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1231">
                <a:extLst>
                  <a:ext uri="{FF2B5EF4-FFF2-40B4-BE49-F238E27FC236}">
                    <a16:creationId xmlns:a16="http://schemas.microsoft.com/office/drawing/2014/main" id="{553E074E-AA01-4013-A561-4AEAD2DAF4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8938" y="2170113"/>
                <a:ext cx="6350" cy="4763"/>
              </a:xfrm>
              <a:custGeom>
                <a:avLst/>
                <a:gdLst>
                  <a:gd name="T0" fmla="*/ 4 w 4"/>
                  <a:gd name="T1" fmla="*/ 3 h 3"/>
                  <a:gd name="T2" fmla="*/ 4 w 4"/>
                  <a:gd name="T3" fmla="*/ 1 h 3"/>
                  <a:gd name="T4" fmla="*/ 3 w 4"/>
                  <a:gd name="T5" fmla="*/ 0 h 3"/>
                  <a:gd name="T6" fmla="*/ 1 w 4"/>
                  <a:gd name="T7" fmla="*/ 0 h 3"/>
                  <a:gd name="T8" fmla="*/ 0 w 4"/>
                  <a:gd name="T9" fmla="*/ 1 h 3"/>
                  <a:gd name="T10" fmla="*/ 3 w 4"/>
                  <a:gd name="T11" fmla="*/ 2 h 3"/>
                  <a:gd name="T12" fmla="*/ 4 w 4"/>
                  <a:gd name="T1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lnTo>
                      <a:pt x="4" y="1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3" y="2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1232">
                <a:extLst>
                  <a:ext uri="{FF2B5EF4-FFF2-40B4-BE49-F238E27FC236}">
                    <a16:creationId xmlns:a16="http://schemas.microsoft.com/office/drawing/2014/main" id="{05CB224F-60AB-456A-90ED-42596B72A4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3413" y="3021013"/>
                <a:ext cx="7938" cy="12700"/>
              </a:xfrm>
              <a:custGeom>
                <a:avLst/>
                <a:gdLst>
                  <a:gd name="T0" fmla="*/ 2 w 5"/>
                  <a:gd name="T1" fmla="*/ 8 h 8"/>
                  <a:gd name="T2" fmla="*/ 2 w 5"/>
                  <a:gd name="T3" fmla="*/ 7 h 8"/>
                  <a:gd name="T4" fmla="*/ 1 w 5"/>
                  <a:gd name="T5" fmla="*/ 7 h 8"/>
                  <a:gd name="T6" fmla="*/ 0 w 5"/>
                  <a:gd name="T7" fmla="*/ 6 h 8"/>
                  <a:gd name="T8" fmla="*/ 2 w 5"/>
                  <a:gd name="T9" fmla="*/ 5 h 8"/>
                  <a:gd name="T10" fmla="*/ 2 w 5"/>
                  <a:gd name="T11" fmla="*/ 3 h 8"/>
                  <a:gd name="T12" fmla="*/ 4 w 5"/>
                  <a:gd name="T13" fmla="*/ 1 h 8"/>
                  <a:gd name="T14" fmla="*/ 4 w 5"/>
                  <a:gd name="T15" fmla="*/ 1 h 8"/>
                  <a:gd name="T16" fmla="*/ 5 w 5"/>
                  <a:gd name="T17" fmla="*/ 0 h 8"/>
                  <a:gd name="T18" fmla="*/ 4 w 5"/>
                  <a:gd name="T19" fmla="*/ 0 h 8"/>
                  <a:gd name="T20" fmla="*/ 2 w 5"/>
                  <a:gd name="T21" fmla="*/ 3 h 8"/>
                  <a:gd name="T22" fmla="*/ 0 w 5"/>
                  <a:gd name="T23" fmla="*/ 6 h 8"/>
                  <a:gd name="T24" fmla="*/ 1 w 5"/>
                  <a:gd name="T25" fmla="*/ 7 h 8"/>
                  <a:gd name="T26" fmla="*/ 2 w 5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" h="8">
                    <a:moveTo>
                      <a:pt x="2" y="8"/>
                    </a:moveTo>
                    <a:lnTo>
                      <a:pt x="2" y="7"/>
                    </a:lnTo>
                    <a:lnTo>
                      <a:pt x="1" y="7"/>
                    </a:lnTo>
                    <a:lnTo>
                      <a:pt x="0" y="6"/>
                    </a:lnTo>
                    <a:lnTo>
                      <a:pt x="2" y="5"/>
                    </a:lnTo>
                    <a:lnTo>
                      <a:pt x="2" y="3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1" y="7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1233">
                <a:extLst>
                  <a:ext uri="{FF2B5EF4-FFF2-40B4-BE49-F238E27FC236}">
                    <a16:creationId xmlns:a16="http://schemas.microsoft.com/office/drawing/2014/main" id="{BB7D628D-6CC9-49D3-9D48-ACF02D2EF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9438" y="3035300"/>
                <a:ext cx="46038" cy="41275"/>
              </a:xfrm>
              <a:custGeom>
                <a:avLst/>
                <a:gdLst>
                  <a:gd name="T0" fmla="*/ 28 w 29"/>
                  <a:gd name="T1" fmla="*/ 16 h 26"/>
                  <a:gd name="T2" fmla="*/ 29 w 29"/>
                  <a:gd name="T3" fmla="*/ 15 h 26"/>
                  <a:gd name="T4" fmla="*/ 25 w 29"/>
                  <a:gd name="T5" fmla="*/ 15 h 26"/>
                  <a:gd name="T6" fmla="*/ 22 w 29"/>
                  <a:gd name="T7" fmla="*/ 14 h 26"/>
                  <a:gd name="T8" fmla="*/ 21 w 29"/>
                  <a:gd name="T9" fmla="*/ 16 h 26"/>
                  <a:gd name="T10" fmla="*/ 17 w 29"/>
                  <a:gd name="T11" fmla="*/ 16 h 26"/>
                  <a:gd name="T12" fmla="*/ 15 w 29"/>
                  <a:gd name="T13" fmla="*/ 14 h 26"/>
                  <a:gd name="T14" fmla="*/ 14 w 29"/>
                  <a:gd name="T15" fmla="*/ 14 h 26"/>
                  <a:gd name="T16" fmla="*/ 11 w 29"/>
                  <a:gd name="T17" fmla="*/ 10 h 26"/>
                  <a:gd name="T18" fmla="*/ 8 w 29"/>
                  <a:gd name="T19" fmla="*/ 11 h 26"/>
                  <a:gd name="T20" fmla="*/ 8 w 29"/>
                  <a:gd name="T21" fmla="*/ 12 h 26"/>
                  <a:gd name="T22" fmla="*/ 6 w 29"/>
                  <a:gd name="T23" fmla="*/ 11 h 26"/>
                  <a:gd name="T24" fmla="*/ 6 w 29"/>
                  <a:gd name="T25" fmla="*/ 9 h 26"/>
                  <a:gd name="T26" fmla="*/ 5 w 29"/>
                  <a:gd name="T27" fmla="*/ 6 h 26"/>
                  <a:gd name="T28" fmla="*/ 5 w 29"/>
                  <a:gd name="T29" fmla="*/ 5 h 26"/>
                  <a:gd name="T30" fmla="*/ 7 w 29"/>
                  <a:gd name="T31" fmla="*/ 3 h 26"/>
                  <a:gd name="T32" fmla="*/ 6 w 29"/>
                  <a:gd name="T33" fmla="*/ 0 h 26"/>
                  <a:gd name="T34" fmla="*/ 1 w 29"/>
                  <a:gd name="T35" fmla="*/ 5 h 26"/>
                  <a:gd name="T36" fmla="*/ 0 w 29"/>
                  <a:gd name="T37" fmla="*/ 8 h 26"/>
                  <a:gd name="T38" fmla="*/ 1 w 29"/>
                  <a:gd name="T39" fmla="*/ 9 h 26"/>
                  <a:gd name="T40" fmla="*/ 2 w 29"/>
                  <a:gd name="T41" fmla="*/ 9 h 26"/>
                  <a:gd name="T42" fmla="*/ 3 w 29"/>
                  <a:gd name="T43" fmla="*/ 9 h 26"/>
                  <a:gd name="T44" fmla="*/ 3 w 29"/>
                  <a:gd name="T45" fmla="*/ 12 h 26"/>
                  <a:gd name="T46" fmla="*/ 5 w 29"/>
                  <a:gd name="T47" fmla="*/ 13 h 26"/>
                  <a:gd name="T48" fmla="*/ 6 w 29"/>
                  <a:gd name="T49" fmla="*/ 15 h 26"/>
                  <a:gd name="T50" fmla="*/ 7 w 29"/>
                  <a:gd name="T51" fmla="*/ 15 h 26"/>
                  <a:gd name="T52" fmla="*/ 8 w 29"/>
                  <a:gd name="T53" fmla="*/ 17 h 26"/>
                  <a:gd name="T54" fmla="*/ 8 w 29"/>
                  <a:gd name="T55" fmla="*/ 19 h 26"/>
                  <a:gd name="T56" fmla="*/ 11 w 29"/>
                  <a:gd name="T57" fmla="*/ 19 h 26"/>
                  <a:gd name="T58" fmla="*/ 17 w 29"/>
                  <a:gd name="T59" fmla="*/ 21 h 26"/>
                  <a:gd name="T60" fmla="*/ 18 w 29"/>
                  <a:gd name="T61" fmla="*/ 24 h 26"/>
                  <a:gd name="T62" fmla="*/ 21 w 29"/>
                  <a:gd name="T63" fmla="*/ 26 h 26"/>
                  <a:gd name="T64" fmla="*/ 23 w 29"/>
                  <a:gd name="T65" fmla="*/ 25 h 26"/>
                  <a:gd name="T66" fmla="*/ 24 w 29"/>
                  <a:gd name="T67" fmla="*/ 22 h 26"/>
                  <a:gd name="T68" fmla="*/ 23 w 29"/>
                  <a:gd name="T69" fmla="*/ 19 h 26"/>
                  <a:gd name="T70" fmla="*/ 25 w 29"/>
                  <a:gd name="T71" fmla="*/ 16 h 26"/>
                  <a:gd name="T72" fmla="*/ 28 w 29"/>
                  <a:gd name="T73" fmla="*/ 1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9" h="26">
                    <a:moveTo>
                      <a:pt x="28" y="16"/>
                    </a:moveTo>
                    <a:lnTo>
                      <a:pt x="29" y="15"/>
                    </a:lnTo>
                    <a:lnTo>
                      <a:pt x="25" y="15"/>
                    </a:lnTo>
                    <a:lnTo>
                      <a:pt x="22" y="14"/>
                    </a:lnTo>
                    <a:lnTo>
                      <a:pt x="21" y="16"/>
                    </a:lnTo>
                    <a:lnTo>
                      <a:pt x="17" y="16"/>
                    </a:lnTo>
                    <a:lnTo>
                      <a:pt x="15" y="14"/>
                    </a:lnTo>
                    <a:lnTo>
                      <a:pt x="14" y="14"/>
                    </a:lnTo>
                    <a:lnTo>
                      <a:pt x="11" y="10"/>
                    </a:lnTo>
                    <a:lnTo>
                      <a:pt x="8" y="11"/>
                    </a:lnTo>
                    <a:lnTo>
                      <a:pt x="8" y="12"/>
                    </a:lnTo>
                    <a:lnTo>
                      <a:pt x="6" y="11"/>
                    </a:lnTo>
                    <a:lnTo>
                      <a:pt x="6" y="9"/>
                    </a:lnTo>
                    <a:lnTo>
                      <a:pt x="5" y="6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6" y="0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1" y="9"/>
                    </a:lnTo>
                    <a:lnTo>
                      <a:pt x="2" y="9"/>
                    </a:lnTo>
                    <a:lnTo>
                      <a:pt x="3" y="9"/>
                    </a:lnTo>
                    <a:lnTo>
                      <a:pt x="3" y="12"/>
                    </a:lnTo>
                    <a:lnTo>
                      <a:pt x="5" y="13"/>
                    </a:lnTo>
                    <a:lnTo>
                      <a:pt x="6" y="15"/>
                    </a:lnTo>
                    <a:lnTo>
                      <a:pt x="7" y="15"/>
                    </a:lnTo>
                    <a:lnTo>
                      <a:pt x="8" y="17"/>
                    </a:lnTo>
                    <a:lnTo>
                      <a:pt x="8" y="19"/>
                    </a:lnTo>
                    <a:lnTo>
                      <a:pt x="11" y="19"/>
                    </a:lnTo>
                    <a:lnTo>
                      <a:pt x="17" y="21"/>
                    </a:lnTo>
                    <a:lnTo>
                      <a:pt x="18" y="24"/>
                    </a:lnTo>
                    <a:lnTo>
                      <a:pt x="21" y="26"/>
                    </a:lnTo>
                    <a:lnTo>
                      <a:pt x="23" y="25"/>
                    </a:lnTo>
                    <a:lnTo>
                      <a:pt x="24" y="22"/>
                    </a:lnTo>
                    <a:lnTo>
                      <a:pt x="23" y="19"/>
                    </a:lnTo>
                    <a:lnTo>
                      <a:pt x="25" y="16"/>
                    </a:lnTo>
                    <a:lnTo>
                      <a:pt x="28" y="1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1234">
                <a:extLst>
                  <a:ext uri="{FF2B5EF4-FFF2-40B4-BE49-F238E27FC236}">
                    <a16:creationId xmlns:a16="http://schemas.microsoft.com/office/drawing/2014/main" id="{34AB6860-6718-4FA3-A503-B837AA7D5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3388" y="2366963"/>
                <a:ext cx="6350" cy="3175"/>
              </a:xfrm>
              <a:custGeom>
                <a:avLst/>
                <a:gdLst>
                  <a:gd name="T0" fmla="*/ 1 w 5"/>
                  <a:gd name="T1" fmla="*/ 0 h 3"/>
                  <a:gd name="T2" fmla="*/ 0 w 5"/>
                  <a:gd name="T3" fmla="*/ 1 h 3"/>
                  <a:gd name="T4" fmla="*/ 1 w 5"/>
                  <a:gd name="T5" fmla="*/ 3 h 3"/>
                  <a:gd name="T6" fmla="*/ 4 w 5"/>
                  <a:gd name="T7" fmla="*/ 3 h 3"/>
                  <a:gd name="T8" fmla="*/ 5 w 5"/>
                  <a:gd name="T9" fmla="*/ 1 h 3"/>
                  <a:gd name="T10" fmla="*/ 1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5" y="1"/>
                      <a:pt x="5" y="1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1235">
                <a:extLst>
                  <a:ext uri="{FF2B5EF4-FFF2-40B4-BE49-F238E27FC236}">
                    <a16:creationId xmlns:a16="http://schemas.microsoft.com/office/drawing/2014/main" id="{C5F7B4EA-7561-4E82-92BC-53D69FB0A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1001" y="2368550"/>
                <a:ext cx="25400" cy="44450"/>
              </a:xfrm>
              <a:custGeom>
                <a:avLst/>
                <a:gdLst>
                  <a:gd name="T0" fmla="*/ 16 w 16"/>
                  <a:gd name="T1" fmla="*/ 6 h 28"/>
                  <a:gd name="T2" fmla="*/ 16 w 16"/>
                  <a:gd name="T3" fmla="*/ 4 h 28"/>
                  <a:gd name="T4" fmla="*/ 16 w 16"/>
                  <a:gd name="T5" fmla="*/ 2 h 28"/>
                  <a:gd name="T6" fmla="*/ 15 w 16"/>
                  <a:gd name="T7" fmla="*/ 1 h 28"/>
                  <a:gd name="T8" fmla="*/ 13 w 16"/>
                  <a:gd name="T9" fmla="*/ 2 h 28"/>
                  <a:gd name="T10" fmla="*/ 12 w 16"/>
                  <a:gd name="T11" fmla="*/ 2 h 28"/>
                  <a:gd name="T12" fmla="*/ 11 w 16"/>
                  <a:gd name="T13" fmla="*/ 0 h 28"/>
                  <a:gd name="T14" fmla="*/ 10 w 16"/>
                  <a:gd name="T15" fmla="*/ 0 h 28"/>
                  <a:gd name="T16" fmla="*/ 9 w 16"/>
                  <a:gd name="T17" fmla="*/ 1 h 28"/>
                  <a:gd name="T18" fmla="*/ 6 w 16"/>
                  <a:gd name="T19" fmla="*/ 4 h 28"/>
                  <a:gd name="T20" fmla="*/ 5 w 16"/>
                  <a:gd name="T21" fmla="*/ 4 h 28"/>
                  <a:gd name="T22" fmla="*/ 3 w 16"/>
                  <a:gd name="T23" fmla="*/ 7 h 28"/>
                  <a:gd name="T24" fmla="*/ 3 w 16"/>
                  <a:gd name="T25" fmla="*/ 10 h 28"/>
                  <a:gd name="T26" fmla="*/ 3 w 16"/>
                  <a:gd name="T27" fmla="*/ 12 h 28"/>
                  <a:gd name="T28" fmla="*/ 2 w 16"/>
                  <a:gd name="T29" fmla="*/ 14 h 28"/>
                  <a:gd name="T30" fmla="*/ 1 w 16"/>
                  <a:gd name="T31" fmla="*/ 15 h 28"/>
                  <a:gd name="T32" fmla="*/ 2 w 16"/>
                  <a:gd name="T33" fmla="*/ 18 h 28"/>
                  <a:gd name="T34" fmla="*/ 0 w 16"/>
                  <a:gd name="T35" fmla="*/ 21 h 28"/>
                  <a:gd name="T36" fmla="*/ 1 w 16"/>
                  <a:gd name="T37" fmla="*/ 21 h 28"/>
                  <a:gd name="T38" fmla="*/ 3 w 16"/>
                  <a:gd name="T39" fmla="*/ 22 h 28"/>
                  <a:gd name="T40" fmla="*/ 4 w 16"/>
                  <a:gd name="T41" fmla="*/ 24 h 28"/>
                  <a:gd name="T42" fmla="*/ 5 w 16"/>
                  <a:gd name="T43" fmla="*/ 25 h 28"/>
                  <a:gd name="T44" fmla="*/ 5 w 16"/>
                  <a:gd name="T45" fmla="*/ 28 h 28"/>
                  <a:gd name="T46" fmla="*/ 6 w 16"/>
                  <a:gd name="T47" fmla="*/ 28 h 28"/>
                  <a:gd name="T48" fmla="*/ 7 w 16"/>
                  <a:gd name="T49" fmla="*/ 26 h 28"/>
                  <a:gd name="T50" fmla="*/ 7 w 16"/>
                  <a:gd name="T51" fmla="*/ 25 h 28"/>
                  <a:gd name="T52" fmla="*/ 8 w 16"/>
                  <a:gd name="T53" fmla="*/ 23 h 28"/>
                  <a:gd name="T54" fmla="*/ 9 w 16"/>
                  <a:gd name="T55" fmla="*/ 21 h 28"/>
                  <a:gd name="T56" fmla="*/ 8 w 16"/>
                  <a:gd name="T57" fmla="*/ 21 h 28"/>
                  <a:gd name="T58" fmla="*/ 8 w 16"/>
                  <a:gd name="T59" fmla="*/ 20 h 28"/>
                  <a:gd name="T60" fmla="*/ 10 w 16"/>
                  <a:gd name="T61" fmla="*/ 17 h 28"/>
                  <a:gd name="T62" fmla="*/ 12 w 16"/>
                  <a:gd name="T63" fmla="*/ 14 h 28"/>
                  <a:gd name="T64" fmla="*/ 13 w 16"/>
                  <a:gd name="T65" fmla="*/ 14 h 28"/>
                  <a:gd name="T66" fmla="*/ 14 w 16"/>
                  <a:gd name="T67" fmla="*/ 13 h 28"/>
                  <a:gd name="T68" fmla="*/ 14 w 16"/>
                  <a:gd name="T69" fmla="*/ 12 h 28"/>
                  <a:gd name="T70" fmla="*/ 14 w 16"/>
                  <a:gd name="T71" fmla="*/ 10 h 28"/>
                  <a:gd name="T72" fmla="*/ 15 w 16"/>
                  <a:gd name="T73" fmla="*/ 8 h 28"/>
                  <a:gd name="T74" fmla="*/ 16 w 16"/>
                  <a:gd name="T75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" h="28">
                    <a:moveTo>
                      <a:pt x="16" y="6"/>
                    </a:moveTo>
                    <a:lnTo>
                      <a:pt x="16" y="4"/>
                    </a:lnTo>
                    <a:lnTo>
                      <a:pt x="16" y="2"/>
                    </a:lnTo>
                    <a:lnTo>
                      <a:pt x="15" y="1"/>
                    </a:lnTo>
                    <a:lnTo>
                      <a:pt x="13" y="2"/>
                    </a:lnTo>
                    <a:lnTo>
                      <a:pt x="12" y="2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9" y="1"/>
                    </a:lnTo>
                    <a:lnTo>
                      <a:pt x="6" y="4"/>
                    </a:lnTo>
                    <a:lnTo>
                      <a:pt x="5" y="4"/>
                    </a:lnTo>
                    <a:lnTo>
                      <a:pt x="3" y="7"/>
                    </a:lnTo>
                    <a:lnTo>
                      <a:pt x="3" y="10"/>
                    </a:lnTo>
                    <a:lnTo>
                      <a:pt x="3" y="12"/>
                    </a:lnTo>
                    <a:lnTo>
                      <a:pt x="2" y="14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0" y="21"/>
                    </a:lnTo>
                    <a:lnTo>
                      <a:pt x="1" y="21"/>
                    </a:lnTo>
                    <a:lnTo>
                      <a:pt x="3" y="22"/>
                    </a:lnTo>
                    <a:lnTo>
                      <a:pt x="4" y="24"/>
                    </a:lnTo>
                    <a:lnTo>
                      <a:pt x="5" y="25"/>
                    </a:lnTo>
                    <a:lnTo>
                      <a:pt x="5" y="28"/>
                    </a:lnTo>
                    <a:lnTo>
                      <a:pt x="6" y="28"/>
                    </a:lnTo>
                    <a:lnTo>
                      <a:pt x="7" y="26"/>
                    </a:lnTo>
                    <a:lnTo>
                      <a:pt x="7" y="25"/>
                    </a:lnTo>
                    <a:lnTo>
                      <a:pt x="8" y="23"/>
                    </a:lnTo>
                    <a:lnTo>
                      <a:pt x="9" y="21"/>
                    </a:lnTo>
                    <a:lnTo>
                      <a:pt x="8" y="21"/>
                    </a:lnTo>
                    <a:lnTo>
                      <a:pt x="8" y="20"/>
                    </a:lnTo>
                    <a:lnTo>
                      <a:pt x="10" y="17"/>
                    </a:lnTo>
                    <a:lnTo>
                      <a:pt x="12" y="14"/>
                    </a:lnTo>
                    <a:lnTo>
                      <a:pt x="13" y="14"/>
                    </a:lnTo>
                    <a:lnTo>
                      <a:pt x="14" y="13"/>
                    </a:lnTo>
                    <a:lnTo>
                      <a:pt x="14" y="12"/>
                    </a:lnTo>
                    <a:lnTo>
                      <a:pt x="14" y="10"/>
                    </a:lnTo>
                    <a:lnTo>
                      <a:pt x="15" y="8"/>
                    </a:lnTo>
                    <a:lnTo>
                      <a:pt x="16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1236">
                <a:extLst>
                  <a:ext uri="{FF2B5EF4-FFF2-40B4-BE49-F238E27FC236}">
                    <a16:creationId xmlns:a16="http://schemas.microsoft.com/office/drawing/2014/main" id="{5A4824A9-6CB1-424F-8D15-CC7748506A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4163" y="2182813"/>
                <a:ext cx="122238" cy="141288"/>
              </a:xfrm>
              <a:custGeom>
                <a:avLst/>
                <a:gdLst>
                  <a:gd name="T0" fmla="*/ 99 w 100"/>
                  <a:gd name="T1" fmla="*/ 94 h 115"/>
                  <a:gd name="T2" fmla="*/ 96 w 100"/>
                  <a:gd name="T3" fmla="*/ 87 h 115"/>
                  <a:gd name="T4" fmla="*/ 93 w 100"/>
                  <a:gd name="T5" fmla="*/ 91 h 115"/>
                  <a:gd name="T6" fmla="*/ 89 w 100"/>
                  <a:gd name="T7" fmla="*/ 86 h 115"/>
                  <a:gd name="T8" fmla="*/ 80 w 100"/>
                  <a:gd name="T9" fmla="*/ 89 h 115"/>
                  <a:gd name="T10" fmla="*/ 83 w 100"/>
                  <a:gd name="T11" fmla="*/ 85 h 115"/>
                  <a:gd name="T12" fmla="*/ 84 w 100"/>
                  <a:gd name="T13" fmla="*/ 78 h 115"/>
                  <a:gd name="T14" fmla="*/ 85 w 100"/>
                  <a:gd name="T15" fmla="*/ 68 h 115"/>
                  <a:gd name="T16" fmla="*/ 78 w 100"/>
                  <a:gd name="T17" fmla="*/ 57 h 115"/>
                  <a:gd name="T18" fmla="*/ 72 w 100"/>
                  <a:gd name="T19" fmla="*/ 48 h 115"/>
                  <a:gd name="T20" fmla="*/ 70 w 100"/>
                  <a:gd name="T21" fmla="*/ 40 h 115"/>
                  <a:gd name="T22" fmla="*/ 58 w 100"/>
                  <a:gd name="T23" fmla="*/ 34 h 115"/>
                  <a:gd name="T24" fmla="*/ 58 w 100"/>
                  <a:gd name="T25" fmla="*/ 26 h 115"/>
                  <a:gd name="T26" fmla="*/ 53 w 100"/>
                  <a:gd name="T27" fmla="*/ 20 h 115"/>
                  <a:gd name="T28" fmla="*/ 47 w 100"/>
                  <a:gd name="T29" fmla="*/ 30 h 115"/>
                  <a:gd name="T30" fmla="*/ 44 w 100"/>
                  <a:gd name="T31" fmla="*/ 19 h 115"/>
                  <a:gd name="T32" fmla="*/ 49 w 100"/>
                  <a:gd name="T33" fmla="*/ 17 h 115"/>
                  <a:gd name="T34" fmla="*/ 48 w 100"/>
                  <a:gd name="T35" fmla="*/ 7 h 115"/>
                  <a:gd name="T36" fmla="*/ 48 w 100"/>
                  <a:gd name="T37" fmla="*/ 1 h 115"/>
                  <a:gd name="T38" fmla="*/ 35 w 100"/>
                  <a:gd name="T39" fmla="*/ 7 h 115"/>
                  <a:gd name="T40" fmla="*/ 29 w 100"/>
                  <a:gd name="T41" fmla="*/ 24 h 115"/>
                  <a:gd name="T42" fmla="*/ 23 w 100"/>
                  <a:gd name="T43" fmla="*/ 38 h 115"/>
                  <a:gd name="T44" fmla="*/ 22 w 100"/>
                  <a:gd name="T45" fmla="*/ 46 h 115"/>
                  <a:gd name="T46" fmla="*/ 15 w 100"/>
                  <a:gd name="T47" fmla="*/ 58 h 115"/>
                  <a:gd name="T48" fmla="*/ 14 w 100"/>
                  <a:gd name="T49" fmla="*/ 72 h 115"/>
                  <a:gd name="T50" fmla="*/ 2 w 100"/>
                  <a:gd name="T51" fmla="*/ 78 h 115"/>
                  <a:gd name="T52" fmla="*/ 1 w 100"/>
                  <a:gd name="T53" fmla="*/ 94 h 115"/>
                  <a:gd name="T54" fmla="*/ 5 w 100"/>
                  <a:gd name="T55" fmla="*/ 90 h 115"/>
                  <a:gd name="T56" fmla="*/ 11 w 100"/>
                  <a:gd name="T57" fmla="*/ 92 h 115"/>
                  <a:gd name="T58" fmla="*/ 16 w 100"/>
                  <a:gd name="T59" fmla="*/ 93 h 115"/>
                  <a:gd name="T60" fmla="*/ 15 w 100"/>
                  <a:gd name="T61" fmla="*/ 103 h 115"/>
                  <a:gd name="T62" fmla="*/ 13 w 100"/>
                  <a:gd name="T63" fmla="*/ 114 h 115"/>
                  <a:gd name="T64" fmla="*/ 19 w 100"/>
                  <a:gd name="T65" fmla="*/ 115 h 115"/>
                  <a:gd name="T66" fmla="*/ 25 w 100"/>
                  <a:gd name="T67" fmla="*/ 111 h 115"/>
                  <a:gd name="T68" fmla="*/ 33 w 100"/>
                  <a:gd name="T69" fmla="*/ 106 h 115"/>
                  <a:gd name="T70" fmla="*/ 38 w 100"/>
                  <a:gd name="T71" fmla="*/ 96 h 115"/>
                  <a:gd name="T72" fmla="*/ 44 w 100"/>
                  <a:gd name="T73" fmla="*/ 95 h 115"/>
                  <a:gd name="T74" fmla="*/ 50 w 100"/>
                  <a:gd name="T75" fmla="*/ 89 h 115"/>
                  <a:gd name="T76" fmla="*/ 53 w 100"/>
                  <a:gd name="T77" fmla="*/ 78 h 115"/>
                  <a:gd name="T78" fmla="*/ 59 w 100"/>
                  <a:gd name="T79" fmla="*/ 78 h 115"/>
                  <a:gd name="T80" fmla="*/ 63 w 100"/>
                  <a:gd name="T81" fmla="*/ 81 h 115"/>
                  <a:gd name="T82" fmla="*/ 62 w 100"/>
                  <a:gd name="T83" fmla="*/ 88 h 115"/>
                  <a:gd name="T84" fmla="*/ 71 w 100"/>
                  <a:gd name="T85" fmla="*/ 92 h 115"/>
                  <a:gd name="T86" fmla="*/ 66 w 100"/>
                  <a:gd name="T87" fmla="*/ 102 h 115"/>
                  <a:gd name="T88" fmla="*/ 72 w 100"/>
                  <a:gd name="T89" fmla="*/ 102 h 115"/>
                  <a:gd name="T90" fmla="*/ 77 w 100"/>
                  <a:gd name="T91" fmla="*/ 106 h 115"/>
                  <a:gd name="T92" fmla="*/ 84 w 100"/>
                  <a:gd name="T93" fmla="*/ 108 h 115"/>
                  <a:gd name="T94" fmla="*/ 92 w 100"/>
                  <a:gd name="T95" fmla="*/ 105 h 115"/>
                  <a:gd name="T96" fmla="*/ 100 w 100"/>
                  <a:gd name="T97" fmla="*/ 101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0" h="115">
                    <a:moveTo>
                      <a:pt x="98" y="97"/>
                    </a:moveTo>
                    <a:cubicBezTo>
                      <a:pt x="96" y="95"/>
                      <a:pt x="96" y="95"/>
                      <a:pt x="96" y="95"/>
                    </a:cubicBezTo>
                    <a:cubicBezTo>
                      <a:pt x="99" y="94"/>
                      <a:pt x="99" y="94"/>
                      <a:pt x="99" y="94"/>
                    </a:cubicBezTo>
                    <a:cubicBezTo>
                      <a:pt x="100" y="91"/>
                      <a:pt x="100" y="91"/>
                      <a:pt x="100" y="91"/>
                    </a:cubicBezTo>
                    <a:cubicBezTo>
                      <a:pt x="97" y="90"/>
                      <a:pt x="97" y="90"/>
                      <a:pt x="97" y="90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5" y="87"/>
                      <a:pt x="95" y="87"/>
                      <a:pt x="95" y="87"/>
                    </a:cubicBezTo>
                    <a:cubicBezTo>
                      <a:pt x="95" y="90"/>
                      <a:pt x="95" y="90"/>
                      <a:pt x="95" y="90"/>
                    </a:cubicBezTo>
                    <a:cubicBezTo>
                      <a:pt x="93" y="91"/>
                      <a:pt x="93" y="91"/>
                      <a:pt x="93" y="91"/>
                    </a:cubicBezTo>
                    <a:cubicBezTo>
                      <a:pt x="92" y="90"/>
                      <a:pt x="92" y="90"/>
                      <a:pt x="92" y="90"/>
                    </a:cubicBezTo>
                    <a:cubicBezTo>
                      <a:pt x="89" y="88"/>
                      <a:pt x="89" y="88"/>
                      <a:pt x="89" y="88"/>
                    </a:cubicBezTo>
                    <a:cubicBezTo>
                      <a:pt x="89" y="86"/>
                      <a:pt x="89" y="86"/>
                      <a:pt x="89" y="86"/>
                    </a:cubicBezTo>
                    <a:cubicBezTo>
                      <a:pt x="88" y="86"/>
                      <a:pt x="88" y="86"/>
                      <a:pt x="88" y="86"/>
                    </a:cubicBezTo>
                    <a:cubicBezTo>
                      <a:pt x="85" y="89"/>
                      <a:pt x="85" y="89"/>
                      <a:pt x="85" y="89"/>
                    </a:cubicBezTo>
                    <a:cubicBezTo>
                      <a:pt x="80" y="89"/>
                      <a:pt x="80" y="89"/>
                      <a:pt x="80" y="89"/>
                    </a:cubicBezTo>
                    <a:cubicBezTo>
                      <a:pt x="77" y="87"/>
                      <a:pt x="77" y="87"/>
                      <a:pt x="77" y="87"/>
                    </a:cubicBezTo>
                    <a:cubicBezTo>
                      <a:pt x="80" y="85"/>
                      <a:pt x="80" y="85"/>
                      <a:pt x="80" y="85"/>
                    </a:cubicBezTo>
                    <a:cubicBezTo>
                      <a:pt x="83" y="85"/>
                      <a:pt x="83" y="85"/>
                      <a:pt x="83" y="85"/>
                    </a:cubicBezTo>
                    <a:cubicBezTo>
                      <a:pt x="85" y="82"/>
                      <a:pt x="85" y="82"/>
                      <a:pt x="85" y="82"/>
                    </a:cubicBezTo>
                    <a:cubicBezTo>
                      <a:pt x="85" y="79"/>
                      <a:pt x="85" y="79"/>
                      <a:pt x="85" y="79"/>
                    </a:cubicBezTo>
                    <a:cubicBezTo>
                      <a:pt x="84" y="78"/>
                      <a:pt x="84" y="78"/>
                      <a:pt x="84" y="78"/>
                    </a:cubicBezTo>
                    <a:cubicBezTo>
                      <a:pt x="84" y="73"/>
                      <a:pt x="84" y="73"/>
                      <a:pt x="84" y="73"/>
                    </a:cubicBezTo>
                    <a:cubicBezTo>
                      <a:pt x="85" y="71"/>
                      <a:pt x="85" y="71"/>
                      <a:pt x="85" y="71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83" y="66"/>
                      <a:pt x="83" y="66"/>
                      <a:pt x="83" y="66"/>
                    </a:cubicBezTo>
                    <a:cubicBezTo>
                      <a:pt x="83" y="63"/>
                      <a:pt x="83" y="63"/>
                      <a:pt x="83" y="63"/>
                    </a:cubicBezTo>
                    <a:cubicBezTo>
                      <a:pt x="78" y="57"/>
                      <a:pt x="78" y="57"/>
                      <a:pt x="78" y="57"/>
                    </a:cubicBezTo>
                    <a:cubicBezTo>
                      <a:pt x="74" y="55"/>
                      <a:pt x="74" y="55"/>
                      <a:pt x="74" y="55"/>
                    </a:cubicBezTo>
                    <a:cubicBezTo>
                      <a:pt x="74" y="53"/>
                      <a:pt x="74" y="53"/>
                      <a:pt x="74" y="53"/>
                    </a:cubicBezTo>
                    <a:cubicBezTo>
                      <a:pt x="72" y="48"/>
                      <a:pt x="72" y="48"/>
                      <a:pt x="72" y="48"/>
                    </a:cubicBezTo>
                    <a:cubicBezTo>
                      <a:pt x="70" y="48"/>
                      <a:pt x="70" y="48"/>
                      <a:pt x="70" y="48"/>
                    </a:cubicBezTo>
                    <a:cubicBezTo>
                      <a:pt x="69" y="45"/>
                      <a:pt x="69" y="45"/>
                      <a:pt x="69" y="45"/>
                    </a:cubicBezTo>
                    <a:cubicBezTo>
                      <a:pt x="70" y="40"/>
                      <a:pt x="70" y="40"/>
                      <a:pt x="70" y="40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4" y="37"/>
                      <a:pt x="64" y="37"/>
                      <a:pt x="64" y="37"/>
                    </a:cubicBezTo>
                    <a:cubicBezTo>
                      <a:pt x="58" y="34"/>
                      <a:pt x="58" y="34"/>
                      <a:pt x="58" y="34"/>
                    </a:cubicBezTo>
                    <a:cubicBezTo>
                      <a:pt x="56" y="30"/>
                      <a:pt x="56" y="30"/>
                      <a:pt x="56" y="30"/>
                    </a:cubicBezTo>
                    <a:cubicBezTo>
                      <a:pt x="58" y="28"/>
                      <a:pt x="58" y="28"/>
                      <a:pt x="58" y="28"/>
                    </a:cubicBezTo>
                    <a:cubicBezTo>
                      <a:pt x="58" y="26"/>
                      <a:pt x="58" y="26"/>
                      <a:pt x="58" y="26"/>
                    </a:cubicBezTo>
                    <a:cubicBezTo>
                      <a:pt x="55" y="23"/>
                      <a:pt x="55" y="23"/>
                      <a:pt x="55" y="23"/>
                    </a:cubicBezTo>
                    <a:cubicBezTo>
                      <a:pt x="54" y="20"/>
                      <a:pt x="54" y="20"/>
                      <a:pt x="54" y="20"/>
                    </a:cubicBezTo>
                    <a:cubicBezTo>
                      <a:pt x="53" y="20"/>
                      <a:pt x="53" y="20"/>
                      <a:pt x="53" y="20"/>
                    </a:cubicBezTo>
                    <a:cubicBezTo>
                      <a:pt x="50" y="24"/>
                      <a:pt x="50" y="24"/>
                      <a:pt x="50" y="24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47" y="30"/>
                      <a:pt x="47" y="30"/>
                      <a:pt x="47" y="30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5" y="17"/>
                      <a:pt x="45" y="17"/>
                      <a:pt x="45" y="17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9" y="17"/>
                      <a:pt x="49" y="17"/>
                      <a:pt x="49" y="17"/>
                    </a:cubicBezTo>
                    <a:cubicBezTo>
                      <a:pt x="48" y="14"/>
                      <a:pt x="48" y="14"/>
                      <a:pt x="48" y="14"/>
                    </a:cubicBezTo>
                    <a:cubicBezTo>
                      <a:pt x="49" y="11"/>
                      <a:pt x="49" y="11"/>
                      <a:pt x="49" y="11"/>
                    </a:cubicBezTo>
                    <a:cubicBezTo>
                      <a:pt x="48" y="7"/>
                      <a:pt x="48" y="7"/>
                      <a:pt x="48" y="7"/>
                    </a:cubicBezTo>
                    <a:cubicBezTo>
                      <a:pt x="45" y="8"/>
                      <a:pt x="45" y="8"/>
                      <a:pt x="45" y="8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8" y="1"/>
                      <a:pt x="48" y="1"/>
                      <a:pt x="48" y="1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5" y="7"/>
                      <a:pt x="35" y="7"/>
                      <a:pt x="35" y="7"/>
                    </a:cubicBezTo>
                    <a:cubicBezTo>
                      <a:pt x="33" y="15"/>
                      <a:pt x="33" y="15"/>
                      <a:pt x="33" y="15"/>
                    </a:cubicBezTo>
                    <a:cubicBezTo>
                      <a:pt x="29" y="21"/>
                      <a:pt x="29" y="21"/>
                      <a:pt x="29" y="21"/>
                    </a:cubicBezTo>
                    <a:cubicBezTo>
                      <a:pt x="29" y="24"/>
                      <a:pt x="29" y="24"/>
                      <a:pt x="29" y="24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23" y="38"/>
                      <a:pt x="23" y="38"/>
                      <a:pt x="23" y="38"/>
                    </a:cubicBezTo>
                    <a:cubicBezTo>
                      <a:pt x="25" y="40"/>
                      <a:pt x="25" y="40"/>
                      <a:pt x="25" y="40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22" y="46"/>
                      <a:pt x="22" y="46"/>
                      <a:pt x="22" y="46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17" y="54"/>
                      <a:pt x="17" y="54"/>
                      <a:pt x="17" y="54"/>
                    </a:cubicBezTo>
                    <a:cubicBezTo>
                      <a:pt x="15" y="58"/>
                      <a:pt x="15" y="58"/>
                      <a:pt x="15" y="58"/>
                    </a:cubicBezTo>
                    <a:cubicBezTo>
                      <a:pt x="15" y="64"/>
                      <a:pt x="15" y="64"/>
                      <a:pt x="15" y="64"/>
                    </a:cubicBezTo>
                    <a:cubicBezTo>
                      <a:pt x="14" y="66"/>
                      <a:pt x="14" y="66"/>
                      <a:pt x="14" y="66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12" y="75"/>
                      <a:pt x="12" y="75"/>
                      <a:pt x="12" y="75"/>
                    </a:cubicBezTo>
                    <a:cubicBezTo>
                      <a:pt x="8" y="75"/>
                      <a:pt x="8" y="75"/>
                      <a:pt x="8" y="75"/>
                    </a:cubicBezTo>
                    <a:cubicBezTo>
                      <a:pt x="2" y="78"/>
                      <a:pt x="2" y="78"/>
                      <a:pt x="2" y="78"/>
                    </a:cubicBezTo>
                    <a:cubicBezTo>
                      <a:pt x="2" y="82"/>
                      <a:pt x="2" y="82"/>
                      <a:pt x="2" y="82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1" y="94"/>
                      <a:pt x="1" y="94"/>
                      <a:pt x="1" y="94"/>
                    </a:cubicBezTo>
                    <a:cubicBezTo>
                      <a:pt x="1" y="94"/>
                      <a:pt x="2" y="94"/>
                      <a:pt x="2" y="94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5" y="90"/>
                      <a:pt x="5" y="90"/>
                      <a:pt x="5" y="90"/>
                    </a:cubicBezTo>
                    <a:cubicBezTo>
                      <a:pt x="6" y="91"/>
                      <a:pt x="6" y="91"/>
                      <a:pt x="6" y="91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11" y="92"/>
                      <a:pt x="11" y="92"/>
                      <a:pt x="11" y="92"/>
                    </a:cubicBezTo>
                    <a:cubicBezTo>
                      <a:pt x="13" y="91"/>
                      <a:pt x="13" y="91"/>
                      <a:pt x="13" y="91"/>
                    </a:cubicBezTo>
                    <a:cubicBezTo>
                      <a:pt x="14" y="92"/>
                      <a:pt x="14" y="92"/>
                      <a:pt x="14" y="92"/>
                    </a:cubicBezTo>
                    <a:cubicBezTo>
                      <a:pt x="16" y="93"/>
                      <a:pt x="16" y="93"/>
                      <a:pt x="16" y="93"/>
                    </a:cubicBezTo>
                    <a:cubicBezTo>
                      <a:pt x="17" y="96"/>
                      <a:pt x="17" y="96"/>
                      <a:pt x="17" y="96"/>
                    </a:cubicBezTo>
                    <a:cubicBezTo>
                      <a:pt x="14" y="100"/>
                      <a:pt x="14" y="100"/>
                      <a:pt x="14" y="100"/>
                    </a:cubicBezTo>
                    <a:cubicBezTo>
                      <a:pt x="15" y="103"/>
                      <a:pt x="15" y="103"/>
                      <a:pt x="15" y="103"/>
                    </a:cubicBezTo>
                    <a:cubicBezTo>
                      <a:pt x="13" y="107"/>
                      <a:pt x="13" y="107"/>
                      <a:pt x="13" y="107"/>
                    </a:cubicBezTo>
                    <a:cubicBezTo>
                      <a:pt x="13" y="113"/>
                      <a:pt x="13" y="113"/>
                      <a:pt x="13" y="113"/>
                    </a:cubicBezTo>
                    <a:cubicBezTo>
                      <a:pt x="13" y="114"/>
                      <a:pt x="13" y="114"/>
                      <a:pt x="13" y="114"/>
                    </a:cubicBezTo>
                    <a:cubicBezTo>
                      <a:pt x="15" y="113"/>
                      <a:pt x="15" y="113"/>
                      <a:pt x="15" y="113"/>
                    </a:cubicBezTo>
                    <a:cubicBezTo>
                      <a:pt x="17" y="114"/>
                      <a:pt x="17" y="114"/>
                      <a:pt x="17" y="114"/>
                    </a:cubicBezTo>
                    <a:cubicBezTo>
                      <a:pt x="19" y="115"/>
                      <a:pt x="19" y="115"/>
                      <a:pt x="19" y="115"/>
                    </a:cubicBezTo>
                    <a:cubicBezTo>
                      <a:pt x="21" y="113"/>
                      <a:pt x="21" y="113"/>
                      <a:pt x="21" y="113"/>
                    </a:cubicBezTo>
                    <a:cubicBezTo>
                      <a:pt x="24" y="113"/>
                      <a:pt x="24" y="113"/>
                      <a:pt x="24" y="113"/>
                    </a:cubicBezTo>
                    <a:cubicBezTo>
                      <a:pt x="25" y="111"/>
                      <a:pt x="25" y="111"/>
                      <a:pt x="25" y="111"/>
                    </a:cubicBezTo>
                    <a:cubicBezTo>
                      <a:pt x="28" y="110"/>
                      <a:pt x="28" y="110"/>
                      <a:pt x="28" y="110"/>
                    </a:cubicBezTo>
                    <a:cubicBezTo>
                      <a:pt x="30" y="110"/>
                      <a:pt x="30" y="110"/>
                      <a:pt x="30" y="110"/>
                    </a:cubicBezTo>
                    <a:cubicBezTo>
                      <a:pt x="33" y="106"/>
                      <a:pt x="33" y="106"/>
                      <a:pt x="33" y="106"/>
                    </a:cubicBezTo>
                    <a:cubicBezTo>
                      <a:pt x="34" y="102"/>
                      <a:pt x="34" y="102"/>
                      <a:pt x="34" y="102"/>
                    </a:cubicBezTo>
                    <a:cubicBezTo>
                      <a:pt x="37" y="99"/>
                      <a:pt x="37" y="99"/>
                      <a:pt x="37" y="99"/>
                    </a:cubicBezTo>
                    <a:cubicBezTo>
                      <a:pt x="38" y="96"/>
                      <a:pt x="38" y="96"/>
                      <a:pt x="38" y="96"/>
                    </a:cubicBezTo>
                    <a:cubicBezTo>
                      <a:pt x="40" y="96"/>
                      <a:pt x="40" y="96"/>
                      <a:pt x="40" y="96"/>
                    </a:cubicBezTo>
                    <a:cubicBezTo>
                      <a:pt x="42" y="98"/>
                      <a:pt x="42" y="98"/>
                      <a:pt x="42" y="98"/>
                    </a:cubicBezTo>
                    <a:cubicBezTo>
                      <a:pt x="44" y="95"/>
                      <a:pt x="44" y="95"/>
                      <a:pt x="44" y="95"/>
                    </a:cubicBezTo>
                    <a:cubicBezTo>
                      <a:pt x="46" y="94"/>
                      <a:pt x="46" y="94"/>
                      <a:pt x="46" y="94"/>
                    </a:cubicBezTo>
                    <a:cubicBezTo>
                      <a:pt x="48" y="94"/>
                      <a:pt x="48" y="94"/>
                      <a:pt x="48" y="94"/>
                    </a:cubicBezTo>
                    <a:cubicBezTo>
                      <a:pt x="50" y="89"/>
                      <a:pt x="50" y="89"/>
                      <a:pt x="50" y="89"/>
                    </a:cubicBezTo>
                    <a:cubicBezTo>
                      <a:pt x="49" y="83"/>
                      <a:pt x="49" y="83"/>
                      <a:pt x="49" y="83"/>
                    </a:cubicBezTo>
                    <a:cubicBezTo>
                      <a:pt x="52" y="81"/>
                      <a:pt x="52" y="81"/>
                      <a:pt x="52" y="81"/>
                    </a:cubicBezTo>
                    <a:cubicBezTo>
                      <a:pt x="53" y="78"/>
                      <a:pt x="53" y="78"/>
                      <a:pt x="53" y="78"/>
                    </a:cubicBezTo>
                    <a:cubicBezTo>
                      <a:pt x="56" y="78"/>
                      <a:pt x="56" y="78"/>
                      <a:pt x="56" y="78"/>
                    </a:cubicBezTo>
                    <a:cubicBezTo>
                      <a:pt x="57" y="80"/>
                      <a:pt x="57" y="80"/>
                      <a:pt x="57" y="80"/>
                    </a:cubicBezTo>
                    <a:cubicBezTo>
                      <a:pt x="59" y="78"/>
                      <a:pt x="59" y="78"/>
                      <a:pt x="59" y="78"/>
                    </a:cubicBezTo>
                    <a:cubicBezTo>
                      <a:pt x="61" y="77"/>
                      <a:pt x="61" y="77"/>
                      <a:pt x="61" y="77"/>
                    </a:cubicBezTo>
                    <a:cubicBezTo>
                      <a:pt x="63" y="78"/>
                      <a:pt x="63" y="78"/>
                      <a:pt x="63" y="78"/>
                    </a:cubicBezTo>
                    <a:cubicBezTo>
                      <a:pt x="63" y="81"/>
                      <a:pt x="63" y="81"/>
                      <a:pt x="63" y="81"/>
                    </a:cubicBezTo>
                    <a:cubicBezTo>
                      <a:pt x="61" y="84"/>
                      <a:pt x="61" y="84"/>
                      <a:pt x="61" y="84"/>
                    </a:cubicBezTo>
                    <a:cubicBezTo>
                      <a:pt x="59" y="86"/>
                      <a:pt x="59" y="86"/>
                      <a:pt x="59" y="86"/>
                    </a:cubicBezTo>
                    <a:cubicBezTo>
                      <a:pt x="62" y="88"/>
                      <a:pt x="62" y="88"/>
                      <a:pt x="62" y="88"/>
                    </a:cubicBezTo>
                    <a:cubicBezTo>
                      <a:pt x="67" y="88"/>
                      <a:pt x="67" y="88"/>
                      <a:pt x="67" y="88"/>
                    </a:cubicBezTo>
                    <a:cubicBezTo>
                      <a:pt x="70" y="89"/>
                      <a:pt x="70" y="89"/>
                      <a:pt x="70" y="89"/>
                    </a:cubicBezTo>
                    <a:cubicBezTo>
                      <a:pt x="71" y="92"/>
                      <a:pt x="71" y="92"/>
                      <a:pt x="71" y="92"/>
                    </a:cubicBezTo>
                    <a:cubicBezTo>
                      <a:pt x="69" y="96"/>
                      <a:pt x="69" y="96"/>
                      <a:pt x="69" y="96"/>
                    </a:cubicBezTo>
                    <a:cubicBezTo>
                      <a:pt x="66" y="97"/>
                      <a:pt x="66" y="97"/>
                      <a:pt x="66" y="97"/>
                    </a:cubicBezTo>
                    <a:cubicBezTo>
                      <a:pt x="66" y="102"/>
                      <a:pt x="66" y="102"/>
                      <a:pt x="66" y="102"/>
                    </a:cubicBezTo>
                    <a:cubicBezTo>
                      <a:pt x="68" y="103"/>
                      <a:pt x="68" y="103"/>
                      <a:pt x="68" y="103"/>
                    </a:cubicBezTo>
                    <a:cubicBezTo>
                      <a:pt x="70" y="102"/>
                      <a:pt x="70" y="102"/>
                      <a:pt x="70" y="102"/>
                    </a:cubicBezTo>
                    <a:cubicBezTo>
                      <a:pt x="72" y="102"/>
                      <a:pt x="72" y="102"/>
                      <a:pt x="72" y="102"/>
                    </a:cubicBezTo>
                    <a:cubicBezTo>
                      <a:pt x="73" y="104"/>
                      <a:pt x="73" y="104"/>
                      <a:pt x="73" y="104"/>
                    </a:cubicBezTo>
                    <a:cubicBezTo>
                      <a:pt x="75" y="103"/>
                      <a:pt x="75" y="103"/>
                      <a:pt x="75" y="103"/>
                    </a:cubicBezTo>
                    <a:cubicBezTo>
                      <a:pt x="77" y="106"/>
                      <a:pt x="77" y="106"/>
                      <a:pt x="77" y="106"/>
                    </a:cubicBezTo>
                    <a:cubicBezTo>
                      <a:pt x="80" y="106"/>
                      <a:pt x="80" y="106"/>
                      <a:pt x="80" y="106"/>
                    </a:cubicBezTo>
                    <a:cubicBezTo>
                      <a:pt x="82" y="108"/>
                      <a:pt x="82" y="108"/>
                      <a:pt x="82" y="108"/>
                    </a:cubicBezTo>
                    <a:cubicBezTo>
                      <a:pt x="84" y="108"/>
                      <a:pt x="84" y="108"/>
                      <a:pt x="84" y="108"/>
                    </a:cubicBezTo>
                    <a:cubicBezTo>
                      <a:pt x="88" y="111"/>
                      <a:pt x="88" y="111"/>
                      <a:pt x="88" y="111"/>
                    </a:cubicBezTo>
                    <a:cubicBezTo>
                      <a:pt x="90" y="110"/>
                      <a:pt x="90" y="110"/>
                      <a:pt x="90" y="110"/>
                    </a:cubicBezTo>
                    <a:cubicBezTo>
                      <a:pt x="92" y="105"/>
                      <a:pt x="92" y="105"/>
                      <a:pt x="92" y="105"/>
                    </a:cubicBezTo>
                    <a:cubicBezTo>
                      <a:pt x="94" y="104"/>
                      <a:pt x="94" y="104"/>
                      <a:pt x="94" y="104"/>
                    </a:cubicBezTo>
                    <a:cubicBezTo>
                      <a:pt x="97" y="101"/>
                      <a:pt x="97" y="101"/>
                      <a:pt x="97" y="101"/>
                    </a:cubicBezTo>
                    <a:cubicBezTo>
                      <a:pt x="100" y="101"/>
                      <a:pt x="100" y="101"/>
                      <a:pt x="100" y="101"/>
                    </a:cubicBezTo>
                    <a:cubicBezTo>
                      <a:pt x="100" y="99"/>
                      <a:pt x="100" y="99"/>
                      <a:pt x="100" y="99"/>
                    </a:cubicBezTo>
                    <a:lnTo>
                      <a:pt x="98" y="9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1237">
                <a:extLst>
                  <a:ext uri="{FF2B5EF4-FFF2-40B4-BE49-F238E27FC236}">
                    <a16:creationId xmlns:a16="http://schemas.microsoft.com/office/drawing/2014/main" id="{631A8DA0-143D-40BA-96C5-B67EA4C376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33851" y="2640013"/>
                <a:ext cx="25400" cy="30163"/>
              </a:xfrm>
              <a:custGeom>
                <a:avLst/>
                <a:gdLst>
                  <a:gd name="T0" fmla="*/ 14 w 21"/>
                  <a:gd name="T1" fmla="*/ 18 h 24"/>
                  <a:gd name="T2" fmla="*/ 13 w 21"/>
                  <a:gd name="T3" fmla="*/ 21 h 24"/>
                  <a:gd name="T4" fmla="*/ 15 w 21"/>
                  <a:gd name="T5" fmla="*/ 19 h 24"/>
                  <a:gd name="T6" fmla="*/ 19 w 21"/>
                  <a:gd name="T7" fmla="*/ 13 h 24"/>
                  <a:gd name="T8" fmla="*/ 20 w 21"/>
                  <a:gd name="T9" fmla="*/ 12 h 24"/>
                  <a:gd name="T10" fmla="*/ 21 w 21"/>
                  <a:gd name="T11" fmla="*/ 7 h 24"/>
                  <a:gd name="T12" fmla="*/ 20 w 21"/>
                  <a:gd name="T13" fmla="*/ 5 h 24"/>
                  <a:gd name="T14" fmla="*/ 19 w 21"/>
                  <a:gd name="T15" fmla="*/ 5 h 24"/>
                  <a:gd name="T16" fmla="*/ 19 w 21"/>
                  <a:gd name="T17" fmla="*/ 2 h 24"/>
                  <a:gd name="T18" fmla="*/ 16 w 21"/>
                  <a:gd name="T19" fmla="*/ 0 h 24"/>
                  <a:gd name="T20" fmla="*/ 15 w 21"/>
                  <a:gd name="T21" fmla="*/ 2 h 24"/>
                  <a:gd name="T22" fmla="*/ 13 w 21"/>
                  <a:gd name="T23" fmla="*/ 8 h 24"/>
                  <a:gd name="T24" fmla="*/ 11 w 21"/>
                  <a:gd name="T25" fmla="*/ 12 h 24"/>
                  <a:gd name="T26" fmla="*/ 8 w 21"/>
                  <a:gd name="T27" fmla="*/ 14 h 24"/>
                  <a:gd name="T28" fmla="*/ 8 w 21"/>
                  <a:gd name="T29" fmla="*/ 11 h 24"/>
                  <a:gd name="T30" fmla="*/ 11 w 21"/>
                  <a:gd name="T31" fmla="*/ 8 h 24"/>
                  <a:gd name="T32" fmla="*/ 12 w 21"/>
                  <a:gd name="T33" fmla="*/ 4 h 24"/>
                  <a:gd name="T34" fmla="*/ 12 w 21"/>
                  <a:gd name="T35" fmla="*/ 3 h 24"/>
                  <a:gd name="T36" fmla="*/ 9 w 21"/>
                  <a:gd name="T37" fmla="*/ 5 h 24"/>
                  <a:gd name="T38" fmla="*/ 7 w 21"/>
                  <a:gd name="T39" fmla="*/ 10 h 24"/>
                  <a:gd name="T40" fmla="*/ 3 w 21"/>
                  <a:gd name="T41" fmla="*/ 15 h 24"/>
                  <a:gd name="T42" fmla="*/ 3 w 21"/>
                  <a:gd name="T43" fmla="*/ 17 h 24"/>
                  <a:gd name="T44" fmla="*/ 0 w 21"/>
                  <a:gd name="T45" fmla="*/ 21 h 24"/>
                  <a:gd name="T46" fmla="*/ 1 w 21"/>
                  <a:gd name="T47" fmla="*/ 24 h 24"/>
                  <a:gd name="T48" fmla="*/ 2 w 21"/>
                  <a:gd name="T49" fmla="*/ 23 h 24"/>
                  <a:gd name="T50" fmla="*/ 6 w 21"/>
                  <a:gd name="T51" fmla="*/ 17 h 24"/>
                  <a:gd name="T52" fmla="*/ 8 w 21"/>
                  <a:gd name="T53" fmla="*/ 17 h 24"/>
                  <a:gd name="T54" fmla="*/ 7 w 21"/>
                  <a:gd name="T55" fmla="*/ 20 h 24"/>
                  <a:gd name="T56" fmla="*/ 4 w 21"/>
                  <a:gd name="T57" fmla="*/ 24 h 24"/>
                  <a:gd name="T58" fmla="*/ 6 w 21"/>
                  <a:gd name="T59" fmla="*/ 24 h 24"/>
                  <a:gd name="T60" fmla="*/ 8 w 21"/>
                  <a:gd name="T61" fmla="*/ 23 h 24"/>
                  <a:gd name="T62" fmla="*/ 10 w 21"/>
                  <a:gd name="T63" fmla="*/ 23 h 24"/>
                  <a:gd name="T64" fmla="*/ 13 w 21"/>
                  <a:gd name="T65" fmla="*/ 19 h 24"/>
                  <a:gd name="T66" fmla="*/ 17 w 21"/>
                  <a:gd name="T67" fmla="*/ 12 h 24"/>
                  <a:gd name="T68" fmla="*/ 18 w 21"/>
                  <a:gd name="T69" fmla="*/ 9 h 24"/>
                  <a:gd name="T70" fmla="*/ 19 w 21"/>
                  <a:gd name="T71" fmla="*/ 9 h 24"/>
                  <a:gd name="T72" fmla="*/ 19 w 21"/>
                  <a:gd name="T73" fmla="*/ 11 h 24"/>
                  <a:gd name="T74" fmla="*/ 14 w 21"/>
                  <a:gd name="T75" fmla="*/ 18 h 24"/>
                  <a:gd name="T76" fmla="*/ 13 w 21"/>
                  <a:gd name="T77" fmla="*/ 15 h 24"/>
                  <a:gd name="T78" fmla="*/ 10 w 21"/>
                  <a:gd name="T79" fmla="*/ 18 h 24"/>
                  <a:gd name="T80" fmla="*/ 9 w 21"/>
                  <a:gd name="T81" fmla="*/ 19 h 24"/>
                  <a:gd name="T82" fmla="*/ 10 w 21"/>
                  <a:gd name="T83" fmla="*/ 16 h 24"/>
                  <a:gd name="T84" fmla="*/ 15 w 21"/>
                  <a:gd name="T85" fmla="*/ 10 h 24"/>
                  <a:gd name="T86" fmla="*/ 13 w 21"/>
                  <a:gd name="T87" fmla="*/ 15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1" h="24">
                    <a:moveTo>
                      <a:pt x="14" y="18"/>
                    </a:moveTo>
                    <a:cubicBezTo>
                      <a:pt x="13" y="21"/>
                      <a:pt x="13" y="21"/>
                      <a:pt x="13" y="21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1" y="7"/>
                      <a:pt x="21" y="7"/>
                      <a:pt x="21" y="7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1" y="24"/>
                      <a:pt x="1" y="24"/>
                      <a:pt x="1" y="24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6" y="24"/>
                      <a:pt x="6" y="24"/>
                      <a:pt x="6" y="24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0" y="23"/>
                      <a:pt x="13" y="18"/>
                      <a:pt x="13" y="19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9" y="11"/>
                      <a:pt x="19" y="11"/>
                      <a:pt x="19" y="11"/>
                    </a:cubicBezTo>
                    <a:lnTo>
                      <a:pt x="14" y="18"/>
                    </a:lnTo>
                    <a:close/>
                    <a:moveTo>
                      <a:pt x="13" y="15"/>
                    </a:moveTo>
                    <a:cubicBezTo>
                      <a:pt x="10" y="18"/>
                      <a:pt x="10" y="18"/>
                      <a:pt x="10" y="18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15" y="10"/>
                      <a:pt x="15" y="10"/>
                      <a:pt x="15" y="10"/>
                    </a:cubicBezTo>
                    <a:lnTo>
                      <a:pt x="13" y="1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1238">
                <a:extLst>
                  <a:ext uri="{FF2B5EF4-FFF2-40B4-BE49-F238E27FC236}">
                    <a16:creationId xmlns:a16="http://schemas.microsoft.com/office/drawing/2014/main" id="{6582D434-3725-4A01-8CDF-549FCCC744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5888" y="3916363"/>
                <a:ext cx="6350" cy="3175"/>
              </a:xfrm>
              <a:custGeom>
                <a:avLst/>
                <a:gdLst>
                  <a:gd name="T0" fmla="*/ 3 w 4"/>
                  <a:gd name="T1" fmla="*/ 2 h 2"/>
                  <a:gd name="T2" fmla="*/ 4 w 4"/>
                  <a:gd name="T3" fmla="*/ 0 h 2"/>
                  <a:gd name="T4" fmla="*/ 1 w 4"/>
                  <a:gd name="T5" fmla="*/ 0 h 2"/>
                  <a:gd name="T6" fmla="*/ 0 w 4"/>
                  <a:gd name="T7" fmla="*/ 2 h 2"/>
                  <a:gd name="T8" fmla="*/ 3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3" y="2"/>
                    </a:moveTo>
                    <a:lnTo>
                      <a:pt x="4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1239">
                <a:extLst>
                  <a:ext uri="{FF2B5EF4-FFF2-40B4-BE49-F238E27FC236}">
                    <a16:creationId xmlns:a16="http://schemas.microsoft.com/office/drawing/2014/main" id="{3CDA9208-E878-4493-9E2E-2EF7EF35A0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4151" y="3940175"/>
                <a:ext cx="50800" cy="23813"/>
              </a:xfrm>
              <a:custGeom>
                <a:avLst/>
                <a:gdLst>
                  <a:gd name="T0" fmla="*/ 25 w 32"/>
                  <a:gd name="T1" fmla="*/ 6 h 15"/>
                  <a:gd name="T2" fmla="*/ 23 w 32"/>
                  <a:gd name="T3" fmla="*/ 1 h 15"/>
                  <a:gd name="T4" fmla="*/ 12 w 32"/>
                  <a:gd name="T5" fmla="*/ 0 h 15"/>
                  <a:gd name="T6" fmla="*/ 7 w 32"/>
                  <a:gd name="T7" fmla="*/ 1 h 15"/>
                  <a:gd name="T8" fmla="*/ 4 w 32"/>
                  <a:gd name="T9" fmla="*/ 1 h 15"/>
                  <a:gd name="T10" fmla="*/ 1 w 32"/>
                  <a:gd name="T11" fmla="*/ 1 h 15"/>
                  <a:gd name="T12" fmla="*/ 0 w 32"/>
                  <a:gd name="T13" fmla="*/ 5 h 15"/>
                  <a:gd name="T14" fmla="*/ 2 w 32"/>
                  <a:gd name="T15" fmla="*/ 7 h 15"/>
                  <a:gd name="T16" fmla="*/ 5 w 32"/>
                  <a:gd name="T17" fmla="*/ 6 h 15"/>
                  <a:gd name="T18" fmla="*/ 6 w 32"/>
                  <a:gd name="T19" fmla="*/ 7 h 15"/>
                  <a:gd name="T20" fmla="*/ 8 w 32"/>
                  <a:gd name="T21" fmla="*/ 11 h 15"/>
                  <a:gd name="T22" fmla="*/ 9 w 32"/>
                  <a:gd name="T23" fmla="*/ 13 h 15"/>
                  <a:gd name="T24" fmla="*/ 13 w 32"/>
                  <a:gd name="T25" fmla="*/ 13 h 15"/>
                  <a:gd name="T26" fmla="*/ 15 w 32"/>
                  <a:gd name="T27" fmla="*/ 15 h 15"/>
                  <a:gd name="T28" fmla="*/ 19 w 32"/>
                  <a:gd name="T29" fmla="*/ 15 h 15"/>
                  <a:gd name="T30" fmla="*/ 19 w 32"/>
                  <a:gd name="T31" fmla="*/ 11 h 15"/>
                  <a:gd name="T32" fmla="*/ 21 w 32"/>
                  <a:gd name="T33" fmla="*/ 11 h 15"/>
                  <a:gd name="T34" fmla="*/ 22 w 32"/>
                  <a:gd name="T35" fmla="*/ 14 h 15"/>
                  <a:gd name="T36" fmla="*/ 23 w 32"/>
                  <a:gd name="T37" fmla="*/ 13 h 15"/>
                  <a:gd name="T38" fmla="*/ 25 w 32"/>
                  <a:gd name="T39" fmla="*/ 10 h 15"/>
                  <a:gd name="T40" fmla="*/ 26 w 32"/>
                  <a:gd name="T41" fmla="*/ 11 h 15"/>
                  <a:gd name="T42" fmla="*/ 31 w 32"/>
                  <a:gd name="T43" fmla="*/ 11 h 15"/>
                  <a:gd name="T44" fmla="*/ 32 w 32"/>
                  <a:gd name="T45" fmla="*/ 10 h 15"/>
                  <a:gd name="T46" fmla="*/ 29 w 32"/>
                  <a:gd name="T47" fmla="*/ 7 h 15"/>
                  <a:gd name="T48" fmla="*/ 25 w 32"/>
                  <a:gd name="T49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2" h="15">
                    <a:moveTo>
                      <a:pt x="25" y="6"/>
                    </a:moveTo>
                    <a:lnTo>
                      <a:pt x="23" y="1"/>
                    </a:lnTo>
                    <a:lnTo>
                      <a:pt x="12" y="0"/>
                    </a:lnTo>
                    <a:lnTo>
                      <a:pt x="7" y="1"/>
                    </a:lnTo>
                    <a:lnTo>
                      <a:pt x="4" y="1"/>
                    </a:lnTo>
                    <a:lnTo>
                      <a:pt x="1" y="1"/>
                    </a:lnTo>
                    <a:lnTo>
                      <a:pt x="0" y="5"/>
                    </a:lnTo>
                    <a:lnTo>
                      <a:pt x="2" y="7"/>
                    </a:lnTo>
                    <a:lnTo>
                      <a:pt x="5" y="6"/>
                    </a:lnTo>
                    <a:lnTo>
                      <a:pt x="6" y="7"/>
                    </a:lnTo>
                    <a:lnTo>
                      <a:pt x="8" y="11"/>
                    </a:lnTo>
                    <a:lnTo>
                      <a:pt x="9" y="13"/>
                    </a:lnTo>
                    <a:lnTo>
                      <a:pt x="13" y="13"/>
                    </a:lnTo>
                    <a:lnTo>
                      <a:pt x="15" y="15"/>
                    </a:lnTo>
                    <a:lnTo>
                      <a:pt x="19" y="15"/>
                    </a:lnTo>
                    <a:lnTo>
                      <a:pt x="19" y="11"/>
                    </a:lnTo>
                    <a:lnTo>
                      <a:pt x="21" y="11"/>
                    </a:lnTo>
                    <a:lnTo>
                      <a:pt x="22" y="14"/>
                    </a:lnTo>
                    <a:lnTo>
                      <a:pt x="23" y="13"/>
                    </a:lnTo>
                    <a:lnTo>
                      <a:pt x="25" y="10"/>
                    </a:lnTo>
                    <a:lnTo>
                      <a:pt x="26" y="11"/>
                    </a:lnTo>
                    <a:lnTo>
                      <a:pt x="31" y="11"/>
                    </a:lnTo>
                    <a:lnTo>
                      <a:pt x="32" y="10"/>
                    </a:lnTo>
                    <a:lnTo>
                      <a:pt x="29" y="7"/>
                    </a:lnTo>
                    <a:lnTo>
                      <a:pt x="25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1240">
                <a:extLst>
                  <a:ext uri="{FF2B5EF4-FFF2-40B4-BE49-F238E27FC236}">
                    <a16:creationId xmlns:a16="http://schemas.microsoft.com/office/drawing/2014/main" id="{A39122E2-DF76-4BB5-9B87-02C0A29AB3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0038" y="3925888"/>
                <a:ext cx="9525" cy="7938"/>
              </a:xfrm>
              <a:custGeom>
                <a:avLst/>
                <a:gdLst>
                  <a:gd name="T0" fmla="*/ 6 w 6"/>
                  <a:gd name="T1" fmla="*/ 5 h 5"/>
                  <a:gd name="T2" fmla="*/ 5 w 6"/>
                  <a:gd name="T3" fmla="*/ 3 h 5"/>
                  <a:gd name="T4" fmla="*/ 2 w 6"/>
                  <a:gd name="T5" fmla="*/ 0 h 5"/>
                  <a:gd name="T6" fmla="*/ 0 w 6"/>
                  <a:gd name="T7" fmla="*/ 1 h 5"/>
                  <a:gd name="T8" fmla="*/ 1 w 6"/>
                  <a:gd name="T9" fmla="*/ 3 h 5"/>
                  <a:gd name="T10" fmla="*/ 6 w 6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5">
                    <a:moveTo>
                      <a:pt x="6" y="5"/>
                    </a:moveTo>
                    <a:lnTo>
                      <a:pt x="5" y="3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6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1241">
                <a:extLst>
                  <a:ext uri="{FF2B5EF4-FFF2-40B4-BE49-F238E27FC236}">
                    <a16:creationId xmlns:a16="http://schemas.microsoft.com/office/drawing/2014/main" id="{DC17DB53-AF95-4107-85E5-C725C5E53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3051" y="3900488"/>
                <a:ext cx="61913" cy="53975"/>
              </a:xfrm>
              <a:custGeom>
                <a:avLst/>
                <a:gdLst>
                  <a:gd name="T0" fmla="*/ 47 w 51"/>
                  <a:gd name="T1" fmla="*/ 34 h 44"/>
                  <a:gd name="T2" fmla="*/ 47 w 51"/>
                  <a:gd name="T3" fmla="*/ 31 h 44"/>
                  <a:gd name="T4" fmla="*/ 48 w 51"/>
                  <a:gd name="T5" fmla="*/ 27 h 44"/>
                  <a:gd name="T6" fmla="*/ 46 w 51"/>
                  <a:gd name="T7" fmla="*/ 23 h 44"/>
                  <a:gd name="T8" fmla="*/ 46 w 51"/>
                  <a:gd name="T9" fmla="*/ 21 h 44"/>
                  <a:gd name="T10" fmla="*/ 49 w 51"/>
                  <a:gd name="T11" fmla="*/ 19 h 44"/>
                  <a:gd name="T12" fmla="*/ 50 w 51"/>
                  <a:gd name="T13" fmla="*/ 15 h 44"/>
                  <a:gd name="T14" fmla="*/ 49 w 51"/>
                  <a:gd name="T15" fmla="*/ 11 h 44"/>
                  <a:gd name="T16" fmla="*/ 51 w 51"/>
                  <a:gd name="T17" fmla="*/ 7 h 44"/>
                  <a:gd name="T18" fmla="*/ 50 w 51"/>
                  <a:gd name="T19" fmla="*/ 5 h 44"/>
                  <a:gd name="T20" fmla="*/ 50 w 51"/>
                  <a:gd name="T21" fmla="*/ 5 h 44"/>
                  <a:gd name="T22" fmla="*/ 47 w 51"/>
                  <a:gd name="T23" fmla="*/ 4 h 44"/>
                  <a:gd name="T24" fmla="*/ 44 w 51"/>
                  <a:gd name="T25" fmla="*/ 5 h 44"/>
                  <a:gd name="T26" fmla="*/ 41 w 51"/>
                  <a:gd name="T27" fmla="*/ 1 h 44"/>
                  <a:gd name="T28" fmla="*/ 33 w 51"/>
                  <a:gd name="T29" fmla="*/ 0 h 44"/>
                  <a:gd name="T30" fmla="*/ 31 w 51"/>
                  <a:gd name="T31" fmla="*/ 1 h 44"/>
                  <a:gd name="T32" fmla="*/ 28 w 51"/>
                  <a:gd name="T33" fmla="*/ 0 h 44"/>
                  <a:gd name="T34" fmla="*/ 21 w 51"/>
                  <a:gd name="T35" fmla="*/ 0 h 44"/>
                  <a:gd name="T36" fmla="*/ 20 w 51"/>
                  <a:gd name="T37" fmla="*/ 3 h 44"/>
                  <a:gd name="T38" fmla="*/ 23 w 51"/>
                  <a:gd name="T39" fmla="*/ 5 h 44"/>
                  <a:gd name="T40" fmla="*/ 33 w 51"/>
                  <a:gd name="T41" fmla="*/ 9 h 44"/>
                  <a:gd name="T42" fmla="*/ 32 w 51"/>
                  <a:gd name="T43" fmla="*/ 11 h 44"/>
                  <a:gd name="T44" fmla="*/ 33 w 51"/>
                  <a:gd name="T45" fmla="*/ 15 h 44"/>
                  <a:gd name="T46" fmla="*/ 32 w 51"/>
                  <a:gd name="T47" fmla="*/ 20 h 44"/>
                  <a:gd name="T48" fmla="*/ 34 w 51"/>
                  <a:gd name="T49" fmla="*/ 24 h 44"/>
                  <a:gd name="T50" fmla="*/ 37 w 51"/>
                  <a:gd name="T51" fmla="*/ 25 h 44"/>
                  <a:gd name="T52" fmla="*/ 41 w 51"/>
                  <a:gd name="T53" fmla="*/ 29 h 44"/>
                  <a:gd name="T54" fmla="*/ 40 w 51"/>
                  <a:gd name="T55" fmla="*/ 32 h 44"/>
                  <a:gd name="T56" fmla="*/ 33 w 51"/>
                  <a:gd name="T57" fmla="*/ 32 h 44"/>
                  <a:gd name="T58" fmla="*/ 31 w 51"/>
                  <a:gd name="T59" fmla="*/ 33 h 44"/>
                  <a:gd name="T60" fmla="*/ 28 w 51"/>
                  <a:gd name="T61" fmla="*/ 32 h 44"/>
                  <a:gd name="T62" fmla="*/ 24 w 51"/>
                  <a:gd name="T63" fmla="*/ 32 h 44"/>
                  <a:gd name="T64" fmla="*/ 20 w 51"/>
                  <a:gd name="T65" fmla="*/ 30 h 44"/>
                  <a:gd name="T66" fmla="*/ 15 w 51"/>
                  <a:gd name="T67" fmla="*/ 33 h 44"/>
                  <a:gd name="T68" fmla="*/ 15 w 51"/>
                  <a:gd name="T69" fmla="*/ 30 h 44"/>
                  <a:gd name="T70" fmla="*/ 14 w 51"/>
                  <a:gd name="T71" fmla="*/ 30 h 44"/>
                  <a:gd name="T72" fmla="*/ 8 w 51"/>
                  <a:gd name="T73" fmla="*/ 31 h 44"/>
                  <a:gd name="T74" fmla="*/ 5 w 51"/>
                  <a:gd name="T75" fmla="*/ 28 h 44"/>
                  <a:gd name="T76" fmla="*/ 1 w 51"/>
                  <a:gd name="T77" fmla="*/ 30 h 44"/>
                  <a:gd name="T78" fmla="*/ 0 w 51"/>
                  <a:gd name="T79" fmla="*/ 33 h 44"/>
                  <a:gd name="T80" fmla="*/ 1 w 51"/>
                  <a:gd name="T81" fmla="*/ 37 h 44"/>
                  <a:gd name="T82" fmla="*/ 5 w 51"/>
                  <a:gd name="T83" fmla="*/ 37 h 44"/>
                  <a:gd name="T84" fmla="*/ 10 w 51"/>
                  <a:gd name="T85" fmla="*/ 43 h 44"/>
                  <a:gd name="T86" fmla="*/ 12 w 51"/>
                  <a:gd name="T87" fmla="*/ 44 h 44"/>
                  <a:gd name="T88" fmla="*/ 12 w 51"/>
                  <a:gd name="T89" fmla="*/ 40 h 44"/>
                  <a:gd name="T90" fmla="*/ 14 w 51"/>
                  <a:gd name="T91" fmla="*/ 38 h 44"/>
                  <a:gd name="T92" fmla="*/ 22 w 51"/>
                  <a:gd name="T93" fmla="*/ 38 h 44"/>
                  <a:gd name="T94" fmla="*/ 26 w 51"/>
                  <a:gd name="T95" fmla="*/ 41 h 44"/>
                  <a:gd name="T96" fmla="*/ 36 w 51"/>
                  <a:gd name="T97" fmla="*/ 41 h 44"/>
                  <a:gd name="T98" fmla="*/ 37 w 51"/>
                  <a:gd name="T99" fmla="*/ 40 h 44"/>
                  <a:gd name="T100" fmla="*/ 40 w 51"/>
                  <a:gd name="T101" fmla="*/ 41 h 44"/>
                  <a:gd name="T102" fmla="*/ 43 w 51"/>
                  <a:gd name="T103" fmla="*/ 42 h 44"/>
                  <a:gd name="T104" fmla="*/ 43 w 51"/>
                  <a:gd name="T105" fmla="*/ 39 h 44"/>
                  <a:gd name="T106" fmla="*/ 47 w 51"/>
                  <a:gd name="T107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1" h="44">
                    <a:moveTo>
                      <a:pt x="47" y="34"/>
                    </a:moveTo>
                    <a:cubicBezTo>
                      <a:pt x="47" y="31"/>
                      <a:pt x="47" y="31"/>
                      <a:pt x="47" y="31"/>
                    </a:cubicBezTo>
                    <a:cubicBezTo>
                      <a:pt x="48" y="27"/>
                      <a:pt x="48" y="27"/>
                      <a:pt x="48" y="27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1"/>
                      <a:pt x="46" y="21"/>
                      <a:pt x="46" y="21"/>
                    </a:cubicBezTo>
                    <a:cubicBezTo>
                      <a:pt x="49" y="19"/>
                      <a:pt x="49" y="19"/>
                      <a:pt x="49" y="19"/>
                    </a:cubicBezTo>
                    <a:cubicBezTo>
                      <a:pt x="50" y="15"/>
                      <a:pt x="50" y="15"/>
                      <a:pt x="50" y="15"/>
                    </a:cubicBezTo>
                    <a:cubicBezTo>
                      <a:pt x="49" y="11"/>
                      <a:pt x="49" y="11"/>
                      <a:pt x="49" y="11"/>
                    </a:cubicBezTo>
                    <a:cubicBezTo>
                      <a:pt x="51" y="7"/>
                      <a:pt x="51" y="7"/>
                      <a:pt x="51" y="7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50" y="5"/>
                      <a:pt x="50" y="5"/>
                      <a:pt x="50" y="5"/>
                    </a:cubicBezTo>
                    <a:cubicBezTo>
                      <a:pt x="47" y="4"/>
                      <a:pt x="47" y="4"/>
                      <a:pt x="47" y="4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0" y="3"/>
                      <a:pt x="23" y="5"/>
                      <a:pt x="23" y="5"/>
                    </a:cubicBezTo>
                    <a:cubicBezTo>
                      <a:pt x="33" y="9"/>
                      <a:pt x="33" y="9"/>
                      <a:pt x="33" y="9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3" y="15"/>
                      <a:pt x="33" y="15"/>
                      <a:pt x="33" y="15"/>
                    </a:cubicBezTo>
                    <a:cubicBezTo>
                      <a:pt x="32" y="20"/>
                      <a:pt x="32" y="20"/>
                      <a:pt x="32" y="20"/>
                    </a:cubicBezTo>
                    <a:cubicBezTo>
                      <a:pt x="34" y="24"/>
                      <a:pt x="34" y="24"/>
                      <a:pt x="34" y="24"/>
                    </a:cubicBezTo>
                    <a:cubicBezTo>
                      <a:pt x="37" y="25"/>
                      <a:pt x="37" y="25"/>
                      <a:pt x="37" y="25"/>
                    </a:cubicBezTo>
                    <a:cubicBezTo>
                      <a:pt x="41" y="29"/>
                      <a:pt x="41" y="29"/>
                      <a:pt x="41" y="29"/>
                    </a:cubicBezTo>
                    <a:cubicBezTo>
                      <a:pt x="40" y="32"/>
                      <a:pt x="40" y="32"/>
                      <a:pt x="40" y="32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1" y="33"/>
                      <a:pt x="31" y="33"/>
                      <a:pt x="31" y="33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24" y="32"/>
                      <a:pt x="24" y="32"/>
                      <a:pt x="24" y="32"/>
                    </a:cubicBezTo>
                    <a:cubicBezTo>
                      <a:pt x="20" y="30"/>
                      <a:pt x="20" y="30"/>
                      <a:pt x="20" y="30"/>
                    </a:cubicBezTo>
                    <a:cubicBezTo>
                      <a:pt x="15" y="33"/>
                      <a:pt x="15" y="33"/>
                      <a:pt x="15" y="33"/>
                    </a:cubicBezTo>
                    <a:cubicBezTo>
                      <a:pt x="15" y="30"/>
                      <a:pt x="15" y="30"/>
                      <a:pt x="15" y="30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1" y="37"/>
                      <a:pt x="1" y="37"/>
                      <a:pt x="1" y="37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6" y="41"/>
                      <a:pt x="26" y="41"/>
                      <a:pt x="26" y="41"/>
                    </a:cubicBezTo>
                    <a:cubicBezTo>
                      <a:pt x="36" y="41"/>
                      <a:pt x="36" y="41"/>
                      <a:pt x="36" y="41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40" y="41"/>
                      <a:pt x="40" y="41"/>
                      <a:pt x="40" y="41"/>
                    </a:cubicBezTo>
                    <a:cubicBezTo>
                      <a:pt x="43" y="42"/>
                      <a:pt x="43" y="42"/>
                      <a:pt x="43" y="42"/>
                    </a:cubicBezTo>
                    <a:cubicBezTo>
                      <a:pt x="43" y="39"/>
                      <a:pt x="43" y="39"/>
                      <a:pt x="43" y="39"/>
                    </a:cubicBezTo>
                    <a:lnTo>
                      <a:pt x="47" y="3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1242">
                <a:extLst>
                  <a:ext uri="{FF2B5EF4-FFF2-40B4-BE49-F238E27FC236}">
                    <a16:creationId xmlns:a16="http://schemas.microsoft.com/office/drawing/2014/main" id="{842487F3-AEE1-467F-87AD-BEE438007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7976" y="3892550"/>
                <a:ext cx="12700" cy="4763"/>
              </a:xfrm>
              <a:custGeom>
                <a:avLst/>
                <a:gdLst>
                  <a:gd name="T0" fmla="*/ 8 w 8"/>
                  <a:gd name="T1" fmla="*/ 3 h 3"/>
                  <a:gd name="T2" fmla="*/ 3 w 8"/>
                  <a:gd name="T3" fmla="*/ 0 h 3"/>
                  <a:gd name="T4" fmla="*/ 0 w 8"/>
                  <a:gd name="T5" fmla="*/ 1 h 3"/>
                  <a:gd name="T6" fmla="*/ 3 w 8"/>
                  <a:gd name="T7" fmla="*/ 3 h 3"/>
                  <a:gd name="T8" fmla="*/ 8 w 8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3">
                    <a:moveTo>
                      <a:pt x="8" y="3"/>
                    </a:moveTo>
                    <a:lnTo>
                      <a:pt x="3" y="0"/>
                    </a:lnTo>
                    <a:lnTo>
                      <a:pt x="0" y="1"/>
                    </a:lnTo>
                    <a:lnTo>
                      <a:pt x="3" y="3"/>
                    </a:lnTo>
                    <a:lnTo>
                      <a:pt x="8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1243">
                <a:extLst>
                  <a:ext uri="{FF2B5EF4-FFF2-40B4-BE49-F238E27FC236}">
                    <a16:creationId xmlns:a16="http://schemas.microsoft.com/office/drawing/2014/main" id="{4E36C9A4-5C83-438F-9A3E-2DC4C805E9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2863" y="3802063"/>
                <a:ext cx="238125" cy="101600"/>
              </a:xfrm>
              <a:custGeom>
                <a:avLst/>
                <a:gdLst>
                  <a:gd name="T0" fmla="*/ 135 w 150"/>
                  <a:gd name="T1" fmla="*/ 63 h 64"/>
                  <a:gd name="T2" fmla="*/ 138 w 150"/>
                  <a:gd name="T3" fmla="*/ 61 h 64"/>
                  <a:gd name="T4" fmla="*/ 145 w 150"/>
                  <a:gd name="T5" fmla="*/ 60 h 64"/>
                  <a:gd name="T6" fmla="*/ 150 w 150"/>
                  <a:gd name="T7" fmla="*/ 55 h 64"/>
                  <a:gd name="T8" fmla="*/ 146 w 150"/>
                  <a:gd name="T9" fmla="*/ 54 h 64"/>
                  <a:gd name="T10" fmla="*/ 138 w 150"/>
                  <a:gd name="T11" fmla="*/ 46 h 64"/>
                  <a:gd name="T12" fmla="*/ 128 w 150"/>
                  <a:gd name="T13" fmla="*/ 45 h 64"/>
                  <a:gd name="T14" fmla="*/ 132 w 150"/>
                  <a:gd name="T15" fmla="*/ 39 h 64"/>
                  <a:gd name="T16" fmla="*/ 128 w 150"/>
                  <a:gd name="T17" fmla="*/ 40 h 64"/>
                  <a:gd name="T18" fmla="*/ 120 w 150"/>
                  <a:gd name="T19" fmla="*/ 34 h 64"/>
                  <a:gd name="T20" fmla="*/ 116 w 150"/>
                  <a:gd name="T21" fmla="*/ 33 h 64"/>
                  <a:gd name="T22" fmla="*/ 110 w 150"/>
                  <a:gd name="T23" fmla="*/ 33 h 64"/>
                  <a:gd name="T24" fmla="*/ 109 w 150"/>
                  <a:gd name="T25" fmla="*/ 29 h 64"/>
                  <a:gd name="T26" fmla="*/ 107 w 150"/>
                  <a:gd name="T27" fmla="*/ 30 h 64"/>
                  <a:gd name="T28" fmla="*/ 100 w 150"/>
                  <a:gd name="T29" fmla="*/ 27 h 64"/>
                  <a:gd name="T30" fmla="*/ 93 w 150"/>
                  <a:gd name="T31" fmla="*/ 21 h 64"/>
                  <a:gd name="T32" fmla="*/ 82 w 150"/>
                  <a:gd name="T33" fmla="*/ 17 h 64"/>
                  <a:gd name="T34" fmla="*/ 78 w 150"/>
                  <a:gd name="T35" fmla="*/ 12 h 64"/>
                  <a:gd name="T36" fmla="*/ 72 w 150"/>
                  <a:gd name="T37" fmla="*/ 8 h 64"/>
                  <a:gd name="T38" fmla="*/ 60 w 150"/>
                  <a:gd name="T39" fmla="*/ 4 h 64"/>
                  <a:gd name="T40" fmla="*/ 52 w 150"/>
                  <a:gd name="T41" fmla="*/ 5 h 64"/>
                  <a:gd name="T42" fmla="*/ 43 w 150"/>
                  <a:gd name="T43" fmla="*/ 0 h 64"/>
                  <a:gd name="T44" fmla="*/ 35 w 150"/>
                  <a:gd name="T45" fmla="*/ 3 h 64"/>
                  <a:gd name="T46" fmla="*/ 21 w 150"/>
                  <a:gd name="T47" fmla="*/ 5 h 64"/>
                  <a:gd name="T48" fmla="*/ 13 w 150"/>
                  <a:gd name="T49" fmla="*/ 9 h 64"/>
                  <a:gd name="T50" fmla="*/ 8 w 150"/>
                  <a:gd name="T51" fmla="*/ 14 h 64"/>
                  <a:gd name="T52" fmla="*/ 10 w 150"/>
                  <a:gd name="T53" fmla="*/ 20 h 64"/>
                  <a:gd name="T54" fmla="*/ 7 w 150"/>
                  <a:gd name="T55" fmla="*/ 20 h 64"/>
                  <a:gd name="T56" fmla="*/ 0 w 150"/>
                  <a:gd name="T57" fmla="*/ 23 h 64"/>
                  <a:gd name="T58" fmla="*/ 2 w 150"/>
                  <a:gd name="T59" fmla="*/ 27 h 64"/>
                  <a:gd name="T60" fmla="*/ 6 w 150"/>
                  <a:gd name="T61" fmla="*/ 24 h 64"/>
                  <a:gd name="T62" fmla="*/ 10 w 150"/>
                  <a:gd name="T63" fmla="*/ 24 h 64"/>
                  <a:gd name="T64" fmla="*/ 14 w 150"/>
                  <a:gd name="T65" fmla="*/ 19 h 64"/>
                  <a:gd name="T66" fmla="*/ 20 w 150"/>
                  <a:gd name="T67" fmla="*/ 18 h 64"/>
                  <a:gd name="T68" fmla="*/ 24 w 150"/>
                  <a:gd name="T69" fmla="*/ 19 h 64"/>
                  <a:gd name="T70" fmla="*/ 31 w 150"/>
                  <a:gd name="T71" fmla="*/ 12 h 64"/>
                  <a:gd name="T72" fmla="*/ 37 w 150"/>
                  <a:gd name="T73" fmla="*/ 11 h 64"/>
                  <a:gd name="T74" fmla="*/ 45 w 150"/>
                  <a:gd name="T75" fmla="*/ 12 h 64"/>
                  <a:gd name="T76" fmla="*/ 45 w 150"/>
                  <a:gd name="T77" fmla="*/ 15 h 64"/>
                  <a:gd name="T78" fmla="*/ 40 w 150"/>
                  <a:gd name="T79" fmla="*/ 16 h 64"/>
                  <a:gd name="T80" fmla="*/ 51 w 150"/>
                  <a:gd name="T81" fmla="*/ 20 h 64"/>
                  <a:gd name="T82" fmla="*/ 55 w 150"/>
                  <a:gd name="T83" fmla="*/ 19 h 64"/>
                  <a:gd name="T84" fmla="*/ 62 w 150"/>
                  <a:gd name="T85" fmla="*/ 23 h 64"/>
                  <a:gd name="T86" fmla="*/ 64 w 150"/>
                  <a:gd name="T87" fmla="*/ 20 h 64"/>
                  <a:gd name="T88" fmla="*/ 66 w 150"/>
                  <a:gd name="T89" fmla="*/ 24 h 64"/>
                  <a:gd name="T90" fmla="*/ 75 w 150"/>
                  <a:gd name="T91" fmla="*/ 29 h 64"/>
                  <a:gd name="T92" fmla="*/ 79 w 150"/>
                  <a:gd name="T93" fmla="*/ 30 h 64"/>
                  <a:gd name="T94" fmla="*/ 83 w 150"/>
                  <a:gd name="T95" fmla="*/ 30 h 64"/>
                  <a:gd name="T96" fmla="*/ 89 w 150"/>
                  <a:gd name="T97" fmla="*/ 29 h 64"/>
                  <a:gd name="T98" fmla="*/ 96 w 150"/>
                  <a:gd name="T99" fmla="*/ 47 h 64"/>
                  <a:gd name="T100" fmla="*/ 99 w 150"/>
                  <a:gd name="T101" fmla="*/ 46 h 64"/>
                  <a:gd name="T102" fmla="*/ 108 w 150"/>
                  <a:gd name="T103" fmla="*/ 48 h 64"/>
                  <a:gd name="T104" fmla="*/ 111 w 150"/>
                  <a:gd name="T105" fmla="*/ 50 h 64"/>
                  <a:gd name="T106" fmla="*/ 107 w 150"/>
                  <a:gd name="T107" fmla="*/ 55 h 64"/>
                  <a:gd name="T108" fmla="*/ 101 w 150"/>
                  <a:gd name="T109" fmla="*/ 63 h 64"/>
                  <a:gd name="T110" fmla="*/ 110 w 150"/>
                  <a:gd name="T111" fmla="*/ 62 h 64"/>
                  <a:gd name="T112" fmla="*/ 119 w 150"/>
                  <a:gd name="T113" fmla="*/ 61 h 64"/>
                  <a:gd name="T114" fmla="*/ 128 w 150"/>
                  <a:gd name="T11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50" h="64">
                    <a:moveTo>
                      <a:pt x="128" y="64"/>
                    </a:moveTo>
                    <a:lnTo>
                      <a:pt x="135" y="63"/>
                    </a:lnTo>
                    <a:lnTo>
                      <a:pt x="136" y="61"/>
                    </a:lnTo>
                    <a:lnTo>
                      <a:pt x="138" y="61"/>
                    </a:lnTo>
                    <a:lnTo>
                      <a:pt x="140" y="59"/>
                    </a:lnTo>
                    <a:lnTo>
                      <a:pt x="145" y="60"/>
                    </a:lnTo>
                    <a:lnTo>
                      <a:pt x="149" y="59"/>
                    </a:lnTo>
                    <a:lnTo>
                      <a:pt x="150" y="55"/>
                    </a:lnTo>
                    <a:lnTo>
                      <a:pt x="149" y="54"/>
                    </a:lnTo>
                    <a:lnTo>
                      <a:pt x="146" y="54"/>
                    </a:lnTo>
                    <a:lnTo>
                      <a:pt x="144" y="49"/>
                    </a:lnTo>
                    <a:lnTo>
                      <a:pt x="138" y="46"/>
                    </a:lnTo>
                    <a:lnTo>
                      <a:pt x="131" y="46"/>
                    </a:lnTo>
                    <a:lnTo>
                      <a:pt x="128" y="45"/>
                    </a:lnTo>
                    <a:lnTo>
                      <a:pt x="130" y="43"/>
                    </a:lnTo>
                    <a:lnTo>
                      <a:pt x="132" y="39"/>
                    </a:lnTo>
                    <a:lnTo>
                      <a:pt x="130" y="38"/>
                    </a:lnTo>
                    <a:lnTo>
                      <a:pt x="128" y="40"/>
                    </a:lnTo>
                    <a:lnTo>
                      <a:pt x="125" y="39"/>
                    </a:lnTo>
                    <a:lnTo>
                      <a:pt x="120" y="34"/>
                    </a:lnTo>
                    <a:lnTo>
                      <a:pt x="118" y="36"/>
                    </a:lnTo>
                    <a:lnTo>
                      <a:pt x="116" y="33"/>
                    </a:lnTo>
                    <a:lnTo>
                      <a:pt x="112" y="30"/>
                    </a:lnTo>
                    <a:lnTo>
                      <a:pt x="110" y="33"/>
                    </a:lnTo>
                    <a:lnTo>
                      <a:pt x="109" y="31"/>
                    </a:lnTo>
                    <a:lnTo>
                      <a:pt x="109" y="29"/>
                    </a:lnTo>
                    <a:lnTo>
                      <a:pt x="108" y="29"/>
                    </a:lnTo>
                    <a:lnTo>
                      <a:pt x="107" y="30"/>
                    </a:lnTo>
                    <a:lnTo>
                      <a:pt x="105" y="29"/>
                    </a:lnTo>
                    <a:lnTo>
                      <a:pt x="100" y="27"/>
                    </a:lnTo>
                    <a:lnTo>
                      <a:pt x="97" y="23"/>
                    </a:lnTo>
                    <a:lnTo>
                      <a:pt x="93" y="21"/>
                    </a:lnTo>
                    <a:lnTo>
                      <a:pt x="90" y="17"/>
                    </a:lnTo>
                    <a:lnTo>
                      <a:pt x="82" y="17"/>
                    </a:lnTo>
                    <a:lnTo>
                      <a:pt x="79" y="16"/>
                    </a:lnTo>
                    <a:lnTo>
                      <a:pt x="78" y="12"/>
                    </a:lnTo>
                    <a:lnTo>
                      <a:pt x="74" y="7"/>
                    </a:lnTo>
                    <a:lnTo>
                      <a:pt x="72" y="8"/>
                    </a:lnTo>
                    <a:lnTo>
                      <a:pt x="70" y="6"/>
                    </a:lnTo>
                    <a:lnTo>
                      <a:pt x="60" y="4"/>
                    </a:lnTo>
                    <a:lnTo>
                      <a:pt x="56" y="5"/>
                    </a:lnTo>
                    <a:lnTo>
                      <a:pt x="52" y="5"/>
                    </a:lnTo>
                    <a:lnTo>
                      <a:pt x="50" y="1"/>
                    </a:lnTo>
                    <a:lnTo>
                      <a:pt x="43" y="0"/>
                    </a:lnTo>
                    <a:lnTo>
                      <a:pt x="38" y="0"/>
                    </a:lnTo>
                    <a:lnTo>
                      <a:pt x="35" y="3"/>
                    </a:lnTo>
                    <a:lnTo>
                      <a:pt x="27" y="3"/>
                    </a:lnTo>
                    <a:lnTo>
                      <a:pt x="21" y="5"/>
                    </a:lnTo>
                    <a:lnTo>
                      <a:pt x="19" y="7"/>
                    </a:lnTo>
                    <a:lnTo>
                      <a:pt x="13" y="9"/>
                    </a:lnTo>
                    <a:lnTo>
                      <a:pt x="11" y="12"/>
                    </a:lnTo>
                    <a:lnTo>
                      <a:pt x="8" y="14"/>
                    </a:lnTo>
                    <a:lnTo>
                      <a:pt x="8" y="18"/>
                    </a:lnTo>
                    <a:lnTo>
                      <a:pt x="10" y="20"/>
                    </a:lnTo>
                    <a:lnTo>
                      <a:pt x="9" y="22"/>
                    </a:lnTo>
                    <a:lnTo>
                      <a:pt x="7" y="20"/>
                    </a:lnTo>
                    <a:lnTo>
                      <a:pt x="1" y="24"/>
                    </a:lnTo>
                    <a:lnTo>
                      <a:pt x="0" y="23"/>
                    </a:lnTo>
                    <a:lnTo>
                      <a:pt x="0" y="26"/>
                    </a:lnTo>
                    <a:lnTo>
                      <a:pt x="2" y="27"/>
                    </a:lnTo>
                    <a:lnTo>
                      <a:pt x="5" y="23"/>
                    </a:lnTo>
                    <a:lnTo>
                      <a:pt x="6" y="24"/>
                    </a:lnTo>
                    <a:lnTo>
                      <a:pt x="6" y="26"/>
                    </a:lnTo>
                    <a:lnTo>
                      <a:pt x="10" y="24"/>
                    </a:lnTo>
                    <a:lnTo>
                      <a:pt x="12" y="24"/>
                    </a:lnTo>
                    <a:lnTo>
                      <a:pt x="14" y="19"/>
                    </a:lnTo>
                    <a:lnTo>
                      <a:pt x="18" y="19"/>
                    </a:lnTo>
                    <a:lnTo>
                      <a:pt x="20" y="18"/>
                    </a:lnTo>
                    <a:lnTo>
                      <a:pt x="21" y="19"/>
                    </a:lnTo>
                    <a:lnTo>
                      <a:pt x="24" y="19"/>
                    </a:lnTo>
                    <a:lnTo>
                      <a:pt x="28" y="13"/>
                    </a:lnTo>
                    <a:lnTo>
                      <a:pt x="31" y="12"/>
                    </a:lnTo>
                    <a:lnTo>
                      <a:pt x="33" y="10"/>
                    </a:lnTo>
                    <a:lnTo>
                      <a:pt x="37" y="11"/>
                    </a:lnTo>
                    <a:lnTo>
                      <a:pt x="39" y="11"/>
                    </a:lnTo>
                    <a:lnTo>
                      <a:pt x="45" y="12"/>
                    </a:lnTo>
                    <a:lnTo>
                      <a:pt x="47" y="13"/>
                    </a:lnTo>
                    <a:lnTo>
                      <a:pt x="45" y="15"/>
                    </a:lnTo>
                    <a:lnTo>
                      <a:pt x="42" y="15"/>
                    </a:lnTo>
                    <a:lnTo>
                      <a:pt x="40" y="16"/>
                    </a:lnTo>
                    <a:lnTo>
                      <a:pt x="42" y="19"/>
                    </a:lnTo>
                    <a:lnTo>
                      <a:pt x="51" y="20"/>
                    </a:lnTo>
                    <a:lnTo>
                      <a:pt x="52" y="19"/>
                    </a:lnTo>
                    <a:lnTo>
                      <a:pt x="55" y="19"/>
                    </a:lnTo>
                    <a:lnTo>
                      <a:pt x="57" y="22"/>
                    </a:lnTo>
                    <a:lnTo>
                      <a:pt x="62" y="23"/>
                    </a:lnTo>
                    <a:lnTo>
                      <a:pt x="63" y="23"/>
                    </a:lnTo>
                    <a:lnTo>
                      <a:pt x="64" y="20"/>
                    </a:lnTo>
                    <a:lnTo>
                      <a:pt x="66" y="22"/>
                    </a:lnTo>
                    <a:lnTo>
                      <a:pt x="66" y="24"/>
                    </a:lnTo>
                    <a:lnTo>
                      <a:pt x="71" y="28"/>
                    </a:lnTo>
                    <a:lnTo>
                      <a:pt x="75" y="29"/>
                    </a:lnTo>
                    <a:lnTo>
                      <a:pt x="76" y="27"/>
                    </a:lnTo>
                    <a:lnTo>
                      <a:pt x="79" y="30"/>
                    </a:lnTo>
                    <a:lnTo>
                      <a:pt x="81" y="29"/>
                    </a:lnTo>
                    <a:lnTo>
                      <a:pt x="83" y="30"/>
                    </a:lnTo>
                    <a:lnTo>
                      <a:pt x="87" y="29"/>
                    </a:lnTo>
                    <a:lnTo>
                      <a:pt x="89" y="29"/>
                    </a:lnTo>
                    <a:lnTo>
                      <a:pt x="91" y="40"/>
                    </a:lnTo>
                    <a:lnTo>
                      <a:pt x="96" y="47"/>
                    </a:lnTo>
                    <a:lnTo>
                      <a:pt x="98" y="47"/>
                    </a:lnTo>
                    <a:lnTo>
                      <a:pt x="99" y="46"/>
                    </a:lnTo>
                    <a:lnTo>
                      <a:pt x="102" y="48"/>
                    </a:lnTo>
                    <a:lnTo>
                      <a:pt x="108" y="48"/>
                    </a:lnTo>
                    <a:lnTo>
                      <a:pt x="108" y="50"/>
                    </a:lnTo>
                    <a:lnTo>
                      <a:pt x="111" y="50"/>
                    </a:lnTo>
                    <a:lnTo>
                      <a:pt x="110" y="54"/>
                    </a:lnTo>
                    <a:lnTo>
                      <a:pt x="107" y="55"/>
                    </a:lnTo>
                    <a:lnTo>
                      <a:pt x="102" y="60"/>
                    </a:lnTo>
                    <a:lnTo>
                      <a:pt x="101" y="63"/>
                    </a:lnTo>
                    <a:lnTo>
                      <a:pt x="107" y="64"/>
                    </a:lnTo>
                    <a:lnTo>
                      <a:pt x="110" y="62"/>
                    </a:lnTo>
                    <a:lnTo>
                      <a:pt x="112" y="64"/>
                    </a:lnTo>
                    <a:lnTo>
                      <a:pt x="119" y="61"/>
                    </a:lnTo>
                    <a:lnTo>
                      <a:pt x="123" y="62"/>
                    </a:lnTo>
                    <a:lnTo>
                      <a:pt x="128" y="6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1244">
                <a:extLst>
                  <a:ext uri="{FF2B5EF4-FFF2-40B4-BE49-F238E27FC236}">
                    <a16:creationId xmlns:a16="http://schemas.microsoft.com/office/drawing/2014/main" id="{9305603D-871F-41F9-A67E-C1CE9E4A17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4138" y="3840163"/>
                <a:ext cx="12700" cy="14288"/>
              </a:xfrm>
              <a:custGeom>
                <a:avLst/>
                <a:gdLst>
                  <a:gd name="T0" fmla="*/ 1 w 8"/>
                  <a:gd name="T1" fmla="*/ 6 h 9"/>
                  <a:gd name="T2" fmla="*/ 0 w 8"/>
                  <a:gd name="T3" fmla="*/ 5 h 9"/>
                  <a:gd name="T4" fmla="*/ 0 w 8"/>
                  <a:gd name="T5" fmla="*/ 7 h 9"/>
                  <a:gd name="T6" fmla="*/ 3 w 8"/>
                  <a:gd name="T7" fmla="*/ 9 h 9"/>
                  <a:gd name="T8" fmla="*/ 7 w 8"/>
                  <a:gd name="T9" fmla="*/ 7 h 9"/>
                  <a:gd name="T10" fmla="*/ 8 w 8"/>
                  <a:gd name="T11" fmla="*/ 4 h 9"/>
                  <a:gd name="T12" fmla="*/ 5 w 8"/>
                  <a:gd name="T13" fmla="*/ 1 h 9"/>
                  <a:gd name="T14" fmla="*/ 3 w 8"/>
                  <a:gd name="T15" fmla="*/ 0 h 9"/>
                  <a:gd name="T16" fmla="*/ 2 w 8"/>
                  <a:gd name="T17" fmla="*/ 2 h 9"/>
                  <a:gd name="T18" fmla="*/ 2 w 8"/>
                  <a:gd name="T19" fmla="*/ 4 h 9"/>
                  <a:gd name="T20" fmla="*/ 4 w 8"/>
                  <a:gd name="T21" fmla="*/ 5 h 9"/>
                  <a:gd name="T22" fmla="*/ 2 w 8"/>
                  <a:gd name="T23" fmla="*/ 6 h 9"/>
                  <a:gd name="T24" fmla="*/ 1 w 8"/>
                  <a:gd name="T25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9">
                    <a:moveTo>
                      <a:pt x="1" y="6"/>
                    </a:moveTo>
                    <a:lnTo>
                      <a:pt x="0" y="5"/>
                    </a:lnTo>
                    <a:lnTo>
                      <a:pt x="0" y="7"/>
                    </a:lnTo>
                    <a:lnTo>
                      <a:pt x="3" y="9"/>
                    </a:lnTo>
                    <a:lnTo>
                      <a:pt x="7" y="7"/>
                    </a:lnTo>
                    <a:lnTo>
                      <a:pt x="8" y="4"/>
                    </a:lnTo>
                    <a:lnTo>
                      <a:pt x="5" y="1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4" y="5"/>
                    </a:lnTo>
                    <a:lnTo>
                      <a:pt x="2" y="6"/>
                    </a:lnTo>
                    <a:lnTo>
                      <a:pt x="1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1245">
                <a:extLst>
                  <a:ext uri="{FF2B5EF4-FFF2-40B4-BE49-F238E27FC236}">
                    <a16:creationId xmlns:a16="http://schemas.microsoft.com/office/drawing/2014/main" id="{C6A51BF4-C0A0-41AA-B46C-D09260CE90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0988" y="3814763"/>
                <a:ext cx="12700" cy="15875"/>
              </a:xfrm>
              <a:custGeom>
                <a:avLst/>
                <a:gdLst>
                  <a:gd name="T0" fmla="*/ 1 w 8"/>
                  <a:gd name="T1" fmla="*/ 8 h 10"/>
                  <a:gd name="T2" fmla="*/ 0 w 8"/>
                  <a:gd name="T3" fmla="*/ 10 h 10"/>
                  <a:gd name="T4" fmla="*/ 2 w 8"/>
                  <a:gd name="T5" fmla="*/ 10 h 10"/>
                  <a:gd name="T6" fmla="*/ 8 w 8"/>
                  <a:gd name="T7" fmla="*/ 5 h 10"/>
                  <a:gd name="T8" fmla="*/ 8 w 8"/>
                  <a:gd name="T9" fmla="*/ 1 h 10"/>
                  <a:gd name="T10" fmla="*/ 8 w 8"/>
                  <a:gd name="T11" fmla="*/ 0 h 10"/>
                  <a:gd name="T12" fmla="*/ 5 w 8"/>
                  <a:gd name="T13" fmla="*/ 1 h 10"/>
                  <a:gd name="T14" fmla="*/ 5 w 8"/>
                  <a:gd name="T15" fmla="*/ 4 h 10"/>
                  <a:gd name="T16" fmla="*/ 3 w 8"/>
                  <a:gd name="T17" fmla="*/ 8 h 10"/>
                  <a:gd name="T18" fmla="*/ 1 w 8"/>
                  <a:gd name="T19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10">
                    <a:moveTo>
                      <a:pt x="1" y="8"/>
                    </a:moveTo>
                    <a:lnTo>
                      <a:pt x="0" y="10"/>
                    </a:lnTo>
                    <a:lnTo>
                      <a:pt x="2" y="10"/>
                    </a:lnTo>
                    <a:lnTo>
                      <a:pt x="8" y="5"/>
                    </a:lnTo>
                    <a:lnTo>
                      <a:pt x="8" y="1"/>
                    </a:lnTo>
                    <a:lnTo>
                      <a:pt x="8" y="0"/>
                    </a:lnTo>
                    <a:lnTo>
                      <a:pt x="5" y="1"/>
                    </a:lnTo>
                    <a:lnTo>
                      <a:pt x="5" y="4"/>
                    </a:lnTo>
                    <a:lnTo>
                      <a:pt x="3" y="8"/>
                    </a:lnTo>
                    <a:lnTo>
                      <a:pt x="1" y="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1246">
                <a:extLst>
                  <a:ext uri="{FF2B5EF4-FFF2-40B4-BE49-F238E27FC236}">
                    <a16:creationId xmlns:a16="http://schemas.microsoft.com/office/drawing/2014/main" id="{B22057FC-7151-483E-8771-297130785E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7976" y="3851275"/>
                <a:ext cx="3175" cy="4763"/>
              </a:xfrm>
              <a:custGeom>
                <a:avLst/>
                <a:gdLst>
                  <a:gd name="T0" fmla="*/ 0 w 2"/>
                  <a:gd name="T1" fmla="*/ 2 h 3"/>
                  <a:gd name="T2" fmla="*/ 2 w 2"/>
                  <a:gd name="T3" fmla="*/ 3 h 3"/>
                  <a:gd name="T4" fmla="*/ 2 w 2"/>
                  <a:gd name="T5" fmla="*/ 0 h 3"/>
                  <a:gd name="T6" fmla="*/ 0 w 2"/>
                  <a:gd name="T7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2"/>
                    </a:moveTo>
                    <a:lnTo>
                      <a:pt x="2" y="3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1247">
                <a:extLst>
                  <a:ext uri="{FF2B5EF4-FFF2-40B4-BE49-F238E27FC236}">
                    <a16:creationId xmlns:a16="http://schemas.microsoft.com/office/drawing/2014/main" id="{900A2D85-482E-45D4-B21E-1B65907231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3526" y="3787775"/>
                <a:ext cx="7938" cy="25400"/>
              </a:xfrm>
              <a:custGeom>
                <a:avLst/>
                <a:gdLst>
                  <a:gd name="T0" fmla="*/ 2 w 5"/>
                  <a:gd name="T1" fmla="*/ 13 h 16"/>
                  <a:gd name="T2" fmla="*/ 3 w 5"/>
                  <a:gd name="T3" fmla="*/ 15 h 16"/>
                  <a:gd name="T4" fmla="*/ 5 w 5"/>
                  <a:gd name="T5" fmla="*/ 16 h 16"/>
                  <a:gd name="T6" fmla="*/ 3 w 5"/>
                  <a:gd name="T7" fmla="*/ 11 h 16"/>
                  <a:gd name="T8" fmla="*/ 2 w 5"/>
                  <a:gd name="T9" fmla="*/ 6 h 16"/>
                  <a:gd name="T10" fmla="*/ 0 w 5"/>
                  <a:gd name="T11" fmla="*/ 0 h 16"/>
                  <a:gd name="T12" fmla="*/ 0 w 5"/>
                  <a:gd name="T13" fmla="*/ 3 h 16"/>
                  <a:gd name="T14" fmla="*/ 1 w 5"/>
                  <a:gd name="T15" fmla="*/ 7 h 16"/>
                  <a:gd name="T16" fmla="*/ 0 w 5"/>
                  <a:gd name="T17" fmla="*/ 8 h 16"/>
                  <a:gd name="T18" fmla="*/ 2 w 5"/>
                  <a:gd name="T19" fmla="*/ 13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16">
                    <a:moveTo>
                      <a:pt x="2" y="13"/>
                    </a:moveTo>
                    <a:lnTo>
                      <a:pt x="3" y="15"/>
                    </a:lnTo>
                    <a:lnTo>
                      <a:pt x="5" y="16"/>
                    </a:lnTo>
                    <a:lnTo>
                      <a:pt x="3" y="11"/>
                    </a:lnTo>
                    <a:lnTo>
                      <a:pt x="2" y="6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1" y="7"/>
                    </a:lnTo>
                    <a:lnTo>
                      <a:pt x="0" y="8"/>
                    </a:lnTo>
                    <a:lnTo>
                      <a:pt x="2" y="1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1248">
                <a:extLst>
                  <a:ext uri="{FF2B5EF4-FFF2-40B4-BE49-F238E27FC236}">
                    <a16:creationId xmlns:a16="http://schemas.microsoft.com/office/drawing/2014/main" id="{E8530335-FF24-4D1E-A55F-39A3B14FD2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7176" y="3760788"/>
                <a:ext cx="9525" cy="20638"/>
              </a:xfrm>
              <a:custGeom>
                <a:avLst/>
                <a:gdLst>
                  <a:gd name="T0" fmla="*/ 3 w 6"/>
                  <a:gd name="T1" fmla="*/ 3 h 13"/>
                  <a:gd name="T2" fmla="*/ 0 w 6"/>
                  <a:gd name="T3" fmla="*/ 0 h 13"/>
                  <a:gd name="T4" fmla="*/ 0 w 6"/>
                  <a:gd name="T5" fmla="*/ 2 h 13"/>
                  <a:gd name="T6" fmla="*/ 2 w 6"/>
                  <a:gd name="T7" fmla="*/ 5 h 13"/>
                  <a:gd name="T8" fmla="*/ 2 w 6"/>
                  <a:gd name="T9" fmla="*/ 10 h 13"/>
                  <a:gd name="T10" fmla="*/ 1 w 6"/>
                  <a:gd name="T11" fmla="*/ 11 h 13"/>
                  <a:gd name="T12" fmla="*/ 2 w 6"/>
                  <a:gd name="T13" fmla="*/ 13 h 13"/>
                  <a:gd name="T14" fmla="*/ 6 w 6"/>
                  <a:gd name="T15" fmla="*/ 13 h 13"/>
                  <a:gd name="T16" fmla="*/ 6 w 6"/>
                  <a:gd name="T17" fmla="*/ 11 h 13"/>
                  <a:gd name="T18" fmla="*/ 4 w 6"/>
                  <a:gd name="T19" fmla="*/ 6 h 13"/>
                  <a:gd name="T20" fmla="*/ 3 w 6"/>
                  <a:gd name="T21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13">
                    <a:moveTo>
                      <a:pt x="3" y="3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2" y="10"/>
                    </a:lnTo>
                    <a:lnTo>
                      <a:pt x="1" y="11"/>
                    </a:lnTo>
                    <a:lnTo>
                      <a:pt x="2" y="13"/>
                    </a:lnTo>
                    <a:lnTo>
                      <a:pt x="6" y="13"/>
                    </a:lnTo>
                    <a:lnTo>
                      <a:pt x="6" y="11"/>
                    </a:lnTo>
                    <a:lnTo>
                      <a:pt x="4" y="6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1249">
                <a:extLst>
                  <a:ext uri="{FF2B5EF4-FFF2-40B4-BE49-F238E27FC236}">
                    <a16:creationId xmlns:a16="http://schemas.microsoft.com/office/drawing/2014/main" id="{72F3A863-F239-4F46-ADD6-431A8EEDF2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6063" y="3786188"/>
                <a:ext cx="3175" cy="4763"/>
              </a:xfrm>
              <a:custGeom>
                <a:avLst/>
                <a:gdLst>
                  <a:gd name="T0" fmla="*/ 0 w 2"/>
                  <a:gd name="T1" fmla="*/ 3 h 3"/>
                  <a:gd name="T2" fmla="*/ 2 w 2"/>
                  <a:gd name="T3" fmla="*/ 3 h 3"/>
                  <a:gd name="T4" fmla="*/ 0 w 2"/>
                  <a:gd name="T5" fmla="*/ 0 h 3"/>
                  <a:gd name="T6" fmla="*/ 0 w 2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2" y="3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1250">
                <a:extLst>
                  <a:ext uri="{FF2B5EF4-FFF2-40B4-BE49-F238E27FC236}">
                    <a16:creationId xmlns:a16="http://schemas.microsoft.com/office/drawing/2014/main" id="{06F02478-F9A8-4F6B-8315-D40DA9E3C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6388" y="3825875"/>
                <a:ext cx="9525" cy="6350"/>
              </a:xfrm>
              <a:custGeom>
                <a:avLst/>
                <a:gdLst>
                  <a:gd name="T0" fmla="*/ 0 w 6"/>
                  <a:gd name="T1" fmla="*/ 1 h 4"/>
                  <a:gd name="T2" fmla="*/ 0 w 6"/>
                  <a:gd name="T3" fmla="*/ 3 h 4"/>
                  <a:gd name="T4" fmla="*/ 4 w 6"/>
                  <a:gd name="T5" fmla="*/ 3 h 4"/>
                  <a:gd name="T6" fmla="*/ 6 w 6"/>
                  <a:gd name="T7" fmla="*/ 4 h 4"/>
                  <a:gd name="T8" fmla="*/ 6 w 6"/>
                  <a:gd name="T9" fmla="*/ 3 h 4"/>
                  <a:gd name="T10" fmla="*/ 2 w 6"/>
                  <a:gd name="T11" fmla="*/ 0 h 4"/>
                  <a:gd name="T12" fmla="*/ 0 w 6"/>
                  <a:gd name="T13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0" y="1"/>
                    </a:moveTo>
                    <a:lnTo>
                      <a:pt x="0" y="3"/>
                    </a:lnTo>
                    <a:lnTo>
                      <a:pt x="4" y="3"/>
                    </a:lnTo>
                    <a:lnTo>
                      <a:pt x="6" y="4"/>
                    </a:lnTo>
                    <a:lnTo>
                      <a:pt x="6" y="3"/>
                    </a:lnTo>
                    <a:lnTo>
                      <a:pt x="2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1251">
                <a:extLst>
                  <a:ext uri="{FF2B5EF4-FFF2-40B4-BE49-F238E27FC236}">
                    <a16:creationId xmlns:a16="http://schemas.microsoft.com/office/drawing/2014/main" id="{9832CA6C-89B2-4B67-8668-67FED2A078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9401" y="3775075"/>
                <a:ext cx="4763" cy="7938"/>
              </a:xfrm>
              <a:custGeom>
                <a:avLst/>
                <a:gdLst>
                  <a:gd name="T0" fmla="*/ 0 w 3"/>
                  <a:gd name="T1" fmla="*/ 4 h 5"/>
                  <a:gd name="T2" fmla="*/ 1 w 3"/>
                  <a:gd name="T3" fmla="*/ 5 h 5"/>
                  <a:gd name="T4" fmla="*/ 3 w 3"/>
                  <a:gd name="T5" fmla="*/ 2 h 5"/>
                  <a:gd name="T6" fmla="*/ 1 w 3"/>
                  <a:gd name="T7" fmla="*/ 0 h 5"/>
                  <a:gd name="T8" fmla="*/ 0 w 3"/>
                  <a:gd name="T9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5">
                    <a:moveTo>
                      <a:pt x="0" y="4"/>
                    </a:moveTo>
                    <a:lnTo>
                      <a:pt x="1" y="5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1252">
                <a:extLst>
                  <a:ext uri="{FF2B5EF4-FFF2-40B4-BE49-F238E27FC236}">
                    <a16:creationId xmlns:a16="http://schemas.microsoft.com/office/drawing/2014/main" id="{A53003FB-4D96-429D-B9BE-0F325DAE98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9401" y="3810000"/>
                <a:ext cx="6350" cy="7938"/>
              </a:xfrm>
              <a:custGeom>
                <a:avLst/>
                <a:gdLst>
                  <a:gd name="T0" fmla="*/ 0 w 4"/>
                  <a:gd name="T1" fmla="*/ 0 h 5"/>
                  <a:gd name="T2" fmla="*/ 0 w 4"/>
                  <a:gd name="T3" fmla="*/ 2 h 5"/>
                  <a:gd name="T4" fmla="*/ 2 w 4"/>
                  <a:gd name="T5" fmla="*/ 5 h 5"/>
                  <a:gd name="T6" fmla="*/ 4 w 4"/>
                  <a:gd name="T7" fmla="*/ 5 h 5"/>
                  <a:gd name="T8" fmla="*/ 4 w 4"/>
                  <a:gd name="T9" fmla="*/ 3 h 5"/>
                  <a:gd name="T10" fmla="*/ 0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0" y="0"/>
                    </a:moveTo>
                    <a:lnTo>
                      <a:pt x="0" y="2"/>
                    </a:lnTo>
                    <a:lnTo>
                      <a:pt x="2" y="5"/>
                    </a:lnTo>
                    <a:lnTo>
                      <a:pt x="4" y="5"/>
                    </a:lnTo>
                    <a:lnTo>
                      <a:pt x="4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Freeform 1253">
                <a:extLst>
                  <a:ext uri="{FF2B5EF4-FFF2-40B4-BE49-F238E27FC236}">
                    <a16:creationId xmlns:a16="http://schemas.microsoft.com/office/drawing/2014/main" id="{328B86DF-F2CB-4A17-8EE5-CB386C2A82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2101" y="3859213"/>
                <a:ext cx="15875" cy="12700"/>
              </a:xfrm>
              <a:custGeom>
                <a:avLst/>
                <a:gdLst>
                  <a:gd name="T0" fmla="*/ 4 w 10"/>
                  <a:gd name="T1" fmla="*/ 1 h 8"/>
                  <a:gd name="T2" fmla="*/ 1 w 10"/>
                  <a:gd name="T3" fmla="*/ 4 h 8"/>
                  <a:gd name="T4" fmla="*/ 0 w 10"/>
                  <a:gd name="T5" fmla="*/ 8 h 8"/>
                  <a:gd name="T6" fmla="*/ 8 w 10"/>
                  <a:gd name="T7" fmla="*/ 7 h 8"/>
                  <a:gd name="T8" fmla="*/ 10 w 10"/>
                  <a:gd name="T9" fmla="*/ 4 h 8"/>
                  <a:gd name="T10" fmla="*/ 10 w 10"/>
                  <a:gd name="T11" fmla="*/ 0 h 8"/>
                  <a:gd name="T12" fmla="*/ 9 w 10"/>
                  <a:gd name="T13" fmla="*/ 0 h 8"/>
                  <a:gd name="T14" fmla="*/ 7 w 10"/>
                  <a:gd name="T15" fmla="*/ 3 h 8"/>
                  <a:gd name="T16" fmla="*/ 4 w 10"/>
                  <a:gd name="T17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8">
                    <a:moveTo>
                      <a:pt x="4" y="1"/>
                    </a:moveTo>
                    <a:lnTo>
                      <a:pt x="1" y="4"/>
                    </a:lnTo>
                    <a:lnTo>
                      <a:pt x="0" y="8"/>
                    </a:lnTo>
                    <a:lnTo>
                      <a:pt x="8" y="7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9" y="0"/>
                    </a:lnTo>
                    <a:lnTo>
                      <a:pt x="7" y="3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1254">
                <a:extLst>
                  <a:ext uri="{FF2B5EF4-FFF2-40B4-BE49-F238E27FC236}">
                    <a16:creationId xmlns:a16="http://schemas.microsoft.com/office/drawing/2014/main" id="{8A6F83E1-0655-4CB0-BD89-2737774F3A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8126" y="3738563"/>
                <a:ext cx="11113" cy="19050"/>
              </a:xfrm>
              <a:custGeom>
                <a:avLst/>
                <a:gdLst>
                  <a:gd name="T0" fmla="*/ 1 w 7"/>
                  <a:gd name="T1" fmla="*/ 0 h 12"/>
                  <a:gd name="T2" fmla="*/ 0 w 7"/>
                  <a:gd name="T3" fmla="*/ 2 h 12"/>
                  <a:gd name="T4" fmla="*/ 4 w 7"/>
                  <a:gd name="T5" fmla="*/ 4 h 12"/>
                  <a:gd name="T6" fmla="*/ 5 w 7"/>
                  <a:gd name="T7" fmla="*/ 7 h 12"/>
                  <a:gd name="T8" fmla="*/ 5 w 7"/>
                  <a:gd name="T9" fmla="*/ 10 h 12"/>
                  <a:gd name="T10" fmla="*/ 3 w 7"/>
                  <a:gd name="T11" fmla="*/ 11 h 12"/>
                  <a:gd name="T12" fmla="*/ 5 w 7"/>
                  <a:gd name="T13" fmla="*/ 12 h 12"/>
                  <a:gd name="T14" fmla="*/ 6 w 7"/>
                  <a:gd name="T15" fmla="*/ 12 h 12"/>
                  <a:gd name="T16" fmla="*/ 7 w 7"/>
                  <a:gd name="T17" fmla="*/ 7 h 12"/>
                  <a:gd name="T18" fmla="*/ 5 w 7"/>
                  <a:gd name="T19" fmla="*/ 2 h 12"/>
                  <a:gd name="T20" fmla="*/ 1 w 7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12">
                    <a:moveTo>
                      <a:pt x="1" y="0"/>
                    </a:moveTo>
                    <a:lnTo>
                      <a:pt x="0" y="2"/>
                    </a:lnTo>
                    <a:lnTo>
                      <a:pt x="4" y="4"/>
                    </a:lnTo>
                    <a:lnTo>
                      <a:pt x="5" y="7"/>
                    </a:lnTo>
                    <a:lnTo>
                      <a:pt x="5" y="10"/>
                    </a:lnTo>
                    <a:lnTo>
                      <a:pt x="3" y="11"/>
                    </a:lnTo>
                    <a:lnTo>
                      <a:pt x="5" y="12"/>
                    </a:lnTo>
                    <a:lnTo>
                      <a:pt x="6" y="12"/>
                    </a:lnTo>
                    <a:lnTo>
                      <a:pt x="7" y="7"/>
                    </a:lnTo>
                    <a:lnTo>
                      <a:pt x="5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1255">
                <a:extLst>
                  <a:ext uri="{FF2B5EF4-FFF2-40B4-BE49-F238E27FC236}">
                    <a16:creationId xmlns:a16="http://schemas.microsoft.com/office/drawing/2014/main" id="{1E85C696-96FB-4935-B163-D7E3FEDAC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7963" y="3770313"/>
                <a:ext cx="6350" cy="3175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1 h 2"/>
                  <a:gd name="T4" fmla="*/ 1 w 4"/>
                  <a:gd name="T5" fmla="*/ 2 h 2"/>
                  <a:gd name="T6" fmla="*/ 4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1"/>
                    </a:lnTo>
                    <a:lnTo>
                      <a:pt x="1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1256">
                <a:extLst>
                  <a:ext uri="{FF2B5EF4-FFF2-40B4-BE49-F238E27FC236}">
                    <a16:creationId xmlns:a16="http://schemas.microsoft.com/office/drawing/2014/main" id="{28CFBAB7-F12F-4E26-B1E0-E2929478F9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6376" y="3771900"/>
                <a:ext cx="1588" cy="4763"/>
              </a:xfrm>
              <a:custGeom>
                <a:avLst/>
                <a:gdLst>
                  <a:gd name="T0" fmla="*/ 1 w 1"/>
                  <a:gd name="T1" fmla="*/ 0 h 3"/>
                  <a:gd name="T2" fmla="*/ 0 w 1"/>
                  <a:gd name="T3" fmla="*/ 2 h 3"/>
                  <a:gd name="T4" fmla="*/ 1 w 1"/>
                  <a:gd name="T5" fmla="*/ 3 h 3"/>
                  <a:gd name="T6" fmla="*/ 1 w 1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0" y="2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1257">
                <a:extLst>
                  <a:ext uri="{FF2B5EF4-FFF2-40B4-BE49-F238E27FC236}">
                    <a16:creationId xmlns:a16="http://schemas.microsoft.com/office/drawing/2014/main" id="{AD06BFDC-5223-4D99-8B65-0AE8719B3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8438" y="3746500"/>
                <a:ext cx="14288" cy="20638"/>
              </a:xfrm>
              <a:custGeom>
                <a:avLst/>
                <a:gdLst>
                  <a:gd name="T0" fmla="*/ 6 w 9"/>
                  <a:gd name="T1" fmla="*/ 1 h 13"/>
                  <a:gd name="T2" fmla="*/ 4 w 9"/>
                  <a:gd name="T3" fmla="*/ 0 h 13"/>
                  <a:gd name="T4" fmla="*/ 3 w 9"/>
                  <a:gd name="T5" fmla="*/ 5 h 13"/>
                  <a:gd name="T6" fmla="*/ 0 w 9"/>
                  <a:gd name="T7" fmla="*/ 9 h 13"/>
                  <a:gd name="T8" fmla="*/ 3 w 9"/>
                  <a:gd name="T9" fmla="*/ 12 h 13"/>
                  <a:gd name="T10" fmla="*/ 5 w 9"/>
                  <a:gd name="T11" fmla="*/ 10 h 13"/>
                  <a:gd name="T12" fmla="*/ 6 w 9"/>
                  <a:gd name="T13" fmla="*/ 13 h 13"/>
                  <a:gd name="T14" fmla="*/ 9 w 9"/>
                  <a:gd name="T15" fmla="*/ 10 h 13"/>
                  <a:gd name="T16" fmla="*/ 6 w 9"/>
                  <a:gd name="T17" fmla="*/ 5 h 13"/>
                  <a:gd name="T18" fmla="*/ 6 w 9"/>
                  <a:gd name="T19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13">
                    <a:moveTo>
                      <a:pt x="6" y="1"/>
                    </a:moveTo>
                    <a:lnTo>
                      <a:pt x="4" y="0"/>
                    </a:lnTo>
                    <a:lnTo>
                      <a:pt x="3" y="5"/>
                    </a:lnTo>
                    <a:lnTo>
                      <a:pt x="0" y="9"/>
                    </a:lnTo>
                    <a:lnTo>
                      <a:pt x="3" y="12"/>
                    </a:lnTo>
                    <a:lnTo>
                      <a:pt x="5" y="10"/>
                    </a:lnTo>
                    <a:lnTo>
                      <a:pt x="6" y="13"/>
                    </a:lnTo>
                    <a:lnTo>
                      <a:pt x="9" y="10"/>
                    </a:lnTo>
                    <a:lnTo>
                      <a:pt x="6" y="5"/>
                    </a:lnTo>
                    <a:lnTo>
                      <a:pt x="6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Freeform 1258">
                <a:extLst>
                  <a:ext uri="{FF2B5EF4-FFF2-40B4-BE49-F238E27FC236}">
                    <a16:creationId xmlns:a16="http://schemas.microsoft.com/office/drawing/2014/main" id="{AC8C7533-0698-41BC-8AF1-31C6BA9BDB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7963" y="3775075"/>
                <a:ext cx="7938" cy="14288"/>
              </a:xfrm>
              <a:custGeom>
                <a:avLst/>
                <a:gdLst>
                  <a:gd name="T0" fmla="*/ 1 w 5"/>
                  <a:gd name="T1" fmla="*/ 9 h 9"/>
                  <a:gd name="T2" fmla="*/ 4 w 5"/>
                  <a:gd name="T3" fmla="*/ 8 h 9"/>
                  <a:gd name="T4" fmla="*/ 5 w 5"/>
                  <a:gd name="T5" fmla="*/ 5 h 9"/>
                  <a:gd name="T6" fmla="*/ 4 w 5"/>
                  <a:gd name="T7" fmla="*/ 3 h 9"/>
                  <a:gd name="T8" fmla="*/ 4 w 5"/>
                  <a:gd name="T9" fmla="*/ 1 h 9"/>
                  <a:gd name="T10" fmla="*/ 4 w 5"/>
                  <a:gd name="T11" fmla="*/ 0 h 9"/>
                  <a:gd name="T12" fmla="*/ 0 w 5"/>
                  <a:gd name="T13" fmla="*/ 2 h 9"/>
                  <a:gd name="T14" fmla="*/ 0 w 5"/>
                  <a:gd name="T15" fmla="*/ 5 h 9"/>
                  <a:gd name="T16" fmla="*/ 1 w 5"/>
                  <a:gd name="T1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9">
                    <a:moveTo>
                      <a:pt x="1" y="9"/>
                    </a:moveTo>
                    <a:lnTo>
                      <a:pt x="4" y="8"/>
                    </a:lnTo>
                    <a:lnTo>
                      <a:pt x="5" y="5"/>
                    </a:lnTo>
                    <a:lnTo>
                      <a:pt x="4" y="3"/>
                    </a:lnTo>
                    <a:lnTo>
                      <a:pt x="4" y="1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1" y="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1259">
                <a:extLst>
                  <a:ext uri="{FF2B5EF4-FFF2-40B4-BE49-F238E27FC236}">
                    <a16:creationId xmlns:a16="http://schemas.microsoft.com/office/drawing/2014/main" id="{A1088935-6A57-40B5-B0B1-BAAFFC6EBB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5901" y="3744913"/>
                <a:ext cx="11113" cy="4763"/>
              </a:xfrm>
              <a:custGeom>
                <a:avLst/>
                <a:gdLst>
                  <a:gd name="T0" fmla="*/ 0 w 7"/>
                  <a:gd name="T1" fmla="*/ 2 h 3"/>
                  <a:gd name="T2" fmla="*/ 2 w 7"/>
                  <a:gd name="T3" fmla="*/ 3 h 3"/>
                  <a:gd name="T4" fmla="*/ 6 w 7"/>
                  <a:gd name="T5" fmla="*/ 3 h 3"/>
                  <a:gd name="T6" fmla="*/ 7 w 7"/>
                  <a:gd name="T7" fmla="*/ 0 h 3"/>
                  <a:gd name="T8" fmla="*/ 4 w 7"/>
                  <a:gd name="T9" fmla="*/ 0 h 3"/>
                  <a:gd name="T10" fmla="*/ 0 w 7"/>
                  <a:gd name="T1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3">
                    <a:moveTo>
                      <a:pt x="0" y="2"/>
                    </a:moveTo>
                    <a:lnTo>
                      <a:pt x="2" y="3"/>
                    </a:lnTo>
                    <a:lnTo>
                      <a:pt x="6" y="3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1260">
                <a:extLst>
                  <a:ext uri="{FF2B5EF4-FFF2-40B4-BE49-F238E27FC236}">
                    <a16:creationId xmlns:a16="http://schemas.microsoft.com/office/drawing/2014/main" id="{95FD904A-B9A7-4833-AF33-C7927B0757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5901" y="3690938"/>
                <a:ext cx="17463" cy="33338"/>
              </a:xfrm>
              <a:custGeom>
                <a:avLst/>
                <a:gdLst>
                  <a:gd name="T0" fmla="*/ 11 w 11"/>
                  <a:gd name="T1" fmla="*/ 8 h 21"/>
                  <a:gd name="T2" fmla="*/ 9 w 11"/>
                  <a:gd name="T3" fmla="*/ 6 h 21"/>
                  <a:gd name="T4" fmla="*/ 9 w 11"/>
                  <a:gd name="T5" fmla="*/ 3 h 21"/>
                  <a:gd name="T6" fmla="*/ 4 w 11"/>
                  <a:gd name="T7" fmla="*/ 0 h 21"/>
                  <a:gd name="T8" fmla="*/ 0 w 11"/>
                  <a:gd name="T9" fmla="*/ 0 h 21"/>
                  <a:gd name="T10" fmla="*/ 4 w 11"/>
                  <a:gd name="T11" fmla="*/ 2 h 21"/>
                  <a:gd name="T12" fmla="*/ 5 w 11"/>
                  <a:gd name="T13" fmla="*/ 5 h 21"/>
                  <a:gd name="T14" fmla="*/ 8 w 11"/>
                  <a:gd name="T15" fmla="*/ 10 h 21"/>
                  <a:gd name="T16" fmla="*/ 6 w 11"/>
                  <a:gd name="T17" fmla="*/ 12 h 21"/>
                  <a:gd name="T18" fmla="*/ 7 w 11"/>
                  <a:gd name="T19" fmla="*/ 15 h 21"/>
                  <a:gd name="T20" fmla="*/ 6 w 11"/>
                  <a:gd name="T21" fmla="*/ 21 h 21"/>
                  <a:gd name="T22" fmla="*/ 9 w 11"/>
                  <a:gd name="T23" fmla="*/ 18 h 21"/>
                  <a:gd name="T24" fmla="*/ 8 w 11"/>
                  <a:gd name="T25" fmla="*/ 15 h 21"/>
                  <a:gd name="T26" fmla="*/ 11 w 11"/>
                  <a:gd name="T27" fmla="*/ 13 h 21"/>
                  <a:gd name="T28" fmla="*/ 11 w 11"/>
                  <a:gd name="T29" fmla="*/ 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21">
                    <a:moveTo>
                      <a:pt x="11" y="8"/>
                    </a:moveTo>
                    <a:lnTo>
                      <a:pt x="9" y="6"/>
                    </a:lnTo>
                    <a:lnTo>
                      <a:pt x="9" y="3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5" y="5"/>
                    </a:lnTo>
                    <a:lnTo>
                      <a:pt x="8" y="10"/>
                    </a:lnTo>
                    <a:lnTo>
                      <a:pt x="6" y="12"/>
                    </a:lnTo>
                    <a:lnTo>
                      <a:pt x="7" y="15"/>
                    </a:lnTo>
                    <a:lnTo>
                      <a:pt x="6" y="21"/>
                    </a:lnTo>
                    <a:lnTo>
                      <a:pt x="9" y="18"/>
                    </a:lnTo>
                    <a:lnTo>
                      <a:pt x="8" y="15"/>
                    </a:lnTo>
                    <a:lnTo>
                      <a:pt x="11" y="13"/>
                    </a:lnTo>
                    <a:lnTo>
                      <a:pt x="11" y="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1261">
                <a:extLst>
                  <a:ext uri="{FF2B5EF4-FFF2-40B4-BE49-F238E27FC236}">
                    <a16:creationId xmlns:a16="http://schemas.microsoft.com/office/drawing/2014/main" id="{7B33D380-AD5E-4BA0-99E7-78E81D9B5B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8913" y="3694113"/>
                <a:ext cx="26988" cy="11113"/>
              </a:xfrm>
              <a:custGeom>
                <a:avLst/>
                <a:gdLst>
                  <a:gd name="T0" fmla="*/ 9 w 17"/>
                  <a:gd name="T1" fmla="*/ 0 h 7"/>
                  <a:gd name="T2" fmla="*/ 5 w 17"/>
                  <a:gd name="T3" fmla="*/ 3 h 7"/>
                  <a:gd name="T4" fmla="*/ 4 w 17"/>
                  <a:gd name="T5" fmla="*/ 1 h 7"/>
                  <a:gd name="T6" fmla="*/ 0 w 17"/>
                  <a:gd name="T7" fmla="*/ 1 h 7"/>
                  <a:gd name="T8" fmla="*/ 4 w 17"/>
                  <a:gd name="T9" fmla="*/ 6 h 7"/>
                  <a:gd name="T10" fmla="*/ 6 w 17"/>
                  <a:gd name="T11" fmla="*/ 7 h 7"/>
                  <a:gd name="T12" fmla="*/ 12 w 17"/>
                  <a:gd name="T13" fmla="*/ 2 h 7"/>
                  <a:gd name="T14" fmla="*/ 15 w 17"/>
                  <a:gd name="T15" fmla="*/ 3 h 7"/>
                  <a:gd name="T16" fmla="*/ 17 w 17"/>
                  <a:gd name="T17" fmla="*/ 4 h 7"/>
                  <a:gd name="T18" fmla="*/ 14 w 17"/>
                  <a:gd name="T19" fmla="*/ 0 h 7"/>
                  <a:gd name="T20" fmla="*/ 9 w 17"/>
                  <a:gd name="T2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" h="7">
                    <a:moveTo>
                      <a:pt x="9" y="0"/>
                    </a:moveTo>
                    <a:lnTo>
                      <a:pt x="5" y="3"/>
                    </a:lnTo>
                    <a:lnTo>
                      <a:pt x="4" y="1"/>
                    </a:lnTo>
                    <a:lnTo>
                      <a:pt x="0" y="1"/>
                    </a:lnTo>
                    <a:lnTo>
                      <a:pt x="4" y="6"/>
                    </a:lnTo>
                    <a:lnTo>
                      <a:pt x="6" y="7"/>
                    </a:lnTo>
                    <a:lnTo>
                      <a:pt x="12" y="2"/>
                    </a:lnTo>
                    <a:lnTo>
                      <a:pt x="15" y="3"/>
                    </a:lnTo>
                    <a:lnTo>
                      <a:pt x="17" y="4"/>
                    </a:lnTo>
                    <a:lnTo>
                      <a:pt x="14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1262">
                <a:extLst>
                  <a:ext uri="{FF2B5EF4-FFF2-40B4-BE49-F238E27FC236}">
                    <a16:creationId xmlns:a16="http://schemas.microsoft.com/office/drawing/2014/main" id="{F4EA39A5-158B-45E0-BE2D-D2B9ACE12E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7663" y="3235325"/>
                <a:ext cx="46038" cy="15875"/>
              </a:xfrm>
              <a:custGeom>
                <a:avLst/>
                <a:gdLst>
                  <a:gd name="T0" fmla="*/ 24 w 29"/>
                  <a:gd name="T1" fmla="*/ 0 h 10"/>
                  <a:gd name="T2" fmla="*/ 24 w 29"/>
                  <a:gd name="T3" fmla="*/ 0 h 10"/>
                  <a:gd name="T4" fmla="*/ 20 w 29"/>
                  <a:gd name="T5" fmla="*/ 2 h 10"/>
                  <a:gd name="T6" fmla="*/ 16 w 29"/>
                  <a:gd name="T7" fmla="*/ 3 h 10"/>
                  <a:gd name="T8" fmla="*/ 12 w 29"/>
                  <a:gd name="T9" fmla="*/ 3 h 10"/>
                  <a:gd name="T10" fmla="*/ 9 w 29"/>
                  <a:gd name="T11" fmla="*/ 3 h 10"/>
                  <a:gd name="T12" fmla="*/ 5 w 29"/>
                  <a:gd name="T13" fmla="*/ 5 h 10"/>
                  <a:gd name="T14" fmla="*/ 2 w 29"/>
                  <a:gd name="T15" fmla="*/ 5 h 10"/>
                  <a:gd name="T16" fmla="*/ 0 w 29"/>
                  <a:gd name="T17" fmla="*/ 7 h 10"/>
                  <a:gd name="T18" fmla="*/ 1 w 29"/>
                  <a:gd name="T19" fmla="*/ 9 h 10"/>
                  <a:gd name="T20" fmla="*/ 2 w 29"/>
                  <a:gd name="T21" fmla="*/ 10 h 10"/>
                  <a:gd name="T22" fmla="*/ 1 w 29"/>
                  <a:gd name="T23" fmla="*/ 10 h 10"/>
                  <a:gd name="T24" fmla="*/ 3 w 29"/>
                  <a:gd name="T25" fmla="*/ 10 h 10"/>
                  <a:gd name="T26" fmla="*/ 4 w 29"/>
                  <a:gd name="T27" fmla="*/ 9 h 10"/>
                  <a:gd name="T28" fmla="*/ 7 w 29"/>
                  <a:gd name="T29" fmla="*/ 9 h 10"/>
                  <a:gd name="T30" fmla="*/ 10 w 29"/>
                  <a:gd name="T31" fmla="*/ 7 h 10"/>
                  <a:gd name="T32" fmla="*/ 15 w 29"/>
                  <a:gd name="T33" fmla="*/ 7 h 10"/>
                  <a:gd name="T34" fmla="*/ 17 w 29"/>
                  <a:gd name="T35" fmla="*/ 6 h 10"/>
                  <a:gd name="T36" fmla="*/ 21 w 29"/>
                  <a:gd name="T37" fmla="*/ 6 h 10"/>
                  <a:gd name="T38" fmla="*/ 22 w 29"/>
                  <a:gd name="T39" fmla="*/ 5 h 10"/>
                  <a:gd name="T40" fmla="*/ 23 w 29"/>
                  <a:gd name="T41" fmla="*/ 5 h 10"/>
                  <a:gd name="T42" fmla="*/ 27 w 29"/>
                  <a:gd name="T43" fmla="*/ 4 h 10"/>
                  <a:gd name="T44" fmla="*/ 29 w 29"/>
                  <a:gd name="T45" fmla="*/ 2 h 10"/>
                  <a:gd name="T46" fmla="*/ 26 w 29"/>
                  <a:gd name="T47" fmla="*/ 3 h 10"/>
                  <a:gd name="T48" fmla="*/ 25 w 29"/>
                  <a:gd name="T49" fmla="*/ 3 h 10"/>
                  <a:gd name="T50" fmla="*/ 22 w 29"/>
                  <a:gd name="T51" fmla="*/ 3 h 10"/>
                  <a:gd name="T52" fmla="*/ 23 w 29"/>
                  <a:gd name="T53" fmla="*/ 2 h 10"/>
                  <a:gd name="T54" fmla="*/ 24 w 29"/>
                  <a:gd name="T5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9" h="10">
                    <a:moveTo>
                      <a:pt x="24" y="0"/>
                    </a:moveTo>
                    <a:lnTo>
                      <a:pt x="24" y="0"/>
                    </a:lnTo>
                    <a:lnTo>
                      <a:pt x="20" y="2"/>
                    </a:lnTo>
                    <a:lnTo>
                      <a:pt x="16" y="3"/>
                    </a:lnTo>
                    <a:lnTo>
                      <a:pt x="12" y="3"/>
                    </a:lnTo>
                    <a:lnTo>
                      <a:pt x="9" y="3"/>
                    </a:lnTo>
                    <a:lnTo>
                      <a:pt x="5" y="5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1" y="9"/>
                    </a:lnTo>
                    <a:lnTo>
                      <a:pt x="2" y="10"/>
                    </a:lnTo>
                    <a:lnTo>
                      <a:pt x="1" y="10"/>
                    </a:lnTo>
                    <a:lnTo>
                      <a:pt x="3" y="10"/>
                    </a:lnTo>
                    <a:lnTo>
                      <a:pt x="4" y="9"/>
                    </a:lnTo>
                    <a:lnTo>
                      <a:pt x="7" y="9"/>
                    </a:lnTo>
                    <a:lnTo>
                      <a:pt x="10" y="7"/>
                    </a:lnTo>
                    <a:lnTo>
                      <a:pt x="15" y="7"/>
                    </a:lnTo>
                    <a:lnTo>
                      <a:pt x="17" y="6"/>
                    </a:lnTo>
                    <a:lnTo>
                      <a:pt x="21" y="6"/>
                    </a:lnTo>
                    <a:lnTo>
                      <a:pt x="22" y="5"/>
                    </a:lnTo>
                    <a:lnTo>
                      <a:pt x="23" y="5"/>
                    </a:lnTo>
                    <a:lnTo>
                      <a:pt x="27" y="4"/>
                    </a:lnTo>
                    <a:lnTo>
                      <a:pt x="29" y="2"/>
                    </a:lnTo>
                    <a:lnTo>
                      <a:pt x="26" y="3"/>
                    </a:lnTo>
                    <a:lnTo>
                      <a:pt x="25" y="3"/>
                    </a:lnTo>
                    <a:lnTo>
                      <a:pt x="22" y="3"/>
                    </a:lnTo>
                    <a:lnTo>
                      <a:pt x="23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Freeform 1263">
                <a:extLst>
                  <a:ext uri="{FF2B5EF4-FFF2-40B4-BE49-F238E27FC236}">
                    <a16:creationId xmlns:a16="http://schemas.microsoft.com/office/drawing/2014/main" id="{17861999-9CA4-4E16-BB00-0200C36AB9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3876" y="2844800"/>
                <a:ext cx="1271588" cy="900113"/>
              </a:xfrm>
              <a:custGeom>
                <a:avLst/>
                <a:gdLst>
                  <a:gd name="T0" fmla="*/ 227 w 801"/>
                  <a:gd name="T1" fmla="*/ 444 h 567"/>
                  <a:gd name="T2" fmla="*/ 236 w 801"/>
                  <a:gd name="T3" fmla="*/ 468 h 567"/>
                  <a:gd name="T4" fmla="*/ 255 w 801"/>
                  <a:gd name="T5" fmla="*/ 485 h 567"/>
                  <a:gd name="T6" fmla="*/ 270 w 801"/>
                  <a:gd name="T7" fmla="*/ 472 h 567"/>
                  <a:gd name="T8" fmla="*/ 293 w 801"/>
                  <a:gd name="T9" fmla="*/ 494 h 567"/>
                  <a:gd name="T10" fmla="*/ 307 w 801"/>
                  <a:gd name="T11" fmla="*/ 539 h 567"/>
                  <a:gd name="T12" fmla="*/ 331 w 801"/>
                  <a:gd name="T13" fmla="*/ 534 h 567"/>
                  <a:gd name="T14" fmla="*/ 345 w 801"/>
                  <a:gd name="T15" fmla="*/ 497 h 567"/>
                  <a:gd name="T16" fmla="*/ 369 w 801"/>
                  <a:gd name="T17" fmla="*/ 474 h 567"/>
                  <a:gd name="T18" fmla="*/ 399 w 801"/>
                  <a:gd name="T19" fmla="*/ 478 h 567"/>
                  <a:gd name="T20" fmla="*/ 423 w 801"/>
                  <a:gd name="T21" fmla="*/ 484 h 567"/>
                  <a:gd name="T22" fmla="*/ 442 w 801"/>
                  <a:gd name="T23" fmla="*/ 486 h 567"/>
                  <a:gd name="T24" fmla="*/ 445 w 801"/>
                  <a:gd name="T25" fmla="*/ 474 h 567"/>
                  <a:gd name="T26" fmla="*/ 469 w 801"/>
                  <a:gd name="T27" fmla="*/ 459 h 567"/>
                  <a:gd name="T28" fmla="*/ 488 w 801"/>
                  <a:gd name="T29" fmla="*/ 465 h 567"/>
                  <a:gd name="T30" fmla="*/ 506 w 801"/>
                  <a:gd name="T31" fmla="*/ 477 h 567"/>
                  <a:gd name="T32" fmla="*/ 528 w 801"/>
                  <a:gd name="T33" fmla="*/ 479 h 567"/>
                  <a:gd name="T34" fmla="*/ 537 w 801"/>
                  <a:gd name="T35" fmla="*/ 518 h 567"/>
                  <a:gd name="T36" fmla="*/ 546 w 801"/>
                  <a:gd name="T37" fmla="*/ 532 h 567"/>
                  <a:gd name="T38" fmla="*/ 557 w 801"/>
                  <a:gd name="T39" fmla="*/ 563 h 567"/>
                  <a:gd name="T40" fmla="*/ 570 w 801"/>
                  <a:gd name="T41" fmla="*/ 526 h 567"/>
                  <a:gd name="T42" fmla="*/ 564 w 801"/>
                  <a:gd name="T43" fmla="*/ 442 h 567"/>
                  <a:gd name="T44" fmla="*/ 590 w 801"/>
                  <a:gd name="T45" fmla="*/ 420 h 567"/>
                  <a:gd name="T46" fmla="*/ 625 w 801"/>
                  <a:gd name="T47" fmla="*/ 386 h 567"/>
                  <a:gd name="T48" fmla="*/ 638 w 801"/>
                  <a:gd name="T49" fmla="*/ 374 h 567"/>
                  <a:gd name="T50" fmla="*/ 651 w 801"/>
                  <a:gd name="T51" fmla="*/ 363 h 567"/>
                  <a:gd name="T52" fmla="*/ 642 w 801"/>
                  <a:gd name="T53" fmla="*/ 354 h 567"/>
                  <a:gd name="T54" fmla="*/ 643 w 801"/>
                  <a:gd name="T55" fmla="*/ 331 h 567"/>
                  <a:gd name="T56" fmla="*/ 643 w 801"/>
                  <a:gd name="T57" fmla="*/ 316 h 567"/>
                  <a:gd name="T58" fmla="*/ 639 w 801"/>
                  <a:gd name="T59" fmla="*/ 301 h 567"/>
                  <a:gd name="T60" fmla="*/ 653 w 801"/>
                  <a:gd name="T61" fmla="*/ 279 h 567"/>
                  <a:gd name="T62" fmla="*/ 655 w 801"/>
                  <a:gd name="T63" fmla="*/ 309 h 567"/>
                  <a:gd name="T64" fmla="*/ 657 w 801"/>
                  <a:gd name="T65" fmla="*/ 324 h 567"/>
                  <a:gd name="T66" fmla="*/ 669 w 801"/>
                  <a:gd name="T67" fmla="*/ 273 h 567"/>
                  <a:gd name="T68" fmla="*/ 681 w 801"/>
                  <a:gd name="T69" fmla="*/ 279 h 567"/>
                  <a:gd name="T70" fmla="*/ 693 w 801"/>
                  <a:gd name="T71" fmla="*/ 249 h 567"/>
                  <a:gd name="T72" fmla="*/ 729 w 801"/>
                  <a:gd name="T73" fmla="*/ 238 h 567"/>
                  <a:gd name="T74" fmla="*/ 739 w 801"/>
                  <a:gd name="T75" fmla="*/ 229 h 567"/>
                  <a:gd name="T76" fmla="*/ 753 w 801"/>
                  <a:gd name="T77" fmla="*/ 184 h 567"/>
                  <a:gd name="T78" fmla="*/ 775 w 801"/>
                  <a:gd name="T79" fmla="*/ 173 h 567"/>
                  <a:gd name="T80" fmla="*/ 795 w 801"/>
                  <a:gd name="T81" fmla="*/ 167 h 567"/>
                  <a:gd name="T82" fmla="*/ 791 w 801"/>
                  <a:gd name="T83" fmla="*/ 117 h 567"/>
                  <a:gd name="T84" fmla="*/ 757 w 801"/>
                  <a:gd name="T85" fmla="*/ 137 h 567"/>
                  <a:gd name="T86" fmla="*/ 679 w 801"/>
                  <a:gd name="T87" fmla="*/ 164 h 567"/>
                  <a:gd name="T88" fmla="*/ 584 w 801"/>
                  <a:gd name="T89" fmla="*/ 174 h 567"/>
                  <a:gd name="T90" fmla="*/ 476 w 801"/>
                  <a:gd name="T91" fmla="*/ 65 h 567"/>
                  <a:gd name="T92" fmla="*/ 446 w 801"/>
                  <a:gd name="T93" fmla="*/ 48 h 567"/>
                  <a:gd name="T94" fmla="*/ 74 w 801"/>
                  <a:gd name="T95" fmla="*/ 27 h 567"/>
                  <a:gd name="T96" fmla="*/ 64 w 801"/>
                  <a:gd name="T97" fmla="*/ 44 h 567"/>
                  <a:gd name="T98" fmla="*/ 62 w 801"/>
                  <a:gd name="T99" fmla="*/ 27 h 567"/>
                  <a:gd name="T100" fmla="*/ 41 w 801"/>
                  <a:gd name="T101" fmla="*/ 52 h 567"/>
                  <a:gd name="T102" fmla="*/ 47 w 801"/>
                  <a:gd name="T103" fmla="*/ 75 h 567"/>
                  <a:gd name="T104" fmla="*/ 33 w 801"/>
                  <a:gd name="T105" fmla="*/ 91 h 567"/>
                  <a:gd name="T106" fmla="*/ 8 w 801"/>
                  <a:gd name="T107" fmla="*/ 175 h 567"/>
                  <a:gd name="T108" fmla="*/ 5 w 801"/>
                  <a:gd name="T109" fmla="*/ 229 h 567"/>
                  <a:gd name="T110" fmla="*/ 13 w 801"/>
                  <a:gd name="T111" fmla="*/ 281 h 567"/>
                  <a:gd name="T112" fmla="*/ 17 w 801"/>
                  <a:gd name="T113" fmla="*/ 280 h 567"/>
                  <a:gd name="T114" fmla="*/ 16 w 801"/>
                  <a:gd name="T115" fmla="*/ 301 h 567"/>
                  <a:gd name="T116" fmla="*/ 26 w 801"/>
                  <a:gd name="T117" fmla="*/ 341 h 567"/>
                  <a:gd name="T118" fmla="*/ 47 w 801"/>
                  <a:gd name="T119" fmla="*/ 370 h 567"/>
                  <a:gd name="T120" fmla="*/ 103 w 801"/>
                  <a:gd name="T121" fmla="*/ 404 h 5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01" h="567">
                    <a:moveTo>
                      <a:pt x="103" y="404"/>
                    </a:moveTo>
                    <a:lnTo>
                      <a:pt x="102" y="405"/>
                    </a:lnTo>
                    <a:lnTo>
                      <a:pt x="151" y="432"/>
                    </a:lnTo>
                    <a:lnTo>
                      <a:pt x="192" y="432"/>
                    </a:lnTo>
                    <a:lnTo>
                      <a:pt x="192" y="426"/>
                    </a:lnTo>
                    <a:lnTo>
                      <a:pt x="214" y="428"/>
                    </a:lnTo>
                    <a:lnTo>
                      <a:pt x="217" y="429"/>
                    </a:lnTo>
                    <a:lnTo>
                      <a:pt x="220" y="433"/>
                    </a:lnTo>
                    <a:lnTo>
                      <a:pt x="220" y="435"/>
                    </a:lnTo>
                    <a:lnTo>
                      <a:pt x="221" y="436"/>
                    </a:lnTo>
                    <a:lnTo>
                      <a:pt x="222" y="436"/>
                    </a:lnTo>
                    <a:lnTo>
                      <a:pt x="224" y="439"/>
                    </a:lnTo>
                    <a:lnTo>
                      <a:pt x="224" y="441"/>
                    </a:lnTo>
                    <a:lnTo>
                      <a:pt x="225" y="442"/>
                    </a:lnTo>
                    <a:lnTo>
                      <a:pt x="227" y="444"/>
                    </a:lnTo>
                    <a:lnTo>
                      <a:pt x="227" y="445"/>
                    </a:lnTo>
                    <a:lnTo>
                      <a:pt x="227" y="446"/>
                    </a:lnTo>
                    <a:lnTo>
                      <a:pt x="228" y="447"/>
                    </a:lnTo>
                    <a:lnTo>
                      <a:pt x="231" y="449"/>
                    </a:lnTo>
                    <a:lnTo>
                      <a:pt x="231" y="451"/>
                    </a:lnTo>
                    <a:lnTo>
                      <a:pt x="232" y="455"/>
                    </a:lnTo>
                    <a:lnTo>
                      <a:pt x="233" y="456"/>
                    </a:lnTo>
                    <a:lnTo>
                      <a:pt x="234" y="456"/>
                    </a:lnTo>
                    <a:lnTo>
                      <a:pt x="234" y="458"/>
                    </a:lnTo>
                    <a:lnTo>
                      <a:pt x="236" y="460"/>
                    </a:lnTo>
                    <a:lnTo>
                      <a:pt x="236" y="462"/>
                    </a:lnTo>
                    <a:lnTo>
                      <a:pt x="235" y="463"/>
                    </a:lnTo>
                    <a:lnTo>
                      <a:pt x="234" y="463"/>
                    </a:lnTo>
                    <a:lnTo>
                      <a:pt x="234" y="465"/>
                    </a:lnTo>
                    <a:lnTo>
                      <a:pt x="236" y="468"/>
                    </a:lnTo>
                    <a:lnTo>
                      <a:pt x="237" y="471"/>
                    </a:lnTo>
                    <a:lnTo>
                      <a:pt x="238" y="474"/>
                    </a:lnTo>
                    <a:lnTo>
                      <a:pt x="238" y="474"/>
                    </a:lnTo>
                    <a:lnTo>
                      <a:pt x="239" y="474"/>
                    </a:lnTo>
                    <a:lnTo>
                      <a:pt x="241" y="476"/>
                    </a:lnTo>
                    <a:lnTo>
                      <a:pt x="241" y="476"/>
                    </a:lnTo>
                    <a:lnTo>
                      <a:pt x="243" y="476"/>
                    </a:lnTo>
                    <a:lnTo>
                      <a:pt x="243" y="477"/>
                    </a:lnTo>
                    <a:lnTo>
                      <a:pt x="243" y="478"/>
                    </a:lnTo>
                    <a:lnTo>
                      <a:pt x="244" y="480"/>
                    </a:lnTo>
                    <a:lnTo>
                      <a:pt x="246" y="480"/>
                    </a:lnTo>
                    <a:lnTo>
                      <a:pt x="248" y="481"/>
                    </a:lnTo>
                    <a:lnTo>
                      <a:pt x="249" y="483"/>
                    </a:lnTo>
                    <a:lnTo>
                      <a:pt x="251" y="484"/>
                    </a:lnTo>
                    <a:lnTo>
                      <a:pt x="255" y="485"/>
                    </a:lnTo>
                    <a:lnTo>
                      <a:pt x="255" y="487"/>
                    </a:lnTo>
                    <a:lnTo>
                      <a:pt x="256" y="487"/>
                    </a:lnTo>
                    <a:lnTo>
                      <a:pt x="258" y="486"/>
                    </a:lnTo>
                    <a:lnTo>
                      <a:pt x="258" y="485"/>
                    </a:lnTo>
                    <a:lnTo>
                      <a:pt x="260" y="483"/>
                    </a:lnTo>
                    <a:lnTo>
                      <a:pt x="262" y="483"/>
                    </a:lnTo>
                    <a:lnTo>
                      <a:pt x="262" y="481"/>
                    </a:lnTo>
                    <a:lnTo>
                      <a:pt x="262" y="481"/>
                    </a:lnTo>
                    <a:lnTo>
                      <a:pt x="262" y="478"/>
                    </a:lnTo>
                    <a:lnTo>
                      <a:pt x="265" y="474"/>
                    </a:lnTo>
                    <a:lnTo>
                      <a:pt x="266" y="472"/>
                    </a:lnTo>
                    <a:lnTo>
                      <a:pt x="268" y="471"/>
                    </a:lnTo>
                    <a:lnTo>
                      <a:pt x="269" y="472"/>
                    </a:lnTo>
                    <a:lnTo>
                      <a:pt x="269" y="472"/>
                    </a:lnTo>
                    <a:lnTo>
                      <a:pt x="270" y="472"/>
                    </a:lnTo>
                    <a:lnTo>
                      <a:pt x="271" y="470"/>
                    </a:lnTo>
                    <a:lnTo>
                      <a:pt x="274" y="470"/>
                    </a:lnTo>
                    <a:lnTo>
                      <a:pt x="276" y="470"/>
                    </a:lnTo>
                    <a:lnTo>
                      <a:pt x="279" y="470"/>
                    </a:lnTo>
                    <a:lnTo>
                      <a:pt x="279" y="470"/>
                    </a:lnTo>
                    <a:lnTo>
                      <a:pt x="280" y="472"/>
                    </a:lnTo>
                    <a:lnTo>
                      <a:pt x="282" y="471"/>
                    </a:lnTo>
                    <a:lnTo>
                      <a:pt x="284" y="473"/>
                    </a:lnTo>
                    <a:lnTo>
                      <a:pt x="286" y="475"/>
                    </a:lnTo>
                    <a:lnTo>
                      <a:pt x="288" y="477"/>
                    </a:lnTo>
                    <a:lnTo>
                      <a:pt x="290" y="482"/>
                    </a:lnTo>
                    <a:lnTo>
                      <a:pt x="291" y="485"/>
                    </a:lnTo>
                    <a:lnTo>
                      <a:pt x="292" y="487"/>
                    </a:lnTo>
                    <a:lnTo>
                      <a:pt x="293" y="489"/>
                    </a:lnTo>
                    <a:lnTo>
                      <a:pt x="293" y="494"/>
                    </a:lnTo>
                    <a:lnTo>
                      <a:pt x="294" y="494"/>
                    </a:lnTo>
                    <a:lnTo>
                      <a:pt x="295" y="497"/>
                    </a:lnTo>
                    <a:lnTo>
                      <a:pt x="296" y="503"/>
                    </a:lnTo>
                    <a:lnTo>
                      <a:pt x="298" y="504"/>
                    </a:lnTo>
                    <a:lnTo>
                      <a:pt x="299" y="506"/>
                    </a:lnTo>
                    <a:lnTo>
                      <a:pt x="300" y="507"/>
                    </a:lnTo>
                    <a:lnTo>
                      <a:pt x="301" y="511"/>
                    </a:lnTo>
                    <a:lnTo>
                      <a:pt x="303" y="513"/>
                    </a:lnTo>
                    <a:lnTo>
                      <a:pt x="305" y="516"/>
                    </a:lnTo>
                    <a:lnTo>
                      <a:pt x="305" y="519"/>
                    </a:lnTo>
                    <a:lnTo>
                      <a:pt x="304" y="522"/>
                    </a:lnTo>
                    <a:lnTo>
                      <a:pt x="304" y="523"/>
                    </a:lnTo>
                    <a:lnTo>
                      <a:pt x="305" y="525"/>
                    </a:lnTo>
                    <a:lnTo>
                      <a:pt x="307" y="534"/>
                    </a:lnTo>
                    <a:lnTo>
                      <a:pt x="307" y="539"/>
                    </a:lnTo>
                    <a:lnTo>
                      <a:pt x="309" y="540"/>
                    </a:lnTo>
                    <a:lnTo>
                      <a:pt x="309" y="541"/>
                    </a:lnTo>
                    <a:lnTo>
                      <a:pt x="310" y="542"/>
                    </a:lnTo>
                    <a:lnTo>
                      <a:pt x="313" y="541"/>
                    </a:lnTo>
                    <a:lnTo>
                      <a:pt x="314" y="543"/>
                    </a:lnTo>
                    <a:lnTo>
                      <a:pt x="317" y="546"/>
                    </a:lnTo>
                    <a:lnTo>
                      <a:pt x="321" y="547"/>
                    </a:lnTo>
                    <a:lnTo>
                      <a:pt x="324" y="549"/>
                    </a:lnTo>
                    <a:lnTo>
                      <a:pt x="326" y="550"/>
                    </a:lnTo>
                    <a:lnTo>
                      <a:pt x="328" y="552"/>
                    </a:lnTo>
                    <a:lnTo>
                      <a:pt x="328" y="553"/>
                    </a:lnTo>
                    <a:lnTo>
                      <a:pt x="330" y="547"/>
                    </a:lnTo>
                    <a:lnTo>
                      <a:pt x="331" y="543"/>
                    </a:lnTo>
                    <a:lnTo>
                      <a:pt x="330" y="541"/>
                    </a:lnTo>
                    <a:lnTo>
                      <a:pt x="331" y="534"/>
                    </a:lnTo>
                    <a:lnTo>
                      <a:pt x="329" y="532"/>
                    </a:lnTo>
                    <a:lnTo>
                      <a:pt x="331" y="527"/>
                    </a:lnTo>
                    <a:lnTo>
                      <a:pt x="332" y="522"/>
                    </a:lnTo>
                    <a:lnTo>
                      <a:pt x="334" y="519"/>
                    </a:lnTo>
                    <a:lnTo>
                      <a:pt x="333" y="512"/>
                    </a:lnTo>
                    <a:lnTo>
                      <a:pt x="335" y="512"/>
                    </a:lnTo>
                    <a:lnTo>
                      <a:pt x="338" y="508"/>
                    </a:lnTo>
                    <a:lnTo>
                      <a:pt x="336" y="507"/>
                    </a:lnTo>
                    <a:lnTo>
                      <a:pt x="339" y="503"/>
                    </a:lnTo>
                    <a:lnTo>
                      <a:pt x="340" y="504"/>
                    </a:lnTo>
                    <a:lnTo>
                      <a:pt x="343" y="502"/>
                    </a:lnTo>
                    <a:lnTo>
                      <a:pt x="342" y="498"/>
                    </a:lnTo>
                    <a:lnTo>
                      <a:pt x="344" y="500"/>
                    </a:lnTo>
                    <a:lnTo>
                      <a:pt x="347" y="498"/>
                    </a:lnTo>
                    <a:lnTo>
                      <a:pt x="345" y="497"/>
                    </a:lnTo>
                    <a:lnTo>
                      <a:pt x="348" y="494"/>
                    </a:lnTo>
                    <a:lnTo>
                      <a:pt x="349" y="495"/>
                    </a:lnTo>
                    <a:lnTo>
                      <a:pt x="351" y="494"/>
                    </a:lnTo>
                    <a:lnTo>
                      <a:pt x="352" y="497"/>
                    </a:lnTo>
                    <a:lnTo>
                      <a:pt x="350" y="499"/>
                    </a:lnTo>
                    <a:lnTo>
                      <a:pt x="352" y="499"/>
                    </a:lnTo>
                    <a:lnTo>
                      <a:pt x="355" y="496"/>
                    </a:lnTo>
                    <a:lnTo>
                      <a:pt x="357" y="496"/>
                    </a:lnTo>
                    <a:lnTo>
                      <a:pt x="362" y="493"/>
                    </a:lnTo>
                    <a:lnTo>
                      <a:pt x="367" y="488"/>
                    </a:lnTo>
                    <a:lnTo>
                      <a:pt x="369" y="488"/>
                    </a:lnTo>
                    <a:lnTo>
                      <a:pt x="371" y="486"/>
                    </a:lnTo>
                    <a:lnTo>
                      <a:pt x="370" y="483"/>
                    </a:lnTo>
                    <a:lnTo>
                      <a:pt x="370" y="479"/>
                    </a:lnTo>
                    <a:lnTo>
                      <a:pt x="369" y="474"/>
                    </a:lnTo>
                    <a:lnTo>
                      <a:pt x="370" y="477"/>
                    </a:lnTo>
                    <a:lnTo>
                      <a:pt x="372" y="477"/>
                    </a:lnTo>
                    <a:lnTo>
                      <a:pt x="374" y="474"/>
                    </a:lnTo>
                    <a:lnTo>
                      <a:pt x="375" y="472"/>
                    </a:lnTo>
                    <a:lnTo>
                      <a:pt x="376" y="475"/>
                    </a:lnTo>
                    <a:lnTo>
                      <a:pt x="374" y="478"/>
                    </a:lnTo>
                    <a:lnTo>
                      <a:pt x="375" y="481"/>
                    </a:lnTo>
                    <a:lnTo>
                      <a:pt x="374" y="484"/>
                    </a:lnTo>
                    <a:lnTo>
                      <a:pt x="377" y="483"/>
                    </a:lnTo>
                    <a:lnTo>
                      <a:pt x="379" y="479"/>
                    </a:lnTo>
                    <a:lnTo>
                      <a:pt x="382" y="479"/>
                    </a:lnTo>
                    <a:lnTo>
                      <a:pt x="383" y="477"/>
                    </a:lnTo>
                    <a:lnTo>
                      <a:pt x="389" y="476"/>
                    </a:lnTo>
                    <a:lnTo>
                      <a:pt x="392" y="476"/>
                    </a:lnTo>
                    <a:lnTo>
                      <a:pt x="399" y="478"/>
                    </a:lnTo>
                    <a:lnTo>
                      <a:pt x="400" y="480"/>
                    </a:lnTo>
                    <a:lnTo>
                      <a:pt x="408" y="481"/>
                    </a:lnTo>
                    <a:lnTo>
                      <a:pt x="411" y="480"/>
                    </a:lnTo>
                    <a:lnTo>
                      <a:pt x="410" y="478"/>
                    </a:lnTo>
                    <a:lnTo>
                      <a:pt x="411" y="477"/>
                    </a:lnTo>
                    <a:lnTo>
                      <a:pt x="413" y="475"/>
                    </a:lnTo>
                    <a:lnTo>
                      <a:pt x="414" y="476"/>
                    </a:lnTo>
                    <a:lnTo>
                      <a:pt x="414" y="477"/>
                    </a:lnTo>
                    <a:lnTo>
                      <a:pt x="415" y="478"/>
                    </a:lnTo>
                    <a:lnTo>
                      <a:pt x="417" y="477"/>
                    </a:lnTo>
                    <a:lnTo>
                      <a:pt x="418" y="479"/>
                    </a:lnTo>
                    <a:lnTo>
                      <a:pt x="418" y="481"/>
                    </a:lnTo>
                    <a:lnTo>
                      <a:pt x="419" y="483"/>
                    </a:lnTo>
                    <a:lnTo>
                      <a:pt x="421" y="482"/>
                    </a:lnTo>
                    <a:lnTo>
                      <a:pt x="423" y="484"/>
                    </a:lnTo>
                    <a:lnTo>
                      <a:pt x="421" y="486"/>
                    </a:lnTo>
                    <a:lnTo>
                      <a:pt x="420" y="488"/>
                    </a:lnTo>
                    <a:lnTo>
                      <a:pt x="421" y="488"/>
                    </a:lnTo>
                    <a:lnTo>
                      <a:pt x="424" y="488"/>
                    </a:lnTo>
                    <a:lnTo>
                      <a:pt x="425" y="489"/>
                    </a:lnTo>
                    <a:lnTo>
                      <a:pt x="429" y="491"/>
                    </a:lnTo>
                    <a:lnTo>
                      <a:pt x="431" y="488"/>
                    </a:lnTo>
                    <a:lnTo>
                      <a:pt x="432" y="487"/>
                    </a:lnTo>
                    <a:lnTo>
                      <a:pt x="435" y="489"/>
                    </a:lnTo>
                    <a:lnTo>
                      <a:pt x="436" y="491"/>
                    </a:lnTo>
                    <a:lnTo>
                      <a:pt x="438" y="490"/>
                    </a:lnTo>
                    <a:lnTo>
                      <a:pt x="438" y="485"/>
                    </a:lnTo>
                    <a:lnTo>
                      <a:pt x="437" y="483"/>
                    </a:lnTo>
                    <a:lnTo>
                      <a:pt x="439" y="482"/>
                    </a:lnTo>
                    <a:lnTo>
                      <a:pt x="442" y="486"/>
                    </a:lnTo>
                    <a:lnTo>
                      <a:pt x="443" y="487"/>
                    </a:lnTo>
                    <a:lnTo>
                      <a:pt x="445" y="489"/>
                    </a:lnTo>
                    <a:lnTo>
                      <a:pt x="446" y="489"/>
                    </a:lnTo>
                    <a:lnTo>
                      <a:pt x="448" y="490"/>
                    </a:lnTo>
                    <a:lnTo>
                      <a:pt x="448" y="494"/>
                    </a:lnTo>
                    <a:lnTo>
                      <a:pt x="449" y="491"/>
                    </a:lnTo>
                    <a:lnTo>
                      <a:pt x="451" y="491"/>
                    </a:lnTo>
                    <a:lnTo>
                      <a:pt x="452" y="490"/>
                    </a:lnTo>
                    <a:lnTo>
                      <a:pt x="448" y="487"/>
                    </a:lnTo>
                    <a:lnTo>
                      <a:pt x="443" y="484"/>
                    </a:lnTo>
                    <a:lnTo>
                      <a:pt x="442" y="482"/>
                    </a:lnTo>
                    <a:lnTo>
                      <a:pt x="442" y="479"/>
                    </a:lnTo>
                    <a:lnTo>
                      <a:pt x="447" y="477"/>
                    </a:lnTo>
                    <a:lnTo>
                      <a:pt x="448" y="476"/>
                    </a:lnTo>
                    <a:lnTo>
                      <a:pt x="445" y="474"/>
                    </a:lnTo>
                    <a:lnTo>
                      <a:pt x="445" y="473"/>
                    </a:lnTo>
                    <a:lnTo>
                      <a:pt x="444" y="473"/>
                    </a:lnTo>
                    <a:lnTo>
                      <a:pt x="442" y="475"/>
                    </a:lnTo>
                    <a:lnTo>
                      <a:pt x="440" y="476"/>
                    </a:lnTo>
                    <a:lnTo>
                      <a:pt x="440" y="474"/>
                    </a:lnTo>
                    <a:lnTo>
                      <a:pt x="442" y="470"/>
                    </a:lnTo>
                    <a:lnTo>
                      <a:pt x="447" y="468"/>
                    </a:lnTo>
                    <a:lnTo>
                      <a:pt x="449" y="465"/>
                    </a:lnTo>
                    <a:lnTo>
                      <a:pt x="458" y="463"/>
                    </a:lnTo>
                    <a:lnTo>
                      <a:pt x="461" y="464"/>
                    </a:lnTo>
                    <a:lnTo>
                      <a:pt x="463" y="463"/>
                    </a:lnTo>
                    <a:lnTo>
                      <a:pt x="465" y="464"/>
                    </a:lnTo>
                    <a:lnTo>
                      <a:pt x="466" y="461"/>
                    </a:lnTo>
                    <a:lnTo>
                      <a:pt x="467" y="458"/>
                    </a:lnTo>
                    <a:lnTo>
                      <a:pt x="469" y="459"/>
                    </a:lnTo>
                    <a:lnTo>
                      <a:pt x="469" y="461"/>
                    </a:lnTo>
                    <a:lnTo>
                      <a:pt x="469" y="463"/>
                    </a:lnTo>
                    <a:lnTo>
                      <a:pt x="472" y="466"/>
                    </a:lnTo>
                    <a:lnTo>
                      <a:pt x="474" y="464"/>
                    </a:lnTo>
                    <a:lnTo>
                      <a:pt x="478" y="465"/>
                    </a:lnTo>
                    <a:lnTo>
                      <a:pt x="480" y="463"/>
                    </a:lnTo>
                    <a:lnTo>
                      <a:pt x="482" y="465"/>
                    </a:lnTo>
                    <a:lnTo>
                      <a:pt x="486" y="464"/>
                    </a:lnTo>
                    <a:lnTo>
                      <a:pt x="487" y="465"/>
                    </a:lnTo>
                    <a:lnTo>
                      <a:pt x="490" y="463"/>
                    </a:lnTo>
                    <a:lnTo>
                      <a:pt x="494" y="463"/>
                    </a:lnTo>
                    <a:lnTo>
                      <a:pt x="494" y="464"/>
                    </a:lnTo>
                    <a:lnTo>
                      <a:pt x="492" y="464"/>
                    </a:lnTo>
                    <a:lnTo>
                      <a:pt x="489" y="464"/>
                    </a:lnTo>
                    <a:lnTo>
                      <a:pt x="488" y="465"/>
                    </a:lnTo>
                    <a:lnTo>
                      <a:pt x="492" y="466"/>
                    </a:lnTo>
                    <a:lnTo>
                      <a:pt x="496" y="466"/>
                    </a:lnTo>
                    <a:lnTo>
                      <a:pt x="498" y="468"/>
                    </a:lnTo>
                    <a:lnTo>
                      <a:pt x="500" y="470"/>
                    </a:lnTo>
                    <a:lnTo>
                      <a:pt x="499" y="467"/>
                    </a:lnTo>
                    <a:lnTo>
                      <a:pt x="499" y="466"/>
                    </a:lnTo>
                    <a:lnTo>
                      <a:pt x="501" y="466"/>
                    </a:lnTo>
                    <a:lnTo>
                      <a:pt x="501" y="467"/>
                    </a:lnTo>
                    <a:lnTo>
                      <a:pt x="504" y="470"/>
                    </a:lnTo>
                    <a:lnTo>
                      <a:pt x="503" y="471"/>
                    </a:lnTo>
                    <a:lnTo>
                      <a:pt x="501" y="470"/>
                    </a:lnTo>
                    <a:lnTo>
                      <a:pt x="501" y="470"/>
                    </a:lnTo>
                    <a:lnTo>
                      <a:pt x="504" y="473"/>
                    </a:lnTo>
                    <a:lnTo>
                      <a:pt x="505" y="476"/>
                    </a:lnTo>
                    <a:lnTo>
                      <a:pt x="506" y="477"/>
                    </a:lnTo>
                    <a:lnTo>
                      <a:pt x="505" y="477"/>
                    </a:lnTo>
                    <a:lnTo>
                      <a:pt x="505" y="477"/>
                    </a:lnTo>
                    <a:lnTo>
                      <a:pt x="504" y="477"/>
                    </a:lnTo>
                    <a:lnTo>
                      <a:pt x="505" y="479"/>
                    </a:lnTo>
                    <a:lnTo>
                      <a:pt x="510" y="478"/>
                    </a:lnTo>
                    <a:lnTo>
                      <a:pt x="512" y="477"/>
                    </a:lnTo>
                    <a:lnTo>
                      <a:pt x="516" y="474"/>
                    </a:lnTo>
                    <a:lnTo>
                      <a:pt x="517" y="474"/>
                    </a:lnTo>
                    <a:lnTo>
                      <a:pt x="518" y="474"/>
                    </a:lnTo>
                    <a:lnTo>
                      <a:pt x="518" y="473"/>
                    </a:lnTo>
                    <a:lnTo>
                      <a:pt x="519" y="471"/>
                    </a:lnTo>
                    <a:lnTo>
                      <a:pt x="522" y="470"/>
                    </a:lnTo>
                    <a:lnTo>
                      <a:pt x="524" y="471"/>
                    </a:lnTo>
                    <a:lnTo>
                      <a:pt x="527" y="473"/>
                    </a:lnTo>
                    <a:lnTo>
                      <a:pt x="528" y="479"/>
                    </a:lnTo>
                    <a:lnTo>
                      <a:pt x="530" y="481"/>
                    </a:lnTo>
                    <a:lnTo>
                      <a:pt x="531" y="481"/>
                    </a:lnTo>
                    <a:lnTo>
                      <a:pt x="532" y="484"/>
                    </a:lnTo>
                    <a:lnTo>
                      <a:pt x="533" y="486"/>
                    </a:lnTo>
                    <a:lnTo>
                      <a:pt x="535" y="486"/>
                    </a:lnTo>
                    <a:lnTo>
                      <a:pt x="535" y="488"/>
                    </a:lnTo>
                    <a:lnTo>
                      <a:pt x="535" y="490"/>
                    </a:lnTo>
                    <a:lnTo>
                      <a:pt x="538" y="491"/>
                    </a:lnTo>
                    <a:lnTo>
                      <a:pt x="540" y="494"/>
                    </a:lnTo>
                    <a:lnTo>
                      <a:pt x="539" y="498"/>
                    </a:lnTo>
                    <a:lnTo>
                      <a:pt x="538" y="506"/>
                    </a:lnTo>
                    <a:lnTo>
                      <a:pt x="535" y="512"/>
                    </a:lnTo>
                    <a:lnTo>
                      <a:pt x="535" y="515"/>
                    </a:lnTo>
                    <a:lnTo>
                      <a:pt x="536" y="519"/>
                    </a:lnTo>
                    <a:lnTo>
                      <a:pt x="537" y="518"/>
                    </a:lnTo>
                    <a:lnTo>
                      <a:pt x="539" y="515"/>
                    </a:lnTo>
                    <a:lnTo>
                      <a:pt x="539" y="514"/>
                    </a:lnTo>
                    <a:lnTo>
                      <a:pt x="539" y="512"/>
                    </a:lnTo>
                    <a:lnTo>
                      <a:pt x="542" y="514"/>
                    </a:lnTo>
                    <a:lnTo>
                      <a:pt x="542" y="517"/>
                    </a:lnTo>
                    <a:lnTo>
                      <a:pt x="538" y="522"/>
                    </a:lnTo>
                    <a:lnTo>
                      <a:pt x="539" y="525"/>
                    </a:lnTo>
                    <a:lnTo>
                      <a:pt x="539" y="528"/>
                    </a:lnTo>
                    <a:lnTo>
                      <a:pt x="541" y="530"/>
                    </a:lnTo>
                    <a:lnTo>
                      <a:pt x="542" y="532"/>
                    </a:lnTo>
                    <a:lnTo>
                      <a:pt x="542" y="532"/>
                    </a:lnTo>
                    <a:lnTo>
                      <a:pt x="543" y="535"/>
                    </a:lnTo>
                    <a:lnTo>
                      <a:pt x="544" y="533"/>
                    </a:lnTo>
                    <a:lnTo>
                      <a:pt x="544" y="532"/>
                    </a:lnTo>
                    <a:lnTo>
                      <a:pt x="546" y="532"/>
                    </a:lnTo>
                    <a:lnTo>
                      <a:pt x="548" y="532"/>
                    </a:lnTo>
                    <a:lnTo>
                      <a:pt x="546" y="534"/>
                    </a:lnTo>
                    <a:lnTo>
                      <a:pt x="546" y="537"/>
                    </a:lnTo>
                    <a:lnTo>
                      <a:pt x="544" y="539"/>
                    </a:lnTo>
                    <a:lnTo>
                      <a:pt x="545" y="541"/>
                    </a:lnTo>
                    <a:lnTo>
                      <a:pt x="548" y="544"/>
                    </a:lnTo>
                    <a:lnTo>
                      <a:pt x="549" y="547"/>
                    </a:lnTo>
                    <a:lnTo>
                      <a:pt x="548" y="552"/>
                    </a:lnTo>
                    <a:lnTo>
                      <a:pt x="549" y="553"/>
                    </a:lnTo>
                    <a:lnTo>
                      <a:pt x="552" y="553"/>
                    </a:lnTo>
                    <a:lnTo>
                      <a:pt x="553" y="556"/>
                    </a:lnTo>
                    <a:lnTo>
                      <a:pt x="553" y="558"/>
                    </a:lnTo>
                    <a:lnTo>
                      <a:pt x="556" y="562"/>
                    </a:lnTo>
                    <a:lnTo>
                      <a:pt x="554" y="563"/>
                    </a:lnTo>
                    <a:lnTo>
                      <a:pt x="557" y="563"/>
                    </a:lnTo>
                    <a:lnTo>
                      <a:pt x="558" y="566"/>
                    </a:lnTo>
                    <a:lnTo>
                      <a:pt x="561" y="567"/>
                    </a:lnTo>
                    <a:lnTo>
                      <a:pt x="563" y="565"/>
                    </a:lnTo>
                    <a:lnTo>
                      <a:pt x="566" y="564"/>
                    </a:lnTo>
                    <a:lnTo>
                      <a:pt x="566" y="560"/>
                    </a:lnTo>
                    <a:lnTo>
                      <a:pt x="568" y="557"/>
                    </a:lnTo>
                    <a:lnTo>
                      <a:pt x="570" y="553"/>
                    </a:lnTo>
                    <a:lnTo>
                      <a:pt x="572" y="547"/>
                    </a:lnTo>
                    <a:lnTo>
                      <a:pt x="572" y="544"/>
                    </a:lnTo>
                    <a:lnTo>
                      <a:pt x="572" y="543"/>
                    </a:lnTo>
                    <a:lnTo>
                      <a:pt x="573" y="536"/>
                    </a:lnTo>
                    <a:lnTo>
                      <a:pt x="572" y="536"/>
                    </a:lnTo>
                    <a:lnTo>
                      <a:pt x="573" y="533"/>
                    </a:lnTo>
                    <a:lnTo>
                      <a:pt x="573" y="529"/>
                    </a:lnTo>
                    <a:lnTo>
                      <a:pt x="570" y="526"/>
                    </a:lnTo>
                    <a:lnTo>
                      <a:pt x="568" y="515"/>
                    </a:lnTo>
                    <a:lnTo>
                      <a:pt x="567" y="514"/>
                    </a:lnTo>
                    <a:lnTo>
                      <a:pt x="568" y="508"/>
                    </a:lnTo>
                    <a:lnTo>
                      <a:pt x="569" y="505"/>
                    </a:lnTo>
                    <a:lnTo>
                      <a:pt x="568" y="501"/>
                    </a:lnTo>
                    <a:lnTo>
                      <a:pt x="566" y="498"/>
                    </a:lnTo>
                    <a:lnTo>
                      <a:pt x="565" y="491"/>
                    </a:lnTo>
                    <a:lnTo>
                      <a:pt x="563" y="488"/>
                    </a:lnTo>
                    <a:lnTo>
                      <a:pt x="563" y="480"/>
                    </a:lnTo>
                    <a:lnTo>
                      <a:pt x="561" y="475"/>
                    </a:lnTo>
                    <a:lnTo>
                      <a:pt x="562" y="468"/>
                    </a:lnTo>
                    <a:lnTo>
                      <a:pt x="562" y="463"/>
                    </a:lnTo>
                    <a:lnTo>
                      <a:pt x="563" y="453"/>
                    </a:lnTo>
                    <a:lnTo>
                      <a:pt x="563" y="447"/>
                    </a:lnTo>
                    <a:lnTo>
                      <a:pt x="564" y="442"/>
                    </a:lnTo>
                    <a:lnTo>
                      <a:pt x="567" y="437"/>
                    </a:lnTo>
                    <a:lnTo>
                      <a:pt x="570" y="436"/>
                    </a:lnTo>
                    <a:lnTo>
                      <a:pt x="570" y="435"/>
                    </a:lnTo>
                    <a:lnTo>
                      <a:pt x="572" y="434"/>
                    </a:lnTo>
                    <a:lnTo>
                      <a:pt x="573" y="431"/>
                    </a:lnTo>
                    <a:lnTo>
                      <a:pt x="574" y="428"/>
                    </a:lnTo>
                    <a:lnTo>
                      <a:pt x="573" y="427"/>
                    </a:lnTo>
                    <a:lnTo>
                      <a:pt x="573" y="426"/>
                    </a:lnTo>
                    <a:lnTo>
                      <a:pt x="577" y="426"/>
                    </a:lnTo>
                    <a:lnTo>
                      <a:pt x="577" y="424"/>
                    </a:lnTo>
                    <a:lnTo>
                      <a:pt x="580" y="425"/>
                    </a:lnTo>
                    <a:lnTo>
                      <a:pt x="581" y="422"/>
                    </a:lnTo>
                    <a:lnTo>
                      <a:pt x="585" y="422"/>
                    </a:lnTo>
                    <a:lnTo>
                      <a:pt x="587" y="419"/>
                    </a:lnTo>
                    <a:lnTo>
                      <a:pt x="590" y="420"/>
                    </a:lnTo>
                    <a:lnTo>
                      <a:pt x="591" y="418"/>
                    </a:lnTo>
                    <a:lnTo>
                      <a:pt x="592" y="418"/>
                    </a:lnTo>
                    <a:lnTo>
                      <a:pt x="594" y="418"/>
                    </a:lnTo>
                    <a:lnTo>
                      <a:pt x="596" y="415"/>
                    </a:lnTo>
                    <a:lnTo>
                      <a:pt x="597" y="413"/>
                    </a:lnTo>
                    <a:lnTo>
                      <a:pt x="598" y="413"/>
                    </a:lnTo>
                    <a:lnTo>
                      <a:pt x="600" y="411"/>
                    </a:lnTo>
                    <a:lnTo>
                      <a:pt x="600" y="409"/>
                    </a:lnTo>
                    <a:lnTo>
                      <a:pt x="605" y="401"/>
                    </a:lnTo>
                    <a:lnTo>
                      <a:pt x="608" y="398"/>
                    </a:lnTo>
                    <a:lnTo>
                      <a:pt x="612" y="397"/>
                    </a:lnTo>
                    <a:lnTo>
                      <a:pt x="614" y="398"/>
                    </a:lnTo>
                    <a:lnTo>
                      <a:pt x="615" y="398"/>
                    </a:lnTo>
                    <a:lnTo>
                      <a:pt x="617" y="393"/>
                    </a:lnTo>
                    <a:lnTo>
                      <a:pt x="625" y="386"/>
                    </a:lnTo>
                    <a:lnTo>
                      <a:pt x="631" y="381"/>
                    </a:lnTo>
                    <a:lnTo>
                      <a:pt x="634" y="381"/>
                    </a:lnTo>
                    <a:lnTo>
                      <a:pt x="636" y="380"/>
                    </a:lnTo>
                    <a:lnTo>
                      <a:pt x="637" y="380"/>
                    </a:lnTo>
                    <a:lnTo>
                      <a:pt x="637" y="381"/>
                    </a:lnTo>
                    <a:lnTo>
                      <a:pt x="639" y="381"/>
                    </a:lnTo>
                    <a:lnTo>
                      <a:pt x="643" y="377"/>
                    </a:lnTo>
                    <a:lnTo>
                      <a:pt x="642" y="377"/>
                    </a:lnTo>
                    <a:lnTo>
                      <a:pt x="641" y="375"/>
                    </a:lnTo>
                    <a:lnTo>
                      <a:pt x="638" y="378"/>
                    </a:lnTo>
                    <a:lnTo>
                      <a:pt x="635" y="377"/>
                    </a:lnTo>
                    <a:lnTo>
                      <a:pt x="632" y="375"/>
                    </a:lnTo>
                    <a:lnTo>
                      <a:pt x="635" y="377"/>
                    </a:lnTo>
                    <a:lnTo>
                      <a:pt x="639" y="374"/>
                    </a:lnTo>
                    <a:lnTo>
                      <a:pt x="638" y="374"/>
                    </a:lnTo>
                    <a:lnTo>
                      <a:pt x="639" y="372"/>
                    </a:lnTo>
                    <a:lnTo>
                      <a:pt x="639" y="370"/>
                    </a:lnTo>
                    <a:lnTo>
                      <a:pt x="636" y="370"/>
                    </a:lnTo>
                    <a:lnTo>
                      <a:pt x="634" y="367"/>
                    </a:lnTo>
                    <a:lnTo>
                      <a:pt x="636" y="367"/>
                    </a:lnTo>
                    <a:lnTo>
                      <a:pt x="638" y="368"/>
                    </a:lnTo>
                    <a:lnTo>
                      <a:pt x="639" y="367"/>
                    </a:lnTo>
                    <a:lnTo>
                      <a:pt x="640" y="365"/>
                    </a:lnTo>
                    <a:lnTo>
                      <a:pt x="641" y="369"/>
                    </a:lnTo>
                    <a:lnTo>
                      <a:pt x="643" y="368"/>
                    </a:lnTo>
                    <a:lnTo>
                      <a:pt x="645" y="370"/>
                    </a:lnTo>
                    <a:lnTo>
                      <a:pt x="646" y="369"/>
                    </a:lnTo>
                    <a:lnTo>
                      <a:pt x="647" y="366"/>
                    </a:lnTo>
                    <a:lnTo>
                      <a:pt x="650" y="363"/>
                    </a:lnTo>
                    <a:lnTo>
                      <a:pt x="651" y="363"/>
                    </a:lnTo>
                    <a:lnTo>
                      <a:pt x="652" y="360"/>
                    </a:lnTo>
                    <a:lnTo>
                      <a:pt x="650" y="356"/>
                    </a:lnTo>
                    <a:lnTo>
                      <a:pt x="650" y="356"/>
                    </a:lnTo>
                    <a:lnTo>
                      <a:pt x="649" y="360"/>
                    </a:lnTo>
                    <a:lnTo>
                      <a:pt x="648" y="362"/>
                    </a:lnTo>
                    <a:lnTo>
                      <a:pt x="647" y="362"/>
                    </a:lnTo>
                    <a:lnTo>
                      <a:pt x="646" y="356"/>
                    </a:lnTo>
                    <a:lnTo>
                      <a:pt x="646" y="356"/>
                    </a:lnTo>
                    <a:lnTo>
                      <a:pt x="639" y="357"/>
                    </a:lnTo>
                    <a:lnTo>
                      <a:pt x="637" y="358"/>
                    </a:lnTo>
                    <a:lnTo>
                      <a:pt x="637" y="356"/>
                    </a:lnTo>
                    <a:lnTo>
                      <a:pt x="638" y="351"/>
                    </a:lnTo>
                    <a:lnTo>
                      <a:pt x="639" y="350"/>
                    </a:lnTo>
                    <a:lnTo>
                      <a:pt x="640" y="354"/>
                    </a:lnTo>
                    <a:lnTo>
                      <a:pt x="642" y="354"/>
                    </a:lnTo>
                    <a:lnTo>
                      <a:pt x="643" y="353"/>
                    </a:lnTo>
                    <a:lnTo>
                      <a:pt x="647" y="352"/>
                    </a:lnTo>
                    <a:lnTo>
                      <a:pt x="647" y="351"/>
                    </a:lnTo>
                    <a:lnTo>
                      <a:pt x="650" y="351"/>
                    </a:lnTo>
                    <a:lnTo>
                      <a:pt x="650" y="349"/>
                    </a:lnTo>
                    <a:lnTo>
                      <a:pt x="650" y="346"/>
                    </a:lnTo>
                    <a:lnTo>
                      <a:pt x="649" y="344"/>
                    </a:lnTo>
                    <a:lnTo>
                      <a:pt x="649" y="343"/>
                    </a:lnTo>
                    <a:lnTo>
                      <a:pt x="650" y="343"/>
                    </a:lnTo>
                    <a:lnTo>
                      <a:pt x="651" y="340"/>
                    </a:lnTo>
                    <a:lnTo>
                      <a:pt x="650" y="336"/>
                    </a:lnTo>
                    <a:lnTo>
                      <a:pt x="650" y="336"/>
                    </a:lnTo>
                    <a:lnTo>
                      <a:pt x="647" y="336"/>
                    </a:lnTo>
                    <a:lnTo>
                      <a:pt x="645" y="336"/>
                    </a:lnTo>
                    <a:lnTo>
                      <a:pt x="643" y="331"/>
                    </a:lnTo>
                    <a:lnTo>
                      <a:pt x="642" y="331"/>
                    </a:lnTo>
                    <a:lnTo>
                      <a:pt x="639" y="330"/>
                    </a:lnTo>
                    <a:lnTo>
                      <a:pt x="638" y="327"/>
                    </a:lnTo>
                    <a:lnTo>
                      <a:pt x="640" y="329"/>
                    </a:lnTo>
                    <a:lnTo>
                      <a:pt x="643" y="329"/>
                    </a:lnTo>
                    <a:lnTo>
                      <a:pt x="645" y="332"/>
                    </a:lnTo>
                    <a:lnTo>
                      <a:pt x="646" y="332"/>
                    </a:lnTo>
                    <a:lnTo>
                      <a:pt x="648" y="330"/>
                    </a:lnTo>
                    <a:lnTo>
                      <a:pt x="644" y="327"/>
                    </a:lnTo>
                    <a:lnTo>
                      <a:pt x="647" y="328"/>
                    </a:lnTo>
                    <a:lnTo>
                      <a:pt x="647" y="326"/>
                    </a:lnTo>
                    <a:lnTo>
                      <a:pt x="648" y="325"/>
                    </a:lnTo>
                    <a:lnTo>
                      <a:pt x="647" y="322"/>
                    </a:lnTo>
                    <a:lnTo>
                      <a:pt x="644" y="320"/>
                    </a:lnTo>
                    <a:lnTo>
                      <a:pt x="643" y="316"/>
                    </a:lnTo>
                    <a:lnTo>
                      <a:pt x="645" y="317"/>
                    </a:lnTo>
                    <a:lnTo>
                      <a:pt x="646" y="320"/>
                    </a:lnTo>
                    <a:lnTo>
                      <a:pt x="647" y="320"/>
                    </a:lnTo>
                    <a:lnTo>
                      <a:pt x="648" y="316"/>
                    </a:lnTo>
                    <a:lnTo>
                      <a:pt x="648" y="314"/>
                    </a:lnTo>
                    <a:lnTo>
                      <a:pt x="646" y="312"/>
                    </a:lnTo>
                    <a:lnTo>
                      <a:pt x="643" y="308"/>
                    </a:lnTo>
                    <a:lnTo>
                      <a:pt x="639" y="306"/>
                    </a:lnTo>
                    <a:lnTo>
                      <a:pt x="638" y="303"/>
                    </a:lnTo>
                    <a:lnTo>
                      <a:pt x="636" y="301"/>
                    </a:lnTo>
                    <a:lnTo>
                      <a:pt x="636" y="299"/>
                    </a:lnTo>
                    <a:lnTo>
                      <a:pt x="638" y="295"/>
                    </a:lnTo>
                    <a:lnTo>
                      <a:pt x="637" y="299"/>
                    </a:lnTo>
                    <a:lnTo>
                      <a:pt x="637" y="301"/>
                    </a:lnTo>
                    <a:lnTo>
                      <a:pt x="639" y="301"/>
                    </a:lnTo>
                    <a:lnTo>
                      <a:pt x="640" y="305"/>
                    </a:lnTo>
                    <a:lnTo>
                      <a:pt x="643" y="305"/>
                    </a:lnTo>
                    <a:lnTo>
                      <a:pt x="646" y="310"/>
                    </a:lnTo>
                    <a:lnTo>
                      <a:pt x="647" y="310"/>
                    </a:lnTo>
                    <a:lnTo>
                      <a:pt x="647" y="303"/>
                    </a:lnTo>
                    <a:lnTo>
                      <a:pt x="647" y="300"/>
                    </a:lnTo>
                    <a:lnTo>
                      <a:pt x="648" y="298"/>
                    </a:lnTo>
                    <a:lnTo>
                      <a:pt x="647" y="295"/>
                    </a:lnTo>
                    <a:lnTo>
                      <a:pt x="647" y="291"/>
                    </a:lnTo>
                    <a:lnTo>
                      <a:pt x="648" y="288"/>
                    </a:lnTo>
                    <a:lnTo>
                      <a:pt x="646" y="286"/>
                    </a:lnTo>
                    <a:lnTo>
                      <a:pt x="648" y="287"/>
                    </a:lnTo>
                    <a:lnTo>
                      <a:pt x="650" y="285"/>
                    </a:lnTo>
                    <a:lnTo>
                      <a:pt x="653" y="282"/>
                    </a:lnTo>
                    <a:lnTo>
                      <a:pt x="653" y="279"/>
                    </a:lnTo>
                    <a:lnTo>
                      <a:pt x="653" y="278"/>
                    </a:lnTo>
                    <a:lnTo>
                      <a:pt x="654" y="279"/>
                    </a:lnTo>
                    <a:lnTo>
                      <a:pt x="653" y="282"/>
                    </a:lnTo>
                    <a:lnTo>
                      <a:pt x="654" y="284"/>
                    </a:lnTo>
                    <a:lnTo>
                      <a:pt x="652" y="285"/>
                    </a:lnTo>
                    <a:lnTo>
                      <a:pt x="650" y="289"/>
                    </a:lnTo>
                    <a:lnTo>
                      <a:pt x="653" y="293"/>
                    </a:lnTo>
                    <a:lnTo>
                      <a:pt x="652" y="298"/>
                    </a:lnTo>
                    <a:lnTo>
                      <a:pt x="650" y="301"/>
                    </a:lnTo>
                    <a:lnTo>
                      <a:pt x="650" y="305"/>
                    </a:lnTo>
                    <a:lnTo>
                      <a:pt x="652" y="308"/>
                    </a:lnTo>
                    <a:lnTo>
                      <a:pt x="653" y="307"/>
                    </a:lnTo>
                    <a:lnTo>
                      <a:pt x="653" y="308"/>
                    </a:lnTo>
                    <a:lnTo>
                      <a:pt x="655" y="308"/>
                    </a:lnTo>
                    <a:lnTo>
                      <a:pt x="655" y="309"/>
                    </a:lnTo>
                    <a:lnTo>
                      <a:pt x="654" y="311"/>
                    </a:lnTo>
                    <a:lnTo>
                      <a:pt x="655" y="313"/>
                    </a:lnTo>
                    <a:lnTo>
                      <a:pt x="658" y="313"/>
                    </a:lnTo>
                    <a:lnTo>
                      <a:pt x="656" y="315"/>
                    </a:lnTo>
                    <a:lnTo>
                      <a:pt x="656" y="315"/>
                    </a:lnTo>
                    <a:lnTo>
                      <a:pt x="654" y="318"/>
                    </a:lnTo>
                    <a:lnTo>
                      <a:pt x="655" y="320"/>
                    </a:lnTo>
                    <a:lnTo>
                      <a:pt x="653" y="323"/>
                    </a:lnTo>
                    <a:lnTo>
                      <a:pt x="653" y="327"/>
                    </a:lnTo>
                    <a:lnTo>
                      <a:pt x="653" y="330"/>
                    </a:lnTo>
                    <a:lnTo>
                      <a:pt x="653" y="329"/>
                    </a:lnTo>
                    <a:lnTo>
                      <a:pt x="654" y="328"/>
                    </a:lnTo>
                    <a:lnTo>
                      <a:pt x="656" y="322"/>
                    </a:lnTo>
                    <a:lnTo>
                      <a:pt x="657" y="322"/>
                    </a:lnTo>
                    <a:lnTo>
                      <a:pt x="657" y="324"/>
                    </a:lnTo>
                    <a:lnTo>
                      <a:pt x="658" y="322"/>
                    </a:lnTo>
                    <a:lnTo>
                      <a:pt x="658" y="321"/>
                    </a:lnTo>
                    <a:lnTo>
                      <a:pt x="660" y="317"/>
                    </a:lnTo>
                    <a:lnTo>
                      <a:pt x="662" y="311"/>
                    </a:lnTo>
                    <a:lnTo>
                      <a:pt x="665" y="308"/>
                    </a:lnTo>
                    <a:lnTo>
                      <a:pt x="667" y="301"/>
                    </a:lnTo>
                    <a:lnTo>
                      <a:pt x="667" y="298"/>
                    </a:lnTo>
                    <a:lnTo>
                      <a:pt x="666" y="292"/>
                    </a:lnTo>
                    <a:lnTo>
                      <a:pt x="664" y="290"/>
                    </a:lnTo>
                    <a:lnTo>
                      <a:pt x="664" y="285"/>
                    </a:lnTo>
                    <a:lnTo>
                      <a:pt x="663" y="284"/>
                    </a:lnTo>
                    <a:lnTo>
                      <a:pt x="662" y="280"/>
                    </a:lnTo>
                    <a:lnTo>
                      <a:pt x="663" y="277"/>
                    </a:lnTo>
                    <a:lnTo>
                      <a:pt x="666" y="274"/>
                    </a:lnTo>
                    <a:lnTo>
                      <a:pt x="669" y="273"/>
                    </a:lnTo>
                    <a:lnTo>
                      <a:pt x="664" y="278"/>
                    </a:lnTo>
                    <a:lnTo>
                      <a:pt x="663" y="281"/>
                    </a:lnTo>
                    <a:lnTo>
                      <a:pt x="665" y="284"/>
                    </a:lnTo>
                    <a:lnTo>
                      <a:pt x="668" y="287"/>
                    </a:lnTo>
                    <a:lnTo>
                      <a:pt x="670" y="287"/>
                    </a:lnTo>
                    <a:lnTo>
                      <a:pt x="671" y="288"/>
                    </a:lnTo>
                    <a:lnTo>
                      <a:pt x="670" y="293"/>
                    </a:lnTo>
                    <a:lnTo>
                      <a:pt x="672" y="291"/>
                    </a:lnTo>
                    <a:lnTo>
                      <a:pt x="672" y="292"/>
                    </a:lnTo>
                    <a:lnTo>
                      <a:pt x="674" y="288"/>
                    </a:lnTo>
                    <a:lnTo>
                      <a:pt x="675" y="287"/>
                    </a:lnTo>
                    <a:lnTo>
                      <a:pt x="676" y="287"/>
                    </a:lnTo>
                    <a:lnTo>
                      <a:pt x="677" y="284"/>
                    </a:lnTo>
                    <a:lnTo>
                      <a:pt x="679" y="284"/>
                    </a:lnTo>
                    <a:lnTo>
                      <a:pt x="681" y="279"/>
                    </a:lnTo>
                    <a:lnTo>
                      <a:pt x="681" y="277"/>
                    </a:lnTo>
                    <a:lnTo>
                      <a:pt x="683" y="277"/>
                    </a:lnTo>
                    <a:lnTo>
                      <a:pt x="684" y="274"/>
                    </a:lnTo>
                    <a:lnTo>
                      <a:pt x="685" y="271"/>
                    </a:lnTo>
                    <a:lnTo>
                      <a:pt x="684" y="270"/>
                    </a:lnTo>
                    <a:lnTo>
                      <a:pt x="686" y="267"/>
                    </a:lnTo>
                    <a:lnTo>
                      <a:pt x="686" y="265"/>
                    </a:lnTo>
                    <a:lnTo>
                      <a:pt x="688" y="263"/>
                    </a:lnTo>
                    <a:lnTo>
                      <a:pt x="687" y="260"/>
                    </a:lnTo>
                    <a:lnTo>
                      <a:pt x="685" y="259"/>
                    </a:lnTo>
                    <a:lnTo>
                      <a:pt x="684" y="256"/>
                    </a:lnTo>
                    <a:lnTo>
                      <a:pt x="688" y="254"/>
                    </a:lnTo>
                    <a:lnTo>
                      <a:pt x="688" y="252"/>
                    </a:lnTo>
                    <a:lnTo>
                      <a:pt x="690" y="249"/>
                    </a:lnTo>
                    <a:lnTo>
                      <a:pt x="693" y="249"/>
                    </a:lnTo>
                    <a:lnTo>
                      <a:pt x="697" y="246"/>
                    </a:lnTo>
                    <a:lnTo>
                      <a:pt x="700" y="246"/>
                    </a:lnTo>
                    <a:lnTo>
                      <a:pt x="705" y="242"/>
                    </a:lnTo>
                    <a:lnTo>
                      <a:pt x="706" y="242"/>
                    </a:lnTo>
                    <a:lnTo>
                      <a:pt x="708" y="242"/>
                    </a:lnTo>
                    <a:lnTo>
                      <a:pt x="713" y="242"/>
                    </a:lnTo>
                    <a:lnTo>
                      <a:pt x="715" y="243"/>
                    </a:lnTo>
                    <a:lnTo>
                      <a:pt x="719" y="242"/>
                    </a:lnTo>
                    <a:lnTo>
                      <a:pt x="725" y="242"/>
                    </a:lnTo>
                    <a:lnTo>
                      <a:pt x="726" y="241"/>
                    </a:lnTo>
                    <a:lnTo>
                      <a:pt x="726" y="239"/>
                    </a:lnTo>
                    <a:lnTo>
                      <a:pt x="726" y="235"/>
                    </a:lnTo>
                    <a:lnTo>
                      <a:pt x="726" y="231"/>
                    </a:lnTo>
                    <a:lnTo>
                      <a:pt x="729" y="235"/>
                    </a:lnTo>
                    <a:lnTo>
                      <a:pt x="729" y="238"/>
                    </a:lnTo>
                    <a:lnTo>
                      <a:pt x="729" y="240"/>
                    </a:lnTo>
                    <a:lnTo>
                      <a:pt x="730" y="241"/>
                    </a:lnTo>
                    <a:lnTo>
                      <a:pt x="733" y="237"/>
                    </a:lnTo>
                    <a:lnTo>
                      <a:pt x="736" y="232"/>
                    </a:lnTo>
                    <a:lnTo>
                      <a:pt x="736" y="235"/>
                    </a:lnTo>
                    <a:lnTo>
                      <a:pt x="736" y="237"/>
                    </a:lnTo>
                    <a:lnTo>
                      <a:pt x="739" y="238"/>
                    </a:lnTo>
                    <a:lnTo>
                      <a:pt x="745" y="234"/>
                    </a:lnTo>
                    <a:lnTo>
                      <a:pt x="747" y="230"/>
                    </a:lnTo>
                    <a:lnTo>
                      <a:pt x="746" y="225"/>
                    </a:lnTo>
                    <a:lnTo>
                      <a:pt x="744" y="225"/>
                    </a:lnTo>
                    <a:lnTo>
                      <a:pt x="744" y="228"/>
                    </a:lnTo>
                    <a:lnTo>
                      <a:pt x="743" y="232"/>
                    </a:lnTo>
                    <a:lnTo>
                      <a:pt x="740" y="232"/>
                    </a:lnTo>
                    <a:lnTo>
                      <a:pt x="739" y="229"/>
                    </a:lnTo>
                    <a:lnTo>
                      <a:pt x="737" y="224"/>
                    </a:lnTo>
                    <a:lnTo>
                      <a:pt x="734" y="221"/>
                    </a:lnTo>
                    <a:lnTo>
                      <a:pt x="734" y="219"/>
                    </a:lnTo>
                    <a:lnTo>
                      <a:pt x="739" y="214"/>
                    </a:lnTo>
                    <a:lnTo>
                      <a:pt x="739" y="211"/>
                    </a:lnTo>
                    <a:lnTo>
                      <a:pt x="736" y="211"/>
                    </a:lnTo>
                    <a:lnTo>
                      <a:pt x="737" y="209"/>
                    </a:lnTo>
                    <a:lnTo>
                      <a:pt x="739" y="208"/>
                    </a:lnTo>
                    <a:lnTo>
                      <a:pt x="739" y="206"/>
                    </a:lnTo>
                    <a:lnTo>
                      <a:pt x="741" y="203"/>
                    </a:lnTo>
                    <a:lnTo>
                      <a:pt x="743" y="198"/>
                    </a:lnTo>
                    <a:lnTo>
                      <a:pt x="748" y="192"/>
                    </a:lnTo>
                    <a:lnTo>
                      <a:pt x="750" y="187"/>
                    </a:lnTo>
                    <a:lnTo>
                      <a:pt x="751" y="187"/>
                    </a:lnTo>
                    <a:lnTo>
                      <a:pt x="753" y="184"/>
                    </a:lnTo>
                    <a:lnTo>
                      <a:pt x="753" y="187"/>
                    </a:lnTo>
                    <a:lnTo>
                      <a:pt x="755" y="187"/>
                    </a:lnTo>
                    <a:lnTo>
                      <a:pt x="756" y="186"/>
                    </a:lnTo>
                    <a:lnTo>
                      <a:pt x="757" y="182"/>
                    </a:lnTo>
                    <a:lnTo>
                      <a:pt x="758" y="186"/>
                    </a:lnTo>
                    <a:lnTo>
                      <a:pt x="760" y="186"/>
                    </a:lnTo>
                    <a:lnTo>
                      <a:pt x="761" y="182"/>
                    </a:lnTo>
                    <a:lnTo>
                      <a:pt x="762" y="184"/>
                    </a:lnTo>
                    <a:lnTo>
                      <a:pt x="764" y="182"/>
                    </a:lnTo>
                    <a:lnTo>
                      <a:pt x="767" y="177"/>
                    </a:lnTo>
                    <a:lnTo>
                      <a:pt x="770" y="171"/>
                    </a:lnTo>
                    <a:lnTo>
                      <a:pt x="769" y="175"/>
                    </a:lnTo>
                    <a:lnTo>
                      <a:pt x="770" y="177"/>
                    </a:lnTo>
                    <a:lnTo>
                      <a:pt x="773" y="177"/>
                    </a:lnTo>
                    <a:lnTo>
                      <a:pt x="775" y="173"/>
                    </a:lnTo>
                    <a:lnTo>
                      <a:pt x="778" y="173"/>
                    </a:lnTo>
                    <a:lnTo>
                      <a:pt x="779" y="177"/>
                    </a:lnTo>
                    <a:lnTo>
                      <a:pt x="781" y="177"/>
                    </a:lnTo>
                    <a:lnTo>
                      <a:pt x="783" y="173"/>
                    </a:lnTo>
                    <a:lnTo>
                      <a:pt x="785" y="175"/>
                    </a:lnTo>
                    <a:lnTo>
                      <a:pt x="787" y="173"/>
                    </a:lnTo>
                    <a:lnTo>
                      <a:pt x="789" y="172"/>
                    </a:lnTo>
                    <a:lnTo>
                      <a:pt x="792" y="172"/>
                    </a:lnTo>
                    <a:lnTo>
                      <a:pt x="795" y="170"/>
                    </a:lnTo>
                    <a:lnTo>
                      <a:pt x="796" y="172"/>
                    </a:lnTo>
                    <a:lnTo>
                      <a:pt x="798" y="171"/>
                    </a:lnTo>
                    <a:lnTo>
                      <a:pt x="801" y="168"/>
                    </a:lnTo>
                    <a:lnTo>
                      <a:pt x="798" y="167"/>
                    </a:lnTo>
                    <a:lnTo>
                      <a:pt x="797" y="169"/>
                    </a:lnTo>
                    <a:lnTo>
                      <a:pt x="795" y="167"/>
                    </a:lnTo>
                    <a:lnTo>
                      <a:pt x="795" y="163"/>
                    </a:lnTo>
                    <a:lnTo>
                      <a:pt x="790" y="159"/>
                    </a:lnTo>
                    <a:lnTo>
                      <a:pt x="790" y="159"/>
                    </a:lnTo>
                    <a:lnTo>
                      <a:pt x="790" y="159"/>
                    </a:lnTo>
                    <a:lnTo>
                      <a:pt x="789" y="158"/>
                    </a:lnTo>
                    <a:lnTo>
                      <a:pt x="790" y="156"/>
                    </a:lnTo>
                    <a:lnTo>
                      <a:pt x="790" y="155"/>
                    </a:lnTo>
                    <a:lnTo>
                      <a:pt x="790" y="153"/>
                    </a:lnTo>
                    <a:lnTo>
                      <a:pt x="790" y="150"/>
                    </a:lnTo>
                    <a:lnTo>
                      <a:pt x="789" y="148"/>
                    </a:lnTo>
                    <a:lnTo>
                      <a:pt x="788" y="146"/>
                    </a:lnTo>
                    <a:lnTo>
                      <a:pt x="787" y="146"/>
                    </a:lnTo>
                    <a:lnTo>
                      <a:pt x="788" y="143"/>
                    </a:lnTo>
                    <a:lnTo>
                      <a:pt x="791" y="122"/>
                    </a:lnTo>
                    <a:lnTo>
                      <a:pt x="791" y="117"/>
                    </a:lnTo>
                    <a:lnTo>
                      <a:pt x="785" y="110"/>
                    </a:lnTo>
                    <a:lnTo>
                      <a:pt x="784" y="111"/>
                    </a:lnTo>
                    <a:lnTo>
                      <a:pt x="780" y="111"/>
                    </a:lnTo>
                    <a:lnTo>
                      <a:pt x="777" y="111"/>
                    </a:lnTo>
                    <a:lnTo>
                      <a:pt x="775" y="109"/>
                    </a:lnTo>
                    <a:lnTo>
                      <a:pt x="774" y="108"/>
                    </a:lnTo>
                    <a:lnTo>
                      <a:pt x="772" y="108"/>
                    </a:lnTo>
                    <a:lnTo>
                      <a:pt x="770" y="111"/>
                    </a:lnTo>
                    <a:lnTo>
                      <a:pt x="769" y="114"/>
                    </a:lnTo>
                    <a:lnTo>
                      <a:pt x="764" y="120"/>
                    </a:lnTo>
                    <a:lnTo>
                      <a:pt x="761" y="124"/>
                    </a:lnTo>
                    <a:lnTo>
                      <a:pt x="761" y="127"/>
                    </a:lnTo>
                    <a:lnTo>
                      <a:pt x="758" y="129"/>
                    </a:lnTo>
                    <a:lnTo>
                      <a:pt x="757" y="133"/>
                    </a:lnTo>
                    <a:lnTo>
                      <a:pt x="757" y="137"/>
                    </a:lnTo>
                    <a:lnTo>
                      <a:pt x="753" y="142"/>
                    </a:lnTo>
                    <a:lnTo>
                      <a:pt x="751" y="142"/>
                    </a:lnTo>
                    <a:lnTo>
                      <a:pt x="747" y="149"/>
                    </a:lnTo>
                    <a:lnTo>
                      <a:pt x="746" y="151"/>
                    </a:lnTo>
                    <a:lnTo>
                      <a:pt x="744" y="153"/>
                    </a:lnTo>
                    <a:lnTo>
                      <a:pt x="742" y="152"/>
                    </a:lnTo>
                    <a:lnTo>
                      <a:pt x="740" y="152"/>
                    </a:lnTo>
                    <a:lnTo>
                      <a:pt x="739" y="153"/>
                    </a:lnTo>
                    <a:lnTo>
                      <a:pt x="737" y="153"/>
                    </a:lnTo>
                    <a:lnTo>
                      <a:pt x="734" y="157"/>
                    </a:lnTo>
                    <a:lnTo>
                      <a:pt x="693" y="156"/>
                    </a:lnTo>
                    <a:lnTo>
                      <a:pt x="688" y="157"/>
                    </a:lnTo>
                    <a:lnTo>
                      <a:pt x="685" y="160"/>
                    </a:lnTo>
                    <a:lnTo>
                      <a:pt x="682" y="162"/>
                    </a:lnTo>
                    <a:lnTo>
                      <a:pt x="679" y="164"/>
                    </a:lnTo>
                    <a:lnTo>
                      <a:pt x="673" y="172"/>
                    </a:lnTo>
                    <a:lnTo>
                      <a:pt x="669" y="173"/>
                    </a:lnTo>
                    <a:lnTo>
                      <a:pt x="667" y="175"/>
                    </a:lnTo>
                    <a:lnTo>
                      <a:pt x="655" y="185"/>
                    </a:lnTo>
                    <a:lnTo>
                      <a:pt x="628" y="194"/>
                    </a:lnTo>
                    <a:lnTo>
                      <a:pt x="627" y="203"/>
                    </a:lnTo>
                    <a:lnTo>
                      <a:pt x="621" y="205"/>
                    </a:lnTo>
                    <a:lnTo>
                      <a:pt x="572" y="221"/>
                    </a:lnTo>
                    <a:lnTo>
                      <a:pt x="570" y="216"/>
                    </a:lnTo>
                    <a:lnTo>
                      <a:pt x="573" y="211"/>
                    </a:lnTo>
                    <a:lnTo>
                      <a:pt x="578" y="208"/>
                    </a:lnTo>
                    <a:lnTo>
                      <a:pt x="580" y="205"/>
                    </a:lnTo>
                    <a:lnTo>
                      <a:pt x="582" y="201"/>
                    </a:lnTo>
                    <a:lnTo>
                      <a:pt x="583" y="198"/>
                    </a:lnTo>
                    <a:lnTo>
                      <a:pt x="584" y="174"/>
                    </a:lnTo>
                    <a:lnTo>
                      <a:pt x="575" y="122"/>
                    </a:lnTo>
                    <a:lnTo>
                      <a:pt x="566" y="115"/>
                    </a:lnTo>
                    <a:lnTo>
                      <a:pt x="563" y="109"/>
                    </a:lnTo>
                    <a:lnTo>
                      <a:pt x="506" y="77"/>
                    </a:lnTo>
                    <a:lnTo>
                      <a:pt x="504" y="75"/>
                    </a:lnTo>
                    <a:lnTo>
                      <a:pt x="501" y="74"/>
                    </a:lnTo>
                    <a:lnTo>
                      <a:pt x="499" y="73"/>
                    </a:lnTo>
                    <a:lnTo>
                      <a:pt x="493" y="72"/>
                    </a:lnTo>
                    <a:lnTo>
                      <a:pt x="491" y="70"/>
                    </a:lnTo>
                    <a:lnTo>
                      <a:pt x="490" y="68"/>
                    </a:lnTo>
                    <a:lnTo>
                      <a:pt x="488" y="70"/>
                    </a:lnTo>
                    <a:lnTo>
                      <a:pt x="483" y="70"/>
                    </a:lnTo>
                    <a:lnTo>
                      <a:pt x="481" y="69"/>
                    </a:lnTo>
                    <a:lnTo>
                      <a:pt x="479" y="66"/>
                    </a:lnTo>
                    <a:lnTo>
                      <a:pt x="476" y="65"/>
                    </a:lnTo>
                    <a:lnTo>
                      <a:pt x="472" y="63"/>
                    </a:lnTo>
                    <a:lnTo>
                      <a:pt x="470" y="60"/>
                    </a:lnTo>
                    <a:lnTo>
                      <a:pt x="468" y="60"/>
                    </a:lnTo>
                    <a:lnTo>
                      <a:pt x="465" y="56"/>
                    </a:lnTo>
                    <a:lnTo>
                      <a:pt x="463" y="56"/>
                    </a:lnTo>
                    <a:lnTo>
                      <a:pt x="460" y="56"/>
                    </a:lnTo>
                    <a:lnTo>
                      <a:pt x="457" y="56"/>
                    </a:lnTo>
                    <a:lnTo>
                      <a:pt x="456" y="57"/>
                    </a:lnTo>
                    <a:lnTo>
                      <a:pt x="455" y="55"/>
                    </a:lnTo>
                    <a:lnTo>
                      <a:pt x="452" y="54"/>
                    </a:lnTo>
                    <a:lnTo>
                      <a:pt x="452" y="53"/>
                    </a:lnTo>
                    <a:lnTo>
                      <a:pt x="449" y="52"/>
                    </a:lnTo>
                    <a:lnTo>
                      <a:pt x="448" y="51"/>
                    </a:lnTo>
                    <a:lnTo>
                      <a:pt x="446" y="49"/>
                    </a:lnTo>
                    <a:lnTo>
                      <a:pt x="446" y="48"/>
                    </a:lnTo>
                    <a:lnTo>
                      <a:pt x="443" y="45"/>
                    </a:lnTo>
                    <a:lnTo>
                      <a:pt x="439" y="45"/>
                    </a:lnTo>
                    <a:lnTo>
                      <a:pt x="437" y="44"/>
                    </a:lnTo>
                    <a:lnTo>
                      <a:pt x="70" y="0"/>
                    </a:lnTo>
                    <a:lnTo>
                      <a:pt x="71" y="6"/>
                    </a:lnTo>
                    <a:lnTo>
                      <a:pt x="74" y="9"/>
                    </a:lnTo>
                    <a:lnTo>
                      <a:pt x="74" y="11"/>
                    </a:lnTo>
                    <a:lnTo>
                      <a:pt x="71" y="14"/>
                    </a:lnTo>
                    <a:lnTo>
                      <a:pt x="71" y="16"/>
                    </a:lnTo>
                    <a:lnTo>
                      <a:pt x="74" y="18"/>
                    </a:lnTo>
                    <a:lnTo>
                      <a:pt x="73" y="19"/>
                    </a:lnTo>
                    <a:lnTo>
                      <a:pt x="71" y="22"/>
                    </a:lnTo>
                    <a:lnTo>
                      <a:pt x="72" y="23"/>
                    </a:lnTo>
                    <a:lnTo>
                      <a:pt x="72" y="25"/>
                    </a:lnTo>
                    <a:lnTo>
                      <a:pt x="74" y="27"/>
                    </a:lnTo>
                    <a:lnTo>
                      <a:pt x="71" y="31"/>
                    </a:lnTo>
                    <a:lnTo>
                      <a:pt x="69" y="32"/>
                    </a:lnTo>
                    <a:lnTo>
                      <a:pt x="68" y="37"/>
                    </a:lnTo>
                    <a:lnTo>
                      <a:pt x="67" y="39"/>
                    </a:lnTo>
                    <a:lnTo>
                      <a:pt x="67" y="42"/>
                    </a:lnTo>
                    <a:lnTo>
                      <a:pt x="65" y="44"/>
                    </a:lnTo>
                    <a:lnTo>
                      <a:pt x="64" y="47"/>
                    </a:lnTo>
                    <a:lnTo>
                      <a:pt x="61" y="49"/>
                    </a:lnTo>
                    <a:lnTo>
                      <a:pt x="58" y="48"/>
                    </a:lnTo>
                    <a:lnTo>
                      <a:pt x="57" y="46"/>
                    </a:lnTo>
                    <a:lnTo>
                      <a:pt x="60" y="43"/>
                    </a:lnTo>
                    <a:lnTo>
                      <a:pt x="61" y="45"/>
                    </a:lnTo>
                    <a:lnTo>
                      <a:pt x="62" y="43"/>
                    </a:lnTo>
                    <a:lnTo>
                      <a:pt x="63" y="46"/>
                    </a:lnTo>
                    <a:lnTo>
                      <a:pt x="64" y="44"/>
                    </a:lnTo>
                    <a:lnTo>
                      <a:pt x="64" y="40"/>
                    </a:lnTo>
                    <a:lnTo>
                      <a:pt x="65" y="36"/>
                    </a:lnTo>
                    <a:lnTo>
                      <a:pt x="68" y="34"/>
                    </a:lnTo>
                    <a:lnTo>
                      <a:pt x="67" y="32"/>
                    </a:lnTo>
                    <a:lnTo>
                      <a:pt x="66" y="32"/>
                    </a:lnTo>
                    <a:lnTo>
                      <a:pt x="63" y="35"/>
                    </a:lnTo>
                    <a:lnTo>
                      <a:pt x="61" y="36"/>
                    </a:lnTo>
                    <a:lnTo>
                      <a:pt x="60" y="36"/>
                    </a:lnTo>
                    <a:lnTo>
                      <a:pt x="60" y="35"/>
                    </a:lnTo>
                    <a:lnTo>
                      <a:pt x="62" y="32"/>
                    </a:lnTo>
                    <a:lnTo>
                      <a:pt x="65" y="30"/>
                    </a:lnTo>
                    <a:lnTo>
                      <a:pt x="66" y="29"/>
                    </a:lnTo>
                    <a:lnTo>
                      <a:pt x="65" y="26"/>
                    </a:lnTo>
                    <a:lnTo>
                      <a:pt x="64" y="26"/>
                    </a:lnTo>
                    <a:lnTo>
                      <a:pt x="62" y="27"/>
                    </a:lnTo>
                    <a:lnTo>
                      <a:pt x="61" y="24"/>
                    </a:lnTo>
                    <a:lnTo>
                      <a:pt x="59" y="22"/>
                    </a:lnTo>
                    <a:lnTo>
                      <a:pt x="53" y="22"/>
                    </a:lnTo>
                    <a:lnTo>
                      <a:pt x="49" y="19"/>
                    </a:lnTo>
                    <a:lnTo>
                      <a:pt x="43" y="12"/>
                    </a:lnTo>
                    <a:lnTo>
                      <a:pt x="42" y="13"/>
                    </a:lnTo>
                    <a:lnTo>
                      <a:pt x="41" y="16"/>
                    </a:lnTo>
                    <a:lnTo>
                      <a:pt x="39" y="22"/>
                    </a:lnTo>
                    <a:lnTo>
                      <a:pt x="39" y="25"/>
                    </a:lnTo>
                    <a:lnTo>
                      <a:pt x="40" y="32"/>
                    </a:lnTo>
                    <a:lnTo>
                      <a:pt x="39" y="41"/>
                    </a:lnTo>
                    <a:lnTo>
                      <a:pt x="40" y="45"/>
                    </a:lnTo>
                    <a:lnTo>
                      <a:pt x="39" y="49"/>
                    </a:lnTo>
                    <a:lnTo>
                      <a:pt x="40" y="52"/>
                    </a:lnTo>
                    <a:lnTo>
                      <a:pt x="41" y="52"/>
                    </a:lnTo>
                    <a:lnTo>
                      <a:pt x="41" y="53"/>
                    </a:lnTo>
                    <a:lnTo>
                      <a:pt x="40" y="55"/>
                    </a:lnTo>
                    <a:lnTo>
                      <a:pt x="39" y="55"/>
                    </a:lnTo>
                    <a:lnTo>
                      <a:pt x="38" y="58"/>
                    </a:lnTo>
                    <a:lnTo>
                      <a:pt x="39" y="60"/>
                    </a:lnTo>
                    <a:lnTo>
                      <a:pt x="41" y="60"/>
                    </a:lnTo>
                    <a:lnTo>
                      <a:pt x="40" y="63"/>
                    </a:lnTo>
                    <a:lnTo>
                      <a:pt x="40" y="66"/>
                    </a:lnTo>
                    <a:lnTo>
                      <a:pt x="39" y="69"/>
                    </a:lnTo>
                    <a:lnTo>
                      <a:pt x="38" y="68"/>
                    </a:lnTo>
                    <a:lnTo>
                      <a:pt x="37" y="70"/>
                    </a:lnTo>
                    <a:lnTo>
                      <a:pt x="37" y="71"/>
                    </a:lnTo>
                    <a:lnTo>
                      <a:pt x="41" y="73"/>
                    </a:lnTo>
                    <a:lnTo>
                      <a:pt x="45" y="73"/>
                    </a:lnTo>
                    <a:lnTo>
                      <a:pt x="47" y="75"/>
                    </a:lnTo>
                    <a:lnTo>
                      <a:pt x="50" y="76"/>
                    </a:lnTo>
                    <a:lnTo>
                      <a:pt x="52" y="78"/>
                    </a:lnTo>
                    <a:lnTo>
                      <a:pt x="52" y="82"/>
                    </a:lnTo>
                    <a:lnTo>
                      <a:pt x="51" y="78"/>
                    </a:lnTo>
                    <a:lnTo>
                      <a:pt x="48" y="77"/>
                    </a:lnTo>
                    <a:lnTo>
                      <a:pt x="47" y="77"/>
                    </a:lnTo>
                    <a:lnTo>
                      <a:pt x="44" y="75"/>
                    </a:lnTo>
                    <a:lnTo>
                      <a:pt x="40" y="75"/>
                    </a:lnTo>
                    <a:lnTo>
                      <a:pt x="38" y="73"/>
                    </a:lnTo>
                    <a:lnTo>
                      <a:pt x="37" y="74"/>
                    </a:lnTo>
                    <a:lnTo>
                      <a:pt x="37" y="77"/>
                    </a:lnTo>
                    <a:lnTo>
                      <a:pt x="34" y="81"/>
                    </a:lnTo>
                    <a:lnTo>
                      <a:pt x="34" y="84"/>
                    </a:lnTo>
                    <a:lnTo>
                      <a:pt x="35" y="87"/>
                    </a:lnTo>
                    <a:lnTo>
                      <a:pt x="33" y="91"/>
                    </a:lnTo>
                    <a:lnTo>
                      <a:pt x="31" y="95"/>
                    </a:lnTo>
                    <a:lnTo>
                      <a:pt x="27" y="105"/>
                    </a:lnTo>
                    <a:lnTo>
                      <a:pt x="26" y="113"/>
                    </a:lnTo>
                    <a:lnTo>
                      <a:pt x="23" y="121"/>
                    </a:lnTo>
                    <a:lnTo>
                      <a:pt x="23" y="130"/>
                    </a:lnTo>
                    <a:lnTo>
                      <a:pt x="20" y="134"/>
                    </a:lnTo>
                    <a:lnTo>
                      <a:pt x="18" y="138"/>
                    </a:lnTo>
                    <a:lnTo>
                      <a:pt x="16" y="143"/>
                    </a:lnTo>
                    <a:lnTo>
                      <a:pt x="15" y="146"/>
                    </a:lnTo>
                    <a:lnTo>
                      <a:pt x="14" y="149"/>
                    </a:lnTo>
                    <a:lnTo>
                      <a:pt x="10" y="154"/>
                    </a:lnTo>
                    <a:lnTo>
                      <a:pt x="9" y="157"/>
                    </a:lnTo>
                    <a:lnTo>
                      <a:pt x="9" y="163"/>
                    </a:lnTo>
                    <a:lnTo>
                      <a:pt x="8" y="170"/>
                    </a:lnTo>
                    <a:lnTo>
                      <a:pt x="8" y="175"/>
                    </a:lnTo>
                    <a:lnTo>
                      <a:pt x="10" y="178"/>
                    </a:lnTo>
                    <a:lnTo>
                      <a:pt x="9" y="180"/>
                    </a:lnTo>
                    <a:lnTo>
                      <a:pt x="9" y="183"/>
                    </a:lnTo>
                    <a:lnTo>
                      <a:pt x="9" y="187"/>
                    </a:lnTo>
                    <a:lnTo>
                      <a:pt x="9" y="194"/>
                    </a:lnTo>
                    <a:lnTo>
                      <a:pt x="8" y="198"/>
                    </a:lnTo>
                    <a:lnTo>
                      <a:pt x="6" y="200"/>
                    </a:lnTo>
                    <a:lnTo>
                      <a:pt x="6" y="202"/>
                    </a:lnTo>
                    <a:lnTo>
                      <a:pt x="7" y="203"/>
                    </a:lnTo>
                    <a:lnTo>
                      <a:pt x="5" y="207"/>
                    </a:lnTo>
                    <a:lnTo>
                      <a:pt x="2" y="211"/>
                    </a:lnTo>
                    <a:lnTo>
                      <a:pt x="0" y="215"/>
                    </a:lnTo>
                    <a:lnTo>
                      <a:pt x="0" y="218"/>
                    </a:lnTo>
                    <a:lnTo>
                      <a:pt x="2" y="222"/>
                    </a:lnTo>
                    <a:lnTo>
                      <a:pt x="5" y="229"/>
                    </a:lnTo>
                    <a:lnTo>
                      <a:pt x="5" y="236"/>
                    </a:lnTo>
                    <a:lnTo>
                      <a:pt x="5" y="239"/>
                    </a:lnTo>
                    <a:lnTo>
                      <a:pt x="3" y="242"/>
                    </a:lnTo>
                    <a:lnTo>
                      <a:pt x="3" y="244"/>
                    </a:lnTo>
                    <a:lnTo>
                      <a:pt x="4" y="247"/>
                    </a:lnTo>
                    <a:lnTo>
                      <a:pt x="5" y="250"/>
                    </a:lnTo>
                    <a:lnTo>
                      <a:pt x="3" y="253"/>
                    </a:lnTo>
                    <a:lnTo>
                      <a:pt x="2" y="255"/>
                    </a:lnTo>
                    <a:lnTo>
                      <a:pt x="3" y="257"/>
                    </a:lnTo>
                    <a:lnTo>
                      <a:pt x="9" y="268"/>
                    </a:lnTo>
                    <a:lnTo>
                      <a:pt x="9" y="271"/>
                    </a:lnTo>
                    <a:lnTo>
                      <a:pt x="9" y="274"/>
                    </a:lnTo>
                    <a:lnTo>
                      <a:pt x="9" y="276"/>
                    </a:lnTo>
                    <a:lnTo>
                      <a:pt x="12" y="279"/>
                    </a:lnTo>
                    <a:lnTo>
                      <a:pt x="13" y="281"/>
                    </a:lnTo>
                    <a:lnTo>
                      <a:pt x="14" y="281"/>
                    </a:lnTo>
                    <a:lnTo>
                      <a:pt x="15" y="281"/>
                    </a:lnTo>
                    <a:lnTo>
                      <a:pt x="15" y="277"/>
                    </a:lnTo>
                    <a:lnTo>
                      <a:pt x="16" y="274"/>
                    </a:lnTo>
                    <a:lnTo>
                      <a:pt x="17" y="275"/>
                    </a:lnTo>
                    <a:lnTo>
                      <a:pt x="18" y="274"/>
                    </a:lnTo>
                    <a:lnTo>
                      <a:pt x="18" y="276"/>
                    </a:lnTo>
                    <a:lnTo>
                      <a:pt x="20" y="276"/>
                    </a:lnTo>
                    <a:lnTo>
                      <a:pt x="21" y="277"/>
                    </a:lnTo>
                    <a:lnTo>
                      <a:pt x="25" y="277"/>
                    </a:lnTo>
                    <a:lnTo>
                      <a:pt x="22" y="278"/>
                    </a:lnTo>
                    <a:lnTo>
                      <a:pt x="19" y="279"/>
                    </a:lnTo>
                    <a:lnTo>
                      <a:pt x="19" y="278"/>
                    </a:lnTo>
                    <a:lnTo>
                      <a:pt x="17" y="278"/>
                    </a:lnTo>
                    <a:lnTo>
                      <a:pt x="17" y="280"/>
                    </a:lnTo>
                    <a:lnTo>
                      <a:pt x="18" y="281"/>
                    </a:lnTo>
                    <a:lnTo>
                      <a:pt x="19" y="286"/>
                    </a:lnTo>
                    <a:lnTo>
                      <a:pt x="19" y="288"/>
                    </a:lnTo>
                    <a:lnTo>
                      <a:pt x="20" y="290"/>
                    </a:lnTo>
                    <a:lnTo>
                      <a:pt x="18" y="288"/>
                    </a:lnTo>
                    <a:lnTo>
                      <a:pt x="17" y="285"/>
                    </a:lnTo>
                    <a:lnTo>
                      <a:pt x="16" y="284"/>
                    </a:lnTo>
                    <a:lnTo>
                      <a:pt x="15" y="286"/>
                    </a:lnTo>
                    <a:lnTo>
                      <a:pt x="15" y="288"/>
                    </a:lnTo>
                    <a:lnTo>
                      <a:pt x="14" y="290"/>
                    </a:lnTo>
                    <a:lnTo>
                      <a:pt x="14" y="291"/>
                    </a:lnTo>
                    <a:lnTo>
                      <a:pt x="13" y="294"/>
                    </a:lnTo>
                    <a:lnTo>
                      <a:pt x="13" y="297"/>
                    </a:lnTo>
                    <a:lnTo>
                      <a:pt x="15" y="298"/>
                    </a:lnTo>
                    <a:lnTo>
                      <a:pt x="16" y="301"/>
                    </a:lnTo>
                    <a:lnTo>
                      <a:pt x="18" y="303"/>
                    </a:lnTo>
                    <a:lnTo>
                      <a:pt x="19" y="305"/>
                    </a:lnTo>
                    <a:lnTo>
                      <a:pt x="19" y="308"/>
                    </a:lnTo>
                    <a:lnTo>
                      <a:pt x="17" y="310"/>
                    </a:lnTo>
                    <a:lnTo>
                      <a:pt x="16" y="310"/>
                    </a:lnTo>
                    <a:lnTo>
                      <a:pt x="16" y="311"/>
                    </a:lnTo>
                    <a:lnTo>
                      <a:pt x="17" y="315"/>
                    </a:lnTo>
                    <a:lnTo>
                      <a:pt x="16" y="318"/>
                    </a:lnTo>
                    <a:lnTo>
                      <a:pt x="17" y="320"/>
                    </a:lnTo>
                    <a:lnTo>
                      <a:pt x="19" y="322"/>
                    </a:lnTo>
                    <a:lnTo>
                      <a:pt x="20" y="328"/>
                    </a:lnTo>
                    <a:lnTo>
                      <a:pt x="23" y="336"/>
                    </a:lnTo>
                    <a:lnTo>
                      <a:pt x="25" y="339"/>
                    </a:lnTo>
                    <a:lnTo>
                      <a:pt x="26" y="340"/>
                    </a:lnTo>
                    <a:lnTo>
                      <a:pt x="26" y="341"/>
                    </a:lnTo>
                    <a:lnTo>
                      <a:pt x="26" y="342"/>
                    </a:lnTo>
                    <a:lnTo>
                      <a:pt x="28" y="345"/>
                    </a:lnTo>
                    <a:lnTo>
                      <a:pt x="29" y="349"/>
                    </a:lnTo>
                    <a:lnTo>
                      <a:pt x="28" y="354"/>
                    </a:lnTo>
                    <a:lnTo>
                      <a:pt x="27" y="356"/>
                    </a:lnTo>
                    <a:lnTo>
                      <a:pt x="26" y="357"/>
                    </a:lnTo>
                    <a:lnTo>
                      <a:pt x="27" y="360"/>
                    </a:lnTo>
                    <a:lnTo>
                      <a:pt x="29" y="361"/>
                    </a:lnTo>
                    <a:lnTo>
                      <a:pt x="33" y="361"/>
                    </a:lnTo>
                    <a:lnTo>
                      <a:pt x="37" y="362"/>
                    </a:lnTo>
                    <a:lnTo>
                      <a:pt x="39" y="363"/>
                    </a:lnTo>
                    <a:lnTo>
                      <a:pt x="41" y="364"/>
                    </a:lnTo>
                    <a:lnTo>
                      <a:pt x="44" y="364"/>
                    </a:lnTo>
                    <a:lnTo>
                      <a:pt x="47" y="367"/>
                    </a:lnTo>
                    <a:lnTo>
                      <a:pt x="47" y="370"/>
                    </a:lnTo>
                    <a:lnTo>
                      <a:pt x="50" y="372"/>
                    </a:lnTo>
                    <a:lnTo>
                      <a:pt x="53" y="372"/>
                    </a:lnTo>
                    <a:lnTo>
                      <a:pt x="56" y="374"/>
                    </a:lnTo>
                    <a:lnTo>
                      <a:pt x="57" y="375"/>
                    </a:lnTo>
                    <a:lnTo>
                      <a:pt x="57" y="378"/>
                    </a:lnTo>
                    <a:lnTo>
                      <a:pt x="57" y="378"/>
                    </a:lnTo>
                    <a:lnTo>
                      <a:pt x="59" y="378"/>
                    </a:lnTo>
                    <a:lnTo>
                      <a:pt x="61" y="378"/>
                    </a:lnTo>
                    <a:lnTo>
                      <a:pt x="64" y="382"/>
                    </a:lnTo>
                    <a:lnTo>
                      <a:pt x="68" y="391"/>
                    </a:lnTo>
                    <a:lnTo>
                      <a:pt x="69" y="396"/>
                    </a:lnTo>
                    <a:lnTo>
                      <a:pt x="68" y="400"/>
                    </a:lnTo>
                    <a:lnTo>
                      <a:pt x="69" y="403"/>
                    </a:lnTo>
                    <a:lnTo>
                      <a:pt x="102" y="402"/>
                    </a:lnTo>
                    <a:lnTo>
                      <a:pt x="103" y="404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Freeform 1264">
                <a:extLst>
                  <a:ext uri="{FF2B5EF4-FFF2-40B4-BE49-F238E27FC236}">
                    <a16:creationId xmlns:a16="http://schemas.microsoft.com/office/drawing/2014/main" id="{347BD51C-3D53-4D2C-993C-BF2F505C98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4101" y="3662363"/>
                <a:ext cx="4763" cy="9525"/>
              </a:xfrm>
              <a:custGeom>
                <a:avLst/>
                <a:gdLst>
                  <a:gd name="T0" fmla="*/ 2 w 3"/>
                  <a:gd name="T1" fmla="*/ 5 h 6"/>
                  <a:gd name="T2" fmla="*/ 3 w 3"/>
                  <a:gd name="T3" fmla="*/ 1 h 6"/>
                  <a:gd name="T4" fmla="*/ 3 w 3"/>
                  <a:gd name="T5" fmla="*/ 0 h 6"/>
                  <a:gd name="T6" fmla="*/ 0 w 3"/>
                  <a:gd name="T7" fmla="*/ 6 h 6"/>
                  <a:gd name="T8" fmla="*/ 2 w 3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6">
                    <a:moveTo>
                      <a:pt x="2" y="5"/>
                    </a:moveTo>
                    <a:lnTo>
                      <a:pt x="3" y="1"/>
                    </a:lnTo>
                    <a:lnTo>
                      <a:pt x="3" y="0"/>
                    </a:lnTo>
                    <a:lnTo>
                      <a:pt x="0" y="6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Freeform 1265">
                <a:extLst>
                  <a:ext uri="{FF2B5EF4-FFF2-40B4-BE49-F238E27FC236}">
                    <a16:creationId xmlns:a16="http://schemas.microsoft.com/office/drawing/2014/main" id="{C99A59C2-A7CF-4577-945F-E4F52051C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4101" y="370840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1266">
                <a:extLst>
                  <a:ext uri="{FF2B5EF4-FFF2-40B4-BE49-F238E27FC236}">
                    <a16:creationId xmlns:a16="http://schemas.microsoft.com/office/drawing/2014/main" id="{1A463155-DBF5-4D0D-8AB3-5AEAD456FB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9338" y="3673475"/>
                <a:ext cx="4763" cy="34925"/>
              </a:xfrm>
              <a:custGeom>
                <a:avLst/>
                <a:gdLst>
                  <a:gd name="T0" fmla="*/ 4 w 4"/>
                  <a:gd name="T1" fmla="*/ 0 h 28"/>
                  <a:gd name="T2" fmla="*/ 1 w 4"/>
                  <a:gd name="T3" fmla="*/ 10 h 28"/>
                  <a:gd name="T4" fmla="*/ 0 w 4"/>
                  <a:gd name="T5" fmla="*/ 20 h 28"/>
                  <a:gd name="T6" fmla="*/ 3 w 4"/>
                  <a:gd name="T7" fmla="*/ 28 h 28"/>
                  <a:gd name="T8" fmla="*/ 1 w 4"/>
                  <a:gd name="T9" fmla="*/ 21 h 28"/>
                  <a:gd name="T10" fmla="*/ 2 w 4"/>
                  <a:gd name="T11" fmla="*/ 11 h 28"/>
                  <a:gd name="T12" fmla="*/ 4 w 4"/>
                  <a:gd name="T13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8">
                    <a:moveTo>
                      <a:pt x="4" y="0"/>
                    </a:moveTo>
                    <a:cubicBezTo>
                      <a:pt x="1" y="10"/>
                      <a:pt x="1" y="10"/>
                      <a:pt x="1" y="1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0"/>
                      <a:pt x="2" y="26"/>
                      <a:pt x="3" y="28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2" y="11"/>
                      <a:pt x="2" y="11"/>
                      <a:pt x="2" y="11"/>
                    </a:cubicBezTo>
                    <a:lnTo>
                      <a:pt x="4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Freeform 1267">
                <a:extLst>
                  <a:ext uri="{FF2B5EF4-FFF2-40B4-BE49-F238E27FC236}">
                    <a16:creationId xmlns:a16="http://schemas.microsoft.com/office/drawing/2014/main" id="{44A5F545-EFCB-4A99-9D4E-A38875D54C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0451" y="3644900"/>
                <a:ext cx="9525" cy="12700"/>
              </a:xfrm>
              <a:custGeom>
                <a:avLst/>
                <a:gdLst>
                  <a:gd name="T0" fmla="*/ 0 w 6"/>
                  <a:gd name="T1" fmla="*/ 8 h 8"/>
                  <a:gd name="T2" fmla="*/ 1 w 6"/>
                  <a:gd name="T3" fmla="*/ 8 h 8"/>
                  <a:gd name="T4" fmla="*/ 4 w 6"/>
                  <a:gd name="T5" fmla="*/ 3 h 8"/>
                  <a:gd name="T6" fmla="*/ 6 w 6"/>
                  <a:gd name="T7" fmla="*/ 0 h 8"/>
                  <a:gd name="T8" fmla="*/ 3 w 6"/>
                  <a:gd name="T9" fmla="*/ 2 h 8"/>
                  <a:gd name="T10" fmla="*/ 0 w 6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8">
                    <a:moveTo>
                      <a:pt x="0" y="8"/>
                    </a:moveTo>
                    <a:lnTo>
                      <a:pt x="1" y="8"/>
                    </a:lnTo>
                    <a:lnTo>
                      <a:pt x="4" y="3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Freeform 1268">
                <a:extLst>
                  <a:ext uri="{FF2B5EF4-FFF2-40B4-BE49-F238E27FC236}">
                    <a16:creationId xmlns:a16="http://schemas.microsoft.com/office/drawing/2014/main" id="{7941262E-ABE0-40D9-807A-FCA0CAC0F5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9101" y="3224213"/>
                <a:ext cx="9525" cy="4763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1 h 3"/>
                  <a:gd name="T4" fmla="*/ 0 w 6"/>
                  <a:gd name="T5" fmla="*/ 3 h 3"/>
                  <a:gd name="T6" fmla="*/ 1 w 6"/>
                  <a:gd name="T7" fmla="*/ 3 h 3"/>
                  <a:gd name="T8" fmla="*/ 2 w 6"/>
                  <a:gd name="T9" fmla="*/ 3 h 3"/>
                  <a:gd name="T10" fmla="*/ 3 w 6"/>
                  <a:gd name="T11" fmla="*/ 2 h 3"/>
                  <a:gd name="T12" fmla="*/ 6 w 6"/>
                  <a:gd name="T13" fmla="*/ 2 h 3"/>
                  <a:gd name="T14" fmla="*/ 4 w 6"/>
                  <a:gd name="T15" fmla="*/ 0 h 3"/>
                  <a:gd name="T16" fmla="*/ 2 w 6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3">
                    <a:moveTo>
                      <a:pt x="2" y="0"/>
                    </a:moveTo>
                    <a:lnTo>
                      <a:pt x="2" y="1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3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1269">
                <a:extLst>
                  <a:ext uri="{FF2B5EF4-FFF2-40B4-BE49-F238E27FC236}">
                    <a16:creationId xmlns:a16="http://schemas.microsoft.com/office/drawing/2014/main" id="{425C67CA-A25C-4465-B3A6-D6C367C60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1826" y="2871788"/>
                <a:ext cx="4763" cy="20638"/>
              </a:xfrm>
              <a:custGeom>
                <a:avLst/>
                <a:gdLst>
                  <a:gd name="T0" fmla="*/ 3 w 3"/>
                  <a:gd name="T1" fmla="*/ 1 h 13"/>
                  <a:gd name="T2" fmla="*/ 2 w 3"/>
                  <a:gd name="T3" fmla="*/ 0 h 13"/>
                  <a:gd name="T4" fmla="*/ 0 w 3"/>
                  <a:gd name="T5" fmla="*/ 3 h 13"/>
                  <a:gd name="T6" fmla="*/ 0 w 3"/>
                  <a:gd name="T7" fmla="*/ 8 h 13"/>
                  <a:gd name="T8" fmla="*/ 1 w 3"/>
                  <a:gd name="T9" fmla="*/ 13 h 13"/>
                  <a:gd name="T10" fmla="*/ 3 w 3"/>
                  <a:gd name="T11" fmla="*/ 12 h 13"/>
                  <a:gd name="T12" fmla="*/ 0 w 3"/>
                  <a:gd name="T13" fmla="*/ 5 h 13"/>
                  <a:gd name="T14" fmla="*/ 1 w 3"/>
                  <a:gd name="T15" fmla="*/ 2 h 13"/>
                  <a:gd name="T16" fmla="*/ 3 w 3"/>
                  <a:gd name="T1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13">
                    <a:moveTo>
                      <a:pt x="3" y="1"/>
                    </a:moveTo>
                    <a:lnTo>
                      <a:pt x="2" y="0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1" y="13"/>
                    </a:lnTo>
                    <a:lnTo>
                      <a:pt x="3" y="12"/>
                    </a:lnTo>
                    <a:lnTo>
                      <a:pt x="0" y="5"/>
                    </a:lnTo>
                    <a:lnTo>
                      <a:pt x="1" y="2"/>
                    </a:lnTo>
                    <a:lnTo>
                      <a:pt x="3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1270">
                <a:extLst>
                  <a:ext uri="{FF2B5EF4-FFF2-40B4-BE49-F238E27FC236}">
                    <a16:creationId xmlns:a16="http://schemas.microsoft.com/office/drawing/2014/main" id="{0BEDA0DF-EAA5-441E-8548-698807ED54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1038" y="6043613"/>
                <a:ext cx="7938" cy="6350"/>
              </a:xfrm>
              <a:custGeom>
                <a:avLst/>
                <a:gdLst>
                  <a:gd name="T0" fmla="*/ 3 w 5"/>
                  <a:gd name="T1" fmla="*/ 1 h 4"/>
                  <a:gd name="T2" fmla="*/ 2 w 5"/>
                  <a:gd name="T3" fmla="*/ 0 h 4"/>
                  <a:gd name="T4" fmla="*/ 0 w 5"/>
                  <a:gd name="T5" fmla="*/ 1 h 4"/>
                  <a:gd name="T6" fmla="*/ 2 w 5"/>
                  <a:gd name="T7" fmla="*/ 4 h 4"/>
                  <a:gd name="T8" fmla="*/ 5 w 5"/>
                  <a:gd name="T9" fmla="*/ 1 h 4"/>
                  <a:gd name="T10" fmla="*/ 3 w 5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3" y="1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4"/>
                    </a:lnTo>
                    <a:lnTo>
                      <a:pt x="5" y="1"/>
                    </a:lnTo>
                    <a:lnTo>
                      <a:pt x="3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Freeform 1271">
                <a:extLst>
                  <a:ext uri="{FF2B5EF4-FFF2-40B4-BE49-F238E27FC236}">
                    <a16:creationId xmlns:a16="http://schemas.microsoft.com/office/drawing/2014/main" id="{2655530F-4BCB-43C3-A9CF-064DF04300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4851" y="6018213"/>
                <a:ext cx="9525" cy="6350"/>
              </a:xfrm>
              <a:custGeom>
                <a:avLst/>
                <a:gdLst>
                  <a:gd name="T0" fmla="*/ 4 w 6"/>
                  <a:gd name="T1" fmla="*/ 0 h 4"/>
                  <a:gd name="T2" fmla="*/ 0 w 6"/>
                  <a:gd name="T3" fmla="*/ 1 h 4"/>
                  <a:gd name="T4" fmla="*/ 6 w 6"/>
                  <a:gd name="T5" fmla="*/ 4 h 4"/>
                  <a:gd name="T6" fmla="*/ 4 w 6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0" y="1"/>
                    </a:lnTo>
                    <a:lnTo>
                      <a:pt x="6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1272">
                <a:extLst>
                  <a:ext uri="{FF2B5EF4-FFF2-40B4-BE49-F238E27FC236}">
                    <a16:creationId xmlns:a16="http://schemas.microsoft.com/office/drawing/2014/main" id="{9AD87CFE-3AB0-4FF6-B311-9F822A9E2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7388" y="6026150"/>
                <a:ext cx="31750" cy="33338"/>
              </a:xfrm>
              <a:custGeom>
                <a:avLst/>
                <a:gdLst>
                  <a:gd name="T0" fmla="*/ 20 w 20"/>
                  <a:gd name="T1" fmla="*/ 2 h 21"/>
                  <a:gd name="T2" fmla="*/ 20 w 20"/>
                  <a:gd name="T3" fmla="*/ 0 h 21"/>
                  <a:gd name="T4" fmla="*/ 17 w 20"/>
                  <a:gd name="T5" fmla="*/ 1 h 21"/>
                  <a:gd name="T6" fmla="*/ 17 w 20"/>
                  <a:gd name="T7" fmla="*/ 2 h 21"/>
                  <a:gd name="T8" fmla="*/ 15 w 20"/>
                  <a:gd name="T9" fmla="*/ 3 h 21"/>
                  <a:gd name="T10" fmla="*/ 13 w 20"/>
                  <a:gd name="T11" fmla="*/ 1 h 21"/>
                  <a:gd name="T12" fmla="*/ 10 w 20"/>
                  <a:gd name="T13" fmla="*/ 1 h 21"/>
                  <a:gd name="T14" fmla="*/ 10 w 20"/>
                  <a:gd name="T15" fmla="*/ 5 h 21"/>
                  <a:gd name="T16" fmla="*/ 6 w 20"/>
                  <a:gd name="T17" fmla="*/ 4 h 21"/>
                  <a:gd name="T18" fmla="*/ 4 w 20"/>
                  <a:gd name="T19" fmla="*/ 1 h 21"/>
                  <a:gd name="T20" fmla="*/ 3 w 20"/>
                  <a:gd name="T21" fmla="*/ 2 h 21"/>
                  <a:gd name="T22" fmla="*/ 6 w 20"/>
                  <a:gd name="T23" fmla="*/ 8 h 21"/>
                  <a:gd name="T24" fmla="*/ 10 w 20"/>
                  <a:gd name="T25" fmla="*/ 9 h 21"/>
                  <a:gd name="T26" fmla="*/ 10 w 20"/>
                  <a:gd name="T27" fmla="*/ 10 h 21"/>
                  <a:gd name="T28" fmla="*/ 6 w 20"/>
                  <a:gd name="T29" fmla="*/ 10 h 21"/>
                  <a:gd name="T30" fmla="*/ 4 w 20"/>
                  <a:gd name="T31" fmla="*/ 12 h 21"/>
                  <a:gd name="T32" fmla="*/ 5 w 20"/>
                  <a:gd name="T33" fmla="*/ 14 h 21"/>
                  <a:gd name="T34" fmla="*/ 2 w 20"/>
                  <a:gd name="T35" fmla="*/ 17 h 21"/>
                  <a:gd name="T36" fmla="*/ 0 w 20"/>
                  <a:gd name="T37" fmla="*/ 17 h 21"/>
                  <a:gd name="T38" fmla="*/ 0 w 20"/>
                  <a:gd name="T39" fmla="*/ 19 h 21"/>
                  <a:gd name="T40" fmla="*/ 3 w 20"/>
                  <a:gd name="T41" fmla="*/ 20 h 21"/>
                  <a:gd name="T42" fmla="*/ 5 w 20"/>
                  <a:gd name="T43" fmla="*/ 19 h 21"/>
                  <a:gd name="T44" fmla="*/ 7 w 20"/>
                  <a:gd name="T45" fmla="*/ 21 h 21"/>
                  <a:gd name="T46" fmla="*/ 9 w 20"/>
                  <a:gd name="T47" fmla="*/ 18 h 21"/>
                  <a:gd name="T48" fmla="*/ 6 w 20"/>
                  <a:gd name="T49" fmla="*/ 16 h 21"/>
                  <a:gd name="T50" fmla="*/ 8 w 20"/>
                  <a:gd name="T51" fmla="*/ 15 h 21"/>
                  <a:gd name="T52" fmla="*/ 13 w 20"/>
                  <a:gd name="T53" fmla="*/ 15 h 21"/>
                  <a:gd name="T54" fmla="*/ 16 w 20"/>
                  <a:gd name="T55" fmla="*/ 13 h 21"/>
                  <a:gd name="T56" fmla="*/ 16 w 20"/>
                  <a:gd name="T57" fmla="*/ 9 h 21"/>
                  <a:gd name="T58" fmla="*/ 19 w 20"/>
                  <a:gd name="T59" fmla="*/ 6 h 21"/>
                  <a:gd name="T60" fmla="*/ 20 w 20"/>
                  <a:gd name="T61" fmla="*/ 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0" h="21">
                    <a:moveTo>
                      <a:pt x="20" y="2"/>
                    </a:moveTo>
                    <a:lnTo>
                      <a:pt x="20" y="0"/>
                    </a:lnTo>
                    <a:lnTo>
                      <a:pt x="17" y="1"/>
                    </a:lnTo>
                    <a:lnTo>
                      <a:pt x="17" y="2"/>
                    </a:lnTo>
                    <a:lnTo>
                      <a:pt x="15" y="3"/>
                    </a:lnTo>
                    <a:lnTo>
                      <a:pt x="13" y="1"/>
                    </a:lnTo>
                    <a:lnTo>
                      <a:pt x="10" y="1"/>
                    </a:lnTo>
                    <a:lnTo>
                      <a:pt x="10" y="5"/>
                    </a:lnTo>
                    <a:lnTo>
                      <a:pt x="6" y="4"/>
                    </a:lnTo>
                    <a:lnTo>
                      <a:pt x="4" y="1"/>
                    </a:lnTo>
                    <a:lnTo>
                      <a:pt x="3" y="2"/>
                    </a:lnTo>
                    <a:lnTo>
                      <a:pt x="6" y="8"/>
                    </a:lnTo>
                    <a:lnTo>
                      <a:pt x="10" y="9"/>
                    </a:lnTo>
                    <a:lnTo>
                      <a:pt x="10" y="10"/>
                    </a:lnTo>
                    <a:lnTo>
                      <a:pt x="6" y="10"/>
                    </a:lnTo>
                    <a:lnTo>
                      <a:pt x="4" y="12"/>
                    </a:lnTo>
                    <a:lnTo>
                      <a:pt x="5" y="14"/>
                    </a:lnTo>
                    <a:lnTo>
                      <a:pt x="2" y="17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3" y="20"/>
                    </a:lnTo>
                    <a:lnTo>
                      <a:pt x="5" y="19"/>
                    </a:lnTo>
                    <a:lnTo>
                      <a:pt x="7" y="21"/>
                    </a:lnTo>
                    <a:lnTo>
                      <a:pt x="9" y="18"/>
                    </a:lnTo>
                    <a:lnTo>
                      <a:pt x="6" y="16"/>
                    </a:lnTo>
                    <a:lnTo>
                      <a:pt x="8" y="15"/>
                    </a:lnTo>
                    <a:lnTo>
                      <a:pt x="13" y="15"/>
                    </a:lnTo>
                    <a:lnTo>
                      <a:pt x="16" y="13"/>
                    </a:lnTo>
                    <a:lnTo>
                      <a:pt x="16" y="9"/>
                    </a:lnTo>
                    <a:lnTo>
                      <a:pt x="19" y="6"/>
                    </a:lnTo>
                    <a:lnTo>
                      <a:pt x="2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Freeform 1273">
                <a:extLst>
                  <a:ext uri="{FF2B5EF4-FFF2-40B4-BE49-F238E27FC236}">
                    <a16:creationId xmlns:a16="http://schemas.microsoft.com/office/drawing/2014/main" id="{F04BFE45-19AD-4344-B9B1-9B16B78162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6913" y="6022975"/>
                <a:ext cx="6350" cy="3175"/>
              </a:xfrm>
              <a:custGeom>
                <a:avLst/>
                <a:gdLst>
                  <a:gd name="T0" fmla="*/ 4 w 4"/>
                  <a:gd name="T1" fmla="*/ 1 h 2"/>
                  <a:gd name="T2" fmla="*/ 0 w 4"/>
                  <a:gd name="T3" fmla="*/ 0 h 2"/>
                  <a:gd name="T4" fmla="*/ 1 w 4"/>
                  <a:gd name="T5" fmla="*/ 2 h 2"/>
                  <a:gd name="T6" fmla="*/ 4 w 4"/>
                  <a:gd name="T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1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Freeform 1274">
                <a:extLst>
                  <a:ext uri="{FF2B5EF4-FFF2-40B4-BE49-F238E27FC236}">
                    <a16:creationId xmlns:a16="http://schemas.microsoft.com/office/drawing/2014/main" id="{F86FA50E-646C-451B-AE77-DB111E5E1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163" y="6108700"/>
                <a:ext cx="25400" cy="23813"/>
              </a:xfrm>
              <a:custGeom>
                <a:avLst/>
                <a:gdLst>
                  <a:gd name="T0" fmla="*/ 16 w 21"/>
                  <a:gd name="T1" fmla="*/ 12 h 19"/>
                  <a:gd name="T2" fmla="*/ 15 w 21"/>
                  <a:gd name="T3" fmla="*/ 8 h 19"/>
                  <a:gd name="T4" fmla="*/ 14 w 21"/>
                  <a:gd name="T5" fmla="*/ 7 h 19"/>
                  <a:gd name="T6" fmla="*/ 10 w 21"/>
                  <a:gd name="T7" fmla="*/ 4 h 19"/>
                  <a:gd name="T8" fmla="*/ 8 w 21"/>
                  <a:gd name="T9" fmla="*/ 3 h 19"/>
                  <a:gd name="T10" fmla="*/ 8 w 21"/>
                  <a:gd name="T11" fmla="*/ 2 h 19"/>
                  <a:gd name="T12" fmla="*/ 4 w 21"/>
                  <a:gd name="T13" fmla="*/ 0 h 19"/>
                  <a:gd name="T14" fmla="*/ 0 w 21"/>
                  <a:gd name="T15" fmla="*/ 0 h 19"/>
                  <a:gd name="T16" fmla="*/ 0 w 21"/>
                  <a:gd name="T17" fmla="*/ 1 h 19"/>
                  <a:gd name="T18" fmla="*/ 3 w 21"/>
                  <a:gd name="T19" fmla="*/ 2 h 19"/>
                  <a:gd name="T20" fmla="*/ 5 w 21"/>
                  <a:gd name="T21" fmla="*/ 5 h 19"/>
                  <a:gd name="T22" fmla="*/ 8 w 21"/>
                  <a:gd name="T23" fmla="*/ 6 h 19"/>
                  <a:gd name="T24" fmla="*/ 8 w 21"/>
                  <a:gd name="T25" fmla="*/ 10 h 19"/>
                  <a:gd name="T26" fmla="*/ 11 w 21"/>
                  <a:gd name="T27" fmla="*/ 12 h 19"/>
                  <a:gd name="T28" fmla="*/ 12 w 21"/>
                  <a:gd name="T29" fmla="*/ 18 h 19"/>
                  <a:gd name="T30" fmla="*/ 13 w 21"/>
                  <a:gd name="T31" fmla="*/ 19 h 19"/>
                  <a:gd name="T32" fmla="*/ 15 w 21"/>
                  <a:gd name="T33" fmla="*/ 18 h 19"/>
                  <a:gd name="T34" fmla="*/ 17 w 21"/>
                  <a:gd name="T35" fmla="*/ 16 h 19"/>
                  <a:gd name="T36" fmla="*/ 19 w 21"/>
                  <a:gd name="T37" fmla="*/ 16 h 19"/>
                  <a:gd name="T38" fmla="*/ 21 w 21"/>
                  <a:gd name="T39" fmla="*/ 14 h 19"/>
                  <a:gd name="T40" fmla="*/ 19 w 21"/>
                  <a:gd name="T41" fmla="*/ 14 h 19"/>
                  <a:gd name="T42" fmla="*/ 16 w 21"/>
                  <a:gd name="T43" fmla="*/ 1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" h="19">
                    <a:moveTo>
                      <a:pt x="16" y="12"/>
                    </a:moveTo>
                    <a:cubicBezTo>
                      <a:pt x="15" y="8"/>
                      <a:pt x="15" y="8"/>
                      <a:pt x="15" y="8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7"/>
                      <a:pt x="10" y="4"/>
                      <a:pt x="10" y="4"/>
                    </a:cubicBezTo>
                    <a:cubicBezTo>
                      <a:pt x="10" y="4"/>
                      <a:pt x="8" y="3"/>
                      <a:pt x="8" y="3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15" y="18"/>
                      <a:pt x="15" y="18"/>
                      <a:pt x="15" y="18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19" y="14"/>
                      <a:pt x="19" y="14"/>
                      <a:pt x="19" y="14"/>
                    </a:cubicBezTo>
                    <a:lnTo>
                      <a:pt x="16" y="1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1275">
                <a:extLst>
                  <a:ext uri="{FF2B5EF4-FFF2-40B4-BE49-F238E27FC236}">
                    <a16:creationId xmlns:a16="http://schemas.microsoft.com/office/drawing/2014/main" id="{31EA0C17-5C96-49DC-8A8E-33522B332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4376" y="6021388"/>
                <a:ext cx="34925" cy="41275"/>
              </a:xfrm>
              <a:custGeom>
                <a:avLst/>
                <a:gdLst>
                  <a:gd name="T0" fmla="*/ 22 w 22"/>
                  <a:gd name="T1" fmla="*/ 6 h 26"/>
                  <a:gd name="T2" fmla="*/ 20 w 22"/>
                  <a:gd name="T3" fmla="*/ 4 h 26"/>
                  <a:gd name="T4" fmla="*/ 17 w 22"/>
                  <a:gd name="T5" fmla="*/ 3 h 26"/>
                  <a:gd name="T6" fmla="*/ 15 w 22"/>
                  <a:gd name="T7" fmla="*/ 4 h 26"/>
                  <a:gd name="T8" fmla="*/ 16 w 22"/>
                  <a:gd name="T9" fmla="*/ 6 h 26"/>
                  <a:gd name="T10" fmla="*/ 14 w 22"/>
                  <a:gd name="T11" fmla="*/ 7 h 26"/>
                  <a:gd name="T12" fmla="*/ 13 w 22"/>
                  <a:gd name="T13" fmla="*/ 4 h 26"/>
                  <a:gd name="T14" fmla="*/ 13 w 22"/>
                  <a:gd name="T15" fmla="*/ 2 h 26"/>
                  <a:gd name="T16" fmla="*/ 8 w 22"/>
                  <a:gd name="T17" fmla="*/ 0 h 26"/>
                  <a:gd name="T18" fmla="*/ 8 w 22"/>
                  <a:gd name="T19" fmla="*/ 3 h 26"/>
                  <a:gd name="T20" fmla="*/ 6 w 22"/>
                  <a:gd name="T21" fmla="*/ 4 h 26"/>
                  <a:gd name="T22" fmla="*/ 7 w 22"/>
                  <a:gd name="T23" fmla="*/ 6 h 26"/>
                  <a:gd name="T24" fmla="*/ 6 w 22"/>
                  <a:gd name="T25" fmla="*/ 8 h 26"/>
                  <a:gd name="T26" fmla="*/ 8 w 22"/>
                  <a:gd name="T27" fmla="*/ 12 h 26"/>
                  <a:gd name="T28" fmla="*/ 8 w 22"/>
                  <a:gd name="T29" fmla="*/ 13 h 26"/>
                  <a:gd name="T30" fmla="*/ 7 w 22"/>
                  <a:gd name="T31" fmla="*/ 12 h 26"/>
                  <a:gd name="T32" fmla="*/ 4 w 22"/>
                  <a:gd name="T33" fmla="*/ 12 h 26"/>
                  <a:gd name="T34" fmla="*/ 0 w 22"/>
                  <a:gd name="T35" fmla="*/ 21 h 26"/>
                  <a:gd name="T36" fmla="*/ 1 w 22"/>
                  <a:gd name="T37" fmla="*/ 21 h 26"/>
                  <a:gd name="T38" fmla="*/ 3 w 22"/>
                  <a:gd name="T39" fmla="*/ 26 h 26"/>
                  <a:gd name="T40" fmla="*/ 5 w 22"/>
                  <a:gd name="T41" fmla="*/ 26 h 26"/>
                  <a:gd name="T42" fmla="*/ 6 w 22"/>
                  <a:gd name="T43" fmla="*/ 25 h 26"/>
                  <a:gd name="T44" fmla="*/ 3 w 22"/>
                  <a:gd name="T45" fmla="*/ 22 h 26"/>
                  <a:gd name="T46" fmla="*/ 4 w 22"/>
                  <a:gd name="T47" fmla="*/ 20 h 26"/>
                  <a:gd name="T48" fmla="*/ 7 w 22"/>
                  <a:gd name="T49" fmla="*/ 22 h 26"/>
                  <a:gd name="T50" fmla="*/ 8 w 22"/>
                  <a:gd name="T51" fmla="*/ 22 h 26"/>
                  <a:gd name="T52" fmla="*/ 7 w 22"/>
                  <a:gd name="T53" fmla="*/ 19 h 26"/>
                  <a:gd name="T54" fmla="*/ 7 w 22"/>
                  <a:gd name="T55" fmla="*/ 18 h 26"/>
                  <a:gd name="T56" fmla="*/ 10 w 22"/>
                  <a:gd name="T57" fmla="*/ 18 h 26"/>
                  <a:gd name="T58" fmla="*/ 12 w 22"/>
                  <a:gd name="T59" fmla="*/ 17 h 26"/>
                  <a:gd name="T60" fmla="*/ 13 w 22"/>
                  <a:gd name="T61" fmla="*/ 16 h 26"/>
                  <a:gd name="T62" fmla="*/ 10 w 22"/>
                  <a:gd name="T63" fmla="*/ 16 h 26"/>
                  <a:gd name="T64" fmla="*/ 9 w 22"/>
                  <a:gd name="T65" fmla="*/ 15 h 26"/>
                  <a:gd name="T66" fmla="*/ 10 w 22"/>
                  <a:gd name="T67" fmla="*/ 14 h 26"/>
                  <a:gd name="T68" fmla="*/ 13 w 22"/>
                  <a:gd name="T69" fmla="*/ 15 h 26"/>
                  <a:gd name="T70" fmla="*/ 16 w 22"/>
                  <a:gd name="T71" fmla="*/ 14 h 26"/>
                  <a:gd name="T72" fmla="*/ 18 w 22"/>
                  <a:gd name="T73" fmla="*/ 12 h 26"/>
                  <a:gd name="T74" fmla="*/ 21 w 22"/>
                  <a:gd name="T75" fmla="*/ 11 h 26"/>
                  <a:gd name="T76" fmla="*/ 20 w 22"/>
                  <a:gd name="T77" fmla="*/ 8 h 26"/>
                  <a:gd name="T78" fmla="*/ 19 w 22"/>
                  <a:gd name="T79" fmla="*/ 8 h 26"/>
                  <a:gd name="T80" fmla="*/ 18 w 22"/>
                  <a:gd name="T81" fmla="*/ 7 h 26"/>
                  <a:gd name="T82" fmla="*/ 20 w 22"/>
                  <a:gd name="T83" fmla="*/ 6 h 26"/>
                  <a:gd name="T84" fmla="*/ 22 w 22"/>
                  <a:gd name="T85" fmla="*/ 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2" h="26">
                    <a:moveTo>
                      <a:pt x="22" y="6"/>
                    </a:moveTo>
                    <a:lnTo>
                      <a:pt x="20" y="4"/>
                    </a:lnTo>
                    <a:lnTo>
                      <a:pt x="17" y="3"/>
                    </a:lnTo>
                    <a:lnTo>
                      <a:pt x="15" y="4"/>
                    </a:lnTo>
                    <a:lnTo>
                      <a:pt x="16" y="6"/>
                    </a:lnTo>
                    <a:lnTo>
                      <a:pt x="14" y="7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6" y="4"/>
                    </a:lnTo>
                    <a:lnTo>
                      <a:pt x="7" y="6"/>
                    </a:lnTo>
                    <a:lnTo>
                      <a:pt x="6" y="8"/>
                    </a:lnTo>
                    <a:lnTo>
                      <a:pt x="8" y="12"/>
                    </a:lnTo>
                    <a:lnTo>
                      <a:pt x="8" y="13"/>
                    </a:lnTo>
                    <a:lnTo>
                      <a:pt x="7" y="12"/>
                    </a:lnTo>
                    <a:lnTo>
                      <a:pt x="4" y="12"/>
                    </a:lnTo>
                    <a:lnTo>
                      <a:pt x="0" y="21"/>
                    </a:lnTo>
                    <a:lnTo>
                      <a:pt x="1" y="21"/>
                    </a:lnTo>
                    <a:lnTo>
                      <a:pt x="3" y="26"/>
                    </a:lnTo>
                    <a:lnTo>
                      <a:pt x="5" y="26"/>
                    </a:lnTo>
                    <a:lnTo>
                      <a:pt x="6" y="25"/>
                    </a:lnTo>
                    <a:lnTo>
                      <a:pt x="3" y="22"/>
                    </a:lnTo>
                    <a:lnTo>
                      <a:pt x="4" y="20"/>
                    </a:lnTo>
                    <a:lnTo>
                      <a:pt x="7" y="22"/>
                    </a:lnTo>
                    <a:lnTo>
                      <a:pt x="8" y="22"/>
                    </a:lnTo>
                    <a:lnTo>
                      <a:pt x="7" y="19"/>
                    </a:lnTo>
                    <a:lnTo>
                      <a:pt x="7" y="18"/>
                    </a:lnTo>
                    <a:lnTo>
                      <a:pt x="10" y="18"/>
                    </a:lnTo>
                    <a:lnTo>
                      <a:pt x="12" y="17"/>
                    </a:lnTo>
                    <a:lnTo>
                      <a:pt x="13" y="16"/>
                    </a:lnTo>
                    <a:lnTo>
                      <a:pt x="10" y="16"/>
                    </a:lnTo>
                    <a:lnTo>
                      <a:pt x="9" y="15"/>
                    </a:lnTo>
                    <a:lnTo>
                      <a:pt x="10" y="14"/>
                    </a:lnTo>
                    <a:lnTo>
                      <a:pt x="13" y="15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21" y="11"/>
                    </a:lnTo>
                    <a:lnTo>
                      <a:pt x="20" y="8"/>
                    </a:lnTo>
                    <a:lnTo>
                      <a:pt x="19" y="8"/>
                    </a:lnTo>
                    <a:lnTo>
                      <a:pt x="18" y="7"/>
                    </a:lnTo>
                    <a:lnTo>
                      <a:pt x="20" y="6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1276">
                <a:extLst>
                  <a:ext uri="{FF2B5EF4-FFF2-40B4-BE49-F238E27FC236}">
                    <a16:creationId xmlns:a16="http://schemas.microsoft.com/office/drawing/2014/main" id="{9B368B05-B8E1-4977-82A5-6DA0E53456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613" y="4187825"/>
                <a:ext cx="123825" cy="69850"/>
              </a:xfrm>
              <a:custGeom>
                <a:avLst/>
                <a:gdLst>
                  <a:gd name="T0" fmla="*/ 75 w 78"/>
                  <a:gd name="T1" fmla="*/ 35 h 44"/>
                  <a:gd name="T2" fmla="*/ 78 w 78"/>
                  <a:gd name="T3" fmla="*/ 27 h 44"/>
                  <a:gd name="T4" fmla="*/ 77 w 78"/>
                  <a:gd name="T5" fmla="*/ 20 h 44"/>
                  <a:gd name="T6" fmla="*/ 76 w 78"/>
                  <a:gd name="T7" fmla="*/ 16 h 44"/>
                  <a:gd name="T8" fmla="*/ 74 w 78"/>
                  <a:gd name="T9" fmla="*/ 13 h 44"/>
                  <a:gd name="T10" fmla="*/ 65 w 78"/>
                  <a:gd name="T11" fmla="*/ 5 h 44"/>
                  <a:gd name="T12" fmla="*/ 56 w 78"/>
                  <a:gd name="T13" fmla="*/ 4 h 44"/>
                  <a:gd name="T14" fmla="*/ 53 w 78"/>
                  <a:gd name="T15" fmla="*/ 2 h 44"/>
                  <a:gd name="T16" fmla="*/ 49 w 78"/>
                  <a:gd name="T17" fmla="*/ 1 h 44"/>
                  <a:gd name="T18" fmla="*/ 41 w 78"/>
                  <a:gd name="T19" fmla="*/ 6 h 44"/>
                  <a:gd name="T20" fmla="*/ 29 w 78"/>
                  <a:gd name="T21" fmla="*/ 14 h 44"/>
                  <a:gd name="T22" fmla="*/ 22 w 78"/>
                  <a:gd name="T23" fmla="*/ 14 h 44"/>
                  <a:gd name="T24" fmla="*/ 15 w 78"/>
                  <a:gd name="T25" fmla="*/ 8 h 44"/>
                  <a:gd name="T26" fmla="*/ 15 w 78"/>
                  <a:gd name="T27" fmla="*/ 10 h 44"/>
                  <a:gd name="T28" fmla="*/ 13 w 78"/>
                  <a:gd name="T29" fmla="*/ 12 h 44"/>
                  <a:gd name="T30" fmla="*/ 10 w 78"/>
                  <a:gd name="T31" fmla="*/ 10 h 44"/>
                  <a:gd name="T32" fmla="*/ 11 w 78"/>
                  <a:gd name="T33" fmla="*/ 8 h 44"/>
                  <a:gd name="T34" fmla="*/ 9 w 78"/>
                  <a:gd name="T35" fmla="*/ 7 h 44"/>
                  <a:gd name="T36" fmla="*/ 6 w 78"/>
                  <a:gd name="T37" fmla="*/ 5 h 44"/>
                  <a:gd name="T38" fmla="*/ 3 w 78"/>
                  <a:gd name="T39" fmla="*/ 3 h 44"/>
                  <a:gd name="T40" fmla="*/ 2 w 78"/>
                  <a:gd name="T41" fmla="*/ 7 h 44"/>
                  <a:gd name="T42" fmla="*/ 0 w 78"/>
                  <a:gd name="T43" fmla="*/ 12 h 44"/>
                  <a:gd name="T44" fmla="*/ 3 w 78"/>
                  <a:gd name="T45" fmla="*/ 15 h 44"/>
                  <a:gd name="T46" fmla="*/ 1 w 78"/>
                  <a:gd name="T47" fmla="*/ 20 h 44"/>
                  <a:gd name="T48" fmla="*/ 1 w 78"/>
                  <a:gd name="T49" fmla="*/ 24 h 44"/>
                  <a:gd name="T50" fmla="*/ 6 w 78"/>
                  <a:gd name="T51" fmla="*/ 24 h 44"/>
                  <a:gd name="T52" fmla="*/ 10 w 78"/>
                  <a:gd name="T53" fmla="*/ 22 h 44"/>
                  <a:gd name="T54" fmla="*/ 11 w 78"/>
                  <a:gd name="T55" fmla="*/ 25 h 44"/>
                  <a:gd name="T56" fmla="*/ 18 w 78"/>
                  <a:gd name="T57" fmla="*/ 26 h 44"/>
                  <a:gd name="T58" fmla="*/ 20 w 78"/>
                  <a:gd name="T59" fmla="*/ 35 h 44"/>
                  <a:gd name="T60" fmla="*/ 25 w 78"/>
                  <a:gd name="T61" fmla="*/ 37 h 44"/>
                  <a:gd name="T62" fmla="*/ 25 w 78"/>
                  <a:gd name="T63" fmla="*/ 33 h 44"/>
                  <a:gd name="T64" fmla="*/ 27 w 78"/>
                  <a:gd name="T65" fmla="*/ 31 h 44"/>
                  <a:gd name="T66" fmla="*/ 28 w 78"/>
                  <a:gd name="T67" fmla="*/ 35 h 44"/>
                  <a:gd name="T68" fmla="*/ 28 w 78"/>
                  <a:gd name="T69" fmla="*/ 41 h 44"/>
                  <a:gd name="T70" fmla="*/ 32 w 78"/>
                  <a:gd name="T71" fmla="*/ 44 h 44"/>
                  <a:gd name="T72" fmla="*/ 36 w 78"/>
                  <a:gd name="T73" fmla="*/ 38 h 44"/>
                  <a:gd name="T74" fmla="*/ 40 w 78"/>
                  <a:gd name="T75" fmla="*/ 38 h 44"/>
                  <a:gd name="T76" fmla="*/ 39 w 78"/>
                  <a:gd name="T77" fmla="*/ 32 h 44"/>
                  <a:gd name="T78" fmla="*/ 35 w 78"/>
                  <a:gd name="T79" fmla="*/ 28 h 44"/>
                  <a:gd name="T80" fmla="*/ 38 w 78"/>
                  <a:gd name="T81" fmla="*/ 24 h 44"/>
                  <a:gd name="T82" fmla="*/ 46 w 78"/>
                  <a:gd name="T83" fmla="*/ 18 h 44"/>
                  <a:gd name="T84" fmla="*/ 45 w 78"/>
                  <a:gd name="T85" fmla="*/ 16 h 44"/>
                  <a:gd name="T86" fmla="*/ 49 w 78"/>
                  <a:gd name="T87" fmla="*/ 11 h 44"/>
                  <a:gd name="T88" fmla="*/ 55 w 78"/>
                  <a:gd name="T89" fmla="*/ 11 h 44"/>
                  <a:gd name="T90" fmla="*/ 60 w 78"/>
                  <a:gd name="T91" fmla="*/ 14 h 44"/>
                  <a:gd name="T92" fmla="*/ 63 w 78"/>
                  <a:gd name="T93" fmla="*/ 21 h 44"/>
                  <a:gd name="T94" fmla="*/ 65 w 78"/>
                  <a:gd name="T95" fmla="*/ 22 h 44"/>
                  <a:gd name="T96" fmla="*/ 68 w 78"/>
                  <a:gd name="T97" fmla="*/ 19 h 44"/>
                  <a:gd name="T98" fmla="*/ 68 w 78"/>
                  <a:gd name="T99" fmla="*/ 23 h 44"/>
                  <a:gd name="T100" fmla="*/ 64 w 78"/>
                  <a:gd name="T101" fmla="*/ 28 h 44"/>
                  <a:gd name="T102" fmla="*/ 64 w 78"/>
                  <a:gd name="T103" fmla="*/ 33 h 44"/>
                  <a:gd name="T104" fmla="*/ 70 w 78"/>
                  <a:gd name="T105" fmla="*/ 42 h 44"/>
                  <a:gd name="T106" fmla="*/ 74 w 78"/>
                  <a:gd name="T107" fmla="*/ 3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8" h="44">
                    <a:moveTo>
                      <a:pt x="74" y="37"/>
                    </a:moveTo>
                    <a:lnTo>
                      <a:pt x="75" y="35"/>
                    </a:lnTo>
                    <a:lnTo>
                      <a:pt x="76" y="31"/>
                    </a:lnTo>
                    <a:lnTo>
                      <a:pt x="78" y="27"/>
                    </a:lnTo>
                    <a:lnTo>
                      <a:pt x="77" y="22"/>
                    </a:lnTo>
                    <a:lnTo>
                      <a:pt x="77" y="20"/>
                    </a:lnTo>
                    <a:lnTo>
                      <a:pt x="77" y="17"/>
                    </a:lnTo>
                    <a:lnTo>
                      <a:pt x="76" y="16"/>
                    </a:lnTo>
                    <a:lnTo>
                      <a:pt x="74" y="14"/>
                    </a:lnTo>
                    <a:lnTo>
                      <a:pt x="74" y="13"/>
                    </a:lnTo>
                    <a:lnTo>
                      <a:pt x="71" y="9"/>
                    </a:lnTo>
                    <a:lnTo>
                      <a:pt x="65" y="5"/>
                    </a:lnTo>
                    <a:lnTo>
                      <a:pt x="62" y="4"/>
                    </a:lnTo>
                    <a:lnTo>
                      <a:pt x="56" y="4"/>
                    </a:lnTo>
                    <a:lnTo>
                      <a:pt x="53" y="4"/>
                    </a:lnTo>
                    <a:lnTo>
                      <a:pt x="53" y="2"/>
                    </a:lnTo>
                    <a:lnTo>
                      <a:pt x="50" y="0"/>
                    </a:lnTo>
                    <a:lnTo>
                      <a:pt x="49" y="1"/>
                    </a:lnTo>
                    <a:lnTo>
                      <a:pt x="45" y="4"/>
                    </a:lnTo>
                    <a:lnTo>
                      <a:pt x="41" y="6"/>
                    </a:lnTo>
                    <a:lnTo>
                      <a:pt x="32" y="11"/>
                    </a:lnTo>
                    <a:lnTo>
                      <a:pt x="29" y="14"/>
                    </a:lnTo>
                    <a:lnTo>
                      <a:pt x="27" y="14"/>
                    </a:lnTo>
                    <a:lnTo>
                      <a:pt x="22" y="14"/>
                    </a:lnTo>
                    <a:lnTo>
                      <a:pt x="18" y="10"/>
                    </a:lnTo>
                    <a:lnTo>
                      <a:pt x="15" y="8"/>
                    </a:lnTo>
                    <a:lnTo>
                      <a:pt x="14" y="9"/>
                    </a:lnTo>
                    <a:lnTo>
                      <a:pt x="15" y="10"/>
                    </a:lnTo>
                    <a:lnTo>
                      <a:pt x="15" y="12"/>
                    </a:lnTo>
                    <a:lnTo>
                      <a:pt x="13" y="12"/>
                    </a:lnTo>
                    <a:lnTo>
                      <a:pt x="11" y="11"/>
                    </a:lnTo>
                    <a:lnTo>
                      <a:pt x="10" y="10"/>
                    </a:lnTo>
                    <a:lnTo>
                      <a:pt x="11" y="9"/>
                    </a:lnTo>
                    <a:lnTo>
                      <a:pt x="11" y="8"/>
                    </a:lnTo>
                    <a:lnTo>
                      <a:pt x="11" y="7"/>
                    </a:lnTo>
                    <a:lnTo>
                      <a:pt x="9" y="7"/>
                    </a:lnTo>
                    <a:lnTo>
                      <a:pt x="8" y="7"/>
                    </a:lnTo>
                    <a:lnTo>
                      <a:pt x="6" y="5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1" y="13"/>
                    </a:lnTo>
                    <a:lnTo>
                      <a:pt x="3" y="15"/>
                    </a:lnTo>
                    <a:lnTo>
                      <a:pt x="1" y="18"/>
                    </a:lnTo>
                    <a:lnTo>
                      <a:pt x="1" y="20"/>
                    </a:lnTo>
                    <a:lnTo>
                      <a:pt x="1" y="22"/>
                    </a:lnTo>
                    <a:lnTo>
                      <a:pt x="1" y="24"/>
                    </a:lnTo>
                    <a:lnTo>
                      <a:pt x="4" y="24"/>
                    </a:lnTo>
                    <a:lnTo>
                      <a:pt x="6" y="24"/>
                    </a:lnTo>
                    <a:lnTo>
                      <a:pt x="8" y="23"/>
                    </a:lnTo>
                    <a:lnTo>
                      <a:pt x="10" y="22"/>
                    </a:lnTo>
                    <a:lnTo>
                      <a:pt x="11" y="24"/>
                    </a:lnTo>
                    <a:lnTo>
                      <a:pt x="11" y="25"/>
                    </a:lnTo>
                    <a:lnTo>
                      <a:pt x="12" y="25"/>
                    </a:lnTo>
                    <a:lnTo>
                      <a:pt x="18" y="26"/>
                    </a:lnTo>
                    <a:lnTo>
                      <a:pt x="18" y="31"/>
                    </a:lnTo>
                    <a:lnTo>
                      <a:pt x="20" y="35"/>
                    </a:lnTo>
                    <a:lnTo>
                      <a:pt x="22" y="37"/>
                    </a:lnTo>
                    <a:lnTo>
                      <a:pt x="25" y="37"/>
                    </a:lnTo>
                    <a:lnTo>
                      <a:pt x="25" y="35"/>
                    </a:lnTo>
                    <a:lnTo>
                      <a:pt x="25" y="33"/>
                    </a:lnTo>
                    <a:lnTo>
                      <a:pt x="25" y="31"/>
                    </a:lnTo>
                    <a:lnTo>
                      <a:pt x="27" y="31"/>
                    </a:lnTo>
                    <a:lnTo>
                      <a:pt x="28" y="33"/>
                    </a:lnTo>
                    <a:lnTo>
                      <a:pt x="28" y="35"/>
                    </a:lnTo>
                    <a:lnTo>
                      <a:pt x="29" y="38"/>
                    </a:lnTo>
                    <a:lnTo>
                      <a:pt x="28" y="41"/>
                    </a:lnTo>
                    <a:lnTo>
                      <a:pt x="29" y="43"/>
                    </a:lnTo>
                    <a:lnTo>
                      <a:pt x="32" y="44"/>
                    </a:lnTo>
                    <a:lnTo>
                      <a:pt x="34" y="41"/>
                    </a:lnTo>
                    <a:lnTo>
                      <a:pt x="36" y="38"/>
                    </a:lnTo>
                    <a:lnTo>
                      <a:pt x="39" y="38"/>
                    </a:lnTo>
                    <a:lnTo>
                      <a:pt x="40" y="38"/>
                    </a:lnTo>
                    <a:lnTo>
                      <a:pt x="40" y="35"/>
                    </a:lnTo>
                    <a:lnTo>
                      <a:pt x="39" y="32"/>
                    </a:lnTo>
                    <a:lnTo>
                      <a:pt x="36" y="30"/>
                    </a:lnTo>
                    <a:lnTo>
                      <a:pt x="35" y="28"/>
                    </a:lnTo>
                    <a:lnTo>
                      <a:pt x="36" y="25"/>
                    </a:lnTo>
                    <a:lnTo>
                      <a:pt x="38" y="24"/>
                    </a:lnTo>
                    <a:lnTo>
                      <a:pt x="42" y="23"/>
                    </a:lnTo>
                    <a:lnTo>
                      <a:pt x="46" y="18"/>
                    </a:lnTo>
                    <a:lnTo>
                      <a:pt x="46" y="17"/>
                    </a:lnTo>
                    <a:lnTo>
                      <a:pt x="45" y="16"/>
                    </a:lnTo>
                    <a:lnTo>
                      <a:pt x="46" y="13"/>
                    </a:lnTo>
                    <a:lnTo>
                      <a:pt x="49" y="11"/>
                    </a:lnTo>
                    <a:lnTo>
                      <a:pt x="53" y="10"/>
                    </a:lnTo>
                    <a:lnTo>
                      <a:pt x="55" y="11"/>
                    </a:lnTo>
                    <a:lnTo>
                      <a:pt x="57" y="14"/>
                    </a:lnTo>
                    <a:lnTo>
                      <a:pt x="60" y="14"/>
                    </a:lnTo>
                    <a:lnTo>
                      <a:pt x="62" y="18"/>
                    </a:lnTo>
                    <a:lnTo>
                      <a:pt x="63" y="21"/>
                    </a:lnTo>
                    <a:lnTo>
                      <a:pt x="64" y="23"/>
                    </a:lnTo>
                    <a:lnTo>
                      <a:pt x="65" y="22"/>
                    </a:lnTo>
                    <a:lnTo>
                      <a:pt x="67" y="19"/>
                    </a:lnTo>
                    <a:lnTo>
                      <a:pt x="68" y="19"/>
                    </a:lnTo>
                    <a:lnTo>
                      <a:pt x="69" y="21"/>
                    </a:lnTo>
                    <a:lnTo>
                      <a:pt x="68" y="23"/>
                    </a:lnTo>
                    <a:lnTo>
                      <a:pt x="67" y="24"/>
                    </a:lnTo>
                    <a:lnTo>
                      <a:pt x="64" y="28"/>
                    </a:lnTo>
                    <a:lnTo>
                      <a:pt x="63" y="29"/>
                    </a:lnTo>
                    <a:lnTo>
                      <a:pt x="64" y="33"/>
                    </a:lnTo>
                    <a:lnTo>
                      <a:pt x="67" y="38"/>
                    </a:lnTo>
                    <a:lnTo>
                      <a:pt x="70" y="42"/>
                    </a:lnTo>
                    <a:lnTo>
                      <a:pt x="72" y="37"/>
                    </a:lnTo>
                    <a:lnTo>
                      <a:pt x="74" y="3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1277">
                <a:extLst>
                  <a:ext uri="{FF2B5EF4-FFF2-40B4-BE49-F238E27FC236}">
                    <a16:creationId xmlns:a16="http://schemas.microsoft.com/office/drawing/2014/main" id="{01C79968-EAD8-4245-A9CD-AAF4C3F95A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7938" y="4144963"/>
                <a:ext cx="76200" cy="87313"/>
              </a:xfrm>
              <a:custGeom>
                <a:avLst/>
                <a:gdLst>
                  <a:gd name="T0" fmla="*/ 43 w 48"/>
                  <a:gd name="T1" fmla="*/ 45 h 55"/>
                  <a:gd name="T2" fmla="*/ 43 w 48"/>
                  <a:gd name="T3" fmla="*/ 40 h 55"/>
                  <a:gd name="T4" fmla="*/ 43 w 48"/>
                  <a:gd name="T5" fmla="*/ 36 h 55"/>
                  <a:gd name="T6" fmla="*/ 44 w 48"/>
                  <a:gd name="T7" fmla="*/ 31 h 55"/>
                  <a:gd name="T8" fmla="*/ 48 w 48"/>
                  <a:gd name="T9" fmla="*/ 30 h 55"/>
                  <a:gd name="T10" fmla="*/ 46 w 48"/>
                  <a:gd name="T11" fmla="*/ 27 h 55"/>
                  <a:gd name="T12" fmla="*/ 42 w 48"/>
                  <a:gd name="T13" fmla="*/ 24 h 55"/>
                  <a:gd name="T14" fmla="*/ 38 w 48"/>
                  <a:gd name="T15" fmla="*/ 18 h 55"/>
                  <a:gd name="T16" fmla="*/ 36 w 48"/>
                  <a:gd name="T17" fmla="*/ 11 h 55"/>
                  <a:gd name="T18" fmla="*/ 33 w 48"/>
                  <a:gd name="T19" fmla="*/ 8 h 55"/>
                  <a:gd name="T20" fmla="*/ 30 w 48"/>
                  <a:gd name="T21" fmla="*/ 10 h 55"/>
                  <a:gd name="T22" fmla="*/ 29 w 48"/>
                  <a:gd name="T23" fmla="*/ 9 h 55"/>
                  <a:gd name="T24" fmla="*/ 25 w 48"/>
                  <a:gd name="T25" fmla="*/ 7 h 55"/>
                  <a:gd name="T26" fmla="*/ 23 w 48"/>
                  <a:gd name="T27" fmla="*/ 4 h 55"/>
                  <a:gd name="T28" fmla="*/ 18 w 48"/>
                  <a:gd name="T29" fmla="*/ 2 h 55"/>
                  <a:gd name="T30" fmla="*/ 8 w 48"/>
                  <a:gd name="T31" fmla="*/ 0 h 55"/>
                  <a:gd name="T32" fmla="*/ 2 w 48"/>
                  <a:gd name="T33" fmla="*/ 2 h 55"/>
                  <a:gd name="T34" fmla="*/ 2 w 48"/>
                  <a:gd name="T35" fmla="*/ 3 h 55"/>
                  <a:gd name="T36" fmla="*/ 0 w 48"/>
                  <a:gd name="T37" fmla="*/ 7 h 55"/>
                  <a:gd name="T38" fmla="*/ 3 w 48"/>
                  <a:gd name="T39" fmla="*/ 9 h 55"/>
                  <a:gd name="T40" fmla="*/ 1 w 48"/>
                  <a:gd name="T41" fmla="*/ 14 h 55"/>
                  <a:gd name="T42" fmla="*/ 1 w 48"/>
                  <a:gd name="T43" fmla="*/ 21 h 55"/>
                  <a:gd name="T44" fmla="*/ 8 w 48"/>
                  <a:gd name="T45" fmla="*/ 25 h 55"/>
                  <a:gd name="T46" fmla="*/ 12 w 48"/>
                  <a:gd name="T47" fmla="*/ 30 h 55"/>
                  <a:gd name="T48" fmla="*/ 15 w 48"/>
                  <a:gd name="T49" fmla="*/ 27 h 55"/>
                  <a:gd name="T50" fmla="*/ 10 w 48"/>
                  <a:gd name="T51" fmla="*/ 20 h 55"/>
                  <a:gd name="T52" fmla="*/ 11 w 48"/>
                  <a:gd name="T53" fmla="*/ 17 h 55"/>
                  <a:gd name="T54" fmla="*/ 15 w 48"/>
                  <a:gd name="T55" fmla="*/ 21 h 55"/>
                  <a:gd name="T56" fmla="*/ 19 w 48"/>
                  <a:gd name="T57" fmla="*/ 26 h 55"/>
                  <a:gd name="T58" fmla="*/ 22 w 48"/>
                  <a:gd name="T59" fmla="*/ 31 h 55"/>
                  <a:gd name="T60" fmla="*/ 27 w 48"/>
                  <a:gd name="T61" fmla="*/ 36 h 55"/>
                  <a:gd name="T62" fmla="*/ 31 w 48"/>
                  <a:gd name="T63" fmla="*/ 41 h 55"/>
                  <a:gd name="T64" fmla="*/ 29 w 48"/>
                  <a:gd name="T65" fmla="*/ 47 h 55"/>
                  <a:gd name="T66" fmla="*/ 33 w 48"/>
                  <a:gd name="T67" fmla="*/ 51 h 55"/>
                  <a:gd name="T68" fmla="*/ 36 w 48"/>
                  <a:gd name="T69" fmla="*/ 52 h 55"/>
                  <a:gd name="T70" fmla="*/ 36 w 48"/>
                  <a:gd name="T71" fmla="*/ 47 h 55"/>
                  <a:gd name="T72" fmla="*/ 33 w 48"/>
                  <a:gd name="T73" fmla="*/ 45 h 55"/>
                  <a:gd name="T74" fmla="*/ 36 w 48"/>
                  <a:gd name="T75" fmla="*/ 45 h 55"/>
                  <a:gd name="T76" fmla="*/ 38 w 48"/>
                  <a:gd name="T77" fmla="*/ 52 h 55"/>
                  <a:gd name="T78" fmla="*/ 40 w 48"/>
                  <a:gd name="T79" fmla="*/ 53 h 55"/>
                  <a:gd name="T80" fmla="*/ 43 w 48"/>
                  <a:gd name="T81" fmla="*/ 55 h 55"/>
                  <a:gd name="T82" fmla="*/ 43 w 48"/>
                  <a:gd name="T83" fmla="*/ 51 h 55"/>
                  <a:gd name="T84" fmla="*/ 43 w 48"/>
                  <a:gd name="T85" fmla="*/ 49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8" h="55">
                    <a:moveTo>
                      <a:pt x="43" y="47"/>
                    </a:moveTo>
                    <a:lnTo>
                      <a:pt x="43" y="45"/>
                    </a:lnTo>
                    <a:lnTo>
                      <a:pt x="45" y="42"/>
                    </a:lnTo>
                    <a:lnTo>
                      <a:pt x="43" y="40"/>
                    </a:lnTo>
                    <a:lnTo>
                      <a:pt x="42" y="39"/>
                    </a:lnTo>
                    <a:lnTo>
                      <a:pt x="43" y="36"/>
                    </a:lnTo>
                    <a:lnTo>
                      <a:pt x="44" y="34"/>
                    </a:lnTo>
                    <a:lnTo>
                      <a:pt x="44" y="31"/>
                    </a:lnTo>
                    <a:lnTo>
                      <a:pt x="45" y="30"/>
                    </a:lnTo>
                    <a:lnTo>
                      <a:pt x="48" y="30"/>
                    </a:lnTo>
                    <a:lnTo>
                      <a:pt x="47" y="29"/>
                    </a:lnTo>
                    <a:lnTo>
                      <a:pt x="46" y="27"/>
                    </a:lnTo>
                    <a:lnTo>
                      <a:pt x="43" y="27"/>
                    </a:lnTo>
                    <a:lnTo>
                      <a:pt x="42" y="24"/>
                    </a:lnTo>
                    <a:lnTo>
                      <a:pt x="41" y="21"/>
                    </a:lnTo>
                    <a:lnTo>
                      <a:pt x="38" y="18"/>
                    </a:lnTo>
                    <a:lnTo>
                      <a:pt x="36" y="15"/>
                    </a:lnTo>
                    <a:lnTo>
                      <a:pt x="36" y="11"/>
                    </a:lnTo>
                    <a:lnTo>
                      <a:pt x="35" y="8"/>
                    </a:lnTo>
                    <a:lnTo>
                      <a:pt x="33" y="8"/>
                    </a:lnTo>
                    <a:lnTo>
                      <a:pt x="33" y="10"/>
                    </a:lnTo>
                    <a:lnTo>
                      <a:pt x="30" y="10"/>
                    </a:lnTo>
                    <a:lnTo>
                      <a:pt x="31" y="9"/>
                    </a:lnTo>
                    <a:lnTo>
                      <a:pt x="29" y="9"/>
                    </a:lnTo>
                    <a:lnTo>
                      <a:pt x="28" y="10"/>
                    </a:lnTo>
                    <a:lnTo>
                      <a:pt x="25" y="7"/>
                    </a:lnTo>
                    <a:lnTo>
                      <a:pt x="25" y="5"/>
                    </a:lnTo>
                    <a:lnTo>
                      <a:pt x="23" y="4"/>
                    </a:lnTo>
                    <a:lnTo>
                      <a:pt x="22" y="2"/>
                    </a:lnTo>
                    <a:lnTo>
                      <a:pt x="18" y="2"/>
                    </a:lnTo>
                    <a:lnTo>
                      <a:pt x="15" y="3"/>
                    </a:lnTo>
                    <a:lnTo>
                      <a:pt x="8" y="0"/>
                    </a:lnTo>
                    <a:lnTo>
                      <a:pt x="2" y="1"/>
                    </a:lnTo>
                    <a:lnTo>
                      <a:pt x="2" y="2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1" y="7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3" y="9"/>
                    </a:lnTo>
                    <a:lnTo>
                      <a:pt x="4" y="12"/>
                    </a:lnTo>
                    <a:lnTo>
                      <a:pt x="1" y="14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5" y="25"/>
                    </a:lnTo>
                    <a:lnTo>
                      <a:pt x="8" y="25"/>
                    </a:lnTo>
                    <a:lnTo>
                      <a:pt x="11" y="27"/>
                    </a:lnTo>
                    <a:lnTo>
                      <a:pt x="12" y="30"/>
                    </a:lnTo>
                    <a:lnTo>
                      <a:pt x="13" y="30"/>
                    </a:lnTo>
                    <a:lnTo>
                      <a:pt x="15" y="27"/>
                    </a:lnTo>
                    <a:lnTo>
                      <a:pt x="14" y="24"/>
                    </a:lnTo>
                    <a:lnTo>
                      <a:pt x="10" y="20"/>
                    </a:lnTo>
                    <a:lnTo>
                      <a:pt x="9" y="18"/>
                    </a:lnTo>
                    <a:lnTo>
                      <a:pt x="11" y="17"/>
                    </a:lnTo>
                    <a:lnTo>
                      <a:pt x="13" y="20"/>
                    </a:lnTo>
                    <a:lnTo>
                      <a:pt x="15" y="21"/>
                    </a:lnTo>
                    <a:lnTo>
                      <a:pt x="15" y="24"/>
                    </a:lnTo>
                    <a:lnTo>
                      <a:pt x="19" y="26"/>
                    </a:lnTo>
                    <a:lnTo>
                      <a:pt x="19" y="30"/>
                    </a:lnTo>
                    <a:lnTo>
                      <a:pt x="22" y="31"/>
                    </a:lnTo>
                    <a:lnTo>
                      <a:pt x="26" y="34"/>
                    </a:lnTo>
                    <a:lnTo>
                      <a:pt x="27" y="36"/>
                    </a:lnTo>
                    <a:lnTo>
                      <a:pt x="30" y="40"/>
                    </a:lnTo>
                    <a:lnTo>
                      <a:pt x="31" y="41"/>
                    </a:lnTo>
                    <a:lnTo>
                      <a:pt x="29" y="45"/>
                    </a:lnTo>
                    <a:lnTo>
                      <a:pt x="29" y="47"/>
                    </a:lnTo>
                    <a:lnTo>
                      <a:pt x="30" y="49"/>
                    </a:lnTo>
                    <a:lnTo>
                      <a:pt x="33" y="51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7" y="48"/>
                    </a:lnTo>
                    <a:lnTo>
                      <a:pt x="36" y="47"/>
                    </a:lnTo>
                    <a:lnTo>
                      <a:pt x="33" y="45"/>
                    </a:lnTo>
                    <a:lnTo>
                      <a:pt x="33" y="45"/>
                    </a:lnTo>
                    <a:lnTo>
                      <a:pt x="34" y="44"/>
                    </a:lnTo>
                    <a:lnTo>
                      <a:pt x="36" y="45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9" y="52"/>
                    </a:lnTo>
                    <a:lnTo>
                      <a:pt x="40" y="53"/>
                    </a:lnTo>
                    <a:lnTo>
                      <a:pt x="41" y="54"/>
                    </a:lnTo>
                    <a:lnTo>
                      <a:pt x="43" y="55"/>
                    </a:lnTo>
                    <a:lnTo>
                      <a:pt x="43" y="52"/>
                    </a:lnTo>
                    <a:lnTo>
                      <a:pt x="43" y="51"/>
                    </a:lnTo>
                    <a:lnTo>
                      <a:pt x="43" y="51"/>
                    </a:lnTo>
                    <a:lnTo>
                      <a:pt x="43" y="49"/>
                    </a:lnTo>
                    <a:lnTo>
                      <a:pt x="43" y="4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1278">
                <a:extLst>
                  <a:ext uri="{FF2B5EF4-FFF2-40B4-BE49-F238E27FC236}">
                    <a16:creationId xmlns:a16="http://schemas.microsoft.com/office/drawing/2014/main" id="{D4535F04-986E-455D-B559-8E96E63B68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1426" y="4038600"/>
                <a:ext cx="104775" cy="122238"/>
              </a:xfrm>
              <a:custGeom>
                <a:avLst/>
                <a:gdLst>
                  <a:gd name="T0" fmla="*/ 39 w 84"/>
                  <a:gd name="T1" fmla="*/ 87 h 99"/>
                  <a:gd name="T2" fmla="*/ 52 w 84"/>
                  <a:gd name="T3" fmla="*/ 89 h 99"/>
                  <a:gd name="T4" fmla="*/ 59 w 84"/>
                  <a:gd name="T5" fmla="*/ 92 h 99"/>
                  <a:gd name="T6" fmla="*/ 61 w 84"/>
                  <a:gd name="T7" fmla="*/ 95 h 99"/>
                  <a:gd name="T8" fmla="*/ 67 w 84"/>
                  <a:gd name="T9" fmla="*/ 98 h 99"/>
                  <a:gd name="T10" fmla="*/ 69 w 84"/>
                  <a:gd name="T11" fmla="*/ 97 h 99"/>
                  <a:gd name="T12" fmla="*/ 70 w 84"/>
                  <a:gd name="T13" fmla="*/ 93 h 99"/>
                  <a:gd name="T14" fmla="*/ 67 w 84"/>
                  <a:gd name="T15" fmla="*/ 86 h 99"/>
                  <a:gd name="T16" fmla="*/ 71 w 84"/>
                  <a:gd name="T17" fmla="*/ 77 h 99"/>
                  <a:gd name="T18" fmla="*/ 70 w 84"/>
                  <a:gd name="T19" fmla="*/ 75 h 99"/>
                  <a:gd name="T20" fmla="*/ 67 w 84"/>
                  <a:gd name="T21" fmla="*/ 78 h 99"/>
                  <a:gd name="T22" fmla="*/ 68 w 84"/>
                  <a:gd name="T23" fmla="*/ 71 h 99"/>
                  <a:gd name="T24" fmla="*/ 69 w 84"/>
                  <a:gd name="T25" fmla="*/ 64 h 99"/>
                  <a:gd name="T26" fmla="*/ 72 w 84"/>
                  <a:gd name="T27" fmla="*/ 54 h 99"/>
                  <a:gd name="T28" fmla="*/ 73 w 84"/>
                  <a:gd name="T29" fmla="*/ 57 h 99"/>
                  <a:gd name="T30" fmla="*/ 72 w 84"/>
                  <a:gd name="T31" fmla="*/ 65 h 99"/>
                  <a:gd name="T32" fmla="*/ 75 w 84"/>
                  <a:gd name="T33" fmla="*/ 62 h 99"/>
                  <a:gd name="T34" fmla="*/ 76 w 84"/>
                  <a:gd name="T35" fmla="*/ 43 h 99"/>
                  <a:gd name="T36" fmla="*/ 75 w 84"/>
                  <a:gd name="T37" fmla="*/ 39 h 99"/>
                  <a:gd name="T38" fmla="*/ 74 w 84"/>
                  <a:gd name="T39" fmla="*/ 36 h 99"/>
                  <a:gd name="T40" fmla="*/ 76 w 84"/>
                  <a:gd name="T41" fmla="*/ 34 h 99"/>
                  <a:gd name="T42" fmla="*/ 78 w 84"/>
                  <a:gd name="T43" fmla="*/ 30 h 99"/>
                  <a:gd name="T44" fmla="*/ 82 w 84"/>
                  <a:gd name="T45" fmla="*/ 23 h 99"/>
                  <a:gd name="T46" fmla="*/ 81 w 84"/>
                  <a:gd name="T47" fmla="*/ 19 h 99"/>
                  <a:gd name="T48" fmla="*/ 82 w 84"/>
                  <a:gd name="T49" fmla="*/ 14 h 99"/>
                  <a:gd name="T50" fmla="*/ 82 w 84"/>
                  <a:gd name="T51" fmla="*/ 5 h 99"/>
                  <a:gd name="T52" fmla="*/ 84 w 84"/>
                  <a:gd name="T53" fmla="*/ 1 h 99"/>
                  <a:gd name="T54" fmla="*/ 79 w 84"/>
                  <a:gd name="T55" fmla="*/ 2 h 99"/>
                  <a:gd name="T56" fmla="*/ 76 w 84"/>
                  <a:gd name="T57" fmla="*/ 0 h 99"/>
                  <a:gd name="T58" fmla="*/ 74 w 84"/>
                  <a:gd name="T59" fmla="*/ 4 h 99"/>
                  <a:gd name="T60" fmla="*/ 68 w 84"/>
                  <a:gd name="T61" fmla="*/ 8 h 99"/>
                  <a:gd name="T62" fmla="*/ 65 w 84"/>
                  <a:gd name="T63" fmla="*/ 11 h 99"/>
                  <a:gd name="T64" fmla="*/ 59 w 84"/>
                  <a:gd name="T65" fmla="*/ 11 h 99"/>
                  <a:gd name="T66" fmla="*/ 56 w 84"/>
                  <a:gd name="T67" fmla="*/ 7 h 99"/>
                  <a:gd name="T68" fmla="*/ 53 w 84"/>
                  <a:gd name="T69" fmla="*/ 11 h 99"/>
                  <a:gd name="T70" fmla="*/ 47 w 84"/>
                  <a:gd name="T71" fmla="*/ 16 h 99"/>
                  <a:gd name="T72" fmla="*/ 45 w 84"/>
                  <a:gd name="T73" fmla="*/ 20 h 99"/>
                  <a:gd name="T74" fmla="*/ 38 w 84"/>
                  <a:gd name="T75" fmla="*/ 26 h 99"/>
                  <a:gd name="T76" fmla="*/ 34 w 84"/>
                  <a:gd name="T77" fmla="*/ 27 h 99"/>
                  <a:gd name="T78" fmla="*/ 30 w 84"/>
                  <a:gd name="T79" fmla="*/ 25 h 99"/>
                  <a:gd name="T80" fmla="*/ 20 w 84"/>
                  <a:gd name="T81" fmla="*/ 28 h 99"/>
                  <a:gd name="T82" fmla="*/ 15 w 84"/>
                  <a:gd name="T83" fmla="*/ 33 h 99"/>
                  <a:gd name="T84" fmla="*/ 14 w 84"/>
                  <a:gd name="T85" fmla="*/ 42 h 99"/>
                  <a:gd name="T86" fmla="*/ 8 w 84"/>
                  <a:gd name="T87" fmla="*/ 46 h 99"/>
                  <a:gd name="T88" fmla="*/ 5 w 84"/>
                  <a:gd name="T89" fmla="*/ 49 h 99"/>
                  <a:gd name="T90" fmla="*/ 0 w 84"/>
                  <a:gd name="T91" fmla="*/ 48 h 99"/>
                  <a:gd name="T92" fmla="*/ 6 w 84"/>
                  <a:gd name="T93" fmla="*/ 59 h 99"/>
                  <a:gd name="T94" fmla="*/ 9 w 84"/>
                  <a:gd name="T95" fmla="*/ 64 h 99"/>
                  <a:gd name="T96" fmla="*/ 19 w 84"/>
                  <a:gd name="T97" fmla="*/ 77 h 99"/>
                  <a:gd name="T98" fmla="*/ 30 w 84"/>
                  <a:gd name="T99" fmla="*/ 89 h 99"/>
                  <a:gd name="T100" fmla="*/ 32 w 84"/>
                  <a:gd name="T101" fmla="*/ 8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4" h="99">
                    <a:moveTo>
                      <a:pt x="32" y="88"/>
                    </a:moveTo>
                    <a:cubicBezTo>
                      <a:pt x="39" y="87"/>
                      <a:pt x="39" y="87"/>
                      <a:pt x="39" y="87"/>
                    </a:cubicBezTo>
                    <a:cubicBezTo>
                      <a:pt x="48" y="90"/>
                      <a:pt x="48" y="90"/>
                      <a:pt x="48" y="90"/>
                    </a:cubicBezTo>
                    <a:cubicBezTo>
                      <a:pt x="52" y="89"/>
                      <a:pt x="52" y="89"/>
                      <a:pt x="52" y="89"/>
                    </a:cubicBezTo>
                    <a:cubicBezTo>
                      <a:pt x="57" y="89"/>
                      <a:pt x="57" y="89"/>
                      <a:pt x="57" y="89"/>
                    </a:cubicBezTo>
                    <a:cubicBezTo>
                      <a:pt x="59" y="92"/>
                      <a:pt x="59" y="92"/>
                      <a:pt x="59" y="92"/>
                    </a:cubicBezTo>
                    <a:cubicBezTo>
                      <a:pt x="61" y="93"/>
                      <a:pt x="61" y="93"/>
                      <a:pt x="61" y="93"/>
                    </a:cubicBezTo>
                    <a:cubicBezTo>
                      <a:pt x="61" y="95"/>
                      <a:pt x="61" y="95"/>
                      <a:pt x="61" y="95"/>
                    </a:cubicBezTo>
                    <a:cubicBezTo>
                      <a:pt x="65" y="99"/>
                      <a:pt x="65" y="99"/>
                      <a:pt x="65" y="99"/>
                    </a:cubicBezTo>
                    <a:cubicBezTo>
                      <a:pt x="67" y="98"/>
                      <a:pt x="67" y="98"/>
                      <a:pt x="67" y="98"/>
                    </a:cubicBezTo>
                    <a:cubicBezTo>
                      <a:pt x="69" y="98"/>
                      <a:pt x="69" y="98"/>
                      <a:pt x="69" y="98"/>
                    </a:cubicBezTo>
                    <a:cubicBezTo>
                      <a:pt x="69" y="97"/>
                      <a:pt x="69" y="97"/>
                      <a:pt x="69" y="97"/>
                    </a:cubicBezTo>
                    <a:cubicBezTo>
                      <a:pt x="71" y="96"/>
                      <a:pt x="71" y="96"/>
                      <a:pt x="71" y="96"/>
                    </a:cubicBezTo>
                    <a:cubicBezTo>
                      <a:pt x="70" y="93"/>
                      <a:pt x="70" y="93"/>
                      <a:pt x="70" y="93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7" y="86"/>
                      <a:pt x="67" y="86"/>
                      <a:pt x="67" y="86"/>
                    </a:cubicBezTo>
                    <a:cubicBezTo>
                      <a:pt x="69" y="80"/>
                      <a:pt x="69" y="80"/>
                      <a:pt x="69" y="80"/>
                    </a:cubicBezTo>
                    <a:cubicBezTo>
                      <a:pt x="71" y="77"/>
                      <a:pt x="71" y="77"/>
                      <a:pt x="71" y="77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70" y="75"/>
                      <a:pt x="70" y="75"/>
                      <a:pt x="70" y="75"/>
                    </a:cubicBezTo>
                    <a:cubicBezTo>
                      <a:pt x="69" y="77"/>
                      <a:pt x="69" y="77"/>
                      <a:pt x="69" y="77"/>
                    </a:cubicBezTo>
                    <a:cubicBezTo>
                      <a:pt x="67" y="78"/>
                      <a:pt x="67" y="78"/>
                      <a:pt x="67" y="78"/>
                    </a:cubicBezTo>
                    <a:cubicBezTo>
                      <a:pt x="67" y="75"/>
                      <a:pt x="67" y="75"/>
                      <a:pt x="67" y="75"/>
                    </a:cubicBezTo>
                    <a:cubicBezTo>
                      <a:pt x="68" y="71"/>
                      <a:pt x="68" y="71"/>
                      <a:pt x="68" y="71"/>
                    </a:cubicBezTo>
                    <a:cubicBezTo>
                      <a:pt x="70" y="67"/>
                      <a:pt x="70" y="67"/>
                      <a:pt x="70" y="67"/>
                    </a:cubicBezTo>
                    <a:cubicBezTo>
                      <a:pt x="69" y="64"/>
                      <a:pt x="69" y="64"/>
                      <a:pt x="69" y="64"/>
                    </a:cubicBezTo>
                    <a:cubicBezTo>
                      <a:pt x="70" y="61"/>
                      <a:pt x="70" y="61"/>
                      <a:pt x="70" y="61"/>
                    </a:cubicBezTo>
                    <a:cubicBezTo>
                      <a:pt x="72" y="54"/>
                      <a:pt x="72" y="54"/>
                      <a:pt x="72" y="54"/>
                    </a:cubicBezTo>
                    <a:cubicBezTo>
                      <a:pt x="73" y="55"/>
                      <a:pt x="73" y="55"/>
                      <a:pt x="73" y="55"/>
                    </a:cubicBezTo>
                    <a:cubicBezTo>
                      <a:pt x="73" y="57"/>
                      <a:pt x="73" y="57"/>
                      <a:pt x="73" y="57"/>
                    </a:cubicBezTo>
                    <a:cubicBezTo>
                      <a:pt x="73" y="57"/>
                      <a:pt x="72" y="59"/>
                      <a:pt x="72" y="60"/>
                    </a:cubicBezTo>
                    <a:cubicBezTo>
                      <a:pt x="72" y="61"/>
                      <a:pt x="72" y="65"/>
                      <a:pt x="72" y="65"/>
                    </a:cubicBezTo>
                    <a:cubicBezTo>
                      <a:pt x="73" y="65"/>
                      <a:pt x="73" y="65"/>
                      <a:pt x="73" y="65"/>
                    </a:cubicBezTo>
                    <a:cubicBezTo>
                      <a:pt x="75" y="62"/>
                      <a:pt x="75" y="62"/>
                      <a:pt x="75" y="62"/>
                    </a:cubicBezTo>
                    <a:cubicBezTo>
                      <a:pt x="76" y="53"/>
                      <a:pt x="76" y="53"/>
                      <a:pt x="76" y="53"/>
                    </a:cubicBezTo>
                    <a:cubicBezTo>
                      <a:pt x="76" y="43"/>
                      <a:pt x="76" y="43"/>
                      <a:pt x="76" y="43"/>
                    </a:cubicBezTo>
                    <a:cubicBezTo>
                      <a:pt x="76" y="41"/>
                      <a:pt x="76" y="41"/>
                      <a:pt x="76" y="41"/>
                    </a:cubicBezTo>
                    <a:cubicBezTo>
                      <a:pt x="75" y="39"/>
                      <a:pt x="75" y="39"/>
                      <a:pt x="75" y="39"/>
                    </a:cubicBezTo>
                    <a:cubicBezTo>
                      <a:pt x="74" y="38"/>
                      <a:pt x="74" y="38"/>
                      <a:pt x="74" y="38"/>
                    </a:cubicBezTo>
                    <a:cubicBezTo>
                      <a:pt x="74" y="36"/>
                      <a:pt x="74" y="36"/>
                      <a:pt x="74" y="36"/>
                    </a:cubicBezTo>
                    <a:cubicBezTo>
                      <a:pt x="75" y="34"/>
                      <a:pt x="75" y="34"/>
                      <a:pt x="75" y="34"/>
                    </a:cubicBezTo>
                    <a:cubicBezTo>
                      <a:pt x="76" y="34"/>
                      <a:pt x="76" y="34"/>
                      <a:pt x="76" y="34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78" y="30"/>
                      <a:pt x="78" y="30"/>
                      <a:pt x="78" y="30"/>
                    </a:cubicBezTo>
                    <a:cubicBezTo>
                      <a:pt x="81" y="26"/>
                      <a:pt x="81" y="26"/>
                      <a:pt x="81" y="26"/>
                    </a:cubicBezTo>
                    <a:cubicBezTo>
                      <a:pt x="82" y="23"/>
                      <a:pt x="82" y="23"/>
                      <a:pt x="82" y="23"/>
                    </a:cubicBezTo>
                    <a:cubicBezTo>
                      <a:pt x="83" y="21"/>
                      <a:pt x="83" y="21"/>
                      <a:pt x="83" y="21"/>
                    </a:cubicBezTo>
                    <a:cubicBezTo>
                      <a:pt x="81" y="19"/>
                      <a:pt x="81" y="19"/>
                      <a:pt x="81" y="19"/>
                    </a:cubicBezTo>
                    <a:cubicBezTo>
                      <a:pt x="81" y="17"/>
                      <a:pt x="81" y="17"/>
                      <a:pt x="81" y="17"/>
                    </a:cubicBezTo>
                    <a:cubicBezTo>
                      <a:pt x="82" y="14"/>
                      <a:pt x="82" y="14"/>
                      <a:pt x="82" y="14"/>
                    </a:cubicBezTo>
                    <a:cubicBezTo>
                      <a:pt x="81" y="11"/>
                      <a:pt x="81" y="11"/>
                      <a:pt x="81" y="11"/>
                    </a:cubicBezTo>
                    <a:cubicBezTo>
                      <a:pt x="82" y="5"/>
                      <a:pt x="82" y="5"/>
                      <a:pt x="82" y="5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4" y="1"/>
                      <a:pt x="84" y="1"/>
                      <a:pt x="84" y="1"/>
                    </a:cubicBezTo>
                    <a:cubicBezTo>
                      <a:pt x="82" y="2"/>
                      <a:pt x="82" y="2"/>
                      <a:pt x="82" y="2"/>
                    </a:cubicBezTo>
                    <a:cubicBezTo>
                      <a:pt x="79" y="2"/>
                      <a:pt x="79" y="2"/>
                      <a:pt x="79" y="2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6" y="0"/>
                      <a:pt x="76" y="0"/>
                      <a:pt x="76" y="0"/>
                    </a:cubicBezTo>
                    <a:cubicBezTo>
                      <a:pt x="75" y="1"/>
                      <a:pt x="75" y="1"/>
                      <a:pt x="75" y="1"/>
                    </a:cubicBezTo>
                    <a:cubicBezTo>
                      <a:pt x="74" y="4"/>
                      <a:pt x="74" y="4"/>
                      <a:pt x="74" y="4"/>
                    </a:cubicBezTo>
                    <a:cubicBezTo>
                      <a:pt x="72" y="5"/>
                      <a:pt x="72" y="5"/>
                      <a:pt x="72" y="5"/>
                    </a:cubicBezTo>
                    <a:cubicBezTo>
                      <a:pt x="68" y="8"/>
                      <a:pt x="68" y="8"/>
                      <a:pt x="68" y="8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5" y="11"/>
                      <a:pt x="65" y="11"/>
                      <a:pt x="65" y="11"/>
                    </a:cubicBezTo>
                    <a:cubicBezTo>
                      <a:pt x="62" y="10"/>
                      <a:pt x="62" y="10"/>
                      <a:pt x="62" y="10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8" y="9"/>
                      <a:pt x="58" y="9"/>
                      <a:pt x="58" y="9"/>
                    </a:cubicBezTo>
                    <a:cubicBezTo>
                      <a:pt x="56" y="7"/>
                      <a:pt x="56" y="7"/>
                      <a:pt x="56" y="7"/>
                    </a:cubicBezTo>
                    <a:cubicBezTo>
                      <a:pt x="54" y="7"/>
                      <a:pt x="54" y="7"/>
                      <a:pt x="54" y="7"/>
                    </a:cubicBezTo>
                    <a:cubicBezTo>
                      <a:pt x="53" y="11"/>
                      <a:pt x="53" y="11"/>
                      <a:pt x="53" y="11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47" y="16"/>
                      <a:pt x="47" y="16"/>
                      <a:pt x="47" y="16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5" y="20"/>
                      <a:pt x="45" y="20"/>
                      <a:pt x="45" y="20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38" y="26"/>
                      <a:pt x="38" y="26"/>
                      <a:pt x="38" y="26"/>
                    </a:cubicBezTo>
                    <a:cubicBezTo>
                      <a:pt x="37" y="28"/>
                      <a:pt x="37" y="28"/>
                      <a:pt x="37" y="28"/>
                    </a:cubicBezTo>
                    <a:cubicBezTo>
                      <a:pt x="34" y="27"/>
                      <a:pt x="34" y="27"/>
                      <a:pt x="34" y="27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30" y="25"/>
                      <a:pt x="30" y="25"/>
                      <a:pt x="30" y="25"/>
                    </a:cubicBezTo>
                    <a:cubicBezTo>
                      <a:pt x="26" y="24"/>
                      <a:pt x="26" y="24"/>
                      <a:pt x="26" y="24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14" y="29"/>
                      <a:pt x="14" y="29"/>
                      <a:pt x="14" y="29"/>
                    </a:cubicBezTo>
                    <a:cubicBezTo>
                      <a:pt x="15" y="33"/>
                      <a:pt x="15" y="33"/>
                      <a:pt x="15" y="33"/>
                    </a:cubicBezTo>
                    <a:cubicBezTo>
                      <a:pt x="15" y="36"/>
                      <a:pt x="15" y="36"/>
                      <a:pt x="15" y="36"/>
                    </a:cubicBezTo>
                    <a:cubicBezTo>
                      <a:pt x="14" y="42"/>
                      <a:pt x="14" y="42"/>
                      <a:pt x="14" y="42"/>
                    </a:cubicBezTo>
                    <a:cubicBezTo>
                      <a:pt x="13" y="45"/>
                      <a:pt x="13" y="45"/>
                      <a:pt x="13" y="45"/>
                    </a:cubicBezTo>
                    <a:cubicBezTo>
                      <a:pt x="8" y="46"/>
                      <a:pt x="8" y="46"/>
                      <a:pt x="8" y="46"/>
                    </a:cubicBezTo>
                    <a:cubicBezTo>
                      <a:pt x="5" y="46"/>
                      <a:pt x="5" y="46"/>
                      <a:pt x="5" y="46"/>
                    </a:cubicBezTo>
                    <a:cubicBezTo>
                      <a:pt x="5" y="49"/>
                      <a:pt x="5" y="49"/>
                      <a:pt x="5" y="49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9" y="61"/>
                      <a:pt x="9" y="61"/>
                      <a:pt x="9" y="61"/>
                    </a:cubicBezTo>
                    <a:cubicBezTo>
                      <a:pt x="9" y="64"/>
                      <a:pt x="9" y="64"/>
                      <a:pt x="9" y="64"/>
                    </a:cubicBezTo>
                    <a:cubicBezTo>
                      <a:pt x="15" y="70"/>
                      <a:pt x="15" y="70"/>
                      <a:pt x="15" y="70"/>
                    </a:cubicBezTo>
                    <a:cubicBezTo>
                      <a:pt x="19" y="77"/>
                      <a:pt x="19" y="77"/>
                      <a:pt x="19" y="77"/>
                    </a:cubicBezTo>
                    <a:cubicBezTo>
                      <a:pt x="28" y="88"/>
                      <a:pt x="28" y="88"/>
                      <a:pt x="28" y="88"/>
                    </a:cubicBezTo>
                    <a:cubicBezTo>
                      <a:pt x="30" y="89"/>
                      <a:pt x="30" y="89"/>
                      <a:pt x="30" y="89"/>
                    </a:cubicBezTo>
                    <a:cubicBezTo>
                      <a:pt x="31" y="90"/>
                      <a:pt x="31" y="90"/>
                      <a:pt x="31" y="90"/>
                    </a:cubicBezTo>
                    <a:cubicBezTo>
                      <a:pt x="32" y="89"/>
                      <a:pt x="32" y="89"/>
                      <a:pt x="32" y="89"/>
                    </a:cubicBezTo>
                    <a:lnTo>
                      <a:pt x="32" y="8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1279">
                <a:extLst>
                  <a:ext uri="{FF2B5EF4-FFF2-40B4-BE49-F238E27FC236}">
                    <a16:creationId xmlns:a16="http://schemas.microsoft.com/office/drawing/2014/main" id="{E7F28E0F-102F-41C3-81BF-794939D73D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0151" y="4084638"/>
                <a:ext cx="1588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1280">
                <a:extLst>
                  <a:ext uri="{FF2B5EF4-FFF2-40B4-BE49-F238E27FC236}">
                    <a16:creationId xmlns:a16="http://schemas.microsoft.com/office/drawing/2014/main" id="{0F5C9CE6-97FE-4CC8-9361-1922749C03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3326" y="4008438"/>
                <a:ext cx="142875" cy="87313"/>
              </a:xfrm>
              <a:custGeom>
                <a:avLst/>
                <a:gdLst>
                  <a:gd name="T0" fmla="*/ 35 w 90"/>
                  <a:gd name="T1" fmla="*/ 51 h 55"/>
                  <a:gd name="T2" fmla="*/ 36 w 90"/>
                  <a:gd name="T3" fmla="*/ 44 h 55"/>
                  <a:gd name="T4" fmla="*/ 40 w 90"/>
                  <a:gd name="T5" fmla="*/ 41 h 55"/>
                  <a:gd name="T6" fmla="*/ 48 w 90"/>
                  <a:gd name="T7" fmla="*/ 38 h 55"/>
                  <a:gd name="T8" fmla="*/ 51 w 90"/>
                  <a:gd name="T9" fmla="*/ 40 h 55"/>
                  <a:gd name="T10" fmla="*/ 54 w 90"/>
                  <a:gd name="T11" fmla="*/ 39 h 55"/>
                  <a:gd name="T12" fmla="*/ 59 w 90"/>
                  <a:gd name="T13" fmla="*/ 34 h 55"/>
                  <a:gd name="T14" fmla="*/ 61 w 90"/>
                  <a:gd name="T15" fmla="*/ 31 h 55"/>
                  <a:gd name="T16" fmla="*/ 66 w 90"/>
                  <a:gd name="T17" fmla="*/ 27 h 55"/>
                  <a:gd name="T18" fmla="*/ 68 w 90"/>
                  <a:gd name="T19" fmla="*/ 24 h 55"/>
                  <a:gd name="T20" fmla="*/ 70 w 90"/>
                  <a:gd name="T21" fmla="*/ 27 h 55"/>
                  <a:gd name="T22" fmla="*/ 75 w 90"/>
                  <a:gd name="T23" fmla="*/ 27 h 55"/>
                  <a:gd name="T24" fmla="*/ 77 w 90"/>
                  <a:gd name="T25" fmla="*/ 25 h 55"/>
                  <a:gd name="T26" fmla="*/ 82 w 90"/>
                  <a:gd name="T27" fmla="*/ 22 h 55"/>
                  <a:gd name="T28" fmla="*/ 83 w 90"/>
                  <a:gd name="T29" fmla="*/ 19 h 55"/>
                  <a:gd name="T30" fmla="*/ 86 w 90"/>
                  <a:gd name="T31" fmla="*/ 20 h 55"/>
                  <a:gd name="T32" fmla="*/ 90 w 90"/>
                  <a:gd name="T33" fmla="*/ 20 h 55"/>
                  <a:gd name="T34" fmla="*/ 90 w 90"/>
                  <a:gd name="T35" fmla="*/ 17 h 55"/>
                  <a:gd name="T36" fmla="*/ 83 w 90"/>
                  <a:gd name="T37" fmla="*/ 12 h 55"/>
                  <a:gd name="T38" fmla="*/ 84 w 90"/>
                  <a:gd name="T39" fmla="*/ 16 h 55"/>
                  <a:gd name="T40" fmla="*/ 77 w 90"/>
                  <a:gd name="T41" fmla="*/ 15 h 55"/>
                  <a:gd name="T42" fmla="*/ 73 w 90"/>
                  <a:gd name="T43" fmla="*/ 13 h 55"/>
                  <a:gd name="T44" fmla="*/ 72 w 90"/>
                  <a:gd name="T45" fmla="*/ 12 h 55"/>
                  <a:gd name="T46" fmla="*/ 73 w 90"/>
                  <a:gd name="T47" fmla="*/ 10 h 55"/>
                  <a:gd name="T48" fmla="*/ 76 w 90"/>
                  <a:gd name="T49" fmla="*/ 10 h 55"/>
                  <a:gd name="T50" fmla="*/ 81 w 90"/>
                  <a:gd name="T51" fmla="*/ 11 h 55"/>
                  <a:gd name="T52" fmla="*/ 75 w 90"/>
                  <a:gd name="T53" fmla="*/ 6 h 55"/>
                  <a:gd name="T54" fmla="*/ 70 w 90"/>
                  <a:gd name="T55" fmla="*/ 6 h 55"/>
                  <a:gd name="T56" fmla="*/ 68 w 90"/>
                  <a:gd name="T57" fmla="*/ 8 h 55"/>
                  <a:gd name="T58" fmla="*/ 60 w 90"/>
                  <a:gd name="T59" fmla="*/ 6 h 55"/>
                  <a:gd name="T60" fmla="*/ 51 w 90"/>
                  <a:gd name="T61" fmla="*/ 2 h 55"/>
                  <a:gd name="T62" fmla="*/ 47 w 90"/>
                  <a:gd name="T63" fmla="*/ 2 h 55"/>
                  <a:gd name="T64" fmla="*/ 46 w 90"/>
                  <a:gd name="T65" fmla="*/ 4 h 55"/>
                  <a:gd name="T66" fmla="*/ 42 w 90"/>
                  <a:gd name="T67" fmla="*/ 4 h 55"/>
                  <a:gd name="T68" fmla="*/ 31 w 90"/>
                  <a:gd name="T69" fmla="*/ 5 h 55"/>
                  <a:gd name="T70" fmla="*/ 20 w 90"/>
                  <a:gd name="T71" fmla="*/ 8 h 55"/>
                  <a:gd name="T72" fmla="*/ 17 w 90"/>
                  <a:gd name="T73" fmla="*/ 8 h 55"/>
                  <a:gd name="T74" fmla="*/ 14 w 90"/>
                  <a:gd name="T75" fmla="*/ 12 h 55"/>
                  <a:gd name="T76" fmla="*/ 8 w 90"/>
                  <a:gd name="T77" fmla="*/ 15 h 55"/>
                  <a:gd name="T78" fmla="*/ 3 w 90"/>
                  <a:gd name="T79" fmla="*/ 22 h 55"/>
                  <a:gd name="T80" fmla="*/ 2 w 90"/>
                  <a:gd name="T81" fmla="*/ 30 h 55"/>
                  <a:gd name="T82" fmla="*/ 1 w 90"/>
                  <a:gd name="T83" fmla="*/ 30 h 55"/>
                  <a:gd name="T84" fmla="*/ 4 w 90"/>
                  <a:gd name="T85" fmla="*/ 31 h 55"/>
                  <a:gd name="T86" fmla="*/ 7 w 90"/>
                  <a:gd name="T87" fmla="*/ 34 h 55"/>
                  <a:gd name="T88" fmla="*/ 13 w 90"/>
                  <a:gd name="T89" fmla="*/ 34 h 55"/>
                  <a:gd name="T90" fmla="*/ 14 w 90"/>
                  <a:gd name="T91" fmla="*/ 39 h 55"/>
                  <a:gd name="T92" fmla="*/ 17 w 90"/>
                  <a:gd name="T93" fmla="*/ 39 h 55"/>
                  <a:gd name="T94" fmla="*/ 20 w 90"/>
                  <a:gd name="T95" fmla="*/ 37 h 55"/>
                  <a:gd name="T96" fmla="*/ 24 w 90"/>
                  <a:gd name="T97" fmla="*/ 37 h 55"/>
                  <a:gd name="T98" fmla="*/ 23 w 90"/>
                  <a:gd name="T99" fmla="*/ 44 h 55"/>
                  <a:gd name="T100" fmla="*/ 22 w 90"/>
                  <a:gd name="T101" fmla="*/ 48 h 55"/>
                  <a:gd name="T102" fmla="*/ 23 w 90"/>
                  <a:gd name="T103" fmla="*/ 49 h 55"/>
                  <a:gd name="T104" fmla="*/ 25 w 90"/>
                  <a:gd name="T105" fmla="*/ 51 h 55"/>
                  <a:gd name="T106" fmla="*/ 27 w 90"/>
                  <a:gd name="T107" fmla="*/ 50 h 55"/>
                  <a:gd name="T108" fmla="*/ 28 w 90"/>
                  <a:gd name="T109" fmla="*/ 53 h 55"/>
                  <a:gd name="T110" fmla="*/ 28 w 90"/>
                  <a:gd name="T111" fmla="*/ 55 h 55"/>
                  <a:gd name="T112" fmla="*/ 35 w 90"/>
                  <a:gd name="T113" fmla="*/ 5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0" h="55">
                    <a:moveTo>
                      <a:pt x="35" y="54"/>
                    </a:moveTo>
                    <a:lnTo>
                      <a:pt x="35" y="51"/>
                    </a:lnTo>
                    <a:lnTo>
                      <a:pt x="36" y="47"/>
                    </a:lnTo>
                    <a:lnTo>
                      <a:pt x="36" y="44"/>
                    </a:lnTo>
                    <a:lnTo>
                      <a:pt x="35" y="41"/>
                    </a:lnTo>
                    <a:lnTo>
                      <a:pt x="40" y="41"/>
                    </a:lnTo>
                    <a:lnTo>
                      <a:pt x="45" y="37"/>
                    </a:lnTo>
                    <a:lnTo>
                      <a:pt x="48" y="38"/>
                    </a:lnTo>
                    <a:lnTo>
                      <a:pt x="49" y="41"/>
                    </a:lnTo>
                    <a:lnTo>
                      <a:pt x="51" y="40"/>
                    </a:lnTo>
                    <a:lnTo>
                      <a:pt x="53" y="41"/>
                    </a:lnTo>
                    <a:lnTo>
                      <a:pt x="54" y="39"/>
                    </a:lnTo>
                    <a:lnTo>
                      <a:pt x="57" y="37"/>
                    </a:lnTo>
                    <a:lnTo>
                      <a:pt x="59" y="34"/>
                    </a:lnTo>
                    <a:lnTo>
                      <a:pt x="61" y="34"/>
                    </a:lnTo>
                    <a:lnTo>
                      <a:pt x="61" y="31"/>
                    </a:lnTo>
                    <a:lnTo>
                      <a:pt x="63" y="27"/>
                    </a:lnTo>
                    <a:lnTo>
                      <a:pt x="66" y="27"/>
                    </a:lnTo>
                    <a:lnTo>
                      <a:pt x="66" y="24"/>
                    </a:lnTo>
                    <a:lnTo>
                      <a:pt x="68" y="24"/>
                    </a:lnTo>
                    <a:lnTo>
                      <a:pt x="69" y="26"/>
                    </a:lnTo>
                    <a:lnTo>
                      <a:pt x="70" y="27"/>
                    </a:lnTo>
                    <a:lnTo>
                      <a:pt x="73" y="27"/>
                    </a:lnTo>
                    <a:lnTo>
                      <a:pt x="75" y="27"/>
                    </a:lnTo>
                    <a:lnTo>
                      <a:pt x="75" y="26"/>
                    </a:lnTo>
                    <a:lnTo>
                      <a:pt x="77" y="25"/>
                    </a:lnTo>
                    <a:lnTo>
                      <a:pt x="80" y="23"/>
                    </a:lnTo>
                    <a:lnTo>
                      <a:pt x="82" y="22"/>
                    </a:lnTo>
                    <a:lnTo>
                      <a:pt x="83" y="20"/>
                    </a:lnTo>
                    <a:lnTo>
                      <a:pt x="83" y="19"/>
                    </a:lnTo>
                    <a:lnTo>
                      <a:pt x="85" y="19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90" y="20"/>
                    </a:lnTo>
                    <a:lnTo>
                      <a:pt x="90" y="19"/>
                    </a:lnTo>
                    <a:lnTo>
                      <a:pt x="90" y="17"/>
                    </a:lnTo>
                    <a:lnTo>
                      <a:pt x="87" y="13"/>
                    </a:lnTo>
                    <a:lnTo>
                      <a:pt x="83" y="12"/>
                    </a:lnTo>
                    <a:lnTo>
                      <a:pt x="83" y="13"/>
                    </a:lnTo>
                    <a:lnTo>
                      <a:pt x="84" y="16"/>
                    </a:lnTo>
                    <a:lnTo>
                      <a:pt x="81" y="16"/>
                    </a:lnTo>
                    <a:lnTo>
                      <a:pt x="77" y="15"/>
                    </a:lnTo>
                    <a:lnTo>
                      <a:pt x="76" y="13"/>
                    </a:lnTo>
                    <a:lnTo>
                      <a:pt x="73" y="13"/>
                    </a:lnTo>
                    <a:lnTo>
                      <a:pt x="71" y="13"/>
                    </a:lnTo>
                    <a:lnTo>
                      <a:pt x="72" y="12"/>
                    </a:lnTo>
                    <a:lnTo>
                      <a:pt x="73" y="11"/>
                    </a:lnTo>
                    <a:lnTo>
                      <a:pt x="73" y="10"/>
                    </a:lnTo>
                    <a:lnTo>
                      <a:pt x="74" y="10"/>
                    </a:lnTo>
                    <a:lnTo>
                      <a:pt x="76" y="10"/>
                    </a:lnTo>
                    <a:lnTo>
                      <a:pt x="80" y="11"/>
                    </a:lnTo>
                    <a:lnTo>
                      <a:pt x="81" y="11"/>
                    </a:lnTo>
                    <a:lnTo>
                      <a:pt x="79" y="8"/>
                    </a:lnTo>
                    <a:lnTo>
                      <a:pt x="75" y="6"/>
                    </a:lnTo>
                    <a:lnTo>
                      <a:pt x="73" y="6"/>
                    </a:lnTo>
                    <a:lnTo>
                      <a:pt x="70" y="6"/>
                    </a:lnTo>
                    <a:lnTo>
                      <a:pt x="69" y="6"/>
                    </a:lnTo>
                    <a:lnTo>
                      <a:pt x="68" y="8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4" y="5"/>
                    </a:lnTo>
                    <a:lnTo>
                      <a:pt x="51" y="2"/>
                    </a:lnTo>
                    <a:lnTo>
                      <a:pt x="48" y="0"/>
                    </a:lnTo>
                    <a:lnTo>
                      <a:pt x="47" y="2"/>
                    </a:lnTo>
                    <a:lnTo>
                      <a:pt x="48" y="3"/>
                    </a:lnTo>
                    <a:lnTo>
                      <a:pt x="46" y="4"/>
                    </a:lnTo>
                    <a:lnTo>
                      <a:pt x="45" y="6"/>
                    </a:lnTo>
                    <a:lnTo>
                      <a:pt x="42" y="4"/>
                    </a:lnTo>
                    <a:lnTo>
                      <a:pt x="38" y="6"/>
                    </a:lnTo>
                    <a:lnTo>
                      <a:pt x="31" y="5"/>
                    </a:lnTo>
                    <a:lnTo>
                      <a:pt x="23" y="6"/>
                    </a:lnTo>
                    <a:lnTo>
                      <a:pt x="20" y="8"/>
                    </a:lnTo>
                    <a:lnTo>
                      <a:pt x="18" y="6"/>
                    </a:lnTo>
                    <a:lnTo>
                      <a:pt x="17" y="8"/>
                    </a:lnTo>
                    <a:lnTo>
                      <a:pt x="16" y="10"/>
                    </a:lnTo>
                    <a:lnTo>
                      <a:pt x="14" y="12"/>
                    </a:lnTo>
                    <a:lnTo>
                      <a:pt x="10" y="15"/>
                    </a:lnTo>
                    <a:lnTo>
                      <a:pt x="8" y="15"/>
                    </a:lnTo>
                    <a:lnTo>
                      <a:pt x="5" y="20"/>
                    </a:lnTo>
                    <a:lnTo>
                      <a:pt x="3" y="22"/>
                    </a:lnTo>
                    <a:lnTo>
                      <a:pt x="3" y="25"/>
                    </a:lnTo>
                    <a:lnTo>
                      <a:pt x="2" y="30"/>
                    </a:lnTo>
                    <a:lnTo>
                      <a:pt x="0" y="31"/>
                    </a:lnTo>
                    <a:lnTo>
                      <a:pt x="1" y="30"/>
                    </a:lnTo>
                    <a:lnTo>
                      <a:pt x="3" y="31"/>
                    </a:lnTo>
                    <a:lnTo>
                      <a:pt x="4" y="31"/>
                    </a:lnTo>
                    <a:lnTo>
                      <a:pt x="6" y="32"/>
                    </a:lnTo>
                    <a:lnTo>
                      <a:pt x="7" y="34"/>
                    </a:lnTo>
                    <a:lnTo>
                      <a:pt x="10" y="34"/>
                    </a:lnTo>
                    <a:lnTo>
                      <a:pt x="13" y="34"/>
                    </a:lnTo>
                    <a:lnTo>
                      <a:pt x="14" y="37"/>
                    </a:lnTo>
                    <a:lnTo>
                      <a:pt x="14" y="39"/>
                    </a:lnTo>
                    <a:lnTo>
                      <a:pt x="17" y="41"/>
                    </a:lnTo>
                    <a:lnTo>
                      <a:pt x="17" y="39"/>
                    </a:lnTo>
                    <a:lnTo>
                      <a:pt x="17" y="37"/>
                    </a:lnTo>
                    <a:lnTo>
                      <a:pt x="20" y="37"/>
                    </a:lnTo>
                    <a:lnTo>
                      <a:pt x="21" y="37"/>
                    </a:lnTo>
                    <a:lnTo>
                      <a:pt x="24" y="37"/>
                    </a:lnTo>
                    <a:lnTo>
                      <a:pt x="24" y="41"/>
                    </a:lnTo>
                    <a:lnTo>
                      <a:pt x="23" y="44"/>
                    </a:lnTo>
                    <a:lnTo>
                      <a:pt x="23" y="45"/>
                    </a:lnTo>
                    <a:lnTo>
                      <a:pt x="22" y="48"/>
                    </a:lnTo>
                    <a:lnTo>
                      <a:pt x="23" y="49"/>
                    </a:lnTo>
                    <a:lnTo>
                      <a:pt x="23" y="49"/>
                    </a:lnTo>
                    <a:lnTo>
                      <a:pt x="24" y="50"/>
                    </a:lnTo>
                    <a:lnTo>
                      <a:pt x="25" y="51"/>
                    </a:lnTo>
                    <a:lnTo>
                      <a:pt x="26" y="51"/>
                    </a:lnTo>
                    <a:lnTo>
                      <a:pt x="27" y="50"/>
                    </a:lnTo>
                    <a:lnTo>
                      <a:pt x="28" y="51"/>
                    </a:lnTo>
                    <a:lnTo>
                      <a:pt x="28" y="53"/>
                    </a:lnTo>
                    <a:lnTo>
                      <a:pt x="28" y="55"/>
                    </a:lnTo>
                    <a:lnTo>
                      <a:pt x="28" y="55"/>
                    </a:lnTo>
                    <a:lnTo>
                      <a:pt x="31" y="55"/>
                    </a:lnTo>
                    <a:lnTo>
                      <a:pt x="35" y="5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Freeform 1281">
                <a:extLst>
                  <a:ext uri="{FF2B5EF4-FFF2-40B4-BE49-F238E27FC236}">
                    <a16:creationId xmlns:a16="http://schemas.microsoft.com/office/drawing/2014/main" id="{EFB6CCDB-2BD0-4036-8C92-7F451F9E24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4276" y="4056063"/>
                <a:ext cx="57150" cy="39688"/>
              </a:xfrm>
              <a:custGeom>
                <a:avLst/>
                <a:gdLst>
                  <a:gd name="T0" fmla="*/ 35 w 36"/>
                  <a:gd name="T1" fmla="*/ 15 h 25"/>
                  <a:gd name="T2" fmla="*/ 35 w 36"/>
                  <a:gd name="T3" fmla="*/ 14 h 25"/>
                  <a:gd name="T4" fmla="*/ 36 w 36"/>
                  <a:gd name="T5" fmla="*/ 11 h 25"/>
                  <a:gd name="T6" fmla="*/ 36 w 36"/>
                  <a:gd name="T7" fmla="*/ 7 h 25"/>
                  <a:gd name="T8" fmla="*/ 33 w 36"/>
                  <a:gd name="T9" fmla="*/ 7 h 25"/>
                  <a:gd name="T10" fmla="*/ 32 w 36"/>
                  <a:gd name="T11" fmla="*/ 7 h 25"/>
                  <a:gd name="T12" fmla="*/ 29 w 36"/>
                  <a:gd name="T13" fmla="*/ 7 h 25"/>
                  <a:gd name="T14" fmla="*/ 29 w 36"/>
                  <a:gd name="T15" fmla="*/ 9 h 25"/>
                  <a:gd name="T16" fmla="*/ 29 w 36"/>
                  <a:gd name="T17" fmla="*/ 11 h 25"/>
                  <a:gd name="T18" fmla="*/ 26 w 36"/>
                  <a:gd name="T19" fmla="*/ 9 h 25"/>
                  <a:gd name="T20" fmla="*/ 26 w 36"/>
                  <a:gd name="T21" fmla="*/ 7 h 25"/>
                  <a:gd name="T22" fmla="*/ 25 w 36"/>
                  <a:gd name="T23" fmla="*/ 4 h 25"/>
                  <a:gd name="T24" fmla="*/ 22 w 36"/>
                  <a:gd name="T25" fmla="*/ 4 h 25"/>
                  <a:gd name="T26" fmla="*/ 19 w 36"/>
                  <a:gd name="T27" fmla="*/ 4 h 25"/>
                  <a:gd name="T28" fmla="*/ 18 w 36"/>
                  <a:gd name="T29" fmla="*/ 2 h 25"/>
                  <a:gd name="T30" fmla="*/ 16 w 36"/>
                  <a:gd name="T31" fmla="*/ 1 h 25"/>
                  <a:gd name="T32" fmla="*/ 15 w 36"/>
                  <a:gd name="T33" fmla="*/ 1 h 25"/>
                  <a:gd name="T34" fmla="*/ 13 w 36"/>
                  <a:gd name="T35" fmla="*/ 0 h 25"/>
                  <a:gd name="T36" fmla="*/ 12 w 36"/>
                  <a:gd name="T37" fmla="*/ 1 h 25"/>
                  <a:gd name="T38" fmla="*/ 10 w 36"/>
                  <a:gd name="T39" fmla="*/ 3 h 25"/>
                  <a:gd name="T40" fmla="*/ 10 w 36"/>
                  <a:gd name="T41" fmla="*/ 4 h 25"/>
                  <a:gd name="T42" fmla="*/ 10 w 36"/>
                  <a:gd name="T43" fmla="*/ 5 h 25"/>
                  <a:gd name="T44" fmla="*/ 7 w 36"/>
                  <a:gd name="T45" fmla="*/ 6 h 25"/>
                  <a:gd name="T46" fmla="*/ 4 w 36"/>
                  <a:gd name="T47" fmla="*/ 7 h 25"/>
                  <a:gd name="T48" fmla="*/ 2 w 36"/>
                  <a:gd name="T49" fmla="*/ 10 h 25"/>
                  <a:gd name="T50" fmla="*/ 1 w 36"/>
                  <a:gd name="T51" fmla="*/ 12 h 25"/>
                  <a:gd name="T52" fmla="*/ 0 w 36"/>
                  <a:gd name="T53" fmla="*/ 14 h 25"/>
                  <a:gd name="T54" fmla="*/ 2 w 36"/>
                  <a:gd name="T55" fmla="*/ 14 h 25"/>
                  <a:gd name="T56" fmla="*/ 4 w 36"/>
                  <a:gd name="T57" fmla="*/ 14 h 25"/>
                  <a:gd name="T58" fmla="*/ 6 w 36"/>
                  <a:gd name="T59" fmla="*/ 17 h 25"/>
                  <a:gd name="T60" fmla="*/ 9 w 36"/>
                  <a:gd name="T61" fmla="*/ 18 h 25"/>
                  <a:gd name="T62" fmla="*/ 10 w 36"/>
                  <a:gd name="T63" fmla="*/ 18 h 25"/>
                  <a:gd name="T64" fmla="*/ 11 w 36"/>
                  <a:gd name="T65" fmla="*/ 18 h 25"/>
                  <a:gd name="T66" fmla="*/ 16 w 36"/>
                  <a:gd name="T67" fmla="*/ 20 h 25"/>
                  <a:gd name="T68" fmla="*/ 20 w 36"/>
                  <a:gd name="T69" fmla="*/ 23 h 25"/>
                  <a:gd name="T70" fmla="*/ 21 w 36"/>
                  <a:gd name="T71" fmla="*/ 21 h 25"/>
                  <a:gd name="T72" fmla="*/ 19 w 36"/>
                  <a:gd name="T73" fmla="*/ 21 h 25"/>
                  <a:gd name="T74" fmla="*/ 20 w 36"/>
                  <a:gd name="T75" fmla="*/ 20 h 25"/>
                  <a:gd name="T76" fmla="*/ 22 w 36"/>
                  <a:gd name="T77" fmla="*/ 20 h 25"/>
                  <a:gd name="T78" fmla="*/ 25 w 36"/>
                  <a:gd name="T79" fmla="*/ 23 h 25"/>
                  <a:gd name="T80" fmla="*/ 26 w 36"/>
                  <a:gd name="T81" fmla="*/ 25 h 25"/>
                  <a:gd name="T82" fmla="*/ 33 w 36"/>
                  <a:gd name="T83" fmla="*/ 25 h 25"/>
                  <a:gd name="T84" fmla="*/ 35 w 36"/>
                  <a:gd name="T85" fmla="*/ 21 h 25"/>
                  <a:gd name="T86" fmla="*/ 34 w 36"/>
                  <a:gd name="T87" fmla="*/ 20 h 25"/>
                  <a:gd name="T88" fmla="*/ 35 w 36"/>
                  <a:gd name="T89" fmla="*/ 19 h 25"/>
                  <a:gd name="T90" fmla="*/ 35 w 36"/>
                  <a:gd name="T91" fmla="*/ 19 h 25"/>
                  <a:gd name="T92" fmla="*/ 34 w 36"/>
                  <a:gd name="T93" fmla="*/ 18 h 25"/>
                  <a:gd name="T94" fmla="*/ 35 w 36"/>
                  <a:gd name="T95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" h="25">
                    <a:moveTo>
                      <a:pt x="35" y="15"/>
                    </a:moveTo>
                    <a:lnTo>
                      <a:pt x="35" y="14"/>
                    </a:lnTo>
                    <a:lnTo>
                      <a:pt x="36" y="11"/>
                    </a:lnTo>
                    <a:lnTo>
                      <a:pt x="36" y="7"/>
                    </a:lnTo>
                    <a:lnTo>
                      <a:pt x="33" y="7"/>
                    </a:lnTo>
                    <a:lnTo>
                      <a:pt x="32" y="7"/>
                    </a:lnTo>
                    <a:lnTo>
                      <a:pt x="29" y="7"/>
                    </a:lnTo>
                    <a:lnTo>
                      <a:pt x="29" y="9"/>
                    </a:lnTo>
                    <a:lnTo>
                      <a:pt x="29" y="11"/>
                    </a:lnTo>
                    <a:lnTo>
                      <a:pt x="26" y="9"/>
                    </a:lnTo>
                    <a:lnTo>
                      <a:pt x="26" y="7"/>
                    </a:lnTo>
                    <a:lnTo>
                      <a:pt x="25" y="4"/>
                    </a:lnTo>
                    <a:lnTo>
                      <a:pt x="22" y="4"/>
                    </a:lnTo>
                    <a:lnTo>
                      <a:pt x="19" y="4"/>
                    </a:lnTo>
                    <a:lnTo>
                      <a:pt x="18" y="2"/>
                    </a:lnTo>
                    <a:lnTo>
                      <a:pt x="16" y="1"/>
                    </a:lnTo>
                    <a:lnTo>
                      <a:pt x="15" y="1"/>
                    </a:lnTo>
                    <a:lnTo>
                      <a:pt x="13" y="0"/>
                    </a:lnTo>
                    <a:lnTo>
                      <a:pt x="12" y="1"/>
                    </a:lnTo>
                    <a:lnTo>
                      <a:pt x="10" y="3"/>
                    </a:lnTo>
                    <a:lnTo>
                      <a:pt x="10" y="4"/>
                    </a:lnTo>
                    <a:lnTo>
                      <a:pt x="10" y="5"/>
                    </a:lnTo>
                    <a:lnTo>
                      <a:pt x="7" y="6"/>
                    </a:lnTo>
                    <a:lnTo>
                      <a:pt x="4" y="7"/>
                    </a:lnTo>
                    <a:lnTo>
                      <a:pt x="2" y="10"/>
                    </a:lnTo>
                    <a:lnTo>
                      <a:pt x="1" y="12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6" y="17"/>
                    </a:lnTo>
                    <a:lnTo>
                      <a:pt x="9" y="18"/>
                    </a:lnTo>
                    <a:lnTo>
                      <a:pt x="10" y="18"/>
                    </a:lnTo>
                    <a:lnTo>
                      <a:pt x="11" y="18"/>
                    </a:lnTo>
                    <a:lnTo>
                      <a:pt x="16" y="20"/>
                    </a:lnTo>
                    <a:lnTo>
                      <a:pt x="20" y="23"/>
                    </a:lnTo>
                    <a:lnTo>
                      <a:pt x="21" y="21"/>
                    </a:lnTo>
                    <a:lnTo>
                      <a:pt x="19" y="21"/>
                    </a:lnTo>
                    <a:lnTo>
                      <a:pt x="20" y="20"/>
                    </a:lnTo>
                    <a:lnTo>
                      <a:pt x="22" y="20"/>
                    </a:lnTo>
                    <a:lnTo>
                      <a:pt x="25" y="23"/>
                    </a:lnTo>
                    <a:lnTo>
                      <a:pt x="26" y="25"/>
                    </a:lnTo>
                    <a:lnTo>
                      <a:pt x="33" y="25"/>
                    </a:lnTo>
                    <a:lnTo>
                      <a:pt x="35" y="21"/>
                    </a:lnTo>
                    <a:lnTo>
                      <a:pt x="34" y="20"/>
                    </a:lnTo>
                    <a:lnTo>
                      <a:pt x="35" y="19"/>
                    </a:lnTo>
                    <a:lnTo>
                      <a:pt x="35" y="19"/>
                    </a:lnTo>
                    <a:lnTo>
                      <a:pt x="34" y="18"/>
                    </a:lnTo>
                    <a:lnTo>
                      <a:pt x="35" y="1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Freeform 1282">
                <a:extLst>
                  <a:ext uri="{FF2B5EF4-FFF2-40B4-BE49-F238E27FC236}">
                    <a16:creationId xmlns:a16="http://schemas.microsoft.com/office/drawing/2014/main" id="{D45A06D2-FF61-482B-99F3-495CBC45F4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9676" y="3944938"/>
                <a:ext cx="26988" cy="68263"/>
              </a:xfrm>
              <a:custGeom>
                <a:avLst/>
                <a:gdLst>
                  <a:gd name="T0" fmla="*/ 10 w 17"/>
                  <a:gd name="T1" fmla="*/ 1 h 43"/>
                  <a:gd name="T2" fmla="*/ 9 w 17"/>
                  <a:gd name="T3" fmla="*/ 2 h 43"/>
                  <a:gd name="T4" fmla="*/ 8 w 17"/>
                  <a:gd name="T5" fmla="*/ 5 h 43"/>
                  <a:gd name="T6" fmla="*/ 6 w 17"/>
                  <a:gd name="T7" fmla="*/ 7 h 43"/>
                  <a:gd name="T8" fmla="*/ 6 w 17"/>
                  <a:gd name="T9" fmla="*/ 8 h 43"/>
                  <a:gd name="T10" fmla="*/ 6 w 17"/>
                  <a:gd name="T11" fmla="*/ 8 h 43"/>
                  <a:gd name="T12" fmla="*/ 5 w 17"/>
                  <a:gd name="T13" fmla="*/ 9 h 43"/>
                  <a:gd name="T14" fmla="*/ 4 w 17"/>
                  <a:gd name="T15" fmla="*/ 8 h 43"/>
                  <a:gd name="T16" fmla="*/ 4 w 17"/>
                  <a:gd name="T17" fmla="*/ 8 h 43"/>
                  <a:gd name="T18" fmla="*/ 2 w 17"/>
                  <a:gd name="T19" fmla="*/ 7 h 43"/>
                  <a:gd name="T20" fmla="*/ 0 w 17"/>
                  <a:gd name="T21" fmla="*/ 8 h 43"/>
                  <a:gd name="T22" fmla="*/ 0 w 17"/>
                  <a:gd name="T23" fmla="*/ 11 h 43"/>
                  <a:gd name="T24" fmla="*/ 0 w 17"/>
                  <a:gd name="T25" fmla="*/ 11 h 43"/>
                  <a:gd name="T26" fmla="*/ 0 w 17"/>
                  <a:gd name="T27" fmla="*/ 11 h 43"/>
                  <a:gd name="T28" fmla="*/ 0 w 17"/>
                  <a:gd name="T29" fmla="*/ 43 h 43"/>
                  <a:gd name="T30" fmla="*/ 2 w 17"/>
                  <a:gd name="T31" fmla="*/ 43 h 43"/>
                  <a:gd name="T32" fmla="*/ 3 w 17"/>
                  <a:gd name="T33" fmla="*/ 43 h 43"/>
                  <a:gd name="T34" fmla="*/ 4 w 17"/>
                  <a:gd name="T35" fmla="*/ 43 h 43"/>
                  <a:gd name="T36" fmla="*/ 4 w 17"/>
                  <a:gd name="T37" fmla="*/ 43 h 43"/>
                  <a:gd name="T38" fmla="*/ 6 w 17"/>
                  <a:gd name="T39" fmla="*/ 40 h 43"/>
                  <a:gd name="T40" fmla="*/ 8 w 17"/>
                  <a:gd name="T41" fmla="*/ 37 h 43"/>
                  <a:gd name="T42" fmla="*/ 10 w 17"/>
                  <a:gd name="T43" fmla="*/ 39 h 43"/>
                  <a:gd name="T44" fmla="*/ 13 w 17"/>
                  <a:gd name="T45" fmla="*/ 32 h 43"/>
                  <a:gd name="T46" fmla="*/ 15 w 17"/>
                  <a:gd name="T47" fmla="*/ 27 h 43"/>
                  <a:gd name="T48" fmla="*/ 15 w 17"/>
                  <a:gd name="T49" fmla="*/ 22 h 43"/>
                  <a:gd name="T50" fmla="*/ 13 w 17"/>
                  <a:gd name="T51" fmla="*/ 20 h 43"/>
                  <a:gd name="T52" fmla="*/ 14 w 17"/>
                  <a:gd name="T53" fmla="*/ 15 h 43"/>
                  <a:gd name="T54" fmla="*/ 16 w 17"/>
                  <a:gd name="T55" fmla="*/ 12 h 43"/>
                  <a:gd name="T56" fmla="*/ 16 w 17"/>
                  <a:gd name="T57" fmla="*/ 3 h 43"/>
                  <a:gd name="T58" fmla="*/ 17 w 17"/>
                  <a:gd name="T59" fmla="*/ 2 h 43"/>
                  <a:gd name="T60" fmla="*/ 17 w 17"/>
                  <a:gd name="T61" fmla="*/ 0 h 43"/>
                  <a:gd name="T62" fmla="*/ 14 w 17"/>
                  <a:gd name="T63" fmla="*/ 0 h 43"/>
                  <a:gd name="T64" fmla="*/ 13 w 17"/>
                  <a:gd name="T65" fmla="*/ 2 h 43"/>
                  <a:gd name="T66" fmla="*/ 12 w 17"/>
                  <a:gd name="T67" fmla="*/ 0 h 43"/>
                  <a:gd name="T68" fmla="*/ 11 w 17"/>
                  <a:gd name="T69" fmla="*/ 0 h 43"/>
                  <a:gd name="T70" fmla="*/ 10 w 17"/>
                  <a:gd name="T71" fmla="*/ 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7" h="43">
                    <a:moveTo>
                      <a:pt x="10" y="1"/>
                    </a:moveTo>
                    <a:lnTo>
                      <a:pt x="9" y="2"/>
                    </a:lnTo>
                    <a:lnTo>
                      <a:pt x="8" y="5"/>
                    </a:lnTo>
                    <a:lnTo>
                      <a:pt x="6" y="7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5" y="9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7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43"/>
                    </a:lnTo>
                    <a:lnTo>
                      <a:pt x="2" y="43"/>
                    </a:lnTo>
                    <a:lnTo>
                      <a:pt x="3" y="43"/>
                    </a:lnTo>
                    <a:lnTo>
                      <a:pt x="4" y="43"/>
                    </a:lnTo>
                    <a:lnTo>
                      <a:pt x="4" y="43"/>
                    </a:lnTo>
                    <a:lnTo>
                      <a:pt x="6" y="40"/>
                    </a:lnTo>
                    <a:lnTo>
                      <a:pt x="8" y="37"/>
                    </a:lnTo>
                    <a:lnTo>
                      <a:pt x="10" y="39"/>
                    </a:lnTo>
                    <a:lnTo>
                      <a:pt x="13" y="32"/>
                    </a:lnTo>
                    <a:lnTo>
                      <a:pt x="15" y="27"/>
                    </a:lnTo>
                    <a:lnTo>
                      <a:pt x="15" y="22"/>
                    </a:lnTo>
                    <a:lnTo>
                      <a:pt x="13" y="20"/>
                    </a:lnTo>
                    <a:lnTo>
                      <a:pt x="14" y="15"/>
                    </a:lnTo>
                    <a:lnTo>
                      <a:pt x="16" y="12"/>
                    </a:lnTo>
                    <a:lnTo>
                      <a:pt x="16" y="3"/>
                    </a:lnTo>
                    <a:lnTo>
                      <a:pt x="17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3" y="2"/>
                    </a:lnTo>
                    <a:lnTo>
                      <a:pt x="12" y="0"/>
                    </a:lnTo>
                    <a:lnTo>
                      <a:pt x="11" y="0"/>
                    </a:lnTo>
                    <a:lnTo>
                      <a:pt x="1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Freeform 1283">
                <a:extLst>
                  <a:ext uri="{FF2B5EF4-FFF2-40B4-BE49-F238E27FC236}">
                    <a16:creationId xmlns:a16="http://schemas.microsoft.com/office/drawing/2014/main" id="{A293F3B9-2404-4EF9-BE7B-A3E419EB1C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8238" y="3962400"/>
                <a:ext cx="93663" cy="115888"/>
              </a:xfrm>
              <a:custGeom>
                <a:avLst/>
                <a:gdLst>
                  <a:gd name="T0" fmla="*/ 31 w 59"/>
                  <a:gd name="T1" fmla="*/ 69 h 73"/>
                  <a:gd name="T2" fmla="*/ 33 w 59"/>
                  <a:gd name="T3" fmla="*/ 66 h 73"/>
                  <a:gd name="T4" fmla="*/ 36 w 59"/>
                  <a:gd name="T5" fmla="*/ 65 h 73"/>
                  <a:gd name="T6" fmla="*/ 39 w 59"/>
                  <a:gd name="T7" fmla="*/ 64 h 73"/>
                  <a:gd name="T8" fmla="*/ 39 w 59"/>
                  <a:gd name="T9" fmla="*/ 63 h 73"/>
                  <a:gd name="T10" fmla="*/ 39 w 59"/>
                  <a:gd name="T11" fmla="*/ 62 h 73"/>
                  <a:gd name="T12" fmla="*/ 43 w 59"/>
                  <a:gd name="T13" fmla="*/ 59 h 73"/>
                  <a:gd name="T14" fmla="*/ 44 w 59"/>
                  <a:gd name="T15" fmla="*/ 54 h 73"/>
                  <a:gd name="T16" fmla="*/ 44 w 59"/>
                  <a:gd name="T17" fmla="*/ 51 h 73"/>
                  <a:gd name="T18" fmla="*/ 46 w 59"/>
                  <a:gd name="T19" fmla="*/ 49 h 73"/>
                  <a:gd name="T20" fmla="*/ 49 w 59"/>
                  <a:gd name="T21" fmla="*/ 44 h 73"/>
                  <a:gd name="T22" fmla="*/ 51 w 59"/>
                  <a:gd name="T23" fmla="*/ 44 h 73"/>
                  <a:gd name="T24" fmla="*/ 55 w 59"/>
                  <a:gd name="T25" fmla="*/ 41 h 73"/>
                  <a:gd name="T26" fmla="*/ 57 w 59"/>
                  <a:gd name="T27" fmla="*/ 39 h 73"/>
                  <a:gd name="T28" fmla="*/ 58 w 59"/>
                  <a:gd name="T29" fmla="*/ 37 h 73"/>
                  <a:gd name="T30" fmla="*/ 59 w 59"/>
                  <a:gd name="T31" fmla="*/ 35 h 73"/>
                  <a:gd name="T32" fmla="*/ 58 w 59"/>
                  <a:gd name="T33" fmla="*/ 34 h 73"/>
                  <a:gd name="T34" fmla="*/ 55 w 59"/>
                  <a:gd name="T35" fmla="*/ 34 h 73"/>
                  <a:gd name="T36" fmla="*/ 55 w 59"/>
                  <a:gd name="T37" fmla="*/ 35 h 73"/>
                  <a:gd name="T38" fmla="*/ 52 w 59"/>
                  <a:gd name="T39" fmla="*/ 34 h 73"/>
                  <a:gd name="T40" fmla="*/ 50 w 59"/>
                  <a:gd name="T41" fmla="*/ 34 h 73"/>
                  <a:gd name="T42" fmla="*/ 49 w 59"/>
                  <a:gd name="T43" fmla="*/ 32 h 73"/>
                  <a:gd name="T44" fmla="*/ 48 w 59"/>
                  <a:gd name="T45" fmla="*/ 32 h 73"/>
                  <a:gd name="T46" fmla="*/ 47 w 59"/>
                  <a:gd name="T47" fmla="*/ 32 h 73"/>
                  <a:gd name="T48" fmla="*/ 45 w 59"/>
                  <a:gd name="T49" fmla="*/ 32 h 73"/>
                  <a:gd name="T50" fmla="*/ 45 w 59"/>
                  <a:gd name="T51" fmla="*/ 0 h 73"/>
                  <a:gd name="T52" fmla="*/ 45 w 59"/>
                  <a:gd name="T53" fmla="*/ 0 h 73"/>
                  <a:gd name="T54" fmla="*/ 20 w 59"/>
                  <a:gd name="T55" fmla="*/ 0 h 73"/>
                  <a:gd name="T56" fmla="*/ 20 w 59"/>
                  <a:gd name="T57" fmla="*/ 8 h 73"/>
                  <a:gd name="T58" fmla="*/ 14 w 59"/>
                  <a:gd name="T59" fmla="*/ 9 h 73"/>
                  <a:gd name="T60" fmla="*/ 17 w 59"/>
                  <a:gd name="T61" fmla="*/ 11 h 73"/>
                  <a:gd name="T62" fmla="*/ 17 w 59"/>
                  <a:gd name="T63" fmla="*/ 13 h 73"/>
                  <a:gd name="T64" fmla="*/ 20 w 59"/>
                  <a:gd name="T65" fmla="*/ 16 h 73"/>
                  <a:gd name="T66" fmla="*/ 22 w 59"/>
                  <a:gd name="T67" fmla="*/ 18 h 73"/>
                  <a:gd name="T68" fmla="*/ 24 w 59"/>
                  <a:gd name="T69" fmla="*/ 18 h 73"/>
                  <a:gd name="T70" fmla="*/ 24 w 59"/>
                  <a:gd name="T71" fmla="*/ 20 h 73"/>
                  <a:gd name="T72" fmla="*/ 24 w 59"/>
                  <a:gd name="T73" fmla="*/ 23 h 73"/>
                  <a:gd name="T74" fmla="*/ 26 w 59"/>
                  <a:gd name="T75" fmla="*/ 24 h 73"/>
                  <a:gd name="T76" fmla="*/ 28 w 59"/>
                  <a:gd name="T77" fmla="*/ 24 h 73"/>
                  <a:gd name="T78" fmla="*/ 30 w 59"/>
                  <a:gd name="T79" fmla="*/ 25 h 73"/>
                  <a:gd name="T80" fmla="*/ 30 w 59"/>
                  <a:gd name="T81" fmla="*/ 28 h 73"/>
                  <a:gd name="T82" fmla="*/ 28 w 59"/>
                  <a:gd name="T83" fmla="*/ 29 h 73"/>
                  <a:gd name="T84" fmla="*/ 10 w 59"/>
                  <a:gd name="T85" fmla="*/ 29 h 73"/>
                  <a:gd name="T86" fmla="*/ 2 w 59"/>
                  <a:gd name="T87" fmla="*/ 46 h 73"/>
                  <a:gd name="T88" fmla="*/ 2 w 59"/>
                  <a:gd name="T89" fmla="*/ 49 h 73"/>
                  <a:gd name="T90" fmla="*/ 2 w 59"/>
                  <a:gd name="T91" fmla="*/ 49 h 73"/>
                  <a:gd name="T92" fmla="*/ 2 w 59"/>
                  <a:gd name="T93" fmla="*/ 51 h 73"/>
                  <a:gd name="T94" fmla="*/ 3 w 59"/>
                  <a:gd name="T95" fmla="*/ 53 h 73"/>
                  <a:gd name="T96" fmla="*/ 3 w 59"/>
                  <a:gd name="T97" fmla="*/ 53 h 73"/>
                  <a:gd name="T98" fmla="*/ 3 w 59"/>
                  <a:gd name="T99" fmla="*/ 54 h 73"/>
                  <a:gd name="T100" fmla="*/ 1 w 59"/>
                  <a:gd name="T101" fmla="*/ 56 h 73"/>
                  <a:gd name="T102" fmla="*/ 1 w 59"/>
                  <a:gd name="T103" fmla="*/ 57 h 73"/>
                  <a:gd name="T104" fmla="*/ 0 w 59"/>
                  <a:gd name="T105" fmla="*/ 58 h 73"/>
                  <a:gd name="T106" fmla="*/ 3 w 59"/>
                  <a:gd name="T107" fmla="*/ 61 h 73"/>
                  <a:gd name="T108" fmla="*/ 4 w 59"/>
                  <a:gd name="T109" fmla="*/ 64 h 73"/>
                  <a:gd name="T110" fmla="*/ 6 w 59"/>
                  <a:gd name="T111" fmla="*/ 65 h 73"/>
                  <a:gd name="T112" fmla="*/ 9 w 59"/>
                  <a:gd name="T113" fmla="*/ 67 h 73"/>
                  <a:gd name="T114" fmla="*/ 16 w 59"/>
                  <a:gd name="T115" fmla="*/ 71 h 73"/>
                  <a:gd name="T116" fmla="*/ 20 w 59"/>
                  <a:gd name="T117" fmla="*/ 71 h 73"/>
                  <a:gd name="T118" fmla="*/ 24 w 59"/>
                  <a:gd name="T119" fmla="*/ 70 h 73"/>
                  <a:gd name="T120" fmla="*/ 29 w 59"/>
                  <a:gd name="T121" fmla="*/ 73 h 73"/>
                  <a:gd name="T122" fmla="*/ 30 w 59"/>
                  <a:gd name="T123" fmla="*/ 71 h 73"/>
                  <a:gd name="T124" fmla="*/ 31 w 59"/>
                  <a:gd name="T125" fmla="*/ 69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9" h="73">
                    <a:moveTo>
                      <a:pt x="31" y="69"/>
                    </a:moveTo>
                    <a:lnTo>
                      <a:pt x="33" y="66"/>
                    </a:lnTo>
                    <a:lnTo>
                      <a:pt x="36" y="65"/>
                    </a:lnTo>
                    <a:lnTo>
                      <a:pt x="39" y="64"/>
                    </a:lnTo>
                    <a:lnTo>
                      <a:pt x="39" y="63"/>
                    </a:lnTo>
                    <a:lnTo>
                      <a:pt x="39" y="62"/>
                    </a:lnTo>
                    <a:lnTo>
                      <a:pt x="43" y="59"/>
                    </a:lnTo>
                    <a:lnTo>
                      <a:pt x="44" y="54"/>
                    </a:lnTo>
                    <a:lnTo>
                      <a:pt x="44" y="51"/>
                    </a:lnTo>
                    <a:lnTo>
                      <a:pt x="46" y="49"/>
                    </a:lnTo>
                    <a:lnTo>
                      <a:pt x="49" y="44"/>
                    </a:lnTo>
                    <a:lnTo>
                      <a:pt x="51" y="44"/>
                    </a:lnTo>
                    <a:lnTo>
                      <a:pt x="55" y="41"/>
                    </a:lnTo>
                    <a:lnTo>
                      <a:pt x="57" y="39"/>
                    </a:lnTo>
                    <a:lnTo>
                      <a:pt x="58" y="37"/>
                    </a:lnTo>
                    <a:lnTo>
                      <a:pt x="59" y="35"/>
                    </a:lnTo>
                    <a:lnTo>
                      <a:pt x="58" y="34"/>
                    </a:lnTo>
                    <a:lnTo>
                      <a:pt x="55" y="34"/>
                    </a:lnTo>
                    <a:lnTo>
                      <a:pt x="55" y="35"/>
                    </a:lnTo>
                    <a:lnTo>
                      <a:pt x="52" y="34"/>
                    </a:lnTo>
                    <a:lnTo>
                      <a:pt x="50" y="34"/>
                    </a:lnTo>
                    <a:lnTo>
                      <a:pt x="49" y="32"/>
                    </a:lnTo>
                    <a:lnTo>
                      <a:pt x="48" y="32"/>
                    </a:lnTo>
                    <a:lnTo>
                      <a:pt x="47" y="32"/>
                    </a:lnTo>
                    <a:lnTo>
                      <a:pt x="45" y="32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20" y="0"/>
                    </a:lnTo>
                    <a:lnTo>
                      <a:pt x="20" y="8"/>
                    </a:lnTo>
                    <a:lnTo>
                      <a:pt x="14" y="9"/>
                    </a:lnTo>
                    <a:lnTo>
                      <a:pt x="17" y="11"/>
                    </a:lnTo>
                    <a:lnTo>
                      <a:pt x="17" y="13"/>
                    </a:lnTo>
                    <a:lnTo>
                      <a:pt x="20" y="16"/>
                    </a:lnTo>
                    <a:lnTo>
                      <a:pt x="22" y="18"/>
                    </a:lnTo>
                    <a:lnTo>
                      <a:pt x="24" y="18"/>
                    </a:lnTo>
                    <a:lnTo>
                      <a:pt x="24" y="20"/>
                    </a:lnTo>
                    <a:lnTo>
                      <a:pt x="24" y="23"/>
                    </a:lnTo>
                    <a:lnTo>
                      <a:pt x="26" y="24"/>
                    </a:lnTo>
                    <a:lnTo>
                      <a:pt x="28" y="24"/>
                    </a:lnTo>
                    <a:lnTo>
                      <a:pt x="30" y="25"/>
                    </a:lnTo>
                    <a:lnTo>
                      <a:pt x="30" y="28"/>
                    </a:lnTo>
                    <a:lnTo>
                      <a:pt x="28" y="29"/>
                    </a:lnTo>
                    <a:lnTo>
                      <a:pt x="10" y="29"/>
                    </a:lnTo>
                    <a:lnTo>
                      <a:pt x="2" y="46"/>
                    </a:lnTo>
                    <a:lnTo>
                      <a:pt x="2" y="49"/>
                    </a:lnTo>
                    <a:lnTo>
                      <a:pt x="2" y="49"/>
                    </a:lnTo>
                    <a:lnTo>
                      <a:pt x="2" y="51"/>
                    </a:lnTo>
                    <a:lnTo>
                      <a:pt x="3" y="53"/>
                    </a:lnTo>
                    <a:lnTo>
                      <a:pt x="3" y="53"/>
                    </a:lnTo>
                    <a:lnTo>
                      <a:pt x="3" y="54"/>
                    </a:lnTo>
                    <a:lnTo>
                      <a:pt x="1" y="56"/>
                    </a:lnTo>
                    <a:lnTo>
                      <a:pt x="1" y="57"/>
                    </a:lnTo>
                    <a:lnTo>
                      <a:pt x="0" y="58"/>
                    </a:lnTo>
                    <a:lnTo>
                      <a:pt x="3" y="61"/>
                    </a:lnTo>
                    <a:lnTo>
                      <a:pt x="4" y="64"/>
                    </a:lnTo>
                    <a:lnTo>
                      <a:pt x="6" y="65"/>
                    </a:lnTo>
                    <a:lnTo>
                      <a:pt x="9" y="67"/>
                    </a:lnTo>
                    <a:lnTo>
                      <a:pt x="16" y="71"/>
                    </a:lnTo>
                    <a:lnTo>
                      <a:pt x="20" y="71"/>
                    </a:lnTo>
                    <a:lnTo>
                      <a:pt x="24" y="70"/>
                    </a:lnTo>
                    <a:lnTo>
                      <a:pt x="29" y="73"/>
                    </a:lnTo>
                    <a:lnTo>
                      <a:pt x="30" y="71"/>
                    </a:lnTo>
                    <a:lnTo>
                      <a:pt x="31" y="6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0" name="Freeform 1284">
                <a:extLst>
                  <a:ext uri="{FF2B5EF4-FFF2-40B4-BE49-F238E27FC236}">
                    <a16:creationId xmlns:a16="http://schemas.microsoft.com/office/drawing/2014/main" id="{F8C3D43E-F7E7-47FD-9459-1D040258A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7713" y="3733800"/>
                <a:ext cx="4763" cy="9525"/>
              </a:xfrm>
              <a:custGeom>
                <a:avLst/>
                <a:gdLst>
                  <a:gd name="T0" fmla="*/ 0 w 3"/>
                  <a:gd name="T1" fmla="*/ 1 h 6"/>
                  <a:gd name="T2" fmla="*/ 0 w 3"/>
                  <a:gd name="T3" fmla="*/ 2 h 6"/>
                  <a:gd name="T4" fmla="*/ 1 w 3"/>
                  <a:gd name="T5" fmla="*/ 6 h 6"/>
                  <a:gd name="T6" fmla="*/ 3 w 3"/>
                  <a:gd name="T7" fmla="*/ 4 h 6"/>
                  <a:gd name="T8" fmla="*/ 2 w 3"/>
                  <a:gd name="T9" fmla="*/ 2 h 6"/>
                  <a:gd name="T10" fmla="*/ 0 w 3"/>
                  <a:gd name="T11" fmla="*/ 0 h 6"/>
                  <a:gd name="T12" fmla="*/ 0 w 3"/>
                  <a:gd name="T13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6">
                    <a:moveTo>
                      <a:pt x="0" y="1"/>
                    </a:moveTo>
                    <a:lnTo>
                      <a:pt x="0" y="2"/>
                    </a:lnTo>
                    <a:lnTo>
                      <a:pt x="1" y="6"/>
                    </a:lnTo>
                    <a:lnTo>
                      <a:pt x="3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1" name="Freeform 1285">
                <a:extLst>
                  <a:ext uri="{FF2B5EF4-FFF2-40B4-BE49-F238E27FC236}">
                    <a16:creationId xmlns:a16="http://schemas.microsoft.com/office/drawing/2014/main" id="{09618E35-5A08-4B3B-8FF9-884A89CD78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743325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1 w 2"/>
                  <a:gd name="T3" fmla="*/ 0 h 2"/>
                  <a:gd name="T4" fmla="*/ 0 w 2"/>
                  <a:gd name="T5" fmla="*/ 2 h 2"/>
                  <a:gd name="T6" fmla="*/ 1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2" name="Freeform 1286">
                <a:extLst>
                  <a:ext uri="{FF2B5EF4-FFF2-40B4-BE49-F238E27FC236}">
                    <a16:creationId xmlns:a16="http://schemas.microsoft.com/office/drawing/2014/main" id="{08DE10FF-5987-4E82-BCB6-C7E5044E34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6638" y="3756025"/>
                <a:ext cx="1588" cy="9525"/>
              </a:xfrm>
              <a:custGeom>
                <a:avLst/>
                <a:gdLst>
                  <a:gd name="T0" fmla="*/ 1 w 1"/>
                  <a:gd name="T1" fmla="*/ 3 h 6"/>
                  <a:gd name="T2" fmla="*/ 1 w 1"/>
                  <a:gd name="T3" fmla="*/ 0 h 6"/>
                  <a:gd name="T4" fmla="*/ 0 w 1"/>
                  <a:gd name="T5" fmla="*/ 6 h 6"/>
                  <a:gd name="T6" fmla="*/ 1 w 1"/>
                  <a:gd name="T7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6">
                    <a:moveTo>
                      <a:pt x="1" y="3"/>
                    </a:moveTo>
                    <a:lnTo>
                      <a:pt x="1" y="0"/>
                    </a:lnTo>
                    <a:lnTo>
                      <a:pt x="0" y="6"/>
                    </a:lnTo>
                    <a:lnTo>
                      <a:pt x="1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3" name="Freeform 1287">
                <a:extLst>
                  <a:ext uri="{FF2B5EF4-FFF2-40B4-BE49-F238E27FC236}">
                    <a16:creationId xmlns:a16="http://schemas.microsoft.com/office/drawing/2014/main" id="{6DED65D4-1C54-463C-B5F8-463C62098E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749675"/>
                <a:ext cx="1588" cy="4763"/>
              </a:xfrm>
              <a:custGeom>
                <a:avLst/>
                <a:gdLst>
                  <a:gd name="T0" fmla="*/ 0 w 1"/>
                  <a:gd name="T1" fmla="*/ 2 h 3"/>
                  <a:gd name="T2" fmla="*/ 0 w 1"/>
                  <a:gd name="T3" fmla="*/ 3 h 3"/>
                  <a:gd name="T4" fmla="*/ 1 w 1"/>
                  <a:gd name="T5" fmla="*/ 0 h 3"/>
                  <a:gd name="T6" fmla="*/ 0 w 1"/>
                  <a:gd name="T7" fmla="*/ 0 h 3"/>
                  <a:gd name="T8" fmla="*/ 0 w 1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3">
                    <a:moveTo>
                      <a:pt x="0" y="2"/>
                    </a:moveTo>
                    <a:lnTo>
                      <a:pt x="0" y="3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4" name="Freeform 1288">
                <a:extLst>
                  <a:ext uri="{FF2B5EF4-FFF2-40B4-BE49-F238E27FC236}">
                    <a16:creationId xmlns:a16="http://schemas.microsoft.com/office/drawing/2014/main" id="{127FCD81-208A-4F92-A078-8DD7C13C74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3413" y="3482975"/>
                <a:ext cx="641350" cy="571500"/>
              </a:xfrm>
              <a:custGeom>
                <a:avLst/>
                <a:gdLst>
                  <a:gd name="T0" fmla="*/ 346 w 404"/>
                  <a:gd name="T1" fmla="*/ 331 h 360"/>
                  <a:gd name="T2" fmla="*/ 335 w 404"/>
                  <a:gd name="T3" fmla="*/ 315 h 360"/>
                  <a:gd name="T4" fmla="*/ 368 w 404"/>
                  <a:gd name="T5" fmla="*/ 300 h 360"/>
                  <a:gd name="T6" fmla="*/ 378 w 404"/>
                  <a:gd name="T7" fmla="*/ 288 h 360"/>
                  <a:gd name="T8" fmla="*/ 390 w 404"/>
                  <a:gd name="T9" fmla="*/ 278 h 360"/>
                  <a:gd name="T10" fmla="*/ 388 w 404"/>
                  <a:gd name="T11" fmla="*/ 265 h 360"/>
                  <a:gd name="T12" fmla="*/ 398 w 404"/>
                  <a:gd name="T13" fmla="*/ 231 h 360"/>
                  <a:gd name="T14" fmla="*/ 353 w 404"/>
                  <a:gd name="T15" fmla="*/ 239 h 360"/>
                  <a:gd name="T16" fmla="*/ 334 w 404"/>
                  <a:gd name="T17" fmla="*/ 282 h 360"/>
                  <a:gd name="T18" fmla="*/ 327 w 404"/>
                  <a:gd name="T19" fmla="*/ 288 h 360"/>
                  <a:gd name="T20" fmla="*/ 300 w 404"/>
                  <a:gd name="T21" fmla="*/ 294 h 360"/>
                  <a:gd name="T22" fmla="*/ 275 w 404"/>
                  <a:gd name="T23" fmla="*/ 283 h 360"/>
                  <a:gd name="T24" fmla="*/ 254 w 404"/>
                  <a:gd name="T25" fmla="*/ 240 h 360"/>
                  <a:gd name="T26" fmla="*/ 251 w 404"/>
                  <a:gd name="T27" fmla="*/ 219 h 360"/>
                  <a:gd name="T28" fmla="*/ 252 w 404"/>
                  <a:gd name="T29" fmla="*/ 174 h 360"/>
                  <a:gd name="T30" fmla="*/ 259 w 404"/>
                  <a:gd name="T31" fmla="*/ 162 h 360"/>
                  <a:gd name="T32" fmla="*/ 259 w 404"/>
                  <a:gd name="T33" fmla="*/ 151 h 360"/>
                  <a:gd name="T34" fmla="*/ 240 w 404"/>
                  <a:gd name="T35" fmla="*/ 138 h 360"/>
                  <a:gd name="T36" fmla="*/ 231 w 404"/>
                  <a:gd name="T37" fmla="*/ 105 h 360"/>
                  <a:gd name="T38" fmla="*/ 221 w 404"/>
                  <a:gd name="T39" fmla="*/ 80 h 360"/>
                  <a:gd name="T40" fmla="*/ 202 w 404"/>
                  <a:gd name="T41" fmla="*/ 68 h 360"/>
                  <a:gd name="T42" fmla="*/ 193 w 404"/>
                  <a:gd name="T43" fmla="*/ 81 h 360"/>
                  <a:gd name="T44" fmla="*/ 177 w 404"/>
                  <a:gd name="T45" fmla="*/ 78 h 360"/>
                  <a:gd name="T46" fmla="*/ 168 w 404"/>
                  <a:gd name="T47" fmla="*/ 69 h 360"/>
                  <a:gd name="T48" fmla="*/ 163 w 404"/>
                  <a:gd name="T49" fmla="*/ 53 h 360"/>
                  <a:gd name="T50" fmla="*/ 153 w 404"/>
                  <a:gd name="T51" fmla="*/ 34 h 360"/>
                  <a:gd name="T52" fmla="*/ 34 w 404"/>
                  <a:gd name="T53" fmla="*/ 2 h 360"/>
                  <a:gd name="T54" fmla="*/ 9 w 404"/>
                  <a:gd name="T55" fmla="*/ 32 h 360"/>
                  <a:gd name="T56" fmla="*/ 13 w 404"/>
                  <a:gd name="T57" fmla="*/ 58 h 360"/>
                  <a:gd name="T58" fmla="*/ 33 w 404"/>
                  <a:gd name="T59" fmla="*/ 90 h 360"/>
                  <a:gd name="T60" fmla="*/ 30 w 404"/>
                  <a:gd name="T61" fmla="*/ 105 h 360"/>
                  <a:gd name="T62" fmla="*/ 27 w 404"/>
                  <a:gd name="T63" fmla="*/ 117 h 360"/>
                  <a:gd name="T64" fmla="*/ 42 w 404"/>
                  <a:gd name="T65" fmla="*/ 120 h 360"/>
                  <a:gd name="T66" fmla="*/ 51 w 404"/>
                  <a:gd name="T67" fmla="*/ 161 h 360"/>
                  <a:gd name="T68" fmla="*/ 71 w 404"/>
                  <a:gd name="T69" fmla="*/ 186 h 360"/>
                  <a:gd name="T70" fmla="*/ 87 w 404"/>
                  <a:gd name="T71" fmla="*/ 191 h 360"/>
                  <a:gd name="T72" fmla="*/ 76 w 404"/>
                  <a:gd name="T73" fmla="*/ 178 h 360"/>
                  <a:gd name="T74" fmla="*/ 69 w 404"/>
                  <a:gd name="T75" fmla="*/ 154 h 360"/>
                  <a:gd name="T76" fmla="*/ 62 w 404"/>
                  <a:gd name="T77" fmla="*/ 123 h 360"/>
                  <a:gd name="T78" fmla="*/ 56 w 404"/>
                  <a:gd name="T79" fmla="*/ 110 h 360"/>
                  <a:gd name="T80" fmla="*/ 43 w 404"/>
                  <a:gd name="T81" fmla="*/ 82 h 360"/>
                  <a:gd name="T82" fmla="*/ 29 w 404"/>
                  <a:gd name="T83" fmla="*/ 55 h 360"/>
                  <a:gd name="T84" fmla="*/ 38 w 404"/>
                  <a:gd name="T85" fmla="*/ 27 h 360"/>
                  <a:gd name="T86" fmla="*/ 51 w 404"/>
                  <a:gd name="T87" fmla="*/ 41 h 360"/>
                  <a:gd name="T88" fmla="*/ 58 w 404"/>
                  <a:gd name="T89" fmla="*/ 75 h 360"/>
                  <a:gd name="T90" fmla="*/ 70 w 404"/>
                  <a:gd name="T91" fmla="*/ 99 h 360"/>
                  <a:gd name="T92" fmla="*/ 83 w 404"/>
                  <a:gd name="T93" fmla="*/ 120 h 360"/>
                  <a:gd name="T94" fmla="*/ 98 w 404"/>
                  <a:gd name="T95" fmla="*/ 132 h 360"/>
                  <a:gd name="T96" fmla="*/ 96 w 404"/>
                  <a:gd name="T97" fmla="*/ 150 h 360"/>
                  <a:gd name="T98" fmla="*/ 108 w 404"/>
                  <a:gd name="T99" fmla="*/ 170 h 360"/>
                  <a:gd name="T100" fmla="*/ 137 w 404"/>
                  <a:gd name="T101" fmla="*/ 211 h 360"/>
                  <a:gd name="T102" fmla="*/ 139 w 404"/>
                  <a:gd name="T103" fmla="*/ 247 h 360"/>
                  <a:gd name="T104" fmla="*/ 142 w 404"/>
                  <a:gd name="T105" fmla="*/ 272 h 360"/>
                  <a:gd name="T106" fmla="*/ 161 w 404"/>
                  <a:gd name="T107" fmla="*/ 285 h 360"/>
                  <a:gd name="T108" fmla="*/ 184 w 404"/>
                  <a:gd name="T109" fmla="*/ 297 h 360"/>
                  <a:gd name="T110" fmla="*/ 224 w 404"/>
                  <a:gd name="T111" fmla="*/ 325 h 360"/>
                  <a:gd name="T112" fmla="*/ 252 w 404"/>
                  <a:gd name="T113" fmla="*/ 337 h 360"/>
                  <a:gd name="T114" fmla="*/ 281 w 404"/>
                  <a:gd name="T115" fmla="*/ 331 h 360"/>
                  <a:gd name="T116" fmla="*/ 285 w 404"/>
                  <a:gd name="T117" fmla="*/ 331 h 360"/>
                  <a:gd name="T118" fmla="*/ 290 w 404"/>
                  <a:gd name="T119" fmla="*/ 329 h 360"/>
                  <a:gd name="T120" fmla="*/ 316 w 404"/>
                  <a:gd name="T121" fmla="*/ 356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04" h="360">
                    <a:moveTo>
                      <a:pt x="319" y="358"/>
                    </a:moveTo>
                    <a:lnTo>
                      <a:pt x="321" y="356"/>
                    </a:lnTo>
                    <a:lnTo>
                      <a:pt x="321" y="355"/>
                    </a:lnTo>
                    <a:lnTo>
                      <a:pt x="321" y="355"/>
                    </a:lnTo>
                    <a:lnTo>
                      <a:pt x="320" y="353"/>
                    </a:lnTo>
                    <a:lnTo>
                      <a:pt x="320" y="351"/>
                    </a:lnTo>
                    <a:lnTo>
                      <a:pt x="320" y="351"/>
                    </a:lnTo>
                    <a:lnTo>
                      <a:pt x="320" y="348"/>
                    </a:lnTo>
                    <a:lnTo>
                      <a:pt x="328" y="331"/>
                    </a:lnTo>
                    <a:lnTo>
                      <a:pt x="346" y="331"/>
                    </a:lnTo>
                    <a:lnTo>
                      <a:pt x="348" y="330"/>
                    </a:lnTo>
                    <a:lnTo>
                      <a:pt x="348" y="327"/>
                    </a:lnTo>
                    <a:lnTo>
                      <a:pt x="346" y="326"/>
                    </a:lnTo>
                    <a:lnTo>
                      <a:pt x="344" y="326"/>
                    </a:lnTo>
                    <a:lnTo>
                      <a:pt x="342" y="325"/>
                    </a:lnTo>
                    <a:lnTo>
                      <a:pt x="342" y="322"/>
                    </a:lnTo>
                    <a:lnTo>
                      <a:pt x="342" y="320"/>
                    </a:lnTo>
                    <a:lnTo>
                      <a:pt x="340" y="320"/>
                    </a:lnTo>
                    <a:lnTo>
                      <a:pt x="338" y="318"/>
                    </a:lnTo>
                    <a:lnTo>
                      <a:pt x="335" y="315"/>
                    </a:lnTo>
                    <a:lnTo>
                      <a:pt x="335" y="313"/>
                    </a:lnTo>
                    <a:lnTo>
                      <a:pt x="332" y="311"/>
                    </a:lnTo>
                    <a:lnTo>
                      <a:pt x="338" y="310"/>
                    </a:lnTo>
                    <a:lnTo>
                      <a:pt x="338" y="302"/>
                    </a:lnTo>
                    <a:lnTo>
                      <a:pt x="363" y="302"/>
                    </a:lnTo>
                    <a:lnTo>
                      <a:pt x="363" y="299"/>
                    </a:lnTo>
                    <a:lnTo>
                      <a:pt x="365" y="298"/>
                    </a:lnTo>
                    <a:lnTo>
                      <a:pt x="367" y="299"/>
                    </a:lnTo>
                    <a:lnTo>
                      <a:pt x="367" y="299"/>
                    </a:lnTo>
                    <a:lnTo>
                      <a:pt x="368" y="300"/>
                    </a:lnTo>
                    <a:lnTo>
                      <a:pt x="369" y="299"/>
                    </a:lnTo>
                    <a:lnTo>
                      <a:pt x="369" y="299"/>
                    </a:lnTo>
                    <a:lnTo>
                      <a:pt x="369" y="298"/>
                    </a:lnTo>
                    <a:lnTo>
                      <a:pt x="371" y="296"/>
                    </a:lnTo>
                    <a:lnTo>
                      <a:pt x="372" y="293"/>
                    </a:lnTo>
                    <a:lnTo>
                      <a:pt x="373" y="292"/>
                    </a:lnTo>
                    <a:lnTo>
                      <a:pt x="374" y="291"/>
                    </a:lnTo>
                    <a:lnTo>
                      <a:pt x="375" y="291"/>
                    </a:lnTo>
                    <a:lnTo>
                      <a:pt x="375" y="291"/>
                    </a:lnTo>
                    <a:lnTo>
                      <a:pt x="378" y="288"/>
                    </a:lnTo>
                    <a:lnTo>
                      <a:pt x="380" y="284"/>
                    </a:lnTo>
                    <a:lnTo>
                      <a:pt x="383" y="283"/>
                    </a:lnTo>
                    <a:lnTo>
                      <a:pt x="382" y="287"/>
                    </a:lnTo>
                    <a:lnTo>
                      <a:pt x="380" y="289"/>
                    </a:lnTo>
                    <a:lnTo>
                      <a:pt x="381" y="289"/>
                    </a:lnTo>
                    <a:lnTo>
                      <a:pt x="384" y="292"/>
                    </a:lnTo>
                    <a:lnTo>
                      <a:pt x="385" y="295"/>
                    </a:lnTo>
                    <a:lnTo>
                      <a:pt x="386" y="294"/>
                    </a:lnTo>
                    <a:lnTo>
                      <a:pt x="388" y="289"/>
                    </a:lnTo>
                    <a:lnTo>
                      <a:pt x="390" y="278"/>
                    </a:lnTo>
                    <a:lnTo>
                      <a:pt x="392" y="275"/>
                    </a:lnTo>
                    <a:lnTo>
                      <a:pt x="390" y="275"/>
                    </a:lnTo>
                    <a:lnTo>
                      <a:pt x="390" y="277"/>
                    </a:lnTo>
                    <a:lnTo>
                      <a:pt x="388" y="276"/>
                    </a:lnTo>
                    <a:lnTo>
                      <a:pt x="388" y="275"/>
                    </a:lnTo>
                    <a:lnTo>
                      <a:pt x="391" y="271"/>
                    </a:lnTo>
                    <a:lnTo>
                      <a:pt x="392" y="268"/>
                    </a:lnTo>
                    <a:lnTo>
                      <a:pt x="390" y="268"/>
                    </a:lnTo>
                    <a:lnTo>
                      <a:pt x="387" y="267"/>
                    </a:lnTo>
                    <a:lnTo>
                      <a:pt x="388" y="265"/>
                    </a:lnTo>
                    <a:lnTo>
                      <a:pt x="391" y="263"/>
                    </a:lnTo>
                    <a:lnTo>
                      <a:pt x="391" y="259"/>
                    </a:lnTo>
                    <a:lnTo>
                      <a:pt x="393" y="256"/>
                    </a:lnTo>
                    <a:lnTo>
                      <a:pt x="399" y="250"/>
                    </a:lnTo>
                    <a:lnTo>
                      <a:pt x="402" y="244"/>
                    </a:lnTo>
                    <a:lnTo>
                      <a:pt x="404" y="239"/>
                    </a:lnTo>
                    <a:lnTo>
                      <a:pt x="404" y="235"/>
                    </a:lnTo>
                    <a:lnTo>
                      <a:pt x="400" y="229"/>
                    </a:lnTo>
                    <a:lnTo>
                      <a:pt x="397" y="229"/>
                    </a:lnTo>
                    <a:lnTo>
                      <a:pt x="398" y="231"/>
                    </a:lnTo>
                    <a:lnTo>
                      <a:pt x="397" y="232"/>
                    </a:lnTo>
                    <a:lnTo>
                      <a:pt x="390" y="230"/>
                    </a:lnTo>
                    <a:lnTo>
                      <a:pt x="384" y="230"/>
                    </a:lnTo>
                    <a:lnTo>
                      <a:pt x="384" y="232"/>
                    </a:lnTo>
                    <a:lnTo>
                      <a:pt x="381" y="234"/>
                    </a:lnTo>
                    <a:lnTo>
                      <a:pt x="380" y="233"/>
                    </a:lnTo>
                    <a:lnTo>
                      <a:pt x="376" y="233"/>
                    </a:lnTo>
                    <a:lnTo>
                      <a:pt x="374" y="237"/>
                    </a:lnTo>
                    <a:lnTo>
                      <a:pt x="362" y="236"/>
                    </a:lnTo>
                    <a:lnTo>
                      <a:pt x="353" y="239"/>
                    </a:lnTo>
                    <a:lnTo>
                      <a:pt x="353" y="241"/>
                    </a:lnTo>
                    <a:lnTo>
                      <a:pt x="355" y="241"/>
                    </a:lnTo>
                    <a:lnTo>
                      <a:pt x="350" y="248"/>
                    </a:lnTo>
                    <a:lnTo>
                      <a:pt x="349" y="259"/>
                    </a:lnTo>
                    <a:lnTo>
                      <a:pt x="350" y="261"/>
                    </a:lnTo>
                    <a:lnTo>
                      <a:pt x="345" y="267"/>
                    </a:lnTo>
                    <a:lnTo>
                      <a:pt x="345" y="273"/>
                    </a:lnTo>
                    <a:lnTo>
                      <a:pt x="342" y="277"/>
                    </a:lnTo>
                    <a:lnTo>
                      <a:pt x="340" y="278"/>
                    </a:lnTo>
                    <a:lnTo>
                      <a:pt x="334" y="282"/>
                    </a:lnTo>
                    <a:lnTo>
                      <a:pt x="335" y="282"/>
                    </a:lnTo>
                    <a:lnTo>
                      <a:pt x="337" y="280"/>
                    </a:lnTo>
                    <a:lnTo>
                      <a:pt x="336" y="282"/>
                    </a:lnTo>
                    <a:lnTo>
                      <a:pt x="336" y="288"/>
                    </a:lnTo>
                    <a:lnTo>
                      <a:pt x="334" y="292"/>
                    </a:lnTo>
                    <a:lnTo>
                      <a:pt x="332" y="292"/>
                    </a:lnTo>
                    <a:lnTo>
                      <a:pt x="331" y="293"/>
                    </a:lnTo>
                    <a:lnTo>
                      <a:pt x="330" y="292"/>
                    </a:lnTo>
                    <a:lnTo>
                      <a:pt x="326" y="290"/>
                    </a:lnTo>
                    <a:lnTo>
                      <a:pt x="327" y="288"/>
                    </a:lnTo>
                    <a:lnTo>
                      <a:pt x="330" y="286"/>
                    </a:lnTo>
                    <a:lnTo>
                      <a:pt x="326" y="285"/>
                    </a:lnTo>
                    <a:lnTo>
                      <a:pt x="324" y="287"/>
                    </a:lnTo>
                    <a:lnTo>
                      <a:pt x="321" y="286"/>
                    </a:lnTo>
                    <a:lnTo>
                      <a:pt x="317" y="286"/>
                    </a:lnTo>
                    <a:lnTo>
                      <a:pt x="315" y="289"/>
                    </a:lnTo>
                    <a:lnTo>
                      <a:pt x="312" y="289"/>
                    </a:lnTo>
                    <a:lnTo>
                      <a:pt x="307" y="289"/>
                    </a:lnTo>
                    <a:lnTo>
                      <a:pt x="306" y="290"/>
                    </a:lnTo>
                    <a:lnTo>
                      <a:pt x="300" y="294"/>
                    </a:lnTo>
                    <a:lnTo>
                      <a:pt x="299" y="294"/>
                    </a:lnTo>
                    <a:lnTo>
                      <a:pt x="297" y="293"/>
                    </a:lnTo>
                    <a:lnTo>
                      <a:pt x="293" y="294"/>
                    </a:lnTo>
                    <a:lnTo>
                      <a:pt x="290" y="296"/>
                    </a:lnTo>
                    <a:lnTo>
                      <a:pt x="288" y="292"/>
                    </a:lnTo>
                    <a:lnTo>
                      <a:pt x="285" y="286"/>
                    </a:lnTo>
                    <a:lnTo>
                      <a:pt x="281" y="284"/>
                    </a:lnTo>
                    <a:lnTo>
                      <a:pt x="280" y="282"/>
                    </a:lnTo>
                    <a:lnTo>
                      <a:pt x="276" y="282"/>
                    </a:lnTo>
                    <a:lnTo>
                      <a:pt x="275" y="283"/>
                    </a:lnTo>
                    <a:lnTo>
                      <a:pt x="272" y="281"/>
                    </a:lnTo>
                    <a:lnTo>
                      <a:pt x="267" y="272"/>
                    </a:lnTo>
                    <a:lnTo>
                      <a:pt x="266" y="269"/>
                    </a:lnTo>
                    <a:lnTo>
                      <a:pt x="266" y="267"/>
                    </a:lnTo>
                    <a:lnTo>
                      <a:pt x="264" y="262"/>
                    </a:lnTo>
                    <a:lnTo>
                      <a:pt x="262" y="258"/>
                    </a:lnTo>
                    <a:lnTo>
                      <a:pt x="255" y="248"/>
                    </a:lnTo>
                    <a:lnTo>
                      <a:pt x="254" y="245"/>
                    </a:lnTo>
                    <a:lnTo>
                      <a:pt x="252" y="242"/>
                    </a:lnTo>
                    <a:lnTo>
                      <a:pt x="254" y="240"/>
                    </a:lnTo>
                    <a:lnTo>
                      <a:pt x="253" y="237"/>
                    </a:lnTo>
                    <a:lnTo>
                      <a:pt x="252" y="230"/>
                    </a:lnTo>
                    <a:lnTo>
                      <a:pt x="249" y="228"/>
                    </a:lnTo>
                    <a:lnTo>
                      <a:pt x="249" y="225"/>
                    </a:lnTo>
                    <a:lnTo>
                      <a:pt x="252" y="230"/>
                    </a:lnTo>
                    <a:lnTo>
                      <a:pt x="253" y="236"/>
                    </a:lnTo>
                    <a:lnTo>
                      <a:pt x="254" y="234"/>
                    </a:lnTo>
                    <a:lnTo>
                      <a:pt x="254" y="230"/>
                    </a:lnTo>
                    <a:lnTo>
                      <a:pt x="250" y="223"/>
                    </a:lnTo>
                    <a:lnTo>
                      <a:pt x="251" y="219"/>
                    </a:lnTo>
                    <a:lnTo>
                      <a:pt x="250" y="213"/>
                    </a:lnTo>
                    <a:lnTo>
                      <a:pt x="249" y="210"/>
                    </a:lnTo>
                    <a:lnTo>
                      <a:pt x="252" y="206"/>
                    </a:lnTo>
                    <a:lnTo>
                      <a:pt x="252" y="198"/>
                    </a:lnTo>
                    <a:lnTo>
                      <a:pt x="252" y="193"/>
                    </a:lnTo>
                    <a:lnTo>
                      <a:pt x="253" y="185"/>
                    </a:lnTo>
                    <a:lnTo>
                      <a:pt x="252" y="182"/>
                    </a:lnTo>
                    <a:lnTo>
                      <a:pt x="254" y="180"/>
                    </a:lnTo>
                    <a:lnTo>
                      <a:pt x="252" y="179"/>
                    </a:lnTo>
                    <a:lnTo>
                      <a:pt x="252" y="174"/>
                    </a:lnTo>
                    <a:lnTo>
                      <a:pt x="254" y="172"/>
                    </a:lnTo>
                    <a:lnTo>
                      <a:pt x="255" y="168"/>
                    </a:lnTo>
                    <a:lnTo>
                      <a:pt x="255" y="166"/>
                    </a:lnTo>
                    <a:lnTo>
                      <a:pt x="254" y="165"/>
                    </a:lnTo>
                    <a:lnTo>
                      <a:pt x="255" y="162"/>
                    </a:lnTo>
                    <a:lnTo>
                      <a:pt x="255" y="157"/>
                    </a:lnTo>
                    <a:lnTo>
                      <a:pt x="258" y="158"/>
                    </a:lnTo>
                    <a:lnTo>
                      <a:pt x="258" y="161"/>
                    </a:lnTo>
                    <a:lnTo>
                      <a:pt x="257" y="162"/>
                    </a:lnTo>
                    <a:lnTo>
                      <a:pt x="259" y="162"/>
                    </a:lnTo>
                    <a:lnTo>
                      <a:pt x="259" y="159"/>
                    </a:lnTo>
                    <a:lnTo>
                      <a:pt x="261" y="155"/>
                    </a:lnTo>
                    <a:lnTo>
                      <a:pt x="262" y="151"/>
                    </a:lnTo>
                    <a:lnTo>
                      <a:pt x="263" y="150"/>
                    </a:lnTo>
                    <a:lnTo>
                      <a:pt x="263" y="146"/>
                    </a:lnTo>
                    <a:lnTo>
                      <a:pt x="264" y="144"/>
                    </a:lnTo>
                    <a:lnTo>
                      <a:pt x="262" y="146"/>
                    </a:lnTo>
                    <a:lnTo>
                      <a:pt x="261" y="151"/>
                    </a:lnTo>
                    <a:lnTo>
                      <a:pt x="259" y="153"/>
                    </a:lnTo>
                    <a:lnTo>
                      <a:pt x="259" y="151"/>
                    </a:lnTo>
                    <a:lnTo>
                      <a:pt x="259" y="150"/>
                    </a:lnTo>
                    <a:lnTo>
                      <a:pt x="257" y="148"/>
                    </a:lnTo>
                    <a:lnTo>
                      <a:pt x="255" y="147"/>
                    </a:lnTo>
                    <a:lnTo>
                      <a:pt x="252" y="145"/>
                    </a:lnTo>
                    <a:lnTo>
                      <a:pt x="248" y="144"/>
                    </a:lnTo>
                    <a:lnTo>
                      <a:pt x="245" y="141"/>
                    </a:lnTo>
                    <a:lnTo>
                      <a:pt x="244" y="139"/>
                    </a:lnTo>
                    <a:lnTo>
                      <a:pt x="241" y="140"/>
                    </a:lnTo>
                    <a:lnTo>
                      <a:pt x="240" y="139"/>
                    </a:lnTo>
                    <a:lnTo>
                      <a:pt x="240" y="138"/>
                    </a:lnTo>
                    <a:lnTo>
                      <a:pt x="238" y="137"/>
                    </a:lnTo>
                    <a:lnTo>
                      <a:pt x="238" y="132"/>
                    </a:lnTo>
                    <a:lnTo>
                      <a:pt x="236" y="123"/>
                    </a:lnTo>
                    <a:lnTo>
                      <a:pt x="235" y="121"/>
                    </a:lnTo>
                    <a:lnTo>
                      <a:pt x="235" y="120"/>
                    </a:lnTo>
                    <a:lnTo>
                      <a:pt x="236" y="117"/>
                    </a:lnTo>
                    <a:lnTo>
                      <a:pt x="236" y="114"/>
                    </a:lnTo>
                    <a:lnTo>
                      <a:pt x="234" y="111"/>
                    </a:lnTo>
                    <a:lnTo>
                      <a:pt x="232" y="109"/>
                    </a:lnTo>
                    <a:lnTo>
                      <a:pt x="231" y="105"/>
                    </a:lnTo>
                    <a:lnTo>
                      <a:pt x="230" y="104"/>
                    </a:lnTo>
                    <a:lnTo>
                      <a:pt x="229" y="102"/>
                    </a:lnTo>
                    <a:lnTo>
                      <a:pt x="227" y="101"/>
                    </a:lnTo>
                    <a:lnTo>
                      <a:pt x="226" y="95"/>
                    </a:lnTo>
                    <a:lnTo>
                      <a:pt x="225" y="92"/>
                    </a:lnTo>
                    <a:lnTo>
                      <a:pt x="224" y="92"/>
                    </a:lnTo>
                    <a:lnTo>
                      <a:pt x="224" y="87"/>
                    </a:lnTo>
                    <a:lnTo>
                      <a:pt x="223" y="85"/>
                    </a:lnTo>
                    <a:lnTo>
                      <a:pt x="222" y="83"/>
                    </a:lnTo>
                    <a:lnTo>
                      <a:pt x="221" y="80"/>
                    </a:lnTo>
                    <a:lnTo>
                      <a:pt x="219" y="75"/>
                    </a:lnTo>
                    <a:lnTo>
                      <a:pt x="217" y="73"/>
                    </a:lnTo>
                    <a:lnTo>
                      <a:pt x="215" y="71"/>
                    </a:lnTo>
                    <a:lnTo>
                      <a:pt x="213" y="69"/>
                    </a:lnTo>
                    <a:lnTo>
                      <a:pt x="211" y="70"/>
                    </a:lnTo>
                    <a:lnTo>
                      <a:pt x="210" y="68"/>
                    </a:lnTo>
                    <a:lnTo>
                      <a:pt x="210" y="68"/>
                    </a:lnTo>
                    <a:lnTo>
                      <a:pt x="207" y="68"/>
                    </a:lnTo>
                    <a:lnTo>
                      <a:pt x="205" y="68"/>
                    </a:lnTo>
                    <a:lnTo>
                      <a:pt x="202" y="68"/>
                    </a:lnTo>
                    <a:lnTo>
                      <a:pt x="201" y="70"/>
                    </a:lnTo>
                    <a:lnTo>
                      <a:pt x="200" y="70"/>
                    </a:lnTo>
                    <a:lnTo>
                      <a:pt x="200" y="70"/>
                    </a:lnTo>
                    <a:lnTo>
                      <a:pt x="199" y="69"/>
                    </a:lnTo>
                    <a:lnTo>
                      <a:pt x="197" y="70"/>
                    </a:lnTo>
                    <a:lnTo>
                      <a:pt x="196" y="72"/>
                    </a:lnTo>
                    <a:lnTo>
                      <a:pt x="193" y="76"/>
                    </a:lnTo>
                    <a:lnTo>
                      <a:pt x="193" y="79"/>
                    </a:lnTo>
                    <a:lnTo>
                      <a:pt x="193" y="79"/>
                    </a:lnTo>
                    <a:lnTo>
                      <a:pt x="193" y="81"/>
                    </a:lnTo>
                    <a:lnTo>
                      <a:pt x="191" y="81"/>
                    </a:lnTo>
                    <a:lnTo>
                      <a:pt x="189" y="83"/>
                    </a:lnTo>
                    <a:lnTo>
                      <a:pt x="189" y="84"/>
                    </a:lnTo>
                    <a:lnTo>
                      <a:pt x="187" y="85"/>
                    </a:lnTo>
                    <a:lnTo>
                      <a:pt x="186" y="85"/>
                    </a:lnTo>
                    <a:lnTo>
                      <a:pt x="186" y="83"/>
                    </a:lnTo>
                    <a:lnTo>
                      <a:pt x="182" y="82"/>
                    </a:lnTo>
                    <a:lnTo>
                      <a:pt x="180" y="81"/>
                    </a:lnTo>
                    <a:lnTo>
                      <a:pt x="179" y="79"/>
                    </a:lnTo>
                    <a:lnTo>
                      <a:pt x="177" y="78"/>
                    </a:lnTo>
                    <a:lnTo>
                      <a:pt x="175" y="78"/>
                    </a:lnTo>
                    <a:lnTo>
                      <a:pt x="174" y="76"/>
                    </a:lnTo>
                    <a:lnTo>
                      <a:pt x="174" y="75"/>
                    </a:lnTo>
                    <a:lnTo>
                      <a:pt x="174" y="74"/>
                    </a:lnTo>
                    <a:lnTo>
                      <a:pt x="172" y="74"/>
                    </a:lnTo>
                    <a:lnTo>
                      <a:pt x="172" y="74"/>
                    </a:lnTo>
                    <a:lnTo>
                      <a:pt x="170" y="72"/>
                    </a:lnTo>
                    <a:lnTo>
                      <a:pt x="169" y="72"/>
                    </a:lnTo>
                    <a:lnTo>
                      <a:pt x="169" y="72"/>
                    </a:lnTo>
                    <a:lnTo>
                      <a:pt x="168" y="69"/>
                    </a:lnTo>
                    <a:lnTo>
                      <a:pt x="167" y="66"/>
                    </a:lnTo>
                    <a:lnTo>
                      <a:pt x="165" y="63"/>
                    </a:lnTo>
                    <a:lnTo>
                      <a:pt x="165" y="61"/>
                    </a:lnTo>
                    <a:lnTo>
                      <a:pt x="166" y="61"/>
                    </a:lnTo>
                    <a:lnTo>
                      <a:pt x="167" y="60"/>
                    </a:lnTo>
                    <a:lnTo>
                      <a:pt x="167" y="58"/>
                    </a:lnTo>
                    <a:lnTo>
                      <a:pt x="165" y="56"/>
                    </a:lnTo>
                    <a:lnTo>
                      <a:pt x="165" y="54"/>
                    </a:lnTo>
                    <a:lnTo>
                      <a:pt x="164" y="54"/>
                    </a:lnTo>
                    <a:lnTo>
                      <a:pt x="163" y="53"/>
                    </a:lnTo>
                    <a:lnTo>
                      <a:pt x="162" y="49"/>
                    </a:lnTo>
                    <a:lnTo>
                      <a:pt x="162" y="47"/>
                    </a:lnTo>
                    <a:lnTo>
                      <a:pt x="159" y="45"/>
                    </a:lnTo>
                    <a:lnTo>
                      <a:pt x="158" y="44"/>
                    </a:lnTo>
                    <a:lnTo>
                      <a:pt x="158" y="43"/>
                    </a:lnTo>
                    <a:lnTo>
                      <a:pt x="158" y="42"/>
                    </a:lnTo>
                    <a:lnTo>
                      <a:pt x="156" y="40"/>
                    </a:lnTo>
                    <a:lnTo>
                      <a:pt x="155" y="39"/>
                    </a:lnTo>
                    <a:lnTo>
                      <a:pt x="155" y="37"/>
                    </a:lnTo>
                    <a:lnTo>
                      <a:pt x="153" y="34"/>
                    </a:lnTo>
                    <a:lnTo>
                      <a:pt x="152" y="34"/>
                    </a:lnTo>
                    <a:lnTo>
                      <a:pt x="151" y="33"/>
                    </a:lnTo>
                    <a:lnTo>
                      <a:pt x="151" y="31"/>
                    </a:lnTo>
                    <a:lnTo>
                      <a:pt x="148" y="27"/>
                    </a:lnTo>
                    <a:lnTo>
                      <a:pt x="145" y="26"/>
                    </a:lnTo>
                    <a:lnTo>
                      <a:pt x="123" y="24"/>
                    </a:lnTo>
                    <a:lnTo>
                      <a:pt x="123" y="30"/>
                    </a:lnTo>
                    <a:lnTo>
                      <a:pt x="82" y="30"/>
                    </a:lnTo>
                    <a:lnTo>
                      <a:pt x="33" y="3"/>
                    </a:lnTo>
                    <a:lnTo>
                      <a:pt x="34" y="2"/>
                    </a:lnTo>
                    <a:lnTo>
                      <a:pt x="33" y="0"/>
                    </a:lnTo>
                    <a:lnTo>
                      <a:pt x="0" y="1"/>
                    </a:lnTo>
                    <a:lnTo>
                      <a:pt x="0" y="5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6" y="20"/>
                    </a:lnTo>
                    <a:lnTo>
                      <a:pt x="4" y="20"/>
                    </a:lnTo>
                    <a:lnTo>
                      <a:pt x="4" y="23"/>
                    </a:lnTo>
                    <a:lnTo>
                      <a:pt x="5" y="27"/>
                    </a:lnTo>
                    <a:lnTo>
                      <a:pt x="9" y="32"/>
                    </a:lnTo>
                    <a:lnTo>
                      <a:pt x="9" y="34"/>
                    </a:lnTo>
                    <a:lnTo>
                      <a:pt x="7" y="35"/>
                    </a:lnTo>
                    <a:lnTo>
                      <a:pt x="8" y="37"/>
                    </a:lnTo>
                    <a:lnTo>
                      <a:pt x="11" y="41"/>
                    </a:lnTo>
                    <a:lnTo>
                      <a:pt x="12" y="44"/>
                    </a:lnTo>
                    <a:lnTo>
                      <a:pt x="10" y="45"/>
                    </a:lnTo>
                    <a:lnTo>
                      <a:pt x="10" y="48"/>
                    </a:lnTo>
                    <a:lnTo>
                      <a:pt x="12" y="51"/>
                    </a:lnTo>
                    <a:lnTo>
                      <a:pt x="13" y="52"/>
                    </a:lnTo>
                    <a:lnTo>
                      <a:pt x="13" y="58"/>
                    </a:lnTo>
                    <a:lnTo>
                      <a:pt x="14" y="63"/>
                    </a:lnTo>
                    <a:lnTo>
                      <a:pt x="16" y="65"/>
                    </a:lnTo>
                    <a:lnTo>
                      <a:pt x="19" y="65"/>
                    </a:lnTo>
                    <a:lnTo>
                      <a:pt x="23" y="70"/>
                    </a:lnTo>
                    <a:lnTo>
                      <a:pt x="24" y="74"/>
                    </a:lnTo>
                    <a:lnTo>
                      <a:pt x="25" y="76"/>
                    </a:lnTo>
                    <a:lnTo>
                      <a:pt x="29" y="81"/>
                    </a:lnTo>
                    <a:lnTo>
                      <a:pt x="30" y="86"/>
                    </a:lnTo>
                    <a:lnTo>
                      <a:pt x="31" y="86"/>
                    </a:lnTo>
                    <a:lnTo>
                      <a:pt x="33" y="90"/>
                    </a:lnTo>
                    <a:lnTo>
                      <a:pt x="31" y="92"/>
                    </a:lnTo>
                    <a:lnTo>
                      <a:pt x="31" y="94"/>
                    </a:lnTo>
                    <a:lnTo>
                      <a:pt x="32" y="96"/>
                    </a:lnTo>
                    <a:lnTo>
                      <a:pt x="31" y="99"/>
                    </a:lnTo>
                    <a:lnTo>
                      <a:pt x="30" y="98"/>
                    </a:lnTo>
                    <a:lnTo>
                      <a:pt x="29" y="100"/>
                    </a:lnTo>
                    <a:lnTo>
                      <a:pt x="29" y="101"/>
                    </a:lnTo>
                    <a:lnTo>
                      <a:pt x="31" y="101"/>
                    </a:lnTo>
                    <a:lnTo>
                      <a:pt x="30" y="103"/>
                    </a:lnTo>
                    <a:lnTo>
                      <a:pt x="30" y="105"/>
                    </a:lnTo>
                    <a:lnTo>
                      <a:pt x="28" y="103"/>
                    </a:lnTo>
                    <a:lnTo>
                      <a:pt x="24" y="103"/>
                    </a:lnTo>
                    <a:lnTo>
                      <a:pt x="22" y="102"/>
                    </a:lnTo>
                    <a:lnTo>
                      <a:pt x="19" y="103"/>
                    </a:lnTo>
                    <a:lnTo>
                      <a:pt x="18" y="103"/>
                    </a:lnTo>
                    <a:lnTo>
                      <a:pt x="20" y="108"/>
                    </a:lnTo>
                    <a:lnTo>
                      <a:pt x="23" y="109"/>
                    </a:lnTo>
                    <a:lnTo>
                      <a:pt x="23" y="113"/>
                    </a:lnTo>
                    <a:lnTo>
                      <a:pt x="25" y="116"/>
                    </a:lnTo>
                    <a:lnTo>
                      <a:pt x="27" y="117"/>
                    </a:lnTo>
                    <a:lnTo>
                      <a:pt x="30" y="118"/>
                    </a:lnTo>
                    <a:lnTo>
                      <a:pt x="30" y="120"/>
                    </a:lnTo>
                    <a:lnTo>
                      <a:pt x="33" y="120"/>
                    </a:lnTo>
                    <a:lnTo>
                      <a:pt x="34" y="120"/>
                    </a:lnTo>
                    <a:lnTo>
                      <a:pt x="33" y="122"/>
                    </a:lnTo>
                    <a:lnTo>
                      <a:pt x="35" y="124"/>
                    </a:lnTo>
                    <a:lnTo>
                      <a:pt x="37" y="123"/>
                    </a:lnTo>
                    <a:lnTo>
                      <a:pt x="38" y="123"/>
                    </a:lnTo>
                    <a:lnTo>
                      <a:pt x="41" y="120"/>
                    </a:lnTo>
                    <a:lnTo>
                      <a:pt x="42" y="120"/>
                    </a:lnTo>
                    <a:lnTo>
                      <a:pt x="41" y="123"/>
                    </a:lnTo>
                    <a:lnTo>
                      <a:pt x="42" y="128"/>
                    </a:lnTo>
                    <a:lnTo>
                      <a:pt x="47" y="134"/>
                    </a:lnTo>
                    <a:lnTo>
                      <a:pt x="49" y="135"/>
                    </a:lnTo>
                    <a:lnTo>
                      <a:pt x="50" y="134"/>
                    </a:lnTo>
                    <a:lnTo>
                      <a:pt x="51" y="137"/>
                    </a:lnTo>
                    <a:lnTo>
                      <a:pt x="54" y="144"/>
                    </a:lnTo>
                    <a:lnTo>
                      <a:pt x="54" y="151"/>
                    </a:lnTo>
                    <a:lnTo>
                      <a:pt x="53" y="156"/>
                    </a:lnTo>
                    <a:lnTo>
                      <a:pt x="51" y="161"/>
                    </a:lnTo>
                    <a:lnTo>
                      <a:pt x="51" y="164"/>
                    </a:lnTo>
                    <a:lnTo>
                      <a:pt x="54" y="166"/>
                    </a:lnTo>
                    <a:lnTo>
                      <a:pt x="55" y="166"/>
                    </a:lnTo>
                    <a:lnTo>
                      <a:pt x="55" y="168"/>
                    </a:lnTo>
                    <a:lnTo>
                      <a:pt x="58" y="169"/>
                    </a:lnTo>
                    <a:lnTo>
                      <a:pt x="60" y="172"/>
                    </a:lnTo>
                    <a:lnTo>
                      <a:pt x="65" y="180"/>
                    </a:lnTo>
                    <a:lnTo>
                      <a:pt x="68" y="181"/>
                    </a:lnTo>
                    <a:lnTo>
                      <a:pt x="68" y="183"/>
                    </a:lnTo>
                    <a:lnTo>
                      <a:pt x="71" y="186"/>
                    </a:lnTo>
                    <a:lnTo>
                      <a:pt x="74" y="187"/>
                    </a:lnTo>
                    <a:lnTo>
                      <a:pt x="75" y="189"/>
                    </a:lnTo>
                    <a:lnTo>
                      <a:pt x="75" y="194"/>
                    </a:lnTo>
                    <a:lnTo>
                      <a:pt x="77" y="196"/>
                    </a:lnTo>
                    <a:lnTo>
                      <a:pt x="77" y="198"/>
                    </a:lnTo>
                    <a:lnTo>
                      <a:pt x="78" y="201"/>
                    </a:lnTo>
                    <a:lnTo>
                      <a:pt x="80" y="202"/>
                    </a:lnTo>
                    <a:lnTo>
                      <a:pt x="85" y="199"/>
                    </a:lnTo>
                    <a:lnTo>
                      <a:pt x="87" y="195"/>
                    </a:lnTo>
                    <a:lnTo>
                      <a:pt x="87" y="191"/>
                    </a:lnTo>
                    <a:lnTo>
                      <a:pt x="85" y="189"/>
                    </a:lnTo>
                    <a:lnTo>
                      <a:pt x="85" y="186"/>
                    </a:lnTo>
                    <a:lnTo>
                      <a:pt x="83" y="185"/>
                    </a:lnTo>
                    <a:lnTo>
                      <a:pt x="82" y="182"/>
                    </a:lnTo>
                    <a:lnTo>
                      <a:pt x="81" y="180"/>
                    </a:lnTo>
                    <a:lnTo>
                      <a:pt x="79" y="178"/>
                    </a:lnTo>
                    <a:lnTo>
                      <a:pt x="78" y="175"/>
                    </a:lnTo>
                    <a:lnTo>
                      <a:pt x="77" y="175"/>
                    </a:lnTo>
                    <a:lnTo>
                      <a:pt x="76" y="175"/>
                    </a:lnTo>
                    <a:lnTo>
                      <a:pt x="76" y="178"/>
                    </a:lnTo>
                    <a:lnTo>
                      <a:pt x="75" y="179"/>
                    </a:lnTo>
                    <a:lnTo>
                      <a:pt x="75" y="176"/>
                    </a:lnTo>
                    <a:lnTo>
                      <a:pt x="72" y="175"/>
                    </a:lnTo>
                    <a:lnTo>
                      <a:pt x="70" y="171"/>
                    </a:lnTo>
                    <a:lnTo>
                      <a:pt x="70" y="169"/>
                    </a:lnTo>
                    <a:lnTo>
                      <a:pt x="71" y="165"/>
                    </a:lnTo>
                    <a:lnTo>
                      <a:pt x="71" y="161"/>
                    </a:lnTo>
                    <a:lnTo>
                      <a:pt x="68" y="158"/>
                    </a:lnTo>
                    <a:lnTo>
                      <a:pt x="69" y="156"/>
                    </a:lnTo>
                    <a:lnTo>
                      <a:pt x="69" y="154"/>
                    </a:lnTo>
                    <a:lnTo>
                      <a:pt x="68" y="152"/>
                    </a:lnTo>
                    <a:lnTo>
                      <a:pt x="68" y="150"/>
                    </a:lnTo>
                    <a:lnTo>
                      <a:pt x="66" y="148"/>
                    </a:lnTo>
                    <a:lnTo>
                      <a:pt x="66" y="144"/>
                    </a:lnTo>
                    <a:lnTo>
                      <a:pt x="65" y="142"/>
                    </a:lnTo>
                    <a:lnTo>
                      <a:pt x="65" y="138"/>
                    </a:lnTo>
                    <a:lnTo>
                      <a:pt x="66" y="136"/>
                    </a:lnTo>
                    <a:lnTo>
                      <a:pt x="65" y="130"/>
                    </a:lnTo>
                    <a:lnTo>
                      <a:pt x="64" y="126"/>
                    </a:lnTo>
                    <a:lnTo>
                      <a:pt x="62" y="123"/>
                    </a:lnTo>
                    <a:lnTo>
                      <a:pt x="61" y="123"/>
                    </a:lnTo>
                    <a:lnTo>
                      <a:pt x="61" y="125"/>
                    </a:lnTo>
                    <a:lnTo>
                      <a:pt x="61" y="127"/>
                    </a:lnTo>
                    <a:lnTo>
                      <a:pt x="61" y="128"/>
                    </a:lnTo>
                    <a:lnTo>
                      <a:pt x="58" y="123"/>
                    </a:lnTo>
                    <a:lnTo>
                      <a:pt x="58" y="121"/>
                    </a:lnTo>
                    <a:lnTo>
                      <a:pt x="58" y="119"/>
                    </a:lnTo>
                    <a:lnTo>
                      <a:pt x="58" y="117"/>
                    </a:lnTo>
                    <a:lnTo>
                      <a:pt x="57" y="117"/>
                    </a:lnTo>
                    <a:lnTo>
                      <a:pt x="56" y="110"/>
                    </a:lnTo>
                    <a:lnTo>
                      <a:pt x="54" y="106"/>
                    </a:lnTo>
                    <a:lnTo>
                      <a:pt x="52" y="105"/>
                    </a:lnTo>
                    <a:lnTo>
                      <a:pt x="50" y="102"/>
                    </a:lnTo>
                    <a:lnTo>
                      <a:pt x="50" y="98"/>
                    </a:lnTo>
                    <a:lnTo>
                      <a:pt x="50" y="94"/>
                    </a:lnTo>
                    <a:lnTo>
                      <a:pt x="47" y="90"/>
                    </a:lnTo>
                    <a:lnTo>
                      <a:pt x="46" y="89"/>
                    </a:lnTo>
                    <a:lnTo>
                      <a:pt x="44" y="88"/>
                    </a:lnTo>
                    <a:lnTo>
                      <a:pt x="44" y="84"/>
                    </a:lnTo>
                    <a:lnTo>
                      <a:pt x="43" y="82"/>
                    </a:lnTo>
                    <a:lnTo>
                      <a:pt x="40" y="81"/>
                    </a:lnTo>
                    <a:lnTo>
                      <a:pt x="40" y="78"/>
                    </a:lnTo>
                    <a:lnTo>
                      <a:pt x="40" y="75"/>
                    </a:lnTo>
                    <a:lnTo>
                      <a:pt x="39" y="71"/>
                    </a:lnTo>
                    <a:lnTo>
                      <a:pt x="35" y="68"/>
                    </a:lnTo>
                    <a:lnTo>
                      <a:pt x="34" y="65"/>
                    </a:lnTo>
                    <a:lnTo>
                      <a:pt x="33" y="65"/>
                    </a:lnTo>
                    <a:lnTo>
                      <a:pt x="33" y="61"/>
                    </a:lnTo>
                    <a:lnTo>
                      <a:pt x="30" y="57"/>
                    </a:lnTo>
                    <a:lnTo>
                      <a:pt x="29" y="55"/>
                    </a:lnTo>
                    <a:lnTo>
                      <a:pt x="30" y="52"/>
                    </a:lnTo>
                    <a:lnTo>
                      <a:pt x="30" y="41"/>
                    </a:lnTo>
                    <a:lnTo>
                      <a:pt x="29" y="33"/>
                    </a:lnTo>
                    <a:lnTo>
                      <a:pt x="30" y="29"/>
                    </a:lnTo>
                    <a:lnTo>
                      <a:pt x="32" y="23"/>
                    </a:lnTo>
                    <a:lnTo>
                      <a:pt x="31" y="20"/>
                    </a:lnTo>
                    <a:lnTo>
                      <a:pt x="30" y="16"/>
                    </a:lnTo>
                    <a:lnTo>
                      <a:pt x="32" y="20"/>
                    </a:lnTo>
                    <a:lnTo>
                      <a:pt x="36" y="22"/>
                    </a:lnTo>
                    <a:lnTo>
                      <a:pt x="38" y="27"/>
                    </a:lnTo>
                    <a:lnTo>
                      <a:pt x="40" y="29"/>
                    </a:lnTo>
                    <a:lnTo>
                      <a:pt x="42" y="28"/>
                    </a:lnTo>
                    <a:lnTo>
                      <a:pt x="44" y="27"/>
                    </a:lnTo>
                    <a:lnTo>
                      <a:pt x="46" y="30"/>
                    </a:lnTo>
                    <a:lnTo>
                      <a:pt x="47" y="32"/>
                    </a:lnTo>
                    <a:lnTo>
                      <a:pt x="50" y="32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1" y="38"/>
                    </a:lnTo>
                    <a:lnTo>
                      <a:pt x="51" y="41"/>
                    </a:lnTo>
                    <a:lnTo>
                      <a:pt x="52" y="45"/>
                    </a:lnTo>
                    <a:lnTo>
                      <a:pt x="53" y="51"/>
                    </a:lnTo>
                    <a:lnTo>
                      <a:pt x="54" y="54"/>
                    </a:lnTo>
                    <a:lnTo>
                      <a:pt x="54" y="58"/>
                    </a:lnTo>
                    <a:lnTo>
                      <a:pt x="54" y="60"/>
                    </a:lnTo>
                    <a:lnTo>
                      <a:pt x="55" y="63"/>
                    </a:lnTo>
                    <a:lnTo>
                      <a:pt x="58" y="68"/>
                    </a:lnTo>
                    <a:lnTo>
                      <a:pt x="58" y="71"/>
                    </a:lnTo>
                    <a:lnTo>
                      <a:pt x="58" y="72"/>
                    </a:lnTo>
                    <a:lnTo>
                      <a:pt x="58" y="75"/>
                    </a:lnTo>
                    <a:lnTo>
                      <a:pt x="59" y="75"/>
                    </a:lnTo>
                    <a:lnTo>
                      <a:pt x="61" y="76"/>
                    </a:lnTo>
                    <a:lnTo>
                      <a:pt x="62" y="82"/>
                    </a:lnTo>
                    <a:lnTo>
                      <a:pt x="64" y="83"/>
                    </a:lnTo>
                    <a:lnTo>
                      <a:pt x="65" y="86"/>
                    </a:lnTo>
                    <a:lnTo>
                      <a:pt x="65" y="89"/>
                    </a:lnTo>
                    <a:lnTo>
                      <a:pt x="66" y="91"/>
                    </a:lnTo>
                    <a:lnTo>
                      <a:pt x="68" y="92"/>
                    </a:lnTo>
                    <a:lnTo>
                      <a:pt x="69" y="96"/>
                    </a:lnTo>
                    <a:lnTo>
                      <a:pt x="70" y="99"/>
                    </a:lnTo>
                    <a:lnTo>
                      <a:pt x="72" y="100"/>
                    </a:lnTo>
                    <a:lnTo>
                      <a:pt x="73" y="102"/>
                    </a:lnTo>
                    <a:lnTo>
                      <a:pt x="75" y="102"/>
                    </a:lnTo>
                    <a:lnTo>
                      <a:pt x="75" y="103"/>
                    </a:lnTo>
                    <a:lnTo>
                      <a:pt x="78" y="102"/>
                    </a:lnTo>
                    <a:lnTo>
                      <a:pt x="79" y="103"/>
                    </a:lnTo>
                    <a:lnTo>
                      <a:pt x="79" y="107"/>
                    </a:lnTo>
                    <a:lnTo>
                      <a:pt x="78" y="110"/>
                    </a:lnTo>
                    <a:lnTo>
                      <a:pt x="78" y="114"/>
                    </a:lnTo>
                    <a:lnTo>
                      <a:pt x="83" y="120"/>
                    </a:lnTo>
                    <a:lnTo>
                      <a:pt x="85" y="119"/>
                    </a:lnTo>
                    <a:lnTo>
                      <a:pt x="87" y="120"/>
                    </a:lnTo>
                    <a:lnTo>
                      <a:pt x="86" y="123"/>
                    </a:lnTo>
                    <a:lnTo>
                      <a:pt x="87" y="126"/>
                    </a:lnTo>
                    <a:lnTo>
                      <a:pt x="90" y="127"/>
                    </a:lnTo>
                    <a:lnTo>
                      <a:pt x="92" y="126"/>
                    </a:lnTo>
                    <a:lnTo>
                      <a:pt x="95" y="130"/>
                    </a:lnTo>
                    <a:lnTo>
                      <a:pt x="95" y="132"/>
                    </a:lnTo>
                    <a:lnTo>
                      <a:pt x="97" y="134"/>
                    </a:lnTo>
                    <a:lnTo>
                      <a:pt x="98" y="132"/>
                    </a:lnTo>
                    <a:lnTo>
                      <a:pt x="99" y="134"/>
                    </a:lnTo>
                    <a:lnTo>
                      <a:pt x="99" y="136"/>
                    </a:lnTo>
                    <a:lnTo>
                      <a:pt x="98" y="137"/>
                    </a:lnTo>
                    <a:lnTo>
                      <a:pt x="96" y="135"/>
                    </a:lnTo>
                    <a:lnTo>
                      <a:pt x="95" y="136"/>
                    </a:lnTo>
                    <a:lnTo>
                      <a:pt x="92" y="139"/>
                    </a:lnTo>
                    <a:lnTo>
                      <a:pt x="91" y="144"/>
                    </a:lnTo>
                    <a:lnTo>
                      <a:pt x="91" y="148"/>
                    </a:lnTo>
                    <a:lnTo>
                      <a:pt x="93" y="149"/>
                    </a:lnTo>
                    <a:lnTo>
                      <a:pt x="96" y="150"/>
                    </a:lnTo>
                    <a:lnTo>
                      <a:pt x="97" y="151"/>
                    </a:lnTo>
                    <a:lnTo>
                      <a:pt x="103" y="157"/>
                    </a:lnTo>
                    <a:lnTo>
                      <a:pt x="106" y="158"/>
                    </a:lnTo>
                    <a:lnTo>
                      <a:pt x="108" y="158"/>
                    </a:lnTo>
                    <a:lnTo>
                      <a:pt x="109" y="160"/>
                    </a:lnTo>
                    <a:lnTo>
                      <a:pt x="110" y="163"/>
                    </a:lnTo>
                    <a:lnTo>
                      <a:pt x="111" y="165"/>
                    </a:lnTo>
                    <a:lnTo>
                      <a:pt x="110" y="168"/>
                    </a:lnTo>
                    <a:lnTo>
                      <a:pt x="108" y="168"/>
                    </a:lnTo>
                    <a:lnTo>
                      <a:pt x="108" y="170"/>
                    </a:lnTo>
                    <a:lnTo>
                      <a:pt x="110" y="172"/>
                    </a:lnTo>
                    <a:lnTo>
                      <a:pt x="115" y="174"/>
                    </a:lnTo>
                    <a:lnTo>
                      <a:pt x="115" y="175"/>
                    </a:lnTo>
                    <a:lnTo>
                      <a:pt x="117" y="177"/>
                    </a:lnTo>
                    <a:lnTo>
                      <a:pt x="120" y="181"/>
                    </a:lnTo>
                    <a:lnTo>
                      <a:pt x="124" y="187"/>
                    </a:lnTo>
                    <a:lnTo>
                      <a:pt x="127" y="194"/>
                    </a:lnTo>
                    <a:lnTo>
                      <a:pt x="132" y="200"/>
                    </a:lnTo>
                    <a:lnTo>
                      <a:pt x="132" y="203"/>
                    </a:lnTo>
                    <a:lnTo>
                      <a:pt x="137" y="211"/>
                    </a:lnTo>
                    <a:lnTo>
                      <a:pt x="138" y="214"/>
                    </a:lnTo>
                    <a:lnTo>
                      <a:pt x="137" y="217"/>
                    </a:lnTo>
                    <a:lnTo>
                      <a:pt x="138" y="220"/>
                    </a:lnTo>
                    <a:lnTo>
                      <a:pt x="140" y="225"/>
                    </a:lnTo>
                    <a:lnTo>
                      <a:pt x="142" y="234"/>
                    </a:lnTo>
                    <a:lnTo>
                      <a:pt x="143" y="238"/>
                    </a:lnTo>
                    <a:lnTo>
                      <a:pt x="141" y="241"/>
                    </a:lnTo>
                    <a:lnTo>
                      <a:pt x="138" y="244"/>
                    </a:lnTo>
                    <a:lnTo>
                      <a:pt x="137" y="246"/>
                    </a:lnTo>
                    <a:lnTo>
                      <a:pt x="139" y="247"/>
                    </a:lnTo>
                    <a:lnTo>
                      <a:pt x="141" y="248"/>
                    </a:lnTo>
                    <a:lnTo>
                      <a:pt x="139" y="250"/>
                    </a:lnTo>
                    <a:lnTo>
                      <a:pt x="136" y="250"/>
                    </a:lnTo>
                    <a:lnTo>
                      <a:pt x="134" y="251"/>
                    </a:lnTo>
                    <a:lnTo>
                      <a:pt x="134" y="253"/>
                    </a:lnTo>
                    <a:lnTo>
                      <a:pt x="136" y="259"/>
                    </a:lnTo>
                    <a:lnTo>
                      <a:pt x="138" y="261"/>
                    </a:lnTo>
                    <a:lnTo>
                      <a:pt x="138" y="264"/>
                    </a:lnTo>
                    <a:lnTo>
                      <a:pt x="141" y="268"/>
                    </a:lnTo>
                    <a:lnTo>
                      <a:pt x="142" y="272"/>
                    </a:lnTo>
                    <a:lnTo>
                      <a:pt x="143" y="273"/>
                    </a:lnTo>
                    <a:lnTo>
                      <a:pt x="145" y="273"/>
                    </a:lnTo>
                    <a:lnTo>
                      <a:pt x="146" y="275"/>
                    </a:lnTo>
                    <a:lnTo>
                      <a:pt x="151" y="276"/>
                    </a:lnTo>
                    <a:lnTo>
                      <a:pt x="154" y="275"/>
                    </a:lnTo>
                    <a:lnTo>
                      <a:pt x="155" y="276"/>
                    </a:lnTo>
                    <a:lnTo>
                      <a:pt x="154" y="278"/>
                    </a:lnTo>
                    <a:lnTo>
                      <a:pt x="154" y="279"/>
                    </a:lnTo>
                    <a:lnTo>
                      <a:pt x="158" y="281"/>
                    </a:lnTo>
                    <a:lnTo>
                      <a:pt x="161" y="285"/>
                    </a:lnTo>
                    <a:lnTo>
                      <a:pt x="163" y="289"/>
                    </a:lnTo>
                    <a:lnTo>
                      <a:pt x="165" y="293"/>
                    </a:lnTo>
                    <a:lnTo>
                      <a:pt x="168" y="295"/>
                    </a:lnTo>
                    <a:lnTo>
                      <a:pt x="169" y="294"/>
                    </a:lnTo>
                    <a:lnTo>
                      <a:pt x="172" y="296"/>
                    </a:lnTo>
                    <a:lnTo>
                      <a:pt x="174" y="296"/>
                    </a:lnTo>
                    <a:lnTo>
                      <a:pt x="179" y="299"/>
                    </a:lnTo>
                    <a:lnTo>
                      <a:pt x="182" y="299"/>
                    </a:lnTo>
                    <a:lnTo>
                      <a:pt x="182" y="297"/>
                    </a:lnTo>
                    <a:lnTo>
                      <a:pt x="184" y="297"/>
                    </a:lnTo>
                    <a:lnTo>
                      <a:pt x="186" y="299"/>
                    </a:lnTo>
                    <a:lnTo>
                      <a:pt x="192" y="307"/>
                    </a:lnTo>
                    <a:lnTo>
                      <a:pt x="194" y="307"/>
                    </a:lnTo>
                    <a:lnTo>
                      <a:pt x="198" y="313"/>
                    </a:lnTo>
                    <a:lnTo>
                      <a:pt x="204" y="316"/>
                    </a:lnTo>
                    <a:lnTo>
                      <a:pt x="211" y="317"/>
                    </a:lnTo>
                    <a:lnTo>
                      <a:pt x="214" y="319"/>
                    </a:lnTo>
                    <a:lnTo>
                      <a:pt x="217" y="322"/>
                    </a:lnTo>
                    <a:lnTo>
                      <a:pt x="220" y="323"/>
                    </a:lnTo>
                    <a:lnTo>
                      <a:pt x="224" y="325"/>
                    </a:lnTo>
                    <a:lnTo>
                      <a:pt x="226" y="324"/>
                    </a:lnTo>
                    <a:lnTo>
                      <a:pt x="227" y="324"/>
                    </a:lnTo>
                    <a:lnTo>
                      <a:pt x="229" y="328"/>
                    </a:lnTo>
                    <a:lnTo>
                      <a:pt x="232" y="331"/>
                    </a:lnTo>
                    <a:lnTo>
                      <a:pt x="234" y="331"/>
                    </a:lnTo>
                    <a:lnTo>
                      <a:pt x="236" y="330"/>
                    </a:lnTo>
                    <a:lnTo>
                      <a:pt x="238" y="332"/>
                    </a:lnTo>
                    <a:lnTo>
                      <a:pt x="244" y="334"/>
                    </a:lnTo>
                    <a:lnTo>
                      <a:pt x="248" y="334"/>
                    </a:lnTo>
                    <a:lnTo>
                      <a:pt x="252" y="337"/>
                    </a:lnTo>
                    <a:lnTo>
                      <a:pt x="259" y="340"/>
                    </a:lnTo>
                    <a:lnTo>
                      <a:pt x="262" y="340"/>
                    </a:lnTo>
                    <a:lnTo>
                      <a:pt x="269" y="336"/>
                    </a:lnTo>
                    <a:lnTo>
                      <a:pt x="272" y="336"/>
                    </a:lnTo>
                    <a:lnTo>
                      <a:pt x="276" y="333"/>
                    </a:lnTo>
                    <a:lnTo>
                      <a:pt x="279" y="332"/>
                    </a:lnTo>
                    <a:lnTo>
                      <a:pt x="283" y="332"/>
                    </a:lnTo>
                    <a:lnTo>
                      <a:pt x="284" y="332"/>
                    </a:lnTo>
                    <a:lnTo>
                      <a:pt x="284" y="331"/>
                    </a:lnTo>
                    <a:lnTo>
                      <a:pt x="281" y="331"/>
                    </a:lnTo>
                    <a:lnTo>
                      <a:pt x="279" y="331"/>
                    </a:lnTo>
                    <a:lnTo>
                      <a:pt x="279" y="329"/>
                    </a:lnTo>
                    <a:lnTo>
                      <a:pt x="283" y="327"/>
                    </a:lnTo>
                    <a:lnTo>
                      <a:pt x="283" y="327"/>
                    </a:lnTo>
                    <a:lnTo>
                      <a:pt x="283" y="329"/>
                    </a:lnTo>
                    <a:lnTo>
                      <a:pt x="285" y="328"/>
                    </a:lnTo>
                    <a:lnTo>
                      <a:pt x="287" y="328"/>
                    </a:lnTo>
                    <a:lnTo>
                      <a:pt x="287" y="330"/>
                    </a:lnTo>
                    <a:lnTo>
                      <a:pt x="286" y="330"/>
                    </a:lnTo>
                    <a:lnTo>
                      <a:pt x="285" y="331"/>
                    </a:lnTo>
                    <a:lnTo>
                      <a:pt x="286" y="331"/>
                    </a:lnTo>
                    <a:lnTo>
                      <a:pt x="288" y="331"/>
                    </a:lnTo>
                    <a:lnTo>
                      <a:pt x="290" y="332"/>
                    </a:lnTo>
                    <a:lnTo>
                      <a:pt x="295" y="335"/>
                    </a:lnTo>
                    <a:lnTo>
                      <a:pt x="297" y="337"/>
                    </a:lnTo>
                    <a:lnTo>
                      <a:pt x="297" y="337"/>
                    </a:lnTo>
                    <a:lnTo>
                      <a:pt x="293" y="333"/>
                    </a:lnTo>
                    <a:lnTo>
                      <a:pt x="289" y="330"/>
                    </a:lnTo>
                    <a:lnTo>
                      <a:pt x="289" y="329"/>
                    </a:lnTo>
                    <a:lnTo>
                      <a:pt x="290" y="329"/>
                    </a:lnTo>
                    <a:lnTo>
                      <a:pt x="290" y="330"/>
                    </a:lnTo>
                    <a:lnTo>
                      <a:pt x="293" y="331"/>
                    </a:lnTo>
                    <a:lnTo>
                      <a:pt x="295" y="333"/>
                    </a:lnTo>
                    <a:lnTo>
                      <a:pt x="298" y="337"/>
                    </a:lnTo>
                    <a:lnTo>
                      <a:pt x="298" y="338"/>
                    </a:lnTo>
                    <a:lnTo>
                      <a:pt x="299" y="340"/>
                    </a:lnTo>
                    <a:lnTo>
                      <a:pt x="309" y="350"/>
                    </a:lnTo>
                    <a:lnTo>
                      <a:pt x="312" y="351"/>
                    </a:lnTo>
                    <a:lnTo>
                      <a:pt x="312" y="353"/>
                    </a:lnTo>
                    <a:lnTo>
                      <a:pt x="316" y="356"/>
                    </a:lnTo>
                    <a:lnTo>
                      <a:pt x="318" y="360"/>
                    </a:lnTo>
                    <a:lnTo>
                      <a:pt x="319" y="359"/>
                    </a:lnTo>
                    <a:lnTo>
                      <a:pt x="319" y="35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5" name="Freeform 1289">
                <a:extLst>
                  <a:ext uri="{FF2B5EF4-FFF2-40B4-BE49-F238E27FC236}">
                    <a16:creationId xmlns:a16="http://schemas.microsoft.com/office/drawing/2014/main" id="{A002B780-AD44-4BB3-992B-C3482BBC1F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2476" y="3756025"/>
                <a:ext cx="3175" cy="3175"/>
              </a:xfrm>
              <a:custGeom>
                <a:avLst/>
                <a:gdLst>
                  <a:gd name="T0" fmla="*/ 0 w 2"/>
                  <a:gd name="T1" fmla="*/ 1 h 2"/>
                  <a:gd name="T2" fmla="*/ 2 w 2"/>
                  <a:gd name="T3" fmla="*/ 2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6" name="Freeform 1290">
                <a:extLst>
                  <a:ext uri="{FF2B5EF4-FFF2-40B4-BE49-F238E27FC236}">
                    <a16:creationId xmlns:a16="http://schemas.microsoft.com/office/drawing/2014/main" id="{7344A42C-F71E-47CB-9543-6CD630B094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0101" y="4389438"/>
                <a:ext cx="7938" cy="12700"/>
              </a:xfrm>
              <a:custGeom>
                <a:avLst/>
                <a:gdLst>
                  <a:gd name="T0" fmla="*/ 1 w 6"/>
                  <a:gd name="T1" fmla="*/ 0 h 11"/>
                  <a:gd name="T2" fmla="*/ 0 w 6"/>
                  <a:gd name="T3" fmla="*/ 2 h 11"/>
                  <a:gd name="T4" fmla="*/ 2 w 6"/>
                  <a:gd name="T5" fmla="*/ 7 h 11"/>
                  <a:gd name="T6" fmla="*/ 4 w 6"/>
                  <a:gd name="T7" fmla="*/ 11 h 11"/>
                  <a:gd name="T8" fmla="*/ 6 w 6"/>
                  <a:gd name="T9" fmla="*/ 11 h 11"/>
                  <a:gd name="T10" fmla="*/ 6 w 6"/>
                  <a:gd name="T11" fmla="*/ 8 h 11"/>
                  <a:gd name="T12" fmla="*/ 3 w 6"/>
                  <a:gd name="T13" fmla="*/ 2 h 11"/>
                  <a:gd name="T14" fmla="*/ 1 w 6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1">
                    <a:moveTo>
                      <a:pt x="1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4" y="11"/>
                      <a:pt x="6" y="11"/>
                      <a:pt x="6" y="11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3" y="2"/>
                      <a:pt x="3" y="2"/>
                      <a:pt x="3" y="2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7" name="Freeform 1291">
                <a:extLst>
                  <a:ext uri="{FF2B5EF4-FFF2-40B4-BE49-F238E27FC236}">
                    <a16:creationId xmlns:a16="http://schemas.microsoft.com/office/drawing/2014/main" id="{2D67979D-A810-443B-B6C1-9E92847534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5813" y="4457700"/>
                <a:ext cx="12700" cy="15875"/>
              </a:xfrm>
              <a:custGeom>
                <a:avLst/>
                <a:gdLst>
                  <a:gd name="T0" fmla="*/ 7 w 8"/>
                  <a:gd name="T1" fmla="*/ 0 h 10"/>
                  <a:gd name="T2" fmla="*/ 7 w 8"/>
                  <a:gd name="T3" fmla="*/ 0 h 10"/>
                  <a:gd name="T4" fmla="*/ 5 w 8"/>
                  <a:gd name="T5" fmla="*/ 0 h 10"/>
                  <a:gd name="T6" fmla="*/ 3 w 8"/>
                  <a:gd name="T7" fmla="*/ 1 h 10"/>
                  <a:gd name="T8" fmla="*/ 1 w 8"/>
                  <a:gd name="T9" fmla="*/ 4 h 10"/>
                  <a:gd name="T10" fmla="*/ 0 w 8"/>
                  <a:gd name="T11" fmla="*/ 10 h 10"/>
                  <a:gd name="T12" fmla="*/ 0 w 8"/>
                  <a:gd name="T13" fmla="*/ 10 h 10"/>
                  <a:gd name="T14" fmla="*/ 1 w 8"/>
                  <a:gd name="T15" fmla="*/ 8 h 10"/>
                  <a:gd name="T16" fmla="*/ 4 w 8"/>
                  <a:gd name="T17" fmla="*/ 4 h 10"/>
                  <a:gd name="T18" fmla="*/ 6 w 8"/>
                  <a:gd name="T19" fmla="*/ 4 h 10"/>
                  <a:gd name="T20" fmla="*/ 8 w 8"/>
                  <a:gd name="T21" fmla="*/ 1 h 10"/>
                  <a:gd name="T22" fmla="*/ 7 w 8"/>
                  <a:gd name="T2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10">
                    <a:moveTo>
                      <a:pt x="7" y="0"/>
                    </a:moveTo>
                    <a:lnTo>
                      <a:pt x="7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1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8" y="1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8" name="Freeform 1292">
                <a:extLst>
                  <a:ext uri="{FF2B5EF4-FFF2-40B4-BE49-F238E27FC236}">
                    <a16:creationId xmlns:a16="http://schemas.microsoft.com/office/drawing/2014/main" id="{F7C87B33-0FCF-460F-8383-BB9886B86C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7563" y="4454525"/>
                <a:ext cx="11113" cy="4763"/>
              </a:xfrm>
              <a:custGeom>
                <a:avLst/>
                <a:gdLst>
                  <a:gd name="T0" fmla="*/ 6 w 7"/>
                  <a:gd name="T1" fmla="*/ 3 h 3"/>
                  <a:gd name="T2" fmla="*/ 7 w 7"/>
                  <a:gd name="T3" fmla="*/ 2 h 3"/>
                  <a:gd name="T4" fmla="*/ 5 w 7"/>
                  <a:gd name="T5" fmla="*/ 0 h 3"/>
                  <a:gd name="T6" fmla="*/ 4 w 7"/>
                  <a:gd name="T7" fmla="*/ 0 h 3"/>
                  <a:gd name="T8" fmla="*/ 3 w 7"/>
                  <a:gd name="T9" fmla="*/ 2 h 3"/>
                  <a:gd name="T10" fmla="*/ 0 w 7"/>
                  <a:gd name="T11" fmla="*/ 2 h 3"/>
                  <a:gd name="T12" fmla="*/ 3 w 7"/>
                  <a:gd name="T13" fmla="*/ 3 h 3"/>
                  <a:gd name="T14" fmla="*/ 6 w 7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6" y="3"/>
                    </a:moveTo>
                    <a:lnTo>
                      <a:pt x="7" y="2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3" y="3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9" name="Freeform 1293">
                <a:extLst>
                  <a:ext uri="{FF2B5EF4-FFF2-40B4-BE49-F238E27FC236}">
                    <a16:creationId xmlns:a16="http://schemas.microsoft.com/office/drawing/2014/main" id="{B4776321-5D34-406E-A101-6D53B6C5C4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8988" y="4467225"/>
                <a:ext cx="6350" cy="6350"/>
              </a:xfrm>
              <a:custGeom>
                <a:avLst/>
                <a:gdLst>
                  <a:gd name="T0" fmla="*/ 1 w 4"/>
                  <a:gd name="T1" fmla="*/ 2 h 4"/>
                  <a:gd name="T2" fmla="*/ 0 w 4"/>
                  <a:gd name="T3" fmla="*/ 4 h 4"/>
                  <a:gd name="T4" fmla="*/ 1 w 4"/>
                  <a:gd name="T5" fmla="*/ 4 h 4"/>
                  <a:gd name="T6" fmla="*/ 3 w 4"/>
                  <a:gd name="T7" fmla="*/ 4 h 4"/>
                  <a:gd name="T8" fmla="*/ 4 w 4"/>
                  <a:gd name="T9" fmla="*/ 1 h 4"/>
                  <a:gd name="T10" fmla="*/ 3 w 4"/>
                  <a:gd name="T11" fmla="*/ 0 h 4"/>
                  <a:gd name="T12" fmla="*/ 1 w 4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4">
                    <a:moveTo>
                      <a:pt x="1" y="2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3" y="4"/>
                    </a:lnTo>
                    <a:lnTo>
                      <a:pt x="4" y="1"/>
                    </a:lnTo>
                    <a:lnTo>
                      <a:pt x="3" y="0"/>
                    </a:lnTo>
                    <a:lnTo>
                      <a:pt x="1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0" name="Freeform 1294">
                <a:extLst>
                  <a:ext uri="{FF2B5EF4-FFF2-40B4-BE49-F238E27FC236}">
                    <a16:creationId xmlns:a16="http://schemas.microsoft.com/office/drawing/2014/main" id="{10B59590-794C-4796-BFBD-88DB2B001C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6451" y="4446588"/>
                <a:ext cx="11113" cy="7938"/>
              </a:xfrm>
              <a:custGeom>
                <a:avLst/>
                <a:gdLst>
                  <a:gd name="T0" fmla="*/ 4 w 7"/>
                  <a:gd name="T1" fmla="*/ 4 h 5"/>
                  <a:gd name="T2" fmla="*/ 5 w 7"/>
                  <a:gd name="T3" fmla="*/ 5 h 5"/>
                  <a:gd name="T4" fmla="*/ 7 w 7"/>
                  <a:gd name="T5" fmla="*/ 4 h 5"/>
                  <a:gd name="T6" fmla="*/ 7 w 7"/>
                  <a:gd name="T7" fmla="*/ 2 h 5"/>
                  <a:gd name="T8" fmla="*/ 6 w 7"/>
                  <a:gd name="T9" fmla="*/ 0 h 5"/>
                  <a:gd name="T10" fmla="*/ 2 w 7"/>
                  <a:gd name="T11" fmla="*/ 2 h 5"/>
                  <a:gd name="T12" fmla="*/ 1 w 7"/>
                  <a:gd name="T13" fmla="*/ 2 h 5"/>
                  <a:gd name="T14" fmla="*/ 0 w 7"/>
                  <a:gd name="T15" fmla="*/ 3 h 5"/>
                  <a:gd name="T16" fmla="*/ 1 w 7"/>
                  <a:gd name="T17" fmla="*/ 4 h 5"/>
                  <a:gd name="T18" fmla="*/ 4 w 7"/>
                  <a:gd name="T19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5">
                    <a:moveTo>
                      <a:pt x="4" y="4"/>
                    </a:moveTo>
                    <a:lnTo>
                      <a:pt x="5" y="5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1" name="Freeform 1295">
                <a:extLst>
                  <a:ext uri="{FF2B5EF4-FFF2-40B4-BE49-F238E27FC236}">
                    <a16:creationId xmlns:a16="http://schemas.microsoft.com/office/drawing/2014/main" id="{0D2F09D1-2D39-4775-B102-1CEE5E67D6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6" y="4435475"/>
                <a:ext cx="9525" cy="12700"/>
              </a:xfrm>
              <a:custGeom>
                <a:avLst/>
                <a:gdLst>
                  <a:gd name="T0" fmla="*/ 3 w 6"/>
                  <a:gd name="T1" fmla="*/ 7 h 8"/>
                  <a:gd name="T2" fmla="*/ 3 w 6"/>
                  <a:gd name="T3" fmla="*/ 3 h 8"/>
                  <a:gd name="T4" fmla="*/ 5 w 6"/>
                  <a:gd name="T5" fmla="*/ 3 h 8"/>
                  <a:gd name="T6" fmla="*/ 6 w 6"/>
                  <a:gd name="T7" fmla="*/ 0 h 8"/>
                  <a:gd name="T8" fmla="*/ 5 w 6"/>
                  <a:gd name="T9" fmla="*/ 0 h 8"/>
                  <a:gd name="T10" fmla="*/ 3 w 6"/>
                  <a:gd name="T11" fmla="*/ 2 h 8"/>
                  <a:gd name="T12" fmla="*/ 2 w 6"/>
                  <a:gd name="T13" fmla="*/ 3 h 8"/>
                  <a:gd name="T14" fmla="*/ 0 w 6"/>
                  <a:gd name="T15" fmla="*/ 5 h 8"/>
                  <a:gd name="T16" fmla="*/ 1 w 6"/>
                  <a:gd name="T17" fmla="*/ 8 h 8"/>
                  <a:gd name="T18" fmla="*/ 3 w 6"/>
                  <a:gd name="T1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8">
                    <a:moveTo>
                      <a:pt x="3" y="7"/>
                    </a:moveTo>
                    <a:lnTo>
                      <a:pt x="3" y="3"/>
                    </a:lnTo>
                    <a:lnTo>
                      <a:pt x="5" y="3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1" y="8"/>
                    </a:lnTo>
                    <a:lnTo>
                      <a:pt x="3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2" name="Freeform 1296">
                <a:extLst>
                  <a:ext uri="{FF2B5EF4-FFF2-40B4-BE49-F238E27FC236}">
                    <a16:creationId xmlns:a16="http://schemas.microsoft.com/office/drawing/2014/main" id="{AF30E465-FF1E-46F2-9914-3D73262477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4638" y="4310063"/>
                <a:ext cx="879475" cy="1108075"/>
              </a:xfrm>
              <a:custGeom>
                <a:avLst/>
                <a:gdLst>
                  <a:gd name="T0" fmla="*/ 671 w 713"/>
                  <a:gd name="T1" fmla="*/ 226 h 900"/>
                  <a:gd name="T2" fmla="*/ 607 w 713"/>
                  <a:gd name="T3" fmla="*/ 180 h 900"/>
                  <a:gd name="T4" fmla="*/ 580 w 713"/>
                  <a:gd name="T5" fmla="*/ 176 h 900"/>
                  <a:gd name="T6" fmla="*/ 549 w 713"/>
                  <a:gd name="T7" fmla="*/ 173 h 900"/>
                  <a:gd name="T8" fmla="*/ 534 w 713"/>
                  <a:gd name="T9" fmla="*/ 190 h 900"/>
                  <a:gd name="T10" fmla="*/ 521 w 713"/>
                  <a:gd name="T11" fmla="*/ 155 h 900"/>
                  <a:gd name="T12" fmla="*/ 501 w 713"/>
                  <a:gd name="T13" fmla="*/ 139 h 900"/>
                  <a:gd name="T14" fmla="*/ 470 w 713"/>
                  <a:gd name="T15" fmla="*/ 137 h 900"/>
                  <a:gd name="T16" fmla="*/ 443 w 713"/>
                  <a:gd name="T17" fmla="*/ 187 h 900"/>
                  <a:gd name="T18" fmla="*/ 434 w 713"/>
                  <a:gd name="T19" fmla="*/ 162 h 900"/>
                  <a:gd name="T20" fmla="*/ 450 w 713"/>
                  <a:gd name="T21" fmla="*/ 154 h 900"/>
                  <a:gd name="T22" fmla="*/ 443 w 713"/>
                  <a:gd name="T23" fmla="*/ 125 h 900"/>
                  <a:gd name="T24" fmla="*/ 416 w 713"/>
                  <a:gd name="T25" fmla="*/ 137 h 900"/>
                  <a:gd name="T26" fmla="*/ 402 w 713"/>
                  <a:gd name="T27" fmla="*/ 144 h 900"/>
                  <a:gd name="T28" fmla="*/ 435 w 713"/>
                  <a:gd name="T29" fmla="*/ 89 h 900"/>
                  <a:gd name="T30" fmla="*/ 415 w 713"/>
                  <a:gd name="T31" fmla="*/ 36 h 900"/>
                  <a:gd name="T32" fmla="*/ 397 w 713"/>
                  <a:gd name="T33" fmla="*/ 40 h 900"/>
                  <a:gd name="T34" fmla="*/ 371 w 713"/>
                  <a:gd name="T35" fmla="*/ 72 h 900"/>
                  <a:gd name="T36" fmla="*/ 349 w 713"/>
                  <a:gd name="T37" fmla="*/ 57 h 900"/>
                  <a:gd name="T38" fmla="*/ 323 w 713"/>
                  <a:gd name="T39" fmla="*/ 76 h 900"/>
                  <a:gd name="T40" fmla="*/ 287 w 713"/>
                  <a:gd name="T41" fmla="*/ 84 h 900"/>
                  <a:gd name="T42" fmla="*/ 254 w 713"/>
                  <a:gd name="T43" fmla="*/ 68 h 900"/>
                  <a:gd name="T44" fmla="*/ 258 w 713"/>
                  <a:gd name="T45" fmla="*/ 23 h 900"/>
                  <a:gd name="T46" fmla="*/ 242 w 713"/>
                  <a:gd name="T47" fmla="*/ 4 h 900"/>
                  <a:gd name="T48" fmla="*/ 187 w 713"/>
                  <a:gd name="T49" fmla="*/ 30 h 900"/>
                  <a:gd name="T50" fmla="*/ 171 w 713"/>
                  <a:gd name="T51" fmla="*/ 60 h 900"/>
                  <a:gd name="T52" fmla="*/ 155 w 713"/>
                  <a:gd name="T53" fmla="*/ 97 h 900"/>
                  <a:gd name="T54" fmla="*/ 107 w 713"/>
                  <a:gd name="T55" fmla="*/ 79 h 900"/>
                  <a:gd name="T56" fmla="*/ 86 w 713"/>
                  <a:gd name="T57" fmla="*/ 110 h 900"/>
                  <a:gd name="T58" fmla="*/ 69 w 713"/>
                  <a:gd name="T59" fmla="*/ 218 h 900"/>
                  <a:gd name="T60" fmla="*/ 24 w 713"/>
                  <a:gd name="T61" fmla="*/ 231 h 900"/>
                  <a:gd name="T62" fmla="*/ 3 w 713"/>
                  <a:gd name="T63" fmla="*/ 277 h 900"/>
                  <a:gd name="T64" fmla="*/ 31 w 713"/>
                  <a:gd name="T65" fmla="*/ 335 h 900"/>
                  <a:gd name="T66" fmla="*/ 66 w 713"/>
                  <a:gd name="T67" fmla="*/ 367 h 900"/>
                  <a:gd name="T68" fmla="*/ 115 w 713"/>
                  <a:gd name="T69" fmla="*/ 359 h 900"/>
                  <a:gd name="T70" fmla="*/ 156 w 713"/>
                  <a:gd name="T71" fmla="*/ 357 h 900"/>
                  <a:gd name="T72" fmla="*/ 200 w 713"/>
                  <a:gd name="T73" fmla="*/ 402 h 900"/>
                  <a:gd name="T74" fmla="*/ 252 w 713"/>
                  <a:gd name="T75" fmla="*/ 452 h 900"/>
                  <a:gd name="T76" fmla="*/ 298 w 713"/>
                  <a:gd name="T77" fmla="*/ 566 h 900"/>
                  <a:gd name="T78" fmla="*/ 324 w 713"/>
                  <a:gd name="T79" fmla="*/ 619 h 900"/>
                  <a:gd name="T80" fmla="*/ 375 w 713"/>
                  <a:gd name="T81" fmla="*/ 661 h 900"/>
                  <a:gd name="T82" fmla="*/ 385 w 713"/>
                  <a:gd name="T83" fmla="*/ 716 h 900"/>
                  <a:gd name="T84" fmla="*/ 355 w 713"/>
                  <a:gd name="T85" fmla="*/ 759 h 900"/>
                  <a:gd name="T86" fmla="*/ 327 w 713"/>
                  <a:gd name="T87" fmla="*/ 803 h 900"/>
                  <a:gd name="T88" fmla="*/ 358 w 713"/>
                  <a:gd name="T89" fmla="*/ 835 h 900"/>
                  <a:gd name="T90" fmla="*/ 404 w 713"/>
                  <a:gd name="T91" fmla="*/ 874 h 900"/>
                  <a:gd name="T92" fmla="*/ 422 w 713"/>
                  <a:gd name="T93" fmla="*/ 858 h 900"/>
                  <a:gd name="T94" fmla="*/ 434 w 713"/>
                  <a:gd name="T95" fmla="*/ 827 h 900"/>
                  <a:gd name="T96" fmla="*/ 445 w 713"/>
                  <a:gd name="T97" fmla="*/ 813 h 900"/>
                  <a:gd name="T98" fmla="*/ 427 w 713"/>
                  <a:gd name="T99" fmla="*/ 847 h 900"/>
                  <a:gd name="T100" fmla="*/ 475 w 713"/>
                  <a:gd name="T101" fmla="*/ 768 h 900"/>
                  <a:gd name="T102" fmla="*/ 476 w 713"/>
                  <a:gd name="T103" fmla="*/ 733 h 900"/>
                  <a:gd name="T104" fmla="*/ 476 w 713"/>
                  <a:gd name="T105" fmla="*/ 697 h 900"/>
                  <a:gd name="T106" fmla="*/ 525 w 713"/>
                  <a:gd name="T107" fmla="*/ 653 h 900"/>
                  <a:gd name="T108" fmla="*/ 544 w 713"/>
                  <a:gd name="T109" fmla="*/ 633 h 900"/>
                  <a:gd name="T110" fmla="*/ 567 w 713"/>
                  <a:gd name="T111" fmla="*/ 630 h 900"/>
                  <a:gd name="T112" fmla="*/ 593 w 713"/>
                  <a:gd name="T113" fmla="*/ 626 h 900"/>
                  <a:gd name="T114" fmla="*/ 619 w 713"/>
                  <a:gd name="T115" fmla="*/ 581 h 900"/>
                  <a:gd name="T116" fmla="*/ 638 w 713"/>
                  <a:gd name="T117" fmla="*/ 513 h 900"/>
                  <a:gd name="T118" fmla="*/ 637 w 713"/>
                  <a:gd name="T119" fmla="*/ 426 h 900"/>
                  <a:gd name="T120" fmla="*/ 641 w 713"/>
                  <a:gd name="T121" fmla="*/ 399 h 900"/>
                  <a:gd name="T122" fmla="*/ 661 w 713"/>
                  <a:gd name="T123" fmla="*/ 390 h 900"/>
                  <a:gd name="T124" fmla="*/ 705 w 713"/>
                  <a:gd name="T125" fmla="*/ 319 h 9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13" h="900">
                    <a:moveTo>
                      <a:pt x="713" y="284"/>
                    </a:moveTo>
                    <a:cubicBezTo>
                      <a:pt x="713" y="273"/>
                      <a:pt x="713" y="273"/>
                      <a:pt x="713" y="273"/>
                    </a:cubicBezTo>
                    <a:cubicBezTo>
                      <a:pt x="711" y="271"/>
                      <a:pt x="711" y="271"/>
                      <a:pt x="711" y="271"/>
                    </a:cubicBezTo>
                    <a:cubicBezTo>
                      <a:pt x="710" y="266"/>
                      <a:pt x="710" y="266"/>
                      <a:pt x="710" y="266"/>
                    </a:cubicBezTo>
                    <a:cubicBezTo>
                      <a:pt x="704" y="249"/>
                      <a:pt x="704" y="249"/>
                      <a:pt x="704" y="249"/>
                    </a:cubicBezTo>
                    <a:cubicBezTo>
                      <a:pt x="704" y="243"/>
                      <a:pt x="704" y="243"/>
                      <a:pt x="704" y="243"/>
                    </a:cubicBezTo>
                    <a:cubicBezTo>
                      <a:pt x="702" y="236"/>
                      <a:pt x="702" y="236"/>
                      <a:pt x="702" y="236"/>
                    </a:cubicBezTo>
                    <a:cubicBezTo>
                      <a:pt x="691" y="230"/>
                      <a:pt x="691" y="230"/>
                      <a:pt x="691" y="230"/>
                    </a:cubicBezTo>
                    <a:cubicBezTo>
                      <a:pt x="684" y="230"/>
                      <a:pt x="684" y="230"/>
                      <a:pt x="684" y="230"/>
                    </a:cubicBezTo>
                    <a:cubicBezTo>
                      <a:pt x="679" y="233"/>
                      <a:pt x="679" y="233"/>
                      <a:pt x="679" y="233"/>
                    </a:cubicBezTo>
                    <a:cubicBezTo>
                      <a:pt x="675" y="227"/>
                      <a:pt x="675" y="227"/>
                      <a:pt x="675" y="227"/>
                    </a:cubicBezTo>
                    <a:cubicBezTo>
                      <a:pt x="671" y="226"/>
                      <a:pt x="671" y="226"/>
                      <a:pt x="671" y="226"/>
                    </a:cubicBezTo>
                    <a:cubicBezTo>
                      <a:pt x="668" y="221"/>
                      <a:pt x="668" y="221"/>
                      <a:pt x="668" y="221"/>
                    </a:cubicBezTo>
                    <a:cubicBezTo>
                      <a:pt x="662" y="218"/>
                      <a:pt x="662" y="218"/>
                      <a:pt x="662" y="218"/>
                    </a:cubicBezTo>
                    <a:cubicBezTo>
                      <a:pt x="659" y="217"/>
                      <a:pt x="659" y="217"/>
                      <a:pt x="659" y="217"/>
                    </a:cubicBezTo>
                    <a:cubicBezTo>
                      <a:pt x="650" y="207"/>
                      <a:pt x="650" y="207"/>
                      <a:pt x="650" y="207"/>
                    </a:cubicBezTo>
                    <a:cubicBezTo>
                      <a:pt x="644" y="196"/>
                      <a:pt x="644" y="196"/>
                      <a:pt x="644" y="196"/>
                    </a:cubicBezTo>
                    <a:cubicBezTo>
                      <a:pt x="641" y="195"/>
                      <a:pt x="641" y="195"/>
                      <a:pt x="641" y="195"/>
                    </a:cubicBezTo>
                    <a:cubicBezTo>
                      <a:pt x="636" y="190"/>
                      <a:pt x="636" y="190"/>
                      <a:pt x="636" y="190"/>
                    </a:cubicBezTo>
                    <a:cubicBezTo>
                      <a:pt x="632" y="190"/>
                      <a:pt x="632" y="190"/>
                      <a:pt x="632" y="190"/>
                    </a:cubicBezTo>
                    <a:cubicBezTo>
                      <a:pt x="621" y="181"/>
                      <a:pt x="621" y="181"/>
                      <a:pt x="621" y="181"/>
                    </a:cubicBezTo>
                    <a:cubicBezTo>
                      <a:pt x="616" y="181"/>
                      <a:pt x="616" y="181"/>
                      <a:pt x="616" y="181"/>
                    </a:cubicBezTo>
                    <a:cubicBezTo>
                      <a:pt x="611" y="178"/>
                      <a:pt x="611" y="178"/>
                      <a:pt x="611" y="178"/>
                    </a:cubicBezTo>
                    <a:cubicBezTo>
                      <a:pt x="607" y="180"/>
                      <a:pt x="607" y="180"/>
                      <a:pt x="607" y="180"/>
                    </a:cubicBezTo>
                    <a:cubicBezTo>
                      <a:pt x="602" y="180"/>
                      <a:pt x="602" y="180"/>
                      <a:pt x="602" y="180"/>
                    </a:cubicBezTo>
                    <a:cubicBezTo>
                      <a:pt x="599" y="178"/>
                      <a:pt x="599" y="178"/>
                      <a:pt x="599" y="178"/>
                    </a:cubicBezTo>
                    <a:cubicBezTo>
                      <a:pt x="596" y="180"/>
                      <a:pt x="596" y="180"/>
                      <a:pt x="596" y="180"/>
                    </a:cubicBezTo>
                    <a:cubicBezTo>
                      <a:pt x="594" y="183"/>
                      <a:pt x="594" y="183"/>
                      <a:pt x="594" y="183"/>
                    </a:cubicBezTo>
                    <a:cubicBezTo>
                      <a:pt x="592" y="180"/>
                      <a:pt x="592" y="180"/>
                      <a:pt x="592" y="180"/>
                    </a:cubicBezTo>
                    <a:cubicBezTo>
                      <a:pt x="587" y="176"/>
                      <a:pt x="587" y="176"/>
                      <a:pt x="587" y="176"/>
                    </a:cubicBezTo>
                    <a:cubicBezTo>
                      <a:pt x="586" y="178"/>
                      <a:pt x="586" y="178"/>
                      <a:pt x="586" y="178"/>
                    </a:cubicBezTo>
                    <a:cubicBezTo>
                      <a:pt x="584" y="176"/>
                      <a:pt x="584" y="176"/>
                      <a:pt x="584" y="176"/>
                    </a:cubicBezTo>
                    <a:cubicBezTo>
                      <a:pt x="583" y="178"/>
                      <a:pt x="583" y="178"/>
                      <a:pt x="583" y="178"/>
                    </a:cubicBezTo>
                    <a:cubicBezTo>
                      <a:pt x="583" y="181"/>
                      <a:pt x="583" y="181"/>
                      <a:pt x="583" y="181"/>
                    </a:cubicBezTo>
                    <a:cubicBezTo>
                      <a:pt x="580" y="178"/>
                      <a:pt x="580" y="178"/>
                      <a:pt x="580" y="178"/>
                    </a:cubicBezTo>
                    <a:cubicBezTo>
                      <a:pt x="580" y="176"/>
                      <a:pt x="580" y="176"/>
                      <a:pt x="580" y="176"/>
                    </a:cubicBezTo>
                    <a:cubicBezTo>
                      <a:pt x="578" y="175"/>
                      <a:pt x="578" y="175"/>
                      <a:pt x="578" y="175"/>
                    </a:cubicBezTo>
                    <a:cubicBezTo>
                      <a:pt x="578" y="177"/>
                      <a:pt x="578" y="177"/>
                      <a:pt x="578" y="177"/>
                    </a:cubicBezTo>
                    <a:cubicBezTo>
                      <a:pt x="577" y="178"/>
                      <a:pt x="577" y="178"/>
                      <a:pt x="577" y="178"/>
                    </a:cubicBezTo>
                    <a:cubicBezTo>
                      <a:pt x="572" y="175"/>
                      <a:pt x="572" y="175"/>
                      <a:pt x="572" y="175"/>
                    </a:cubicBezTo>
                    <a:cubicBezTo>
                      <a:pt x="570" y="176"/>
                      <a:pt x="570" y="176"/>
                      <a:pt x="570" y="176"/>
                    </a:cubicBezTo>
                    <a:cubicBezTo>
                      <a:pt x="565" y="175"/>
                      <a:pt x="565" y="175"/>
                      <a:pt x="565" y="175"/>
                    </a:cubicBezTo>
                    <a:cubicBezTo>
                      <a:pt x="555" y="169"/>
                      <a:pt x="555" y="169"/>
                      <a:pt x="555" y="169"/>
                    </a:cubicBezTo>
                    <a:cubicBezTo>
                      <a:pt x="552" y="169"/>
                      <a:pt x="552" y="169"/>
                      <a:pt x="552" y="169"/>
                    </a:cubicBezTo>
                    <a:cubicBezTo>
                      <a:pt x="551" y="171"/>
                      <a:pt x="551" y="171"/>
                      <a:pt x="551" y="171"/>
                    </a:cubicBezTo>
                    <a:cubicBezTo>
                      <a:pt x="552" y="173"/>
                      <a:pt x="552" y="173"/>
                      <a:pt x="552" y="173"/>
                    </a:cubicBezTo>
                    <a:cubicBezTo>
                      <a:pt x="551" y="174"/>
                      <a:pt x="551" y="174"/>
                      <a:pt x="551" y="174"/>
                    </a:cubicBezTo>
                    <a:cubicBezTo>
                      <a:pt x="549" y="173"/>
                      <a:pt x="549" y="173"/>
                      <a:pt x="549" y="173"/>
                    </a:cubicBezTo>
                    <a:cubicBezTo>
                      <a:pt x="548" y="174"/>
                      <a:pt x="548" y="174"/>
                      <a:pt x="548" y="174"/>
                    </a:cubicBezTo>
                    <a:cubicBezTo>
                      <a:pt x="548" y="175"/>
                      <a:pt x="548" y="175"/>
                      <a:pt x="548" y="175"/>
                    </a:cubicBezTo>
                    <a:cubicBezTo>
                      <a:pt x="544" y="177"/>
                      <a:pt x="544" y="177"/>
                      <a:pt x="544" y="177"/>
                    </a:cubicBezTo>
                    <a:cubicBezTo>
                      <a:pt x="543" y="180"/>
                      <a:pt x="543" y="180"/>
                      <a:pt x="543" y="180"/>
                    </a:cubicBezTo>
                    <a:cubicBezTo>
                      <a:pt x="543" y="185"/>
                      <a:pt x="543" y="185"/>
                      <a:pt x="543" y="185"/>
                    </a:cubicBezTo>
                    <a:cubicBezTo>
                      <a:pt x="541" y="181"/>
                      <a:pt x="541" y="181"/>
                      <a:pt x="541" y="181"/>
                    </a:cubicBezTo>
                    <a:cubicBezTo>
                      <a:pt x="540" y="178"/>
                      <a:pt x="540" y="178"/>
                      <a:pt x="540" y="178"/>
                    </a:cubicBezTo>
                    <a:cubicBezTo>
                      <a:pt x="538" y="179"/>
                      <a:pt x="538" y="179"/>
                      <a:pt x="538" y="179"/>
                    </a:cubicBezTo>
                    <a:cubicBezTo>
                      <a:pt x="538" y="183"/>
                      <a:pt x="538" y="183"/>
                      <a:pt x="538" y="183"/>
                    </a:cubicBezTo>
                    <a:cubicBezTo>
                      <a:pt x="535" y="190"/>
                      <a:pt x="535" y="190"/>
                      <a:pt x="535" y="190"/>
                    </a:cubicBezTo>
                    <a:cubicBezTo>
                      <a:pt x="535" y="195"/>
                      <a:pt x="535" y="195"/>
                      <a:pt x="535" y="195"/>
                    </a:cubicBezTo>
                    <a:cubicBezTo>
                      <a:pt x="534" y="190"/>
                      <a:pt x="534" y="190"/>
                      <a:pt x="534" y="190"/>
                    </a:cubicBezTo>
                    <a:cubicBezTo>
                      <a:pt x="535" y="184"/>
                      <a:pt x="535" y="184"/>
                      <a:pt x="535" y="184"/>
                    </a:cubicBezTo>
                    <a:cubicBezTo>
                      <a:pt x="535" y="180"/>
                      <a:pt x="535" y="180"/>
                      <a:pt x="535" y="180"/>
                    </a:cubicBezTo>
                    <a:cubicBezTo>
                      <a:pt x="536" y="172"/>
                      <a:pt x="536" y="172"/>
                      <a:pt x="536" y="172"/>
                    </a:cubicBezTo>
                    <a:cubicBezTo>
                      <a:pt x="538" y="171"/>
                      <a:pt x="538" y="171"/>
                      <a:pt x="538" y="171"/>
                    </a:cubicBezTo>
                    <a:cubicBezTo>
                      <a:pt x="537" y="169"/>
                      <a:pt x="537" y="169"/>
                      <a:pt x="537" y="169"/>
                    </a:cubicBezTo>
                    <a:cubicBezTo>
                      <a:pt x="534" y="169"/>
                      <a:pt x="534" y="169"/>
                      <a:pt x="534" y="169"/>
                    </a:cubicBezTo>
                    <a:cubicBezTo>
                      <a:pt x="538" y="164"/>
                      <a:pt x="538" y="164"/>
                      <a:pt x="538" y="164"/>
                    </a:cubicBezTo>
                    <a:cubicBezTo>
                      <a:pt x="533" y="157"/>
                      <a:pt x="533" y="157"/>
                      <a:pt x="533" y="157"/>
                    </a:cubicBezTo>
                    <a:cubicBezTo>
                      <a:pt x="530" y="152"/>
                      <a:pt x="530" y="152"/>
                      <a:pt x="530" y="152"/>
                    </a:cubicBezTo>
                    <a:cubicBezTo>
                      <a:pt x="527" y="152"/>
                      <a:pt x="527" y="152"/>
                      <a:pt x="527" y="152"/>
                    </a:cubicBezTo>
                    <a:cubicBezTo>
                      <a:pt x="523" y="151"/>
                      <a:pt x="523" y="151"/>
                      <a:pt x="523" y="151"/>
                    </a:cubicBezTo>
                    <a:cubicBezTo>
                      <a:pt x="521" y="155"/>
                      <a:pt x="521" y="155"/>
                      <a:pt x="521" y="155"/>
                    </a:cubicBezTo>
                    <a:cubicBezTo>
                      <a:pt x="518" y="157"/>
                      <a:pt x="518" y="157"/>
                      <a:pt x="518" y="157"/>
                    </a:cubicBezTo>
                    <a:cubicBezTo>
                      <a:pt x="517" y="153"/>
                      <a:pt x="517" y="153"/>
                      <a:pt x="517" y="153"/>
                    </a:cubicBezTo>
                    <a:cubicBezTo>
                      <a:pt x="515" y="152"/>
                      <a:pt x="515" y="152"/>
                      <a:pt x="515" y="152"/>
                    </a:cubicBezTo>
                    <a:cubicBezTo>
                      <a:pt x="514" y="149"/>
                      <a:pt x="514" y="149"/>
                      <a:pt x="514" y="149"/>
                    </a:cubicBezTo>
                    <a:cubicBezTo>
                      <a:pt x="512" y="147"/>
                      <a:pt x="512" y="147"/>
                      <a:pt x="512" y="147"/>
                    </a:cubicBezTo>
                    <a:cubicBezTo>
                      <a:pt x="509" y="147"/>
                      <a:pt x="509" y="147"/>
                      <a:pt x="509" y="147"/>
                    </a:cubicBezTo>
                    <a:cubicBezTo>
                      <a:pt x="508" y="145"/>
                      <a:pt x="508" y="145"/>
                      <a:pt x="508" y="145"/>
                    </a:cubicBezTo>
                    <a:cubicBezTo>
                      <a:pt x="506" y="144"/>
                      <a:pt x="506" y="144"/>
                      <a:pt x="506" y="144"/>
                    </a:cubicBezTo>
                    <a:cubicBezTo>
                      <a:pt x="504" y="146"/>
                      <a:pt x="504" y="146"/>
                      <a:pt x="504" y="146"/>
                    </a:cubicBezTo>
                    <a:cubicBezTo>
                      <a:pt x="504" y="144"/>
                      <a:pt x="504" y="144"/>
                      <a:pt x="504" y="144"/>
                    </a:cubicBezTo>
                    <a:cubicBezTo>
                      <a:pt x="502" y="143"/>
                      <a:pt x="502" y="143"/>
                      <a:pt x="502" y="143"/>
                    </a:cubicBezTo>
                    <a:cubicBezTo>
                      <a:pt x="501" y="139"/>
                      <a:pt x="501" y="139"/>
                      <a:pt x="501" y="139"/>
                    </a:cubicBezTo>
                    <a:cubicBezTo>
                      <a:pt x="499" y="141"/>
                      <a:pt x="499" y="141"/>
                      <a:pt x="499" y="141"/>
                    </a:cubicBezTo>
                    <a:cubicBezTo>
                      <a:pt x="495" y="139"/>
                      <a:pt x="495" y="139"/>
                      <a:pt x="495" y="139"/>
                    </a:cubicBezTo>
                    <a:cubicBezTo>
                      <a:pt x="489" y="135"/>
                      <a:pt x="489" y="135"/>
                      <a:pt x="489" y="135"/>
                    </a:cubicBezTo>
                    <a:cubicBezTo>
                      <a:pt x="488" y="135"/>
                      <a:pt x="488" y="135"/>
                      <a:pt x="488" y="135"/>
                    </a:cubicBezTo>
                    <a:cubicBezTo>
                      <a:pt x="487" y="137"/>
                      <a:pt x="487" y="137"/>
                      <a:pt x="487" y="137"/>
                    </a:cubicBezTo>
                    <a:cubicBezTo>
                      <a:pt x="483" y="134"/>
                      <a:pt x="483" y="134"/>
                      <a:pt x="483" y="134"/>
                    </a:cubicBezTo>
                    <a:cubicBezTo>
                      <a:pt x="481" y="135"/>
                      <a:pt x="481" y="135"/>
                      <a:pt x="481" y="135"/>
                    </a:cubicBezTo>
                    <a:cubicBezTo>
                      <a:pt x="481" y="137"/>
                      <a:pt x="481" y="137"/>
                      <a:pt x="481" y="137"/>
                    </a:cubicBezTo>
                    <a:cubicBezTo>
                      <a:pt x="479" y="137"/>
                      <a:pt x="479" y="137"/>
                      <a:pt x="479" y="137"/>
                    </a:cubicBezTo>
                    <a:cubicBezTo>
                      <a:pt x="478" y="134"/>
                      <a:pt x="478" y="134"/>
                      <a:pt x="478" y="134"/>
                    </a:cubicBezTo>
                    <a:cubicBezTo>
                      <a:pt x="474" y="134"/>
                      <a:pt x="474" y="134"/>
                      <a:pt x="474" y="134"/>
                    </a:cubicBezTo>
                    <a:cubicBezTo>
                      <a:pt x="470" y="137"/>
                      <a:pt x="470" y="137"/>
                      <a:pt x="470" y="137"/>
                    </a:cubicBezTo>
                    <a:cubicBezTo>
                      <a:pt x="468" y="141"/>
                      <a:pt x="468" y="141"/>
                      <a:pt x="468" y="141"/>
                    </a:cubicBezTo>
                    <a:cubicBezTo>
                      <a:pt x="469" y="143"/>
                      <a:pt x="469" y="143"/>
                      <a:pt x="469" y="143"/>
                    </a:cubicBezTo>
                    <a:cubicBezTo>
                      <a:pt x="465" y="148"/>
                      <a:pt x="465" y="148"/>
                      <a:pt x="465" y="148"/>
                    </a:cubicBezTo>
                    <a:cubicBezTo>
                      <a:pt x="460" y="152"/>
                      <a:pt x="460" y="152"/>
                      <a:pt x="460" y="152"/>
                    </a:cubicBezTo>
                    <a:cubicBezTo>
                      <a:pt x="453" y="156"/>
                      <a:pt x="453" y="156"/>
                      <a:pt x="453" y="156"/>
                    </a:cubicBezTo>
                    <a:cubicBezTo>
                      <a:pt x="450" y="161"/>
                      <a:pt x="450" y="161"/>
                      <a:pt x="450" y="161"/>
                    </a:cubicBezTo>
                    <a:cubicBezTo>
                      <a:pt x="448" y="167"/>
                      <a:pt x="448" y="167"/>
                      <a:pt x="448" y="167"/>
                    </a:cubicBezTo>
                    <a:cubicBezTo>
                      <a:pt x="447" y="173"/>
                      <a:pt x="447" y="173"/>
                      <a:pt x="447" y="173"/>
                    </a:cubicBezTo>
                    <a:cubicBezTo>
                      <a:pt x="445" y="176"/>
                      <a:pt x="445" y="176"/>
                      <a:pt x="445" y="176"/>
                    </a:cubicBezTo>
                    <a:cubicBezTo>
                      <a:pt x="442" y="180"/>
                      <a:pt x="442" y="180"/>
                      <a:pt x="442" y="180"/>
                    </a:cubicBezTo>
                    <a:cubicBezTo>
                      <a:pt x="443" y="183"/>
                      <a:pt x="443" y="183"/>
                      <a:pt x="443" y="183"/>
                    </a:cubicBezTo>
                    <a:cubicBezTo>
                      <a:pt x="443" y="187"/>
                      <a:pt x="443" y="187"/>
                      <a:pt x="443" y="187"/>
                    </a:cubicBezTo>
                    <a:cubicBezTo>
                      <a:pt x="442" y="196"/>
                      <a:pt x="442" y="196"/>
                      <a:pt x="442" y="196"/>
                    </a:cubicBezTo>
                    <a:cubicBezTo>
                      <a:pt x="441" y="191"/>
                      <a:pt x="441" y="191"/>
                      <a:pt x="441" y="191"/>
                    </a:cubicBezTo>
                    <a:cubicBezTo>
                      <a:pt x="439" y="186"/>
                      <a:pt x="439" y="186"/>
                      <a:pt x="439" y="186"/>
                    </a:cubicBezTo>
                    <a:cubicBezTo>
                      <a:pt x="439" y="182"/>
                      <a:pt x="439" y="182"/>
                      <a:pt x="439" y="182"/>
                    </a:cubicBezTo>
                    <a:cubicBezTo>
                      <a:pt x="441" y="178"/>
                      <a:pt x="441" y="178"/>
                      <a:pt x="441" y="178"/>
                    </a:cubicBezTo>
                    <a:cubicBezTo>
                      <a:pt x="444" y="175"/>
                      <a:pt x="444" y="175"/>
                      <a:pt x="444" y="175"/>
                    </a:cubicBezTo>
                    <a:cubicBezTo>
                      <a:pt x="444" y="169"/>
                      <a:pt x="444" y="169"/>
                      <a:pt x="444" y="169"/>
                    </a:cubicBezTo>
                    <a:cubicBezTo>
                      <a:pt x="445" y="164"/>
                      <a:pt x="445" y="164"/>
                      <a:pt x="445" y="164"/>
                    </a:cubicBezTo>
                    <a:cubicBezTo>
                      <a:pt x="445" y="161"/>
                      <a:pt x="445" y="161"/>
                      <a:pt x="445" y="161"/>
                    </a:cubicBezTo>
                    <a:cubicBezTo>
                      <a:pt x="443" y="161"/>
                      <a:pt x="443" y="161"/>
                      <a:pt x="443" y="161"/>
                    </a:cubicBezTo>
                    <a:cubicBezTo>
                      <a:pt x="439" y="163"/>
                      <a:pt x="439" y="163"/>
                      <a:pt x="439" y="163"/>
                    </a:cubicBezTo>
                    <a:cubicBezTo>
                      <a:pt x="434" y="162"/>
                      <a:pt x="434" y="162"/>
                      <a:pt x="434" y="162"/>
                    </a:cubicBezTo>
                    <a:cubicBezTo>
                      <a:pt x="430" y="162"/>
                      <a:pt x="430" y="162"/>
                      <a:pt x="430" y="162"/>
                    </a:cubicBezTo>
                    <a:cubicBezTo>
                      <a:pt x="427" y="163"/>
                      <a:pt x="427" y="163"/>
                      <a:pt x="427" y="163"/>
                    </a:cubicBezTo>
                    <a:cubicBezTo>
                      <a:pt x="424" y="161"/>
                      <a:pt x="424" y="161"/>
                      <a:pt x="424" y="161"/>
                    </a:cubicBezTo>
                    <a:cubicBezTo>
                      <a:pt x="427" y="161"/>
                      <a:pt x="427" y="161"/>
                      <a:pt x="427" y="161"/>
                    </a:cubicBezTo>
                    <a:cubicBezTo>
                      <a:pt x="430" y="158"/>
                      <a:pt x="430" y="158"/>
                      <a:pt x="430" y="158"/>
                    </a:cubicBezTo>
                    <a:cubicBezTo>
                      <a:pt x="433" y="157"/>
                      <a:pt x="433" y="157"/>
                      <a:pt x="433" y="157"/>
                    </a:cubicBezTo>
                    <a:cubicBezTo>
                      <a:pt x="439" y="158"/>
                      <a:pt x="439" y="158"/>
                      <a:pt x="439" y="158"/>
                    </a:cubicBezTo>
                    <a:cubicBezTo>
                      <a:pt x="442" y="158"/>
                      <a:pt x="442" y="158"/>
                      <a:pt x="442" y="158"/>
                    </a:cubicBezTo>
                    <a:cubicBezTo>
                      <a:pt x="445" y="153"/>
                      <a:pt x="445" y="153"/>
                      <a:pt x="445" y="153"/>
                    </a:cubicBezTo>
                    <a:cubicBezTo>
                      <a:pt x="446" y="153"/>
                      <a:pt x="446" y="153"/>
                      <a:pt x="446" y="153"/>
                    </a:cubicBezTo>
                    <a:cubicBezTo>
                      <a:pt x="448" y="155"/>
                      <a:pt x="448" y="155"/>
                      <a:pt x="448" y="155"/>
                    </a:cubicBezTo>
                    <a:cubicBezTo>
                      <a:pt x="450" y="154"/>
                      <a:pt x="450" y="154"/>
                      <a:pt x="450" y="154"/>
                    </a:cubicBezTo>
                    <a:cubicBezTo>
                      <a:pt x="453" y="152"/>
                      <a:pt x="453" y="152"/>
                      <a:pt x="453" y="152"/>
                    </a:cubicBezTo>
                    <a:cubicBezTo>
                      <a:pt x="458" y="150"/>
                      <a:pt x="458" y="150"/>
                      <a:pt x="458" y="150"/>
                    </a:cubicBezTo>
                    <a:cubicBezTo>
                      <a:pt x="458" y="145"/>
                      <a:pt x="458" y="145"/>
                      <a:pt x="458" y="145"/>
                    </a:cubicBezTo>
                    <a:cubicBezTo>
                      <a:pt x="463" y="138"/>
                      <a:pt x="463" y="138"/>
                      <a:pt x="463" y="138"/>
                    </a:cubicBezTo>
                    <a:cubicBezTo>
                      <a:pt x="463" y="133"/>
                      <a:pt x="463" y="133"/>
                      <a:pt x="463" y="133"/>
                    </a:cubicBezTo>
                    <a:cubicBezTo>
                      <a:pt x="465" y="130"/>
                      <a:pt x="465" y="130"/>
                      <a:pt x="465" y="130"/>
                    </a:cubicBezTo>
                    <a:cubicBezTo>
                      <a:pt x="465" y="126"/>
                      <a:pt x="465" y="126"/>
                      <a:pt x="465" y="126"/>
                    </a:cubicBezTo>
                    <a:cubicBezTo>
                      <a:pt x="460" y="125"/>
                      <a:pt x="460" y="125"/>
                      <a:pt x="460" y="125"/>
                    </a:cubicBezTo>
                    <a:cubicBezTo>
                      <a:pt x="456" y="121"/>
                      <a:pt x="456" y="121"/>
                      <a:pt x="456" y="121"/>
                    </a:cubicBezTo>
                    <a:cubicBezTo>
                      <a:pt x="452" y="121"/>
                      <a:pt x="452" y="121"/>
                      <a:pt x="452" y="121"/>
                    </a:cubicBezTo>
                    <a:cubicBezTo>
                      <a:pt x="447" y="125"/>
                      <a:pt x="447" y="125"/>
                      <a:pt x="447" y="125"/>
                    </a:cubicBezTo>
                    <a:cubicBezTo>
                      <a:pt x="443" y="125"/>
                      <a:pt x="443" y="125"/>
                      <a:pt x="443" y="125"/>
                    </a:cubicBezTo>
                    <a:cubicBezTo>
                      <a:pt x="436" y="122"/>
                      <a:pt x="436" y="122"/>
                      <a:pt x="436" y="122"/>
                    </a:cubicBezTo>
                    <a:cubicBezTo>
                      <a:pt x="429" y="122"/>
                      <a:pt x="429" y="122"/>
                      <a:pt x="429" y="122"/>
                    </a:cubicBezTo>
                    <a:cubicBezTo>
                      <a:pt x="424" y="128"/>
                      <a:pt x="424" y="128"/>
                      <a:pt x="424" y="128"/>
                    </a:cubicBezTo>
                    <a:cubicBezTo>
                      <a:pt x="425" y="130"/>
                      <a:pt x="425" y="130"/>
                      <a:pt x="425" y="130"/>
                    </a:cubicBezTo>
                    <a:cubicBezTo>
                      <a:pt x="426" y="132"/>
                      <a:pt x="426" y="132"/>
                      <a:pt x="426" y="132"/>
                    </a:cubicBezTo>
                    <a:cubicBezTo>
                      <a:pt x="427" y="134"/>
                      <a:pt x="427" y="134"/>
                      <a:pt x="427" y="134"/>
                    </a:cubicBezTo>
                    <a:cubicBezTo>
                      <a:pt x="425" y="134"/>
                      <a:pt x="425" y="134"/>
                      <a:pt x="425" y="134"/>
                    </a:cubicBezTo>
                    <a:cubicBezTo>
                      <a:pt x="424" y="135"/>
                      <a:pt x="424" y="135"/>
                      <a:pt x="424" y="135"/>
                    </a:cubicBezTo>
                    <a:cubicBezTo>
                      <a:pt x="422" y="139"/>
                      <a:pt x="422" y="139"/>
                      <a:pt x="422" y="139"/>
                    </a:cubicBezTo>
                    <a:cubicBezTo>
                      <a:pt x="421" y="136"/>
                      <a:pt x="421" y="136"/>
                      <a:pt x="421" y="136"/>
                    </a:cubicBezTo>
                    <a:cubicBezTo>
                      <a:pt x="420" y="135"/>
                      <a:pt x="420" y="135"/>
                      <a:pt x="420" y="135"/>
                    </a:cubicBezTo>
                    <a:cubicBezTo>
                      <a:pt x="416" y="137"/>
                      <a:pt x="416" y="137"/>
                      <a:pt x="416" y="137"/>
                    </a:cubicBezTo>
                    <a:cubicBezTo>
                      <a:pt x="411" y="144"/>
                      <a:pt x="411" y="144"/>
                      <a:pt x="411" y="144"/>
                    </a:cubicBezTo>
                    <a:cubicBezTo>
                      <a:pt x="406" y="152"/>
                      <a:pt x="406" y="152"/>
                      <a:pt x="406" y="152"/>
                    </a:cubicBezTo>
                    <a:cubicBezTo>
                      <a:pt x="410" y="145"/>
                      <a:pt x="410" y="145"/>
                      <a:pt x="410" y="145"/>
                    </a:cubicBezTo>
                    <a:cubicBezTo>
                      <a:pt x="410" y="140"/>
                      <a:pt x="410" y="140"/>
                      <a:pt x="410" y="140"/>
                    </a:cubicBezTo>
                    <a:cubicBezTo>
                      <a:pt x="411" y="137"/>
                      <a:pt x="411" y="137"/>
                      <a:pt x="411" y="137"/>
                    </a:cubicBezTo>
                    <a:cubicBezTo>
                      <a:pt x="411" y="134"/>
                      <a:pt x="411" y="134"/>
                      <a:pt x="411" y="134"/>
                    </a:cubicBezTo>
                    <a:cubicBezTo>
                      <a:pt x="409" y="134"/>
                      <a:pt x="409" y="134"/>
                      <a:pt x="409" y="134"/>
                    </a:cubicBezTo>
                    <a:cubicBezTo>
                      <a:pt x="406" y="138"/>
                      <a:pt x="406" y="138"/>
                      <a:pt x="406" y="138"/>
                    </a:cubicBezTo>
                    <a:cubicBezTo>
                      <a:pt x="404" y="143"/>
                      <a:pt x="404" y="143"/>
                      <a:pt x="404" y="143"/>
                    </a:cubicBezTo>
                    <a:cubicBezTo>
                      <a:pt x="402" y="149"/>
                      <a:pt x="402" y="149"/>
                      <a:pt x="402" y="149"/>
                    </a:cubicBezTo>
                    <a:cubicBezTo>
                      <a:pt x="399" y="151"/>
                      <a:pt x="399" y="151"/>
                      <a:pt x="399" y="151"/>
                    </a:cubicBezTo>
                    <a:cubicBezTo>
                      <a:pt x="402" y="144"/>
                      <a:pt x="402" y="144"/>
                      <a:pt x="402" y="144"/>
                    </a:cubicBezTo>
                    <a:cubicBezTo>
                      <a:pt x="402" y="139"/>
                      <a:pt x="402" y="139"/>
                      <a:pt x="402" y="139"/>
                    </a:cubicBezTo>
                    <a:cubicBezTo>
                      <a:pt x="409" y="130"/>
                      <a:pt x="409" y="130"/>
                      <a:pt x="409" y="130"/>
                    </a:cubicBezTo>
                    <a:cubicBezTo>
                      <a:pt x="410" y="123"/>
                      <a:pt x="410" y="123"/>
                      <a:pt x="410" y="123"/>
                    </a:cubicBezTo>
                    <a:cubicBezTo>
                      <a:pt x="413" y="119"/>
                      <a:pt x="413" y="119"/>
                      <a:pt x="413" y="119"/>
                    </a:cubicBezTo>
                    <a:cubicBezTo>
                      <a:pt x="416" y="117"/>
                      <a:pt x="416" y="117"/>
                      <a:pt x="416" y="117"/>
                    </a:cubicBezTo>
                    <a:cubicBezTo>
                      <a:pt x="420" y="113"/>
                      <a:pt x="420" y="113"/>
                      <a:pt x="420" y="113"/>
                    </a:cubicBezTo>
                    <a:cubicBezTo>
                      <a:pt x="423" y="112"/>
                      <a:pt x="423" y="112"/>
                      <a:pt x="423" y="112"/>
                    </a:cubicBezTo>
                    <a:cubicBezTo>
                      <a:pt x="426" y="106"/>
                      <a:pt x="426" y="106"/>
                      <a:pt x="426" y="106"/>
                    </a:cubicBezTo>
                    <a:cubicBezTo>
                      <a:pt x="435" y="95"/>
                      <a:pt x="435" y="95"/>
                      <a:pt x="435" y="95"/>
                    </a:cubicBezTo>
                    <a:cubicBezTo>
                      <a:pt x="435" y="93"/>
                      <a:pt x="435" y="93"/>
                      <a:pt x="435" y="93"/>
                    </a:cubicBezTo>
                    <a:cubicBezTo>
                      <a:pt x="437" y="91"/>
                      <a:pt x="437" y="91"/>
                      <a:pt x="437" y="91"/>
                    </a:cubicBezTo>
                    <a:cubicBezTo>
                      <a:pt x="435" y="89"/>
                      <a:pt x="435" y="89"/>
                      <a:pt x="435" y="89"/>
                    </a:cubicBezTo>
                    <a:cubicBezTo>
                      <a:pt x="436" y="86"/>
                      <a:pt x="436" y="86"/>
                      <a:pt x="436" y="86"/>
                    </a:cubicBezTo>
                    <a:cubicBezTo>
                      <a:pt x="437" y="84"/>
                      <a:pt x="437" y="84"/>
                      <a:pt x="437" y="84"/>
                    </a:cubicBezTo>
                    <a:cubicBezTo>
                      <a:pt x="437" y="80"/>
                      <a:pt x="437" y="80"/>
                      <a:pt x="437" y="80"/>
                    </a:cubicBezTo>
                    <a:cubicBezTo>
                      <a:pt x="434" y="77"/>
                      <a:pt x="434" y="77"/>
                      <a:pt x="434" y="77"/>
                    </a:cubicBezTo>
                    <a:cubicBezTo>
                      <a:pt x="430" y="77"/>
                      <a:pt x="430" y="77"/>
                      <a:pt x="430" y="77"/>
                    </a:cubicBezTo>
                    <a:cubicBezTo>
                      <a:pt x="429" y="79"/>
                      <a:pt x="429" y="79"/>
                      <a:pt x="429" y="79"/>
                    </a:cubicBezTo>
                    <a:cubicBezTo>
                      <a:pt x="427" y="75"/>
                      <a:pt x="427" y="75"/>
                      <a:pt x="427" y="75"/>
                    </a:cubicBezTo>
                    <a:cubicBezTo>
                      <a:pt x="425" y="67"/>
                      <a:pt x="425" y="67"/>
                      <a:pt x="425" y="67"/>
                    </a:cubicBezTo>
                    <a:cubicBezTo>
                      <a:pt x="421" y="55"/>
                      <a:pt x="421" y="55"/>
                      <a:pt x="421" y="55"/>
                    </a:cubicBezTo>
                    <a:cubicBezTo>
                      <a:pt x="417" y="49"/>
                      <a:pt x="417" y="49"/>
                      <a:pt x="417" y="49"/>
                    </a:cubicBezTo>
                    <a:cubicBezTo>
                      <a:pt x="414" y="40"/>
                      <a:pt x="414" y="40"/>
                      <a:pt x="414" y="40"/>
                    </a:cubicBezTo>
                    <a:cubicBezTo>
                      <a:pt x="415" y="36"/>
                      <a:pt x="415" y="36"/>
                      <a:pt x="415" y="36"/>
                    </a:cubicBezTo>
                    <a:cubicBezTo>
                      <a:pt x="414" y="31"/>
                      <a:pt x="414" y="31"/>
                      <a:pt x="414" y="31"/>
                    </a:cubicBezTo>
                    <a:cubicBezTo>
                      <a:pt x="412" y="30"/>
                      <a:pt x="412" y="30"/>
                      <a:pt x="412" y="30"/>
                    </a:cubicBezTo>
                    <a:cubicBezTo>
                      <a:pt x="411" y="25"/>
                      <a:pt x="411" y="25"/>
                      <a:pt x="411" y="25"/>
                    </a:cubicBezTo>
                    <a:cubicBezTo>
                      <a:pt x="409" y="20"/>
                      <a:pt x="409" y="20"/>
                      <a:pt x="409" y="20"/>
                    </a:cubicBezTo>
                    <a:cubicBezTo>
                      <a:pt x="408" y="21"/>
                      <a:pt x="408" y="21"/>
                      <a:pt x="408" y="21"/>
                    </a:cubicBezTo>
                    <a:cubicBezTo>
                      <a:pt x="409" y="24"/>
                      <a:pt x="409" y="24"/>
                      <a:pt x="409" y="24"/>
                    </a:cubicBezTo>
                    <a:cubicBezTo>
                      <a:pt x="407" y="27"/>
                      <a:pt x="407" y="27"/>
                      <a:pt x="407" y="27"/>
                    </a:cubicBezTo>
                    <a:cubicBezTo>
                      <a:pt x="403" y="30"/>
                      <a:pt x="403" y="30"/>
                      <a:pt x="403" y="30"/>
                    </a:cubicBezTo>
                    <a:cubicBezTo>
                      <a:pt x="403" y="30"/>
                      <a:pt x="403" y="30"/>
                      <a:pt x="403" y="30"/>
                    </a:cubicBezTo>
                    <a:cubicBezTo>
                      <a:pt x="403" y="30"/>
                      <a:pt x="403" y="30"/>
                      <a:pt x="403" y="30"/>
                    </a:cubicBezTo>
                    <a:cubicBezTo>
                      <a:pt x="401" y="33"/>
                      <a:pt x="401" y="33"/>
                      <a:pt x="401" y="33"/>
                    </a:cubicBezTo>
                    <a:cubicBezTo>
                      <a:pt x="397" y="40"/>
                      <a:pt x="397" y="40"/>
                      <a:pt x="397" y="40"/>
                    </a:cubicBezTo>
                    <a:cubicBezTo>
                      <a:pt x="392" y="47"/>
                      <a:pt x="392" y="47"/>
                      <a:pt x="392" y="47"/>
                    </a:cubicBezTo>
                    <a:cubicBezTo>
                      <a:pt x="392" y="51"/>
                      <a:pt x="392" y="51"/>
                      <a:pt x="392" y="51"/>
                    </a:cubicBezTo>
                    <a:cubicBezTo>
                      <a:pt x="389" y="60"/>
                      <a:pt x="389" y="60"/>
                      <a:pt x="389" y="60"/>
                    </a:cubicBezTo>
                    <a:cubicBezTo>
                      <a:pt x="386" y="66"/>
                      <a:pt x="386" y="66"/>
                      <a:pt x="386" y="66"/>
                    </a:cubicBezTo>
                    <a:cubicBezTo>
                      <a:pt x="383" y="71"/>
                      <a:pt x="383" y="71"/>
                      <a:pt x="383" y="71"/>
                    </a:cubicBezTo>
                    <a:cubicBezTo>
                      <a:pt x="380" y="72"/>
                      <a:pt x="380" y="72"/>
                      <a:pt x="380" y="72"/>
                    </a:cubicBezTo>
                    <a:cubicBezTo>
                      <a:pt x="378" y="73"/>
                      <a:pt x="378" y="73"/>
                      <a:pt x="378" y="73"/>
                    </a:cubicBezTo>
                    <a:cubicBezTo>
                      <a:pt x="378" y="77"/>
                      <a:pt x="378" y="77"/>
                      <a:pt x="378" y="77"/>
                    </a:cubicBezTo>
                    <a:cubicBezTo>
                      <a:pt x="374" y="80"/>
                      <a:pt x="374" y="80"/>
                      <a:pt x="374" y="80"/>
                    </a:cubicBezTo>
                    <a:cubicBezTo>
                      <a:pt x="372" y="79"/>
                      <a:pt x="372" y="79"/>
                      <a:pt x="372" y="79"/>
                    </a:cubicBezTo>
                    <a:cubicBezTo>
                      <a:pt x="372" y="73"/>
                      <a:pt x="372" y="73"/>
                      <a:pt x="372" y="73"/>
                    </a:cubicBezTo>
                    <a:cubicBezTo>
                      <a:pt x="371" y="72"/>
                      <a:pt x="371" y="72"/>
                      <a:pt x="371" y="72"/>
                    </a:cubicBezTo>
                    <a:cubicBezTo>
                      <a:pt x="370" y="71"/>
                      <a:pt x="370" y="71"/>
                      <a:pt x="370" y="71"/>
                    </a:cubicBezTo>
                    <a:cubicBezTo>
                      <a:pt x="368" y="70"/>
                      <a:pt x="368" y="70"/>
                      <a:pt x="368" y="70"/>
                    </a:cubicBezTo>
                    <a:cubicBezTo>
                      <a:pt x="366" y="72"/>
                      <a:pt x="366" y="72"/>
                      <a:pt x="366" y="72"/>
                    </a:cubicBezTo>
                    <a:cubicBezTo>
                      <a:pt x="364" y="74"/>
                      <a:pt x="364" y="74"/>
                      <a:pt x="364" y="74"/>
                    </a:cubicBezTo>
                    <a:cubicBezTo>
                      <a:pt x="361" y="74"/>
                      <a:pt x="361" y="74"/>
                      <a:pt x="361" y="74"/>
                    </a:cubicBezTo>
                    <a:cubicBezTo>
                      <a:pt x="358" y="70"/>
                      <a:pt x="358" y="70"/>
                      <a:pt x="358" y="70"/>
                    </a:cubicBezTo>
                    <a:cubicBezTo>
                      <a:pt x="358" y="68"/>
                      <a:pt x="358" y="68"/>
                      <a:pt x="358" y="68"/>
                    </a:cubicBezTo>
                    <a:cubicBezTo>
                      <a:pt x="357" y="67"/>
                      <a:pt x="357" y="67"/>
                      <a:pt x="357" y="67"/>
                    </a:cubicBezTo>
                    <a:cubicBezTo>
                      <a:pt x="356" y="63"/>
                      <a:pt x="356" y="63"/>
                      <a:pt x="356" y="63"/>
                    </a:cubicBezTo>
                    <a:cubicBezTo>
                      <a:pt x="355" y="61"/>
                      <a:pt x="355" y="61"/>
                      <a:pt x="355" y="61"/>
                    </a:cubicBezTo>
                    <a:cubicBezTo>
                      <a:pt x="353" y="61"/>
                      <a:pt x="353" y="61"/>
                      <a:pt x="353" y="61"/>
                    </a:cubicBezTo>
                    <a:cubicBezTo>
                      <a:pt x="349" y="57"/>
                      <a:pt x="349" y="57"/>
                      <a:pt x="349" y="57"/>
                    </a:cubicBezTo>
                    <a:cubicBezTo>
                      <a:pt x="345" y="56"/>
                      <a:pt x="345" y="56"/>
                      <a:pt x="345" y="56"/>
                    </a:cubicBezTo>
                    <a:cubicBezTo>
                      <a:pt x="341" y="58"/>
                      <a:pt x="341" y="58"/>
                      <a:pt x="341" y="58"/>
                    </a:cubicBezTo>
                    <a:cubicBezTo>
                      <a:pt x="334" y="59"/>
                      <a:pt x="334" y="59"/>
                      <a:pt x="334" y="59"/>
                    </a:cubicBezTo>
                    <a:cubicBezTo>
                      <a:pt x="330" y="57"/>
                      <a:pt x="330" y="57"/>
                      <a:pt x="330" y="57"/>
                    </a:cubicBezTo>
                    <a:cubicBezTo>
                      <a:pt x="326" y="60"/>
                      <a:pt x="326" y="60"/>
                      <a:pt x="326" y="60"/>
                    </a:cubicBezTo>
                    <a:cubicBezTo>
                      <a:pt x="325" y="64"/>
                      <a:pt x="325" y="64"/>
                      <a:pt x="325" y="64"/>
                    </a:cubicBezTo>
                    <a:cubicBezTo>
                      <a:pt x="329" y="68"/>
                      <a:pt x="329" y="68"/>
                      <a:pt x="329" y="68"/>
                    </a:cubicBezTo>
                    <a:cubicBezTo>
                      <a:pt x="330" y="71"/>
                      <a:pt x="330" y="71"/>
                      <a:pt x="330" y="71"/>
                    </a:cubicBezTo>
                    <a:cubicBezTo>
                      <a:pt x="331" y="76"/>
                      <a:pt x="331" y="76"/>
                      <a:pt x="331" y="76"/>
                    </a:cubicBezTo>
                    <a:cubicBezTo>
                      <a:pt x="331" y="77"/>
                      <a:pt x="331" y="77"/>
                      <a:pt x="331" y="77"/>
                    </a:cubicBezTo>
                    <a:cubicBezTo>
                      <a:pt x="328" y="77"/>
                      <a:pt x="328" y="77"/>
                      <a:pt x="328" y="77"/>
                    </a:cubicBezTo>
                    <a:cubicBezTo>
                      <a:pt x="323" y="76"/>
                      <a:pt x="323" y="76"/>
                      <a:pt x="323" y="76"/>
                    </a:cubicBezTo>
                    <a:cubicBezTo>
                      <a:pt x="322" y="75"/>
                      <a:pt x="322" y="75"/>
                      <a:pt x="322" y="75"/>
                    </a:cubicBezTo>
                    <a:cubicBezTo>
                      <a:pt x="320" y="75"/>
                      <a:pt x="320" y="75"/>
                      <a:pt x="320" y="75"/>
                    </a:cubicBezTo>
                    <a:cubicBezTo>
                      <a:pt x="320" y="75"/>
                      <a:pt x="320" y="75"/>
                      <a:pt x="320" y="75"/>
                    </a:cubicBezTo>
                    <a:cubicBezTo>
                      <a:pt x="320" y="75"/>
                      <a:pt x="320" y="75"/>
                      <a:pt x="320" y="75"/>
                    </a:cubicBezTo>
                    <a:cubicBezTo>
                      <a:pt x="314" y="75"/>
                      <a:pt x="314" y="75"/>
                      <a:pt x="314" y="75"/>
                    </a:cubicBezTo>
                    <a:cubicBezTo>
                      <a:pt x="311" y="75"/>
                      <a:pt x="311" y="75"/>
                      <a:pt x="311" y="75"/>
                    </a:cubicBezTo>
                    <a:cubicBezTo>
                      <a:pt x="310" y="73"/>
                      <a:pt x="310" y="73"/>
                      <a:pt x="310" y="73"/>
                    </a:cubicBezTo>
                    <a:cubicBezTo>
                      <a:pt x="304" y="74"/>
                      <a:pt x="304" y="74"/>
                      <a:pt x="304" y="74"/>
                    </a:cubicBezTo>
                    <a:cubicBezTo>
                      <a:pt x="300" y="76"/>
                      <a:pt x="300" y="76"/>
                      <a:pt x="300" y="76"/>
                    </a:cubicBezTo>
                    <a:cubicBezTo>
                      <a:pt x="298" y="83"/>
                      <a:pt x="298" y="83"/>
                      <a:pt x="298" y="83"/>
                    </a:cubicBezTo>
                    <a:cubicBezTo>
                      <a:pt x="291" y="82"/>
                      <a:pt x="291" y="82"/>
                      <a:pt x="291" y="82"/>
                    </a:cubicBezTo>
                    <a:cubicBezTo>
                      <a:pt x="287" y="84"/>
                      <a:pt x="287" y="84"/>
                      <a:pt x="287" y="84"/>
                    </a:cubicBezTo>
                    <a:cubicBezTo>
                      <a:pt x="286" y="86"/>
                      <a:pt x="286" y="86"/>
                      <a:pt x="286" y="86"/>
                    </a:cubicBezTo>
                    <a:cubicBezTo>
                      <a:pt x="284" y="89"/>
                      <a:pt x="284" y="89"/>
                      <a:pt x="284" y="89"/>
                    </a:cubicBezTo>
                    <a:cubicBezTo>
                      <a:pt x="280" y="90"/>
                      <a:pt x="280" y="90"/>
                      <a:pt x="280" y="90"/>
                    </a:cubicBezTo>
                    <a:cubicBezTo>
                      <a:pt x="279" y="88"/>
                      <a:pt x="279" y="88"/>
                      <a:pt x="279" y="88"/>
                    </a:cubicBezTo>
                    <a:cubicBezTo>
                      <a:pt x="277" y="89"/>
                      <a:pt x="277" y="89"/>
                      <a:pt x="277" y="89"/>
                    </a:cubicBezTo>
                    <a:cubicBezTo>
                      <a:pt x="274" y="93"/>
                      <a:pt x="274" y="93"/>
                      <a:pt x="274" y="93"/>
                    </a:cubicBezTo>
                    <a:cubicBezTo>
                      <a:pt x="272" y="91"/>
                      <a:pt x="272" y="91"/>
                      <a:pt x="272" y="91"/>
                    </a:cubicBezTo>
                    <a:cubicBezTo>
                      <a:pt x="264" y="84"/>
                      <a:pt x="264" y="84"/>
                      <a:pt x="264" y="84"/>
                    </a:cubicBezTo>
                    <a:cubicBezTo>
                      <a:pt x="262" y="80"/>
                      <a:pt x="262" y="80"/>
                      <a:pt x="262" y="80"/>
                    </a:cubicBezTo>
                    <a:cubicBezTo>
                      <a:pt x="262" y="77"/>
                      <a:pt x="262" y="77"/>
                      <a:pt x="262" y="77"/>
                    </a:cubicBezTo>
                    <a:cubicBezTo>
                      <a:pt x="258" y="72"/>
                      <a:pt x="258" y="72"/>
                      <a:pt x="258" y="72"/>
                    </a:cubicBezTo>
                    <a:cubicBezTo>
                      <a:pt x="254" y="68"/>
                      <a:pt x="254" y="68"/>
                      <a:pt x="254" y="68"/>
                    </a:cubicBezTo>
                    <a:cubicBezTo>
                      <a:pt x="254" y="63"/>
                      <a:pt x="254" y="63"/>
                      <a:pt x="254" y="63"/>
                    </a:cubicBezTo>
                    <a:cubicBezTo>
                      <a:pt x="255" y="60"/>
                      <a:pt x="255" y="60"/>
                      <a:pt x="255" y="60"/>
                    </a:cubicBezTo>
                    <a:cubicBezTo>
                      <a:pt x="254" y="58"/>
                      <a:pt x="254" y="58"/>
                      <a:pt x="254" y="58"/>
                    </a:cubicBezTo>
                    <a:cubicBezTo>
                      <a:pt x="254" y="54"/>
                      <a:pt x="254" y="54"/>
                      <a:pt x="254" y="54"/>
                    </a:cubicBezTo>
                    <a:cubicBezTo>
                      <a:pt x="256" y="51"/>
                      <a:pt x="256" y="51"/>
                      <a:pt x="256" y="51"/>
                    </a:cubicBezTo>
                    <a:cubicBezTo>
                      <a:pt x="255" y="46"/>
                      <a:pt x="255" y="46"/>
                      <a:pt x="255" y="46"/>
                    </a:cubicBezTo>
                    <a:cubicBezTo>
                      <a:pt x="259" y="39"/>
                      <a:pt x="259" y="39"/>
                      <a:pt x="259" y="39"/>
                    </a:cubicBezTo>
                    <a:cubicBezTo>
                      <a:pt x="260" y="33"/>
                      <a:pt x="260" y="33"/>
                      <a:pt x="260" y="33"/>
                    </a:cubicBezTo>
                    <a:cubicBezTo>
                      <a:pt x="263" y="28"/>
                      <a:pt x="263" y="28"/>
                      <a:pt x="263" y="28"/>
                    </a:cubicBezTo>
                    <a:cubicBezTo>
                      <a:pt x="263" y="26"/>
                      <a:pt x="263" y="26"/>
                      <a:pt x="263" y="26"/>
                    </a:cubicBezTo>
                    <a:cubicBezTo>
                      <a:pt x="260" y="26"/>
                      <a:pt x="260" y="26"/>
                      <a:pt x="260" y="26"/>
                    </a:cubicBezTo>
                    <a:cubicBezTo>
                      <a:pt x="258" y="23"/>
                      <a:pt x="258" y="23"/>
                      <a:pt x="258" y="23"/>
                    </a:cubicBezTo>
                    <a:cubicBezTo>
                      <a:pt x="257" y="20"/>
                      <a:pt x="257" y="20"/>
                      <a:pt x="257" y="20"/>
                    </a:cubicBezTo>
                    <a:cubicBezTo>
                      <a:pt x="253" y="20"/>
                      <a:pt x="253" y="20"/>
                      <a:pt x="253" y="20"/>
                    </a:cubicBezTo>
                    <a:cubicBezTo>
                      <a:pt x="250" y="18"/>
                      <a:pt x="250" y="18"/>
                      <a:pt x="250" y="18"/>
                    </a:cubicBezTo>
                    <a:cubicBezTo>
                      <a:pt x="252" y="16"/>
                      <a:pt x="252" y="16"/>
                      <a:pt x="252" y="16"/>
                    </a:cubicBezTo>
                    <a:cubicBezTo>
                      <a:pt x="254" y="11"/>
                      <a:pt x="254" y="11"/>
                      <a:pt x="254" y="11"/>
                    </a:cubicBezTo>
                    <a:cubicBezTo>
                      <a:pt x="254" y="5"/>
                      <a:pt x="254" y="5"/>
                      <a:pt x="254" y="5"/>
                    </a:cubicBezTo>
                    <a:cubicBezTo>
                      <a:pt x="251" y="1"/>
                      <a:pt x="251" y="1"/>
                      <a:pt x="251" y="1"/>
                    </a:cubicBezTo>
                    <a:cubicBezTo>
                      <a:pt x="247" y="0"/>
                      <a:pt x="247" y="0"/>
                      <a:pt x="247" y="0"/>
                    </a:cubicBezTo>
                    <a:cubicBezTo>
                      <a:pt x="245" y="2"/>
                      <a:pt x="245" y="2"/>
                      <a:pt x="245" y="2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2" y="0"/>
                      <a:pt x="242" y="0"/>
                      <a:pt x="242" y="0"/>
                    </a:cubicBezTo>
                    <a:cubicBezTo>
                      <a:pt x="242" y="4"/>
                      <a:pt x="242" y="4"/>
                      <a:pt x="242" y="4"/>
                    </a:cubicBezTo>
                    <a:cubicBezTo>
                      <a:pt x="240" y="10"/>
                      <a:pt x="240" y="10"/>
                      <a:pt x="240" y="10"/>
                    </a:cubicBezTo>
                    <a:cubicBezTo>
                      <a:pt x="231" y="18"/>
                      <a:pt x="231" y="18"/>
                      <a:pt x="231" y="18"/>
                    </a:cubicBezTo>
                    <a:cubicBezTo>
                      <a:pt x="225" y="18"/>
                      <a:pt x="225" y="18"/>
                      <a:pt x="225" y="18"/>
                    </a:cubicBezTo>
                    <a:cubicBezTo>
                      <a:pt x="217" y="22"/>
                      <a:pt x="217" y="22"/>
                      <a:pt x="217" y="22"/>
                    </a:cubicBezTo>
                    <a:cubicBezTo>
                      <a:pt x="217" y="22"/>
                      <a:pt x="217" y="22"/>
                      <a:pt x="217" y="22"/>
                    </a:cubicBezTo>
                    <a:cubicBezTo>
                      <a:pt x="217" y="22"/>
                      <a:pt x="217" y="22"/>
                      <a:pt x="217" y="22"/>
                    </a:cubicBezTo>
                    <a:cubicBezTo>
                      <a:pt x="214" y="21"/>
                      <a:pt x="214" y="21"/>
                      <a:pt x="214" y="21"/>
                    </a:cubicBezTo>
                    <a:cubicBezTo>
                      <a:pt x="209" y="21"/>
                      <a:pt x="209" y="21"/>
                      <a:pt x="209" y="21"/>
                    </a:cubicBezTo>
                    <a:cubicBezTo>
                      <a:pt x="203" y="28"/>
                      <a:pt x="203" y="28"/>
                      <a:pt x="203" y="28"/>
                    </a:cubicBezTo>
                    <a:cubicBezTo>
                      <a:pt x="197" y="30"/>
                      <a:pt x="197" y="30"/>
                      <a:pt x="197" y="30"/>
                    </a:cubicBezTo>
                    <a:cubicBezTo>
                      <a:pt x="195" y="28"/>
                      <a:pt x="195" y="28"/>
                      <a:pt x="195" y="28"/>
                    </a:cubicBezTo>
                    <a:cubicBezTo>
                      <a:pt x="187" y="30"/>
                      <a:pt x="187" y="30"/>
                      <a:pt x="187" y="30"/>
                    </a:cubicBezTo>
                    <a:cubicBezTo>
                      <a:pt x="181" y="30"/>
                      <a:pt x="181" y="30"/>
                      <a:pt x="181" y="30"/>
                    </a:cubicBezTo>
                    <a:cubicBezTo>
                      <a:pt x="175" y="26"/>
                      <a:pt x="175" y="26"/>
                      <a:pt x="175" y="26"/>
                    </a:cubicBezTo>
                    <a:cubicBezTo>
                      <a:pt x="169" y="25"/>
                      <a:pt x="169" y="25"/>
                      <a:pt x="169" y="25"/>
                    </a:cubicBezTo>
                    <a:cubicBezTo>
                      <a:pt x="164" y="23"/>
                      <a:pt x="164" y="23"/>
                      <a:pt x="164" y="23"/>
                    </a:cubicBezTo>
                    <a:cubicBezTo>
                      <a:pt x="166" y="29"/>
                      <a:pt x="166" y="29"/>
                      <a:pt x="166" y="29"/>
                    </a:cubicBezTo>
                    <a:cubicBezTo>
                      <a:pt x="170" y="30"/>
                      <a:pt x="170" y="30"/>
                      <a:pt x="170" y="30"/>
                    </a:cubicBezTo>
                    <a:cubicBezTo>
                      <a:pt x="174" y="35"/>
                      <a:pt x="174" y="35"/>
                      <a:pt x="174" y="35"/>
                    </a:cubicBezTo>
                    <a:cubicBezTo>
                      <a:pt x="175" y="39"/>
                      <a:pt x="175" y="39"/>
                      <a:pt x="175" y="39"/>
                    </a:cubicBezTo>
                    <a:cubicBezTo>
                      <a:pt x="170" y="48"/>
                      <a:pt x="170" y="48"/>
                      <a:pt x="170" y="48"/>
                    </a:cubicBezTo>
                    <a:cubicBezTo>
                      <a:pt x="171" y="50"/>
                      <a:pt x="171" y="50"/>
                      <a:pt x="171" y="50"/>
                    </a:cubicBezTo>
                    <a:cubicBezTo>
                      <a:pt x="172" y="53"/>
                      <a:pt x="172" y="53"/>
                      <a:pt x="172" y="53"/>
                    </a:cubicBezTo>
                    <a:cubicBezTo>
                      <a:pt x="171" y="60"/>
                      <a:pt x="171" y="60"/>
                      <a:pt x="171" y="60"/>
                    </a:cubicBezTo>
                    <a:cubicBezTo>
                      <a:pt x="179" y="63"/>
                      <a:pt x="179" y="63"/>
                      <a:pt x="179" y="63"/>
                    </a:cubicBezTo>
                    <a:cubicBezTo>
                      <a:pt x="185" y="63"/>
                      <a:pt x="185" y="63"/>
                      <a:pt x="185" y="63"/>
                    </a:cubicBezTo>
                    <a:cubicBezTo>
                      <a:pt x="191" y="64"/>
                      <a:pt x="191" y="64"/>
                      <a:pt x="191" y="64"/>
                    </a:cubicBezTo>
                    <a:cubicBezTo>
                      <a:pt x="191" y="68"/>
                      <a:pt x="191" y="68"/>
                      <a:pt x="191" y="68"/>
                    </a:cubicBezTo>
                    <a:cubicBezTo>
                      <a:pt x="187" y="71"/>
                      <a:pt x="187" y="71"/>
                      <a:pt x="187" y="71"/>
                    </a:cubicBezTo>
                    <a:cubicBezTo>
                      <a:pt x="179" y="73"/>
                      <a:pt x="179" y="73"/>
                      <a:pt x="179" y="73"/>
                    </a:cubicBezTo>
                    <a:cubicBezTo>
                      <a:pt x="177" y="75"/>
                      <a:pt x="177" y="75"/>
                      <a:pt x="177" y="75"/>
                    </a:cubicBezTo>
                    <a:cubicBezTo>
                      <a:pt x="176" y="77"/>
                      <a:pt x="176" y="77"/>
                      <a:pt x="176" y="77"/>
                    </a:cubicBezTo>
                    <a:cubicBezTo>
                      <a:pt x="174" y="82"/>
                      <a:pt x="174" y="82"/>
                      <a:pt x="174" y="82"/>
                    </a:cubicBezTo>
                    <a:cubicBezTo>
                      <a:pt x="165" y="88"/>
                      <a:pt x="165" y="88"/>
                      <a:pt x="165" y="88"/>
                    </a:cubicBezTo>
                    <a:cubicBezTo>
                      <a:pt x="161" y="92"/>
                      <a:pt x="161" y="92"/>
                      <a:pt x="161" y="92"/>
                    </a:cubicBezTo>
                    <a:cubicBezTo>
                      <a:pt x="155" y="97"/>
                      <a:pt x="155" y="97"/>
                      <a:pt x="155" y="97"/>
                    </a:cubicBezTo>
                    <a:cubicBezTo>
                      <a:pt x="151" y="104"/>
                      <a:pt x="151" y="104"/>
                      <a:pt x="151" y="104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39" y="103"/>
                      <a:pt x="139" y="103"/>
                      <a:pt x="139" y="103"/>
                    </a:cubicBezTo>
                    <a:cubicBezTo>
                      <a:pt x="132" y="97"/>
                      <a:pt x="132" y="97"/>
                      <a:pt x="132" y="97"/>
                    </a:cubicBezTo>
                    <a:cubicBezTo>
                      <a:pt x="125" y="91"/>
                      <a:pt x="125" y="91"/>
                      <a:pt x="125" y="91"/>
                    </a:cubicBezTo>
                    <a:cubicBezTo>
                      <a:pt x="120" y="92"/>
                      <a:pt x="120" y="92"/>
                      <a:pt x="120" y="92"/>
                    </a:cubicBezTo>
                    <a:cubicBezTo>
                      <a:pt x="120" y="86"/>
                      <a:pt x="120" y="86"/>
                      <a:pt x="120" y="86"/>
                    </a:cubicBezTo>
                    <a:cubicBezTo>
                      <a:pt x="120" y="81"/>
                      <a:pt x="120" y="81"/>
                      <a:pt x="120" y="81"/>
                    </a:cubicBezTo>
                    <a:cubicBezTo>
                      <a:pt x="117" y="76"/>
                      <a:pt x="117" y="76"/>
                      <a:pt x="117" y="76"/>
                    </a:cubicBezTo>
                    <a:cubicBezTo>
                      <a:pt x="116" y="73"/>
                      <a:pt x="116" y="73"/>
                      <a:pt x="116" y="73"/>
                    </a:cubicBezTo>
                    <a:cubicBezTo>
                      <a:pt x="111" y="75"/>
                      <a:pt x="111" y="75"/>
                      <a:pt x="111" y="75"/>
                    </a:cubicBezTo>
                    <a:cubicBezTo>
                      <a:pt x="107" y="79"/>
                      <a:pt x="107" y="79"/>
                      <a:pt x="107" y="79"/>
                    </a:cubicBezTo>
                    <a:cubicBezTo>
                      <a:pt x="105" y="80"/>
                      <a:pt x="105" y="80"/>
                      <a:pt x="105" y="80"/>
                    </a:cubicBezTo>
                    <a:cubicBezTo>
                      <a:pt x="103" y="77"/>
                      <a:pt x="103" y="77"/>
                      <a:pt x="103" y="77"/>
                    </a:cubicBezTo>
                    <a:cubicBezTo>
                      <a:pt x="99" y="77"/>
                      <a:pt x="99" y="77"/>
                      <a:pt x="99" y="77"/>
                    </a:cubicBezTo>
                    <a:cubicBezTo>
                      <a:pt x="97" y="81"/>
                      <a:pt x="97" y="81"/>
                      <a:pt x="97" y="81"/>
                    </a:cubicBezTo>
                    <a:cubicBezTo>
                      <a:pt x="76" y="81"/>
                      <a:pt x="76" y="81"/>
                      <a:pt x="76" y="81"/>
                    </a:cubicBezTo>
                    <a:cubicBezTo>
                      <a:pt x="75" y="88"/>
                      <a:pt x="75" y="88"/>
                      <a:pt x="75" y="88"/>
                    </a:cubicBezTo>
                    <a:cubicBezTo>
                      <a:pt x="77" y="93"/>
                      <a:pt x="77" y="93"/>
                      <a:pt x="77" y="93"/>
                    </a:cubicBezTo>
                    <a:cubicBezTo>
                      <a:pt x="84" y="95"/>
                      <a:pt x="84" y="95"/>
                      <a:pt x="84" y="95"/>
                    </a:cubicBezTo>
                    <a:cubicBezTo>
                      <a:pt x="87" y="101"/>
                      <a:pt x="87" y="101"/>
                      <a:pt x="87" y="101"/>
                    </a:cubicBezTo>
                    <a:cubicBezTo>
                      <a:pt x="85" y="104"/>
                      <a:pt x="85" y="104"/>
                      <a:pt x="85" y="104"/>
                    </a:cubicBezTo>
                    <a:cubicBezTo>
                      <a:pt x="87" y="106"/>
                      <a:pt x="87" y="106"/>
                      <a:pt x="87" y="106"/>
                    </a:cubicBezTo>
                    <a:cubicBezTo>
                      <a:pt x="86" y="110"/>
                      <a:pt x="86" y="110"/>
                      <a:pt x="86" y="110"/>
                    </a:cubicBezTo>
                    <a:cubicBezTo>
                      <a:pt x="81" y="107"/>
                      <a:pt x="81" y="107"/>
                      <a:pt x="81" y="107"/>
                    </a:cubicBezTo>
                    <a:cubicBezTo>
                      <a:pt x="69" y="112"/>
                      <a:pt x="69" y="112"/>
                      <a:pt x="69" y="112"/>
                    </a:cubicBezTo>
                    <a:cubicBezTo>
                      <a:pt x="70" y="124"/>
                      <a:pt x="70" y="124"/>
                      <a:pt x="70" y="124"/>
                    </a:cubicBezTo>
                    <a:cubicBezTo>
                      <a:pt x="73" y="128"/>
                      <a:pt x="73" y="128"/>
                      <a:pt x="73" y="128"/>
                    </a:cubicBezTo>
                    <a:cubicBezTo>
                      <a:pt x="80" y="135"/>
                      <a:pt x="80" y="135"/>
                      <a:pt x="80" y="135"/>
                    </a:cubicBezTo>
                    <a:cubicBezTo>
                      <a:pt x="84" y="144"/>
                      <a:pt x="84" y="144"/>
                      <a:pt x="84" y="144"/>
                    </a:cubicBezTo>
                    <a:cubicBezTo>
                      <a:pt x="84" y="152"/>
                      <a:pt x="84" y="152"/>
                      <a:pt x="84" y="152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74" y="201"/>
                      <a:pt x="74" y="201"/>
                      <a:pt x="74" y="201"/>
                    </a:cubicBezTo>
                    <a:cubicBezTo>
                      <a:pt x="71" y="213"/>
                      <a:pt x="71" y="213"/>
                      <a:pt x="71" y="213"/>
                    </a:cubicBezTo>
                    <a:cubicBezTo>
                      <a:pt x="71" y="215"/>
                      <a:pt x="71" y="215"/>
                      <a:pt x="71" y="215"/>
                    </a:cubicBezTo>
                    <a:cubicBezTo>
                      <a:pt x="69" y="218"/>
                      <a:pt x="69" y="218"/>
                      <a:pt x="69" y="218"/>
                    </a:cubicBezTo>
                    <a:cubicBezTo>
                      <a:pt x="65" y="217"/>
                      <a:pt x="65" y="217"/>
                      <a:pt x="65" y="217"/>
                    </a:cubicBezTo>
                    <a:cubicBezTo>
                      <a:pt x="66" y="215"/>
                      <a:pt x="66" y="215"/>
                      <a:pt x="66" y="215"/>
                    </a:cubicBezTo>
                    <a:cubicBezTo>
                      <a:pt x="62" y="212"/>
                      <a:pt x="62" y="212"/>
                      <a:pt x="62" y="212"/>
                    </a:cubicBezTo>
                    <a:cubicBezTo>
                      <a:pt x="60" y="213"/>
                      <a:pt x="60" y="213"/>
                      <a:pt x="60" y="213"/>
                    </a:cubicBezTo>
                    <a:cubicBezTo>
                      <a:pt x="57" y="213"/>
                      <a:pt x="57" y="213"/>
                      <a:pt x="57" y="213"/>
                    </a:cubicBezTo>
                    <a:cubicBezTo>
                      <a:pt x="55" y="212"/>
                      <a:pt x="55" y="212"/>
                      <a:pt x="55" y="212"/>
                    </a:cubicBezTo>
                    <a:cubicBezTo>
                      <a:pt x="54" y="215"/>
                      <a:pt x="54" y="215"/>
                      <a:pt x="54" y="215"/>
                    </a:cubicBezTo>
                    <a:cubicBezTo>
                      <a:pt x="41" y="220"/>
                      <a:pt x="41" y="220"/>
                      <a:pt x="41" y="220"/>
                    </a:cubicBezTo>
                    <a:cubicBezTo>
                      <a:pt x="32" y="223"/>
                      <a:pt x="32" y="223"/>
                      <a:pt x="32" y="223"/>
                    </a:cubicBezTo>
                    <a:cubicBezTo>
                      <a:pt x="30" y="225"/>
                      <a:pt x="30" y="225"/>
                      <a:pt x="30" y="225"/>
                    </a:cubicBezTo>
                    <a:cubicBezTo>
                      <a:pt x="28" y="226"/>
                      <a:pt x="28" y="226"/>
                      <a:pt x="28" y="226"/>
                    </a:cubicBezTo>
                    <a:cubicBezTo>
                      <a:pt x="24" y="231"/>
                      <a:pt x="24" y="231"/>
                      <a:pt x="24" y="231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16" y="236"/>
                      <a:pt x="16" y="236"/>
                      <a:pt x="16" y="236"/>
                    </a:cubicBezTo>
                    <a:cubicBezTo>
                      <a:pt x="17" y="241"/>
                      <a:pt x="17" y="241"/>
                      <a:pt x="17" y="241"/>
                    </a:cubicBezTo>
                    <a:cubicBezTo>
                      <a:pt x="15" y="245"/>
                      <a:pt x="15" y="245"/>
                      <a:pt x="15" y="245"/>
                    </a:cubicBezTo>
                    <a:cubicBezTo>
                      <a:pt x="16" y="248"/>
                      <a:pt x="16" y="248"/>
                      <a:pt x="16" y="248"/>
                    </a:cubicBezTo>
                    <a:cubicBezTo>
                      <a:pt x="11" y="254"/>
                      <a:pt x="11" y="254"/>
                      <a:pt x="11" y="254"/>
                    </a:cubicBezTo>
                    <a:cubicBezTo>
                      <a:pt x="12" y="262"/>
                      <a:pt x="12" y="262"/>
                      <a:pt x="12" y="262"/>
                    </a:cubicBezTo>
                    <a:cubicBezTo>
                      <a:pt x="14" y="266"/>
                      <a:pt x="14" y="266"/>
                      <a:pt x="14" y="266"/>
                    </a:cubicBezTo>
                    <a:cubicBezTo>
                      <a:pt x="11" y="269"/>
                      <a:pt x="11" y="269"/>
                      <a:pt x="11" y="269"/>
                    </a:cubicBezTo>
                    <a:cubicBezTo>
                      <a:pt x="8" y="268"/>
                      <a:pt x="8" y="268"/>
                      <a:pt x="8" y="268"/>
                    </a:cubicBezTo>
                    <a:cubicBezTo>
                      <a:pt x="3" y="272"/>
                      <a:pt x="3" y="272"/>
                      <a:pt x="3" y="272"/>
                    </a:cubicBezTo>
                    <a:cubicBezTo>
                      <a:pt x="3" y="277"/>
                      <a:pt x="3" y="277"/>
                      <a:pt x="3" y="277"/>
                    </a:cubicBezTo>
                    <a:cubicBezTo>
                      <a:pt x="1" y="279"/>
                      <a:pt x="1" y="279"/>
                      <a:pt x="1" y="279"/>
                    </a:cubicBezTo>
                    <a:cubicBezTo>
                      <a:pt x="2" y="282"/>
                      <a:pt x="2" y="282"/>
                      <a:pt x="2" y="282"/>
                    </a:cubicBezTo>
                    <a:cubicBezTo>
                      <a:pt x="2" y="287"/>
                      <a:pt x="2" y="287"/>
                      <a:pt x="2" y="287"/>
                    </a:cubicBezTo>
                    <a:cubicBezTo>
                      <a:pt x="0" y="291"/>
                      <a:pt x="0" y="291"/>
                      <a:pt x="0" y="291"/>
                    </a:cubicBezTo>
                    <a:cubicBezTo>
                      <a:pt x="2" y="295"/>
                      <a:pt x="2" y="295"/>
                      <a:pt x="2" y="295"/>
                    </a:cubicBezTo>
                    <a:cubicBezTo>
                      <a:pt x="1" y="298"/>
                      <a:pt x="1" y="298"/>
                      <a:pt x="1" y="298"/>
                    </a:cubicBezTo>
                    <a:cubicBezTo>
                      <a:pt x="6" y="304"/>
                      <a:pt x="6" y="304"/>
                      <a:pt x="6" y="304"/>
                    </a:cubicBezTo>
                    <a:cubicBezTo>
                      <a:pt x="15" y="321"/>
                      <a:pt x="15" y="321"/>
                      <a:pt x="15" y="321"/>
                    </a:cubicBezTo>
                    <a:cubicBezTo>
                      <a:pt x="10" y="328"/>
                      <a:pt x="10" y="328"/>
                      <a:pt x="10" y="328"/>
                    </a:cubicBezTo>
                    <a:cubicBezTo>
                      <a:pt x="21" y="327"/>
                      <a:pt x="21" y="327"/>
                      <a:pt x="21" y="327"/>
                    </a:cubicBezTo>
                    <a:cubicBezTo>
                      <a:pt x="27" y="328"/>
                      <a:pt x="27" y="328"/>
                      <a:pt x="27" y="328"/>
                    </a:cubicBezTo>
                    <a:cubicBezTo>
                      <a:pt x="31" y="335"/>
                      <a:pt x="31" y="335"/>
                      <a:pt x="31" y="335"/>
                    </a:cubicBezTo>
                    <a:cubicBezTo>
                      <a:pt x="32" y="341"/>
                      <a:pt x="32" y="341"/>
                      <a:pt x="32" y="341"/>
                    </a:cubicBezTo>
                    <a:cubicBezTo>
                      <a:pt x="40" y="342"/>
                      <a:pt x="40" y="342"/>
                      <a:pt x="40" y="342"/>
                    </a:cubicBezTo>
                    <a:cubicBezTo>
                      <a:pt x="49" y="343"/>
                      <a:pt x="49" y="343"/>
                      <a:pt x="49" y="343"/>
                    </a:cubicBezTo>
                    <a:cubicBezTo>
                      <a:pt x="57" y="334"/>
                      <a:pt x="57" y="334"/>
                      <a:pt x="57" y="334"/>
                    </a:cubicBezTo>
                    <a:cubicBezTo>
                      <a:pt x="63" y="330"/>
                      <a:pt x="63" y="330"/>
                      <a:pt x="63" y="330"/>
                    </a:cubicBezTo>
                    <a:cubicBezTo>
                      <a:pt x="65" y="332"/>
                      <a:pt x="65" y="332"/>
                      <a:pt x="65" y="332"/>
                    </a:cubicBezTo>
                    <a:cubicBezTo>
                      <a:pt x="64" y="337"/>
                      <a:pt x="64" y="337"/>
                      <a:pt x="64" y="337"/>
                    </a:cubicBezTo>
                    <a:cubicBezTo>
                      <a:pt x="63" y="338"/>
                      <a:pt x="63" y="338"/>
                      <a:pt x="63" y="338"/>
                    </a:cubicBezTo>
                    <a:cubicBezTo>
                      <a:pt x="63" y="346"/>
                      <a:pt x="63" y="346"/>
                      <a:pt x="63" y="346"/>
                    </a:cubicBezTo>
                    <a:cubicBezTo>
                      <a:pt x="64" y="359"/>
                      <a:pt x="64" y="359"/>
                      <a:pt x="64" y="359"/>
                    </a:cubicBezTo>
                    <a:cubicBezTo>
                      <a:pt x="64" y="364"/>
                      <a:pt x="64" y="364"/>
                      <a:pt x="64" y="364"/>
                    </a:cubicBezTo>
                    <a:cubicBezTo>
                      <a:pt x="66" y="367"/>
                      <a:pt x="66" y="367"/>
                      <a:pt x="66" y="367"/>
                    </a:cubicBezTo>
                    <a:cubicBezTo>
                      <a:pt x="70" y="366"/>
                      <a:pt x="70" y="366"/>
                      <a:pt x="70" y="366"/>
                    </a:cubicBezTo>
                    <a:cubicBezTo>
                      <a:pt x="73" y="365"/>
                      <a:pt x="73" y="365"/>
                      <a:pt x="73" y="365"/>
                    </a:cubicBezTo>
                    <a:cubicBezTo>
                      <a:pt x="77" y="365"/>
                      <a:pt x="77" y="365"/>
                      <a:pt x="77" y="365"/>
                    </a:cubicBezTo>
                    <a:cubicBezTo>
                      <a:pt x="79" y="364"/>
                      <a:pt x="79" y="364"/>
                      <a:pt x="79" y="364"/>
                    </a:cubicBezTo>
                    <a:cubicBezTo>
                      <a:pt x="81" y="365"/>
                      <a:pt x="81" y="365"/>
                      <a:pt x="81" y="365"/>
                    </a:cubicBezTo>
                    <a:cubicBezTo>
                      <a:pt x="81" y="366"/>
                      <a:pt x="81" y="366"/>
                      <a:pt x="81" y="366"/>
                    </a:cubicBezTo>
                    <a:cubicBezTo>
                      <a:pt x="93" y="366"/>
                      <a:pt x="93" y="366"/>
                      <a:pt x="93" y="366"/>
                    </a:cubicBezTo>
                    <a:cubicBezTo>
                      <a:pt x="98" y="366"/>
                      <a:pt x="98" y="366"/>
                      <a:pt x="98" y="366"/>
                    </a:cubicBezTo>
                    <a:cubicBezTo>
                      <a:pt x="104" y="362"/>
                      <a:pt x="104" y="362"/>
                      <a:pt x="104" y="362"/>
                    </a:cubicBezTo>
                    <a:cubicBezTo>
                      <a:pt x="106" y="362"/>
                      <a:pt x="106" y="362"/>
                      <a:pt x="106" y="362"/>
                    </a:cubicBezTo>
                    <a:cubicBezTo>
                      <a:pt x="110" y="359"/>
                      <a:pt x="110" y="359"/>
                      <a:pt x="110" y="359"/>
                    </a:cubicBezTo>
                    <a:cubicBezTo>
                      <a:pt x="115" y="359"/>
                      <a:pt x="115" y="359"/>
                      <a:pt x="115" y="359"/>
                    </a:cubicBezTo>
                    <a:cubicBezTo>
                      <a:pt x="120" y="357"/>
                      <a:pt x="120" y="357"/>
                      <a:pt x="120" y="357"/>
                    </a:cubicBezTo>
                    <a:cubicBezTo>
                      <a:pt x="123" y="347"/>
                      <a:pt x="123" y="347"/>
                      <a:pt x="123" y="347"/>
                    </a:cubicBezTo>
                    <a:cubicBezTo>
                      <a:pt x="132" y="340"/>
                      <a:pt x="132" y="340"/>
                      <a:pt x="132" y="340"/>
                    </a:cubicBezTo>
                    <a:cubicBezTo>
                      <a:pt x="138" y="339"/>
                      <a:pt x="138" y="339"/>
                      <a:pt x="138" y="339"/>
                    </a:cubicBezTo>
                    <a:cubicBezTo>
                      <a:pt x="144" y="336"/>
                      <a:pt x="144" y="336"/>
                      <a:pt x="144" y="336"/>
                    </a:cubicBezTo>
                    <a:cubicBezTo>
                      <a:pt x="148" y="336"/>
                      <a:pt x="148" y="336"/>
                      <a:pt x="148" y="336"/>
                    </a:cubicBezTo>
                    <a:cubicBezTo>
                      <a:pt x="151" y="339"/>
                      <a:pt x="151" y="339"/>
                      <a:pt x="151" y="339"/>
                    </a:cubicBezTo>
                    <a:cubicBezTo>
                      <a:pt x="156" y="336"/>
                      <a:pt x="156" y="336"/>
                      <a:pt x="156" y="336"/>
                    </a:cubicBezTo>
                    <a:cubicBezTo>
                      <a:pt x="158" y="338"/>
                      <a:pt x="158" y="338"/>
                      <a:pt x="158" y="338"/>
                    </a:cubicBezTo>
                    <a:cubicBezTo>
                      <a:pt x="157" y="343"/>
                      <a:pt x="157" y="343"/>
                      <a:pt x="157" y="343"/>
                    </a:cubicBezTo>
                    <a:cubicBezTo>
                      <a:pt x="159" y="351"/>
                      <a:pt x="159" y="351"/>
                      <a:pt x="159" y="351"/>
                    </a:cubicBezTo>
                    <a:cubicBezTo>
                      <a:pt x="156" y="357"/>
                      <a:pt x="156" y="357"/>
                      <a:pt x="156" y="357"/>
                    </a:cubicBezTo>
                    <a:cubicBezTo>
                      <a:pt x="159" y="367"/>
                      <a:pt x="159" y="367"/>
                      <a:pt x="159" y="367"/>
                    </a:cubicBezTo>
                    <a:cubicBezTo>
                      <a:pt x="157" y="372"/>
                      <a:pt x="157" y="372"/>
                      <a:pt x="157" y="372"/>
                    </a:cubicBezTo>
                    <a:cubicBezTo>
                      <a:pt x="160" y="380"/>
                      <a:pt x="160" y="380"/>
                      <a:pt x="160" y="380"/>
                    </a:cubicBezTo>
                    <a:cubicBezTo>
                      <a:pt x="165" y="382"/>
                      <a:pt x="165" y="382"/>
                      <a:pt x="165" y="382"/>
                    </a:cubicBezTo>
                    <a:cubicBezTo>
                      <a:pt x="166" y="389"/>
                      <a:pt x="166" y="389"/>
                      <a:pt x="166" y="389"/>
                    </a:cubicBezTo>
                    <a:cubicBezTo>
                      <a:pt x="170" y="391"/>
                      <a:pt x="170" y="391"/>
                      <a:pt x="170" y="391"/>
                    </a:cubicBezTo>
                    <a:cubicBezTo>
                      <a:pt x="176" y="396"/>
                      <a:pt x="176" y="396"/>
                      <a:pt x="176" y="396"/>
                    </a:cubicBezTo>
                    <a:cubicBezTo>
                      <a:pt x="180" y="400"/>
                      <a:pt x="180" y="400"/>
                      <a:pt x="180" y="400"/>
                    </a:cubicBezTo>
                    <a:cubicBezTo>
                      <a:pt x="181" y="398"/>
                      <a:pt x="181" y="398"/>
                      <a:pt x="181" y="398"/>
                    </a:cubicBezTo>
                    <a:cubicBezTo>
                      <a:pt x="189" y="396"/>
                      <a:pt x="189" y="396"/>
                      <a:pt x="189" y="396"/>
                    </a:cubicBezTo>
                    <a:cubicBezTo>
                      <a:pt x="195" y="403"/>
                      <a:pt x="195" y="403"/>
                      <a:pt x="195" y="403"/>
                    </a:cubicBezTo>
                    <a:cubicBezTo>
                      <a:pt x="200" y="402"/>
                      <a:pt x="200" y="402"/>
                      <a:pt x="200" y="402"/>
                    </a:cubicBezTo>
                    <a:cubicBezTo>
                      <a:pt x="207" y="410"/>
                      <a:pt x="207" y="410"/>
                      <a:pt x="207" y="410"/>
                    </a:cubicBezTo>
                    <a:cubicBezTo>
                      <a:pt x="209" y="410"/>
                      <a:pt x="209" y="410"/>
                      <a:pt x="209" y="410"/>
                    </a:cubicBezTo>
                    <a:cubicBezTo>
                      <a:pt x="217" y="413"/>
                      <a:pt x="217" y="413"/>
                      <a:pt x="217" y="413"/>
                    </a:cubicBezTo>
                    <a:cubicBezTo>
                      <a:pt x="222" y="415"/>
                      <a:pt x="222" y="415"/>
                      <a:pt x="222" y="415"/>
                    </a:cubicBezTo>
                    <a:cubicBezTo>
                      <a:pt x="223" y="421"/>
                      <a:pt x="223" y="421"/>
                      <a:pt x="223" y="421"/>
                    </a:cubicBezTo>
                    <a:cubicBezTo>
                      <a:pt x="227" y="423"/>
                      <a:pt x="227" y="423"/>
                      <a:pt x="227" y="423"/>
                    </a:cubicBezTo>
                    <a:cubicBezTo>
                      <a:pt x="232" y="426"/>
                      <a:pt x="232" y="426"/>
                      <a:pt x="232" y="426"/>
                    </a:cubicBezTo>
                    <a:cubicBezTo>
                      <a:pt x="242" y="425"/>
                      <a:pt x="242" y="425"/>
                      <a:pt x="242" y="425"/>
                    </a:cubicBezTo>
                    <a:cubicBezTo>
                      <a:pt x="250" y="430"/>
                      <a:pt x="250" y="430"/>
                      <a:pt x="250" y="430"/>
                    </a:cubicBezTo>
                    <a:cubicBezTo>
                      <a:pt x="251" y="433"/>
                      <a:pt x="251" y="433"/>
                      <a:pt x="251" y="433"/>
                    </a:cubicBezTo>
                    <a:cubicBezTo>
                      <a:pt x="250" y="444"/>
                      <a:pt x="250" y="444"/>
                      <a:pt x="250" y="444"/>
                    </a:cubicBezTo>
                    <a:cubicBezTo>
                      <a:pt x="252" y="452"/>
                      <a:pt x="252" y="452"/>
                      <a:pt x="252" y="452"/>
                    </a:cubicBezTo>
                    <a:cubicBezTo>
                      <a:pt x="250" y="457"/>
                      <a:pt x="250" y="457"/>
                      <a:pt x="250" y="457"/>
                    </a:cubicBezTo>
                    <a:cubicBezTo>
                      <a:pt x="256" y="471"/>
                      <a:pt x="256" y="471"/>
                      <a:pt x="256" y="471"/>
                    </a:cubicBezTo>
                    <a:cubicBezTo>
                      <a:pt x="256" y="481"/>
                      <a:pt x="256" y="481"/>
                      <a:pt x="256" y="481"/>
                    </a:cubicBezTo>
                    <a:cubicBezTo>
                      <a:pt x="288" y="481"/>
                      <a:pt x="288" y="481"/>
                      <a:pt x="288" y="481"/>
                    </a:cubicBezTo>
                    <a:cubicBezTo>
                      <a:pt x="290" y="495"/>
                      <a:pt x="290" y="495"/>
                      <a:pt x="290" y="495"/>
                    </a:cubicBezTo>
                    <a:cubicBezTo>
                      <a:pt x="289" y="504"/>
                      <a:pt x="289" y="504"/>
                      <a:pt x="289" y="504"/>
                    </a:cubicBezTo>
                    <a:cubicBezTo>
                      <a:pt x="299" y="507"/>
                      <a:pt x="299" y="507"/>
                      <a:pt x="299" y="507"/>
                    </a:cubicBezTo>
                    <a:cubicBezTo>
                      <a:pt x="308" y="527"/>
                      <a:pt x="308" y="527"/>
                      <a:pt x="308" y="527"/>
                    </a:cubicBezTo>
                    <a:cubicBezTo>
                      <a:pt x="309" y="538"/>
                      <a:pt x="309" y="538"/>
                      <a:pt x="309" y="538"/>
                    </a:cubicBezTo>
                    <a:cubicBezTo>
                      <a:pt x="300" y="559"/>
                      <a:pt x="300" y="559"/>
                      <a:pt x="300" y="559"/>
                    </a:cubicBezTo>
                    <a:cubicBezTo>
                      <a:pt x="300" y="562"/>
                      <a:pt x="300" y="562"/>
                      <a:pt x="300" y="562"/>
                    </a:cubicBezTo>
                    <a:cubicBezTo>
                      <a:pt x="298" y="566"/>
                      <a:pt x="298" y="566"/>
                      <a:pt x="298" y="566"/>
                    </a:cubicBezTo>
                    <a:cubicBezTo>
                      <a:pt x="299" y="569"/>
                      <a:pt x="299" y="569"/>
                      <a:pt x="299" y="569"/>
                    </a:cubicBezTo>
                    <a:cubicBezTo>
                      <a:pt x="298" y="573"/>
                      <a:pt x="298" y="573"/>
                      <a:pt x="298" y="573"/>
                    </a:cubicBezTo>
                    <a:cubicBezTo>
                      <a:pt x="303" y="577"/>
                      <a:pt x="303" y="577"/>
                      <a:pt x="303" y="577"/>
                    </a:cubicBezTo>
                    <a:cubicBezTo>
                      <a:pt x="303" y="584"/>
                      <a:pt x="303" y="584"/>
                      <a:pt x="303" y="584"/>
                    </a:cubicBezTo>
                    <a:cubicBezTo>
                      <a:pt x="307" y="591"/>
                      <a:pt x="307" y="591"/>
                      <a:pt x="307" y="591"/>
                    </a:cubicBezTo>
                    <a:cubicBezTo>
                      <a:pt x="305" y="604"/>
                      <a:pt x="305" y="604"/>
                      <a:pt x="305" y="604"/>
                    </a:cubicBezTo>
                    <a:cubicBezTo>
                      <a:pt x="306" y="609"/>
                      <a:pt x="306" y="609"/>
                      <a:pt x="306" y="609"/>
                    </a:cubicBezTo>
                    <a:cubicBezTo>
                      <a:pt x="305" y="614"/>
                      <a:pt x="305" y="614"/>
                      <a:pt x="305" y="614"/>
                    </a:cubicBezTo>
                    <a:cubicBezTo>
                      <a:pt x="306" y="619"/>
                      <a:pt x="306" y="619"/>
                      <a:pt x="306" y="619"/>
                    </a:cubicBezTo>
                    <a:cubicBezTo>
                      <a:pt x="313" y="618"/>
                      <a:pt x="313" y="618"/>
                      <a:pt x="313" y="618"/>
                    </a:cubicBezTo>
                    <a:cubicBezTo>
                      <a:pt x="316" y="620"/>
                      <a:pt x="316" y="620"/>
                      <a:pt x="316" y="620"/>
                    </a:cubicBezTo>
                    <a:cubicBezTo>
                      <a:pt x="324" y="619"/>
                      <a:pt x="324" y="619"/>
                      <a:pt x="324" y="619"/>
                    </a:cubicBezTo>
                    <a:cubicBezTo>
                      <a:pt x="329" y="621"/>
                      <a:pt x="329" y="621"/>
                      <a:pt x="329" y="621"/>
                    </a:cubicBezTo>
                    <a:cubicBezTo>
                      <a:pt x="338" y="617"/>
                      <a:pt x="338" y="617"/>
                      <a:pt x="338" y="617"/>
                    </a:cubicBezTo>
                    <a:cubicBezTo>
                      <a:pt x="342" y="621"/>
                      <a:pt x="342" y="621"/>
                      <a:pt x="342" y="621"/>
                    </a:cubicBezTo>
                    <a:cubicBezTo>
                      <a:pt x="346" y="622"/>
                      <a:pt x="346" y="622"/>
                      <a:pt x="346" y="622"/>
                    </a:cubicBezTo>
                    <a:cubicBezTo>
                      <a:pt x="347" y="627"/>
                      <a:pt x="347" y="627"/>
                      <a:pt x="347" y="627"/>
                    </a:cubicBezTo>
                    <a:cubicBezTo>
                      <a:pt x="351" y="651"/>
                      <a:pt x="351" y="651"/>
                      <a:pt x="351" y="651"/>
                    </a:cubicBezTo>
                    <a:cubicBezTo>
                      <a:pt x="355" y="660"/>
                      <a:pt x="355" y="660"/>
                      <a:pt x="355" y="660"/>
                    </a:cubicBezTo>
                    <a:cubicBezTo>
                      <a:pt x="358" y="661"/>
                      <a:pt x="358" y="661"/>
                      <a:pt x="358" y="661"/>
                    </a:cubicBezTo>
                    <a:cubicBezTo>
                      <a:pt x="365" y="656"/>
                      <a:pt x="365" y="656"/>
                      <a:pt x="365" y="656"/>
                    </a:cubicBezTo>
                    <a:cubicBezTo>
                      <a:pt x="369" y="658"/>
                      <a:pt x="369" y="658"/>
                      <a:pt x="369" y="658"/>
                    </a:cubicBezTo>
                    <a:cubicBezTo>
                      <a:pt x="372" y="661"/>
                      <a:pt x="372" y="661"/>
                      <a:pt x="372" y="661"/>
                    </a:cubicBezTo>
                    <a:cubicBezTo>
                      <a:pt x="375" y="661"/>
                      <a:pt x="375" y="661"/>
                      <a:pt x="375" y="661"/>
                    </a:cubicBezTo>
                    <a:cubicBezTo>
                      <a:pt x="373" y="665"/>
                      <a:pt x="373" y="665"/>
                      <a:pt x="373" y="665"/>
                    </a:cubicBezTo>
                    <a:cubicBezTo>
                      <a:pt x="372" y="686"/>
                      <a:pt x="372" y="686"/>
                      <a:pt x="372" y="686"/>
                    </a:cubicBezTo>
                    <a:cubicBezTo>
                      <a:pt x="372" y="688"/>
                      <a:pt x="372" y="688"/>
                      <a:pt x="372" y="688"/>
                    </a:cubicBezTo>
                    <a:cubicBezTo>
                      <a:pt x="371" y="689"/>
                      <a:pt x="371" y="689"/>
                      <a:pt x="371" y="689"/>
                    </a:cubicBezTo>
                    <a:cubicBezTo>
                      <a:pt x="371" y="691"/>
                      <a:pt x="371" y="691"/>
                      <a:pt x="371" y="691"/>
                    </a:cubicBezTo>
                    <a:cubicBezTo>
                      <a:pt x="371" y="694"/>
                      <a:pt x="371" y="694"/>
                      <a:pt x="371" y="694"/>
                    </a:cubicBezTo>
                    <a:cubicBezTo>
                      <a:pt x="370" y="696"/>
                      <a:pt x="370" y="696"/>
                      <a:pt x="370" y="696"/>
                    </a:cubicBezTo>
                    <a:cubicBezTo>
                      <a:pt x="374" y="694"/>
                      <a:pt x="374" y="694"/>
                      <a:pt x="374" y="694"/>
                    </a:cubicBezTo>
                    <a:cubicBezTo>
                      <a:pt x="382" y="695"/>
                      <a:pt x="382" y="695"/>
                      <a:pt x="382" y="695"/>
                    </a:cubicBezTo>
                    <a:cubicBezTo>
                      <a:pt x="382" y="700"/>
                      <a:pt x="382" y="700"/>
                      <a:pt x="382" y="700"/>
                    </a:cubicBezTo>
                    <a:cubicBezTo>
                      <a:pt x="386" y="709"/>
                      <a:pt x="386" y="709"/>
                      <a:pt x="386" y="709"/>
                    </a:cubicBezTo>
                    <a:cubicBezTo>
                      <a:pt x="385" y="716"/>
                      <a:pt x="385" y="716"/>
                      <a:pt x="385" y="716"/>
                    </a:cubicBezTo>
                    <a:cubicBezTo>
                      <a:pt x="386" y="725"/>
                      <a:pt x="386" y="725"/>
                      <a:pt x="386" y="725"/>
                    </a:cubicBezTo>
                    <a:cubicBezTo>
                      <a:pt x="387" y="733"/>
                      <a:pt x="387" y="733"/>
                      <a:pt x="387" y="733"/>
                    </a:cubicBezTo>
                    <a:cubicBezTo>
                      <a:pt x="386" y="736"/>
                      <a:pt x="386" y="736"/>
                      <a:pt x="386" y="736"/>
                    </a:cubicBezTo>
                    <a:cubicBezTo>
                      <a:pt x="382" y="736"/>
                      <a:pt x="382" y="736"/>
                      <a:pt x="382" y="736"/>
                    </a:cubicBezTo>
                    <a:cubicBezTo>
                      <a:pt x="378" y="739"/>
                      <a:pt x="378" y="739"/>
                      <a:pt x="378" y="739"/>
                    </a:cubicBezTo>
                    <a:cubicBezTo>
                      <a:pt x="377" y="740"/>
                      <a:pt x="377" y="740"/>
                      <a:pt x="377" y="740"/>
                    </a:cubicBezTo>
                    <a:cubicBezTo>
                      <a:pt x="374" y="743"/>
                      <a:pt x="374" y="743"/>
                      <a:pt x="374" y="743"/>
                    </a:cubicBezTo>
                    <a:cubicBezTo>
                      <a:pt x="373" y="742"/>
                      <a:pt x="373" y="742"/>
                      <a:pt x="373" y="742"/>
                    </a:cubicBezTo>
                    <a:cubicBezTo>
                      <a:pt x="366" y="748"/>
                      <a:pt x="366" y="748"/>
                      <a:pt x="366" y="748"/>
                    </a:cubicBezTo>
                    <a:cubicBezTo>
                      <a:pt x="364" y="751"/>
                      <a:pt x="364" y="751"/>
                      <a:pt x="364" y="751"/>
                    </a:cubicBezTo>
                    <a:cubicBezTo>
                      <a:pt x="361" y="752"/>
                      <a:pt x="361" y="752"/>
                      <a:pt x="361" y="752"/>
                    </a:cubicBezTo>
                    <a:cubicBezTo>
                      <a:pt x="355" y="759"/>
                      <a:pt x="355" y="759"/>
                      <a:pt x="355" y="759"/>
                    </a:cubicBezTo>
                    <a:cubicBezTo>
                      <a:pt x="352" y="760"/>
                      <a:pt x="352" y="760"/>
                      <a:pt x="352" y="760"/>
                    </a:cubicBezTo>
                    <a:cubicBezTo>
                      <a:pt x="352" y="765"/>
                      <a:pt x="352" y="765"/>
                      <a:pt x="352" y="765"/>
                    </a:cubicBezTo>
                    <a:cubicBezTo>
                      <a:pt x="350" y="766"/>
                      <a:pt x="350" y="766"/>
                      <a:pt x="350" y="766"/>
                    </a:cubicBezTo>
                    <a:cubicBezTo>
                      <a:pt x="347" y="766"/>
                      <a:pt x="347" y="766"/>
                      <a:pt x="347" y="766"/>
                    </a:cubicBezTo>
                    <a:cubicBezTo>
                      <a:pt x="342" y="774"/>
                      <a:pt x="342" y="774"/>
                      <a:pt x="342" y="774"/>
                    </a:cubicBezTo>
                    <a:cubicBezTo>
                      <a:pt x="341" y="777"/>
                      <a:pt x="341" y="777"/>
                      <a:pt x="341" y="777"/>
                    </a:cubicBezTo>
                    <a:cubicBezTo>
                      <a:pt x="341" y="782"/>
                      <a:pt x="341" y="782"/>
                      <a:pt x="341" y="782"/>
                    </a:cubicBezTo>
                    <a:cubicBezTo>
                      <a:pt x="338" y="783"/>
                      <a:pt x="338" y="783"/>
                      <a:pt x="338" y="783"/>
                    </a:cubicBezTo>
                    <a:cubicBezTo>
                      <a:pt x="337" y="786"/>
                      <a:pt x="337" y="786"/>
                      <a:pt x="337" y="786"/>
                    </a:cubicBezTo>
                    <a:cubicBezTo>
                      <a:pt x="333" y="794"/>
                      <a:pt x="333" y="794"/>
                      <a:pt x="333" y="794"/>
                    </a:cubicBezTo>
                    <a:cubicBezTo>
                      <a:pt x="330" y="797"/>
                      <a:pt x="330" y="797"/>
                      <a:pt x="330" y="797"/>
                    </a:cubicBezTo>
                    <a:cubicBezTo>
                      <a:pt x="327" y="803"/>
                      <a:pt x="327" y="803"/>
                      <a:pt x="327" y="803"/>
                    </a:cubicBezTo>
                    <a:cubicBezTo>
                      <a:pt x="327" y="805"/>
                      <a:pt x="327" y="805"/>
                      <a:pt x="327" y="805"/>
                    </a:cubicBezTo>
                    <a:cubicBezTo>
                      <a:pt x="324" y="808"/>
                      <a:pt x="324" y="808"/>
                      <a:pt x="324" y="808"/>
                    </a:cubicBezTo>
                    <a:cubicBezTo>
                      <a:pt x="323" y="810"/>
                      <a:pt x="323" y="810"/>
                      <a:pt x="323" y="810"/>
                    </a:cubicBezTo>
                    <a:cubicBezTo>
                      <a:pt x="326" y="810"/>
                      <a:pt x="326" y="810"/>
                      <a:pt x="326" y="810"/>
                    </a:cubicBezTo>
                    <a:cubicBezTo>
                      <a:pt x="328" y="812"/>
                      <a:pt x="328" y="812"/>
                      <a:pt x="328" y="812"/>
                    </a:cubicBezTo>
                    <a:cubicBezTo>
                      <a:pt x="337" y="808"/>
                      <a:pt x="337" y="808"/>
                      <a:pt x="337" y="808"/>
                    </a:cubicBezTo>
                    <a:cubicBezTo>
                      <a:pt x="341" y="811"/>
                      <a:pt x="341" y="811"/>
                      <a:pt x="341" y="811"/>
                    </a:cubicBezTo>
                    <a:cubicBezTo>
                      <a:pt x="345" y="818"/>
                      <a:pt x="345" y="818"/>
                      <a:pt x="345" y="818"/>
                    </a:cubicBezTo>
                    <a:cubicBezTo>
                      <a:pt x="349" y="820"/>
                      <a:pt x="349" y="820"/>
                      <a:pt x="349" y="820"/>
                    </a:cubicBezTo>
                    <a:cubicBezTo>
                      <a:pt x="351" y="826"/>
                      <a:pt x="351" y="826"/>
                      <a:pt x="351" y="826"/>
                    </a:cubicBezTo>
                    <a:cubicBezTo>
                      <a:pt x="356" y="835"/>
                      <a:pt x="356" y="835"/>
                      <a:pt x="356" y="835"/>
                    </a:cubicBezTo>
                    <a:cubicBezTo>
                      <a:pt x="358" y="835"/>
                      <a:pt x="358" y="835"/>
                      <a:pt x="358" y="835"/>
                    </a:cubicBezTo>
                    <a:cubicBezTo>
                      <a:pt x="361" y="830"/>
                      <a:pt x="361" y="830"/>
                      <a:pt x="361" y="830"/>
                    </a:cubicBezTo>
                    <a:cubicBezTo>
                      <a:pt x="363" y="830"/>
                      <a:pt x="363" y="830"/>
                      <a:pt x="363" y="830"/>
                    </a:cubicBezTo>
                    <a:cubicBezTo>
                      <a:pt x="367" y="838"/>
                      <a:pt x="367" y="838"/>
                      <a:pt x="367" y="838"/>
                    </a:cubicBezTo>
                    <a:cubicBezTo>
                      <a:pt x="372" y="841"/>
                      <a:pt x="372" y="841"/>
                      <a:pt x="372" y="841"/>
                    </a:cubicBezTo>
                    <a:cubicBezTo>
                      <a:pt x="377" y="842"/>
                      <a:pt x="377" y="842"/>
                      <a:pt x="377" y="842"/>
                    </a:cubicBezTo>
                    <a:cubicBezTo>
                      <a:pt x="381" y="847"/>
                      <a:pt x="381" y="847"/>
                      <a:pt x="381" y="847"/>
                    </a:cubicBezTo>
                    <a:cubicBezTo>
                      <a:pt x="381" y="853"/>
                      <a:pt x="381" y="853"/>
                      <a:pt x="381" y="853"/>
                    </a:cubicBezTo>
                    <a:cubicBezTo>
                      <a:pt x="385" y="852"/>
                      <a:pt x="385" y="852"/>
                      <a:pt x="385" y="852"/>
                    </a:cubicBezTo>
                    <a:cubicBezTo>
                      <a:pt x="392" y="856"/>
                      <a:pt x="392" y="856"/>
                      <a:pt x="392" y="856"/>
                    </a:cubicBezTo>
                    <a:cubicBezTo>
                      <a:pt x="396" y="862"/>
                      <a:pt x="396" y="862"/>
                      <a:pt x="396" y="862"/>
                    </a:cubicBezTo>
                    <a:cubicBezTo>
                      <a:pt x="400" y="870"/>
                      <a:pt x="400" y="870"/>
                      <a:pt x="400" y="870"/>
                    </a:cubicBezTo>
                    <a:cubicBezTo>
                      <a:pt x="404" y="874"/>
                      <a:pt x="404" y="874"/>
                      <a:pt x="404" y="874"/>
                    </a:cubicBezTo>
                    <a:cubicBezTo>
                      <a:pt x="404" y="880"/>
                      <a:pt x="404" y="880"/>
                      <a:pt x="404" y="880"/>
                    </a:cubicBezTo>
                    <a:cubicBezTo>
                      <a:pt x="400" y="886"/>
                      <a:pt x="400" y="886"/>
                      <a:pt x="400" y="886"/>
                    </a:cubicBezTo>
                    <a:cubicBezTo>
                      <a:pt x="402" y="892"/>
                      <a:pt x="402" y="892"/>
                      <a:pt x="402" y="892"/>
                    </a:cubicBezTo>
                    <a:cubicBezTo>
                      <a:pt x="403" y="894"/>
                      <a:pt x="403" y="894"/>
                      <a:pt x="403" y="894"/>
                    </a:cubicBezTo>
                    <a:cubicBezTo>
                      <a:pt x="403" y="895"/>
                      <a:pt x="403" y="895"/>
                      <a:pt x="403" y="895"/>
                    </a:cubicBezTo>
                    <a:cubicBezTo>
                      <a:pt x="405" y="899"/>
                      <a:pt x="405" y="899"/>
                      <a:pt x="405" y="899"/>
                    </a:cubicBezTo>
                    <a:cubicBezTo>
                      <a:pt x="406" y="900"/>
                      <a:pt x="406" y="900"/>
                      <a:pt x="406" y="900"/>
                    </a:cubicBezTo>
                    <a:cubicBezTo>
                      <a:pt x="413" y="893"/>
                      <a:pt x="413" y="893"/>
                      <a:pt x="413" y="893"/>
                    </a:cubicBezTo>
                    <a:cubicBezTo>
                      <a:pt x="415" y="886"/>
                      <a:pt x="415" y="886"/>
                      <a:pt x="415" y="886"/>
                    </a:cubicBezTo>
                    <a:cubicBezTo>
                      <a:pt x="418" y="871"/>
                      <a:pt x="418" y="871"/>
                      <a:pt x="418" y="871"/>
                    </a:cubicBezTo>
                    <a:cubicBezTo>
                      <a:pt x="421" y="860"/>
                      <a:pt x="421" y="860"/>
                      <a:pt x="421" y="860"/>
                    </a:cubicBezTo>
                    <a:cubicBezTo>
                      <a:pt x="422" y="858"/>
                      <a:pt x="422" y="858"/>
                      <a:pt x="422" y="858"/>
                    </a:cubicBezTo>
                    <a:cubicBezTo>
                      <a:pt x="421" y="856"/>
                      <a:pt x="421" y="856"/>
                      <a:pt x="421" y="856"/>
                    </a:cubicBezTo>
                    <a:cubicBezTo>
                      <a:pt x="418" y="851"/>
                      <a:pt x="418" y="851"/>
                      <a:pt x="418" y="851"/>
                    </a:cubicBezTo>
                    <a:cubicBezTo>
                      <a:pt x="419" y="846"/>
                      <a:pt x="419" y="846"/>
                      <a:pt x="419" y="846"/>
                    </a:cubicBezTo>
                    <a:cubicBezTo>
                      <a:pt x="422" y="845"/>
                      <a:pt x="422" y="845"/>
                      <a:pt x="422" y="845"/>
                    </a:cubicBezTo>
                    <a:cubicBezTo>
                      <a:pt x="422" y="842"/>
                      <a:pt x="422" y="842"/>
                      <a:pt x="422" y="842"/>
                    </a:cubicBezTo>
                    <a:cubicBezTo>
                      <a:pt x="425" y="838"/>
                      <a:pt x="425" y="838"/>
                      <a:pt x="425" y="838"/>
                    </a:cubicBezTo>
                    <a:cubicBezTo>
                      <a:pt x="425" y="835"/>
                      <a:pt x="425" y="835"/>
                      <a:pt x="425" y="835"/>
                    </a:cubicBezTo>
                    <a:cubicBezTo>
                      <a:pt x="427" y="836"/>
                      <a:pt x="427" y="836"/>
                      <a:pt x="427" y="836"/>
                    </a:cubicBezTo>
                    <a:cubicBezTo>
                      <a:pt x="430" y="837"/>
                      <a:pt x="430" y="837"/>
                      <a:pt x="430" y="837"/>
                    </a:cubicBezTo>
                    <a:cubicBezTo>
                      <a:pt x="433" y="833"/>
                      <a:pt x="433" y="833"/>
                      <a:pt x="433" y="833"/>
                    </a:cubicBezTo>
                    <a:cubicBezTo>
                      <a:pt x="433" y="828"/>
                      <a:pt x="433" y="828"/>
                      <a:pt x="433" y="828"/>
                    </a:cubicBezTo>
                    <a:cubicBezTo>
                      <a:pt x="434" y="827"/>
                      <a:pt x="434" y="827"/>
                      <a:pt x="434" y="827"/>
                    </a:cubicBezTo>
                    <a:cubicBezTo>
                      <a:pt x="434" y="822"/>
                      <a:pt x="434" y="822"/>
                      <a:pt x="434" y="822"/>
                    </a:cubicBezTo>
                    <a:cubicBezTo>
                      <a:pt x="436" y="820"/>
                      <a:pt x="436" y="820"/>
                      <a:pt x="436" y="820"/>
                    </a:cubicBezTo>
                    <a:cubicBezTo>
                      <a:pt x="438" y="820"/>
                      <a:pt x="438" y="820"/>
                      <a:pt x="438" y="820"/>
                    </a:cubicBezTo>
                    <a:cubicBezTo>
                      <a:pt x="439" y="815"/>
                      <a:pt x="439" y="815"/>
                      <a:pt x="439" y="815"/>
                    </a:cubicBezTo>
                    <a:cubicBezTo>
                      <a:pt x="438" y="812"/>
                      <a:pt x="438" y="812"/>
                      <a:pt x="438" y="812"/>
                    </a:cubicBezTo>
                    <a:cubicBezTo>
                      <a:pt x="436" y="810"/>
                      <a:pt x="436" y="810"/>
                      <a:pt x="436" y="810"/>
                    </a:cubicBezTo>
                    <a:cubicBezTo>
                      <a:pt x="436" y="803"/>
                      <a:pt x="436" y="803"/>
                      <a:pt x="436" y="803"/>
                    </a:cubicBezTo>
                    <a:cubicBezTo>
                      <a:pt x="435" y="801"/>
                      <a:pt x="435" y="801"/>
                      <a:pt x="435" y="801"/>
                    </a:cubicBezTo>
                    <a:cubicBezTo>
                      <a:pt x="437" y="802"/>
                      <a:pt x="437" y="802"/>
                      <a:pt x="437" y="802"/>
                    </a:cubicBezTo>
                    <a:cubicBezTo>
                      <a:pt x="439" y="807"/>
                      <a:pt x="439" y="807"/>
                      <a:pt x="439" y="807"/>
                    </a:cubicBezTo>
                    <a:cubicBezTo>
                      <a:pt x="443" y="813"/>
                      <a:pt x="443" y="813"/>
                      <a:pt x="443" y="813"/>
                    </a:cubicBezTo>
                    <a:cubicBezTo>
                      <a:pt x="445" y="813"/>
                      <a:pt x="445" y="813"/>
                      <a:pt x="445" y="813"/>
                    </a:cubicBezTo>
                    <a:cubicBezTo>
                      <a:pt x="447" y="812"/>
                      <a:pt x="447" y="812"/>
                      <a:pt x="447" y="812"/>
                    </a:cubicBezTo>
                    <a:cubicBezTo>
                      <a:pt x="448" y="813"/>
                      <a:pt x="448" y="813"/>
                      <a:pt x="448" y="813"/>
                    </a:cubicBezTo>
                    <a:cubicBezTo>
                      <a:pt x="448" y="817"/>
                      <a:pt x="448" y="817"/>
                      <a:pt x="448" y="817"/>
                    </a:cubicBezTo>
                    <a:cubicBezTo>
                      <a:pt x="447" y="817"/>
                      <a:pt x="447" y="817"/>
                      <a:pt x="447" y="817"/>
                    </a:cubicBezTo>
                    <a:cubicBezTo>
                      <a:pt x="445" y="825"/>
                      <a:pt x="445" y="825"/>
                      <a:pt x="445" y="825"/>
                    </a:cubicBezTo>
                    <a:cubicBezTo>
                      <a:pt x="441" y="834"/>
                      <a:pt x="441" y="834"/>
                      <a:pt x="441" y="834"/>
                    </a:cubicBezTo>
                    <a:cubicBezTo>
                      <a:pt x="437" y="834"/>
                      <a:pt x="437" y="834"/>
                      <a:pt x="437" y="834"/>
                    </a:cubicBezTo>
                    <a:cubicBezTo>
                      <a:pt x="436" y="839"/>
                      <a:pt x="436" y="839"/>
                      <a:pt x="436" y="839"/>
                    </a:cubicBezTo>
                    <a:cubicBezTo>
                      <a:pt x="435" y="842"/>
                      <a:pt x="435" y="842"/>
                      <a:pt x="435" y="842"/>
                    </a:cubicBezTo>
                    <a:cubicBezTo>
                      <a:pt x="434" y="842"/>
                      <a:pt x="434" y="842"/>
                      <a:pt x="434" y="842"/>
                    </a:cubicBezTo>
                    <a:cubicBezTo>
                      <a:pt x="430" y="844"/>
                      <a:pt x="430" y="844"/>
                      <a:pt x="430" y="844"/>
                    </a:cubicBezTo>
                    <a:cubicBezTo>
                      <a:pt x="427" y="847"/>
                      <a:pt x="427" y="847"/>
                      <a:pt x="427" y="847"/>
                    </a:cubicBezTo>
                    <a:cubicBezTo>
                      <a:pt x="427" y="849"/>
                      <a:pt x="427" y="849"/>
                      <a:pt x="427" y="849"/>
                    </a:cubicBezTo>
                    <a:cubicBezTo>
                      <a:pt x="424" y="850"/>
                      <a:pt x="424" y="850"/>
                      <a:pt x="424" y="850"/>
                    </a:cubicBezTo>
                    <a:cubicBezTo>
                      <a:pt x="423" y="852"/>
                      <a:pt x="423" y="852"/>
                      <a:pt x="423" y="852"/>
                    </a:cubicBezTo>
                    <a:cubicBezTo>
                      <a:pt x="423" y="854"/>
                      <a:pt x="423" y="854"/>
                      <a:pt x="423" y="854"/>
                    </a:cubicBezTo>
                    <a:cubicBezTo>
                      <a:pt x="426" y="855"/>
                      <a:pt x="426" y="855"/>
                      <a:pt x="426" y="855"/>
                    </a:cubicBezTo>
                    <a:cubicBezTo>
                      <a:pt x="438" y="845"/>
                      <a:pt x="438" y="845"/>
                      <a:pt x="438" y="845"/>
                    </a:cubicBezTo>
                    <a:cubicBezTo>
                      <a:pt x="444" y="837"/>
                      <a:pt x="444" y="837"/>
                      <a:pt x="444" y="837"/>
                    </a:cubicBezTo>
                    <a:cubicBezTo>
                      <a:pt x="452" y="819"/>
                      <a:pt x="452" y="819"/>
                      <a:pt x="452" y="819"/>
                    </a:cubicBezTo>
                    <a:cubicBezTo>
                      <a:pt x="456" y="810"/>
                      <a:pt x="456" y="810"/>
                      <a:pt x="456" y="810"/>
                    </a:cubicBezTo>
                    <a:cubicBezTo>
                      <a:pt x="459" y="799"/>
                      <a:pt x="459" y="799"/>
                      <a:pt x="459" y="799"/>
                    </a:cubicBezTo>
                    <a:cubicBezTo>
                      <a:pt x="467" y="780"/>
                      <a:pt x="467" y="780"/>
                      <a:pt x="467" y="780"/>
                    </a:cubicBezTo>
                    <a:cubicBezTo>
                      <a:pt x="475" y="768"/>
                      <a:pt x="475" y="768"/>
                      <a:pt x="475" y="768"/>
                    </a:cubicBezTo>
                    <a:cubicBezTo>
                      <a:pt x="477" y="765"/>
                      <a:pt x="477" y="765"/>
                      <a:pt x="477" y="765"/>
                    </a:cubicBezTo>
                    <a:cubicBezTo>
                      <a:pt x="476" y="764"/>
                      <a:pt x="476" y="764"/>
                      <a:pt x="476" y="764"/>
                    </a:cubicBezTo>
                    <a:cubicBezTo>
                      <a:pt x="476" y="761"/>
                      <a:pt x="476" y="761"/>
                      <a:pt x="476" y="761"/>
                    </a:cubicBezTo>
                    <a:cubicBezTo>
                      <a:pt x="478" y="760"/>
                      <a:pt x="478" y="760"/>
                      <a:pt x="478" y="760"/>
                    </a:cubicBezTo>
                    <a:cubicBezTo>
                      <a:pt x="479" y="755"/>
                      <a:pt x="479" y="755"/>
                      <a:pt x="479" y="755"/>
                    </a:cubicBezTo>
                    <a:cubicBezTo>
                      <a:pt x="482" y="753"/>
                      <a:pt x="482" y="753"/>
                      <a:pt x="482" y="753"/>
                    </a:cubicBezTo>
                    <a:cubicBezTo>
                      <a:pt x="481" y="749"/>
                      <a:pt x="481" y="749"/>
                      <a:pt x="481" y="749"/>
                    </a:cubicBezTo>
                    <a:cubicBezTo>
                      <a:pt x="482" y="747"/>
                      <a:pt x="482" y="747"/>
                      <a:pt x="482" y="747"/>
                    </a:cubicBezTo>
                    <a:cubicBezTo>
                      <a:pt x="481" y="745"/>
                      <a:pt x="481" y="745"/>
                      <a:pt x="481" y="745"/>
                    </a:cubicBezTo>
                    <a:cubicBezTo>
                      <a:pt x="479" y="744"/>
                      <a:pt x="479" y="744"/>
                      <a:pt x="479" y="744"/>
                    </a:cubicBezTo>
                    <a:cubicBezTo>
                      <a:pt x="480" y="739"/>
                      <a:pt x="480" y="739"/>
                      <a:pt x="480" y="739"/>
                    </a:cubicBezTo>
                    <a:cubicBezTo>
                      <a:pt x="476" y="733"/>
                      <a:pt x="476" y="733"/>
                      <a:pt x="476" y="733"/>
                    </a:cubicBezTo>
                    <a:cubicBezTo>
                      <a:pt x="476" y="731"/>
                      <a:pt x="476" y="731"/>
                      <a:pt x="476" y="731"/>
                    </a:cubicBezTo>
                    <a:cubicBezTo>
                      <a:pt x="477" y="728"/>
                      <a:pt x="477" y="728"/>
                      <a:pt x="477" y="728"/>
                    </a:cubicBezTo>
                    <a:cubicBezTo>
                      <a:pt x="476" y="725"/>
                      <a:pt x="476" y="725"/>
                      <a:pt x="476" y="725"/>
                    </a:cubicBezTo>
                    <a:cubicBezTo>
                      <a:pt x="475" y="719"/>
                      <a:pt x="475" y="719"/>
                      <a:pt x="475" y="719"/>
                    </a:cubicBezTo>
                    <a:cubicBezTo>
                      <a:pt x="473" y="712"/>
                      <a:pt x="473" y="712"/>
                      <a:pt x="473" y="712"/>
                    </a:cubicBezTo>
                    <a:cubicBezTo>
                      <a:pt x="474" y="711"/>
                      <a:pt x="474" y="711"/>
                      <a:pt x="474" y="711"/>
                    </a:cubicBezTo>
                    <a:cubicBezTo>
                      <a:pt x="479" y="710"/>
                      <a:pt x="479" y="710"/>
                      <a:pt x="479" y="710"/>
                    </a:cubicBezTo>
                    <a:cubicBezTo>
                      <a:pt x="478" y="706"/>
                      <a:pt x="478" y="706"/>
                      <a:pt x="478" y="706"/>
                    </a:cubicBezTo>
                    <a:cubicBezTo>
                      <a:pt x="476" y="704"/>
                      <a:pt x="476" y="704"/>
                      <a:pt x="476" y="704"/>
                    </a:cubicBezTo>
                    <a:cubicBezTo>
                      <a:pt x="480" y="703"/>
                      <a:pt x="480" y="703"/>
                      <a:pt x="480" y="703"/>
                    </a:cubicBezTo>
                    <a:cubicBezTo>
                      <a:pt x="480" y="699"/>
                      <a:pt x="480" y="699"/>
                      <a:pt x="480" y="699"/>
                    </a:cubicBezTo>
                    <a:cubicBezTo>
                      <a:pt x="476" y="697"/>
                      <a:pt x="476" y="697"/>
                      <a:pt x="476" y="697"/>
                    </a:cubicBezTo>
                    <a:cubicBezTo>
                      <a:pt x="479" y="695"/>
                      <a:pt x="479" y="695"/>
                      <a:pt x="479" y="695"/>
                    </a:cubicBezTo>
                    <a:cubicBezTo>
                      <a:pt x="482" y="691"/>
                      <a:pt x="482" y="691"/>
                      <a:pt x="482" y="691"/>
                    </a:cubicBezTo>
                    <a:cubicBezTo>
                      <a:pt x="484" y="693"/>
                      <a:pt x="484" y="693"/>
                      <a:pt x="484" y="693"/>
                    </a:cubicBezTo>
                    <a:cubicBezTo>
                      <a:pt x="489" y="686"/>
                      <a:pt x="489" y="686"/>
                      <a:pt x="489" y="686"/>
                    </a:cubicBezTo>
                    <a:cubicBezTo>
                      <a:pt x="493" y="684"/>
                      <a:pt x="493" y="684"/>
                      <a:pt x="493" y="684"/>
                    </a:cubicBezTo>
                    <a:cubicBezTo>
                      <a:pt x="493" y="682"/>
                      <a:pt x="493" y="682"/>
                      <a:pt x="493" y="682"/>
                    </a:cubicBezTo>
                    <a:cubicBezTo>
                      <a:pt x="497" y="677"/>
                      <a:pt x="497" y="677"/>
                      <a:pt x="497" y="677"/>
                    </a:cubicBezTo>
                    <a:cubicBezTo>
                      <a:pt x="503" y="672"/>
                      <a:pt x="503" y="672"/>
                      <a:pt x="503" y="672"/>
                    </a:cubicBezTo>
                    <a:cubicBezTo>
                      <a:pt x="511" y="662"/>
                      <a:pt x="511" y="662"/>
                      <a:pt x="511" y="662"/>
                    </a:cubicBezTo>
                    <a:cubicBezTo>
                      <a:pt x="517" y="661"/>
                      <a:pt x="517" y="661"/>
                      <a:pt x="517" y="661"/>
                    </a:cubicBezTo>
                    <a:cubicBezTo>
                      <a:pt x="521" y="657"/>
                      <a:pt x="521" y="657"/>
                      <a:pt x="521" y="657"/>
                    </a:cubicBezTo>
                    <a:cubicBezTo>
                      <a:pt x="525" y="653"/>
                      <a:pt x="525" y="653"/>
                      <a:pt x="525" y="653"/>
                    </a:cubicBezTo>
                    <a:cubicBezTo>
                      <a:pt x="528" y="653"/>
                      <a:pt x="528" y="653"/>
                      <a:pt x="528" y="653"/>
                    </a:cubicBezTo>
                    <a:cubicBezTo>
                      <a:pt x="531" y="655"/>
                      <a:pt x="531" y="655"/>
                      <a:pt x="531" y="655"/>
                    </a:cubicBezTo>
                    <a:cubicBezTo>
                      <a:pt x="533" y="656"/>
                      <a:pt x="533" y="656"/>
                      <a:pt x="533" y="656"/>
                    </a:cubicBezTo>
                    <a:cubicBezTo>
                      <a:pt x="534" y="653"/>
                      <a:pt x="534" y="653"/>
                      <a:pt x="534" y="653"/>
                    </a:cubicBezTo>
                    <a:cubicBezTo>
                      <a:pt x="536" y="647"/>
                      <a:pt x="536" y="647"/>
                      <a:pt x="536" y="647"/>
                    </a:cubicBezTo>
                    <a:cubicBezTo>
                      <a:pt x="544" y="641"/>
                      <a:pt x="544" y="641"/>
                      <a:pt x="544" y="641"/>
                    </a:cubicBezTo>
                    <a:cubicBezTo>
                      <a:pt x="547" y="640"/>
                      <a:pt x="547" y="640"/>
                      <a:pt x="547" y="640"/>
                    </a:cubicBezTo>
                    <a:cubicBezTo>
                      <a:pt x="547" y="639"/>
                      <a:pt x="547" y="639"/>
                      <a:pt x="547" y="639"/>
                    </a:cubicBezTo>
                    <a:cubicBezTo>
                      <a:pt x="545" y="637"/>
                      <a:pt x="545" y="637"/>
                      <a:pt x="545" y="637"/>
                    </a:cubicBezTo>
                    <a:cubicBezTo>
                      <a:pt x="543" y="636"/>
                      <a:pt x="543" y="636"/>
                      <a:pt x="543" y="636"/>
                    </a:cubicBezTo>
                    <a:cubicBezTo>
                      <a:pt x="542" y="634"/>
                      <a:pt x="542" y="634"/>
                      <a:pt x="542" y="634"/>
                    </a:cubicBezTo>
                    <a:cubicBezTo>
                      <a:pt x="544" y="633"/>
                      <a:pt x="544" y="633"/>
                      <a:pt x="544" y="633"/>
                    </a:cubicBezTo>
                    <a:cubicBezTo>
                      <a:pt x="549" y="630"/>
                      <a:pt x="549" y="630"/>
                      <a:pt x="549" y="630"/>
                    </a:cubicBezTo>
                    <a:cubicBezTo>
                      <a:pt x="552" y="630"/>
                      <a:pt x="552" y="630"/>
                      <a:pt x="552" y="630"/>
                    </a:cubicBezTo>
                    <a:cubicBezTo>
                      <a:pt x="555" y="630"/>
                      <a:pt x="555" y="630"/>
                      <a:pt x="555" y="630"/>
                    </a:cubicBezTo>
                    <a:cubicBezTo>
                      <a:pt x="557" y="628"/>
                      <a:pt x="557" y="628"/>
                      <a:pt x="557" y="628"/>
                    </a:cubicBezTo>
                    <a:cubicBezTo>
                      <a:pt x="560" y="628"/>
                      <a:pt x="560" y="628"/>
                      <a:pt x="560" y="628"/>
                    </a:cubicBezTo>
                    <a:cubicBezTo>
                      <a:pt x="560" y="630"/>
                      <a:pt x="560" y="630"/>
                      <a:pt x="560" y="630"/>
                    </a:cubicBezTo>
                    <a:cubicBezTo>
                      <a:pt x="556" y="633"/>
                      <a:pt x="556" y="633"/>
                      <a:pt x="556" y="633"/>
                    </a:cubicBezTo>
                    <a:cubicBezTo>
                      <a:pt x="551" y="634"/>
                      <a:pt x="551" y="634"/>
                      <a:pt x="551" y="634"/>
                    </a:cubicBezTo>
                    <a:cubicBezTo>
                      <a:pt x="550" y="635"/>
                      <a:pt x="550" y="635"/>
                      <a:pt x="550" y="635"/>
                    </a:cubicBezTo>
                    <a:cubicBezTo>
                      <a:pt x="552" y="637"/>
                      <a:pt x="552" y="637"/>
                      <a:pt x="552" y="637"/>
                    </a:cubicBezTo>
                    <a:cubicBezTo>
                      <a:pt x="559" y="634"/>
                      <a:pt x="559" y="634"/>
                      <a:pt x="559" y="634"/>
                    </a:cubicBezTo>
                    <a:cubicBezTo>
                      <a:pt x="567" y="630"/>
                      <a:pt x="567" y="630"/>
                      <a:pt x="567" y="630"/>
                    </a:cubicBezTo>
                    <a:cubicBezTo>
                      <a:pt x="566" y="628"/>
                      <a:pt x="566" y="628"/>
                      <a:pt x="566" y="628"/>
                    </a:cubicBezTo>
                    <a:cubicBezTo>
                      <a:pt x="569" y="626"/>
                      <a:pt x="569" y="626"/>
                      <a:pt x="569" y="626"/>
                    </a:cubicBezTo>
                    <a:cubicBezTo>
                      <a:pt x="571" y="626"/>
                      <a:pt x="571" y="626"/>
                      <a:pt x="571" y="626"/>
                    </a:cubicBezTo>
                    <a:cubicBezTo>
                      <a:pt x="570" y="629"/>
                      <a:pt x="570" y="629"/>
                      <a:pt x="570" y="629"/>
                    </a:cubicBezTo>
                    <a:cubicBezTo>
                      <a:pt x="570" y="629"/>
                      <a:pt x="570" y="632"/>
                      <a:pt x="570" y="632"/>
                    </a:cubicBezTo>
                    <a:cubicBezTo>
                      <a:pt x="571" y="632"/>
                      <a:pt x="576" y="633"/>
                      <a:pt x="576" y="633"/>
                    </a:cubicBezTo>
                    <a:cubicBezTo>
                      <a:pt x="579" y="631"/>
                      <a:pt x="579" y="631"/>
                      <a:pt x="579" y="631"/>
                    </a:cubicBezTo>
                    <a:cubicBezTo>
                      <a:pt x="584" y="631"/>
                      <a:pt x="584" y="631"/>
                      <a:pt x="584" y="631"/>
                    </a:cubicBezTo>
                    <a:cubicBezTo>
                      <a:pt x="590" y="632"/>
                      <a:pt x="590" y="632"/>
                      <a:pt x="590" y="632"/>
                    </a:cubicBezTo>
                    <a:cubicBezTo>
                      <a:pt x="593" y="629"/>
                      <a:pt x="593" y="629"/>
                      <a:pt x="593" y="629"/>
                    </a:cubicBezTo>
                    <a:cubicBezTo>
                      <a:pt x="594" y="627"/>
                      <a:pt x="594" y="627"/>
                      <a:pt x="594" y="627"/>
                    </a:cubicBezTo>
                    <a:cubicBezTo>
                      <a:pt x="593" y="626"/>
                      <a:pt x="593" y="626"/>
                      <a:pt x="593" y="626"/>
                    </a:cubicBezTo>
                    <a:cubicBezTo>
                      <a:pt x="593" y="624"/>
                      <a:pt x="593" y="624"/>
                      <a:pt x="593" y="624"/>
                    </a:cubicBezTo>
                    <a:cubicBezTo>
                      <a:pt x="601" y="617"/>
                      <a:pt x="601" y="617"/>
                      <a:pt x="601" y="617"/>
                    </a:cubicBezTo>
                    <a:cubicBezTo>
                      <a:pt x="608" y="614"/>
                      <a:pt x="608" y="614"/>
                      <a:pt x="608" y="614"/>
                    </a:cubicBezTo>
                    <a:cubicBezTo>
                      <a:pt x="612" y="611"/>
                      <a:pt x="612" y="611"/>
                      <a:pt x="612" y="611"/>
                    </a:cubicBezTo>
                    <a:cubicBezTo>
                      <a:pt x="613" y="609"/>
                      <a:pt x="613" y="609"/>
                      <a:pt x="613" y="609"/>
                    </a:cubicBezTo>
                    <a:cubicBezTo>
                      <a:pt x="612" y="607"/>
                      <a:pt x="612" y="607"/>
                      <a:pt x="612" y="607"/>
                    </a:cubicBezTo>
                    <a:cubicBezTo>
                      <a:pt x="609" y="599"/>
                      <a:pt x="609" y="599"/>
                      <a:pt x="609" y="599"/>
                    </a:cubicBezTo>
                    <a:cubicBezTo>
                      <a:pt x="611" y="593"/>
                      <a:pt x="611" y="593"/>
                      <a:pt x="611" y="593"/>
                    </a:cubicBezTo>
                    <a:cubicBezTo>
                      <a:pt x="614" y="589"/>
                      <a:pt x="614" y="589"/>
                      <a:pt x="614" y="589"/>
                    </a:cubicBezTo>
                    <a:cubicBezTo>
                      <a:pt x="614" y="585"/>
                      <a:pt x="614" y="585"/>
                      <a:pt x="614" y="585"/>
                    </a:cubicBezTo>
                    <a:cubicBezTo>
                      <a:pt x="616" y="583"/>
                      <a:pt x="616" y="583"/>
                      <a:pt x="616" y="583"/>
                    </a:cubicBezTo>
                    <a:cubicBezTo>
                      <a:pt x="619" y="581"/>
                      <a:pt x="619" y="581"/>
                      <a:pt x="619" y="581"/>
                    </a:cubicBezTo>
                    <a:cubicBezTo>
                      <a:pt x="619" y="576"/>
                      <a:pt x="619" y="576"/>
                      <a:pt x="619" y="576"/>
                    </a:cubicBezTo>
                    <a:cubicBezTo>
                      <a:pt x="618" y="576"/>
                      <a:pt x="618" y="576"/>
                      <a:pt x="618" y="576"/>
                    </a:cubicBezTo>
                    <a:cubicBezTo>
                      <a:pt x="623" y="566"/>
                      <a:pt x="623" y="566"/>
                      <a:pt x="623" y="566"/>
                    </a:cubicBezTo>
                    <a:cubicBezTo>
                      <a:pt x="630" y="556"/>
                      <a:pt x="630" y="556"/>
                      <a:pt x="630" y="556"/>
                    </a:cubicBezTo>
                    <a:cubicBezTo>
                      <a:pt x="630" y="551"/>
                      <a:pt x="630" y="551"/>
                      <a:pt x="630" y="551"/>
                    </a:cubicBezTo>
                    <a:cubicBezTo>
                      <a:pt x="629" y="538"/>
                      <a:pt x="629" y="538"/>
                      <a:pt x="629" y="538"/>
                    </a:cubicBezTo>
                    <a:cubicBezTo>
                      <a:pt x="628" y="535"/>
                      <a:pt x="628" y="535"/>
                      <a:pt x="628" y="535"/>
                    </a:cubicBezTo>
                    <a:cubicBezTo>
                      <a:pt x="630" y="527"/>
                      <a:pt x="630" y="527"/>
                      <a:pt x="630" y="527"/>
                    </a:cubicBezTo>
                    <a:cubicBezTo>
                      <a:pt x="632" y="523"/>
                      <a:pt x="632" y="523"/>
                      <a:pt x="632" y="523"/>
                    </a:cubicBezTo>
                    <a:cubicBezTo>
                      <a:pt x="632" y="520"/>
                      <a:pt x="632" y="520"/>
                      <a:pt x="632" y="520"/>
                    </a:cubicBezTo>
                    <a:cubicBezTo>
                      <a:pt x="638" y="515"/>
                      <a:pt x="638" y="515"/>
                      <a:pt x="638" y="515"/>
                    </a:cubicBezTo>
                    <a:cubicBezTo>
                      <a:pt x="638" y="513"/>
                      <a:pt x="638" y="513"/>
                      <a:pt x="638" y="513"/>
                    </a:cubicBezTo>
                    <a:cubicBezTo>
                      <a:pt x="637" y="505"/>
                      <a:pt x="637" y="505"/>
                      <a:pt x="637" y="505"/>
                    </a:cubicBezTo>
                    <a:cubicBezTo>
                      <a:pt x="640" y="495"/>
                      <a:pt x="640" y="495"/>
                      <a:pt x="640" y="495"/>
                    </a:cubicBezTo>
                    <a:cubicBezTo>
                      <a:pt x="639" y="487"/>
                      <a:pt x="639" y="487"/>
                      <a:pt x="639" y="487"/>
                    </a:cubicBezTo>
                    <a:cubicBezTo>
                      <a:pt x="640" y="482"/>
                      <a:pt x="640" y="482"/>
                      <a:pt x="640" y="482"/>
                    </a:cubicBezTo>
                    <a:cubicBezTo>
                      <a:pt x="640" y="478"/>
                      <a:pt x="640" y="478"/>
                      <a:pt x="640" y="478"/>
                    </a:cubicBezTo>
                    <a:cubicBezTo>
                      <a:pt x="642" y="470"/>
                      <a:pt x="642" y="470"/>
                      <a:pt x="642" y="470"/>
                    </a:cubicBezTo>
                    <a:cubicBezTo>
                      <a:pt x="640" y="440"/>
                      <a:pt x="640" y="440"/>
                      <a:pt x="640" y="440"/>
                    </a:cubicBezTo>
                    <a:cubicBezTo>
                      <a:pt x="640" y="435"/>
                      <a:pt x="640" y="435"/>
                      <a:pt x="640" y="435"/>
                    </a:cubicBezTo>
                    <a:cubicBezTo>
                      <a:pt x="641" y="431"/>
                      <a:pt x="641" y="431"/>
                      <a:pt x="641" y="431"/>
                    </a:cubicBezTo>
                    <a:cubicBezTo>
                      <a:pt x="641" y="427"/>
                      <a:pt x="641" y="427"/>
                      <a:pt x="641" y="427"/>
                    </a:cubicBezTo>
                    <a:cubicBezTo>
                      <a:pt x="640" y="429"/>
                      <a:pt x="640" y="429"/>
                      <a:pt x="640" y="429"/>
                    </a:cubicBezTo>
                    <a:cubicBezTo>
                      <a:pt x="637" y="426"/>
                      <a:pt x="637" y="426"/>
                      <a:pt x="637" y="426"/>
                    </a:cubicBezTo>
                    <a:cubicBezTo>
                      <a:pt x="637" y="424"/>
                      <a:pt x="637" y="424"/>
                      <a:pt x="637" y="424"/>
                    </a:cubicBezTo>
                    <a:cubicBezTo>
                      <a:pt x="639" y="419"/>
                      <a:pt x="639" y="419"/>
                      <a:pt x="639" y="419"/>
                    </a:cubicBezTo>
                    <a:cubicBezTo>
                      <a:pt x="639" y="414"/>
                      <a:pt x="639" y="414"/>
                      <a:pt x="639" y="414"/>
                    </a:cubicBezTo>
                    <a:cubicBezTo>
                      <a:pt x="639" y="411"/>
                      <a:pt x="639" y="411"/>
                      <a:pt x="639" y="411"/>
                    </a:cubicBezTo>
                    <a:cubicBezTo>
                      <a:pt x="642" y="410"/>
                      <a:pt x="642" y="410"/>
                      <a:pt x="642" y="410"/>
                    </a:cubicBezTo>
                    <a:cubicBezTo>
                      <a:pt x="642" y="405"/>
                      <a:pt x="642" y="405"/>
                      <a:pt x="642" y="405"/>
                    </a:cubicBezTo>
                    <a:cubicBezTo>
                      <a:pt x="640" y="400"/>
                      <a:pt x="640" y="400"/>
                      <a:pt x="640" y="400"/>
                    </a:cubicBezTo>
                    <a:cubicBezTo>
                      <a:pt x="635" y="397"/>
                      <a:pt x="635" y="397"/>
                      <a:pt x="635" y="397"/>
                    </a:cubicBezTo>
                    <a:cubicBezTo>
                      <a:pt x="636" y="397"/>
                      <a:pt x="636" y="397"/>
                      <a:pt x="636" y="397"/>
                    </a:cubicBezTo>
                    <a:cubicBezTo>
                      <a:pt x="637" y="395"/>
                      <a:pt x="637" y="395"/>
                      <a:pt x="637" y="395"/>
                    </a:cubicBezTo>
                    <a:cubicBezTo>
                      <a:pt x="638" y="397"/>
                      <a:pt x="638" y="397"/>
                      <a:pt x="638" y="397"/>
                    </a:cubicBezTo>
                    <a:cubicBezTo>
                      <a:pt x="641" y="399"/>
                      <a:pt x="641" y="399"/>
                      <a:pt x="641" y="399"/>
                    </a:cubicBezTo>
                    <a:cubicBezTo>
                      <a:pt x="643" y="400"/>
                      <a:pt x="643" y="400"/>
                      <a:pt x="643" y="400"/>
                    </a:cubicBezTo>
                    <a:cubicBezTo>
                      <a:pt x="644" y="396"/>
                      <a:pt x="644" y="396"/>
                      <a:pt x="644" y="396"/>
                    </a:cubicBezTo>
                    <a:cubicBezTo>
                      <a:pt x="647" y="396"/>
                      <a:pt x="647" y="396"/>
                      <a:pt x="647" y="396"/>
                    </a:cubicBezTo>
                    <a:cubicBezTo>
                      <a:pt x="648" y="398"/>
                      <a:pt x="648" y="398"/>
                      <a:pt x="648" y="398"/>
                    </a:cubicBezTo>
                    <a:cubicBezTo>
                      <a:pt x="650" y="399"/>
                      <a:pt x="650" y="399"/>
                      <a:pt x="650" y="399"/>
                    </a:cubicBezTo>
                    <a:cubicBezTo>
                      <a:pt x="648" y="403"/>
                      <a:pt x="648" y="403"/>
                      <a:pt x="648" y="403"/>
                    </a:cubicBezTo>
                    <a:cubicBezTo>
                      <a:pt x="645" y="405"/>
                      <a:pt x="645" y="405"/>
                      <a:pt x="645" y="405"/>
                    </a:cubicBezTo>
                    <a:cubicBezTo>
                      <a:pt x="644" y="408"/>
                      <a:pt x="644" y="408"/>
                      <a:pt x="644" y="408"/>
                    </a:cubicBezTo>
                    <a:cubicBezTo>
                      <a:pt x="646" y="408"/>
                      <a:pt x="646" y="408"/>
                      <a:pt x="646" y="408"/>
                    </a:cubicBezTo>
                    <a:cubicBezTo>
                      <a:pt x="650" y="404"/>
                      <a:pt x="650" y="404"/>
                      <a:pt x="650" y="404"/>
                    </a:cubicBezTo>
                    <a:cubicBezTo>
                      <a:pt x="655" y="401"/>
                      <a:pt x="655" y="401"/>
                      <a:pt x="655" y="401"/>
                    </a:cubicBezTo>
                    <a:cubicBezTo>
                      <a:pt x="661" y="390"/>
                      <a:pt x="661" y="390"/>
                      <a:pt x="661" y="390"/>
                    </a:cubicBezTo>
                    <a:cubicBezTo>
                      <a:pt x="664" y="381"/>
                      <a:pt x="664" y="381"/>
                      <a:pt x="664" y="381"/>
                    </a:cubicBezTo>
                    <a:cubicBezTo>
                      <a:pt x="664" y="376"/>
                      <a:pt x="664" y="376"/>
                      <a:pt x="664" y="376"/>
                    </a:cubicBezTo>
                    <a:cubicBezTo>
                      <a:pt x="667" y="374"/>
                      <a:pt x="667" y="374"/>
                      <a:pt x="667" y="374"/>
                    </a:cubicBezTo>
                    <a:cubicBezTo>
                      <a:pt x="669" y="366"/>
                      <a:pt x="669" y="366"/>
                      <a:pt x="669" y="366"/>
                    </a:cubicBezTo>
                    <a:cubicBezTo>
                      <a:pt x="672" y="360"/>
                      <a:pt x="672" y="360"/>
                      <a:pt x="672" y="360"/>
                    </a:cubicBezTo>
                    <a:cubicBezTo>
                      <a:pt x="681" y="352"/>
                      <a:pt x="681" y="352"/>
                      <a:pt x="681" y="352"/>
                    </a:cubicBezTo>
                    <a:cubicBezTo>
                      <a:pt x="683" y="348"/>
                      <a:pt x="683" y="348"/>
                      <a:pt x="683" y="348"/>
                    </a:cubicBezTo>
                    <a:cubicBezTo>
                      <a:pt x="685" y="347"/>
                      <a:pt x="685" y="347"/>
                      <a:pt x="685" y="347"/>
                    </a:cubicBezTo>
                    <a:cubicBezTo>
                      <a:pt x="688" y="343"/>
                      <a:pt x="688" y="343"/>
                      <a:pt x="688" y="343"/>
                    </a:cubicBezTo>
                    <a:cubicBezTo>
                      <a:pt x="696" y="334"/>
                      <a:pt x="696" y="334"/>
                      <a:pt x="696" y="334"/>
                    </a:cubicBezTo>
                    <a:cubicBezTo>
                      <a:pt x="703" y="322"/>
                      <a:pt x="703" y="322"/>
                      <a:pt x="703" y="322"/>
                    </a:cubicBezTo>
                    <a:cubicBezTo>
                      <a:pt x="705" y="319"/>
                      <a:pt x="705" y="319"/>
                      <a:pt x="705" y="319"/>
                    </a:cubicBezTo>
                    <a:cubicBezTo>
                      <a:pt x="709" y="307"/>
                      <a:pt x="709" y="307"/>
                      <a:pt x="709" y="307"/>
                    </a:cubicBezTo>
                    <a:cubicBezTo>
                      <a:pt x="710" y="302"/>
                      <a:pt x="710" y="302"/>
                      <a:pt x="710" y="302"/>
                    </a:cubicBezTo>
                    <a:cubicBezTo>
                      <a:pt x="713" y="298"/>
                      <a:pt x="713" y="298"/>
                      <a:pt x="713" y="298"/>
                    </a:cubicBezTo>
                    <a:cubicBezTo>
                      <a:pt x="713" y="295"/>
                      <a:pt x="713" y="295"/>
                      <a:pt x="713" y="295"/>
                    </a:cubicBezTo>
                    <a:cubicBezTo>
                      <a:pt x="710" y="290"/>
                      <a:pt x="710" y="290"/>
                      <a:pt x="710" y="290"/>
                    </a:cubicBezTo>
                    <a:cubicBezTo>
                      <a:pt x="711" y="286"/>
                      <a:pt x="711" y="286"/>
                      <a:pt x="711" y="286"/>
                    </a:cubicBezTo>
                    <a:lnTo>
                      <a:pt x="713" y="284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3" name="Freeform 1297">
                <a:extLst>
                  <a:ext uri="{FF2B5EF4-FFF2-40B4-BE49-F238E27FC236}">
                    <a16:creationId xmlns:a16="http://schemas.microsoft.com/office/drawing/2014/main" id="{3FA9ABD8-C9F1-463F-B97E-CD5755492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0101" y="4449763"/>
                <a:ext cx="3175" cy="7938"/>
              </a:xfrm>
              <a:custGeom>
                <a:avLst/>
                <a:gdLst>
                  <a:gd name="T0" fmla="*/ 0 w 2"/>
                  <a:gd name="T1" fmla="*/ 2 h 5"/>
                  <a:gd name="T2" fmla="*/ 1 w 2"/>
                  <a:gd name="T3" fmla="*/ 4 h 5"/>
                  <a:gd name="T4" fmla="*/ 2 w 2"/>
                  <a:gd name="T5" fmla="*/ 5 h 5"/>
                  <a:gd name="T6" fmla="*/ 2 w 2"/>
                  <a:gd name="T7" fmla="*/ 2 h 5"/>
                  <a:gd name="T8" fmla="*/ 2 w 2"/>
                  <a:gd name="T9" fmla="*/ 1 h 5"/>
                  <a:gd name="T10" fmla="*/ 1 w 2"/>
                  <a:gd name="T11" fmla="*/ 0 h 5"/>
                  <a:gd name="T12" fmla="*/ 0 w 2"/>
                  <a:gd name="T13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5">
                    <a:moveTo>
                      <a:pt x="0" y="2"/>
                    </a:moveTo>
                    <a:lnTo>
                      <a:pt x="1" y="4"/>
                    </a:lnTo>
                    <a:lnTo>
                      <a:pt x="2" y="5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4" name="Freeform 1298">
                <a:extLst>
                  <a:ext uri="{FF2B5EF4-FFF2-40B4-BE49-F238E27FC236}">
                    <a16:creationId xmlns:a16="http://schemas.microsoft.com/office/drawing/2014/main" id="{A58B9C76-CB23-45CF-8F2D-2C569242A0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2788" y="4298950"/>
                <a:ext cx="61913" cy="109538"/>
              </a:xfrm>
              <a:custGeom>
                <a:avLst/>
                <a:gdLst>
                  <a:gd name="T0" fmla="*/ 2 w 39"/>
                  <a:gd name="T1" fmla="*/ 6 h 69"/>
                  <a:gd name="T2" fmla="*/ 0 w 39"/>
                  <a:gd name="T3" fmla="*/ 9 h 69"/>
                  <a:gd name="T4" fmla="*/ 0 w 39"/>
                  <a:gd name="T5" fmla="*/ 13 h 69"/>
                  <a:gd name="T6" fmla="*/ 1 w 39"/>
                  <a:gd name="T7" fmla="*/ 17 h 69"/>
                  <a:gd name="T8" fmla="*/ 1 w 39"/>
                  <a:gd name="T9" fmla="*/ 21 h 69"/>
                  <a:gd name="T10" fmla="*/ 1 w 39"/>
                  <a:gd name="T11" fmla="*/ 24 h 69"/>
                  <a:gd name="T12" fmla="*/ 3 w 39"/>
                  <a:gd name="T13" fmla="*/ 26 h 69"/>
                  <a:gd name="T14" fmla="*/ 4 w 39"/>
                  <a:gd name="T15" fmla="*/ 28 h 69"/>
                  <a:gd name="T16" fmla="*/ 6 w 39"/>
                  <a:gd name="T17" fmla="*/ 31 h 69"/>
                  <a:gd name="T18" fmla="*/ 7 w 39"/>
                  <a:gd name="T19" fmla="*/ 35 h 69"/>
                  <a:gd name="T20" fmla="*/ 7 w 39"/>
                  <a:gd name="T21" fmla="*/ 37 h 69"/>
                  <a:gd name="T22" fmla="*/ 7 w 39"/>
                  <a:gd name="T23" fmla="*/ 39 h 69"/>
                  <a:gd name="T24" fmla="*/ 4 w 39"/>
                  <a:gd name="T25" fmla="*/ 42 h 69"/>
                  <a:gd name="T26" fmla="*/ 4 w 39"/>
                  <a:gd name="T27" fmla="*/ 46 h 69"/>
                  <a:gd name="T28" fmla="*/ 6 w 39"/>
                  <a:gd name="T29" fmla="*/ 48 h 69"/>
                  <a:gd name="T30" fmla="*/ 4 w 39"/>
                  <a:gd name="T31" fmla="*/ 52 h 69"/>
                  <a:gd name="T32" fmla="*/ 1 w 39"/>
                  <a:gd name="T33" fmla="*/ 55 h 69"/>
                  <a:gd name="T34" fmla="*/ 0 w 39"/>
                  <a:gd name="T35" fmla="*/ 55 h 69"/>
                  <a:gd name="T36" fmla="*/ 1 w 39"/>
                  <a:gd name="T37" fmla="*/ 56 h 69"/>
                  <a:gd name="T38" fmla="*/ 1 w 39"/>
                  <a:gd name="T39" fmla="*/ 59 h 69"/>
                  <a:gd name="T40" fmla="*/ 2 w 39"/>
                  <a:gd name="T41" fmla="*/ 60 h 69"/>
                  <a:gd name="T42" fmla="*/ 2 w 39"/>
                  <a:gd name="T43" fmla="*/ 62 h 69"/>
                  <a:gd name="T44" fmla="*/ 4 w 39"/>
                  <a:gd name="T45" fmla="*/ 65 h 69"/>
                  <a:gd name="T46" fmla="*/ 7 w 39"/>
                  <a:gd name="T47" fmla="*/ 65 h 69"/>
                  <a:gd name="T48" fmla="*/ 8 w 39"/>
                  <a:gd name="T49" fmla="*/ 63 h 69"/>
                  <a:gd name="T50" fmla="*/ 10 w 39"/>
                  <a:gd name="T51" fmla="*/ 62 h 69"/>
                  <a:gd name="T52" fmla="*/ 11 w 39"/>
                  <a:gd name="T53" fmla="*/ 62 h 69"/>
                  <a:gd name="T54" fmla="*/ 12 w 39"/>
                  <a:gd name="T55" fmla="*/ 63 h 69"/>
                  <a:gd name="T56" fmla="*/ 13 w 39"/>
                  <a:gd name="T57" fmla="*/ 64 h 69"/>
                  <a:gd name="T58" fmla="*/ 13 w 39"/>
                  <a:gd name="T59" fmla="*/ 68 h 69"/>
                  <a:gd name="T60" fmla="*/ 14 w 39"/>
                  <a:gd name="T61" fmla="*/ 69 h 69"/>
                  <a:gd name="T62" fmla="*/ 18 w 39"/>
                  <a:gd name="T63" fmla="*/ 67 h 69"/>
                  <a:gd name="T64" fmla="*/ 18 w 39"/>
                  <a:gd name="T65" fmla="*/ 64 h 69"/>
                  <a:gd name="T66" fmla="*/ 19 w 39"/>
                  <a:gd name="T67" fmla="*/ 63 h 69"/>
                  <a:gd name="T68" fmla="*/ 21 w 39"/>
                  <a:gd name="T69" fmla="*/ 62 h 69"/>
                  <a:gd name="T70" fmla="*/ 24 w 39"/>
                  <a:gd name="T71" fmla="*/ 58 h 69"/>
                  <a:gd name="T72" fmla="*/ 26 w 39"/>
                  <a:gd name="T73" fmla="*/ 54 h 69"/>
                  <a:gd name="T74" fmla="*/ 28 w 39"/>
                  <a:gd name="T75" fmla="*/ 47 h 69"/>
                  <a:gd name="T76" fmla="*/ 28 w 39"/>
                  <a:gd name="T77" fmla="*/ 44 h 69"/>
                  <a:gd name="T78" fmla="*/ 32 w 39"/>
                  <a:gd name="T79" fmla="*/ 38 h 69"/>
                  <a:gd name="T80" fmla="*/ 35 w 39"/>
                  <a:gd name="T81" fmla="*/ 33 h 69"/>
                  <a:gd name="T82" fmla="*/ 37 w 39"/>
                  <a:gd name="T83" fmla="*/ 30 h 69"/>
                  <a:gd name="T84" fmla="*/ 37 w 39"/>
                  <a:gd name="T85" fmla="*/ 30 h 69"/>
                  <a:gd name="T86" fmla="*/ 39 w 39"/>
                  <a:gd name="T87" fmla="*/ 27 h 69"/>
                  <a:gd name="T88" fmla="*/ 39 w 39"/>
                  <a:gd name="T89" fmla="*/ 23 h 69"/>
                  <a:gd name="T90" fmla="*/ 37 w 39"/>
                  <a:gd name="T91" fmla="*/ 19 h 69"/>
                  <a:gd name="T92" fmla="*/ 35 w 39"/>
                  <a:gd name="T93" fmla="*/ 20 h 69"/>
                  <a:gd name="T94" fmla="*/ 34 w 39"/>
                  <a:gd name="T95" fmla="*/ 19 h 69"/>
                  <a:gd name="T96" fmla="*/ 33 w 39"/>
                  <a:gd name="T97" fmla="*/ 16 h 69"/>
                  <a:gd name="T98" fmla="*/ 28 w 39"/>
                  <a:gd name="T99" fmla="*/ 10 h 69"/>
                  <a:gd name="T100" fmla="*/ 27 w 39"/>
                  <a:gd name="T101" fmla="*/ 10 h 69"/>
                  <a:gd name="T102" fmla="*/ 24 w 39"/>
                  <a:gd name="T103" fmla="*/ 6 h 69"/>
                  <a:gd name="T104" fmla="*/ 16 w 39"/>
                  <a:gd name="T105" fmla="*/ 3 h 69"/>
                  <a:gd name="T106" fmla="*/ 12 w 39"/>
                  <a:gd name="T107" fmla="*/ 0 h 69"/>
                  <a:gd name="T108" fmla="*/ 8 w 39"/>
                  <a:gd name="T109" fmla="*/ 0 h 69"/>
                  <a:gd name="T110" fmla="*/ 6 w 39"/>
                  <a:gd name="T111" fmla="*/ 2 h 69"/>
                  <a:gd name="T112" fmla="*/ 3 w 39"/>
                  <a:gd name="T113" fmla="*/ 4 h 69"/>
                  <a:gd name="T114" fmla="*/ 3 w 39"/>
                  <a:gd name="T115" fmla="*/ 4 h 69"/>
                  <a:gd name="T116" fmla="*/ 3 w 39"/>
                  <a:gd name="T117" fmla="*/ 4 h 69"/>
                  <a:gd name="T118" fmla="*/ 2 w 39"/>
                  <a:gd name="T119" fmla="*/ 6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9" h="69">
                    <a:moveTo>
                      <a:pt x="2" y="6"/>
                    </a:moveTo>
                    <a:lnTo>
                      <a:pt x="0" y="9"/>
                    </a:lnTo>
                    <a:lnTo>
                      <a:pt x="0" y="13"/>
                    </a:lnTo>
                    <a:lnTo>
                      <a:pt x="1" y="17"/>
                    </a:lnTo>
                    <a:lnTo>
                      <a:pt x="1" y="21"/>
                    </a:lnTo>
                    <a:lnTo>
                      <a:pt x="1" y="24"/>
                    </a:lnTo>
                    <a:lnTo>
                      <a:pt x="3" y="26"/>
                    </a:lnTo>
                    <a:lnTo>
                      <a:pt x="4" y="28"/>
                    </a:lnTo>
                    <a:lnTo>
                      <a:pt x="6" y="31"/>
                    </a:lnTo>
                    <a:lnTo>
                      <a:pt x="7" y="35"/>
                    </a:lnTo>
                    <a:lnTo>
                      <a:pt x="7" y="37"/>
                    </a:lnTo>
                    <a:lnTo>
                      <a:pt x="7" y="39"/>
                    </a:lnTo>
                    <a:lnTo>
                      <a:pt x="4" y="42"/>
                    </a:lnTo>
                    <a:lnTo>
                      <a:pt x="4" y="46"/>
                    </a:lnTo>
                    <a:lnTo>
                      <a:pt x="6" y="48"/>
                    </a:lnTo>
                    <a:lnTo>
                      <a:pt x="4" y="52"/>
                    </a:lnTo>
                    <a:lnTo>
                      <a:pt x="1" y="55"/>
                    </a:lnTo>
                    <a:lnTo>
                      <a:pt x="0" y="55"/>
                    </a:lnTo>
                    <a:lnTo>
                      <a:pt x="1" y="56"/>
                    </a:lnTo>
                    <a:lnTo>
                      <a:pt x="1" y="59"/>
                    </a:lnTo>
                    <a:lnTo>
                      <a:pt x="2" y="60"/>
                    </a:lnTo>
                    <a:lnTo>
                      <a:pt x="2" y="62"/>
                    </a:lnTo>
                    <a:lnTo>
                      <a:pt x="4" y="65"/>
                    </a:lnTo>
                    <a:lnTo>
                      <a:pt x="7" y="65"/>
                    </a:lnTo>
                    <a:lnTo>
                      <a:pt x="8" y="63"/>
                    </a:lnTo>
                    <a:lnTo>
                      <a:pt x="10" y="62"/>
                    </a:lnTo>
                    <a:lnTo>
                      <a:pt x="11" y="62"/>
                    </a:lnTo>
                    <a:lnTo>
                      <a:pt x="12" y="63"/>
                    </a:lnTo>
                    <a:lnTo>
                      <a:pt x="13" y="64"/>
                    </a:lnTo>
                    <a:lnTo>
                      <a:pt x="13" y="68"/>
                    </a:lnTo>
                    <a:lnTo>
                      <a:pt x="14" y="69"/>
                    </a:lnTo>
                    <a:lnTo>
                      <a:pt x="18" y="67"/>
                    </a:lnTo>
                    <a:lnTo>
                      <a:pt x="18" y="64"/>
                    </a:lnTo>
                    <a:lnTo>
                      <a:pt x="19" y="63"/>
                    </a:lnTo>
                    <a:lnTo>
                      <a:pt x="21" y="62"/>
                    </a:lnTo>
                    <a:lnTo>
                      <a:pt x="24" y="58"/>
                    </a:lnTo>
                    <a:lnTo>
                      <a:pt x="26" y="54"/>
                    </a:lnTo>
                    <a:lnTo>
                      <a:pt x="28" y="47"/>
                    </a:lnTo>
                    <a:lnTo>
                      <a:pt x="28" y="44"/>
                    </a:lnTo>
                    <a:lnTo>
                      <a:pt x="32" y="38"/>
                    </a:lnTo>
                    <a:lnTo>
                      <a:pt x="35" y="33"/>
                    </a:lnTo>
                    <a:lnTo>
                      <a:pt x="37" y="30"/>
                    </a:lnTo>
                    <a:lnTo>
                      <a:pt x="37" y="30"/>
                    </a:lnTo>
                    <a:lnTo>
                      <a:pt x="39" y="27"/>
                    </a:lnTo>
                    <a:lnTo>
                      <a:pt x="39" y="23"/>
                    </a:lnTo>
                    <a:lnTo>
                      <a:pt x="37" y="19"/>
                    </a:lnTo>
                    <a:lnTo>
                      <a:pt x="35" y="20"/>
                    </a:lnTo>
                    <a:lnTo>
                      <a:pt x="34" y="19"/>
                    </a:lnTo>
                    <a:lnTo>
                      <a:pt x="33" y="16"/>
                    </a:lnTo>
                    <a:lnTo>
                      <a:pt x="28" y="10"/>
                    </a:lnTo>
                    <a:lnTo>
                      <a:pt x="27" y="10"/>
                    </a:lnTo>
                    <a:lnTo>
                      <a:pt x="24" y="6"/>
                    </a:lnTo>
                    <a:lnTo>
                      <a:pt x="16" y="3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5" name="Freeform 1299">
                <a:extLst>
                  <a:ext uri="{FF2B5EF4-FFF2-40B4-BE49-F238E27FC236}">
                    <a16:creationId xmlns:a16="http://schemas.microsoft.com/office/drawing/2014/main" id="{B40FAC0B-21E3-448F-82C8-3771809224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3413" y="4287838"/>
                <a:ext cx="90488" cy="117475"/>
              </a:xfrm>
              <a:custGeom>
                <a:avLst/>
                <a:gdLst>
                  <a:gd name="T0" fmla="*/ 13 w 57"/>
                  <a:gd name="T1" fmla="*/ 12 h 74"/>
                  <a:gd name="T2" fmla="*/ 8 w 57"/>
                  <a:gd name="T3" fmla="*/ 17 h 74"/>
                  <a:gd name="T4" fmla="*/ 2 w 57"/>
                  <a:gd name="T5" fmla="*/ 20 h 74"/>
                  <a:gd name="T6" fmla="*/ 0 w 57"/>
                  <a:gd name="T7" fmla="*/ 31 h 74"/>
                  <a:gd name="T8" fmla="*/ 3 w 57"/>
                  <a:gd name="T9" fmla="*/ 35 h 74"/>
                  <a:gd name="T10" fmla="*/ 5 w 57"/>
                  <a:gd name="T11" fmla="*/ 39 h 74"/>
                  <a:gd name="T12" fmla="*/ 7 w 57"/>
                  <a:gd name="T13" fmla="*/ 44 h 74"/>
                  <a:gd name="T14" fmla="*/ 10 w 57"/>
                  <a:gd name="T15" fmla="*/ 46 h 74"/>
                  <a:gd name="T16" fmla="*/ 12 w 57"/>
                  <a:gd name="T17" fmla="*/ 49 h 74"/>
                  <a:gd name="T18" fmla="*/ 13 w 57"/>
                  <a:gd name="T19" fmla="*/ 58 h 74"/>
                  <a:gd name="T20" fmla="*/ 16 w 57"/>
                  <a:gd name="T21" fmla="*/ 62 h 74"/>
                  <a:gd name="T22" fmla="*/ 19 w 57"/>
                  <a:gd name="T23" fmla="*/ 67 h 74"/>
                  <a:gd name="T24" fmla="*/ 20 w 57"/>
                  <a:gd name="T25" fmla="*/ 70 h 74"/>
                  <a:gd name="T26" fmla="*/ 23 w 57"/>
                  <a:gd name="T27" fmla="*/ 72 h 74"/>
                  <a:gd name="T28" fmla="*/ 25 w 57"/>
                  <a:gd name="T29" fmla="*/ 73 h 74"/>
                  <a:gd name="T30" fmla="*/ 31 w 57"/>
                  <a:gd name="T31" fmla="*/ 74 h 74"/>
                  <a:gd name="T32" fmla="*/ 30 w 57"/>
                  <a:gd name="T33" fmla="*/ 69 h 74"/>
                  <a:gd name="T34" fmla="*/ 26 w 57"/>
                  <a:gd name="T35" fmla="*/ 64 h 74"/>
                  <a:gd name="T36" fmla="*/ 30 w 57"/>
                  <a:gd name="T37" fmla="*/ 58 h 74"/>
                  <a:gd name="T38" fmla="*/ 39 w 57"/>
                  <a:gd name="T39" fmla="*/ 59 h 74"/>
                  <a:gd name="T40" fmla="*/ 45 w 57"/>
                  <a:gd name="T41" fmla="*/ 58 h 74"/>
                  <a:gd name="T42" fmla="*/ 50 w 57"/>
                  <a:gd name="T43" fmla="*/ 62 h 74"/>
                  <a:gd name="T44" fmla="*/ 54 w 57"/>
                  <a:gd name="T45" fmla="*/ 59 h 74"/>
                  <a:gd name="T46" fmla="*/ 54 w 57"/>
                  <a:gd name="T47" fmla="*/ 53 h 74"/>
                  <a:gd name="T48" fmla="*/ 57 w 57"/>
                  <a:gd name="T49" fmla="*/ 46 h 74"/>
                  <a:gd name="T50" fmla="*/ 57 w 57"/>
                  <a:gd name="T51" fmla="*/ 42 h 74"/>
                  <a:gd name="T52" fmla="*/ 54 w 57"/>
                  <a:gd name="T53" fmla="*/ 35 h 74"/>
                  <a:gd name="T54" fmla="*/ 51 w 57"/>
                  <a:gd name="T55" fmla="*/ 31 h 74"/>
                  <a:gd name="T56" fmla="*/ 51 w 57"/>
                  <a:gd name="T57" fmla="*/ 24 h 74"/>
                  <a:gd name="T58" fmla="*/ 50 w 57"/>
                  <a:gd name="T59" fmla="*/ 16 h 74"/>
                  <a:gd name="T60" fmla="*/ 53 w 57"/>
                  <a:gd name="T61" fmla="*/ 11 h 74"/>
                  <a:gd name="T62" fmla="*/ 56 w 57"/>
                  <a:gd name="T63" fmla="*/ 6 h 74"/>
                  <a:gd name="T64" fmla="*/ 53 w 57"/>
                  <a:gd name="T65" fmla="*/ 3 h 74"/>
                  <a:gd name="T66" fmla="*/ 42 w 57"/>
                  <a:gd name="T67" fmla="*/ 0 h 74"/>
                  <a:gd name="T68" fmla="*/ 38 w 57"/>
                  <a:gd name="T69" fmla="*/ 1 h 74"/>
                  <a:gd name="T70" fmla="*/ 28 w 57"/>
                  <a:gd name="T71" fmla="*/ 2 h 74"/>
                  <a:gd name="T72" fmla="*/ 17 w 57"/>
                  <a:gd name="T73" fmla="*/ 0 h 74"/>
                  <a:gd name="T74" fmla="*/ 13 w 57"/>
                  <a:gd name="T75" fmla="*/ 6 h 74"/>
                  <a:gd name="T76" fmla="*/ 13 w 57"/>
                  <a:gd name="T77" fmla="*/ 1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7" h="74">
                    <a:moveTo>
                      <a:pt x="13" y="10"/>
                    </a:moveTo>
                    <a:lnTo>
                      <a:pt x="13" y="12"/>
                    </a:lnTo>
                    <a:lnTo>
                      <a:pt x="10" y="15"/>
                    </a:lnTo>
                    <a:lnTo>
                      <a:pt x="8" y="17"/>
                    </a:lnTo>
                    <a:lnTo>
                      <a:pt x="5" y="17"/>
                    </a:lnTo>
                    <a:lnTo>
                      <a:pt x="2" y="20"/>
                    </a:lnTo>
                    <a:lnTo>
                      <a:pt x="2" y="24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3" y="35"/>
                    </a:lnTo>
                    <a:lnTo>
                      <a:pt x="5" y="37"/>
                    </a:lnTo>
                    <a:lnTo>
                      <a:pt x="5" y="39"/>
                    </a:lnTo>
                    <a:lnTo>
                      <a:pt x="6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0" y="46"/>
                    </a:lnTo>
                    <a:lnTo>
                      <a:pt x="11" y="47"/>
                    </a:lnTo>
                    <a:lnTo>
                      <a:pt x="12" y="49"/>
                    </a:lnTo>
                    <a:lnTo>
                      <a:pt x="13" y="55"/>
                    </a:lnTo>
                    <a:lnTo>
                      <a:pt x="13" y="58"/>
                    </a:lnTo>
                    <a:lnTo>
                      <a:pt x="14" y="59"/>
                    </a:lnTo>
                    <a:lnTo>
                      <a:pt x="16" y="62"/>
                    </a:lnTo>
                    <a:lnTo>
                      <a:pt x="17" y="65"/>
                    </a:lnTo>
                    <a:lnTo>
                      <a:pt x="19" y="67"/>
                    </a:lnTo>
                    <a:lnTo>
                      <a:pt x="19" y="69"/>
                    </a:lnTo>
                    <a:lnTo>
                      <a:pt x="20" y="70"/>
                    </a:lnTo>
                    <a:lnTo>
                      <a:pt x="23" y="72"/>
                    </a:lnTo>
                    <a:lnTo>
                      <a:pt x="23" y="72"/>
                    </a:lnTo>
                    <a:lnTo>
                      <a:pt x="24" y="72"/>
                    </a:lnTo>
                    <a:lnTo>
                      <a:pt x="25" y="73"/>
                    </a:lnTo>
                    <a:lnTo>
                      <a:pt x="29" y="74"/>
                    </a:lnTo>
                    <a:lnTo>
                      <a:pt x="31" y="74"/>
                    </a:lnTo>
                    <a:lnTo>
                      <a:pt x="31" y="73"/>
                    </a:lnTo>
                    <a:lnTo>
                      <a:pt x="30" y="69"/>
                    </a:lnTo>
                    <a:lnTo>
                      <a:pt x="30" y="67"/>
                    </a:lnTo>
                    <a:lnTo>
                      <a:pt x="26" y="64"/>
                    </a:lnTo>
                    <a:lnTo>
                      <a:pt x="27" y="61"/>
                    </a:lnTo>
                    <a:lnTo>
                      <a:pt x="30" y="58"/>
                    </a:lnTo>
                    <a:lnTo>
                      <a:pt x="33" y="60"/>
                    </a:lnTo>
                    <a:lnTo>
                      <a:pt x="39" y="59"/>
                    </a:lnTo>
                    <a:lnTo>
                      <a:pt x="42" y="58"/>
                    </a:lnTo>
                    <a:lnTo>
                      <a:pt x="45" y="58"/>
                    </a:lnTo>
                    <a:lnTo>
                      <a:pt x="48" y="62"/>
                    </a:lnTo>
                    <a:lnTo>
                      <a:pt x="50" y="62"/>
                    </a:lnTo>
                    <a:lnTo>
                      <a:pt x="51" y="62"/>
                    </a:lnTo>
                    <a:lnTo>
                      <a:pt x="54" y="59"/>
                    </a:lnTo>
                    <a:lnTo>
                      <a:pt x="56" y="55"/>
                    </a:lnTo>
                    <a:lnTo>
                      <a:pt x="54" y="53"/>
                    </a:lnTo>
                    <a:lnTo>
                      <a:pt x="54" y="49"/>
                    </a:lnTo>
                    <a:lnTo>
                      <a:pt x="57" y="46"/>
                    </a:lnTo>
                    <a:lnTo>
                      <a:pt x="57" y="44"/>
                    </a:lnTo>
                    <a:lnTo>
                      <a:pt x="57" y="42"/>
                    </a:lnTo>
                    <a:lnTo>
                      <a:pt x="56" y="38"/>
                    </a:lnTo>
                    <a:lnTo>
                      <a:pt x="54" y="35"/>
                    </a:lnTo>
                    <a:lnTo>
                      <a:pt x="53" y="33"/>
                    </a:lnTo>
                    <a:lnTo>
                      <a:pt x="51" y="31"/>
                    </a:lnTo>
                    <a:lnTo>
                      <a:pt x="51" y="28"/>
                    </a:lnTo>
                    <a:lnTo>
                      <a:pt x="51" y="24"/>
                    </a:lnTo>
                    <a:lnTo>
                      <a:pt x="50" y="20"/>
                    </a:lnTo>
                    <a:lnTo>
                      <a:pt x="50" y="16"/>
                    </a:lnTo>
                    <a:lnTo>
                      <a:pt x="52" y="13"/>
                    </a:lnTo>
                    <a:lnTo>
                      <a:pt x="53" y="11"/>
                    </a:lnTo>
                    <a:lnTo>
                      <a:pt x="53" y="11"/>
                    </a:lnTo>
                    <a:lnTo>
                      <a:pt x="56" y="6"/>
                    </a:lnTo>
                    <a:lnTo>
                      <a:pt x="56" y="4"/>
                    </a:lnTo>
                    <a:lnTo>
                      <a:pt x="53" y="3"/>
                    </a:lnTo>
                    <a:lnTo>
                      <a:pt x="47" y="2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38" y="1"/>
                    </a:lnTo>
                    <a:lnTo>
                      <a:pt x="33" y="0"/>
                    </a:lnTo>
                    <a:lnTo>
                      <a:pt x="28" y="2"/>
                    </a:lnTo>
                    <a:lnTo>
                      <a:pt x="23" y="0"/>
                    </a:lnTo>
                    <a:lnTo>
                      <a:pt x="17" y="0"/>
                    </a:lnTo>
                    <a:lnTo>
                      <a:pt x="13" y="2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3" y="1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6" name="Freeform 1300">
                <a:extLst>
                  <a:ext uri="{FF2B5EF4-FFF2-40B4-BE49-F238E27FC236}">
                    <a16:creationId xmlns:a16="http://schemas.microsoft.com/office/drawing/2014/main" id="{FE53464D-3E65-427F-9533-CA1A01E7B2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5626" y="4221163"/>
                <a:ext cx="114300" cy="203200"/>
              </a:xfrm>
              <a:custGeom>
                <a:avLst/>
                <a:gdLst>
                  <a:gd name="T0" fmla="*/ 15 w 72"/>
                  <a:gd name="T1" fmla="*/ 10 h 128"/>
                  <a:gd name="T2" fmla="*/ 9 w 72"/>
                  <a:gd name="T3" fmla="*/ 15 h 128"/>
                  <a:gd name="T4" fmla="*/ 11 w 72"/>
                  <a:gd name="T5" fmla="*/ 21 h 128"/>
                  <a:gd name="T6" fmla="*/ 17 w 72"/>
                  <a:gd name="T7" fmla="*/ 24 h 128"/>
                  <a:gd name="T8" fmla="*/ 13 w 72"/>
                  <a:gd name="T9" fmla="*/ 30 h 128"/>
                  <a:gd name="T10" fmla="*/ 8 w 72"/>
                  <a:gd name="T11" fmla="*/ 31 h 128"/>
                  <a:gd name="T12" fmla="*/ 4 w 72"/>
                  <a:gd name="T13" fmla="*/ 31 h 128"/>
                  <a:gd name="T14" fmla="*/ 0 w 72"/>
                  <a:gd name="T15" fmla="*/ 40 h 128"/>
                  <a:gd name="T16" fmla="*/ 6 w 72"/>
                  <a:gd name="T17" fmla="*/ 51 h 128"/>
                  <a:gd name="T18" fmla="*/ 11 w 72"/>
                  <a:gd name="T19" fmla="*/ 56 h 128"/>
                  <a:gd name="T20" fmla="*/ 13 w 72"/>
                  <a:gd name="T21" fmla="*/ 58 h 128"/>
                  <a:gd name="T22" fmla="*/ 18 w 72"/>
                  <a:gd name="T23" fmla="*/ 57 h 128"/>
                  <a:gd name="T24" fmla="*/ 20 w 72"/>
                  <a:gd name="T25" fmla="*/ 65 h 128"/>
                  <a:gd name="T26" fmla="*/ 17 w 72"/>
                  <a:gd name="T27" fmla="*/ 70 h 128"/>
                  <a:gd name="T28" fmla="*/ 23 w 72"/>
                  <a:gd name="T29" fmla="*/ 72 h 128"/>
                  <a:gd name="T30" fmla="*/ 25 w 72"/>
                  <a:gd name="T31" fmla="*/ 76 h 128"/>
                  <a:gd name="T32" fmla="*/ 27 w 72"/>
                  <a:gd name="T33" fmla="*/ 78 h 128"/>
                  <a:gd name="T34" fmla="*/ 24 w 72"/>
                  <a:gd name="T35" fmla="*/ 86 h 128"/>
                  <a:gd name="T36" fmla="*/ 22 w 72"/>
                  <a:gd name="T37" fmla="*/ 96 h 128"/>
                  <a:gd name="T38" fmla="*/ 20 w 72"/>
                  <a:gd name="T39" fmla="*/ 101 h 128"/>
                  <a:gd name="T40" fmla="*/ 20 w 72"/>
                  <a:gd name="T41" fmla="*/ 105 h 128"/>
                  <a:gd name="T42" fmla="*/ 23 w 72"/>
                  <a:gd name="T43" fmla="*/ 112 h 128"/>
                  <a:gd name="T44" fmla="*/ 27 w 72"/>
                  <a:gd name="T45" fmla="*/ 118 h 128"/>
                  <a:gd name="T46" fmla="*/ 34 w 72"/>
                  <a:gd name="T47" fmla="*/ 127 h 128"/>
                  <a:gd name="T48" fmla="*/ 38 w 72"/>
                  <a:gd name="T49" fmla="*/ 125 h 128"/>
                  <a:gd name="T50" fmla="*/ 41 w 72"/>
                  <a:gd name="T51" fmla="*/ 126 h 128"/>
                  <a:gd name="T52" fmla="*/ 45 w 72"/>
                  <a:gd name="T53" fmla="*/ 123 h 128"/>
                  <a:gd name="T54" fmla="*/ 49 w 72"/>
                  <a:gd name="T55" fmla="*/ 120 h 128"/>
                  <a:gd name="T56" fmla="*/ 56 w 72"/>
                  <a:gd name="T57" fmla="*/ 115 h 128"/>
                  <a:gd name="T58" fmla="*/ 64 w 72"/>
                  <a:gd name="T59" fmla="*/ 113 h 128"/>
                  <a:gd name="T60" fmla="*/ 67 w 72"/>
                  <a:gd name="T61" fmla="*/ 114 h 128"/>
                  <a:gd name="T62" fmla="*/ 72 w 72"/>
                  <a:gd name="T63" fmla="*/ 114 h 128"/>
                  <a:gd name="T64" fmla="*/ 68 w 72"/>
                  <a:gd name="T65" fmla="*/ 111 h 128"/>
                  <a:gd name="T66" fmla="*/ 66 w 72"/>
                  <a:gd name="T67" fmla="*/ 107 h 128"/>
                  <a:gd name="T68" fmla="*/ 63 w 72"/>
                  <a:gd name="T69" fmla="*/ 101 h 128"/>
                  <a:gd name="T70" fmla="*/ 62 w 72"/>
                  <a:gd name="T71" fmla="*/ 97 h 128"/>
                  <a:gd name="T72" fmla="*/ 60 w 72"/>
                  <a:gd name="T73" fmla="*/ 89 h 128"/>
                  <a:gd name="T74" fmla="*/ 58 w 72"/>
                  <a:gd name="T75" fmla="*/ 88 h 128"/>
                  <a:gd name="T76" fmla="*/ 55 w 72"/>
                  <a:gd name="T77" fmla="*/ 84 h 128"/>
                  <a:gd name="T78" fmla="*/ 54 w 72"/>
                  <a:gd name="T79" fmla="*/ 79 h 128"/>
                  <a:gd name="T80" fmla="*/ 49 w 72"/>
                  <a:gd name="T81" fmla="*/ 76 h 128"/>
                  <a:gd name="T82" fmla="*/ 51 w 72"/>
                  <a:gd name="T83" fmla="*/ 66 h 128"/>
                  <a:gd name="T84" fmla="*/ 54 w 72"/>
                  <a:gd name="T85" fmla="*/ 59 h 128"/>
                  <a:gd name="T86" fmla="*/ 59 w 72"/>
                  <a:gd name="T87" fmla="*/ 57 h 128"/>
                  <a:gd name="T88" fmla="*/ 62 w 72"/>
                  <a:gd name="T89" fmla="*/ 52 h 128"/>
                  <a:gd name="T90" fmla="*/ 62 w 72"/>
                  <a:gd name="T91" fmla="*/ 48 h 128"/>
                  <a:gd name="T92" fmla="*/ 62 w 72"/>
                  <a:gd name="T93" fmla="*/ 45 h 128"/>
                  <a:gd name="T94" fmla="*/ 60 w 72"/>
                  <a:gd name="T95" fmla="*/ 38 h 128"/>
                  <a:gd name="T96" fmla="*/ 51 w 72"/>
                  <a:gd name="T97" fmla="*/ 31 h 128"/>
                  <a:gd name="T98" fmla="*/ 46 w 72"/>
                  <a:gd name="T99" fmla="*/ 29 h 128"/>
                  <a:gd name="T100" fmla="*/ 41 w 72"/>
                  <a:gd name="T101" fmla="*/ 33 h 128"/>
                  <a:gd name="T102" fmla="*/ 40 w 72"/>
                  <a:gd name="T103" fmla="*/ 32 h 128"/>
                  <a:gd name="T104" fmla="*/ 41 w 72"/>
                  <a:gd name="T105" fmla="*/ 24 h 128"/>
                  <a:gd name="T106" fmla="*/ 38 w 72"/>
                  <a:gd name="T107" fmla="*/ 16 h 128"/>
                  <a:gd name="T108" fmla="*/ 29 w 72"/>
                  <a:gd name="T109" fmla="*/ 7 h 128"/>
                  <a:gd name="T110" fmla="*/ 26 w 72"/>
                  <a:gd name="T111" fmla="*/ 1 h 128"/>
                  <a:gd name="T112" fmla="*/ 23 w 72"/>
                  <a:gd name="T113" fmla="*/ 0 h 128"/>
                  <a:gd name="T114" fmla="*/ 18 w 72"/>
                  <a:gd name="T115" fmla="*/ 7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2" h="128">
                    <a:moveTo>
                      <a:pt x="18" y="7"/>
                    </a:moveTo>
                    <a:lnTo>
                      <a:pt x="15" y="10"/>
                    </a:lnTo>
                    <a:lnTo>
                      <a:pt x="13" y="10"/>
                    </a:lnTo>
                    <a:lnTo>
                      <a:pt x="9" y="15"/>
                    </a:lnTo>
                    <a:lnTo>
                      <a:pt x="10" y="17"/>
                    </a:lnTo>
                    <a:lnTo>
                      <a:pt x="11" y="21"/>
                    </a:lnTo>
                    <a:lnTo>
                      <a:pt x="15" y="21"/>
                    </a:lnTo>
                    <a:lnTo>
                      <a:pt x="17" y="24"/>
                    </a:lnTo>
                    <a:lnTo>
                      <a:pt x="17" y="28"/>
                    </a:lnTo>
                    <a:lnTo>
                      <a:pt x="13" y="30"/>
                    </a:lnTo>
                    <a:lnTo>
                      <a:pt x="10" y="29"/>
                    </a:lnTo>
                    <a:lnTo>
                      <a:pt x="8" y="31"/>
                    </a:lnTo>
                    <a:lnTo>
                      <a:pt x="6" y="29"/>
                    </a:lnTo>
                    <a:lnTo>
                      <a:pt x="4" y="31"/>
                    </a:lnTo>
                    <a:lnTo>
                      <a:pt x="3" y="37"/>
                    </a:lnTo>
                    <a:lnTo>
                      <a:pt x="0" y="40"/>
                    </a:lnTo>
                    <a:lnTo>
                      <a:pt x="2" y="45"/>
                    </a:lnTo>
                    <a:lnTo>
                      <a:pt x="6" y="51"/>
                    </a:lnTo>
                    <a:lnTo>
                      <a:pt x="11" y="55"/>
                    </a:lnTo>
                    <a:lnTo>
                      <a:pt x="11" y="56"/>
                    </a:lnTo>
                    <a:lnTo>
                      <a:pt x="12" y="56"/>
                    </a:lnTo>
                    <a:lnTo>
                      <a:pt x="13" y="58"/>
                    </a:lnTo>
                    <a:lnTo>
                      <a:pt x="15" y="56"/>
                    </a:lnTo>
                    <a:lnTo>
                      <a:pt x="18" y="57"/>
                    </a:lnTo>
                    <a:lnTo>
                      <a:pt x="20" y="60"/>
                    </a:lnTo>
                    <a:lnTo>
                      <a:pt x="20" y="65"/>
                    </a:lnTo>
                    <a:lnTo>
                      <a:pt x="19" y="69"/>
                    </a:lnTo>
                    <a:lnTo>
                      <a:pt x="17" y="70"/>
                    </a:lnTo>
                    <a:lnTo>
                      <a:pt x="20" y="72"/>
                    </a:lnTo>
                    <a:lnTo>
                      <a:pt x="23" y="72"/>
                    </a:lnTo>
                    <a:lnTo>
                      <a:pt x="23" y="74"/>
                    </a:lnTo>
                    <a:lnTo>
                      <a:pt x="25" y="76"/>
                    </a:lnTo>
                    <a:lnTo>
                      <a:pt x="27" y="76"/>
                    </a:lnTo>
                    <a:lnTo>
                      <a:pt x="27" y="78"/>
                    </a:lnTo>
                    <a:lnTo>
                      <a:pt x="25" y="82"/>
                    </a:lnTo>
                    <a:lnTo>
                      <a:pt x="24" y="86"/>
                    </a:lnTo>
                    <a:lnTo>
                      <a:pt x="21" y="92"/>
                    </a:lnTo>
                    <a:lnTo>
                      <a:pt x="22" y="96"/>
                    </a:lnTo>
                    <a:lnTo>
                      <a:pt x="20" y="98"/>
                    </a:lnTo>
                    <a:lnTo>
                      <a:pt x="20" y="101"/>
                    </a:lnTo>
                    <a:lnTo>
                      <a:pt x="21" y="103"/>
                    </a:lnTo>
                    <a:lnTo>
                      <a:pt x="20" y="105"/>
                    </a:lnTo>
                    <a:lnTo>
                      <a:pt x="20" y="109"/>
                    </a:lnTo>
                    <a:lnTo>
                      <a:pt x="23" y="112"/>
                    </a:lnTo>
                    <a:lnTo>
                      <a:pt x="27" y="116"/>
                    </a:lnTo>
                    <a:lnTo>
                      <a:pt x="27" y="118"/>
                    </a:lnTo>
                    <a:lnTo>
                      <a:pt x="28" y="121"/>
                    </a:lnTo>
                    <a:lnTo>
                      <a:pt x="34" y="127"/>
                    </a:lnTo>
                    <a:lnTo>
                      <a:pt x="36" y="128"/>
                    </a:lnTo>
                    <a:lnTo>
                      <a:pt x="38" y="125"/>
                    </a:lnTo>
                    <a:lnTo>
                      <a:pt x="40" y="124"/>
                    </a:lnTo>
                    <a:lnTo>
                      <a:pt x="41" y="126"/>
                    </a:lnTo>
                    <a:lnTo>
                      <a:pt x="44" y="125"/>
                    </a:lnTo>
                    <a:lnTo>
                      <a:pt x="45" y="123"/>
                    </a:lnTo>
                    <a:lnTo>
                      <a:pt x="46" y="121"/>
                    </a:lnTo>
                    <a:lnTo>
                      <a:pt x="49" y="120"/>
                    </a:lnTo>
                    <a:lnTo>
                      <a:pt x="55" y="121"/>
                    </a:lnTo>
                    <a:lnTo>
                      <a:pt x="56" y="115"/>
                    </a:lnTo>
                    <a:lnTo>
                      <a:pt x="59" y="114"/>
                    </a:lnTo>
                    <a:lnTo>
                      <a:pt x="64" y="113"/>
                    </a:lnTo>
                    <a:lnTo>
                      <a:pt x="65" y="114"/>
                    </a:lnTo>
                    <a:lnTo>
                      <a:pt x="67" y="114"/>
                    </a:lnTo>
                    <a:lnTo>
                      <a:pt x="72" y="114"/>
                    </a:lnTo>
                    <a:lnTo>
                      <a:pt x="72" y="114"/>
                    </a:lnTo>
                    <a:lnTo>
                      <a:pt x="69" y="112"/>
                    </a:lnTo>
                    <a:lnTo>
                      <a:pt x="68" y="111"/>
                    </a:lnTo>
                    <a:lnTo>
                      <a:pt x="68" y="109"/>
                    </a:lnTo>
                    <a:lnTo>
                      <a:pt x="66" y="107"/>
                    </a:lnTo>
                    <a:lnTo>
                      <a:pt x="65" y="104"/>
                    </a:lnTo>
                    <a:lnTo>
                      <a:pt x="63" y="101"/>
                    </a:lnTo>
                    <a:lnTo>
                      <a:pt x="62" y="100"/>
                    </a:lnTo>
                    <a:lnTo>
                      <a:pt x="62" y="97"/>
                    </a:lnTo>
                    <a:lnTo>
                      <a:pt x="61" y="91"/>
                    </a:lnTo>
                    <a:lnTo>
                      <a:pt x="60" y="89"/>
                    </a:lnTo>
                    <a:lnTo>
                      <a:pt x="59" y="88"/>
                    </a:lnTo>
                    <a:lnTo>
                      <a:pt x="58" y="88"/>
                    </a:lnTo>
                    <a:lnTo>
                      <a:pt x="56" y="86"/>
                    </a:lnTo>
                    <a:lnTo>
                      <a:pt x="55" y="84"/>
                    </a:lnTo>
                    <a:lnTo>
                      <a:pt x="54" y="81"/>
                    </a:lnTo>
                    <a:lnTo>
                      <a:pt x="54" y="79"/>
                    </a:lnTo>
                    <a:lnTo>
                      <a:pt x="52" y="77"/>
                    </a:lnTo>
                    <a:lnTo>
                      <a:pt x="49" y="76"/>
                    </a:lnTo>
                    <a:lnTo>
                      <a:pt x="49" y="73"/>
                    </a:lnTo>
                    <a:lnTo>
                      <a:pt x="51" y="66"/>
                    </a:lnTo>
                    <a:lnTo>
                      <a:pt x="51" y="62"/>
                    </a:lnTo>
                    <a:lnTo>
                      <a:pt x="54" y="59"/>
                    </a:lnTo>
                    <a:lnTo>
                      <a:pt x="57" y="59"/>
                    </a:lnTo>
                    <a:lnTo>
                      <a:pt x="59" y="57"/>
                    </a:lnTo>
                    <a:lnTo>
                      <a:pt x="62" y="54"/>
                    </a:lnTo>
                    <a:lnTo>
                      <a:pt x="62" y="52"/>
                    </a:lnTo>
                    <a:lnTo>
                      <a:pt x="62" y="48"/>
                    </a:lnTo>
                    <a:lnTo>
                      <a:pt x="62" y="48"/>
                    </a:lnTo>
                    <a:lnTo>
                      <a:pt x="62" y="48"/>
                    </a:lnTo>
                    <a:lnTo>
                      <a:pt x="62" y="45"/>
                    </a:lnTo>
                    <a:lnTo>
                      <a:pt x="62" y="40"/>
                    </a:lnTo>
                    <a:lnTo>
                      <a:pt x="60" y="38"/>
                    </a:lnTo>
                    <a:lnTo>
                      <a:pt x="55" y="36"/>
                    </a:lnTo>
                    <a:lnTo>
                      <a:pt x="51" y="31"/>
                    </a:lnTo>
                    <a:lnTo>
                      <a:pt x="48" y="28"/>
                    </a:lnTo>
                    <a:lnTo>
                      <a:pt x="46" y="29"/>
                    </a:lnTo>
                    <a:lnTo>
                      <a:pt x="43" y="30"/>
                    </a:lnTo>
                    <a:lnTo>
                      <a:pt x="41" y="33"/>
                    </a:lnTo>
                    <a:lnTo>
                      <a:pt x="41" y="36"/>
                    </a:lnTo>
                    <a:lnTo>
                      <a:pt x="40" y="32"/>
                    </a:lnTo>
                    <a:lnTo>
                      <a:pt x="41" y="27"/>
                    </a:lnTo>
                    <a:lnTo>
                      <a:pt x="41" y="24"/>
                    </a:lnTo>
                    <a:lnTo>
                      <a:pt x="41" y="18"/>
                    </a:lnTo>
                    <a:lnTo>
                      <a:pt x="38" y="16"/>
                    </a:lnTo>
                    <a:lnTo>
                      <a:pt x="33" y="12"/>
                    </a:lnTo>
                    <a:lnTo>
                      <a:pt x="29" y="7"/>
                    </a:lnTo>
                    <a:lnTo>
                      <a:pt x="28" y="4"/>
                    </a:lnTo>
                    <a:lnTo>
                      <a:pt x="26" y="1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2" y="1"/>
                    </a:lnTo>
                    <a:lnTo>
                      <a:pt x="18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7" name="Freeform 1301">
                <a:extLst>
                  <a:ext uri="{FF2B5EF4-FFF2-40B4-BE49-F238E27FC236}">
                    <a16:creationId xmlns:a16="http://schemas.microsoft.com/office/drawing/2014/main" id="{E5945E6E-0254-4EEF-8314-6D5E64B284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0051" y="4114800"/>
                <a:ext cx="7938" cy="9525"/>
              </a:xfrm>
              <a:custGeom>
                <a:avLst/>
                <a:gdLst>
                  <a:gd name="T0" fmla="*/ 0 w 5"/>
                  <a:gd name="T1" fmla="*/ 0 h 6"/>
                  <a:gd name="T2" fmla="*/ 1 w 5"/>
                  <a:gd name="T3" fmla="*/ 3 h 6"/>
                  <a:gd name="T4" fmla="*/ 3 w 5"/>
                  <a:gd name="T5" fmla="*/ 3 h 6"/>
                  <a:gd name="T6" fmla="*/ 4 w 5"/>
                  <a:gd name="T7" fmla="*/ 6 h 6"/>
                  <a:gd name="T8" fmla="*/ 5 w 5"/>
                  <a:gd name="T9" fmla="*/ 3 h 6"/>
                  <a:gd name="T10" fmla="*/ 2 w 5"/>
                  <a:gd name="T11" fmla="*/ 0 h 6"/>
                  <a:gd name="T12" fmla="*/ 0 w 5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6">
                    <a:moveTo>
                      <a:pt x="0" y="0"/>
                    </a:moveTo>
                    <a:lnTo>
                      <a:pt x="1" y="3"/>
                    </a:lnTo>
                    <a:lnTo>
                      <a:pt x="3" y="3"/>
                    </a:lnTo>
                    <a:lnTo>
                      <a:pt x="4" y="6"/>
                    </a:lnTo>
                    <a:lnTo>
                      <a:pt x="5" y="3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8" name="Freeform 1302">
                <a:extLst>
                  <a:ext uri="{FF2B5EF4-FFF2-40B4-BE49-F238E27FC236}">
                    <a16:creationId xmlns:a16="http://schemas.microsoft.com/office/drawing/2014/main" id="{6F9C6D16-103A-4AE4-9737-CB2184C31D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3538" y="4106863"/>
                <a:ext cx="6350" cy="4763"/>
              </a:xfrm>
              <a:custGeom>
                <a:avLst/>
                <a:gdLst>
                  <a:gd name="T0" fmla="*/ 0 w 4"/>
                  <a:gd name="T1" fmla="*/ 0 h 3"/>
                  <a:gd name="T2" fmla="*/ 2 w 4"/>
                  <a:gd name="T3" fmla="*/ 3 h 3"/>
                  <a:gd name="T4" fmla="*/ 4 w 4"/>
                  <a:gd name="T5" fmla="*/ 3 h 3"/>
                  <a:gd name="T6" fmla="*/ 2 w 4"/>
                  <a:gd name="T7" fmla="*/ 0 h 3"/>
                  <a:gd name="T8" fmla="*/ 0 w 4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lnTo>
                      <a:pt x="2" y="3"/>
                    </a:lnTo>
                    <a:lnTo>
                      <a:pt x="4" y="3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9" name="Freeform 1303">
                <a:extLst>
                  <a:ext uri="{FF2B5EF4-FFF2-40B4-BE49-F238E27FC236}">
                    <a16:creationId xmlns:a16="http://schemas.microsoft.com/office/drawing/2014/main" id="{D1E8132C-BF85-425F-BE6B-2AD539A376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8951" y="4144963"/>
                <a:ext cx="15875" cy="11113"/>
              </a:xfrm>
              <a:custGeom>
                <a:avLst/>
                <a:gdLst>
                  <a:gd name="T0" fmla="*/ 6 w 13"/>
                  <a:gd name="T1" fmla="*/ 6 h 8"/>
                  <a:gd name="T2" fmla="*/ 10 w 13"/>
                  <a:gd name="T3" fmla="*/ 8 h 8"/>
                  <a:gd name="T4" fmla="*/ 13 w 13"/>
                  <a:gd name="T5" fmla="*/ 3 h 8"/>
                  <a:gd name="T6" fmla="*/ 11 w 13"/>
                  <a:gd name="T7" fmla="*/ 0 h 8"/>
                  <a:gd name="T8" fmla="*/ 6 w 13"/>
                  <a:gd name="T9" fmla="*/ 5 h 8"/>
                  <a:gd name="T10" fmla="*/ 4 w 13"/>
                  <a:gd name="T11" fmla="*/ 3 h 8"/>
                  <a:gd name="T12" fmla="*/ 0 w 13"/>
                  <a:gd name="T13" fmla="*/ 6 h 8"/>
                  <a:gd name="T14" fmla="*/ 2 w 13"/>
                  <a:gd name="T15" fmla="*/ 8 h 8"/>
                  <a:gd name="T16" fmla="*/ 6 w 13"/>
                  <a:gd name="T17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8">
                    <a:moveTo>
                      <a:pt x="6" y="6"/>
                    </a:moveTo>
                    <a:cubicBezTo>
                      <a:pt x="10" y="8"/>
                      <a:pt x="10" y="8"/>
                      <a:pt x="10" y="8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2" y="8"/>
                      <a:pt x="2" y="8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0" name="Freeform 1304">
                <a:extLst>
                  <a:ext uri="{FF2B5EF4-FFF2-40B4-BE49-F238E27FC236}">
                    <a16:creationId xmlns:a16="http://schemas.microsoft.com/office/drawing/2014/main" id="{661D8F86-E017-4252-BE89-90CFCBA8A4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0513" y="4116388"/>
                <a:ext cx="301625" cy="322263"/>
              </a:xfrm>
              <a:custGeom>
                <a:avLst/>
                <a:gdLst>
                  <a:gd name="T0" fmla="*/ 15 w 190"/>
                  <a:gd name="T1" fmla="*/ 20 h 203"/>
                  <a:gd name="T2" fmla="*/ 3 w 190"/>
                  <a:gd name="T3" fmla="*/ 35 h 203"/>
                  <a:gd name="T4" fmla="*/ 1 w 190"/>
                  <a:gd name="T5" fmla="*/ 52 h 203"/>
                  <a:gd name="T6" fmla="*/ 10 w 190"/>
                  <a:gd name="T7" fmla="*/ 66 h 203"/>
                  <a:gd name="T8" fmla="*/ 13 w 190"/>
                  <a:gd name="T9" fmla="*/ 80 h 203"/>
                  <a:gd name="T10" fmla="*/ 19 w 190"/>
                  <a:gd name="T11" fmla="*/ 90 h 203"/>
                  <a:gd name="T12" fmla="*/ 27 w 190"/>
                  <a:gd name="T13" fmla="*/ 90 h 203"/>
                  <a:gd name="T14" fmla="*/ 35 w 190"/>
                  <a:gd name="T15" fmla="*/ 90 h 203"/>
                  <a:gd name="T16" fmla="*/ 56 w 190"/>
                  <a:gd name="T17" fmla="*/ 104 h 203"/>
                  <a:gd name="T18" fmla="*/ 66 w 190"/>
                  <a:gd name="T19" fmla="*/ 105 h 203"/>
                  <a:gd name="T20" fmla="*/ 76 w 190"/>
                  <a:gd name="T21" fmla="*/ 105 h 203"/>
                  <a:gd name="T22" fmla="*/ 83 w 190"/>
                  <a:gd name="T23" fmla="*/ 112 h 203"/>
                  <a:gd name="T24" fmla="*/ 77 w 190"/>
                  <a:gd name="T25" fmla="*/ 121 h 203"/>
                  <a:gd name="T26" fmla="*/ 76 w 190"/>
                  <a:gd name="T27" fmla="*/ 136 h 203"/>
                  <a:gd name="T28" fmla="*/ 81 w 190"/>
                  <a:gd name="T29" fmla="*/ 155 h 203"/>
                  <a:gd name="T30" fmla="*/ 80 w 190"/>
                  <a:gd name="T31" fmla="*/ 166 h 203"/>
                  <a:gd name="T32" fmla="*/ 83 w 190"/>
                  <a:gd name="T33" fmla="*/ 175 h 203"/>
                  <a:gd name="T34" fmla="*/ 87 w 190"/>
                  <a:gd name="T35" fmla="*/ 193 h 203"/>
                  <a:gd name="T36" fmla="*/ 102 w 190"/>
                  <a:gd name="T37" fmla="*/ 203 h 203"/>
                  <a:gd name="T38" fmla="*/ 118 w 190"/>
                  <a:gd name="T39" fmla="*/ 190 h 203"/>
                  <a:gd name="T40" fmla="*/ 129 w 190"/>
                  <a:gd name="T41" fmla="*/ 179 h 203"/>
                  <a:gd name="T42" fmla="*/ 134 w 190"/>
                  <a:gd name="T43" fmla="*/ 171 h 203"/>
                  <a:gd name="T44" fmla="*/ 123 w 190"/>
                  <a:gd name="T45" fmla="*/ 161 h 203"/>
                  <a:gd name="T46" fmla="*/ 122 w 190"/>
                  <a:gd name="T47" fmla="*/ 145 h 203"/>
                  <a:gd name="T48" fmla="*/ 126 w 190"/>
                  <a:gd name="T49" fmla="*/ 142 h 203"/>
                  <a:gd name="T50" fmla="*/ 143 w 190"/>
                  <a:gd name="T51" fmla="*/ 145 h 203"/>
                  <a:gd name="T52" fmla="*/ 159 w 190"/>
                  <a:gd name="T53" fmla="*/ 139 h 203"/>
                  <a:gd name="T54" fmla="*/ 177 w 190"/>
                  <a:gd name="T55" fmla="*/ 130 h 203"/>
                  <a:gd name="T56" fmla="*/ 173 w 190"/>
                  <a:gd name="T57" fmla="*/ 117 h 203"/>
                  <a:gd name="T58" fmla="*/ 171 w 190"/>
                  <a:gd name="T59" fmla="*/ 97 h 203"/>
                  <a:gd name="T60" fmla="*/ 180 w 190"/>
                  <a:gd name="T61" fmla="*/ 96 h 203"/>
                  <a:gd name="T62" fmla="*/ 178 w 190"/>
                  <a:gd name="T63" fmla="*/ 87 h 203"/>
                  <a:gd name="T64" fmla="*/ 182 w 190"/>
                  <a:gd name="T65" fmla="*/ 76 h 203"/>
                  <a:gd name="T66" fmla="*/ 189 w 190"/>
                  <a:gd name="T67" fmla="*/ 65 h 203"/>
                  <a:gd name="T68" fmla="*/ 177 w 190"/>
                  <a:gd name="T69" fmla="*/ 63 h 203"/>
                  <a:gd name="T70" fmla="*/ 165 w 190"/>
                  <a:gd name="T71" fmla="*/ 64 h 203"/>
                  <a:gd name="T72" fmla="*/ 170 w 190"/>
                  <a:gd name="T73" fmla="*/ 62 h 203"/>
                  <a:gd name="T74" fmla="*/ 173 w 190"/>
                  <a:gd name="T75" fmla="*/ 53 h 203"/>
                  <a:gd name="T76" fmla="*/ 163 w 190"/>
                  <a:gd name="T77" fmla="*/ 45 h 203"/>
                  <a:gd name="T78" fmla="*/ 156 w 190"/>
                  <a:gd name="T79" fmla="*/ 41 h 203"/>
                  <a:gd name="T80" fmla="*/ 150 w 190"/>
                  <a:gd name="T81" fmla="*/ 39 h 203"/>
                  <a:gd name="T82" fmla="*/ 147 w 190"/>
                  <a:gd name="T83" fmla="*/ 31 h 203"/>
                  <a:gd name="T84" fmla="*/ 160 w 190"/>
                  <a:gd name="T85" fmla="*/ 26 h 203"/>
                  <a:gd name="T86" fmla="*/ 142 w 190"/>
                  <a:gd name="T87" fmla="*/ 26 h 203"/>
                  <a:gd name="T88" fmla="*/ 127 w 190"/>
                  <a:gd name="T89" fmla="*/ 32 h 203"/>
                  <a:gd name="T90" fmla="*/ 115 w 190"/>
                  <a:gd name="T91" fmla="*/ 37 h 203"/>
                  <a:gd name="T92" fmla="*/ 104 w 190"/>
                  <a:gd name="T93" fmla="*/ 29 h 203"/>
                  <a:gd name="T94" fmla="*/ 76 w 190"/>
                  <a:gd name="T95" fmla="*/ 32 h 203"/>
                  <a:gd name="T96" fmla="*/ 74 w 190"/>
                  <a:gd name="T97" fmla="*/ 25 h 203"/>
                  <a:gd name="T98" fmla="*/ 62 w 190"/>
                  <a:gd name="T99" fmla="*/ 17 h 203"/>
                  <a:gd name="T100" fmla="*/ 52 w 190"/>
                  <a:gd name="T101" fmla="*/ 11 h 203"/>
                  <a:gd name="T102" fmla="*/ 45 w 190"/>
                  <a:gd name="T103" fmla="*/ 2 h 203"/>
                  <a:gd name="T104" fmla="*/ 47 w 190"/>
                  <a:gd name="T105" fmla="*/ 11 h 203"/>
                  <a:gd name="T106" fmla="*/ 48 w 190"/>
                  <a:gd name="T107" fmla="*/ 17 h 203"/>
                  <a:gd name="T108" fmla="*/ 44 w 190"/>
                  <a:gd name="T109" fmla="*/ 17 h 203"/>
                  <a:gd name="T110" fmla="*/ 26 w 190"/>
                  <a:gd name="T111" fmla="*/ 26 h 203"/>
                  <a:gd name="T112" fmla="*/ 28 w 190"/>
                  <a:gd name="T113" fmla="*/ 44 h 203"/>
                  <a:gd name="T114" fmla="*/ 20 w 190"/>
                  <a:gd name="T115" fmla="*/ 56 h 203"/>
                  <a:gd name="T116" fmla="*/ 19 w 190"/>
                  <a:gd name="T117" fmla="*/ 41 h 203"/>
                  <a:gd name="T118" fmla="*/ 23 w 190"/>
                  <a:gd name="T119" fmla="*/ 24 h 203"/>
                  <a:gd name="T120" fmla="*/ 20 w 190"/>
                  <a:gd name="T121" fmla="*/ 15 h 203"/>
                  <a:gd name="T122" fmla="*/ 30 w 190"/>
                  <a:gd name="T123" fmla="*/ 7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90" h="203">
                    <a:moveTo>
                      <a:pt x="28" y="7"/>
                    </a:moveTo>
                    <a:lnTo>
                      <a:pt x="21" y="11"/>
                    </a:lnTo>
                    <a:lnTo>
                      <a:pt x="16" y="18"/>
                    </a:lnTo>
                    <a:lnTo>
                      <a:pt x="15" y="20"/>
                    </a:lnTo>
                    <a:lnTo>
                      <a:pt x="13" y="21"/>
                    </a:lnTo>
                    <a:lnTo>
                      <a:pt x="10" y="25"/>
                    </a:lnTo>
                    <a:lnTo>
                      <a:pt x="8" y="27"/>
                    </a:lnTo>
                    <a:lnTo>
                      <a:pt x="3" y="35"/>
                    </a:lnTo>
                    <a:lnTo>
                      <a:pt x="3" y="39"/>
                    </a:lnTo>
                    <a:lnTo>
                      <a:pt x="3" y="41"/>
                    </a:lnTo>
                    <a:lnTo>
                      <a:pt x="3" y="47"/>
                    </a:lnTo>
                    <a:lnTo>
                      <a:pt x="1" y="52"/>
                    </a:lnTo>
                    <a:lnTo>
                      <a:pt x="0" y="54"/>
                    </a:lnTo>
                    <a:lnTo>
                      <a:pt x="3" y="54"/>
                    </a:lnTo>
                    <a:lnTo>
                      <a:pt x="5" y="54"/>
                    </a:lnTo>
                    <a:lnTo>
                      <a:pt x="10" y="66"/>
                    </a:lnTo>
                    <a:lnTo>
                      <a:pt x="13" y="70"/>
                    </a:lnTo>
                    <a:lnTo>
                      <a:pt x="14" y="74"/>
                    </a:lnTo>
                    <a:lnTo>
                      <a:pt x="12" y="77"/>
                    </a:lnTo>
                    <a:lnTo>
                      <a:pt x="13" y="80"/>
                    </a:lnTo>
                    <a:lnTo>
                      <a:pt x="12" y="82"/>
                    </a:lnTo>
                    <a:lnTo>
                      <a:pt x="12" y="84"/>
                    </a:lnTo>
                    <a:lnTo>
                      <a:pt x="15" y="87"/>
                    </a:lnTo>
                    <a:lnTo>
                      <a:pt x="19" y="90"/>
                    </a:lnTo>
                    <a:lnTo>
                      <a:pt x="21" y="90"/>
                    </a:lnTo>
                    <a:lnTo>
                      <a:pt x="24" y="92"/>
                    </a:lnTo>
                    <a:lnTo>
                      <a:pt x="27" y="90"/>
                    </a:lnTo>
                    <a:lnTo>
                      <a:pt x="27" y="90"/>
                    </a:lnTo>
                    <a:lnTo>
                      <a:pt x="27" y="90"/>
                    </a:lnTo>
                    <a:lnTo>
                      <a:pt x="31" y="90"/>
                    </a:lnTo>
                    <a:lnTo>
                      <a:pt x="34" y="91"/>
                    </a:lnTo>
                    <a:lnTo>
                      <a:pt x="35" y="90"/>
                    </a:lnTo>
                    <a:lnTo>
                      <a:pt x="39" y="90"/>
                    </a:lnTo>
                    <a:lnTo>
                      <a:pt x="43" y="90"/>
                    </a:lnTo>
                    <a:lnTo>
                      <a:pt x="46" y="92"/>
                    </a:lnTo>
                    <a:lnTo>
                      <a:pt x="56" y="104"/>
                    </a:lnTo>
                    <a:lnTo>
                      <a:pt x="60" y="104"/>
                    </a:lnTo>
                    <a:lnTo>
                      <a:pt x="62" y="104"/>
                    </a:lnTo>
                    <a:lnTo>
                      <a:pt x="62" y="104"/>
                    </a:lnTo>
                    <a:lnTo>
                      <a:pt x="66" y="105"/>
                    </a:lnTo>
                    <a:lnTo>
                      <a:pt x="67" y="107"/>
                    </a:lnTo>
                    <a:lnTo>
                      <a:pt x="70" y="104"/>
                    </a:lnTo>
                    <a:lnTo>
                      <a:pt x="73" y="104"/>
                    </a:lnTo>
                    <a:lnTo>
                      <a:pt x="76" y="105"/>
                    </a:lnTo>
                    <a:lnTo>
                      <a:pt x="77" y="104"/>
                    </a:lnTo>
                    <a:lnTo>
                      <a:pt x="80" y="104"/>
                    </a:lnTo>
                    <a:lnTo>
                      <a:pt x="82" y="105"/>
                    </a:lnTo>
                    <a:lnTo>
                      <a:pt x="83" y="112"/>
                    </a:lnTo>
                    <a:lnTo>
                      <a:pt x="82" y="114"/>
                    </a:lnTo>
                    <a:lnTo>
                      <a:pt x="82" y="118"/>
                    </a:lnTo>
                    <a:lnTo>
                      <a:pt x="81" y="120"/>
                    </a:lnTo>
                    <a:lnTo>
                      <a:pt x="77" y="121"/>
                    </a:lnTo>
                    <a:lnTo>
                      <a:pt x="76" y="123"/>
                    </a:lnTo>
                    <a:lnTo>
                      <a:pt x="76" y="129"/>
                    </a:lnTo>
                    <a:lnTo>
                      <a:pt x="77" y="132"/>
                    </a:lnTo>
                    <a:lnTo>
                      <a:pt x="76" y="136"/>
                    </a:lnTo>
                    <a:lnTo>
                      <a:pt x="76" y="142"/>
                    </a:lnTo>
                    <a:lnTo>
                      <a:pt x="78" y="144"/>
                    </a:lnTo>
                    <a:lnTo>
                      <a:pt x="78" y="146"/>
                    </a:lnTo>
                    <a:lnTo>
                      <a:pt x="81" y="155"/>
                    </a:lnTo>
                    <a:lnTo>
                      <a:pt x="76" y="165"/>
                    </a:lnTo>
                    <a:lnTo>
                      <a:pt x="76" y="167"/>
                    </a:lnTo>
                    <a:lnTo>
                      <a:pt x="78" y="168"/>
                    </a:lnTo>
                    <a:lnTo>
                      <a:pt x="80" y="166"/>
                    </a:lnTo>
                    <a:lnTo>
                      <a:pt x="80" y="167"/>
                    </a:lnTo>
                    <a:lnTo>
                      <a:pt x="81" y="170"/>
                    </a:lnTo>
                    <a:lnTo>
                      <a:pt x="82" y="171"/>
                    </a:lnTo>
                    <a:lnTo>
                      <a:pt x="83" y="175"/>
                    </a:lnTo>
                    <a:lnTo>
                      <a:pt x="83" y="177"/>
                    </a:lnTo>
                    <a:lnTo>
                      <a:pt x="84" y="181"/>
                    </a:lnTo>
                    <a:lnTo>
                      <a:pt x="87" y="190"/>
                    </a:lnTo>
                    <a:lnTo>
                      <a:pt x="87" y="193"/>
                    </a:lnTo>
                    <a:lnTo>
                      <a:pt x="87" y="193"/>
                    </a:lnTo>
                    <a:lnTo>
                      <a:pt x="93" y="197"/>
                    </a:lnTo>
                    <a:lnTo>
                      <a:pt x="98" y="202"/>
                    </a:lnTo>
                    <a:lnTo>
                      <a:pt x="102" y="203"/>
                    </a:lnTo>
                    <a:lnTo>
                      <a:pt x="107" y="203"/>
                    </a:lnTo>
                    <a:lnTo>
                      <a:pt x="111" y="197"/>
                    </a:lnTo>
                    <a:lnTo>
                      <a:pt x="115" y="194"/>
                    </a:lnTo>
                    <a:lnTo>
                      <a:pt x="118" y="190"/>
                    </a:lnTo>
                    <a:lnTo>
                      <a:pt x="125" y="186"/>
                    </a:lnTo>
                    <a:lnTo>
                      <a:pt x="127" y="182"/>
                    </a:lnTo>
                    <a:lnTo>
                      <a:pt x="128" y="180"/>
                    </a:lnTo>
                    <a:lnTo>
                      <a:pt x="129" y="179"/>
                    </a:lnTo>
                    <a:lnTo>
                      <a:pt x="135" y="177"/>
                    </a:lnTo>
                    <a:lnTo>
                      <a:pt x="139" y="175"/>
                    </a:lnTo>
                    <a:lnTo>
                      <a:pt x="139" y="172"/>
                    </a:lnTo>
                    <a:lnTo>
                      <a:pt x="134" y="171"/>
                    </a:lnTo>
                    <a:lnTo>
                      <a:pt x="129" y="171"/>
                    </a:lnTo>
                    <a:lnTo>
                      <a:pt x="123" y="169"/>
                    </a:lnTo>
                    <a:lnTo>
                      <a:pt x="124" y="163"/>
                    </a:lnTo>
                    <a:lnTo>
                      <a:pt x="123" y="161"/>
                    </a:lnTo>
                    <a:lnTo>
                      <a:pt x="122" y="159"/>
                    </a:lnTo>
                    <a:lnTo>
                      <a:pt x="126" y="152"/>
                    </a:lnTo>
                    <a:lnTo>
                      <a:pt x="125" y="149"/>
                    </a:lnTo>
                    <a:lnTo>
                      <a:pt x="122" y="145"/>
                    </a:lnTo>
                    <a:lnTo>
                      <a:pt x="119" y="145"/>
                    </a:lnTo>
                    <a:lnTo>
                      <a:pt x="118" y="140"/>
                    </a:lnTo>
                    <a:lnTo>
                      <a:pt x="121" y="142"/>
                    </a:lnTo>
                    <a:lnTo>
                      <a:pt x="126" y="142"/>
                    </a:lnTo>
                    <a:lnTo>
                      <a:pt x="131" y="145"/>
                    </a:lnTo>
                    <a:lnTo>
                      <a:pt x="135" y="145"/>
                    </a:lnTo>
                    <a:lnTo>
                      <a:pt x="142" y="144"/>
                    </a:lnTo>
                    <a:lnTo>
                      <a:pt x="143" y="145"/>
                    </a:lnTo>
                    <a:lnTo>
                      <a:pt x="148" y="144"/>
                    </a:lnTo>
                    <a:lnTo>
                      <a:pt x="152" y="139"/>
                    </a:lnTo>
                    <a:lnTo>
                      <a:pt x="156" y="139"/>
                    </a:lnTo>
                    <a:lnTo>
                      <a:pt x="159" y="139"/>
                    </a:lnTo>
                    <a:lnTo>
                      <a:pt x="159" y="139"/>
                    </a:lnTo>
                    <a:lnTo>
                      <a:pt x="165" y="136"/>
                    </a:lnTo>
                    <a:lnTo>
                      <a:pt x="170" y="136"/>
                    </a:lnTo>
                    <a:lnTo>
                      <a:pt x="177" y="130"/>
                    </a:lnTo>
                    <a:lnTo>
                      <a:pt x="178" y="125"/>
                    </a:lnTo>
                    <a:lnTo>
                      <a:pt x="178" y="122"/>
                    </a:lnTo>
                    <a:lnTo>
                      <a:pt x="178" y="121"/>
                    </a:lnTo>
                    <a:lnTo>
                      <a:pt x="173" y="117"/>
                    </a:lnTo>
                    <a:lnTo>
                      <a:pt x="169" y="111"/>
                    </a:lnTo>
                    <a:lnTo>
                      <a:pt x="167" y="106"/>
                    </a:lnTo>
                    <a:lnTo>
                      <a:pt x="170" y="103"/>
                    </a:lnTo>
                    <a:lnTo>
                      <a:pt x="171" y="97"/>
                    </a:lnTo>
                    <a:lnTo>
                      <a:pt x="173" y="95"/>
                    </a:lnTo>
                    <a:lnTo>
                      <a:pt x="175" y="97"/>
                    </a:lnTo>
                    <a:lnTo>
                      <a:pt x="177" y="95"/>
                    </a:lnTo>
                    <a:lnTo>
                      <a:pt x="180" y="96"/>
                    </a:lnTo>
                    <a:lnTo>
                      <a:pt x="184" y="94"/>
                    </a:lnTo>
                    <a:lnTo>
                      <a:pt x="184" y="90"/>
                    </a:lnTo>
                    <a:lnTo>
                      <a:pt x="182" y="87"/>
                    </a:lnTo>
                    <a:lnTo>
                      <a:pt x="178" y="87"/>
                    </a:lnTo>
                    <a:lnTo>
                      <a:pt x="177" y="83"/>
                    </a:lnTo>
                    <a:lnTo>
                      <a:pt x="176" y="81"/>
                    </a:lnTo>
                    <a:lnTo>
                      <a:pt x="180" y="76"/>
                    </a:lnTo>
                    <a:lnTo>
                      <a:pt x="182" y="76"/>
                    </a:lnTo>
                    <a:lnTo>
                      <a:pt x="185" y="73"/>
                    </a:lnTo>
                    <a:lnTo>
                      <a:pt x="189" y="67"/>
                    </a:lnTo>
                    <a:lnTo>
                      <a:pt x="190" y="66"/>
                    </a:lnTo>
                    <a:lnTo>
                      <a:pt x="189" y="65"/>
                    </a:lnTo>
                    <a:lnTo>
                      <a:pt x="184" y="63"/>
                    </a:lnTo>
                    <a:lnTo>
                      <a:pt x="181" y="62"/>
                    </a:lnTo>
                    <a:lnTo>
                      <a:pt x="180" y="63"/>
                    </a:lnTo>
                    <a:lnTo>
                      <a:pt x="177" y="63"/>
                    </a:lnTo>
                    <a:lnTo>
                      <a:pt x="175" y="63"/>
                    </a:lnTo>
                    <a:lnTo>
                      <a:pt x="173" y="63"/>
                    </a:lnTo>
                    <a:lnTo>
                      <a:pt x="168" y="65"/>
                    </a:lnTo>
                    <a:lnTo>
                      <a:pt x="165" y="64"/>
                    </a:lnTo>
                    <a:lnTo>
                      <a:pt x="163" y="64"/>
                    </a:lnTo>
                    <a:lnTo>
                      <a:pt x="166" y="63"/>
                    </a:lnTo>
                    <a:lnTo>
                      <a:pt x="168" y="63"/>
                    </a:lnTo>
                    <a:lnTo>
                      <a:pt x="170" y="62"/>
                    </a:lnTo>
                    <a:lnTo>
                      <a:pt x="171" y="59"/>
                    </a:lnTo>
                    <a:lnTo>
                      <a:pt x="174" y="56"/>
                    </a:lnTo>
                    <a:lnTo>
                      <a:pt x="174" y="55"/>
                    </a:lnTo>
                    <a:lnTo>
                      <a:pt x="173" y="53"/>
                    </a:lnTo>
                    <a:lnTo>
                      <a:pt x="173" y="52"/>
                    </a:lnTo>
                    <a:lnTo>
                      <a:pt x="172" y="49"/>
                    </a:lnTo>
                    <a:lnTo>
                      <a:pt x="168" y="47"/>
                    </a:lnTo>
                    <a:lnTo>
                      <a:pt x="163" y="45"/>
                    </a:lnTo>
                    <a:lnTo>
                      <a:pt x="162" y="44"/>
                    </a:lnTo>
                    <a:lnTo>
                      <a:pt x="160" y="42"/>
                    </a:lnTo>
                    <a:lnTo>
                      <a:pt x="157" y="42"/>
                    </a:lnTo>
                    <a:lnTo>
                      <a:pt x="156" y="41"/>
                    </a:lnTo>
                    <a:lnTo>
                      <a:pt x="154" y="39"/>
                    </a:lnTo>
                    <a:lnTo>
                      <a:pt x="152" y="39"/>
                    </a:lnTo>
                    <a:lnTo>
                      <a:pt x="152" y="42"/>
                    </a:lnTo>
                    <a:lnTo>
                      <a:pt x="150" y="39"/>
                    </a:lnTo>
                    <a:lnTo>
                      <a:pt x="149" y="36"/>
                    </a:lnTo>
                    <a:lnTo>
                      <a:pt x="146" y="34"/>
                    </a:lnTo>
                    <a:lnTo>
                      <a:pt x="145" y="32"/>
                    </a:lnTo>
                    <a:lnTo>
                      <a:pt x="147" y="31"/>
                    </a:lnTo>
                    <a:lnTo>
                      <a:pt x="153" y="31"/>
                    </a:lnTo>
                    <a:lnTo>
                      <a:pt x="156" y="29"/>
                    </a:lnTo>
                    <a:lnTo>
                      <a:pt x="159" y="28"/>
                    </a:lnTo>
                    <a:lnTo>
                      <a:pt x="160" y="26"/>
                    </a:lnTo>
                    <a:lnTo>
                      <a:pt x="156" y="27"/>
                    </a:lnTo>
                    <a:lnTo>
                      <a:pt x="150" y="25"/>
                    </a:lnTo>
                    <a:lnTo>
                      <a:pt x="145" y="26"/>
                    </a:lnTo>
                    <a:lnTo>
                      <a:pt x="142" y="26"/>
                    </a:lnTo>
                    <a:lnTo>
                      <a:pt x="136" y="28"/>
                    </a:lnTo>
                    <a:lnTo>
                      <a:pt x="135" y="28"/>
                    </a:lnTo>
                    <a:lnTo>
                      <a:pt x="132" y="28"/>
                    </a:lnTo>
                    <a:lnTo>
                      <a:pt x="127" y="32"/>
                    </a:lnTo>
                    <a:lnTo>
                      <a:pt x="124" y="33"/>
                    </a:lnTo>
                    <a:lnTo>
                      <a:pt x="121" y="35"/>
                    </a:lnTo>
                    <a:lnTo>
                      <a:pt x="120" y="37"/>
                    </a:lnTo>
                    <a:lnTo>
                      <a:pt x="115" y="37"/>
                    </a:lnTo>
                    <a:lnTo>
                      <a:pt x="114" y="39"/>
                    </a:lnTo>
                    <a:lnTo>
                      <a:pt x="112" y="38"/>
                    </a:lnTo>
                    <a:lnTo>
                      <a:pt x="106" y="32"/>
                    </a:lnTo>
                    <a:lnTo>
                      <a:pt x="104" y="29"/>
                    </a:lnTo>
                    <a:lnTo>
                      <a:pt x="103" y="29"/>
                    </a:lnTo>
                    <a:lnTo>
                      <a:pt x="96" y="29"/>
                    </a:lnTo>
                    <a:lnTo>
                      <a:pt x="83" y="32"/>
                    </a:lnTo>
                    <a:lnTo>
                      <a:pt x="76" y="32"/>
                    </a:lnTo>
                    <a:lnTo>
                      <a:pt x="73" y="31"/>
                    </a:lnTo>
                    <a:lnTo>
                      <a:pt x="73" y="28"/>
                    </a:lnTo>
                    <a:lnTo>
                      <a:pt x="73" y="25"/>
                    </a:lnTo>
                    <a:lnTo>
                      <a:pt x="74" y="25"/>
                    </a:lnTo>
                    <a:lnTo>
                      <a:pt x="73" y="21"/>
                    </a:lnTo>
                    <a:lnTo>
                      <a:pt x="71" y="17"/>
                    </a:lnTo>
                    <a:lnTo>
                      <a:pt x="68" y="16"/>
                    </a:lnTo>
                    <a:lnTo>
                      <a:pt x="62" y="17"/>
                    </a:lnTo>
                    <a:lnTo>
                      <a:pt x="59" y="14"/>
                    </a:lnTo>
                    <a:lnTo>
                      <a:pt x="56" y="14"/>
                    </a:lnTo>
                    <a:lnTo>
                      <a:pt x="54" y="15"/>
                    </a:lnTo>
                    <a:lnTo>
                      <a:pt x="52" y="11"/>
                    </a:lnTo>
                    <a:lnTo>
                      <a:pt x="52" y="6"/>
                    </a:lnTo>
                    <a:lnTo>
                      <a:pt x="51" y="1"/>
                    </a:lnTo>
                    <a:lnTo>
                      <a:pt x="49" y="0"/>
                    </a:lnTo>
                    <a:lnTo>
                      <a:pt x="45" y="2"/>
                    </a:lnTo>
                    <a:lnTo>
                      <a:pt x="42" y="7"/>
                    </a:lnTo>
                    <a:lnTo>
                      <a:pt x="42" y="11"/>
                    </a:lnTo>
                    <a:lnTo>
                      <a:pt x="44" y="13"/>
                    </a:lnTo>
                    <a:lnTo>
                      <a:pt x="47" y="11"/>
                    </a:lnTo>
                    <a:lnTo>
                      <a:pt x="49" y="11"/>
                    </a:lnTo>
                    <a:lnTo>
                      <a:pt x="52" y="14"/>
                    </a:lnTo>
                    <a:lnTo>
                      <a:pt x="51" y="16"/>
                    </a:lnTo>
                    <a:lnTo>
                      <a:pt x="48" y="17"/>
                    </a:lnTo>
                    <a:lnTo>
                      <a:pt x="45" y="15"/>
                    </a:lnTo>
                    <a:lnTo>
                      <a:pt x="45" y="14"/>
                    </a:lnTo>
                    <a:lnTo>
                      <a:pt x="44" y="15"/>
                    </a:lnTo>
                    <a:lnTo>
                      <a:pt x="44" y="17"/>
                    </a:lnTo>
                    <a:lnTo>
                      <a:pt x="41" y="19"/>
                    </a:lnTo>
                    <a:lnTo>
                      <a:pt x="35" y="20"/>
                    </a:lnTo>
                    <a:lnTo>
                      <a:pt x="28" y="23"/>
                    </a:lnTo>
                    <a:lnTo>
                      <a:pt x="26" y="26"/>
                    </a:lnTo>
                    <a:lnTo>
                      <a:pt x="26" y="29"/>
                    </a:lnTo>
                    <a:lnTo>
                      <a:pt x="28" y="32"/>
                    </a:lnTo>
                    <a:lnTo>
                      <a:pt x="28" y="39"/>
                    </a:lnTo>
                    <a:lnTo>
                      <a:pt x="28" y="44"/>
                    </a:lnTo>
                    <a:lnTo>
                      <a:pt x="29" y="48"/>
                    </a:lnTo>
                    <a:lnTo>
                      <a:pt x="28" y="53"/>
                    </a:lnTo>
                    <a:lnTo>
                      <a:pt x="23" y="56"/>
                    </a:lnTo>
                    <a:lnTo>
                      <a:pt x="20" y="56"/>
                    </a:lnTo>
                    <a:lnTo>
                      <a:pt x="20" y="51"/>
                    </a:lnTo>
                    <a:lnTo>
                      <a:pt x="17" y="47"/>
                    </a:lnTo>
                    <a:lnTo>
                      <a:pt x="17" y="44"/>
                    </a:lnTo>
                    <a:lnTo>
                      <a:pt x="19" y="41"/>
                    </a:lnTo>
                    <a:lnTo>
                      <a:pt x="19" y="39"/>
                    </a:lnTo>
                    <a:lnTo>
                      <a:pt x="24" y="33"/>
                    </a:lnTo>
                    <a:lnTo>
                      <a:pt x="24" y="28"/>
                    </a:lnTo>
                    <a:lnTo>
                      <a:pt x="23" y="24"/>
                    </a:lnTo>
                    <a:lnTo>
                      <a:pt x="23" y="22"/>
                    </a:lnTo>
                    <a:lnTo>
                      <a:pt x="23" y="20"/>
                    </a:lnTo>
                    <a:lnTo>
                      <a:pt x="21" y="18"/>
                    </a:lnTo>
                    <a:lnTo>
                      <a:pt x="20" y="15"/>
                    </a:lnTo>
                    <a:lnTo>
                      <a:pt x="21" y="13"/>
                    </a:lnTo>
                    <a:lnTo>
                      <a:pt x="24" y="11"/>
                    </a:lnTo>
                    <a:lnTo>
                      <a:pt x="27" y="11"/>
                    </a:lnTo>
                    <a:lnTo>
                      <a:pt x="30" y="7"/>
                    </a:lnTo>
                    <a:lnTo>
                      <a:pt x="28" y="6"/>
                    </a:lnTo>
                    <a:lnTo>
                      <a:pt x="28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1" name="Freeform 1305">
                <a:extLst>
                  <a:ext uri="{FF2B5EF4-FFF2-40B4-BE49-F238E27FC236}">
                    <a16:creationId xmlns:a16="http://schemas.microsoft.com/office/drawing/2014/main" id="{8E824ECD-2E68-4559-9419-197F8C4CF7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4176" y="4111625"/>
                <a:ext cx="7938" cy="11113"/>
              </a:xfrm>
              <a:custGeom>
                <a:avLst/>
                <a:gdLst>
                  <a:gd name="T0" fmla="*/ 0 w 5"/>
                  <a:gd name="T1" fmla="*/ 0 h 7"/>
                  <a:gd name="T2" fmla="*/ 0 w 5"/>
                  <a:gd name="T3" fmla="*/ 3 h 7"/>
                  <a:gd name="T4" fmla="*/ 1 w 5"/>
                  <a:gd name="T5" fmla="*/ 6 h 7"/>
                  <a:gd name="T6" fmla="*/ 4 w 5"/>
                  <a:gd name="T7" fmla="*/ 7 h 7"/>
                  <a:gd name="T8" fmla="*/ 5 w 5"/>
                  <a:gd name="T9" fmla="*/ 5 h 7"/>
                  <a:gd name="T10" fmla="*/ 3 w 5"/>
                  <a:gd name="T11" fmla="*/ 4 h 7"/>
                  <a:gd name="T12" fmla="*/ 0 w 5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7">
                    <a:moveTo>
                      <a:pt x="0" y="0"/>
                    </a:moveTo>
                    <a:lnTo>
                      <a:pt x="0" y="3"/>
                    </a:lnTo>
                    <a:lnTo>
                      <a:pt x="1" y="6"/>
                    </a:lnTo>
                    <a:lnTo>
                      <a:pt x="4" y="7"/>
                    </a:lnTo>
                    <a:lnTo>
                      <a:pt x="5" y="5"/>
                    </a:lnTo>
                    <a:lnTo>
                      <a:pt x="3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2" name="Freeform 1306">
                <a:extLst>
                  <a:ext uri="{FF2B5EF4-FFF2-40B4-BE49-F238E27FC236}">
                    <a16:creationId xmlns:a16="http://schemas.microsoft.com/office/drawing/2014/main" id="{259B8864-2115-4FC1-A49E-B5C8405CA8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338" y="4111625"/>
                <a:ext cx="268288" cy="460375"/>
              </a:xfrm>
              <a:custGeom>
                <a:avLst/>
                <a:gdLst>
                  <a:gd name="T0" fmla="*/ 20 w 169"/>
                  <a:gd name="T1" fmla="*/ 210 h 290"/>
                  <a:gd name="T2" fmla="*/ 37 w 169"/>
                  <a:gd name="T3" fmla="*/ 218 h 290"/>
                  <a:gd name="T4" fmla="*/ 45 w 169"/>
                  <a:gd name="T5" fmla="*/ 213 h 290"/>
                  <a:gd name="T6" fmla="*/ 51 w 169"/>
                  <a:gd name="T7" fmla="*/ 218 h 290"/>
                  <a:gd name="T8" fmla="*/ 65 w 169"/>
                  <a:gd name="T9" fmla="*/ 228 h 290"/>
                  <a:gd name="T10" fmla="*/ 79 w 169"/>
                  <a:gd name="T11" fmla="*/ 245 h 290"/>
                  <a:gd name="T12" fmla="*/ 83 w 169"/>
                  <a:gd name="T13" fmla="*/ 256 h 290"/>
                  <a:gd name="T14" fmla="*/ 96 w 169"/>
                  <a:gd name="T15" fmla="*/ 260 h 290"/>
                  <a:gd name="T16" fmla="*/ 113 w 169"/>
                  <a:gd name="T17" fmla="*/ 256 h 290"/>
                  <a:gd name="T18" fmla="*/ 124 w 169"/>
                  <a:gd name="T19" fmla="*/ 262 h 290"/>
                  <a:gd name="T20" fmla="*/ 120 w 169"/>
                  <a:gd name="T21" fmla="*/ 284 h 290"/>
                  <a:gd name="T22" fmla="*/ 137 w 169"/>
                  <a:gd name="T23" fmla="*/ 245 h 290"/>
                  <a:gd name="T24" fmla="*/ 127 w 169"/>
                  <a:gd name="T25" fmla="*/ 221 h 290"/>
                  <a:gd name="T26" fmla="*/ 138 w 169"/>
                  <a:gd name="T27" fmla="*/ 206 h 290"/>
                  <a:gd name="T28" fmla="*/ 131 w 169"/>
                  <a:gd name="T29" fmla="*/ 188 h 290"/>
                  <a:gd name="T30" fmla="*/ 155 w 169"/>
                  <a:gd name="T31" fmla="*/ 186 h 290"/>
                  <a:gd name="T32" fmla="*/ 165 w 169"/>
                  <a:gd name="T33" fmla="*/ 192 h 290"/>
                  <a:gd name="T34" fmla="*/ 166 w 169"/>
                  <a:gd name="T35" fmla="*/ 184 h 290"/>
                  <a:gd name="T36" fmla="*/ 162 w 169"/>
                  <a:gd name="T37" fmla="*/ 170 h 290"/>
                  <a:gd name="T38" fmla="*/ 163 w 169"/>
                  <a:gd name="T39" fmla="*/ 158 h 290"/>
                  <a:gd name="T40" fmla="*/ 158 w 169"/>
                  <a:gd name="T41" fmla="*/ 139 h 290"/>
                  <a:gd name="T42" fmla="*/ 163 w 169"/>
                  <a:gd name="T43" fmla="*/ 123 h 290"/>
                  <a:gd name="T44" fmla="*/ 162 w 169"/>
                  <a:gd name="T45" fmla="*/ 107 h 290"/>
                  <a:gd name="T46" fmla="*/ 149 w 169"/>
                  <a:gd name="T47" fmla="*/ 110 h 290"/>
                  <a:gd name="T48" fmla="*/ 138 w 169"/>
                  <a:gd name="T49" fmla="*/ 107 h 290"/>
                  <a:gd name="T50" fmla="*/ 116 w 169"/>
                  <a:gd name="T51" fmla="*/ 94 h 290"/>
                  <a:gd name="T52" fmla="*/ 103 w 169"/>
                  <a:gd name="T53" fmla="*/ 93 h 290"/>
                  <a:gd name="T54" fmla="*/ 95 w 169"/>
                  <a:gd name="T55" fmla="*/ 83 h 290"/>
                  <a:gd name="T56" fmla="*/ 87 w 169"/>
                  <a:gd name="T57" fmla="*/ 57 h 290"/>
                  <a:gd name="T58" fmla="*/ 85 w 169"/>
                  <a:gd name="T59" fmla="*/ 44 h 290"/>
                  <a:gd name="T60" fmla="*/ 95 w 169"/>
                  <a:gd name="T61" fmla="*/ 24 h 290"/>
                  <a:gd name="T62" fmla="*/ 110 w 169"/>
                  <a:gd name="T63" fmla="*/ 9 h 290"/>
                  <a:gd name="T64" fmla="*/ 113 w 169"/>
                  <a:gd name="T65" fmla="*/ 3 h 290"/>
                  <a:gd name="T66" fmla="*/ 103 w 169"/>
                  <a:gd name="T67" fmla="*/ 3 h 290"/>
                  <a:gd name="T68" fmla="*/ 97 w 169"/>
                  <a:gd name="T69" fmla="*/ 8 h 290"/>
                  <a:gd name="T70" fmla="*/ 81 w 169"/>
                  <a:gd name="T71" fmla="*/ 19 h 290"/>
                  <a:gd name="T72" fmla="*/ 71 w 169"/>
                  <a:gd name="T73" fmla="*/ 25 h 290"/>
                  <a:gd name="T74" fmla="*/ 67 w 169"/>
                  <a:gd name="T75" fmla="*/ 26 h 290"/>
                  <a:gd name="T76" fmla="*/ 56 w 169"/>
                  <a:gd name="T77" fmla="*/ 27 h 290"/>
                  <a:gd name="T78" fmla="*/ 48 w 169"/>
                  <a:gd name="T79" fmla="*/ 44 h 290"/>
                  <a:gd name="T80" fmla="*/ 44 w 169"/>
                  <a:gd name="T81" fmla="*/ 52 h 290"/>
                  <a:gd name="T82" fmla="*/ 33 w 169"/>
                  <a:gd name="T83" fmla="*/ 64 h 290"/>
                  <a:gd name="T84" fmla="*/ 32 w 169"/>
                  <a:gd name="T85" fmla="*/ 79 h 290"/>
                  <a:gd name="T86" fmla="*/ 27 w 169"/>
                  <a:gd name="T87" fmla="*/ 72 h 290"/>
                  <a:gd name="T88" fmla="*/ 24 w 169"/>
                  <a:gd name="T89" fmla="*/ 75 h 290"/>
                  <a:gd name="T90" fmla="*/ 16 w 169"/>
                  <a:gd name="T91" fmla="*/ 90 h 290"/>
                  <a:gd name="T92" fmla="*/ 22 w 169"/>
                  <a:gd name="T93" fmla="*/ 102 h 290"/>
                  <a:gd name="T94" fmla="*/ 23 w 169"/>
                  <a:gd name="T95" fmla="*/ 111 h 290"/>
                  <a:gd name="T96" fmla="*/ 22 w 169"/>
                  <a:gd name="T97" fmla="*/ 122 h 290"/>
                  <a:gd name="T98" fmla="*/ 21 w 169"/>
                  <a:gd name="T99" fmla="*/ 144 h 290"/>
                  <a:gd name="T100" fmla="*/ 27 w 169"/>
                  <a:gd name="T101" fmla="*/ 150 h 290"/>
                  <a:gd name="T102" fmla="*/ 19 w 169"/>
                  <a:gd name="T103" fmla="*/ 167 h 290"/>
                  <a:gd name="T104" fmla="*/ 1 w 169"/>
                  <a:gd name="T105" fmla="*/ 190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69" h="290">
                    <a:moveTo>
                      <a:pt x="9" y="198"/>
                    </a:moveTo>
                    <a:lnTo>
                      <a:pt x="15" y="204"/>
                    </a:lnTo>
                    <a:lnTo>
                      <a:pt x="17" y="204"/>
                    </a:lnTo>
                    <a:lnTo>
                      <a:pt x="21" y="207"/>
                    </a:lnTo>
                    <a:lnTo>
                      <a:pt x="20" y="210"/>
                    </a:lnTo>
                    <a:lnTo>
                      <a:pt x="21" y="212"/>
                    </a:lnTo>
                    <a:lnTo>
                      <a:pt x="25" y="213"/>
                    </a:lnTo>
                    <a:lnTo>
                      <a:pt x="30" y="216"/>
                    </a:lnTo>
                    <a:lnTo>
                      <a:pt x="32" y="217"/>
                    </a:lnTo>
                    <a:lnTo>
                      <a:pt x="37" y="218"/>
                    </a:lnTo>
                    <a:lnTo>
                      <a:pt x="38" y="217"/>
                    </a:lnTo>
                    <a:lnTo>
                      <a:pt x="38" y="213"/>
                    </a:lnTo>
                    <a:lnTo>
                      <a:pt x="40" y="211"/>
                    </a:lnTo>
                    <a:lnTo>
                      <a:pt x="41" y="211"/>
                    </a:lnTo>
                    <a:lnTo>
                      <a:pt x="45" y="213"/>
                    </a:lnTo>
                    <a:lnTo>
                      <a:pt x="47" y="214"/>
                    </a:lnTo>
                    <a:lnTo>
                      <a:pt x="48" y="217"/>
                    </a:lnTo>
                    <a:lnTo>
                      <a:pt x="50" y="218"/>
                    </a:lnTo>
                    <a:lnTo>
                      <a:pt x="51" y="218"/>
                    </a:lnTo>
                    <a:lnTo>
                      <a:pt x="51" y="218"/>
                    </a:lnTo>
                    <a:lnTo>
                      <a:pt x="53" y="220"/>
                    </a:lnTo>
                    <a:lnTo>
                      <a:pt x="58" y="221"/>
                    </a:lnTo>
                    <a:lnTo>
                      <a:pt x="61" y="222"/>
                    </a:lnTo>
                    <a:lnTo>
                      <a:pt x="62" y="224"/>
                    </a:lnTo>
                    <a:lnTo>
                      <a:pt x="65" y="228"/>
                    </a:lnTo>
                    <a:lnTo>
                      <a:pt x="65" y="232"/>
                    </a:lnTo>
                    <a:lnTo>
                      <a:pt x="68" y="237"/>
                    </a:lnTo>
                    <a:lnTo>
                      <a:pt x="70" y="237"/>
                    </a:lnTo>
                    <a:lnTo>
                      <a:pt x="76" y="240"/>
                    </a:lnTo>
                    <a:lnTo>
                      <a:pt x="79" y="245"/>
                    </a:lnTo>
                    <a:lnTo>
                      <a:pt x="79" y="249"/>
                    </a:lnTo>
                    <a:lnTo>
                      <a:pt x="80" y="249"/>
                    </a:lnTo>
                    <a:lnTo>
                      <a:pt x="82" y="251"/>
                    </a:lnTo>
                    <a:lnTo>
                      <a:pt x="84" y="255"/>
                    </a:lnTo>
                    <a:lnTo>
                      <a:pt x="83" y="256"/>
                    </a:lnTo>
                    <a:lnTo>
                      <a:pt x="84" y="259"/>
                    </a:lnTo>
                    <a:lnTo>
                      <a:pt x="86" y="260"/>
                    </a:lnTo>
                    <a:lnTo>
                      <a:pt x="89" y="259"/>
                    </a:lnTo>
                    <a:lnTo>
                      <a:pt x="92" y="260"/>
                    </a:lnTo>
                    <a:lnTo>
                      <a:pt x="96" y="260"/>
                    </a:lnTo>
                    <a:lnTo>
                      <a:pt x="96" y="259"/>
                    </a:lnTo>
                    <a:lnTo>
                      <a:pt x="101" y="256"/>
                    </a:lnTo>
                    <a:lnTo>
                      <a:pt x="105" y="257"/>
                    </a:lnTo>
                    <a:lnTo>
                      <a:pt x="109" y="259"/>
                    </a:lnTo>
                    <a:lnTo>
                      <a:pt x="113" y="256"/>
                    </a:lnTo>
                    <a:lnTo>
                      <a:pt x="116" y="256"/>
                    </a:lnTo>
                    <a:lnTo>
                      <a:pt x="117" y="259"/>
                    </a:lnTo>
                    <a:lnTo>
                      <a:pt x="119" y="259"/>
                    </a:lnTo>
                    <a:lnTo>
                      <a:pt x="122" y="260"/>
                    </a:lnTo>
                    <a:lnTo>
                      <a:pt x="124" y="262"/>
                    </a:lnTo>
                    <a:lnTo>
                      <a:pt x="126" y="262"/>
                    </a:lnTo>
                    <a:lnTo>
                      <a:pt x="126" y="264"/>
                    </a:lnTo>
                    <a:lnTo>
                      <a:pt x="117" y="283"/>
                    </a:lnTo>
                    <a:lnTo>
                      <a:pt x="117" y="284"/>
                    </a:lnTo>
                    <a:lnTo>
                      <a:pt x="120" y="284"/>
                    </a:lnTo>
                    <a:lnTo>
                      <a:pt x="124" y="283"/>
                    </a:lnTo>
                    <a:lnTo>
                      <a:pt x="127" y="287"/>
                    </a:lnTo>
                    <a:lnTo>
                      <a:pt x="127" y="290"/>
                    </a:lnTo>
                    <a:lnTo>
                      <a:pt x="130" y="281"/>
                    </a:lnTo>
                    <a:lnTo>
                      <a:pt x="137" y="245"/>
                    </a:lnTo>
                    <a:lnTo>
                      <a:pt x="137" y="243"/>
                    </a:lnTo>
                    <a:lnTo>
                      <a:pt x="137" y="237"/>
                    </a:lnTo>
                    <a:lnTo>
                      <a:pt x="134" y="230"/>
                    </a:lnTo>
                    <a:lnTo>
                      <a:pt x="129" y="224"/>
                    </a:lnTo>
                    <a:lnTo>
                      <a:pt x="127" y="221"/>
                    </a:lnTo>
                    <a:lnTo>
                      <a:pt x="126" y="212"/>
                    </a:lnTo>
                    <a:lnTo>
                      <a:pt x="135" y="208"/>
                    </a:lnTo>
                    <a:lnTo>
                      <a:pt x="139" y="211"/>
                    </a:lnTo>
                    <a:lnTo>
                      <a:pt x="140" y="207"/>
                    </a:lnTo>
                    <a:lnTo>
                      <a:pt x="138" y="206"/>
                    </a:lnTo>
                    <a:lnTo>
                      <a:pt x="140" y="204"/>
                    </a:lnTo>
                    <a:lnTo>
                      <a:pt x="137" y="199"/>
                    </a:lnTo>
                    <a:lnTo>
                      <a:pt x="132" y="197"/>
                    </a:lnTo>
                    <a:lnTo>
                      <a:pt x="130" y="193"/>
                    </a:lnTo>
                    <a:lnTo>
                      <a:pt x="131" y="188"/>
                    </a:lnTo>
                    <a:lnTo>
                      <a:pt x="148" y="188"/>
                    </a:lnTo>
                    <a:lnTo>
                      <a:pt x="149" y="185"/>
                    </a:lnTo>
                    <a:lnTo>
                      <a:pt x="152" y="185"/>
                    </a:lnTo>
                    <a:lnTo>
                      <a:pt x="154" y="187"/>
                    </a:lnTo>
                    <a:lnTo>
                      <a:pt x="155" y="186"/>
                    </a:lnTo>
                    <a:lnTo>
                      <a:pt x="158" y="183"/>
                    </a:lnTo>
                    <a:lnTo>
                      <a:pt x="162" y="182"/>
                    </a:lnTo>
                    <a:lnTo>
                      <a:pt x="163" y="184"/>
                    </a:lnTo>
                    <a:lnTo>
                      <a:pt x="165" y="188"/>
                    </a:lnTo>
                    <a:lnTo>
                      <a:pt x="165" y="192"/>
                    </a:lnTo>
                    <a:lnTo>
                      <a:pt x="165" y="197"/>
                    </a:lnTo>
                    <a:lnTo>
                      <a:pt x="169" y="196"/>
                    </a:lnTo>
                    <a:lnTo>
                      <a:pt x="169" y="196"/>
                    </a:lnTo>
                    <a:lnTo>
                      <a:pt x="169" y="193"/>
                    </a:lnTo>
                    <a:lnTo>
                      <a:pt x="166" y="184"/>
                    </a:lnTo>
                    <a:lnTo>
                      <a:pt x="165" y="180"/>
                    </a:lnTo>
                    <a:lnTo>
                      <a:pt x="165" y="178"/>
                    </a:lnTo>
                    <a:lnTo>
                      <a:pt x="164" y="174"/>
                    </a:lnTo>
                    <a:lnTo>
                      <a:pt x="163" y="173"/>
                    </a:lnTo>
                    <a:lnTo>
                      <a:pt x="162" y="170"/>
                    </a:lnTo>
                    <a:lnTo>
                      <a:pt x="162" y="169"/>
                    </a:lnTo>
                    <a:lnTo>
                      <a:pt x="160" y="171"/>
                    </a:lnTo>
                    <a:lnTo>
                      <a:pt x="158" y="170"/>
                    </a:lnTo>
                    <a:lnTo>
                      <a:pt x="158" y="168"/>
                    </a:lnTo>
                    <a:lnTo>
                      <a:pt x="163" y="158"/>
                    </a:lnTo>
                    <a:lnTo>
                      <a:pt x="160" y="149"/>
                    </a:lnTo>
                    <a:lnTo>
                      <a:pt x="160" y="147"/>
                    </a:lnTo>
                    <a:lnTo>
                      <a:pt x="158" y="145"/>
                    </a:lnTo>
                    <a:lnTo>
                      <a:pt x="158" y="139"/>
                    </a:lnTo>
                    <a:lnTo>
                      <a:pt x="158" y="139"/>
                    </a:lnTo>
                    <a:lnTo>
                      <a:pt x="159" y="135"/>
                    </a:lnTo>
                    <a:lnTo>
                      <a:pt x="158" y="132"/>
                    </a:lnTo>
                    <a:lnTo>
                      <a:pt x="158" y="126"/>
                    </a:lnTo>
                    <a:lnTo>
                      <a:pt x="159" y="124"/>
                    </a:lnTo>
                    <a:lnTo>
                      <a:pt x="163" y="123"/>
                    </a:lnTo>
                    <a:lnTo>
                      <a:pt x="164" y="121"/>
                    </a:lnTo>
                    <a:lnTo>
                      <a:pt x="164" y="117"/>
                    </a:lnTo>
                    <a:lnTo>
                      <a:pt x="165" y="115"/>
                    </a:lnTo>
                    <a:lnTo>
                      <a:pt x="164" y="108"/>
                    </a:lnTo>
                    <a:lnTo>
                      <a:pt x="162" y="107"/>
                    </a:lnTo>
                    <a:lnTo>
                      <a:pt x="159" y="107"/>
                    </a:lnTo>
                    <a:lnTo>
                      <a:pt x="158" y="108"/>
                    </a:lnTo>
                    <a:lnTo>
                      <a:pt x="155" y="107"/>
                    </a:lnTo>
                    <a:lnTo>
                      <a:pt x="152" y="107"/>
                    </a:lnTo>
                    <a:lnTo>
                      <a:pt x="149" y="110"/>
                    </a:lnTo>
                    <a:lnTo>
                      <a:pt x="148" y="108"/>
                    </a:lnTo>
                    <a:lnTo>
                      <a:pt x="144" y="107"/>
                    </a:lnTo>
                    <a:lnTo>
                      <a:pt x="144" y="107"/>
                    </a:lnTo>
                    <a:lnTo>
                      <a:pt x="142" y="107"/>
                    </a:lnTo>
                    <a:lnTo>
                      <a:pt x="138" y="107"/>
                    </a:lnTo>
                    <a:lnTo>
                      <a:pt x="128" y="95"/>
                    </a:lnTo>
                    <a:lnTo>
                      <a:pt x="125" y="93"/>
                    </a:lnTo>
                    <a:lnTo>
                      <a:pt x="121" y="93"/>
                    </a:lnTo>
                    <a:lnTo>
                      <a:pt x="117" y="93"/>
                    </a:lnTo>
                    <a:lnTo>
                      <a:pt x="116" y="94"/>
                    </a:lnTo>
                    <a:lnTo>
                      <a:pt x="113" y="93"/>
                    </a:lnTo>
                    <a:lnTo>
                      <a:pt x="109" y="93"/>
                    </a:lnTo>
                    <a:lnTo>
                      <a:pt x="109" y="93"/>
                    </a:lnTo>
                    <a:lnTo>
                      <a:pt x="106" y="95"/>
                    </a:lnTo>
                    <a:lnTo>
                      <a:pt x="103" y="93"/>
                    </a:lnTo>
                    <a:lnTo>
                      <a:pt x="101" y="93"/>
                    </a:lnTo>
                    <a:lnTo>
                      <a:pt x="97" y="90"/>
                    </a:lnTo>
                    <a:lnTo>
                      <a:pt x="94" y="87"/>
                    </a:lnTo>
                    <a:lnTo>
                      <a:pt x="94" y="85"/>
                    </a:lnTo>
                    <a:lnTo>
                      <a:pt x="95" y="83"/>
                    </a:lnTo>
                    <a:lnTo>
                      <a:pt x="94" y="80"/>
                    </a:lnTo>
                    <a:lnTo>
                      <a:pt x="96" y="77"/>
                    </a:lnTo>
                    <a:lnTo>
                      <a:pt x="95" y="73"/>
                    </a:lnTo>
                    <a:lnTo>
                      <a:pt x="92" y="69"/>
                    </a:lnTo>
                    <a:lnTo>
                      <a:pt x="87" y="57"/>
                    </a:lnTo>
                    <a:lnTo>
                      <a:pt x="85" y="57"/>
                    </a:lnTo>
                    <a:lnTo>
                      <a:pt x="82" y="57"/>
                    </a:lnTo>
                    <a:lnTo>
                      <a:pt x="83" y="55"/>
                    </a:lnTo>
                    <a:lnTo>
                      <a:pt x="85" y="50"/>
                    </a:lnTo>
                    <a:lnTo>
                      <a:pt x="85" y="44"/>
                    </a:lnTo>
                    <a:lnTo>
                      <a:pt x="85" y="42"/>
                    </a:lnTo>
                    <a:lnTo>
                      <a:pt x="85" y="38"/>
                    </a:lnTo>
                    <a:lnTo>
                      <a:pt x="90" y="30"/>
                    </a:lnTo>
                    <a:lnTo>
                      <a:pt x="92" y="28"/>
                    </a:lnTo>
                    <a:lnTo>
                      <a:pt x="95" y="24"/>
                    </a:lnTo>
                    <a:lnTo>
                      <a:pt x="97" y="23"/>
                    </a:lnTo>
                    <a:lnTo>
                      <a:pt x="98" y="21"/>
                    </a:lnTo>
                    <a:lnTo>
                      <a:pt x="103" y="14"/>
                    </a:lnTo>
                    <a:lnTo>
                      <a:pt x="110" y="10"/>
                    </a:lnTo>
                    <a:lnTo>
                      <a:pt x="110" y="9"/>
                    </a:lnTo>
                    <a:lnTo>
                      <a:pt x="112" y="10"/>
                    </a:lnTo>
                    <a:lnTo>
                      <a:pt x="113" y="9"/>
                    </a:lnTo>
                    <a:lnTo>
                      <a:pt x="114" y="7"/>
                    </a:lnTo>
                    <a:lnTo>
                      <a:pt x="114" y="5"/>
                    </a:lnTo>
                    <a:lnTo>
                      <a:pt x="113" y="3"/>
                    </a:lnTo>
                    <a:lnTo>
                      <a:pt x="108" y="0"/>
                    </a:lnTo>
                    <a:lnTo>
                      <a:pt x="106" y="0"/>
                    </a:lnTo>
                    <a:lnTo>
                      <a:pt x="105" y="1"/>
                    </a:lnTo>
                    <a:lnTo>
                      <a:pt x="105" y="3"/>
                    </a:lnTo>
                    <a:lnTo>
                      <a:pt x="103" y="3"/>
                    </a:lnTo>
                    <a:lnTo>
                      <a:pt x="102" y="4"/>
                    </a:lnTo>
                    <a:lnTo>
                      <a:pt x="99" y="4"/>
                    </a:lnTo>
                    <a:lnTo>
                      <a:pt x="97" y="4"/>
                    </a:lnTo>
                    <a:lnTo>
                      <a:pt x="96" y="6"/>
                    </a:lnTo>
                    <a:lnTo>
                      <a:pt x="97" y="8"/>
                    </a:lnTo>
                    <a:lnTo>
                      <a:pt x="96" y="10"/>
                    </a:lnTo>
                    <a:lnTo>
                      <a:pt x="92" y="11"/>
                    </a:lnTo>
                    <a:lnTo>
                      <a:pt x="88" y="15"/>
                    </a:lnTo>
                    <a:lnTo>
                      <a:pt x="85" y="18"/>
                    </a:lnTo>
                    <a:lnTo>
                      <a:pt x="81" y="19"/>
                    </a:lnTo>
                    <a:lnTo>
                      <a:pt x="77" y="19"/>
                    </a:lnTo>
                    <a:lnTo>
                      <a:pt x="72" y="19"/>
                    </a:lnTo>
                    <a:lnTo>
                      <a:pt x="69" y="21"/>
                    </a:lnTo>
                    <a:lnTo>
                      <a:pt x="69" y="23"/>
                    </a:lnTo>
                    <a:lnTo>
                      <a:pt x="71" y="25"/>
                    </a:lnTo>
                    <a:lnTo>
                      <a:pt x="70" y="28"/>
                    </a:lnTo>
                    <a:lnTo>
                      <a:pt x="68" y="31"/>
                    </a:lnTo>
                    <a:lnTo>
                      <a:pt x="67" y="30"/>
                    </a:lnTo>
                    <a:lnTo>
                      <a:pt x="67" y="27"/>
                    </a:lnTo>
                    <a:lnTo>
                      <a:pt x="67" y="26"/>
                    </a:lnTo>
                    <a:lnTo>
                      <a:pt x="68" y="25"/>
                    </a:lnTo>
                    <a:lnTo>
                      <a:pt x="66" y="24"/>
                    </a:lnTo>
                    <a:lnTo>
                      <a:pt x="62" y="23"/>
                    </a:lnTo>
                    <a:lnTo>
                      <a:pt x="61" y="23"/>
                    </a:lnTo>
                    <a:lnTo>
                      <a:pt x="56" y="27"/>
                    </a:lnTo>
                    <a:lnTo>
                      <a:pt x="54" y="29"/>
                    </a:lnTo>
                    <a:lnTo>
                      <a:pt x="51" y="33"/>
                    </a:lnTo>
                    <a:lnTo>
                      <a:pt x="47" y="42"/>
                    </a:lnTo>
                    <a:lnTo>
                      <a:pt x="47" y="45"/>
                    </a:lnTo>
                    <a:lnTo>
                      <a:pt x="48" y="44"/>
                    </a:lnTo>
                    <a:lnTo>
                      <a:pt x="49" y="45"/>
                    </a:lnTo>
                    <a:lnTo>
                      <a:pt x="50" y="48"/>
                    </a:lnTo>
                    <a:lnTo>
                      <a:pt x="49" y="51"/>
                    </a:lnTo>
                    <a:lnTo>
                      <a:pt x="47" y="52"/>
                    </a:lnTo>
                    <a:lnTo>
                      <a:pt x="44" y="52"/>
                    </a:lnTo>
                    <a:lnTo>
                      <a:pt x="42" y="54"/>
                    </a:lnTo>
                    <a:lnTo>
                      <a:pt x="38" y="58"/>
                    </a:lnTo>
                    <a:lnTo>
                      <a:pt x="37" y="59"/>
                    </a:lnTo>
                    <a:lnTo>
                      <a:pt x="34" y="64"/>
                    </a:lnTo>
                    <a:lnTo>
                      <a:pt x="33" y="64"/>
                    </a:lnTo>
                    <a:lnTo>
                      <a:pt x="30" y="64"/>
                    </a:lnTo>
                    <a:lnTo>
                      <a:pt x="31" y="67"/>
                    </a:lnTo>
                    <a:lnTo>
                      <a:pt x="34" y="71"/>
                    </a:lnTo>
                    <a:lnTo>
                      <a:pt x="34" y="75"/>
                    </a:lnTo>
                    <a:lnTo>
                      <a:pt x="32" y="79"/>
                    </a:lnTo>
                    <a:lnTo>
                      <a:pt x="30" y="79"/>
                    </a:lnTo>
                    <a:lnTo>
                      <a:pt x="28" y="76"/>
                    </a:lnTo>
                    <a:lnTo>
                      <a:pt x="28" y="75"/>
                    </a:lnTo>
                    <a:lnTo>
                      <a:pt x="30" y="73"/>
                    </a:lnTo>
                    <a:lnTo>
                      <a:pt x="27" y="72"/>
                    </a:lnTo>
                    <a:lnTo>
                      <a:pt x="27" y="69"/>
                    </a:lnTo>
                    <a:lnTo>
                      <a:pt x="23" y="65"/>
                    </a:lnTo>
                    <a:lnTo>
                      <a:pt x="23" y="68"/>
                    </a:lnTo>
                    <a:lnTo>
                      <a:pt x="23" y="70"/>
                    </a:lnTo>
                    <a:lnTo>
                      <a:pt x="24" y="75"/>
                    </a:lnTo>
                    <a:lnTo>
                      <a:pt x="22" y="79"/>
                    </a:lnTo>
                    <a:lnTo>
                      <a:pt x="21" y="83"/>
                    </a:lnTo>
                    <a:lnTo>
                      <a:pt x="20" y="85"/>
                    </a:lnTo>
                    <a:lnTo>
                      <a:pt x="18" y="85"/>
                    </a:lnTo>
                    <a:lnTo>
                      <a:pt x="16" y="90"/>
                    </a:lnTo>
                    <a:lnTo>
                      <a:pt x="17" y="90"/>
                    </a:lnTo>
                    <a:lnTo>
                      <a:pt x="17" y="94"/>
                    </a:lnTo>
                    <a:lnTo>
                      <a:pt x="18" y="98"/>
                    </a:lnTo>
                    <a:lnTo>
                      <a:pt x="20" y="102"/>
                    </a:lnTo>
                    <a:lnTo>
                      <a:pt x="22" y="102"/>
                    </a:lnTo>
                    <a:lnTo>
                      <a:pt x="23" y="101"/>
                    </a:lnTo>
                    <a:lnTo>
                      <a:pt x="23" y="103"/>
                    </a:lnTo>
                    <a:lnTo>
                      <a:pt x="24" y="107"/>
                    </a:lnTo>
                    <a:lnTo>
                      <a:pt x="23" y="109"/>
                    </a:lnTo>
                    <a:lnTo>
                      <a:pt x="23" y="111"/>
                    </a:lnTo>
                    <a:lnTo>
                      <a:pt x="24" y="113"/>
                    </a:lnTo>
                    <a:lnTo>
                      <a:pt x="24" y="117"/>
                    </a:lnTo>
                    <a:lnTo>
                      <a:pt x="22" y="119"/>
                    </a:lnTo>
                    <a:lnTo>
                      <a:pt x="21" y="121"/>
                    </a:lnTo>
                    <a:lnTo>
                      <a:pt x="22" y="122"/>
                    </a:lnTo>
                    <a:lnTo>
                      <a:pt x="23" y="125"/>
                    </a:lnTo>
                    <a:lnTo>
                      <a:pt x="23" y="131"/>
                    </a:lnTo>
                    <a:lnTo>
                      <a:pt x="23" y="138"/>
                    </a:lnTo>
                    <a:lnTo>
                      <a:pt x="21" y="142"/>
                    </a:lnTo>
                    <a:lnTo>
                      <a:pt x="21" y="144"/>
                    </a:lnTo>
                    <a:lnTo>
                      <a:pt x="23" y="147"/>
                    </a:lnTo>
                    <a:lnTo>
                      <a:pt x="25" y="145"/>
                    </a:lnTo>
                    <a:lnTo>
                      <a:pt x="25" y="148"/>
                    </a:lnTo>
                    <a:lnTo>
                      <a:pt x="27" y="150"/>
                    </a:lnTo>
                    <a:lnTo>
                      <a:pt x="27" y="150"/>
                    </a:lnTo>
                    <a:lnTo>
                      <a:pt x="28" y="152"/>
                    </a:lnTo>
                    <a:lnTo>
                      <a:pt x="27" y="153"/>
                    </a:lnTo>
                    <a:lnTo>
                      <a:pt x="25" y="157"/>
                    </a:lnTo>
                    <a:lnTo>
                      <a:pt x="20" y="163"/>
                    </a:lnTo>
                    <a:lnTo>
                      <a:pt x="19" y="167"/>
                    </a:lnTo>
                    <a:lnTo>
                      <a:pt x="14" y="172"/>
                    </a:lnTo>
                    <a:lnTo>
                      <a:pt x="9" y="173"/>
                    </a:lnTo>
                    <a:lnTo>
                      <a:pt x="5" y="177"/>
                    </a:lnTo>
                    <a:lnTo>
                      <a:pt x="1" y="184"/>
                    </a:lnTo>
                    <a:lnTo>
                      <a:pt x="1" y="190"/>
                    </a:lnTo>
                    <a:lnTo>
                      <a:pt x="0" y="193"/>
                    </a:lnTo>
                    <a:lnTo>
                      <a:pt x="4" y="194"/>
                    </a:lnTo>
                    <a:lnTo>
                      <a:pt x="9" y="19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3" name="Freeform 1307">
                <a:extLst>
                  <a:ext uri="{FF2B5EF4-FFF2-40B4-BE49-F238E27FC236}">
                    <a16:creationId xmlns:a16="http://schemas.microsoft.com/office/drawing/2014/main" id="{7C886135-925B-4257-B10C-74E4A9470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8588" y="4533900"/>
                <a:ext cx="7938" cy="12700"/>
              </a:xfrm>
              <a:custGeom>
                <a:avLst/>
                <a:gdLst>
                  <a:gd name="T0" fmla="*/ 4 w 5"/>
                  <a:gd name="T1" fmla="*/ 0 h 8"/>
                  <a:gd name="T2" fmla="*/ 2 w 5"/>
                  <a:gd name="T3" fmla="*/ 3 h 8"/>
                  <a:gd name="T4" fmla="*/ 0 w 5"/>
                  <a:gd name="T5" fmla="*/ 6 h 8"/>
                  <a:gd name="T6" fmla="*/ 0 w 5"/>
                  <a:gd name="T7" fmla="*/ 7 h 8"/>
                  <a:gd name="T8" fmla="*/ 1 w 5"/>
                  <a:gd name="T9" fmla="*/ 8 h 8"/>
                  <a:gd name="T10" fmla="*/ 3 w 5"/>
                  <a:gd name="T11" fmla="*/ 7 h 8"/>
                  <a:gd name="T12" fmla="*/ 4 w 5"/>
                  <a:gd name="T13" fmla="*/ 5 h 8"/>
                  <a:gd name="T14" fmla="*/ 4 w 5"/>
                  <a:gd name="T15" fmla="*/ 3 h 8"/>
                  <a:gd name="T16" fmla="*/ 5 w 5"/>
                  <a:gd name="T17" fmla="*/ 0 h 8"/>
                  <a:gd name="T18" fmla="*/ 4 w 5"/>
                  <a:gd name="T1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8">
                    <a:moveTo>
                      <a:pt x="4" y="0"/>
                    </a:moveTo>
                    <a:lnTo>
                      <a:pt x="2" y="3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3" y="7"/>
                    </a:lnTo>
                    <a:lnTo>
                      <a:pt x="4" y="5"/>
                    </a:lnTo>
                    <a:lnTo>
                      <a:pt x="4" y="3"/>
                    </a:lnTo>
                    <a:lnTo>
                      <a:pt x="5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4" name="Freeform 1308">
                <a:extLst>
                  <a:ext uri="{FF2B5EF4-FFF2-40B4-BE49-F238E27FC236}">
                    <a16:creationId xmlns:a16="http://schemas.microsoft.com/office/drawing/2014/main" id="{A2B21A3C-50C9-4ACE-B2DA-8414C25662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4301" y="4418013"/>
                <a:ext cx="131763" cy="176213"/>
              </a:xfrm>
              <a:custGeom>
                <a:avLst/>
                <a:gdLst>
                  <a:gd name="T0" fmla="*/ 11 w 83"/>
                  <a:gd name="T1" fmla="*/ 94 h 111"/>
                  <a:gd name="T2" fmla="*/ 9 w 83"/>
                  <a:gd name="T3" fmla="*/ 100 h 111"/>
                  <a:gd name="T4" fmla="*/ 15 w 83"/>
                  <a:gd name="T5" fmla="*/ 98 h 111"/>
                  <a:gd name="T6" fmla="*/ 21 w 83"/>
                  <a:gd name="T7" fmla="*/ 102 h 111"/>
                  <a:gd name="T8" fmla="*/ 28 w 83"/>
                  <a:gd name="T9" fmla="*/ 111 h 111"/>
                  <a:gd name="T10" fmla="*/ 32 w 83"/>
                  <a:gd name="T11" fmla="*/ 107 h 111"/>
                  <a:gd name="T12" fmla="*/ 45 w 83"/>
                  <a:gd name="T13" fmla="*/ 77 h 111"/>
                  <a:gd name="T14" fmla="*/ 66 w 83"/>
                  <a:gd name="T15" fmla="*/ 66 h 111"/>
                  <a:gd name="T16" fmla="*/ 80 w 83"/>
                  <a:gd name="T17" fmla="*/ 45 h 111"/>
                  <a:gd name="T18" fmla="*/ 83 w 83"/>
                  <a:gd name="T19" fmla="*/ 43 h 111"/>
                  <a:gd name="T20" fmla="*/ 83 w 83"/>
                  <a:gd name="T21" fmla="*/ 36 h 111"/>
                  <a:gd name="T22" fmla="*/ 80 w 83"/>
                  <a:gd name="T23" fmla="*/ 28 h 111"/>
                  <a:gd name="T24" fmla="*/ 80 w 83"/>
                  <a:gd name="T25" fmla="*/ 25 h 111"/>
                  <a:gd name="T26" fmla="*/ 77 w 83"/>
                  <a:gd name="T27" fmla="*/ 24 h 111"/>
                  <a:gd name="T28" fmla="*/ 74 w 83"/>
                  <a:gd name="T29" fmla="*/ 20 h 111"/>
                  <a:gd name="T30" fmla="*/ 69 w 83"/>
                  <a:gd name="T31" fmla="*/ 18 h 111"/>
                  <a:gd name="T32" fmla="*/ 67 w 83"/>
                  <a:gd name="T33" fmla="*/ 24 h 111"/>
                  <a:gd name="T34" fmla="*/ 61 w 83"/>
                  <a:gd name="T35" fmla="*/ 24 h 111"/>
                  <a:gd name="T36" fmla="*/ 54 w 83"/>
                  <a:gd name="T37" fmla="*/ 20 h 111"/>
                  <a:gd name="T38" fmla="*/ 49 w 83"/>
                  <a:gd name="T39" fmla="*/ 17 h 111"/>
                  <a:gd name="T40" fmla="*/ 46 w 83"/>
                  <a:gd name="T41" fmla="*/ 11 h 111"/>
                  <a:gd name="T42" fmla="*/ 38 w 83"/>
                  <a:gd name="T43" fmla="*/ 5 h 111"/>
                  <a:gd name="T44" fmla="*/ 29 w 83"/>
                  <a:gd name="T45" fmla="*/ 0 h 111"/>
                  <a:gd name="T46" fmla="*/ 24 w 83"/>
                  <a:gd name="T47" fmla="*/ 4 h 111"/>
                  <a:gd name="T48" fmla="*/ 14 w 83"/>
                  <a:gd name="T49" fmla="*/ 10 h 111"/>
                  <a:gd name="T50" fmla="*/ 12 w 83"/>
                  <a:gd name="T51" fmla="*/ 16 h 111"/>
                  <a:gd name="T52" fmla="*/ 14 w 83"/>
                  <a:gd name="T53" fmla="*/ 21 h 111"/>
                  <a:gd name="T54" fmla="*/ 7 w 83"/>
                  <a:gd name="T55" fmla="*/ 32 h 111"/>
                  <a:gd name="T56" fmla="*/ 8 w 83"/>
                  <a:gd name="T57" fmla="*/ 37 h 111"/>
                  <a:gd name="T58" fmla="*/ 3 w 83"/>
                  <a:gd name="T59" fmla="*/ 42 h 111"/>
                  <a:gd name="T60" fmla="*/ 1 w 83"/>
                  <a:gd name="T61" fmla="*/ 49 h 111"/>
                  <a:gd name="T62" fmla="*/ 2 w 83"/>
                  <a:gd name="T63" fmla="*/ 56 h 111"/>
                  <a:gd name="T64" fmla="*/ 0 w 83"/>
                  <a:gd name="T65" fmla="*/ 63 h 111"/>
                  <a:gd name="T66" fmla="*/ 1 w 83"/>
                  <a:gd name="T67" fmla="*/ 68 h 111"/>
                  <a:gd name="T68" fmla="*/ 7 w 83"/>
                  <a:gd name="T69" fmla="*/ 73 h 111"/>
                  <a:gd name="T70" fmla="*/ 11 w 83"/>
                  <a:gd name="T71" fmla="*/ 73 h 111"/>
                  <a:gd name="T72" fmla="*/ 12 w 83"/>
                  <a:gd name="T73" fmla="*/ 67 h 111"/>
                  <a:gd name="T74" fmla="*/ 14 w 83"/>
                  <a:gd name="T75" fmla="*/ 68 h 111"/>
                  <a:gd name="T76" fmla="*/ 15 w 83"/>
                  <a:gd name="T77" fmla="*/ 69 h 111"/>
                  <a:gd name="T78" fmla="*/ 16 w 83"/>
                  <a:gd name="T79" fmla="*/ 66 h 111"/>
                  <a:gd name="T80" fmla="*/ 16 w 83"/>
                  <a:gd name="T81" fmla="*/ 76 h 111"/>
                  <a:gd name="T82" fmla="*/ 15 w 83"/>
                  <a:gd name="T83" fmla="*/ 83 h 111"/>
                  <a:gd name="T84" fmla="*/ 13 w 83"/>
                  <a:gd name="T85" fmla="*/ 87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83" h="111">
                    <a:moveTo>
                      <a:pt x="14" y="92"/>
                    </a:moveTo>
                    <a:lnTo>
                      <a:pt x="11" y="94"/>
                    </a:lnTo>
                    <a:lnTo>
                      <a:pt x="9" y="97"/>
                    </a:lnTo>
                    <a:lnTo>
                      <a:pt x="9" y="100"/>
                    </a:lnTo>
                    <a:lnTo>
                      <a:pt x="12" y="100"/>
                    </a:lnTo>
                    <a:lnTo>
                      <a:pt x="15" y="98"/>
                    </a:lnTo>
                    <a:lnTo>
                      <a:pt x="17" y="101"/>
                    </a:lnTo>
                    <a:lnTo>
                      <a:pt x="21" y="102"/>
                    </a:lnTo>
                    <a:lnTo>
                      <a:pt x="24" y="104"/>
                    </a:lnTo>
                    <a:lnTo>
                      <a:pt x="28" y="111"/>
                    </a:lnTo>
                    <a:lnTo>
                      <a:pt x="29" y="111"/>
                    </a:lnTo>
                    <a:lnTo>
                      <a:pt x="32" y="107"/>
                    </a:lnTo>
                    <a:lnTo>
                      <a:pt x="43" y="80"/>
                    </a:lnTo>
                    <a:lnTo>
                      <a:pt x="45" y="77"/>
                    </a:lnTo>
                    <a:lnTo>
                      <a:pt x="59" y="72"/>
                    </a:lnTo>
                    <a:lnTo>
                      <a:pt x="66" y="66"/>
                    </a:lnTo>
                    <a:lnTo>
                      <a:pt x="76" y="56"/>
                    </a:lnTo>
                    <a:lnTo>
                      <a:pt x="80" y="45"/>
                    </a:lnTo>
                    <a:lnTo>
                      <a:pt x="82" y="45"/>
                    </a:lnTo>
                    <a:lnTo>
                      <a:pt x="83" y="43"/>
                    </a:lnTo>
                    <a:lnTo>
                      <a:pt x="83" y="39"/>
                    </a:lnTo>
                    <a:lnTo>
                      <a:pt x="83" y="36"/>
                    </a:lnTo>
                    <a:lnTo>
                      <a:pt x="80" y="29"/>
                    </a:lnTo>
                    <a:lnTo>
                      <a:pt x="80" y="28"/>
                    </a:lnTo>
                    <a:lnTo>
                      <a:pt x="80" y="25"/>
                    </a:lnTo>
                    <a:lnTo>
                      <a:pt x="80" y="25"/>
                    </a:lnTo>
                    <a:lnTo>
                      <a:pt x="79" y="25"/>
                    </a:lnTo>
                    <a:lnTo>
                      <a:pt x="77" y="24"/>
                    </a:lnTo>
                    <a:lnTo>
                      <a:pt x="76" y="21"/>
                    </a:lnTo>
                    <a:lnTo>
                      <a:pt x="74" y="20"/>
                    </a:lnTo>
                    <a:lnTo>
                      <a:pt x="70" y="18"/>
                    </a:lnTo>
                    <a:lnTo>
                      <a:pt x="69" y="18"/>
                    </a:lnTo>
                    <a:lnTo>
                      <a:pt x="67" y="20"/>
                    </a:lnTo>
                    <a:lnTo>
                      <a:pt x="67" y="24"/>
                    </a:lnTo>
                    <a:lnTo>
                      <a:pt x="66" y="25"/>
                    </a:lnTo>
                    <a:lnTo>
                      <a:pt x="61" y="24"/>
                    </a:lnTo>
                    <a:lnTo>
                      <a:pt x="59" y="23"/>
                    </a:lnTo>
                    <a:lnTo>
                      <a:pt x="54" y="20"/>
                    </a:lnTo>
                    <a:lnTo>
                      <a:pt x="50" y="19"/>
                    </a:lnTo>
                    <a:lnTo>
                      <a:pt x="49" y="17"/>
                    </a:lnTo>
                    <a:lnTo>
                      <a:pt x="50" y="14"/>
                    </a:lnTo>
                    <a:lnTo>
                      <a:pt x="46" y="11"/>
                    </a:lnTo>
                    <a:lnTo>
                      <a:pt x="44" y="11"/>
                    </a:lnTo>
                    <a:lnTo>
                      <a:pt x="38" y="5"/>
                    </a:lnTo>
                    <a:lnTo>
                      <a:pt x="33" y="1"/>
                    </a:lnTo>
                    <a:lnTo>
                      <a:pt x="29" y="0"/>
                    </a:lnTo>
                    <a:lnTo>
                      <a:pt x="28" y="4"/>
                    </a:lnTo>
                    <a:lnTo>
                      <a:pt x="24" y="4"/>
                    </a:lnTo>
                    <a:lnTo>
                      <a:pt x="18" y="10"/>
                    </a:lnTo>
                    <a:lnTo>
                      <a:pt x="14" y="10"/>
                    </a:lnTo>
                    <a:lnTo>
                      <a:pt x="11" y="12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4" y="21"/>
                    </a:lnTo>
                    <a:lnTo>
                      <a:pt x="13" y="25"/>
                    </a:lnTo>
                    <a:lnTo>
                      <a:pt x="7" y="32"/>
                    </a:lnTo>
                    <a:lnTo>
                      <a:pt x="7" y="35"/>
                    </a:lnTo>
                    <a:lnTo>
                      <a:pt x="8" y="37"/>
                    </a:lnTo>
                    <a:lnTo>
                      <a:pt x="6" y="42"/>
                    </a:lnTo>
                    <a:lnTo>
                      <a:pt x="3" y="42"/>
                    </a:lnTo>
                    <a:lnTo>
                      <a:pt x="0" y="46"/>
                    </a:lnTo>
                    <a:lnTo>
                      <a:pt x="1" y="49"/>
                    </a:lnTo>
                    <a:lnTo>
                      <a:pt x="2" y="52"/>
                    </a:lnTo>
                    <a:lnTo>
                      <a:pt x="2" y="56"/>
                    </a:lnTo>
                    <a:lnTo>
                      <a:pt x="2" y="60"/>
                    </a:lnTo>
                    <a:lnTo>
                      <a:pt x="0" y="63"/>
                    </a:lnTo>
                    <a:lnTo>
                      <a:pt x="0" y="65"/>
                    </a:lnTo>
                    <a:lnTo>
                      <a:pt x="1" y="68"/>
                    </a:lnTo>
                    <a:lnTo>
                      <a:pt x="4" y="69"/>
                    </a:lnTo>
                    <a:lnTo>
                      <a:pt x="7" y="73"/>
                    </a:lnTo>
                    <a:lnTo>
                      <a:pt x="9" y="75"/>
                    </a:lnTo>
                    <a:lnTo>
                      <a:pt x="11" y="73"/>
                    </a:lnTo>
                    <a:lnTo>
                      <a:pt x="11" y="69"/>
                    </a:lnTo>
                    <a:lnTo>
                      <a:pt x="12" y="67"/>
                    </a:lnTo>
                    <a:lnTo>
                      <a:pt x="14" y="65"/>
                    </a:lnTo>
                    <a:lnTo>
                      <a:pt x="14" y="68"/>
                    </a:lnTo>
                    <a:lnTo>
                      <a:pt x="15" y="70"/>
                    </a:lnTo>
                    <a:lnTo>
                      <a:pt x="15" y="69"/>
                    </a:lnTo>
                    <a:lnTo>
                      <a:pt x="15" y="66"/>
                    </a:lnTo>
                    <a:lnTo>
                      <a:pt x="16" y="66"/>
                    </a:lnTo>
                    <a:lnTo>
                      <a:pt x="17" y="71"/>
                    </a:lnTo>
                    <a:lnTo>
                      <a:pt x="16" y="76"/>
                    </a:lnTo>
                    <a:lnTo>
                      <a:pt x="17" y="78"/>
                    </a:lnTo>
                    <a:lnTo>
                      <a:pt x="15" y="83"/>
                    </a:lnTo>
                    <a:lnTo>
                      <a:pt x="11" y="87"/>
                    </a:lnTo>
                    <a:lnTo>
                      <a:pt x="13" y="87"/>
                    </a:lnTo>
                    <a:lnTo>
                      <a:pt x="14" y="9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5" name="Freeform 1309">
                <a:extLst>
                  <a:ext uri="{FF2B5EF4-FFF2-40B4-BE49-F238E27FC236}">
                    <a16:creationId xmlns:a16="http://schemas.microsoft.com/office/drawing/2014/main" id="{DD3D3190-0435-4225-9482-BB39D837C5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6363" y="4457700"/>
                <a:ext cx="288925" cy="512763"/>
              </a:xfrm>
              <a:custGeom>
                <a:avLst/>
                <a:gdLst>
                  <a:gd name="T0" fmla="*/ 175 w 182"/>
                  <a:gd name="T1" fmla="*/ 314 h 323"/>
                  <a:gd name="T2" fmla="*/ 177 w 182"/>
                  <a:gd name="T3" fmla="*/ 306 h 323"/>
                  <a:gd name="T4" fmla="*/ 176 w 182"/>
                  <a:gd name="T5" fmla="*/ 296 h 323"/>
                  <a:gd name="T6" fmla="*/ 178 w 182"/>
                  <a:gd name="T7" fmla="*/ 274 h 323"/>
                  <a:gd name="T8" fmla="*/ 178 w 182"/>
                  <a:gd name="T9" fmla="*/ 261 h 323"/>
                  <a:gd name="T10" fmla="*/ 178 w 182"/>
                  <a:gd name="T11" fmla="*/ 238 h 323"/>
                  <a:gd name="T12" fmla="*/ 182 w 182"/>
                  <a:gd name="T13" fmla="*/ 213 h 323"/>
                  <a:gd name="T14" fmla="*/ 168 w 182"/>
                  <a:gd name="T15" fmla="*/ 189 h 323"/>
                  <a:gd name="T16" fmla="*/ 158 w 182"/>
                  <a:gd name="T17" fmla="*/ 192 h 323"/>
                  <a:gd name="T18" fmla="*/ 155 w 182"/>
                  <a:gd name="T19" fmla="*/ 169 h 323"/>
                  <a:gd name="T20" fmla="*/ 151 w 182"/>
                  <a:gd name="T21" fmla="*/ 166 h 323"/>
                  <a:gd name="T22" fmla="*/ 130 w 182"/>
                  <a:gd name="T23" fmla="*/ 167 h 323"/>
                  <a:gd name="T24" fmla="*/ 118 w 182"/>
                  <a:gd name="T25" fmla="*/ 156 h 323"/>
                  <a:gd name="T26" fmla="*/ 106 w 182"/>
                  <a:gd name="T27" fmla="*/ 133 h 323"/>
                  <a:gd name="T28" fmla="*/ 109 w 182"/>
                  <a:gd name="T29" fmla="*/ 122 h 323"/>
                  <a:gd name="T30" fmla="*/ 117 w 182"/>
                  <a:gd name="T31" fmla="*/ 113 h 323"/>
                  <a:gd name="T32" fmla="*/ 118 w 182"/>
                  <a:gd name="T33" fmla="*/ 97 h 323"/>
                  <a:gd name="T34" fmla="*/ 125 w 182"/>
                  <a:gd name="T35" fmla="*/ 86 h 323"/>
                  <a:gd name="T36" fmla="*/ 138 w 182"/>
                  <a:gd name="T37" fmla="*/ 78 h 323"/>
                  <a:gd name="T38" fmla="*/ 153 w 182"/>
                  <a:gd name="T39" fmla="*/ 72 h 323"/>
                  <a:gd name="T40" fmla="*/ 160 w 182"/>
                  <a:gd name="T41" fmla="*/ 76 h 323"/>
                  <a:gd name="T42" fmla="*/ 154 w 182"/>
                  <a:gd name="T43" fmla="*/ 66 h 323"/>
                  <a:gd name="T44" fmla="*/ 160 w 182"/>
                  <a:gd name="T45" fmla="*/ 44 h 323"/>
                  <a:gd name="T46" fmla="*/ 151 w 182"/>
                  <a:gd name="T47" fmla="*/ 41 h 323"/>
                  <a:gd name="T48" fmla="*/ 139 w 182"/>
                  <a:gd name="T49" fmla="*/ 39 h 323"/>
                  <a:gd name="T50" fmla="*/ 126 w 182"/>
                  <a:gd name="T51" fmla="*/ 42 h 323"/>
                  <a:gd name="T52" fmla="*/ 117 w 182"/>
                  <a:gd name="T53" fmla="*/ 38 h 323"/>
                  <a:gd name="T54" fmla="*/ 113 w 182"/>
                  <a:gd name="T55" fmla="*/ 31 h 323"/>
                  <a:gd name="T56" fmla="*/ 102 w 182"/>
                  <a:gd name="T57" fmla="*/ 19 h 323"/>
                  <a:gd name="T58" fmla="*/ 95 w 182"/>
                  <a:gd name="T59" fmla="*/ 4 h 323"/>
                  <a:gd name="T60" fmla="*/ 85 w 182"/>
                  <a:gd name="T61" fmla="*/ 0 h 323"/>
                  <a:gd name="T62" fmla="*/ 88 w 182"/>
                  <a:gd name="T63" fmla="*/ 11 h 323"/>
                  <a:gd name="T64" fmla="*/ 85 w 182"/>
                  <a:gd name="T65" fmla="*/ 20 h 323"/>
                  <a:gd name="T66" fmla="*/ 50 w 182"/>
                  <a:gd name="T67" fmla="*/ 52 h 323"/>
                  <a:gd name="T68" fmla="*/ 33 w 182"/>
                  <a:gd name="T69" fmla="*/ 86 h 323"/>
                  <a:gd name="T70" fmla="*/ 20 w 182"/>
                  <a:gd name="T71" fmla="*/ 73 h 323"/>
                  <a:gd name="T72" fmla="*/ 16 w 182"/>
                  <a:gd name="T73" fmla="*/ 69 h 323"/>
                  <a:gd name="T74" fmla="*/ 16 w 182"/>
                  <a:gd name="T75" fmla="*/ 62 h 323"/>
                  <a:gd name="T76" fmla="*/ 1 w 182"/>
                  <a:gd name="T77" fmla="*/ 78 h 323"/>
                  <a:gd name="T78" fmla="*/ 3 w 182"/>
                  <a:gd name="T79" fmla="*/ 87 h 323"/>
                  <a:gd name="T80" fmla="*/ 6 w 182"/>
                  <a:gd name="T81" fmla="*/ 99 h 323"/>
                  <a:gd name="T82" fmla="*/ 1 w 182"/>
                  <a:gd name="T83" fmla="*/ 106 h 323"/>
                  <a:gd name="T84" fmla="*/ 14 w 182"/>
                  <a:gd name="T85" fmla="*/ 115 h 323"/>
                  <a:gd name="T86" fmla="*/ 26 w 182"/>
                  <a:gd name="T87" fmla="*/ 128 h 323"/>
                  <a:gd name="T88" fmla="*/ 36 w 182"/>
                  <a:gd name="T89" fmla="*/ 145 h 323"/>
                  <a:gd name="T90" fmla="*/ 41 w 182"/>
                  <a:gd name="T91" fmla="*/ 162 h 323"/>
                  <a:gd name="T92" fmla="*/ 46 w 182"/>
                  <a:gd name="T93" fmla="*/ 175 h 323"/>
                  <a:gd name="T94" fmla="*/ 54 w 182"/>
                  <a:gd name="T95" fmla="*/ 194 h 323"/>
                  <a:gd name="T96" fmla="*/ 62 w 182"/>
                  <a:gd name="T97" fmla="*/ 205 h 323"/>
                  <a:gd name="T98" fmla="*/ 68 w 182"/>
                  <a:gd name="T99" fmla="*/ 217 h 323"/>
                  <a:gd name="T100" fmla="*/ 78 w 182"/>
                  <a:gd name="T101" fmla="*/ 241 h 323"/>
                  <a:gd name="T102" fmla="*/ 76 w 182"/>
                  <a:gd name="T103" fmla="*/ 245 h 323"/>
                  <a:gd name="T104" fmla="*/ 80 w 182"/>
                  <a:gd name="T105" fmla="*/ 251 h 323"/>
                  <a:gd name="T106" fmla="*/ 88 w 182"/>
                  <a:gd name="T107" fmla="*/ 261 h 323"/>
                  <a:gd name="T108" fmla="*/ 95 w 182"/>
                  <a:gd name="T109" fmla="*/ 269 h 323"/>
                  <a:gd name="T110" fmla="*/ 102 w 182"/>
                  <a:gd name="T111" fmla="*/ 271 h 323"/>
                  <a:gd name="T112" fmla="*/ 112 w 182"/>
                  <a:gd name="T113" fmla="*/ 282 h 323"/>
                  <a:gd name="T114" fmla="*/ 120 w 182"/>
                  <a:gd name="T115" fmla="*/ 286 h 323"/>
                  <a:gd name="T116" fmla="*/ 133 w 182"/>
                  <a:gd name="T117" fmla="*/ 292 h 323"/>
                  <a:gd name="T118" fmla="*/ 144 w 182"/>
                  <a:gd name="T119" fmla="*/ 303 h 323"/>
                  <a:gd name="T120" fmla="*/ 146 w 182"/>
                  <a:gd name="T121" fmla="*/ 310 h 323"/>
                  <a:gd name="T122" fmla="*/ 160 w 182"/>
                  <a:gd name="T123" fmla="*/ 321 h 323"/>
                  <a:gd name="T124" fmla="*/ 170 w 182"/>
                  <a:gd name="T125" fmla="*/ 318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2" h="323">
                    <a:moveTo>
                      <a:pt x="170" y="318"/>
                    </a:moveTo>
                    <a:lnTo>
                      <a:pt x="171" y="319"/>
                    </a:lnTo>
                    <a:lnTo>
                      <a:pt x="174" y="317"/>
                    </a:lnTo>
                    <a:lnTo>
                      <a:pt x="175" y="314"/>
                    </a:lnTo>
                    <a:lnTo>
                      <a:pt x="173" y="311"/>
                    </a:lnTo>
                    <a:lnTo>
                      <a:pt x="174" y="308"/>
                    </a:lnTo>
                    <a:lnTo>
                      <a:pt x="175" y="305"/>
                    </a:lnTo>
                    <a:lnTo>
                      <a:pt x="177" y="306"/>
                    </a:lnTo>
                    <a:lnTo>
                      <a:pt x="177" y="303"/>
                    </a:lnTo>
                    <a:lnTo>
                      <a:pt x="175" y="303"/>
                    </a:lnTo>
                    <a:lnTo>
                      <a:pt x="174" y="302"/>
                    </a:lnTo>
                    <a:lnTo>
                      <a:pt x="176" y="296"/>
                    </a:lnTo>
                    <a:lnTo>
                      <a:pt x="179" y="293"/>
                    </a:lnTo>
                    <a:lnTo>
                      <a:pt x="182" y="289"/>
                    </a:lnTo>
                    <a:lnTo>
                      <a:pt x="182" y="285"/>
                    </a:lnTo>
                    <a:lnTo>
                      <a:pt x="178" y="274"/>
                    </a:lnTo>
                    <a:lnTo>
                      <a:pt x="179" y="271"/>
                    </a:lnTo>
                    <a:lnTo>
                      <a:pt x="179" y="267"/>
                    </a:lnTo>
                    <a:lnTo>
                      <a:pt x="178" y="265"/>
                    </a:lnTo>
                    <a:lnTo>
                      <a:pt x="178" y="261"/>
                    </a:lnTo>
                    <a:lnTo>
                      <a:pt x="179" y="258"/>
                    </a:lnTo>
                    <a:lnTo>
                      <a:pt x="180" y="253"/>
                    </a:lnTo>
                    <a:lnTo>
                      <a:pt x="180" y="242"/>
                    </a:lnTo>
                    <a:lnTo>
                      <a:pt x="178" y="238"/>
                    </a:lnTo>
                    <a:lnTo>
                      <a:pt x="180" y="232"/>
                    </a:lnTo>
                    <a:lnTo>
                      <a:pt x="180" y="220"/>
                    </a:lnTo>
                    <a:lnTo>
                      <a:pt x="182" y="216"/>
                    </a:lnTo>
                    <a:lnTo>
                      <a:pt x="182" y="213"/>
                    </a:lnTo>
                    <a:lnTo>
                      <a:pt x="169" y="191"/>
                    </a:lnTo>
                    <a:lnTo>
                      <a:pt x="169" y="191"/>
                    </a:lnTo>
                    <a:lnTo>
                      <a:pt x="169" y="190"/>
                    </a:lnTo>
                    <a:lnTo>
                      <a:pt x="168" y="189"/>
                    </a:lnTo>
                    <a:lnTo>
                      <a:pt x="166" y="190"/>
                    </a:lnTo>
                    <a:lnTo>
                      <a:pt x="163" y="190"/>
                    </a:lnTo>
                    <a:lnTo>
                      <a:pt x="161" y="191"/>
                    </a:lnTo>
                    <a:lnTo>
                      <a:pt x="158" y="192"/>
                    </a:lnTo>
                    <a:lnTo>
                      <a:pt x="156" y="189"/>
                    </a:lnTo>
                    <a:lnTo>
                      <a:pt x="156" y="186"/>
                    </a:lnTo>
                    <a:lnTo>
                      <a:pt x="155" y="176"/>
                    </a:lnTo>
                    <a:lnTo>
                      <a:pt x="155" y="169"/>
                    </a:lnTo>
                    <a:lnTo>
                      <a:pt x="156" y="169"/>
                    </a:lnTo>
                    <a:lnTo>
                      <a:pt x="157" y="165"/>
                    </a:lnTo>
                    <a:lnTo>
                      <a:pt x="155" y="163"/>
                    </a:lnTo>
                    <a:lnTo>
                      <a:pt x="151" y="166"/>
                    </a:lnTo>
                    <a:lnTo>
                      <a:pt x="144" y="173"/>
                    </a:lnTo>
                    <a:lnTo>
                      <a:pt x="137" y="172"/>
                    </a:lnTo>
                    <a:lnTo>
                      <a:pt x="131" y="172"/>
                    </a:lnTo>
                    <a:lnTo>
                      <a:pt x="130" y="167"/>
                    </a:lnTo>
                    <a:lnTo>
                      <a:pt x="127" y="162"/>
                    </a:lnTo>
                    <a:lnTo>
                      <a:pt x="123" y="161"/>
                    </a:lnTo>
                    <a:lnTo>
                      <a:pt x="114" y="162"/>
                    </a:lnTo>
                    <a:lnTo>
                      <a:pt x="118" y="156"/>
                    </a:lnTo>
                    <a:lnTo>
                      <a:pt x="111" y="143"/>
                    </a:lnTo>
                    <a:lnTo>
                      <a:pt x="107" y="138"/>
                    </a:lnTo>
                    <a:lnTo>
                      <a:pt x="108" y="136"/>
                    </a:lnTo>
                    <a:lnTo>
                      <a:pt x="106" y="133"/>
                    </a:lnTo>
                    <a:lnTo>
                      <a:pt x="108" y="130"/>
                    </a:lnTo>
                    <a:lnTo>
                      <a:pt x="108" y="126"/>
                    </a:lnTo>
                    <a:lnTo>
                      <a:pt x="107" y="124"/>
                    </a:lnTo>
                    <a:lnTo>
                      <a:pt x="109" y="122"/>
                    </a:lnTo>
                    <a:lnTo>
                      <a:pt x="109" y="118"/>
                    </a:lnTo>
                    <a:lnTo>
                      <a:pt x="113" y="115"/>
                    </a:lnTo>
                    <a:lnTo>
                      <a:pt x="115" y="116"/>
                    </a:lnTo>
                    <a:lnTo>
                      <a:pt x="117" y="113"/>
                    </a:lnTo>
                    <a:lnTo>
                      <a:pt x="116" y="110"/>
                    </a:lnTo>
                    <a:lnTo>
                      <a:pt x="115" y="104"/>
                    </a:lnTo>
                    <a:lnTo>
                      <a:pt x="119" y="100"/>
                    </a:lnTo>
                    <a:lnTo>
                      <a:pt x="118" y="97"/>
                    </a:lnTo>
                    <a:lnTo>
                      <a:pt x="119" y="94"/>
                    </a:lnTo>
                    <a:lnTo>
                      <a:pt x="119" y="90"/>
                    </a:lnTo>
                    <a:lnTo>
                      <a:pt x="122" y="88"/>
                    </a:lnTo>
                    <a:lnTo>
                      <a:pt x="125" y="86"/>
                    </a:lnTo>
                    <a:lnTo>
                      <a:pt x="128" y="82"/>
                    </a:lnTo>
                    <a:lnTo>
                      <a:pt x="130" y="82"/>
                    </a:lnTo>
                    <a:lnTo>
                      <a:pt x="131" y="80"/>
                    </a:lnTo>
                    <a:lnTo>
                      <a:pt x="138" y="78"/>
                    </a:lnTo>
                    <a:lnTo>
                      <a:pt x="148" y="74"/>
                    </a:lnTo>
                    <a:lnTo>
                      <a:pt x="149" y="72"/>
                    </a:lnTo>
                    <a:lnTo>
                      <a:pt x="151" y="72"/>
                    </a:lnTo>
                    <a:lnTo>
                      <a:pt x="153" y="72"/>
                    </a:lnTo>
                    <a:lnTo>
                      <a:pt x="154" y="72"/>
                    </a:lnTo>
                    <a:lnTo>
                      <a:pt x="158" y="74"/>
                    </a:lnTo>
                    <a:lnTo>
                      <a:pt x="157" y="75"/>
                    </a:lnTo>
                    <a:lnTo>
                      <a:pt x="160" y="76"/>
                    </a:lnTo>
                    <a:lnTo>
                      <a:pt x="161" y="74"/>
                    </a:lnTo>
                    <a:lnTo>
                      <a:pt x="161" y="69"/>
                    </a:lnTo>
                    <a:lnTo>
                      <a:pt x="158" y="65"/>
                    </a:lnTo>
                    <a:lnTo>
                      <a:pt x="154" y="66"/>
                    </a:lnTo>
                    <a:lnTo>
                      <a:pt x="151" y="66"/>
                    </a:lnTo>
                    <a:lnTo>
                      <a:pt x="151" y="65"/>
                    </a:lnTo>
                    <a:lnTo>
                      <a:pt x="160" y="46"/>
                    </a:lnTo>
                    <a:lnTo>
                      <a:pt x="160" y="44"/>
                    </a:lnTo>
                    <a:lnTo>
                      <a:pt x="158" y="44"/>
                    </a:lnTo>
                    <a:lnTo>
                      <a:pt x="156" y="42"/>
                    </a:lnTo>
                    <a:lnTo>
                      <a:pt x="153" y="41"/>
                    </a:lnTo>
                    <a:lnTo>
                      <a:pt x="151" y="41"/>
                    </a:lnTo>
                    <a:lnTo>
                      <a:pt x="150" y="38"/>
                    </a:lnTo>
                    <a:lnTo>
                      <a:pt x="147" y="38"/>
                    </a:lnTo>
                    <a:lnTo>
                      <a:pt x="143" y="41"/>
                    </a:lnTo>
                    <a:lnTo>
                      <a:pt x="139" y="39"/>
                    </a:lnTo>
                    <a:lnTo>
                      <a:pt x="135" y="38"/>
                    </a:lnTo>
                    <a:lnTo>
                      <a:pt x="130" y="41"/>
                    </a:lnTo>
                    <a:lnTo>
                      <a:pt x="130" y="42"/>
                    </a:lnTo>
                    <a:lnTo>
                      <a:pt x="126" y="42"/>
                    </a:lnTo>
                    <a:lnTo>
                      <a:pt x="123" y="41"/>
                    </a:lnTo>
                    <a:lnTo>
                      <a:pt x="120" y="42"/>
                    </a:lnTo>
                    <a:lnTo>
                      <a:pt x="118" y="41"/>
                    </a:lnTo>
                    <a:lnTo>
                      <a:pt x="117" y="38"/>
                    </a:lnTo>
                    <a:lnTo>
                      <a:pt x="118" y="37"/>
                    </a:lnTo>
                    <a:lnTo>
                      <a:pt x="116" y="33"/>
                    </a:lnTo>
                    <a:lnTo>
                      <a:pt x="114" y="31"/>
                    </a:lnTo>
                    <a:lnTo>
                      <a:pt x="113" y="31"/>
                    </a:lnTo>
                    <a:lnTo>
                      <a:pt x="113" y="27"/>
                    </a:lnTo>
                    <a:lnTo>
                      <a:pt x="110" y="22"/>
                    </a:lnTo>
                    <a:lnTo>
                      <a:pt x="104" y="19"/>
                    </a:lnTo>
                    <a:lnTo>
                      <a:pt x="102" y="19"/>
                    </a:lnTo>
                    <a:lnTo>
                      <a:pt x="99" y="14"/>
                    </a:lnTo>
                    <a:lnTo>
                      <a:pt x="99" y="10"/>
                    </a:lnTo>
                    <a:lnTo>
                      <a:pt x="96" y="6"/>
                    </a:lnTo>
                    <a:lnTo>
                      <a:pt x="95" y="4"/>
                    </a:lnTo>
                    <a:lnTo>
                      <a:pt x="92" y="3"/>
                    </a:lnTo>
                    <a:lnTo>
                      <a:pt x="87" y="2"/>
                    </a:lnTo>
                    <a:lnTo>
                      <a:pt x="85" y="0"/>
                    </a:lnTo>
                    <a:lnTo>
                      <a:pt x="85" y="0"/>
                    </a:lnTo>
                    <a:lnTo>
                      <a:pt x="85" y="0"/>
                    </a:lnTo>
                    <a:lnTo>
                      <a:pt x="85" y="3"/>
                    </a:lnTo>
                    <a:lnTo>
                      <a:pt x="85" y="4"/>
                    </a:lnTo>
                    <a:lnTo>
                      <a:pt x="88" y="11"/>
                    </a:lnTo>
                    <a:lnTo>
                      <a:pt x="88" y="14"/>
                    </a:lnTo>
                    <a:lnTo>
                      <a:pt x="88" y="18"/>
                    </a:lnTo>
                    <a:lnTo>
                      <a:pt x="87" y="20"/>
                    </a:lnTo>
                    <a:lnTo>
                      <a:pt x="85" y="20"/>
                    </a:lnTo>
                    <a:lnTo>
                      <a:pt x="81" y="31"/>
                    </a:lnTo>
                    <a:lnTo>
                      <a:pt x="71" y="41"/>
                    </a:lnTo>
                    <a:lnTo>
                      <a:pt x="64" y="47"/>
                    </a:lnTo>
                    <a:lnTo>
                      <a:pt x="50" y="52"/>
                    </a:lnTo>
                    <a:lnTo>
                      <a:pt x="48" y="55"/>
                    </a:lnTo>
                    <a:lnTo>
                      <a:pt x="37" y="82"/>
                    </a:lnTo>
                    <a:lnTo>
                      <a:pt x="34" y="86"/>
                    </a:lnTo>
                    <a:lnTo>
                      <a:pt x="33" y="86"/>
                    </a:lnTo>
                    <a:lnTo>
                      <a:pt x="29" y="79"/>
                    </a:lnTo>
                    <a:lnTo>
                      <a:pt x="26" y="77"/>
                    </a:lnTo>
                    <a:lnTo>
                      <a:pt x="22" y="76"/>
                    </a:lnTo>
                    <a:lnTo>
                      <a:pt x="20" y="73"/>
                    </a:lnTo>
                    <a:lnTo>
                      <a:pt x="17" y="75"/>
                    </a:lnTo>
                    <a:lnTo>
                      <a:pt x="14" y="75"/>
                    </a:lnTo>
                    <a:lnTo>
                      <a:pt x="14" y="72"/>
                    </a:lnTo>
                    <a:lnTo>
                      <a:pt x="16" y="69"/>
                    </a:lnTo>
                    <a:lnTo>
                      <a:pt x="19" y="67"/>
                    </a:lnTo>
                    <a:lnTo>
                      <a:pt x="18" y="62"/>
                    </a:lnTo>
                    <a:lnTo>
                      <a:pt x="16" y="62"/>
                    </a:lnTo>
                    <a:lnTo>
                      <a:pt x="16" y="62"/>
                    </a:lnTo>
                    <a:lnTo>
                      <a:pt x="9" y="65"/>
                    </a:lnTo>
                    <a:lnTo>
                      <a:pt x="7" y="68"/>
                    </a:lnTo>
                    <a:lnTo>
                      <a:pt x="2" y="74"/>
                    </a:lnTo>
                    <a:lnTo>
                      <a:pt x="1" y="78"/>
                    </a:lnTo>
                    <a:lnTo>
                      <a:pt x="0" y="81"/>
                    </a:lnTo>
                    <a:lnTo>
                      <a:pt x="0" y="83"/>
                    </a:lnTo>
                    <a:lnTo>
                      <a:pt x="2" y="85"/>
                    </a:lnTo>
                    <a:lnTo>
                      <a:pt x="3" y="87"/>
                    </a:lnTo>
                    <a:lnTo>
                      <a:pt x="1" y="89"/>
                    </a:lnTo>
                    <a:lnTo>
                      <a:pt x="1" y="91"/>
                    </a:lnTo>
                    <a:lnTo>
                      <a:pt x="4" y="94"/>
                    </a:lnTo>
                    <a:lnTo>
                      <a:pt x="6" y="99"/>
                    </a:lnTo>
                    <a:lnTo>
                      <a:pt x="5" y="102"/>
                    </a:lnTo>
                    <a:lnTo>
                      <a:pt x="4" y="102"/>
                    </a:lnTo>
                    <a:lnTo>
                      <a:pt x="2" y="103"/>
                    </a:lnTo>
                    <a:lnTo>
                      <a:pt x="1" y="106"/>
                    </a:lnTo>
                    <a:lnTo>
                      <a:pt x="3" y="108"/>
                    </a:lnTo>
                    <a:lnTo>
                      <a:pt x="5" y="110"/>
                    </a:lnTo>
                    <a:lnTo>
                      <a:pt x="10" y="114"/>
                    </a:lnTo>
                    <a:lnTo>
                      <a:pt x="14" y="115"/>
                    </a:lnTo>
                    <a:lnTo>
                      <a:pt x="19" y="119"/>
                    </a:lnTo>
                    <a:lnTo>
                      <a:pt x="23" y="120"/>
                    </a:lnTo>
                    <a:lnTo>
                      <a:pt x="23" y="123"/>
                    </a:lnTo>
                    <a:lnTo>
                      <a:pt x="26" y="128"/>
                    </a:lnTo>
                    <a:lnTo>
                      <a:pt x="26" y="133"/>
                    </a:lnTo>
                    <a:lnTo>
                      <a:pt x="28" y="137"/>
                    </a:lnTo>
                    <a:lnTo>
                      <a:pt x="34" y="140"/>
                    </a:lnTo>
                    <a:lnTo>
                      <a:pt x="36" y="145"/>
                    </a:lnTo>
                    <a:lnTo>
                      <a:pt x="37" y="150"/>
                    </a:lnTo>
                    <a:lnTo>
                      <a:pt x="39" y="153"/>
                    </a:lnTo>
                    <a:lnTo>
                      <a:pt x="40" y="158"/>
                    </a:lnTo>
                    <a:lnTo>
                      <a:pt x="41" y="162"/>
                    </a:lnTo>
                    <a:lnTo>
                      <a:pt x="43" y="164"/>
                    </a:lnTo>
                    <a:lnTo>
                      <a:pt x="46" y="169"/>
                    </a:lnTo>
                    <a:lnTo>
                      <a:pt x="47" y="174"/>
                    </a:lnTo>
                    <a:lnTo>
                      <a:pt x="46" y="175"/>
                    </a:lnTo>
                    <a:lnTo>
                      <a:pt x="48" y="181"/>
                    </a:lnTo>
                    <a:lnTo>
                      <a:pt x="53" y="187"/>
                    </a:lnTo>
                    <a:lnTo>
                      <a:pt x="54" y="191"/>
                    </a:lnTo>
                    <a:lnTo>
                      <a:pt x="54" y="194"/>
                    </a:lnTo>
                    <a:lnTo>
                      <a:pt x="54" y="196"/>
                    </a:lnTo>
                    <a:lnTo>
                      <a:pt x="56" y="197"/>
                    </a:lnTo>
                    <a:lnTo>
                      <a:pt x="61" y="202"/>
                    </a:lnTo>
                    <a:lnTo>
                      <a:pt x="62" y="205"/>
                    </a:lnTo>
                    <a:lnTo>
                      <a:pt x="62" y="210"/>
                    </a:lnTo>
                    <a:lnTo>
                      <a:pt x="64" y="212"/>
                    </a:lnTo>
                    <a:lnTo>
                      <a:pt x="68" y="213"/>
                    </a:lnTo>
                    <a:lnTo>
                      <a:pt x="68" y="217"/>
                    </a:lnTo>
                    <a:lnTo>
                      <a:pt x="72" y="225"/>
                    </a:lnTo>
                    <a:lnTo>
                      <a:pt x="73" y="229"/>
                    </a:lnTo>
                    <a:lnTo>
                      <a:pt x="78" y="238"/>
                    </a:lnTo>
                    <a:lnTo>
                      <a:pt x="78" y="241"/>
                    </a:lnTo>
                    <a:lnTo>
                      <a:pt x="77" y="241"/>
                    </a:lnTo>
                    <a:lnTo>
                      <a:pt x="75" y="240"/>
                    </a:lnTo>
                    <a:lnTo>
                      <a:pt x="75" y="241"/>
                    </a:lnTo>
                    <a:lnTo>
                      <a:pt x="76" y="245"/>
                    </a:lnTo>
                    <a:lnTo>
                      <a:pt x="76" y="247"/>
                    </a:lnTo>
                    <a:lnTo>
                      <a:pt x="78" y="247"/>
                    </a:lnTo>
                    <a:lnTo>
                      <a:pt x="79" y="248"/>
                    </a:lnTo>
                    <a:lnTo>
                      <a:pt x="80" y="251"/>
                    </a:lnTo>
                    <a:lnTo>
                      <a:pt x="79" y="252"/>
                    </a:lnTo>
                    <a:lnTo>
                      <a:pt x="84" y="256"/>
                    </a:lnTo>
                    <a:lnTo>
                      <a:pt x="88" y="258"/>
                    </a:lnTo>
                    <a:lnTo>
                      <a:pt x="88" y="261"/>
                    </a:lnTo>
                    <a:lnTo>
                      <a:pt x="91" y="264"/>
                    </a:lnTo>
                    <a:lnTo>
                      <a:pt x="93" y="265"/>
                    </a:lnTo>
                    <a:lnTo>
                      <a:pt x="95" y="266"/>
                    </a:lnTo>
                    <a:lnTo>
                      <a:pt x="95" y="269"/>
                    </a:lnTo>
                    <a:lnTo>
                      <a:pt x="97" y="270"/>
                    </a:lnTo>
                    <a:lnTo>
                      <a:pt x="102" y="270"/>
                    </a:lnTo>
                    <a:lnTo>
                      <a:pt x="103" y="268"/>
                    </a:lnTo>
                    <a:lnTo>
                      <a:pt x="102" y="271"/>
                    </a:lnTo>
                    <a:lnTo>
                      <a:pt x="105" y="275"/>
                    </a:lnTo>
                    <a:lnTo>
                      <a:pt x="109" y="277"/>
                    </a:lnTo>
                    <a:lnTo>
                      <a:pt x="111" y="279"/>
                    </a:lnTo>
                    <a:lnTo>
                      <a:pt x="112" y="282"/>
                    </a:lnTo>
                    <a:lnTo>
                      <a:pt x="113" y="284"/>
                    </a:lnTo>
                    <a:lnTo>
                      <a:pt x="117" y="286"/>
                    </a:lnTo>
                    <a:lnTo>
                      <a:pt x="118" y="285"/>
                    </a:lnTo>
                    <a:lnTo>
                      <a:pt x="120" y="286"/>
                    </a:lnTo>
                    <a:lnTo>
                      <a:pt x="126" y="289"/>
                    </a:lnTo>
                    <a:lnTo>
                      <a:pt x="130" y="291"/>
                    </a:lnTo>
                    <a:lnTo>
                      <a:pt x="133" y="291"/>
                    </a:lnTo>
                    <a:lnTo>
                      <a:pt x="133" y="292"/>
                    </a:lnTo>
                    <a:lnTo>
                      <a:pt x="134" y="294"/>
                    </a:lnTo>
                    <a:lnTo>
                      <a:pt x="138" y="298"/>
                    </a:lnTo>
                    <a:lnTo>
                      <a:pt x="140" y="300"/>
                    </a:lnTo>
                    <a:lnTo>
                      <a:pt x="144" y="303"/>
                    </a:lnTo>
                    <a:lnTo>
                      <a:pt x="145" y="303"/>
                    </a:lnTo>
                    <a:lnTo>
                      <a:pt x="147" y="306"/>
                    </a:lnTo>
                    <a:lnTo>
                      <a:pt x="146" y="307"/>
                    </a:lnTo>
                    <a:lnTo>
                      <a:pt x="146" y="310"/>
                    </a:lnTo>
                    <a:lnTo>
                      <a:pt x="149" y="311"/>
                    </a:lnTo>
                    <a:lnTo>
                      <a:pt x="153" y="313"/>
                    </a:lnTo>
                    <a:lnTo>
                      <a:pt x="157" y="317"/>
                    </a:lnTo>
                    <a:lnTo>
                      <a:pt x="160" y="321"/>
                    </a:lnTo>
                    <a:lnTo>
                      <a:pt x="162" y="322"/>
                    </a:lnTo>
                    <a:lnTo>
                      <a:pt x="163" y="323"/>
                    </a:lnTo>
                    <a:lnTo>
                      <a:pt x="167" y="320"/>
                    </a:lnTo>
                    <a:lnTo>
                      <a:pt x="170" y="31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6" name="Freeform 1310">
                <a:extLst>
                  <a:ext uri="{FF2B5EF4-FFF2-40B4-BE49-F238E27FC236}">
                    <a16:creationId xmlns:a16="http://schemas.microsoft.com/office/drawing/2014/main" id="{207534A6-A7FB-415C-8EF4-FA2CF3F82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4651" y="4724400"/>
                <a:ext cx="280988" cy="374650"/>
              </a:xfrm>
              <a:custGeom>
                <a:avLst/>
                <a:gdLst>
                  <a:gd name="T0" fmla="*/ 11 w 177"/>
                  <a:gd name="T1" fmla="*/ 52 h 236"/>
                  <a:gd name="T2" fmla="*/ 11 w 177"/>
                  <a:gd name="T3" fmla="*/ 74 h 236"/>
                  <a:gd name="T4" fmla="*/ 9 w 177"/>
                  <a:gd name="T5" fmla="*/ 93 h 236"/>
                  <a:gd name="T6" fmla="*/ 10 w 177"/>
                  <a:gd name="T7" fmla="*/ 103 h 236"/>
                  <a:gd name="T8" fmla="*/ 13 w 177"/>
                  <a:gd name="T9" fmla="*/ 121 h 236"/>
                  <a:gd name="T10" fmla="*/ 5 w 177"/>
                  <a:gd name="T11" fmla="*/ 134 h 236"/>
                  <a:gd name="T12" fmla="*/ 8 w 177"/>
                  <a:gd name="T13" fmla="*/ 138 h 236"/>
                  <a:gd name="T14" fmla="*/ 12 w 177"/>
                  <a:gd name="T15" fmla="*/ 146 h 236"/>
                  <a:gd name="T16" fmla="*/ 13 w 177"/>
                  <a:gd name="T17" fmla="*/ 153 h 236"/>
                  <a:gd name="T18" fmla="*/ 16 w 177"/>
                  <a:gd name="T19" fmla="*/ 165 h 236"/>
                  <a:gd name="T20" fmla="*/ 22 w 177"/>
                  <a:gd name="T21" fmla="*/ 179 h 236"/>
                  <a:gd name="T22" fmla="*/ 22 w 177"/>
                  <a:gd name="T23" fmla="*/ 194 h 236"/>
                  <a:gd name="T24" fmla="*/ 43 w 177"/>
                  <a:gd name="T25" fmla="*/ 236 h 236"/>
                  <a:gd name="T26" fmla="*/ 46 w 177"/>
                  <a:gd name="T27" fmla="*/ 233 h 236"/>
                  <a:gd name="T28" fmla="*/ 56 w 177"/>
                  <a:gd name="T29" fmla="*/ 218 h 236"/>
                  <a:gd name="T30" fmla="*/ 67 w 177"/>
                  <a:gd name="T31" fmla="*/ 219 h 236"/>
                  <a:gd name="T32" fmla="*/ 78 w 177"/>
                  <a:gd name="T33" fmla="*/ 218 h 236"/>
                  <a:gd name="T34" fmla="*/ 83 w 177"/>
                  <a:gd name="T35" fmla="*/ 230 h 236"/>
                  <a:gd name="T36" fmla="*/ 85 w 177"/>
                  <a:gd name="T37" fmla="*/ 227 h 236"/>
                  <a:gd name="T38" fmla="*/ 89 w 177"/>
                  <a:gd name="T39" fmla="*/ 217 h 236"/>
                  <a:gd name="T40" fmla="*/ 106 w 177"/>
                  <a:gd name="T41" fmla="*/ 220 h 236"/>
                  <a:gd name="T42" fmla="*/ 112 w 177"/>
                  <a:gd name="T43" fmla="*/ 201 h 236"/>
                  <a:gd name="T44" fmla="*/ 114 w 177"/>
                  <a:gd name="T45" fmla="*/ 185 h 236"/>
                  <a:gd name="T46" fmla="*/ 120 w 177"/>
                  <a:gd name="T47" fmla="*/ 173 h 236"/>
                  <a:gd name="T48" fmla="*/ 165 w 177"/>
                  <a:gd name="T49" fmla="*/ 176 h 236"/>
                  <a:gd name="T50" fmla="*/ 170 w 177"/>
                  <a:gd name="T51" fmla="*/ 175 h 236"/>
                  <a:gd name="T52" fmla="*/ 176 w 177"/>
                  <a:gd name="T53" fmla="*/ 148 h 236"/>
                  <a:gd name="T54" fmla="*/ 162 w 177"/>
                  <a:gd name="T55" fmla="*/ 123 h 236"/>
                  <a:gd name="T56" fmla="*/ 136 w 177"/>
                  <a:gd name="T57" fmla="*/ 104 h 236"/>
                  <a:gd name="T58" fmla="*/ 131 w 177"/>
                  <a:gd name="T59" fmla="*/ 83 h 236"/>
                  <a:gd name="T60" fmla="*/ 125 w 177"/>
                  <a:gd name="T61" fmla="*/ 69 h 236"/>
                  <a:gd name="T62" fmla="*/ 110 w 177"/>
                  <a:gd name="T63" fmla="*/ 66 h 236"/>
                  <a:gd name="T64" fmla="*/ 99 w 177"/>
                  <a:gd name="T65" fmla="*/ 57 h 236"/>
                  <a:gd name="T66" fmla="*/ 89 w 177"/>
                  <a:gd name="T67" fmla="*/ 52 h 236"/>
                  <a:gd name="T68" fmla="*/ 77 w 177"/>
                  <a:gd name="T69" fmla="*/ 49 h 236"/>
                  <a:gd name="T70" fmla="*/ 66 w 177"/>
                  <a:gd name="T71" fmla="*/ 41 h 236"/>
                  <a:gd name="T72" fmla="*/ 59 w 177"/>
                  <a:gd name="T73" fmla="*/ 28 h 236"/>
                  <a:gd name="T74" fmla="*/ 61 w 177"/>
                  <a:gd name="T75" fmla="*/ 11 h 236"/>
                  <a:gd name="T76" fmla="*/ 58 w 177"/>
                  <a:gd name="T77" fmla="*/ 0 h 236"/>
                  <a:gd name="T78" fmla="*/ 49 w 177"/>
                  <a:gd name="T79" fmla="*/ 0 h 236"/>
                  <a:gd name="T80" fmla="*/ 33 w 177"/>
                  <a:gd name="T81" fmla="*/ 8 h 236"/>
                  <a:gd name="T82" fmla="*/ 23 w 177"/>
                  <a:gd name="T83" fmla="*/ 18 h 236"/>
                  <a:gd name="T84" fmla="*/ 13 w 177"/>
                  <a:gd name="T85" fmla="*/ 23 h 236"/>
                  <a:gd name="T86" fmla="*/ 0 w 177"/>
                  <a:gd name="T87" fmla="*/ 23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77" h="236">
                    <a:moveTo>
                      <a:pt x="13" y="45"/>
                    </a:moveTo>
                    <a:lnTo>
                      <a:pt x="13" y="48"/>
                    </a:lnTo>
                    <a:lnTo>
                      <a:pt x="11" y="52"/>
                    </a:lnTo>
                    <a:lnTo>
                      <a:pt x="11" y="64"/>
                    </a:lnTo>
                    <a:lnTo>
                      <a:pt x="9" y="70"/>
                    </a:lnTo>
                    <a:lnTo>
                      <a:pt x="11" y="74"/>
                    </a:lnTo>
                    <a:lnTo>
                      <a:pt x="11" y="85"/>
                    </a:lnTo>
                    <a:lnTo>
                      <a:pt x="10" y="90"/>
                    </a:lnTo>
                    <a:lnTo>
                      <a:pt x="9" y="93"/>
                    </a:lnTo>
                    <a:lnTo>
                      <a:pt x="9" y="97"/>
                    </a:lnTo>
                    <a:lnTo>
                      <a:pt x="10" y="99"/>
                    </a:lnTo>
                    <a:lnTo>
                      <a:pt x="10" y="103"/>
                    </a:lnTo>
                    <a:lnTo>
                      <a:pt x="9" y="106"/>
                    </a:lnTo>
                    <a:lnTo>
                      <a:pt x="13" y="117"/>
                    </a:lnTo>
                    <a:lnTo>
                      <a:pt x="13" y="121"/>
                    </a:lnTo>
                    <a:lnTo>
                      <a:pt x="10" y="125"/>
                    </a:lnTo>
                    <a:lnTo>
                      <a:pt x="7" y="128"/>
                    </a:lnTo>
                    <a:lnTo>
                      <a:pt x="5" y="134"/>
                    </a:lnTo>
                    <a:lnTo>
                      <a:pt x="6" y="135"/>
                    </a:lnTo>
                    <a:lnTo>
                      <a:pt x="8" y="135"/>
                    </a:lnTo>
                    <a:lnTo>
                      <a:pt x="8" y="138"/>
                    </a:lnTo>
                    <a:lnTo>
                      <a:pt x="9" y="138"/>
                    </a:lnTo>
                    <a:lnTo>
                      <a:pt x="9" y="142"/>
                    </a:lnTo>
                    <a:lnTo>
                      <a:pt x="12" y="146"/>
                    </a:lnTo>
                    <a:lnTo>
                      <a:pt x="13" y="147"/>
                    </a:lnTo>
                    <a:lnTo>
                      <a:pt x="14" y="150"/>
                    </a:lnTo>
                    <a:lnTo>
                      <a:pt x="13" y="153"/>
                    </a:lnTo>
                    <a:lnTo>
                      <a:pt x="13" y="156"/>
                    </a:lnTo>
                    <a:lnTo>
                      <a:pt x="14" y="161"/>
                    </a:lnTo>
                    <a:lnTo>
                      <a:pt x="16" y="165"/>
                    </a:lnTo>
                    <a:lnTo>
                      <a:pt x="23" y="171"/>
                    </a:lnTo>
                    <a:lnTo>
                      <a:pt x="23" y="173"/>
                    </a:lnTo>
                    <a:lnTo>
                      <a:pt x="22" y="179"/>
                    </a:lnTo>
                    <a:lnTo>
                      <a:pt x="23" y="182"/>
                    </a:lnTo>
                    <a:lnTo>
                      <a:pt x="20" y="191"/>
                    </a:lnTo>
                    <a:lnTo>
                      <a:pt x="22" y="194"/>
                    </a:lnTo>
                    <a:lnTo>
                      <a:pt x="28" y="202"/>
                    </a:lnTo>
                    <a:lnTo>
                      <a:pt x="39" y="236"/>
                    </a:lnTo>
                    <a:lnTo>
                      <a:pt x="43" y="236"/>
                    </a:lnTo>
                    <a:lnTo>
                      <a:pt x="44" y="234"/>
                    </a:lnTo>
                    <a:lnTo>
                      <a:pt x="46" y="233"/>
                    </a:lnTo>
                    <a:lnTo>
                      <a:pt x="46" y="233"/>
                    </a:lnTo>
                    <a:lnTo>
                      <a:pt x="47" y="231"/>
                    </a:lnTo>
                    <a:lnTo>
                      <a:pt x="51" y="225"/>
                    </a:lnTo>
                    <a:lnTo>
                      <a:pt x="56" y="218"/>
                    </a:lnTo>
                    <a:lnTo>
                      <a:pt x="59" y="216"/>
                    </a:lnTo>
                    <a:lnTo>
                      <a:pt x="63" y="220"/>
                    </a:lnTo>
                    <a:lnTo>
                      <a:pt x="67" y="219"/>
                    </a:lnTo>
                    <a:lnTo>
                      <a:pt x="69" y="218"/>
                    </a:lnTo>
                    <a:lnTo>
                      <a:pt x="72" y="219"/>
                    </a:lnTo>
                    <a:lnTo>
                      <a:pt x="78" y="218"/>
                    </a:lnTo>
                    <a:lnTo>
                      <a:pt x="80" y="219"/>
                    </a:lnTo>
                    <a:lnTo>
                      <a:pt x="81" y="223"/>
                    </a:lnTo>
                    <a:lnTo>
                      <a:pt x="83" y="230"/>
                    </a:lnTo>
                    <a:lnTo>
                      <a:pt x="84" y="232"/>
                    </a:lnTo>
                    <a:lnTo>
                      <a:pt x="86" y="230"/>
                    </a:lnTo>
                    <a:lnTo>
                      <a:pt x="85" y="227"/>
                    </a:lnTo>
                    <a:lnTo>
                      <a:pt x="86" y="224"/>
                    </a:lnTo>
                    <a:lnTo>
                      <a:pt x="86" y="221"/>
                    </a:lnTo>
                    <a:lnTo>
                      <a:pt x="89" y="217"/>
                    </a:lnTo>
                    <a:lnTo>
                      <a:pt x="97" y="217"/>
                    </a:lnTo>
                    <a:lnTo>
                      <a:pt x="104" y="217"/>
                    </a:lnTo>
                    <a:lnTo>
                      <a:pt x="106" y="220"/>
                    </a:lnTo>
                    <a:lnTo>
                      <a:pt x="108" y="215"/>
                    </a:lnTo>
                    <a:lnTo>
                      <a:pt x="112" y="205"/>
                    </a:lnTo>
                    <a:lnTo>
                      <a:pt x="112" y="201"/>
                    </a:lnTo>
                    <a:lnTo>
                      <a:pt x="111" y="196"/>
                    </a:lnTo>
                    <a:lnTo>
                      <a:pt x="110" y="194"/>
                    </a:lnTo>
                    <a:lnTo>
                      <a:pt x="114" y="185"/>
                    </a:lnTo>
                    <a:lnTo>
                      <a:pt x="117" y="179"/>
                    </a:lnTo>
                    <a:lnTo>
                      <a:pt x="117" y="176"/>
                    </a:lnTo>
                    <a:lnTo>
                      <a:pt x="120" y="173"/>
                    </a:lnTo>
                    <a:lnTo>
                      <a:pt x="139" y="167"/>
                    </a:lnTo>
                    <a:lnTo>
                      <a:pt x="155" y="167"/>
                    </a:lnTo>
                    <a:lnTo>
                      <a:pt x="165" y="176"/>
                    </a:lnTo>
                    <a:lnTo>
                      <a:pt x="167" y="177"/>
                    </a:lnTo>
                    <a:lnTo>
                      <a:pt x="169" y="178"/>
                    </a:lnTo>
                    <a:lnTo>
                      <a:pt x="170" y="175"/>
                    </a:lnTo>
                    <a:lnTo>
                      <a:pt x="170" y="173"/>
                    </a:lnTo>
                    <a:lnTo>
                      <a:pt x="177" y="156"/>
                    </a:lnTo>
                    <a:lnTo>
                      <a:pt x="176" y="148"/>
                    </a:lnTo>
                    <a:lnTo>
                      <a:pt x="169" y="132"/>
                    </a:lnTo>
                    <a:lnTo>
                      <a:pt x="162" y="130"/>
                    </a:lnTo>
                    <a:lnTo>
                      <a:pt x="162" y="123"/>
                    </a:lnTo>
                    <a:lnTo>
                      <a:pt x="161" y="112"/>
                    </a:lnTo>
                    <a:lnTo>
                      <a:pt x="136" y="112"/>
                    </a:lnTo>
                    <a:lnTo>
                      <a:pt x="136" y="104"/>
                    </a:lnTo>
                    <a:lnTo>
                      <a:pt x="131" y="94"/>
                    </a:lnTo>
                    <a:lnTo>
                      <a:pt x="133" y="90"/>
                    </a:lnTo>
                    <a:lnTo>
                      <a:pt x="131" y="83"/>
                    </a:lnTo>
                    <a:lnTo>
                      <a:pt x="132" y="75"/>
                    </a:lnTo>
                    <a:lnTo>
                      <a:pt x="131" y="73"/>
                    </a:lnTo>
                    <a:lnTo>
                      <a:pt x="125" y="69"/>
                    </a:lnTo>
                    <a:lnTo>
                      <a:pt x="117" y="70"/>
                    </a:lnTo>
                    <a:lnTo>
                      <a:pt x="113" y="67"/>
                    </a:lnTo>
                    <a:lnTo>
                      <a:pt x="110" y="66"/>
                    </a:lnTo>
                    <a:lnTo>
                      <a:pt x="110" y="61"/>
                    </a:lnTo>
                    <a:lnTo>
                      <a:pt x="106" y="59"/>
                    </a:lnTo>
                    <a:lnTo>
                      <a:pt x="99" y="57"/>
                    </a:lnTo>
                    <a:lnTo>
                      <a:pt x="98" y="57"/>
                    </a:lnTo>
                    <a:lnTo>
                      <a:pt x="92" y="51"/>
                    </a:lnTo>
                    <a:lnTo>
                      <a:pt x="89" y="52"/>
                    </a:lnTo>
                    <a:lnTo>
                      <a:pt x="84" y="46"/>
                    </a:lnTo>
                    <a:lnTo>
                      <a:pt x="78" y="48"/>
                    </a:lnTo>
                    <a:lnTo>
                      <a:pt x="77" y="49"/>
                    </a:lnTo>
                    <a:lnTo>
                      <a:pt x="74" y="46"/>
                    </a:lnTo>
                    <a:lnTo>
                      <a:pt x="69" y="42"/>
                    </a:lnTo>
                    <a:lnTo>
                      <a:pt x="66" y="41"/>
                    </a:lnTo>
                    <a:lnTo>
                      <a:pt x="65" y="35"/>
                    </a:lnTo>
                    <a:lnTo>
                      <a:pt x="61" y="34"/>
                    </a:lnTo>
                    <a:lnTo>
                      <a:pt x="59" y="28"/>
                    </a:lnTo>
                    <a:lnTo>
                      <a:pt x="61" y="24"/>
                    </a:lnTo>
                    <a:lnTo>
                      <a:pt x="58" y="16"/>
                    </a:lnTo>
                    <a:lnTo>
                      <a:pt x="61" y="11"/>
                    </a:lnTo>
                    <a:lnTo>
                      <a:pt x="59" y="5"/>
                    </a:lnTo>
                    <a:lnTo>
                      <a:pt x="60" y="1"/>
                    </a:lnTo>
                    <a:lnTo>
                      <a:pt x="58" y="0"/>
                    </a:lnTo>
                    <a:lnTo>
                      <a:pt x="54" y="2"/>
                    </a:lnTo>
                    <a:lnTo>
                      <a:pt x="52" y="0"/>
                    </a:lnTo>
                    <a:lnTo>
                      <a:pt x="49" y="0"/>
                    </a:lnTo>
                    <a:lnTo>
                      <a:pt x="44" y="2"/>
                    </a:lnTo>
                    <a:lnTo>
                      <a:pt x="40" y="3"/>
                    </a:lnTo>
                    <a:lnTo>
                      <a:pt x="33" y="8"/>
                    </a:lnTo>
                    <a:lnTo>
                      <a:pt x="30" y="16"/>
                    </a:lnTo>
                    <a:lnTo>
                      <a:pt x="27" y="18"/>
                    </a:lnTo>
                    <a:lnTo>
                      <a:pt x="23" y="18"/>
                    </a:lnTo>
                    <a:lnTo>
                      <a:pt x="20" y="20"/>
                    </a:lnTo>
                    <a:lnTo>
                      <a:pt x="18" y="20"/>
                    </a:lnTo>
                    <a:lnTo>
                      <a:pt x="13" y="23"/>
                    </a:lnTo>
                    <a:lnTo>
                      <a:pt x="9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13" y="4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7" name="Freeform 1311">
                <a:extLst>
                  <a:ext uri="{FF2B5EF4-FFF2-40B4-BE49-F238E27FC236}">
                    <a16:creationId xmlns:a16="http://schemas.microsoft.com/office/drawing/2014/main" id="{F845969C-1D0E-4C3F-AB8E-AB2CF6F3C3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2926" y="4989513"/>
                <a:ext cx="193675" cy="244475"/>
              </a:xfrm>
              <a:custGeom>
                <a:avLst/>
                <a:gdLst>
                  <a:gd name="T0" fmla="*/ 49 w 122"/>
                  <a:gd name="T1" fmla="*/ 0 h 154"/>
                  <a:gd name="T2" fmla="*/ 14 w 122"/>
                  <a:gd name="T3" fmla="*/ 6 h 154"/>
                  <a:gd name="T4" fmla="*/ 11 w 122"/>
                  <a:gd name="T5" fmla="*/ 12 h 154"/>
                  <a:gd name="T6" fmla="*/ 4 w 122"/>
                  <a:gd name="T7" fmla="*/ 27 h 154"/>
                  <a:gd name="T8" fmla="*/ 6 w 122"/>
                  <a:gd name="T9" fmla="*/ 34 h 154"/>
                  <a:gd name="T10" fmla="*/ 2 w 122"/>
                  <a:gd name="T11" fmla="*/ 48 h 154"/>
                  <a:gd name="T12" fmla="*/ 1 w 122"/>
                  <a:gd name="T13" fmla="*/ 54 h 154"/>
                  <a:gd name="T14" fmla="*/ 7 w 122"/>
                  <a:gd name="T15" fmla="*/ 58 h 154"/>
                  <a:gd name="T16" fmla="*/ 19 w 122"/>
                  <a:gd name="T17" fmla="*/ 76 h 154"/>
                  <a:gd name="T18" fmla="*/ 26 w 122"/>
                  <a:gd name="T19" fmla="*/ 81 h 154"/>
                  <a:gd name="T20" fmla="*/ 37 w 122"/>
                  <a:gd name="T21" fmla="*/ 88 h 154"/>
                  <a:gd name="T22" fmla="*/ 45 w 122"/>
                  <a:gd name="T23" fmla="*/ 92 h 154"/>
                  <a:gd name="T24" fmla="*/ 58 w 122"/>
                  <a:gd name="T25" fmla="*/ 102 h 154"/>
                  <a:gd name="T26" fmla="*/ 70 w 122"/>
                  <a:gd name="T27" fmla="*/ 108 h 154"/>
                  <a:gd name="T28" fmla="*/ 75 w 122"/>
                  <a:gd name="T29" fmla="*/ 116 h 154"/>
                  <a:gd name="T30" fmla="*/ 72 w 122"/>
                  <a:gd name="T31" fmla="*/ 123 h 154"/>
                  <a:gd name="T32" fmla="*/ 68 w 122"/>
                  <a:gd name="T33" fmla="*/ 129 h 154"/>
                  <a:gd name="T34" fmla="*/ 67 w 122"/>
                  <a:gd name="T35" fmla="*/ 139 h 154"/>
                  <a:gd name="T36" fmla="*/ 62 w 122"/>
                  <a:gd name="T37" fmla="*/ 148 h 154"/>
                  <a:gd name="T38" fmla="*/ 74 w 122"/>
                  <a:gd name="T39" fmla="*/ 146 h 154"/>
                  <a:gd name="T40" fmla="*/ 89 w 122"/>
                  <a:gd name="T41" fmla="*/ 154 h 154"/>
                  <a:gd name="T42" fmla="*/ 94 w 122"/>
                  <a:gd name="T43" fmla="*/ 152 h 154"/>
                  <a:gd name="T44" fmla="*/ 98 w 122"/>
                  <a:gd name="T45" fmla="*/ 149 h 154"/>
                  <a:gd name="T46" fmla="*/ 102 w 122"/>
                  <a:gd name="T47" fmla="*/ 149 h 154"/>
                  <a:gd name="T48" fmla="*/ 106 w 122"/>
                  <a:gd name="T49" fmla="*/ 141 h 154"/>
                  <a:gd name="T50" fmla="*/ 114 w 122"/>
                  <a:gd name="T51" fmla="*/ 132 h 154"/>
                  <a:gd name="T52" fmla="*/ 118 w 122"/>
                  <a:gd name="T53" fmla="*/ 126 h 154"/>
                  <a:gd name="T54" fmla="*/ 118 w 122"/>
                  <a:gd name="T55" fmla="*/ 117 h 154"/>
                  <a:gd name="T56" fmla="*/ 118 w 122"/>
                  <a:gd name="T57" fmla="*/ 112 h 154"/>
                  <a:gd name="T58" fmla="*/ 119 w 122"/>
                  <a:gd name="T59" fmla="*/ 108 h 154"/>
                  <a:gd name="T60" fmla="*/ 120 w 122"/>
                  <a:gd name="T61" fmla="*/ 106 h 154"/>
                  <a:gd name="T62" fmla="*/ 121 w 122"/>
                  <a:gd name="T63" fmla="*/ 88 h 154"/>
                  <a:gd name="T64" fmla="*/ 120 w 122"/>
                  <a:gd name="T65" fmla="*/ 85 h 154"/>
                  <a:gd name="T66" fmla="*/ 115 w 122"/>
                  <a:gd name="T67" fmla="*/ 81 h 154"/>
                  <a:gd name="T68" fmla="*/ 107 w 122"/>
                  <a:gd name="T69" fmla="*/ 84 h 154"/>
                  <a:gd name="T70" fmla="*/ 101 w 122"/>
                  <a:gd name="T71" fmla="*/ 58 h 154"/>
                  <a:gd name="T72" fmla="*/ 97 w 122"/>
                  <a:gd name="T73" fmla="*/ 54 h 154"/>
                  <a:gd name="T74" fmla="*/ 87 w 122"/>
                  <a:gd name="T75" fmla="*/ 54 h 154"/>
                  <a:gd name="T76" fmla="*/ 76 w 122"/>
                  <a:gd name="T77" fmla="*/ 53 h 154"/>
                  <a:gd name="T78" fmla="*/ 69 w 122"/>
                  <a:gd name="T79" fmla="*/ 52 h 154"/>
                  <a:gd name="T80" fmla="*/ 69 w 122"/>
                  <a:gd name="T81" fmla="*/ 44 h 154"/>
                  <a:gd name="T82" fmla="*/ 70 w 122"/>
                  <a:gd name="T83" fmla="*/ 30 h 154"/>
                  <a:gd name="T84" fmla="*/ 66 w 122"/>
                  <a:gd name="T85" fmla="*/ 20 h 154"/>
                  <a:gd name="T86" fmla="*/ 63 w 122"/>
                  <a:gd name="T87" fmla="*/ 13 h 154"/>
                  <a:gd name="T88" fmla="*/ 59 w 122"/>
                  <a:gd name="T89" fmla="*/ 9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2" h="154">
                    <a:moveTo>
                      <a:pt x="59" y="9"/>
                    </a:moveTo>
                    <a:lnTo>
                      <a:pt x="49" y="0"/>
                    </a:lnTo>
                    <a:lnTo>
                      <a:pt x="33" y="0"/>
                    </a:lnTo>
                    <a:lnTo>
                      <a:pt x="14" y="6"/>
                    </a:lnTo>
                    <a:lnTo>
                      <a:pt x="11" y="9"/>
                    </a:lnTo>
                    <a:lnTo>
                      <a:pt x="11" y="12"/>
                    </a:lnTo>
                    <a:lnTo>
                      <a:pt x="8" y="18"/>
                    </a:lnTo>
                    <a:lnTo>
                      <a:pt x="4" y="27"/>
                    </a:lnTo>
                    <a:lnTo>
                      <a:pt x="5" y="29"/>
                    </a:lnTo>
                    <a:lnTo>
                      <a:pt x="6" y="34"/>
                    </a:lnTo>
                    <a:lnTo>
                      <a:pt x="6" y="38"/>
                    </a:lnTo>
                    <a:lnTo>
                      <a:pt x="2" y="48"/>
                    </a:lnTo>
                    <a:lnTo>
                      <a:pt x="0" y="53"/>
                    </a:lnTo>
                    <a:lnTo>
                      <a:pt x="1" y="54"/>
                    </a:lnTo>
                    <a:lnTo>
                      <a:pt x="4" y="58"/>
                    </a:lnTo>
                    <a:lnTo>
                      <a:pt x="7" y="58"/>
                    </a:lnTo>
                    <a:lnTo>
                      <a:pt x="11" y="66"/>
                    </a:lnTo>
                    <a:lnTo>
                      <a:pt x="19" y="76"/>
                    </a:lnTo>
                    <a:lnTo>
                      <a:pt x="23" y="77"/>
                    </a:lnTo>
                    <a:lnTo>
                      <a:pt x="26" y="81"/>
                    </a:lnTo>
                    <a:lnTo>
                      <a:pt x="28" y="85"/>
                    </a:lnTo>
                    <a:lnTo>
                      <a:pt x="37" y="88"/>
                    </a:lnTo>
                    <a:lnTo>
                      <a:pt x="42" y="91"/>
                    </a:lnTo>
                    <a:lnTo>
                      <a:pt x="45" y="92"/>
                    </a:lnTo>
                    <a:lnTo>
                      <a:pt x="52" y="98"/>
                    </a:lnTo>
                    <a:lnTo>
                      <a:pt x="58" y="102"/>
                    </a:lnTo>
                    <a:lnTo>
                      <a:pt x="66" y="103"/>
                    </a:lnTo>
                    <a:lnTo>
                      <a:pt x="70" y="108"/>
                    </a:lnTo>
                    <a:lnTo>
                      <a:pt x="73" y="112"/>
                    </a:lnTo>
                    <a:lnTo>
                      <a:pt x="75" y="116"/>
                    </a:lnTo>
                    <a:lnTo>
                      <a:pt x="74" y="120"/>
                    </a:lnTo>
                    <a:lnTo>
                      <a:pt x="72" y="123"/>
                    </a:lnTo>
                    <a:lnTo>
                      <a:pt x="70" y="126"/>
                    </a:lnTo>
                    <a:lnTo>
                      <a:pt x="68" y="129"/>
                    </a:lnTo>
                    <a:lnTo>
                      <a:pt x="69" y="132"/>
                    </a:lnTo>
                    <a:lnTo>
                      <a:pt x="67" y="139"/>
                    </a:lnTo>
                    <a:lnTo>
                      <a:pt x="63" y="144"/>
                    </a:lnTo>
                    <a:lnTo>
                      <a:pt x="62" y="148"/>
                    </a:lnTo>
                    <a:lnTo>
                      <a:pt x="64" y="148"/>
                    </a:lnTo>
                    <a:lnTo>
                      <a:pt x="74" y="146"/>
                    </a:lnTo>
                    <a:lnTo>
                      <a:pt x="83" y="149"/>
                    </a:lnTo>
                    <a:lnTo>
                      <a:pt x="89" y="154"/>
                    </a:lnTo>
                    <a:lnTo>
                      <a:pt x="92" y="152"/>
                    </a:lnTo>
                    <a:lnTo>
                      <a:pt x="94" y="152"/>
                    </a:lnTo>
                    <a:lnTo>
                      <a:pt x="95" y="154"/>
                    </a:lnTo>
                    <a:lnTo>
                      <a:pt x="98" y="149"/>
                    </a:lnTo>
                    <a:lnTo>
                      <a:pt x="99" y="148"/>
                    </a:lnTo>
                    <a:lnTo>
                      <a:pt x="102" y="149"/>
                    </a:lnTo>
                    <a:lnTo>
                      <a:pt x="105" y="146"/>
                    </a:lnTo>
                    <a:lnTo>
                      <a:pt x="106" y="141"/>
                    </a:lnTo>
                    <a:lnTo>
                      <a:pt x="112" y="136"/>
                    </a:lnTo>
                    <a:lnTo>
                      <a:pt x="114" y="132"/>
                    </a:lnTo>
                    <a:lnTo>
                      <a:pt x="115" y="128"/>
                    </a:lnTo>
                    <a:lnTo>
                      <a:pt x="118" y="126"/>
                    </a:lnTo>
                    <a:lnTo>
                      <a:pt x="118" y="120"/>
                    </a:lnTo>
                    <a:lnTo>
                      <a:pt x="118" y="117"/>
                    </a:lnTo>
                    <a:lnTo>
                      <a:pt x="118" y="113"/>
                    </a:lnTo>
                    <a:lnTo>
                      <a:pt x="118" y="112"/>
                    </a:lnTo>
                    <a:lnTo>
                      <a:pt x="119" y="110"/>
                    </a:lnTo>
                    <a:lnTo>
                      <a:pt x="119" y="108"/>
                    </a:lnTo>
                    <a:lnTo>
                      <a:pt x="119" y="106"/>
                    </a:lnTo>
                    <a:lnTo>
                      <a:pt x="120" y="106"/>
                    </a:lnTo>
                    <a:lnTo>
                      <a:pt x="120" y="104"/>
                    </a:lnTo>
                    <a:lnTo>
                      <a:pt x="121" y="88"/>
                    </a:lnTo>
                    <a:lnTo>
                      <a:pt x="122" y="85"/>
                    </a:lnTo>
                    <a:lnTo>
                      <a:pt x="120" y="85"/>
                    </a:lnTo>
                    <a:lnTo>
                      <a:pt x="118" y="82"/>
                    </a:lnTo>
                    <a:lnTo>
                      <a:pt x="115" y="81"/>
                    </a:lnTo>
                    <a:lnTo>
                      <a:pt x="109" y="85"/>
                    </a:lnTo>
                    <a:lnTo>
                      <a:pt x="107" y="84"/>
                    </a:lnTo>
                    <a:lnTo>
                      <a:pt x="104" y="77"/>
                    </a:lnTo>
                    <a:lnTo>
                      <a:pt x="101" y="58"/>
                    </a:lnTo>
                    <a:lnTo>
                      <a:pt x="100" y="54"/>
                    </a:lnTo>
                    <a:lnTo>
                      <a:pt x="97" y="54"/>
                    </a:lnTo>
                    <a:lnTo>
                      <a:pt x="94" y="51"/>
                    </a:lnTo>
                    <a:lnTo>
                      <a:pt x="87" y="54"/>
                    </a:lnTo>
                    <a:lnTo>
                      <a:pt x="83" y="52"/>
                    </a:lnTo>
                    <a:lnTo>
                      <a:pt x="76" y="53"/>
                    </a:lnTo>
                    <a:lnTo>
                      <a:pt x="74" y="51"/>
                    </a:lnTo>
                    <a:lnTo>
                      <a:pt x="69" y="52"/>
                    </a:lnTo>
                    <a:lnTo>
                      <a:pt x="68" y="48"/>
                    </a:lnTo>
                    <a:lnTo>
                      <a:pt x="69" y="44"/>
                    </a:lnTo>
                    <a:lnTo>
                      <a:pt x="68" y="41"/>
                    </a:lnTo>
                    <a:lnTo>
                      <a:pt x="70" y="30"/>
                    </a:lnTo>
                    <a:lnTo>
                      <a:pt x="66" y="25"/>
                    </a:lnTo>
                    <a:lnTo>
                      <a:pt x="66" y="20"/>
                    </a:lnTo>
                    <a:lnTo>
                      <a:pt x="63" y="17"/>
                    </a:lnTo>
                    <a:lnTo>
                      <a:pt x="63" y="13"/>
                    </a:lnTo>
                    <a:lnTo>
                      <a:pt x="61" y="10"/>
                    </a:lnTo>
                    <a:lnTo>
                      <a:pt x="59" y="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8" name="Freeform 1312">
                <a:extLst>
                  <a:ext uri="{FF2B5EF4-FFF2-40B4-BE49-F238E27FC236}">
                    <a16:creationId xmlns:a16="http://schemas.microsoft.com/office/drawing/2014/main" id="{C178201B-3DA6-415B-8494-D472F344D1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1988" y="5305425"/>
                <a:ext cx="112713" cy="153988"/>
              </a:xfrm>
              <a:custGeom>
                <a:avLst/>
                <a:gdLst>
                  <a:gd name="T0" fmla="*/ 69 w 71"/>
                  <a:gd name="T1" fmla="*/ 66 h 97"/>
                  <a:gd name="T2" fmla="*/ 67 w 71"/>
                  <a:gd name="T3" fmla="*/ 60 h 97"/>
                  <a:gd name="T4" fmla="*/ 70 w 71"/>
                  <a:gd name="T5" fmla="*/ 51 h 97"/>
                  <a:gd name="T6" fmla="*/ 64 w 71"/>
                  <a:gd name="T7" fmla="*/ 42 h 97"/>
                  <a:gd name="T8" fmla="*/ 55 w 71"/>
                  <a:gd name="T9" fmla="*/ 34 h 97"/>
                  <a:gd name="T10" fmla="*/ 52 w 71"/>
                  <a:gd name="T11" fmla="*/ 30 h 97"/>
                  <a:gd name="T12" fmla="*/ 45 w 71"/>
                  <a:gd name="T13" fmla="*/ 25 h 97"/>
                  <a:gd name="T14" fmla="*/ 38 w 71"/>
                  <a:gd name="T15" fmla="*/ 17 h 97"/>
                  <a:gd name="T16" fmla="*/ 34 w 71"/>
                  <a:gd name="T17" fmla="*/ 21 h 97"/>
                  <a:gd name="T18" fmla="*/ 29 w 71"/>
                  <a:gd name="T19" fmla="*/ 14 h 97"/>
                  <a:gd name="T20" fmla="*/ 24 w 71"/>
                  <a:gd name="T21" fmla="*/ 7 h 97"/>
                  <a:gd name="T22" fmla="*/ 18 w 71"/>
                  <a:gd name="T23" fmla="*/ 0 h 97"/>
                  <a:gd name="T24" fmla="*/ 9 w 71"/>
                  <a:gd name="T25" fmla="*/ 1 h 97"/>
                  <a:gd name="T26" fmla="*/ 7 w 71"/>
                  <a:gd name="T27" fmla="*/ 2 h 97"/>
                  <a:gd name="T28" fmla="*/ 3 w 71"/>
                  <a:gd name="T29" fmla="*/ 10 h 97"/>
                  <a:gd name="T30" fmla="*/ 3 w 71"/>
                  <a:gd name="T31" fmla="*/ 18 h 97"/>
                  <a:gd name="T32" fmla="*/ 3 w 71"/>
                  <a:gd name="T33" fmla="*/ 28 h 97"/>
                  <a:gd name="T34" fmla="*/ 2 w 71"/>
                  <a:gd name="T35" fmla="*/ 34 h 97"/>
                  <a:gd name="T36" fmla="*/ 2 w 71"/>
                  <a:gd name="T37" fmla="*/ 43 h 97"/>
                  <a:gd name="T38" fmla="*/ 2 w 71"/>
                  <a:gd name="T39" fmla="*/ 52 h 97"/>
                  <a:gd name="T40" fmla="*/ 2 w 71"/>
                  <a:gd name="T41" fmla="*/ 60 h 97"/>
                  <a:gd name="T42" fmla="*/ 0 w 71"/>
                  <a:gd name="T43" fmla="*/ 64 h 97"/>
                  <a:gd name="T44" fmla="*/ 0 w 71"/>
                  <a:gd name="T45" fmla="*/ 72 h 97"/>
                  <a:gd name="T46" fmla="*/ 6 w 71"/>
                  <a:gd name="T47" fmla="*/ 84 h 97"/>
                  <a:gd name="T48" fmla="*/ 11 w 71"/>
                  <a:gd name="T49" fmla="*/ 90 h 97"/>
                  <a:gd name="T50" fmla="*/ 19 w 71"/>
                  <a:gd name="T51" fmla="*/ 90 h 97"/>
                  <a:gd name="T52" fmla="*/ 26 w 71"/>
                  <a:gd name="T53" fmla="*/ 93 h 97"/>
                  <a:gd name="T54" fmla="*/ 31 w 71"/>
                  <a:gd name="T55" fmla="*/ 94 h 97"/>
                  <a:gd name="T56" fmla="*/ 31 w 71"/>
                  <a:gd name="T57" fmla="*/ 95 h 97"/>
                  <a:gd name="T58" fmla="*/ 34 w 71"/>
                  <a:gd name="T59" fmla="*/ 97 h 97"/>
                  <a:gd name="T60" fmla="*/ 41 w 71"/>
                  <a:gd name="T61" fmla="*/ 94 h 97"/>
                  <a:gd name="T62" fmla="*/ 46 w 71"/>
                  <a:gd name="T63" fmla="*/ 97 h 97"/>
                  <a:gd name="T64" fmla="*/ 49 w 71"/>
                  <a:gd name="T65" fmla="*/ 97 h 97"/>
                  <a:gd name="T66" fmla="*/ 53 w 71"/>
                  <a:gd name="T67" fmla="*/ 97 h 97"/>
                  <a:gd name="T68" fmla="*/ 53 w 71"/>
                  <a:gd name="T69" fmla="*/ 94 h 97"/>
                  <a:gd name="T70" fmla="*/ 60 w 71"/>
                  <a:gd name="T71" fmla="*/ 93 h 97"/>
                  <a:gd name="T72" fmla="*/ 64 w 71"/>
                  <a:gd name="T73" fmla="*/ 86 h 97"/>
                  <a:gd name="T74" fmla="*/ 65 w 71"/>
                  <a:gd name="T75" fmla="*/ 83 h 97"/>
                  <a:gd name="T76" fmla="*/ 68 w 71"/>
                  <a:gd name="T77" fmla="*/ 75 h 97"/>
                  <a:gd name="T78" fmla="*/ 71 w 71"/>
                  <a:gd name="T79" fmla="*/ 71 h 97"/>
                  <a:gd name="T80" fmla="*/ 69 w 71"/>
                  <a:gd name="T81" fmla="*/ 6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71" h="97">
                    <a:moveTo>
                      <a:pt x="69" y="67"/>
                    </a:moveTo>
                    <a:lnTo>
                      <a:pt x="69" y="66"/>
                    </a:lnTo>
                    <a:lnTo>
                      <a:pt x="68" y="65"/>
                    </a:lnTo>
                    <a:lnTo>
                      <a:pt x="67" y="60"/>
                    </a:lnTo>
                    <a:lnTo>
                      <a:pt x="70" y="56"/>
                    </a:lnTo>
                    <a:lnTo>
                      <a:pt x="70" y="51"/>
                    </a:lnTo>
                    <a:lnTo>
                      <a:pt x="67" y="48"/>
                    </a:lnTo>
                    <a:lnTo>
                      <a:pt x="64" y="42"/>
                    </a:lnTo>
                    <a:lnTo>
                      <a:pt x="60" y="37"/>
                    </a:lnTo>
                    <a:lnTo>
                      <a:pt x="55" y="34"/>
                    </a:lnTo>
                    <a:lnTo>
                      <a:pt x="52" y="35"/>
                    </a:lnTo>
                    <a:lnTo>
                      <a:pt x="52" y="30"/>
                    </a:lnTo>
                    <a:lnTo>
                      <a:pt x="49" y="26"/>
                    </a:lnTo>
                    <a:lnTo>
                      <a:pt x="45" y="25"/>
                    </a:lnTo>
                    <a:lnTo>
                      <a:pt x="41" y="23"/>
                    </a:lnTo>
                    <a:lnTo>
                      <a:pt x="38" y="17"/>
                    </a:lnTo>
                    <a:lnTo>
                      <a:pt x="36" y="17"/>
                    </a:lnTo>
                    <a:lnTo>
                      <a:pt x="34" y="21"/>
                    </a:lnTo>
                    <a:lnTo>
                      <a:pt x="33" y="21"/>
                    </a:lnTo>
                    <a:lnTo>
                      <a:pt x="29" y="14"/>
                    </a:lnTo>
                    <a:lnTo>
                      <a:pt x="27" y="9"/>
                    </a:lnTo>
                    <a:lnTo>
                      <a:pt x="24" y="7"/>
                    </a:lnTo>
                    <a:lnTo>
                      <a:pt x="21" y="2"/>
                    </a:lnTo>
                    <a:lnTo>
                      <a:pt x="18" y="0"/>
                    </a:lnTo>
                    <a:lnTo>
                      <a:pt x="11" y="3"/>
                    </a:lnTo>
                    <a:lnTo>
                      <a:pt x="9" y="1"/>
                    </a:lnTo>
                    <a:lnTo>
                      <a:pt x="7" y="1"/>
                    </a:lnTo>
                    <a:lnTo>
                      <a:pt x="7" y="2"/>
                    </a:lnTo>
                    <a:lnTo>
                      <a:pt x="5" y="6"/>
                    </a:lnTo>
                    <a:lnTo>
                      <a:pt x="3" y="10"/>
                    </a:lnTo>
                    <a:lnTo>
                      <a:pt x="4" y="15"/>
                    </a:lnTo>
                    <a:lnTo>
                      <a:pt x="3" y="18"/>
                    </a:lnTo>
                    <a:lnTo>
                      <a:pt x="4" y="21"/>
                    </a:lnTo>
                    <a:lnTo>
                      <a:pt x="3" y="28"/>
                    </a:lnTo>
                    <a:lnTo>
                      <a:pt x="2" y="31"/>
                    </a:lnTo>
                    <a:lnTo>
                      <a:pt x="2" y="34"/>
                    </a:lnTo>
                    <a:lnTo>
                      <a:pt x="1" y="38"/>
                    </a:lnTo>
                    <a:lnTo>
                      <a:pt x="2" y="43"/>
                    </a:lnTo>
                    <a:lnTo>
                      <a:pt x="1" y="45"/>
                    </a:lnTo>
                    <a:lnTo>
                      <a:pt x="2" y="52"/>
                    </a:lnTo>
                    <a:lnTo>
                      <a:pt x="3" y="58"/>
                    </a:lnTo>
                    <a:lnTo>
                      <a:pt x="2" y="60"/>
                    </a:lnTo>
                    <a:lnTo>
                      <a:pt x="0" y="63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72"/>
                    </a:lnTo>
                    <a:lnTo>
                      <a:pt x="1" y="78"/>
                    </a:lnTo>
                    <a:lnTo>
                      <a:pt x="6" y="84"/>
                    </a:lnTo>
                    <a:lnTo>
                      <a:pt x="7" y="85"/>
                    </a:lnTo>
                    <a:lnTo>
                      <a:pt x="11" y="90"/>
                    </a:lnTo>
                    <a:lnTo>
                      <a:pt x="13" y="90"/>
                    </a:lnTo>
                    <a:lnTo>
                      <a:pt x="19" y="90"/>
                    </a:lnTo>
                    <a:lnTo>
                      <a:pt x="23" y="90"/>
                    </a:lnTo>
                    <a:lnTo>
                      <a:pt x="26" y="93"/>
                    </a:lnTo>
                    <a:lnTo>
                      <a:pt x="29" y="93"/>
                    </a:lnTo>
                    <a:lnTo>
                      <a:pt x="31" y="94"/>
                    </a:lnTo>
                    <a:lnTo>
                      <a:pt x="32" y="94"/>
                    </a:lnTo>
                    <a:lnTo>
                      <a:pt x="31" y="95"/>
                    </a:lnTo>
                    <a:lnTo>
                      <a:pt x="31" y="97"/>
                    </a:lnTo>
                    <a:lnTo>
                      <a:pt x="34" y="97"/>
                    </a:lnTo>
                    <a:lnTo>
                      <a:pt x="37" y="95"/>
                    </a:lnTo>
                    <a:lnTo>
                      <a:pt x="41" y="94"/>
                    </a:lnTo>
                    <a:lnTo>
                      <a:pt x="44" y="95"/>
                    </a:lnTo>
                    <a:lnTo>
                      <a:pt x="46" y="97"/>
                    </a:lnTo>
                    <a:lnTo>
                      <a:pt x="47" y="97"/>
                    </a:lnTo>
                    <a:lnTo>
                      <a:pt x="49" y="97"/>
                    </a:lnTo>
                    <a:lnTo>
                      <a:pt x="51" y="97"/>
                    </a:lnTo>
                    <a:lnTo>
                      <a:pt x="53" y="97"/>
                    </a:lnTo>
                    <a:lnTo>
                      <a:pt x="53" y="94"/>
                    </a:lnTo>
                    <a:lnTo>
                      <a:pt x="53" y="94"/>
                    </a:lnTo>
                    <a:lnTo>
                      <a:pt x="55" y="95"/>
                    </a:lnTo>
                    <a:lnTo>
                      <a:pt x="60" y="93"/>
                    </a:lnTo>
                    <a:lnTo>
                      <a:pt x="64" y="88"/>
                    </a:lnTo>
                    <a:lnTo>
                      <a:pt x="64" y="86"/>
                    </a:lnTo>
                    <a:lnTo>
                      <a:pt x="64" y="86"/>
                    </a:lnTo>
                    <a:lnTo>
                      <a:pt x="65" y="83"/>
                    </a:lnTo>
                    <a:lnTo>
                      <a:pt x="68" y="80"/>
                    </a:lnTo>
                    <a:lnTo>
                      <a:pt x="68" y="75"/>
                    </a:lnTo>
                    <a:lnTo>
                      <a:pt x="71" y="72"/>
                    </a:lnTo>
                    <a:lnTo>
                      <a:pt x="71" y="71"/>
                    </a:lnTo>
                    <a:lnTo>
                      <a:pt x="71" y="70"/>
                    </a:lnTo>
                    <a:lnTo>
                      <a:pt x="69" y="6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9" name="Freeform 1313">
                <a:extLst>
                  <a:ext uri="{FF2B5EF4-FFF2-40B4-BE49-F238E27FC236}">
                    <a16:creationId xmlns:a16="http://schemas.microsoft.com/office/drawing/2014/main" id="{EDBDFD1C-4DA7-4C10-8013-ADB34546D2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2113" y="5067300"/>
                <a:ext cx="360363" cy="1011238"/>
              </a:xfrm>
              <a:custGeom>
                <a:avLst/>
                <a:gdLst>
                  <a:gd name="T0" fmla="*/ 172 w 227"/>
                  <a:gd name="T1" fmla="*/ 184 h 637"/>
                  <a:gd name="T2" fmla="*/ 177 w 227"/>
                  <a:gd name="T3" fmla="*/ 152 h 637"/>
                  <a:gd name="T4" fmla="*/ 189 w 227"/>
                  <a:gd name="T5" fmla="*/ 130 h 637"/>
                  <a:gd name="T6" fmla="*/ 202 w 227"/>
                  <a:gd name="T7" fmla="*/ 112 h 637"/>
                  <a:gd name="T8" fmla="*/ 223 w 227"/>
                  <a:gd name="T9" fmla="*/ 94 h 637"/>
                  <a:gd name="T10" fmla="*/ 216 w 227"/>
                  <a:gd name="T11" fmla="*/ 61 h 637"/>
                  <a:gd name="T12" fmla="*/ 207 w 227"/>
                  <a:gd name="T13" fmla="*/ 87 h 637"/>
                  <a:gd name="T14" fmla="*/ 187 w 227"/>
                  <a:gd name="T15" fmla="*/ 103 h 637"/>
                  <a:gd name="T16" fmla="*/ 164 w 227"/>
                  <a:gd name="T17" fmla="*/ 83 h 637"/>
                  <a:gd name="T18" fmla="*/ 161 w 227"/>
                  <a:gd name="T19" fmla="*/ 54 h 637"/>
                  <a:gd name="T20" fmla="*/ 118 w 227"/>
                  <a:gd name="T21" fmla="*/ 28 h 637"/>
                  <a:gd name="T22" fmla="*/ 86 w 227"/>
                  <a:gd name="T23" fmla="*/ 1 h 637"/>
                  <a:gd name="T24" fmla="*/ 70 w 227"/>
                  <a:gd name="T25" fmla="*/ 7 h 637"/>
                  <a:gd name="T26" fmla="*/ 45 w 227"/>
                  <a:gd name="T27" fmla="*/ 2 h 637"/>
                  <a:gd name="T28" fmla="*/ 18 w 227"/>
                  <a:gd name="T29" fmla="*/ 59 h 637"/>
                  <a:gd name="T30" fmla="*/ 19 w 227"/>
                  <a:gd name="T31" fmla="*/ 88 h 637"/>
                  <a:gd name="T32" fmla="*/ 7 w 227"/>
                  <a:gd name="T33" fmla="*/ 122 h 637"/>
                  <a:gd name="T34" fmla="*/ 1 w 227"/>
                  <a:gd name="T35" fmla="*/ 175 h 637"/>
                  <a:gd name="T36" fmla="*/ 14 w 227"/>
                  <a:gd name="T37" fmla="*/ 220 h 637"/>
                  <a:gd name="T38" fmla="*/ 12 w 227"/>
                  <a:gd name="T39" fmla="*/ 269 h 637"/>
                  <a:gd name="T40" fmla="*/ 12 w 227"/>
                  <a:gd name="T41" fmla="*/ 333 h 637"/>
                  <a:gd name="T42" fmla="*/ 5 w 227"/>
                  <a:gd name="T43" fmla="*/ 395 h 637"/>
                  <a:gd name="T44" fmla="*/ 12 w 227"/>
                  <a:gd name="T45" fmla="*/ 433 h 637"/>
                  <a:gd name="T46" fmla="*/ 20 w 227"/>
                  <a:gd name="T47" fmla="*/ 461 h 637"/>
                  <a:gd name="T48" fmla="*/ 26 w 227"/>
                  <a:gd name="T49" fmla="*/ 478 h 637"/>
                  <a:gd name="T50" fmla="*/ 26 w 227"/>
                  <a:gd name="T51" fmla="*/ 522 h 637"/>
                  <a:gd name="T52" fmla="*/ 15 w 227"/>
                  <a:gd name="T53" fmla="*/ 584 h 637"/>
                  <a:gd name="T54" fmla="*/ 35 w 227"/>
                  <a:gd name="T55" fmla="*/ 613 h 637"/>
                  <a:gd name="T56" fmla="*/ 81 w 227"/>
                  <a:gd name="T57" fmla="*/ 630 h 637"/>
                  <a:gd name="T58" fmla="*/ 84 w 227"/>
                  <a:gd name="T59" fmla="*/ 625 h 637"/>
                  <a:gd name="T60" fmla="*/ 78 w 227"/>
                  <a:gd name="T61" fmla="*/ 606 h 637"/>
                  <a:gd name="T62" fmla="*/ 78 w 227"/>
                  <a:gd name="T63" fmla="*/ 578 h 637"/>
                  <a:gd name="T64" fmla="*/ 90 w 227"/>
                  <a:gd name="T65" fmla="*/ 565 h 637"/>
                  <a:gd name="T66" fmla="*/ 97 w 227"/>
                  <a:gd name="T67" fmla="*/ 550 h 637"/>
                  <a:gd name="T68" fmla="*/ 106 w 227"/>
                  <a:gd name="T69" fmla="*/ 531 h 637"/>
                  <a:gd name="T70" fmla="*/ 106 w 227"/>
                  <a:gd name="T71" fmla="*/ 514 h 637"/>
                  <a:gd name="T72" fmla="*/ 83 w 227"/>
                  <a:gd name="T73" fmla="*/ 502 h 637"/>
                  <a:gd name="T74" fmla="*/ 81 w 227"/>
                  <a:gd name="T75" fmla="*/ 475 h 637"/>
                  <a:gd name="T76" fmla="*/ 102 w 227"/>
                  <a:gd name="T77" fmla="*/ 464 h 637"/>
                  <a:gd name="T78" fmla="*/ 103 w 227"/>
                  <a:gd name="T79" fmla="*/ 450 h 637"/>
                  <a:gd name="T80" fmla="*/ 101 w 227"/>
                  <a:gd name="T81" fmla="*/ 427 h 637"/>
                  <a:gd name="T82" fmla="*/ 102 w 227"/>
                  <a:gd name="T83" fmla="*/ 412 h 637"/>
                  <a:gd name="T84" fmla="*/ 120 w 227"/>
                  <a:gd name="T85" fmla="*/ 414 h 637"/>
                  <a:gd name="T86" fmla="*/ 113 w 227"/>
                  <a:gd name="T87" fmla="*/ 399 h 637"/>
                  <a:gd name="T88" fmla="*/ 106 w 227"/>
                  <a:gd name="T89" fmla="*/ 402 h 637"/>
                  <a:gd name="T90" fmla="*/ 94 w 227"/>
                  <a:gd name="T91" fmla="*/ 378 h 637"/>
                  <a:gd name="T92" fmla="*/ 113 w 227"/>
                  <a:gd name="T93" fmla="*/ 378 h 637"/>
                  <a:gd name="T94" fmla="*/ 133 w 227"/>
                  <a:gd name="T95" fmla="*/ 364 h 637"/>
                  <a:gd name="T96" fmla="*/ 133 w 227"/>
                  <a:gd name="T97" fmla="*/ 345 h 637"/>
                  <a:gd name="T98" fmla="*/ 130 w 227"/>
                  <a:gd name="T99" fmla="*/ 327 h 637"/>
                  <a:gd name="T100" fmla="*/ 147 w 227"/>
                  <a:gd name="T101" fmla="*/ 329 h 637"/>
                  <a:gd name="T102" fmla="*/ 192 w 227"/>
                  <a:gd name="T103" fmla="*/ 313 h 637"/>
                  <a:gd name="T104" fmla="*/ 200 w 227"/>
                  <a:gd name="T105" fmla="*/ 289 h 637"/>
                  <a:gd name="T106" fmla="*/ 189 w 227"/>
                  <a:gd name="T107" fmla="*/ 270 h 637"/>
                  <a:gd name="T108" fmla="*/ 171 w 227"/>
                  <a:gd name="T109" fmla="*/ 235 h 637"/>
                  <a:gd name="T110" fmla="*/ 170 w 227"/>
                  <a:gd name="T111" fmla="*/ 214 h 6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27" h="637">
                    <a:moveTo>
                      <a:pt x="170" y="213"/>
                    </a:moveTo>
                    <a:lnTo>
                      <a:pt x="172" y="210"/>
                    </a:lnTo>
                    <a:lnTo>
                      <a:pt x="173" y="208"/>
                    </a:lnTo>
                    <a:lnTo>
                      <a:pt x="172" y="202"/>
                    </a:lnTo>
                    <a:lnTo>
                      <a:pt x="171" y="195"/>
                    </a:lnTo>
                    <a:lnTo>
                      <a:pt x="172" y="193"/>
                    </a:lnTo>
                    <a:lnTo>
                      <a:pt x="171" y="188"/>
                    </a:lnTo>
                    <a:lnTo>
                      <a:pt x="172" y="184"/>
                    </a:lnTo>
                    <a:lnTo>
                      <a:pt x="172" y="181"/>
                    </a:lnTo>
                    <a:lnTo>
                      <a:pt x="173" y="178"/>
                    </a:lnTo>
                    <a:lnTo>
                      <a:pt x="174" y="171"/>
                    </a:lnTo>
                    <a:lnTo>
                      <a:pt x="173" y="168"/>
                    </a:lnTo>
                    <a:lnTo>
                      <a:pt x="174" y="165"/>
                    </a:lnTo>
                    <a:lnTo>
                      <a:pt x="173" y="160"/>
                    </a:lnTo>
                    <a:lnTo>
                      <a:pt x="175" y="156"/>
                    </a:lnTo>
                    <a:lnTo>
                      <a:pt x="177" y="152"/>
                    </a:lnTo>
                    <a:lnTo>
                      <a:pt x="177" y="151"/>
                    </a:lnTo>
                    <a:lnTo>
                      <a:pt x="178" y="150"/>
                    </a:lnTo>
                    <a:lnTo>
                      <a:pt x="180" y="147"/>
                    </a:lnTo>
                    <a:lnTo>
                      <a:pt x="180" y="146"/>
                    </a:lnTo>
                    <a:lnTo>
                      <a:pt x="182" y="141"/>
                    </a:lnTo>
                    <a:lnTo>
                      <a:pt x="185" y="139"/>
                    </a:lnTo>
                    <a:lnTo>
                      <a:pt x="188" y="133"/>
                    </a:lnTo>
                    <a:lnTo>
                      <a:pt x="189" y="130"/>
                    </a:lnTo>
                    <a:lnTo>
                      <a:pt x="191" y="130"/>
                    </a:lnTo>
                    <a:lnTo>
                      <a:pt x="191" y="126"/>
                    </a:lnTo>
                    <a:lnTo>
                      <a:pt x="192" y="123"/>
                    </a:lnTo>
                    <a:lnTo>
                      <a:pt x="196" y="117"/>
                    </a:lnTo>
                    <a:lnTo>
                      <a:pt x="198" y="117"/>
                    </a:lnTo>
                    <a:lnTo>
                      <a:pt x="199" y="116"/>
                    </a:lnTo>
                    <a:lnTo>
                      <a:pt x="199" y="112"/>
                    </a:lnTo>
                    <a:lnTo>
                      <a:pt x="202" y="112"/>
                    </a:lnTo>
                    <a:lnTo>
                      <a:pt x="206" y="106"/>
                    </a:lnTo>
                    <a:lnTo>
                      <a:pt x="209" y="106"/>
                    </a:lnTo>
                    <a:lnTo>
                      <a:pt x="210" y="103"/>
                    </a:lnTo>
                    <a:lnTo>
                      <a:pt x="216" y="99"/>
                    </a:lnTo>
                    <a:lnTo>
                      <a:pt x="216" y="99"/>
                    </a:lnTo>
                    <a:lnTo>
                      <a:pt x="219" y="97"/>
                    </a:lnTo>
                    <a:lnTo>
                      <a:pt x="220" y="96"/>
                    </a:lnTo>
                    <a:lnTo>
                      <a:pt x="223" y="94"/>
                    </a:lnTo>
                    <a:lnTo>
                      <a:pt x="226" y="94"/>
                    </a:lnTo>
                    <a:lnTo>
                      <a:pt x="227" y="92"/>
                    </a:lnTo>
                    <a:lnTo>
                      <a:pt x="226" y="85"/>
                    </a:lnTo>
                    <a:lnTo>
                      <a:pt x="225" y="78"/>
                    </a:lnTo>
                    <a:lnTo>
                      <a:pt x="226" y="73"/>
                    </a:lnTo>
                    <a:lnTo>
                      <a:pt x="223" y="66"/>
                    </a:lnTo>
                    <a:lnTo>
                      <a:pt x="223" y="62"/>
                    </a:lnTo>
                    <a:lnTo>
                      <a:pt x="216" y="61"/>
                    </a:lnTo>
                    <a:lnTo>
                      <a:pt x="213" y="63"/>
                    </a:lnTo>
                    <a:lnTo>
                      <a:pt x="213" y="64"/>
                    </a:lnTo>
                    <a:lnTo>
                      <a:pt x="213" y="68"/>
                    </a:lnTo>
                    <a:lnTo>
                      <a:pt x="213" y="71"/>
                    </a:lnTo>
                    <a:lnTo>
                      <a:pt x="213" y="77"/>
                    </a:lnTo>
                    <a:lnTo>
                      <a:pt x="210" y="79"/>
                    </a:lnTo>
                    <a:lnTo>
                      <a:pt x="209" y="83"/>
                    </a:lnTo>
                    <a:lnTo>
                      <a:pt x="207" y="87"/>
                    </a:lnTo>
                    <a:lnTo>
                      <a:pt x="201" y="92"/>
                    </a:lnTo>
                    <a:lnTo>
                      <a:pt x="200" y="97"/>
                    </a:lnTo>
                    <a:lnTo>
                      <a:pt x="197" y="100"/>
                    </a:lnTo>
                    <a:lnTo>
                      <a:pt x="194" y="99"/>
                    </a:lnTo>
                    <a:lnTo>
                      <a:pt x="193" y="100"/>
                    </a:lnTo>
                    <a:lnTo>
                      <a:pt x="190" y="105"/>
                    </a:lnTo>
                    <a:lnTo>
                      <a:pt x="189" y="103"/>
                    </a:lnTo>
                    <a:lnTo>
                      <a:pt x="187" y="103"/>
                    </a:lnTo>
                    <a:lnTo>
                      <a:pt x="184" y="105"/>
                    </a:lnTo>
                    <a:lnTo>
                      <a:pt x="178" y="100"/>
                    </a:lnTo>
                    <a:lnTo>
                      <a:pt x="169" y="97"/>
                    </a:lnTo>
                    <a:lnTo>
                      <a:pt x="159" y="99"/>
                    </a:lnTo>
                    <a:lnTo>
                      <a:pt x="157" y="99"/>
                    </a:lnTo>
                    <a:lnTo>
                      <a:pt x="158" y="95"/>
                    </a:lnTo>
                    <a:lnTo>
                      <a:pt x="162" y="90"/>
                    </a:lnTo>
                    <a:lnTo>
                      <a:pt x="164" y="83"/>
                    </a:lnTo>
                    <a:lnTo>
                      <a:pt x="163" y="80"/>
                    </a:lnTo>
                    <a:lnTo>
                      <a:pt x="165" y="77"/>
                    </a:lnTo>
                    <a:lnTo>
                      <a:pt x="167" y="74"/>
                    </a:lnTo>
                    <a:lnTo>
                      <a:pt x="169" y="71"/>
                    </a:lnTo>
                    <a:lnTo>
                      <a:pt x="170" y="67"/>
                    </a:lnTo>
                    <a:lnTo>
                      <a:pt x="168" y="63"/>
                    </a:lnTo>
                    <a:lnTo>
                      <a:pt x="165" y="59"/>
                    </a:lnTo>
                    <a:lnTo>
                      <a:pt x="161" y="54"/>
                    </a:lnTo>
                    <a:lnTo>
                      <a:pt x="153" y="53"/>
                    </a:lnTo>
                    <a:lnTo>
                      <a:pt x="147" y="49"/>
                    </a:lnTo>
                    <a:lnTo>
                      <a:pt x="140" y="43"/>
                    </a:lnTo>
                    <a:lnTo>
                      <a:pt x="137" y="42"/>
                    </a:lnTo>
                    <a:lnTo>
                      <a:pt x="132" y="39"/>
                    </a:lnTo>
                    <a:lnTo>
                      <a:pt x="123" y="36"/>
                    </a:lnTo>
                    <a:lnTo>
                      <a:pt x="121" y="32"/>
                    </a:lnTo>
                    <a:lnTo>
                      <a:pt x="118" y="28"/>
                    </a:lnTo>
                    <a:lnTo>
                      <a:pt x="114" y="27"/>
                    </a:lnTo>
                    <a:lnTo>
                      <a:pt x="106" y="17"/>
                    </a:lnTo>
                    <a:lnTo>
                      <a:pt x="102" y="9"/>
                    </a:lnTo>
                    <a:lnTo>
                      <a:pt x="99" y="9"/>
                    </a:lnTo>
                    <a:lnTo>
                      <a:pt x="96" y="5"/>
                    </a:lnTo>
                    <a:lnTo>
                      <a:pt x="95" y="4"/>
                    </a:lnTo>
                    <a:lnTo>
                      <a:pt x="93" y="1"/>
                    </a:lnTo>
                    <a:lnTo>
                      <a:pt x="86" y="1"/>
                    </a:lnTo>
                    <a:lnTo>
                      <a:pt x="78" y="1"/>
                    </a:lnTo>
                    <a:lnTo>
                      <a:pt x="75" y="5"/>
                    </a:lnTo>
                    <a:lnTo>
                      <a:pt x="75" y="8"/>
                    </a:lnTo>
                    <a:lnTo>
                      <a:pt x="74" y="11"/>
                    </a:lnTo>
                    <a:lnTo>
                      <a:pt x="75" y="14"/>
                    </a:lnTo>
                    <a:lnTo>
                      <a:pt x="73" y="16"/>
                    </a:lnTo>
                    <a:lnTo>
                      <a:pt x="72" y="14"/>
                    </a:lnTo>
                    <a:lnTo>
                      <a:pt x="70" y="7"/>
                    </a:lnTo>
                    <a:lnTo>
                      <a:pt x="69" y="3"/>
                    </a:lnTo>
                    <a:lnTo>
                      <a:pt x="67" y="2"/>
                    </a:lnTo>
                    <a:lnTo>
                      <a:pt x="61" y="3"/>
                    </a:lnTo>
                    <a:lnTo>
                      <a:pt x="58" y="2"/>
                    </a:lnTo>
                    <a:lnTo>
                      <a:pt x="56" y="3"/>
                    </a:lnTo>
                    <a:lnTo>
                      <a:pt x="52" y="4"/>
                    </a:lnTo>
                    <a:lnTo>
                      <a:pt x="48" y="0"/>
                    </a:lnTo>
                    <a:lnTo>
                      <a:pt x="45" y="2"/>
                    </a:lnTo>
                    <a:lnTo>
                      <a:pt x="40" y="9"/>
                    </a:lnTo>
                    <a:lnTo>
                      <a:pt x="36" y="15"/>
                    </a:lnTo>
                    <a:lnTo>
                      <a:pt x="35" y="17"/>
                    </a:lnTo>
                    <a:lnTo>
                      <a:pt x="36" y="22"/>
                    </a:lnTo>
                    <a:lnTo>
                      <a:pt x="33" y="41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8" y="59"/>
                    </a:lnTo>
                    <a:lnTo>
                      <a:pt x="19" y="62"/>
                    </a:lnTo>
                    <a:lnTo>
                      <a:pt x="17" y="66"/>
                    </a:lnTo>
                    <a:lnTo>
                      <a:pt x="18" y="71"/>
                    </a:lnTo>
                    <a:lnTo>
                      <a:pt x="21" y="76"/>
                    </a:lnTo>
                    <a:lnTo>
                      <a:pt x="21" y="81"/>
                    </a:lnTo>
                    <a:lnTo>
                      <a:pt x="19" y="83"/>
                    </a:lnTo>
                    <a:lnTo>
                      <a:pt x="18" y="86"/>
                    </a:lnTo>
                    <a:lnTo>
                      <a:pt x="19" y="88"/>
                    </a:lnTo>
                    <a:lnTo>
                      <a:pt x="20" y="90"/>
                    </a:lnTo>
                    <a:lnTo>
                      <a:pt x="21" y="95"/>
                    </a:lnTo>
                    <a:lnTo>
                      <a:pt x="22" y="97"/>
                    </a:lnTo>
                    <a:lnTo>
                      <a:pt x="20" y="100"/>
                    </a:lnTo>
                    <a:lnTo>
                      <a:pt x="17" y="102"/>
                    </a:lnTo>
                    <a:lnTo>
                      <a:pt x="13" y="106"/>
                    </a:lnTo>
                    <a:lnTo>
                      <a:pt x="10" y="117"/>
                    </a:lnTo>
                    <a:lnTo>
                      <a:pt x="7" y="122"/>
                    </a:lnTo>
                    <a:lnTo>
                      <a:pt x="6" y="134"/>
                    </a:lnTo>
                    <a:lnTo>
                      <a:pt x="4" y="137"/>
                    </a:lnTo>
                    <a:lnTo>
                      <a:pt x="5" y="147"/>
                    </a:lnTo>
                    <a:lnTo>
                      <a:pt x="7" y="153"/>
                    </a:lnTo>
                    <a:lnTo>
                      <a:pt x="7" y="161"/>
                    </a:lnTo>
                    <a:lnTo>
                      <a:pt x="5" y="164"/>
                    </a:lnTo>
                    <a:lnTo>
                      <a:pt x="5" y="172"/>
                    </a:lnTo>
                    <a:lnTo>
                      <a:pt x="1" y="175"/>
                    </a:lnTo>
                    <a:lnTo>
                      <a:pt x="0" y="181"/>
                    </a:lnTo>
                    <a:lnTo>
                      <a:pt x="2" y="189"/>
                    </a:lnTo>
                    <a:lnTo>
                      <a:pt x="4" y="193"/>
                    </a:lnTo>
                    <a:lnTo>
                      <a:pt x="5" y="196"/>
                    </a:lnTo>
                    <a:lnTo>
                      <a:pt x="8" y="202"/>
                    </a:lnTo>
                    <a:lnTo>
                      <a:pt x="10" y="208"/>
                    </a:lnTo>
                    <a:lnTo>
                      <a:pt x="12" y="218"/>
                    </a:lnTo>
                    <a:lnTo>
                      <a:pt x="14" y="220"/>
                    </a:lnTo>
                    <a:lnTo>
                      <a:pt x="15" y="233"/>
                    </a:lnTo>
                    <a:lnTo>
                      <a:pt x="14" y="241"/>
                    </a:lnTo>
                    <a:lnTo>
                      <a:pt x="12" y="243"/>
                    </a:lnTo>
                    <a:lnTo>
                      <a:pt x="9" y="249"/>
                    </a:lnTo>
                    <a:lnTo>
                      <a:pt x="10" y="256"/>
                    </a:lnTo>
                    <a:lnTo>
                      <a:pt x="6" y="261"/>
                    </a:lnTo>
                    <a:lnTo>
                      <a:pt x="9" y="264"/>
                    </a:lnTo>
                    <a:lnTo>
                      <a:pt x="12" y="269"/>
                    </a:lnTo>
                    <a:lnTo>
                      <a:pt x="12" y="275"/>
                    </a:lnTo>
                    <a:lnTo>
                      <a:pt x="9" y="280"/>
                    </a:lnTo>
                    <a:lnTo>
                      <a:pt x="5" y="287"/>
                    </a:lnTo>
                    <a:lnTo>
                      <a:pt x="6" y="299"/>
                    </a:lnTo>
                    <a:lnTo>
                      <a:pt x="6" y="303"/>
                    </a:lnTo>
                    <a:lnTo>
                      <a:pt x="5" y="310"/>
                    </a:lnTo>
                    <a:lnTo>
                      <a:pt x="13" y="330"/>
                    </a:lnTo>
                    <a:lnTo>
                      <a:pt x="12" y="333"/>
                    </a:lnTo>
                    <a:lnTo>
                      <a:pt x="8" y="335"/>
                    </a:lnTo>
                    <a:lnTo>
                      <a:pt x="7" y="344"/>
                    </a:lnTo>
                    <a:lnTo>
                      <a:pt x="2" y="353"/>
                    </a:lnTo>
                    <a:lnTo>
                      <a:pt x="2" y="358"/>
                    </a:lnTo>
                    <a:lnTo>
                      <a:pt x="5" y="364"/>
                    </a:lnTo>
                    <a:lnTo>
                      <a:pt x="4" y="377"/>
                    </a:lnTo>
                    <a:lnTo>
                      <a:pt x="5" y="388"/>
                    </a:lnTo>
                    <a:lnTo>
                      <a:pt x="5" y="395"/>
                    </a:lnTo>
                    <a:lnTo>
                      <a:pt x="9" y="397"/>
                    </a:lnTo>
                    <a:lnTo>
                      <a:pt x="10" y="401"/>
                    </a:lnTo>
                    <a:lnTo>
                      <a:pt x="9" y="405"/>
                    </a:lnTo>
                    <a:lnTo>
                      <a:pt x="5" y="407"/>
                    </a:lnTo>
                    <a:lnTo>
                      <a:pt x="6" y="420"/>
                    </a:lnTo>
                    <a:lnTo>
                      <a:pt x="8" y="426"/>
                    </a:lnTo>
                    <a:lnTo>
                      <a:pt x="12" y="427"/>
                    </a:lnTo>
                    <a:lnTo>
                      <a:pt x="12" y="433"/>
                    </a:lnTo>
                    <a:lnTo>
                      <a:pt x="12" y="438"/>
                    </a:lnTo>
                    <a:lnTo>
                      <a:pt x="15" y="445"/>
                    </a:lnTo>
                    <a:lnTo>
                      <a:pt x="16" y="453"/>
                    </a:lnTo>
                    <a:lnTo>
                      <a:pt x="19" y="453"/>
                    </a:lnTo>
                    <a:lnTo>
                      <a:pt x="21" y="451"/>
                    </a:lnTo>
                    <a:lnTo>
                      <a:pt x="23" y="452"/>
                    </a:lnTo>
                    <a:lnTo>
                      <a:pt x="23" y="457"/>
                    </a:lnTo>
                    <a:lnTo>
                      <a:pt x="20" y="461"/>
                    </a:lnTo>
                    <a:lnTo>
                      <a:pt x="13" y="461"/>
                    </a:lnTo>
                    <a:lnTo>
                      <a:pt x="12" y="464"/>
                    </a:lnTo>
                    <a:lnTo>
                      <a:pt x="14" y="465"/>
                    </a:lnTo>
                    <a:lnTo>
                      <a:pt x="15" y="464"/>
                    </a:lnTo>
                    <a:lnTo>
                      <a:pt x="18" y="464"/>
                    </a:lnTo>
                    <a:lnTo>
                      <a:pt x="23" y="468"/>
                    </a:lnTo>
                    <a:lnTo>
                      <a:pt x="26" y="475"/>
                    </a:lnTo>
                    <a:lnTo>
                      <a:pt x="26" y="478"/>
                    </a:lnTo>
                    <a:lnTo>
                      <a:pt x="23" y="482"/>
                    </a:lnTo>
                    <a:lnTo>
                      <a:pt x="22" y="485"/>
                    </a:lnTo>
                    <a:lnTo>
                      <a:pt x="24" y="490"/>
                    </a:lnTo>
                    <a:lnTo>
                      <a:pt x="25" y="499"/>
                    </a:lnTo>
                    <a:lnTo>
                      <a:pt x="26" y="507"/>
                    </a:lnTo>
                    <a:lnTo>
                      <a:pt x="24" y="510"/>
                    </a:lnTo>
                    <a:lnTo>
                      <a:pt x="23" y="514"/>
                    </a:lnTo>
                    <a:lnTo>
                      <a:pt x="26" y="522"/>
                    </a:lnTo>
                    <a:lnTo>
                      <a:pt x="23" y="526"/>
                    </a:lnTo>
                    <a:lnTo>
                      <a:pt x="23" y="533"/>
                    </a:lnTo>
                    <a:lnTo>
                      <a:pt x="24" y="540"/>
                    </a:lnTo>
                    <a:lnTo>
                      <a:pt x="26" y="549"/>
                    </a:lnTo>
                    <a:lnTo>
                      <a:pt x="24" y="558"/>
                    </a:lnTo>
                    <a:lnTo>
                      <a:pt x="19" y="564"/>
                    </a:lnTo>
                    <a:lnTo>
                      <a:pt x="16" y="569"/>
                    </a:lnTo>
                    <a:lnTo>
                      <a:pt x="15" y="584"/>
                    </a:lnTo>
                    <a:lnTo>
                      <a:pt x="16" y="589"/>
                    </a:lnTo>
                    <a:lnTo>
                      <a:pt x="22" y="605"/>
                    </a:lnTo>
                    <a:lnTo>
                      <a:pt x="24" y="605"/>
                    </a:lnTo>
                    <a:lnTo>
                      <a:pt x="27" y="601"/>
                    </a:lnTo>
                    <a:lnTo>
                      <a:pt x="31" y="599"/>
                    </a:lnTo>
                    <a:lnTo>
                      <a:pt x="34" y="599"/>
                    </a:lnTo>
                    <a:lnTo>
                      <a:pt x="34" y="603"/>
                    </a:lnTo>
                    <a:lnTo>
                      <a:pt x="35" y="613"/>
                    </a:lnTo>
                    <a:lnTo>
                      <a:pt x="38" y="616"/>
                    </a:lnTo>
                    <a:lnTo>
                      <a:pt x="40" y="622"/>
                    </a:lnTo>
                    <a:lnTo>
                      <a:pt x="42" y="629"/>
                    </a:lnTo>
                    <a:lnTo>
                      <a:pt x="49" y="630"/>
                    </a:lnTo>
                    <a:lnTo>
                      <a:pt x="51" y="631"/>
                    </a:lnTo>
                    <a:lnTo>
                      <a:pt x="61" y="630"/>
                    </a:lnTo>
                    <a:lnTo>
                      <a:pt x="79" y="630"/>
                    </a:lnTo>
                    <a:lnTo>
                      <a:pt x="81" y="630"/>
                    </a:lnTo>
                    <a:lnTo>
                      <a:pt x="84" y="631"/>
                    </a:lnTo>
                    <a:lnTo>
                      <a:pt x="88" y="636"/>
                    </a:lnTo>
                    <a:lnTo>
                      <a:pt x="91" y="637"/>
                    </a:lnTo>
                    <a:lnTo>
                      <a:pt x="92" y="637"/>
                    </a:lnTo>
                    <a:lnTo>
                      <a:pt x="92" y="634"/>
                    </a:lnTo>
                    <a:lnTo>
                      <a:pt x="88" y="632"/>
                    </a:lnTo>
                    <a:lnTo>
                      <a:pt x="84" y="628"/>
                    </a:lnTo>
                    <a:lnTo>
                      <a:pt x="84" y="625"/>
                    </a:lnTo>
                    <a:lnTo>
                      <a:pt x="81" y="622"/>
                    </a:lnTo>
                    <a:lnTo>
                      <a:pt x="79" y="623"/>
                    </a:lnTo>
                    <a:lnTo>
                      <a:pt x="78" y="621"/>
                    </a:lnTo>
                    <a:lnTo>
                      <a:pt x="80" y="620"/>
                    </a:lnTo>
                    <a:lnTo>
                      <a:pt x="81" y="617"/>
                    </a:lnTo>
                    <a:lnTo>
                      <a:pt x="80" y="616"/>
                    </a:lnTo>
                    <a:lnTo>
                      <a:pt x="80" y="614"/>
                    </a:lnTo>
                    <a:lnTo>
                      <a:pt x="78" y="606"/>
                    </a:lnTo>
                    <a:lnTo>
                      <a:pt x="75" y="601"/>
                    </a:lnTo>
                    <a:lnTo>
                      <a:pt x="75" y="596"/>
                    </a:lnTo>
                    <a:lnTo>
                      <a:pt x="76" y="591"/>
                    </a:lnTo>
                    <a:lnTo>
                      <a:pt x="79" y="587"/>
                    </a:lnTo>
                    <a:lnTo>
                      <a:pt x="81" y="585"/>
                    </a:lnTo>
                    <a:lnTo>
                      <a:pt x="79" y="583"/>
                    </a:lnTo>
                    <a:lnTo>
                      <a:pt x="79" y="580"/>
                    </a:lnTo>
                    <a:lnTo>
                      <a:pt x="78" y="578"/>
                    </a:lnTo>
                    <a:lnTo>
                      <a:pt x="80" y="579"/>
                    </a:lnTo>
                    <a:lnTo>
                      <a:pt x="81" y="582"/>
                    </a:lnTo>
                    <a:lnTo>
                      <a:pt x="84" y="582"/>
                    </a:lnTo>
                    <a:lnTo>
                      <a:pt x="87" y="579"/>
                    </a:lnTo>
                    <a:lnTo>
                      <a:pt x="87" y="577"/>
                    </a:lnTo>
                    <a:lnTo>
                      <a:pt x="90" y="573"/>
                    </a:lnTo>
                    <a:lnTo>
                      <a:pt x="91" y="571"/>
                    </a:lnTo>
                    <a:lnTo>
                      <a:pt x="90" y="565"/>
                    </a:lnTo>
                    <a:lnTo>
                      <a:pt x="88" y="565"/>
                    </a:lnTo>
                    <a:lnTo>
                      <a:pt x="86" y="566"/>
                    </a:lnTo>
                    <a:lnTo>
                      <a:pt x="87" y="564"/>
                    </a:lnTo>
                    <a:lnTo>
                      <a:pt x="89" y="561"/>
                    </a:lnTo>
                    <a:lnTo>
                      <a:pt x="90" y="558"/>
                    </a:lnTo>
                    <a:lnTo>
                      <a:pt x="91" y="554"/>
                    </a:lnTo>
                    <a:lnTo>
                      <a:pt x="94" y="550"/>
                    </a:lnTo>
                    <a:lnTo>
                      <a:pt x="97" y="550"/>
                    </a:lnTo>
                    <a:lnTo>
                      <a:pt x="98" y="546"/>
                    </a:lnTo>
                    <a:lnTo>
                      <a:pt x="100" y="542"/>
                    </a:lnTo>
                    <a:lnTo>
                      <a:pt x="102" y="542"/>
                    </a:lnTo>
                    <a:lnTo>
                      <a:pt x="102" y="539"/>
                    </a:lnTo>
                    <a:lnTo>
                      <a:pt x="104" y="537"/>
                    </a:lnTo>
                    <a:lnTo>
                      <a:pt x="106" y="535"/>
                    </a:lnTo>
                    <a:lnTo>
                      <a:pt x="106" y="533"/>
                    </a:lnTo>
                    <a:lnTo>
                      <a:pt x="106" y="531"/>
                    </a:lnTo>
                    <a:lnTo>
                      <a:pt x="108" y="530"/>
                    </a:lnTo>
                    <a:lnTo>
                      <a:pt x="106" y="527"/>
                    </a:lnTo>
                    <a:lnTo>
                      <a:pt x="104" y="527"/>
                    </a:lnTo>
                    <a:lnTo>
                      <a:pt x="106" y="524"/>
                    </a:lnTo>
                    <a:lnTo>
                      <a:pt x="106" y="521"/>
                    </a:lnTo>
                    <a:lnTo>
                      <a:pt x="105" y="517"/>
                    </a:lnTo>
                    <a:lnTo>
                      <a:pt x="105" y="516"/>
                    </a:lnTo>
                    <a:lnTo>
                      <a:pt x="106" y="514"/>
                    </a:lnTo>
                    <a:lnTo>
                      <a:pt x="105" y="513"/>
                    </a:lnTo>
                    <a:lnTo>
                      <a:pt x="102" y="512"/>
                    </a:lnTo>
                    <a:lnTo>
                      <a:pt x="101" y="513"/>
                    </a:lnTo>
                    <a:lnTo>
                      <a:pt x="99" y="513"/>
                    </a:lnTo>
                    <a:lnTo>
                      <a:pt x="94" y="513"/>
                    </a:lnTo>
                    <a:lnTo>
                      <a:pt x="88" y="506"/>
                    </a:lnTo>
                    <a:lnTo>
                      <a:pt x="85" y="502"/>
                    </a:lnTo>
                    <a:lnTo>
                      <a:pt x="83" y="502"/>
                    </a:lnTo>
                    <a:lnTo>
                      <a:pt x="80" y="499"/>
                    </a:lnTo>
                    <a:lnTo>
                      <a:pt x="77" y="493"/>
                    </a:lnTo>
                    <a:lnTo>
                      <a:pt x="77" y="489"/>
                    </a:lnTo>
                    <a:lnTo>
                      <a:pt x="75" y="486"/>
                    </a:lnTo>
                    <a:lnTo>
                      <a:pt x="75" y="485"/>
                    </a:lnTo>
                    <a:lnTo>
                      <a:pt x="78" y="482"/>
                    </a:lnTo>
                    <a:lnTo>
                      <a:pt x="79" y="478"/>
                    </a:lnTo>
                    <a:lnTo>
                      <a:pt x="81" y="475"/>
                    </a:lnTo>
                    <a:lnTo>
                      <a:pt x="82" y="474"/>
                    </a:lnTo>
                    <a:lnTo>
                      <a:pt x="85" y="471"/>
                    </a:lnTo>
                    <a:lnTo>
                      <a:pt x="88" y="471"/>
                    </a:lnTo>
                    <a:lnTo>
                      <a:pt x="91" y="467"/>
                    </a:lnTo>
                    <a:lnTo>
                      <a:pt x="95" y="466"/>
                    </a:lnTo>
                    <a:lnTo>
                      <a:pt x="97" y="467"/>
                    </a:lnTo>
                    <a:lnTo>
                      <a:pt x="102" y="466"/>
                    </a:lnTo>
                    <a:lnTo>
                      <a:pt x="102" y="464"/>
                    </a:lnTo>
                    <a:lnTo>
                      <a:pt x="101" y="463"/>
                    </a:lnTo>
                    <a:lnTo>
                      <a:pt x="98" y="461"/>
                    </a:lnTo>
                    <a:lnTo>
                      <a:pt x="98" y="460"/>
                    </a:lnTo>
                    <a:lnTo>
                      <a:pt x="99" y="458"/>
                    </a:lnTo>
                    <a:lnTo>
                      <a:pt x="102" y="454"/>
                    </a:lnTo>
                    <a:lnTo>
                      <a:pt x="102" y="454"/>
                    </a:lnTo>
                    <a:lnTo>
                      <a:pt x="103" y="451"/>
                    </a:lnTo>
                    <a:lnTo>
                      <a:pt x="103" y="450"/>
                    </a:lnTo>
                    <a:lnTo>
                      <a:pt x="100" y="445"/>
                    </a:lnTo>
                    <a:lnTo>
                      <a:pt x="100" y="443"/>
                    </a:lnTo>
                    <a:lnTo>
                      <a:pt x="100" y="440"/>
                    </a:lnTo>
                    <a:lnTo>
                      <a:pt x="99" y="439"/>
                    </a:lnTo>
                    <a:lnTo>
                      <a:pt x="99" y="434"/>
                    </a:lnTo>
                    <a:lnTo>
                      <a:pt x="101" y="432"/>
                    </a:lnTo>
                    <a:lnTo>
                      <a:pt x="102" y="429"/>
                    </a:lnTo>
                    <a:lnTo>
                      <a:pt x="101" y="427"/>
                    </a:lnTo>
                    <a:lnTo>
                      <a:pt x="102" y="425"/>
                    </a:lnTo>
                    <a:lnTo>
                      <a:pt x="107" y="423"/>
                    </a:lnTo>
                    <a:lnTo>
                      <a:pt x="110" y="420"/>
                    </a:lnTo>
                    <a:lnTo>
                      <a:pt x="109" y="418"/>
                    </a:lnTo>
                    <a:lnTo>
                      <a:pt x="106" y="416"/>
                    </a:lnTo>
                    <a:lnTo>
                      <a:pt x="102" y="416"/>
                    </a:lnTo>
                    <a:lnTo>
                      <a:pt x="102" y="414"/>
                    </a:lnTo>
                    <a:lnTo>
                      <a:pt x="102" y="412"/>
                    </a:lnTo>
                    <a:lnTo>
                      <a:pt x="105" y="409"/>
                    </a:lnTo>
                    <a:lnTo>
                      <a:pt x="109" y="408"/>
                    </a:lnTo>
                    <a:lnTo>
                      <a:pt x="112" y="410"/>
                    </a:lnTo>
                    <a:lnTo>
                      <a:pt x="112" y="412"/>
                    </a:lnTo>
                    <a:lnTo>
                      <a:pt x="111" y="413"/>
                    </a:lnTo>
                    <a:lnTo>
                      <a:pt x="113" y="417"/>
                    </a:lnTo>
                    <a:lnTo>
                      <a:pt x="114" y="418"/>
                    </a:lnTo>
                    <a:lnTo>
                      <a:pt x="120" y="414"/>
                    </a:lnTo>
                    <a:lnTo>
                      <a:pt x="121" y="410"/>
                    </a:lnTo>
                    <a:lnTo>
                      <a:pt x="120" y="407"/>
                    </a:lnTo>
                    <a:lnTo>
                      <a:pt x="118" y="404"/>
                    </a:lnTo>
                    <a:lnTo>
                      <a:pt x="119" y="404"/>
                    </a:lnTo>
                    <a:lnTo>
                      <a:pt x="120" y="401"/>
                    </a:lnTo>
                    <a:lnTo>
                      <a:pt x="117" y="397"/>
                    </a:lnTo>
                    <a:lnTo>
                      <a:pt x="116" y="396"/>
                    </a:lnTo>
                    <a:lnTo>
                      <a:pt x="113" y="399"/>
                    </a:lnTo>
                    <a:lnTo>
                      <a:pt x="110" y="399"/>
                    </a:lnTo>
                    <a:lnTo>
                      <a:pt x="109" y="400"/>
                    </a:lnTo>
                    <a:lnTo>
                      <a:pt x="110" y="401"/>
                    </a:lnTo>
                    <a:lnTo>
                      <a:pt x="113" y="402"/>
                    </a:lnTo>
                    <a:lnTo>
                      <a:pt x="112" y="403"/>
                    </a:lnTo>
                    <a:lnTo>
                      <a:pt x="107" y="406"/>
                    </a:lnTo>
                    <a:lnTo>
                      <a:pt x="105" y="404"/>
                    </a:lnTo>
                    <a:lnTo>
                      <a:pt x="106" y="402"/>
                    </a:lnTo>
                    <a:lnTo>
                      <a:pt x="108" y="402"/>
                    </a:lnTo>
                    <a:lnTo>
                      <a:pt x="106" y="401"/>
                    </a:lnTo>
                    <a:lnTo>
                      <a:pt x="102" y="401"/>
                    </a:lnTo>
                    <a:lnTo>
                      <a:pt x="99" y="399"/>
                    </a:lnTo>
                    <a:lnTo>
                      <a:pt x="98" y="395"/>
                    </a:lnTo>
                    <a:lnTo>
                      <a:pt x="98" y="388"/>
                    </a:lnTo>
                    <a:lnTo>
                      <a:pt x="97" y="382"/>
                    </a:lnTo>
                    <a:lnTo>
                      <a:pt x="94" y="378"/>
                    </a:lnTo>
                    <a:lnTo>
                      <a:pt x="94" y="372"/>
                    </a:lnTo>
                    <a:lnTo>
                      <a:pt x="97" y="369"/>
                    </a:lnTo>
                    <a:lnTo>
                      <a:pt x="99" y="368"/>
                    </a:lnTo>
                    <a:lnTo>
                      <a:pt x="98" y="371"/>
                    </a:lnTo>
                    <a:lnTo>
                      <a:pt x="99" y="371"/>
                    </a:lnTo>
                    <a:lnTo>
                      <a:pt x="102" y="371"/>
                    </a:lnTo>
                    <a:lnTo>
                      <a:pt x="108" y="373"/>
                    </a:lnTo>
                    <a:lnTo>
                      <a:pt x="113" y="378"/>
                    </a:lnTo>
                    <a:lnTo>
                      <a:pt x="117" y="379"/>
                    </a:lnTo>
                    <a:lnTo>
                      <a:pt x="125" y="379"/>
                    </a:lnTo>
                    <a:lnTo>
                      <a:pt x="130" y="375"/>
                    </a:lnTo>
                    <a:lnTo>
                      <a:pt x="129" y="374"/>
                    </a:lnTo>
                    <a:lnTo>
                      <a:pt x="133" y="371"/>
                    </a:lnTo>
                    <a:lnTo>
                      <a:pt x="133" y="368"/>
                    </a:lnTo>
                    <a:lnTo>
                      <a:pt x="132" y="365"/>
                    </a:lnTo>
                    <a:lnTo>
                      <a:pt x="133" y="364"/>
                    </a:lnTo>
                    <a:lnTo>
                      <a:pt x="134" y="361"/>
                    </a:lnTo>
                    <a:lnTo>
                      <a:pt x="131" y="360"/>
                    </a:lnTo>
                    <a:lnTo>
                      <a:pt x="130" y="357"/>
                    </a:lnTo>
                    <a:lnTo>
                      <a:pt x="130" y="354"/>
                    </a:lnTo>
                    <a:lnTo>
                      <a:pt x="130" y="351"/>
                    </a:lnTo>
                    <a:lnTo>
                      <a:pt x="130" y="350"/>
                    </a:lnTo>
                    <a:lnTo>
                      <a:pt x="133" y="347"/>
                    </a:lnTo>
                    <a:lnTo>
                      <a:pt x="133" y="345"/>
                    </a:lnTo>
                    <a:lnTo>
                      <a:pt x="133" y="345"/>
                    </a:lnTo>
                    <a:lnTo>
                      <a:pt x="134" y="343"/>
                    </a:lnTo>
                    <a:lnTo>
                      <a:pt x="133" y="340"/>
                    </a:lnTo>
                    <a:lnTo>
                      <a:pt x="131" y="340"/>
                    </a:lnTo>
                    <a:lnTo>
                      <a:pt x="131" y="338"/>
                    </a:lnTo>
                    <a:lnTo>
                      <a:pt x="130" y="336"/>
                    </a:lnTo>
                    <a:lnTo>
                      <a:pt x="130" y="330"/>
                    </a:lnTo>
                    <a:lnTo>
                      <a:pt x="130" y="327"/>
                    </a:lnTo>
                    <a:lnTo>
                      <a:pt x="130" y="325"/>
                    </a:lnTo>
                    <a:lnTo>
                      <a:pt x="130" y="323"/>
                    </a:lnTo>
                    <a:lnTo>
                      <a:pt x="132" y="326"/>
                    </a:lnTo>
                    <a:lnTo>
                      <a:pt x="133" y="326"/>
                    </a:lnTo>
                    <a:lnTo>
                      <a:pt x="137" y="327"/>
                    </a:lnTo>
                    <a:lnTo>
                      <a:pt x="140" y="330"/>
                    </a:lnTo>
                    <a:lnTo>
                      <a:pt x="144" y="330"/>
                    </a:lnTo>
                    <a:lnTo>
                      <a:pt x="147" y="329"/>
                    </a:lnTo>
                    <a:lnTo>
                      <a:pt x="152" y="330"/>
                    </a:lnTo>
                    <a:lnTo>
                      <a:pt x="158" y="329"/>
                    </a:lnTo>
                    <a:lnTo>
                      <a:pt x="168" y="326"/>
                    </a:lnTo>
                    <a:lnTo>
                      <a:pt x="177" y="322"/>
                    </a:lnTo>
                    <a:lnTo>
                      <a:pt x="177" y="320"/>
                    </a:lnTo>
                    <a:lnTo>
                      <a:pt x="178" y="322"/>
                    </a:lnTo>
                    <a:lnTo>
                      <a:pt x="185" y="319"/>
                    </a:lnTo>
                    <a:lnTo>
                      <a:pt x="192" y="313"/>
                    </a:lnTo>
                    <a:lnTo>
                      <a:pt x="193" y="310"/>
                    </a:lnTo>
                    <a:lnTo>
                      <a:pt x="192" y="306"/>
                    </a:lnTo>
                    <a:lnTo>
                      <a:pt x="194" y="301"/>
                    </a:lnTo>
                    <a:lnTo>
                      <a:pt x="195" y="299"/>
                    </a:lnTo>
                    <a:lnTo>
                      <a:pt x="196" y="302"/>
                    </a:lnTo>
                    <a:lnTo>
                      <a:pt x="196" y="300"/>
                    </a:lnTo>
                    <a:lnTo>
                      <a:pt x="197" y="295"/>
                    </a:lnTo>
                    <a:lnTo>
                      <a:pt x="200" y="289"/>
                    </a:lnTo>
                    <a:lnTo>
                      <a:pt x="201" y="285"/>
                    </a:lnTo>
                    <a:lnTo>
                      <a:pt x="201" y="278"/>
                    </a:lnTo>
                    <a:lnTo>
                      <a:pt x="200" y="276"/>
                    </a:lnTo>
                    <a:lnTo>
                      <a:pt x="199" y="275"/>
                    </a:lnTo>
                    <a:lnTo>
                      <a:pt x="198" y="278"/>
                    </a:lnTo>
                    <a:lnTo>
                      <a:pt x="195" y="278"/>
                    </a:lnTo>
                    <a:lnTo>
                      <a:pt x="191" y="275"/>
                    </a:lnTo>
                    <a:lnTo>
                      <a:pt x="189" y="270"/>
                    </a:lnTo>
                    <a:lnTo>
                      <a:pt x="189" y="268"/>
                    </a:lnTo>
                    <a:lnTo>
                      <a:pt x="192" y="259"/>
                    </a:lnTo>
                    <a:lnTo>
                      <a:pt x="192" y="256"/>
                    </a:lnTo>
                    <a:lnTo>
                      <a:pt x="191" y="254"/>
                    </a:lnTo>
                    <a:lnTo>
                      <a:pt x="184" y="247"/>
                    </a:lnTo>
                    <a:lnTo>
                      <a:pt x="178" y="244"/>
                    </a:lnTo>
                    <a:lnTo>
                      <a:pt x="171" y="238"/>
                    </a:lnTo>
                    <a:lnTo>
                      <a:pt x="171" y="235"/>
                    </a:lnTo>
                    <a:lnTo>
                      <a:pt x="171" y="234"/>
                    </a:lnTo>
                    <a:lnTo>
                      <a:pt x="171" y="231"/>
                    </a:lnTo>
                    <a:lnTo>
                      <a:pt x="169" y="229"/>
                    </a:lnTo>
                    <a:lnTo>
                      <a:pt x="170" y="227"/>
                    </a:lnTo>
                    <a:lnTo>
                      <a:pt x="169" y="221"/>
                    </a:lnTo>
                    <a:lnTo>
                      <a:pt x="170" y="214"/>
                    </a:lnTo>
                    <a:lnTo>
                      <a:pt x="170" y="214"/>
                    </a:lnTo>
                    <a:lnTo>
                      <a:pt x="170" y="214"/>
                    </a:lnTo>
                    <a:lnTo>
                      <a:pt x="170" y="21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0" name="Freeform 1314">
                <a:extLst>
                  <a:ext uri="{FF2B5EF4-FFF2-40B4-BE49-F238E27FC236}">
                    <a16:creationId xmlns:a16="http://schemas.microsoft.com/office/drawing/2014/main" id="{EEF3C566-A589-4210-920A-4FA516E741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8163" y="6116638"/>
                <a:ext cx="80963" cy="66675"/>
              </a:xfrm>
              <a:custGeom>
                <a:avLst/>
                <a:gdLst>
                  <a:gd name="T0" fmla="*/ 48 w 51"/>
                  <a:gd name="T1" fmla="*/ 29 h 42"/>
                  <a:gd name="T2" fmla="*/ 43 w 51"/>
                  <a:gd name="T3" fmla="*/ 31 h 42"/>
                  <a:gd name="T4" fmla="*/ 40 w 51"/>
                  <a:gd name="T5" fmla="*/ 31 h 42"/>
                  <a:gd name="T6" fmla="*/ 37 w 51"/>
                  <a:gd name="T7" fmla="*/ 27 h 42"/>
                  <a:gd name="T8" fmla="*/ 32 w 51"/>
                  <a:gd name="T9" fmla="*/ 25 h 42"/>
                  <a:gd name="T10" fmla="*/ 31 w 51"/>
                  <a:gd name="T11" fmla="*/ 24 h 42"/>
                  <a:gd name="T12" fmla="*/ 20 w 51"/>
                  <a:gd name="T13" fmla="*/ 19 h 42"/>
                  <a:gd name="T14" fmla="*/ 17 w 51"/>
                  <a:gd name="T15" fmla="*/ 18 h 42"/>
                  <a:gd name="T16" fmla="*/ 17 w 51"/>
                  <a:gd name="T17" fmla="*/ 14 h 42"/>
                  <a:gd name="T18" fmla="*/ 14 w 51"/>
                  <a:gd name="T19" fmla="*/ 11 h 42"/>
                  <a:gd name="T20" fmla="*/ 10 w 51"/>
                  <a:gd name="T21" fmla="*/ 10 h 42"/>
                  <a:gd name="T22" fmla="*/ 8 w 51"/>
                  <a:gd name="T23" fmla="*/ 4 h 42"/>
                  <a:gd name="T24" fmla="*/ 7 w 51"/>
                  <a:gd name="T25" fmla="*/ 1 h 42"/>
                  <a:gd name="T26" fmla="*/ 3 w 51"/>
                  <a:gd name="T27" fmla="*/ 2 h 42"/>
                  <a:gd name="T28" fmla="*/ 0 w 51"/>
                  <a:gd name="T29" fmla="*/ 0 h 42"/>
                  <a:gd name="T30" fmla="*/ 7 w 51"/>
                  <a:gd name="T31" fmla="*/ 32 h 42"/>
                  <a:gd name="T32" fmla="*/ 7 w 51"/>
                  <a:gd name="T33" fmla="*/ 32 h 42"/>
                  <a:gd name="T34" fmla="*/ 13 w 51"/>
                  <a:gd name="T35" fmla="*/ 31 h 42"/>
                  <a:gd name="T36" fmla="*/ 17 w 51"/>
                  <a:gd name="T37" fmla="*/ 31 h 42"/>
                  <a:gd name="T38" fmla="*/ 21 w 51"/>
                  <a:gd name="T39" fmla="*/ 30 h 42"/>
                  <a:gd name="T40" fmla="*/ 20 w 51"/>
                  <a:gd name="T41" fmla="*/ 31 h 42"/>
                  <a:gd name="T42" fmla="*/ 17 w 51"/>
                  <a:gd name="T43" fmla="*/ 32 h 42"/>
                  <a:gd name="T44" fmla="*/ 14 w 51"/>
                  <a:gd name="T45" fmla="*/ 34 h 42"/>
                  <a:gd name="T46" fmla="*/ 7 w 51"/>
                  <a:gd name="T47" fmla="*/ 34 h 42"/>
                  <a:gd name="T48" fmla="*/ 8 w 51"/>
                  <a:gd name="T49" fmla="*/ 40 h 42"/>
                  <a:gd name="T50" fmla="*/ 10 w 51"/>
                  <a:gd name="T51" fmla="*/ 40 h 42"/>
                  <a:gd name="T52" fmla="*/ 14 w 51"/>
                  <a:gd name="T53" fmla="*/ 38 h 42"/>
                  <a:gd name="T54" fmla="*/ 21 w 51"/>
                  <a:gd name="T55" fmla="*/ 39 h 42"/>
                  <a:gd name="T56" fmla="*/ 24 w 51"/>
                  <a:gd name="T57" fmla="*/ 38 h 42"/>
                  <a:gd name="T58" fmla="*/ 31 w 51"/>
                  <a:gd name="T59" fmla="*/ 39 h 42"/>
                  <a:gd name="T60" fmla="*/ 34 w 51"/>
                  <a:gd name="T61" fmla="*/ 42 h 42"/>
                  <a:gd name="T62" fmla="*/ 37 w 51"/>
                  <a:gd name="T63" fmla="*/ 42 h 42"/>
                  <a:gd name="T64" fmla="*/ 40 w 51"/>
                  <a:gd name="T65" fmla="*/ 42 h 42"/>
                  <a:gd name="T66" fmla="*/ 42 w 51"/>
                  <a:gd name="T67" fmla="*/ 38 h 42"/>
                  <a:gd name="T68" fmla="*/ 43 w 51"/>
                  <a:gd name="T69" fmla="*/ 35 h 42"/>
                  <a:gd name="T70" fmla="*/ 46 w 51"/>
                  <a:gd name="T71" fmla="*/ 35 h 42"/>
                  <a:gd name="T72" fmla="*/ 48 w 51"/>
                  <a:gd name="T73" fmla="*/ 36 h 42"/>
                  <a:gd name="T74" fmla="*/ 51 w 51"/>
                  <a:gd name="T75" fmla="*/ 34 h 42"/>
                  <a:gd name="T76" fmla="*/ 51 w 51"/>
                  <a:gd name="T77" fmla="*/ 31 h 42"/>
                  <a:gd name="T78" fmla="*/ 48 w 51"/>
                  <a:gd name="T79" fmla="*/ 29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1" h="42">
                    <a:moveTo>
                      <a:pt x="48" y="29"/>
                    </a:moveTo>
                    <a:lnTo>
                      <a:pt x="43" y="31"/>
                    </a:lnTo>
                    <a:lnTo>
                      <a:pt x="40" y="31"/>
                    </a:lnTo>
                    <a:lnTo>
                      <a:pt x="37" y="27"/>
                    </a:lnTo>
                    <a:lnTo>
                      <a:pt x="32" y="25"/>
                    </a:lnTo>
                    <a:lnTo>
                      <a:pt x="31" y="24"/>
                    </a:lnTo>
                    <a:lnTo>
                      <a:pt x="20" y="19"/>
                    </a:lnTo>
                    <a:lnTo>
                      <a:pt x="17" y="18"/>
                    </a:lnTo>
                    <a:lnTo>
                      <a:pt x="17" y="14"/>
                    </a:lnTo>
                    <a:lnTo>
                      <a:pt x="14" y="11"/>
                    </a:lnTo>
                    <a:lnTo>
                      <a:pt x="10" y="10"/>
                    </a:lnTo>
                    <a:lnTo>
                      <a:pt x="8" y="4"/>
                    </a:lnTo>
                    <a:lnTo>
                      <a:pt x="7" y="1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13" y="31"/>
                    </a:lnTo>
                    <a:lnTo>
                      <a:pt x="17" y="31"/>
                    </a:lnTo>
                    <a:lnTo>
                      <a:pt x="21" y="30"/>
                    </a:lnTo>
                    <a:lnTo>
                      <a:pt x="20" y="31"/>
                    </a:lnTo>
                    <a:lnTo>
                      <a:pt x="17" y="32"/>
                    </a:lnTo>
                    <a:lnTo>
                      <a:pt x="14" y="34"/>
                    </a:lnTo>
                    <a:lnTo>
                      <a:pt x="7" y="34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4" y="38"/>
                    </a:lnTo>
                    <a:lnTo>
                      <a:pt x="21" y="39"/>
                    </a:lnTo>
                    <a:lnTo>
                      <a:pt x="24" y="38"/>
                    </a:lnTo>
                    <a:lnTo>
                      <a:pt x="31" y="39"/>
                    </a:lnTo>
                    <a:lnTo>
                      <a:pt x="34" y="42"/>
                    </a:lnTo>
                    <a:lnTo>
                      <a:pt x="37" y="42"/>
                    </a:lnTo>
                    <a:lnTo>
                      <a:pt x="40" y="42"/>
                    </a:lnTo>
                    <a:lnTo>
                      <a:pt x="42" y="38"/>
                    </a:lnTo>
                    <a:lnTo>
                      <a:pt x="43" y="35"/>
                    </a:lnTo>
                    <a:lnTo>
                      <a:pt x="46" y="35"/>
                    </a:lnTo>
                    <a:lnTo>
                      <a:pt x="48" y="36"/>
                    </a:lnTo>
                    <a:lnTo>
                      <a:pt x="51" y="34"/>
                    </a:lnTo>
                    <a:lnTo>
                      <a:pt x="51" y="31"/>
                    </a:lnTo>
                    <a:lnTo>
                      <a:pt x="48" y="2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1" name="Freeform 1315">
                <a:extLst>
                  <a:ext uri="{FF2B5EF4-FFF2-40B4-BE49-F238E27FC236}">
                    <a16:creationId xmlns:a16="http://schemas.microsoft.com/office/drawing/2014/main" id="{03224CB1-6D04-4F9A-881C-D2A429D480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1813" y="6084888"/>
                <a:ext cx="12700" cy="31750"/>
              </a:xfrm>
              <a:custGeom>
                <a:avLst/>
                <a:gdLst>
                  <a:gd name="T0" fmla="*/ 5 w 8"/>
                  <a:gd name="T1" fmla="*/ 17 h 20"/>
                  <a:gd name="T2" fmla="*/ 7 w 8"/>
                  <a:gd name="T3" fmla="*/ 16 h 20"/>
                  <a:gd name="T4" fmla="*/ 8 w 8"/>
                  <a:gd name="T5" fmla="*/ 17 h 20"/>
                  <a:gd name="T6" fmla="*/ 7 w 8"/>
                  <a:gd name="T7" fmla="*/ 10 h 20"/>
                  <a:gd name="T8" fmla="*/ 3 w 8"/>
                  <a:gd name="T9" fmla="*/ 3 h 20"/>
                  <a:gd name="T10" fmla="*/ 0 w 8"/>
                  <a:gd name="T11" fmla="*/ 0 h 20"/>
                  <a:gd name="T12" fmla="*/ 0 w 8"/>
                  <a:gd name="T13" fmla="*/ 0 h 20"/>
                  <a:gd name="T14" fmla="*/ 4 w 8"/>
                  <a:gd name="T15" fmla="*/ 20 h 20"/>
                  <a:gd name="T16" fmla="*/ 5 w 8"/>
                  <a:gd name="T17" fmla="*/ 1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20">
                    <a:moveTo>
                      <a:pt x="5" y="17"/>
                    </a:moveTo>
                    <a:lnTo>
                      <a:pt x="7" y="16"/>
                    </a:lnTo>
                    <a:lnTo>
                      <a:pt x="8" y="17"/>
                    </a:lnTo>
                    <a:lnTo>
                      <a:pt x="7" y="10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0"/>
                    </a:lnTo>
                    <a:lnTo>
                      <a:pt x="5" y="1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2" name="Freeform 1316">
                <a:extLst>
                  <a:ext uri="{FF2B5EF4-FFF2-40B4-BE49-F238E27FC236}">
                    <a16:creationId xmlns:a16="http://schemas.microsoft.com/office/drawing/2014/main" id="{07CEB8FD-5116-4310-AD2C-495ADE18FA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1826" y="6164263"/>
                <a:ext cx="17463" cy="11113"/>
              </a:xfrm>
              <a:custGeom>
                <a:avLst/>
                <a:gdLst>
                  <a:gd name="T0" fmla="*/ 6 w 11"/>
                  <a:gd name="T1" fmla="*/ 3 h 7"/>
                  <a:gd name="T2" fmla="*/ 2 w 11"/>
                  <a:gd name="T3" fmla="*/ 3 h 7"/>
                  <a:gd name="T4" fmla="*/ 0 w 11"/>
                  <a:gd name="T5" fmla="*/ 5 h 7"/>
                  <a:gd name="T6" fmla="*/ 3 w 11"/>
                  <a:gd name="T7" fmla="*/ 7 h 7"/>
                  <a:gd name="T8" fmla="*/ 6 w 11"/>
                  <a:gd name="T9" fmla="*/ 5 h 7"/>
                  <a:gd name="T10" fmla="*/ 8 w 11"/>
                  <a:gd name="T11" fmla="*/ 3 h 7"/>
                  <a:gd name="T12" fmla="*/ 11 w 11"/>
                  <a:gd name="T13" fmla="*/ 1 h 7"/>
                  <a:gd name="T14" fmla="*/ 7 w 11"/>
                  <a:gd name="T15" fmla="*/ 0 h 7"/>
                  <a:gd name="T16" fmla="*/ 6 w 11"/>
                  <a:gd name="T17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7">
                    <a:moveTo>
                      <a:pt x="6" y="3"/>
                    </a:moveTo>
                    <a:lnTo>
                      <a:pt x="2" y="3"/>
                    </a:lnTo>
                    <a:lnTo>
                      <a:pt x="0" y="5"/>
                    </a:lnTo>
                    <a:lnTo>
                      <a:pt x="3" y="7"/>
                    </a:lnTo>
                    <a:lnTo>
                      <a:pt x="6" y="5"/>
                    </a:lnTo>
                    <a:lnTo>
                      <a:pt x="8" y="3"/>
                    </a:lnTo>
                    <a:lnTo>
                      <a:pt x="11" y="1"/>
                    </a:lnTo>
                    <a:lnTo>
                      <a:pt x="7" y="0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3" name="Freeform 1317">
                <a:extLst>
                  <a:ext uri="{FF2B5EF4-FFF2-40B4-BE49-F238E27FC236}">
                    <a16:creationId xmlns:a16="http://schemas.microsoft.com/office/drawing/2014/main" id="{28F60A61-6EEB-41E9-B24F-F971C92078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3538" y="5803900"/>
                <a:ext cx="9525" cy="6350"/>
              </a:xfrm>
              <a:custGeom>
                <a:avLst/>
                <a:gdLst>
                  <a:gd name="T0" fmla="*/ 1 w 8"/>
                  <a:gd name="T1" fmla="*/ 5 h 5"/>
                  <a:gd name="T2" fmla="*/ 2 w 8"/>
                  <a:gd name="T3" fmla="*/ 3 h 5"/>
                  <a:gd name="T4" fmla="*/ 6 w 8"/>
                  <a:gd name="T5" fmla="*/ 2 h 5"/>
                  <a:gd name="T6" fmla="*/ 8 w 8"/>
                  <a:gd name="T7" fmla="*/ 0 h 5"/>
                  <a:gd name="T8" fmla="*/ 0 w 8"/>
                  <a:gd name="T9" fmla="*/ 0 h 5"/>
                  <a:gd name="T10" fmla="*/ 0 w 8"/>
                  <a:gd name="T11" fmla="*/ 3 h 5"/>
                  <a:gd name="T12" fmla="*/ 1 w 8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5">
                    <a:moveTo>
                      <a:pt x="1" y="5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1" y="5"/>
                      <a:pt x="1" y="5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4" name="Freeform 1318">
                <a:extLst>
                  <a:ext uri="{FF2B5EF4-FFF2-40B4-BE49-F238E27FC236}">
                    <a16:creationId xmlns:a16="http://schemas.microsoft.com/office/drawing/2014/main" id="{B2D34447-F29C-4296-84BD-ECE355CDA9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5126" y="5953125"/>
                <a:ext cx="9525" cy="17463"/>
              </a:xfrm>
              <a:custGeom>
                <a:avLst/>
                <a:gdLst>
                  <a:gd name="T0" fmla="*/ 2 w 6"/>
                  <a:gd name="T1" fmla="*/ 11 h 11"/>
                  <a:gd name="T2" fmla="*/ 5 w 6"/>
                  <a:gd name="T3" fmla="*/ 7 h 11"/>
                  <a:gd name="T4" fmla="*/ 6 w 6"/>
                  <a:gd name="T5" fmla="*/ 6 h 11"/>
                  <a:gd name="T6" fmla="*/ 5 w 6"/>
                  <a:gd name="T7" fmla="*/ 3 h 11"/>
                  <a:gd name="T8" fmla="*/ 1 w 6"/>
                  <a:gd name="T9" fmla="*/ 1 h 11"/>
                  <a:gd name="T10" fmla="*/ 1 w 6"/>
                  <a:gd name="T11" fmla="*/ 0 h 11"/>
                  <a:gd name="T12" fmla="*/ 0 w 6"/>
                  <a:gd name="T13" fmla="*/ 2 h 11"/>
                  <a:gd name="T14" fmla="*/ 1 w 6"/>
                  <a:gd name="T15" fmla="*/ 7 h 11"/>
                  <a:gd name="T16" fmla="*/ 1 w 6"/>
                  <a:gd name="T17" fmla="*/ 10 h 11"/>
                  <a:gd name="T18" fmla="*/ 2 w 6"/>
                  <a:gd name="T1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11">
                    <a:moveTo>
                      <a:pt x="2" y="11"/>
                    </a:moveTo>
                    <a:lnTo>
                      <a:pt x="5" y="7"/>
                    </a:lnTo>
                    <a:lnTo>
                      <a:pt x="6" y="6"/>
                    </a:lnTo>
                    <a:lnTo>
                      <a:pt x="5" y="3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1" y="7"/>
                    </a:lnTo>
                    <a:lnTo>
                      <a:pt x="1" y="10"/>
                    </a:lnTo>
                    <a:lnTo>
                      <a:pt x="2" y="1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5" name="Freeform 1319">
                <a:extLst>
                  <a:ext uri="{FF2B5EF4-FFF2-40B4-BE49-F238E27FC236}">
                    <a16:creationId xmlns:a16="http://schemas.microsoft.com/office/drawing/2014/main" id="{B138DED2-13F2-474F-BEBF-3F0C208228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0363" y="5938838"/>
                <a:ext cx="6350" cy="12700"/>
              </a:xfrm>
              <a:custGeom>
                <a:avLst/>
                <a:gdLst>
                  <a:gd name="T0" fmla="*/ 4 w 4"/>
                  <a:gd name="T1" fmla="*/ 5 h 8"/>
                  <a:gd name="T2" fmla="*/ 3 w 4"/>
                  <a:gd name="T3" fmla="*/ 2 h 8"/>
                  <a:gd name="T4" fmla="*/ 1 w 4"/>
                  <a:gd name="T5" fmla="*/ 0 h 8"/>
                  <a:gd name="T6" fmla="*/ 0 w 4"/>
                  <a:gd name="T7" fmla="*/ 0 h 8"/>
                  <a:gd name="T8" fmla="*/ 0 w 4"/>
                  <a:gd name="T9" fmla="*/ 5 h 8"/>
                  <a:gd name="T10" fmla="*/ 1 w 4"/>
                  <a:gd name="T11" fmla="*/ 6 h 8"/>
                  <a:gd name="T12" fmla="*/ 1 w 4"/>
                  <a:gd name="T13" fmla="*/ 8 h 8"/>
                  <a:gd name="T14" fmla="*/ 3 w 4"/>
                  <a:gd name="T15" fmla="*/ 7 h 8"/>
                  <a:gd name="T16" fmla="*/ 4 w 4"/>
                  <a:gd name="T17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8">
                    <a:moveTo>
                      <a:pt x="4" y="5"/>
                    </a:moveTo>
                    <a:lnTo>
                      <a:pt x="3" y="2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1" y="6"/>
                    </a:lnTo>
                    <a:lnTo>
                      <a:pt x="1" y="8"/>
                    </a:lnTo>
                    <a:lnTo>
                      <a:pt x="3" y="7"/>
                    </a:lnTo>
                    <a:lnTo>
                      <a:pt x="4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6" name="Freeform 1320">
                <a:extLst>
                  <a:ext uri="{FF2B5EF4-FFF2-40B4-BE49-F238E27FC236}">
                    <a16:creationId xmlns:a16="http://schemas.microsoft.com/office/drawing/2014/main" id="{55779D89-22A6-48E6-A886-A0F88141B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6713" y="5980113"/>
                <a:ext cx="7938" cy="12700"/>
              </a:xfrm>
              <a:custGeom>
                <a:avLst/>
                <a:gdLst>
                  <a:gd name="T0" fmla="*/ 0 w 5"/>
                  <a:gd name="T1" fmla="*/ 3 h 8"/>
                  <a:gd name="T2" fmla="*/ 2 w 5"/>
                  <a:gd name="T3" fmla="*/ 5 h 8"/>
                  <a:gd name="T4" fmla="*/ 1 w 5"/>
                  <a:gd name="T5" fmla="*/ 7 h 8"/>
                  <a:gd name="T6" fmla="*/ 3 w 5"/>
                  <a:gd name="T7" fmla="*/ 8 h 8"/>
                  <a:gd name="T8" fmla="*/ 4 w 5"/>
                  <a:gd name="T9" fmla="*/ 7 h 8"/>
                  <a:gd name="T10" fmla="*/ 5 w 5"/>
                  <a:gd name="T11" fmla="*/ 4 h 8"/>
                  <a:gd name="T12" fmla="*/ 4 w 5"/>
                  <a:gd name="T13" fmla="*/ 0 h 8"/>
                  <a:gd name="T14" fmla="*/ 0 w 5"/>
                  <a:gd name="T1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8">
                    <a:moveTo>
                      <a:pt x="0" y="3"/>
                    </a:moveTo>
                    <a:lnTo>
                      <a:pt x="2" y="5"/>
                    </a:lnTo>
                    <a:lnTo>
                      <a:pt x="1" y="7"/>
                    </a:lnTo>
                    <a:lnTo>
                      <a:pt x="3" y="8"/>
                    </a:lnTo>
                    <a:lnTo>
                      <a:pt x="4" y="7"/>
                    </a:lnTo>
                    <a:lnTo>
                      <a:pt x="5" y="4"/>
                    </a:lnTo>
                    <a:lnTo>
                      <a:pt x="4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7" name="Freeform 1321">
                <a:extLst>
                  <a:ext uri="{FF2B5EF4-FFF2-40B4-BE49-F238E27FC236}">
                    <a16:creationId xmlns:a16="http://schemas.microsoft.com/office/drawing/2014/main" id="{72D8E82C-5BCA-482D-91B2-FC3AE01A3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8776" y="5784850"/>
                <a:ext cx="7938" cy="7938"/>
              </a:xfrm>
              <a:custGeom>
                <a:avLst/>
                <a:gdLst>
                  <a:gd name="T0" fmla="*/ 0 w 5"/>
                  <a:gd name="T1" fmla="*/ 2 h 5"/>
                  <a:gd name="T2" fmla="*/ 1 w 5"/>
                  <a:gd name="T3" fmla="*/ 4 h 5"/>
                  <a:gd name="T4" fmla="*/ 2 w 5"/>
                  <a:gd name="T5" fmla="*/ 5 h 5"/>
                  <a:gd name="T6" fmla="*/ 5 w 5"/>
                  <a:gd name="T7" fmla="*/ 3 h 5"/>
                  <a:gd name="T8" fmla="*/ 5 w 5"/>
                  <a:gd name="T9" fmla="*/ 2 h 5"/>
                  <a:gd name="T10" fmla="*/ 3 w 5"/>
                  <a:gd name="T11" fmla="*/ 0 h 5"/>
                  <a:gd name="T12" fmla="*/ 2 w 5"/>
                  <a:gd name="T13" fmla="*/ 0 h 5"/>
                  <a:gd name="T14" fmla="*/ 0 w 5"/>
                  <a:gd name="T1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5">
                    <a:moveTo>
                      <a:pt x="0" y="2"/>
                    </a:moveTo>
                    <a:lnTo>
                      <a:pt x="1" y="4"/>
                    </a:lnTo>
                    <a:lnTo>
                      <a:pt x="2" y="5"/>
                    </a:lnTo>
                    <a:lnTo>
                      <a:pt x="5" y="3"/>
                    </a:lnTo>
                    <a:lnTo>
                      <a:pt x="5" y="2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8" name="Freeform 1322">
                <a:extLst>
                  <a:ext uri="{FF2B5EF4-FFF2-40B4-BE49-F238E27FC236}">
                    <a16:creationId xmlns:a16="http://schemas.microsoft.com/office/drawing/2014/main" id="{110FDE08-0B88-4BD9-B8A4-E2E132FA6E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4651" y="5795963"/>
                <a:ext cx="3175" cy="6350"/>
              </a:xfrm>
              <a:custGeom>
                <a:avLst/>
                <a:gdLst>
                  <a:gd name="T0" fmla="*/ 0 w 2"/>
                  <a:gd name="T1" fmla="*/ 3 h 4"/>
                  <a:gd name="T2" fmla="*/ 2 w 2"/>
                  <a:gd name="T3" fmla="*/ 4 h 4"/>
                  <a:gd name="T4" fmla="*/ 2 w 2"/>
                  <a:gd name="T5" fmla="*/ 0 h 4"/>
                  <a:gd name="T6" fmla="*/ 0 w 2"/>
                  <a:gd name="T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0" y="3"/>
                    </a:moveTo>
                    <a:lnTo>
                      <a:pt x="2" y="4"/>
                    </a:lnTo>
                    <a:lnTo>
                      <a:pt x="2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9" name="Freeform 1323">
                <a:extLst>
                  <a:ext uri="{FF2B5EF4-FFF2-40B4-BE49-F238E27FC236}">
                    <a16:creationId xmlns:a16="http://schemas.microsoft.com/office/drawing/2014/main" id="{374C9024-8C94-40AD-B68D-A1AFDAF57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3538" y="5832475"/>
                <a:ext cx="9525" cy="9525"/>
              </a:xfrm>
              <a:custGeom>
                <a:avLst/>
                <a:gdLst>
                  <a:gd name="T0" fmla="*/ 6 w 6"/>
                  <a:gd name="T1" fmla="*/ 5 h 6"/>
                  <a:gd name="T2" fmla="*/ 5 w 6"/>
                  <a:gd name="T3" fmla="*/ 2 h 6"/>
                  <a:gd name="T4" fmla="*/ 2 w 6"/>
                  <a:gd name="T5" fmla="*/ 1 h 6"/>
                  <a:gd name="T6" fmla="*/ 1 w 6"/>
                  <a:gd name="T7" fmla="*/ 0 h 6"/>
                  <a:gd name="T8" fmla="*/ 0 w 6"/>
                  <a:gd name="T9" fmla="*/ 2 h 6"/>
                  <a:gd name="T10" fmla="*/ 2 w 6"/>
                  <a:gd name="T11" fmla="*/ 6 h 6"/>
                  <a:gd name="T12" fmla="*/ 6 w 6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6" y="5"/>
                    </a:moveTo>
                    <a:lnTo>
                      <a:pt x="5" y="2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6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0" name="Freeform 1324">
                <a:extLst>
                  <a:ext uri="{FF2B5EF4-FFF2-40B4-BE49-F238E27FC236}">
                    <a16:creationId xmlns:a16="http://schemas.microsoft.com/office/drawing/2014/main" id="{4FD1F235-8D34-4E35-9542-49C6A855A5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9413" y="6018213"/>
                <a:ext cx="4763" cy="6350"/>
              </a:xfrm>
              <a:custGeom>
                <a:avLst/>
                <a:gdLst>
                  <a:gd name="T0" fmla="*/ 0 w 3"/>
                  <a:gd name="T1" fmla="*/ 4 h 4"/>
                  <a:gd name="T2" fmla="*/ 1 w 3"/>
                  <a:gd name="T3" fmla="*/ 2 h 4"/>
                  <a:gd name="T4" fmla="*/ 3 w 3"/>
                  <a:gd name="T5" fmla="*/ 0 h 4"/>
                  <a:gd name="T6" fmla="*/ 0 w 3"/>
                  <a:gd name="T7" fmla="*/ 0 h 4"/>
                  <a:gd name="T8" fmla="*/ 0 w 3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0" y="4"/>
                    </a:moveTo>
                    <a:lnTo>
                      <a:pt x="1" y="2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1" name="Freeform 1325">
                <a:extLst>
                  <a:ext uri="{FF2B5EF4-FFF2-40B4-BE49-F238E27FC236}">
                    <a16:creationId xmlns:a16="http://schemas.microsoft.com/office/drawing/2014/main" id="{A1F473E2-226F-406E-AE35-1C66CADFF6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5126" y="5780088"/>
                <a:ext cx="1588" cy="4763"/>
              </a:xfrm>
              <a:custGeom>
                <a:avLst/>
                <a:gdLst>
                  <a:gd name="T0" fmla="*/ 1 w 1"/>
                  <a:gd name="T1" fmla="*/ 3 h 3"/>
                  <a:gd name="T2" fmla="*/ 1 w 1"/>
                  <a:gd name="T3" fmla="*/ 2 h 3"/>
                  <a:gd name="T4" fmla="*/ 1 w 1"/>
                  <a:gd name="T5" fmla="*/ 0 h 3"/>
                  <a:gd name="T6" fmla="*/ 0 w 1"/>
                  <a:gd name="T7" fmla="*/ 1 h 3"/>
                  <a:gd name="T8" fmla="*/ 1 w 1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3">
                    <a:moveTo>
                      <a:pt x="1" y="3"/>
                    </a:moveTo>
                    <a:lnTo>
                      <a:pt x="1" y="2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1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2" name="Freeform 1326">
                <a:extLst>
                  <a:ext uri="{FF2B5EF4-FFF2-40B4-BE49-F238E27FC236}">
                    <a16:creationId xmlns:a16="http://schemas.microsoft.com/office/drawing/2014/main" id="{3F7EE27A-BA92-4772-AD1A-6CC0405DE6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0526" y="6016625"/>
                <a:ext cx="14288" cy="15875"/>
              </a:xfrm>
              <a:custGeom>
                <a:avLst/>
                <a:gdLst>
                  <a:gd name="T0" fmla="*/ 8 w 9"/>
                  <a:gd name="T1" fmla="*/ 6 h 10"/>
                  <a:gd name="T2" fmla="*/ 6 w 9"/>
                  <a:gd name="T3" fmla="*/ 1 h 10"/>
                  <a:gd name="T4" fmla="*/ 4 w 9"/>
                  <a:gd name="T5" fmla="*/ 1 h 10"/>
                  <a:gd name="T6" fmla="*/ 2 w 9"/>
                  <a:gd name="T7" fmla="*/ 0 h 10"/>
                  <a:gd name="T8" fmla="*/ 1 w 9"/>
                  <a:gd name="T9" fmla="*/ 0 h 10"/>
                  <a:gd name="T10" fmla="*/ 0 w 9"/>
                  <a:gd name="T11" fmla="*/ 1 h 10"/>
                  <a:gd name="T12" fmla="*/ 3 w 9"/>
                  <a:gd name="T13" fmla="*/ 5 h 10"/>
                  <a:gd name="T14" fmla="*/ 6 w 9"/>
                  <a:gd name="T15" fmla="*/ 6 h 10"/>
                  <a:gd name="T16" fmla="*/ 9 w 9"/>
                  <a:gd name="T17" fmla="*/ 10 h 10"/>
                  <a:gd name="T18" fmla="*/ 8 w 9"/>
                  <a:gd name="T1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10">
                    <a:moveTo>
                      <a:pt x="8" y="6"/>
                    </a:moveTo>
                    <a:lnTo>
                      <a:pt x="6" y="1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3" y="5"/>
                    </a:lnTo>
                    <a:lnTo>
                      <a:pt x="6" y="6"/>
                    </a:lnTo>
                    <a:lnTo>
                      <a:pt x="9" y="10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3" name="Freeform 1327">
                <a:extLst>
                  <a:ext uri="{FF2B5EF4-FFF2-40B4-BE49-F238E27FC236}">
                    <a16:creationId xmlns:a16="http://schemas.microsoft.com/office/drawing/2014/main" id="{FDDEC407-01E8-498A-A454-B583841887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6713" y="5813425"/>
                <a:ext cx="7938" cy="3175"/>
              </a:xfrm>
              <a:custGeom>
                <a:avLst/>
                <a:gdLst>
                  <a:gd name="T0" fmla="*/ 5 w 5"/>
                  <a:gd name="T1" fmla="*/ 0 h 2"/>
                  <a:gd name="T2" fmla="*/ 3 w 5"/>
                  <a:gd name="T3" fmla="*/ 0 h 2"/>
                  <a:gd name="T4" fmla="*/ 0 w 5"/>
                  <a:gd name="T5" fmla="*/ 1 h 2"/>
                  <a:gd name="T6" fmla="*/ 1 w 5"/>
                  <a:gd name="T7" fmla="*/ 2 h 2"/>
                  <a:gd name="T8" fmla="*/ 4 w 5"/>
                  <a:gd name="T9" fmla="*/ 2 h 2"/>
                  <a:gd name="T10" fmla="*/ 5 w 5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3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4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4" name="Freeform 1328">
                <a:extLst>
                  <a:ext uri="{FF2B5EF4-FFF2-40B4-BE49-F238E27FC236}">
                    <a16:creationId xmlns:a16="http://schemas.microsoft.com/office/drawing/2014/main" id="{85A40E19-B0B4-4386-9ED3-BD777B85AC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3063" y="5949950"/>
                <a:ext cx="20638" cy="50800"/>
              </a:xfrm>
              <a:custGeom>
                <a:avLst/>
                <a:gdLst>
                  <a:gd name="T0" fmla="*/ 6 w 13"/>
                  <a:gd name="T1" fmla="*/ 29 h 32"/>
                  <a:gd name="T2" fmla="*/ 7 w 13"/>
                  <a:gd name="T3" fmla="*/ 28 h 32"/>
                  <a:gd name="T4" fmla="*/ 8 w 13"/>
                  <a:gd name="T5" fmla="*/ 24 h 32"/>
                  <a:gd name="T6" fmla="*/ 9 w 13"/>
                  <a:gd name="T7" fmla="*/ 27 h 32"/>
                  <a:gd name="T8" fmla="*/ 9 w 13"/>
                  <a:gd name="T9" fmla="*/ 31 h 32"/>
                  <a:gd name="T10" fmla="*/ 10 w 13"/>
                  <a:gd name="T11" fmla="*/ 32 h 32"/>
                  <a:gd name="T12" fmla="*/ 13 w 13"/>
                  <a:gd name="T13" fmla="*/ 30 h 32"/>
                  <a:gd name="T14" fmla="*/ 13 w 13"/>
                  <a:gd name="T15" fmla="*/ 25 h 32"/>
                  <a:gd name="T16" fmla="*/ 11 w 13"/>
                  <a:gd name="T17" fmla="*/ 20 h 32"/>
                  <a:gd name="T18" fmla="*/ 12 w 13"/>
                  <a:gd name="T19" fmla="*/ 19 h 32"/>
                  <a:gd name="T20" fmla="*/ 11 w 13"/>
                  <a:gd name="T21" fmla="*/ 13 h 32"/>
                  <a:gd name="T22" fmla="*/ 10 w 13"/>
                  <a:gd name="T23" fmla="*/ 9 h 32"/>
                  <a:gd name="T24" fmla="*/ 8 w 13"/>
                  <a:gd name="T25" fmla="*/ 2 h 32"/>
                  <a:gd name="T26" fmla="*/ 7 w 13"/>
                  <a:gd name="T27" fmla="*/ 0 h 32"/>
                  <a:gd name="T28" fmla="*/ 3 w 13"/>
                  <a:gd name="T29" fmla="*/ 0 h 32"/>
                  <a:gd name="T30" fmla="*/ 1 w 13"/>
                  <a:gd name="T31" fmla="*/ 2 h 32"/>
                  <a:gd name="T32" fmla="*/ 1 w 13"/>
                  <a:gd name="T33" fmla="*/ 5 h 32"/>
                  <a:gd name="T34" fmla="*/ 3 w 13"/>
                  <a:gd name="T35" fmla="*/ 8 h 32"/>
                  <a:gd name="T36" fmla="*/ 2 w 13"/>
                  <a:gd name="T37" fmla="*/ 11 h 32"/>
                  <a:gd name="T38" fmla="*/ 3 w 13"/>
                  <a:gd name="T39" fmla="*/ 12 h 32"/>
                  <a:gd name="T40" fmla="*/ 3 w 13"/>
                  <a:gd name="T41" fmla="*/ 12 h 32"/>
                  <a:gd name="T42" fmla="*/ 5 w 13"/>
                  <a:gd name="T43" fmla="*/ 10 h 32"/>
                  <a:gd name="T44" fmla="*/ 4 w 13"/>
                  <a:gd name="T45" fmla="*/ 12 h 32"/>
                  <a:gd name="T46" fmla="*/ 3 w 13"/>
                  <a:gd name="T47" fmla="*/ 15 h 32"/>
                  <a:gd name="T48" fmla="*/ 0 w 13"/>
                  <a:gd name="T49" fmla="*/ 15 h 32"/>
                  <a:gd name="T50" fmla="*/ 3 w 13"/>
                  <a:gd name="T51" fmla="*/ 22 h 32"/>
                  <a:gd name="T52" fmla="*/ 3 w 13"/>
                  <a:gd name="T53" fmla="*/ 26 h 32"/>
                  <a:gd name="T54" fmla="*/ 6 w 13"/>
                  <a:gd name="T55" fmla="*/ 2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" h="32">
                    <a:moveTo>
                      <a:pt x="6" y="29"/>
                    </a:moveTo>
                    <a:lnTo>
                      <a:pt x="7" y="28"/>
                    </a:lnTo>
                    <a:lnTo>
                      <a:pt x="8" y="24"/>
                    </a:lnTo>
                    <a:lnTo>
                      <a:pt x="9" y="27"/>
                    </a:lnTo>
                    <a:lnTo>
                      <a:pt x="9" y="31"/>
                    </a:lnTo>
                    <a:lnTo>
                      <a:pt x="10" y="32"/>
                    </a:lnTo>
                    <a:lnTo>
                      <a:pt x="13" y="30"/>
                    </a:lnTo>
                    <a:lnTo>
                      <a:pt x="13" y="25"/>
                    </a:lnTo>
                    <a:lnTo>
                      <a:pt x="11" y="20"/>
                    </a:lnTo>
                    <a:lnTo>
                      <a:pt x="12" y="19"/>
                    </a:lnTo>
                    <a:lnTo>
                      <a:pt x="11" y="13"/>
                    </a:lnTo>
                    <a:lnTo>
                      <a:pt x="10" y="9"/>
                    </a:lnTo>
                    <a:lnTo>
                      <a:pt x="8" y="2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1" y="2"/>
                    </a:lnTo>
                    <a:lnTo>
                      <a:pt x="1" y="5"/>
                    </a:lnTo>
                    <a:lnTo>
                      <a:pt x="3" y="8"/>
                    </a:lnTo>
                    <a:lnTo>
                      <a:pt x="2" y="11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10"/>
                    </a:lnTo>
                    <a:lnTo>
                      <a:pt x="4" y="12"/>
                    </a:lnTo>
                    <a:lnTo>
                      <a:pt x="3" y="15"/>
                    </a:lnTo>
                    <a:lnTo>
                      <a:pt x="0" y="15"/>
                    </a:lnTo>
                    <a:lnTo>
                      <a:pt x="3" y="22"/>
                    </a:lnTo>
                    <a:lnTo>
                      <a:pt x="3" y="26"/>
                    </a:lnTo>
                    <a:lnTo>
                      <a:pt x="6" y="2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5" name="Freeform 1329">
                <a:extLst>
                  <a:ext uri="{FF2B5EF4-FFF2-40B4-BE49-F238E27FC236}">
                    <a16:creationId xmlns:a16="http://schemas.microsoft.com/office/drawing/2014/main" id="{F6CBD494-6FFE-46DB-B266-995ADB6329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0526" y="6026150"/>
                <a:ext cx="12700" cy="14288"/>
              </a:xfrm>
              <a:custGeom>
                <a:avLst/>
                <a:gdLst>
                  <a:gd name="T0" fmla="*/ 2 w 8"/>
                  <a:gd name="T1" fmla="*/ 0 h 9"/>
                  <a:gd name="T2" fmla="*/ 0 w 8"/>
                  <a:gd name="T3" fmla="*/ 1 h 9"/>
                  <a:gd name="T4" fmla="*/ 1 w 8"/>
                  <a:gd name="T5" fmla="*/ 5 h 9"/>
                  <a:gd name="T6" fmla="*/ 4 w 8"/>
                  <a:gd name="T7" fmla="*/ 9 h 9"/>
                  <a:gd name="T8" fmla="*/ 6 w 8"/>
                  <a:gd name="T9" fmla="*/ 9 h 9"/>
                  <a:gd name="T10" fmla="*/ 8 w 8"/>
                  <a:gd name="T11" fmla="*/ 7 h 9"/>
                  <a:gd name="T12" fmla="*/ 5 w 8"/>
                  <a:gd name="T13" fmla="*/ 2 h 9"/>
                  <a:gd name="T14" fmla="*/ 2 w 8"/>
                  <a:gd name="T1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9">
                    <a:moveTo>
                      <a:pt x="2" y="0"/>
                    </a:moveTo>
                    <a:lnTo>
                      <a:pt x="0" y="1"/>
                    </a:lnTo>
                    <a:lnTo>
                      <a:pt x="1" y="5"/>
                    </a:lnTo>
                    <a:lnTo>
                      <a:pt x="4" y="9"/>
                    </a:lnTo>
                    <a:lnTo>
                      <a:pt x="6" y="9"/>
                    </a:lnTo>
                    <a:lnTo>
                      <a:pt x="8" y="7"/>
                    </a:lnTo>
                    <a:lnTo>
                      <a:pt x="5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6" name="Freeform 1330">
                <a:extLst>
                  <a:ext uri="{FF2B5EF4-FFF2-40B4-BE49-F238E27FC236}">
                    <a16:creationId xmlns:a16="http://schemas.microsoft.com/office/drawing/2014/main" id="{61B965A3-4AD4-4556-A520-296BEB3B8C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3063" y="5834063"/>
                <a:ext cx="4763" cy="3175"/>
              </a:xfrm>
              <a:custGeom>
                <a:avLst/>
                <a:gdLst>
                  <a:gd name="T0" fmla="*/ 1 w 3"/>
                  <a:gd name="T1" fmla="*/ 2 h 2"/>
                  <a:gd name="T2" fmla="*/ 3 w 3"/>
                  <a:gd name="T3" fmla="*/ 0 h 2"/>
                  <a:gd name="T4" fmla="*/ 0 w 3"/>
                  <a:gd name="T5" fmla="*/ 0 h 2"/>
                  <a:gd name="T6" fmla="*/ 1 w 3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1" y="2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1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7" name="Rectangle 1331">
                <a:extLst>
                  <a:ext uri="{FF2B5EF4-FFF2-40B4-BE49-F238E27FC236}">
                    <a16:creationId xmlns:a16="http://schemas.microsoft.com/office/drawing/2014/main" id="{16DEE9D1-57BA-4AC7-989E-D14F74F8CF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70363" y="5835650"/>
                <a:ext cx="1588" cy="4763"/>
              </a:xfrm>
              <a:prstGeom prst="rect">
                <a:avLst/>
              </a:pr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8" name="Freeform 1332">
                <a:extLst>
                  <a:ext uri="{FF2B5EF4-FFF2-40B4-BE49-F238E27FC236}">
                    <a16:creationId xmlns:a16="http://schemas.microsoft.com/office/drawing/2014/main" id="{068D6173-8861-461B-84FE-043F2198F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0363" y="5794375"/>
                <a:ext cx="6350" cy="6350"/>
              </a:xfrm>
              <a:custGeom>
                <a:avLst/>
                <a:gdLst>
                  <a:gd name="T0" fmla="*/ 4 w 4"/>
                  <a:gd name="T1" fmla="*/ 3 h 4"/>
                  <a:gd name="T2" fmla="*/ 2 w 4"/>
                  <a:gd name="T3" fmla="*/ 0 h 4"/>
                  <a:gd name="T4" fmla="*/ 0 w 4"/>
                  <a:gd name="T5" fmla="*/ 0 h 4"/>
                  <a:gd name="T6" fmla="*/ 0 w 4"/>
                  <a:gd name="T7" fmla="*/ 1 h 4"/>
                  <a:gd name="T8" fmla="*/ 0 w 4"/>
                  <a:gd name="T9" fmla="*/ 4 h 4"/>
                  <a:gd name="T10" fmla="*/ 1 w 4"/>
                  <a:gd name="T11" fmla="*/ 3 h 4"/>
                  <a:gd name="T12" fmla="*/ 4 w 4"/>
                  <a:gd name="T13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4">
                    <a:moveTo>
                      <a:pt x="4" y="3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9" name="Freeform 1333">
                <a:extLst>
                  <a:ext uri="{FF2B5EF4-FFF2-40B4-BE49-F238E27FC236}">
                    <a16:creationId xmlns:a16="http://schemas.microsoft.com/office/drawing/2014/main" id="{23F111B4-DC6C-4762-BFBD-B57D24A8A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9251" y="5765800"/>
                <a:ext cx="7938" cy="4763"/>
              </a:xfrm>
              <a:custGeom>
                <a:avLst/>
                <a:gdLst>
                  <a:gd name="T0" fmla="*/ 0 w 5"/>
                  <a:gd name="T1" fmla="*/ 1 h 3"/>
                  <a:gd name="T2" fmla="*/ 1 w 5"/>
                  <a:gd name="T3" fmla="*/ 3 h 3"/>
                  <a:gd name="T4" fmla="*/ 5 w 5"/>
                  <a:gd name="T5" fmla="*/ 1 h 3"/>
                  <a:gd name="T6" fmla="*/ 4 w 5"/>
                  <a:gd name="T7" fmla="*/ 0 h 3"/>
                  <a:gd name="T8" fmla="*/ 1 w 5"/>
                  <a:gd name="T9" fmla="*/ 0 h 3"/>
                  <a:gd name="T10" fmla="*/ 0 w 5"/>
                  <a:gd name="T11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0" y="1"/>
                    </a:moveTo>
                    <a:lnTo>
                      <a:pt x="1" y="3"/>
                    </a:lnTo>
                    <a:lnTo>
                      <a:pt x="5" y="1"/>
                    </a:lnTo>
                    <a:lnTo>
                      <a:pt x="4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0" name="Freeform 1334">
                <a:extLst>
                  <a:ext uri="{FF2B5EF4-FFF2-40B4-BE49-F238E27FC236}">
                    <a16:creationId xmlns:a16="http://schemas.microsoft.com/office/drawing/2014/main" id="{583479EC-234A-417D-BAC0-584872667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3538" y="5770563"/>
                <a:ext cx="6350" cy="4763"/>
              </a:xfrm>
              <a:custGeom>
                <a:avLst/>
                <a:gdLst>
                  <a:gd name="T0" fmla="*/ 0 w 4"/>
                  <a:gd name="T1" fmla="*/ 1 h 3"/>
                  <a:gd name="T2" fmla="*/ 2 w 4"/>
                  <a:gd name="T3" fmla="*/ 3 h 3"/>
                  <a:gd name="T4" fmla="*/ 4 w 4"/>
                  <a:gd name="T5" fmla="*/ 1 h 3"/>
                  <a:gd name="T6" fmla="*/ 1 w 4"/>
                  <a:gd name="T7" fmla="*/ 0 h 3"/>
                  <a:gd name="T8" fmla="*/ 0 w 4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0" y="1"/>
                    </a:moveTo>
                    <a:lnTo>
                      <a:pt x="2" y="3"/>
                    </a:lnTo>
                    <a:lnTo>
                      <a:pt x="4" y="1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1" name="Freeform 1335">
                <a:extLst>
                  <a:ext uri="{FF2B5EF4-FFF2-40B4-BE49-F238E27FC236}">
                    <a16:creationId xmlns:a16="http://schemas.microsoft.com/office/drawing/2014/main" id="{F68DD235-6EBA-4F70-84E0-3176639D0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6076" y="5803900"/>
                <a:ext cx="6350" cy="6350"/>
              </a:xfrm>
              <a:custGeom>
                <a:avLst/>
                <a:gdLst>
                  <a:gd name="T0" fmla="*/ 0 w 4"/>
                  <a:gd name="T1" fmla="*/ 2 h 4"/>
                  <a:gd name="T2" fmla="*/ 3 w 4"/>
                  <a:gd name="T3" fmla="*/ 4 h 4"/>
                  <a:gd name="T4" fmla="*/ 4 w 4"/>
                  <a:gd name="T5" fmla="*/ 1 h 4"/>
                  <a:gd name="T6" fmla="*/ 3 w 4"/>
                  <a:gd name="T7" fmla="*/ 0 h 4"/>
                  <a:gd name="T8" fmla="*/ 0 w 4"/>
                  <a:gd name="T9" fmla="*/ 0 h 4"/>
                  <a:gd name="T10" fmla="*/ 0 w 4"/>
                  <a:gd name="T1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0" y="2"/>
                    </a:moveTo>
                    <a:lnTo>
                      <a:pt x="3" y="4"/>
                    </a:lnTo>
                    <a:lnTo>
                      <a:pt x="4" y="1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2" name="Freeform 1336">
                <a:extLst>
                  <a:ext uri="{FF2B5EF4-FFF2-40B4-BE49-F238E27FC236}">
                    <a16:creationId xmlns:a16="http://schemas.microsoft.com/office/drawing/2014/main" id="{A081F7FB-C88E-47D9-82E2-F151E4FA97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4013" y="5797550"/>
                <a:ext cx="3175" cy="4763"/>
              </a:xfrm>
              <a:custGeom>
                <a:avLst/>
                <a:gdLst>
                  <a:gd name="T0" fmla="*/ 0 w 2"/>
                  <a:gd name="T1" fmla="*/ 2 h 3"/>
                  <a:gd name="T2" fmla="*/ 1 w 2"/>
                  <a:gd name="T3" fmla="*/ 3 h 3"/>
                  <a:gd name="T4" fmla="*/ 2 w 2"/>
                  <a:gd name="T5" fmla="*/ 1 h 3"/>
                  <a:gd name="T6" fmla="*/ 1 w 2"/>
                  <a:gd name="T7" fmla="*/ 0 h 3"/>
                  <a:gd name="T8" fmla="*/ 0 w 2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0" y="2"/>
                    </a:moveTo>
                    <a:lnTo>
                      <a:pt x="1" y="3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3" name="Freeform 1337">
                <a:extLst>
                  <a:ext uri="{FF2B5EF4-FFF2-40B4-BE49-F238E27FC236}">
                    <a16:creationId xmlns:a16="http://schemas.microsoft.com/office/drawing/2014/main" id="{34CA565A-C5A5-49CE-A342-6AABBB41B4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1476" y="5772150"/>
                <a:ext cx="6350" cy="9525"/>
              </a:xfrm>
              <a:custGeom>
                <a:avLst/>
                <a:gdLst>
                  <a:gd name="T0" fmla="*/ 0 w 4"/>
                  <a:gd name="T1" fmla="*/ 2 h 6"/>
                  <a:gd name="T2" fmla="*/ 2 w 4"/>
                  <a:gd name="T3" fmla="*/ 4 h 6"/>
                  <a:gd name="T4" fmla="*/ 2 w 4"/>
                  <a:gd name="T5" fmla="*/ 6 h 6"/>
                  <a:gd name="T6" fmla="*/ 4 w 4"/>
                  <a:gd name="T7" fmla="*/ 5 h 6"/>
                  <a:gd name="T8" fmla="*/ 4 w 4"/>
                  <a:gd name="T9" fmla="*/ 1 h 6"/>
                  <a:gd name="T10" fmla="*/ 1 w 4"/>
                  <a:gd name="T11" fmla="*/ 0 h 6"/>
                  <a:gd name="T12" fmla="*/ 0 w 4"/>
                  <a:gd name="T1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">
                    <a:moveTo>
                      <a:pt x="0" y="2"/>
                    </a:moveTo>
                    <a:lnTo>
                      <a:pt x="2" y="4"/>
                    </a:lnTo>
                    <a:lnTo>
                      <a:pt x="2" y="6"/>
                    </a:lnTo>
                    <a:lnTo>
                      <a:pt x="4" y="5"/>
                    </a:lnTo>
                    <a:lnTo>
                      <a:pt x="4" y="1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4" name="Freeform 1338">
                <a:extLst>
                  <a:ext uri="{FF2B5EF4-FFF2-40B4-BE49-F238E27FC236}">
                    <a16:creationId xmlns:a16="http://schemas.microsoft.com/office/drawing/2014/main" id="{770656AA-5AD5-411A-B378-33376FD8EB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9888" y="5792788"/>
                <a:ext cx="3175" cy="6350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0 h 4"/>
                  <a:gd name="T4" fmla="*/ 0 w 2"/>
                  <a:gd name="T5" fmla="*/ 1 h 4"/>
                  <a:gd name="T6" fmla="*/ 2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5" name="Freeform 1339">
                <a:extLst>
                  <a:ext uri="{FF2B5EF4-FFF2-40B4-BE49-F238E27FC236}">
                    <a16:creationId xmlns:a16="http://schemas.microsoft.com/office/drawing/2014/main" id="{83889910-E623-4A0B-A6BC-A1755D2208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6713" y="5826125"/>
                <a:ext cx="4763" cy="6350"/>
              </a:xfrm>
              <a:custGeom>
                <a:avLst/>
                <a:gdLst>
                  <a:gd name="T0" fmla="*/ 3 w 3"/>
                  <a:gd name="T1" fmla="*/ 0 h 4"/>
                  <a:gd name="T2" fmla="*/ 0 w 3"/>
                  <a:gd name="T3" fmla="*/ 1 h 4"/>
                  <a:gd name="T4" fmla="*/ 3 w 3"/>
                  <a:gd name="T5" fmla="*/ 4 h 4"/>
                  <a:gd name="T6" fmla="*/ 3 w 3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3" y="0"/>
                    </a:moveTo>
                    <a:lnTo>
                      <a:pt x="0" y="1"/>
                    </a:lnTo>
                    <a:lnTo>
                      <a:pt x="3" y="4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6" name="Freeform 1340">
                <a:extLst>
                  <a:ext uri="{FF2B5EF4-FFF2-40B4-BE49-F238E27FC236}">
                    <a16:creationId xmlns:a16="http://schemas.microsoft.com/office/drawing/2014/main" id="{BC6CCB1B-65CD-4016-8AC5-9F107F0C9F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6713" y="5916613"/>
                <a:ext cx="19050" cy="30163"/>
              </a:xfrm>
              <a:custGeom>
                <a:avLst/>
                <a:gdLst>
                  <a:gd name="T0" fmla="*/ 7 w 12"/>
                  <a:gd name="T1" fmla="*/ 19 h 19"/>
                  <a:gd name="T2" fmla="*/ 9 w 12"/>
                  <a:gd name="T3" fmla="*/ 18 h 19"/>
                  <a:gd name="T4" fmla="*/ 12 w 12"/>
                  <a:gd name="T5" fmla="*/ 19 h 19"/>
                  <a:gd name="T6" fmla="*/ 11 w 12"/>
                  <a:gd name="T7" fmla="*/ 13 h 19"/>
                  <a:gd name="T8" fmla="*/ 8 w 12"/>
                  <a:gd name="T9" fmla="*/ 10 h 19"/>
                  <a:gd name="T10" fmla="*/ 8 w 12"/>
                  <a:gd name="T11" fmla="*/ 7 h 19"/>
                  <a:gd name="T12" fmla="*/ 5 w 12"/>
                  <a:gd name="T13" fmla="*/ 5 h 19"/>
                  <a:gd name="T14" fmla="*/ 5 w 12"/>
                  <a:gd name="T15" fmla="*/ 0 h 19"/>
                  <a:gd name="T16" fmla="*/ 3 w 12"/>
                  <a:gd name="T17" fmla="*/ 2 h 19"/>
                  <a:gd name="T18" fmla="*/ 0 w 12"/>
                  <a:gd name="T19" fmla="*/ 2 h 19"/>
                  <a:gd name="T20" fmla="*/ 0 w 12"/>
                  <a:gd name="T21" fmla="*/ 4 h 19"/>
                  <a:gd name="T22" fmla="*/ 2 w 12"/>
                  <a:gd name="T23" fmla="*/ 7 h 19"/>
                  <a:gd name="T24" fmla="*/ 5 w 12"/>
                  <a:gd name="T25" fmla="*/ 12 h 19"/>
                  <a:gd name="T26" fmla="*/ 6 w 12"/>
                  <a:gd name="T27" fmla="*/ 12 h 19"/>
                  <a:gd name="T28" fmla="*/ 7 w 12"/>
                  <a:gd name="T29" fmla="*/ 13 h 19"/>
                  <a:gd name="T30" fmla="*/ 6 w 12"/>
                  <a:gd name="T31" fmla="*/ 15 h 19"/>
                  <a:gd name="T32" fmla="*/ 7 w 12"/>
                  <a:gd name="T3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19">
                    <a:moveTo>
                      <a:pt x="7" y="19"/>
                    </a:moveTo>
                    <a:lnTo>
                      <a:pt x="9" y="18"/>
                    </a:lnTo>
                    <a:lnTo>
                      <a:pt x="12" y="19"/>
                    </a:lnTo>
                    <a:lnTo>
                      <a:pt x="11" y="13"/>
                    </a:lnTo>
                    <a:lnTo>
                      <a:pt x="8" y="10"/>
                    </a:lnTo>
                    <a:lnTo>
                      <a:pt x="8" y="7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7"/>
                    </a:lnTo>
                    <a:lnTo>
                      <a:pt x="5" y="12"/>
                    </a:lnTo>
                    <a:lnTo>
                      <a:pt x="6" y="12"/>
                    </a:lnTo>
                    <a:lnTo>
                      <a:pt x="7" y="13"/>
                    </a:lnTo>
                    <a:lnTo>
                      <a:pt x="6" y="15"/>
                    </a:lnTo>
                    <a:lnTo>
                      <a:pt x="7" y="1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7" name="Freeform 1341">
                <a:extLst>
                  <a:ext uri="{FF2B5EF4-FFF2-40B4-BE49-F238E27FC236}">
                    <a16:creationId xmlns:a16="http://schemas.microsoft.com/office/drawing/2014/main" id="{5D84CA1E-CA4B-4793-89BB-F06C5025EB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8776" y="5924550"/>
                <a:ext cx="14288" cy="28575"/>
              </a:xfrm>
              <a:custGeom>
                <a:avLst/>
                <a:gdLst>
                  <a:gd name="T0" fmla="*/ 1 w 9"/>
                  <a:gd name="T1" fmla="*/ 0 h 18"/>
                  <a:gd name="T2" fmla="*/ 0 w 9"/>
                  <a:gd name="T3" fmla="*/ 1 h 18"/>
                  <a:gd name="T4" fmla="*/ 0 w 9"/>
                  <a:gd name="T5" fmla="*/ 4 h 18"/>
                  <a:gd name="T6" fmla="*/ 1 w 9"/>
                  <a:gd name="T7" fmla="*/ 7 h 18"/>
                  <a:gd name="T8" fmla="*/ 4 w 9"/>
                  <a:gd name="T9" fmla="*/ 8 h 18"/>
                  <a:gd name="T10" fmla="*/ 5 w 9"/>
                  <a:gd name="T11" fmla="*/ 10 h 18"/>
                  <a:gd name="T12" fmla="*/ 5 w 9"/>
                  <a:gd name="T13" fmla="*/ 11 h 18"/>
                  <a:gd name="T14" fmla="*/ 6 w 9"/>
                  <a:gd name="T15" fmla="*/ 16 h 18"/>
                  <a:gd name="T16" fmla="*/ 9 w 9"/>
                  <a:gd name="T17" fmla="*/ 18 h 18"/>
                  <a:gd name="T18" fmla="*/ 9 w 9"/>
                  <a:gd name="T19" fmla="*/ 16 h 18"/>
                  <a:gd name="T20" fmla="*/ 9 w 9"/>
                  <a:gd name="T21" fmla="*/ 12 h 18"/>
                  <a:gd name="T22" fmla="*/ 7 w 9"/>
                  <a:gd name="T23" fmla="*/ 7 h 18"/>
                  <a:gd name="T24" fmla="*/ 3 w 9"/>
                  <a:gd name="T25" fmla="*/ 0 h 18"/>
                  <a:gd name="T26" fmla="*/ 1 w 9"/>
                  <a:gd name="T2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18">
                    <a:moveTo>
                      <a:pt x="1" y="0"/>
                    </a:moveTo>
                    <a:lnTo>
                      <a:pt x="0" y="1"/>
                    </a:lnTo>
                    <a:lnTo>
                      <a:pt x="0" y="4"/>
                    </a:lnTo>
                    <a:lnTo>
                      <a:pt x="1" y="7"/>
                    </a:lnTo>
                    <a:lnTo>
                      <a:pt x="4" y="8"/>
                    </a:lnTo>
                    <a:lnTo>
                      <a:pt x="5" y="10"/>
                    </a:lnTo>
                    <a:lnTo>
                      <a:pt x="5" y="11"/>
                    </a:lnTo>
                    <a:lnTo>
                      <a:pt x="6" y="16"/>
                    </a:lnTo>
                    <a:lnTo>
                      <a:pt x="9" y="18"/>
                    </a:lnTo>
                    <a:lnTo>
                      <a:pt x="9" y="16"/>
                    </a:lnTo>
                    <a:lnTo>
                      <a:pt x="9" y="12"/>
                    </a:lnTo>
                    <a:lnTo>
                      <a:pt x="7" y="7"/>
                    </a:lnTo>
                    <a:lnTo>
                      <a:pt x="3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8" name="Freeform 1342">
                <a:extLst>
                  <a:ext uri="{FF2B5EF4-FFF2-40B4-BE49-F238E27FC236}">
                    <a16:creationId xmlns:a16="http://schemas.microsoft.com/office/drawing/2014/main" id="{89EDBCD3-F148-4F20-B1AB-590FF2693D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7351" y="6021388"/>
                <a:ext cx="1588" cy="7938"/>
              </a:xfrm>
              <a:custGeom>
                <a:avLst/>
                <a:gdLst>
                  <a:gd name="T0" fmla="*/ 1 w 1"/>
                  <a:gd name="T1" fmla="*/ 5 h 5"/>
                  <a:gd name="T2" fmla="*/ 1 w 1"/>
                  <a:gd name="T3" fmla="*/ 2 h 5"/>
                  <a:gd name="T4" fmla="*/ 1 w 1"/>
                  <a:gd name="T5" fmla="*/ 0 h 5"/>
                  <a:gd name="T6" fmla="*/ 0 w 1"/>
                  <a:gd name="T7" fmla="*/ 2 h 5"/>
                  <a:gd name="T8" fmla="*/ 1 w 1"/>
                  <a:gd name="T9" fmla="*/ 5 h 5"/>
                  <a:gd name="T10" fmla="*/ 1 w 1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5">
                    <a:moveTo>
                      <a:pt x="1" y="5"/>
                    </a:moveTo>
                    <a:lnTo>
                      <a:pt x="1" y="2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1" y="5"/>
                    </a:lnTo>
                    <a:lnTo>
                      <a:pt x="1" y="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9" name="Freeform 1343">
                <a:extLst>
                  <a:ext uri="{FF2B5EF4-FFF2-40B4-BE49-F238E27FC236}">
                    <a16:creationId xmlns:a16="http://schemas.microsoft.com/office/drawing/2014/main" id="{B5F42F98-F053-4F9E-83DC-21D2EB1D4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3863" y="6134100"/>
                <a:ext cx="4763" cy="4763"/>
              </a:xfrm>
              <a:custGeom>
                <a:avLst/>
                <a:gdLst>
                  <a:gd name="T0" fmla="*/ 1 w 4"/>
                  <a:gd name="T1" fmla="*/ 0 h 3"/>
                  <a:gd name="T2" fmla="*/ 0 w 4"/>
                  <a:gd name="T3" fmla="*/ 1 h 3"/>
                  <a:gd name="T4" fmla="*/ 4 w 4"/>
                  <a:gd name="T5" fmla="*/ 3 h 3"/>
                  <a:gd name="T6" fmla="*/ 1 w 4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0" name="Freeform 1344">
                <a:extLst>
                  <a:ext uri="{FF2B5EF4-FFF2-40B4-BE49-F238E27FC236}">
                    <a16:creationId xmlns:a16="http://schemas.microsoft.com/office/drawing/2014/main" id="{526FAB80-1EA7-464D-8EE1-197F9D812C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2751" y="6059488"/>
                <a:ext cx="9525" cy="14288"/>
              </a:xfrm>
              <a:custGeom>
                <a:avLst/>
                <a:gdLst>
                  <a:gd name="T0" fmla="*/ 3 w 6"/>
                  <a:gd name="T1" fmla="*/ 4 h 9"/>
                  <a:gd name="T2" fmla="*/ 1 w 6"/>
                  <a:gd name="T3" fmla="*/ 0 h 9"/>
                  <a:gd name="T4" fmla="*/ 0 w 6"/>
                  <a:gd name="T5" fmla="*/ 0 h 9"/>
                  <a:gd name="T6" fmla="*/ 0 w 6"/>
                  <a:gd name="T7" fmla="*/ 5 h 9"/>
                  <a:gd name="T8" fmla="*/ 2 w 6"/>
                  <a:gd name="T9" fmla="*/ 7 h 9"/>
                  <a:gd name="T10" fmla="*/ 5 w 6"/>
                  <a:gd name="T11" fmla="*/ 9 h 9"/>
                  <a:gd name="T12" fmla="*/ 6 w 6"/>
                  <a:gd name="T13" fmla="*/ 9 h 9"/>
                  <a:gd name="T14" fmla="*/ 5 w 6"/>
                  <a:gd name="T15" fmla="*/ 7 h 9"/>
                  <a:gd name="T16" fmla="*/ 3 w 6"/>
                  <a:gd name="T17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9">
                    <a:moveTo>
                      <a:pt x="3" y="4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2" y="7"/>
                    </a:lnTo>
                    <a:lnTo>
                      <a:pt x="5" y="9"/>
                    </a:lnTo>
                    <a:lnTo>
                      <a:pt x="6" y="9"/>
                    </a:lnTo>
                    <a:lnTo>
                      <a:pt x="5" y="7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" name="Freeform 1345">
                <a:extLst>
                  <a:ext uri="{FF2B5EF4-FFF2-40B4-BE49-F238E27FC236}">
                    <a16:creationId xmlns:a16="http://schemas.microsoft.com/office/drawing/2014/main" id="{288EAEDB-948B-43EE-B873-FE8744ED8E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6563" y="6134100"/>
                <a:ext cx="36513" cy="28575"/>
              </a:xfrm>
              <a:custGeom>
                <a:avLst/>
                <a:gdLst>
                  <a:gd name="T0" fmla="*/ 23 w 23"/>
                  <a:gd name="T1" fmla="*/ 10 h 18"/>
                  <a:gd name="T2" fmla="*/ 22 w 23"/>
                  <a:gd name="T3" fmla="*/ 7 h 18"/>
                  <a:gd name="T4" fmla="*/ 21 w 23"/>
                  <a:gd name="T5" fmla="*/ 6 h 18"/>
                  <a:gd name="T6" fmla="*/ 18 w 23"/>
                  <a:gd name="T7" fmla="*/ 7 h 18"/>
                  <a:gd name="T8" fmla="*/ 17 w 23"/>
                  <a:gd name="T9" fmla="*/ 5 h 18"/>
                  <a:gd name="T10" fmla="*/ 15 w 23"/>
                  <a:gd name="T11" fmla="*/ 4 h 18"/>
                  <a:gd name="T12" fmla="*/ 12 w 23"/>
                  <a:gd name="T13" fmla="*/ 1 h 18"/>
                  <a:gd name="T14" fmla="*/ 8 w 23"/>
                  <a:gd name="T15" fmla="*/ 1 h 18"/>
                  <a:gd name="T16" fmla="*/ 6 w 23"/>
                  <a:gd name="T17" fmla="*/ 3 h 18"/>
                  <a:gd name="T18" fmla="*/ 5 w 23"/>
                  <a:gd name="T19" fmla="*/ 2 h 18"/>
                  <a:gd name="T20" fmla="*/ 3 w 23"/>
                  <a:gd name="T21" fmla="*/ 0 h 18"/>
                  <a:gd name="T22" fmla="*/ 1 w 23"/>
                  <a:gd name="T23" fmla="*/ 0 h 18"/>
                  <a:gd name="T24" fmla="*/ 0 w 23"/>
                  <a:gd name="T25" fmla="*/ 2 h 18"/>
                  <a:gd name="T26" fmla="*/ 0 w 23"/>
                  <a:gd name="T27" fmla="*/ 3 h 18"/>
                  <a:gd name="T28" fmla="*/ 3 w 23"/>
                  <a:gd name="T29" fmla="*/ 5 h 18"/>
                  <a:gd name="T30" fmla="*/ 4 w 23"/>
                  <a:gd name="T31" fmla="*/ 8 h 18"/>
                  <a:gd name="T32" fmla="*/ 6 w 23"/>
                  <a:gd name="T33" fmla="*/ 9 h 18"/>
                  <a:gd name="T34" fmla="*/ 9 w 23"/>
                  <a:gd name="T35" fmla="*/ 13 h 18"/>
                  <a:gd name="T36" fmla="*/ 12 w 23"/>
                  <a:gd name="T37" fmla="*/ 13 h 18"/>
                  <a:gd name="T38" fmla="*/ 15 w 23"/>
                  <a:gd name="T39" fmla="*/ 13 h 18"/>
                  <a:gd name="T40" fmla="*/ 16 w 23"/>
                  <a:gd name="T41" fmla="*/ 13 h 18"/>
                  <a:gd name="T42" fmla="*/ 16 w 23"/>
                  <a:gd name="T43" fmla="*/ 16 h 18"/>
                  <a:gd name="T44" fmla="*/ 18 w 23"/>
                  <a:gd name="T45" fmla="*/ 18 h 18"/>
                  <a:gd name="T46" fmla="*/ 20 w 23"/>
                  <a:gd name="T47" fmla="*/ 17 h 18"/>
                  <a:gd name="T48" fmla="*/ 19 w 23"/>
                  <a:gd name="T49" fmla="*/ 15 h 18"/>
                  <a:gd name="T50" fmla="*/ 22 w 23"/>
                  <a:gd name="T51" fmla="*/ 13 h 18"/>
                  <a:gd name="T52" fmla="*/ 21 w 23"/>
                  <a:gd name="T53" fmla="*/ 11 h 18"/>
                  <a:gd name="T54" fmla="*/ 20 w 23"/>
                  <a:gd name="T55" fmla="*/ 10 h 18"/>
                  <a:gd name="T56" fmla="*/ 22 w 23"/>
                  <a:gd name="T57" fmla="*/ 10 h 18"/>
                  <a:gd name="T58" fmla="*/ 23 w 23"/>
                  <a:gd name="T59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3" h="18">
                    <a:moveTo>
                      <a:pt x="23" y="10"/>
                    </a:moveTo>
                    <a:lnTo>
                      <a:pt x="22" y="7"/>
                    </a:lnTo>
                    <a:lnTo>
                      <a:pt x="21" y="6"/>
                    </a:lnTo>
                    <a:lnTo>
                      <a:pt x="18" y="7"/>
                    </a:lnTo>
                    <a:lnTo>
                      <a:pt x="17" y="5"/>
                    </a:lnTo>
                    <a:lnTo>
                      <a:pt x="15" y="4"/>
                    </a:lnTo>
                    <a:lnTo>
                      <a:pt x="12" y="1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5" y="2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4" y="8"/>
                    </a:lnTo>
                    <a:lnTo>
                      <a:pt x="6" y="9"/>
                    </a:lnTo>
                    <a:lnTo>
                      <a:pt x="9" y="13"/>
                    </a:lnTo>
                    <a:lnTo>
                      <a:pt x="12" y="13"/>
                    </a:lnTo>
                    <a:lnTo>
                      <a:pt x="15" y="13"/>
                    </a:lnTo>
                    <a:lnTo>
                      <a:pt x="16" y="13"/>
                    </a:lnTo>
                    <a:lnTo>
                      <a:pt x="16" y="16"/>
                    </a:lnTo>
                    <a:lnTo>
                      <a:pt x="18" y="18"/>
                    </a:lnTo>
                    <a:lnTo>
                      <a:pt x="20" y="17"/>
                    </a:lnTo>
                    <a:lnTo>
                      <a:pt x="19" y="15"/>
                    </a:lnTo>
                    <a:lnTo>
                      <a:pt x="22" y="13"/>
                    </a:lnTo>
                    <a:lnTo>
                      <a:pt x="21" y="11"/>
                    </a:lnTo>
                    <a:lnTo>
                      <a:pt x="20" y="10"/>
                    </a:lnTo>
                    <a:lnTo>
                      <a:pt x="22" y="10"/>
                    </a:lnTo>
                    <a:lnTo>
                      <a:pt x="23" y="1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2" name="Freeform 1346">
                <a:extLst>
                  <a:ext uri="{FF2B5EF4-FFF2-40B4-BE49-F238E27FC236}">
                    <a16:creationId xmlns:a16="http://schemas.microsoft.com/office/drawing/2014/main" id="{62416E09-A17D-431C-8653-12C2077F47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7513" y="6076950"/>
                <a:ext cx="4763" cy="6350"/>
              </a:xfrm>
              <a:custGeom>
                <a:avLst/>
                <a:gdLst>
                  <a:gd name="T0" fmla="*/ 3 w 3"/>
                  <a:gd name="T1" fmla="*/ 3 h 4"/>
                  <a:gd name="T2" fmla="*/ 2 w 3"/>
                  <a:gd name="T3" fmla="*/ 1 h 4"/>
                  <a:gd name="T4" fmla="*/ 0 w 3"/>
                  <a:gd name="T5" fmla="*/ 0 h 4"/>
                  <a:gd name="T6" fmla="*/ 0 w 3"/>
                  <a:gd name="T7" fmla="*/ 1 h 4"/>
                  <a:gd name="T8" fmla="*/ 1 w 3"/>
                  <a:gd name="T9" fmla="*/ 4 h 4"/>
                  <a:gd name="T10" fmla="*/ 3 w 3"/>
                  <a:gd name="T1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4">
                    <a:moveTo>
                      <a:pt x="3" y="3"/>
                    </a:moveTo>
                    <a:lnTo>
                      <a:pt x="2" y="1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1" y="4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3" name="Freeform 1347">
                <a:extLst>
                  <a:ext uri="{FF2B5EF4-FFF2-40B4-BE49-F238E27FC236}">
                    <a16:creationId xmlns:a16="http://schemas.microsoft.com/office/drawing/2014/main" id="{E685B6C3-F6D6-4313-BF3D-A95A51B4EC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5613" y="6154738"/>
                <a:ext cx="4763" cy="6350"/>
              </a:xfrm>
              <a:custGeom>
                <a:avLst/>
                <a:gdLst>
                  <a:gd name="T0" fmla="*/ 0 w 3"/>
                  <a:gd name="T1" fmla="*/ 2 h 4"/>
                  <a:gd name="T2" fmla="*/ 0 w 3"/>
                  <a:gd name="T3" fmla="*/ 3 h 4"/>
                  <a:gd name="T4" fmla="*/ 2 w 3"/>
                  <a:gd name="T5" fmla="*/ 4 h 4"/>
                  <a:gd name="T6" fmla="*/ 3 w 3"/>
                  <a:gd name="T7" fmla="*/ 2 h 4"/>
                  <a:gd name="T8" fmla="*/ 1 w 3"/>
                  <a:gd name="T9" fmla="*/ 0 h 4"/>
                  <a:gd name="T10" fmla="*/ 0 w 3"/>
                  <a:gd name="T1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4">
                    <a:moveTo>
                      <a:pt x="0" y="2"/>
                    </a:moveTo>
                    <a:lnTo>
                      <a:pt x="0" y="3"/>
                    </a:lnTo>
                    <a:lnTo>
                      <a:pt x="2" y="4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4" name="Freeform 1348">
                <a:extLst>
                  <a:ext uri="{FF2B5EF4-FFF2-40B4-BE49-F238E27FC236}">
                    <a16:creationId xmlns:a16="http://schemas.microsoft.com/office/drawing/2014/main" id="{1811B956-1A3F-4828-BA2C-1E9B32F112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1163" y="6108700"/>
                <a:ext cx="38100" cy="25400"/>
              </a:xfrm>
              <a:custGeom>
                <a:avLst/>
                <a:gdLst>
                  <a:gd name="T0" fmla="*/ 21 w 24"/>
                  <a:gd name="T1" fmla="*/ 16 h 16"/>
                  <a:gd name="T2" fmla="*/ 24 w 24"/>
                  <a:gd name="T3" fmla="*/ 16 h 16"/>
                  <a:gd name="T4" fmla="*/ 24 w 24"/>
                  <a:gd name="T5" fmla="*/ 15 h 16"/>
                  <a:gd name="T6" fmla="*/ 24 w 24"/>
                  <a:gd name="T7" fmla="*/ 14 h 16"/>
                  <a:gd name="T8" fmla="*/ 22 w 24"/>
                  <a:gd name="T9" fmla="*/ 13 h 16"/>
                  <a:gd name="T10" fmla="*/ 20 w 24"/>
                  <a:gd name="T11" fmla="*/ 11 h 16"/>
                  <a:gd name="T12" fmla="*/ 18 w 24"/>
                  <a:gd name="T13" fmla="*/ 9 h 16"/>
                  <a:gd name="T14" fmla="*/ 15 w 24"/>
                  <a:gd name="T15" fmla="*/ 9 h 16"/>
                  <a:gd name="T16" fmla="*/ 13 w 24"/>
                  <a:gd name="T17" fmla="*/ 8 h 16"/>
                  <a:gd name="T18" fmla="*/ 11 w 24"/>
                  <a:gd name="T19" fmla="*/ 7 h 16"/>
                  <a:gd name="T20" fmla="*/ 8 w 24"/>
                  <a:gd name="T21" fmla="*/ 7 h 16"/>
                  <a:gd name="T22" fmla="*/ 6 w 24"/>
                  <a:gd name="T23" fmla="*/ 5 h 16"/>
                  <a:gd name="T24" fmla="*/ 3 w 24"/>
                  <a:gd name="T25" fmla="*/ 1 h 16"/>
                  <a:gd name="T26" fmla="*/ 1 w 24"/>
                  <a:gd name="T27" fmla="*/ 0 h 16"/>
                  <a:gd name="T28" fmla="*/ 0 w 24"/>
                  <a:gd name="T29" fmla="*/ 2 h 16"/>
                  <a:gd name="T30" fmla="*/ 1 w 24"/>
                  <a:gd name="T31" fmla="*/ 5 h 16"/>
                  <a:gd name="T32" fmla="*/ 3 w 24"/>
                  <a:gd name="T33" fmla="*/ 9 h 16"/>
                  <a:gd name="T34" fmla="*/ 6 w 24"/>
                  <a:gd name="T35" fmla="*/ 9 h 16"/>
                  <a:gd name="T36" fmla="*/ 10 w 24"/>
                  <a:gd name="T37" fmla="*/ 12 h 16"/>
                  <a:gd name="T38" fmla="*/ 11 w 24"/>
                  <a:gd name="T39" fmla="*/ 14 h 16"/>
                  <a:gd name="T40" fmla="*/ 14 w 24"/>
                  <a:gd name="T41" fmla="*/ 14 h 16"/>
                  <a:gd name="T42" fmla="*/ 14 w 24"/>
                  <a:gd name="T43" fmla="*/ 13 h 16"/>
                  <a:gd name="T44" fmla="*/ 18 w 24"/>
                  <a:gd name="T45" fmla="*/ 15 h 16"/>
                  <a:gd name="T46" fmla="*/ 21 w 24"/>
                  <a:gd name="T4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" h="16">
                    <a:moveTo>
                      <a:pt x="21" y="16"/>
                    </a:moveTo>
                    <a:lnTo>
                      <a:pt x="24" y="16"/>
                    </a:lnTo>
                    <a:lnTo>
                      <a:pt x="24" y="15"/>
                    </a:lnTo>
                    <a:lnTo>
                      <a:pt x="24" y="14"/>
                    </a:lnTo>
                    <a:lnTo>
                      <a:pt x="22" y="13"/>
                    </a:lnTo>
                    <a:lnTo>
                      <a:pt x="20" y="11"/>
                    </a:lnTo>
                    <a:lnTo>
                      <a:pt x="18" y="9"/>
                    </a:lnTo>
                    <a:lnTo>
                      <a:pt x="15" y="9"/>
                    </a:lnTo>
                    <a:lnTo>
                      <a:pt x="13" y="8"/>
                    </a:lnTo>
                    <a:lnTo>
                      <a:pt x="11" y="7"/>
                    </a:lnTo>
                    <a:lnTo>
                      <a:pt x="8" y="7"/>
                    </a:lnTo>
                    <a:lnTo>
                      <a:pt x="6" y="5"/>
                    </a:lnTo>
                    <a:lnTo>
                      <a:pt x="3" y="1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1" y="5"/>
                    </a:lnTo>
                    <a:lnTo>
                      <a:pt x="3" y="9"/>
                    </a:lnTo>
                    <a:lnTo>
                      <a:pt x="6" y="9"/>
                    </a:lnTo>
                    <a:lnTo>
                      <a:pt x="10" y="12"/>
                    </a:lnTo>
                    <a:lnTo>
                      <a:pt x="11" y="14"/>
                    </a:lnTo>
                    <a:lnTo>
                      <a:pt x="14" y="14"/>
                    </a:lnTo>
                    <a:lnTo>
                      <a:pt x="14" y="13"/>
                    </a:lnTo>
                    <a:lnTo>
                      <a:pt x="18" y="15"/>
                    </a:lnTo>
                    <a:lnTo>
                      <a:pt x="21" y="1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5" name="Freeform 1349">
                <a:extLst>
                  <a:ext uri="{FF2B5EF4-FFF2-40B4-BE49-F238E27FC236}">
                    <a16:creationId xmlns:a16="http://schemas.microsoft.com/office/drawing/2014/main" id="{FA8F2234-30D0-4A94-A06B-B2BFF8F247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4813" y="6078538"/>
                <a:ext cx="4763" cy="11113"/>
              </a:xfrm>
              <a:custGeom>
                <a:avLst/>
                <a:gdLst>
                  <a:gd name="T0" fmla="*/ 1 w 3"/>
                  <a:gd name="T1" fmla="*/ 1 h 7"/>
                  <a:gd name="T2" fmla="*/ 1 w 3"/>
                  <a:gd name="T3" fmla="*/ 4 h 7"/>
                  <a:gd name="T4" fmla="*/ 0 w 3"/>
                  <a:gd name="T5" fmla="*/ 6 h 7"/>
                  <a:gd name="T6" fmla="*/ 1 w 3"/>
                  <a:gd name="T7" fmla="*/ 7 h 7"/>
                  <a:gd name="T8" fmla="*/ 2 w 3"/>
                  <a:gd name="T9" fmla="*/ 6 h 7"/>
                  <a:gd name="T10" fmla="*/ 3 w 3"/>
                  <a:gd name="T11" fmla="*/ 2 h 7"/>
                  <a:gd name="T12" fmla="*/ 2 w 3"/>
                  <a:gd name="T13" fmla="*/ 0 h 7"/>
                  <a:gd name="T14" fmla="*/ 1 w 3"/>
                  <a:gd name="T1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7">
                    <a:moveTo>
                      <a:pt x="1" y="1"/>
                    </a:moveTo>
                    <a:lnTo>
                      <a:pt x="1" y="4"/>
                    </a:lnTo>
                    <a:lnTo>
                      <a:pt x="0" y="6"/>
                    </a:lnTo>
                    <a:lnTo>
                      <a:pt x="1" y="7"/>
                    </a:lnTo>
                    <a:lnTo>
                      <a:pt x="2" y="6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1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6" name="Freeform 1350">
                <a:extLst>
                  <a:ext uri="{FF2B5EF4-FFF2-40B4-BE49-F238E27FC236}">
                    <a16:creationId xmlns:a16="http://schemas.microsoft.com/office/drawing/2014/main" id="{4FF09429-54B6-496D-91F0-6A2FBF512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9576" y="6070600"/>
                <a:ext cx="6350" cy="6350"/>
              </a:xfrm>
              <a:custGeom>
                <a:avLst/>
                <a:gdLst>
                  <a:gd name="T0" fmla="*/ 4 w 4"/>
                  <a:gd name="T1" fmla="*/ 3 h 4"/>
                  <a:gd name="T2" fmla="*/ 3 w 4"/>
                  <a:gd name="T3" fmla="*/ 2 h 4"/>
                  <a:gd name="T4" fmla="*/ 0 w 4"/>
                  <a:gd name="T5" fmla="*/ 0 h 4"/>
                  <a:gd name="T6" fmla="*/ 1 w 4"/>
                  <a:gd name="T7" fmla="*/ 2 h 4"/>
                  <a:gd name="T8" fmla="*/ 3 w 4"/>
                  <a:gd name="T9" fmla="*/ 4 h 4"/>
                  <a:gd name="T10" fmla="*/ 4 w 4"/>
                  <a:gd name="T1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4" y="3"/>
                    </a:moveTo>
                    <a:lnTo>
                      <a:pt x="3" y="2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3" y="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7" name="Freeform 1351">
                <a:extLst>
                  <a:ext uri="{FF2B5EF4-FFF2-40B4-BE49-F238E27FC236}">
                    <a16:creationId xmlns:a16="http://schemas.microsoft.com/office/drawing/2014/main" id="{9245D2A5-28C1-4BE2-A048-8A483B0545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5926" y="6081713"/>
                <a:ext cx="7938" cy="11113"/>
              </a:xfrm>
              <a:custGeom>
                <a:avLst/>
                <a:gdLst>
                  <a:gd name="T0" fmla="*/ 0 w 5"/>
                  <a:gd name="T1" fmla="*/ 1 h 7"/>
                  <a:gd name="T2" fmla="*/ 1 w 5"/>
                  <a:gd name="T3" fmla="*/ 3 h 7"/>
                  <a:gd name="T4" fmla="*/ 4 w 5"/>
                  <a:gd name="T5" fmla="*/ 7 h 7"/>
                  <a:gd name="T6" fmla="*/ 5 w 5"/>
                  <a:gd name="T7" fmla="*/ 6 h 7"/>
                  <a:gd name="T8" fmla="*/ 5 w 5"/>
                  <a:gd name="T9" fmla="*/ 4 h 7"/>
                  <a:gd name="T10" fmla="*/ 1 w 5"/>
                  <a:gd name="T11" fmla="*/ 0 h 7"/>
                  <a:gd name="T12" fmla="*/ 0 w 5"/>
                  <a:gd name="T13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7">
                    <a:moveTo>
                      <a:pt x="0" y="1"/>
                    </a:moveTo>
                    <a:lnTo>
                      <a:pt x="1" y="3"/>
                    </a:lnTo>
                    <a:lnTo>
                      <a:pt x="4" y="7"/>
                    </a:lnTo>
                    <a:lnTo>
                      <a:pt x="5" y="6"/>
                    </a:lnTo>
                    <a:lnTo>
                      <a:pt x="5" y="4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8" name="Freeform 1352">
                <a:extLst>
                  <a:ext uri="{FF2B5EF4-FFF2-40B4-BE49-F238E27FC236}">
                    <a16:creationId xmlns:a16="http://schemas.microsoft.com/office/drawing/2014/main" id="{41D593C0-C216-4E3F-8AEE-4B8947B506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5926" y="6094413"/>
                <a:ext cx="12700" cy="11113"/>
              </a:xfrm>
              <a:custGeom>
                <a:avLst/>
                <a:gdLst>
                  <a:gd name="T0" fmla="*/ 2 w 8"/>
                  <a:gd name="T1" fmla="*/ 0 h 7"/>
                  <a:gd name="T2" fmla="*/ 0 w 8"/>
                  <a:gd name="T3" fmla="*/ 2 h 7"/>
                  <a:gd name="T4" fmla="*/ 1 w 8"/>
                  <a:gd name="T5" fmla="*/ 3 h 7"/>
                  <a:gd name="T6" fmla="*/ 4 w 8"/>
                  <a:gd name="T7" fmla="*/ 3 h 7"/>
                  <a:gd name="T8" fmla="*/ 4 w 8"/>
                  <a:gd name="T9" fmla="*/ 4 h 7"/>
                  <a:gd name="T10" fmla="*/ 6 w 8"/>
                  <a:gd name="T11" fmla="*/ 6 h 7"/>
                  <a:gd name="T12" fmla="*/ 7 w 8"/>
                  <a:gd name="T13" fmla="*/ 7 h 7"/>
                  <a:gd name="T14" fmla="*/ 8 w 8"/>
                  <a:gd name="T15" fmla="*/ 4 h 7"/>
                  <a:gd name="T16" fmla="*/ 8 w 8"/>
                  <a:gd name="T17" fmla="*/ 0 h 7"/>
                  <a:gd name="T18" fmla="*/ 4 w 8"/>
                  <a:gd name="T19" fmla="*/ 1 h 7"/>
                  <a:gd name="T20" fmla="*/ 2 w 8"/>
                  <a:gd name="T2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7">
                    <a:moveTo>
                      <a:pt x="2" y="0"/>
                    </a:moveTo>
                    <a:lnTo>
                      <a:pt x="0" y="2"/>
                    </a:lnTo>
                    <a:lnTo>
                      <a:pt x="1" y="3"/>
                    </a:lnTo>
                    <a:lnTo>
                      <a:pt x="4" y="3"/>
                    </a:lnTo>
                    <a:lnTo>
                      <a:pt x="4" y="4"/>
                    </a:lnTo>
                    <a:lnTo>
                      <a:pt x="6" y="6"/>
                    </a:lnTo>
                    <a:lnTo>
                      <a:pt x="7" y="7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1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9" name="Freeform 1353">
                <a:extLst>
                  <a:ext uri="{FF2B5EF4-FFF2-40B4-BE49-F238E27FC236}">
                    <a16:creationId xmlns:a16="http://schemas.microsoft.com/office/drawing/2014/main" id="{DBC7D52A-11CF-43C7-A966-730E96FF38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6263" y="6216650"/>
                <a:ext cx="4763" cy="4763"/>
              </a:xfrm>
              <a:custGeom>
                <a:avLst/>
                <a:gdLst>
                  <a:gd name="T0" fmla="*/ 0 w 4"/>
                  <a:gd name="T1" fmla="*/ 2 h 3"/>
                  <a:gd name="T2" fmla="*/ 2 w 4"/>
                  <a:gd name="T3" fmla="*/ 3 h 3"/>
                  <a:gd name="T4" fmla="*/ 4 w 4"/>
                  <a:gd name="T5" fmla="*/ 0 h 3"/>
                  <a:gd name="T6" fmla="*/ 2 w 4"/>
                  <a:gd name="T7" fmla="*/ 0 h 3"/>
                  <a:gd name="T8" fmla="*/ 0 w 4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0" y="2"/>
                    </a:moveTo>
                    <a:cubicBezTo>
                      <a:pt x="2" y="3"/>
                      <a:pt x="2" y="3"/>
                      <a:pt x="2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0" name="Freeform 1354">
                <a:extLst>
                  <a:ext uri="{FF2B5EF4-FFF2-40B4-BE49-F238E27FC236}">
                    <a16:creationId xmlns:a16="http://schemas.microsoft.com/office/drawing/2014/main" id="{7C4928A4-EB38-4915-9963-F4F5D869D4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1488" y="6159500"/>
                <a:ext cx="6350" cy="6350"/>
              </a:xfrm>
              <a:custGeom>
                <a:avLst/>
                <a:gdLst>
                  <a:gd name="T0" fmla="*/ 1 w 4"/>
                  <a:gd name="T1" fmla="*/ 0 h 4"/>
                  <a:gd name="T2" fmla="*/ 0 w 4"/>
                  <a:gd name="T3" fmla="*/ 2 h 4"/>
                  <a:gd name="T4" fmla="*/ 0 w 4"/>
                  <a:gd name="T5" fmla="*/ 4 h 4"/>
                  <a:gd name="T6" fmla="*/ 1 w 4"/>
                  <a:gd name="T7" fmla="*/ 4 h 4"/>
                  <a:gd name="T8" fmla="*/ 3 w 4"/>
                  <a:gd name="T9" fmla="*/ 1 h 4"/>
                  <a:gd name="T10" fmla="*/ 4 w 4"/>
                  <a:gd name="T11" fmla="*/ 1 h 4"/>
                  <a:gd name="T12" fmla="*/ 2 w 4"/>
                  <a:gd name="T13" fmla="*/ 0 h 4"/>
                  <a:gd name="T14" fmla="*/ 1 w 4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1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3" y="1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1" name="Freeform 1355">
                <a:extLst>
                  <a:ext uri="{FF2B5EF4-FFF2-40B4-BE49-F238E27FC236}">
                    <a16:creationId xmlns:a16="http://schemas.microsoft.com/office/drawing/2014/main" id="{100FEA30-1559-40CD-9F43-F61627311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2613" y="6207125"/>
                <a:ext cx="4763" cy="9525"/>
              </a:xfrm>
              <a:custGeom>
                <a:avLst/>
                <a:gdLst>
                  <a:gd name="T0" fmla="*/ 0 w 3"/>
                  <a:gd name="T1" fmla="*/ 0 h 6"/>
                  <a:gd name="T2" fmla="*/ 1 w 3"/>
                  <a:gd name="T3" fmla="*/ 2 h 6"/>
                  <a:gd name="T4" fmla="*/ 0 w 3"/>
                  <a:gd name="T5" fmla="*/ 4 h 6"/>
                  <a:gd name="T6" fmla="*/ 0 w 3"/>
                  <a:gd name="T7" fmla="*/ 6 h 6"/>
                  <a:gd name="T8" fmla="*/ 3 w 3"/>
                  <a:gd name="T9" fmla="*/ 6 h 6"/>
                  <a:gd name="T10" fmla="*/ 3 w 3"/>
                  <a:gd name="T11" fmla="*/ 3 h 6"/>
                  <a:gd name="T12" fmla="*/ 2 w 3"/>
                  <a:gd name="T13" fmla="*/ 1 h 6"/>
                  <a:gd name="T14" fmla="*/ 0 w 3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6">
                    <a:moveTo>
                      <a:pt x="0" y="0"/>
                    </a:moveTo>
                    <a:lnTo>
                      <a:pt x="1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2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2" name="Freeform 1356">
                <a:extLst>
                  <a:ext uri="{FF2B5EF4-FFF2-40B4-BE49-F238E27FC236}">
                    <a16:creationId xmlns:a16="http://schemas.microsoft.com/office/drawing/2014/main" id="{68B2B8BA-81E8-4AAA-8FA6-825AE6D56F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2601" y="6156325"/>
                <a:ext cx="68263" cy="46038"/>
              </a:xfrm>
              <a:custGeom>
                <a:avLst/>
                <a:gdLst>
                  <a:gd name="T0" fmla="*/ 38 w 43"/>
                  <a:gd name="T1" fmla="*/ 6 h 29"/>
                  <a:gd name="T2" fmla="*/ 26 w 43"/>
                  <a:gd name="T3" fmla="*/ 2 h 29"/>
                  <a:gd name="T4" fmla="*/ 22 w 43"/>
                  <a:gd name="T5" fmla="*/ 2 h 29"/>
                  <a:gd name="T6" fmla="*/ 22 w 43"/>
                  <a:gd name="T7" fmla="*/ 5 h 29"/>
                  <a:gd name="T8" fmla="*/ 16 w 43"/>
                  <a:gd name="T9" fmla="*/ 2 h 29"/>
                  <a:gd name="T10" fmla="*/ 13 w 43"/>
                  <a:gd name="T11" fmla="*/ 1 h 29"/>
                  <a:gd name="T12" fmla="*/ 20 w 43"/>
                  <a:gd name="T13" fmla="*/ 6 h 29"/>
                  <a:gd name="T14" fmla="*/ 18 w 43"/>
                  <a:gd name="T15" fmla="*/ 7 h 29"/>
                  <a:gd name="T16" fmla="*/ 18 w 43"/>
                  <a:gd name="T17" fmla="*/ 9 h 29"/>
                  <a:gd name="T18" fmla="*/ 16 w 43"/>
                  <a:gd name="T19" fmla="*/ 7 h 29"/>
                  <a:gd name="T20" fmla="*/ 12 w 43"/>
                  <a:gd name="T21" fmla="*/ 6 h 29"/>
                  <a:gd name="T22" fmla="*/ 11 w 43"/>
                  <a:gd name="T23" fmla="*/ 9 h 29"/>
                  <a:gd name="T24" fmla="*/ 5 w 43"/>
                  <a:gd name="T25" fmla="*/ 10 h 29"/>
                  <a:gd name="T26" fmla="*/ 6 w 43"/>
                  <a:gd name="T27" fmla="*/ 12 h 29"/>
                  <a:gd name="T28" fmla="*/ 0 w 43"/>
                  <a:gd name="T29" fmla="*/ 12 h 29"/>
                  <a:gd name="T30" fmla="*/ 4 w 43"/>
                  <a:gd name="T31" fmla="*/ 15 h 29"/>
                  <a:gd name="T32" fmla="*/ 7 w 43"/>
                  <a:gd name="T33" fmla="*/ 13 h 29"/>
                  <a:gd name="T34" fmla="*/ 10 w 43"/>
                  <a:gd name="T35" fmla="*/ 13 h 29"/>
                  <a:gd name="T36" fmla="*/ 14 w 43"/>
                  <a:gd name="T37" fmla="*/ 14 h 29"/>
                  <a:gd name="T38" fmla="*/ 15 w 43"/>
                  <a:gd name="T39" fmla="*/ 18 h 29"/>
                  <a:gd name="T40" fmla="*/ 14 w 43"/>
                  <a:gd name="T41" fmla="*/ 20 h 29"/>
                  <a:gd name="T42" fmla="*/ 15 w 43"/>
                  <a:gd name="T43" fmla="*/ 25 h 29"/>
                  <a:gd name="T44" fmla="*/ 18 w 43"/>
                  <a:gd name="T45" fmla="*/ 26 h 29"/>
                  <a:gd name="T46" fmla="*/ 22 w 43"/>
                  <a:gd name="T47" fmla="*/ 29 h 29"/>
                  <a:gd name="T48" fmla="*/ 21 w 43"/>
                  <a:gd name="T49" fmla="*/ 27 h 29"/>
                  <a:gd name="T50" fmla="*/ 18 w 43"/>
                  <a:gd name="T51" fmla="*/ 23 h 29"/>
                  <a:gd name="T52" fmla="*/ 21 w 43"/>
                  <a:gd name="T53" fmla="*/ 23 h 29"/>
                  <a:gd name="T54" fmla="*/ 23 w 43"/>
                  <a:gd name="T55" fmla="*/ 20 h 29"/>
                  <a:gd name="T56" fmla="*/ 19 w 43"/>
                  <a:gd name="T57" fmla="*/ 19 h 29"/>
                  <a:gd name="T58" fmla="*/ 28 w 43"/>
                  <a:gd name="T59" fmla="*/ 15 h 29"/>
                  <a:gd name="T60" fmla="*/ 40 w 43"/>
                  <a:gd name="T61" fmla="*/ 17 h 29"/>
                  <a:gd name="T62" fmla="*/ 43 w 43"/>
                  <a:gd name="T63" fmla="*/ 15 h 29"/>
                  <a:gd name="T64" fmla="*/ 40 w 43"/>
                  <a:gd name="T65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" h="29">
                    <a:moveTo>
                      <a:pt x="40" y="9"/>
                    </a:moveTo>
                    <a:lnTo>
                      <a:pt x="38" y="6"/>
                    </a:lnTo>
                    <a:lnTo>
                      <a:pt x="33" y="5"/>
                    </a:lnTo>
                    <a:lnTo>
                      <a:pt x="26" y="2"/>
                    </a:lnTo>
                    <a:lnTo>
                      <a:pt x="22" y="0"/>
                    </a:lnTo>
                    <a:lnTo>
                      <a:pt x="22" y="2"/>
                    </a:lnTo>
                    <a:lnTo>
                      <a:pt x="23" y="3"/>
                    </a:lnTo>
                    <a:lnTo>
                      <a:pt x="22" y="5"/>
                    </a:lnTo>
                    <a:lnTo>
                      <a:pt x="21" y="4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3" y="1"/>
                    </a:lnTo>
                    <a:lnTo>
                      <a:pt x="14" y="3"/>
                    </a:lnTo>
                    <a:lnTo>
                      <a:pt x="20" y="6"/>
                    </a:lnTo>
                    <a:lnTo>
                      <a:pt x="21" y="7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8" y="9"/>
                    </a:lnTo>
                    <a:lnTo>
                      <a:pt x="17" y="9"/>
                    </a:lnTo>
                    <a:lnTo>
                      <a:pt x="16" y="7"/>
                    </a:lnTo>
                    <a:lnTo>
                      <a:pt x="13" y="5"/>
                    </a:lnTo>
                    <a:lnTo>
                      <a:pt x="12" y="6"/>
                    </a:lnTo>
                    <a:lnTo>
                      <a:pt x="12" y="8"/>
                    </a:lnTo>
                    <a:lnTo>
                      <a:pt x="11" y="9"/>
                    </a:lnTo>
                    <a:lnTo>
                      <a:pt x="6" y="9"/>
                    </a:lnTo>
                    <a:lnTo>
                      <a:pt x="5" y="10"/>
                    </a:lnTo>
                    <a:lnTo>
                      <a:pt x="6" y="11"/>
                    </a:lnTo>
                    <a:lnTo>
                      <a:pt x="6" y="12"/>
                    </a:lnTo>
                    <a:lnTo>
                      <a:pt x="4" y="11"/>
                    </a:lnTo>
                    <a:lnTo>
                      <a:pt x="0" y="12"/>
                    </a:lnTo>
                    <a:lnTo>
                      <a:pt x="1" y="14"/>
                    </a:lnTo>
                    <a:lnTo>
                      <a:pt x="4" y="15"/>
                    </a:lnTo>
                    <a:lnTo>
                      <a:pt x="7" y="14"/>
                    </a:lnTo>
                    <a:lnTo>
                      <a:pt x="7" y="13"/>
                    </a:lnTo>
                    <a:lnTo>
                      <a:pt x="8" y="12"/>
                    </a:lnTo>
                    <a:lnTo>
                      <a:pt x="10" y="13"/>
                    </a:lnTo>
                    <a:lnTo>
                      <a:pt x="13" y="15"/>
                    </a:lnTo>
                    <a:lnTo>
                      <a:pt x="14" y="14"/>
                    </a:lnTo>
                    <a:lnTo>
                      <a:pt x="15" y="16"/>
                    </a:lnTo>
                    <a:lnTo>
                      <a:pt x="15" y="18"/>
                    </a:lnTo>
                    <a:lnTo>
                      <a:pt x="17" y="19"/>
                    </a:lnTo>
                    <a:lnTo>
                      <a:pt x="14" y="20"/>
                    </a:lnTo>
                    <a:lnTo>
                      <a:pt x="14" y="23"/>
                    </a:lnTo>
                    <a:lnTo>
                      <a:pt x="15" y="25"/>
                    </a:lnTo>
                    <a:lnTo>
                      <a:pt x="17" y="25"/>
                    </a:lnTo>
                    <a:lnTo>
                      <a:pt x="18" y="26"/>
                    </a:lnTo>
                    <a:lnTo>
                      <a:pt x="21" y="29"/>
                    </a:lnTo>
                    <a:lnTo>
                      <a:pt x="22" y="29"/>
                    </a:lnTo>
                    <a:lnTo>
                      <a:pt x="23" y="28"/>
                    </a:lnTo>
                    <a:lnTo>
                      <a:pt x="21" y="27"/>
                    </a:lnTo>
                    <a:lnTo>
                      <a:pt x="18" y="24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1" y="23"/>
                    </a:lnTo>
                    <a:lnTo>
                      <a:pt x="22" y="22"/>
                    </a:lnTo>
                    <a:lnTo>
                      <a:pt x="23" y="20"/>
                    </a:lnTo>
                    <a:lnTo>
                      <a:pt x="21" y="20"/>
                    </a:lnTo>
                    <a:lnTo>
                      <a:pt x="19" y="19"/>
                    </a:lnTo>
                    <a:lnTo>
                      <a:pt x="25" y="17"/>
                    </a:lnTo>
                    <a:lnTo>
                      <a:pt x="28" y="15"/>
                    </a:lnTo>
                    <a:lnTo>
                      <a:pt x="39" y="18"/>
                    </a:lnTo>
                    <a:lnTo>
                      <a:pt x="40" y="17"/>
                    </a:lnTo>
                    <a:lnTo>
                      <a:pt x="40" y="15"/>
                    </a:lnTo>
                    <a:lnTo>
                      <a:pt x="43" y="15"/>
                    </a:lnTo>
                    <a:lnTo>
                      <a:pt x="42" y="9"/>
                    </a:lnTo>
                    <a:lnTo>
                      <a:pt x="40" y="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3" name="Freeform 1357">
                <a:extLst>
                  <a:ext uri="{FF2B5EF4-FFF2-40B4-BE49-F238E27FC236}">
                    <a16:creationId xmlns:a16="http://schemas.microsoft.com/office/drawing/2014/main" id="{13CA310C-3E09-48B4-A73F-2D2B099497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0063" y="6127750"/>
                <a:ext cx="11113" cy="26988"/>
              </a:xfrm>
              <a:custGeom>
                <a:avLst/>
                <a:gdLst>
                  <a:gd name="T0" fmla="*/ 3 w 7"/>
                  <a:gd name="T1" fmla="*/ 4 h 17"/>
                  <a:gd name="T2" fmla="*/ 3 w 7"/>
                  <a:gd name="T3" fmla="*/ 1 h 17"/>
                  <a:gd name="T4" fmla="*/ 1 w 7"/>
                  <a:gd name="T5" fmla="*/ 0 h 17"/>
                  <a:gd name="T6" fmla="*/ 0 w 7"/>
                  <a:gd name="T7" fmla="*/ 4 h 17"/>
                  <a:gd name="T8" fmla="*/ 0 w 7"/>
                  <a:gd name="T9" fmla="*/ 7 h 17"/>
                  <a:gd name="T10" fmla="*/ 1 w 7"/>
                  <a:gd name="T11" fmla="*/ 9 h 17"/>
                  <a:gd name="T12" fmla="*/ 0 w 7"/>
                  <a:gd name="T13" fmla="*/ 11 h 17"/>
                  <a:gd name="T14" fmla="*/ 0 w 7"/>
                  <a:gd name="T15" fmla="*/ 14 h 17"/>
                  <a:gd name="T16" fmla="*/ 3 w 7"/>
                  <a:gd name="T17" fmla="*/ 15 h 17"/>
                  <a:gd name="T18" fmla="*/ 5 w 7"/>
                  <a:gd name="T19" fmla="*/ 17 h 17"/>
                  <a:gd name="T20" fmla="*/ 6 w 7"/>
                  <a:gd name="T21" fmla="*/ 17 h 17"/>
                  <a:gd name="T22" fmla="*/ 7 w 7"/>
                  <a:gd name="T23" fmla="*/ 16 h 17"/>
                  <a:gd name="T24" fmla="*/ 4 w 7"/>
                  <a:gd name="T25" fmla="*/ 13 h 17"/>
                  <a:gd name="T26" fmla="*/ 6 w 7"/>
                  <a:gd name="T27" fmla="*/ 11 h 17"/>
                  <a:gd name="T28" fmla="*/ 4 w 7"/>
                  <a:gd name="T29" fmla="*/ 9 h 17"/>
                  <a:gd name="T30" fmla="*/ 5 w 7"/>
                  <a:gd name="T31" fmla="*/ 8 h 17"/>
                  <a:gd name="T32" fmla="*/ 3 w 7"/>
                  <a:gd name="T33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" h="17">
                    <a:moveTo>
                      <a:pt x="3" y="4"/>
                    </a:moveTo>
                    <a:lnTo>
                      <a:pt x="3" y="1"/>
                    </a:lnTo>
                    <a:lnTo>
                      <a:pt x="1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3" y="15"/>
                    </a:lnTo>
                    <a:lnTo>
                      <a:pt x="5" y="17"/>
                    </a:lnTo>
                    <a:lnTo>
                      <a:pt x="6" y="17"/>
                    </a:lnTo>
                    <a:lnTo>
                      <a:pt x="7" y="16"/>
                    </a:lnTo>
                    <a:lnTo>
                      <a:pt x="4" y="13"/>
                    </a:lnTo>
                    <a:lnTo>
                      <a:pt x="6" y="11"/>
                    </a:lnTo>
                    <a:lnTo>
                      <a:pt x="4" y="9"/>
                    </a:lnTo>
                    <a:lnTo>
                      <a:pt x="5" y="8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4" name="Freeform 1358">
                <a:extLst>
                  <a:ext uri="{FF2B5EF4-FFF2-40B4-BE49-F238E27FC236}">
                    <a16:creationId xmlns:a16="http://schemas.microsoft.com/office/drawing/2014/main" id="{FF9FBC30-7FE3-485A-8F49-A8F65DA8B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1638" y="6062663"/>
                <a:ext cx="6350" cy="12700"/>
              </a:xfrm>
              <a:custGeom>
                <a:avLst/>
                <a:gdLst>
                  <a:gd name="T0" fmla="*/ 4 w 4"/>
                  <a:gd name="T1" fmla="*/ 7 h 8"/>
                  <a:gd name="T2" fmla="*/ 4 w 4"/>
                  <a:gd name="T3" fmla="*/ 4 h 8"/>
                  <a:gd name="T4" fmla="*/ 3 w 4"/>
                  <a:gd name="T5" fmla="*/ 2 h 8"/>
                  <a:gd name="T6" fmla="*/ 2 w 4"/>
                  <a:gd name="T7" fmla="*/ 0 h 8"/>
                  <a:gd name="T8" fmla="*/ 1 w 4"/>
                  <a:gd name="T9" fmla="*/ 1 h 8"/>
                  <a:gd name="T10" fmla="*/ 0 w 4"/>
                  <a:gd name="T11" fmla="*/ 3 h 8"/>
                  <a:gd name="T12" fmla="*/ 1 w 4"/>
                  <a:gd name="T13" fmla="*/ 6 h 8"/>
                  <a:gd name="T14" fmla="*/ 1 w 4"/>
                  <a:gd name="T15" fmla="*/ 7 h 8"/>
                  <a:gd name="T16" fmla="*/ 2 w 4"/>
                  <a:gd name="T17" fmla="*/ 8 h 8"/>
                  <a:gd name="T18" fmla="*/ 3 w 4"/>
                  <a:gd name="T19" fmla="*/ 8 h 8"/>
                  <a:gd name="T20" fmla="*/ 4 w 4"/>
                  <a:gd name="T21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8">
                    <a:moveTo>
                      <a:pt x="4" y="7"/>
                    </a:moveTo>
                    <a:lnTo>
                      <a:pt x="4" y="4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3"/>
                    </a:lnTo>
                    <a:lnTo>
                      <a:pt x="1" y="6"/>
                    </a:lnTo>
                    <a:lnTo>
                      <a:pt x="1" y="7"/>
                    </a:lnTo>
                    <a:lnTo>
                      <a:pt x="2" y="8"/>
                    </a:lnTo>
                    <a:lnTo>
                      <a:pt x="3" y="8"/>
                    </a:lnTo>
                    <a:lnTo>
                      <a:pt x="4" y="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5" name="Freeform 1359">
                <a:extLst>
                  <a:ext uri="{FF2B5EF4-FFF2-40B4-BE49-F238E27FC236}">
                    <a16:creationId xmlns:a16="http://schemas.microsoft.com/office/drawing/2014/main" id="{6F84BE31-C0CA-4709-B4A5-7A94EBBA6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7051" y="6183313"/>
                <a:ext cx="58738" cy="28575"/>
              </a:xfrm>
              <a:custGeom>
                <a:avLst/>
                <a:gdLst>
                  <a:gd name="T0" fmla="*/ 33 w 37"/>
                  <a:gd name="T1" fmla="*/ 8 h 18"/>
                  <a:gd name="T2" fmla="*/ 35 w 37"/>
                  <a:gd name="T3" fmla="*/ 6 h 18"/>
                  <a:gd name="T4" fmla="*/ 37 w 37"/>
                  <a:gd name="T5" fmla="*/ 5 h 18"/>
                  <a:gd name="T6" fmla="*/ 35 w 37"/>
                  <a:gd name="T7" fmla="*/ 3 h 18"/>
                  <a:gd name="T8" fmla="*/ 35 w 37"/>
                  <a:gd name="T9" fmla="*/ 0 h 18"/>
                  <a:gd name="T10" fmla="*/ 32 w 37"/>
                  <a:gd name="T11" fmla="*/ 0 h 18"/>
                  <a:gd name="T12" fmla="*/ 28 w 37"/>
                  <a:gd name="T13" fmla="*/ 0 h 18"/>
                  <a:gd name="T14" fmla="*/ 24 w 37"/>
                  <a:gd name="T15" fmla="*/ 0 h 18"/>
                  <a:gd name="T16" fmla="*/ 20 w 37"/>
                  <a:gd name="T17" fmla="*/ 0 h 18"/>
                  <a:gd name="T18" fmla="*/ 17 w 37"/>
                  <a:gd name="T19" fmla="*/ 1 h 18"/>
                  <a:gd name="T20" fmla="*/ 10 w 37"/>
                  <a:gd name="T21" fmla="*/ 3 h 18"/>
                  <a:gd name="T22" fmla="*/ 7 w 37"/>
                  <a:gd name="T23" fmla="*/ 3 h 18"/>
                  <a:gd name="T24" fmla="*/ 5 w 37"/>
                  <a:gd name="T25" fmla="*/ 3 h 18"/>
                  <a:gd name="T26" fmla="*/ 3 w 37"/>
                  <a:gd name="T27" fmla="*/ 3 h 18"/>
                  <a:gd name="T28" fmla="*/ 0 w 37"/>
                  <a:gd name="T29" fmla="*/ 4 h 18"/>
                  <a:gd name="T30" fmla="*/ 2 w 37"/>
                  <a:gd name="T31" fmla="*/ 6 h 18"/>
                  <a:gd name="T32" fmla="*/ 4 w 37"/>
                  <a:gd name="T33" fmla="*/ 5 h 18"/>
                  <a:gd name="T34" fmla="*/ 6 w 37"/>
                  <a:gd name="T35" fmla="*/ 6 h 18"/>
                  <a:gd name="T36" fmla="*/ 2 w 37"/>
                  <a:gd name="T37" fmla="*/ 8 h 18"/>
                  <a:gd name="T38" fmla="*/ 0 w 37"/>
                  <a:gd name="T39" fmla="*/ 9 h 18"/>
                  <a:gd name="T40" fmla="*/ 0 w 37"/>
                  <a:gd name="T41" fmla="*/ 10 h 18"/>
                  <a:gd name="T42" fmla="*/ 2 w 37"/>
                  <a:gd name="T43" fmla="*/ 13 h 18"/>
                  <a:gd name="T44" fmla="*/ 4 w 37"/>
                  <a:gd name="T45" fmla="*/ 10 h 18"/>
                  <a:gd name="T46" fmla="*/ 3 w 37"/>
                  <a:gd name="T47" fmla="*/ 13 h 18"/>
                  <a:gd name="T48" fmla="*/ 5 w 37"/>
                  <a:gd name="T49" fmla="*/ 14 h 18"/>
                  <a:gd name="T50" fmla="*/ 6 w 37"/>
                  <a:gd name="T51" fmla="*/ 16 h 18"/>
                  <a:gd name="T52" fmla="*/ 7 w 37"/>
                  <a:gd name="T53" fmla="*/ 15 h 18"/>
                  <a:gd name="T54" fmla="*/ 10 w 37"/>
                  <a:gd name="T55" fmla="*/ 17 h 18"/>
                  <a:gd name="T56" fmla="*/ 12 w 37"/>
                  <a:gd name="T57" fmla="*/ 17 h 18"/>
                  <a:gd name="T58" fmla="*/ 12 w 37"/>
                  <a:gd name="T59" fmla="*/ 13 h 18"/>
                  <a:gd name="T60" fmla="*/ 10 w 37"/>
                  <a:gd name="T61" fmla="*/ 13 h 18"/>
                  <a:gd name="T62" fmla="*/ 10 w 37"/>
                  <a:gd name="T63" fmla="*/ 11 h 18"/>
                  <a:gd name="T64" fmla="*/ 14 w 37"/>
                  <a:gd name="T65" fmla="*/ 10 h 18"/>
                  <a:gd name="T66" fmla="*/ 14 w 37"/>
                  <a:gd name="T67" fmla="*/ 13 h 18"/>
                  <a:gd name="T68" fmla="*/ 17 w 37"/>
                  <a:gd name="T69" fmla="*/ 15 h 18"/>
                  <a:gd name="T70" fmla="*/ 18 w 37"/>
                  <a:gd name="T71" fmla="*/ 13 h 18"/>
                  <a:gd name="T72" fmla="*/ 21 w 37"/>
                  <a:gd name="T73" fmla="*/ 14 h 18"/>
                  <a:gd name="T74" fmla="*/ 24 w 37"/>
                  <a:gd name="T75" fmla="*/ 18 h 18"/>
                  <a:gd name="T76" fmla="*/ 25 w 37"/>
                  <a:gd name="T77" fmla="*/ 18 h 18"/>
                  <a:gd name="T78" fmla="*/ 25 w 37"/>
                  <a:gd name="T79" fmla="*/ 15 h 18"/>
                  <a:gd name="T80" fmla="*/ 22 w 37"/>
                  <a:gd name="T81" fmla="*/ 12 h 18"/>
                  <a:gd name="T82" fmla="*/ 20 w 37"/>
                  <a:gd name="T83" fmla="*/ 11 h 18"/>
                  <a:gd name="T84" fmla="*/ 21 w 37"/>
                  <a:gd name="T85" fmla="*/ 10 h 18"/>
                  <a:gd name="T86" fmla="*/ 19 w 37"/>
                  <a:gd name="T87" fmla="*/ 9 h 18"/>
                  <a:gd name="T88" fmla="*/ 16 w 37"/>
                  <a:gd name="T89" fmla="*/ 7 h 18"/>
                  <a:gd name="T90" fmla="*/ 15 w 37"/>
                  <a:gd name="T91" fmla="*/ 8 h 18"/>
                  <a:gd name="T92" fmla="*/ 13 w 37"/>
                  <a:gd name="T93" fmla="*/ 6 h 18"/>
                  <a:gd name="T94" fmla="*/ 16 w 37"/>
                  <a:gd name="T95" fmla="*/ 5 h 18"/>
                  <a:gd name="T96" fmla="*/ 17 w 37"/>
                  <a:gd name="T97" fmla="*/ 5 h 18"/>
                  <a:gd name="T98" fmla="*/ 20 w 37"/>
                  <a:gd name="T99" fmla="*/ 2 h 18"/>
                  <a:gd name="T100" fmla="*/ 22 w 37"/>
                  <a:gd name="T101" fmla="*/ 3 h 18"/>
                  <a:gd name="T102" fmla="*/ 23 w 37"/>
                  <a:gd name="T103" fmla="*/ 6 h 18"/>
                  <a:gd name="T104" fmla="*/ 24 w 37"/>
                  <a:gd name="T105" fmla="*/ 7 h 18"/>
                  <a:gd name="T106" fmla="*/ 28 w 37"/>
                  <a:gd name="T107" fmla="*/ 7 h 18"/>
                  <a:gd name="T108" fmla="*/ 30 w 37"/>
                  <a:gd name="T109" fmla="*/ 5 h 18"/>
                  <a:gd name="T110" fmla="*/ 31 w 37"/>
                  <a:gd name="T111" fmla="*/ 6 h 18"/>
                  <a:gd name="T112" fmla="*/ 33 w 37"/>
                  <a:gd name="T113" fmla="*/ 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7" h="18">
                    <a:moveTo>
                      <a:pt x="33" y="8"/>
                    </a:moveTo>
                    <a:lnTo>
                      <a:pt x="35" y="6"/>
                    </a:lnTo>
                    <a:lnTo>
                      <a:pt x="37" y="5"/>
                    </a:lnTo>
                    <a:lnTo>
                      <a:pt x="35" y="3"/>
                    </a:lnTo>
                    <a:lnTo>
                      <a:pt x="35" y="0"/>
                    </a:lnTo>
                    <a:lnTo>
                      <a:pt x="32" y="0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20" y="0"/>
                    </a:lnTo>
                    <a:lnTo>
                      <a:pt x="17" y="1"/>
                    </a:lnTo>
                    <a:lnTo>
                      <a:pt x="10" y="3"/>
                    </a:lnTo>
                    <a:lnTo>
                      <a:pt x="7" y="3"/>
                    </a:lnTo>
                    <a:lnTo>
                      <a:pt x="5" y="3"/>
                    </a:lnTo>
                    <a:lnTo>
                      <a:pt x="3" y="3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5"/>
                    </a:lnTo>
                    <a:lnTo>
                      <a:pt x="6" y="6"/>
                    </a:lnTo>
                    <a:lnTo>
                      <a:pt x="2" y="8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4" y="10"/>
                    </a:lnTo>
                    <a:lnTo>
                      <a:pt x="3" y="13"/>
                    </a:lnTo>
                    <a:lnTo>
                      <a:pt x="5" y="14"/>
                    </a:lnTo>
                    <a:lnTo>
                      <a:pt x="6" y="16"/>
                    </a:lnTo>
                    <a:lnTo>
                      <a:pt x="7" y="15"/>
                    </a:lnTo>
                    <a:lnTo>
                      <a:pt x="10" y="17"/>
                    </a:lnTo>
                    <a:lnTo>
                      <a:pt x="12" y="17"/>
                    </a:lnTo>
                    <a:lnTo>
                      <a:pt x="12" y="13"/>
                    </a:lnTo>
                    <a:lnTo>
                      <a:pt x="10" y="13"/>
                    </a:lnTo>
                    <a:lnTo>
                      <a:pt x="10" y="11"/>
                    </a:lnTo>
                    <a:lnTo>
                      <a:pt x="14" y="10"/>
                    </a:lnTo>
                    <a:lnTo>
                      <a:pt x="14" y="13"/>
                    </a:lnTo>
                    <a:lnTo>
                      <a:pt x="17" y="15"/>
                    </a:lnTo>
                    <a:lnTo>
                      <a:pt x="18" y="13"/>
                    </a:lnTo>
                    <a:lnTo>
                      <a:pt x="21" y="14"/>
                    </a:lnTo>
                    <a:lnTo>
                      <a:pt x="24" y="18"/>
                    </a:lnTo>
                    <a:lnTo>
                      <a:pt x="25" y="18"/>
                    </a:lnTo>
                    <a:lnTo>
                      <a:pt x="25" y="15"/>
                    </a:lnTo>
                    <a:lnTo>
                      <a:pt x="22" y="12"/>
                    </a:lnTo>
                    <a:lnTo>
                      <a:pt x="20" y="11"/>
                    </a:lnTo>
                    <a:lnTo>
                      <a:pt x="21" y="10"/>
                    </a:lnTo>
                    <a:lnTo>
                      <a:pt x="19" y="9"/>
                    </a:lnTo>
                    <a:lnTo>
                      <a:pt x="16" y="7"/>
                    </a:lnTo>
                    <a:lnTo>
                      <a:pt x="15" y="8"/>
                    </a:lnTo>
                    <a:lnTo>
                      <a:pt x="13" y="6"/>
                    </a:lnTo>
                    <a:lnTo>
                      <a:pt x="16" y="5"/>
                    </a:lnTo>
                    <a:lnTo>
                      <a:pt x="17" y="5"/>
                    </a:lnTo>
                    <a:lnTo>
                      <a:pt x="20" y="2"/>
                    </a:lnTo>
                    <a:lnTo>
                      <a:pt x="22" y="3"/>
                    </a:lnTo>
                    <a:lnTo>
                      <a:pt x="23" y="6"/>
                    </a:lnTo>
                    <a:lnTo>
                      <a:pt x="24" y="7"/>
                    </a:lnTo>
                    <a:lnTo>
                      <a:pt x="28" y="7"/>
                    </a:lnTo>
                    <a:lnTo>
                      <a:pt x="30" y="5"/>
                    </a:lnTo>
                    <a:lnTo>
                      <a:pt x="31" y="6"/>
                    </a:lnTo>
                    <a:lnTo>
                      <a:pt x="33" y="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6" name="Freeform 1360">
                <a:extLst>
                  <a:ext uri="{FF2B5EF4-FFF2-40B4-BE49-F238E27FC236}">
                    <a16:creationId xmlns:a16="http://schemas.microsoft.com/office/drawing/2014/main" id="{AF0206D5-B6F8-464B-B03D-658479233E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3713" y="6191250"/>
                <a:ext cx="6350" cy="4763"/>
              </a:xfrm>
              <a:custGeom>
                <a:avLst/>
                <a:gdLst>
                  <a:gd name="T0" fmla="*/ 0 w 4"/>
                  <a:gd name="T1" fmla="*/ 1 h 3"/>
                  <a:gd name="T2" fmla="*/ 2 w 4"/>
                  <a:gd name="T3" fmla="*/ 3 h 3"/>
                  <a:gd name="T4" fmla="*/ 4 w 4"/>
                  <a:gd name="T5" fmla="*/ 1 h 3"/>
                  <a:gd name="T6" fmla="*/ 3 w 4"/>
                  <a:gd name="T7" fmla="*/ 0 h 3"/>
                  <a:gd name="T8" fmla="*/ 0 w 4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0" y="1"/>
                    </a:moveTo>
                    <a:lnTo>
                      <a:pt x="2" y="3"/>
                    </a:lnTo>
                    <a:lnTo>
                      <a:pt x="4" y="1"/>
                    </a:lnTo>
                    <a:lnTo>
                      <a:pt x="3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7" name="Freeform 1361">
                <a:extLst>
                  <a:ext uri="{FF2B5EF4-FFF2-40B4-BE49-F238E27FC236}">
                    <a16:creationId xmlns:a16="http://schemas.microsoft.com/office/drawing/2014/main" id="{4E575A37-8B5D-4B5E-B231-E5BA2E968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6251" y="6149975"/>
                <a:ext cx="22225" cy="14288"/>
              </a:xfrm>
              <a:custGeom>
                <a:avLst/>
                <a:gdLst>
                  <a:gd name="T0" fmla="*/ 8 w 14"/>
                  <a:gd name="T1" fmla="*/ 8 h 9"/>
                  <a:gd name="T2" fmla="*/ 9 w 14"/>
                  <a:gd name="T3" fmla="*/ 7 h 9"/>
                  <a:gd name="T4" fmla="*/ 10 w 14"/>
                  <a:gd name="T5" fmla="*/ 8 h 9"/>
                  <a:gd name="T6" fmla="*/ 12 w 14"/>
                  <a:gd name="T7" fmla="*/ 9 h 9"/>
                  <a:gd name="T8" fmla="*/ 14 w 14"/>
                  <a:gd name="T9" fmla="*/ 7 h 9"/>
                  <a:gd name="T10" fmla="*/ 13 w 14"/>
                  <a:gd name="T11" fmla="*/ 6 h 9"/>
                  <a:gd name="T12" fmla="*/ 14 w 14"/>
                  <a:gd name="T13" fmla="*/ 3 h 9"/>
                  <a:gd name="T14" fmla="*/ 13 w 14"/>
                  <a:gd name="T15" fmla="*/ 2 h 9"/>
                  <a:gd name="T16" fmla="*/ 11 w 14"/>
                  <a:gd name="T17" fmla="*/ 3 h 9"/>
                  <a:gd name="T18" fmla="*/ 11 w 14"/>
                  <a:gd name="T19" fmla="*/ 4 h 9"/>
                  <a:gd name="T20" fmla="*/ 9 w 14"/>
                  <a:gd name="T21" fmla="*/ 2 h 9"/>
                  <a:gd name="T22" fmla="*/ 4 w 14"/>
                  <a:gd name="T23" fmla="*/ 0 h 9"/>
                  <a:gd name="T24" fmla="*/ 3 w 14"/>
                  <a:gd name="T25" fmla="*/ 1 h 9"/>
                  <a:gd name="T26" fmla="*/ 0 w 14"/>
                  <a:gd name="T27" fmla="*/ 2 h 9"/>
                  <a:gd name="T28" fmla="*/ 0 w 14"/>
                  <a:gd name="T29" fmla="*/ 3 h 9"/>
                  <a:gd name="T30" fmla="*/ 1 w 14"/>
                  <a:gd name="T31" fmla="*/ 4 h 9"/>
                  <a:gd name="T32" fmla="*/ 2 w 14"/>
                  <a:gd name="T33" fmla="*/ 7 h 9"/>
                  <a:gd name="T34" fmla="*/ 4 w 14"/>
                  <a:gd name="T35" fmla="*/ 6 h 9"/>
                  <a:gd name="T36" fmla="*/ 6 w 14"/>
                  <a:gd name="T37" fmla="*/ 6 h 9"/>
                  <a:gd name="T38" fmla="*/ 8 w 14"/>
                  <a:gd name="T3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" h="9">
                    <a:moveTo>
                      <a:pt x="8" y="8"/>
                    </a:moveTo>
                    <a:lnTo>
                      <a:pt x="9" y="7"/>
                    </a:lnTo>
                    <a:lnTo>
                      <a:pt x="10" y="8"/>
                    </a:lnTo>
                    <a:lnTo>
                      <a:pt x="12" y="9"/>
                    </a:lnTo>
                    <a:lnTo>
                      <a:pt x="14" y="7"/>
                    </a:lnTo>
                    <a:lnTo>
                      <a:pt x="13" y="6"/>
                    </a:lnTo>
                    <a:lnTo>
                      <a:pt x="14" y="3"/>
                    </a:lnTo>
                    <a:lnTo>
                      <a:pt x="13" y="2"/>
                    </a:lnTo>
                    <a:lnTo>
                      <a:pt x="11" y="3"/>
                    </a:lnTo>
                    <a:lnTo>
                      <a:pt x="11" y="4"/>
                    </a:lnTo>
                    <a:lnTo>
                      <a:pt x="9" y="2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2" y="7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8" name="Freeform 1362">
                <a:extLst>
                  <a:ext uri="{FF2B5EF4-FFF2-40B4-BE49-F238E27FC236}">
                    <a16:creationId xmlns:a16="http://schemas.microsoft.com/office/drawing/2014/main" id="{85C98048-8164-4C6D-8ED9-19B0181EFF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3713" y="6183313"/>
                <a:ext cx="6350" cy="4763"/>
              </a:xfrm>
              <a:custGeom>
                <a:avLst/>
                <a:gdLst>
                  <a:gd name="T0" fmla="*/ 4 w 4"/>
                  <a:gd name="T1" fmla="*/ 1 h 3"/>
                  <a:gd name="T2" fmla="*/ 1 w 4"/>
                  <a:gd name="T3" fmla="*/ 0 h 3"/>
                  <a:gd name="T4" fmla="*/ 0 w 4"/>
                  <a:gd name="T5" fmla="*/ 2 h 3"/>
                  <a:gd name="T6" fmla="*/ 1 w 4"/>
                  <a:gd name="T7" fmla="*/ 3 h 3"/>
                  <a:gd name="T8" fmla="*/ 3 w 4"/>
                  <a:gd name="T9" fmla="*/ 3 h 3"/>
                  <a:gd name="T10" fmla="*/ 4 w 4"/>
                  <a:gd name="T11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4" y="1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3" y="3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9" name="Freeform 1363">
                <a:extLst>
                  <a:ext uri="{FF2B5EF4-FFF2-40B4-BE49-F238E27FC236}">
                    <a16:creationId xmlns:a16="http://schemas.microsoft.com/office/drawing/2014/main" id="{87988231-0487-4592-8FFA-B687F4279C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0838" y="5700713"/>
                <a:ext cx="22225" cy="55563"/>
              </a:xfrm>
              <a:custGeom>
                <a:avLst/>
                <a:gdLst>
                  <a:gd name="T0" fmla="*/ 1 w 14"/>
                  <a:gd name="T1" fmla="*/ 10 h 35"/>
                  <a:gd name="T2" fmla="*/ 0 w 14"/>
                  <a:gd name="T3" fmla="*/ 12 h 35"/>
                  <a:gd name="T4" fmla="*/ 1 w 14"/>
                  <a:gd name="T5" fmla="*/ 14 h 35"/>
                  <a:gd name="T6" fmla="*/ 2 w 14"/>
                  <a:gd name="T7" fmla="*/ 15 h 35"/>
                  <a:gd name="T8" fmla="*/ 4 w 14"/>
                  <a:gd name="T9" fmla="*/ 20 h 35"/>
                  <a:gd name="T10" fmla="*/ 4 w 14"/>
                  <a:gd name="T11" fmla="*/ 30 h 35"/>
                  <a:gd name="T12" fmla="*/ 3 w 14"/>
                  <a:gd name="T13" fmla="*/ 34 h 35"/>
                  <a:gd name="T14" fmla="*/ 6 w 14"/>
                  <a:gd name="T15" fmla="*/ 35 h 35"/>
                  <a:gd name="T16" fmla="*/ 10 w 14"/>
                  <a:gd name="T17" fmla="*/ 34 h 35"/>
                  <a:gd name="T18" fmla="*/ 10 w 14"/>
                  <a:gd name="T19" fmla="*/ 33 h 35"/>
                  <a:gd name="T20" fmla="*/ 10 w 14"/>
                  <a:gd name="T21" fmla="*/ 30 h 35"/>
                  <a:gd name="T22" fmla="*/ 11 w 14"/>
                  <a:gd name="T23" fmla="*/ 28 h 35"/>
                  <a:gd name="T24" fmla="*/ 14 w 14"/>
                  <a:gd name="T25" fmla="*/ 28 h 35"/>
                  <a:gd name="T26" fmla="*/ 14 w 14"/>
                  <a:gd name="T27" fmla="*/ 28 h 35"/>
                  <a:gd name="T28" fmla="*/ 11 w 14"/>
                  <a:gd name="T29" fmla="*/ 24 h 35"/>
                  <a:gd name="T30" fmla="*/ 13 w 14"/>
                  <a:gd name="T31" fmla="*/ 23 h 35"/>
                  <a:gd name="T32" fmla="*/ 10 w 14"/>
                  <a:gd name="T33" fmla="*/ 19 h 35"/>
                  <a:gd name="T34" fmla="*/ 10 w 14"/>
                  <a:gd name="T35" fmla="*/ 17 h 35"/>
                  <a:gd name="T36" fmla="*/ 11 w 14"/>
                  <a:gd name="T37" fmla="*/ 17 h 35"/>
                  <a:gd name="T38" fmla="*/ 14 w 14"/>
                  <a:gd name="T39" fmla="*/ 19 h 35"/>
                  <a:gd name="T40" fmla="*/ 14 w 14"/>
                  <a:gd name="T41" fmla="*/ 18 h 35"/>
                  <a:gd name="T42" fmla="*/ 13 w 14"/>
                  <a:gd name="T43" fmla="*/ 17 h 35"/>
                  <a:gd name="T44" fmla="*/ 10 w 14"/>
                  <a:gd name="T45" fmla="*/ 14 h 35"/>
                  <a:gd name="T46" fmla="*/ 13 w 14"/>
                  <a:gd name="T47" fmla="*/ 14 h 35"/>
                  <a:gd name="T48" fmla="*/ 13 w 14"/>
                  <a:gd name="T49" fmla="*/ 11 h 35"/>
                  <a:gd name="T50" fmla="*/ 12 w 14"/>
                  <a:gd name="T51" fmla="*/ 10 h 35"/>
                  <a:gd name="T52" fmla="*/ 12 w 14"/>
                  <a:gd name="T53" fmla="*/ 6 h 35"/>
                  <a:gd name="T54" fmla="*/ 10 w 14"/>
                  <a:gd name="T55" fmla="*/ 1 h 35"/>
                  <a:gd name="T56" fmla="*/ 7 w 14"/>
                  <a:gd name="T57" fmla="*/ 0 h 35"/>
                  <a:gd name="T58" fmla="*/ 4 w 14"/>
                  <a:gd name="T59" fmla="*/ 0 h 35"/>
                  <a:gd name="T60" fmla="*/ 2 w 14"/>
                  <a:gd name="T61" fmla="*/ 2 h 35"/>
                  <a:gd name="T62" fmla="*/ 2 w 14"/>
                  <a:gd name="T63" fmla="*/ 4 h 35"/>
                  <a:gd name="T64" fmla="*/ 3 w 14"/>
                  <a:gd name="T65" fmla="*/ 6 h 35"/>
                  <a:gd name="T66" fmla="*/ 3 w 14"/>
                  <a:gd name="T67" fmla="*/ 8 h 35"/>
                  <a:gd name="T68" fmla="*/ 1 w 14"/>
                  <a:gd name="T69" fmla="*/ 1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" h="35">
                    <a:moveTo>
                      <a:pt x="1" y="10"/>
                    </a:moveTo>
                    <a:lnTo>
                      <a:pt x="0" y="12"/>
                    </a:lnTo>
                    <a:lnTo>
                      <a:pt x="1" y="14"/>
                    </a:lnTo>
                    <a:lnTo>
                      <a:pt x="2" y="15"/>
                    </a:lnTo>
                    <a:lnTo>
                      <a:pt x="4" y="20"/>
                    </a:lnTo>
                    <a:lnTo>
                      <a:pt x="4" y="30"/>
                    </a:lnTo>
                    <a:lnTo>
                      <a:pt x="3" y="34"/>
                    </a:lnTo>
                    <a:lnTo>
                      <a:pt x="6" y="35"/>
                    </a:lnTo>
                    <a:lnTo>
                      <a:pt x="10" y="34"/>
                    </a:lnTo>
                    <a:lnTo>
                      <a:pt x="10" y="33"/>
                    </a:lnTo>
                    <a:lnTo>
                      <a:pt x="10" y="30"/>
                    </a:lnTo>
                    <a:lnTo>
                      <a:pt x="11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1" y="24"/>
                    </a:lnTo>
                    <a:lnTo>
                      <a:pt x="13" y="23"/>
                    </a:lnTo>
                    <a:lnTo>
                      <a:pt x="10" y="19"/>
                    </a:lnTo>
                    <a:lnTo>
                      <a:pt x="10" y="17"/>
                    </a:lnTo>
                    <a:lnTo>
                      <a:pt x="11" y="17"/>
                    </a:lnTo>
                    <a:lnTo>
                      <a:pt x="14" y="19"/>
                    </a:lnTo>
                    <a:lnTo>
                      <a:pt x="14" y="18"/>
                    </a:lnTo>
                    <a:lnTo>
                      <a:pt x="13" y="17"/>
                    </a:lnTo>
                    <a:lnTo>
                      <a:pt x="10" y="14"/>
                    </a:lnTo>
                    <a:lnTo>
                      <a:pt x="13" y="14"/>
                    </a:lnTo>
                    <a:lnTo>
                      <a:pt x="13" y="11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0" y="1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3" y="6"/>
                    </a:lnTo>
                    <a:lnTo>
                      <a:pt x="3" y="8"/>
                    </a:lnTo>
                    <a:lnTo>
                      <a:pt x="1" y="1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0" name="Freeform 1364">
                <a:extLst>
                  <a:ext uri="{FF2B5EF4-FFF2-40B4-BE49-F238E27FC236}">
                    <a16:creationId xmlns:a16="http://schemas.microsoft.com/office/drawing/2014/main" id="{6A9468AE-09E7-4F30-88CD-F6AE112F8F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5288" y="6062663"/>
                <a:ext cx="4763" cy="14288"/>
              </a:xfrm>
              <a:custGeom>
                <a:avLst/>
                <a:gdLst>
                  <a:gd name="T0" fmla="*/ 0 w 3"/>
                  <a:gd name="T1" fmla="*/ 0 h 9"/>
                  <a:gd name="T2" fmla="*/ 1 w 3"/>
                  <a:gd name="T3" fmla="*/ 1 h 9"/>
                  <a:gd name="T4" fmla="*/ 2 w 3"/>
                  <a:gd name="T5" fmla="*/ 2 h 9"/>
                  <a:gd name="T6" fmla="*/ 0 w 3"/>
                  <a:gd name="T7" fmla="*/ 3 h 9"/>
                  <a:gd name="T8" fmla="*/ 0 w 3"/>
                  <a:gd name="T9" fmla="*/ 5 h 9"/>
                  <a:gd name="T10" fmla="*/ 0 w 3"/>
                  <a:gd name="T11" fmla="*/ 7 h 9"/>
                  <a:gd name="T12" fmla="*/ 2 w 3"/>
                  <a:gd name="T13" fmla="*/ 8 h 9"/>
                  <a:gd name="T14" fmla="*/ 3 w 3"/>
                  <a:gd name="T15" fmla="*/ 9 h 9"/>
                  <a:gd name="T16" fmla="*/ 2 w 3"/>
                  <a:gd name="T17" fmla="*/ 6 h 9"/>
                  <a:gd name="T18" fmla="*/ 3 w 3"/>
                  <a:gd name="T19" fmla="*/ 5 h 9"/>
                  <a:gd name="T20" fmla="*/ 3 w 3"/>
                  <a:gd name="T21" fmla="*/ 2 h 9"/>
                  <a:gd name="T22" fmla="*/ 3 w 3"/>
                  <a:gd name="T23" fmla="*/ 0 h 9"/>
                  <a:gd name="T24" fmla="*/ 0 w 3"/>
                  <a:gd name="T2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" h="9">
                    <a:moveTo>
                      <a:pt x="0" y="0"/>
                    </a:moveTo>
                    <a:lnTo>
                      <a:pt x="1" y="1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2" y="8"/>
                    </a:lnTo>
                    <a:lnTo>
                      <a:pt x="3" y="9"/>
                    </a:lnTo>
                    <a:lnTo>
                      <a:pt x="2" y="6"/>
                    </a:lnTo>
                    <a:lnTo>
                      <a:pt x="3" y="5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1" name="Freeform 1365">
                <a:extLst>
                  <a:ext uri="{FF2B5EF4-FFF2-40B4-BE49-F238E27FC236}">
                    <a16:creationId xmlns:a16="http://schemas.microsoft.com/office/drawing/2014/main" id="{D00CAA4B-852A-446F-B009-1E3355AF0B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9888" y="5818188"/>
                <a:ext cx="9525" cy="12700"/>
              </a:xfrm>
              <a:custGeom>
                <a:avLst/>
                <a:gdLst>
                  <a:gd name="T0" fmla="*/ 5 w 6"/>
                  <a:gd name="T1" fmla="*/ 0 h 8"/>
                  <a:gd name="T2" fmla="*/ 2 w 6"/>
                  <a:gd name="T3" fmla="*/ 0 h 8"/>
                  <a:gd name="T4" fmla="*/ 0 w 6"/>
                  <a:gd name="T5" fmla="*/ 2 h 8"/>
                  <a:gd name="T6" fmla="*/ 2 w 6"/>
                  <a:gd name="T7" fmla="*/ 3 h 8"/>
                  <a:gd name="T8" fmla="*/ 2 w 6"/>
                  <a:gd name="T9" fmla="*/ 7 h 8"/>
                  <a:gd name="T10" fmla="*/ 5 w 6"/>
                  <a:gd name="T11" fmla="*/ 8 h 8"/>
                  <a:gd name="T12" fmla="*/ 6 w 6"/>
                  <a:gd name="T13" fmla="*/ 5 h 8"/>
                  <a:gd name="T14" fmla="*/ 5 w 6"/>
                  <a:gd name="T1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8">
                    <a:moveTo>
                      <a:pt x="5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2" y="7"/>
                    </a:lnTo>
                    <a:lnTo>
                      <a:pt x="5" y="8"/>
                    </a:lnTo>
                    <a:lnTo>
                      <a:pt x="6" y="5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2" name="Freeform 1366">
                <a:extLst>
                  <a:ext uri="{FF2B5EF4-FFF2-40B4-BE49-F238E27FC236}">
                    <a16:creationId xmlns:a16="http://schemas.microsoft.com/office/drawing/2014/main" id="{42E6B3C5-704B-473E-9102-1FBDA983C4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1001" y="5784850"/>
                <a:ext cx="6350" cy="4763"/>
              </a:xfrm>
              <a:custGeom>
                <a:avLst/>
                <a:gdLst>
                  <a:gd name="T0" fmla="*/ 0 w 4"/>
                  <a:gd name="T1" fmla="*/ 2 h 3"/>
                  <a:gd name="T2" fmla="*/ 1 w 4"/>
                  <a:gd name="T3" fmla="*/ 3 h 3"/>
                  <a:gd name="T4" fmla="*/ 4 w 4"/>
                  <a:gd name="T5" fmla="*/ 2 h 3"/>
                  <a:gd name="T6" fmla="*/ 1 w 4"/>
                  <a:gd name="T7" fmla="*/ 0 h 3"/>
                  <a:gd name="T8" fmla="*/ 0 w 4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0" y="2"/>
                    </a:moveTo>
                    <a:lnTo>
                      <a:pt x="1" y="3"/>
                    </a:lnTo>
                    <a:lnTo>
                      <a:pt x="4" y="2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3" name="Freeform 1367">
                <a:extLst>
                  <a:ext uri="{FF2B5EF4-FFF2-40B4-BE49-F238E27FC236}">
                    <a16:creationId xmlns:a16="http://schemas.microsoft.com/office/drawing/2014/main" id="{F605EF3A-7D72-4FC3-854B-C8276E0D1A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1001" y="5791200"/>
                <a:ext cx="15875" cy="20638"/>
              </a:xfrm>
              <a:custGeom>
                <a:avLst/>
                <a:gdLst>
                  <a:gd name="T0" fmla="*/ 1 w 10"/>
                  <a:gd name="T1" fmla="*/ 9 h 13"/>
                  <a:gd name="T2" fmla="*/ 1 w 10"/>
                  <a:gd name="T3" fmla="*/ 13 h 13"/>
                  <a:gd name="T4" fmla="*/ 3 w 10"/>
                  <a:gd name="T5" fmla="*/ 10 h 13"/>
                  <a:gd name="T6" fmla="*/ 5 w 10"/>
                  <a:gd name="T7" fmla="*/ 11 h 13"/>
                  <a:gd name="T8" fmla="*/ 6 w 10"/>
                  <a:gd name="T9" fmla="*/ 12 h 13"/>
                  <a:gd name="T10" fmla="*/ 8 w 10"/>
                  <a:gd name="T11" fmla="*/ 11 h 13"/>
                  <a:gd name="T12" fmla="*/ 9 w 10"/>
                  <a:gd name="T13" fmla="*/ 8 h 13"/>
                  <a:gd name="T14" fmla="*/ 10 w 10"/>
                  <a:gd name="T15" fmla="*/ 6 h 13"/>
                  <a:gd name="T16" fmla="*/ 8 w 10"/>
                  <a:gd name="T17" fmla="*/ 3 h 13"/>
                  <a:gd name="T18" fmla="*/ 7 w 10"/>
                  <a:gd name="T19" fmla="*/ 1 h 13"/>
                  <a:gd name="T20" fmla="*/ 5 w 10"/>
                  <a:gd name="T21" fmla="*/ 0 h 13"/>
                  <a:gd name="T22" fmla="*/ 2 w 10"/>
                  <a:gd name="T23" fmla="*/ 2 h 13"/>
                  <a:gd name="T24" fmla="*/ 0 w 10"/>
                  <a:gd name="T25" fmla="*/ 6 h 13"/>
                  <a:gd name="T26" fmla="*/ 1 w 10"/>
                  <a:gd name="T27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" h="13">
                    <a:moveTo>
                      <a:pt x="1" y="9"/>
                    </a:moveTo>
                    <a:lnTo>
                      <a:pt x="1" y="13"/>
                    </a:lnTo>
                    <a:lnTo>
                      <a:pt x="3" y="10"/>
                    </a:lnTo>
                    <a:lnTo>
                      <a:pt x="5" y="11"/>
                    </a:lnTo>
                    <a:lnTo>
                      <a:pt x="6" y="12"/>
                    </a:lnTo>
                    <a:lnTo>
                      <a:pt x="8" y="11"/>
                    </a:lnTo>
                    <a:lnTo>
                      <a:pt x="9" y="8"/>
                    </a:lnTo>
                    <a:lnTo>
                      <a:pt x="10" y="6"/>
                    </a:lnTo>
                    <a:lnTo>
                      <a:pt x="8" y="3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1" y="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4" name="Freeform 1368">
                <a:extLst>
                  <a:ext uri="{FF2B5EF4-FFF2-40B4-BE49-F238E27FC236}">
                    <a16:creationId xmlns:a16="http://schemas.microsoft.com/office/drawing/2014/main" id="{16FE0828-8FEF-4420-B7E1-CCB51025D9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6238" y="5716588"/>
                <a:ext cx="4763" cy="4763"/>
              </a:xfrm>
              <a:custGeom>
                <a:avLst/>
                <a:gdLst>
                  <a:gd name="T0" fmla="*/ 0 w 3"/>
                  <a:gd name="T1" fmla="*/ 0 h 3"/>
                  <a:gd name="T2" fmla="*/ 2 w 3"/>
                  <a:gd name="T3" fmla="*/ 3 h 3"/>
                  <a:gd name="T4" fmla="*/ 3 w 3"/>
                  <a:gd name="T5" fmla="*/ 1 h 3"/>
                  <a:gd name="T6" fmla="*/ 1 w 3"/>
                  <a:gd name="T7" fmla="*/ 0 h 3"/>
                  <a:gd name="T8" fmla="*/ 0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2" y="3"/>
                    </a:lnTo>
                    <a:lnTo>
                      <a:pt x="3" y="1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5" name="Freeform 1369">
                <a:extLst>
                  <a:ext uri="{FF2B5EF4-FFF2-40B4-BE49-F238E27FC236}">
                    <a16:creationId xmlns:a16="http://schemas.microsoft.com/office/drawing/2014/main" id="{41D8BBD6-DB5C-4C5A-A06F-CD2170F140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1001" y="5770563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2 h 4"/>
                  <a:gd name="T4" fmla="*/ 1 w 2"/>
                  <a:gd name="T5" fmla="*/ 4 h 4"/>
                  <a:gd name="T6" fmla="*/ 2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0" y="2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6" name="Freeform 1370">
                <a:extLst>
                  <a:ext uri="{FF2B5EF4-FFF2-40B4-BE49-F238E27FC236}">
                    <a16:creationId xmlns:a16="http://schemas.microsoft.com/office/drawing/2014/main" id="{6B3360A8-84A9-4B16-B317-70FD5221F2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7351" y="6040438"/>
                <a:ext cx="17463" cy="15875"/>
              </a:xfrm>
              <a:custGeom>
                <a:avLst/>
                <a:gdLst>
                  <a:gd name="T0" fmla="*/ 8 w 11"/>
                  <a:gd name="T1" fmla="*/ 8 h 10"/>
                  <a:gd name="T2" fmla="*/ 8 w 11"/>
                  <a:gd name="T3" fmla="*/ 7 h 10"/>
                  <a:gd name="T4" fmla="*/ 11 w 11"/>
                  <a:gd name="T5" fmla="*/ 7 h 10"/>
                  <a:gd name="T6" fmla="*/ 11 w 11"/>
                  <a:gd name="T7" fmla="*/ 5 h 10"/>
                  <a:gd name="T8" fmla="*/ 7 w 11"/>
                  <a:gd name="T9" fmla="*/ 2 h 10"/>
                  <a:gd name="T10" fmla="*/ 5 w 11"/>
                  <a:gd name="T11" fmla="*/ 2 h 10"/>
                  <a:gd name="T12" fmla="*/ 3 w 11"/>
                  <a:gd name="T13" fmla="*/ 0 h 10"/>
                  <a:gd name="T14" fmla="*/ 1 w 11"/>
                  <a:gd name="T15" fmla="*/ 0 h 10"/>
                  <a:gd name="T16" fmla="*/ 2 w 11"/>
                  <a:gd name="T17" fmla="*/ 3 h 10"/>
                  <a:gd name="T18" fmla="*/ 1 w 11"/>
                  <a:gd name="T19" fmla="*/ 7 h 10"/>
                  <a:gd name="T20" fmla="*/ 0 w 11"/>
                  <a:gd name="T21" fmla="*/ 8 h 10"/>
                  <a:gd name="T22" fmla="*/ 1 w 11"/>
                  <a:gd name="T23" fmla="*/ 10 h 10"/>
                  <a:gd name="T24" fmla="*/ 5 w 11"/>
                  <a:gd name="T25" fmla="*/ 8 h 10"/>
                  <a:gd name="T26" fmla="*/ 8 w 11"/>
                  <a:gd name="T2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0">
                    <a:moveTo>
                      <a:pt x="8" y="8"/>
                    </a:moveTo>
                    <a:lnTo>
                      <a:pt x="8" y="7"/>
                    </a:lnTo>
                    <a:lnTo>
                      <a:pt x="11" y="7"/>
                    </a:lnTo>
                    <a:lnTo>
                      <a:pt x="11" y="5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2" y="3"/>
                    </a:lnTo>
                    <a:lnTo>
                      <a:pt x="1" y="7"/>
                    </a:lnTo>
                    <a:lnTo>
                      <a:pt x="0" y="8"/>
                    </a:lnTo>
                    <a:lnTo>
                      <a:pt x="1" y="10"/>
                    </a:lnTo>
                    <a:lnTo>
                      <a:pt x="5" y="8"/>
                    </a:lnTo>
                    <a:lnTo>
                      <a:pt x="8" y="8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7" name="Freeform 1371">
                <a:extLst>
                  <a:ext uri="{FF2B5EF4-FFF2-40B4-BE49-F238E27FC236}">
                    <a16:creationId xmlns:a16="http://schemas.microsoft.com/office/drawing/2014/main" id="{5CFC43CE-E581-481E-B990-C76D949A3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2901" y="4941888"/>
                <a:ext cx="188913" cy="1206500"/>
              </a:xfrm>
              <a:custGeom>
                <a:avLst/>
                <a:gdLst>
                  <a:gd name="T0" fmla="*/ 65 w 119"/>
                  <a:gd name="T1" fmla="*/ 682 h 760"/>
                  <a:gd name="T2" fmla="*/ 55 w 119"/>
                  <a:gd name="T3" fmla="*/ 637 h 760"/>
                  <a:gd name="T4" fmla="*/ 55 w 119"/>
                  <a:gd name="T5" fmla="*/ 569 h 760"/>
                  <a:gd name="T6" fmla="*/ 44 w 119"/>
                  <a:gd name="T7" fmla="*/ 540 h 760"/>
                  <a:gd name="T8" fmla="*/ 43 w 119"/>
                  <a:gd name="T9" fmla="*/ 506 h 760"/>
                  <a:gd name="T10" fmla="*/ 36 w 119"/>
                  <a:gd name="T11" fmla="*/ 443 h 760"/>
                  <a:gd name="T12" fmla="*/ 36 w 119"/>
                  <a:gd name="T13" fmla="*/ 366 h 760"/>
                  <a:gd name="T14" fmla="*/ 46 w 119"/>
                  <a:gd name="T15" fmla="*/ 312 h 760"/>
                  <a:gd name="T16" fmla="*/ 36 w 119"/>
                  <a:gd name="T17" fmla="*/ 251 h 760"/>
                  <a:gd name="T18" fmla="*/ 48 w 119"/>
                  <a:gd name="T19" fmla="*/ 181 h 760"/>
                  <a:gd name="T20" fmla="*/ 49 w 119"/>
                  <a:gd name="T21" fmla="*/ 150 h 760"/>
                  <a:gd name="T22" fmla="*/ 63 w 119"/>
                  <a:gd name="T23" fmla="*/ 99 h 760"/>
                  <a:gd name="T24" fmla="*/ 34 w 119"/>
                  <a:gd name="T25" fmla="*/ 24 h 760"/>
                  <a:gd name="T26" fmla="*/ 25 w 119"/>
                  <a:gd name="T27" fmla="*/ 3 h 760"/>
                  <a:gd name="T28" fmla="*/ 15 w 119"/>
                  <a:gd name="T29" fmla="*/ 28 h 760"/>
                  <a:gd name="T30" fmla="*/ 19 w 119"/>
                  <a:gd name="T31" fmla="*/ 84 h 760"/>
                  <a:gd name="T32" fmla="*/ 18 w 119"/>
                  <a:gd name="T33" fmla="*/ 114 h 760"/>
                  <a:gd name="T34" fmla="*/ 18 w 119"/>
                  <a:gd name="T35" fmla="*/ 178 h 760"/>
                  <a:gd name="T36" fmla="*/ 12 w 119"/>
                  <a:gd name="T37" fmla="*/ 216 h 760"/>
                  <a:gd name="T38" fmla="*/ 12 w 119"/>
                  <a:gd name="T39" fmla="*/ 249 h 760"/>
                  <a:gd name="T40" fmla="*/ 18 w 119"/>
                  <a:gd name="T41" fmla="*/ 293 h 760"/>
                  <a:gd name="T42" fmla="*/ 17 w 119"/>
                  <a:gd name="T43" fmla="*/ 321 h 760"/>
                  <a:gd name="T44" fmla="*/ 10 w 119"/>
                  <a:gd name="T45" fmla="*/ 350 h 760"/>
                  <a:gd name="T46" fmla="*/ 7 w 119"/>
                  <a:gd name="T47" fmla="*/ 378 h 760"/>
                  <a:gd name="T48" fmla="*/ 6 w 119"/>
                  <a:gd name="T49" fmla="*/ 402 h 760"/>
                  <a:gd name="T50" fmla="*/ 9 w 119"/>
                  <a:gd name="T51" fmla="*/ 437 h 760"/>
                  <a:gd name="T52" fmla="*/ 7 w 119"/>
                  <a:gd name="T53" fmla="*/ 463 h 760"/>
                  <a:gd name="T54" fmla="*/ 28 w 119"/>
                  <a:gd name="T55" fmla="*/ 475 h 760"/>
                  <a:gd name="T56" fmla="*/ 33 w 119"/>
                  <a:gd name="T57" fmla="*/ 492 h 760"/>
                  <a:gd name="T58" fmla="*/ 27 w 119"/>
                  <a:gd name="T59" fmla="*/ 497 h 760"/>
                  <a:gd name="T60" fmla="*/ 28 w 119"/>
                  <a:gd name="T61" fmla="*/ 524 h 760"/>
                  <a:gd name="T62" fmla="*/ 33 w 119"/>
                  <a:gd name="T63" fmla="*/ 547 h 760"/>
                  <a:gd name="T64" fmla="*/ 26 w 119"/>
                  <a:gd name="T65" fmla="*/ 573 h 760"/>
                  <a:gd name="T66" fmla="*/ 25 w 119"/>
                  <a:gd name="T67" fmla="*/ 574 h 760"/>
                  <a:gd name="T68" fmla="*/ 16 w 119"/>
                  <a:gd name="T69" fmla="*/ 568 h 760"/>
                  <a:gd name="T70" fmla="*/ 6 w 119"/>
                  <a:gd name="T71" fmla="*/ 582 h 760"/>
                  <a:gd name="T72" fmla="*/ 7 w 119"/>
                  <a:gd name="T73" fmla="*/ 586 h 760"/>
                  <a:gd name="T74" fmla="*/ 26 w 119"/>
                  <a:gd name="T75" fmla="*/ 595 h 760"/>
                  <a:gd name="T76" fmla="*/ 22 w 119"/>
                  <a:gd name="T77" fmla="*/ 606 h 760"/>
                  <a:gd name="T78" fmla="*/ 36 w 119"/>
                  <a:gd name="T79" fmla="*/ 614 h 760"/>
                  <a:gd name="T80" fmla="*/ 29 w 119"/>
                  <a:gd name="T81" fmla="*/ 626 h 760"/>
                  <a:gd name="T82" fmla="*/ 30 w 119"/>
                  <a:gd name="T83" fmla="*/ 645 h 760"/>
                  <a:gd name="T84" fmla="*/ 36 w 119"/>
                  <a:gd name="T85" fmla="*/ 650 h 760"/>
                  <a:gd name="T86" fmla="*/ 33 w 119"/>
                  <a:gd name="T87" fmla="*/ 668 h 760"/>
                  <a:gd name="T88" fmla="*/ 46 w 119"/>
                  <a:gd name="T89" fmla="*/ 683 h 760"/>
                  <a:gd name="T90" fmla="*/ 50 w 119"/>
                  <a:gd name="T91" fmla="*/ 695 h 760"/>
                  <a:gd name="T92" fmla="*/ 51 w 119"/>
                  <a:gd name="T93" fmla="*/ 713 h 760"/>
                  <a:gd name="T94" fmla="*/ 61 w 119"/>
                  <a:gd name="T95" fmla="*/ 708 h 760"/>
                  <a:gd name="T96" fmla="*/ 63 w 119"/>
                  <a:gd name="T97" fmla="*/ 701 h 760"/>
                  <a:gd name="T98" fmla="*/ 68 w 119"/>
                  <a:gd name="T99" fmla="*/ 719 h 760"/>
                  <a:gd name="T100" fmla="*/ 61 w 119"/>
                  <a:gd name="T101" fmla="*/ 716 h 760"/>
                  <a:gd name="T102" fmla="*/ 55 w 119"/>
                  <a:gd name="T103" fmla="*/ 732 h 760"/>
                  <a:gd name="T104" fmla="*/ 65 w 119"/>
                  <a:gd name="T105" fmla="*/ 740 h 760"/>
                  <a:gd name="T106" fmla="*/ 66 w 119"/>
                  <a:gd name="T107" fmla="*/ 726 h 760"/>
                  <a:gd name="T108" fmla="*/ 85 w 119"/>
                  <a:gd name="T109" fmla="*/ 726 h 760"/>
                  <a:gd name="T110" fmla="*/ 68 w 119"/>
                  <a:gd name="T111" fmla="*/ 735 h 760"/>
                  <a:gd name="T112" fmla="*/ 75 w 119"/>
                  <a:gd name="T113" fmla="*/ 751 h 760"/>
                  <a:gd name="T114" fmla="*/ 87 w 119"/>
                  <a:gd name="T115" fmla="*/ 730 h 760"/>
                  <a:gd name="T116" fmla="*/ 86 w 119"/>
                  <a:gd name="T117" fmla="*/ 747 h 760"/>
                  <a:gd name="T118" fmla="*/ 78 w 119"/>
                  <a:gd name="T119" fmla="*/ 747 h 760"/>
                  <a:gd name="T120" fmla="*/ 95 w 119"/>
                  <a:gd name="T121" fmla="*/ 750 h 760"/>
                  <a:gd name="T122" fmla="*/ 107 w 119"/>
                  <a:gd name="T123" fmla="*/ 721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9" h="760">
                    <a:moveTo>
                      <a:pt x="112" y="709"/>
                    </a:moveTo>
                    <a:lnTo>
                      <a:pt x="110" y="709"/>
                    </a:lnTo>
                    <a:lnTo>
                      <a:pt x="92" y="709"/>
                    </a:lnTo>
                    <a:lnTo>
                      <a:pt x="82" y="710"/>
                    </a:lnTo>
                    <a:lnTo>
                      <a:pt x="80" y="709"/>
                    </a:lnTo>
                    <a:lnTo>
                      <a:pt x="73" y="708"/>
                    </a:lnTo>
                    <a:lnTo>
                      <a:pt x="71" y="701"/>
                    </a:lnTo>
                    <a:lnTo>
                      <a:pt x="69" y="695"/>
                    </a:lnTo>
                    <a:lnTo>
                      <a:pt x="66" y="692"/>
                    </a:lnTo>
                    <a:lnTo>
                      <a:pt x="65" y="682"/>
                    </a:lnTo>
                    <a:lnTo>
                      <a:pt x="65" y="678"/>
                    </a:lnTo>
                    <a:lnTo>
                      <a:pt x="62" y="678"/>
                    </a:lnTo>
                    <a:lnTo>
                      <a:pt x="58" y="680"/>
                    </a:lnTo>
                    <a:lnTo>
                      <a:pt x="55" y="684"/>
                    </a:lnTo>
                    <a:lnTo>
                      <a:pt x="53" y="684"/>
                    </a:lnTo>
                    <a:lnTo>
                      <a:pt x="47" y="668"/>
                    </a:lnTo>
                    <a:lnTo>
                      <a:pt x="46" y="663"/>
                    </a:lnTo>
                    <a:lnTo>
                      <a:pt x="47" y="648"/>
                    </a:lnTo>
                    <a:lnTo>
                      <a:pt x="50" y="643"/>
                    </a:lnTo>
                    <a:lnTo>
                      <a:pt x="55" y="637"/>
                    </a:lnTo>
                    <a:lnTo>
                      <a:pt x="57" y="628"/>
                    </a:lnTo>
                    <a:lnTo>
                      <a:pt x="55" y="619"/>
                    </a:lnTo>
                    <a:lnTo>
                      <a:pt x="54" y="612"/>
                    </a:lnTo>
                    <a:lnTo>
                      <a:pt x="54" y="605"/>
                    </a:lnTo>
                    <a:lnTo>
                      <a:pt x="57" y="601"/>
                    </a:lnTo>
                    <a:lnTo>
                      <a:pt x="54" y="593"/>
                    </a:lnTo>
                    <a:lnTo>
                      <a:pt x="55" y="589"/>
                    </a:lnTo>
                    <a:lnTo>
                      <a:pt x="57" y="586"/>
                    </a:lnTo>
                    <a:lnTo>
                      <a:pt x="56" y="578"/>
                    </a:lnTo>
                    <a:lnTo>
                      <a:pt x="55" y="569"/>
                    </a:lnTo>
                    <a:lnTo>
                      <a:pt x="53" y="564"/>
                    </a:lnTo>
                    <a:lnTo>
                      <a:pt x="54" y="561"/>
                    </a:lnTo>
                    <a:lnTo>
                      <a:pt x="57" y="557"/>
                    </a:lnTo>
                    <a:lnTo>
                      <a:pt x="57" y="554"/>
                    </a:lnTo>
                    <a:lnTo>
                      <a:pt x="54" y="547"/>
                    </a:lnTo>
                    <a:lnTo>
                      <a:pt x="49" y="543"/>
                    </a:lnTo>
                    <a:lnTo>
                      <a:pt x="46" y="543"/>
                    </a:lnTo>
                    <a:lnTo>
                      <a:pt x="45" y="544"/>
                    </a:lnTo>
                    <a:lnTo>
                      <a:pt x="43" y="543"/>
                    </a:lnTo>
                    <a:lnTo>
                      <a:pt x="44" y="540"/>
                    </a:lnTo>
                    <a:lnTo>
                      <a:pt x="51" y="540"/>
                    </a:lnTo>
                    <a:lnTo>
                      <a:pt x="54" y="536"/>
                    </a:lnTo>
                    <a:lnTo>
                      <a:pt x="54" y="531"/>
                    </a:lnTo>
                    <a:lnTo>
                      <a:pt x="52" y="530"/>
                    </a:lnTo>
                    <a:lnTo>
                      <a:pt x="50" y="532"/>
                    </a:lnTo>
                    <a:lnTo>
                      <a:pt x="47" y="532"/>
                    </a:lnTo>
                    <a:lnTo>
                      <a:pt x="46" y="524"/>
                    </a:lnTo>
                    <a:lnTo>
                      <a:pt x="43" y="517"/>
                    </a:lnTo>
                    <a:lnTo>
                      <a:pt x="43" y="512"/>
                    </a:lnTo>
                    <a:lnTo>
                      <a:pt x="43" y="506"/>
                    </a:lnTo>
                    <a:lnTo>
                      <a:pt x="39" y="505"/>
                    </a:lnTo>
                    <a:lnTo>
                      <a:pt x="37" y="499"/>
                    </a:lnTo>
                    <a:lnTo>
                      <a:pt x="36" y="486"/>
                    </a:lnTo>
                    <a:lnTo>
                      <a:pt x="40" y="484"/>
                    </a:lnTo>
                    <a:lnTo>
                      <a:pt x="41" y="480"/>
                    </a:lnTo>
                    <a:lnTo>
                      <a:pt x="40" y="476"/>
                    </a:lnTo>
                    <a:lnTo>
                      <a:pt x="36" y="474"/>
                    </a:lnTo>
                    <a:lnTo>
                      <a:pt x="36" y="467"/>
                    </a:lnTo>
                    <a:lnTo>
                      <a:pt x="35" y="456"/>
                    </a:lnTo>
                    <a:lnTo>
                      <a:pt x="36" y="443"/>
                    </a:lnTo>
                    <a:lnTo>
                      <a:pt x="33" y="437"/>
                    </a:lnTo>
                    <a:lnTo>
                      <a:pt x="33" y="432"/>
                    </a:lnTo>
                    <a:lnTo>
                      <a:pt x="38" y="423"/>
                    </a:lnTo>
                    <a:lnTo>
                      <a:pt x="39" y="414"/>
                    </a:lnTo>
                    <a:lnTo>
                      <a:pt x="43" y="412"/>
                    </a:lnTo>
                    <a:lnTo>
                      <a:pt x="44" y="409"/>
                    </a:lnTo>
                    <a:lnTo>
                      <a:pt x="36" y="389"/>
                    </a:lnTo>
                    <a:lnTo>
                      <a:pt x="37" y="382"/>
                    </a:lnTo>
                    <a:lnTo>
                      <a:pt x="37" y="378"/>
                    </a:lnTo>
                    <a:lnTo>
                      <a:pt x="36" y="366"/>
                    </a:lnTo>
                    <a:lnTo>
                      <a:pt x="40" y="359"/>
                    </a:lnTo>
                    <a:lnTo>
                      <a:pt x="43" y="354"/>
                    </a:lnTo>
                    <a:lnTo>
                      <a:pt x="43" y="348"/>
                    </a:lnTo>
                    <a:lnTo>
                      <a:pt x="40" y="343"/>
                    </a:lnTo>
                    <a:lnTo>
                      <a:pt x="37" y="340"/>
                    </a:lnTo>
                    <a:lnTo>
                      <a:pt x="41" y="335"/>
                    </a:lnTo>
                    <a:lnTo>
                      <a:pt x="40" y="328"/>
                    </a:lnTo>
                    <a:lnTo>
                      <a:pt x="43" y="322"/>
                    </a:lnTo>
                    <a:lnTo>
                      <a:pt x="45" y="320"/>
                    </a:lnTo>
                    <a:lnTo>
                      <a:pt x="46" y="312"/>
                    </a:lnTo>
                    <a:lnTo>
                      <a:pt x="45" y="299"/>
                    </a:lnTo>
                    <a:lnTo>
                      <a:pt x="43" y="297"/>
                    </a:lnTo>
                    <a:lnTo>
                      <a:pt x="41" y="287"/>
                    </a:lnTo>
                    <a:lnTo>
                      <a:pt x="39" y="281"/>
                    </a:lnTo>
                    <a:lnTo>
                      <a:pt x="36" y="275"/>
                    </a:lnTo>
                    <a:lnTo>
                      <a:pt x="35" y="272"/>
                    </a:lnTo>
                    <a:lnTo>
                      <a:pt x="33" y="268"/>
                    </a:lnTo>
                    <a:lnTo>
                      <a:pt x="31" y="260"/>
                    </a:lnTo>
                    <a:lnTo>
                      <a:pt x="32" y="254"/>
                    </a:lnTo>
                    <a:lnTo>
                      <a:pt x="36" y="251"/>
                    </a:lnTo>
                    <a:lnTo>
                      <a:pt x="36" y="243"/>
                    </a:lnTo>
                    <a:lnTo>
                      <a:pt x="38" y="240"/>
                    </a:lnTo>
                    <a:lnTo>
                      <a:pt x="38" y="232"/>
                    </a:lnTo>
                    <a:lnTo>
                      <a:pt x="36" y="226"/>
                    </a:lnTo>
                    <a:lnTo>
                      <a:pt x="35" y="216"/>
                    </a:lnTo>
                    <a:lnTo>
                      <a:pt x="37" y="213"/>
                    </a:lnTo>
                    <a:lnTo>
                      <a:pt x="38" y="201"/>
                    </a:lnTo>
                    <a:lnTo>
                      <a:pt x="41" y="196"/>
                    </a:lnTo>
                    <a:lnTo>
                      <a:pt x="44" y="185"/>
                    </a:lnTo>
                    <a:lnTo>
                      <a:pt x="48" y="181"/>
                    </a:lnTo>
                    <a:lnTo>
                      <a:pt x="51" y="179"/>
                    </a:lnTo>
                    <a:lnTo>
                      <a:pt x="53" y="176"/>
                    </a:lnTo>
                    <a:lnTo>
                      <a:pt x="52" y="174"/>
                    </a:lnTo>
                    <a:lnTo>
                      <a:pt x="51" y="169"/>
                    </a:lnTo>
                    <a:lnTo>
                      <a:pt x="50" y="167"/>
                    </a:lnTo>
                    <a:lnTo>
                      <a:pt x="49" y="165"/>
                    </a:lnTo>
                    <a:lnTo>
                      <a:pt x="50" y="162"/>
                    </a:lnTo>
                    <a:lnTo>
                      <a:pt x="52" y="160"/>
                    </a:lnTo>
                    <a:lnTo>
                      <a:pt x="52" y="155"/>
                    </a:lnTo>
                    <a:lnTo>
                      <a:pt x="49" y="150"/>
                    </a:lnTo>
                    <a:lnTo>
                      <a:pt x="48" y="145"/>
                    </a:lnTo>
                    <a:lnTo>
                      <a:pt x="50" y="141"/>
                    </a:lnTo>
                    <a:lnTo>
                      <a:pt x="49" y="138"/>
                    </a:lnTo>
                    <a:lnTo>
                      <a:pt x="47" y="135"/>
                    </a:lnTo>
                    <a:lnTo>
                      <a:pt x="47" y="131"/>
                    </a:lnTo>
                    <a:lnTo>
                      <a:pt x="64" y="120"/>
                    </a:lnTo>
                    <a:lnTo>
                      <a:pt x="67" y="101"/>
                    </a:lnTo>
                    <a:lnTo>
                      <a:pt x="66" y="96"/>
                    </a:lnTo>
                    <a:lnTo>
                      <a:pt x="64" y="97"/>
                    </a:lnTo>
                    <a:lnTo>
                      <a:pt x="63" y="99"/>
                    </a:lnTo>
                    <a:lnTo>
                      <a:pt x="59" y="99"/>
                    </a:lnTo>
                    <a:lnTo>
                      <a:pt x="48" y="65"/>
                    </a:lnTo>
                    <a:lnTo>
                      <a:pt x="42" y="57"/>
                    </a:lnTo>
                    <a:lnTo>
                      <a:pt x="40" y="54"/>
                    </a:lnTo>
                    <a:lnTo>
                      <a:pt x="43" y="45"/>
                    </a:lnTo>
                    <a:lnTo>
                      <a:pt x="42" y="42"/>
                    </a:lnTo>
                    <a:lnTo>
                      <a:pt x="43" y="36"/>
                    </a:lnTo>
                    <a:lnTo>
                      <a:pt x="43" y="34"/>
                    </a:lnTo>
                    <a:lnTo>
                      <a:pt x="36" y="28"/>
                    </a:lnTo>
                    <a:lnTo>
                      <a:pt x="34" y="24"/>
                    </a:lnTo>
                    <a:lnTo>
                      <a:pt x="33" y="19"/>
                    </a:lnTo>
                    <a:lnTo>
                      <a:pt x="33" y="16"/>
                    </a:lnTo>
                    <a:lnTo>
                      <a:pt x="34" y="13"/>
                    </a:lnTo>
                    <a:lnTo>
                      <a:pt x="33" y="10"/>
                    </a:lnTo>
                    <a:lnTo>
                      <a:pt x="32" y="9"/>
                    </a:lnTo>
                    <a:lnTo>
                      <a:pt x="29" y="5"/>
                    </a:lnTo>
                    <a:lnTo>
                      <a:pt x="29" y="1"/>
                    </a:lnTo>
                    <a:lnTo>
                      <a:pt x="28" y="1"/>
                    </a:lnTo>
                    <a:lnTo>
                      <a:pt x="26" y="0"/>
                    </a:lnTo>
                    <a:lnTo>
                      <a:pt x="25" y="3"/>
                    </a:lnTo>
                    <a:lnTo>
                      <a:pt x="24" y="6"/>
                    </a:lnTo>
                    <a:lnTo>
                      <a:pt x="26" y="9"/>
                    </a:lnTo>
                    <a:lnTo>
                      <a:pt x="25" y="12"/>
                    </a:lnTo>
                    <a:lnTo>
                      <a:pt x="22" y="14"/>
                    </a:lnTo>
                    <a:lnTo>
                      <a:pt x="21" y="13"/>
                    </a:lnTo>
                    <a:lnTo>
                      <a:pt x="18" y="15"/>
                    </a:lnTo>
                    <a:lnTo>
                      <a:pt x="14" y="18"/>
                    </a:lnTo>
                    <a:lnTo>
                      <a:pt x="15" y="19"/>
                    </a:lnTo>
                    <a:lnTo>
                      <a:pt x="15" y="24"/>
                    </a:lnTo>
                    <a:lnTo>
                      <a:pt x="15" y="28"/>
                    </a:lnTo>
                    <a:lnTo>
                      <a:pt x="15" y="33"/>
                    </a:lnTo>
                    <a:lnTo>
                      <a:pt x="18" y="45"/>
                    </a:lnTo>
                    <a:lnTo>
                      <a:pt x="18" y="50"/>
                    </a:lnTo>
                    <a:lnTo>
                      <a:pt x="17" y="53"/>
                    </a:lnTo>
                    <a:lnTo>
                      <a:pt x="15" y="55"/>
                    </a:lnTo>
                    <a:lnTo>
                      <a:pt x="17" y="61"/>
                    </a:lnTo>
                    <a:lnTo>
                      <a:pt x="19" y="68"/>
                    </a:lnTo>
                    <a:lnTo>
                      <a:pt x="20" y="74"/>
                    </a:lnTo>
                    <a:lnTo>
                      <a:pt x="20" y="82"/>
                    </a:lnTo>
                    <a:lnTo>
                      <a:pt x="19" y="84"/>
                    </a:lnTo>
                    <a:lnTo>
                      <a:pt x="19" y="86"/>
                    </a:lnTo>
                    <a:lnTo>
                      <a:pt x="19" y="98"/>
                    </a:lnTo>
                    <a:lnTo>
                      <a:pt x="19" y="101"/>
                    </a:lnTo>
                    <a:lnTo>
                      <a:pt x="18" y="102"/>
                    </a:lnTo>
                    <a:lnTo>
                      <a:pt x="15" y="104"/>
                    </a:lnTo>
                    <a:lnTo>
                      <a:pt x="15" y="111"/>
                    </a:lnTo>
                    <a:lnTo>
                      <a:pt x="17" y="112"/>
                    </a:lnTo>
                    <a:lnTo>
                      <a:pt x="19" y="111"/>
                    </a:lnTo>
                    <a:lnTo>
                      <a:pt x="19" y="112"/>
                    </a:lnTo>
                    <a:lnTo>
                      <a:pt x="18" y="114"/>
                    </a:lnTo>
                    <a:lnTo>
                      <a:pt x="18" y="132"/>
                    </a:lnTo>
                    <a:lnTo>
                      <a:pt x="20" y="139"/>
                    </a:lnTo>
                    <a:lnTo>
                      <a:pt x="21" y="144"/>
                    </a:lnTo>
                    <a:lnTo>
                      <a:pt x="20" y="148"/>
                    </a:lnTo>
                    <a:lnTo>
                      <a:pt x="18" y="153"/>
                    </a:lnTo>
                    <a:lnTo>
                      <a:pt x="18" y="157"/>
                    </a:lnTo>
                    <a:lnTo>
                      <a:pt x="20" y="163"/>
                    </a:lnTo>
                    <a:lnTo>
                      <a:pt x="19" y="167"/>
                    </a:lnTo>
                    <a:lnTo>
                      <a:pt x="19" y="175"/>
                    </a:lnTo>
                    <a:lnTo>
                      <a:pt x="18" y="178"/>
                    </a:lnTo>
                    <a:lnTo>
                      <a:pt x="18" y="183"/>
                    </a:lnTo>
                    <a:lnTo>
                      <a:pt x="19" y="185"/>
                    </a:lnTo>
                    <a:lnTo>
                      <a:pt x="19" y="188"/>
                    </a:lnTo>
                    <a:lnTo>
                      <a:pt x="16" y="191"/>
                    </a:lnTo>
                    <a:lnTo>
                      <a:pt x="16" y="196"/>
                    </a:lnTo>
                    <a:lnTo>
                      <a:pt x="15" y="199"/>
                    </a:lnTo>
                    <a:lnTo>
                      <a:pt x="15" y="204"/>
                    </a:lnTo>
                    <a:lnTo>
                      <a:pt x="15" y="206"/>
                    </a:lnTo>
                    <a:lnTo>
                      <a:pt x="12" y="213"/>
                    </a:lnTo>
                    <a:lnTo>
                      <a:pt x="12" y="216"/>
                    </a:lnTo>
                    <a:lnTo>
                      <a:pt x="15" y="220"/>
                    </a:lnTo>
                    <a:lnTo>
                      <a:pt x="15" y="226"/>
                    </a:lnTo>
                    <a:lnTo>
                      <a:pt x="17" y="229"/>
                    </a:lnTo>
                    <a:lnTo>
                      <a:pt x="15" y="230"/>
                    </a:lnTo>
                    <a:lnTo>
                      <a:pt x="14" y="234"/>
                    </a:lnTo>
                    <a:lnTo>
                      <a:pt x="16" y="236"/>
                    </a:lnTo>
                    <a:lnTo>
                      <a:pt x="14" y="240"/>
                    </a:lnTo>
                    <a:lnTo>
                      <a:pt x="12" y="240"/>
                    </a:lnTo>
                    <a:lnTo>
                      <a:pt x="12" y="245"/>
                    </a:lnTo>
                    <a:lnTo>
                      <a:pt x="12" y="249"/>
                    </a:lnTo>
                    <a:lnTo>
                      <a:pt x="13" y="253"/>
                    </a:lnTo>
                    <a:lnTo>
                      <a:pt x="16" y="263"/>
                    </a:lnTo>
                    <a:lnTo>
                      <a:pt x="16" y="268"/>
                    </a:lnTo>
                    <a:lnTo>
                      <a:pt x="15" y="270"/>
                    </a:lnTo>
                    <a:lnTo>
                      <a:pt x="15" y="273"/>
                    </a:lnTo>
                    <a:lnTo>
                      <a:pt x="18" y="278"/>
                    </a:lnTo>
                    <a:lnTo>
                      <a:pt x="18" y="285"/>
                    </a:lnTo>
                    <a:lnTo>
                      <a:pt x="17" y="288"/>
                    </a:lnTo>
                    <a:lnTo>
                      <a:pt x="17" y="290"/>
                    </a:lnTo>
                    <a:lnTo>
                      <a:pt x="18" y="293"/>
                    </a:lnTo>
                    <a:lnTo>
                      <a:pt x="18" y="295"/>
                    </a:lnTo>
                    <a:lnTo>
                      <a:pt x="17" y="298"/>
                    </a:lnTo>
                    <a:lnTo>
                      <a:pt x="18" y="300"/>
                    </a:lnTo>
                    <a:lnTo>
                      <a:pt x="21" y="305"/>
                    </a:lnTo>
                    <a:lnTo>
                      <a:pt x="22" y="309"/>
                    </a:lnTo>
                    <a:lnTo>
                      <a:pt x="20" y="312"/>
                    </a:lnTo>
                    <a:lnTo>
                      <a:pt x="18" y="313"/>
                    </a:lnTo>
                    <a:lnTo>
                      <a:pt x="15" y="318"/>
                    </a:lnTo>
                    <a:lnTo>
                      <a:pt x="15" y="319"/>
                    </a:lnTo>
                    <a:lnTo>
                      <a:pt x="17" y="321"/>
                    </a:lnTo>
                    <a:lnTo>
                      <a:pt x="15" y="325"/>
                    </a:lnTo>
                    <a:lnTo>
                      <a:pt x="14" y="327"/>
                    </a:lnTo>
                    <a:lnTo>
                      <a:pt x="14" y="329"/>
                    </a:lnTo>
                    <a:lnTo>
                      <a:pt x="14" y="335"/>
                    </a:lnTo>
                    <a:lnTo>
                      <a:pt x="12" y="338"/>
                    </a:lnTo>
                    <a:lnTo>
                      <a:pt x="13" y="341"/>
                    </a:lnTo>
                    <a:lnTo>
                      <a:pt x="12" y="342"/>
                    </a:lnTo>
                    <a:lnTo>
                      <a:pt x="12" y="347"/>
                    </a:lnTo>
                    <a:lnTo>
                      <a:pt x="10" y="349"/>
                    </a:lnTo>
                    <a:lnTo>
                      <a:pt x="10" y="350"/>
                    </a:lnTo>
                    <a:lnTo>
                      <a:pt x="12" y="352"/>
                    </a:lnTo>
                    <a:lnTo>
                      <a:pt x="9" y="355"/>
                    </a:lnTo>
                    <a:lnTo>
                      <a:pt x="9" y="360"/>
                    </a:lnTo>
                    <a:lnTo>
                      <a:pt x="9" y="363"/>
                    </a:lnTo>
                    <a:lnTo>
                      <a:pt x="7" y="364"/>
                    </a:lnTo>
                    <a:lnTo>
                      <a:pt x="7" y="367"/>
                    </a:lnTo>
                    <a:lnTo>
                      <a:pt x="6" y="370"/>
                    </a:lnTo>
                    <a:lnTo>
                      <a:pt x="6" y="372"/>
                    </a:lnTo>
                    <a:lnTo>
                      <a:pt x="7" y="375"/>
                    </a:lnTo>
                    <a:lnTo>
                      <a:pt x="7" y="378"/>
                    </a:lnTo>
                    <a:lnTo>
                      <a:pt x="5" y="381"/>
                    </a:lnTo>
                    <a:lnTo>
                      <a:pt x="4" y="381"/>
                    </a:lnTo>
                    <a:lnTo>
                      <a:pt x="2" y="380"/>
                    </a:lnTo>
                    <a:lnTo>
                      <a:pt x="0" y="381"/>
                    </a:lnTo>
                    <a:lnTo>
                      <a:pt x="0" y="382"/>
                    </a:lnTo>
                    <a:lnTo>
                      <a:pt x="1" y="386"/>
                    </a:lnTo>
                    <a:lnTo>
                      <a:pt x="1" y="392"/>
                    </a:lnTo>
                    <a:lnTo>
                      <a:pt x="2" y="395"/>
                    </a:lnTo>
                    <a:lnTo>
                      <a:pt x="5" y="398"/>
                    </a:lnTo>
                    <a:lnTo>
                      <a:pt x="6" y="402"/>
                    </a:lnTo>
                    <a:lnTo>
                      <a:pt x="5" y="405"/>
                    </a:lnTo>
                    <a:lnTo>
                      <a:pt x="10" y="415"/>
                    </a:lnTo>
                    <a:lnTo>
                      <a:pt x="11" y="417"/>
                    </a:lnTo>
                    <a:lnTo>
                      <a:pt x="12" y="419"/>
                    </a:lnTo>
                    <a:lnTo>
                      <a:pt x="12" y="425"/>
                    </a:lnTo>
                    <a:lnTo>
                      <a:pt x="11" y="433"/>
                    </a:lnTo>
                    <a:lnTo>
                      <a:pt x="10" y="433"/>
                    </a:lnTo>
                    <a:lnTo>
                      <a:pt x="10" y="436"/>
                    </a:lnTo>
                    <a:lnTo>
                      <a:pt x="10" y="438"/>
                    </a:lnTo>
                    <a:lnTo>
                      <a:pt x="9" y="437"/>
                    </a:lnTo>
                    <a:lnTo>
                      <a:pt x="7" y="437"/>
                    </a:lnTo>
                    <a:lnTo>
                      <a:pt x="6" y="440"/>
                    </a:lnTo>
                    <a:lnTo>
                      <a:pt x="7" y="443"/>
                    </a:lnTo>
                    <a:lnTo>
                      <a:pt x="9" y="446"/>
                    </a:lnTo>
                    <a:lnTo>
                      <a:pt x="8" y="453"/>
                    </a:lnTo>
                    <a:lnTo>
                      <a:pt x="8" y="456"/>
                    </a:lnTo>
                    <a:lnTo>
                      <a:pt x="7" y="457"/>
                    </a:lnTo>
                    <a:lnTo>
                      <a:pt x="8" y="459"/>
                    </a:lnTo>
                    <a:lnTo>
                      <a:pt x="8" y="461"/>
                    </a:lnTo>
                    <a:lnTo>
                      <a:pt x="7" y="463"/>
                    </a:lnTo>
                    <a:lnTo>
                      <a:pt x="8" y="464"/>
                    </a:lnTo>
                    <a:lnTo>
                      <a:pt x="12" y="472"/>
                    </a:lnTo>
                    <a:lnTo>
                      <a:pt x="13" y="474"/>
                    </a:lnTo>
                    <a:lnTo>
                      <a:pt x="15" y="477"/>
                    </a:lnTo>
                    <a:lnTo>
                      <a:pt x="19" y="478"/>
                    </a:lnTo>
                    <a:lnTo>
                      <a:pt x="22" y="478"/>
                    </a:lnTo>
                    <a:lnTo>
                      <a:pt x="22" y="473"/>
                    </a:lnTo>
                    <a:lnTo>
                      <a:pt x="23" y="471"/>
                    </a:lnTo>
                    <a:lnTo>
                      <a:pt x="26" y="472"/>
                    </a:lnTo>
                    <a:lnTo>
                      <a:pt x="28" y="475"/>
                    </a:lnTo>
                    <a:lnTo>
                      <a:pt x="29" y="474"/>
                    </a:lnTo>
                    <a:lnTo>
                      <a:pt x="31" y="474"/>
                    </a:lnTo>
                    <a:lnTo>
                      <a:pt x="29" y="476"/>
                    </a:lnTo>
                    <a:lnTo>
                      <a:pt x="26" y="480"/>
                    </a:lnTo>
                    <a:lnTo>
                      <a:pt x="26" y="482"/>
                    </a:lnTo>
                    <a:lnTo>
                      <a:pt x="29" y="483"/>
                    </a:lnTo>
                    <a:lnTo>
                      <a:pt x="30" y="482"/>
                    </a:lnTo>
                    <a:lnTo>
                      <a:pt x="30" y="485"/>
                    </a:lnTo>
                    <a:lnTo>
                      <a:pt x="31" y="490"/>
                    </a:lnTo>
                    <a:lnTo>
                      <a:pt x="33" y="492"/>
                    </a:lnTo>
                    <a:lnTo>
                      <a:pt x="32" y="493"/>
                    </a:lnTo>
                    <a:lnTo>
                      <a:pt x="30" y="492"/>
                    </a:lnTo>
                    <a:lnTo>
                      <a:pt x="29" y="488"/>
                    </a:lnTo>
                    <a:lnTo>
                      <a:pt x="28" y="488"/>
                    </a:lnTo>
                    <a:lnTo>
                      <a:pt x="27" y="489"/>
                    </a:lnTo>
                    <a:lnTo>
                      <a:pt x="27" y="492"/>
                    </a:lnTo>
                    <a:lnTo>
                      <a:pt x="29" y="494"/>
                    </a:lnTo>
                    <a:lnTo>
                      <a:pt x="30" y="495"/>
                    </a:lnTo>
                    <a:lnTo>
                      <a:pt x="28" y="496"/>
                    </a:lnTo>
                    <a:lnTo>
                      <a:pt x="27" y="497"/>
                    </a:lnTo>
                    <a:lnTo>
                      <a:pt x="27" y="502"/>
                    </a:lnTo>
                    <a:lnTo>
                      <a:pt x="29" y="504"/>
                    </a:lnTo>
                    <a:lnTo>
                      <a:pt x="27" y="507"/>
                    </a:lnTo>
                    <a:lnTo>
                      <a:pt x="27" y="509"/>
                    </a:lnTo>
                    <a:lnTo>
                      <a:pt x="28" y="510"/>
                    </a:lnTo>
                    <a:lnTo>
                      <a:pt x="26" y="513"/>
                    </a:lnTo>
                    <a:lnTo>
                      <a:pt x="26" y="515"/>
                    </a:lnTo>
                    <a:lnTo>
                      <a:pt x="29" y="517"/>
                    </a:lnTo>
                    <a:lnTo>
                      <a:pt x="29" y="520"/>
                    </a:lnTo>
                    <a:lnTo>
                      <a:pt x="28" y="524"/>
                    </a:lnTo>
                    <a:lnTo>
                      <a:pt x="26" y="527"/>
                    </a:lnTo>
                    <a:lnTo>
                      <a:pt x="26" y="529"/>
                    </a:lnTo>
                    <a:lnTo>
                      <a:pt x="28" y="531"/>
                    </a:lnTo>
                    <a:lnTo>
                      <a:pt x="30" y="531"/>
                    </a:lnTo>
                    <a:lnTo>
                      <a:pt x="32" y="533"/>
                    </a:lnTo>
                    <a:lnTo>
                      <a:pt x="33" y="536"/>
                    </a:lnTo>
                    <a:lnTo>
                      <a:pt x="35" y="536"/>
                    </a:lnTo>
                    <a:lnTo>
                      <a:pt x="36" y="538"/>
                    </a:lnTo>
                    <a:lnTo>
                      <a:pt x="36" y="543"/>
                    </a:lnTo>
                    <a:lnTo>
                      <a:pt x="33" y="547"/>
                    </a:lnTo>
                    <a:lnTo>
                      <a:pt x="30" y="550"/>
                    </a:lnTo>
                    <a:lnTo>
                      <a:pt x="28" y="550"/>
                    </a:lnTo>
                    <a:lnTo>
                      <a:pt x="28" y="553"/>
                    </a:lnTo>
                    <a:lnTo>
                      <a:pt x="29" y="557"/>
                    </a:lnTo>
                    <a:lnTo>
                      <a:pt x="28" y="558"/>
                    </a:lnTo>
                    <a:lnTo>
                      <a:pt x="28" y="561"/>
                    </a:lnTo>
                    <a:lnTo>
                      <a:pt x="29" y="561"/>
                    </a:lnTo>
                    <a:lnTo>
                      <a:pt x="27" y="564"/>
                    </a:lnTo>
                    <a:lnTo>
                      <a:pt x="26" y="570"/>
                    </a:lnTo>
                    <a:lnTo>
                      <a:pt x="26" y="573"/>
                    </a:lnTo>
                    <a:lnTo>
                      <a:pt x="27" y="575"/>
                    </a:lnTo>
                    <a:lnTo>
                      <a:pt x="26" y="576"/>
                    </a:lnTo>
                    <a:lnTo>
                      <a:pt x="26" y="582"/>
                    </a:lnTo>
                    <a:lnTo>
                      <a:pt x="24" y="584"/>
                    </a:lnTo>
                    <a:lnTo>
                      <a:pt x="24" y="587"/>
                    </a:lnTo>
                    <a:lnTo>
                      <a:pt x="22" y="585"/>
                    </a:lnTo>
                    <a:lnTo>
                      <a:pt x="24" y="584"/>
                    </a:lnTo>
                    <a:lnTo>
                      <a:pt x="25" y="578"/>
                    </a:lnTo>
                    <a:lnTo>
                      <a:pt x="24" y="575"/>
                    </a:lnTo>
                    <a:lnTo>
                      <a:pt x="25" y="574"/>
                    </a:lnTo>
                    <a:lnTo>
                      <a:pt x="23" y="573"/>
                    </a:lnTo>
                    <a:lnTo>
                      <a:pt x="20" y="575"/>
                    </a:lnTo>
                    <a:lnTo>
                      <a:pt x="17" y="577"/>
                    </a:lnTo>
                    <a:lnTo>
                      <a:pt x="15" y="577"/>
                    </a:lnTo>
                    <a:lnTo>
                      <a:pt x="15" y="575"/>
                    </a:lnTo>
                    <a:lnTo>
                      <a:pt x="19" y="574"/>
                    </a:lnTo>
                    <a:lnTo>
                      <a:pt x="20" y="572"/>
                    </a:lnTo>
                    <a:lnTo>
                      <a:pt x="20" y="568"/>
                    </a:lnTo>
                    <a:lnTo>
                      <a:pt x="19" y="567"/>
                    </a:lnTo>
                    <a:lnTo>
                      <a:pt x="16" y="568"/>
                    </a:lnTo>
                    <a:lnTo>
                      <a:pt x="11" y="568"/>
                    </a:lnTo>
                    <a:lnTo>
                      <a:pt x="9" y="568"/>
                    </a:lnTo>
                    <a:lnTo>
                      <a:pt x="8" y="568"/>
                    </a:lnTo>
                    <a:lnTo>
                      <a:pt x="8" y="571"/>
                    </a:lnTo>
                    <a:lnTo>
                      <a:pt x="9" y="574"/>
                    </a:lnTo>
                    <a:lnTo>
                      <a:pt x="10" y="574"/>
                    </a:lnTo>
                    <a:lnTo>
                      <a:pt x="11" y="577"/>
                    </a:lnTo>
                    <a:lnTo>
                      <a:pt x="9" y="577"/>
                    </a:lnTo>
                    <a:lnTo>
                      <a:pt x="8" y="580"/>
                    </a:lnTo>
                    <a:lnTo>
                      <a:pt x="6" y="582"/>
                    </a:lnTo>
                    <a:lnTo>
                      <a:pt x="5" y="585"/>
                    </a:lnTo>
                    <a:lnTo>
                      <a:pt x="2" y="587"/>
                    </a:lnTo>
                    <a:lnTo>
                      <a:pt x="1" y="590"/>
                    </a:lnTo>
                    <a:lnTo>
                      <a:pt x="5" y="595"/>
                    </a:lnTo>
                    <a:lnTo>
                      <a:pt x="7" y="595"/>
                    </a:lnTo>
                    <a:lnTo>
                      <a:pt x="9" y="594"/>
                    </a:lnTo>
                    <a:lnTo>
                      <a:pt x="8" y="592"/>
                    </a:lnTo>
                    <a:lnTo>
                      <a:pt x="5" y="591"/>
                    </a:lnTo>
                    <a:lnTo>
                      <a:pt x="5" y="589"/>
                    </a:lnTo>
                    <a:lnTo>
                      <a:pt x="7" y="586"/>
                    </a:lnTo>
                    <a:lnTo>
                      <a:pt x="10" y="585"/>
                    </a:lnTo>
                    <a:lnTo>
                      <a:pt x="11" y="585"/>
                    </a:lnTo>
                    <a:lnTo>
                      <a:pt x="12" y="588"/>
                    </a:lnTo>
                    <a:lnTo>
                      <a:pt x="14" y="590"/>
                    </a:lnTo>
                    <a:lnTo>
                      <a:pt x="17" y="590"/>
                    </a:lnTo>
                    <a:lnTo>
                      <a:pt x="19" y="588"/>
                    </a:lnTo>
                    <a:lnTo>
                      <a:pt x="20" y="589"/>
                    </a:lnTo>
                    <a:lnTo>
                      <a:pt x="22" y="592"/>
                    </a:lnTo>
                    <a:lnTo>
                      <a:pt x="25" y="594"/>
                    </a:lnTo>
                    <a:lnTo>
                      <a:pt x="26" y="595"/>
                    </a:lnTo>
                    <a:lnTo>
                      <a:pt x="25" y="595"/>
                    </a:lnTo>
                    <a:lnTo>
                      <a:pt x="24" y="598"/>
                    </a:lnTo>
                    <a:lnTo>
                      <a:pt x="26" y="599"/>
                    </a:lnTo>
                    <a:lnTo>
                      <a:pt x="24" y="601"/>
                    </a:lnTo>
                    <a:lnTo>
                      <a:pt x="22" y="603"/>
                    </a:lnTo>
                    <a:lnTo>
                      <a:pt x="24" y="606"/>
                    </a:lnTo>
                    <a:lnTo>
                      <a:pt x="26" y="607"/>
                    </a:lnTo>
                    <a:lnTo>
                      <a:pt x="26" y="608"/>
                    </a:lnTo>
                    <a:lnTo>
                      <a:pt x="23" y="607"/>
                    </a:lnTo>
                    <a:lnTo>
                      <a:pt x="22" y="606"/>
                    </a:lnTo>
                    <a:lnTo>
                      <a:pt x="21" y="606"/>
                    </a:lnTo>
                    <a:lnTo>
                      <a:pt x="21" y="608"/>
                    </a:lnTo>
                    <a:lnTo>
                      <a:pt x="22" y="610"/>
                    </a:lnTo>
                    <a:lnTo>
                      <a:pt x="24" y="612"/>
                    </a:lnTo>
                    <a:lnTo>
                      <a:pt x="27" y="613"/>
                    </a:lnTo>
                    <a:lnTo>
                      <a:pt x="31" y="611"/>
                    </a:lnTo>
                    <a:lnTo>
                      <a:pt x="33" y="613"/>
                    </a:lnTo>
                    <a:lnTo>
                      <a:pt x="34" y="613"/>
                    </a:lnTo>
                    <a:lnTo>
                      <a:pt x="36" y="612"/>
                    </a:lnTo>
                    <a:lnTo>
                      <a:pt x="36" y="614"/>
                    </a:lnTo>
                    <a:lnTo>
                      <a:pt x="36" y="615"/>
                    </a:lnTo>
                    <a:lnTo>
                      <a:pt x="35" y="616"/>
                    </a:lnTo>
                    <a:lnTo>
                      <a:pt x="33" y="616"/>
                    </a:lnTo>
                    <a:lnTo>
                      <a:pt x="32" y="617"/>
                    </a:lnTo>
                    <a:lnTo>
                      <a:pt x="30" y="616"/>
                    </a:lnTo>
                    <a:lnTo>
                      <a:pt x="26" y="616"/>
                    </a:lnTo>
                    <a:lnTo>
                      <a:pt x="25" y="619"/>
                    </a:lnTo>
                    <a:lnTo>
                      <a:pt x="25" y="621"/>
                    </a:lnTo>
                    <a:lnTo>
                      <a:pt x="28" y="623"/>
                    </a:lnTo>
                    <a:lnTo>
                      <a:pt x="29" y="626"/>
                    </a:lnTo>
                    <a:lnTo>
                      <a:pt x="31" y="626"/>
                    </a:lnTo>
                    <a:lnTo>
                      <a:pt x="33" y="625"/>
                    </a:lnTo>
                    <a:lnTo>
                      <a:pt x="33" y="627"/>
                    </a:lnTo>
                    <a:lnTo>
                      <a:pt x="30" y="630"/>
                    </a:lnTo>
                    <a:lnTo>
                      <a:pt x="30" y="631"/>
                    </a:lnTo>
                    <a:lnTo>
                      <a:pt x="31" y="633"/>
                    </a:lnTo>
                    <a:lnTo>
                      <a:pt x="30" y="634"/>
                    </a:lnTo>
                    <a:lnTo>
                      <a:pt x="29" y="635"/>
                    </a:lnTo>
                    <a:lnTo>
                      <a:pt x="29" y="637"/>
                    </a:lnTo>
                    <a:lnTo>
                      <a:pt x="30" y="645"/>
                    </a:lnTo>
                    <a:lnTo>
                      <a:pt x="32" y="647"/>
                    </a:lnTo>
                    <a:lnTo>
                      <a:pt x="32" y="651"/>
                    </a:lnTo>
                    <a:lnTo>
                      <a:pt x="33" y="654"/>
                    </a:lnTo>
                    <a:lnTo>
                      <a:pt x="36" y="656"/>
                    </a:lnTo>
                    <a:lnTo>
                      <a:pt x="36" y="650"/>
                    </a:lnTo>
                    <a:lnTo>
                      <a:pt x="36" y="644"/>
                    </a:lnTo>
                    <a:lnTo>
                      <a:pt x="39" y="642"/>
                    </a:lnTo>
                    <a:lnTo>
                      <a:pt x="40" y="644"/>
                    </a:lnTo>
                    <a:lnTo>
                      <a:pt x="38" y="644"/>
                    </a:lnTo>
                    <a:lnTo>
                      <a:pt x="36" y="650"/>
                    </a:lnTo>
                    <a:lnTo>
                      <a:pt x="36" y="653"/>
                    </a:lnTo>
                    <a:lnTo>
                      <a:pt x="39" y="654"/>
                    </a:lnTo>
                    <a:lnTo>
                      <a:pt x="40" y="654"/>
                    </a:lnTo>
                    <a:lnTo>
                      <a:pt x="40" y="655"/>
                    </a:lnTo>
                    <a:lnTo>
                      <a:pt x="36" y="656"/>
                    </a:lnTo>
                    <a:lnTo>
                      <a:pt x="34" y="658"/>
                    </a:lnTo>
                    <a:lnTo>
                      <a:pt x="35" y="661"/>
                    </a:lnTo>
                    <a:lnTo>
                      <a:pt x="34" y="664"/>
                    </a:lnTo>
                    <a:lnTo>
                      <a:pt x="34" y="666"/>
                    </a:lnTo>
                    <a:lnTo>
                      <a:pt x="33" y="668"/>
                    </a:lnTo>
                    <a:lnTo>
                      <a:pt x="32" y="671"/>
                    </a:lnTo>
                    <a:lnTo>
                      <a:pt x="32" y="673"/>
                    </a:lnTo>
                    <a:lnTo>
                      <a:pt x="36" y="676"/>
                    </a:lnTo>
                    <a:lnTo>
                      <a:pt x="41" y="678"/>
                    </a:lnTo>
                    <a:lnTo>
                      <a:pt x="43" y="679"/>
                    </a:lnTo>
                    <a:lnTo>
                      <a:pt x="43" y="681"/>
                    </a:lnTo>
                    <a:lnTo>
                      <a:pt x="41" y="681"/>
                    </a:lnTo>
                    <a:lnTo>
                      <a:pt x="42" y="684"/>
                    </a:lnTo>
                    <a:lnTo>
                      <a:pt x="43" y="686"/>
                    </a:lnTo>
                    <a:lnTo>
                      <a:pt x="46" y="683"/>
                    </a:lnTo>
                    <a:lnTo>
                      <a:pt x="46" y="685"/>
                    </a:lnTo>
                    <a:lnTo>
                      <a:pt x="45" y="688"/>
                    </a:lnTo>
                    <a:lnTo>
                      <a:pt x="43" y="688"/>
                    </a:lnTo>
                    <a:lnTo>
                      <a:pt x="41" y="691"/>
                    </a:lnTo>
                    <a:lnTo>
                      <a:pt x="43" y="692"/>
                    </a:lnTo>
                    <a:lnTo>
                      <a:pt x="44" y="692"/>
                    </a:lnTo>
                    <a:lnTo>
                      <a:pt x="44" y="695"/>
                    </a:lnTo>
                    <a:lnTo>
                      <a:pt x="47" y="698"/>
                    </a:lnTo>
                    <a:lnTo>
                      <a:pt x="48" y="697"/>
                    </a:lnTo>
                    <a:lnTo>
                      <a:pt x="50" y="695"/>
                    </a:lnTo>
                    <a:lnTo>
                      <a:pt x="49" y="699"/>
                    </a:lnTo>
                    <a:lnTo>
                      <a:pt x="50" y="702"/>
                    </a:lnTo>
                    <a:lnTo>
                      <a:pt x="49" y="702"/>
                    </a:lnTo>
                    <a:lnTo>
                      <a:pt x="47" y="701"/>
                    </a:lnTo>
                    <a:lnTo>
                      <a:pt x="46" y="701"/>
                    </a:lnTo>
                    <a:lnTo>
                      <a:pt x="46" y="703"/>
                    </a:lnTo>
                    <a:lnTo>
                      <a:pt x="48" y="706"/>
                    </a:lnTo>
                    <a:lnTo>
                      <a:pt x="49" y="707"/>
                    </a:lnTo>
                    <a:lnTo>
                      <a:pt x="50" y="710"/>
                    </a:lnTo>
                    <a:lnTo>
                      <a:pt x="51" y="713"/>
                    </a:lnTo>
                    <a:lnTo>
                      <a:pt x="54" y="715"/>
                    </a:lnTo>
                    <a:lnTo>
                      <a:pt x="56" y="715"/>
                    </a:lnTo>
                    <a:lnTo>
                      <a:pt x="54" y="710"/>
                    </a:lnTo>
                    <a:lnTo>
                      <a:pt x="55" y="709"/>
                    </a:lnTo>
                    <a:lnTo>
                      <a:pt x="54" y="706"/>
                    </a:lnTo>
                    <a:lnTo>
                      <a:pt x="57" y="708"/>
                    </a:lnTo>
                    <a:lnTo>
                      <a:pt x="57" y="710"/>
                    </a:lnTo>
                    <a:lnTo>
                      <a:pt x="58" y="713"/>
                    </a:lnTo>
                    <a:lnTo>
                      <a:pt x="60" y="709"/>
                    </a:lnTo>
                    <a:lnTo>
                      <a:pt x="61" y="708"/>
                    </a:lnTo>
                    <a:lnTo>
                      <a:pt x="61" y="706"/>
                    </a:lnTo>
                    <a:lnTo>
                      <a:pt x="59" y="705"/>
                    </a:lnTo>
                    <a:lnTo>
                      <a:pt x="56" y="704"/>
                    </a:lnTo>
                    <a:lnTo>
                      <a:pt x="56" y="702"/>
                    </a:lnTo>
                    <a:lnTo>
                      <a:pt x="58" y="702"/>
                    </a:lnTo>
                    <a:lnTo>
                      <a:pt x="63" y="705"/>
                    </a:lnTo>
                    <a:lnTo>
                      <a:pt x="63" y="706"/>
                    </a:lnTo>
                    <a:lnTo>
                      <a:pt x="66" y="706"/>
                    </a:lnTo>
                    <a:lnTo>
                      <a:pt x="65" y="703"/>
                    </a:lnTo>
                    <a:lnTo>
                      <a:pt x="63" y="701"/>
                    </a:lnTo>
                    <a:lnTo>
                      <a:pt x="57" y="701"/>
                    </a:lnTo>
                    <a:lnTo>
                      <a:pt x="57" y="699"/>
                    </a:lnTo>
                    <a:lnTo>
                      <a:pt x="59" y="699"/>
                    </a:lnTo>
                    <a:lnTo>
                      <a:pt x="64" y="701"/>
                    </a:lnTo>
                    <a:lnTo>
                      <a:pt x="67" y="704"/>
                    </a:lnTo>
                    <a:lnTo>
                      <a:pt x="68" y="708"/>
                    </a:lnTo>
                    <a:lnTo>
                      <a:pt x="67" y="710"/>
                    </a:lnTo>
                    <a:lnTo>
                      <a:pt x="67" y="713"/>
                    </a:lnTo>
                    <a:lnTo>
                      <a:pt x="68" y="717"/>
                    </a:lnTo>
                    <a:lnTo>
                      <a:pt x="68" y="719"/>
                    </a:lnTo>
                    <a:lnTo>
                      <a:pt x="66" y="722"/>
                    </a:lnTo>
                    <a:lnTo>
                      <a:pt x="67" y="718"/>
                    </a:lnTo>
                    <a:lnTo>
                      <a:pt x="65" y="712"/>
                    </a:lnTo>
                    <a:lnTo>
                      <a:pt x="64" y="710"/>
                    </a:lnTo>
                    <a:lnTo>
                      <a:pt x="62" y="713"/>
                    </a:lnTo>
                    <a:lnTo>
                      <a:pt x="62" y="715"/>
                    </a:lnTo>
                    <a:lnTo>
                      <a:pt x="63" y="717"/>
                    </a:lnTo>
                    <a:lnTo>
                      <a:pt x="62" y="719"/>
                    </a:lnTo>
                    <a:lnTo>
                      <a:pt x="61" y="718"/>
                    </a:lnTo>
                    <a:lnTo>
                      <a:pt x="61" y="716"/>
                    </a:lnTo>
                    <a:lnTo>
                      <a:pt x="59" y="716"/>
                    </a:lnTo>
                    <a:lnTo>
                      <a:pt x="57" y="717"/>
                    </a:lnTo>
                    <a:lnTo>
                      <a:pt x="54" y="717"/>
                    </a:lnTo>
                    <a:lnTo>
                      <a:pt x="51" y="719"/>
                    </a:lnTo>
                    <a:lnTo>
                      <a:pt x="54" y="720"/>
                    </a:lnTo>
                    <a:lnTo>
                      <a:pt x="54" y="725"/>
                    </a:lnTo>
                    <a:lnTo>
                      <a:pt x="55" y="727"/>
                    </a:lnTo>
                    <a:lnTo>
                      <a:pt x="55" y="730"/>
                    </a:lnTo>
                    <a:lnTo>
                      <a:pt x="54" y="731"/>
                    </a:lnTo>
                    <a:lnTo>
                      <a:pt x="55" y="732"/>
                    </a:lnTo>
                    <a:lnTo>
                      <a:pt x="57" y="733"/>
                    </a:lnTo>
                    <a:lnTo>
                      <a:pt x="58" y="730"/>
                    </a:lnTo>
                    <a:lnTo>
                      <a:pt x="59" y="731"/>
                    </a:lnTo>
                    <a:lnTo>
                      <a:pt x="61" y="732"/>
                    </a:lnTo>
                    <a:lnTo>
                      <a:pt x="61" y="733"/>
                    </a:lnTo>
                    <a:lnTo>
                      <a:pt x="60" y="733"/>
                    </a:lnTo>
                    <a:lnTo>
                      <a:pt x="57" y="736"/>
                    </a:lnTo>
                    <a:lnTo>
                      <a:pt x="58" y="737"/>
                    </a:lnTo>
                    <a:lnTo>
                      <a:pt x="61" y="738"/>
                    </a:lnTo>
                    <a:lnTo>
                      <a:pt x="65" y="740"/>
                    </a:lnTo>
                    <a:lnTo>
                      <a:pt x="67" y="740"/>
                    </a:lnTo>
                    <a:lnTo>
                      <a:pt x="67" y="738"/>
                    </a:lnTo>
                    <a:lnTo>
                      <a:pt x="67" y="734"/>
                    </a:lnTo>
                    <a:lnTo>
                      <a:pt x="67" y="732"/>
                    </a:lnTo>
                    <a:lnTo>
                      <a:pt x="67" y="730"/>
                    </a:lnTo>
                    <a:lnTo>
                      <a:pt x="65" y="730"/>
                    </a:lnTo>
                    <a:lnTo>
                      <a:pt x="64" y="730"/>
                    </a:lnTo>
                    <a:lnTo>
                      <a:pt x="64" y="729"/>
                    </a:lnTo>
                    <a:lnTo>
                      <a:pt x="66" y="727"/>
                    </a:lnTo>
                    <a:lnTo>
                      <a:pt x="66" y="726"/>
                    </a:lnTo>
                    <a:lnTo>
                      <a:pt x="67" y="725"/>
                    </a:lnTo>
                    <a:lnTo>
                      <a:pt x="70" y="726"/>
                    </a:lnTo>
                    <a:lnTo>
                      <a:pt x="71" y="725"/>
                    </a:lnTo>
                    <a:lnTo>
                      <a:pt x="72" y="726"/>
                    </a:lnTo>
                    <a:lnTo>
                      <a:pt x="73" y="727"/>
                    </a:lnTo>
                    <a:lnTo>
                      <a:pt x="74" y="726"/>
                    </a:lnTo>
                    <a:lnTo>
                      <a:pt x="77" y="725"/>
                    </a:lnTo>
                    <a:lnTo>
                      <a:pt x="79" y="726"/>
                    </a:lnTo>
                    <a:lnTo>
                      <a:pt x="82" y="726"/>
                    </a:lnTo>
                    <a:lnTo>
                      <a:pt x="85" y="726"/>
                    </a:lnTo>
                    <a:lnTo>
                      <a:pt x="85" y="727"/>
                    </a:lnTo>
                    <a:lnTo>
                      <a:pt x="83" y="728"/>
                    </a:lnTo>
                    <a:lnTo>
                      <a:pt x="81" y="730"/>
                    </a:lnTo>
                    <a:lnTo>
                      <a:pt x="80" y="730"/>
                    </a:lnTo>
                    <a:lnTo>
                      <a:pt x="78" y="728"/>
                    </a:lnTo>
                    <a:lnTo>
                      <a:pt x="77" y="728"/>
                    </a:lnTo>
                    <a:lnTo>
                      <a:pt x="72" y="733"/>
                    </a:lnTo>
                    <a:lnTo>
                      <a:pt x="71" y="733"/>
                    </a:lnTo>
                    <a:lnTo>
                      <a:pt x="70" y="733"/>
                    </a:lnTo>
                    <a:lnTo>
                      <a:pt x="68" y="735"/>
                    </a:lnTo>
                    <a:lnTo>
                      <a:pt x="68" y="737"/>
                    </a:lnTo>
                    <a:lnTo>
                      <a:pt x="67" y="740"/>
                    </a:lnTo>
                    <a:lnTo>
                      <a:pt x="67" y="740"/>
                    </a:lnTo>
                    <a:lnTo>
                      <a:pt x="67" y="742"/>
                    </a:lnTo>
                    <a:lnTo>
                      <a:pt x="68" y="743"/>
                    </a:lnTo>
                    <a:lnTo>
                      <a:pt x="67" y="744"/>
                    </a:lnTo>
                    <a:lnTo>
                      <a:pt x="67" y="746"/>
                    </a:lnTo>
                    <a:lnTo>
                      <a:pt x="71" y="747"/>
                    </a:lnTo>
                    <a:lnTo>
                      <a:pt x="74" y="751"/>
                    </a:lnTo>
                    <a:lnTo>
                      <a:pt x="75" y="751"/>
                    </a:lnTo>
                    <a:lnTo>
                      <a:pt x="76" y="749"/>
                    </a:lnTo>
                    <a:lnTo>
                      <a:pt x="75" y="747"/>
                    </a:lnTo>
                    <a:lnTo>
                      <a:pt x="77" y="744"/>
                    </a:lnTo>
                    <a:lnTo>
                      <a:pt x="78" y="744"/>
                    </a:lnTo>
                    <a:lnTo>
                      <a:pt x="79" y="742"/>
                    </a:lnTo>
                    <a:lnTo>
                      <a:pt x="77" y="740"/>
                    </a:lnTo>
                    <a:lnTo>
                      <a:pt x="81" y="738"/>
                    </a:lnTo>
                    <a:lnTo>
                      <a:pt x="83" y="736"/>
                    </a:lnTo>
                    <a:lnTo>
                      <a:pt x="85" y="732"/>
                    </a:lnTo>
                    <a:lnTo>
                      <a:pt x="87" y="730"/>
                    </a:lnTo>
                    <a:lnTo>
                      <a:pt x="88" y="731"/>
                    </a:lnTo>
                    <a:lnTo>
                      <a:pt x="89" y="733"/>
                    </a:lnTo>
                    <a:lnTo>
                      <a:pt x="91" y="733"/>
                    </a:lnTo>
                    <a:lnTo>
                      <a:pt x="92" y="733"/>
                    </a:lnTo>
                    <a:lnTo>
                      <a:pt x="89" y="734"/>
                    </a:lnTo>
                    <a:lnTo>
                      <a:pt x="88" y="737"/>
                    </a:lnTo>
                    <a:lnTo>
                      <a:pt x="88" y="739"/>
                    </a:lnTo>
                    <a:lnTo>
                      <a:pt x="85" y="742"/>
                    </a:lnTo>
                    <a:lnTo>
                      <a:pt x="85" y="745"/>
                    </a:lnTo>
                    <a:lnTo>
                      <a:pt x="86" y="747"/>
                    </a:lnTo>
                    <a:lnTo>
                      <a:pt x="85" y="750"/>
                    </a:lnTo>
                    <a:lnTo>
                      <a:pt x="82" y="751"/>
                    </a:lnTo>
                    <a:lnTo>
                      <a:pt x="82" y="750"/>
                    </a:lnTo>
                    <a:lnTo>
                      <a:pt x="83" y="748"/>
                    </a:lnTo>
                    <a:lnTo>
                      <a:pt x="84" y="744"/>
                    </a:lnTo>
                    <a:lnTo>
                      <a:pt x="82" y="744"/>
                    </a:lnTo>
                    <a:lnTo>
                      <a:pt x="81" y="745"/>
                    </a:lnTo>
                    <a:lnTo>
                      <a:pt x="81" y="747"/>
                    </a:lnTo>
                    <a:lnTo>
                      <a:pt x="80" y="747"/>
                    </a:lnTo>
                    <a:lnTo>
                      <a:pt x="78" y="747"/>
                    </a:lnTo>
                    <a:lnTo>
                      <a:pt x="77" y="748"/>
                    </a:lnTo>
                    <a:lnTo>
                      <a:pt x="78" y="751"/>
                    </a:lnTo>
                    <a:lnTo>
                      <a:pt x="83" y="757"/>
                    </a:lnTo>
                    <a:lnTo>
                      <a:pt x="87" y="757"/>
                    </a:lnTo>
                    <a:lnTo>
                      <a:pt x="90" y="759"/>
                    </a:lnTo>
                    <a:lnTo>
                      <a:pt x="92" y="759"/>
                    </a:lnTo>
                    <a:lnTo>
                      <a:pt x="93" y="760"/>
                    </a:lnTo>
                    <a:lnTo>
                      <a:pt x="95" y="758"/>
                    </a:lnTo>
                    <a:lnTo>
                      <a:pt x="96" y="754"/>
                    </a:lnTo>
                    <a:lnTo>
                      <a:pt x="95" y="750"/>
                    </a:lnTo>
                    <a:lnTo>
                      <a:pt x="95" y="747"/>
                    </a:lnTo>
                    <a:lnTo>
                      <a:pt x="95" y="745"/>
                    </a:lnTo>
                    <a:lnTo>
                      <a:pt x="95" y="740"/>
                    </a:lnTo>
                    <a:lnTo>
                      <a:pt x="95" y="735"/>
                    </a:lnTo>
                    <a:lnTo>
                      <a:pt x="95" y="732"/>
                    </a:lnTo>
                    <a:lnTo>
                      <a:pt x="95" y="730"/>
                    </a:lnTo>
                    <a:lnTo>
                      <a:pt x="99" y="727"/>
                    </a:lnTo>
                    <a:lnTo>
                      <a:pt x="102" y="723"/>
                    </a:lnTo>
                    <a:lnTo>
                      <a:pt x="104" y="721"/>
                    </a:lnTo>
                    <a:lnTo>
                      <a:pt x="107" y="721"/>
                    </a:lnTo>
                    <a:lnTo>
                      <a:pt x="108" y="720"/>
                    </a:lnTo>
                    <a:lnTo>
                      <a:pt x="108" y="716"/>
                    </a:lnTo>
                    <a:lnTo>
                      <a:pt x="109" y="714"/>
                    </a:lnTo>
                    <a:lnTo>
                      <a:pt x="112" y="713"/>
                    </a:lnTo>
                    <a:lnTo>
                      <a:pt x="116" y="716"/>
                    </a:lnTo>
                    <a:lnTo>
                      <a:pt x="118" y="714"/>
                    </a:lnTo>
                    <a:lnTo>
                      <a:pt x="119" y="715"/>
                    </a:lnTo>
                    <a:lnTo>
                      <a:pt x="115" y="710"/>
                    </a:lnTo>
                    <a:lnTo>
                      <a:pt x="112" y="70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8" name="Freeform 1372">
                <a:extLst>
                  <a:ext uri="{FF2B5EF4-FFF2-40B4-BE49-F238E27FC236}">
                    <a16:creationId xmlns:a16="http://schemas.microsoft.com/office/drawing/2014/main" id="{89E87555-E9ED-4BF3-A641-BCF6AE9CF8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0063" y="6084888"/>
                <a:ext cx="49213" cy="82550"/>
              </a:xfrm>
              <a:custGeom>
                <a:avLst/>
                <a:gdLst>
                  <a:gd name="T0" fmla="*/ 24 w 31"/>
                  <a:gd name="T1" fmla="*/ 20 h 52"/>
                  <a:gd name="T2" fmla="*/ 24 w 31"/>
                  <a:gd name="T3" fmla="*/ 20 h 52"/>
                  <a:gd name="T4" fmla="*/ 20 w 31"/>
                  <a:gd name="T5" fmla="*/ 0 h 52"/>
                  <a:gd name="T6" fmla="*/ 16 w 31"/>
                  <a:gd name="T7" fmla="*/ 2 h 52"/>
                  <a:gd name="T8" fmla="*/ 15 w 31"/>
                  <a:gd name="T9" fmla="*/ 3 h 52"/>
                  <a:gd name="T10" fmla="*/ 13 w 31"/>
                  <a:gd name="T11" fmla="*/ 1 h 52"/>
                  <a:gd name="T12" fmla="*/ 10 w 31"/>
                  <a:gd name="T13" fmla="*/ 0 h 52"/>
                  <a:gd name="T14" fmla="*/ 10 w 31"/>
                  <a:gd name="T15" fmla="*/ 3 h 52"/>
                  <a:gd name="T16" fmla="*/ 10 w 31"/>
                  <a:gd name="T17" fmla="*/ 6 h 52"/>
                  <a:gd name="T18" fmla="*/ 10 w 31"/>
                  <a:gd name="T19" fmla="*/ 8 h 52"/>
                  <a:gd name="T20" fmla="*/ 7 w 31"/>
                  <a:gd name="T21" fmla="*/ 10 h 52"/>
                  <a:gd name="T22" fmla="*/ 7 w 31"/>
                  <a:gd name="T23" fmla="*/ 12 h 52"/>
                  <a:gd name="T24" fmla="*/ 3 w 31"/>
                  <a:gd name="T25" fmla="*/ 10 h 52"/>
                  <a:gd name="T26" fmla="*/ 2 w 31"/>
                  <a:gd name="T27" fmla="*/ 10 h 52"/>
                  <a:gd name="T28" fmla="*/ 0 w 31"/>
                  <a:gd name="T29" fmla="*/ 13 h 52"/>
                  <a:gd name="T30" fmla="*/ 2 w 31"/>
                  <a:gd name="T31" fmla="*/ 14 h 52"/>
                  <a:gd name="T32" fmla="*/ 4 w 31"/>
                  <a:gd name="T33" fmla="*/ 13 h 52"/>
                  <a:gd name="T34" fmla="*/ 3 w 31"/>
                  <a:gd name="T35" fmla="*/ 16 h 52"/>
                  <a:gd name="T36" fmla="*/ 1 w 31"/>
                  <a:gd name="T37" fmla="*/ 19 h 52"/>
                  <a:gd name="T38" fmla="*/ 2 w 31"/>
                  <a:gd name="T39" fmla="*/ 21 h 52"/>
                  <a:gd name="T40" fmla="*/ 3 w 31"/>
                  <a:gd name="T41" fmla="*/ 25 h 52"/>
                  <a:gd name="T42" fmla="*/ 5 w 31"/>
                  <a:gd name="T43" fmla="*/ 29 h 52"/>
                  <a:gd name="T44" fmla="*/ 7 w 31"/>
                  <a:gd name="T45" fmla="*/ 29 h 52"/>
                  <a:gd name="T46" fmla="*/ 9 w 31"/>
                  <a:gd name="T47" fmla="*/ 26 h 52"/>
                  <a:gd name="T48" fmla="*/ 13 w 31"/>
                  <a:gd name="T49" fmla="*/ 24 h 52"/>
                  <a:gd name="T50" fmla="*/ 17 w 31"/>
                  <a:gd name="T51" fmla="*/ 24 h 52"/>
                  <a:gd name="T52" fmla="*/ 17 w 31"/>
                  <a:gd name="T53" fmla="*/ 27 h 52"/>
                  <a:gd name="T54" fmla="*/ 15 w 31"/>
                  <a:gd name="T55" fmla="*/ 31 h 52"/>
                  <a:gd name="T56" fmla="*/ 13 w 31"/>
                  <a:gd name="T57" fmla="*/ 31 h 52"/>
                  <a:gd name="T58" fmla="*/ 12 w 31"/>
                  <a:gd name="T59" fmla="*/ 33 h 52"/>
                  <a:gd name="T60" fmla="*/ 7 w 31"/>
                  <a:gd name="T61" fmla="*/ 35 h 52"/>
                  <a:gd name="T62" fmla="*/ 7 w 31"/>
                  <a:gd name="T63" fmla="*/ 37 h 52"/>
                  <a:gd name="T64" fmla="*/ 8 w 31"/>
                  <a:gd name="T65" fmla="*/ 38 h 52"/>
                  <a:gd name="T66" fmla="*/ 10 w 31"/>
                  <a:gd name="T67" fmla="*/ 41 h 52"/>
                  <a:gd name="T68" fmla="*/ 13 w 31"/>
                  <a:gd name="T69" fmla="*/ 44 h 52"/>
                  <a:gd name="T70" fmla="*/ 16 w 31"/>
                  <a:gd name="T71" fmla="*/ 44 h 52"/>
                  <a:gd name="T72" fmla="*/ 20 w 31"/>
                  <a:gd name="T73" fmla="*/ 45 h 52"/>
                  <a:gd name="T74" fmla="*/ 27 w 31"/>
                  <a:gd name="T75" fmla="*/ 51 h 52"/>
                  <a:gd name="T76" fmla="*/ 31 w 31"/>
                  <a:gd name="T77" fmla="*/ 52 h 52"/>
                  <a:gd name="T78" fmla="*/ 24 w 31"/>
                  <a:gd name="T79" fmla="*/ 20 h 52"/>
                  <a:gd name="T80" fmla="*/ 24 w 31"/>
                  <a:gd name="T81" fmla="*/ 2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1" h="52">
                    <a:moveTo>
                      <a:pt x="24" y="20"/>
                    </a:moveTo>
                    <a:lnTo>
                      <a:pt x="24" y="20"/>
                    </a:lnTo>
                    <a:lnTo>
                      <a:pt x="20" y="0"/>
                    </a:lnTo>
                    <a:lnTo>
                      <a:pt x="16" y="2"/>
                    </a:lnTo>
                    <a:lnTo>
                      <a:pt x="15" y="3"/>
                    </a:lnTo>
                    <a:lnTo>
                      <a:pt x="13" y="1"/>
                    </a:lnTo>
                    <a:lnTo>
                      <a:pt x="10" y="0"/>
                    </a:lnTo>
                    <a:lnTo>
                      <a:pt x="10" y="3"/>
                    </a:lnTo>
                    <a:lnTo>
                      <a:pt x="10" y="6"/>
                    </a:lnTo>
                    <a:lnTo>
                      <a:pt x="10" y="8"/>
                    </a:lnTo>
                    <a:lnTo>
                      <a:pt x="7" y="10"/>
                    </a:lnTo>
                    <a:lnTo>
                      <a:pt x="7" y="12"/>
                    </a:lnTo>
                    <a:lnTo>
                      <a:pt x="3" y="10"/>
                    </a:lnTo>
                    <a:lnTo>
                      <a:pt x="2" y="10"/>
                    </a:lnTo>
                    <a:lnTo>
                      <a:pt x="0" y="13"/>
                    </a:lnTo>
                    <a:lnTo>
                      <a:pt x="2" y="14"/>
                    </a:lnTo>
                    <a:lnTo>
                      <a:pt x="4" y="13"/>
                    </a:lnTo>
                    <a:lnTo>
                      <a:pt x="3" y="16"/>
                    </a:lnTo>
                    <a:lnTo>
                      <a:pt x="1" y="19"/>
                    </a:lnTo>
                    <a:lnTo>
                      <a:pt x="2" y="21"/>
                    </a:lnTo>
                    <a:lnTo>
                      <a:pt x="3" y="25"/>
                    </a:lnTo>
                    <a:lnTo>
                      <a:pt x="5" y="29"/>
                    </a:lnTo>
                    <a:lnTo>
                      <a:pt x="7" y="29"/>
                    </a:lnTo>
                    <a:lnTo>
                      <a:pt x="9" y="26"/>
                    </a:lnTo>
                    <a:lnTo>
                      <a:pt x="13" y="24"/>
                    </a:lnTo>
                    <a:lnTo>
                      <a:pt x="17" y="24"/>
                    </a:lnTo>
                    <a:lnTo>
                      <a:pt x="17" y="27"/>
                    </a:lnTo>
                    <a:lnTo>
                      <a:pt x="15" y="31"/>
                    </a:lnTo>
                    <a:lnTo>
                      <a:pt x="13" y="31"/>
                    </a:lnTo>
                    <a:lnTo>
                      <a:pt x="12" y="33"/>
                    </a:lnTo>
                    <a:lnTo>
                      <a:pt x="7" y="35"/>
                    </a:lnTo>
                    <a:lnTo>
                      <a:pt x="7" y="37"/>
                    </a:lnTo>
                    <a:lnTo>
                      <a:pt x="8" y="38"/>
                    </a:lnTo>
                    <a:lnTo>
                      <a:pt x="10" y="41"/>
                    </a:lnTo>
                    <a:lnTo>
                      <a:pt x="13" y="44"/>
                    </a:lnTo>
                    <a:lnTo>
                      <a:pt x="16" y="44"/>
                    </a:lnTo>
                    <a:lnTo>
                      <a:pt x="20" y="45"/>
                    </a:lnTo>
                    <a:lnTo>
                      <a:pt x="27" y="51"/>
                    </a:lnTo>
                    <a:lnTo>
                      <a:pt x="31" y="52"/>
                    </a:lnTo>
                    <a:lnTo>
                      <a:pt x="24" y="20"/>
                    </a:lnTo>
                    <a:lnTo>
                      <a:pt x="24" y="2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9" name="Freeform 1373">
                <a:extLst>
                  <a:ext uri="{FF2B5EF4-FFF2-40B4-BE49-F238E27FC236}">
                    <a16:creationId xmlns:a16="http://schemas.microsoft.com/office/drawing/2014/main" id="{3C82E770-1D2B-4A2F-A2A4-4AE1880F08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7826" y="6002338"/>
                <a:ext cx="11113" cy="14288"/>
              </a:xfrm>
              <a:custGeom>
                <a:avLst/>
                <a:gdLst>
                  <a:gd name="T0" fmla="*/ 7 w 7"/>
                  <a:gd name="T1" fmla="*/ 1 h 9"/>
                  <a:gd name="T2" fmla="*/ 4 w 7"/>
                  <a:gd name="T3" fmla="*/ 1 h 9"/>
                  <a:gd name="T4" fmla="*/ 2 w 7"/>
                  <a:gd name="T5" fmla="*/ 0 h 9"/>
                  <a:gd name="T6" fmla="*/ 1 w 7"/>
                  <a:gd name="T7" fmla="*/ 1 h 9"/>
                  <a:gd name="T8" fmla="*/ 1 w 7"/>
                  <a:gd name="T9" fmla="*/ 3 h 9"/>
                  <a:gd name="T10" fmla="*/ 0 w 7"/>
                  <a:gd name="T11" fmla="*/ 4 h 9"/>
                  <a:gd name="T12" fmla="*/ 2 w 7"/>
                  <a:gd name="T13" fmla="*/ 6 h 9"/>
                  <a:gd name="T14" fmla="*/ 3 w 7"/>
                  <a:gd name="T15" fmla="*/ 9 h 9"/>
                  <a:gd name="T16" fmla="*/ 4 w 7"/>
                  <a:gd name="T17" fmla="*/ 9 h 9"/>
                  <a:gd name="T18" fmla="*/ 5 w 7"/>
                  <a:gd name="T19" fmla="*/ 7 h 9"/>
                  <a:gd name="T20" fmla="*/ 5 w 7"/>
                  <a:gd name="T21" fmla="*/ 4 h 9"/>
                  <a:gd name="T22" fmla="*/ 7 w 7"/>
                  <a:gd name="T23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" h="9">
                    <a:moveTo>
                      <a:pt x="7" y="1"/>
                    </a:moveTo>
                    <a:lnTo>
                      <a:pt x="4" y="1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3" y="9"/>
                    </a:lnTo>
                    <a:lnTo>
                      <a:pt x="4" y="9"/>
                    </a:lnTo>
                    <a:lnTo>
                      <a:pt x="5" y="7"/>
                    </a:lnTo>
                    <a:lnTo>
                      <a:pt x="5" y="4"/>
                    </a:lnTo>
                    <a:lnTo>
                      <a:pt x="7" y="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0" name="Freeform 1374">
                <a:extLst>
                  <a:ext uri="{FF2B5EF4-FFF2-40B4-BE49-F238E27FC236}">
                    <a16:creationId xmlns:a16="http://schemas.microsoft.com/office/drawing/2014/main" id="{74FEA655-B791-4B12-9DA5-784EFCE85C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1338" y="3987800"/>
                <a:ext cx="3175" cy="4763"/>
              </a:xfrm>
              <a:custGeom>
                <a:avLst/>
                <a:gdLst>
                  <a:gd name="T0" fmla="*/ 0 w 2"/>
                  <a:gd name="T1" fmla="*/ 3 h 3"/>
                  <a:gd name="T2" fmla="*/ 2 w 2"/>
                  <a:gd name="T3" fmla="*/ 2 h 3"/>
                  <a:gd name="T4" fmla="*/ 1 w 2"/>
                  <a:gd name="T5" fmla="*/ 0 h 3"/>
                  <a:gd name="T6" fmla="*/ 0 w 2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2" y="2"/>
                    </a:lnTo>
                    <a:lnTo>
                      <a:pt x="1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1" name="Freeform 1375">
                <a:extLst>
                  <a:ext uri="{FF2B5EF4-FFF2-40B4-BE49-F238E27FC236}">
                    <a16:creationId xmlns:a16="http://schemas.microsoft.com/office/drawing/2014/main" id="{662B0F85-39D0-434B-9F01-AF1CD02C1C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0863" y="3998913"/>
                <a:ext cx="9525" cy="15875"/>
              </a:xfrm>
              <a:custGeom>
                <a:avLst/>
                <a:gdLst>
                  <a:gd name="T0" fmla="*/ 1 w 6"/>
                  <a:gd name="T1" fmla="*/ 0 h 10"/>
                  <a:gd name="T2" fmla="*/ 0 w 6"/>
                  <a:gd name="T3" fmla="*/ 4 h 10"/>
                  <a:gd name="T4" fmla="*/ 3 w 6"/>
                  <a:gd name="T5" fmla="*/ 10 h 10"/>
                  <a:gd name="T6" fmla="*/ 6 w 6"/>
                  <a:gd name="T7" fmla="*/ 4 h 10"/>
                  <a:gd name="T8" fmla="*/ 2 w 6"/>
                  <a:gd name="T9" fmla="*/ 0 h 10"/>
                  <a:gd name="T10" fmla="*/ 1 w 6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0">
                    <a:moveTo>
                      <a:pt x="1" y="0"/>
                    </a:moveTo>
                    <a:lnTo>
                      <a:pt x="0" y="4"/>
                    </a:lnTo>
                    <a:lnTo>
                      <a:pt x="3" y="10"/>
                    </a:lnTo>
                    <a:lnTo>
                      <a:pt x="6" y="4"/>
                    </a:lnTo>
                    <a:lnTo>
                      <a:pt x="2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2" name="Freeform 1376">
                <a:extLst>
                  <a:ext uri="{FF2B5EF4-FFF2-40B4-BE49-F238E27FC236}">
                    <a16:creationId xmlns:a16="http://schemas.microsoft.com/office/drawing/2014/main" id="{C61471EA-3957-4133-B33A-34ECECB5A8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1976" y="4011613"/>
                <a:ext cx="3175" cy="4763"/>
              </a:xfrm>
              <a:custGeom>
                <a:avLst/>
                <a:gdLst>
                  <a:gd name="T0" fmla="*/ 2 w 2"/>
                  <a:gd name="T1" fmla="*/ 0 h 3"/>
                  <a:gd name="T2" fmla="*/ 0 w 2"/>
                  <a:gd name="T3" fmla="*/ 2 h 3"/>
                  <a:gd name="T4" fmla="*/ 2 w 2"/>
                  <a:gd name="T5" fmla="*/ 3 h 3"/>
                  <a:gd name="T6" fmla="*/ 2 w 2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0" y="2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3" name="Freeform 1377">
                <a:extLst>
                  <a:ext uri="{FF2B5EF4-FFF2-40B4-BE49-F238E27FC236}">
                    <a16:creationId xmlns:a16="http://schemas.microsoft.com/office/drawing/2014/main" id="{6B9C2AA5-47E0-4280-9D1A-257FC8E20C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0388" y="3994150"/>
                <a:ext cx="6350" cy="11113"/>
              </a:xfrm>
              <a:custGeom>
                <a:avLst/>
                <a:gdLst>
                  <a:gd name="T0" fmla="*/ 0 w 4"/>
                  <a:gd name="T1" fmla="*/ 3 h 7"/>
                  <a:gd name="T2" fmla="*/ 1 w 4"/>
                  <a:gd name="T3" fmla="*/ 6 h 7"/>
                  <a:gd name="T4" fmla="*/ 4 w 4"/>
                  <a:gd name="T5" fmla="*/ 7 h 7"/>
                  <a:gd name="T6" fmla="*/ 2 w 4"/>
                  <a:gd name="T7" fmla="*/ 0 h 7"/>
                  <a:gd name="T8" fmla="*/ 0 w 4"/>
                  <a:gd name="T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7">
                    <a:moveTo>
                      <a:pt x="0" y="3"/>
                    </a:moveTo>
                    <a:lnTo>
                      <a:pt x="1" y="6"/>
                    </a:lnTo>
                    <a:lnTo>
                      <a:pt x="4" y="7"/>
                    </a:lnTo>
                    <a:lnTo>
                      <a:pt x="2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4" name="Freeform 1378">
                <a:extLst>
                  <a:ext uri="{FF2B5EF4-FFF2-40B4-BE49-F238E27FC236}">
                    <a16:creationId xmlns:a16="http://schemas.microsoft.com/office/drawing/2014/main" id="{B4AE72B0-0E7B-46DF-A1AD-C198F7C5B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8801" y="4022725"/>
                <a:ext cx="6350" cy="12700"/>
              </a:xfrm>
              <a:custGeom>
                <a:avLst/>
                <a:gdLst>
                  <a:gd name="T0" fmla="*/ 1 w 5"/>
                  <a:gd name="T1" fmla="*/ 10 h 10"/>
                  <a:gd name="T2" fmla="*/ 5 w 5"/>
                  <a:gd name="T3" fmla="*/ 9 h 10"/>
                  <a:gd name="T4" fmla="*/ 5 w 5"/>
                  <a:gd name="T5" fmla="*/ 3 h 10"/>
                  <a:gd name="T6" fmla="*/ 2 w 5"/>
                  <a:gd name="T7" fmla="*/ 0 h 10"/>
                  <a:gd name="T8" fmla="*/ 0 w 5"/>
                  <a:gd name="T9" fmla="*/ 3 h 10"/>
                  <a:gd name="T10" fmla="*/ 1 w 5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10">
                    <a:moveTo>
                      <a:pt x="1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0" y="3"/>
                      <a:pt x="0" y="3"/>
                    </a:cubicBezTo>
                    <a:lnTo>
                      <a:pt x="1" y="1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5" name="Freeform 1379">
                <a:extLst>
                  <a:ext uri="{FF2B5EF4-FFF2-40B4-BE49-F238E27FC236}">
                    <a16:creationId xmlns:a16="http://schemas.microsoft.com/office/drawing/2014/main" id="{FB7EC492-311F-49A1-AA1F-4842B42805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0388" y="402272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6" name="Freeform 1380">
                <a:extLst>
                  <a:ext uri="{FF2B5EF4-FFF2-40B4-BE49-F238E27FC236}">
                    <a16:creationId xmlns:a16="http://schemas.microsoft.com/office/drawing/2014/main" id="{61636FB3-87EA-468D-A709-DF319D58D7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0388" y="4041775"/>
                <a:ext cx="11113" cy="17463"/>
              </a:xfrm>
              <a:custGeom>
                <a:avLst/>
                <a:gdLst>
                  <a:gd name="T0" fmla="*/ 5 w 7"/>
                  <a:gd name="T1" fmla="*/ 10 h 11"/>
                  <a:gd name="T2" fmla="*/ 7 w 7"/>
                  <a:gd name="T3" fmla="*/ 11 h 11"/>
                  <a:gd name="T4" fmla="*/ 7 w 7"/>
                  <a:gd name="T5" fmla="*/ 9 h 11"/>
                  <a:gd name="T6" fmla="*/ 6 w 7"/>
                  <a:gd name="T7" fmla="*/ 3 h 11"/>
                  <a:gd name="T8" fmla="*/ 0 w 7"/>
                  <a:gd name="T9" fmla="*/ 0 h 11"/>
                  <a:gd name="T10" fmla="*/ 0 w 7"/>
                  <a:gd name="T11" fmla="*/ 3 h 11"/>
                  <a:gd name="T12" fmla="*/ 3 w 7"/>
                  <a:gd name="T13" fmla="*/ 7 h 11"/>
                  <a:gd name="T14" fmla="*/ 3 w 7"/>
                  <a:gd name="T15" fmla="*/ 10 h 11"/>
                  <a:gd name="T16" fmla="*/ 5 w 7"/>
                  <a:gd name="T17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11">
                    <a:moveTo>
                      <a:pt x="5" y="10"/>
                    </a:moveTo>
                    <a:lnTo>
                      <a:pt x="7" y="11"/>
                    </a:lnTo>
                    <a:lnTo>
                      <a:pt x="7" y="9"/>
                    </a:lnTo>
                    <a:lnTo>
                      <a:pt x="6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7"/>
                    </a:lnTo>
                    <a:lnTo>
                      <a:pt x="3" y="10"/>
                    </a:lnTo>
                    <a:lnTo>
                      <a:pt x="5" y="1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7" name="Freeform 1381">
                <a:extLst>
                  <a:ext uri="{FF2B5EF4-FFF2-40B4-BE49-F238E27FC236}">
                    <a16:creationId xmlns:a16="http://schemas.microsoft.com/office/drawing/2014/main" id="{E060F50E-FFA4-43E3-82CC-79A26DCFB8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5151" y="4065588"/>
                <a:ext cx="6350" cy="15875"/>
              </a:xfrm>
              <a:custGeom>
                <a:avLst/>
                <a:gdLst>
                  <a:gd name="T0" fmla="*/ 3 w 4"/>
                  <a:gd name="T1" fmla="*/ 0 h 10"/>
                  <a:gd name="T2" fmla="*/ 0 w 4"/>
                  <a:gd name="T3" fmla="*/ 5 h 10"/>
                  <a:gd name="T4" fmla="*/ 0 w 4"/>
                  <a:gd name="T5" fmla="*/ 8 h 10"/>
                  <a:gd name="T6" fmla="*/ 2 w 4"/>
                  <a:gd name="T7" fmla="*/ 10 h 10"/>
                  <a:gd name="T8" fmla="*/ 4 w 4"/>
                  <a:gd name="T9" fmla="*/ 5 h 10"/>
                  <a:gd name="T10" fmla="*/ 3 w 4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10">
                    <a:moveTo>
                      <a:pt x="3" y="0"/>
                    </a:moveTo>
                    <a:lnTo>
                      <a:pt x="0" y="5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4" y="5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8" name="Freeform 1382">
                <a:extLst>
                  <a:ext uri="{FF2B5EF4-FFF2-40B4-BE49-F238E27FC236}">
                    <a16:creationId xmlns:a16="http://schemas.microsoft.com/office/drawing/2014/main" id="{49672705-BB5E-467B-9286-11147EF9F5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8488" y="4086225"/>
                <a:ext cx="7938" cy="9525"/>
              </a:xfrm>
              <a:custGeom>
                <a:avLst/>
                <a:gdLst>
                  <a:gd name="T0" fmla="*/ 0 w 5"/>
                  <a:gd name="T1" fmla="*/ 3 h 6"/>
                  <a:gd name="T2" fmla="*/ 1 w 5"/>
                  <a:gd name="T3" fmla="*/ 6 h 6"/>
                  <a:gd name="T4" fmla="*/ 5 w 5"/>
                  <a:gd name="T5" fmla="*/ 6 h 6"/>
                  <a:gd name="T6" fmla="*/ 5 w 5"/>
                  <a:gd name="T7" fmla="*/ 2 h 6"/>
                  <a:gd name="T8" fmla="*/ 2 w 5"/>
                  <a:gd name="T9" fmla="*/ 0 h 6"/>
                  <a:gd name="T10" fmla="*/ 0 w 5"/>
                  <a:gd name="T11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6">
                    <a:moveTo>
                      <a:pt x="0" y="3"/>
                    </a:moveTo>
                    <a:lnTo>
                      <a:pt x="1" y="6"/>
                    </a:lnTo>
                    <a:lnTo>
                      <a:pt x="5" y="6"/>
                    </a:lnTo>
                    <a:lnTo>
                      <a:pt x="5" y="2"/>
                    </a:lnTo>
                    <a:lnTo>
                      <a:pt x="2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9" name="Line 1383">
                <a:extLst>
                  <a:ext uri="{FF2B5EF4-FFF2-40B4-BE49-F238E27FC236}">
                    <a16:creationId xmlns:a16="http://schemas.microsoft.com/office/drawing/2014/main" id="{98907AC7-B9B9-46D8-8185-820FCE7541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70388" y="4108450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0" name="Line 1384">
                <a:extLst>
                  <a:ext uri="{FF2B5EF4-FFF2-40B4-BE49-F238E27FC236}">
                    <a16:creationId xmlns:a16="http://schemas.microsoft.com/office/drawing/2014/main" id="{C0BA0E91-7CA1-426E-B8D0-D9D65E2A23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70388" y="4108450"/>
                <a:ext cx="0" cy="0"/>
              </a:xfrm>
              <a:prstGeom prst="line">
                <a:avLst/>
              </a:pr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1" name="Freeform 1385">
                <a:extLst>
                  <a:ext uri="{FF2B5EF4-FFF2-40B4-BE49-F238E27FC236}">
                    <a16:creationId xmlns:a16="http://schemas.microsoft.com/office/drawing/2014/main" id="{803C01FA-8E18-46F2-8B99-D393E87816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1976" y="4084638"/>
                <a:ext cx="3175" cy="14288"/>
              </a:xfrm>
              <a:custGeom>
                <a:avLst/>
                <a:gdLst>
                  <a:gd name="T0" fmla="*/ 1 w 2"/>
                  <a:gd name="T1" fmla="*/ 0 h 9"/>
                  <a:gd name="T2" fmla="*/ 0 w 2"/>
                  <a:gd name="T3" fmla="*/ 9 h 9"/>
                  <a:gd name="T4" fmla="*/ 2 w 2"/>
                  <a:gd name="T5" fmla="*/ 3 h 9"/>
                  <a:gd name="T6" fmla="*/ 1 w 2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9">
                    <a:moveTo>
                      <a:pt x="1" y="0"/>
                    </a:moveTo>
                    <a:lnTo>
                      <a:pt x="0" y="9"/>
                    </a:lnTo>
                    <a:lnTo>
                      <a:pt x="2" y="3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2" name="Freeform 1386">
                <a:extLst>
                  <a:ext uri="{FF2B5EF4-FFF2-40B4-BE49-F238E27FC236}">
                    <a16:creationId xmlns:a16="http://schemas.microsoft.com/office/drawing/2014/main" id="{B8C01C3A-19C9-40E0-9F82-770074C8E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9276" y="4117975"/>
                <a:ext cx="7938" cy="6350"/>
              </a:xfrm>
              <a:custGeom>
                <a:avLst/>
                <a:gdLst>
                  <a:gd name="T0" fmla="*/ 1 w 5"/>
                  <a:gd name="T1" fmla="*/ 0 h 4"/>
                  <a:gd name="T2" fmla="*/ 0 w 5"/>
                  <a:gd name="T3" fmla="*/ 4 h 4"/>
                  <a:gd name="T4" fmla="*/ 3 w 5"/>
                  <a:gd name="T5" fmla="*/ 4 h 4"/>
                  <a:gd name="T6" fmla="*/ 5 w 5"/>
                  <a:gd name="T7" fmla="*/ 2 h 4"/>
                  <a:gd name="T8" fmla="*/ 4 w 5"/>
                  <a:gd name="T9" fmla="*/ 0 h 4"/>
                  <a:gd name="T10" fmla="*/ 1 w 5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1" y="0"/>
                    </a:moveTo>
                    <a:lnTo>
                      <a:pt x="0" y="4"/>
                    </a:lnTo>
                    <a:lnTo>
                      <a:pt x="3" y="4"/>
                    </a:lnTo>
                    <a:lnTo>
                      <a:pt x="5" y="2"/>
                    </a:lnTo>
                    <a:lnTo>
                      <a:pt x="4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3" name="Freeform 1387">
                <a:extLst>
                  <a:ext uri="{FF2B5EF4-FFF2-40B4-BE49-F238E27FC236}">
                    <a16:creationId xmlns:a16="http://schemas.microsoft.com/office/drawing/2014/main" id="{2320DC88-5EBA-413B-8E6A-1D5291BB5C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8801" y="4108450"/>
                <a:ext cx="3175" cy="4763"/>
              </a:xfrm>
              <a:custGeom>
                <a:avLst/>
                <a:gdLst>
                  <a:gd name="T0" fmla="*/ 3 w 3"/>
                  <a:gd name="T1" fmla="*/ 4 h 4"/>
                  <a:gd name="T2" fmla="*/ 1 w 3"/>
                  <a:gd name="T3" fmla="*/ 0 h 4"/>
                  <a:gd name="T4" fmla="*/ 0 w 3"/>
                  <a:gd name="T5" fmla="*/ 4 h 4"/>
                  <a:gd name="T6" fmla="*/ 3 w 3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4"/>
                      <a:pt x="0" y="4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4" name="Freeform 1388">
                <a:extLst>
                  <a:ext uri="{FF2B5EF4-FFF2-40B4-BE49-F238E27FC236}">
                    <a16:creationId xmlns:a16="http://schemas.microsoft.com/office/drawing/2014/main" id="{39E46CFE-BFD8-4D35-9633-DBE55926CD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6101" y="4154488"/>
                <a:ext cx="23813" cy="25400"/>
              </a:xfrm>
              <a:custGeom>
                <a:avLst/>
                <a:gdLst>
                  <a:gd name="T0" fmla="*/ 14 w 15"/>
                  <a:gd name="T1" fmla="*/ 0 h 16"/>
                  <a:gd name="T2" fmla="*/ 9 w 15"/>
                  <a:gd name="T3" fmla="*/ 3 h 16"/>
                  <a:gd name="T4" fmla="*/ 6 w 15"/>
                  <a:gd name="T5" fmla="*/ 1 h 16"/>
                  <a:gd name="T6" fmla="*/ 3 w 15"/>
                  <a:gd name="T7" fmla="*/ 2 h 16"/>
                  <a:gd name="T8" fmla="*/ 2 w 15"/>
                  <a:gd name="T9" fmla="*/ 4 h 16"/>
                  <a:gd name="T10" fmla="*/ 5 w 15"/>
                  <a:gd name="T11" fmla="*/ 8 h 16"/>
                  <a:gd name="T12" fmla="*/ 5 w 15"/>
                  <a:gd name="T13" fmla="*/ 11 h 16"/>
                  <a:gd name="T14" fmla="*/ 2 w 15"/>
                  <a:gd name="T15" fmla="*/ 13 h 16"/>
                  <a:gd name="T16" fmla="*/ 0 w 15"/>
                  <a:gd name="T17" fmla="*/ 15 h 16"/>
                  <a:gd name="T18" fmla="*/ 3 w 15"/>
                  <a:gd name="T19" fmla="*/ 16 h 16"/>
                  <a:gd name="T20" fmla="*/ 10 w 15"/>
                  <a:gd name="T21" fmla="*/ 15 h 16"/>
                  <a:gd name="T22" fmla="*/ 12 w 15"/>
                  <a:gd name="T23" fmla="*/ 11 h 16"/>
                  <a:gd name="T24" fmla="*/ 12 w 15"/>
                  <a:gd name="T25" fmla="*/ 8 h 16"/>
                  <a:gd name="T26" fmla="*/ 11 w 15"/>
                  <a:gd name="T27" fmla="*/ 5 h 16"/>
                  <a:gd name="T28" fmla="*/ 15 w 15"/>
                  <a:gd name="T29" fmla="*/ 1 h 16"/>
                  <a:gd name="T30" fmla="*/ 14 w 15"/>
                  <a:gd name="T3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16">
                    <a:moveTo>
                      <a:pt x="14" y="0"/>
                    </a:moveTo>
                    <a:lnTo>
                      <a:pt x="9" y="3"/>
                    </a:lnTo>
                    <a:lnTo>
                      <a:pt x="6" y="1"/>
                    </a:lnTo>
                    <a:lnTo>
                      <a:pt x="3" y="2"/>
                    </a:lnTo>
                    <a:lnTo>
                      <a:pt x="2" y="4"/>
                    </a:lnTo>
                    <a:lnTo>
                      <a:pt x="5" y="8"/>
                    </a:lnTo>
                    <a:lnTo>
                      <a:pt x="5" y="11"/>
                    </a:lnTo>
                    <a:lnTo>
                      <a:pt x="2" y="13"/>
                    </a:lnTo>
                    <a:lnTo>
                      <a:pt x="0" y="15"/>
                    </a:lnTo>
                    <a:lnTo>
                      <a:pt x="3" y="16"/>
                    </a:lnTo>
                    <a:lnTo>
                      <a:pt x="10" y="15"/>
                    </a:lnTo>
                    <a:lnTo>
                      <a:pt x="12" y="11"/>
                    </a:lnTo>
                    <a:lnTo>
                      <a:pt x="12" y="8"/>
                    </a:lnTo>
                    <a:lnTo>
                      <a:pt x="11" y="5"/>
                    </a:lnTo>
                    <a:lnTo>
                      <a:pt x="15" y="1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5" name="Freeform 1389">
                <a:extLst>
                  <a:ext uri="{FF2B5EF4-FFF2-40B4-BE49-F238E27FC236}">
                    <a16:creationId xmlns:a16="http://schemas.microsoft.com/office/drawing/2014/main" id="{9E720D26-AEB4-4D52-A08B-A71021FAA7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1501" y="4148138"/>
                <a:ext cx="4763" cy="3175"/>
              </a:xfrm>
              <a:custGeom>
                <a:avLst/>
                <a:gdLst>
                  <a:gd name="T0" fmla="*/ 3 w 3"/>
                  <a:gd name="T1" fmla="*/ 0 h 2"/>
                  <a:gd name="T2" fmla="*/ 0 w 3"/>
                  <a:gd name="T3" fmla="*/ 1 h 2"/>
                  <a:gd name="T4" fmla="*/ 2 w 3"/>
                  <a:gd name="T5" fmla="*/ 2 h 2"/>
                  <a:gd name="T6" fmla="*/ 3 w 3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0" y="1"/>
                    </a:lnTo>
                    <a:lnTo>
                      <a:pt x="2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EEAF1C9A-77E7-4AEC-ABA9-00E05A048D5F}"/>
              </a:ext>
            </a:extLst>
          </p:cNvPr>
          <p:cNvGrpSpPr/>
          <p:nvPr/>
        </p:nvGrpSpPr>
        <p:grpSpPr>
          <a:xfrm>
            <a:off x="793154" y="1443959"/>
            <a:ext cx="3382861" cy="4419469"/>
            <a:chOff x="1148524" y="1365228"/>
            <a:chExt cx="3382861" cy="4419469"/>
          </a:xfrm>
        </p:grpSpPr>
        <p:cxnSp>
          <p:nvCxnSpPr>
            <p:cNvPr id="1709" name="Straight Connector 1708">
              <a:extLst>
                <a:ext uri="{FF2B5EF4-FFF2-40B4-BE49-F238E27FC236}">
                  <a16:creationId xmlns:a16="http://schemas.microsoft.com/office/drawing/2014/main" id="{80B4AA8E-2D06-4569-B0EA-B490D94139D6}"/>
                </a:ext>
              </a:extLst>
            </p:cNvPr>
            <p:cNvCxnSpPr>
              <a:stCxn id="1765" idx="0"/>
            </p:cNvCxnSpPr>
            <p:nvPr/>
          </p:nvCxnSpPr>
          <p:spPr>
            <a:xfrm>
              <a:off x="1449175" y="1365228"/>
              <a:ext cx="0" cy="4011838"/>
            </a:xfrm>
            <a:prstGeom prst="line">
              <a:avLst/>
            </a:prstGeom>
            <a:ln w="66675">
              <a:solidFill>
                <a:schemeClr val="accent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65" name="Oval 1764">
              <a:extLst>
                <a:ext uri="{FF2B5EF4-FFF2-40B4-BE49-F238E27FC236}">
                  <a16:creationId xmlns:a16="http://schemas.microsoft.com/office/drawing/2014/main" id="{08239138-4926-4E0C-B2B5-8B41F4012BC2}"/>
                </a:ext>
              </a:extLst>
            </p:cNvPr>
            <p:cNvSpPr/>
            <p:nvPr/>
          </p:nvSpPr>
          <p:spPr>
            <a:xfrm>
              <a:off x="1148524" y="1365228"/>
              <a:ext cx="601302" cy="60130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66" name="Oval 1765">
              <a:extLst>
                <a:ext uri="{FF2B5EF4-FFF2-40B4-BE49-F238E27FC236}">
                  <a16:creationId xmlns:a16="http://schemas.microsoft.com/office/drawing/2014/main" id="{AAAEF477-9DAF-4CD4-96C9-553F094C843D}"/>
                </a:ext>
              </a:extLst>
            </p:cNvPr>
            <p:cNvSpPr/>
            <p:nvPr/>
          </p:nvSpPr>
          <p:spPr>
            <a:xfrm>
              <a:off x="1223291" y="1439995"/>
              <a:ext cx="451766" cy="45176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63" name="TextBox 1762">
              <a:extLst>
                <a:ext uri="{FF2B5EF4-FFF2-40B4-BE49-F238E27FC236}">
                  <a16:creationId xmlns:a16="http://schemas.microsoft.com/office/drawing/2014/main" id="{50647587-5EE5-481F-9AC6-C791C52AA647}"/>
                </a:ext>
              </a:extLst>
            </p:cNvPr>
            <p:cNvSpPr txBox="1"/>
            <p:nvPr/>
          </p:nvSpPr>
          <p:spPr>
            <a:xfrm>
              <a:off x="1868522" y="1667061"/>
              <a:ext cx="2662863" cy="6463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, sed do </a:t>
              </a:r>
              <a:r>
                <a:rPr lang="en-US" sz="1400" dirty="0" err="1"/>
                <a:t>eiusmod</a:t>
              </a:r>
              <a:r>
                <a:rPr lang="en-US" sz="1400" dirty="0"/>
                <a:t> </a:t>
              </a:r>
              <a:r>
                <a:rPr lang="en-US" sz="1400" dirty="0" err="1"/>
                <a:t>tempor</a:t>
              </a:r>
              <a:r>
                <a:rPr lang="en-US" sz="1400" dirty="0"/>
                <a:t> </a:t>
              </a:r>
              <a:r>
                <a:rPr lang="en-US" sz="1400" dirty="0" err="1"/>
                <a:t>incididunt</a:t>
              </a:r>
              <a:r>
                <a:rPr lang="en-US" sz="1400" dirty="0"/>
                <a:t>.</a:t>
              </a:r>
            </a:p>
          </p:txBody>
        </p:sp>
        <p:sp>
          <p:nvSpPr>
            <p:cNvPr id="1764" name="TextBox 1763">
              <a:extLst>
                <a:ext uri="{FF2B5EF4-FFF2-40B4-BE49-F238E27FC236}">
                  <a16:creationId xmlns:a16="http://schemas.microsoft.com/office/drawing/2014/main" id="{B6A420BD-EDE1-4F55-9896-4330600EF15C}"/>
                </a:ext>
              </a:extLst>
            </p:cNvPr>
            <p:cNvSpPr txBox="1"/>
            <p:nvPr/>
          </p:nvSpPr>
          <p:spPr>
            <a:xfrm>
              <a:off x="1868522" y="1365228"/>
              <a:ext cx="1524633" cy="30777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/>
                <a:t>STEP 1</a:t>
              </a:r>
            </a:p>
          </p:txBody>
        </p:sp>
        <p:grpSp>
          <p:nvGrpSpPr>
            <p:cNvPr id="1757" name="Group 1756">
              <a:extLst>
                <a:ext uri="{FF2B5EF4-FFF2-40B4-BE49-F238E27FC236}">
                  <a16:creationId xmlns:a16="http://schemas.microsoft.com/office/drawing/2014/main" id="{9952C3A6-8076-4C39-98D0-70AE3364E30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318267" y="1534970"/>
              <a:ext cx="261817" cy="261818"/>
              <a:chOff x="5881688" y="1624013"/>
              <a:chExt cx="371475" cy="371476"/>
            </a:xfrm>
            <a:solidFill>
              <a:schemeClr val="tx2"/>
            </a:solidFill>
          </p:grpSpPr>
          <p:sp>
            <p:nvSpPr>
              <p:cNvPr id="1758" name="Freeform 19">
                <a:extLst>
                  <a:ext uri="{FF2B5EF4-FFF2-40B4-BE49-F238E27FC236}">
                    <a16:creationId xmlns:a16="http://schemas.microsoft.com/office/drawing/2014/main" id="{C5B3B847-95F1-4E53-BB93-FFC736B5C1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9638" y="1701801"/>
                <a:ext cx="15875" cy="263525"/>
              </a:xfrm>
              <a:custGeom>
                <a:avLst/>
                <a:gdLst>
                  <a:gd name="T0" fmla="*/ 2 w 4"/>
                  <a:gd name="T1" fmla="*/ 68 h 68"/>
                  <a:gd name="T2" fmla="*/ 0 w 4"/>
                  <a:gd name="T3" fmla="*/ 66 h 68"/>
                  <a:gd name="T4" fmla="*/ 0 w 4"/>
                  <a:gd name="T5" fmla="*/ 2 h 68"/>
                  <a:gd name="T6" fmla="*/ 2 w 4"/>
                  <a:gd name="T7" fmla="*/ 0 h 68"/>
                  <a:gd name="T8" fmla="*/ 4 w 4"/>
                  <a:gd name="T9" fmla="*/ 2 h 68"/>
                  <a:gd name="T10" fmla="*/ 4 w 4"/>
                  <a:gd name="T11" fmla="*/ 66 h 68"/>
                  <a:gd name="T12" fmla="*/ 2 w 4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8">
                    <a:moveTo>
                      <a:pt x="2" y="68"/>
                    </a:moveTo>
                    <a:cubicBezTo>
                      <a:pt x="1" y="68"/>
                      <a:pt x="0" y="67"/>
                      <a:pt x="0" y="6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ubicBezTo>
                      <a:pt x="4" y="66"/>
                      <a:pt x="4" y="66"/>
                      <a:pt x="4" y="66"/>
                    </a:cubicBezTo>
                    <a:cubicBezTo>
                      <a:pt x="4" y="67"/>
                      <a:pt x="3" y="68"/>
                      <a:pt x="2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9" name="Freeform 20">
                <a:extLst>
                  <a:ext uri="{FF2B5EF4-FFF2-40B4-BE49-F238E27FC236}">
                    <a16:creationId xmlns:a16="http://schemas.microsoft.com/office/drawing/2014/main" id="{17BF228B-167C-4D0F-8D25-56B0941B5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9176" y="1624013"/>
                <a:ext cx="14288" cy="169863"/>
              </a:xfrm>
              <a:custGeom>
                <a:avLst/>
                <a:gdLst>
                  <a:gd name="T0" fmla="*/ 2 w 4"/>
                  <a:gd name="T1" fmla="*/ 44 h 44"/>
                  <a:gd name="T2" fmla="*/ 0 w 4"/>
                  <a:gd name="T3" fmla="*/ 42 h 44"/>
                  <a:gd name="T4" fmla="*/ 0 w 4"/>
                  <a:gd name="T5" fmla="*/ 2 h 44"/>
                  <a:gd name="T6" fmla="*/ 2 w 4"/>
                  <a:gd name="T7" fmla="*/ 0 h 44"/>
                  <a:gd name="T8" fmla="*/ 4 w 4"/>
                  <a:gd name="T9" fmla="*/ 2 h 44"/>
                  <a:gd name="T10" fmla="*/ 4 w 4"/>
                  <a:gd name="T11" fmla="*/ 42 h 44"/>
                  <a:gd name="T12" fmla="*/ 2 w 4"/>
                  <a:gd name="T13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44">
                    <a:moveTo>
                      <a:pt x="2" y="44"/>
                    </a:moveTo>
                    <a:cubicBezTo>
                      <a:pt x="1" y="44"/>
                      <a:pt x="0" y="43"/>
                      <a:pt x="0" y="4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3"/>
                      <a:pt x="3" y="44"/>
                      <a:pt x="2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0" name="Freeform 21">
                <a:extLst>
                  <a:ext uri="{FF2B5EF4-FFF2-40B4-BE49-F238E27FC236}">
                    <a16:creationId xmlns:a16="http://schemas.microsoft.com/office/drawing/2014/main" id="{832F666D-8A1A-43DE-A823-BEA9A4BCC3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1688" y="1624013"/>
                <a:ext cx="341313" cy="341313"/>
              </a:xfrm>
              <a:custGeom>
                <a:avLst/>
                <a:gdLst>
                  <a:gd name="T0" fmla="*/ 30 w 88"/>
                  <a:gd name="T1" fmla="*/ 88 h 88"/>
                  <a:gd name="T2" fmla="*/ 29 w 88"/>
                  <a:gd name="T3" fmla="*/ 88 h 88"/>
                  <a:gd name="T4" fmla="*/ 1 w 88"/>
                  <a:gd name="T5" fmla="*/ 68 h 88"/>
                  <a:gd name="T6" fmla="*/ 0 w 88"/>
                  <a:gd name="T7" fmla="*/ 66 h 88"/>
                  <a:gd name="T8" fmla="*/ 0 w 88"/>
                  <a:gd name="T9" fmla="*/ 2 h 88"/>
                  <a:gd name="T10" fmla="*/ 1 w 88"/>
                  <a:gd name="T11" fmla="*/ 0 h 88"/>
                  <a:gd name="T12" fmla="*/ 3 w 88"/>
                  <a:gd name="T13" fmla="*/ 0 h 88"/>
                  <a:gd name="T14" fmla="*/ 30 w 88"/>
                  <a:gd name="T15" fmla="*/ 20 h 88"/>
                  <a:gd name="T16" fmla="*/ 57 w 88"/>
                  <a:gd name="T17" fmla="*/ 0 h 88"/>
                  <a:gd name="T18" fmla="*/ 59 w 88"/>
                  <a:gd name="T19" fmla="*/ 0 h 88"/>
                  <a:gd name="T20" fmla="*/ 87 w 88"/>
                  <a:gd name="T21" fmla="*/ 20 h 88"/>
                  <a:gd name="T22" fmla="*/ 88 w 88"/>
                  <a:gd name="T23" fmla="*/ 22 h 88"/>
                  <a:gd name="T24" fmla="*/ 88 w 88"/>
                  <a:gd name="T25" fmla="*/ 42 h 88"/>
                  <a:gd name="T26" fmla="*/ 86 w 88"/>
                  <a:gd name="T27" fmla="*/ 44 h 88"/>
                  <a:gd name="T28" fmla="*/ 84 w 88"/>
                  <a:gd name="T29" fmla="*/ 42 h 88"/>
                  <a:gd name="T30" fmla="*/ 84 w 88"/>
                  <a:gd name="T31" fmla="*/ 23 h 88"/>
                  <a:gd name="T32" fmla="*/ 58 w 88"/>
                  <a:gd name="T33" fmla="*/ 4 h 88"/>
                  <a:gd name="T34" fmla="*/ 31 w 88"/>
                  <a:gd name="T35" fmla="*/ 24 h 88"/>
                  <a:gd name="T36" fmla="*/ 29 w 88"/>
                  <a:gd name="T37" fmla="*/ 24 h 88"/>
                  <a:gd name="T38" fmla="*/ 4 w 88"/>
                  <a:gd name="T39" fmla="*/ 6 h 88"/>
                  <a:gd name="T40" fmla="*/ 4 w 88"/>
                  <a:gd name="T41" fmla="*/ 65 h 88"/>
                  <a:gd name="T42" fmla="*/ 30 w 88"/>
                  <a:gd name="T43" fmla="*/ 84 h 88"/>
                  <a:gd name="T44" fmla="*/ 53 w 88"/>
                  <a:gd name="T45" fmla="*/ 67 h 88"/>
                  <a:gd name="T46" fmla="*/ 56 w 88"/>
                  <a:gd name="T47" fmla="*/ 68 h 88"/>
                  <a:gd name="T48" fmla="*/ 55 w 88"/>
                  <a:gd name="T49" fmla="*/ 70 h 88"/>
                  <a:gd name="T50" fmla="*/ 31 w 88"/>
                  <a:gd name="T51" fmla="*/ 88 h 88"/>
                  <a:gd name="T52" fmla="*/ 30 w 88"/>
                  <a:gd name="T53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8" h="88">
                    <a:moveTo>
                      <a:pt x="30" y="88"/>
                    </a:moveTo>
                    <a:cubicBezTo>
                      <a:pt x="30" y="88"/>
                      <a:pt x="29" y="88"/>
                      <a:pt x="29" y="88"/>
                    </a:cubicBezTo>
                    <a:cubicBezTo>
                      <a:pt x="1" y="68"/>
                      <a:pt x="1" y="68"/>
                      <a:pt x="1" y="68"/>
                    </a:cubicBezTo>
                    <a:cubicBezTo>
                      <a:pt x="0" y="67"/>
                      <a:pt x="0" y="67"/>
                      <a:pt x="0" y="6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8" y="0"/>
                      <a:pt x="58" y="0"/>
                      <a:pt x="59" y="0"/>
                    </a:cubicBezTo>
                    <a:cubicBezTo>
                      <a:pt x="87" y="20"/>
                      <a:pt x="87" y="20"/>
                      <a:pt x="87" y="20"/>
                    </a:cubicBezTo>
                    <a:cubicBezTo>
                      <a:pt x="88" y="21"/>
                      <a:pt x="88" y="21"/>
                      <a:pt x="88" y="22"/>
                    </a:cubicBezTo>
                    <a:cubicBezTo>
                      <a:pt x="88" y="42"/>
                      <a:pt x="88" y="42"/>
                      <a:pt x="88" y="42"/>
                    </a:cubicBezTo>
                    <a:cubicBezTo>
                      <a:pt x="88" y="43"/>
                      <a:pt x="87" y="44"/>
                      <a:pt x="86" y="44"/>
                    </a:cubicBezTo>
                    <a:cubicBezTo>
                      <a:pt x="85" y="44"/>
                      <a:pt x="84" y="43"/>
                      <a:pt x="84" y="42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58" y="4"/>
                      <a:pt x="58" y="4"/>
                      <a:pt x="58" y="4"/>
                    </a:cubicBezTo>
                    <a:cubicBezTo>
                      <a:pt x="31" y="24"/>
                      <a:pt x="31" y="24"/>
                      <a:pt x="31" y="24"/>
                    </a:cubicBezTo>
                    <a:cubicBezTo>
                      <a:pt x="30" y="24"/>
                      <a:pt x="30" y="24"/>
                      <a:pt x="29" y="2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30" y="84"/>
                      <a:pt x="30" y="84"/>
                      <a:pt x="30" y="84"/>
                    </a:cubicBezTo>
                    <a:cubicBezTo>
                      <a:pt x="53" y="67"/>
                      <a:pt x="53" y="67"/>
                      <a:pt x="53" y="67"/>
                    </a:cubicBezTo>
                    <a:cubicBezTo>
                      <a:pt x="54" y="67"/>
                      <a:pt x="55" y="67"/>
                      <a:pt x="56" y="68"/>
                    </a:cubicBezTo>
                    <a:cubicBezTo>
                      <a:pt x="56" y="69"/>
                      <a:pt x="56" y="70"/>
                      <a:pt x="55" y="70"/>
                    </a:cubicBezTo>
                    <a:cubicBezTo>
                      <a:pt x="31" y="88"/>
                      <a:pt x="31" y="88"/>
                      <a:pt x="31" y="88"/>
                    </a:cubicBezTo>
                    <a:cubicBezTo>
                      <a:pt x="31" y="88"/>
                      <a:pt x="30" y="88"/>
                      <a:pt x="30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1" name="Freeform 22">
                <a:extLst>
                  <a:ext uri="{FF2B5EF4-FFF2-40B4-BE49-F238E27FC236}">
                    <a16:creationId xmlns:a16="http://schemas.microsoft.com/office/drawing/2014/main" id="{C63837D9-D8DA-4C09-862C-846B2071E7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13463" y="1809751"/>
                <a:ext cx="139700" cy="185738"/>
              </a:xfrm>
              <a:custGeom>
                <a:avLst/>
                <a:gdLst>
                  <a:gd name="T0" fmla="*/ 18 w 36"/>
                  <a:gd name="T1" fmla="*/ 48 h 48"/>
                  <a:gd name="T2" fmla="*/ 16 w 36"/>
                  <a:gd name="T3" fmla="*/ 47 h 48"/>
                  <a:gd name="T4" fmla="*/ 0 w 36"/>
                  <a:gd name="T5" fmla="*/ 18 h 48"/>
                  <a:gd name="T6" fmla="*/ 18 w 36"/>
                  <a:gd name="T7" fmla="*/ 0 h 48"/>
                  <a:gd name="T8" fmla="*/ 36 w 36"/>
                  <a:gd name="T9" fmla="*/ 18 h 48"/>
                  <a:gd name="T10" fmla="*/ 20 w 36"/>
                  <a:gd name="T11" fmla="*/ 47 h 48"/>
                  <a:gd name="T12" fmla="*/ 18 w 36"/>
                  <a:gd name="T13" fmla="*/ 48 h 48"/>
                  <a:gd name="T14" fmla="*/ 18 w 36"/>
                  <a:gd name="T15" fmla="*/ 4 h 48"/>
                  <a:gd name="T16" fmla="*/ 4 w 36"/>
                  <a:gd name="T17" fmla="*/ 18 h 48"/>
                  <a:gd name="T18" fmla="*/ 18 w 36"/>
                  <a:gd name="T19" fmla="*/ 43 h 48"/>
                  <a:gd name="T20" fmla="*/ 32 w 36"/>
                  <a:gd name="T21" fmla="*/ 18 h 48"/>
                  <a:gd name="T22" fmla="*/ 18 w 36"/>
                  <a:gd name="T23" fmla="*/ 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48">
                    <a:moveTo>
                      <a:pt x="18" y="48"/>
                    </a:moveTo>
                    <a:cubicBezTo>
                      <a:pt x="17" y="48"/>
                      <a:pt x="17" y="48"/>
                      <a:pt x="16" y="47"/>
                    </a:cubicBezTo>
                    <a:cubicBezTo>
                      <a:pt x="15" y="45"/>
                      <a:pt x="0" y="27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28" y="0"/>
                      <a:pt x="36" y="8"/>
                      <a:pt x="36" y="18"/>
                    </a:cubicBezTo>
                    <a:cubicBezTo>
                      <a:pt x="36" y="27"/>
                      <a:pt x="21" y="45"/>
                      <a:pt x="20" y="47"/>
                    </a:cubicBezTo>
                    <a:cubicBezTo>
                      <a:pt x="19" y="48"/>
                      <a:pt x="19" y="48"/>
                      <a:pt x="18" y="48"/>
                    </a:cubicBezTo>
                    <a:close/>
                    <a:moveTo>
                      <a:pt x="18" y="4"/>
                    </a:moveTo>
                    <a:cubicBezTo>
                      <a:pt x="10" y="4"/>
                      <a:pt x="4" y="10"/>
                      <a:pt x="4" y="18"/>
                    </a:cubicBezTo>
                    <a:cubicBezTo>
                      <a:pt x="4" y="24"/>
                      <a:pt x="13" y="37"/>
                      <a:pt x="18" y="43"/>
                    </a:cubicBezTo>
                    <a:cubicBezTo>
                      <a:pt x="23" y="37"/>
                      <a:pt x="32" y="24"/>
                      <a:pt x="32" y="18"/>
                    </a:cubicBezTo>
                    <a:cubicBezTo>
                      <a:pt x="32" y="10"/>
                      <a:pt x="26" y="4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2" name="Freeform 23">
                <a:extLst>
                  <a:ext uri="{FF2B5EF4-FFF2-40B4-BE49-F238E27FC236}">
                    <a16:creationId xmlns:a16="http://schemas.microsoft.com/office/drawing/2014/main" id="{504E6C59-06E6-4D68-ABBE-BC03B227AF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53151" y="1847851"/>
                <a:ext cx="61913" cy="61913"/>
              </a:xfrm>
              <a:custGeom>
                <a:avLst/>
                <a:gdLst>
                  <a:gd name="T0" fmla="*/ 8 w 16"/>
                  <a:gd name="T1" fmla="*/ 16 h 16"/>
                  <a:gd name="T2" fmla="*/ 0 w 16"/>
                  <a:gd name="T3" fmla="*/ 8 h 16"/>
                  <a:gd name="T4" fmla="*/ 8 w 16"/>
                  <a:gd name="T5" fmla="*/ 0 h 16"/>
                  <a:gd name="T6" fmla="*/ 16 w 16"/>
                  <a:gd name="T7" fmla="*/ 8 h 16"/>
                  <a:gd name="T8" fmla="*/ 8 w 16"/>
                  <a:gd name="T9" fmla="*/ 16 h 16"/>
                  <a:gd name="T10" fmla="*/ 8 w 16"/>
                  <a:gd name="T11" fmla="*/ 4 h 16"/>
                  <a:gd name="T12" fmla="*/ 4 w 16"/>
                  <a:gd name="T13" fmla="*/ 8 h 16"/>
                  <a:gd name="T14" fmla="*/ 8 w 16"/>
                  <a:gd name="T15" fmla="*/ 12 h 16"/>
                  <a:gd name="T16" fmla="*/ 12 w 16"/>
                  <a:gd name="T17" fmla="*/ 8 h 16"/>
                  <a:gd name="T18" fmla="*/ 8 w 16"/>
                  <a:gd name="T19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6">
                    <a:moveTo>
                      <a:pt x="8" y="16"/>
                    </a:moveTo>
                    <a:cubicBezTo>
                      <a:pt x="4" y="16"/>
                      <a:pt x="0" y="12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12" y="0"/>
                      <a:pt x="16" y="4"/>
                      <a:pt x="16" y="8"/>
                    </a:cubicBezTo>
                    <a:cubicBezTo>
                      <a:pt x="16" y="12"/>
                      <a:pt x="12" y="16"/>
                      <a:pt x="8" y="16"/>
                    </a:cubicBezTo>
                    <a:close/>
                    <a:moveTo>
                      <a:pt x="8" y="4"/>
                    </a:moveTo>
                    <a:cubicBezTo>
                      <a:pt x="6" y="4"/>
                      <a:pt x="4" y="6"/>
                      <a:pt x="4" y="8"/>
                    </a:cubicBezTo>
                    <a:cubicBezTo>
                      <a:pt x="4" y="10"/>
                      <a:pt x="6" y="12"/>
                      <a:pt x="8" y="12"/>
                    </a:cubicBezTo>
                    <a:cubicBezTo>
                      <a:pt x="10" y="12"/>
                      <a:pt x="12" y="10"/>
                      <a:pt x="12" y="8"/>
                    </a:cubicBezTo>
                    <a:cubicBezTo>
                      <a:pt x="12" y="6"/>
                      <a:pt x="10" y="4"/>
                      <a:pt x="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753" name="Oval 1752">
              <a:extLst>
                <a:ext uri="{FF2B5EF4-FFF2-40B4-BE49-F238E27FC236}">
                  <a16:creationId xmlns:a16="http://schemas.microsoft.com/office/drawing/2014/main" id="{7138A2E7-1C8A-40DB-951B-06580CEB7190}"/>
                </a:ext>
              </a:extLst>
            </p:cNvPr>
            <p:cNvSpPr/>
            <p:nvPr/>
          </p:nvSpPr>
          <p:spPr>
            <a:xfrm>
              <a:off x="1148524" y="2522330"/>
              <a:ext cx="601302" cy="60130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54" name="Oval 1753">
              <a:extLst>
                <a:ext uri="{FF2B5EF4-FFF2-40B4-BE49-F238E27FC236}">
                  <a16:creationId xmlns:a16="http://schemas.microsoft.com/office/drawing/2014/main" id="{904A3BA9-D1BC-4E89-B855-B9D0BC4B60F8}"/>
                </a:ext>
              </a:extLst>
            </p:cNvPr>
            <p:cNvSpPr/>
            <p:nvPr/>
          </p:nvSpPr>
          <p:spPr>
            <a:xfrm>
              <a:off x="1223291" y="2597097"/>
              <a:ext cx="451766" cy="45176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51" name="TextBox 1750">
              <a:extLst>
                <a:ext uri="{FF2B5EF4-FFF2-40B4-BE49-F238E27FC236}">
                  <a16:creationId xmlns:a16="http://schemas.microsoft.com/office/drawing/2014/main" id="{C671D231-F437-499C-9BD3-BE80F028D5B9}"/>
                </a:ext>
              </a:extLst>
            </p:cNvPr>
            <p:cNvSpPr txBox="1"/>
            <p:nvPr/>
          </p:nvSpPr>
          <p:spPr>
            <a:xfrm>
              <a:off x="1868522" y="2824163"/>
              <a:ext cx="2662863" cy="6463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, sed do </a:t>
              </a:r>
              <a:r>
                <a:rPr lang="en-US" sz="1400" dirty="0" err="1"/>
                <a:t>eiusmod</a:t>
              </a:r>
              <a:r>
                <a:rPr lang="en-US" sz="1400" dirty="0"/>
                <a:t> </a:t>
              </a:r>
              <a:r>
                <a:rPr lang="en-US" sz="1400" dirty="0" err="1"/>
                <a:t>tempor</a:t>
              </a:r>
              <a:r>
                <a:rPr lang="en-US" sz="1400" dirty="0"/>
                <a:t> </a:t>
              </a:r>
              <a:r>
                <a:rPr lang="en-US" sz="1400" dirty="0" err="1"/>
                <a:t>incididunt</a:t>
              </a:r>
              <a:r>
                <a:rPr lang="en-US" sz="1400" dirty="0"/>
                <a:t>.</a:t>
              </a:r>
            </a:p>
          </p:txBody>
        </p:sp>
        <p:sp>
          <p:nvSpPr>
            <p:cNvPr id="1752" name="TextBox 1751">
              <a:extLst>
                <a:ext uri="{FF2B5EF4-FFF2-40B4-BE49-F238E27FC236}">
                  <a16:creationId xmlns:a16="http://schemas.microsoft.com/office/drawing/2014/main" id="{6F438A81-E5EB-4008-A17F-7D8B78BCD6B9}"/>
                </a:ext>
              </a:extLst>
            </p:cNvPr>
            <p:cNvSpPr txBox="1"/>
            <p:nvPr/>
          </p:nvSpPr>
          <p:spPr>
            <a:xfrm>
              <a:off x="1868522" y="2522330"/>
              <a:ext cx="1524633" cy="30777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/>
                <a:t>STEP 2</a:t>
              </a:r>
            </a:p>
          </p:txBody>
        </p:sp>
        <p:sp>
          <p:nvSpPr>
            <p:cNvPr id="1749" name="Oval 1748">
              <a:extLst>
                <a:ext uri="{FF2B5EF4-FFF2-40B4-BE49-F238E27FC236}">
                  <a16:creationId xmlns:a16="http://schemas.microsoft.com/office/drawing/2014/main" id="{BE28D6AD-AC81-4B0A-984B-E5732DE83B08}"/>
                </a:ext>
              </a:extLst>
            </p:cNvPr>
            <p:cNvSpPr/>
            <p:nvPr/>
          </p:nvSpPr>
          <p:spPr>
            <a:xfrm>
              <a:off x="1148524" y="3679432"/>
              <a:ext cx="601302" cy="60130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50" name="Oval 1749">
              <a:extLst>
                <a:ext uri="{FF2B5EF4-FFF2-40B4-BE49-F238E27FC236}">
                  <a16:creationId xmlns:a16="http://schemas.microsoft.com/office/drawing/2014/main" id="{6FB7A8D5-55AB-430B-A9CA-FF7B708DAA25}"/>
                </a:ext>
              </a:extLst>
            </p:cNvPr>
            <p:cNvSpPr/>
            <p:nvPr/>
          </p:nvSpPr>
          <p:spPr>
            <a:xfrm>
              <a:off x="1223291" y="3754199"/>
              <a:ext cx="451766" cy="45176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47" name="TextBox 1746">
              <a:extLst>
                <a:ext uri="{FF2B5EF4-FFF2-40B4-BE49-F238E27FC236}">
                  <a16:creationId xmlns:a16="http://schemas.microsoft.com/office/drawing/2014/main" id="{22058045-B01E-4C93-9055-C1099C2D6E0E}"/>
                </a:ext>
              </a:extLst>
            </p:cNvPr>
            <p:cNvSpPr txBox="1"/>
            <p:nvPr/>
          </p:nvSpPr>
          <p:spPr>
            <a:xfrm>
              <a:off x="1868522" y="3981265"/>
              <a:ext cx="2662863" cy="6463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, sed do </a:t>
              </a:r>
              <a:r>
                <a:rPr lang="en-US" sz="1400" dirty="0" err="1"/>
                <a:t>eiusmod</a:t>
              </a:r>
              <a:r>
                <a:rPr lang="en-US" sz="1400" dirty="0"/>
                <a:t> </a:t>
              </a:r>
              <a:r>
                <a:rPr lang="en-US" sz="1400" dirty="0" err="1"/>
                <a:t>tempor</a:t>
              </a:r>
              <a:r>
                <a:rPr lang="en-US" sz="1400" dirty="0"/>
                <a:t> </a:t>
              </a:r>
              <a:r>
                <a:rPr lang="en-US" sz="1400" dirty="0" err="1"/>
                <a:t>incididunt</a:t>
              </a:r>
              <a:r>
                <a:rPr lang="en-US" sz="1400" dirty="0"/>
                <a:t>.</a:t>
              </a:r>
            </a:p>
          </p:txBody>
        </p:sp>
        <p:sp>
          <p:nvSpPr>
            <p:cNvPr id="1748" name="TextBox 1747">
              <a:extLst>
                <a:ext uri="{FF2B5EF4-FFF2-40B4-BE49-F238E27FC236}">
                  <a16:creationId xmlns:a16="http://schemas.microsoft.com/office/drawing/2014/main" id="{A41BBD59-4983-46BA-9963-295BC96CE394}"/>
                </a:ext>
              </a:extLst>
            </p:cNvPr>
            <p:cNvSpPr txBox="1"/>
            <p:nvPr/>
          </p:nvSpPr>
          <p:spPr>
            <a:xfrm>
              <a:off x="1868522" y="3679432"/>
              <a:ext cx="1524633" cy="30777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/>
                <a:t>STEP 3</a:t>
              </a:r>
            </a:p>
          </p:txBody>
        </p:sp>
        <p:sp>
          <p:nvSpPr>
            <p:cNvPr id="1745" name="Oval 1744">
              <a:extLst>
                <a:ext uri="{FF2B5EF4-FFF2-40B4-BE49-F238E27FC236}">
                  <a16:creationId xmlns:a16="http://schemas.microsoft.com/office/drawing/2014/main" id="{D23AB768-6845-4D76-863B-DE4EFBF12E7A}"/>
                </a:ext>
              </a:extLst>
            </p:cNvPr>
            <p:cNvSpPr/>
            <p:nvPr/>
          </p:nvSpPr>
          <p:spPr>
            <a:xfrm>
              <a:off x="1148524" y="4836533"/>
              <a:ext cx="601302" cy="60130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46" name="Oval 1745">
              <a:extLst>
                <a:ext uri="{FF2B5EF4-FFF2-40B4-BE49-F238E27FC236}">
                  <a16:creationId xmlns:a16="http://schemas.microsoft.com/office/drawing/2014/main" id="{E599D5EF-84CC-490D-AEEB-61099774E7B9}"/>
                </a:ext>
              </a:extLst>
            </p:cNvPr>
            <p:cNvSpPr/>
            <p:nvPr/>
          </p:nvSpPr>
          <p:spPr>
            <a:xfrm>
              <a:off x="1223291" y="4911300"/>
              <a:ext cx="451766" cy="45176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43" name="TextBox 1742">
              <a:extLst>
                <a:ext uri="{FF2B5EF4-FFF2-40B4-BE49-F238E27FC236}">
                  <a16:creationId xmlns:a16="http://schemas.microsoft.com/office/drawing/2014/main" id="{8DAD00FE-A46F-4EFA-8F5A-0BAC47158989}"/>
                </a:ext>
              </a:extLst>
            </p:cNvPr>
            <p:cNvSpPr txBox="1"/>
            <p:nvPr/>
          </p:nvSpPr>
          <p:spPr>
            <a:xfrm>
              <a:off x="1868522" y="5138366"/>
              <a:ext cx="2662863" cy="6463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, sed do </a:t>
              </a:r>
              <a:r>
                <a:rPr lang="en-US" sz="1400" dirty="0" err="1"/>
                <a:t>eiusmod</a:t>
              </a:r>
              <a:r>
                <a:rPr lang="en-US" sz="1400" dirty="0"/>
                <a:t> </a:t>
              </a:r>
              <a:r>
                <a:rPr lang="en-US" sz="1400" dirty="0" err="1"/>
                <a:t>tempor</a:t>
              </a:r>
              <a:r>
                <a:rPr lang="en-US" sz="1400" dirty="0"/>
                <a:t> </a:t>
              </a:r>
              <a:r>
                <a:rPr lang="en-US" sz="1400" dirty="0" err="1"/>
                <a:t>incididunt</a:t>
              </a:r>
              <a:r>
                <a:rPr lang="en-US" sz="1400" dirty="0"/>
                <a:t>.</a:t>
              </a:r>
            </a:p>
          </p:txBody>
        </p:sp>
        <p:sp>
          <p:nvSpPr>
            <p:cNvPr id="1744" name="TextBox 1743">
              <a:extLst>
                <a:ext uri="{FF2B5EF4-FFF2-40B4-BE49-F238E27FC236}">
                  <a16:creationId xmlns:a16="http://schemas.microsoft.com/office/drawing/2014/main" id="{17A7986F-32D9-4616-B7E5-070FFC95A331}"/>
                </a:ext>
              </a:extLst>
            </p:cNvPr>
            <p:cNvSpPr txBox="1"/>
            <p:nvPr/>
          </p:nvSpPr>
          <p:spPr>
            <a:xfrm>
              <a:off x="1868522" y="4836533"/>
              <a:ext cx="1524633" cy="30777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/>
                <a:t>STEP 4</a:t>
              </a:r>
            </a:p>
          </p:txBody>
        </p:sp>
        <p:grpSp>
          <p:nvGrpSpPr>
            <p:cNvPr id="1717" name="Group 1716">
              <a:extLst>
                <a:ext uri="{FF2B5EF4-FFF2-40B4-BE49-F238E27FC236}">
                  <a16:creationId xmlns:a16="http://schemas.microsoft.com/office/drawing/2014/main" id="{0B2A84C7-0D36-4051-ADDD-A9E2CBA41A2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319061" y="2708436"/>
              <a:ext cx="260229" cy="229091"/>
              <a:chOff x="6007100" y="2617788"/>
              <a:chExt cx="371475" cy="327026"/>
            </a:xfrm>
            <a:solidFill>
              <a:schemeClr val="accent1"/>
            </a:solidFill>
          </p:grpSpPr>
          <p:sp>
            <p:nvSpPr>
              <p:cNvPr id="1737" name="Freeform 27">
                <a:extLst>
                  <a:ext uri="{FF2B5EF4-FFF2-40B4-BE49-F238E27FC236}">
                    <a16:creationId xmlns:a16="http://schemas.microsoft.com/office/drawing/2014/main" id="{5AB680CF-129E-4917-B8D0-CE059A7E2E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07100" y="2679701"/>
                <a:ext cx="371475" cy="265113"/>
              </a:xfrm>
              <a:custGeom>
                <a:avLst/>
                <a:gdLst>
                  <a:gd name="T0" fmla="*/ 82 w 96"/>
                  <a:gd name="T1" fmla="*/ 68 h 68"/>
                  <a:gd name="T2" fmla="*/ 14 w 96"/>
                  <a:gd name="T3" fmla="*/ 68 h 68"/>
                  <a:gd name="T4" fmla="*/ 0 w 96"/>
                  <a:gd name="T5" fmla="*/ 54 h 68"/>
                  <a:gd name="T6" fmla="*/ 0 w 96"/>
                  <a:gd name="T7" fmla="*/ 14 h 68"/>
                  <a:gd name="T8" fmla="*/ 14 w 96"/>
                  <a:gd name="T9" fmla="*/ 0 h 68"/>
                  <a:gd name="T10" fmla="*/ 82 w 96"/>
                  <a:gd name="T11" fmla="*/ 0 h 68"/>
                  <a:gd name="T12" fmla="*/ 96 w 96"/>
                  <a:gd name="T13" fmla="*/ 14 h 68"/>
                  <a:gd name="T14" fmla="*/ 96 w 96"/>
                  <a:gd name="T15" fmla="*/ 54 h 68"/>
                  <a:gd name="T16" fmla="*/ 82 w 96"/>
                  <a:gd name="T17" fmla="*/ 68 h 68"/>
                  <a:gd name="T18" fmla="*/ 14 w 96"/>
                  <a:gd name="T19" fmla="*/ 4 h 68"/>
                  <a:gd name="T20" fmla="*/ 4 w 96"/>
                  <a:gd name="T21" fmla="*/ 14 h 68"/>
                  <a:gd name="T22" fmla="*/ 4 w 96"/>
                  <a:gd name="T23" fmla="*/ 54 h 68"/>
                  <a:gd name="T24" fmla="*/ 14 w 96"/>
                  <a:gd name="T25" fmla="*/ 64 h 68"/>
                  <a:gd name="T26" fmla="*/ 82 w 96"/>
                  <a:gd name="T27" fmla="*/ 64 h 68"/>
                  <a:gd name="T28" fmla="*/ 92 w 96"/>
                  <a:gd name="T29" fmla="*/ 54 h 68"/>
                  <a:gd name="T30" fmla="*/ 92 w 96"/>
                  <a:gd name="T31" fmla="*/ 14 h 68"/>
                  <a:gd name="T32" fmla="*/ 82 w 96"/>
                  <a:gd name="T33" fmla="*/ 4 h 68"/>
                  <a:gd name="T34" fmla="*/ 14 w 96"/>
                  <a:gd name="T35" fmla="*/ 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8">
                    <a:moveTo>
                      <a:pt x="82" y="68"/>
                    </a:moveTo>
                    <a:cubicBezTo>
                      <a:pt x="14" y="68"/>
                      <a:pt x="14" y="68"/>
                      <a:pt x="14" y="68"/>
                    </a:cubicBezTo>
                    <a:cubicBezTo>
                      <a:pt x="6" y="68"/>
                      <a:pt x="0" y="62"/>
                      <a:pt x="0" y="5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90" y="0"/>
                      <a:pt x="96" y="6"/>
                      <a:pt x="96" y="14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62"/>
                      <a:pt x="90" y="68"/>
                      <a:pt x="82" y="68"/>
                    </a:cubicBezTo>
                    <a:close/>
                    <a:moveTo>
                      <a:pt x="14" y="4"/>
                    </a:moveTo>
                    <a:cubicBezTo>
                      <a:pt x="8" y="4"/>
                      <a:pt x="4" y="8"/>
                      <a:pt x="4" y="14"/>
                    </a:cubicBezTo>
                    <a:cubicBezTo>
                      <a:pt x="4" y="54"/>
                      <a:pt x="4" y="54"/>
                      <a:pt x="4" y="54"/>
                    </a:cubicBezTo>
                    <a:cubicBezTo>
                      <a:pt x="4" y="60"/>
                      <a:pt x="8" y="64"/>
                      <a:pt x="14" y="64"/>
                    </a:cubicBezTo>
                    <a:cubicBezTo>
                      <a:pt x="82" y="64"/>
                      <a:pt x="82" y="64"/>
                      <a:pt x="82" y="64"/>
                    </a:cubicBezTo>
                    <a:cubicBezTo>
                      <a:pt x="88" y="64"/>
                      <a:pt x="92" y="60"/>
                      <a:pt x="92" y="54"/>
                    </a:cubicBezTo>
                    <a:cubicBezTo>
                      <a:pt x="92" y="14"/>
                      <a:pt x="92" y="14"/>
                      <a:pt x="92" y="14"/>
                    </a:cubicBezTo>
                    <a:cubicBezTo>
                      <a:pt x="92" y="8"/>
                      <a:pt x="88" y="4"/>
                      <a:pt x="82" y="4"/>
                    </a:cubicBezTo>
                    <a:lnTo>
                      <a:pt x="1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8" name="Freeform 28">
                <a:extLst>
                  <a:ext uri="{FF2B5EF4-FFF2-40B4-BE49-F238E27FC236}">
                    <a16:creationId xmlns:a16="http://schemas.microsoft.com/office/drawing/2014/main" id="{E646D775-2211-4847-9860-DD68A98E49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25" y="2617788"/>
                <a:ext cx="123825" cy="77788"/>
              </a:xfrm>
              <a:custGeom>
                <a:avLst/>
                <a:gdLst>
                  <a:gd name="T0" fmla="*/ 30 w 32"/>
                  <a:gd name="T1" fmla="*/ 20 h 20"/>
                  <a:gd name="T2" fmla="*/ 28 w 32"/>
                  <a:gd name="T3" fmla="*/ 18 h 20"/>
                  <a:gd name="T4" fmla="*/ 28 w 32"/>
                  <a:gd name="T5" fmla="*/ 10 h 20"/>
                  <a:gd name="T6" fmla="*/ 22 w 32"/>
                  <a:gd name="T7" fmla="*/ 4 h 20"/>
                  <a:gd name="T8" fmla="*/ 10 w 32"/>
                  <a:gd name="T9" fmla="*/ 4 h 20"/>
                  <a:gd name="T10" fmla="*/ 4 w 32"/>
                  <a:gd name="T11" fmla="*/ 10 h 20"/>
                  <a:gd name="T12" fmla="*/ 4 w 32"/>
                  <a:gd name="T13" fmla="*/ 18 h 20"/>
                  <a:gd name="T14" fmla="*/ 2 w 32"/>
                  <a:gd name="T15" fmla="*/ 20 h 20"/>
                  <a:gd name="T16" fmla="*/ 0 w 32"/>
                  <a:gd name="T17" fmla="*/ 18 h 20"/>
                  <a:gd name="T18" fmla="*/ 0 w 32"/>
                  <a:gd name="T19" fmla="*/ 10 h 20"/>
                  <a:gd name="T20" fmla="*/ 10 w 32"/>
                  <a:gd name="T21" fmla="*/ 0 h 20"/>
                  <a:gd name="T22" fmla="*/ 22 w 32"/>
                  <a:gd name="T23" fmla="*/ 0 h 20"/>
                  <a:gd name="T24" fmla="*/ 32 w 32"/>
                  <a:gd name="T25" fmla="*/ 10 h 20"/>
                  <a:gd name="T26" fmla="*/ 32 w 32"/>
                  <a:gd name="T27" fmla="*/ 18 h 20"/>
                  <a:gd name="T28" fmla="*/ 30 w 32"/>
                  <a:gd name="T2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2" h="20">
                    <a:moveTo>
                      <a:pt x="30" y="20"/>
                    </a:moveTo>
                    <a:cubicBezTo>
                      <a:pt x="29" y="20"/>
                      <a:pt x="28" y="19"/>
                      <a:pt x="28" y="18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8" y="7"/>
                      <a:pt x="25" y="4"/>
                      <a:pt x="22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7" y="4"/>
                      <a:pt x="4" y="7"/>
                      <a:pt x="4" y="10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19"/>
                      <a:pt x="3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8" y="0"/>
                      <a:pt x="32" y="4"/>
                      <a:pt x="32" y="10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32" y="19"/>
                      <a:pt x="31" y="20"/>
                      <a:pt x="30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9" name="Rectangle 29">
                <a:extLst>
                  <a:ext uri="{FF2B5EF4-FFF2-40B4-BE49-F238E27FC236}">
                    <a16:creationId xmlns:a16="http://schemas.microsoft.com/office/drawing/2014/main" id="{A43E1443-5412-4FCE-A741-669FBC174E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0788" y="2687638"/>
                <a:ext cx="15875" cy="2492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0" name="Rectangle 30">
                <a:extLst>
                  <a:ext uri="{FF2B5EF4-FFF2-40B4-BE49-F238E27FC236}">
                    <a16:creationId xmlns:a16="http://schemas.microsoft.com/office/drawing/2014/main" id="{46383973-BD2B-437B-AC05-D226EFE345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4750" y="2687638"/>
                <a:ext cx="15875" cy="2492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1" name="Rectangle 31">
                <a:extLst>
                  <a:ext uri="{FF2B5EF4-FFF2-40B4-BE49-F238E27FC236}">
                    <a16:creationId xmlns:a16="http://schemas.microsoft.com/office/drawing/2014/main" id="{464221FB-E054-43A0-8AF5-B98A5BAA45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15050" y="2687638"/>
                <a:ext cx="15875" cy="2492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2" name="Rectangle 32">
                <a:extLst>
                  <a:ext uri="{FF2B5EF4-FFF2-40B4-BE49-F238E27FC236}">
                    <a16:creationId xmlns:a16="http://schemas.microsoft.com/office/drawing/2014/main" id="{BE1FE064-D4DE-4E11-B6F7-AFBBF5153B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69013" y="2687638"/>
                <a:ext cx="15875" cy="2492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718" name="Group 1717">
              <a:extLst>
                <a:ext uri="{FF2B5EF4-FFF2-40B4-BE49-F238E27FC236}">
                  <a16:creationId xmlns:a16="http://schemas.microsoft.com/office/drawing/2014/main" id="{7C024F0E-E5B7-4221-B7B0-92098B367D3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323175" y="3854083"/>
              <a:ext cx="252001" cy="252000"/>
              <a:chOff x="6223000" y="3652838"/>
              <a:chExt cx="371476" cy="371475"/>
            </a:xfrm>
            <a:solidFill>
              <a:schemeClr val="accent2"/>
            </a:solidFill>
          </p:grpSpPr>
          <p:sp>
            <p:nvSpPr>
              <p:cNvPr id="1732" name="Freeform 36">
                <a:extLst>
                  <a:ext uri="{FF2B5EF4-FFF2-40B4-BE49-F238E27FC236}">
                    <a16:creationId xmlns:a16="http://schemas.microsoft.com/office/drawing/2014/main" id="{2B03A90B-3136-4175-9A7C-2C38BB7D1B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3000" y="3652838"/>
                <a:ext cx="368300" cy="371475"/>
              </a:xfrm>
              <a:custGeom>
                <a:avLst/>
                <a:gdLst>
                  <a:gd name="T0" fmla="*/ 48 w 95"/>
                  <a:gd name="T1" fmla="*/ 96 h 96"/>
                  <a:gd name="T2" fmla="*/ 0 w 95"/>
                  <a:gd name="T3" fmla="*/ 48 h 96"/>
                  <a:gd name="T4" fmla="*/ 48 w 95"/>
                  <a:gd name="T5" fmla="*/ 0 h 96"/>
                  <a:gd name="T6" fmla="*/ 88 w 95"/>
                  <a:gd name="T7" fmla="*/ 21 h 96"/>
                  <a:gd name="T8" fmla="*/ 87 w 95"/>
                  <a:gd name="T9" fmla="*/ 24 h 96"/>
                  <a:gd name="T10" fmla="*/ 84 w 95"/>
                  <a:gd name="T11" fmla="*/ 23 h 96"/>
                  <a:gd name="T12" fmla="*/ 48 w 95"/>
                  <a:gd name="T13" fmla="*/ 4 h 96"/>
                  <a:gd name="T14" fmla="*/ 4 w 95"/>
                  <a:gd name="T15" fmla="*/ 48 h 96"/>
                  <a:gd name="T16" fmla="*/ 48 w 95"/>
                  <a:gd name="T17" fmla="*/ 92 h 96"/>
                  <a:gd name="T18" fmla="*/ 91 w 95"/>
                  <a:gd name="T19" fmla="*/ 56 h 96"/>
                  <a:gd name="T20" fmla="*/ 94 w 95"/>
                  <a:gd name="T21" fmla="*/ 54 h 96"/>
                  <a:gd name="T22" fmla="*/ 95 w 95"/>
                  <a:gd name="T23" fmla="*/ 56 h 96"/>
                  <a:gd name="T24" fmla="*/ 48 w 95"/>
                  <a:gd name="T2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5" h="96">
                    <a:moveTo>
                      <a:pt x="48" y="96"/>
                    </a:moveTo>
                    <a:cubicBezTo>
                      <a:pt x="22" y="96"/>
                      <a:pt x="0" y="74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64" y="0"/>
                      <a:pt x="79" y="8"/>
                      <a:pt x="88" y="21"/>
                    </a:cubicBezTo>
                    <a:cubicBezTo>
                      <a:pt x="88" y="22"/>
                      <a:pt x="88" y="23"/>
                      <a:pt x="87" y="24"/>
                    </a:cubicBezTo>
                    <a:cubicBezTo>
                      <a:pt x="86" y="24"/>
                      <a:pt x="85" y="24"/>
                      <a:pt x="84" y="23"/>
                    </a:cubicBezTo>
                    <a:cubicBezTo>
                      <a:pt x="76" y="11"/>
                      <a:pt x="62" y="4"/>
                      <a:pt x="48" y="4"/>
                    </a:cubicBezTo>
                    <a:cubicBezTo>
                      <a:pt x="24" y="4"/>
                      <a:pt x="4" y="24"/>
                      <a:pt x="4" y="48"/>
                    </a:cubicBezTo>
                    <a:cubicBezTo>
                      <a:pt x="4" y="72"/>
                      <a:pt x="24" y="92"/>
                      <a:pt x="48" y="92"/>
                    </a:cubicBezTo>
                    <a:cubicBezTo>
                      <a:pt x="69" y="92"/>
                      <a:pt x="88" y="77"/>
                      <a:pt x="91" y="56"/>
                    </a:cubicBezTo>
                    <a:cubicBezTo>
                      <a:pt x="92" y="54"/>
                      <a:pt x="93" y="54"/>
                      <a:pt x="94" y="54"/>
                    </a:cubicBezTo>
                    <a:cubicBezTo>
                      <a:pt x="95" y="54"/>
                      <a:pt x="95" y="55"/>
                      <a:pt x="95" y="56"/>
                    </a:cubicBezTo>
                    <a:cubicBezTo>
                      <a:pt x="91" y="79"/>
                      <a:pt x="71" y="96"/>
                      <a:pt x="48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3" name="Freeform 37">
                <a:extLst>
                  <a:ext uri="{FF2B5EF4-FFF2-40B4-BE49-F238E27FC236}">
                    <a16:creationId xmlns:a16="http://schemas.microsoft.com/office/drawing/2014/main" id="{B5966BDB-E953-433A-90CA-187F84D85B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6975" y="3656013"/>
                <a:ext cx="182563" cy="330200"/>
              </a:xfrm>
              <a:custGeom>
                <a:avLst/>
                <a:gdLst>
                  <a:gd name="T0" fmla="*/ 32 w 47"/>
                  <a:gd name="T1" fmla="*/ 85 h 85"/>
                  <a:gd name="T2" fmla="*/ 30 w 47"/>
                  <a:gd name="T3" fmla="*/ 83 h 85"/>
                  <a:gd name="T4" fmla="*/ 30 w 47"/>
                  <a:gd name="T5" fmla="*/ 74 h 85"/>
                  <a:gd name="T6" fmla="*/ 9 w 47"/>
                  <a:gd name="T7" fmla="*/ 67 h 85"/>
                  <a:gd name="T8" fmla="*/ 8 w 47"/>
                  <a:gd name="T9" fmla="*/ 66 h 85"/>
                  <a:gd name="T10" fmla="*/ 0 w 47"/>
                  <a:gd name="T11" fmla="*/ 40 h 85"/>
                  <a:gd name="T12" fmla="*/ 0 w 47"/>
                  <a:gd name="T13" fmla="*/ 38 h 85"/>
                  <a:gd name="T14" fmla="*/ 1 w 47"/>
                  <a:gd name="T15" fmla="*/ 37 h 85"/>
                  <a:gd name="T16" fmla="*/ 21 w 47"/>
                  <a:gd name="T17" fmla="*/ 31 h 85"/>
                  <a:gd name="T18" fmla="*/ 28 w 47"/>
                  <a:gd name="T19" fmla="*/ 19 h 85"/>
                  <a:gd name="T20" fmla="*/ 25 w 47"/>
                  <a:gd name="T21" fmla="*/ 14 h 85"/>
                  <a:gd name="T22" fmla="*/ 25 w 47"/>
                  <a:gd name="T23" fmla="*/ 11 h 85"/>
                  <a:gd name="T24" fmla="*/ 44 w 47"/>
                  <a:gd name="T25" fmla="*/ 1 h 85"/>
                  <a:gd name="T26" fmla="*/ 47 w 47"/>
                  <a:gd name="T27" fmla="*/ 1 h 85"/>
                  <a:gd name="T28" fmla="*/ 46 w 47"/>
                  <a:gd name="T29" fmla="*/ 4 h 85"/>
                  <a:gd name="T30" fmla="*/ 29 w 47"/>
                  <a:gd name="T31" fmla="*/ 14 h 85"/>
                  <a:gd name="T32" fmla="*/ 32 w 47"/>
                  <a:gd name="T33" fmla="*/ 19 h 85"/>
                  <a:gd name="T34" fmla="*/ 32 w 47"/>
                  <a:gd name="T35" fmla="*/ 21 h 85"/>
                  <a:gd name="T36" fmla="*/ 24 w 47"/>
                  <a:gd name="T37" fmla="*/ 34 h 85"/>
                  <a:gd name="T38" fmla="*/ 23 w 47"/>
                  <a:gd name="T39" fmla="*/ 35 h 85"/>
                  <a:gd name="T40" fmla="*/ 5 w 47"/>
                  <a:gd name="T41" fmla="*/ 40 h 85"/>
                  <a:gd name="T42" fmla="*/ 12 w 47"/>
                  <a:gd name="T43" fmla="*/ 63 h 85"/>
                  <a:gd name="T44" fmla="*/ 33 w 47"/>
                  <a:gd name="T45" fmla="*/ 71 h 85"/>
                  <a:gd name="T46" fmla="*/ 34 w 47"/>
                  <a:gd name="T47" fmla="*/ 73 h 85"/>
                  <a:gd name="T48" fmla="*/ 34 w 47"/>
                  <a:gd name="T49" fmla="*/ 83 h 85"/>
                  <a:gd name="T50" fmla="*/ 32 w 47"/>
                  <a:gd name="T51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7" h="85">
                    <a:moveTo>
                      <a:pt x="32" y="85"/>
                    </a:moveTo>
                    <a:cubicBezTo>
                      <a:pt x="31" y="85"/>
                      <a:pt x="30" y="84"/>
                      <a:pt x="30" y="83"/>
                    </a:cubicBezTo>
                    <a:cubicBezTo>
                      <a:pt x="30" y="74"/>
                      <a:pt x="30" y="74"/>
                      <a:pt x="30" y="74"/>
                    </a:cubicBezTo>
                    <a:cubicBezTo>
                      <a:pt x="9" y="67"/>
                      <a:pt x="9" y="67"/>
                      <a:pt x="9" y="67"/>
                    </a:cubicBezTo>
                    <a:cubicBezTo>
                      <a:pt x="9" y="67"/>
                      <a:pt x="8" y="66"/>
                      <a:pt x="8" y="66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39"/>
                      <a:pt x="0" y="39"/>
                      <a:pt x="0" y="38"/>
                    </a:cubicBezTo>
                    <a:cubicBezTo>
                      <a:pt x="1" y="38"/>
                      <a:pt x="1" y="37"/>
                      <a:pt x="1" y="37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4" y="13"/>
                      <a:pt x="24" y="12"/>
                      <a:pt x="25" y="11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45" y="0"/>
                      <a:pt x="46" y="0"/>
                      <a:pt x="47" y="1"/>
                    </a:cubicBezTo>
                    <a:cubicBezTo>
                      <a:pt x="47" y="2"/>
                      <a:pt x="47" y="4"/>
                      <a:pt x="46" y="4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32" y="19"/>
                      <a:pt x="32" y="20"/>
                      <a:pt x="32" y="21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4"/>
                      <a:pt x="23" y="35"/>
                      <a:pt x="23" y="35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12" y="63"/>
                      <a:pt x="12" y="63"/>
                      <a:pt x="12" y="63"/>
                    </a:cubicBezTo>
                    <a:cubicBezTo>
                      <a:pt x="33" y="71"/>
                      <a:pt x="33" y="71"/>
                      <a:pt x="33" y="71"/>
                    </a:cubicBezTo>
                    <a:cubicBezTo>
                      <a:pt x="34" y="71"/>
                      <a:pt x="34" y="72"/>
                      <a:pt x="34" y="73"/>
                    </a:cubicBezTo>
                    <a:cubicBezTo>
                      <a:pt x="34" y="83"/>
                      <a:pt x="34" y="83"/>
                      <a:pt x="34" y="83"/>
                    </a:cubicBezTo>
                    <a:cubicBezTo>
                      <a:pt x="34" y="84"/>
                      <a:pt x="33" y="85"/>
                      <a:pt x="32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4" name="Freeform 38">
                <a:extLst>
                  <a:ext uri="{FF2B5EF4-FFF2-40B4-BE49-F238E27FC236}">
                    <a16:creationId xmlns:a16="http://schemas.microsoft.com/office/drawing/2014/main" id="{79999164-4335-43A2-A183-F1A6782B50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2400" y="3711576"/>
                <a:ext cx="46038" cy="49213"/>
              </a:xfrm>
              <a:custGeom>
                <a:avLst/>
                <a:gdLst>
                  <a:gd name="T0" fmla="*/ 2 w 12"/>
                  <a:gd name="T1" fmla="*/ 13 h 13"/>
                  <a:gd name="T2" fmla="*/ 1 w 12"/>
                  <a:gd name="T3" fmla="*/ 12 h 13"/>
                  <a:gd name="T4" fmla="*/ 1 w 12"/>
                  <a:gd name="T5" fmla="*/ 10 h 13"/>
                  <a:gd name="T6" fmla="*/ 8 w 12"/>
                  <a:gd name="T7" fmla="*/ 1 h 13"/>
                  <a:gd name="T8" fmla="*/ 11 w 12"/>
                  <a:gd name="T9" fmla="*/ 1 h 13"/>
                  <a:gd name="T10" fmla="*/ 11 w 12"/>
                  <a:gd name="T11" fmla="*/ 3 h 13"/>
                  <a:gd name="T12" fmla="*/ 4 w 12"/>
                  <a:gd name="T13" fmla="*/ 12 h 13"/>
                  <a:gd name="T14" fmla="*/ 2 w 12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3">
                    <a:moveTo>
                      <a:pt x="2" y="13"/>
                    </a:moveTo>
                    <a:cubicBezTo>
                      <a:pt x="2" y="13"/>
                      <a:pt x="1" y="13"/>
                      <a:pt x="1" y="12"/>
                    </a:cubicBezTo>
                    <a:cubicBezTo>
                      <a:pt x="0" y="12"/>
                      <a:pt x="0" y="10"/>
                      <a:pt x="1" y="10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9" y="0"/>
                      <a:pt x="10" y="0"/>
                      <a:pt x="11" y="1"/>
                    </a:cubicBezTo>
                    <a:cubicBezTo>
                      <a:pt x="12" y="1"/>
                      <a:pt x="12" y="3"/>
                      <a:pt x="11" y="3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3" y="13"/>
                      <a:pt x="3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5" name="Freeform 39">
                <a:extLst>
                  <a:ext uri="{FF2B5EF4-FFF2-40B4-BE49-F238E27FC236}">
                    <a16:creationId xmlns:a16="http://schemas.microsoft.com/office/drawing/2014/main" id="{DDD3E5AE-8680-4A3B-80D3-3BA7A82BAD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23013" y="3768726"/>
                <a:ext cx="271463" cy="177800"/>
              </a:xfrm>
              <a:custGeom>
                <a:avLst/>
                <a:gdLst>
                  <a:gd name="T0" fmla="*/ 31 w 70"/>
                  <a:gd name="T1" fmla="*/ 46 h 46"/>
                  <a:gd name="T2" fmla="*/ 30 w 70"/>
                  <a:gd name="T3" fmla="*/ 45 h 46"/>
                  <a:gd name="T4" fmla="*/ 29 w 70"/>
                  <a:gd name="T5" fmla="*/ 43 h 46"/>
                  <a:gd name="T6" fmla="*/ 35 w 70"/>
                  <a:gd name="T7" fmla="*/ 28 h 46"/>
                  <a:gd name="T8" fmla="*/ 21 w 70"/>
                  <a:gd name="T9" fmla="*/ 33 h 46"/>
                  <a:gd name="T10" fmla="*/ 19 w 70"/>
                  <a:gd name="T11" fmla="*/ 33 h 46"/>
                  <a:gd name="T12" fmla="*/ 1 w 70"/>
                  <a:gd name="T13" fmla="*/ 21 h 46"/>
                  <a:gd name="T14" fmla="*/ 0 w 70"/>
                  <a:gd name="T15" fmla="*/ 19 h 46"/>
                  <a:gd name="T16" fmla="*/ 1 w 70"/>
                  <a:gd name="T17" fmla="*/ 18 h 46"/>
                  <a:gd name="T18" fmla="*/ 9 w 70"/>
                  <a:gd name="T19" fmla="*/ 13 h 46"/>
                  <a:gd name="T20" fmla="*/ 11 w 70"/>
                  <a:gd name="T21" fmla="*/ 13 h 46"/>
                  <a:gd name="T22" fmla="*/ 21 w 70"/>
                  <a:gd name="T23" fmla="*/ 17 h 46"/>
                  <a:gd name="T24" fmla="*/ 60 w 70"/>
                  <a:gd name="T25" fmla="*/ 2 h 46"/>
                  <a:gd name="T26" fmla="*/ 69 w 70"/>
                  <a:gd name="T27" fmla="*/ 5 h 46"/>
                  <a:gd name="T28" fmla="*/ 70 w 70"/>
                  <a:gd name="T29" fmla="*/ 11 h 46"/>
                  <a:gd name="T30" fmla="*/ 66 w 70"/>
                  <a:gd name="T31" fmla="*/ 15 h 46"/>
                  <a:gd name="T32" fmla="*/ 53 w 70"/>
                  <a:gd name="T33" fmla="*/ 21 h 46"/>
                  <a:gd name="T34" fmla="*/ 42 w 70"/>
                  <a:gd name="T35" fmla="*/ 40 h 46"/>
                  <a:gd name="T36" fmla="*/ 41 w 70"/>
                  <a:gd name="T37" fmla="*/ 41 h 46"/>
                  <a:gd name="T38" fmla="*/ 32 w 70"/>
                  <a:gd name="T39" fmla="*/ 46 h 46"/>
                  <a:gd name="T40" fmla="*/ 31 w 70"/>
                  <a:gd name="T41" fmla="*/ 46 h 46"/>
                  <a:gd name="T42" fmla="*/ 39 w 70"/>
                  <a:gd name="T43" fmla="*/ 22 h 46"/>
                  <a:gd name="T44" fmla="*/ 40 w 70"/>
                  <a:gd name="T45" fmla="*/ 23 h 46"/>
                  <a:gd name="T46" fmla="*/ 41 w 70"/>
                  <a:gd name="T47" fmla="*/ 25 h 46"/>
                  <a:gd name="T48" fmla="*/ 35 w 70"/>
                  <a:gd name="T49" fmla="*/ 40 h 46"/>
                  <a:gd name="T50" fmla="*/ 39 w 70"/>
                  <a:gd name="T51" fmla="*/ 38 h 46"/>
                  <a:gd name="T52" fmla="*/ 49 w 70"/>
                  <a:gd name="T53" fmla="*/ 18 h 46"/>
                  <a:gd name="T54" fmla="*/ 50 w 70"/>
                  <a:gd name="T55" fmla="*/ 17 h 46"/>
                  <a:gd name="T56" fmla="*/ 64 w 70"/>
                  <a:gd name="T57" fmla="*/ 11 h 46"/>
                  <a:gd name="T58" fmla="*/ 66 w 70"/>
                  <a:gd name="T59" fmla="*/ 9 h 46"/>
                  <a:gd name="T60" fmla="*/ 66 w 70"/>
                  <a:gd name="T61" fmla="*/ 7 h 46"/>
                  <a:gd name="T62" fmla="*/ 62 w 70"/>
                  <a:gd name="T63" fmla="*/ 5 h 46"/>
                  <a:gd name="T64" fmla="*/ 22 w 70"/>
                  <a:gd name="T65" fmla="*/ 21 h 46"/>
                  <a:gd name="T66" fmla="*/ 20 w 70"/>
                  <a:gd name="T67" fmla="*/ 21 h 46"/>
                  <a:gd name="T68" fmla="*/ 10 w 70"/>
                  <a:gd name="T69" fmla="*/ 17 h 46"/>
                  <a:gd name="T70" fmla="*/ 6 w 70"/>
                  <a:gd name="T71" fmla="*/ 19 h 46"/>
                  <a:gd name="T72" fmla="*/ 21 w 70"/>
                  <a:gd name="T73" fmla="*/ 29 h 46"/>
                  <a:gd name="T74" fmla="*/ 38 w 70"/>
                  <a:gd name="T75" fmla="*/ 22 h 46"/>
                  <a:gd name="T76" fmla="*/ 39 w 70"/>
                  <a:gd name="T77" fmla="*/ 2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0" h="46">
                    <a:moveTo>
                      <a:pt x="31" y="46"/>
                    </a:moveTo>
                    <a:cubicBezTo>
                      <a:pt x="30" y="46"/>
                      <a:pt x="30" y="46"/>
                      <a:pt x="30" y="45"/>
                    </a:cubicBezTo>
                    <a:cubicBezTo>
                      <a:pt x="29" y="45"/>
                      <a:pt x="29" y="44"/>
                      <a:pt x="29" y="43"/>
                    </a:cubicBezTo>
                    <a:cubicBezTo>
                      <a:pt x="35" y="28"/>
                      <a:pt x="35" y="28"/>
                      <a:pt x="35" y="28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21" y="33"/>
                      <a:pt x="20" y="33"/>
                      <a:pt x="19" y="3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1" y="21"/>
                      <a:pt x="0" y="20"/>
                      <a:pt x="0" y="19"/>
                    </a:cubicBezTo>
                    <a:cubicBezTo>
                      <a:pt x="0" y="19"/>
                      <a:pt x="1" y="18"/>
                      <a:pt x="1" y="18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10" y="13"/>
                      <a:pt x="10" y="13"/>
                      <a:pt x="11" y="13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60" y="2"/>
                      <a:pt x="60" y="2"/>
                      <a:pt x="60" y="2"/>
                    </a:cubicBezTo>
                    <a:cubicBezTo>
                      <a:pt x="64" y="0"/>
                      <a:pt x="68" y="2"/>
                      <a:pt x="69" y="5"/>
                    </a:cubicBezTo>
                    <a:cubicBezTo>
                      <a:pt x="70" y="7"/>
                      <a:pt x="70" y="9"/>
                      <a:pt x="70" y="11"/>
                    </a:cubicBezTo>
                    <a:cubicBezTo>
                      <a:pt x="69" y="13"/>
                      <a:pt x="68" y="14"/>
                      <a:pt x="66" y="15"/>
                    </a:cubicBezTo>
                    <a:cubicBezTo>
                      <a:pt x="53" y="21"/>
                      <a:pt x="53" y="21"/>
                      <a:pt x="53" y="21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42" y="41"/>
                      <a:pt x="41" y="41"/>
                      <a:pt x="41" y="41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32" y="46"/>
                      <a:pt x="31" y="46"/>
                      <a:pt x="31" y="46"/>
                    </a:cubicBezTo>
                    <a:close/>
                    <a:moveTo>
                      <a:pt x="39" y="22"/>
                    </a:moveTo>
                    <a:cubicBezTo>
                      <a:pt x="39" y="22"/>
                      <a:pt x="40" y="22"/>
                      <a:pt x="40" y="23"/>
                    </a:cubicBezTo>
                    <a:cubicBezTo>
                      <a:pt x="41" y="23"/>
                      <a:pt x="41" y="24"/>
                      <a:pt x="41" y="25"/>
                    </a:cubicBezTo>
                    <a:cubicBezTo>
                      <a:pt x="35" y="40"/>
                      <a:pt x="35" y="40"/>
                      <a:pt x="35" y="40"/>
                    </a:cubicBezTo>
                    <a:cubicBezTo>
                      <a:pt x="39" y="38"/>
                      <a:pt x="39" y="38"/>
                      <a:pt x="39" y="38"/>
                    </a:cubicBezTo>
                    <a:cubicBezTo>
                      <a:pt x="49" y="18"/>
                      <a:pt x="49" y="18"/>
                      <a:pt x="49" y="18"/>
                    </a:cubicBezTo>
                    <a:cubicBezTo>
                      <a:pt x="50" y="18"/>
                      <a:pt x="50" y="17"/>
                      <a:pt x="50" y="17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5" y="11"/>
                      <a:pt x="65" y="10"/>
                      <a:pt x="66" y="9"/>
                    </a:cubicBezTo>
                    <a:cubicBezTo>
                      <a:pt x="66" y="9"/>
                      <a:pt x="66" y="8"/>
                      <a:pt x="66" y="7"/>
                    </a:cubicBezTo>
                    <a:cubicBezTo>
                      <a:pt x="65" y="6"/>
                      <a:pt x="63" y="5"/>
                      <a:pt x="62" y="5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1" y="22"/>
                      <a:pt x="21" y="22"/>
                      <a:pt x="20" y="21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38" y="22"/>
                      <a:pt x="38" y="22"/>
                      <a:pt x="38" y="22"/>
                    </a:cubicBezTo>
                    <a:cubicBezTo>
                      <a:pt x="38" y="22"/>
                      <a:pt x="38" y="22"/>
                      <a:pt x="39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6" name="Freeform 40">
                <a:extLst>
                  <a:ext uri="{FF2B5EF4-FFF2-40B4-BE49-F238E27FC236}">
                    <a16:creationId xmlns:a16="http://schemas.microsoft.com/office/drawing/2014/main" id="{52DC163A-843E-416B-B714-C2419A78C3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0800" y="3757613"/>
                <a:ext cx="112713" cy="69850"/>
              </a:xfrm>
              <a:custGeom>
                <a:avLst/>
                <a:gdLst>
                  <a:gd name="T0" fmla="*/ 17 w 29"/>
                  <a:gd name="T1" fmla="*/ 18 h 18"/>
                  <a:gd name="T2" fmla="*/ 16 w 29"/>
                  <a:gd name="T3" fmla="*/ 18 h 18"/>
                  <a:gd name="T4" fmla="*/ 1 w 29"/>
                  <a:gd name="T5" fmla="*/ 8 h 18"/>
                  <a:gd name="T6" fmla="*/ 0 w 29"/>
                  <a:gd name="T7" fmla="*/ 6 h 18"/>
                  <a:gd name="T8" fmla="*/ 1 w 29"/>
                  <a:gd name="T9" fmla="*/ 5 h 18"/>
                  <a:gd name="T10" fmla="*/ 9 w 29"/>
                  <a:gd name="T11" fmla="*/ 0 h 18"/>
                  <a:gd name="T12" fmla="*/ 11 w 29"/>
                  <a:gd name="T13" fmla="*/ 0 h 18"/>
                  <a:gd name="T14" fmla="*/ 27 w 29"/>
                  <a:gd name="T15" fmla="*/ 11 h 18"/>
                  <a:gd name="T16" fmla="*/ 28 w 29"/>
                  <a:gd name="T17" fmla="*/ 13 h 18"/>
                  <a:gd name="T18" fmla="*/ 25 w 29"/>
                  <a:gd name="T19" fmla="*/ 14 h 18"/>
                  <a:gd name="T20" fmla="*/ 10 w 29"/>
                  <a:gd name="T21" fmla="*/ 4 h 18"/>
                  <a:gd name="T22" fmla="*/ 6 w 29"/>
                  <a:gd name="T23" fmla="*/ 7 h 18"/>
                  <a:gd name="T24" fmla="*/ 18 w 29"/>
                  <a:gd name="T25" fmla="*/ 15 h 18"/>
                  <a:gd name="T26" fmla="*/ 18 w 29"/>
                  <a:gd name="T27" fmla="*/ 17 h 18"/>
                  <a:gd name="T28" fmla="*/ 17 w 29"/>
                  <a:gd name="T29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18">
                    <a:moveTo>
                      <a:pt x="17" y="18"/>
                    </a:moveTo>
                    <a:cubicBezTo>
                      <a:pt x="16" y="18"/>
                      <a:pt x="16" y="18"/>
                      <a:pt x="16" y="1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7"/>
                      <a:pt x="0" y="6"/>
                    </a:cubicBezTo>
                    <a:cubicBezTo>
                      <a:pt x="0" y="6"/>
                      <a:pt x="0" y="5"/>
                      <a:pt x="1" y="5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0" y="0"/>
                      <a:pt x="11" y="0"/>
                    </a:cubicBezTo>
                    <a:cubicBezTo>
                      <a:pt x="27" y="11"/>
                      <a:pt x="27" y="11"/>
                      <a:pt x="27" y="11"/>
                    </a:cubicBezTo>
                    <a:cubicBezTo>
                      <a:pt x="28" y="11"/>
                      <a:pt x="29" y="13"/>
                      <a:pt x="28" y="13"/>
                    </a:cubicBezTo>
                    <a:cubicBezTo>
                      <a:pt x="27" y="14"/>
                      <a:pt x="26" y="15"/>
                      <a:pt x="25" y="1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9" y="15"/>
                      <a:pt x="19" y="16"/>
                      <a:pt x="18" y="17"/>
                    </a:cubicBezTo>
                    <a:cubicBezTo>
                      <a:pt x="18" y="18"/>
                      <a:pt x="17" y="18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719" name="Group 1718">
              <a:extLst>
                <a:ext uri="{FF2B5EF4-FFF2-40B4-BE49-F238E27FC236}">
                  <a16:creationId xmlns:a16="http://schemas.microsoft.com/office/drawing/2014/main" id="{FF793BEE-6E37-4059-97A5-3F958CCA952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319324" y="5011184"/>
              <a:ext cx="259703" cy="252000"/>
              <a:chOff x="6199188" y="4668838"/>
              <a:chExt cx="374650" cy="363537"/>
            </a:xfrm>
            <a:solidFill>
              <a:schemeClr val="accent3"/>
            </a:solidFill>
          </p:grpSpPr>
          <p:sp>
            <p:nvSpPr>
              <p:cNvPr id="1720" name="Freeform 44">
                <a:extLst>
                  <a:ext uri="{FF2B5EF4-FFF2-40B4-BE49-F238E27FC236}">
                    <a16:creationId xmlns:a16="http://schemas.microsoft.com/office/drawing/2014/main" id="{4904D48F-8DD6-479F-A112-A0788C979E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99188" y="4800600"/>
                <a:ext cx="374650" cy="169862"/>
              </a:xfrm>
              <a:custGeom>
                <a:avLst/>
                <a:gdLst>
                  <a:gd name="T0" fmla="*/ 62 w 97"/>
                  <a:gd name="T1" fmla="*/ 44 h 44"/>
                  <a:gd name="T2" fmla="*/ 10 w 97"/>
                  <a:gd name="T3" fmla="*/ 44 h 44"/>
                  <a:gd name="T4" fmla="*/ 0 w 97"/>
                  <a:gd name="T5" fmla="*/ 34 h 44"/>
                  <a:gd name="T6" fmla="*/ 10 w 97"/>
                  <a:gd name="T7" fmla="*/ 24 h 44"/>
                  <a:gd name="T8" fmla="*/ 55 w 97"/>
                  <a:gd name="T9" fmla="*/ 24 h 44"/>
                  <a:gd name="T10" fmla="*/ 56 w 97"/>
                  <a:gd name="T11" fmla="*/ 23 h 44"/>
                  <a:gd name="T12" fmla="*/ 79 w 97"/>
                  <a:gd name="T13" fmla="*/ 4 h 44"/>
                  <a:gd name="T14" fmla="*/ 93 w 97"/>
                  <a:gd name="T15" fmla="*/ 4 h 44"/>
                  <a:gd name="T16" fmla="*/ 93 w 97"/>
                  <a:gd name="T17" fmla="*/ 18 h 44"/>
                  <a:gd name="T18" fmla="*/ 66 w 97"/>
                  <a:gd name="T19" fmla="*/ 42 h 44"/>
                  <a:gd name="T20" fmla="*/ 62 w 97"/>
                  <a:gd name="T21" fmla="*/ 44 h 44"/>
                  <a:gd name="T22" fmla="*/ 10 w 97"/>
                  <a:gd name="T23" fmla="*/ 28 h 44"/>
                  <a:gd name="T24" fmla="*/ 4 w 97"/>
                  <a:gd name="T25" fmla="*/ 34 h 44"/>
                  <a:gd name="T26" fmla="*/ 10 w 97"/>
                  <a:gd name="T27" fmla="*/ 40 h 44"/>
                  <a:gd name="T28" fmla="*/ 62 w 97"/>
                  <a:gd name="T29" fmla="*/ 40 h 44"/>
                  <a:gd name="T30" fmla="*/ 63 w 97"/>
                  <a:gd name="T31" fmla="*/ 39 h 44"/>
                  <a:gd name="T32" fmla="*/ 90 w 97"/>
                  <a:gd name="T33" fmla="*/ 15 h 44"/>
                  <a:gd name="T34" fmla="*/ 90 w 97"/>
                  <a:gd name="T35" fmla="*/ 7 h 44"/>
                  <a:gd name="T36" fmla="*/ 81 w 97"/>
                  <a:gd name="T37" fmla="*/ 7 h 44"/>
                  <a:gd name="T38" fmla="*/ 59 w 97"/>
                  <a:gd name="T39" fmla="*/ 26 h 44"/>
                  <a:gd name="T40" fmla="*/ 55 w 97"/>
                  <a:gd name="T41" fmla="*/ 28 h 44"/>
                  <a:gd name="T42" fmla="*/ 10 w 97"/>
                  <a:gd name="T43" fmla="*/ 2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7" h="44">
                    <a:moveTo>
                      <a:pt x="62" y="44"/>
                    </a:moveTo>
                    <a:cubicBezTo>
                      <a:pt x="10" y="44"/>
                      <a:pt x="10" y="44"/>
                      <a:pt x="10" y="44"/>
                    </a:cubicBezTo>
                    <a:cubicBezTo>
                      <a:pt x="5" y="44"/>
                      <a:pt x="0" y="40"/>
                      <a:pt x="0" y="34"/>
                    </a:cubicBezTo>
                    <a:cubicBezTo>
                      <a:pt x="0" y="28"/>
                      <a:pt x="5" y="24"/>
                      <a:pt x="10" y="24"/>
                    </a:cubicBezTo>
                    <a:cubicBezTo>
                      <a:pt x="55" y="24"/>
                      <a:pt x="55" y="24"/>
                      <a:pt x="55" y="24"/>
                    </a:cubicBezTo>
                    <a:cubicBezTo>
                      <a:pt x="55" y="24"/>
                      <a:pt x="56" y="24"/>
                      <a:pt x="56" y="23"/>
                    </a:cubicBezTo>
                    <a:cubicBezTo>
                      <a:pt x="79" y="4"/>
                      <a:pt x="79" y="4"/>
                      <a:pt x="79" y="4"/>
                    </a:cubicBezTo>
                    <a:cubicBezTo>
                      <a:pt x="82" y="0"/>
                      <a:pt x="89" y="0"/>
                      <a:pt x="93" y="4"/>
                    </a:cubicBezTo>
                    <a:cubicBezTo>
                      <a:pt x="97" y="8"/>
                      <a:pt x="97" y="14"/>
                      <a:pt x="93" y="18"/>
                    </a:cubicBezTo>
                    <a:cubicBezTo>
                      <a:pt x="66" y="42"/>
                      <a:pt x="66" y="42"/>
                      <a:pt x="66" y="42"/>
                    </a:cubicBezTo>
                    <a:cubicBezTo>
                      <a:pt x="65" y="43"/>
                      <a:pt x="63" y="44"/>
                      <a:pt x="62" y="44"/>
                    </a:cubicBezTo>
                    <a:close/>
                    <a:moveTo>
                      <a:pt x="10" y="28"/>
                    </a:moveTo>
                    <a:cubicBezTo>
                      <a:pt x="7" y="28"/>
                      <a:pt x="4" y="31"/>
                      <a:pt x="4" y="34"/>
                    </a:cubicBezTo>
                    <a:cubicBezTo>
                      <a:pt x="4" y="37"/>
                      <a:pt x="7" y="40"/>
                      <a:pt x="10" y="40"/>
                    </a:cubicBezTo>
                    <a:cubicBezTo>
                      <a:pt x="62" y="40"/>
                      <a:pt x="62" y="40"/>
                      <a:pt x="62" y="40"/>
                    </a:cubicBezTo>
                    <a:cubicBezTo>
                      <a:pt x="62" y="40"/>
                      <a:pt x="63" y="40"/>
                      <a:pt x="63" y="39"/>
                    </a:cubicBezTo>
                    <a:cubicBezTo>
                      <a:pt x="90" y="15"/>
                      <a:pt x="90" y="15"/>
                      <a:pt x="90" y="15"/>
                    </a:cubicBezTo>
                    <a:cubicBezTo>
                      <a:pt x="93" y="13"/>
                      <a:pt x="93" y="9"/>
                      <a:pt x="90" y="7"/>
                    </a:cubicBezTo>
                    <a:cubicBezTo>
                      <a:pt x="88" y="4"/>
                      <a:pt x="84" y="4"/>
                      <a:pt x="81" y="7"/>
                    </a:cubicBezTo>
                    <a:cubicBezTo>
                      <a:pt x="59" y="26"/>
                      <a:pt x="59" y="26"/>
                      <a:pt x="59" y="26"/>
                    </a:cubicBezTo>
                    <a:cubicBezTo>
                      <a:pt x="58" y="27"/>
                      <a:pt x="57" y="28"/>
                      <a:pt x="55" y="28"/>
                    </a:cubicBezTo>
                    <a:lnTo>
                      <a:pt x="10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1" name="Freeform 45">
                <a:extLst>
                  <a:ext uri="{FF2B5EF4-FFF2-40B4-BE49-F238E27FC236}">
                    <a16:creationId xmlns:a16="http://schemas.microsoft.com/office/drawing/2014/main" id="{832D8CBB-22C4-477E-8C55-6CE7EFE48D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101" y="4954588"/>
                <a:ext cx="61913" cy="77787"/>
              </a:xfrm>
              <a:custGeom>
                <a:avLst/>
                <a:gdLst>
                  <a:gd name="T0" fmla="*/ 2 w 16"/>
                  <a:gd name="T1" fmla="*/ 20 h 20"/>
                  <a:gd name="T2" fmla="*/ 1 w 16"/>
                  <a:gd name="T3" fmla="*/ 20 h 20"/>
                  <a:gd name="T4" fmla="*/ 0 w 16"/>
                  <a:gd name="T5" fmla="*/ 17 h 20"/>
                  <a:gd name="T6" fmla="*/ 12 w 16"/>
                  <a:gd name="T7" fmla="*/ 1 h 20"/>
                  <a:gd name="T8" fmla="*/ 15 w 16"/>
                  <a:gd name="T9" fmla="*/ 0 h 20"/>
                  <a:gd name="T10" fmla="*/ 16 w 16"/>
                  <a:gd name="T11" fmla="*/ 3 h 20"/>
                  <a:gd name="T12" fmla="*/ 4 w 16"/>
                  <a:gd name="T13" fmla="*/ 19 h 20"/>
                  <a:gd name="T14" fmla="*/ 2 w 16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0">
                    <a:moveTo>
                      <a:pt x="2" y="20"/>
                    </a:moveTo>
                    <a:cubicBezTo>
                      <a:pt x="2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0" y="17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4" y="0"/>
                      <a:pt x="15" y="0"/>
                    </a:cubicBezTo>
                    <a:cubicBezTo>
                      <a:pt x="16" y="1"/>
                      <a:pt x="16" y="2"/>
                      <a:pt x="16" y="3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3" y="20"/>
                      <a:pt x="3" y="20"/>
                      <a:pt x="2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2" name="Freeform 46">
                <a:extLst>
                  <a:ext uri="{FF2B5EF4-FFF2-40B4-BE49-F238E27FC236}">
                    <a16:creationId xmlns:a16="http://schemas.microsoft.com/office/drawing/2014/main" id="{AFE4ACF5-B7B2-4A13-9604-5182681AC4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0801" y="4954588"/>
                <a:ext cx="61913" cy="77787"/>
              </a:xfrm>
              <a:custGeom>
                <a:avLst/>
                <a:gdLst>
                  <a:gd name="T0" fmla="*/ 14 w 16"/>
                  <a:gd name="T1" fmla="*/ 20 h 20"/>
                  <a:gd name="T2" fmla="*/ 12 w 16"/>
                  <a:gd name="T3" fmla="*/ 19 h 20"/>
                  <a:gd name="T4" fmla="*/ 0 w 16"/>
                  <a:gd name="T5" fmla="*/ 3 h 20"/>
                  <a:gd name="T6" fmla="*/ 1 w 16"/>
                  <a:gd name="T7" fmla="*/ 0 h 20"/>
                  <a:gd name="T8" fmla="*/ 3 w 16"/>
                  <a:gd name="T9" fmla="*/ 1 h 20"/>
                  <a:gd name="T10" fmla="*/ 15 w 16"/>
                  <a:gd name="T11" fmla="*/ 17 h 20"/>
                  <a:gd name="T12" fmla="*/ 15 w 16"/>
                  <a:gd name="T13" fmla="*/ 20 h 20"/>
                  <a:gd name="T14" fmla="*/ 14 w 16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0">
                    <a:moveTo>
                      <a:pt x="14" y="20"/>
                    </a:moveTo>
                    <a:cubicBezTo>
                      <a:pt x="13" y="20"/>
                      <a:pt x="13" y="20"/>
                      <a:pt x="12" y="19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6" y="18"/>
                      <a:pt x="16" y="19"/>
                      <a:pt x="15" y="20"/>
                    </a:cubicBezTo>
                    <a:cubicBezTo>
                      <a:pt x="15" y="20"/>
                      <a:pt x="14" y="20"/>
                      <a:pt x="14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3" name="Freeform 47">
                <a:extLst>
                  <a:ext uri="{FF2B5EF4-FFF2-40B4-BE49-F238E27FC236}">
                    <a16:creationId xmlns:a16="http://schemas.microsoft.com/office/drawing/2014/main" id="{7D2EEA15-0D80-4318-9BFD-05BF4942A9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2851" y="4668838"/>
                <a:ext cx="14288" cy="30162"/>
              </a:xfrm>
              <a:custGeom>
                <a:avLst/>
                <a:gdLst>
                  <a:gd name="T0" fmla="*/ 2 w 4"/>
                  <a:gd name="T1" fmla="*/ 8 h 8"/>
                  <a:gd name="T2" fmla="*/ 0 w 4"/>
                  <a:gd name="T3" fmla="*/ 6 h 8"/>
                  <a:gd name="T4" fmla="*/ 0 w 4"/>
                  <a:gd name="T5" fmla="*/ 2 h 8"/>
                  <a:gd name="T6" fmla="*/ 2 w 4"/>
                  <a:gd name="T7" fmla="*/ 0 h 8"/>
                  <a:gd name="T8" fmla="*/ 4 w 4"/>
                  <a:gd name="T9" fmla="*/ 2 h 8"/>
                  <a:gd name="T10" fmla="*/ 4 w 4"/>
                  <a:gd name="T11" fmla="*/ 6 h 8"/>
                  <a:gd name="T12" fmla="*/ 2 w 4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2" y="8"/>
                    </a:moveTo>
                    <a:cubicBezTo>
                      <a:pt x="1" y="8"/>
                      <a:pt x="0" y="7"/>
                      <a:pt x="0" y="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7"/>
                      <a:pt x="3" y="8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4" name="Freeform 48">
                <a:extLst>
                  <a:ext uri="{FF2B5EF4-FFF2-40B4-BE49-F238E27FC236}">
                    <a16:creationId xmlns:a16="http://schemas.microsoft.com/office/drawing/2014/main" id="{BB66DB5B-20AB-4243-AECC-C0F51181AD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8888" y="4691063"/>
                <a:ext cx="30163" cy="26987"/>
              </a:xfrm>
              <a:custGeom>
                <a:avLst/>
                <a:gdLst>
                  <a:gd name="T0" fmla="*/ 3 w 8"/>
                  <a:gd name="T1" fmla="*/ 7 h 7"/>
                  <a:gd name="T2" fmla="*/ 1 w 8"/>
                  <a:gd name="T3" fmla="*/ 7 h 7"/>
                  <a:gd name="T4" fmla="*/ 1 w 8"/>
                  <a:gd name="T5" fmla="*/ 4 h 7"/>
                  <a:gd name="T6" fmla="*/ 4 w 8"/>
                  <a:gd name="T7" fmla="*/ 1 h 7"/>
                  <a:gd name="T8" fmla="*/ 7 w 8"/>
                  <a:gd name="T9" fmla="*/ 1 h 7"/>
                  <a:gd name="T10" fmla="*/ 7 w 8"/>
                  <a:gd name="T11" fmla="*/ 4 h 7"/>
                  <a:gd name="T12" fmla="*/ 4 w 8"/>
                  <a:gd name="T13" fmla="*/ 7 h 7"/>
                  <a:gd name="T14" fmla="*/ 3 w 8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7">
                    <a:moveTo>
                      <a:pt x="3" y="7"/>
                    </a:moveTo>
                    <a:cubicBezTo>
                      <a:pt x="2" y="7"/>
                      <a:pt x="2" y="7"/>
                      <a:pt x="1" y="7"/>
                    </a:cubicBezTo>
                    <a:cubicBezTo>
                      <a:pt x="0" y="6"/>
                      <a:pt x="0" y="5"/>
                      <a:pt x="1" y="4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0"/>
                      <a:pt x="6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7"/>
                      <a:pt x="3" y="7"/>
                      <a:pt x="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5" name="Freeform 49">
                <a:extLst>
                  <a:ext uri="{FF2B5EF4-FFF2-40B4-BE49-F238E27FC236}">
                    <a16:creationId xmlns:a16="http://schemas.microsoft.com/office/drawing/2014/main" id="{70F62579-6367-4D18-A7A8-30E1C09C71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1113" y="4752975"/>
                <a:ext cx="31750" cy="15875"/>
              </a:xfrm>
              <a:custGeom>
                <a:avLst/>
                <a:gdLst>
                  <a:gd name="T0" fmla="*/ 6 w 8"/>
                  <a:gd name="T1" fmla="*/ 4 h 4"/>
                  <a:gd name="T2" fmla="*/ 2 w 8"/>
                  <a:gd name="T3" fmla="*/ 4 h 4"/>
                  <a:gd name="T4" fmla="*/ 0 w 8"/>
                  <a:gd name="T5" fmla="*/ 2 h 4"/>
                  <a:gd name="T6" fmla="*/ 2 w 8"/>
                  <a:gd name="T7" fmla="*/ 0 h 4"/>
                  <a:gd name="T8" fmla="*/ 6 w 8"/>
                  <a:gd name="T9" fmla="*/ 0 h 4"/>
                  <a:gd name="T10" fmla="*/ 8 w 8"/>
                  <a:gd name="T11" fmla="*/ 2 h 4"/>
                  <a:gd name="T12" fmla="*/ 6 w 8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6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3"/>
                      <a:pt x="7" y="4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6" name="Freeform 50">
                <a:extLst>
                  <a:ext uri="{FF2B5EF4-FFF2-40B4-BE49-F238E27FC236}">
                    <a16:creationId xmlns:a16="http://schemas.microsoft.com/office/drawing/2014/main" id="{A27A4B66-99F6-4CD8-8374-1618DE100A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8888" y="4803775"/>
                <a:ext cx="30163" cy="26987"/>
              </a:xfrm>
              <a:custGeom>
                <a:avLst/>
                <a:gdLst>
                  <a:gd name="T0" fmla="*/ 6 w 8"/>
                  <a:gd name="T1" fmla="*/ 7 h 7"/>
                  <a:gd name="T2" fmla="*/ 4 w 8"/>
                  <a:gd name="T3" fmla="*/ 6 h 7"/>
                  <a:gd name="T4" fmla="*/ 1 w 8"/>
                  <a:gd name="T5" fmla="*/ 3 h 7"/>
                  <a:gd name="T6" fmla="*/ 1 w 8"/>
                  <a:gd name="T7" fmla="*/ 0 h 7"/>
                  <a:gd name="T8" fmla="*/ 4 w 8"/>
                  <a:gd name="T9" fmla="*/ 0 h 7"/>
                  <a:gd name="T10" fmla="*/ 7 w 8"/>
                  <a:gd name="T11" fmla="*/ 3 h 7"/>
                  <a:gd name="T12" fmla="*/ 7 w 8"/>
                  <a:gd name="T13" fmla="*/ 6 h 7"/>
                  <a:gd name="T14" fmla="*/ 6 w 8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7">
                    <a:moveTo>
                      <a:pt x="6" y="7"/>
                    </a:moveTo>
                    <a:cubicBezTo>
                      <a:pt x="5" y="7"/>
                      <a:pt x="4" y="6"/>
                      <a:pt x="4" y="6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3" y="0"/>
                      <a:pt x="4" y="0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8" y="4"/>
                      <a:pt x="8" y="5"/>
                      <a:pt x="7" y="6"/>
                    </a:cubicBezTo>
                    <a:cubicBezTo>
                      <a:pt x="7" y="6"/>
                      <a:pt x="6" y="7"/>
                      <a:pt x="6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7" name="Freeform 51">
                <a:extLst>
                  <a:ext uri="{FF2B5EF4-FFF2-40B4-BE49-F238E27FC236}">
                    <a16:creationId xmlns:a16="http://schemas.microsoft.com/office/drawing/2014/main" id="{360C1F42-B821-4F91-94C1-F1E93DF073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2851" y="4822825"/>
                <a:ext cx="14288" cy="31750"/>
              </a:xfrm>
              <a:custGeom>
                <a:avLst/>
                <a:gdLst>
                  <a:gd name="T0" fmla="*/ 2 w 4"/>
                  <a:gd name="T1" fmla="*/ 8 h 8"/>
                  <a:gd name="T2" fmla="*/ 0 w 4"/>
                  <a:gd name="T3" fmla="*/ 6 h 8"/>
                  <a:gd name="T4" fmla="*/ 0 w 4"/>
                  <a:gd name="T5" fmla="*/ 2 h 8"/>
                  <a:gd name="T6" fmla="*/ 2 w 4"/>
                  <a:gd name="T7" fmla="*/ 0 h 8"/>
                  <a:gd name="T8" fmla="*/ 4 w 4"/>
                  <a:gd name="T9" fmla="*/ 2 h 8"/>
                  <a:gd name="T10" fmla="*/ 4 w 4"/>
                  <a:gd name="T11" fmla="*/ 6 h 8"/>
                  <a:gd name="T12" fmla="*/ 2 w 4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2" y="8"/>
                    </a:moveTo>
                    <a:cubicBezTo>
                      <a:pt x="1" y="8"/>
                      <a:pt x="0" y="7"/>
                      <a:pt x="0" y="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7"/>
                      <a:pt x="3" y="8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8" name="Freeform 52">
                <a:extLst>
                  <a:ext uri="{FF2B5EF4-FFF2-40B4-BE49-F238E27FC236}">
                    <a16:creationId xmlns:a16="http://schemas.microsoft.com/office/drawing/2014/main" id="{21CA0297-297F-4B4E-9FF5-75CD4BC730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0938" y="4803775"/>
                <a:ext cx="26988" cy="26987"/>
              </a:xfrm>
              <a:custGeom>
                <a:avLst/>
                <a:gdLst>
                  <a:gd name="T0" fmla="*/ 2 w 7"/>
                  <a:gd name="T1" fmla="*/ 7 h 7"/>
                  <a:gd name="T2" fmla="*/ 1 w 7"/>
                  <a:gd name="T3" fmla="*/ 6 h 7"/>
                  <a:gd name="T4" fmla="*/ 1 w 7"/>
                  <a:gd name="T5" fmla="*/ 3 h 7"/>
                  <a:gd name="T6" fmla="*/ 4 w 7"/>
                  <a:gd name="T7" fmla="*/ 0 h 7"/>
                  <a:gd name="T8" fmla="*/ 7 w 7"/>
                  <a:gd name="T9" fmla="*/ 0 h 7"/>
                  <a:gd name="T10" fmla="*/ 7 w 7"/>
                  <a:gd name="T11" fmla="*/ 3 h 7"/>
                  <a:gd name="T12" fmla="*/ 4 w 7"/>
                  <a:gd name="T13" fmla="*/ 6 h 7"/>
                  <a:gd name="T14" fmla="*/ 2 w 7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7">
                    <a:moveTo>
                      <a:pt x="2" y="7"/>
                    </a:moveTo>
                    <a:cubicBezTo>
                      <a:pt x="2" y="7"/>
                      <a:pt x="1" y="6"/>
                      <a:pt x="1" y="6"/>
                    </a:cubicBezTo>
                    <a:cubicBezTo>
                      <a:pt x="0" y="5"/>
                      <a:pt x="0" y="4"/>
                      <a:pt x="1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0"/>
                      <a:pt x="7" y="0"/>
                    </a:cubicBezTo>
                    <a:cubicBezTo>
                      <a:pt x="7" y="1"/>
                      <a:pt x="7" y="2"/>
                      <a:pt x="7" y="3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6"/>
                      <a:pt x="3" y="7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9" name="Freeform 53">
                <a:extLst>
                  <a:ext uri="{FF2B5EF4-FFF2-40B4-BE49-F238E27FC236}">
                    <a16:creationId xmlns:a16="http://schemas.microsoft.com/office/drawing/2014/main" id="{6235B764-3DF1-4B8E-94D2-45057C61E3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7126" y="4752975"/>
                <a:ext cx="30163" cy="15875"/>
              </a:xfrm>
              <a:custGeom>
                <a:avLst/>
                <a:gdLst>
                  <a:gd name="T0" fmla="*/ 6 w 8"/>
                  <a:gd name="T1" fmla="*/ 4 h 4"/>
                  <a:gd name="T2" fmla="*/ 2 w 8"/>
                  <a:gd name="T3" fmla="*/ 4 h 4"/>
                  <a:gd name="T4" fmla="*/ 0 w 8"/>
                  <a:gd name="T5" fmla="*/ 2 h 4"/>
                  <a:gd name="T6" fmla="*/ 2 w 8"/>
                  <a:gd name="T7" fmla="*/ 0 h 4"/>
                  <a:gd name="T8" fmla="*/ 6 w 8"/>
                  <a:gd name="T9" fmla="*/ 0 h 4"/>
                  <a:gd name="T10" fmla="*/ 8 w 8"/>
                  <a:gd name="T11" fmla="*/ 2 h 4"/>
                  <a:gd name="T12" fmla="*/ 6 w 8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6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3"/>
                      <a:pt x="7" y="4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0" name="Freeform 54">
                <a:extLst>
                  <a:ext uri="{FF2B5EF4-FFF2-40B4-BE49-F238E27FC236}">
                    <a16:creationId xmlns:a16="http://schemas.microsoft.com/office/drawing/2014/main" id="{F780B82B-0A7E-40D5-8B8A-502B345E3B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0938" y="4691063"/>
                <a:ext cx="26988" cy="26987"/>
              </a:xfrm>
              <a:custGeom>
                <a:avLst/>
                <a:gdLst>
                  <a:gd name="T0" fmla="*/ 5 w 7"/>
                  <a:gd name="T1" fmla="*/ 7 h 7"/>
                  <a:gd name="T2" fmla="*/ 4 w 7"/>
                  <a:gd name="T3" fmla="*/ 7 h 7"/>
                  <a:gd name="T4" fmla="*/ 1 w 7"/>
                  <a:gd name="T5" fmla="*/ 4 h 7"/>
                  <a:gd name="T6" fmla="*/ 1 w 7"/>
                  <a:gd name="T7" fmla="*/ 1 h 7"/>
                  <a:gd name="T8" fmla="*/ 4 w 7"/>
                  <a:gd name="T9" fmla="*/ 1 h 7"/>
                  <a:gd name="T10" fmla="*/ 7 w 7"/>
                  <a:gd name="T11" fmla="*/ 4 h 7"/>
                  <a:gd name="T12" fmla="*/ 7 w 7"/>
                  <a:gd name="T13" fmla="*/ 7 h 7"/>
                  <a:gd name="T14" fmla="*/ 5 w 7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7">
                    <a:moveTo>
                      <a:pt x="5" y="7"/>
                    </a:moveTo>
                    <a:cubicBezTo>
                      <a:pt x="5" y="7"/>
                      <a:pt x="4" y="7"/>
                      <a:pt x="4" y="7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5"/>
                      <a:pt x="7" y="6"/>
                      <a:pt x="7" y="7"/>
                    </a:cubicBezTo>
                    <a:cubicBezTo>
                      <a:pt x="6" y="7"/>
                      <a:pt x="6" y="7"/>
                      <a:pt x="5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1" name="Freeform 55">
                <a:extLst>
                  <a:ext uri="{FF2B5EF4-FFF2-40B4-BE49-F238E27FC236}">
                    <a16:creationId xmlns:a16="http://schemas.microsoft.com/office/drawing/2014/main" id="{393BEF42-CBF7-41BB-AF1C-13AACAD065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3163" y="4714875"/>
                <a:ext cx="93663" cy="93662"/>
              </a:xfrm>
              <a:custGeom>
                <a:avLst/>
                <a:gdLst>
                  <a:gd name="T0" fmla="*/ 12 w 24"/>
                  <a:gd name="T1" fmla="*/ 24 h 24"/>
                  <a:gd name="T2" fmla="*/ 0 w 24"/>
                  <a:gd name="T3" fmla="*/ 12 h 24"/>
                  <a:gd name="T4" fmla="*/ 12 w 24"/>
                  <a:gd name="T5" fmla="*/ 0 h 24"/>
                  <a:gd name="T6" fmla="*/ 24 w 24"/>
                  <a:gd name="T7" fmla="*/ 12 h 24"/>
                  <a:gd name="T8" fmla="*/ 12 w 24"/>
                  <a:gd name="T9" fmla="*/ 24 h 24"/>
                  <a:gd name="T10" fmla="*/ 12 w 24"/>
                  <a:gd name="T11" fmla="*/ 4 h 24"/>
                  <a:gd name="T12" fmla="*/ 4 w 24"/>
                  <a:gd name="T13" fmla="*/ 12 h 24"/>
                  <a:gd name="T14" fmla="*/ 12 w 24"/>
                  <a:gd name="T15" fmla="*/ 20 h 24"/>
                  <a:gd name="T16" fmla="*/ 20 w 24"/>
                  <a:gd name="T17" fmla="*/ 12 h 24"/>
                  <a:gd name="T18" fmla="*/ 12 w 24"/>
                  <a:gd name="T1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2" y="24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20"/>
                      <a:pt x="12" y="20"/>
                    </a:cubicBezTo>
                    <a:cubicBezTo>
                      <a:pt x="16" y="20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691684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2DC71B9-951D-4BBC-9D2A-514826AA4F1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22" b="32442"/>
          <a:stretch/>
        </p:blipFill>
        <p:spPr>
          <a:xfrm>
            <a:off x="-16329" y="4992284"/>
            <a:ext cx="12224658" cy="1584017"/>
          </a:xfrm>
          <a:prstGeom prst="rect">
            <a:avLst/>
          </a:prstGeom>
        </p:spPr>
      </p:pic>
      <p:sp>
        <p:nvSpPr>
          <p:cNvPr id="4" name="Rectangle 70">
            <a:extLst>
              <a:ext uri="{FF2B5EF4-FFF2-40B4-BE49-F238E27FC236}">
                <a16:creationId xmlns:a16="http://schemas.microsoft.com/office/drawing/2014/main" id="{2C7F6899-AA89-4ACF-BBC6-9182A564A0B3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FE3DD1-8761-4FA2-A00F-4C407ED92CBC}"/>
              </a:ext>
            </a:extLst>
          </p:cNvPr>
          <p:cNvSpPr txBox="1"/>
          <p:nvPr/>
        </p:nvSpPr>
        <p:spPr>
          <a:xfrm>
            <a:off x="708963" y="250833"/>
            <a:ext cx="10774074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/>
              <a:t>WORLD MAP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20BEE59-F9E4-4446-AD2B-290E5A2944B4}"/>
              </a:ext>
            </a:extLst>
          </p:cNvPr>
          <p:cNvSpPr/>
          <p:nvPr/>
        </p:nvSpPr>
        <p:spPr>
          <a:xfrm>
            <a:off x="0" y="4937714"/>
            <a:ext cx="12192000" cy="1693158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488FBF4-661C-48F3-A7AA-4B8C44BEC2FF}"/>
              </a:ext>
            </a:extLst>
          </p:cNvPr>
          <p:cNvGrpSpPr/>
          <p:nvPr/>
        </p:nvGrpSpPr>
        <p:grpSpPr>
          <a:xfrm>
            <a:off x="635787" y="1093782"/>
            <a:ext cx="6415314" cy="3709584"/>
            <a:chOff x="2888343" y="1149665"/>
            <a:chExt cx="6415314" cy="3709584"/>
          </a:xfrm>
        </p:grpSpPr>
        <p:grpSp>
          <p:nvGrpSpPr>
            <p:cNvPr id="1708" name="Group 225">
              <a:extLst>
                <a:ext uri="{FF2B5EF4-FFF2-40B4-BE49-F238E27FC236}">
                  <a16:creationId xmlns:a16="http://schemas.microsoft.com/office/drawing/2014/main" id="{2A16377A-59F6-43E3-B8FC-9A3D1BA10DB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888343" y="1149665"/>
              <a:ext cx="6415314" cy="3709584"/>
              <a:chOff x="61885" y="752495"/>
              <a:chExt cx="8724928" cy="5045055"/>
            </a:xfrm>
            <a:solidFill>
              <a:schemeClr val="bg1">
                <a:lumMod val="75000"/>
              </a:schemeClr>
            </a:solidFill>
          </p:grpSpPr>
          <p:sp>
            <p:nvSpPr>
              <p:cNvPr id="1710" name="Freeform 5962">
                <a:extLst>
                  <a:ext uri="{FF2B5EF4-FFF2-40B4-BE49-F238E27FC236}">
                    <a16:creationId xmlns:a16="http://schemas.microsoft.com/office/drawing/2014/main" id="{D2A83DC1-4DDE-4499-95F1-92FB6241B8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79629" y="3535372"/>
                <a:ext cx="1189042" cy="2262178"/>
              </a:xfrm>
              <a:custGeom>
                <a:avLst/>
                <a:gdLst>
                  <a:gd name="T0" fmla="*/ 168775 w 1874"/>
                  <a:gd name="T1" fmla="*/ 2086902 h 3562"/>
                  <a:gd name="T2" fmla="*/ 147202 w 1874"/>
                  <a:gd name="T3" fmla="*/ 1968776 h 3562"/>
                  <a:gd name="T4" fmla="*/ 184003 w 1874"/>
                  <a:gd name="T5" fmla="*/ 1976397 h 3562"/>
                  <a:gd name="T6" fmla="*/ 161161 w 1874"/>
                  <a:gd name="T7" fmla="*/ 1982748 h 3562"/>
                  <a:gd name="T8" fmla="*/ 154816 w 1874"/>
                  <a:gd name="T9" fmla="*/ 2042446 h 3562"/>
                  <a:gd name="T10" fmla="*/ 156085 w 1874"/>
                  <a:gd name="T11" fmla="*/ 1997990 h 3562"/>
                  <a:gd name="T12" fmla="*/ 147202 w 1874"/>
                  <a:gd name="T13" fmla="*/ 2006881 h 3562"/>
                  <a:gd name="T14" fmla="*/ 184003 w 1874"/>
                  <a:gd name="T15" fmla="*/ 2086902 h 3562"/>
                  <a:gd name="T16" fmla="*/ 153547 w 1874"/>
                  <a:gd name="T17" fmla="*/ 1999260 h 3562"/>
                  <a:gd name="T18" fmla="*/ 185272 w 1874"/>
                  <a:gd name="T19" fmla="*/ 1850649 h 3562"/>
                  <a:gd name="T20" fmla="*/ 192886 w 1874"/>
                  <a:gd name="T21" fmla="*/ 1841758 h 3562"/>
                  <a:gd name="T22" fmla="*/ 166237 w 1874"/>
                  <a:gd name="T23" fmla="*/ 1884944 h 3562"/>
                  <a:gd name="T24" fmla="*/ 348971 w 1874"/>
                  <a:gd name="T25" fmla="*/ 2235513 h 3562"/>
                  <a:gd name="T26" fmla="*/ 304556 w 1874"/>
                  <a:gd name="T27" fmla="*/ 2245675 h 3562"/>
                  <a:gd name="T28" fmla="*/ 284252 w 1874"/>
                  <a:gd name="T29" fmla="*/ 2227892 h 3562"/>
                  <a:gd name="T30" fmla="*/ 323591 w 1874"/>
                  <a:gd name="T31" fmla="*/ 2224082 h 3562"/>
                  <a:gd name="T32" fmla="*/ 277907 w 1874"/>
                  <a:gd name="T33" fmla="*/ 2230433 h 3562"/>
                  <a:gd name="T34" fmla="*/ 170044 w 1874"/>
                  <a:gd name="T35" fmla="*/ 2140250 h 3562"/>
                  <a:gd name="T36" fmla="*/ 180196 w 1874"/>
                  <a:gd name="T37" fmla="*/ 2163113 h 3562"/>
                  <a:gd name="T38" fmla="*/ 157354 w 1874"/>
                  <a:gd name="T39" fmla="*/ 2090713 h 3562"/>
                  <a:gd name="T40" fmla="*/ 247452 w 1874"/>
                  <a:gd name="T41" fmla="*/ 2198678 h 3562"/>
                  <a:gd name="T42" fmla="*/ 214458 w 1874"/>
                  <a:gd name="T43" fmla="*/ 2170734 h 3562"/>
                  <a:gd name="T44" fmla="*/ 224610 w 1874"/>
                  <a:gd name="T45" fmla="*/ 2189787 h 3562"/>
                  <a:gd name="T46" fmla="*/ 300749 w 1874"/>
                  <a:gd name="T47" fmla="*/ 2198678 h 3562"/>
                  <a:gd name="T48" fmla="*/ 237300 w 1874"/>
                  <a:gd name="T49" fmla="*/ 2207569 h 3562"/>
                  <a:gd name="T50" fmla="*/ 319784 w 1874"/>
                  <a:gd name="T51" fmla="*/ 2224082 h 3562"/>
                  <a:gd name="T52" fmla="*/ 184003 w 1874"/>
                  <a:gd name="T53" fmla="*/ 1738874 h 3562"/>
                  <a:gd name="T54" fmla="*/ 166237 w 1874"/>
                  <a:gd name="T55" fmla="*/ 1802383 h 3562"/>
                  <a:gd name="T56" fmla="*/ 187810 w 1874"/>
                  <a:gd name="T57" fmla="*/ 1807463 h 3562"/>
                  <a:gd name="T58" fmla="*/ 176389 w 1874"/>
                  <a:gd name="T59" fmla="*/ 1878593 h 3562"/>
                  <a:gd name="T60" fmla="*/ 939048 w 1874"/>
                  <a:gd name="T61" fmla="*/ 443292 h 3562"/>
                  <a:gd name="T62" fmla="*/ 767735 w 1874"/>
                  <a:gd name="T63" fmla="*/ 403917 h 3562"/>
                  <a:gd name="T64" fmla="*/ 761390 w 1874"/>
                  <a:gd name="T65" fmla="*/ 248955 h 3562"/>
                  <a:gd name="T66" fmla="*/ 611650 w 1874"/>
                  <a:gd name="T67" fmla="*/ 190527 h 3562"/>
                  <a:gd name="T68" fmla="*/ 474600 w 1874"/>
                  <a:gd name="T69" fmla="*/ 59698 h 3562"/>
                  <a:gd name="T70" fmla="*/ 281714 w 1874"/>
                  <a:gd name="T71" fmla="*/ 21593 h 3562"/>
                  <a:gd name="T72" fmla="*/ 157354 w 1874"/>
                  <a:gd name="T73" fmla="*/ 45726 h 3562"/>
                  <a:gd name="T74" fmla="*/ 91367 w 1874"/>
                  <a:gd name="T75" fmla="*/ 299762 h 3562"/>
                  <a:gd name="T76" fmla="*/ 35532 w 1874"/>
                  <a:gd name="T77" fmla="*/ 461075 h 3562"/>
                  <a:gd name="T78" fmla="*/ 109133 w 1874"/>
                  <a:gd name="T79" fmla="*/ 768458 h 3562"/>
                  <a:gd name="T80" fmla="*/ 275370 w 1874"/>
                  <a:gd name="T81" fmla="*/ 1108865 h 3562"/>
                  <a:gd name="T82" fmla="*/ 252528 w 1874"/>
                  <a:gd name="T83" fmla="*/ 1420059 h 3562"/>
                  <a:gd name="T84" fmla="*/ 196693 w 1874"/>
                  <a:gd name="T85" fmla="*/ 1667744 h 3562"/>
                  <a:gd name="T86" fmla="*/ 209382 w 1874"/>
                  <a:gd name="T87" fmla="*/ 1797302 h 3562"/>
                  <a:gd name="T88" fmla="*/ 171313 w 1874"/>
                  <a:gd name="T89" fmla="*/ 1882404 h 3562"/>
                  <a:gd name="T90" fmla="*/ 170044 w 1874"/>
                  <a:gd name="T91" fmla="*/ 1947183 h 3562"/>
                  <a:gd name="T92" fmla="*/ 176389 w 1874"/>
                  <a:gd name="T93" fmla="*/ 2011962 h 3562"/>
                  <a:gd name="T94" fmla="*/ 185272 w 1874"/>
                  <a:gd name="T95" fmla="*/ 2053878 h 3562"/>
                  <a:gd name="T96" fmla="*/ 196693 w 1874"/>
                  <a:gd name="T97" fmla="*/ 2100874 h 3562"/>
                  <a:gd name="T98" fmla="*/ 194155 w 1874"/>
                  <a:gd name="T99" fmla="*/ 2113576 h 3562"/>
                  <a:gd name="T100" fmla="*/ 233493 w 1874"/>
                  <a:gd name="T101" fmla="*/ 2131359 h 3562"/>
                  <a:gd name="T102" fmla="*/ 255066 w 1874"/>
                  <a:gd name="T103" fmla="*/ 2141520 h 3562"/>
                  <a:gd name="T104" fmla="*/ 314708 w 1874"/>
                  <a:gd name="T105" fmla="*/ 2122467 h 3562"/>
                  <a:gd name="T106" fmla="*/ 348971 w 1874"/>
                  <a:gd name="T107" fmla="*/ 1890025 h 3562"/>
                  <a:gd name="T108" fmla="*/ 453027 w 1874"/>
                  <a:gd name="T109" fmla="*/ 1764277 h 3562"/>
                  <a:gd name="T110" fmla="*/ 491097 w 1874"/>
                  <a:gd name="T111" fmla="*/ 1635989 h 3562"/>
                  <a:gd name="T112" fmla="*/ 629416 w 1874"/>
                  <a:gd name="T113" fmla="*/ 1491189 h 3562"/>
                  <a:gd name="T114" fmla="*/ 865447 w 1874"/>
                  <a:gd name="T115" fmla="*/ 1158402 h 3562"/>
                  <a:gd name="T116" fmla="*/ 1079905 w 1874"/>
                  <a:gd name="T117" fmla="*/ 900556 h 3562"/>
                  <a:gd name="T118" fmla="*/ 426379 w 1874"/>
                  <a:gd name="T119" fmla="*/ 2222811 h 3562"/>
                  <a:gd name="T120" fmla="*/ 184003 w 1874"/>
                  <a:gd name="T121" fmla="*/ 1928130 h 3562"/>
                  <a:gd name="T122" fmla="*/ 159892 w 1874"/>
                  <a:gd name="T123" fmla="*/ 1994179 h 3562"/>
                  <a:gd name="T124" fmla="*/ 175120 w 1874"/>
                  <a:gd name="T125" fmla="*/ 2027204 h 356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874"/>
                  <a:gd name="T190" fmla="*/ 0 h 3562"/>
                  <a:gd name="T191" fmla="*/ 1874 w 1874"/>
                  <a:gd name="T192" fmla="*/ 3562 h 356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874" h="3562">
                    <a:moveTo>
                      <a:pt x="282" y="3320"/>
                    </a:moveTo>
                    <a:lnTo>
                      <a:pt x="282" y="3320"/>
                    </a:lnTo>
                    <a:lnTo>
                      <a:pt x="286" y="3322"/>
                    </a:lnTo>
                    <a:lnTo>
                      <a:pt x="286" y="3320"/>
                    </a:lnTo>
                    <a:lnTo>
                      <a:pt x="284" y="3316"/>
                    </a:lnTo>
                    <a:lnTo>
                      <a:pt x="282" y="3312"/>
                    </a:lnTo>
                    <a:lnTo>
                      <a:pt x="278" y="3308"/>
                    </a:lnTo>
                    <a:lnTo>
                      <a:pt x="274" y="3308"/>
                    </a:lnTo>
                    <a:lnTo>
                      <a:pt x="274" y="3310"/>
                    </a:lnTo>
                    <a:lnTo>
                      <a:pt x="276" y="3314"/>
                    </a:lnTo>
                    <a:lnTo>
                      <a:pt x="276" y="3316"/>
                    </a:lnTo>
                    <a:lnTo>
                      <a:pt x="282" y="3320"/>
                    </a:lnTo>
                    <a:close/>
                    <a:moveTo>
                      <a:pt x="286" y="3348"/>
                    </a:moveTo>
                    <a:lnTo>
                      <a:pt x="286" y="3348"/>
                    </a:lnTo>
                    <a:lnTo>
                      <a:pt x="288" y="3348"/>
                    </a:lnTo>
                    <a:lnTo>
                      <a:pt x="290" y="3348"/>
                    </a:lnTo>
                    <a:lnTo>
                      <a:pt x="296" y="3344"/>
                    </a:lnTo>
                    <a:lnTo>
                      <a:pt x="294" y="3340"/>
                    </a:lnTo>
                    <a:lnTo>
                      <a:pt x="286" y="3334"/>
                    </a:lnTo>
                    <a:lnTo>
                      <a:pt x="282" y="3330"/>
                    </a:lnTo>
                    <a:lnTo>
                      <a:pt x="278" y="3330"/>
                    </a:lnTo>
                    <a:lnTo>
                      <a:pt x="276" y="3332"/>
                    </a:lnTo>
                    <a:lnTo>
                      <a:pt x="278" y="3334"/>
                    </a:lnTo>
                    <a:lnTo>
                      <a:pt x="278" y="3336"/>
                    </a:lnTo>
                    <a:lnTo>
                      <a:pt x="280" y="3336"/>
                    </a:lnTo>
                    <a:lnTo>
                      <a:pt x="282" y="3336"/>
                    </a:lnTo>
                    <a:lnTo>
                      <a:pt x="284" y="3336"/>
                    </a:lnTo>
                    <a:lnTo>
                      <a:pt x="284" y="3338"/>
                    </a:lnTo>
                    <a:lnTo>
                      <a:pt x="284" y="3340"/>
                    </a:lnTo>
                    <a:lnTo>
                      <a:pt x="284" y="3342"/>
                    </a:lnTo>
                    <a:lnTo>
                      <a:pt x="286" y="3348"/>
                    </a:lnTo>
                    <a:close/>
                    <a:moveTo>
                      <a:pt x="270" y="3286"/>
                    </a:moveTo>
                    <a:lnTo>
                      <a:pt x="270" y="3286"/>
                    </a:lnTo>
                    <a:lnTo>
                      <a:pt x="270" y="3280"/>
                    </a:lnTo>
                    <a:lnTo>
                      <a:pt x="268" y="3278"/>
                    </a:lnTo>
                    <a:lnTo>
                      <a:pt x="266" y="3278"/>
                    </a:lnTo>
                    <a:lnTo>
                      <a:pt x="262" y="3278"/>
                    </a:lnTo>
                    <a:lnTo>
                      <a:pt x="260" y="3280"/>
                    </a:lnTo>
                    <a:lnTo>
                      <a:pt x="256" y="3286"/>
                    </a:lnTo>
                    <a:lnTo>
                      <a:pt x="252" y="3292"/>
                    </a:lnTo>
                    <a:lnTo>
                      <a:pt x="254" y="3292"/>
                    </a:lnTo>
                    <a:lnTo>
                      <a:pt x="258" y="3292"/>
                    </a:lnTo>
                    <a:lnTo>
                      <a:pt x="262" y="3290"/>
                    </a:lnTo>
                    <a:lnTo>
                      <a:pt x="262" y="3288"/>
                    </a:lnTo>
                    <a:lnTo>
                      <a:pt x="264" y="3286"/>
                    </a:lnTo>
                    <a:lnTo>
                      <a:pt x="266" y="3286"/>
                    </a:lnTo>
                    <a:lnTo>
                      <a:pt x="266" y="3288"/>
                    </a:lnTo>
                    <a:lnTo>
                      <a:pt x="268" y="3290"/>
                    </a:lnTo>
                    <a:lnTo>
                      <a:pt x="270" y="3288"/>
                    </a:lnTo>
                    <a:lnTo>
                      <a:pt x="270" y="3286"/>
                    </a:lnTo>
                    <a:close/>
                    <a:moveTo>
                      <a:pt x="262" y="3260"/>
                    </a:moveTo>
                    <a:lnTo>
                      <a:pt x="262" y="3260"/>
                    </a:lnTo>
                    <a:lnTo>
                      <a:pt x="256" y="3260"/>
                    </a:lnTo>
                    <a:lnTo>
                      <a:pt x="254" y="3260"/>
                    </a:lnTo>
                    <a:lnTo>
                      <a:pt x="254" y="3262"/>
                    </a:lnTo>
                    <a:lnTo>
                      <a:pt x="256" y="3264"/>
                    </a:lnTo>
                    <a:lnTo>
                      <a:pt x="258" y="3266"/>
                    </a:lnTo>
                    <a:lnTo>
                      <a:pt x="260" y="3270"/>
                    </a:lnTo>
                    <a:lnTo>
                      <a:pt x="264" y="3272"/>
                    </a:lnTo>
                    <a:lnTo>
                      <a:pt x="266" y="3270"/>
                    </a:lnTo>
                    <a:lnTo>
                      <a:pt x="268" y="3268"/>
                    </a:lnTo>
                    <a:lnTo>
                      <a:pt x="270" y="3266"/>
                    </a:lnTo>
                    <a:lnTo>
                      <a:pt x="274" y="3266"/>
                    </a:lnTo>
                    <a:lnTo>
                      <a:pt x="276" y="3266"/>
                    </a:lnTo>
                    <a:lnTo>
                      <a:pt x="276" y="3258"/>
                    </a:lnTo>
                    <a:lnTo>
                      <a:pt x="274" y="3254"/>
                    </a:lnTo>
                    <a:lnTo>
                      <a:pt x="270" y="3250"/>
                    </a:lnTo>
                    <a:lnTo>
                      <a:pt x="268" y="3250"/>
                    </a:lnTo>
                    <a:lnTo>
                      <a:pt x="266" y="3252"/>
                    </a:lnTo>
                    <a:lnTo>
                      <a:pt x="268" y="3258"/>
                    </a:lnTo>
                    <a:lnTo>
                      <a:pt x="266" y="3260"/>
                    </a:lnTo>
                    <a:lnTo>
                      <a:pt x="262" y="3260"/>
                    </a:lnTo>
                    <a:close/>
                    <a:moveTo>
                      <a:pt x="236" y="3110"/>
                    </a:moveTo>
                    <a:lnTo>
                      <a:pt x="236" y="3110"/>
                    </a:lnTo>
                    <a:lnTo>
                      <a:pt x="238" y="3110"/>
                    </a:lnTo>
                    <a:lnTo>
                      <a:pt x="240" y="3112"/>
                    </a:lnTo>
                    <a:lnTo>
                      <a:pt x="240" y="3118"/>
                    </a:lnTo>
                    <a:lnTo>
                      <a:pt x="240" y="3126"/>
                    </a:lnTo>
                    <a:lnTo>
                      <a:pt x="242" y="3128"/>
                    </a:lnTo>
                    <a:lnTo>
                      <a:pt x="244" y="3128"/>
                    </a:lnTo>
                    <a:lnTo>
                      <a:pt x="248" y="3124"/>
                    </a:lnTo>
                    <a:lnTo>
                      <a:pt x="250" y="3120"/>
                    </a:lnTo>
                    <a:lnTo>
                      <a:pt x="244" y="3108"/>
                    </a:lnTo>
                    <a:lnTo>
                      <a:pt x="240" y="3102"/>
                    </a:lnTo>
                    <a:lnTo>
                      <a:pt x="240" y="3096"/>
                    </a:lnTo>
                    <a:lnTo>
                      <a:pt x="238" y="3090"/>
                    </a:lnTo>
                    <a:lnTo>
                      <a:pt x="236" y="3088"/>
                    </a:lnTo>
                    <a:lnTo>
                      <a:pt x="232" y="3090"/>
                    </a:lnTo>
                    <a:lnTo>
                      <a:pt x="230" y="3094"/>
                    </a:lnTo>
                    <a:lnTo>
                      <a:pt x="230" y="3098"/>
                    </a:lnTo>
                    <a:lnTo>
                      <a:pt x="232" y="3100"/>
                    </a:lnTo>
                    <a:lnTo>
                      <a:pt x="232" y="3104"/>
                    </a:lnTo>
                    <a:lnTo>
                      <a:pt x="230" y="3108"/>
                    </a:lnTo>
                    <a:lnTo>
                      <a:pt x="230" y="3110"/>
                    </a:lnTo>
                    <a:lnTo>
                      <a:pt x="232" y="3110"/>
                    </a:lnTo>
                    <a:lnTo>
                      <a:pt x="236" y="3110"/>
                    </a:lnTo>
                    <a:close/>
                    <a:moveTo>
                      <a:pt x="284" y="3278"/>
                    </a:moveTo>
                    <a:lnTo>
                      <a:pt x="284" y="3278"/>
                    </a:lnTo>
                    <a:lnTo>
                      <a:pt x="284" y="3276"/>
                    </a:lnTo>
                    <a:lnTo>
                      <a:pt x="284" y="3270"/>
                    </a:lnTo>
                    <a:lnTo>
                      <a:pt x="282" y="3264"/>
                    </a:lnTo>
                    <a:lnTo>
                      <a:pt x="280" y="3260"/>
                    </a:lnTo>
                    <a:lnTo>
                      <a:pt x="278" y="3264"/>
                    </a:lnTo>
                    <a:lnTo>
                      <a:pt x="278" y="3270"/>
                    </a:lnTo>
                    <a:lnTo>
                      <a:pt x="280" y="3276"/>
                    </a:lnTo>
                    <a:lnTo>
                      <a:pt x="282" y="3278"/>
                    </a:lnTo>
                    <a:lnTo>
                      <a:pt x="284" y="3278"/>
                    </a:lnTo>
                    <a:close/>
                    <a:moveTo>
                      <a:pt x="304" y="3362"/>
                    </a:moveTo>
                    <a:lnTo>
                      <a:pt x="304" y="3362"/>
                    </a:lnTo>
                    <a:lnTo>
                      <a:pt x="304" y="3358"/>
                    </a:lnTo>
                    <a:lnTo>
                      <a:pt x="304" y="3356"/>
                    </a:lnTo>
                    <a:lnTo>
                      <a:pt x="306" y="3354"/>
                    </a:lnTo>
                    <a:lnTo>
                      <a:pt x="304" y="3352"/>
                    </a:lnTo>
                    <a:lnTo>
                      <a:pt x="302" y="3350"/>
                    </a:lnTo>
                    <a:lnTo>
                      <a:pt x="300" y="3350"/>
                    </a:lnTo>
                    <a:lnTo>
                      <a:pt x="294" y="3356"/>
                    </a:lnTo>
                    <a:lnTo>
                      <a:pt x="292" y="3360"/>
                    </a:lnTo>
                    <a:lnTo>
                      <a:pt x="292" y="3362"/>
                    </a:lnTo>
                    <a:lnTo>
                      <a:pt x="296" y="3368"/>
                    </a:lnTo>
                    <a:lnTo>
                      <a:pt x="298" y="3368"/>
                    </a:lnTo>
                    <a:lnTo>
                      <a:pt x="300" y="3368"/>
                    </a:lnTo>
                    <a:lnTo>
                      <a:pt x="302" y="3366"/>
                    </a:lnTo>
                    <a:lnTo>
                      <a:pt x="304" y="3362"/>
                    </a:lnTo>
                    <a:close/>
                    <a:moveTo>
                      <a:pt x="262" y="3320"/>
                    </a:moveTo>
                    <a:lnTo>
                      <a:pt x="262" y="3320"/>
                    </a:lnTo>
                    <a:lnTo>
                      <a:pt x="260" y="3330"/>
                    </a:lnTo>
                    <a:lnTo>
                      <a:pt x="258" y="3332"/>
                    </a:lnTo>
                    <a:lnTo>
                      <a:pt x="260" y="3330"/>
                    </a:lnTo>
                    <a:lnTo>
                      <a:pt x="264" y="3328"/>
                    </a:lnTo>
                    <a:lnTo>
                      <a:pt x="268" y="3320"/>
                    </a:lnTo>
                    <a:lnTo>
                      <a:pt x="268" y="3316"/>
                    </a:lnTo>
                    <a:lnTo>
                      <a:pt x="266" y="3314"/>
                    </a:lnTo>
                    <a:lnTo>
                      <a:pt x="264" y="3314"/>
                    </a:lnTo>
                    <a:lnTo>
                      <a:pt x="262" y="3320"/>
                    </a:lnTo>
                    <a:close/>
                    <a:moveTo>
                      <a:pt x="276" y="3112"/>
                    </a:moveTo>
                    <a:lnTo>
                      <a:pt x="276" y="3112"/>
                    </a:lnTo>
                    <a:lnTo>
                      <a:pt x="286" y="3114"/>
                    </a:lnTo>
                    <a:lnTo>
                      <a:pt x="288" y="3114"/>
                    </a:lnTo>
                    <a:lnTo>
                      <a:pt x="290" y="3112"/>
                    </a:lnTo>
                    <a:lnTo>
                      <a:pt x="284" y="3110"/>
                    </a:lnTo>
                    <a:lnTo>
                      <a:pt x="276" y="3102"/>
                    </a:lnTo>
                    <a:lnTo>
                      <a:pt x="270" y="3096"/>
                    </a:lnTo>
                    <a:lnTo>
                      <a:pt x="270" y="3098"/>
                    </a:lnTo>
                    <a:lnTo>
                      <a:pt x="270" y="3102"/>
                    </a:lnTo>
                    <a:lnTo>
                      <a:pt x="272" y="3108"/>
                    </a:lnTo>
                    <a:lnTo>
                      <a:pt x="276" y="3112"/>
                    </a:lnTo>
                    <a:close/>
                    <a:moveTo>
                      <a:pt x="274" y="3270"/>
                    </a:moveTo>
                    <a:lnTo>
                      <a:pt x="274" y="3270"/>
                    </a:lnTo>
                    <a:lnTo>
                      <a:pt x="272" y="3270"/>
                    </a:lnTo>
                    <a:lnTo>
                      <a:pt x="270" y="3272"/>
                    </a:lnTo>
                    <a:lnTo>
                      <a:pt x="270" y="3274"/>
                    </a:lnTo>
                    <a:lnTo>
                      <a:pt x="272" y="3276"/>
                    </a:lnTo>
                    <a:lnTo>
                      <a:pt x="274" y="3278"/>
                    </a:lnTo>
                    <a:lnTo>
                      <a:pt x="276" y="3276"/>
                    </a:lnTo>
                    <a:lnTo>
                      <a:pt x="276" y="3272"/>
                    </a:lnTo>
                    <a:lnTo>
                      <a:pt x="274" y="3270"/>
                    </a:lnTo>
                    <a:close/>
                    <a:moveTo>
                      <a:pt x="246" y="3090"/>
                    </a:moveTo>
                    <a:lnTo>
                      <a:pt x="246" y="3090"/>
                    </a:lnTo>
                    <a:lnTo>
                      <a:pt x="250" y="3090"/>
                    </a:lnTo>
                    <a:lnTo>
                      <a:pt x="252" y="3090"/>
                    </a:lnTo>
                    <a:lnTo>
                      <a:pt x="254" y="3092"/>
                    </a:lnTo>
                    <a:lnTo>
                      <a:pt x="258" y="3092"/>
                    </a:lnTo>
                    <a:lnTo>
                      <a:pt x="260" y="3090"/>
                    </a:lnTo>
                    <a:lnTo>
                      <a:pt x="260" y="3084"/>
                    </a:lnTo>
                    <a:lnTo>
                      <a:pt x="260" y="3080"/>
                    </a:lnTo>
                    <a:lnTo>
                      <a:pt x="260" y="3076"/>
                    </a:lnTo>
                    <a:lnTo>
                      <a:pt x="258" y="3078"/>
                    </a:lnTo>
                    <a:lnTo>
                      <a:pt x="256" y="3080"/>
                    </a:lnTo>
                    <a:lnTo>
                      <a:pt x="252" y="3084"/>
                    </a:lnTo>
                    <a:lnTo>
                      <a:pt x="248" y="3086"/>
                    </a:lnTo>
                    <a:lnTo>
                      <a:pt x="244" y="3086"/>
                    </a:lnTo>
                    <a:lnTo>
                      <a:pt x="242" y="3088"/>
                    </a:lnTo>
                    <a:lnTo>
                      <a:pt x="242" y="3090"/>
                    </a:lnTo>
                    <a:lnTo>
                      <a:pt x="246" y="3090"/>
                    </a:lnTo>
                    <a:close/>
                    <a:moveTo>
                      <a:pt x="248" y="3074"/>
                    </a:moveTo>
                    <a:lnTo>
                      <a:pt x="248" y="3074"/>
                    </a:lnTo>
                    <a:lnTo>
                      <a:pt x="246" y="3072"/>
                    </a:lnTo>
                    <a:lnTo>
                      <a:pt x="244" y="3072"/>
                    </a:lnTo>
                    <a:lnTo>
                      <a:pt x="242" y="3074"/>
                    </a:lnTo>
                    <a:lnTo>
                      <a:pt x="244" y="3078"/>
                    </a:lnTo>
                    <a:lnTo>
                      <a:pt x="246" y="3080"/>
                    </a:lnTo>
                    <a:lnTo>
                      <a:pt x="248" y="3078"/>
                    </a:lnTo>
                    <a:lnTo>
                      <a:pt x="250" y="3076"/>
                    </a:lnTo>
                    <a:lnTo>
                      <a:pt x="248" y="3074"/>
                    </a:lnTo>
                    <a:close/>
                    <a:moveTo>
                      <a:pt x="252" y="3118"/>
                    </a:moveTo>
                    <a:lnTo>
                      <a:pt x="252" y="3118"/>
                    </a:lnTo>
                    <a:lnTo>
                      <a:pt x="252" y="3120"/>
                    </a:lnTo>
                    <a:lnTo>
                      <a:pt x="254" y="3122"/>
                    </a:lnTo>
                    <a:lnTo>
                      <a:pt x="266" y="3128"/>
                    </a:lnTo>
                    <a:lnTo>
                      <a:pt x="272" y="3128"/>
                    </a:lnTo>
                    <a:lnTo>
                      <a:pt x="274" y="3124"/>
                    </a:lnTo>
                    <a:lnTo>
                      <a:pt x="272" y="3124"/>
                    </a:lnTo>
                    <a:lnTo>
                      <a:pt x="270" y="3122"/>
                    </a:lnTo>
                    <a:lnTo>
                      <a:pt x="268" y="3118"/>
                    </a:lnTo>
                    <a:lnTo>
                      <a:pt x="270" y="3116"/>
                    </a:lnTo>
                    <a:lnTo>
                      <a:pt x="270" y="3114"/>
                    </a:lnTo>
                    <a:lnTo>
                      <a:pt x="270" y="3108"/>
                    </a:lnTo>
                    <a:lnTo>
                      <a:pt x="266" y="3100"/>
                    </a:lnTo>
                    <a:lnTo>
                      <a:pt x="264" y="3098"/>
                    </a:lnTo>
                    <a:lnTo>
                      <a:pt x="262" y="3102"/>
                    </a:lnTo>
                    <a:lnTo>
                      <a:pt x="262" y="3106"/>
                    </a:lnTo>
                    <a:lnTo>
                      <a:pt x="262" y="3108"/>
                    </a:lnTo>
                    <a:lnTo>
                      <a:pt x="262" y="3114"/>
                    </a:lnTo>
                    <a:lnTo>
                      <a:pt x="262" y="3116"/>
                    </a:lnTo>
                    <a:lnTo>
                      <a:pt x="260" y="3114"/>
                    </a:lnTo>
                    <a:lnTo>
                      <a:pt x="258" y="3114"/>
                    </a:lnTo>
                    <a:lnTo>
                      <a:pt x="252" y="3118"/>
                    </a:lnTo>
                    <a:close/>
                    <a:moveTo>
                      <a:pt x="246" y="3228"/>
                    </a:moveTo>
                    <a:lnTo>
                      <a:pt x="246" y="3228"/>
                    </a:lnTo>
                    <a:lnTo>
                      <a:pt x="248" y="3228"/>
                    </a:lnTo>
                    <a:lnTo>
                      <a:pt x="250" y="3228"/>
                    </a:lnTo>
                    <a:lnTo>
                      <a:pt x="252" y="3228"/>
                    </a:lnTo>
                    <a:lnTo>
                      <a:pt x="254" y="3228"/>
                    </a:lnTo>
                    <a:lnTo>
                      <a:pt x="256" y="3224"/>
                    </a:lnTo>
                    <a:lnTo>
                      <a:pt x="256" y="3222"/>
                    </a:lnTo>
                    <a:lnTo>
                      <a:pt x="258" y="3218"/>
                    </a:lnTo>
                    <a:lnTo>
                      <a:pt x="262" y="3216"/>
                    </a:lnTo>
                    <a:lnTo>
                      <a:pt x="262" y="3214"/>
                    </a:lnTo>
                    <a:lnTo>
                      <a:pt x="260" y="3214"/>
                    </a:lnTo>
                    <a:lnTo>
                      <a:pt x="256" y="3216"/>
                    </a:lnTo>
                    <a:lnTo>
                      <a:pt x="254" y="3216"/>
                    </a:lnTo>
                    <a:lnTo>
                      <a:pt x="254" y="3214"/>
                    </a:lnTo>
                    <a:lnTo>
                      <a:pt x="254" y="3212"/>
                    </a:lnTo>
                    <a:lnTo>
                      <a:pt x="252" y="3212"/>
                    </a:lnTo>
                    <a:lnTo>
                      <a:pt x="248" y="3210"/>
                    </a:lnTo>
                    <a:lnTo>
                      <a:pt x="246" y="3210"/>
                    </a:lnTo>
                    <a:lnTo>
                      <a:pt x="242" y="3208"/>
                    </a:lnTo>
                    <a:lnTo>
                      <a:pt x="238" y="3208"/>
                    </a:lnTo>
                    <a:lnTo>
                      <a:pt x="236" y="3208"/>
                    </a:lnTo>
                    <a:lnTo>
                      <a:pt x="236" y="3210"/>
                    </a:lnTo>
                    <a:lnTo>
                      <a:pt x="240" y="3212"/>
                    </a:lnTo>
                    <a:lnTo>
                      <a:pt x="244" y="3216"/>
                    </a:lnTo>
                    <a:lnTo>
                      <a:pt x="244" y="3218"/>
                    </a:lnTo>
                    <a:lnTo>
                      <a:pt x="242" y="3218"/>
                    </a:lnTo>
                    <a:lnTo>
                      <a:pt x="240" y="3218"/>
                    </a:lnTo>
                    <a:lnTo>
                      <a:pt x="236" y="3218"/>
                    </a:lnTo>
                    <a:lnTo>
                      <a:pt x="232" y="3222"/>
                    </a:lnTo>
                    <a:lnTo>
                      <a:pt x="232" y="3224"/>
                    </a:lnTo>
                    <a:lnTo>
                      <a:pt x="234" y="3226"/>
                    </a:lnTo>
                    <a:lnTo>
                      <a:pt x="238" y="3226"/>
                    </a:lnTo>
                    <a:lnTo>
                      <a:pt x="242" y="3226"/>
                    </a:lnTo>
                    <a:lnTo>
                      <a:pt x="240" y="3230"/>
                    </a:lnTo>
                    <a:lnTo>
                      <a:pt x="240" y="3232"/>
                    </a:lnTo>
                    <a:lnTo>
                      <a:pt x="242" y="3232"/>
                    </a:lnTo>
                    <a:lnTo>
                      <a:pt x="246" y="3228"/>
                    </a:lnTo>
                    <a:close/>
                    <a:moveTo>
                      <a:pt x="256" y="3248"/>
                    </a:moveTo>
                    <a:lnTo>
                      <a:pt x="256" y="3248"/>
                    </a:lnTo>
                    <a:lnTo>
                      <a:pt x="254" y="3250"/>
                    </a:lnTo>
                    <a:lnTo>
                      <a:pt x="254" y="3252"/>
                    </a:lnTo>
                    <a:lnTo>
                      <a:pt x="258" y="3256"/>
                    </a:lnTo>
                    <a:lnTo>
                      <a:pt x="262" y="3258"/>
                    </a:lnTo>
                    <a:lnTo>
                      <a:pt x="264" y="3258"/>
                    </a:lnTo>
                    <a:lnTo>
                      <a:pt x="264" y="3256"/>
                    </a:lnTo>
                    <a:lnTo>
                      <a:pt x="262" y="3252"/>
                    </a:lnTo>
                    <a:lnTo>
                      <a:pt x="260" y="3248"/>
                    </a:lnTo>
                    <a:lnTo>
                      <a:pt x="258" y="3248"/>
                    </a:lnTo>
                    <a:lnTo>
                      <a:pt x="256" y="3248"/>
                    </a:lnTo>
                    <a:close/>
                    <a:moveTo>
                      <a:pt x="254" y="3160"/>
                    </a:moveTo>
                    <a:lnTo>
                      <a:pt x="254" y="3160"/>
                    </a:lnTo>
                    <a:lnTo>
                      <a:pt x="256" y="3160"/>
                    </a:lnTo>
                    <a:lnTo>
                      <a:pt x="256" y="3154"/>
                    </a:lnTo>
                    <a:lnTo>
                      <a:pt x="254" y="3150"/>
                    </a:lnTo>
                    <a:lnTo>
                      <a:pt x="250" y="3150"/>
                    </a:lnTo>
                    <a:lnTo>
                      <a:pt x="246" y="3152"/>
                    </a:lnTo>
                    <a:lnTo>
                      <a:pt x="242" y="3154"/>
                    </a:lnTo>
                    <a:lnTo>
                      <a:pt x="242" y="3156"/>
                    </a:lnTo>
                    <a:lnTo>
                      <a:pt x="246" y="3156"/>
                    </a:lnTo>
                    <a:lnTo>
                      <a:pt x="248" y="3158"/>
                    </a:lnTo>
                    <a:lnTo>
                      <a:pt x="254" y="3160"/>
                    </a:lnTo>
                    <a:close/>
                    <a:moveTo>
                      <a:pt x="248" y="3146"/>
                    </a:moveTo>
                    <a:lnTo>
                      <a:pt x="248" y="3146"/>
                    </a:lnTo>
                    <a:lnTo>
                      <a:pt x="250" y="3144"/>
                    </a:lnTo>
                    <a:lnTo>
                      <a:pt x="250" y="3142"/>
                    </a:lnTo>
                    <a:lnTo>
                      <a:pt x="244" y="3136"/>
                    </a:lnTo>
                    <a:lnTo>
                      <a:pt x="242" y="3136"/>
                    </a:lnTo>
                    <a:lnTo>
                      <a:pt x="244" y="3142"/>
                    </a:lnTo>
                    <a:lnTo>
                      <a:pt x="246" y="3146"/>
                    </a:lnTo>
                    <a:lnTo>
                      <a:pt x="248" y="3146"/>
                    </a:lnTo>
                    <a:close/>
                    <a:moveTo>
                      <a:pt x="282" y="3246"/>
                    </a:moveTo>
                    <a:lnTo>
                      <a:pt x="282" y="3246"/>
                    </a:lnTo>
                    <a:lnTo>
                      <a:pt x="280" y="3242"/>
                    </a:lnTo>
                    <a:lnTo>
                      <a:pt x="278" y="3238"/>
                    </a:lnTo>
                    <a:lnTo>
                      <a:pt x="278" y="3236"/>
                    </a:lnTo>
                    <a:lnTo>
                      <a:pt x="276" y="3234"/>
                    </a:lnTo>
                    <a:lnTo>
                      <a:pt x="272" y="3232"/>
                    </a:lnTo>
                    <a:lnTo>
                      <a:pt x="270" y="3232"/>
                    </a:lnTo>
                    <a:lnTo>
                      <a:pt x="270" y="3234"/>
                    </a:lnTo>
                    <a:lnTo>
                      <a:pt x="272" y="3238"/>
                    </a:lnTo>
                    <a:lnTo>
                      <a:pt x="274" y="3240"/>
                    </a:lnTo>
                    <a:lnTo>
                      <a:pt x="272" y="3242"/>
                    </a:lnTo>
                    <a:lnTo>
                      <a:pt x="272" y="3244"/>
                    </a:lnTo>
                    <a:lnTo>
                      <a:pt x="276" y="3252"/>
                    </a:lnTo>
                    <a:lnTo>
                      <a:pt x="280" y="3256"/>
                    </a:lnTo>
                    <a:lnTo>
                      <a:pt x="284" y="3256"/>
                    </a:lnTo>
                    <a:lnTo>
                      <a:pt x="286" y="3254"/>
                    </a:lnTo>
                    <a:lnTo>
                      <a:pt x="286" y="3252"/>
                    </a:lnTo>
                    <a:lnTo>
                      <a:pt x="282" y="3246"/>
                    </a:lnTo>
                    <a:close/>
                    <a:moveTo>
                      <a:pt x="234" y="3130"/>
                    </a:moveTo>
                    <a:lnTo>
                      <a:pt x="234" y="3130"/>
                    </a:lnTo>
                    <a:lnTo>
                      <a:pt x="228" y="3130"/>
                    </a:lnTo>
                    <a:lnTo>
                      <a:pt x="226" y="3132"/>
                    </a:lnTo>
                    <a:lnTo>
                      <a:pt x="226" y="3134"/>
                    </a:lnTo>
                    <a:lnTo>
                      <a:pt x="228" y="3134"/>
                    </a:lnTo>
                    <a:lnTo>
                      <a:pt x="236" y="3132"/>
                    </a:lnTo>
                    <a:lnTo>
                      <a:pt x="240" y="3132"/>
                    </a:lnTo>
                    <a:lnTo>
                      <a:pt x="240" y="3130"/>
                    </a:lnTo>
                    <a:lnTo>
                      <a:pt x="238" y="3128"/>
                    </a:lnTo>
                    <a:lnTo>
                      <a:pt x="234" y="3130"/>
                    </a:lnTo>
                    <a:close/>
                    <a:moveTo>
                      <a:pt x="224" y="3120"/>
                    </a:moveTo>
                    <a:lnTo>
                      <a:pt x="224" y="3120"/>
                    </a:lnTo>
                    <a:lnTo>
                      <a:pt x="226" y="3124"/>
                    </a:lnTo>
                    <a:lnTo>
                      <a:pt x="228" y="3126"/>
                    </a:lnTo>
                    <a:lnTo>
                      <a:pt x="230" y="3128"/>
                    </a:lnTo>
                    <a:lnTo>
                      <a:pt x="236" y="3126"/>
                    </a:lnTo>
                    <a:lnTo>
                      <a:pt x="238" y="3124"/>
                    </a:lnTo>
                    <a:lnTo>
                      <a:pt x="236" y="3120"/>
                    </a:lnTo>
                    <a:lnTo>
                      <a:pt x="236" y="3116"/>
                    </a:lnTo>
                    <a:lnTo>
                      <a:pt x="234" y="3114"/>
                    </a:lnTo>
                    <a:lnTo>
                      <a:pt x="230" y="3116"/>
                    </a:lnTo>
                    <a:lnTo>
                      <a:pt x="228" y="3116"/>
                    </a:lnTo>
                    <a:lnTo>
                      <a:pt x="226" y="3116"/>
                    </a:lnTo>
                    <a:lnTo>
                      <a:pt x="224" y="3120"/>
                    </a:lnTo>
                    <a:close/>
                    <a:moveTo>
                      <a:pt x="232" y="3160"/>
                    </a:moveTo>
                    <a:lnTo>
                      <a:pt x="232" y="3160"/>
                    </a:lnTo>
                    <a:lnTo>
                      <a:pt x="234" y="3158"/>
                    </a:lnTo>
                    <a:lnTo>
                      <a:pt x="236" y="3156"/>
                    </a:lnTo>
                    <a:lnTo>
                      <a:pt x="238" y="3154"/>
                    </a:lnTo>
                    <a:lnTo>
                      <a:pt x="238" y="3152"/>
                    </a:lnTo>
                    <a:lnTo>
                      <a:pt x="236" y="3148"/>
                    </a:lnTo>
                    <a:lnTo>
                      <a:pt x="236" y="3150"/>
                    </a:lnTo>
                    <a:lnTo>
                      <a:pt x="234" y="3152"/>
                    </a:lnTo>
                    <a:lnTo>
                      <a:pt x="230" y="3154"/>
                    </a:lnTo>
                    <a:lnTo>
                      <a:pt x="228" y="3156"/>
                    </a:lnTo>
                    <a:lnTo>
                      <a:pt x="226" y="3158"/>
                    </a:lnTo>
                    <a:lnTo>
                      <a:pt x="226" y="3160"/>
                    </a:lnTo>
                    <a:lnTo>
                      <a:pt x="228" y="3162"/>
                    </a:lnTo>
                    <a:lnTo>
                      <a:pt x="232" y="3164"/>
                    </a:lnTo>
                    <a:lnTo>
                      <a:pt x="232" y="3160"/>
                    </a:lnTo>
                    <a:close/>
                    <a:moveTo>
                      <a:pt x="290" y="3322"/>
                    </a:moveTo>
                    <a:lnTo>
                      <a:pt x="290" y="3322"/>
                    </a:lnTo>
                    <a:lnTo>
                      <a:pt x="290" y="3324"/>
                    </a:lnTo>
                    <a:lnTo>
                      <a:pt x="292" y="3326"/>
                    </a:lnTo>
                    <a:lnTo>
                      <a:pt x="300" y="3334"/>
                    </a:lnTo>
                    <a:lnTo>
                      <a:pt x="304" y="3338"/>
                    </a:lnTo>
                    <a:lnTo>
                      <a:pt x="302" y="3332"/>
                    </a:lnTo>
                    <a:lnTo>
                      <a:pt x="296" y="3324"/>
                    </a:lnTo>
                    <a:lnTo>
                      <a:pt x="292" y="3322"/>
                    </a:lnTo>
                    <a:lnTo>
                      <a:pt x="290" y="3322"/>
                    </a:lnTo>
                    <a:close/>
                    <a:moveTo>
                      <a:pt x="246" y="3094"/>
                    </a:moveTo>
                    <a:lnTo>
                      <a:pt x="246" y="3094"/>
                    </a:lnTo>
                    <a:lnTo>
                      <a:pt x="244" y="3094"/>
                    </a:lnTo>
                    <a:lnTo>
                      <a:pt x="242" y="3094"/>
                    </a:lnTo>
                    <a:lnTo>
                      <a:pt x="242" y="3098"/>
                    </a:lnTo>
                    <a:lnTo>
                      <a:pt x="250" y="3112"/>
                    </a:lnTo>
                    <a:lnTo>
                      <a:pt x="252" y="3114"/>
                    </a:lnTo>
                    <a:lnTo>
                      <a:pt x="254" y="3112"/>
                    </a:lnTo>
                    <a:lnTo>
                      <a:pt x="256" y="3110"/>
                    </a:lnTo>
                    <a:lnTo>
                      <a:pt x="258" y="3110"/>
                    </a:lnTo>
                    <a:lnTo>
                      <a:pt x="258" y="3108"/>
                    </a:lnTo>
                    <a:lnTo>
                      <a:pt x="258" y="3102"/>
                    </a:lnTo>
                    <a:lnTo>
                      <a:pt x="258" y="3098"/>
                    </a:lnTo>
                    <a:lnTo>
                      <a:pt x="256" y="3096"/>
                    </a:lnTo>
                    <a:lnTo>
                      <a:pt x="246" y="3094"/>
                    </a:lnTo>
                    <a:close/>
                    <a:moveTo>
                      <a:pt x="294" y="3282"/>
                    </a:moveTo>
                    <a:lnTo>
                      <a:pt x="294" y="3282"/>
                    </a:lnTo>
                    <a:lnTo>
                      <a:pt x="294" y="3280"/>
                    </a:lnTo>
                    <a:lnTo>
                      <a:pt x="290" y="3278"/>
                    </a:lnTo>
                    <a:lnTo>
                      <a:pt x="288" y="3280"/>
                    </a:lnTo>
                    <a:lnTo>
                      <a:pt x="288" y="3284"/>
                    </a:lnTo>
                    <a:lnTo>
                      <a:pt x="290" y="3286"/>
                    </a:lnTo>
                    <a:lnTo>
                      <a:pt x="292" y="3286"/>
                    </a:lnTo>
                    <a:lnTo>
                      <a:pt x="294" y="3284"/>
                    </a:lnTo>
                    <a:lnTo>
                      <a:pt x="294" y="3282"/>
                    </a:lnTo>
                    <a:close/>
                    <a:moveTo>
                      <a:pt x="284" y="3284"/>
                    </a:moveTo>
                    <a:lnTo>
                      <a:pt x="284" y="3284"/>
                    </a:lnTo>
                    <a:lnTo>
                      <a:pt x="282" y="3284"/>
                    </a:lnTo>
                    <a:lnTo>
                      <a:pt x="282" y="3286"/>
                    </a:lnTo>
                    <a:lnTo>
                      <a:pt x="282" y="3288"/>
                    </a:lnTo>
                    <a:lnTo>
                      <a:pt x="286" y="3292"/>
                    </a:lnTo>
                    <a:lnTo>
                      <a:pt x="286" y="3288"/>
                    </a:lnTo>
                    <a:lnTo>
                      <a:pt x="286" y="3286"/>
                    </a:lnTo>
                    <a:lnTo>
                      <a:pt x="284" y="3284"/>
                    </a:lnTo>
                    <a:close/>
                    <a:moveTo>
                      <a:pt x="294" y="3312"/>
                    </a:moveTo>
                    <a:lnTo>
                      <a:pt x="294" y="3312"/>
                    </a:lnTo>
                    <a:lnTo>
                      <a:pt x="294" y="3310"/>
                    </a:lnTo>
                    <a:lnTo>
                      <a:pt x="294" y="3306"/>
                    </a:lnTo>
                    <a:lnTo>
                      <a:pt x="290" y="3298"/>
                    </a:lnTo>
                    <a:lnTo>
                      <a:pt x="288" y="3296"/>
                    </a:lnTo>
                    <a:lnTo>
                      <a:pt x="288" y="3298"/>
                    </a:lnTo>
                    <a:lnTo>
                      <a:pt x="288" y="3302"/>
                    </a:lnTo>
                    <a:lnTo>
                      <a:pt x="286" y="3306"/>
                    </a:lnTo>
                    <a:lnTo>
                      <a:pt x="284" y="3308"/>
                    </a:lnTo>
                    <a:lnTo>
                      <a:pt x="286" y="3312"/>
                    </a:lnTo>
                    <a:lnTo>
                      <a:pt x="290" y="3314"/>
                    </a:lnTo>
                    <a:lnTo>
                      <a:pt x="294" y="3312"/>
                    </a:lnTo>
                    <a:close/>
                    <a:moveTo>
                      <a:pt x="240" y="3200"/>
                    </a:moveTo>
                    <a:lnTo>
                      <a:pt x="240" y="3200"/>
                    </a:lnTo>
                    <a:lnTo>
                      <a:pt x="242" y="3200"/>
                    </a:lnTo>
                    <a:lnTo>
                      <a:pt x="242" y="3192"/>
                    </a:lnTo>
                    <a:lnTo>
                      <a:pt x="238" y="3184"/>
                    </a:lnTo>
                    <a:lnTo>
                      <a:pt x="236" y="3184"/>
                    </a:lnTo>
                    <a:lnTo>
                      <a:pt x="234" y="3184"/>
                    </a:lnTo>
                    <a:lnTo>
                      <a:pt x="230" y="3184"/>
                    </a:lnTo>
                    <a:lnTo>
                      <a:pt x="230" y="3186"/>
                    </a:lnTo>
                    <a:lnTo>
                      <a:pt x="230" y="3196"/>
                    </a:lnTo>
                    <a:lnTo>
                      <a:pt x="236" y="3194"/>
                    </a:lnTo>
                    <a:lnTo>
                      <a:pt x="238" y="3192"/>
                    </a:lnTo>
                    <a:lnTo>
                      <a:pt x="238" y="3194"/>
                    </a:lnTo>
                    <a:lnTo>
                      <a:pt x="238" y="3198"/>
                    </a:lnTo>
                    <a:lnTo>
                      <a:pt x="240" y="3200"/>
                    </a:lnTo>
                    <a:close/>
                    <a:moveTo>
                      <a:pt x="236" y="3146"/>
                    </a:moveTo>
                    <a:lnTo>
                      <a:pt x="236" y="3146"/>
                    </a:lnTo>
                    <a:lnTo>
                      <a:pt x="238" y="3146"/>
                    </a:lnTo>
                    <a:lnTo>
                      <a:pt x="240" y="3148"/>
                    </a:lnTo>
                    <a:lnTo>
                      <a:pt x="242" y="3148"/>
                    </a:lnTo>
                    <a:lnTo>
                      <a:pt x="242" y="3146"/>
                    </a:lnTo>
                    <a:lnTo>
                      <a:pt x="240" y="3142"/>
                    </a:lnTo>
                    <a:lnTo>
                      <a:pt x="236" y="3138"/>
                    </a:lnTo>
                    <a:lnTo>
                      <a:pt x="232" y="3138"/>
                    </a:lnTo>
                    <a:lnTo>
                      <a:pt x="228" y="3138"/>
                    </a:lnTo>
                    <a:lnTo>
                      <a:pt x="224" y="3140"/>
                    </a:lnTo>
                    <a:lnTo>
                      <a:pt x="224" y="3144"/>
                    </a:lnTo>
                    <a:lnTo>
                      <a:pt x="226" y="3146"/>
                    </a:lnTo>
                    <a:lnTo>
                      <a:pt x="230" y="3146"/>
                    </a:lnTo>
                    <a:lnTo>
                      <a:pt x="236" y="3146"/>
                    </a:lnTo>
                    <a:close/>
                    <a:moveTo>
                      <a:pt x="292" y="2928"/>
                    </a:moveTo>
                    <a:lnTo>
                      <a:pt x="292" y="2928"/>
                    </a:lnTo>
                    <a:lnTo>
                      <a:pt x="294" y="2930"/>
                    </a:lnTo>
                    <a:lnTo>
                      <a:pt x="296" y="2930"/>
                    </a:lnTo>
                    <a:lnTo>
                      <a:pt x="298" y="2930"/>
                    </a:lnTo>
                    <a:lnTo>
                      <a:pt x="302" y="2930"/>
                    </a:lnTo>
                    <a:lnTo>
                      <a:pt x="304" y="2930"/>
                    </a:lnTo>
                    <a:lnTo>
                      <a:pt x="306" y="2928"/>
                    </a:lnTo>
                    <a:lnTo>
                      <a:pt x="302" y="2918"/>
                    </a:lnTo>
                    <a:lnTo>
                      <a:pt x="300" y="2916"/>
                    </a:lnTo>
                    <a:lnTo>
                      <a:pt x="298" y="2916"/>
                    </a:lnTo>
                    <a:lnTo>
                      <a:pt x="294" y="2918"/>
                    </a:lnTo>
                    <a:lnTo>
                      <a:pt x="290" y="2918"/>
                    </a:lnTo>
                    <a:lnTo>
                      <a:pt x="286" y="2918"/>
                    </a:lnTo>
                    <a:lnTo>
                      <a:pt x="284" y="2920"/>
                    </a:lnTo>
                    <a:lnTo>
                      <a:pt x="284" y="2922"/>
                    </a:lnTo>
                    <a:lnTo>
                      <a:pt x="288" y="2924"/>
                    </a:lnTo>
                    <a:lnTo>
                      <a:pt x="290" y="2924"/>
                    </a:lnTo>
                    <a:lnTo>
                      <a:pt x="292" y="2928"/>
                    </a:lnTo>
                    <a:close/>
                    <a:moveTo>
                      <a:pt x="294" y="2944"/>
                    </a:moveTo>
                    <a:lnTo>
                      <a:pt x="294" y="2944"/>
                    </a:lnTo>
                    <a:lnTo>
                      <a:pt x="296" y="2944"/>
                    </a:lnTo>
                    <a:lnTo>
                      <a:pt x="298" y="2942"/>
                    </a:lnTo>
                    <a:lnTo>
                      <a:pt x="300" y="2940"/>
                    </a:lnTo>
                    <a:lnTo>
                      <a:pt x="298" y="2940"/>
                    </a:lnTo>
                    <a:lnTo>
                      <a:pt x="292" y="2940"/>
                    </a:lnTo>
                    <a:lnTo>
                      <a:pt x="290" y="2940"/>
                    </a:lnTo>
                    <a:lnTo>
                      <a:pt x="290" y="2942"/>
                    </a:lnTo>
                    <a:lnTo>
                      <a:pt x="288" y="2944"/>
                    </a:lnTo>
                    <a:lnTo>
                      <a:pt x="290" y="2944"/>
                    </a:lnTo>
                    <a:lnTo>
                      <a:pt x="294" y="2944"/>
                    </a:lnTo>
                    <a:close/>
                    <a:moveTo>
                      <a:pt x="278" y="2914"/>
                    </a:moveTo>
                    <a:lnTo>
                      <a:pt x="278" y="2914"/>
                    </a:lnTo>
                    <a:lnTo>
                      <a:pt x="278" y="2916"/>
                    </a:lnTo>
                    <a:lnTo>
                      <a:pt x="282" y="2916"/>
                    </a:lnTo>
                    <a:lnTo>
                      <a:pt x="286" y="2914"/>
                    </a:lnTo>
                    <a:lnTo>
                      <a:pt x="292" y="2914"/>
                    </a:lnTo>
                    <a:lnTo>
                      <a:pt x="294" y="2914"/>
                    </a:lnTo>
                    <a:lnTo>
                      <a:pt x="294" y="2912"/>
                    </a:lnTo>
                    <a:lnTo>
                      <a:pt x="288" y="2908"/>
                    </a:lnTo>
                    <a:lnTo>
                      <a:pt x="286" y="2908"/>
                    </a:lnTo>
                    <a:lnTo>
                      <a:pt x="282" y="2908"/>
                    </a:lnTo>
                    <a:lnTo>
                      <a:pt x="278" y="2914"/>
                    </a:lnTo>
                    <a:close/>
                    <a:moveTo>
                      <a:pt x="276" y="2888"/>
                    </a:moveTo>
                    <a:lnTo>
                      <a:pt x="276" y="2888"/>
                    </a:lnTo>
                    <a:lnTo>
                      <a:pt x="280" y="2886"/>
                    </a:lnTo>
                    <a:lnTo>
                      <a:pt x="282" y="2884"/>
                    </a:lnTo>
                    <a:lnTo>
                      <a:pt x="282" y="2882"/>
                    </a:lnTo>
                    <a:lnTo>
                      <a:pt x="282" y="2880"/>
                    </a:lnTo>
                    <a:lnTo>
                      <a:pt x="278" y="2880"/>
                    </a:lnTo>
                    <a:lnTo>
                      <a:pt x="272" y="2884"/>
                    </a:lnTo>
                    <a:lnTo>
                      <a:pt x="270" y="2884"/>
                    </a:lnTo>
                    <a:lnTo>
                      <a:pt x="270" y="2886"/>
                    </a:lnTo>
                    <a:lnTo>
                      <a:pt x="272" y="2888"/>
                    </a:lnTo>
                    <a:lnTo>
                      <a:pt x="276" y="2888"/>
                    </a:lnTo>
                    <a:close/>
                    <a:moveTo>
                      <a:pt x="282" y="2902"/>
                    </a:moveTo>
                    <a:lnTo>
                      <a:pt x="282" y="2902"/>
                    </a:lnTo>
                    <a:lnTo>
                      <a:pt x="284" y="2902"/>
                    </a:lnTo>
                    <a:lnTo>
                      <a:pt x="290" y="2900"/>
                    </a:lnTo>
                    <a:lnTo>
                      <a:pt x="296" y="2898"/>
                    </a:lnTo>
                    <a:lnTo>
                      <a:pt x="296" y="2896"/>
                    </a:lnTo>
                    <a:lnTo>
                      <a:pt x="294" y="2894"/>
                    </a:lnTo>
                    <a:lnTo>
                      <a:pt x="292" y="2894"/>
                    </a:lnTo>
                    <a:lnTo>
                      <a:pt x="282" y="2894"/>
                    </a:lnTo>
                    <a:lnTo>
                      <a:pt x="276" y="2894"/>
                    </a:lnTo>
                    <a:lnTo>
                      <a:pt x="276" y="2896"/>
                    </a:lnTo>
                    <a:lnTo>
                      <a:pt x="278" y="2900"/>
                    </a:lnTo>
                    <a:lnTo>
                      <a:pt x="282" y="2902"/>
                    </a:lnTo>
                    <a:close/>
                    <a:moveTo>
                      <a:pt x="296" y="2950"/>
                    </a:moveTo>
                    <a:lnTo>
                      <a:pt x="296" y="2950"/>
                    </a:lnTo>
                    <a:lnTo>
                      <a:pt x="294" y="2948"/>
                    </a:lnTo>
                    <a:lnTo>
                      <a:pt x="290" y="2950"/>
                    </a:lnTo>
                    <a:lnTo>
                      <a:pt x="290" y="2952"/>
                    </a:lnTo>
                    <a:lnTo>
                      <a:pt x="290" y="2954"/>
                    </a:lnTo>
                    <a:lnTo>
                      <a:pt x="292" y="2956"/>
                    </a:lnTo>
                    <a:lnTo>
                      <a:pt x="294" y="2954"/>
                    </a:lnTo>
                    <a:lnTo>
                      <a:pt x="296" y="2952"/>
                    </a:lnTo>
                    <a:lnTo>
                      <a:pt x="296" y="2950"/>
                    </a:lnTo>
                    <a:close/>
                    <a:moveTo>
                      <a:pt x="302" y="2888"/>
                    </a:moveTo>
                    <a:lnTo>
                      <a:pt x="302" y="2888"/>
                    </a:lnTo>
                    <a:lnTo>
                      <a:pt x="300" y="2890"/>
                    </a:lnTo>
                    <a:lnTo>
                      <a:pt x="300" y="2892"/>
                    </a:lnTo>
                    <a:lnTo>
                      <a:pt x="302" y="2898"/>
                    </a:lnTo>
                    <a:lnTo>
                      <a:pt x="304" y="2900"/>
                    </a:lnTo>
                    <a:lnTo>
                      <a:pt x="308" y="2898"/>
                    </a:lnTo>
                    <a:lnTo>
                      <a:pt x="310" y="2896"/>
                    </a:lnTo>
                    <a:lnTo>
                      <a:pt x="308" y="2894"/>
                    </a:lnTo>
                    <a:lnTo>
                      <a:pt x="306" y="2890"/>
                    </a:lnTo>
                    <a:lnTo>
                      <a:pt x="302" y="2888"/>
                    </a:lnTo>
                    <a:close/>
                    <a:moveTo>
                      <a:pt x="304" y="2856"/>
                    </a:moveTo>
                    <a:lnTo>
                      <a:pt x="304" y="2856"/>
                    </a:lnTo>
                    <a:lnTo>
                      <a:pt x="304" y="2858"/>
                    </a:lnTo>
                    <a:lnTo>
                      <a:pt x="304" y="2862"/>
                    </a:lnTo>
                    <a:lnTo>
                      <a:pt x="306" y="2864"/>
                    </a:lnTo>
                    <a:lnTo>
                      <a:pt x="308" y="2864"/>
                    </a:lnTo>
                    <a:lnTo>
                      <a:pt x="310" y="2862"/>
                    </a:lnTo>
                    <a:lnTo>
                      <a:pt x="308" y="2860"/>
                    </a:lnTo>
                    <a:lnTo>
                      <a:pt x="306" y="2856"/>
                    </a:lnTo>
                    <a:lnTo>
                      <a:pt x="304" y="2856"/>
                    </a:lnTo>
                    <a:close/>
                    <a:moveTo>
                      <a:pt x="300" y="2968"/>
                    </a:moveTo>
                    <a:lnTo>
                      <a:pt x="300" y="2968"/>
                    </a:lnTo>
                    <a:lnTo>
                      <a:pt x="304" y="2964"/>
                    </a:lnTo>
                    <a:lnTo>
                      <a:pt x="304" y="2962"/>
                    </a:lnTo>
                    <a:lnTo>
                      <a:pt x="304" y="2960"/>
                    </a:lnTo>
                    <a:lnTo>
                      <a:pt x="300" y="2962"/>
                    </a:lnTo>
                    <a:lnTo>
                      <a:pt x="298" y="2964"/>
                    </a:lnTo>
                    <a:lnTo>
                      <a:pt x="296" y="2968"/>
                    </a:lnTo>
                    <a:lnTo>
                      <a:pt x="296" y="2970"/>
                    </a:lnTo>
                    <a:lnTo>
                      <a:pt x="300" y="2968"/>
                    </a:lnTo>
                    <a:close/>
                    <a:moveTo>
                      <a:pt x="290" y="2888"/>
                    </a:moveTo>
                    <a:lnTo>
                      <a:pt x="290" y="2888"/>
                    </a:lnTo>
                    <a:lnTo>
                      <a:pt x="294" y="2888"/>
                    </a:lnTo>
                    <a:lnTo>
                      <a:pt x="294" y="2886"/>
                    </a:lnTo>
                    <a:lnTo>
                      <a:pt x="292" y="2884"/>
                    </a:lnTo>
                    <a:lnTo>
                      <a:pt x="290" y="2884"/>
                    </a:lnTo>
                    <a:lnTo>
                      <a:pt x="282" y="2888"/>
                    </a:lnTo>
                    <a:lnTo>
                      <a:pt x="280" y="2888"/>
                    </a:lnTo>
                    <a:lnTo>
                      <a:pt x="282" y="2890"/>
                    </a:lnTo>
                    <a:lnTo>
                      <a:pt x="290" y="2888"/>
                    </a:lnTo>
                    <a:close/>
                    <a:moveTo>
                      <a:pt x="250" y="2970"/>
                    </a:moveTo>
                    <a:lnTo>
                      <a:pt x="250" y="2970"/>
                    </a:lnTo>
                    <a:lnTo>
                      <a:pt x="250" y="2972"/>
                    </a:lnTo>
                    <a:lnTo>
                      <a:pt x="248" y="2974"/>
                    </a:lnTo>
                    <a:lnTo>
                      <a:pt x="248" y="2978"/>
                    </a:lnTo>
                    <a:lnTo>
                      <a:pt x="252" y="2980"/>
                    </a:lnTo>
                    <a:lnTo>
                      <a:pt x="254" y="2980"/>
                    </a:lnTo>
                    <a:lnTo>
                      <a:pt x="260" y="2974"/>
                    </a:lnTo>
                    <a:lnTo>
                      <a:pt x="262" y="2972"/>
                    </a:lnTo>
                    <a:lnTo>
                      <a:pt x="262" y="2968"/>
                    </a:lnTo>
                    <a:lnTo>
                      <a:pt x="262" y="2964"/>
                    </a:lnTo>
                    <a:lnTo>
                      <a:pt x="260" y="2962"/>
                    </a:lnTo>
                    <a:lnTo>
                      <a:pt x="256" y="2962"/>
                    </a:lnTo>
                    <a:lnTo>
                      <a:pt x="250" y="2966"/>
                    </a:lnTo>
                    <a:lnTo>
                      <a:pt x="248" y="2966"/>
                    </a:lnTo>
                    <a:lnTo>
                      <a:pt x="250" y="2970"/>
                    </a:lnTo>
                    <a:close/>
                    <a:moveTo>
                      <a:pt x="540" y="3562"/>
                    </a:moveTo>
                    <a:lnTo>
                      <a:pt x="540" y="3562"/>
                    </a:lnTo>
                    <a:lnTo>
                      <a:pt x="544" y="3562"/>
                    </a:lnTo>
                    <a:lnTo>
                      <a:pt x="548" y="3562"/>
                    </a:lnTo>
                    <a:lnTo>
                      <a:pt x="554" y="3560"/>
                    </a:lnTo>
                    <a:lnTo>
                      <a:pt x="554" y="3558"/>
                    </a:lnTo>
                    <a:lnTo>
                      <a:pt x="552" y="3558"/>
                    </a:lnTo>
                    <a:lnTo>
                      <a:pt x="546" y="3558"/>
                    </a:lnTo>
                    <a:lnTo>
                      <a:pt x="542" y="3560"/>
                    </a:lnTo>
                    <a:lnTo>
                      <a:pt x="540" y="3562"/>
                    </a:lnTo>
                    <a:close/>
                    <a:moveTo>
                      <a:pt x="560" y="3548"/>
                    </a:moveTo>
                    <a:lnTo>
                      <a:pt x="560" y="3548"/>
                    </a:lnTo>
                    <a:lnTo>
                      <a:pt x="558" y="3550"/>
                    </a:lnTo>
                    <a:lnTo>
                      <a:pt x="556" y="3548"/>
                    </a:lnTo>
                    <a:lnTo>
                      <a:pt x="554" y="3550"/>
                    </a:lnTo>
                    <a:lnTo>
                      <a:pt x="552" y="3552"/>
                    </a:lnTo>
                    <a:lnTo>
                      <a:pt x="554" y="3554"/>
                    </a:lnTo>
                    <a:lnTo>
                      <a:pt x="560" y="3556"/>
                    </a:lnTo>
                    <a:lnTo>
                      <a:pt x="562" y="3556"/>
                    </a:lnTo>
                    <a:lnTo>
                      <a:pt x="564" y="3556"/>
                    </a:lnTo>
                    <a:lnTo>
                      <a:pt x="562" y="3548"/>
                    </a:lnTo>
                    <a:lnTo>
                      <a:pt x="560" y="3544"/>
                    </a:lnTo>
                    <a:lnTo>
                      <a:pt x="560" y="3546"/>
                    </a:lnTo>
                    <a:lnTo>
                      <a:pt x="560" y="3548"/>
                    </a:lnTo>
                    <a:close/>
                    <a:moveTo>
                      <a:pt x="556" y="3506"/>
                    </a:moveTo>
                    <a:lnTo>
                      <a:pt x="556" y="3506"/>
                    </a:lnTo>
                    <a:lnTo>
                      <a:pt x="530" y="3504"/>
                    </a:lnTo>
                    <a:lnTo>
                      <a:pt x="522" y="3504"/>
                    </a:lnTo>
                    <a:lnTo>
                      <a:pt x="522" y="3506"/>
                    </a:lnTo>
                    <a:lnTo>
                      <a:pt x="526" y="3508"/>
                    </a:lnTo>
                    <a:lnTo>
                      <a:pt x="528" y="3510"/>
                    </a:lnTo>
                    <a:lnTo>
                      <a:pt x="528" y="3512"/>
                    </a:lnTo>
                    <a:lnTo>
                      <a:pt x="528" y="3516"/>
                    </a:lnTo>
                    <a:lnTo>
                      <a:pt x="530" y="3522"/>
                    </a:lnTo>
                    <a:lnTo>
                      <a:pt x="532" y="3524"/>
                    </a:lnTo>
                    <a:lnTo>
                      <a:pt x="536" y="3524"/>
                    </a:lnTo>
                    <a:lnTo>
                      <a:pt x="546" y="3524"/>
                    </a:lnTo>
                    <a:lnTo>
                      <a:pt x="550" y="3524"/>
                    </a:lnTo>
                    <a:lnTo>
                      <a:pt x="550" y="3522"/>
                    </a:lnTo>
                    <a:lnTo>
                      <a:pt x="550" y="3520"/>
                    </a:lnTo>
                    <a:lnTo>
                      <a:pt x="554" y="3518"/>
                    </a:lnTo>
                    <a:lnTo>
                      <a:pt x="556" y="3520"/>
                    </a:lnTo>
                    <a:lnTo>
                      <a:pt x="558" y="3524"/>
                    </a:lnTo>
                    <a:lnTo>
                      <a:pt x="558" y="3526"/>
                    </a:lnTo>
                    <a:lnTo>
                      <a:pt x="562" y="3528"/>
                    </a:lnTo>
                    <a:lnTo>
                      <a:pt x="566" y="3526"/>
                    </a:lnTo>
                    <a:lnTo>
                      <a:pt x="568" y="3524"/>
                    </a:lnTo>
                    <a:lnTo>
                      <a:pt x="572" y="3514"/>
                    </a:lnTo>
                    <a:lnTo>
                      <a:pt x="572" y="3512"/>
                    </a:lnTo>
                    <a:lnTo>
                      <a:pt x="572" y="3508"/>
                    </a:lnTo>
                    <a:lnTo>
                      <a:pt x="568" y="3506"/>
                    </a:lnTo>
                    <a:lnTo>
                      <a:pt x="562" y="3506"/>
                    </a:lnTo>
                    <a:lnTo>
                      <a:pt x="556" y="3506"/>
                    </a:lnTo>
                    <a:close/>
                    <a:moveTo>
                      <a:pt x="522" y="3532"/>
                    </a:moveTo>
                    <a:lnTo>
                      <a:pt x="522" y="3532"/>
                    </a:lnTo>
                    <a:lnTo>
                      <a:pt x="516" y="3528"/>
                    </a:lnTo>
                    <a:lnTo>
                      <a:pt x="520" y="3528"/>
                    </a:lnTo>
                    <a:lnTo>
                      <a:pt x="524" y="3526"/>
                    </a:lnTo>
                    <a:lnTo>
                      <a:pt x="524" y="3524"/>
                    </a:lnTo>
                    <a:lnTo>
                      <a:pt x="518" y="3520"/>
                    </a:lnTo>
                    <a:lnTo>
                      <a:pt x="510" y="3520"/>
                    </a:lnTo>
                    <a:lnTo>
                      <a:pt x="506" y="3520"/>
                    </a:lnTo>
                    <a:lnTo>
                      <a:pt x="506" y="3518"/>
                    </a:lnTo>
                    <a:lnTo>
                      <a:pt x="514" y="3516"/>
                    </a:lnTo>
                    <a:lnTo>
                      <a:pt x="520" y="3514"/>
                    </a:lnTo>
                    <a:lnTo>
                      <a:pt x="520" y="3512"/>
                    </a:lnTo>
                    <a:lnTo>
                      <a:pt x="520" y="3510"/>
                    </a:lnTo>
                    <a:lnTo>
                      <a:pt x="518" y="3508"/>
                    </a:lnTo>
                    <a:lnTo>
                      <a:pt x="512" y="3506"/>
                    </a:lnTo>
                    <a:lnTo>
                      <a:pt x="504" y="3506"/>
                    </a:lnTo>
                    <a:lnTo>
                      <a:pt x="498" y="3508"/>
                    </a:lnTo>
                    <a:lnTo>
                      <a:pt x="490" y="3508"/>
                    </a:lnTo>
                    <a:lnTo>
                      <a:pt x="486" y="3508"/>
                    </a:lnTo>
                    <a:lnTo>
                      <a:pt x="478" y="3510"/>
                    </a:lnTo>
                    <a:lnTo>
                      <a:pt x="462" y="3514"/>
                    </a:lnTo>
                    <a:lnTo>
                      <a:pt x="454" y="3516"/>
                    </a:lnTo>
                    <a:lnTo>
                      <a:pt x="454" y="3518"/>
                    </a:lnTo>
                    <a:lnTo>
                      <a:pt x="464" y="3524"/>
                    </a:lnTo>
                    <a:lnTo>
                      <a:pt x="466" y="3526"/>
                    </a:lnTo>
                    <a:lnTo>
                      <a:pt x="462" y="3528"/>
                    </a:lnTo>
                    <a:lnTo>
                      <a:pt x="470" y="3532"/>
                    </a:lnTo>
                    <a:lnTo>
                      <a:pt x="476" y="3534"/>
                    </a:lnTo>
                    <a:lnTo>
                      <a:pt x="480" y="3536"/>
                    </a:lnTo>
                    <a:lnTo>
                      <a:pt x="486" y="3540"/>
                    </a:lnTo>
                    <a:lnTo>
                      <a:pt x="490" y="3540"/>
                    </a:lnTo>
                    <a:lnTo>
                      <a:pt x="490" y="3538"/>
                    </a:lnTo>
                    <a:lnTo>
                      <a:pt x="482" y="3530"/>
                    </a:lnTo>
                    <a:lnTo>
                      <a:pt x="480" y="3526"/>
                    </a:lnTo>
                    <a:lnTo>
                      <a:pt x="482" y="3524"/>
                    </a:lnTo>
                    <a:lnTo>
                      <a:pt x="486" y="3524"/>
                    </a:lnTo>
                    <a:lnTo>
                      <a:pt x="490" y="3524"/>
                    </a:lnTo>
                    <a:lnTo>
                      <a:pt x="494" y="3524"/>
                    </a:lnTo>
                    <a:lnTo>
                      <a:pt x="498" y="3524"/>
                    </a:lnTo>
                    <a:lnTo>
                      <a:pt x="500" y="3524"/>
                    </a:lnTo>
                    <a:lnTo>
                      <a:pt x="496" y="3532"/>
                    </a:lnTo>
                    <a:lnTo>
                      <a:pt x="496" y="3536"/>
                    </a:lnTo>
                    <a:lnTo>
                      <a:pt x="500" y="3540"/>
                    </a:lnTo>
                    <a:lnTo>
                      <a:pt x="502" y="3540"/>
                    </a:lnTo>
                    <a:lnTo>
                      <a:pt x="506" y="3538"/>
                    </a:lnTo>
                    <a:lnTo>
                      <a:pt x="510" y="3536"/>
                    </a:lnTo>
                    <a:lnTo>
                      <a:pt x="512" y="3538"/>
                    </a:lnTo>
                    <a:lnTo>
                      <a:pt x="514" y="3540"/>
                    </a:lnTo>
                    <a:lnTo>
                      <a:pt x="518" y="3540"/>
                    </a:lnTo>
                    <a:lnTo>
                      <a:pt x="522" y="3542"/>
                    </a:lnTo>
                    <a:lnTo>
                      <a:pt x="522" y="3544"/>
                    </a:lnTo>
                    <a:lnTo>
                      <a:pt x="524" y="3548"/>
                    </a:lnTo>
                    <a:lnTo>
                      <a:pt x="526" y="3548"/>
                    </a:lnTo>
                    <a:lnTo>
                      <a:pt x="528" y="3550"/>
                    </a:lnTo>
                    <a:lnTo>
                      <a:pt x="532" y="3554"/>
                    </a:lnTo>
                    <a:lnTo>
                      <a:pt x="534" y="3552"/>
                    </a:lnTo>
                    <a:lnTo>
                      <a:pt x="534" y="3548"/>
                    </a:lnTo>
                    <a:lnTo>
                      <a:pt x="534" y="3544"/>
                    </a:lnTo>
                    <a:lnTo>
                      <a:pt x="532" y="3542"/>
                    </a:lnTo>
                    <a:lnTo>
                      <a:pt x="532" y="3538"/>
                    </a:lnTo>
                    <a:lnTo>
                      <a:pt x="530" y="3536"/>
                    </a:lnTo>
                    <a:lnTo>
                      <a:pt x="522" y="3532"/>
                    </a:lnTo>
                    <a:close/>
                    <a:moveTo>
                      <a:pt x="476" y="3508"/>
                    </a:moveTo>
                    <a:lnTo>
                      <a:pt x="476" y="3508"/>
                    </a:lnTo>
                    <a:lnTo>
                      <a:pt x="484" y="3506"/>
                    </a:lnTo>
                    <a:lnTo>
                      <a:pt x="484" y="3504"/>
                    </a:lnTo>
                    <a:lnTo>
                      <a:pt x="472" y="3502"/>
                    </a:lnTo>
                    <a:lnTo>
                      <a:pt x="464" y="3502"/>
                    </a:lnTo>
                    <a:lnTo>
                      <a:pt x="458" y="3502"/>
                    </a:lnTo>
                    <a:lnTo>
                      <a:pt x="450" y="3506"/>
                    </a:lnTo>
                    <a:lnTo>
                      <a:pt x="448" y="3508"/>
                    </a:lnTo>
                    <a:lnTo>
                      <a:pt x="456" y="3510"/>
                    </a:lnTo>
                    <a:lnTo>
                      <a:pt x="462" y="3510"/>
                    </a:lnTo>
                    <a:lnTo>
                      <a:pt x="476" y="3508"/>
                    </a:lnTo>
                    <a:close/>
                    <a:moveTo>
                      <a:pt x="572" y="3528"/>
                    </a:moveTo>
                    <a:lnTo>
                      <a:pt x="572" y="3528"/>
                    </a:lnTo>
                    <a:lnTo>
                      <a:pt x="574" y="3530"/>
                    </a:lnTo>
                    <a:lnTo>
                      <a:pt x="578" y="3530"/>
                    </a:lnTo>
                    <a:lnTo>
                      <a:pt x="580" y="3528"/>
                    </a:lnTo>
                    <a:lnTo>
                      <a:pt x="582" y="3524"/>
                    </a:lnTo>
                    <a:lnTo>
                      <a:pt x="580" y="3522"/>
                    </a:lnTo>
                    <a:lnTo>
                      <a:pt x="578" y="3522"/>
                    </a:lnTo>
                    <a:lnTo>
                      <a:pt x="574" y="3524"/>
                    </a:lnTo>
                    <a:lnTo>
                      <a:pt x="572" y="3528"/>
                    </a:lnTo>
                    <a:close/>
                    <a:moveTo>
                      <a:pt x="636" y="3486"/>
                    </a:moveTo>
                    <a:lnTo>
                      <a:pt x="636" y="3486"/>
                    </a:lnTo>
                    <a:lnTo>
                      <a:pt x="628" y="3488"/>
                    </a:lnTo>
                    <a:lnTo>
                      <a:pt x="622" y="3486"/>
                    </a:lnTo>
                    <a:lnTo>
                      <a:pt x="616" y="3484"/>
                    </a:lnTo>
                    <a:lnTo>
                      <a:pt x="610" y="3482"/>
                    </a:lnTo>
                    <a:lnTo>
                      <a:pt x="602" y="3478"/>
                    </a:lnTo>
                    <a:lnTo>
                      <a:pt x="594" y="3470"/>
                    </a:lnTo>
                    <a:lnTo>
                      <a:pt x="584" y="3462"/>
                    </a:lnTo>
                    <a:lnTo>
                      <a:pt x="574" y="3456"/>
                    </a:lnTo>
                    <a:lnTo>
                      <a:pt x="562" y="3448"/>
                    </a:lnTo>
                    <a:lnTo>
                      <a:pt x="548" y="3436"/>
                    </a:lnTo>
                    <a:lnTo>
                      <a:pt x="538" y="3424"/>
                    </a:lnTo>
                    <a:lnTo>
                      <a:pt x="532" y="3414"/>
                    </a:lnTo>
                    <a:lnTo>
                      <a:pt x="530" y="3404"/>
                    </a:lnTo>
                    <a:lnTo>
                      <a:pt x="528" y="3404"/>
                    </a:lnTo>
                    <a:lnTo>
                      <a:pt x="522" y="3402"/>
                    </a:lnTo>
                    <a:lnTo>
                      <a:pt x="516" y="3402"/>
                    </a:lnTo>
                    <a:lnTo>
                      <a:pt x="514" y="3400"/>
                    </a:lnTo>
                    <a:lnTo>
                      <a:pt x="512" y="3396"/>
                    </a:lnTo>
                    <a:lnTo>
                      <a:pt x="516" y="3390"/>
                    </a:lnTo>
                    <a:lnTo>
                      <a:pt x="520" y="3386"/>
                    </a:lnTo>
                    <a:lnTo>
                      <a:pt x="522" y="3386"/>
                    </a:lnTo>
                    <a:lnTo>
                      <a:pt x="524" y="3390"/>
                    </a:lnTo>
                    <a:lnTo>
                      <a:pt x="524" y="3392"/>
                    </a:lnTo>
                    <a:lnTo>
                      <a:pt x="526" y="3394"/>
                    </a:lnTo>
                    <a:lnTo>
                      <a:pt x="528" y="3392"/>
                    </a:lnTo>
                    <a:lnTo>
                      <a:pt x="528" y="3388"/>
                    </a:lnTo>
                    <a:lnTo>
                      <a:pt x="524" y="3380"/>
                    </a:lnTo>
                    <a:lnTo>
                      <a:pt x="510" y="3364"/>
                    </a:lnTo>
                    <a:lnTo>
                      <a:pt x="510" y="3502"/>
                    </a:lnTo>
                    <a:lnTo>
                      <a:pt x="518" y="3498"/>
                    </a:lnTo>
                    <a:lnTo>
                      <a:pt x="520" y="3496"/>
                    </a:lnTo>
                    <a:lnTo>
                      <a:pt x="522" y="3496"/>
                    </a:lnTo>
                    <a:lnTo>
                      <a:pt x="530" y="3498"/>
                    </a:lnTo>
                    <a:lnTo>
                      <a:pt x="544" y="3500"/>
                    </a:lnTo>
                    <a:lnTo>
                      <a:pt x="560" y="3502"/>
                    </a:lnTo>
                    <a:lnTo>
                      <a:pt x="576" y="3504"/>
                    </a:lnTo>
                    <a:lnTo>
                      <a:pt x="584" y="3506"/>
                    </a:lnTo>
                    <a:lnTo>
                      <a:pt x="588" y="3508"/>
                    </a:lnTo>
                    <a:lnTo>
                      <a:pt x="596" y="3512"/>
                    </a:lnTo>
                    <a:lnTo>
                      <a:pt x="598" y="3510"/>
                    </a:lnTo>
                    <a:lnTo>
                      <a:pt x="602" y="3508"/>
                    </a:lnTo>
                    <a:lnTo>
                      <a:pt x="606" y="3506"/>
                    </a:lnTo>
                    <a:lnTo>
                      <a:pt x="614" y="3506"/>
                    </a:lnTo>
                    <a:lnTo>
                      <a:pt x="620" y="3502"/>
                    </a:lnTo>
                    <a:lnTo>
                      <a:pt x="624" y="3500"/>
                    </a:lnTo>
                    <a:lnTo>
                      <a:pt x="626" y="3502"/>
                    </a:lnTo>
                    <a:lnTo>
                      <a:pt x="630" y="3506"/>
                    </a:lnTo>
                    <a:lnTo>
                      <a:pt x="632" y="3504"/>
                    </a:lnTo>
                    <a:lnTo>
                      <a:pt x="634" y="3502"/>
                    </a:lnTo>
                    <a:lnTo>
                      <a:pt x="638" y="3502"/>
                    </a:lnTo>
                    <a:lnTo>
                      <a:pt x="640" y="3502"/>
                    </a:lnTo>
                    <a:lnTo>
                      <a:pt x="642" y="3502"/>
                    </a:lnTo>
                    <a:lnTo>
                      <a:pt x="646" y="3494"/>
                    </a:lnTo>
                    <a:lnTo>
                      <a:pt x="648" y="3488"/>
                    </a:lnTo>
                    <a:lnTo>
                      <a:pt x="648" y="3486"/>
                    </a:lnTo>
                    <a:lnTo>
                      <a:pt x="642" y="3486"/>
                    </a:lnTo>
                    <a:lnTo>
                      <a:pt x="636" y="3486"/>
                    </a:lnTo>
                    <a:close/>
                    <a:moveTo>
                      <a:pt x="436" y="3502"/>
                    </a:moveTo>
                    <a:lnTo>
                      <a:pt x="436" y="3502"/>
                    </a:lnTo>
                    <a:lnTo>
                      <a:pt x="428" y="3504"/>
                    </a:lnTo>
                    <a:lnTo>
                      <a:pt x="426" y="3506"/>
                    </a:lnTo>
                    <a:lnTo>
                      <a:pt x="420" y="3506"/>
                    </a:lnTo>
                    <a:lnTo>
                      <a:pt x="414" y="3506"/>
                    </a:lnTo>
                    <a:lnTo>
                      <a:pt x="414" y="3508"/>
                    </a:lnTo>
                    <a:lnTo>
                      <a:pt x="414" y="3510"/>
                    </a:lnTo>
                    <a:lnTo>
                      <a:pt x="416" y="3514"/>
                    </a:lnTo>
                    <a:lnTo>
                      <a:pt x="418" y="3514"/>
                    </a:lnTo>
                    <a:lnTo>
                      <a:pt x="428" y="3516"/>
                    </a:lnTo>
                    <a:lnTo>
                      <a:pt x="430" y="3516"/>
                    </a:lnTo>
                    <a:lnTo>
                      <a:pt x="432" y="3518"/>
                    </a:lnTo>
                    <a:lnTo>
                      <a:pt x="432" y="3520"/>
                    </a:lnTo>
                    <a:lnTo>
                      <a:pt x="432" y="3522"/>
                    </a:lnTo>
                    <a:lnTo>
                      <a:pt x="436" y="3522"/>
                    </a:lnTo>
                    <a:lnTo>
                      <a:pt x="442" y="3518"/>
                    </a:lnTo>
                    <a:lnTo>
                      <a:pt x="442" y="3516"/>
                    </a:lnTo>
                    <a:lnTo>
                      <a:pt x="442" y="3512"/>
                    </a:lnTo>
                    <a:lnTo>
                      <a:pt x="438" y="3512"/>
                    </a:lnTo>
                    <a:lnTo>
                      <a:pt x="432" y="3510"/>
                    </a:lnTo>
                    <a:lnTo>
                      <a:pt x="434" y="3508"/>
                    </a:lnTo>
                    <a:lnTo>
                      <a:pt x="438" y="3508"/>
                    </a:lnTo>
                    <a:lnTo>
                      <a:pt x="442" y="3506"/>
                    </a:lnTo>
                    <a:lnTo>
                      <a:pt x="444" y="3504"/>
                    </a:lnTo>
                    <a:lnTo>
                      <a:pt x="440" y="3504"/>
                    </a:lnTo>
                    <a:lnTo>
                      <a:pt x="436" y="3502"/>
                    </a:lnTo>
                    <a:close/>
                    <a:moveTo>
                      <a:pt x="290" y="2874"/>
                    </a:moveTo>
                    <a:lnTo>
                      <a:pt x="290" y="2874"/>
                    </a:lnTo>
                    <a:lnTo>
                      <a:pt x="292" y="2876"/>
                    </a:lnTo>
                    <a:lnTo>
                      <a:pt x="294" y="2874"/>
                    </a:lnTo>
                    <a:lnTo>
                      <a:pt x="294" y="2872"/>
                    </a:lnTo>
                    <a:lnTo>
                      <a:pt x="294" y="2870"/>
                    </a:lnTo>
                    <a:lnTo>
                      <a:pt x="290" y="2868"/>
                    </a:lnTo>
                    <a:lnTo>
                      <a:pt x="290" y="2874"/>
                    </a:lnTo>
                    <a:close/>
                    <a:moveTo>
                      <a:pt x="592" y="3524"/>
                    </a:moveTo>
                    <a:lnTo>
                      <a:pt x="592" y="3524"/>
                    </a:lnTo>
                    <a:lnTo>
                      <a:pt x="596" y="3524"/>
                    </a:lnTo>
                    <a:lnTo>
                      <a:pt x="598" y="3524"/>
                    </a:lnTo>
                    <a:lnTo>
                      <a:pt x="598" y="3522"/>
                    </a:lnTo>
                    <a:lnTo>
                      <a:pt x="596" y="3518"/>
                    </a:lnTo>
                    <a:lnTo>
                      <a:pt x="594" y="3518"/>
                    </a:lnTo>
                    <a:lnTo>
                      <a:pt x="590" y="3520"/>
                    </a:lnTo>
                    <a:lnTo>
                      <a:pt x="590" y="3522"/>
                    </a:lnTo>
                    <a:lnTo>
                      <a:pt x="592" y="3524"/>
                    </a:lnTo>
                    <a:close/>
                    <a:moveTo>
                      <a:pt x="310" y="3406"/>
                    </a:moveTo>
                    <a:lnTo>
                      <a:pt x="310" y="3406"/>
                    </a:lnTo>
                    <a:lnTo>
                      <a:pt x="314" y="3406"/>
                    </a:lnTo>
                    <a:lnTo>
                      <a:pt x="318" y="3406"/>
                    </a:lnTo>
                    <a:lnTo>
                      <a:pt x="322" y="3406"/>
                    </a:lnTo>
                    <a:lnTo>
                      <a:pt x="326" y="3408"/>
                    </a:lnTo>
                    <a:lnTo>
                      <a:pt x="328" y="3408"/>
                    </a:lnTo>
                    <a:lnTo>
                      <a:pt x="324" y="3402"/>
                    </a:lnTo>
                    <a:lnTo>
                      <a:pt x="318" y="3396"/>
                    </a:lnTo>
                    <a:lnTo>
                      <a:pt x="316" y="3394"/>
                    </a:lnTo>
                    <a:lnTo>
                      <a:pt x="314" y="3394"/>
                    </a:lnTo>
                    <a:lnTo>
                      <a:pt x="312" y="3394"/>
                    </a:lnTo>
                    <a:lnTo>
                      <a:pt x="310" y="3392"/>
                    </a:lnTo>
                    <a:lnTo>
                      <a:pt x="308" y="3390"/>
                    </a:lnTo>
                    <a:lnTo>
                      <a:pt x="306" y="3392"/>
                    </a:lnTo>
                    <a:lnTo>
                      <a:pt x="304" y="3390"/>
                    </a:lnTo>
                    <a:lnTo>
                      <a:pt x="294" y="3384"/>
                    </a:lnTo>
                    <a:lnTo>
                      <a:pt x="284" y="3382"/>
                    </a:lnTo>
                    <a:lnTo>
                      <a:pt x="280" y="3378"/>
                    </a:lnTo>
                    <a:lnTo>
                      <a:pt x="274" y="3374"/>
                    </a:lnTo>
                    <a:lnTo>
                      <a:pt x="268" y="3370"/>
                    </a:lnTo>
                    <a:lnTo>
                      <a:pt x="264" y="3368"/>
                    </a:lnTo>
                    <a:lnTo>
                      <a:pt x="262" y="3370"/>
                    </a:lnTo>
                    <a:lnTo>
                      <a:pt x="266" y="3374"/>
                    </a:lnTo>
                    <a:lnTo>
                      <a:pt x="270" y="3376"/>
                    </a:lnTo>
                    <a:lnTo>
                      <a:pt x="270" y="3380"/>
                    </a:lnTo>
                    <a:lnTo>
                      <a:pt x="268" y="3380"/>
                    </a:lnTo>
                    <a:lnTo>
                      <a:pt x="272" y="3382"/>
                    </a:lnTo>
                    <a:lnTo>
                      <a:pt x="276" y="3384"/>
                    </a:lnTo>
                    <a:lnTo>
                      <a:pt x="278" y="3388"/>
                    </a:lnTo>
                    <a:lnTo>
                      <a:pt x="282" y="3390"/>
                    </a:lnTo>
                    <a:lnTo>
                      <a:pt x="288" y="3392"/>
                    </a:lnTo>
                    <a:lnTo>
                      <a:pt x="294" y="3392"/>
                    </a:lnTo>
                    <a:lnTo>
                      <a:pt x="296" y="3394"/>
                    </a:lnTo>
                    <a:lnTo>
                      <a:pt x="300" y="3396"/>
                    </a:lnTo>
                    <a:lnTo>
                      <a:pt x="302" y="3398"/>
                    </a:lnTo>
                    <a:lnTo>
                      <a:pt x="304" y="3398"/>
                    </a:lnTo>
                    <a:lnTo>
                      <a:pt x="308" y="3398"/>
                    </a:lnTo>
                    <a:lnTo>
                      <a:pt x="310" y="3400"/>
                    </a:lnTo>
                    <a:lnTo>
                      <a:pt x="310" y="3402"/>
                    </a:lnTo>
                    <a:lnTo>
                      <a:pt x="310" y="3404"/>
                    </a:lnTo>
                    <a:lnTo>
                      <a:pt x="310" y="3406"/>
                    </a:lnTo>
                    <a:close/>
                    <a:moveTo>
                      <a:pt x="262" y="3306"/>
                    </a:moveTo>
                    <a:lnTo>
                      <a:pt x="262" y="3306"/>
                    </a:lnTo>
                    <a:lnTo>
                      <a:pt x="260" y="3302"/>
                    </a:lnTo>
                    <a:lnTo>
                      <a:pt x="258" y="3302"/>
                    </a:lnTo>
                    <a:lnTo>
                      <a:pt x="258" y="3304"/>
                    </a:lnTo>
                    <a:lnTo>
                      <a:pt x="258" y="3310"/>
                    </a:lnTo>
                    <a:lnTo>
                      <a:pt x="258" y="3314"/>
                    </a:lnTo>
                    <a:lnTo>
                      <a:pt x="254" y="3308"/>
                    </a:lnTo>
                    <a:lnTo>
                      <a:pt x="252" y="3308"/>
                    </a:lnTo>
                    <a:lnTo>
                      <a:pt x="250" y="3310"/>
                    </a:lnTo>
                    <a:lnTo>
                      <a:pt x="248" y="3314"/>
                    </a:lnTo>
                    <a:lnTo>
                      <a:pt x="250" y="3318"/>
                    </a:lnTo>
                    <a:lnTo>
                      <a:pt x="252" y="3320"/>
                    </a:lnTo>
                    <a:lnTo>
                      <a:pt x="252" y="3322"/>
                    </a:lnTo>
                    <a:lnTo>
                      <a:pt x="250" y="3324"/>
                    </a:lnTo>
                    <a:lnTo>
                      <a:pt x="252" y="3328"/>
                    </a:lnTo>
                    <a:lnTo>
                      <a:pt x="252" y="3332"/>
                    </a:lnTo>
                    <a:lnTo>
                      <a:pt x="254" y="3332"/>
                    </a:lnTo>
                    <a:lnTo>
                      <a:pt x="258" y="3324"/>
                    </a:lnTo>
                    <a:lnTo>
                      <a:pt x="260" y="3314"/>
                    </a:lnTo>
                    <a:lnTo>
                      <a:pt x="262" y="3310"/>
                    </a:lnTo>
                    <a:lnTo>
                      <a:pt x="262" y="3306"/>
                    </a:lnTo>
                    <a:close/>
                    <a:moveTo>
                      <a:pt x="284" y="3406"/>
                    </a:moveTo>
                    <a:lnTo>
                      <a:pt x="284" y="3406"/>
                    </a:lnTo>
                    <a:lnTo>
                      <a:pt x="286" y="3406"/>
                    </a:lnTo>
                    <a:lnTo>
                      <a:pt x="288" y="3404"/>
                    </a:lnTo>
                    <a:lnTo>
                      <a:pt x="290" y="3402"/>
                    </a:lnTo>
                    <a:lnTo>
                      <a:pt x="290" y="3400"/>
                    </a:lnTo>
                    <a:lnTo>
                      <a:pt x="286" y="3398"/>
                    </a:lnTo>
                    <a:lnTo>
                      <a:pt x="284" y="3400"/>
                    </a:lnTo>
                    <a:lnTo>
                      <a:pt x="284" y="3404"/>
                    </a:lnTo>
                    <a:lnTo>
                      <a:pt x="284" y="3406"/>
                    </a:lnTo>
                    <a:close/>
                    <a:moveTo>
                      <a:pt x="268" y="3336"/>
                    </a:moveTo>
                    <a:lnTo>
                      <a:pt x="268" y="3336"/>
                    </a:lnTo>
                    <a:lnTo>
                      <a:pt x="260" y="3336"/>
                    </a:lnTo>
                    <a:lnTo>
                      <a:pt x="258" y="3336"/>
                    </a:lnTo>
                    <a:lnTo>
                      <a:pt x="256" y="3338"/>
                    </a:lnTo>
                    <a:lnTo>
                      <a:pt x="258" y="3340"/>
                    </a:lnTo>
                    <a:lnTo>
                      <a:pt x="262" y="3342"/>
                    </a:lnTo>
                    <a:lnTo>
                      <a:pt x="264" y="3342"/>
                    </a:lnTo>
                    <a:lnTo>
                      <a:pt x="268" y="3340"/>
                    </a:lnTo>
                    <a:lnTo>
                      <a:pt x="268" y="3338"/>
                    </a:lnTo>
                    <a:lnTo>
                      <a:pt x="268" y="3336"/>
                    </a:lnTo>
                    <a:close/>
                    <a:moveTo>
                      <a:pt x="412" y="3500"/>
                    </a:moveTo>
                    <a:lnTo>
                      <a:pt x="412" y="3500"/>
                    </a:lnTo>
                    <a:lnTo>
                      <a:pt x="406" y="3498"/>
                    </a:lnTo>
                    <a:lnTo>
                      <a:pt x="402" y="3496"/>
                    </a:lnTo>
                    <a:lnTo>
                      <a:pt x="398" y="3498"/>
                    </a:lnTo>
                    <a:lnTo>
                      <a:pt x="396" y="3500"/>
                    </a:lnTo>
                    <a:lnTo>
                      <a:pt x="396" y="3502"/>
                    </a:lnTo>
                    <a:lnTo>
                      <a:pt x="398" y="3504"/>
                    </a:lnTo>
                    <a:lnTo>
                      <a:pt x="402" y="3502"/>
                    </a:lnTo>
                    <a:lnTo>
                      <a:pt x="406" y="3500"/>
                    </a:lnTo>
                    <a:lnTo>
                      <a:pt x="408" y="3502"/>
                    </a:lnTo>
                    <a:lnTo>
                      <a:pt x="410" y="3502"/>
                    </a:lnTo>
                    <a:lnTo>
                      <a:pt x="414" y="3504"/>
                    </a:lnTo>
                    <a:lnTo>
                      <a:pt x="414" y="3502"/>
                    </a:lnTo>
                    <a:lnTo>
                      <a:pt x="416" y="3500"/>
                    </a:lnTo>
                    <a:lnTo>
                      <a:pt x="414" y="3500"/>
                    </a:lnTo>
                    <a:lnTo>
                      <a:pt x="412" y="3500"/>
                    </a:lnTo>
                    <a:close/>
                    <a:moveTo>
                      <a:pt x="248" y="3284"/>
                    </a:moveTo>
                    <a:lnTo>
                      <a:pt x="248" y="3284"/>
                    </a:lnTo>
                    <a:lnTo>
                      <a:pt x="244" y="3282"/>
                    </a:lnTo>
                    <a:lnTo>
                      <a:pt x="244" y="3284"/>
                    </a:lnTo>
                    <a:lnTo>
                      <a:pt x="244" y="3292"/>
                    </a:lnTo>
                    <a:lnTo>
                      <a:pt x="240" y="3300"/>
                    </a:lnTo>
                    <a:lnTo>
                      <a:pt x="240" y="3302"/>
                    </a:lnTo>
                    <a:lnTo>
                      <a:pt x="244" y="3302"/>
                    </a:lnTo>
                    <a:lnTo>
                      <a:pt x="246" y="3300"/>
                    </a:lnTo>
                    <a:lnTo>
                      <a:pt x="246" y="3298"/>
                    </a:lnTo>
                    <a:lnTo>
                      <a:pt x="248" y="3294"/>
                    </a:lnTo>
                    <a:lnTo>
                      <a:pt x="248" y="3292"/>
                    </a:lnTo>
                    <a:lnTo>
                      <a:pt x="252" y="3288"/>
                    </a:lnTo>
                    <a:lnTo>
                      <a:pt x="248" y="3284"/>
                    </a:lnTo>
                    <a:close/>
                    <a:moveTo>
                      <a:pt x="376" y="3462"/>
                    </a:moveTo>
                    <a:lnTo>
                      <a:pt x="376" y="3462"/>
                    </a:lnTo>
                    <a:lnTo>
                      <a:pt x="376" y="3466"/>
                    </a:lnTo>
                    <a:lnTo>
                      <a:pt x="378" y="3468"/>
                    </a:lnTo>
                    <a:lnTo>
                      <a:pt x="380" y="3468"/>
                    </a:lnTo>
                    <a:lnTo>
                      <a:pt x="380" y="3464"/>
                    </a:lnTo>
                    <a:lnTo>
                      <a:pt x="380" y="3462"/>
                    </a:lnTo>
                    <a:lnTo>
                      <a:pt x="382" y="3462"/>
                    </a:lnTo>
                    <a:lnTo>
                      <a:pt x="384" y="3460"/>
                    </a:lnTo>
                    <a:lnTo>
                      <a:pt x="384" y="3456"/>
                    </a:lnTo>
                    <a:lnTo>
                      <a:pt x="386" y="3454"/>
                    </a:lnTo>
                    <a:lnTo>
                      <a:pt x="386" y="3452"/>
                    </a:lnTo>
                    <a:lnTo>
                      <a:pt x="386" y="3448"/>
                    </a:lnTo>
                    <a:lnTo>
                      <a:pt x="386" y="3444"/>
                    </a:lnTo>
                    <a:lnTo>
                      <a:pt x="386" y="3442"/>
                    </a:lnTo>
                    <a:lnTo>
                      <a:pt x="384" y="3440"/>
                    </a:lnTo>
                    <a:lnTo>
                      <a:pt x="378" y="3438"/>
                    </a:lnTo>
                    <a:lnTo>
                      <a:pt x="376" y="3438"/>
                    </a:lnTo>
                    <a:lnTo>
                      <a:pt x="374" y="3442"/>
                    </a:lnTo>
                    <a:lnTo>
                      <a:pt x="372" y="3444"/>
                    </a:lnTo>
                    <a:lnTo>
                      <a:pt x="370" y="3442"/>
                    </a:lnTo>
                    <a:lnTo>
                      <a:pt x="368" y="3442"/>
                    </a:lnTo>
                    <a:lnTo>
                      <a:pt x="364" y="3442"/>
                    </a:lnTo>
                    <a:lnTo>
                      <a:pt x="362" y="3444"/>
                    </a:lnTo>
                    <a:lnTo>
                      <a:pt x="362" y="3446"/>
                    </a:lnTo>
                    <a:lnTo>
                      <a:pt x="368" y="3452"/>
                    </a:lnTo>
                    <a:lnTo>
                      <a:pt x="374" y="3458"/>
                    </a:lnTo>
                    <a:lnTo>
                      <a:pt x="376" y="3460"/>
                    </a:lnTo>
                    <a:lnTo>
                      <a:pt x="376" y="3462"/>
                    </a:lnTo>
                    <a:close/>
                    <a:moveTo>
                      <a:pt x="360" y="3454"/>
                    </a:moveTo>
                    <a:lnTo>
                      <a:pt x="360" y="3454"/>
                    </a:lnTo>
                    <a:lnTo>
                      <a:pt x="358" y="3458"/>
                    </a:lnTo>
                    <a:lnTo>
                      <a:pt x="354" y="3458"/>
                    </a:lnTo>
                    <a:lnTo>
                      <a:pt x="352" y="3460"/>
                    </a:lnTo>
                    <a:lnTo>
                      <a:pt x="354" y="3462"/>
                    </a:lnTo>
                    <a:lnTo>
                      <a:pt x="356" y="3464"/>
                    </a:lnTo>
                    <a:lnTo>
                      <a:pt x="358" y="3464"/>
                    </a:lnTo>
                    <a:lnTo>
                      <a:pt x="364" y="3458"/>
                    </a:lnTo>
                    <a:lnTo>
                      <a:pt x="364" y="3456"/>
                    </a:lnTo>
                    <a:lnTo>
                      <a:pt x="364" y="3454"/>
                    </a:lnTo>
                    <a:lnTo>
                      <a:pt x="362" y="3452"/>
                    </a:lnTo>
                    <a:lnTo>
                      <a:pt x="360" y="3454"/>
                    </a:lnTo>
                    <a:close/>
                    <a:moveTo>
                      <a:pt x="390" y="3462"/>
                    </a:moveTo>
                    <a:lnTo>
                      <a:pt x="390" y="3462"/>
                    </a:lnTo>
                    <a:lnTo>
                      <a:pt x="394" y="3462"/>
                    </a:lnTo>
                    <a:lnTo>
                      <a:pt x="394" y="3460"/>
                    </a:lnTo>
                    <a:lnTo>
                      <a:pt x="396" y="3458"/>
                    </a:lnTo>
                    <a:lnTo>
                      <a:pt x="398" y="3460"/>
                    </a:lnTo>
                    <a:lnTo>
                      <a:pt x="402" y="3462"/>
                    </a:lnTo>
                    <a:lnTo>
                      <a:pt x="402" y="3464"/>
                    </a:lnTo>
                    <a:lnTo>
                      <a:pt x="402" y="3466"/>
                    </a:lnTo>
                    <a:lnTo>
                      <a:pt x="406" y="3468"/>
                    </a:lnTo>
                    <a:lnTo>
                      <a:pt x="410" y="3468"/>
                    </a:lnTo>
                    <a:lnTo>
                      <a:pt x="412" y="3466"/>
                    </a:lnTo>
                    <a:lnTo>
                      <a:pt x="412" y="3454"/>
                    </a:lnTo>
                    <a:lnTo>
                      <a:pt x="410" y="3450"/>
                    </a:lnTo>
                    <a:lnTo>
                      <a:pt x="408" y="3450"/>
                    </a:lnTo>
                    <a:lnTo>
                      <a:pt x="406" y="3450"/>
                    </a:lnTo>
                    <a:lnTo>
                      <a:pt x="402" y="3448"/>
                    </a:lnTo>
                    <a:lnTo>
                      <a:pt x="400" y="3444"/>
                    </a:lnTo>
                    <a:lnTo>
                      <a:pt x="394" y="3442"/>
                    </a:lnTo>
                    <a:lnTo>
                      <a:pt x="390" y="3444"/>
                    </a:lnTo>
                    <a:lnTo>
                      <a:pt x="388" y="3446"/>
                    </a:lnTo>
                    <a:lnTo>
                      <a:pt x="388" y="3448"/>
                    </a:lnTo>
                    <a:lnTo>
                      <a:pt x="390" y="3454"/>
                    </a:lnTo>
                    <a:lnTo>
                      <a:pt x="388" y="3456"/>
                    </a:lnTo>
                    <a:lnTo>
                      <a:pt x="388" y="3460"/>
                    </a:lnTo>
                    <a:lnTo>
                      <a:pt x="390" y="3462"/>
                    </a:lnTo>
                    <a:close/>
                    <a:moveTo>
                      <a:pt x="356" y="3450"/>
                    </a:moveTo>
                    <a:lnTo>
                      <a:pt x="356" y="3450"/>
                    </a:lnTo>
                    <a:lnTo>
                      <a:pt x="358" y="3450"/>
                    </a:lnTo>
                    <a:lnTo>
                      <a:pt x="360" y="3450"/>
                    </a:lnTo>
                    <a:lnTo>
                      <a:pt x="358" y="3444"/>
                    </a:lnTo>
                    <a:lnTo>
                      <a:pt x="358" y="3442"/>
                    </a:lnTo>
                    <a:lnTo>
                      <a:pt x="358" y="3440"/>
                    </a:lnTo>
                    <a:lnTo>
                      <a:pt x="362" y="3438"/>
                    </a:lnTo>
                    <a:lnTo>
                      <a:pt x="366" y="3436"/>
                    </a:lnTo>
                    <a:lnTo>
                      <a:pt x="366" y="3434"/>
                    </a:lnTo>
                    <a:lnTo>
                      <a:pt x="366" y="3432"/>
                    </a:lnTo>
                    <a:lnTo>
                      <a:pt x="362" y="3430"/>
                    </a:lnTo>
                    <a:lnTo>
                      <a:pt x="360" y="3430"/>
                    </a:lnTo>
                    <a:lnTo>
                      <a:pt x="358" y="3428"/>
                    </a:lnTo>
                    <a:lnTo>
                      <a:pt x="356" y="3426"/>
                    </a:lnTo>
                    <a:lnTo>
                      <a:pt x="354" y="3422"/>
                    </a:lnTo>
                    <a:lnTo>
                      <a:pt x="352" y="3420"/>
                    </a:lnTo>
                    <a:lnTo>
                      <a:pt x="348" y="3418"/>
                    </a:lnTo>
                    <a:lnTo>
                      <a:pt x="346" y="3420"/>
                    </a:lnTo>
                    <a:lnTo>
                      <a:pt x="344" y="3420"/>
                    </a:lnTo>
                    <a:lnTo>
                      <a:pt x="344" y="3418"/>
                    </a:lnTo>
                    <a:lnTo>
                      <a:pt x="342" y="3418"/>
                    </a:lnTo>
                    <a:lnTo>
                      <a:pt x="340" y="3420"/>
                    </a:lnTo>
                    <a:lnTo>
                      <a:pt x="338" y="3422"/>
                    </a:lnTo>
                    <a:lnTo>
                      <a:pt x="338" y="3418"/>
                    </a:lnTo>
                    <a:lnTo>
                      <a:pt x="336" y="3414"/>
                    </a:lnTo>
                    <a:lnTo>
                      <a:pt x="332" y="3410"/>
                    </a:lnTo>
                    <a:lnTo>
                      <a:pt x="328" y="3410"/>
                    </a:lnTo>
                    <a:lnTo>
                      <a:pt x="328" y="3412"/>
                    </a:lnTo>
                    <a:lnTo>
                      <a:pt x="328" y="3414"/>
                    </a:lnTo>
                    <a:lnTo>
                      <a:pt x="322" y="3414"/>
                    </a:lnTo>
                    <a:lnTo>
                      <a:pt x="320" y="3414"/>
                    </a:lnTo>
                    <a:lnTo>
                      <a:pt x="318" y="3414"/>
                    </a:lnTo>
                    <a:lnTo>
                      <a:pt x="320" y="3418"/>
                    </a:lnTo>
                    <a:lnTo>
                      <a:pt x="322" y="3422"/>
                    </a:lnTo>
                    <a:lnTo>
                      <a:pt x="320" y="3422"/>
                    </a:lnTo>
                    <a:lnTo>
                      <a:pt x="314" y="3420"/>
                    </a:lnTo>
                    <a:lnTo>
                      <a:pt x="310" y="3422"/>
                    </a:lnTo>
                    <a:lnTo>
                      <a:pt x="308" y="3424"/>
                    </a:lnTo>
                    <a:lnTo>
                      <a:pt x="308" y="3426"/>
                    </a:lnTo>
                    <a:lnTo>
                      <a:pt x="310" y="3428"/>
                    </a:lnTo>
                    <a:lnTo>
                      <a:pt x="312" y="3430"/>
                    </a:lnTo>
                    <a:lnTo>
                      <a:pt x="312" y="3432"/>
                    </a:lnTo>
                    <a:lnTo>
                      <a:pt x="316" y="3432"/>
                    </a:lnTo>
                    <a:lnTo>
                      <a:pt x="320" y="3430"/>
                    </a:lnTo>
                    <a:lnTo>
                      <a:pt x="322" y="3432"/>
                    </a:lnTo>
                    <a:lnTo>
                      <a:pt x="322" y="3434"/>
                    </a:lnTo>
                    <a:lnTo>
                      <a:pt x="322" y="3442"/>
                    </a:lnTo>
                    <a:lnTo>
                      <a:pt x="324" y="3444"/>
                    </a:lnTo>
                    <a:lnTo>
                      <a:pt x="328" y="3448"/>
                    </a:lnTo>
                    <a:lnTo>
                      <a:pt x="330" y="3448"/>
                    </a:lnTo>
                    <a:lnTo>
                      <a:pt x="332" y="3448"/>
                    </a:lnTo>
                    <a:lnTo>
                      <a:pt x="332" y="3442"/>
                    </a:lnTo>
                    <a:lnTo>
                      <a:pt x="332" y="3438"/>
                    </a:lnTo>
                    <a:lnTo>
                      <a:pt x="334" y="3438"/>
                    </a:lnTo>
                    <a:lnTo>
                      <a:pt x="336" y="3440"/>
                    </a:lnTo>
                    <a:lnTo>
                      <a:pt x="340" y="3438"/>
                    </a:lnTo>
                    <a:lnTo>
                      <a:pt x="342" y="3438"/>
                    </a:lnTo>
                    <a:lnTo>
                      <a:pt x="342" y="3442"/>
                    </a:lnTo>
                    <a:lnTo>
                      <a:pt x="340" y="3448"/>
                    </a:lnTo>
                    <a:lnTo>
                      <a:pt x="336" y="3450"/>
                    </a:lnTo>
                    <a:lnTo>
                      <a:pt x="334" y="3452"/>
                    </a:lnTo>
                    <a:lnTo>
                      <a:pt x="338" y="3454"/>
                    </a:lnTo>
                    <a:lnTo>
                      <a:pt x="342" y="3454"/>
                    </a:lnTo>
                    <a:lnTo>
                      <a:pt x="346" y="3454"/>
                    </a:lnTo>
                    <a:lnTo>
                      <a:pt x="348" y="3452"/>
                    </a:lnTo>
                    <a:lnTo>
                      <a:pt x="350" y="3452"/>
                    </a:lnTo>
                    <a:lnTo>
                      <a:pt x="352" y="3452"/>
                    </a:lnTo>
                    <a:lnTo>
                      <a:pt x="352" y="3450"/>
                    </a:lnTo>
                    <a:lnTo>
                      <a:pt x="354" y="3448"/>
                    </a:lnTo>
                    <a:lnTo>
                      <a:pt x="356" y="3450"/>
                    </a:lnTo>
                    <a:close/>
                    <a:moveTo>
                      <a:pt x="490" y="3366"/>
                    </a:moveTo>
                    <a:lnTo>
                      <a:pt x="490" y="3366"/>
                    </a:lnTo>
                    <a:lnTo>
                      <a:pt x="488" y="3366"/>
                    </a:lnTo>
                    <a:lnTo>
                      <a:pt x="486" y="3364"/>
                    </a:lnTo>
                    <a:lnTo>
                      <a:pt x="482" y="3360"/>
                    </a:lnTo>
                    <a:lnTo>
                      <a:pt x="480" y="3354"/>
                    </a:lnTo>
                    <a:lnTo>
                      <a:pt x="478" y="3352"/>
                    </a:lnTo>
                    <a:lnTo>
                      <a:pt x="476" y="3352"/>
                    </a:lnTo>
                    <a:lnTo>
                      <a:pt x="472" y="3356"/>
                    </a:lnTo>
                    <a:lnTo>
                      <a:pt x="468" y="3364"/>
                    </a:lnTo>
                    <a:lnTo>
                      <a:pt x="464" y="3370"/>
                    </a:lnTo>
                    <a:lnTo>
                      <a:pt x="460" y="3374"/>
                    </a:lnTo>
                    <a:lnTo>
                      <a:pt x="454" y="3374"/>
                    </a:lnTo>
                    <a:lnTo>
                      <a:pt x="450" y="3372"/>
                    </a:lnTo>
                    <a:lnTo>
                      <a:pt x="446" y="3368"/>
                    </a:lnTo>
                    <a:lnTo>
                      <a:pt x="440" y="3370"/>
                    </a:lnTo>
                    <a:lnTo>
                      <a:pt x="438" y="3370"/>
                    </a:lnTo>
                    <a:lnTo>
                      <a:pt x="440" y="3372"/>
                    </a:lnTo>
                    <a:lnTo>
                      <a:pt x="442" y="3374"/>
                    </a:lnTo>
                    <a:lnTo>
                      <a:pt x="444" y="3376"/>
                    </a:lnTo>
                    <a:lnTo>
                      <a:pt x="444" y="3378"/>
                    </a:lnTo>
                    <a:lnTo>
                      <a:pt x="448" y="3380"/>
                    </a:lnTo>
                    <a:lnTo>
                      <a:pt x="450" y="3382"/>
                    </a:lnTo>
                    <a:lnTo>
                      <a:pt x="448" y="3384"/>
                    </a:lnTo>
                    <a:lnTo>
                      <a:pt x="446" y="3388"/>
                    </a:lnTo>
                    <a:lnTo>
                      <a:pt x="444" y="3388"/>
                    </a:lnTo>
                    <a:lnTo>
                      <a:pt x="440" y="3384"/>
                    </a:lnTo>
                    <a:lnTo>
                      <a:pt x="438" y="3382"/>
                    </a:lnTo>
                    <a:lnTo>
                      <a:pt x="438" y="3384"/>
                    </a:lnTo>
                    <a:lnTo>
                      <a:pt x="436" y="3388"/>
                    </a:lnTo>
                    <a:lnTo>
                      <a:pt x="436" y="3398"/>
                    </a:lnTo>
                    <a:lnTo>
                      <a:pt x="440" y="3410"/>
                    </a:lnTo>
                    <a:lnTo>
                      <a:pt x="442" y="3412"/>
                    </a:lnTo>
                    <a:lnTo>
                      <a:pt x="448" y="3414"/>
                    </a:lnTo>
                    <a:lnTo>
                      <a:pt x="460" y="3410"/>
                    </a:lnTo>
                    <a:lnTo>
                      <a:pt x="474" y="3406"/>
                    </a:lnTo>
                    <a:lnTo>
                      <a:pt x="478" y="3406"/>
                    </a:lnTo>
                    <a:lnTo>
                      <a:pt x="480" y="3408"/>
                    </a:lnTo>
                    <a:lnTo>
                      <a:pt x="482" y="3414"/>
                    </a:lnTo>
                    <a:lnTo>
                      <a:pt x="478" y="3418"/>
                    </a:lnTo>
                    <a:lnTo>
                      <a:pt x="472" y="3422"/>
                    </a:lnTo>
                    <a:lnTo>
                      <a:pt x="466" y="3424"/>
                    </a:lnTo>
                    <a:lnTo>
                      <a:pt x="452" y="3430"/>
                    </a:lnTo>
                    <a:lnTo>
                      <a:pt x="448" y="3434"/>
                    </a:lnTo>
                    <a:lnTo>
                      <a:pt x="448" y="3438"/>
                    </a:lnTo>
                    <a:lnTo>
                      <a:pt x="452" y="3446"/>
                    </a:lnTo>
                    <a:lnTo>
                      <a:pt x="458" y="3452"/>
                    </a:lnTo>
                    <a:lnTo>
                      <a:pt x="464" y="3458"/>
                    </a:lnTo>
                    <a:lnTo>
                      <a:pt x="474" y="3462"/>
                    </a:lnTo>
                    <a:lnTo>
                      <a:pt x="488" y="3470"/>
                    </a:lnTo>
                    <a:lnTo>
                      <a:pt x="494" y="3472"/>
                    </a:lnTo>
                    <a:lnTo>
                      <a:pt x="496" y="3474"/>
                    </a:lnTo>
                    <a:lnTo>
                      <a:pt x="482" y="3472"/>
                    </a:lnTo>
                    <a:lnTo>
                      <a:pt x="476" y="3468"/>
                    </a:lnTo>
                    <a:lnTo>
                      <a:pt x="474" y="3468"/>
                    </a:lnTo>
                    <a:lnTo>
                      <a:pt x="472" y="3468"/>
                    </a:lnTo>
                    <a:lnTo>
                      <a:pt x="470" y="3470"/>
                    </a:lnTo>
                    <a:lnTo>
                      <a:pt x="468" y="3470"/>
                    </a:lnTo>
                    <a:lnTo>
                      <a:pt x="462" y="3466"/>
                    </a:lnTo>
                    <a:lnTo>
                      <a:pt x="456" y="3464"/>
                    </a:lnTo>
                    <a:lnTo>
                      <a:pt x="452" y="3464"/>
                    </a:lnTo>
                    <a:lnTo>
                      <a:pt x="450" y="3464"/>
                    </a:lnTo>
                    <a:lnTo>
                      <a:pt x="448" y="3466"/>
                    </a:lnTo>
                    <a:lnTo>
                      <a:pt x="448" y="3468"/>
                    </a:lnTo>
                    <a:lnTo>
                      <a:pt x="448" y="3472"/>
                    </a:lnTo>
                    <a:lnTo>
                      <a:pt x="450" y="3472"/>
                    </a:lnTo>
                    <a:lnTo>
                      <a:pt x="448" y="3472"/>
                    </a:lnTo>
                    <a:lnTo>
                      <a:pt x="442" y="3468"/>
                    </a:lnTo>
                    <a:lnTo>
                      <a:pt x="422" y="3454"/>
                    </a:lnTo>
                    <a:lnTo>
                      <a:pt x="416" y="3452"/>
                    </a:lnTo>
                    <a:lnTo>
                      <a:pt x="416" y="3454"/>
                    </a:lnTo>
                    <a:lnTo>
                      <a:pt x="418" y="3456"/>
                    </a:lnTo>
                    <a:lnTo>
                      <a:pt x="422" y="3462"/>
                    </a:lnTo>
                    <a:lnTo>
                      <a:pt x="428" y="3464"/>
                    </a:lnTo>
                    <a:lnTo>
                      <a:pt x="430" y="3466"/>
                    </a:lnTo>
                    <a:lnTo>
                      <a:pt x="426" y="3466"/>
                    </a:lnTo>
                    <a:lnTo>
                      <a:pt x="420" y="3466"/>
                    </a:lnTo>
                    <a:lnTo>
                      <a:pt x="418" y="3468"/>
                    </a:lnTo>
                    <a:lnTo>
                      <a:pt x="416" y="3472"/>
                    </a:lnTo>
                    <a:lnTo>
                      <a:pt x="414" y="3476"/>
                    </a:lnTo>
                    <a:lnTo>
                      <a:pt x="408" y="3474"/>
                    </a:lnTo>
                    <a:lnTo>
                      <a:pt x="398" y="3470"/>
                    </a:lnTo>
                    <a:lnTo>
                      <a:pt x="398" y="3472"/>
                    </a:lnTo>
                    <a:lnTo>
                      <a:pt x="396" y="3474"/>
                    </a:lnTo>
                    <a:lnTo>
                      <a:pt x="392" y="3472"/>
                    </a:lnTo>
                    <a:lnTo>
                      <a:pt x="380" y="3470"/>
                    </a:lnTo>
                    <a:lnTo>
                      <a:pt x="380" y="3472"/>
                    </a:lnTo>
                    <a:lnTo>
                      <a:pt x="382" y="3476"/>
                    </a:lnTo>
                    <a:lnTo>
                      <a:pt x="386" y="3478"/>
                    </a:lnTo>
                    <a:lnTo>
                      <a:pt x="386" y="3480"/>
                    </a:lnTo>
                    <a:lnTo>
                      <a:pt x="382" y="3480"/>
                    </a:lnTo>
                    <a:lnTo>
                      <a:pt x="376" y="3476"/>
                    </a:lnTo>
                    <a:lnTo>
                      <a:pt x="374" y="3474"/>
                    </a:lnTo>
                    <a:lnTo>
                      <a:pt x="372" y="3474"/>
                    </a:lnTo>
                    <a:lnTo>
                      <a:pt x="374" y="3476"/>
                    </a:lnTo>
                    <a:lnTo>
                      <a:pt x="374" y="3482"/>
                    </a:lnTo>
                    <a:lnTo>
                      <a:pt x="374" y="3484"/>
                    </a:lnTo>
                    <a:lnTo>
                      <a:pt x="374" y="3486"/>
                    </a:lnTo>
                    <a:lnTo>
                      <a:pt x="376" y="3486"/>
                    </a:lnTo>
                    <a:lnTo>
                      <a:pt x="380" y="3488"/>
                    </a:lnTo>
                    <a:lnTo>
                      <a:pt x="384" y="3486"/>
                    </a:lnTo>
                    <a:lnTo>
                      <a:pt x="390" y="3486"/>
                    </a:lnTo>
                    <a:lnTo>
                      <a:pt x="394" y="3488"/>
                    </a:lnTo>
                    <a:lnTo>
                      <a:pt x="396" y="3488"/>
                    </a:lnTo>
                    <a:lnTo>
                      <a:pt x="398" y="3484"/>
                    </a:lnTo>
                    <a:lnTo>
                      <a:pt x="400" y="3480"/>
                    </a:lnTo>
                    <a:lnTo>
                      <a:pt x="402" y="3480"/>
                    </a:lnTo>
                    <a:lnTo>
                      <a:pt x="404" y="3480"/>
                    </a:lnTo>
                    <a:lnTo>
                      <a:pt x="402" y="3484"/>
                    </a:lnTo>
                    <a:lnTo>
                      <a:pt x="402" y="3486"/>
                    </a:lnTo>
                    <a:lnTo>
                      <a:pt x="404" y="3488"/>
                    </a:lnTo>
                    <a:lnTo>
                      <a:pt x="408" y="3488"/>
                    </a:lnTo>
                    <a:lnTo>
                      <a:pt x="412" y="3486"/>
                    </a:lnTo>
                    <a:lnTo>
                      <a:pt x="416" y="3486"/>
                    </a:lnTo>
                    <a:lnTo>
                      <a:pt x="414" y="3488"/>
                    </a:lnTo>
                    <a:lnTo>
                      <a:pt x="412" y="3492"/>
                    </a:lnTo>
                    <a:lnTo>
                      <a:pt x="414" y="3494"/>
                    </a:lnTo>
                    <a:lnTo>
                      <a:pt x="416" y="3492"/>
                    </a:lnTo>
                    <a:lnTo>
                      <a:pt x="418" y="3494"/>
                    </a:lnTo>
                    <a:lnTo>
                      <a:pt x="422" y="3498"/>
                    </a:lnTo>
                    <a:lnTo>
                      <a:pt x="424" y="3498"/>
                    </a:lnTo>
                    <a:lnTo>
                      <a:pt x="428" y="3496"/>
                    </a:lnTo>
                    <a:lnTo>
                      <a:pt x="432" y="3496"/>
                    </a:lnTo>
                    <a:lnTo>
                      <a:pt x="438" y="3498"/>
                    </a:lnTo>
                    <a:lnTo>
                      <a:pt x="442" y="3498"/>
                    </a:lnTo>
                    <a:lnTo>
                      <a:pt x="446" y="3496"/>
                    </a:lnTo>
                    <a:lnTo>
                      <a:pt x="450" y="3496"/>
                    </a:lnTo>
                    <a:lnTo>
                      <a:pt x="452" y="3498"/>
                    </a:lnTo>
                    <a:lnTo>
                      <a:pt x="452" y="3500"/>
                    </a:lnTo>
                    <a:lnTo>
                      <a:pt x="456" y="3498"/>
                    </a:lnTo>
                    <a:lnTo>
                      <a:pt x="458" y="3496"/>
                    </a:lnTo>
                    <a:lnTo>
                      <a:pt x="462" y="3496"/>
                    </a:lnTo>
                    <a:lnTo>
                      <a:pt x="464" y="3496"/>
                    </a:lnTo>
                    <a:lnTo>
                      <a:pt x="466" y="3492"/>
                    </a:lnTo>
                    <a:lnTo>
                      <a:pt x="468" y="3494"/>
                    </a:lnTo>
                    <a:lnTo>
                      <a:pt x="470" y="3498"/>
                    </a:lnTo>
                    <a:lnTo>
                      <a:pt x="478" y="3500"/>
                    </a:lnTo>
                    <a:lnTo>
                      <a:pt x="496" y="3504"/>
                    </a:lnTo>
                    <a:lnTo>
                      <a:pt x="502" y="3504"/>
                    </a:lnTo>
                    <a:lnTo>
                      <a:pt x="504" y="3504"/>
                    </a:lnTo>
                    <a:lnTo>
                      <a:pt x="504" y="3502"/>
                    </a:lnTo>
                    <a:lnTo>
                      <a:pt x="504" y="3500"/>
                    </a:lnTo>
                    <a:lnTo>
                      <a:pt x="506" y="3500"/>
                    </a:lnTo>
                    <a:lnTo>
                      <a:pt x="510" y="3502"/>
                    </a:lnTo>
                    <a:lnTo>
                      <a:pt x="510" y="3364"/>
                    </a:lnTo>
                    <a:lnTo>
                      <a:pt x="508" y="3362"/>
                    </a:lnTo>
                    <a:lnTo>
                      <a:pt x="504" y="3360"/>
                    </a:lnTo>
                    <a:lnTo>
                      <a:pt x="500" y="3360"/>
                    </a:lnTo>
                    <a:lnTo>
                      <a:pt x="496" y="3364"/>
                    </a:lnTo>
                    <a:lnTo>
                      <a:pt x="490" y="3366"/>
                    </a:lnTo>
                    <a:close/>
                    <a:moveTo>
                      <a:pt x="298" y="2826"/>
                    </a:moveTo>
                    <a:lnTo>
                      <a:pt x="298" y="2826"/>
                    </a:lnTo>
                    <a:lnTo>
                      <a:pt x="304" y="2826"/>
                    </a:lnTo>
                    <a:lnTo>
                      <a:pt x="306" y="2824"/>
                    </a:lnTo>
                    <a:lnTo>
                      <a:pt x="306" y="2822"/>
                    </a:lnTo>
                    <a:lnTo>
                      <a:pt x="304" y="2820"/>
                    </a:lnTo>
                    <a:lnTo>
                      <a:pt x="302" y="2814"/>
                    </a:lnTo>
                    <a:lnTo>
                      <a:pt x="304" y="2812"/>
                    </a:lnTo>
                    <a:lnTo>
                      <a:pt x="308" y="2812"/>
                    </a:lnTo>
                    <a:lnTo>
                      <a:pt x="310" y="2812"/>
                    </a:lnTo>
                    <a:lnTo>
                      <a:pt x="312" y="2810"/>
                    </a:lnTo>
                    <a:lnTo>
                      <a:pt x="310" y="2806"/>
                    </a:lnTo>
                    <a:lnTo>
                      <a:pt x="308" y="2800"/>
                    </a:lnTo>
                    <a:lnTo>
                      <a:pt x="308" y="2798"/>
                    </a:lnTo>
                    <a:lnTo>
                      <a:pt x="310" y="2798"/>
                    </a:lnTo>
                    <a:lnTo>
                      <a:pt x="314" y="2798"/>
                    </a:lnTo>
                    <a:lnTo>
                      <a:pt x="314" y="2794"/>
                    </a:lnTo>
                    <a:lnTo>
                      <a:pt x="304" y="2784"/>
                    </a:lnTo>
                    <a:lnTo>
                      <a:pt x="302" y="2780"/>
                    </a:lnTo>
                    <a:lnTo>
                      <a:pt x="302" y="2778"/>
                    </a:lnTo>
                    <a:lnTo>
                      <a:pt x="306" y="2776"/>
                    </a:lnTo>
                    <a:lnTo>
                      <a:pt x="306" y="2774"/>
                    </a:lnTo>
                    <a:lnTo>
                      <a:pt x="306" y="2770"/>
                    </a:lnTo>
                    <a:lnTo>
                      <a:pt x="306" y="2768"/>
                    </a:lnTo>
                    <a:lnTo>
                      <a:pt x="316" y="2764"/>
                    </a:lnTo>
                    <a:lnTo>
                      <a:pt x="318" y="2764"/>
                    </a:lnTo>
                    <a:lnTo>
                      <a:pt x="320" y="2762"/>
                    </a:lnTo>
                    <a:lnTo>
                      <a:pt x="318" y="2758"/>
                    </a:lnTo>
                    <a:lnTo>
                      <a:pt x="312" y="2748"/>
                    </a:lnTo>
                    <a:lnTo>
                      <a:pt x="310" y="2740"/>
                    </a:lnTo>
                    <a:lnTo>
                      <a:pt x="308" y="2738"/>
                    </a:lnTo>
                    <a:lnTo>
                      <a:pt x="302" y="2738"/>
                    </a:lnTo>
                    <a:lnTo>
                      <a:pt x="298" y="2740"/>
                    </a:lnTo>
                    <a:lnTo>
                      <a:pt x="298" y="2738"/>
                    </a:lnTo>
                    <a:lnTo>
                      <a:pt x="298" y="2736"/>
                    </a:lnTo>
                    <a:lnTo>
                      <a:pt x="296" y="2736"/>
                    </a:lnTo>
                    <a:lnTo>
                      <a:pt x="292" y="2736"/>
                    </a:lnTo>
                    <a:lnTo>
                      <a:pt x="290" y="2736"/>
                    </a:lnTo>
                    <a:lnTo>
                      <a:pt x="290" y="2738"/>
                    </a:lnTo>
                    <a:lnTo>
                      <a:pt x="290" y="2744"/>
                    </a:lnTo>
                    <a:lnTo>
                      <a:pt x="290" y="2752"/>
                    </a:lnTo>
                    <a:lnTo>
                      <a:pt x="288" y="2756"/>
                    </a:lnTo>
                    <a:lnTo>
                      <a:pt x="286" y="2762"/>
                    </a:lnTo>
                    <a:lnTo>
                      <a:pt x="284" y="2770"/>
                    </a:lnTo>
                    <a:lnTo>
                      <a:pt x="284" y="2778"/>
                    </a:lnTo>
                    <a:lnTo>
                      <a:pt x="286" y="2782"/>
                    </a:lnTo>
                    <a:lnTo>
                      <a:pt x="286" y="2790"/>
                    </a:lnTo>
                    <a:lnTo>
                      <a:pt x="282" y="2802"/>
                    </a:lnTo>
                    <a:lnTo>
                      <a:pt x="278" y="2814"/>
                    </a:lnTo>
                    <a:lnTo>
                      <a:pt x="278" y="2818"/>
                    </a:lnTo>
                    <a:lnTo>
                      <a:pt x="280" y="2822"/>
                    </a:lnTo>
                    <a:lnTo>
                      <a:pt x="286" y="2824"/>
                    </a:lnTo>
                    <a:lnTo>
                      <a:pt x="298" y="2826"/>
                    </a:lnTo>
                    <a:close/>
                    <a:moveTo>
                      <a:pt x="316" y="2894"/>
                    </a:moveTo>
                    <a:lnTo>
                      <a:pt x="316" y="2894"/>
                    </a:lnTo>
                    <a:lnTo>
                      <a:pt x="316" y="2898"/>
                    </a:lnTo>
                    <a:lnTo>
                      <a:pt x="318" y="2902"/>
                    </a:lnTo>
                    <a:lnTo>
                      <a:pt x="318" y="2904"/>
                    </a:lnTo>
                    <a:lnTo>
                      <a:pt x="318" y="2906"/>
                    </a:lnTo>
                    <a:lnTo>
                      <a:pt x="320" y="2908"/>
                    </a:lnTo>
                    <a:lnTo>
                      <a:pt x="324" y="2910"/>
                    </a:lnTo>
                    <a:lnTo>
                      <a:pt x="330" y="2910"/>
                    </a:lnTo>
                    <a:lnTo>
                      <a:pt x="336" y="2902"/>
                    </a:lnTo>
                    <a:lnTo>
                      <a:pt x="338" y="2900"/>
                    </a:lnTo>
                    <a:lnTo>
                      <a:pt x="338" y="2898"/>
                    </a:lnTo>
                    <a:lnTo>
                      <a:pt x="338" y="2896"/>
                    </a:lnTo>
                    <a:lnTo>
                      <a:pt x="342" y="2894"/>
                    </a:lnTo>
                    <a:lnTo>
                      <a:pt x="344" y="2890"/>
                    </a:lnTo>
                    <a:lnTo>
                      <a:pt x="342" y="2886"/>
                    </a:lnTo>
                    <a:lnTo>
                      <a:pt x="338" y="2882"/>
                    </a:lnTo>
                    <a:lnTo>
                      <a:pt x="332" y="2880"/>
                    </a:lnTo>
                    <a:lnTo>
                      <a:pt x="330" y="2880"/>
                    </a:lnTo>
                    <a:lnTo>
                      <a:pt x="330" y="2882"/>
                    </a:lnTo>
                    <a:lnTo>
                      <a:pt x="328" y="2882"/>
                    </a:lnTo>
                    <a:lnTo>
                      <a:pt x="326" y="2882"/>
                    </a:lnTo>
                    <a:lnTo>
                      <a:pt x="324" y="2882"/>
                    </a:lnTo>
                    <a:lnTo>
                      <a:pt x="324" y="2884"/>
                    </a:lnTo>
                    <a:lnTo>
                      <a:pt x="322" y="2888"/>
                    </a:lnTo>
                    <a:lnTo>
                      <a:pt x="322" y="2892"/>
                    </a:lnTo>
                    <a:lnTo>
                      <a:pt x="320" y="2894"/>
                    </a:lnTo>
                    <a:lnTo>
                      <a:pt x="318" y="2894"/>
                    </a:lnTo>
                    <a:lnTo>
                      <a:pt x="316" y="2894"/>
                    </a:lnTo>
                    <a:close/>
                    <a:moveTo>
                      <a:pt x="258" y="2836"/>
                    </a:moveTo>
                    <a:lnTo>
                      <a:pt x="258" y="2836"/>
                    </a:lnTo>
                    <a:lnTo>
                      <a:pt x="262" y="2838"/>
                    </a:lnTo>
                    <a:lnTo>
                      <a:pt x="264" y="2838"/>
                    </a:lnTo>
                    <a:lnTo>
                      <a:pt x="266" y="2836"/>
                    </a:lnTo>
                    <a:lnTo>
                      <a:pt x="266" y="2834"/>
                    </a:lnTo>
                    <a:lnTo>
                      <a:pt x="262" y="2832"/>
                    </a:lnTo>
                    <a:lnTo>
                      <a:pt x="260" y="2832"/>
                    </a:lnTo>
                    <a:lnTo>
                      <a:pt x="258" y="2834"/>
                    </a:lnTo>
                    <a:lnTo>
                      <a:pt x="258" y="2836"/>
                    </a:lnTo>
                    <a:close/>
                    <a:moveTo>
                      <a:pt x="324" y="2852"/>
                    </a:moveTo>
                    <a:lnTo>
                      <a:pt x="324" y="2852"/>
                    </a:lnTo>
                    <a:lnTo>
                      <a:pt x="320" y="2856"/>
                    </a:lnTo>
                    <a:lnTo>
                      <a:pt x="322" y="2858"/>
                    </a:lnTo>
                    <a:lnTo>
                      <a:pt x="324" y="2860"/>
                    </a:lnTo>
                    <a:lnTo>
                      <a:pt x="326" y="2858"/>
                    </a:lnTo>
                    <a:lnTo>
                      <a:pt x="326" y="2854"/>
                    </a:lnTo>
                    <a:lnTo>
                      <a:pt x="326" y="2852"/>
                    </a:lnTo>
                    <a:lnTo>
                      <a:pt x="324" y="2850"/>
                    </a:lnTo>
                    <a:lnTo>
                      <a:pt x="324" y="2852"/>
                    </a:lnTo>
                    <a:close/>
                    <a:moveTo>
                      <a:pt x="266" y="2958"/>
                    </a:moveTo>
                    <a:lnTo>
                      <a:pt x="266" y="2958"/>
                    </a:lnTo>
                    <a:lnTo>
                      <a:pt x="270" y="2958"/>
                    </a:lnTo>
                    <a:lnTo>
                      <a:pt x="270" y="2954"/>
                    </a:lnTo>
                    <a:lnTo>
                      <a:pt x="270" y="2950"/>
                    </a:lnTo>
                    <a:lnTo>
                      <a:pt x="268" y="2950"/>
                    </a:lnTo>
                    <a:lnTo>
                      <a:pt x="266" y="2952"/>
                    </a:lnTo>
                    <a:lnTo>
                      <a:pt x="264" y="2954"/>
                    </a:lnTo>
                    <a:lnTo>
                      <a:pt x="264" y="2956"/>
                    </a:lnTo>
                    <a:lnTo>
                      <a:pt x="266" y="2958"/>
                    </a:lnTo>
                    <a:close/>
                    <a:moveTo>
                      <a:pt x="244" y="3242"/>
                    </a:moveTo>
                    <a:lnTo>
                      <a:pt x="244" y="3242"/>
                    </a:lnTo>
                    <a:lnTo>
                      <a:pt x="248" y="3238"/>
                    </a:lnTo>
                    <a:lnTo>
                      <a:pt x="248" y="3236"/>
                    </a:lnTo>
                    <a:lnTo>
                      <a:pt x="246" y="3236"/>
                    </a:lnTo>
                    <a:lnTo>
                      <a:pt x="240" y="3234"/>
                    </a:lnTo>
                    <a:lnTo>
                      <a:pt x="234" y="3234"/>
                    </a:lnTo>
                    <a:lnTo>
                      <a:pt x="234" y="3236"/>
                    </a:lnTo>
                    <a:lnTo>
                      <a:pt x="236" y="3240"/>
                    </a:lnTo>
                    <a:lnTo>
                      <a:pt x="236" y="3242"/>
                    </a:lnTo>
                    <a:lnTo>
                      <a:pt x="232" y="3248"/>
                    </a:lnTo>
                    <a:lnTo>
                      <a:pt x="234" y="3250"/>
                    </a:lnTo>
                    <a:lnTo>
                      <a:pt x="238" y="3252"/>
                    </a:lnTo>
                    <a:lnTo>
                      <a:pt x="242" y="3254"/>
                    </a:lnTo>
                    <a:lnTo>
                      <a:pt x="242" y="3250"/>
                    </a:lnTo>
                    <a:lnTo>
                      <a:pt x="242" y="3246"/>
                    </a:lnTo>
                    <a:lnTo>
                      <a:pt x="244" y="3242"/>
                    </a:lnTo>
                    <a:close/>
                    <a:moveTo>
                      <a:pt x="302" y="2848"/>
                    </a:moveTo>
                    <a:lnTo>
                      <a:pt x="302" y="2848"/>
                    </a:lnTo>
                    <a:lnTo>
                      <a:pt x="300" y="2846"/>
                    </a:lnTo>
                    <a:lnTo>
                      <a:pt x="298" y="2846"/>
                    </a:lnTo>
                    <a:lnTo>
                      <a:pt x="296" y="2846"/>
                    </a:lnTo>
                    <a:lnTo>
                      <a:pt x="292" y="2846"/>
                    </a:lnTo>
                    <a:lnTo>
                      <a:pt x="288" y="2846"/>
                    </a:lnTo>
                    <a:lnTo>
                      <a:pt x="286" y="2848"/>
                    </a:lnTo>
                    <a:lnTo>
                      <a:pt x="288" y="2850"/>
                    </a:lnTo>
                    <a:lnTo>
                      <a:pt x="292" y="2854"/>
                    </a:lnTo>
                    <a:lnTo>
                      <a:pt x="294" y="2854"/>
                    </a:lnTo>
                    <a:lnTo>
                      <a:pt x="296" y="2854"/>
                    </a:lnTo>
                    <a:lnTo>
                      <a:pt x="300" y="2852"/>
                    </a:lnTo>
                    <a:lnTo>
                      <a:pt x="302" y="2850"/>
                    </a:lnTo>
                    <a:lnTo>
                      <a:pt x="302" y="2848"/>
                    </a:lnTo>
                    <a:close/>
                    <a:moveTo>
                      <a:pt x="302" y="2912"/>
                    </a:moveTo>
                    <a:lnTo>
                      <a:pt x="302" y="2912"/>
                    </a:lnTo>
                    <a:lnTo>
                      <a:pt x="304" y="2910"/>
                    </a:lnTo>
                    <a:lnTo>
                      <a:pt x="302" y="2906"/>
                    </a:lnTo>
                    <a:lnTo>
                      <a:pt x="300" y="2904"/>
                    </a:lnTo>
                    <a:lnTo>
                      <a:pt x="298" y="2904"/>
                    </a:lnTo>
                    <a:lnTo>
                      <a:pt x="296" y="2906"/>
                    </a:lnTo>
                    <a:lnTo>
                      <a:pt x="298" y="2910"/>
                    </a:lnTo>
                    <a:lnTo>
                      <a:pt x="300" y="2912"/>
                    </a:lnTo>
                    <a:lnTo>
                      <a:pt x="302" y="2912"/>
                    </a:lnTo>
                    <a:close/>
                    <a:moveTo>
                      <a:pt x="306" y="2942"/>
                    </a:moveTo>
                    <a:lnTo>
                      <a:pt x="306" y="2942"/>
                    </a:lnTo>
                    <a:lnTo>
                      <a:pt x="304" y="2942"/>
                    </a:lnTo>
                    <a:lnTo>
                      <a:pt x="302" y="2948"/>
                    </a:lnTo>
                    <a:lnTo>
                      <a:pt x="302" y="2952"/>
                    </a:lnTo>
                    <a:lnTo>
                      <a:pt x="304" y="2958"/>
                    </a:lnTo>
                    <a:lnTo>
                      <a:pt x="306" y="2958"/>
                    </a:lnTo>
                    <a:lnTo>
                      <a:pt x="308" y="2958"/>
                    </a:lnTo>
                    <a:lnTo>
                      <a:pt x="308" y="2952"/>
                    </a:lnTo>
                    <a:lnTo>
                      <a:pt x="310" y="2944"/>
                    </a:lnTo>
                    <a:lnTo>
                      <a:pt x="308" y="2942"/>
                    </a:lnTo>
                    <a:lnTo>
                      <a:pt x="306" y="2942"/>
                    </a:lnTo>
                    <a:close/>
                    <a:moveTo>
                      <a:pt x="278" y="2958"/>
                    </a:moveTo>
                    <a:lnTo>
                      <a:pt x="278" y="2958"/>
                    </a:lnTo>
                    <a:lnTo>
                      <a:pt x="280" y="2956"/>
                    </a:lnTo>
                    <a:lnTo>
                      <a:pt x="284" y="2952"/>
                    </a:lnTo>
                    <a:lnTo>
                      <a:pt x="286" y="2950"/>
                    </a:lnTo>
                    <a:lnTo>
                      <a:pt x="284" y="2946"/>
                    </a:lnTo>
                    <a:lnTo>
                      <a:pt x="280" y="2942"/>
                    </a:lnTo>
                    <a:lnTo>
                      <a:pt x="276" y="2942"/>
                    </a:lnTo>
                    <a:lnTo>
                      <a:pt x="274" y="2944"/>
                    </a:lnTo>
                    <a:lnTo>
                      <a:pt x="272" y="2946"/>
                    </a:lnTo>
                    <a:lnTo>
                      <a:pt x="274" y="2950"/>
                    </a:lnTo>
                    <a:lnTo>
                      <a:pt x="274" y="2952"/>
                    </a:lnTo>
                    <a:lnTo>
                      <a:pt x="274" y="2956"/>
                    </a:lnTo>
                    <a:lnTo>
                      <a:pt x="274" y="2958"/>
                    </a:lnTo>
                    <a:lnTo>
                      <a:pt x="278" y="2958"/>
                    </a:lnTo>
                    <a:close/>
                    <a:moveTo>
                      <a:pt x="1872" y="956"/>
                    </a:moveTo>
                    <a:lnTo>
                      <a:pt x="1872" y="956"/>
                    </a:lnTo>
                    <a:lnTo>
                      <a:pt x="1868" y="926"/>
                    </a:lnTo>
                    <a:lnTo>
                      <a:pt x="1864" y="900"/>
                    </a:lnTo>
                    <a:lnTo>
                      <a:pt x="1862" y="888"/>
                    </a:lnTo>
                    <a:lnTo>
                      <a:pt x="1858" y="876"/>
                    </a:lnTo>
                    <a:lnTo>
                      <a:pt x="1852" y="868"/>
                    </a:lnTo>
                    <a:lnTo>
                      <a:pt x="1844" y="858"/>
                    </a:lnTo>
                    <a:lnTo>
                      <a:pt x="1836" y="852"/>
                    </a:lnTo>
                    <a:lnTo>
                      <a:pt x="1830" y="850"/>
                    </a:lnTo>
                    <a:lnTo>
                      <a:pt x="1824" y="850"/>
                    </a:lnTo>
                    <a:lnTo>
                      <a:pt x="1816" y="850"/>
                    </a:lnTo>
                    <a:lnTo>
                      <a:pt x="1810" y="852"/>
                    </a:lnTo>
                    <a:lnTo>
                      <a:pt x="1800" y="850"/>
                    </a:lnTo>
                    <a:lnTo>
                      <a:pt x="1788" y="846"/>
                    </a:lnTo>
                    <a:lnTo>
                      <a:pt x="1774" y="838"/>
                    </a:lnTo>
                    <a:lnTo>
                      <a:pt x="1760" y="828"/>
                    </a:lnTo>
                    <a:lnTo>
                      <a:pt x="1750" y="820"/>
                    </a:lnTo>
                    <a:lnTo>
                      <a:pt x="1744" y="814"/>
                    </a:lnTo>
                    <a:lnTo>
                      <a:pt x="1740" y="808"/>
                    </a:lnTo>
                    <a:lnTo>
                      <a:pt x="1734" y="796"/>
                    </a:lnTo>
                    <a:lnTo>
                      <a:pt x="1728" y="788"/>
                    </a:lnTo>
                    <a:lnTo>
                      <a:pt x="1718" y="780"/>
                    </a:lnTo>
                    <a:lnTo>
                      <a:pt x="1698" y="762"/>
                    </a:lnTo>
                    <a:lnTo>
                      <a:pt x="1688" y="754"/>
                    </a:lnTo>
                    <a:lnTo>
                      <a:pt x="1680" y="748"/>
                    </a:lnTo>
                    <a:lnTo>
                      <a:pt x="1670" y="742"/>
                    </a:lnTo>
                    <a:lnTo>
                      <a:pt x="1660" y="740"/>
                    </a:lnTo>
                    <a:lnTo>
                      <a:pt x="1646" y="740"/>
                    </a:lnTo>
                    <a:lnTo>
                      <a:pt x="1632" y="740"/>
                    </a:lnTo>
                    <a:lnTo>
                      <a:pt x="1618" y="742"/>
                    </a:lnTo>
                    <a:lnTo>
                      <a:pt x="1602" y="742"/>
                    </a:lnTo>
                    <a:lnTo>
                      <a:pt x="1590" y="742"/>
                    </a:lnTo>
                    <a:lnTo>
                      <a:pt x="1578" y="738"/>
                    </a:lnTo>
                    <a:lnTo>
                      <a:pt x="1556" y="732"/>
                    </a:lnTo>
                    <a:lnTo>
                      <a:pt x="1536" y="722"/>
                    </a:lnTo>
                    <a:lnTo>
                      <a:pt x="1530" y="722"/>
                    </a:lnTo>
                    <a:lnTo>
                      <a:pt x="1526" y="722"/>
                    </a:lnTo>
                    <a:lnTo>
                      <a:pt x="1516" y="724"/>
                    </a:lnTo>
                    <a:lnTo>
                      <a:pt x="1508" y="730"/>
                    </a:lnTo>
                    <a:lnTo>
                      <a:pt x="1500" y="738"/>
                    </a:lnTo>
                    <a:lnTo>
                      <a:pt x="1488" y="750"/>
                    </a:lnTo>
                    <a:lnTo>
                      <a:pt x="1482" y="754"/>
                    </a:lnTo>
                    <a:lnTo>
                      <a:pt x="1480" y="752"/>
                    </a:lnTo>
                    <a:lnTo>
                      <a:pt x="1478" y="748"/>
                    </a:lnTo>
                    <a:lnTo>
                      <a:pt x="1478" y="742"/>
                    </a:lnTo>
                    <a:lnTo>
                      <a:pt x="1482" y="728"/>
                    </a:lnTo>
                    <a:lnTo>
                      <a:pt x="1486" y="716"/>
                    </a:lnTo>
                    <a:lnTo>
                      <a:pt x="1488" y="712"/>
                    </a:lnTo>
                    <a:lnTo>
                      <a:pt x="1486" y="708"/>
                    </a:lnTo>
                    <a:lnTo>
                      <a:pt x="1482" y="702"/>
                    </a:lnTo>
                    <a:lnTo>
                      <a:pt x="1480" y="698"/>
                    </a:lnTo>
                    <a:lnTo>
                      <a:pt x="1478" y="688"/>
                    </a:lnTo>
                    <a:lnTo>
                      <a:pt x="1476" y="684"/>
                    </a:lnTo>
                    <a:lnTo>
                      <a:pt x="1470" y="680"/>
                    </a:lnTo>
                    <a:lnTo>
                      <a:pt x="1464" y="678"/>
                    </a:lnTo>
                    <a:lnTo>
                      <a:pt x="1454" y="674"/>
                    </a:lnTo>
                    <a:lnTo>
                      <a:pt x="1444" y="670"/>
                    </a:lnTo>
                    <a:lnTo>
                      <a:pt x="1438" y="668"/>
                    </a:lnTo>
                    <a:lnTo>
                      <a:pt x="1428" y="658"/>
                    </a:lnTo>
                    <a:lnTo>
                      <a:pt x="1420" y="652"/>
                    </a:lnTo>
                    <a:lnTo>
                      <a:pt x="1416" y="650"/>
                    </a:lnTo>
                    <a:lnTo>
                      <a:pt x="1410" y="650"/>
                    </a:lnTo>
                    <a:lnTo>
                      <a:pt x="1400" y="648"/>
                    </a:lnTo>
                    <a:lnTo>
                      <a:pt x="1392" y="644"/>
                    </a:lnTo>
                    <a:lnTo>
                      <a:pt x="1382" y="640"/>
                    </a:lnTo>
                    <a:lnTo>
                      <a:pt x="1362" y="638"/>
                    </a:lnTo>
                    <a:lnTo>
                      <a:pt x="1354" y="638"/>
                    </a:lnTo>
                    <a:lnTo>
                      <a:pt x="1348" y="640"/>
                    </a:lnTo>
                    <a:lnTo>
                      <a:pt x="1340" y="644"/>
                    </a:lnTo>
                    <a:lnTo>
                      <a:pt x="1332" y="654"/>
                    </a:lnTo>
                    <a:lnTo>
                      <a:pt x="1326" y="662"/>
                    </a:lnTo>
                    <a:lnTo>
                      <a:pt x="1318" y="676"/>
                    </a:lnTo>
                    <a:lnTo>
                      <a:pt x="1314" y="678"/>
                    </a:lnTo>
                    <a:lnTo>
                      <a:pt x="1312" y="674"/>
                    </a:lnTo>
                    <a:lnTo>
                      <a:pt x="1310" y="666"/>
                    </a:lnTo>
                    <a:lnTo>
                      <a:pt x="1314" y="658"/>
                    </a:lnTo>
                    <a:lnTo>
                      <a:pt x="1322" y="642"/>
                    </a:lnTo>
                    <a:lnTo>
                      <a:pt x="1326" y="634"/>
                    </a:lnTo>
                    <a:lnTo>
                      <a:pt x="1326" y="628"/>
                    </a:lnTo>
                    <a:lnTo>
                      <a:pt x="1326" y="626"/>
                    </a:lnTo>
                    <a:lnTo>
                      <a:pt x="1322" y="622"/>
                    </a:lnTo>
                    <a:lnTo>
                      <a:pt x="1314" y="618"/>
                    </a:lnTo>
                    <a:lnTo>
                      <a:pt x="1296" y="614"/>
                    </a:lnTo>
                    <a:lnTo>
                      <a:pt x="1288" y="614"/>
                    </a:lnTo>
                    <a:lnTo>
                      <a:pt x="1278" y="616"/>
                    </a:lnTo>
                    <a:lnTo>
                      <a:pt x="1256" y="612"/>
                    </a:lnTo>
                    <a:lnTo>
                      <a:pt x="1246" y="612"/>
                    </a:lnTo>
                    <a:lnTo>
                      <a:pt x="1240" y="614"/>
                    </a:lnTo>
                    <a:lnTo>
                      <a:pt x="1234" y="620"/>
                    </a:lnTo>
                    <a:lnTo>
                      <a:pt x="1230" y="626"/>
                    </a:lnTo>
                    <a:lnTo>
                      <a:pt x="1230" y="634"/>
                    </a:lnTo>
                    <a:lnTo>
                      <a:pt x="1228" y="642"/>
                    </a:lnTo>
                    <a:lnTo>
                      <a:pt x="1228" y="656"/>
                    </a:lnTo>
                    <a:lnTo>
                      <a:pt x="1226" y="652"/>
                    </a:lnTo>
                    <a:lnTo>
                      <a:pt x="1222" y="652"/>
                    </a:lnTo>
                    <a:lnTo>
                      <a:pt x="1216" y="658"/>
                    </a:lnTo>
                    <a:lnTo>
                      <a:pt x="1214" y="660"/>
                    </a:lnTo>
                    <a:lnTo>
                      <a:pt x="1212" y="660"/>
                    </a:lnTo>
                    <a:lnTo>
                      <a:pt x="1212" y="658"/>
                    </a:lnTo>
                    <a:lnTo>
                      <a:pt x="1214" y="650"/>
                    </a:lnTo>
                    <a:lnTo>
                      <a:pt x="1216" y="642"/>
                    </a:lnTo>
                    <a:lnTo>
                      <a:pt x="1214" y="638"/>
                    </a:lnTo>
                    <a:lnTo>
                      <a:pt x="1210" y="636"/>
                    </a:lnTo>
                    <a:lnTo>
                      <a:pt x="1206" y="638"/>
                    </a:lnTo>
                    <a:lnTo>
                      <a:pt x="1198" y="640"/>
                    </a:lnTo>
                    <a:lnTo>
                      <a:pt x="1198" y="636"/>
                    </a:lnTo>
                    <a:lnTo>
                      <a:pt x="1202" y="632"/>
                    </a:lnTo>
                    <a:lnTo>
                      <a:pt x="1202" y="628"/>
                    </a:lnTo>
                    <a:lnTo>
                      <a:pt x="1204" y="620"/>
                    </a:lnTo>
                    <a:lnTo>
                      <a:pt x="1204" y="616"/>
                    </a:lnTo>
                    <a:lnTo>
                      <a:pt x="1206" y="614"/>
                    </a:lnTo>
                    <a:lnTo>
                      <a:pt x="1210" y="610"/>
                    </a:lnTo>
                    <a:lnTo>
                      <a:pt x="1216" y="608"/>
                    </a:lnTo>
                    <a:lnTo>
                      <a:pt x="1224" y="604"/>
                    </a:lnTo>
                    <a:lnTo>
                      <a:pt x="1230" y="596"/>
                    </a:lnTo>
                    <a:lnTo>
                      <a:pt x="1240" y="582"/>
                    </a:lnTo>
                    <a:lnTo>
                      <a:pt x="1248" y="566"/>
                    </a:lnTo>
                    <a:lnTo>
                      <a:pt x="1254" y="560"/>
                    </a:lnTo>
                    <a:lnTo>
                      <a:pt x="1260" y="556"/>
                    </a:lnTo>
                    <a:lnTo>
                      <a:pt x="1264" y="554"/>
                    </a:lnTo>
                    <a:lnTo>
                      <a:pt x="1266" y="548"/>
                    </a:lnTo>
                    <a:lnTo>
                      <a:pt x="1266" y="542"/>
                    </a:lnTo>
                    <a:lnTo>
                      <a:pt x="1266" y="536"/>
                    </a:lnTo>
                    <a:lnTo>
                      <a:pt x="1264" y="528"/>
                    </a:lnTo>
                    <a:lnTo>
                      <a:pt x="1260" y="524"/>
                    </a:lnTo>
                    <a:lnTo>
                      <a:pt x="1256" y="520"/>
                    </a:lnTo>
                    <a:lnTo>
                      <a:pt x="1252" y="518"/>
                    </a:lnTo>
                    <a:lnTo>
                      <a:pt x="1244" y="518"/>
                    </a:lnTo>
                    <a:lnTo>
                      <a:pt x="1240" y="516"/>
                    </a:lnTo>
                    <a:lnTo>
                      <a:pt x="1238" y="514"/>
                    </a:lnTo>
                    <a:lnTo>
                      <a:pt x="1238" y="508"/>
                    </a:lnTo>
                    <a:lnTo>
                      <a:pt x="1236" y="504"/>
                    </a:lnTo>
                    <a:lnTo>
                      <a:pt x="1234" y="502"/>
                    </a:lnTo>
                    <a:lnTo>
                      <a:pt x="1234" y="500"/>
                    </a:lnTo>
                    <a:lnTo>
                      <a:pt x="1232" y="494"/>
                    </a:lnTo>
                    <a:lnTo>
                      <a:pt x="1232" y="490"/>
                    </a:lnTo>
                    <a:lnTo>
                      <a:pt x="1230" y="488"/>
                    </a:lnTo>
                    <a:lnTo>
                      <a:pt x="1228" y="484"/>
                    </a:lnTo>
                    <a:lnTo>
                      <a:pt x="1226" y="480"/>
                    </a:lnTo>
                    <a:lnTo>
                      <a:pt x="1226" y="476"/>
                    </a:lnTo>
                    <a:lnTo>
                      <a:pt x="1226" y="472"/>
                    </a:lnTo>
                    <a:lnTo>
                      <a:pt x="1222" y="466"/>
                    </a:lnTo>
                    <a:lnTo>
                      <a:pt x="1220" y="444"/>
                    </a:lnTo>
                    <a:lnTo>
                      <a:pt x="1218" y="422"/>
                    </a:lnTo>
                    <a:lnTo>
                      <a:pt x="1218" y="418"/>
                    </a:lnTo>
                    <a:lnTo>
                      <a:pt x="1216" y="416"/>
                    </a:lnTo>
                    <a:lnTo>
                      <a:pt x="1214" y="414"/>
                    </a:lnTo>
                    <a:lnTo>
                      <a:pt x="1212" y="410"/>
                    </a:lnTo>
                    <a:lnTo>
                      <a:pt x="1206" y="398"/>
                    </a:lnTo>
                    <a:lnTo>
                      <a:pt x="1202" y="392"/>
                    </a:lnTo>
                    <a:lnTo>
                      <a:pt x="1200" y="392"/>
                    </a:lnTo>
                    <a:lnTo>
                      <a:pt x="1198" y="394"/>
                    </a:lnTo>
                    <a:lnTo>
                      <a:pt x="1198" y="396"/>
                    </a:lnTo>
                    <a:lnTo>
                      <a:pt x="1196" y="402"/>
                    </a:lnTo>
                    <a:lnTo>
                      <a:pt x="1192" y="410"/>
                    </a:lnTo>
                    <a:lnTo>
                      <a:pt x="1192" y="406"/>
                    </a:lnTo>
                    <a:lnTo>
                      <a:pt x="1192" y="404"/>
                    </a:lnTo>
                    <a:lnTo>
                      <a:pt x="1192" y="400"/>
                    </a:lnTo>
                    <a:lnTo>
                      <a:pt x="1192" y="394"/>
                    </a:lnTo>
                    <a:lnTo>
                      <a:pt x="1188" y="380"/>
                    </a:lnTo>
                    <a:lnTo>
                      <a:pt x="1186" y="380"/>
                    </a:lnTo>
                    <a:lnTo>
                      <a:pt x="1184" y="382"/>
                    </a:lnTo>
                    <a:lnTo>
                      <a:pt x="1182" y="382"/>
                    </a:lnTo>
                    <a:lnTo>
                      <a:pt x="1180" y="380"/>
                    </a:lnTo>
                    <a:lnTo>
                      <a:pt x="1178" y="374"/>
                    </a:lnTo>
                    <a:lnTo>
                      <a:pt x="1174" y="372"/>
                    </a:lnTo>
                    <a:lnTo>
                      <a:pt x="1172" y="368"/>
                    </a:lnTo>
                    <a:lnTo>
                      <a:pt x="1166" y="364"/>
                    </a:lnTo>
                    <a:lnTo>
                      <a:pt x="1158" y="360"/>
                    </a:lnTo>
                    <a:lnTo>
                      <a:pt x="1154" y="356"/>
                    </a:lnTo>
                    <a:lnTo>
                      <a:pt x="1150" y="350"/>
                    </a:lnTo>
                    <a:lnTo>
                      <a:pt x="1148" y="346"/>
                    </a:lnTo>
                    <a:lnTo>
                      <a:pt x="1144" y="342"/>
                    </a:lnTo>
                    <a:lnTo>
                      <a:pt x="1136" y="338"/>
                    </a:lnTo>
                    <a:lnTo>
                      <a:pt x="1126" y="334"/>
                    </a:lnTo>
                    <a:lnTo>
                      <a:pt x="1114" y="330"/>
                    </a:lnTo>
                    <a:lnTo>
                      <a:pt x="1102" y="324"/>
                    </a:lnTo>
                    <a:lnTo>
                      <a:pt x="1072" y="316"/>
                    </a:lnTo>
                    <a:lnTo>
                      <a:pt x="1060" y="314"/>
                    </a:lnTo>
                    <a:lnTo>
                      <a:pt x="1056" y="314"/>
                    </a:lnTo>
                    <a:lnTo>
                      <a:pt x="1054" y="316"/>
                    </a:lnTo>
                    <a:lnTo>
                      <a:pt x="1048" y="316"/>
                    </a:lnTo>
                    <a:lnTo>
                      <a:pt x="1038" y="314"/>
                    </a:lnTo>
                    <a:lnTo>
                      <a:pt x="1026" y="314"/>
                    </a:lnTo>
                    <a:lnTo>
                      <a:pt x="1024" y="316"/>
                    </a:lnTo>
                    <a:lnTo>
                      <a:pt x="1022" y="318"/>
                    </a:lnTo>
                    <a:lnTo>
                      <a:pt x="1022" y="322"/>
                    </a:lnTo>
                    <a:lnTo>
                      <a:pt x="1018" y="322"/>
                    </a:lnTo>
                    <a:lnTo>
                      <a:pt x="1006" y="318"/>
                    </a:lnTo>
                    <a:lnTo>
                      <a:pt x="998" y="316"/>
                    </a:lnTo>
                    <a:lnTo>
                      <a:pt x="990" y="314"/>
                    </a:lnTo>
                    <a:lnTo>
                      <a:pt x="982" y="316"/>
                    </a:lnTo>
                    <a:lnTo>
                      <a:pt x="974" y="318"/>
                    </a:lnTo>
                    <a:lnTo>
                      <a:pt x="972" y="316"/>
                    </a:lnTo>
                    <a:lnTo>
                      <a:pt x="972" y="314"/>
                    </a:lnTo>
                    <a:lnTo>
                      <a:pt x="968" y="308"/>
                    </a:lnTo>
                    <a:lnTo>
                      <a:pt x="966" y="302"/>
                    </a:lnTo>
                    <a:lnTo>
                      <a:pt x="964" y="300"/>
                    </a:lnTo>
                    <a:lnTo>
                      <a:pt x="962" y="298"/>
                    </a:lnTo>
                    <a:lnTo>
                      <a:pt x="958" y="296"/>
                    </a:lnTo>
                    <a:lnTo>
                      <a:pt x="956" y="294"/>
                    </a:lnTo>
                    <a:lnTo>
                      <a:pt x="954" y="288"/>
                    </a:lnTo>
                    <a:lnTo>
                      <a:pt x="952" y="284"/>
                    </a:lnTo>
                    <a:lnTo>
                      <a:pt x="948" y="280"/>
                    </a:lnTo>
                    <a:lnTo>
                      <a:pt x="942" y="276"/>
                    </a:lnTo>
                    <a:lnTo>
                      <a:pt x="934" y="274"/>
                    </a:lnTo>
                    <a:lnTo>
                      <a:pt x="920" y="270"/>
                    </a:lnTo>
                    <a:lnTo>
                      <a:pt x="916" y="268"/>
                    </a:lnTo>
                    <a:lnTo>
                      <a:pt x="916" y="264"/>
                    </a:lnTo>
                    <a:lnTo>
                      <a:pt x="918" y="254"/>
                    </a:lnTo>
                    <a:lnTo>
                      <a:pt x="918" y="248"/>
                    </a:lnTo>
                    <a:lnTo>
                      <a:pt x="918" y="242"/>
                    </a:lnTo>
                    <a:lnTo>
                      <a:pt x="914" y="234"/>
                    </a:lnTo>
                    <a:lnTo>
                      <a:pt x="908" y="228"/>
                    </a:lnTo>
                    <a:lnTo>
                      <a:pt x="892" y="214"/>
                    </a:lnTo>
                    <a:lnTo>
                      <a:pt x="868" y="198"/>
                    </a:lnTo>
                    <a:lnTo>
                      <a:pt x="862" y="192"/>
                    </a:lnTo>
                    <a:lnTo>
                      <a:pt x="852" y="188"/>
                    </a:lnTo>
                    <a:lnTo>
                      <a:pt x="840" y="188"/>
                    </a:lnTo>
                    <a:lnTo>
                      <a:pt x="830" y="188"/>
                    </a:lnTo>
                    <a:lnTo>
                      <a:pt x="818" y="190"/>
                    </a:lnTo>
                    <a:lnTo>
                      <a:pt x="804" y="194"/>
                    </a:lnTo>
                    <a:lnTo>
                      <a:pt x="802" y="192"/>
                    </a:lnTo>
                    <a:lnTo>
                      <a:pt x="804" y="190"/>
                    </a:lnTo>
                    <a:lnTo>
                      <a:pt x="808" y="184"/>
                    </a:lnTo>
                    <a:lnTo>
                      <a:pt x="810" y="180"/>
                    </a:lnTo>
                    <a:lnTo>
                      <a:pt x="812" y="172"/>
                    </a:lnTo>
                    <a:lnTo>
                      <a:pt x="814" y="164"/>
                    </a:lnTo>
                    <a:lnTo>
                      <a:pt x="816" y="160"/>
                    </a:lnTo>
                    <a:lnTo>
                      <a:pt x="822" y="156"/>
                    </a:lnTo>
                    <a:lnTo>
                      <a:pt x="826" y="152"/>
                    </a:lnTo>
                    <a:lnTo>
                      <a:pt x="826" y="150"/>
                    </a:lnTo>
                    <a:lnTo>
                      <a:pt x="826" y="148"/>
                    </a:lnTo>
                    <a:lnTo>
                      <a:pt x="822" y="146"/>
                    </a:lnTo>
                    <a:lnTo>
                      <a:pt x="814" y="142"/>
                    </a:lnTo>
                    <a:lnTo>
                      <a:pt x="810" y="138"/>
                    </a:lnTo>
                    <a:lnTo>
                      <a:pt x="808" y="134"/>
                    </a:lnTo>
                    <a:lnTo>
                      <a:pt x="804" y="130"/>
                    </a:lnTo>
                    <a:lnTo>
                      <a:pt x="800" y="128"/>
                    </a:lnTo>
                    <a:lnTo>
                      <a:pt x="792" y="128"/>
                    </a:lnTo>
                    <a:lnTo>
                      <a:pt x="784" y="126"/>
                    </a:lnTo>
                    <a:lnTo>
                      <a:pt x="780" y="124"/>
                    </a:lnTo>
                    <a:lnTo>
                      <a:pt x="778" y="122"/>
                    </a:lnTo>
                    <a:lnTo>
                      <a:pt x="772" y="116"/>
                    </a:lnTo>
                    <a:lnTo>
                      <a:pt x="766" y="112"/>
                    </a:lnTo>
                    <a:lnTo>
                      <a:pt x="752" y="104"/>
                    </a:lnTo>
                    <a:lnTo>
                      <a:pt x="746" y="100"/>
                    </a:lnTo>
                    <a:lnTo>
                      <a:pt x="744" y="98"/>
                    </a:lnTo>
                    <a:lnTo>
                      <a:pt x="748" y="94"/>
                    </a:lnTo>
                    <a:lnTo>
                      <a:pt x="756" y="92"/>
                    </a:lnTo>
                    <a:lnTo>
                      <a:pt x="772" y="88"/>
                    </a:lnTo>
                    <a:lnTo>
                      <a:pt x="782" y="84"/>
                    </a:lnTo>
                    <a:lnTo>
                      <a:pt x="782" y="82"/>
                    </a:lnTo>
                    <a:lnTo>
                      <a:pt x="778" y="80"/>
                    </a:lnTo>
                    <a:lnTo>
                      <a:pt x="762" y="78"/>
                    </a:lnTo>
                    <a:lnTo>
                      <a:pt x="744" y="78"/>
                    </a:lnTo>
                    <a:lnTo>
                      <a:pt x="736" y="80"/>
                    </a:lnTo>
                    <a:lnTo>
                      <a:pt x="726" y="82"/>
                    </a:lnTo>
                    <a:lnTo>
                      <a:pt x="706" y="84"/>
                    </a:lnTo>
                    <a:lnTo>
                      <a:pt x="696" y="84"/>
                    </a:lnTo>
                    <a:lnTo>
                      <a:pt x="688" y="86"/>
                    </a:lnTo>
                    <a:lnTo>
                      <a:pt x="684" y="88"/>
                    </a:lnTo>
                    <a:lnTo>
                      <a:pt x="682" y="92"/>
                    </a:lnTo>
                    <a:lnTo>
                      <a:pt x="680" y="98"/>
                    </a:lnTo>
                    <a:lnTo>
                      <a:pt x="678" y="100"/>
                    </a:lnTo>
                    <a:lnTo>
                      <a:pt x="674" y="104"/>
                    </a:lnTo>
                    <a:lnTo>
                      <a:pt x="662" y="110"/>
                    </a:lnTo>
                    <a:lnTo>
                      <a:pt x="654" y="112"/>
                    </a:lnTo>
                    <a:lnTo>
                      <a:pt x="646" y="112"/>
                    </a:lnTo>
                    <a:lnTo>
                      <a:pt x="638" y="112"/>
                    </a:lnTo>
                    <a:lnTo>
                      <a:pt x="630" y="108"/>
                    </a:lnTo>
                    <a:lnTo>
                      <a:pt x="622" y="102"/>
                    </a:lnTo>
                    <a:lnTo>
                      <a:pt x="616" y="94"/>
                    </a:lnTo>
                    <a:lnTo>
                      <a:pt x="612" y="88"/>
                    </a:lnTo>
                    <a:lnTo>
                      <a:pt x="608" y="86"/>
                    </a:lnTo>
                    <a:lnTo>
                      <a:pt x="602" y="84"/>
                    </a:lnTo>
                    <a:lnTo>
                      <a:pt x="594" y="84"/>
                    </a:lnTo>
                    <a:lnTo>
                      <a:pt x="580" y="86"/>
                    </a:lnTo>
                    <a:lnTo>
                      <a:pt x="564" y="90"/>
                    </a:lnTo>
                    <a:lnTo>
                      <a:pt x="548" y="94"/>
                    </a:lnTo>
                    <a:lnTo>
                      <a:pt x="536" y="94"/>
                    </a:lnTo>
                    <a:lnTo>
                      <a:pt x="530" y="92"/>
                    </a:lnTo>
                    <a:lnTo>
                      <a:pt x="526" y="90"/>
                    </a:lnTo>
                    <a:lnTo>
                      <a:pt x="524" y="84"/>
                    </a:lnTo>
                    <a:lnTo>
                      <a:pt x="522" y="78"/>
                    </a:lnTo>
                    <a:lnTo>
                      <a:pt x="520" y="64"/>
                    </a:lnTo>
                    <a:lnTo>
                      <a:pt x="516" y="56"/>
                    </a:lnTo>
                    <a:lnTo>
                      <a:pt x="508" y="50"/>
                    </a:lnTo>
                    <a:lnTo>
                      <a:pt x="500" y="46"/>
                    </a:lnTo>
                    <a:lnTo>
                      <a:pt x="490" y="44"/>
                    </a:lnTo>
                    <a:lnTo>
                      <a:pt x="482" y="40"/>
                    </a:lnTo>
                    <a:lnTo>
                      <a:pt x="474" y="32"/>
                    </a:lnTo>
                    <a:lnTo>
                      <a:pt x="468" y="22"/>
                    </a:lnTo>
                    <a:lnTo>
                      <a:pt x="464" y="12"/>
                    </a:lnTo>
                    <a:lnTo>
                      <a:pt x="458" y="8"/>
                    </a:lnTo>
                    <a:lnTo>
                      <a:pt x="454" y="8"/>
                    </a:lnTo>
                    <a:lnTo>
                      <a:pt x="450" y="10"/>
                    </a:lnTo>
                    <a:lnTo>
                      <a:pt x="446" y="16"/>
                    </a:lnTo>
                    <a:lnTo>
                      <a:pt x="444" y="22"/>
                    </a:lnTo>
                    <a:lnTo>
                      <a:pt x="444" y="28"/>
                    </a:lnTo>
                    <a:lnTo>
                      <a:pt x="444" y="34"/>
                    </a:lnTo>
                    <a:lnTo>
                      <a:pt x="448" y="40"/>
                    </a:lnTo>
                    <a:lnTo>
                      <a:pt x="452" y="48"/>
                    </a:lnTo>
                    <a:lnTo>
                      <a:pt x="452" y="50"/>
                    </a:lnTo>
                    <a:lnTo>
                      <a:pt x="448" y="52"/>
                    </a:lnTo>
                    <a:lnTo>
                      <a:pt x="430" y="56"/>
                    </a:lnTo>
                    <a:lnTo>
                      <a:pt x="420" y="60"/>
                    </a:lnTo>
                    <a:lnTo>
                      <a:pt x="410" y="64"/>
                    </a:lnTo>
                    <a:lnTo>
                      <a:pt x="402" y="70"/>
                    </a:lnTo>
                    <a:lnTo>
                      <a:pt x="398" y="74"/>
                    </a:lnTo>
                    <a:lnTo>
                      <a:pt x="392" y="80"/>
                    </a:lnTo>
                    <a:lnTo>
                      <a:pt x="390" y="78"/>
                    </a:lnTo>
                    <a:lnTo>
                      <a:pt x="388" y="72"/>
                    </a:lnTo>
                    <a:lnTo>
                      <a:pt x="386" y="64"/>
                    </a:lnTo>
                    <a:lnTo>
                      <a:pt x="380" y="56"/>
                    </a:lnTo>
                    <a:lnTo>
                      <a:pt x="376" y="52"/>
                    </a:lnTo>
                    <a:lnTo>
                      <a:pt x="376" y="48"/>
                    </a:lnTo>
                    <a:lnTo>
                      <a:pt x="378" y="44"/>
                    </a:lnTo>
                    <a:lnTo>
                      <a:pt x="382" y="40"/>
                    </a:lnTo>
                    <a:lnTo>
                      <a:pt x="392" y="32"/>
                    </a:lnTo>
                    <a:lnTo>
                      <a:pt x="402" y="26"/>
                    </a:lnTo>
                    <a:lnTo>
                      <a:pt x="406" y="24"/>
                    </a:lnTo>
                    <a:lnTo>
                      <a:pt x="410" y="20"/>
                    </a:lnTo>
                    <a:lnTo>
                      <a:pt x="410" y="14"/>
                    </a:lnTo>
                    <a:lnTo>
                      <a:pt x="410" y="10"/>
                    </a:lnTo>
                    <a:lnTo>
                      <a:pt x="408" y="6"/>
                    </a:lnTo>
                    <a:lnTo>
                      <a:pt x="404" y="2"/>
                    </a:lnTo>
                    <a:lnTo>
                      <a:pt x="398" y="0"/>
                    </a:lnTo>
                    <a:lnTo>
                      <a:pt x="390" y="0"/>
                    </a:lnTo>
                    <a:lnTo>
                      <a:pt x="378" y="4"/>
                    </a:lnTo>
                    <a:lnTo>
                      <a:pt x="374" y="6"/>
                    </a:lnTo>
                    <a:lnTo>
                      <a:pt x="370" y="10"/>
                    </a:lnTo>
                    <a:lnTo>
                      <a:pt x="362" y="20"/>
                    </a:lnTo>
                    <a:lnTo>
                      <a:pt x="354" y="26"/>
                    </a:lnTo>
                    <a:lnTo>
                      <a:pt x="344" y="36"/>
                    </a:lnTo>
                    <a:lnTo>
                      <a:pt x="328" y="46"/>
                    </a:lnTo>
                    <a:lnTo>
                      <a:pt x="316" y="50"/>
                    </a:lnTo>
                    <a:lnTo>
                      <a:pt x="306" y="52"/>
                    </a:lnTo>
                    <a:lnTo>
                      <a:pt x="298" y="52"/>
                    </a:lnTo>
                    <a:lnTo>
                      <a:pt x="294" y="50"/>
                    </a:lnTo>
                    <a:lnTo>
                      <a:pt x="290" y="50"/>
                    </a:lnTo>
                    <a:lnTo>
                      <a:pt x="286" y="52"/>
                    </a:lnTo>
                    <a:lnTo>
                      <a:pt x="284" y="58"/>
                    </a:lnTo>
                    <a:lnTo>
                      <a:pt x="280" y="66"/>
                    </a:lnTo>
                    <a:lnTo>
                      <a:pt x="276" y="68"/>
                    </a:lnTo>
                    <a:lnTo>
                      <a:pt x="270" y="68"/>
                    </a:lnTo>
                    <a:lnTo>
                      <a:pt x="266" y="66"/>
                    </a:lnTo>
                    <a:lnTo>
                      <a:pt x="256" y="62"/>
                    </a:lnTo>
                    <a:lnTo>
                      <a:pt x="252" y="64"/>
                    </a:lnTo>
                    <a:lnTo>
                      <a:pt x="250" y="68"/>
                    </a:lnTo>
                    <a:lnTo>
                      <a:pt x="248" y="72"/>
                    </a:lnTo>
                    <a:lnTo>
                      <a:pt x="244" y="78"/>
                    </a:lnTo>
                    <a:lnTo>
                      <a:pt x="238" y="86"/>
                    </a:lnTo>
                    <a:lnTo>
                      <a:pt x="234" y="92"/>
                    </a:lnTo>
                    <a:lnTo>
                      <a:pt x="232" y="100"/>
                    </a:lnTo>
                    <a:lnTo>
                      <a:pt x="230" y="110"/>
                    </a:lnTo>
                    <a:lnTo>
                      <a:pt x="230" y="122"/>
                    </a:lnTo>
                    <a:lnTo>
                      <a:pt x="230" y="134"/>
                    </a:lnTo>
                    <a:lnTo>
                      <a:pt x="226" y="142"/>
                    </a:lnTo>
                    <a:lnTo>
                      <a:pt x="224" y="144"/>
                    </a:lnTo>
                    <a:lnTo>
                      <a:pt x="220" y="146"/>
                    </a:lnTo>
                    <a:lnTo>
                      <a:pt x="214" y="146"/>
                    </a:lnTo>
                    <a:lnTo>
                      <a:pt x="210" y="148"/>
                    </a:lnTo>
                    <a:lnTo>
                      <a:pt x="208" y="150"/>
                    </a:lnTo>
                    <a:lnTo>
                      <a:pt x="206" y="158"/>
                    </a:lnTo>
                    <a:lnTo>
                      <a:pt x="202" y="166"/>
                    </a:lnTo>
                    <a:lnTo>
                      <a:pt x="198" y="170"/>
                    </a:lnTo>
                    <a:lnTo>
                      <a:pt x="180" y="202"/>
                    </a:lnTo>
                    <a:lnTo>
                      <a:pt x="182" y="212"/>
                    </a:lnTo>
                    <a:lnTo>
                      <a:pt x="182" y="214"/>
                    </a:lnTo>
                    <a:lnTo>
                      <a:pt x="180" y="214"/>
                    </a:lnTo>
                    <a:lnTo>
                      <a:pt x="176" y="210"/>
                    </a:lnTo>
                    <a:lnTo>
                      <a:pt x="144" y="264"/>
                    </a:lnTo>
                    <a:lnTo>
                      <a:pt x="146" y="274"/>
                    </a:lnTo>
                    <a:lnTo>
                      <a:pt x="148" y="278"/>
                    </a:lnTo>
                    <a:lnTo>
                      <a:pt x="152" y="280"/>
                    </a:lnTo>
                    <a:lnTo>
                      <a:pt x="156" y="284"/>
                    </a:lnTo>
                    <a:lnTo>
                      <a:pt x="158" y="286"/>
                    </a:lnTo>
                    <a:lnTo>
                      <a:pt x="158" y="290"/>
                    </a:lnTo>
                    <a:lnTo>
                      <a:pt x="156" y="296"/>
                    </a:lnTo>
                    <a:lnTo>
                      <a:pt x="154" y="304"/>
                    </a:lnTo>
                    <a:lnTo>
                      <a:pt x="154" y="310"/>
                    </a:lnTo>
                    <a:lnTo>
                      <a:pt x="156" y="314"/>
                    </a:lnTo>
                    <a:lnTo>
                      <a:pt x="162" y="320"/>
                    </a:lnTo>
                    <a:lnTo>
                      <a:pt x="162" y="324"/>
                    </a:lnTo>
                    <a:lnTo>
                      <a:pt x="160" y="328"/>
                    </a:lnTo>
                    <a:lnTo>
                      <a:pt x="158" y="330"/>
                    </a:lnTo>
                    <a:lnTo>
                      <a:pt x="154" y="334"/>
                    </a:lnTo>
                    <a:lnTo>
                      <a:pt x="152" y="338"/>
                    </a:lnTo>
                    <a:lnTo>
                      <a:pt x="150" y="348"/>
                    </a:lnTo>
                    <a:lnTo>
                      <a:pt x="152" y="360"/>
                    </a:lnTo>
                    <a:lnTo>
                      <a:pt x="154" y="374"/>
                    </a:lnTo>
                    <a:lnTo>
                      <a:pt x="154" y="386"/>
                    </a:lnTo>
                    <a:lnTo>
                      <a:pt x="152" y="406"/>
                    </a:lnTo>
                    <a:lnTo>
                      <a:pt x="152" y="418"/>
                    </a:lnTo>
                    <a:lnTo>
                      <a:pt x="152" y="422"/>
                    </a:lnTo>
                    <a:lnTo>
                      <a:pt x="156" y="424"/>
                    </a:lnTo>
                    <a:lnTo>
                      <a:pt x="158" y="428"/>
                    </a:lnTo>
                    <a:lnTo>
                      <a:pt x="158" y="434"/>
                    </a:lnTo>
                    <a:lnTo>
                      <a:pt x="158" y="444"/>
                    </a:lnTo>
                    <a:lnTo>
                      <a:pt x="154" y="454"/>
                    </a:lnTo>
                    <a:lnTo>
                      <a:pt x="150" y="464"/>
                    </a:lnTo>
                    <a:lnTo>
                      <a:pt x="144" y="472"/>
                    </a:lnTo>
                    <a:lnTo>
                      <a:pt x="138" y="478"/>
                    </a:lnTo>
                    <a:lnTo>
                      <a:pt x="132" y="480"/>
                    </a:lnTo>
                    <a:lnTo>
                      <a:pt x="118" y="482"/>
                    </a:lnTo>
                    <a:lnTo>
                      <a:pt x="110" y="486"/>
                    </a:lnTo>
                    <a:lnTo>
                      <a:pt x="106" y="490"/>
                    </a:lnTo>
                    <a:lnTo>
                      <a:pt x="104" y="494"/>
                    </a:lnTo>
                    <a:lnTo>
                      <a:pt x="104" y="498"/>
                    </a:lnTo>
                    <a:lnTo>
                      <a:pt x="104" y="504"/>
                    </a:lnTo>
                    <a:lnTo>
                      <a:pt x="104" y="510"/>
                    </a:lnTo>
                    <a:lnTo>
                      <a:pt x="102" y="512"/>
                    </a:lnTo>
                    <a:lnTo>
                      <a:pt x="96" y="516"/>
                    </a:lnTo>
                    <a:lnTo>
                      <a:pt x="92" y="518"/>
                    </a:lnTo>
                    <a:lnTo>
                      <a:pt x="92" y="520"/>
                    </a:lnTo>
                    <a:lnTo>
                      <a:pt x="94" y="526"/>
                    </a:lnTo>
                    <a:lnTo>
                      <a:pt x="98" y="536"/>
                    </a:lnTo>
                    <a:lnTo>
                      <a:pt x="98" y="540"/>
                    </a:lnTo>
                    <a:lnTo>
                      <a:pt x="98" y="542"/>
                    </a:lnTo>
                    <a:lnTo>
                      <a:pt x="92" y="548"/>
                    </a:lnTo>
                    <a:lnTo>
                      <a:pt x="84" y="552"/>
                    </a:lnTo>
                    <a:lnTo>
                      <a:pt x="74" y="554"/>
                    </a:lnTo>
                    <a:lnTo>
                      <a:pt x="64" y="558"/>
                    </a:lnTo>
                    <a:lnTo>
                      <a:pt x="56" y="562"/>
                    </a:lnTo>
                    <a:lnTo>
                      <a:pt x="50" y="570"/>
                    </a:lnTo>
                    <a:lnTo>
                      <a:pt x="50" y="574"/>
                    </a:lnTo>
                    <a:lnTo>
                      <a:pt x="50" y="578"/>
                    </a:lnTo>
                    <a:lnTo>
                      <a:pt x="50" y="592"/>
                    </a:lnTo>
                    <a:lnTo>
                      <a:pt x="48" y="600"/>
                    </a:lnTo>
                    <a:lnTo>
                      <a:pt x="46" y="606"/>
                    </a:lnTo>
                    <a:lnTo>
                      <a:pt x="42" y="610"/>
                    </a:lnTo>
                    <a:lnTo>
                      <a:pt x="36" y="618"/>
                    </a:lnTo>
                    <a:lnTo>
                      <a:pt x="34" y="624"/>
                    </a:lnTo>
                    <a:lnTo>
                      <a:pt x="34" y="632"/>
                    </a:lnTo>
                    <a:lnTo>
                      <a:pt x="34" y="642"/>
                    </a:lnTo>
                    <a:lnTo>
                      <a:pt x="30" y="646"/>
                    </a:lnTo>
                    <a:lnTo>
                      <a:pt x="28" y="648"/>
                    </a:lnTo>
                    <a:lnTo>
                      <a:pt x="22" y="650"/>
                    </a:lnTo>
                    <a:lnTo>
                      <a:pt x="18" y="652"/>
                    </a:lnTo>
                    <a:lnTo>
                      <a:pt x="16" y="654"/>
                    </a:lnTo>
                    <a:lnTo>
                      <a:pt x="14" y="660"/>
                    </a:lnTo>
                    <a:lnTo>
                      <a:pt x="16" y="670"/>
                    </a:lnTo>
                    <a:lnTo>
                      <a:pt x="18" y="688"/>
                    </a:lnTo>
                    <a:lnTo>
                      <a:pt x="20" y="698"/>
                    </a:lnTo>
                    <a:lnTo>
                      <a:pt x="18" y="706"/>
                    </a:lnTo>
                    <a:lnTo>
                      <a:pt x="18" y="710"/>
                    </a:lnTo>
                    <a:lnTo>
                      <a:pt x="16" y="714"/>
                    </a:lnTo>
                    <a:lnTo>
                      <a:pt x="18" y="716"/>
                    </a:lnTo>
                    <a:lnTo>
                      <a:pt x="28" y="728"/>
                    </a:lnTo>
                    <a:lnTo>
                      <a:pt x="34" y="734"/>
                    </a:lnTo>
                    <a:lnTo>
                      <a:pt x="42" y="736"/>
                    </a:lnTo>
                    <a:lnTo>
                      <a:pt x="46" y="736"/>
                    </a:lnTo>
                    <a:lnTo>
                      <a:pt x="50" y="732"/>
                    </a:lnTo>
                    <a:lnTo>
                      <a:pt x="54" y="726"/>
                    </a:lnTo>
                    <a:lnTo>
                      <a:pt x="56" y="726"/>
                    </a:lnTo>
                    <a:lnTo>
                      <a:pt x="56" y="730"/>
                    </a:lnTo>
                    <a:lnTo>
                      <a:pt x="56" y="744"/>
                    </a:lnTo>
                    <a:lnTo>
                      <a:pt x="54" y="756"/>
                    </a:lnTo>
                    <a:lnTo>
                      <a:pt x="52" y="760"/>
                    </a:lnTo>
                    <a:lnTo>
                      <a:pt x="48" y="766"/>
                    </a:lnTo>
                    <a:lnTo>
                      <a:pt x="44" y="768"/>
                    </a:lnTo>
                    <a:lnTo>
                      <a:pt x="38" y="770"/>
                    </a:lnTo>
                    <a:lnTo>
                      <a:pt x="22" y="786"/>
                    </a:lnTo>
                    <a:lnTo>
                      <a:pt x="12" y="800"/>
                    </a:lnTo>
                    <a:lnTo>
                      <a:pt x="6" y="812"/>
                    </a:lnTo>
                    <a:lnTo>
                      <a:pt x="2" y="824"/>
                    </a:lnTo>
                    <a:lnTo>
                      <a:pt x="0" y="836"/>
                    </a:lnTo>
                    <a:lnTo>
                      <a:pt x="0" y="844"/>
                    </a:lnTo>
                    <a:lnTo>
                      <a:pt x="2" y="860"/>
                    </a:lnTo>
                    <a:lnTo>
                      <a:pt x="4" y="866"/>
                    </a:lnTo>
                    <a:lnTo>
                      <a:pt x="8" y="870"/>
                    </a:lnTo>
                    <a:lnTo>
                      <a:pt x="16" y="876"/>
                    </a:lnTo>
                    <a:lnTo>
                      <a:pt x="18" y="878"/>
                    </a:lnTo>
                    <a:lnTo>
                      <a:pt x="18" y="882"/>
                    </a:lnTo>
                    <a:lnTo>
                      <a:pt x="18" y="884"/>
                    </a:lnTo>
                    <a:lnTo>
                      <a:pt x="12" y="888"/>
                    </a:lnTo>
                    <a:lnTo>
                      <a:pt x="8" y="892"/>
                    </a:lnTo>
                    <a:lnTo>
                      <a:pt x="6" y="896"/>
                    </a:lnTo>
                    <a:lnTo>
                      <a:pt x="6" y="900"/>
                    </a:lnTo>
                    <a:lnTo>
                      <a:pt x="6" y="902"/>
                    </a:lnTo>
                    <a:lnTo>
                      <a:pt x="12" y="908"/>
                    </a:lnTo>
                    <a:lnTo>
                      <a:pt x="22" y="914"/>
                    </a:lnTo>
                    <a:lnTo>
                      <a:pt x="44" y="926"/>
                    </a:lnTo>
                    <a:lnTo>
                      <a:pt x="54" y="934"/>
                    </a:lnTo>
                    <a:lnTo>
                      <a:pt x="56" y="938"/>
                    </a:lnTo>
                    <a:lnTo>
                      <a:pt x="58" y="944"/>
                    </a:lnTo>
                    <a:lnTo>
                      <a:pt x="62" y="960"/>
                    </a:lnTo>
                    <a:lnTo>
                      <a:pt x="68" y="972"/>
                    </a:lnTo>
                    <a:lnTo>
                      <a:pt x="74" y="980"/>
                    </a:lnTo>
                    <a:lnTo>
                      <a:pt x="80" y="988"/>
                    </a:lnTo>
                    <a:lnTo>
                      <a:pt x="92" y="1004"/>
                    </a:lnTo>
                    <a:lnTo>
                      <a:pt x="96" y="1014"/>
                    </a:lnTo>
                    <a:lnTo>
                      <a:pt x="100" y="1026"/>
                    </a:lnTo>
                    <a:lnTo>
                      <a:pt x="104" y="1040"/>
                    </a:lnTo>
                    <a:lnTo>
                      <a:pt x="108" y="1056"/>
                    </a:lnTo>
                    <a:lnTo>
                      <a:pt x="122" y="1086"/>
                    </a:lnTo>
                    <a:lnTo>
                      <a:pt x="136" y="1114"/>
                    </a:lnTo>
                    <a:lnTo>
                      <a:pt x="142" y="1128"/>
                    </a:lnTo>
                    <a:lnTo>
                      <a:pt x="146" y="1142"/>
                    </a:lnTo>
                    <a:lnTo>
                      <a:pt x="148" y="1152"/>
                    </a:lnTo>
                    <a:lnTo>
                      <a:pt x="152" y="1160"/>
                    </a:lnTo>
                    <a:lnTo>
                      <a:pt x="158" y="1172"/>
                    </a:lnTo>
                    <a:lnTo>
                      <a:pt x="162" y="1180"/>
                    </a:lnTo>
                    <a:lnTo>
                      <a:pt x="164" y="1186"/>
                    </a:lnTo>
                    <a:lnTo>
                      <a:pt x="164" y="1194"/>
                    </a:lnTo>
                    <a:lnTo>
                      <a:pt x="166" y="1202"/>
                    </a:lnTo>
                    <a:lnTo>
                      <a:pt x="172" y="1210"/>
                    </a:lnTo>
                    <a:lnTo>
                      <a:pt x="184" y="1228"/>
                    </a:lnTo>
                    <a:lnTo>
                      <a:pt x="192" y="1238"/>
                    </a:lnTo>
                    <a:lnTo>
                      <a:pt x="198" y="1248"/>
                    </a:lnTo>
                    <a:lnTo>
                      <a:pt x="200" y="1260"/>
                    </a:lnTo>
                    <a:lnTo>
                      <a:pt x="200" y="1274"/>
                    </a:lnTo>
                    <a:lnTo>
                      <a:pt x="200" y="1286"/>
                    </a:lnTo>
                    <a:lnTo>
                      <a:pt x="204" y="1298"/>
                    </a:lnTo>
                    <a:lnTo>
                      <a:pt x="208" y="1308"/>
                    </a:lnTo>
                    <a:lnTo>
                      <a:pt x="214" y="1316"/>
                    </a:lnTo>
                    <a:lnTo>
                      <a:pt x="228" y="1330"/>
                    </a:lnTo>
                    <a:lnTo>
                      <a:pt x="234" y="1338"/>
                    </a:lnTo>
                    <a:lnTo>
                      <a:pt x="238" y="1344"/>
                    </a:lnTo>
                    <a:lnTo>
                      <a:pt x="246" y="1356"/>
                    </a:lnTo>
                    <a:lnTo>
                      <a:pt x="256" y="1368"/>
                    </a:lnTo>
                    <a:lnTo>
                      <a:pt x="278" y="1384"/>
                    </a:lnTo>
                    <a:lnTo>
                      <a:pt x="318" y="1406"/>
                    </a:lnTo>
                    <a:lnTo>
                      <a:pt x="358" y="1428"/>
                    </a:lnTo>
                    <a:lnTo>
                      <a:pt x="380" y="1442"/>
                    </a:lnTo>
                    <a:lnTo>
                      <a:pt x="388" y="1448"/>
                    </a:lnTo>
                    <a:lnTo>
                      <a:pt x="392" y="1454"/>
                    </a:lnTo>
                    <a:lnTo>
                      <a:pt x="396" y="1460"/>
                    </a:lnTo>
                    <a:lnTo>
                      <a:pt x="398" y="1468"/>
                    </a:lnTo>
                    <a:lnTo>
                      <a:pt x="400" y="1474"/>
                    </a:lnTo>
                    <a:lnTo>
                      <a:pt x="404" y="1480"/>
                    </a:lnTo>
                    <a:lnTo>
                      <a:pt x="408" y="1486"/>
                    </a:lnTo>
                    <a:lnTo>
                      <a:pt x="414" y="1490"/>
                    </a:lnTo>
                    <a:lnTo>
                      <a:pt x="426" y="1496"/>
                    </a:lnTo>
                    <a:lnTo>
                      <a:pt x="434" y="1500"/>
                    </a:lnTo>
                    <a:lnTo>
                      <a:pt x="440" y="1506"/>
                    </a:lnTo>
                    <a:lnTo>
                      <a:pt x="438" y="1532"/>
                    </a:lnTo>
                    <a:lnTo>
                      <a:pt x="440" y="1542"/>
                    </a:lnTo>
                    <a:lnTo>
                      <a:pt x="442" y="1546"/>
                    </a:lnTo>
                    <a:lnTo>
                      <a:pt x="442" y="1552"/>
                    </a:lnTo>
                    <a:lnTo>
                      <a:pt x="444" y="1564"/>
                    </a:lnTo>
                    <a:lnTo>
                      <a:pt x="446" y="1574"/>
                    </a:lnTo>
                    <a:lnTo>
                      <a:pt x="448" y="1586"/>
                    </a:lnTo>
                    <a:lnTo>
                      <a:pt x="448" y="1594"/>
                    </a:lnTo>
                    <a:lnTo>
                      <a:pt x="448" y="1604"/>
                    </a:lnTo>
                    <a:lnTo>
                      <a:pt x="446" y="1614"/>
                    </a:lnTo>
                    <a:lnTo>
                      <a:pt x="446" y="1624"/>
                    </a:lnTo>
                    <a:lnTo>
                      <a:pt x="450" y="1640"/>
                    </a:lnTo>
                    <a:lnTo>
                      <a:pt x="452" y="1658"/>
                    </a:lnTo>
                    <a:lnTo>
                      <a:pt x="452" y="1670"/>
                    </a:lnTo>
                    <a:lnTo>
                      <a:pt x="448" y="1686"/>
                    </a:lnTo>
                    <a:lnTo>
                      <a:pt x="444" y="1716"/>
                    </a:lnTo>
                    <a:lnTo>
                      <a:pt x="442" y="1732"/>
                    </a:lnTo>
                    <a:lnTo>
                      <a:pt x="440" y="1742"/>
                    </a:lnTo>
                    <a:lnTo>
                      <a:pt x="440" y="1744"/>
                    </a:lnTo>
                    <a:lnTo>
                      <a:pt x="438" y="1744"/>
                    </a:lnTo>
                    <a:lnTo>
                      <a:pt x="436" y="1744"/>
                    </a:lnTo>
                    <a:lnTo>
                      <a:pt x="434" y="1746"/>
                    </a:lnTo>
                    <a:lnTo>
                      <a:pt x="430" y="1752"/>
                    </a:lnTo>
                    <a:lnTo>
                      <a:pt x="430" y="1760"/>
                    </a:lnTo>
                    <a:lnTo>
                      <a:pt x="430" y="1762"/>
                    </a:lnTo>
                    <a:lnTo>
                      <a:pt x="434" y="1764"/>
                    </a:lnTo>
                    <a:lnTo>
                      <a:pt x="436" y="1768"/>
                    </a:lnTo>
                    <a:lnTo>
                      <a:pt x="436" y="1772"/>
                    </a:lnTo>
                    <a:lnTo>
                      <a:pt x="434" y="1788"/>
                    </a:lnTo>
                    <a:lnTo>
                      <a:pt x="430" y="1808"/>
                    </a:lnTo>
                    <a:lnTo>
                      <a:pt x="432" y="1820"/>
                    </a:lnTo>
                    <a:lnTo>
                      <a:pt x="434" y="1834"/>
                    </a:lnTo>
                    <a:lnTo>
                      <a:pt x="436" y="1846"/>
                    </a:lnTo>
                    <a:lnTo>
                      <a:pt x="436" y="1856"/>
                    </a:lnTo>
                    <a:lnTo>
                      <a:pt x="434" y="1864"/>
                    </a:lnTo>
                    <a:lnTo>
                      <a:pt x="432" y="1870"/>
                    </a:lnTo>
                    <a:lnTo>
                      <a:pt x="428" y="1882"/>
                    </a:lnTo>
                    <a:lnTo>
                      <a:pt x="428" y="1888"/>
                    </a:lnTo>
                    <a:lnTo>
                      <a:pt x="430" y="1894"/>
                    </a:lnTo>
                    <a:lnTo>
                      <a:pt x="432" y="1900"/>
                    </a:lnTo>
                    <a:lnTo>
                      <a:pt x="430" y="1908"/>
                    </a:lnTo>
                    <a:lnTo>
                      <a:pt x="424" y="1928"/>
                    </a:lnTo>
                    <a:lnTo>
                      <a:pt x="418" y="1946"/>
                    </a:lnTo>
                    <a:lnTo>
                      <a:pt x="416" y="1956"/>
                    </a:lnTo>
                    <a:lnTo>
                      <a:pt x="416" y="1964"/>
                    </a:lnTo>
                    <a:lnTo>
                      <a:pt x="416" y="1974"/>
                    </a:lnTo>
                    <a:lnTo>
                      <a:pt x="414" y="1978"/>
                    </a:lnTo>
                    <a:lnTo>
                      <a:pt x="410" y="1986"/>
                    </a:lnTo>
                    <a:lnTo>
                      <a:pt x="408" y="2004"/>
                    </a:lnTo>
                    <a:lnTo>
                      <a:pt x="408" y="2016"/>
                    </a:lnTo>
                    <a:lnTo>
                      <a:pt x="404" y="2024"/>
                    </a:lnTo>
                    <a:lnTo>
                      <a:pt x="400" y="2030"/>
                    </a:lnTo>
                    <a:lnTo>
                      <a:pt x="398" y="2036"/>
                    </a:lnTo>
                    <a:lnTo>
                      <a:pt x="394" y="2040"/>
                    </a:lnTo>
                    <a:lnTo>
                      <a:pt x="392" y="2044"/>
                    </a:lnTo>
                    <a:lnTo>
                      <a:pt x="392" y="2048"/>
                    </a:lnTo>
                    <a:lnTo>
                      <a:pt x="394" y="2056"/>
                    </a:lnTo>
                    <a:lnTo>
                      <a:pt x="400" y="2072"/>
                    </a:lnTo>
                    <a:lnTo>
                      <a:pt x="402" y="2086"/>
                    </a:lnTo>
                    <a:lnTo>
                      <a:pt x="402" y="2098"/>
                    </a:lnTo>
                    <a:lnTo>
                      <a:pt x="400" y="2104"/>
                    </a:lnTo>
                    <a:lnTo>
                      <a:pt x="398" y="2108"/>
                    </a:lnTo>
                    <a:lnTo>
                      <a:pt x="390" y="2116"/>
                    </a:lnTo>
                    <a:lnTo>
                      <a:pt x="386" y="2124"/>
                    </a:lnTo>
                    <a:lnTo>
                      <a:pt x="384" y="2130"/>
                    </a:lnTo>
                    <a:lnTo>
                      <a:pt x="384" y="2138"/>
                    </a:lnTo>
                    <a:lnTo>
                      <a:pt x="388" y="2162"/>
                    </a:lnTo>
                    <a:lnTo>
                      <a:pt x="392" y="2186"/>
                    </a:lnTo>
                    <a:lnTo>
                      <a:pt x="392" y="2200"/>
                    </a:lnTo>
                    <a:lnTo>
                      <a:pt x="392" y="2212"/>
                    </a:lnTo>
                    <a:lnTo>
                      <a:pt x="396" y="2224"/>
                    </a:lnTo>
                    <a:lnTo>
                      <a:pt x="398" y="2230"/>
                    </a:lnTo>
                    <a:lnTo>
                      <a:pt x="398" y="2236"/>
                    </a:lnTo>
                    <a:lnTo>
                      <a:pt x="392" y="2248"/>
                    </a:lnTo>
                    <a:lnTo>
                      <a:pt x="386" y="2262"/>
                    </a:lnTo>
                    <a:lnTo>
                      <a:pt x="386" y="2270"/>
                    </a:lnTo>
                    <a:lnTo>
                      <a:pt x="386" y="2280"/>
                    </a:lnTo>
                    <a:lnTo>
                      <a:pt x="388" y="2288"/>
                    </a:lnTo>
                    <a:lnTo>
                      <a:pt x="388" y="2292"/>
                    </a:lnTo>
                    <a:lnTo>
                      <a:pt x="386" y="2294"/>
                    </a:lnTo>
                    <a:lnTo>
                      <a:pt x="384" y="2298"/>
                    </a:lnTo>
                    <a:lnTo>
                      <a:pt x="380" y="2300"/>
                    </a:lnTo>
                    <a:lnTo>
                      <a:pt x="378" y="2306"/>
                    </a:lnTo>
                    <a:lnTo>
                      <a:pt x="376" y="2314"/>
                    </a:lnTo>
                    <a:lnTo>
                      <a:pt x="374" y="2328"/>
                    </a:lnTo>
                    <a:lnTo>
                      <a:pt x="372" y="2342"/>
                    </a:lnTo>
                    <a:lnTo>
                      <a:pt x="370" y="2354"/>
                    </a:lnTo>
                    <a:lnTo>
                      <a:pt x="362" y="2376"/>
                    </a:lnTo>
                    <a:lnTo>
                      <a:pt x="354" y="2390"/>
                    </a:lnTo>
                    <a:lnTo>
                      <a:pt x="350" y="2402"/>
                    </a:lnTo>
                    <a:lnTo>
                      <a:pt x="348" y="2412"/>
                    </a:lnTo>
                    <a:lnTo>
                      <a:pt x="344" y="2414"/>
                    </a:lnTo>
                    <a:lnTo>
                      <a:pt x="342" y="2420"/>
                    </a:lnTo>
                    <a:lnTo>
                      <a:pt x="338" y="2434"/>
                    </a:lnTo>
                    <a:lnTo>
                      <a:pt x="336" y="2446"/>
                    </a:lnTo>
                    <a:lnTo>
                      <a:pt x="334" y="2452"/>
                    </a:lnTo>
                    <a:lnTo>
                      <a:pt x="334" y="2454"/>
                    </a:lnTo>
                    <a:lnTo>
                      <a:pt x="332" y="2454"/>
                    </a:lnTo>
                    <a:lnTo>
                      <a:pt x="330" y="2452"/>
                    </a:lnTo>
                    <a:lnTo>
                      <a:pt x="328" y="2462"/>
                    </a:lnTo>
                    <a:lnTo>
                      <a:pt x="326" y="2474"/>
                    </a:lnTo>
                    <a:lnTo>
                      <a:pt x="324" y="2480"/>
                    </a:lnTo>
                    <a:lnTo>
                      <a:pt x="320" y="2482"/>
                    </a:lnTo>
                    <a:lnTo>
                      <a:pt x="318" y="2482"/>
                    </a:lnTo>
                    <a:lnTo>
                      <a:pt x="310" y="2480"/>
                    </a:lnTo>
                    <a:lnTo>
                      <a:pt x="308" y="2482"/>
                    </a:lnTo>
                    <a:lnTo>
                      <a:pt x="306" y="2486"/>
                    </a:lnTo>
                    <a:lnTo>
                      <a:pt x="306" y="2498"/>
                    </a:lnTo>
                    <a:lnTo>
                      <a:pt x="306" y="2506"/>
                    </a:lnTo>
                    <a:lnTo>
                      <a:pt x="310" y="2514"/>
                    </a:lnTo>
                    <a:lnTo>
                      <a:pt x="314" y="2522"/>
                    </a:lnTo>
                    <a:lnTo>
                      <a:pt x="314" y="2530"/>
                    </a:lnTo>
                    <a:lnTo>
                      <a:pt x="314" y="2540"/>
                    </a:lnTo>
                    <a:lnTo>
                      <a:pt x="312" y="2552"/>
                    </a:lnTo>
                    <a:lnTo>
                      <a:pt x="314" y="2560"/>
                    </a:lnTo>
                    <a:lnTo>
                      <a:pt x="318" y="2572"/>
                    </a:lnTo>
                    <a:lnTo>
                      <a:pt x="320" y="2576"/>
                    </a:lnTo>
                    <a:lnTo>
                      <a:pt x="322" y="2584"/>
                    </a:lnTo>
                    <a:lnTo>
                      <a:pt x="324" y="2594"/>
                    </a:lnTo>
                    <a:lnTo>
                      <a:pt x="322" y="2606"/>
                    </a:lnTo>
                    <a:lnTo>
                      <a:pt x="320" y="2618"/>
                    </a:lnTo>
                    <a:lnTo>
                      <a:pt x="316" y="2624"/>
                    </a:lnTo>
                    <a:lnTo>
                      <a:pt x="314" y="2626"/>
                    </a:lnTo>
                    <a:lnTo>
                      <a:pt x="310" y="2626"/>
                    </a:lnTo>
                    <a:lnTo>
                      <a:pt x="308" y="2626"/>
                    </a:lnTo>
                    <a:lnTo>
                      <a:pt x="306" y="2628"/>
                    </a:lnTo>
                    <a:lnTo>
                      <a:pt x="304" y="2632"/>
                    </a:lnTo>
                    <a:lnTo>
                      <a:pt x="304" y="2642"/>
                    </a:lnTo>
                    <a:lnTo>
                      <a:pt x="302" y="2658"/>
                    </a:lnTo>
                    <a:lnTo>
                      <a:pt x="298" y="2670"/>
                    </a:lnTo>
                    <a:lnTo>
                      <a:pt x="294" y="2686"/>
                    </a:lnTo>
                    <a:lnTo>
                      <a:pt x="292" y="2692"/>
                    </a:lnTo>
                    <a:lnTo>
                      <a:pt x="292" y="2696"/>
                    </a:lnTo>
                    <a:lnTo>
                      <a:pt x="294" y="2704"/>
                    </a:lnTo>
                    <a:lnTo>
                      <a:pt x="298" y="2712"/>
                    </a:lnTo>
                    <a:lnTo>
                      <a:pt x="302" y="2722"/>
                    </a:lnTo>
                    <a:lnTo>
                      <a:pt x="308" y="2728"/>
                    </a:lnTo>
                    <a:lnTo>
                      <a:pt x="312" y="2732"/>
                    </a:lnTo>
                    <a:lnTo>
                      <a:pt x="316" y="2734"/>
                    </a:lnTo>
                    <a:lnTo>
                      <a:pt x="320" y="2734"/>
                    </a:lnTo>
                    <a:lnTo>
                      <a:pt x="324" y="2732"/>
                    </a:lnTo>
                    <a:lnTo>
                      <a:pt x="328" y="2728"/>
                    </a:lnTo>
                    <a:lnTo>
                      <a:pt x="330" y="2724"/>
                    </a:lnTo>
                    <a:lnTo>
                      <a:pt x="334" y="2716"/>
                    </a:lnTo>
                    <a:lnTo>
                      <a:pt x="336" y="2716"/>
                    </a:lnTo>
                    <a:lnTo>
                      <a:pt x="338" y="2718"/>
                    </a:lnTo>
                    <a:lnTo>
                      <a:pt x="342" y="2722"/>
                    </a:lnTo>
                    <a:lnTo>
                      <a:pt x="346" y="2726"/>
                    </a:lnTo>
                    <a:lnTo>
                      <a:pt x="348" y="2728"/>
                    </a:lnTo>
                    <a:lnTo>
                      <a:pt x="350" y="2730"/>
                    </a:lnTo>
                    <a:lnTo>
                      <a:pt x="350" y="2732"/>
                    </a:lnTo>
                    <a:lnTo>
                      <a:pt x="344" y="2738"/>
                    </a:lnTo>
                    <a:lnTo>
                      <a:pt x="340" y="2744"/>
                    </a:lnTo>
                    <a:lnTo>
                      <a:pt x="340" y="2746"/>
                    </a:lnTo>
                    <a:lnTo>
                      <a:pt x="344" y="2746"/>
                    </a:lnTo>
                    <a:lnTo>
                      <a:pt x="350" y="2748"/>
                    </a:lnTo>
                    <a:lnTo>
                      <a:pt x="354" y="2752"/>
                    </a:lnTo>
                    <a:lnTo>
                      <a:pt x="356" y="2754"/>
                    </a:lnTo>
                    <a:lnTo>
                      <a:pt x="356" y="2760"/>
                    </a:lnTo>
                    <a:lnTo>
                      <a:pt x="356" y="2766"/>
                    </a:lnTo>
                    <a:lnTo>
                      <a:pt x="354" y="2766"/>
                    </a:lnTo>
                    <a:lnTo>
                      <a:pt x="352" y="2764"/>
                    </a:lnTo>
                    <a:lnTo>
                      <a:pt x="348" y="2758"/>
                    </a:lnTo>
                    <a:lnTo>
                      <a:pt x="344" y="2758"/>
                    </a:lnTo>
                    <a:lnTo>
                      <a:pt x="342" y="2760"/>
                    </a:lnTo>
                    <a:lnTo>
                      <a:pt x="342" y="2766"/>
                    </a:lnTo>
                    <a:lnTo>
                      <a:pt x="342" y="2774"/>
                    </a:lnTo>
                    <a:lnTo>
                      <a:pt x="342" y="2778"/>
                    </a:lnTo>
                    <a:lnTo>
                      <a:pt x="340" y="2782"/>
                    </a:lnTo>
                    <a:lnTo>
                      <a:pt x="342" y="2792"/>
                    </a:lnTo>
                    <a:lnTo>
                      <a:pt x="342" y="2798"/>
                    </a:lnTo>
                    <a:lnTo>
                      <a:pt x="342" y="2804"/>
                    </a:lnTo>
                    <a:lnTo>
                      <a:pt x="336" y="2812"/>
                    </a:lnTo>
                    <a:lnTo>
                      <a:pt x="330" y="2820"/>
                    </a:lnTo>
                    <a:lnTo>
                      <a:pt x="330" y="2824"/>
                    </a:lnTo>
                    <a:lnTo>
                      <a:pt x="330" y="2830"/>
                    </a:lnTo>
                    <a:lnTo>
                      <a:pt x="334" y="2840"/>
                    </a:lnTo>
                    <a:lnTo>
                      <a:pt x="332" y="2852"/>
                    </a:lnTo>
                    <a:lnTo>
                      <a:pt x="330" y="2860"/>
                    </a:lnTo>
                    <a:lnTo>
                      <a:pt x="326" y="2864"/>
                    </a:lnTo>
                    <a:lnTo>
                      <a:pt x="324" y="2866"/>
                    </a:lnTo>
                    <a:lnTo>
                      <a:pt x="324" y="2870"/>
                    </a:lnTo>
                    <a:lnTo>
                      <a:pt x="330" y="2872"/>
                    </a:lnTo>
                    <a:lnTo>
                      <a:pt x="336" y="2874"/>
                    </a:lnTo>
                    <a:lnTo>
                      <a:pt x="344" y="2878"/>
                    </a:lnTo>
                    <a:lnTo>
                      <a:pt x="346" y="2882"/>
                    </a:lnTo>
                    <a:lnTo>
                      <a:pt x="348" y="2890"/>
                    </a:lnTo>
                    <a:lnTo>
                      <a:pt x="346" y="2896"/>
                    </a:lnTo>
                    <a:lnTo>
                      <a:pt x="342" y="2904"/>
                    </a:lnTo>
                    <a:lnTo>
                      <a:pt x="338" y="2908"/>
                    </a:lnTo>
                    <a:lnTo>
                      <a:pt x="332" y="2912"/>
                    </a:lnTo>
                    <a:lnTo>
                      <a:pt x="326" y="2916"/>
                    </a:lnTo>
                    <a:lnTo>
                      <a:pt x="320" y="2918"/>
                    </a:lnTo>
                    <a:lnTo>
                      <a:pt x="318" y="2922"/>
                    </a:lnTo>
                    <a:lnTo>
                      <a:pt x="320" y="2926"/>
                    </a:lnTo>
                    <a:lnTo>
                      <a:pt x="322" y="2930"/>
                    </a:lnTo>
                    <a:lnTo>
                      <a:pt x="322" y="2932"/>
                    </a:lnTo>
                    <a:lnTo>
                      <a:pt x="320" y="2936"/>
                    </a:lnTo>
                    <a:lnTo>
                      <a:pt x="316" y="2940"/>
                    </a:lnTo>
                    <a:lnTo>
                      <a:pt x="312" y="2946"/>
                    </a:lnTo>
                    <a:lnTo>
                      <a:pt x="312" y="2954"/>
                    </a:lnTo>
                    <a:lnTo>
                      <a:pt x="312" y="2956"/>
                    </a:lnTo>
                    <a:lnTo>
                      <a:pt x="312" y="2962"/>
                    </a:lnTo>
                    <a:lnTo>
                      <a:pt x="310" y="2974"/>
                    </a:lnTo>
                    <a:lnTo>
                      <a:pt x="308" y="2986"/>
                    </a:lnTo>
                    <a:lnTo>
                      <a:pt x="308" y="2994"/>
                    </a:lnTo>
                    <a:lnTo>
                      <a:pt x="306" y="3000"/>
                    </a:lnTo>
                    <a:lnTo>
                      <a:pt x="300" y="3006"/>
                    </a:lnTo>
                    <a:lnTo>
                      <a:pt x="298" y="3006"/>
                    </a:lnTo>
                    <a:lnTo>
                      <a:pt x="296" y="3006"/>
                    </a:lnTo>
                    <a:lnTo>
                      <a:pt x="298" y="2998"/>
                    </a:lnTo>
                    <a:lnTo>
                      <a:pt x="300" y="2988"/>
                    </a:lnTo>
                    <a:lnTo>
                      <a:pt x="300" y="2984"/>
                    </a:lnTo>
                    <a:lnTo>
                      <a:pt x="296" y="2980"/>
                    </a:lnTo>
                    <a:lnTo>
                      <a:pt x="292" y="2978"/>
                    </a:lnTo>
                    <a:lnTo>
                      <a:pt x="290" y="2974"/>
                    </a:lnTo>
                    <a:lnTo>
                      <a:pt x="290" y="2968"/>
                    </a:lnTo>
                    <a:lnTo>
                      <a:pt x="290" y="2964"/>
                    </a:lnTo>
                    <a:lnTo>
                      <a:pt x="288" y="2962"/>
                    </a:lnTo>
                    <a:lnTo>
                      <a:pt x="282" y="2962"/>
                    </a:lnTo>
                    <a:lnTo>
                      <a:pt x="276" y="2962"/>
                    </a:lnTo>
                    <a:lnTo>
                      <a:pt x="274" y="2964"/>
                    </a:lnTo>
                    <a:lnTo>
                      <a:pt x="274" y="2966"/>
                    </a:lnTo>
                    <a:lnTo>
                      <a:pt x="270" y="2964"/>
                    </a:lnTo>
                    <a:lnTo>
                      <a:pt x="268" y="2964"/>
                    </a:lnTo>
                    <a:lnTo>
                      <a:pt x="266" y="2964"/>
                    </a:lnTo>
                    <a:lnTo>
                      <a:pt x="266" y="2968"/>
                    </a:lnTo>
                    <a:lnTo>
                      <a:pt x="266" y="2972"/>
                    </a:lnTo>
                    <a:lnTo>
                      <a:pt x="264" y="2976"/>
                    </a:lnTo>
                    <a:lnTo>
                      <a:pt x="260" y="2980"/>
                    </a:lnTo>
                    <a:lnTo>
                      <a:pt x="254" y="2986"/>
                    </a:lnTo>
                    <a:lnTo>
                      <a:pt x="238" y="2994"/>
                    </a:lnTo>
                    <a:lnTo>
                      <a:pt x="228" y="3004"/>
                    </a:lnTo>
                    <a:lnTo>
                      <a:pt x="226" y="3008"/>
                    </a:lnTo>
                    <a:lnTo>
                      <a:pt x="224" y="3012"/>
                    </a:lnTo>
                    <a:lnTo>
                      <a:pt x="224" y="3016"/>
                    </a:lnTo>
                    <a:lnTo>
                      <a:pt x="226" y="3020"/>
                    </a:lnTo>
                    <a:lnTo>
                      <a:pt x="232" y="3026"/>
                    </a:lnTo>
                    <a:lnTo>
                      <a:pt x="236" y="3026"/>
                    </a:lnTo>
                    <a:lnTo>
                      <a:pt x="236" y="3024"/>
                    </a:lnTo>
                    <a:lnTo>
                      <a:pt x="238" y="3016"/>
                    </a:lnTo>
                    <a:lnTo>
                      <a:pt x="238" y="3010"/>
                    </a:lnTo>
                    <a:lnTo>
                      <a:pt x="242" y="3006"/>
                    </a:lnTo>
                    <a:lnTo>
                      <a:pt x="244" y="3006"/>
                    </a:lnTo>
                    <a:lnTo>
                      <a:pt x="248" y="3006"/>
                    </a:lnTo>
                    <a:lnTo>
                      <a:pt x="252" y="3012"/>
                    </a:lnTo>
                    <a:lnTo>
                      <a:pt x="256" y="3018"/>
                    </a:lnTo>
                    <a:lnTo>
                      <a:pt x="264" y="3022"/>
                    </a:lnTo>
                    <a:lnTo>
                      <a:pt x="272" y="3024"/>
                    </a:lnTo>
                    <a:lnTo>
                      <a:pt x="274" y="3022"/>
                    </a:lnTo>
                    <a:lnTo>
                      <a:pt x="274" y="3020"/>
                    </a:lnTo>
                    <a:lnTo>
                      <a:pt x="276" y="3016"/>
                    </a:lnTo>
                    <a:lnTo>
                      <a:pt x="278" y="3016"/>
                    </a:lnTo>
                    <a:lnTo>
                      <a:pt x="282" y="3018"/>
                    </a:lnTo>
                    <a:lnTo>
                      <a:pt x="286" y="3024"/>
                    </a:lnTo>
                    <a:lnTo>
                      <a:pt x="290" y="3026"/>
                    </a:lnTo>
                    <a:lnTo>
                      <a:pt x="292" y="3028"/>
                    </a:lnTo>
                    <a:lnTo>
                      <a:pt x="296" y="3030"/>
                    </a:lnTo>
                    <a:lnTo>
                      <a:pt x="296" y="3036"/>
                    </a:lnTo>
                    <a:lnTo>
                      <a:pt x="294" y="3040"/>
                    </a:lnTo>
                    <a:lnTo>
                      <a:pt x="292" y="3040"/>
                    </a:lnTo>
                    <a:lnTo>
                      <a:pt x="286" y="3042"/>
                    </a:lnTo>
                    <a:lnTo>
                      <a:pt x="280" y="3042"/>
                    </a:lnTo>
                    <a:lnTo>
                      <a:pt x="278" y="3044"/>
                    </a:lnTo>
                    <a:lnTo>
                      <a:pt x="276" y="3048"/>
                    </a:lnTo>
                    <a:lnTo>
                      <a:pt x="274" y="3054"/>
                    </a:lnTo>
                    <a:lnTo>
                      <a:pt x="274" y="3056"/>
                    </a:lnTo>
                    <a:lnTo>
                      <a:pt x="280" y="3062"/>
                    </a:lnTo>
                    <a:lnTo>
                      <a:pt x="284" y="3064"/>
                    </a:lnTo>
                    <a:lnTo>
                      <a:pt x="282" y="3064"/>
                    </a:lnTo>
                    <a:lnTo>
                      <a:pt x="272" y="3062"/>
                    </a:lnTo>
                    <a:lnTo>
                      <a:pt x="270" y="3062"/>
                    </a:lnTo>
                    <a:lnTo>
                      <a:pt x="268" y="3066"/>
                    </a:lnTo>
                    <a:lnTo>
                      <a:pt x="266" y="3072"/>
                    </a:lnTo>
                    <a:lnTo>
                      <a:pt x="268" y="3074"/>
                    </a:lnTo>
                    <a:lnTo>
                      <a:pt x="272" y="3074"/>
                    </a:lnTo>
                    <a:lnTo>
                      <a:pt x="282" y="3074"/>
                    </a:lnTo>
                    <a:lnTo>
                      <a:pt x="290" y="3074"/>
                    </a:lnTo>
                    <a:lnTo>
                      <a:pt x="296" y="3076"/>
                    </a:lnTo>
                    <a:lnTo>
                      <a:pt x="300" y="3078"/>
                    </a:lnTo>
                    <a:lnTo>
                      <a:pt x="302" y="3078"/>
                    </a:lnTo>
                    <a:lnTo>
                      <a:pt x="302" y="3074"/>
                    </a:lnTo>
                    <a:lnTo>
                      <a:pt x="304" y="3072"/>
                    </a:lnTo>
                    <a:lnTo>
                      <a:pt x="306" y="3072"/>
                    </a:lnTo>
                    <a:lnTo>
                      <a:pt x="310" y="3076"/>
                    </a:lnTo>
                    <a:lnTo>
                      <a:pt x="312" y="3080"/>
                    </a:lnTo>
                    <a:lnTo>
                      <a:pt x="312" y="3082"/>
                    </a:lnTo>
                    <a:lnTo>
                      <a:pt x="310" y="3084"/>
                    </a:lnTo>
                    <a:lnTo>
                      <a:pt x="308" y="3086"/>
                    </a:lnTo>
                    <a:lnTo>
                      <a:pt x="310" y="3088"/>
                    </a:lnTo>
                    <a:lnTo>
                      <a:pt x="314" y="3096"/>
                    </a:lnTo>
                    <a:lnTo>
                      <a:pt x="318" y="3100"/>
                    </a:lnTo>
                    <a:lnTo>
                      <a:pt x="318" y="3102"/>
                    </a:lnTo>
                    <a:lnTo>
                      <a:pt x="314" y="3100"/>
                    </a:lnTo>
                    <a:lnTo>
                      <a:pt x="300" y="3090"/>
                    </a:lnTo>
                    <a:lnTo>
                      <a:pt x="294" y="3088"/>
                    </a:lnTo>
                    <a:lnTo>
                      <a:pt x="286" y="3088"/>
                    </a:lnTo>
                    <a:lnTo>
                      <a:pt x="272" y="3086"/>
                    </a:lnTo>
                    <a:lnTo>
                      <a:pt x="268" y="3088"/>
                    </a:lnTo>
                    <a:lnTo>
                      <a:pt x="266" y="3088"/>
                    </a:lnTo>
                    <a:lnTo>
                      <a:pt x="268" y="3090"/>
                    </a:lnTo>
                    <a:lnTo>
                      <a:pt x="270" y="3092"/>
                    </a:lnTo>
                    <a:lnTo>
                      <a:pt x="272" y="3092"/>
                    </a:lnTo>
                    <a:lnTo>
                      <a:pt x="274" y="3092"/>
                    </a:lnTo>
                    <a:lnTo>
                      <a:pt x="276" y="3096"/>
                    </a:lnTo>
                    <a:lnTo>
                      <a:pt x="278" y="3100"/>
                    </a:lnTo>
                    <a:lnTo>
                      <a:pt x="282" y="3104"/>
                    </a:lnTo>
                    <a:lnTo>
                      <a:pt x="292" y="3110"/>
                    </a:lnTo>
                    <a:lnTo>
                      <a:pt x="294" y="3112"/>
                    </a:lnTo>
                    <a:lnTo>
                      <a:pt x="294" y="3114"/>
                    </a:lnTo>
                    <a:lnTo>
                      <a:pt x="294" y="3116"/>
                    </a:lnTo>
                    <a:lnTo>
                      <a:pt x="294" y="3120"/>
                    </a:lnTo>
                    <a:lnTo>
                      <a:pt x="292" y="3120"/>
                    </a:lnTo>
                    <a:lnTo>
                      <a:pt x="288" y="3118"/>
                    </a:lnTo>
                    <a:lnTo>
                      <a:pt x="284" y="3116"/>
                    </a:lnTo>
                    <a:lnTo>
                      <a:pt x="280" y="3116"/>
                    </a:lnTo>
                    <a:lnTo>
                      <a:pt x="280" y="3120"/>
                    </a:lnTo>
                    <a:lnTo>
                      <a:pt x="276" y="3132"/>
                    </a:lnTo>
                    <a:lnTo>
                      <a:pt x="276" y="3138"/>
                    </a:lnTo>
                    <a:lnTo>
                      <a:pt x="276" y="3148"/>
                    </a:lnTo>
                    <a:lnTo>
                      <a:pt x="278" y="3168"/>
                    </a:lnTo>
                    <a:lnTo>
                      <a:pt x="280" y="3174"/>
                    </a:lnTo>
                    <a:lnTo>
                      <a:pt x="282" y="3178"/>
                    </a:lnTo>
                    <a:lnTo>
                      <a:pt x="284" y="3178"/>
                    </a:lnTo>
                    <a:lnTo>
                      <a:pt x="284" y="3176"/>
                    </a:lnTo>
                    <a:lnTo>
                      <a:pt x="286" y="3168"/>
                    </a:lnTo>
                    <a:lnTo>
                      <a:pt x="288" y="3160"/>
                    </a:lnTo>
                    <a:lnTo>
                      <a:pt x="290" y="3156"/>
                    </a:lnTo>
                    <a:lnTo>
                      <a:pt x="292" y="3154"/>
                    </a:lnTo>
                    <a:lnTo>
                      <a:pt x="292" y="3158"/>
                    </a:lnTo>
                    <a:lnTo>
                      <a:pt x="292" y="3164"/>
                    </a:lnTo>
                    <a:lnTo>
                      <a:pt x="292" y="3170"/>
                    </a:lnTo>
                    <a:lnTo>
                      <a:pt x="294" y="3176"/>
                    </a:lnTo>
                    <a:lnTo>
                      <a:pt x="298" y="3182"/>
                    </a:lnTo>
                    <a:lnTo>
                      <a:pt x="300" y="3184"/>
                    </a:lnTo>
                    <a:lnTo>
                      <a:pt x="296" y="3182"/>
                    </a:lnTo>
                    <a:lnTo>
                      <a:pt x="290" y="3180"/>
                    </a:lnTo>
                    <a:lnTo>
                      <a:pt x="284" y="3182"/>
                    </a:lnTo>
                    <a:lnTo>
                      <a:pt x="280" y="3184"/>
                    </a:lnTo>
                    <a:lnTo>
                      <a:pt x="280" y="3186"/>
                    </a:lnTo>
                    <a:lnTo>
                      <a:pt x="282" y="3188"/>
                    </a:lnTo>
                    <a:lnTo>
                      <a:pt x="282" y="3190"/>
                    </a:lnTo>
                    <a:lnTo>
                      <a:pt x="280" y="3192"/>
                    </a:lnTo>
                    <a:lnTo>
                      <a:pt x="280" y="3194"/>
                    </a:lnTo>
                    <a:lnTo>
                      <a:pt x="284" y="3198"/>
                    </a:lnTo>
                    <a:lnTo>
                      <a:pt x="296" y="3206"/>
                    </a:lnTo>
                    <a:lnTo>
                      <a:pt x="294" y="3206"/>
                    </a:lnTo>
                    <a:lnTo>
                      <a:pt x="288" y="3206"/>
                    </a:lnTo>
                    <a:lnTo>
                      <a:pt x="280" y="3204"/>
                    </a:lnTo>
                    <a:lnTo>
                      <a:pt x="278" y="3204"/>
                    </a:lnTo>
                    <a:lnTo>
                      <a:pt x="280" y="3206"/>
                    </a:lnTo>
                    <a:lnTo>
                      <a:pt x="288" y="3216"/>
                    </a:lnTo>
                    <a:lnTo>
                      <a:pt x="290" y="3220"/>
                    </a:lnTo>
                    <a:lnTo>
                      <a:pt x="280" y="3214"/>
                    </a:lnTo>
                    <a:lnTo>
                      <a:pt x="274" y="3212"/>
                    </a:lnTo>
                    <a:lnTo>
                      <a:pt x="268" y="3212"/>
                    </a:lnTo>
                    <a:lnTo>
                      <a:pt x="264" y="3214"/>
                    </a:lnTo>
                    <a:lnTo>
                      <a:pt x="264" y="3216"/>
                    </a:lnTo>
                    <a:lnTo>
                      <a:pt x="268" y="3218"/>
                    </a:lnTo>
                    <a:lnTo>
                      <a:pt x="272" y="3220"/>
                    </a:lnTo>
                    <a:lnTo>
                      <a:pt x="274" y="3224"/>
                    </a:lnTo>
                    <a:lnTo>
                      <a:pt x="274" y="3226"/>
                    </a:lnTo>
                    <a:lnTo>
                      <a:pt x="278" y="3228"/>
                    </a:lnTo>
                    <a:lnTo>
                      <a:pt x="282" y="3230"/>
                    </a:lnTo>
                    <a:lnTo>
                      <a:pt x="284" y="3230"/>
                    </a:lnTo>
                    <a:lnTo>
                      <a:pt x="288" y="3230"/>
                    </a:lnTo>
                    <a:lnTo>
                      <a:pt x="292" y="3234"/>
                    </a:lnTo>
                    <a:lnTo>
                      <a:pt x="296" y="3236"/>
                    </a:lnTo>
                    <a:lnTo>
                      <a:pt x="296" y="3238"/>
                    </a:lnTo>
                    <a:lnTo>
                      <a:pt x="288" y="3236"/>
                    </a:lnTo>
                    <a:lnTo>
                      <a:pt x="284" y="3236"/>
                    </a:lnTo>
                    <a:lnTo>
                      <a:pt x="284" y="3238"/>
                    </a:lnTo>
                    <a:lnTo>
                      <a:pt x="288" y="3248"/>
                    </a:lnTo>
                    <a:lnTo>
                      <a:pt x="290" y="3252"/>
                    </a:lnTo>
                    <a:lnTo>
                      <a:pt x="294" y="3252"/>
                    </a:lnTo>
                    <a:lnTo>
                      <a:pt x="298" y="3250"/>
                    </a:lnTo>
                    <a:lnTo>
                      <a:pt x="302" y="3240"/>
                    </a:lnTo>
                    <a:lnTo>
                      <a:pt x="306" y="3234"/>
                    </a:lnTo>
                    <a:lnTo>
                      <a:pt x="308" y="3232"/>
                    </a:lnTo>
                    <a:lnTo>
                      <a:pt x="308" y="3234"/>
                    </a:lnTo>
                    <a:lnTo>
                      <a:pt x="306" y="3242"/>
                    </a:lnTo>
                    <a:lnTo>
                      <a:pt x="300" y="3256"/>
                    </a:lnTo>
                    <a:lnTo>
                      <a:pt x="296" y="3258"/>
                    </a:lnTo>
                    <a:lnTo>
                      <a:pt x="292" y="3258"/>
                    </a:lnTo>
                    <a:lnTo>
                      <a:pt x="288" y="3258"/>
                    </a:lnTo>
                    <a:lnTo>
                      <a:pt x="286" y="3258"/>
                    </a:lnTo>
                    <a:lnTo>
                      <a:pt x="284" y="3260"/>
                    </a:lnTo>
                    <a:lnTo>
                      <a:pt x="284" y="3264"/>
                    </a:lnTo>
                    <a:lnTo>
                      <a:pt x="286" y="3266"/>
                    </a:lnTo>
                    <a:lnTo>
                      <a:pt x="288" y="3268"/>
                    </a:lnTo>
                    <a:lnTo>
                      <a:pt x="288" y="3272"/>
                    </a:lnTo>
                    <a:lnTo>
                      <a:pt x="288" y="3276"/>
                    </a:lnTo>
                    <a:lnTo>
                      <a:pt x="290" y="3276"/>
                    </a:lnTo>
                    <a:lnTo>
                      <a:pt x="292" y="3276"/>
                    </a:lnTo>
                    <a:lnTo>
                      <a:pt x="296" y="3276"/>
                    </a:lnTo>
                    <a:lnTo>
                      <a:pt x="302" y="3278"/>
                    </a:lnTo>
                    <a:lnTo>
                      <a:pt x="306" y="3286"/>
                    </a:lnTo>
                    <a:lnTo>
                      <a:pt x="308" y="3294"/>
                    </a:lnTo>
                    <a:lnTo>
                      <a:pt x="308" y="3298"/>
                    </a:lnTo>
                    <a:lnTo>
                      <a:pt x="306" y="3298"/>
                    </a:lnTo>
                    <a:lnTo>
                      <a:pt x="302" y="3294"/>
                    </a:lnTo>
                    <a:lnTo>
                      <a:pt x="298" y="3288"/>
                    </a:lnTo>
                    <a:lnTo>
                      <a:pt x="296" y="3288"/>
                    </a:lnTo>
                    <a:lnTo>
                      <a:pt x="296" y="3290"/>
                    </a:lnTo>
                    <a:lnTo>
                      <a:pt x="296" y="3294"/>
                    </a:lnTo>
                    <a:lnTo>
                      <a:pt x="298" y="3298"/>
                    </a:lnTo>
                    <a:lnTo>
                      <a:pt x="298" y="3302"/>
                    </a:lnTo>
                    <a:lnTo>
                      <a:pt x="298" y="3304"/>
                    </a:lnTo>
                    <a:lnTo>
                      <a:pt x="300" y="3308"/>
                    </a:lnTo>
                    <a:lnTo>
                      <a:pt x="302" y="3310"/>
                    </a:lnTo>
                    <a:lnTo>
                      <a:pt x="306" y="3308"/>
                    </a:lnTo>
                    <a:lnTo>
                      <a:pt x="308" y="3306"/>
                    </a:lnTo>
                    <a:lnTo>
                      <a:pt x="310" y="3308"/>
                    </a:lnTo>
                    <a:lnTo>
                      <a:pt x="312" y="3310"/>
                    </a:lnTo>
                    <a:lnTo>
                      <a:pt x="314" y="3318"/>
                    </a:lnTo>
                    <a:lnTo>
                      <a:pt x="310" y="3316"/>
                    </a:lnTo>
                    <a:lnTo>
                      <a:pt x="308" y="3316"/>
                    </a:lnTo>
                    <a:lnTo>
                      <a:pt x="308" y="3318"/>
                    </a:lnTo>
                    <a:lnTo>
                      <a:pt x="312" y="3326"/>
                    </a:lnTo>
                    <a:lnTo>
                      <a:pt x="318" y="3332"/>
                    </a:lnTo>
                    <a:lnTo>
                      <a:pt x="322" y="3332"/>
                    </a:lnTo>
                    <a:lnTo>
                      <a:pt x="324" y="3332"/>
                    </a:lnTo>
                    <a:lnTo>
                      <a:pt x="326" y="3322"/>
                    </a:lnTo>
                    <a:lnTo>
                      <a:pt x="330" y="3318"/>
                    </a:lnTo>
                    <a:lnTo>
                      <a:pt x="332" y="3316"/>
                    </a:lnTo>
                    <a:lnTo>
                      <a:pt x="334" y="3314"/>
                    </a:lnTo>
                    <a:lnTo>
                      <a:pt x="334" y="3312"/>
                    </a:lnTo>
                    <a:lnTo>
                      <a:pt x="334" y="3310"/>
                    </a:lnTo>
                    <a:lnTo>
                      <a:pt x="342" y="3312"/>
                    </a:lnTo>
                    <a:lnTo>
                      <a:pt x="348" y="3312"/>
                    </a:lnTo>
                    <a:lnTo>
                      <a:pt x="350" y="3312"/>
                    </a:lnTo>
                    <a:lnTo>
                      <a:pt x="350" y="3310"/>
                    </a:lnTo>
                    <a:lnTo>
                      <a:pt x="344" y="3304"/>
                    </a:lnTo>
                    <a:lnTo>
                      <a:pt x="334" y="3300"/>
                    </a:lnTo>
                    <a:lnTo>
                      <a:pt x="326" y="3294"/>
                    </a:lnTo>
                    <a:lnTo>
                      <a:pt x="324" y="3292"/>
                    </a:lnTo>
                    <a:lnTo>
                      <a:pt x="328" y="3290"/>
                    </a:lnTo>
                    <a:lnTo>
                      <a:pt x="336" y="3294"/>
                    </a:lnTo>
                    <a:lnTo>
                      <a:pt x="350" y="3302"/>
                    </a:lnTo>
                    <a:lnTo>
                      <a:pt x="354" y="3308"/>
                    </a:lnTo>
                    <a:lnTo>
                      <a:pt x="354" y="3314"/>
                    </a:lnTo>
                    <a:lnTo>
                      <a:pt x="352" y="3320"/>
                    </a:lnTo>
                    <a:lnTo>
                      <a:pt x="350" y="3322"/>
                    </a:lnTo>
                    <a:lnTo>
                      <a:pt x="348" y="3324"/>
                    </a:lnTo>
                    <a:lnTo>
                      <a:pt x="350" y="3330"/>
                    </a:lnTo>
                    <a:lnTo>
                      <a:pt x="352" y="3332"/>
                    </a:lnTo>
                    <a:lnTo>
                      <a:pt x="348" y="3328"/>
                    </a:lnTo>
                    <a:lnTo>
                      <a:pt x="342" y="3322"/>
                    </a:lnTo>
                    <a:lnTo>
                      <a:pt x="340" y="3322"/>
                    </a:lnTo>
                    <a:lnTo>
                      <a:pt x="338" y="3326"/>
                    </a:lnTo>
                    <a:lnTo>
                      <a:pt x="334" y="3336"/>
                    </a:lnTo>
                    <a:lnTo>
                      <a:pt x="332" y="3334"/>
                    </a:lnTo>
                    <a:lnTo>
                      <a:pt x="332" y="3330"/>
                    </a:lnTo>
                    <a:lnTo>
                      <a:pt x="330" y="3332"/>
                    </a:lnTo>
                    <a:lnTo>
                      <a:pt x="324" y="3338"/>
                    </a:lnTo>
                    <a:lnTo>
                      <a:pt x="322" y="3340"/>
                    </a:lnTo>
                    <a:lnTo>
                      <a:pt x="320" y="3340"/>
                    </a:lnTo>
                    <a:lnTo>
                      <a:pt x="316" y="3336"/>
                    </a:lnTo>
                    <a:lnTo>
                      <a:pt x="310" y="3330"/>
                    </a:lnTo>
                    <a:lnTo>
                      <a:pt x="306" y="3328"/>
                    </a:lnTo>
                    <a:lnTo>
                      <a:pt x="304" y="3328"/>
                    </a:lnTo>
                    <a:lnTo>
                      <a:pt x="306" y="3332"/>
                    </a:lnTo>
                    <a:lnTo>
                      <a:pt x="310" y="3336"/>
                    </a:lnTo>
                    <a:lnTo>
                      <a:pt x="310" y="3340"/>
                    </a:lnTo>
                    <a:lnTo>
                      <a:pt x="308" y="3344"/>
                    </a:lnTo>
                    <a:lnTo>
                      <a:pt x="306" y="3350"/>
                    </a:lnTo>
                    <a:lnTo>
                      <a:pt x="308" y="3350"/>
                    </a:lnTo>
                    <a:lnTo>
                      <a:pt x="312" y="3352"/>
                    </a:lnTo>
                    <a:lnTo>
                      <a:pt x="310" y="3356"/>
                    </a:lnTo>
                    <a:lnTo>
                      <a:pt x="306" y="3364"/>
                    </a:lnTo>
                    <a:lnTo>
                      <a:pt x="306" y="3368"/>
                    </a:lnTo>
                    <a:lnTo>
                      <a:pt x="306" y="3370"/>
                    </a:lnTo>
                    <a:lnTo>
                      <a:pt x="308" y="3370"/>
                    </a:lnTo>
                    <a:lnTo>
                      <a:pt x="314" y="3366"/>
                    </a:lnTo>
                    <a:lnTo>
                      <a:pt x="316" y="3364"/>
                    </a:lnTo>
                    <a:lnTo>
                      <a:pt x="320" y="3364"/>
                    </a:lnTo>
                    <a:lnTo>
                      <a:pt x="322" y="3366"/>
                    </a:lnTo>
                    <a:lnTo>
                      <a:pt x="324" y="3372"/>
                    </a:lnTo>
                    <a:lnTo>
                      <a:pt x="322" y="3374"/>
                    </a:lnTo>
                    <a:lnTo>
                      <a:pt x="320" y="3374"/>
                    </a:lnTo>
                    <a:lnTo>
                      <a:pt x="316" y="3374"/>
                    </a:lnTo>
                    <a:lnTo>
                      <a:pt x="322" y="3380"/>
                    </a:lnTo>
                    <a:lnTo>
                      <a:pt x="322" y="3382"/>
                    </a:lnTo>
                    <a:lnTo>
                      <a:pt x="318" y="3384"/>
                    </a:lnTo>
                    <a:lnTo>
                      <a:pt x="316" y="3386"/>
                    </a:lnTo>
                    <a:lnTo>
                      <a:pt x="320" y="3388"/>
                    </a:lnTo>
                    <a:lnTo>
                      <a:pt x="328" y="3390"/>
                    </a:lnTo>
                    <a:lnTo>
                      <a:pt x="332" y="3388"/>
                    </a:lnTo>
                    <a:lnTo>
                      <a:pt x="334" y="3384"/>
                    </a:lnTo>
                    <a:lnTo>
                      <a:pt x="334" y="3378"/>
                    </a:lnTo>
                    <a:lnTo>
                      <a:pt x="334" y="3376"/>
                    </a:lnTo>
                    <a:lnTo>
                      <a:pt x="336" y="3374"/>
                    </a:lnTo>
                    <a:lnTo>
                      <a:pt x="340" y="3370"/>
                    </a:lnTo>
                    <a:lnTo>
                      <a:pt x="344" y="3368"/>
                    </a:lnTo>
                    <a:lnTo>
                      <a:pt x="346" y="3366"/>
                    </a:lnTo>
                    <a:lnTo>
                      <a:pt x="346" y="3364"/>
                    </a:lnTo>
                    <a:lnTo>
                      <a:pt x="344" y="3362"/>
                    </a:lnTo>
                    <a:lnTo>
                      <a:pt x="340" y="3360"/>
                    </a:lnTo>
                    <a:lnTo>
                      <a:pt x="340" y="3358"/>
                    </a:lnTo>
                    <a:lnTo>
                      <a:pt x="344" y="3358"/>
                    </a:lnTo>
                    <a:lnTo>
                      <a:pt x="352" y="3358"/>
                    </a:lnTo>
                    <a:lnTo>
                      <a:pt x="354" y="3362"/>
                    </a:lnTo>
                    <a:lnTo>
                      <a:pt x="356" y="3362"/>
                    </a:lnTo>
                    <a:lnTo>
                      <a:pt x="360" y="3360"/>
                    </a:lnTo>
                    <a:lnTo>
                      <a:pt x="364" y="3358"/>
                    </a:lnTo>
                    <a:lnTo>
                      <a:pt x="368" y="3356"/>
                    </a:lnTo>
                    <a:lnTo>
                      <a:pt x="382" y="3356"/>
                    </a:lnTo>
                    <a:lnTo>
                      <a:pt x="392" y="3358"/>
                    </a:lnTo>
                    <a:lnTo>
                      <a:pt x="394" y="3360"/>
                    </a:lnTo>
                    <a:lnTo>
                      <a:pt x="396" y="3362"/>
                    </a:lnTo>
                    <a:lnTo>
                      <a:pt x="392" y="3366"/>
                    </a:lnTo>
                    <a:lnTo>
                      <a:pt x="386" y="3368"/>
                    </a:lnTo>
                    <a:lnTo>
                      <a:pt x="380" y="3366"/>
                    </a:lnTo>
                    <a:lnTo>
                      <a:pt x="372" y="3364"/>
                    </a:lnTo>
                    <a:lnTo>
                      <a:pt x="368" y="3364"/>
                    </a:lnTo>
                    <a:lnTo>
                      <a:pt x="366" y="3366"/>
                    </a:lnTo>
                    <a:lnTo>
                      <a:pt x="362" y="3370"/>
                    </a:lnTo>
                    <a:lnTo>
                      <a:pt x="358" y="3376"/>
                    </a:lnTo>
                    <a:lnTo>
                      <a:pt x="356" y="3376"/>
                    </a:lnTo>
                    <a:lnTo>
                      <a:pt x="354" y="3376"/>
                    </a:lnTo>
                    <a:lnTo>
                      <a:pt x="348" y="3372"/>
                    </a:lnTo>
                    <a:lnTo>
                      <a:pt x="342" y="3374"/>
                    </a:lnTo>
                    <a:lnTo>
                      <a:pt x="338" y="3378"/>
                    </a:lnTo>
                    <a:lnTo>
                      <a:pt x="338" y="3384"/>
                    </a:lnTo>
                    <a:lnTo>
                      <a:pt x="340" y="3388"/>
                    </a:lnTo>
                    <a:lnTo>
                      <a:pt x="338" y="3390"/>
                    </a:lnTo>
                    <a:lnTo>
                      <a:pt x="338" y="3392"/>
                    </a:lnTo>
                    <a:lnTo>
                      <a:pt x="340" y="3396"/>
                    </a:lnTo>
                    <a:lnTo>
                      <a:pt x="342" y="3398"/>
                    </a:lnTo>
                    <a:lnTo>
                      <a:pt x="340" y="3398"/>
                    </a:lnTo>
                    <a:lnTo>
                      <a:pt x="334" y="3396"/>
                    </a:lnTo>
                    <a:lnTo>
                      <a:pt x="326" y="3396"/>
                    </a:lnTo>
                    <a:lnTo>
                      <a:pt x="324" y="3396"/>
                    </a:lnTo>
                    <a:lnTo>
                      <a:pt x="324" y="3398"/>
                    </a:lnTo>
                    <a:lnTo>
                      <a:pt x="326" y="3402"/>
                    </a:lnTo>
                    <a:lnTo>
                      <a:pt x="342" y="3412"/>
                    </a:lnTo>
                    <a:lnTo>
                      <a:pt x="354" y="3418"/>
                    </a:lnTo>
                    <a:lnTo>
                      <a:pt x="356" y="3418"/>
                    </a:lnTo>
                    <a:lnTo>
                      <a:pt x="354" y="3412"/>
                    </a:lnTo>
                    <a:lnTo>
                      <a:pt x="352" y="3406"/>
                    </a:lnTo>
                    <a:lnTo>
                      <a:pt x="352" y="3402"/>
                    </a:lnTo>
                    <a:lnTo>
                      <a:pt x="358" y="3400"/>
                    </a:lnTo>
                    <a:lnTo>
                      <a:pt x="362" y="3398"/>
                    </a:lnTo>
                    <a:lnTo>
                      <a:pt x="364" y="3396"/>
                    </a:lnTo>
                    <a:lnTo>
                      <a:pt x="364" y="3394"/>
                    </a:lnTo>
                    <a:lnTo>
                      <a:pt x="360" y="3390"/>
                    </a:lnTo>
                    <a:lnTo>
                      <a:pt x="356" y="3388"/>
                    </a:lnTo>
                    <a:lnTo>
                      <a:pt x="362" y="3390"/>
                    </a:lnTo>
                    <a:lnTo>
                      <a:pt x="370" y="3392"/>
                    </a:lnTo>
                    <a:lnTo>
                      <a:pt x="374" y="3390"/>
                    </a:lnTo>
                    <a:lnTo>
                      <a:pt x="378" y="3386"/>
                    </a:lnTo>
                    <a:lnTo>
                      <a:pt x="384" y="3382"/>
                    </a:lnTo>
                    <a:lnTo>
                      <a:pt x="392" y="3378"/>
                    </a:lnTo>
                    <a:lnTo>
                      <a:pt x="396" y="3374"/>
                    </a:lnTo>
                    <a:lnTo>
                      <a:pt x="402" y="3372"/>
                    </a:lnTo>
                    <a:lnTo>
                      <a:pt x="406" y="3374"/>
                    </a:lnTo>
                    <a:lnTo>
                      <a:pt x="408" y="3376"/>
                    </a:lnTo>
                    <a:lnTo>
                      <a:pt x="408" y="3378"/>
                    </a:lnTo>
                    <a:lnTo>
                      <a:pt x="406" y="3384"/>
                    </a:lnTo>
                    <a:lnTo>
                      <a:pt x="398" y="3392"/>
                    </a:lnTo>
                    <a:lnTo>
                      <a:pt x="390" y="3396"/>
                    </a:lnTo>
                    <a:lnTo>
                      <a:pt x="384" y="3400"/>
                    </a:lnTo>
                    <a:lnTo>
                      <a:pt x="384" y="3402"/>
                    </a:lnTo>
                    <a:lnTo>
                      <a:pt x="382" y="3404"/>
                    </a:lnTo>
                    <a:lnTo>
                      <a:pt x="380" y="3402"/>
                    </a:lnTo>
                    <a:lnTo>
                      <a:pt x="376" y="3400"/>
                    </a:lnTo>
                    <a:lnTo>
                      <a:pt x="374" y="3402"/>
                    </a:lnTo>
                    <a:lnTo>
                      <a:pt x="374" y="3404"/>
                    </a:lnTo>
                    <a:lnTo>
                      <a:pt x="370" y="3402"/>
                    </a:lnTo>
                    <a:lnTo>
                      <a:pt x="362" y="3404"/>
                    </a:lnTo>
                    <a:lnTo>
                      <a:pt x="358" y="3406"/>
                    </a:lnTo>
                    <a:lnTo>
                      <a:pt x="356" y="3408"/>
                    </a:lnTo>
                    <a:lnTo>
                      <a:pt x="360" y="3414"/>
                    </a:lnTo>
                    <a:lnTo>
                      <a:pt x="366" y="3420"/>
                    </a:lnTo>
                    <a:lnTo>
                      <a:pt x="372" y="3426"/>
                    </a:lnTo>
                    <a:lnTo>
                      <a:pt x="378" y="3430"/>
                    </a:lnTo>
                    <a:lnTo>
                      <a:pt x="382" y="3432"/>
                    </a:lnTo>
                    <a:lnTo>
                      <a:pt x="386" y="3434"/>
                    </a:lnTo>
                    <a:lnTo>
                      <a:pt x="392" y="3438"/>
                    </a:lnTo>
                    <a:lnTo>
                      <a:pt x="402" y="3438"/>
                    </a:lnTo>
                    <a:lnTo>
                      <a:pt x="410" y="3436"/>
                    </a:lnTo>
                    <a:lnTo>
                      <a:pt x="414" y="3434"/>
                    </a:lnTo>
                    <a:lnTo>
                      <a:pt x="416" y="3426"/>
                    </a:lnTo>
                    <a:lnTo>
                      <a:pt x="416" y="3412"/>
                    </a:lnTo>
                    <a:lnTo>
                      <a:pt x="418" y="3400"/>
                    </a:lnTo>
                    <a:lnTo>
                      <a:pt x="420" y="3394"/>
                    </a:lnTo>
                    <a:lnTo>
                      <a:pt x="422" y="3388"/>
                    </a:lnTo>
                    <a:lnTo>
                      <a:pt x="424" y="3378"/>
                    </a:lnTo>
                    <a:lnTo>
                      <a:pt x="424" y="3372"/>
                    </a:lnTo>
                    <a:lnTo>
                      <a:pt x="426" y="3368"/>
                    </a:lnTo>
                    <a:lnTo>
                      <a:pt x="428" y="3366"/>
                    </a:lnTo>
                    <a:lnTo>
                      <a:pt x="432" y="3366"/>
                    </a:lnTo>
                    <a:lnTo>
                      <a:pt x="440" y="3364"/>
                    </a:lnTo>
                    <a:lnTo>
                      <a:pt x="444" y="3362"/>
                    </a:lnTo>
                    <a:lnTo>
                      <a:pt x="450" y="3358"/>
                    </a:lnTo>
                    <a:lnTo>
                      <a:pt x="454" y="3354"/>
                    </a:lnTo>
                    <a:lnTo>
                      <a:pt x="458" y="3354"/>
                    </a:lnTo>
                    <a:lnTo>
                      <a:pt x="462" y="3354"/>
                    </a:lnTo>
                    <a:lnTo>
                      <a:pt x="466" y="3356"/>
                    </a:lnTo>
                    <a:lnTo>
                      <a:pt x="470" y="3350"/>
                    </a:lnTo>
                    <a:lnTo>
                      <a:pt x="476" y="3342"/>
                    </a:lnTo>
                    <a:lnTo>
                      <a:pt x="480" y="3340"/>
                    </a:lnTo>
                    <a:lnTo>
                      <a:pt x="486" y="3340"/>
                    </a:lnTo>
                    <a:lnTo>
                      <a:pt x="496" y="3342"/>
                    </a:lnTo>
                    <a:lnTo>
                      <a:pt x="510" y="3344"/>
                    </a:lnTo>
                    <a:lnTo>
                      <a:pt x="518" y="3348"/>
                    </a:lnTo>
                    <a:lnTo>
                      <a:pt x="520" y="3346"/>
                    </a:lnTo>
                    <a:lnTo>
                      <a:pt x="518" y="3342"/>
                    </a:lnTo>
                    <a:lnTo>
                      <a:pt x="510" y="3328"/>
                    </a:lnTo>
                    <a:lnTo>
                      <a:pt x="500" y="3308"/>
                    </a:lnTo>
                    <a:lnTo>
                      <a:pt x="496" y="3296"/>
                    </a:lnTo>
                    <a:lnTo>
                      <a:pt x="492" y="3282"/>
                    </a:lnTo>
                    <a:lnTo>
                      <a:pt x="490" y="3266"/>
                    </a:lnTo>
                    <a:lnTo>
                      <a:pt x="490" y="3256"/>
                    </a:lnTo>
                    <a:lnTo>
                      <a:pt x="490" y="3246"/>
                    </a:lnTo>
                    <a:lnTo>
                      <a:pt x="494" y="3238"/>
                    </a:lnTo>
                    <a:lnTo>
                      <a:pt x="498" y="3228"/>
                    </a:lnTo>
                    <a:lnTo>
                      <a:pt x="506" y="3222"/>
                    </a:lnTo>
                    <a:lnTo>
                      <a:pt x="518" y="3216"/>
                    </a:lnTo>
                    <a:lnTo>
                      <a:pt x="528" y="3212"/>
                    </a:lnTo>
                    <a:lnTo>
                      <a:pt x="536" y="3208"/>
                    </a:lnTo>
                    <a:lnTo>
                      <a:pt x="542" y="3202"/>
                    </a:lnTo>
                    <a:lnTo>
                      <a:pt x="546" y="3196"/>
                    </a:lnTo>
                    <a:lnTo>
                      <a:pt x="550" y="3180"/>
                    </a:lnTo>
                    <a:lnTo>
                      <a:pt x="552" y="3156"/>
                    </a:lnTo>
                    <a:lnTo>
                      <a:pt x="556" y="3144"/>
                    </a:lnTo>
                    <a:lnTo>
                      <a:pt x="564" y="3134"/>
                    </a:lnTo>
                    <a:lnTo>
                      <a:pt x="572" y="3126"/>
                    </a:lnTo>
                    <a:lnTo>
                      <a:pt x="580" y="3122"/>
                    </a:lnTo>
                    <a:lnTo>
                      <a:pt x="596" y="3112"/>
                    </a:lnTo>
                    <a:lnTo>
                      <a:pt x="602" y="3108"/>
                    </a:lnTo>
                    <a:lnTo>
                      <a:pt x="604" y="3104"/>
                    </a:lnTo>
                    <a:lnTo>
                      <a:pt x="606" y="3100"/>
                    </a:lnTo>
                    <a:lnTo>
                      <a:pt x="610" y="3096"/>
                    </a:lnTo>
                    <a:lnTo>
                      <a:pt x="616" y="3092"/>
                    </a:lnTo>
                    <a:lnTo>
                      <a:pt x="622" y="3086"/>
                    </a:lnTo>
                    <a:lnTo>
                      <a:pt x="624" y="3082"/>
                    </a:lnTo>
                    <a:lnTo>
                      <a:pt x="622" y="3078"/>
                    </a:lnTo>
                    <a:lnTo>
                      <a:pt x="620" y="3074"/>
                    </a:lnTo>
                    <a:lnTo>
                      <a:pt x="620" y="3072"/>
                    </a:lnTo>
                    <a:lnTo>
                      <a:pt x="624" y="3066"/>
                    </a:lnTo>
                    <a:lnTo>
                      <a:pt x="626" y="3060"/>
                    </a:lnTo>
                    <a:lnTo>
                      <a:pt x="626" y="3054"/>
                    </a:lnTo>
                    <a:lnTo>
                      <a:pt x="626" y="3044"/>
                    </a:lnTo>
                    <a:lnTo>
                      <a:pt x="624" y="3038"/>
                    </a:lnTo>
                    <a:lnTo>
                      <a:pt x="620" y="3036"/>
                    </a:lnTo>
                    <a:lnTo>
                      <a:pt x="608" y="3036"/>
                    </a:lnTo>
                    <a:lnTo>
                      <a:pt x="600" y="3034"/>
                    </a:lnTo>
                    <a:lnTo>
                      <a:pt x="590" y="3032"/>
                    </a:lnTo>
                    <a:lnTo>
                      <a:pt x="580" y="3026"/>
                    </a:lnTo>
                    <a:lnTo>
                      <a:pt x="570" y="3016"/>
                    </a:lnTo>
                    <a:lnTo>
                      <a:pt x="554" y="2996"/>
                    </a:lnTo>
                    <a:lnTo>
                      <a:pt x="550" y="2988"/>
                    </a:lnTo>
                    <a:lnTo>
                      <a:pt x="550" y="2982"/>
                    </a:lnTo>
                    <a:lnTo>
                      <a:pt x="550" y="2976"/>
                    </a:lnTo>
                    <a:lnTo>
                      <a:pt x="554" y="2968"/>
                    </a:lnTo>
                    <a:lnTo>
                      <a:pt x="564" y="2948"/>
                    </a:lnTo>
                    <a:lnTo>
                      <a:pt x="570" y="2938"/>
                    </a:lnTo>
                    <a:lnTo>
                      <a:pt x="576" y="2930"/>
                    </a:lnTo>
                    <a:lnTo>
                      <a:pt x="580" y="2928"/>
                    </a:lnTo>
                    <a:lnTo>
                      <a:pt x="584" y="2926"/>
                    </a:lnTo>
                    <a:lnTo>
                      <a:pt x="592" y="2926"/>
                    </a:lnTo>
                    <a:lnTo>
                      <a:pt x="594" y="2924"/>
                    </a:lnTo>
                    <a:lnTo>
                      <a:pt x="598" y="2922"/>
                    </a:lnTo>
                    <a:lnTo>
                      <a:pt x="602" y="2918"/>
                    </a:lnTo>
                    <a:lnTo>
                      <a:pt x="608" y="2916"/>
                    </a:lnTo>
                    <a:lnTo>
                      <a:pt x="622" y="2916"/>
                    </a:lnTo>
                    <a:lnTo>
                      <a:pt x="628" y="2916"/>
                    </a:lnTo>
                    <a:lnTo>
                      <a:pt x="632" y="2914"/>
                    </a:lnTo>
                    <a:lnTo>
                      <a:pt x="634" y="2912"/>
                    </a:lnTo>
                    <a:lnTo>
                      <a:pt x="630" y="2908"/>
                    </a:lnTo>
                    <a:lnTo>
                      <a:pt x="628" y="2902"/>
                    </a:lnTo>
                    <a:lnTo>
                      <a:pt x="630" y="2898"/>
                    </a:lnTo>
                    <a:lnTo>
                      <a:pt x="638" y="2890"/>
                    </a:lnTo>
                    <a:lnTo>
                      <a:pt x="642" y="2886"/>
                    </a:lnTo>
                    <a:lnTo>
                      <a:pt x="646" y="2878"/>
                    </a:lnTo>
                    <a:lnTo>
                      <a:pt x="648" y="2868"/>
                    </a:lnTo>
                    <a:lnTo>
                      <a:pt x="644" y="2856"/>
                    </a:lnTo>
                    <a:lnTo>
                      <a:pt x="644" y="2850"/>
                    </a:lnTo>
                    <a:lnTo>
                      <a:pt x="644" y="2844"/>
                    </a:lnTo>
                    <a:lnTo>
                      <a:pt x="646" y="2836"/>
                    </a:lnTo>
                    <a:lnTo>
                      <a:pt x="648" y="2830"/>
                    </a:lnTo>
                    <a:lnTo>
                      <a:pt x="652" y="2822"/>
                    </a:lnTo>
                    <a:lnTo>
                      <a:pt x="660" y="2816"/>
                    </a:lnTo>
                    <a:lnTo>
                      <a:pt x="668" y="2810"/>
                    </a:lnTo>
                    <a:lnTo>
                      <a:pt x="678" y="2806"/>
                    </a:lnTo>
                    <a:lnTo>
                      <a:pt x="684" y="2802"/>
                    </a:lnTo>
                    <a:lnTo>
                      <a:pt x="682" y="2800"/>
                    </a:lnTo>
                    <a:lnTo>
                      <a:pt x="674" y="2798"/>
                    </a:lnTo>
                    <a:lnTo>
                      <a:pt x="662" y="2794"/>
                    </a:lnTo>
                    <a:lnTo>
                      <a:pt x="658" y="2790"/>
                    </a:lnTo>
                    <a:lnTo>
                      <a:pt x="658" y="2786"/>
                    </a:lnTo>
                    <a:lnTo>
                      <a:pt x="660" y="2782"/>
                    </a:lnTo>
                    <a:lnTo>
                      <a:pt x="664" y="2780"/>
                    </a:lnTo>
                    <a:lnTo>
                      <a:pt x="670" y="2780"/>
                    </a:lnTo>
                    <a:lnTo>
                      <a:pt x="676" y="2780"/>
                    </a:lnTo>
                    <a:lnTo>
                      <a:pt x="682" y="2782"/>
                    </a:lnTo>
                    <a:lnTo>
                      <a:pt x="686" y="2788"/>
                    </a:lnTo>
                    <a:lnTo>
                      <a:pt x="690" y="2792"/>
                    </a:lnTo>
                    <a:lnTo>
                      <a:pt x="692" y="2796"/>
                    </a:lnTo>
                    <a:lnTo>
                      <a:pt x="696" y="2798"/>
                    </a:lnTo>
                    <a:lnTo>
                      <a:pt x="700" y="2798"/>
                    </a:lnTo>
                    <a:lnTo>
                      <a:pt x="704" y="2796"/>
                    </a:lnTo>
                    <a:lnTo>
                      <a:pt x="708" y="2792"/>
                    </a:lnTo>
                    <a:lnTo>
                      <a:pt x="712" y="2786"/>
                    </a:lnTo>
                    <a:lnTo>
                      <a:pt x="714" y="2778"/>
                    </a:lnTo>
                    <a:lnTo>
                      <a:pt x="716" y="2770"/>
                    </a:lnTo>
                    <a:lnTo>
                      <a:pt x="714" y="2762"/>
                    </a:lnTo>
                    <a:lnTo>
                      <a:pt x="708" y="2754"/>
                    </a:lnTo>
                    <a:lnTo>
                      <a:pt x="706" y="2752"/>
                    </a:lnTo>
                    <a:lnTo>
                      <a:pt x="702" y="2752"/>
                    </a:lnTo>
                    <a:lnTo>
                      <a:pt x="678" y="2758"/>
                    </a:lnTo>
                    <a:lnTo>
                      <a:pt x="670" y="2760"/>
                    </a:lnTo>
                    <a:lnTo>
                      <a:pt x="662" y="2758"/>
                    </a:lnTo>
                    <a:lnTo>
                      <a:pt x="658" y="2756"/>
                    </a:lnTo>
                    <a:lnTo>
                      <a:pt x="656" y="2750"/>
                    </a:lnTo>
                    <a:lnTo>
                      <a:pt x="654" y="2744"/>
                    </a:lnTo>
                    <a:lnTo>
                      <a:pt x="656" y="2734"/>
                    </a:lnTo>
                    <a:lnTo>
                      <a:pt x="656" y="2726"/>
                    </a:lnTo>
                    <a:lnTo>
                      <a:pt x="654" y="2716"/>
                    </a:lnTo>
                    <a:lnTo>
                      <a:pt x="650" y="2700"/>
                    </a:lnTo>
                    <a:lnTo>
                      <a:pt x="648" y="2694"/>
                    </a:lnTo>
                    <a:lnTo>
                      <a:pt x="646" y="2690"/>
                    </a:lnTo>
                    <a:lnTo>
                      <a:pt x="648" y="2684"/>
                    </a:lnTo>
                    <a:lnTo>
                      <a:pt x="654" y="2682"/>
                    </a:lnTo>
                    <a:lnTo>
                      <a:pt x="662" y="2680"/>
                    </a:lnTo>
                    <a:lnTo>
                      <a:pt x="668" y="2682"/>
                    </a:lnTo>
                    <a:lnTo>
                      <a:pt x="684" y="2688"/>
                    </a:lnTo>
                    <a:lnTo>
                      <a:pt x="700" y="2696"/>
                    </a:lnTo>
                    <a:lnTo>
                      <a:pt x="708" y="2698"/>
                    </a:lnTo>
                    <a:lnTo>
                      <a:pt x="714" y="2700"/>
                    </a:lnTo>
                    <a:lnTo>
                      <a:pt x="724" y="2700"/>
                    </a:lnTo>
                    <a:lnTo>
                      <a:pt x="728" y="2700"/>
                    </a:lnTo>
                    <a:lnTo>
                      <a:pt x="734" y="2700"/>
                    </a:lnTo>
                    <a:lnTo>
                      <a:pt x="748" y="2694"/>
                    </a:lnTo>
                    <a:lnTo>
                      <a:pt x="762" y="2684"/>
                    </a:lnTo>
                    <a:lnTo>
                      <a:pt x="768" y="2680"/>
                    </a:lnTo>
                    <a:lnTo>
                      <a:pt x="770" y="2676"/>
                    </a:lnTo>
                    <a:lnTo>
                      <a:pt x="770" y="2672"/>
                    </a:lnTo>
                    <a:lnTo>
                      <a:pt x="770" y="2670"/>
                    </a:lnTo>
                    <a:lnTo>
                      <a:pt x="764" y="2664"/>
                    </a:lnTo>
                    <a:lnTo>
                      <a:pt x="762" y="2660"/>
                    </a:lnTo>
                    <a:lnTo>
                      <a:pt x="760" y="2658"/>
                    </a:lnTo>
                    <a:lnTo>
                      <a:pt x="758" y="2650"/>
                    </a:lnTo>
                    <a:lnTo>
                      <a:pt x="762" y="2642"/>
                    </a:lnTo>
                    <a:lnTo>
                      <a:pt x="770" y="2632"/>
                    </a:lnTo>
                    <a:lnTo>
                      <a:pt x="776" y="2622"/>
                    </a:lnTo>
                    <a:lnTo>
                      <a:pt x="778" y="2612"/>
                    </a:lnTo>
                    <a:lnTo>
                      <a:pt x="776" y="2602"/>
                    </a:lnTo>
                    <a:lnTo>
                      <a:pt x="772" y="2598"/>
                    </a:lnTo>
                    <a:lnTo>
                      <a:pt x="770" y="2596"/>
                    </a:lnTo>
                    <a:lnTo>
                      <a:pt x="766" y="2592"/>
                    </a:lnTo>
                    <a:lnTo>
                      <a:pt x="762" y="2588"/>
                    </a:lnTo>
                    <a:lnTo>
                      <a:pt x="760" y="2578"/>
                    </a:lnTo>
                    <a:lnTo>
                      <a:pt x="760" y="2574"/>
                    </a:lnTo>
                    <a:lnTo>
                      <a:pt x="762" y="2572"/>
                    </a:lnTo>
                    <a:lnTo>
                      <a:pt x="768" y="2572"/>
                    </a:lnTo>
                    <a:lnTo>
                      <a:pt x="774" y="2576"/>
                    </a:lnTo>
                    <a:lnTo>
                      <a:pt x="784" y="2582"/>
                    </a:lnTo>
                    <a:lnTo>
                      <a:pt x="792" y="2582"/>
                    </a:lnTo>
                    <a:lnTo>
                      <a:pt x="824" y="2578"/>
                    </a:lnTo>
                    <a:lnTo>
                      <a:pt x="856" y="2574"/>
                    </a:lnTo>
                    <a:lnTo>
                      <a:pt x="890" y="2566"/>
                    </a:lnTo>
                    <a:lnTo>
                      <a:pt x="920" y="2556"/>
                    </a:lnTo>
                    <a:lnTo>
                      <a:pt x="934" y="2550"/>
                    </a:lnTo>
                    <a:lnTo>
                      <a:pt x="944" y="2544"/>
                    </a:lnTo>
                    <a:lnTo>
                      <a:pt x="952" y="2538"/>
                    </a:lnTo>
                    <a:lnTo>
                      <a:pt x="956" y="2534"/>
                    </a:lnTo>
                    <a:lnTo>
                      <a:pt x="958" y="2528"/>
                    </a:lnTo>
                    <a:lnTo>
                      <a:pt x="960" y="2524"/>
                    </a:lnTo>
                    <a:lnTo>
                      <a:pt x="962" y="2516"/>
                    </a:lnTo>
                    <a:lnTo>
                      <a:pt x="966" y="2510"/>
                    </a:lnTo>
                    <a:lnTo>
                      <a:pt x="970" y="2504"/>
                    </a:lnTo>
                    <a:lnTo>
                      <a:pt x="980" y="2492"/>
                    </a:lnTo>
                    <a:lnTo>
                      <a:pt x="986" y="2478"/>
                    </a:lnTo>
                    <a:lnTo>
                      <a:pt x="990" y="2464"/>
                    </a:lnTo>
                    <a:lnTo>
                      <a:pt x="990" y="2444"/>
                    </a:lnTo>
                    <a:lnTo>
                      <a:pt x="990" y="2436"/>
                    </a:lnTo>
                    <a:lnTo>
                      <a:pt x="990" y="2432"/>
                    </a:lnTo>
                    <a:lnTo>
                      <a:pt x="986" y="2432"/>
                    </a:lnTo>
                    <a:lnTo>
                      <a:pt x="984" y="2432"/>
                    </a:lnTo>
                    <a:lnTo>
                      <a:pt x="980" y="2432"/>
                    </a:lnTo>
                    <a:lnTo>
                      <a:pt x="976" y="2432"/>
                    </a:lnTo>
                    <a:lnTo>
                      <a:pt x="970" y="2428"/>
                    </a:lnTo>
                    <a:lnTo>
                      <a:pt x="964" y="2420"/>
                    </a:lnTo>
                    <a:lnTo>
                      <a:pt x="962" y="2410"/>
                    </a:lnTo>
                    <a:lnTo>
                      <a:pt x="962" y="2404"/>
                    </a:lnTo>
                    <a:lnTo>
                      <a:pt x="964" y="2400"/>
                    </a:lnTo>
                    <a:lnTo>
                      <a:pt x="968" y="2396"/>
                    </a:lnTo>
                    <a:lnTo>
                      <a:pt x="970" y="2392"/>
                    </a:lnTo>
                    <a:lnTo>
                      <a:pt x="970" y="2388"/>
                    </a:lnTo>
                    <a:lnTo>
                      <a:pt x="968" y="2380"/>
                    </a:lnTo>
                    <a:lnTo>
                      <a:pt x="962" y="2368"/>
                    </a:lnTo>
                    <a:lnTo>
                      <a:pt x="954" y="2360"/>
                    </a:lnTo>
                    <a:lnTo>
                      <a:pt x="946" y="2354"/>
                    </a:lnTo>
                    <a:lnTo>
                      <a:pt x="928" y="2344"/>
                    </a:lnTo>
                    <a:lnTo>
                      <a:pt x="922" y="2338"/>
                    </a:lnTo>
                    <a:lnTo>
                      <a:pt x="918" y="2332"/>
                    </a:lnTo>
                    <a:lnTo>
                      <a:pt x="918" y="2330"/>
                    </a:lnTo>
                    <a:lnTo>
                      <a:pt x="920" y="2326"/>
                    </a:lnTo>
                    <a:lnTo>
                      <a:pt x="926" y="2316"/>
                    </a:lnTo>
                    <a:lnTo>
                      <a:pt x="928" y="2320"/>
                    </a:lnTo>
                    <a:lnTo>
                      <a:pt x="934" y="2326"/>
                    </a:lnTo>
                    <a:lnTo>
                      <a:pt x="946" y="2332"/>
                    </a:lnTo>
                    <a:lnTo>
                      <a:pt x="952" y="2334"/>
                    </a:lnTo>
                    <a:lnTo>
                      <a:pt x="958" y="2334"/>
                    </a:lnTo>
                    <a:lnTo>
                      <a:pt x="966" y="2336"/>
                    </a:lnTo>
                    <a:lnTo>
                      <a:pt x="976" y="2338"/>
                    </a:lnTo>
                    <a:lnTo>
                      <a:pt x="992" y="2348"/>
                    </a:lnTo>
                    <a:lnTo>
                      <a:pt x="1002" y="2352"/>
                    </a:lnTo>
                    <a:lnTo>
                      <a:pt x="1010" y="2356"/>
                    </a:lnTo>
                    <a:lnTo>
                      <a:pt x="1018" y="2358"/>
                    </a:lnTo>
                    <a:lnTo>
                      <a:pt x="1026" y="2356"/>
                    </a:lnTo>
                    <a:lnTo>
                      <a:pt x="1032" y="2354"/>
                    </a:lnTo>
                    <a:lnTo>
                      <a:pt x="1038" y="2352"/>
                    </a:lnTo>
                    <a:lnTo>
                      <a:pt x="1050" y="2356"/>
                    </a:lnTo>
                    <a:lnTo>
                      <a:pt x="1056" y="2358"/>
                    </a:lnTo>
                    <a:lnTo>
                      <a:pt x="1062" y="2358"/>
                    </a:lnTo>
                    <a:lnTo>
                      <a:pt x="1068" y="2358"/>
                    </a:lnTo>
                    <a:lnTo>
                      <a:pt x="1076" y="2354"/>
                    </a:lnTo>
                    <a:lnTo>
                      <a:pt x="1090" y="2344"/>
                    </a:lnTo>
                    <a:lnTo>
                      <a:pt x="1100" y="2334"/>
                    </a:lnTo>
                    <a:lnTo>
                      <a:pt x="1110" y="2320"/>
                    </a:lnTo>
                    <a:lnTo>
                      <a:pt x="1122" y="2300"/>
                    </a:lnTo>
                    <a:lnTo>
                      <a:pt x="1120" y="2294"/>
                    </a:lnTo>
                    <a:lnTo>
                      <a:pt x="1124" y="2288"/>
                    </a:lnTo>
                    <a:lnTo>
                      <a:pt x="1130" y="2282"/>
                    </a:lnTo>
                    <a:lnTo>
                      <a:pt x="1140" y="2276"/>
                    </a:lnTo>
                    <a:lnTo>
                      <a:pt x="1150" y="2270"/>
                    </a:lnTo>
                    <a:lnTo>
                      <a:pt x="1154" y="2264"/>
                    </a:lnTo>
                    <a:lnTo>
                      <a:pt x="1158" y="2256"/>
                    </a:lnTo>
                    <a:lnTo>
                      <a:pt x="1166" y="2232"/>
                    </a:lnTo>
                    <a:lnTo>
                      <a:pt x="1170" y="2224"/>
                    </a:lnTo>
                    <a:lnTo>
                      <a:pt x="1174" y="2218"/>
                    </a:lnTo>
                    <a:lnTo>
                      <a:pt x="1188" y="2204"/>
                    </a:lnTo>
                    <a:lnTo>
                      <a:pt x="1210" y="2184"/>
                    </a:lnTo>
                    <a:lnTo>
                      <a:pt x="1220" y="2174"/>
                    </a:lnTo>
                    <a:lnTo>
                      <a:pt x="1228" y="2164"/>
                    </a:lnTo>
                    <a:lnTo>
                      <a:pt x="1240" y="2140"/>
                    </a:lnTo>
                    <a:lnTo>
                      <a:pt x="1254" y="2110"/>
                    </a:lnTo>
                    <a:lnTo>
                      <a:pt x="1270" y="2074"/>
                    </a:lnTo>
                    <a:lnTo>
                      <a:pt x="1278" y="2058"/>
                    </a:lnTo>
                    <a:lnTo>
                      <a:pt x="1284" y="2048"/>
                    </a:lnTo>
                    <a:lnTo>
                      <a:pt x="1290" y="2042"/>
                    </a:lnTo>
                    <a:lnTo>
                      <a:pt x="1294" y="2038"/>
                    </a:lnTo>
                    <a:lnTo>
                      <a:pt x="1304" y="2030"/>
                    </a:lnTo>
                    <a:lnTo>
                      <a:pt x="1308" y="2022"/>
                    </a:lnTo>
                    <a:lnTo>
                      <a:pt x="1314" y="2012"/>
                    </a:lnTo>
                    <a:lnTo>
                      <a:pt x="1320" y="1998"/>
                    </a:lnTo>
                    <a:lnTo>
                      <a:pt x="1322" y="1984"/>
                    </a:lnTo>
                    <a:lnTo>
                      <a:pt x="1322" y="1970"/>
                    </a:lnTo>
                    <a:lnTo>
                      <a:pt x="1322" y="1956"/>
                    </a:lnTo>
                    <a:lnTo>
                      <a:pt x="1322" y="1926"/>
                    </a:lnTo>
                    <a:lnTo>
                      <a:pt x="1320" y="1910"/>
                    </a:lnTo>
                    <a:lnTo>
                      <a:pt x="1322" y="1894"/>
                    </a:lnTo>
                    <a:lnTo>
                      <a:pt x="1324" y="1878"/>
                    </a:lnTo>
                    <a:lnTo>
                      <a:pt x="1332" y="1862"/>
                    </a:lnTo>
                    <a:lnTo>
                      <a:pt x="1340" y="1848"/>
                    </a:lnTo>
                    <a:lnTo>
                      <a:pt x="1352" y="1836"/>
                    </a:lnTo>
                    <a:lnTo>
                      <a:pt x="1364" y="1824"/>
                    </a:lnTo>
                    <a:lnTo>
                      <a:pt x="1376" y="1816"/>
                    </a:lnTo>
                    <a:lnTo>
                      <a:pt x="1388" y="1808"/>
                    </a:lnTo>
                    <a:lnTo>
                      <a:pt x="1398" y="1802"/>
                    </a:lnTo>
                    <a:lnTo>
                      <a:pt x="1422" y="1792"/>
                    </a:lnTo>
                    <a:lnTo>
                      <a:pt x="1438" y="1782"/>
                    </a:lnTo>
                    <a:lnTo>
                      <a:pt x="1452" y="1772"/>
                    </a:lnTo>
                    <a:lnTo>
                      <a:pt x="1462" y="1764"/>
                    </a:lnTo>
                    <a:lnTo>
                      <a:pt x="1476" y="1750"/>
                    </a:lnTo>
                    <a:lnTo>
                      <a:pt x="1482" y="1744"/>
                    </a:lnTo>
                    <a:lnTo>
                      <a:pt x="1490" y="1740"/>
                    </a:lnTo>
                    <a:lnTo>
                      <a:pt x="1498" y="1738"/>
                    </a:lnTo>
                    <a:lnTo>
                      <a:pt x="1502" y="1738"/>
                    </a:lnTo>
                    <a:lnTo>
                      <a:pt x="1506" y="1740"/>
                    </a:lnTo>
                    <a:lnTo>
                      <a:pt x="1508" y="1742"/>
                    </a:lnTo>
                    <a:lnTo>
                      <a:pt x="1514" y="1742"/>
                    </a:lnTo>
                    <a:lnTo>
                      <a:pt x="1520" y="1742"/>
                    </a:lnTo>
                    <a:lnTo>
                      <a:pt x="1530" y="1740"/>
                    </a:lnTo>
                    <a:lnTo>
                      <a:pt x="1544" y="1738"/>
                    </a:lnTo>
                    <a:lnTo>
                      <a:pt x="1556" y="1738"/>
                    </a:lnTo>
                    <a:lnTo>
                      <a:pt x="1576" y="1738"/>
                    </a:lnTo>
                    <a:lnTo>
                      <a:pt x="1584" y="1738"/>
                    </a:lnTo>
                    <a:lnTo>
                      <a:pt x="1588" y="1736"/>
                    </a:lnTo>
                    <a:lnTo>
                      <a:pt x="1592" y="1734"/>
                    </a:lnTo>
                    <a:lnTo>
                      <a:pt x="1590" y="1728"/>
                    </a:lnTo>
                    <a:lnTo>
                      <a:pt x="1590" y="1724"/>
                    </a:lnTo>
                    <a:lnTo>
                      <a:pt x="1590" y="1722"/>
                    </a:lnTo>
                    <a:lnTo>
                      <a:pt x="1594" y="1716"/>
                    </a:lnTo>
                    <a:lnTo>
                      <a:pt x="1608" y="1702"/>
                    </a:lnTo>
                    <a:lnTo>
                      <a:pt x="1616" y="1696"/>
                    </a:lnTo>
                    <a:lnTo>
                      <a:pt x="1622" y="1690"/>
                    </a:lnTo>
                    <a:lnTo>
                      <a:pt x="1626" y="1682"/>
                    </a:lnTo>
                    <a:lnTo>
                      <a:pt x="1626" y="1676"/>
                    </a:lnTo>
                    <a:lnTo>
                      <a:pt x="1624" y="1672"/>
                    </a:lnTo>
                    <a:lnTo>
                      <a:pt x="1622" y="1662"/>
                    </a:lnTo>
                    <a:lnTo>
                      <a:pt x="1624" y="1654"/>
                    </a:lnTo>
                    <a:lnTo>
                      <a:pt x="1628" y="1644"/>
                    </a:lnTo>
                    <a:lnTo>
                      <a:pt x="1634" y="1634"/>
                    </a:lnTo>
                    <a:lnTo>
                      <a:pt x="1650" y="1610"/>
                    </a:lnTo>
                    <a:lnTo>
                      <a:pt x="1668" y="1580"/>
                    </a:lnTo>
                    <a:lnTo>
                      <a:pt x="1674" y="1564"/>
                    </a:lnTo>
                    <a:lnTo>
                      <a:pt x="1678" y="1550"/>
                    </a:lnTo>
                    <a:lnTo>
                      <a:pt x="1678" y="1536"/>
                    </a:lnTo>
                    <a:lnTo>
                      <a:pt x="1678" y="1524"/>
                    </a:lnTo>
                    <a:lnTo>
                      <a:pt x="1678" y="1514"/>
                    </a:lnTo>
                    <a:lnTo>
                      <a:pt x="1680" y="1506"/>
                    </a:lnTo>
                    <a:lnTo>
                      <a:pt x="1682" y="1498"/>
                    </a:lnTo>
                    <a:lnTo>
                      <a:pt x="1688" y="1494"/>
                    </a:lnTo>
                    <a:lnTo>
                      <a:pt x="1694" y="1488"/>
                    </a:lnTo>
                    <a:lnTo>
                      <a:pt x="1698" y="1480"/>
                    </a:lnTo>
                    <a:lnTo>
                      <a:pt x="1698" y="1470"/>
                    </a:lnTo>
                    <a:lnTo>
                      <a:pt x="1700" y="1460"/>
                    </a:lnTo>
                    <a:lnTo>
                      <a:pt x="1700" y="1434"/>
                    </a:lnTo>
                    <a:lnTo>
                      <a:pt x="1702" y="1418"/>
                    </a:lnTo>
                    <a:lnTo>
                      <a:pt x="1704" y="1404"/>
                    </a:lnTo>
                    <a:lnTo>
                      <a:pt x="1708" y="1390"/>
                    </a:lnTo>
                    <a:lnTo>
                      <a:pt x="1708" y="1378"/>
                    </a:lnTo>
                    <a:lnTo>
                      <a:pt x="1708" y="1368"/>
                    </a:lnTo>
                    <a:lnTo>
                      <a:pt x="1706" y="1360"/>
                    </a:lnTo>
                    <a:lnTo>
                      <a:pt x="1702" y="1342"/>
                    </a:lnTo>
                    <a:lnTo>
                      <a:pt x="1702" y="1334"/>
                    </a:lnTo>
                    <a:lnTo>
                      <a:pt x="1702" y="1324"/>
                    </a:lnTo>
                    <a:lnTo>
                      <a:pt x="1706" y="1252"/>
                    </a:lnTo>
                    <a:lnTo>
                      <a:pt x="1708" y="1234"/>
                    </a:lnTo>
                    <a:lnTo>
                      <a:pt x="1710" y="1224"/>
                    </a:lnTo>
                    <a:lnTo>
                      <a:pt x="1712" y="1220"/>
                    </a:lnTo>
                    <a:lnTo>
                      <a:pt x="1714" y="1220"/>
                    </a:lnTo>
                    <a:lnTo>
                      <a:pt x="1718" y="1222"/>
                    </a:lnTo>
                    <a:lnTo>
                      <a:pt x="1720" y="1226"/>
                    </a:lnTo>
                    <a:lnTo>
                      <a:pt x="1726" y="1234"/>
                    </a:lnTo>
                    <a:lnTo>
                      <a:pt x="1730" y="1238"/>
                    </a:lnTo>
                    <a:lnTo>
                      <a:pt x="1736" y="1238"/>
                    </a:lnTo>
                    <a:lnTo>
                      <a:pt x="1740" y="1234"/>
                    </a:lnTo>
                    <a:lnTo>
                      <a:pt x="1746" y="1224"/>
                    </a:lnTo>
                    <a:lnTo>
                      <a:pt x="1752" y="1212"/>
                    </a:lnTo>
                    <a:lnTo>
                      <a:pt x="1766" y="1176"/>
                    </a:lnTo>
                    <a:lnTo>
                      <a:pt x="1774" y="1158"/>
                    </a:lnTo>
                    <a:lnTo>
                      <a:pt x="1780" y="1146"/>
                    </a:lnTo>
                    <a:lnTo>
                      <a:pt x="1788" y="1136"/>
                    </a:lnTo>
                    <a:lnTo>
                      <a:pt x="1794" y="1128"/>
                    </a:lnTo>
                    <a:lnTo>
                      <a:pt x="1810" y="1112"/>
                    </a:lnTo>
                    <a:lnTo>
                      <a:pt x="1820" y="1100"/>
                    </a:lnTo>
                    <a:lnTo>
                      <a:pt x="1830" y="1082"/>
                    </a:lnTo>
                    <a:lnTo>
                      <a:pt x="1852" y="1044"/>
                    </a:lnTo>
                    <a:lnTo>
                      <a:pt x="1860" y="1030"/>
                    </a:lnTo>
                    <a:lnTo>
                      <a:pt x="1866" y="1016"/>
                    </a:lnTo>
                    <a:lnTo>
                      <a:pt x="1872" y="1002"/>
                    </a:lnTo>
                    <a:lnTo>
                      <a:pt x="1874" y="988"/>
                    </a:lnTo>
                    <a:lnTo>
                      <a:pt x="1874" y="972"/>
                    </a:lnTo>
                    <a:lnTo>
                      <a:pt x="1872" y="956"/>
                    </a:lnTo>
                    <a:close/>
                    <a:moveTo>
                      <a:pt x="1128" y="2234"/>
                    </a:moveTo>
                    <a:lnTo>
                      <a:pt x="1128" y="2234"/>
                    </a:lnTo>
                    <a:lnTo>
                      <a:pt x="1132" y="2242"/>
                    </a:lnTo>
                    <a:lnTo>
                      <a:pt x="1128" y="2234"/>
                    </a:lnTo>
                    <a:close/>
                    <a:moveTo>
                      <a:pt x="698" y="3490"/>
                    </a:moveTo>
                    <a:lnTo>
                      <a:pt x="698" y="3490"/>
                    </a:lnTo>
                    <a:lnTo>
                      <a:pt x="692" y="3492"/>
                    </a:lnTo>
                    <a:lnTo>
                      <a:pt x="688" y="3490"/>
                    </a:lnTo>
                    <a:lnTo>
                      <a:pt x="684" y="3490"/>
                    </a:lnTo>
                    <a:lnTo>
                      <a:pt x="678" y="3492"/>
                    </a:lnTo>
                    <a:lnTo>
                      <a:pt x="670" y="3496"/>
                    </a:lnTo>
                    <a:lnTo>
                      <a:pt x="666" y="3498"/>
                    </a:lnTo>
                    <a:lnTo>
                      <a:pt x="670" y="3500"/>
                    </a:lnTo>
                    <a:lnTo>
                      <a:pt x="672" y="3500"/>
                    </a:lnTo>
                    <a:lnTo>
                      <a:pt x="678" y="3498"/>
                    </a:lnTo>
                    <a:lnTo>
                      <a:pt x="682" y="3494"/>
                    </a:lnTo>
                    <a:lnTo>
                      <a:pt x="684" y="3496"/>
                    </a:lnTo>
                    <a:lnTo>
                      <a:pt x="686" y="3498"/>
                    </a:lnTo>
                    <a:lnTo>
                      <a:pt x="690" y="3496"/>
                    </a:lnTo>
                    <a:lnTo>
                      <a:pt x="694" y="3496"/>
                    </a:lnTo>
                    <a:lnTo>
                      <a:pt x="696" y="3496"/>
                    </a:lnTo>
                    <a:lnTo>
                      <a:pt x="700" y="3496"/>
                    </a:lnTo>
                    <a:lnTo>
                      <a:pt x="702" y="3494"/>
                    </a:lnTo>
                    <a:lnTo>
                      <a:pt x="704" y="3492"/>
                    </a:lnTo>
                    <a:lnTo>
                      <a:pt x="702" y="3490"/>
                    </a:lnTo>
                    <a:lnTo>
                      <a:pt x="698" y="3490"/>
                    </a:lnTo>
                    <a:close/>
                    <a:moveTo>
                      <a:pt x="294" y="3084"/>
                    </a:moveTo>
                    <a:lnTo>
                      <a:pt x="294" y="3084"/>
                    </a:lnTo>
                    <a:lnTo>
                      <a:pt x="298" y="3086"/>
                    </a:lnTo>
                    <a:lnTo>
                      <a:pt x="300" y="3084"/>
                    </a:lnTo>
                    <a:lnTo>
                      <a:pt x="300" y="3082"/>
                    </a:lnTo>
                    <a:lnTo>
                      <a:pt x="298" y="3080"/>
                    </a:lnTo>
                    <a:lnTo>
                      <a:pt x="292" y="3078"/>
                    </a:lnTo>
                    <a:lnTo>
                      <a:pt x="286" y="3078"/>
                    </a:lnTo>
                    <a:lnTo>
                      <a:pt x="282" y="3078"/>
                    </a:lnTo>
                    <a:lnTo>
                      <a:pt x="276" y="3080"/>
                    </a:lnTo>
                    <a:lnTo>
                      <a:pt x="274" y="3082"/>
                    </a:lnTo>
                    <a:lnTo>
                      <a:pt x="274" y="3084"/>
                    </a:lnTo>
                    <a:lnTo>
                      <a:pt x="280" y="3084"/>
                    </a:lnTo>
                    <a:lnTo>
                      <a:pt x="288" y="3084"/>
                    </a:lnTo>
                    <a:lnTo>
                      <a:pt x="294" y="3084"/>
                    </a:lnTo>
                    <a:close/>
                    <a:moveTo>
                      <a:pt x="338" y="3318"/>
                    </a:moveTo>
                    <a:lnTo>
                      <a:pt x="338" y="3318"/>
                    </a:lnTo>
                    <a:lnTo>
                      <a:pt x="330" y="3322"/>
                    </a:lnTo>
                    <a:lnTo>
                      <a:pt x="328" y="3324"/>
                    </a:lnTo>
                    <a:lnTo>
                      <a:pt x="330" y="3326"/>
                    </a:lnTo>
                    <a:lnTo>
                      <a:pt x="334" y="3326"/>
                    </a:lnTo>
                    <a:lnTo>
                      <a:pt x="338" y="3322"/>
                    </a:lnTo>
                    <a:lnTo>
                      <a:pt x="338" y="3318"/>
                    </a:lnTo>
                    <a:close/>
                    <a:moveTo>
                      <a:pt x="292" y="3034"/>
                    </a:moveTo>
                    <a:lnTo>
                      <a:pt x="292" y="3034"/>
                    </a:lnTo>
                    <a:lnTo>
                      <a:pt x="290" y="3032"/>
                    </a:lnTo>
                    <a:lnTo>
                      <a:pt x="288" y="3030"/>
                    </a:lnTo>
                    <a:lnTo>
                      <a:pt x="284" y="3030"/>
                    </a:lnTo>
                    <a:lnTo>
                      <a:pt x="282" y="3034"/>
                    </a:lnTo>
                    <a:lnTo>
                      <a:pt x="284" y="3036"/>
                    </a:lnTo>
                    <a:lnTo>
                      <a:pt x="286" y="3038"/>
                    </a:lnTo>
                    <a:lnTo>
                      <a:pt x="290" y="3036"/>
                    </a:lnTo>
                    <a:lnTo>
                      <a:pt x="292" y="3034"/>
                    </a:lnTo>
                    <a:close/>
                    <a:moveTo>
                      <a:pt x="420" y="3442"/>
                    </a:moveTo>
                    <a:lnTo>
                      <a:pt x="420" y="3442"/>
                    </a:lnTo>
                    <a:lnTo>
                      <a:pt x="420" y="3446"/>
                    </a:lnTo>
                    <a:lnTo>
                      <a:pt x="424" y="3452"/>
                    </a:lnTo>
                    <a:lnTo>
                      <a:pt x="440" y="3462"/>
                    </a:lnTo>
                    <a:lnTo>
                      <a:pt x="444" y="3464"/>
                    </a:lnTo>
                    <a:lnTo>
                      <a:pt x="444" y="3462"/>
                    </a:lnTo>
                    <a:lnTo>
                      <a:pt x="442" y="3458"/>
                    </a:lnTo>
                    <a:lnTo>
                      <a:pt x="438" y="3454"/>
                    </a:lnTo>
                    <a:lnTo>
                      <a:pt x="430" y="3446"/>
                    </a:lnTo>
                    <a:lnTo>
                      <a:pt x="434" y="3448"/>
                    </a:lnTo>
                    <a:lnTo>
                      <a:pt x="438" y="3450"/>
                    </a:lnTo>
                    <a:lnTo>
                      <a:pt x="442" y="3450"/>
                    </a:lnTo>
                    <a:lnTo>
                      <a:pt x="442" y="3448"/>
                    </a:lnTo>
                    <a:lnTo>
                      <a:pt x="440" y="3444"/>
                    </a:lnTo>
                    <a:lnTo>
                      <a:pt x="436" y="3438"/>
                    </a:lnTo>
                    <a:lnTo>
                      <a:pt x="434" y="3432"/>
                    </a:lnTo>
                    <a:lnTo>
                      <a:pt x="434" y="3420"/>
                    </a:lnTo>
                    <a:lnTo>
                      <a:pt x="434" y="3418"/>
                    </a:lnTo>
                    <a:lnTo>
                      <a:pt x="434" y="3420"/>
                    </a:lnTo>
                    <a:lnTo>
                      <a:pt x="430" y="3422"/>
                    </a:lnTo>
                    <a:lnTo>
                      <a:pt x="426" y="3428"/>
                    </a:lnTo>
                    <a:lnTo>
                      <a:pt x="426" y="3432"/>
                    </a:lnTo>
                    <a:lnTo>
                      <a:pt x="426" y="3436"/>
                    </a:lnTo>
                    <a:lnTo>
                      <a:pt x="424" y="3436"/>
                    </a:lnTo>
                    <a:lnTo>
                      <a:pt x="422" y="3436"/>
                    </a:lnTo>
                    <a:lnTo>
                      <a:pt x="420" y="3442"/>
                    </a:lnTo>
                    <a:close/>
                    <a:moveTo>
                      <a:pt x="272" y="3186"/>
                    </a:moveTo>
                    <a:lnTo>
                      <a:pt x="272" y="3186"/>
                    </a:lnTo>
                    <a:lnTo>
                      <a:pt x="270" y="3186"/>
                    </a:lnTo>
                    <a:lnTo>
                      <a:pt x="272" y="3180"/>
                    </a:lnTo>
                    <a:lnTo>
                      <a:pt x="274" y="3174"/>
                    </a:lnTo>
                    <a:lnTo>
                      <a:pt x="274" y="3168"/>
                    </a:lnTo>
                    <a:lnTo>
                      <a:pt x="274" y="3150"/>
                    </a:lnTo>
                    <a:lnTo>
                      <a:pt x="272" y="3136"/>
                    </a:lnTo>
                    <a:lnTo>
                      <a:pt x="272" y="3132"/>
                    </a:lnTo>
                    <a:lnTo>
                      <a:pt x="270" y="3132"/>
                    </a:lnTo>
                    <a:lnTo>
                      <a:pt x="266" y="3132"/>
                    </a:lnTo>
                    <a:lnTo>
                      <a:pt x="264" y="3130"/>
                    </a:lnTo>
                    <a:lnTo>
                      <a:pt x="262" y="3130"/>
                    </a:lnTo>
                    <a:lnTo>
                      <a:pt x="258" y="3132"/>
                    </a:lnTo>
                    <a:lnTo>
                      <a:pt x="252" y="3136"/>
                    </a:lnTo>
                    <a:lnTo>
                      <a:pt x="250" y="3138"/>
                    </a:lnTo>
                    <a:lnTo>
                      <a:pt x="252" y="3140"/>
                    </a:lnTo>
                    <a:lnTo>
                      <a:pt x="254" y="3142"/>
                    </a:lnTo>
                    <a:lnTo>
                      <a:pt x="254" y="3144"/>
                    </a:lnTo>
                    <a:lnTo>
                      <a:pt x="254" y="3146"/>
                    </a:lnTo>
                    <a:lnTo>
                      <a:pt x="256" y="3148"/>
                    </a:lnTo>
                    <a:lnTo>
                      <a:pt x="258" y="3150"/>
                    </a:lnTo>
                    <a:lnTo>
                      <a:pt x="260" y="3154"/>
                    </a:lnTo>
                    <a:lnTo>
                      <a:pt x="258" y="3164"/>
                    </a:lnTo>
                    <a:lnTo>
                      <a:pt x="256" y="3166"/>
                    </a:lnTo>
                    <a:lnTo>
                      <a:pt x="252" y="3164"/>
                    </a:lnTo>
                    <a:lnTo>
                      <a:pt x="250" y="3162"/>
                    </a:lnTo>
                    <a:lnTo>
                      <a:pt x="246" y="3162"/>
                    </a:lnTo>
                    <a:lnTo>
                      <a:pt x="244" y="3164"/>
                    </a:lnTo>
                    <a:lnTo>
                      <a:pt x="242" y="3162"/>
                    </a:lnTo>
                    <a:lnTo>
                      <a:pt x="238" y="3162"/>
                    </a:lnTo>
                    <a:lnTo>
                      <a:pt x="236" y="3164"/>
                    </a:lnTo>
                    <a:lnTo>
                      <a:pt x="234" y="3168"/>
                    </a:lnTo>
                    <a:lnTo>
                      <a:pt x="236" y="3172"/>
                    </a:lnTo>
                    <a:lnTo>
                      <a:pt x="238" y="3178"/>
                    </a:lnTo>
                    <a:lnTo>
                      <a:pt x="242" y="3184"/>
                    </a:lnTo>
                    <a:lnTo>
                      <a:pt x="244" y="3190"/>
                    </a:lnTo>
                    <a:lnTo>
                      <a:pt x="246" y="3194"/>
                    </a:lnTo>
                    <a:lnTo>
                      <a:pt x="248" y="3200"/>
                    </a:lnTo>
                    <a:lnTo>
                      <a:pt x="250" y="3200"/>
                    </a:lnTo>
                    <a:lnTo>
                      <a:pt x="252" y="3200"/>
                    </a:lnTo>
                    <a:lnTo>
                      <a:pt x="254" y="3196"/>
                    </a:lnTo>
                    <a:lnTo>
                      <a:pt x="254" y="3190"/>
                    </a:lnTo>
                    <a:lnTo>
                      <a:pt x="252" y="3184"/>
                    </a:lnTo>
                    <a:lnTo>
                      <a:pt x="250" y="3180"/>
                    </a:lnTo>
                    <a:lnTo>
                      <a:pt x="252" y="3178"/>
                    </a:lnTo>
                    <a:lnTo>
                      <a:pt x="254" y="3178"/>
                    </a:lnTo>
                    <a:lnTo>
                      <a:pt x="258" y="3182"/>
                    </a:lnTo>
                    <a:lnTo>
                      <a:pt x="262" y="3184"/>
                    </a:lnTo>
                    <a:lnTo>
                      <a:pt x="262" y="3186"/>
                    </a:lnTo>
                    <a:lnTo>
                      <a:pt x="260" y="3186"/>
                    </a:lnTo>
                    <a:lnTo>
                      <a:pt x="258" y="3190"/>
                    </a:lnTo>
                    <a:lnTo>
                      <a:pt x="258" y="3192"/>
                    </a:lnTo>
                    <a:lnTo>
                      <a:pt x="258" y="3194"/>
                    </a:lnTo>
                    <a:lnTo>
                      <a:pt x="258" y="3198"/>
                    </a:lnTo>
                    <a:lnTo>
                      <a:pt x="258" y="3202"/>
                    </a:lnTo>
                    <a:lnTo>
                      <a:pt x="258" y="3206"/>
                    </a:lnTo>
                    <a:lnTo>
                      <a:pt x="260" y="3208"/>
                    </a:lnTo>
                    <a:lnTo>
                      <a:pt x="266" y="3208"/>
                    </a:lnTo>
                    <a:lnTo>
                      <a:pt x="270" y="3208"/>
                    </a:lnTo>
                    <a:lnTo>
                      <a:pt x="272" y="3206"/>
                    </a:lnTo>
                    <a:lnTo>
                      <a:pt x="274" y="3200"/>
                    </a:lnTo>
                    <a:lnTo>
                      <a:pt x="274" y="3194"/>
                    </a:lnTo>
                    <a:lnTo>
                      <a:pt x="276" y="3192"/>
                    </a:lnTo>
                    <a:lnTo>
                      <a:pt x="276" y="3190"/>
                    </a:lnTo>
                    <a:lnTo>
                      <a:pt x="276" y="3188"/>
                    </a:lnTo>
                    <a:lnTo>
                      <a:pt x="276" y="3186"/>
                    </a:lnTo>
                    <a:lnTo>
                      <a:pt x="272" y="318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b="1" dirty="0"/>
              </a:p>
            </p:txBody>
          </p:sp>
          <p:sp>
            <p:nvSpPr>
              <p:cNvPr id="1711" name="Freeform 6151">
                <a:extLst>
                  <a:ext uri="{FF2B5EF4-FFF2-40B4-BE49-F238E27FC236}">
                    <a16:creationId xmlns:a16="http://schemas.microsoft.com/office/drawing/2014/main" id="{0E6121D1-A6EA-4924-9504-030575CFD9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34182" y="3952882"/>
                <a:ext cx="1708155" cy="1525582"/>
              </a:xfrm>
              <a:custGeom>
                <a:avLst/>
                <a:gdLst>
                  <a:gd name="T0" fmla="*/ 441960 w 2690"/>
                  <a:gd name="T1" fmla="*/ 349032 h 2404"/>
                  <a:gd name="T2" fmla="*/ 1037590 w 2690"/>
                  <a:gd name="T3" fmla="*/ 357917 h 2404"/>
                  <a:gd name="T4" fmla="*/ 979170 w 2690"/>
                  <a:gd name="T5" fmla="*/ 750102 h 2404"/>
                  <a:gd name="T6" fmla="*/ 911860 w 2690"/>
                  <a:gd name="T7" fmla="*/ 630796 h 2404"/>
                  <a:gd name="T8" fmla="*/ 789940 w 2690"/>
                  <a:gd name="T9" fmla="*/ 445492 h 2404"/>
                  <a:gd name="T10" fmla="*/ 726440 w 2690"/>
                  <a:gd name="T11" fmla="*/ 403608 h 2404"/>
                  <a:gd name="T12" fmla="*/ 579120 w 2690"/>
                  <a:gd name="T13" fmla="*/ 472145 h 2404"/>
                  <a:gd name="T14" fmla="*/ 584200 w 2690"/>
                  <a:gd name="T15" fmla="*/ 383301 h 2404"/>
                  <a:gd name="T16" fmla="*/ 478790 w 2690"/>
                  <a:gd name="T17" fmla="*/ 352840 h 2404"/>
                  <a:gd name="T18" fmla="*/ 388620 w 2690"/>
                  <a:gd name="T19" fmla="*/ 458184 h 2404"/>
                  <a:gd name="T20" fmla="*/ 262890 w 2690"/>
                  <a:gd name="T21" fmla="*/ 533067 h 2404"/>
                  <a:gd name="T22" fmla="*/ 69850 w 2690"/>
                  <a:gd name="T23" fmla="*/ 656181 h 2404"/>
                  <a:gd name="T24" fmla="*/ 5080 w 2690"/>
                  <a:gd name="T25" fmla="*/ 802139 h 2404"/>
                  <a:gd name="T26" fmla="*/ 60960 w 2690"/>
                  <a:gd name="T27" fmla="*/ 1055981 h 2404"/>
                  <a:gd name="T28" fmla="*/ 218440 w 2690"/>
                  <a:gd name="T29" fmla="*/ 1077558 h 2404"/>
                  <a:gd name="T30" fmla="*/ 490220 w 2690"/>
                  <a:gd name="T31" fmla="*/ 1012828 h 2404"/>
                  <a:gd name="T32" fmla="*/ 628650 w 2690"/>
                  <a:gd name="T33" fmla="*/ 1040751 h 2404"/>
                  <a:gd name="T34" fmla="*/ 647700 w 2690"/>
                  <a:gd name="T35" fmla="*/ 1137210 h 2404"/>
                  <a:gd name="T36" fmla="*/ 810260 w 2690"/>
                  <a:gd name="T37" fmla="*/ 1215901 h 2404"/>
                  <a:gd name="T38" fmla="*/ 938530 w 2690"/>
                  <a:gd name="T39" fmla="*/ 1189248 h 2404"/>
                  <a:gd name="T40" fmla="*/ 1033780 w 2690"/>
                  <a:gd name="T41" fmla="*/ 896061 h 2404"/>
                  <a:gd name="T42" fmla="*/ 1059180 w 2690"/>
                  <a:gd name="T43" fmla="*/ 154843 h 2404"/>
                  <a:gd name="T44" fmla="*/ 788670 w 2690"/>
                  <a:gd name="T45" fmla="*/ 1289515 h 2404"/>
                  <a:gd name="T46" fmla="*/ 810260 w 2690"/>
                  <a:gd name="T47" fmla="*/ 1344091 h 2404"/>
                  <a:gd name="T48" fmla="*/ 881380 w 2690"/>
                  <a:gd name="T49" fmla="*/ 1394860 h 2404"/>
                  <a:gd name="T50" fmla="*/ 623570 w 2690"/>
                  <a:gd name="T51" fmla="*/ 1148633 h 2404"/>
                  <a:gd name="T52" fmla="*/ 1405890 w 2690"/>
                  <a:gd name="T53" fmla="*/ 516568 h 2404"/>
                  <a:gd name="T54" fmla="*/ 1370330 w 2690"/>
                  <a:gd name="T55" fmla="*/ 696795 h 2404"/>
                  <a:gd name="T56" fmla="*/ 1367790 w 2690"/>
                  <a:gd name="T57" fmla="*/ 455646 h 2404"/>
                  <a:gd name="T58" fmla="*/ 1125220 w 2690"/>
                  <a:gd name="T59" fmla="*/ 244957 h 2404"/>
                  <a:gd name="T60" fmla="*/ 1106170 w 2690"/>
                  <a:gd name="T61" fmla="*/ 201804 h 2404"/>
                  <a:gd name="T62" fmla="*/ 1162050 w 2690"/>
                  <a:gd name="T63" fmla="*/ 242419 h 2404"/>
                  <a:gd name="T64" fmla="*/ 1210310 w 2690"/>
                  <a:gd name="T65" fmla="*/ 365532 h 2404"/>
                  <a:gd name="T66" fmla="*/ 1394460 w 2690"/>
                  <a:gd name="T67" fmla="*/ 512760 h 2404"/>
                  <a:gd name="T68" fmla="*/ 1545590 w 2690"/>
                  <a:gd name="T69" fmla="*/ 1325053 h 2404"/>
                  <a:gd name="T70" fmla="*/ 1426210 w 2690"/>
                  <a:gd name="T71" fmla="*/ 1426590 h 2404"/>
                  <a:gd name="T72" fmla="*/ 1432560 w 2690"/>
                  <a:gd name="T73" fmla="*/ 1525588 h 2404"/>
                  <a:gd name="T74" fmla="*/ 1534160 w 2690"/>
                  <a:gd name="T75" fmla="*/ 1393590 h 2404"/>
                  <a:gd name="T76" fmla="*/ 1692910 w 2690"/>
                  <a:gd name="T77" fmla="*/ 521644 h 2404"/>
                  <a:gd name="T78" fmla="*/ 1576070 w 2690"/>
                  <a:gd name="T79" fmla="*/ 1165133 h 2404"/>
                  <a:gd name="T80" fmla="*/ 1564640 w 2690"/>
                  <a:gd name="T81" fmla="*/ 1161325 h 2404"/>
                  <a:gd name="T82" fmla="*/ 1588770 w 2690"/>
                  <a:gd name="T83" fmla="*/ 1345360 h 2404"/>
                  <a:gd name="T84" fmla="*/ 1651000 w 2690"/>
                  <a:gd name="T85" fmla="*/ 1208286 h 2404"/>
                  <a:gd name="T86" fmla="*/ 1428750 w 2690"/>
                  <a:gd name="T87" fmla="*/ 587643 h 2404"/>
                  <a:gd name="T88" fmla="*/ 966470 w 2690"/>
                  <a:gd name="T89" fmla="*/ 312225 h 2404"/>
                  <a:gd name="T90" fmla="*/ 867410 w 2690"/>
                  <a:gd name="T91" fmla="*/ 159920 h 2404"/>
                  <a:gd name="T92" fmla="*/ 584200 w 2690"/>
                  <a:gd name="T93" fmla="*/ 49499 h 2404"/>
                  <a:gd name="T94" fmla="*/ 539750 w 2690"/>
                  <a:gd name="T95" fmla="*/ 182766 h 2404"/>
                  <a:gd name="T96" fmla="*/ 631190 w 2690"/>
                  <a:gd name="T97" fmla="*/ 243688 h 2404"/>
                  <a:gd name="T98" fmla="*/ 673100 w 2690"/>
                  <a:gd name="T99" fmla="*/ 510222 h 2404"/>
                  <a:gd name="T100" fmla="*/ 769620 w 2690"/>
                  <a:gd name="T101" fmla="*/ 279226 h 2404"/>
                  <a:gd name="T102" fmla="*/ 889000 w 2690"/>
                  <a:gd name="T103" fmla="*/ 312225 h 2404"/>
                  <a:gd name="T104" fmla="*/ 885190 w 2690"/>
                  <a:gd name="T105" fmla="*/ 244957 h 2404"/>
                  <a:gd name="T106" fmla="*/ 774700 w 2690"/>
                  <a:gd name="T107" fmla="*/ 107883 h 2404"/>
                  <a:gd name="T108" fmla="*/ 922020 w 2690"/>
                  <a:gd name="T109" fmla="*/ 187843 h 2404"/>
                  <a:gd name="T110" fmla="*/ 971550 w 2690"/>
                  <a:gd name="T111" fmla="*/ 153574 h 2404"/>
                  <a:gd name="T112" fmla="*/ 1008380 w 2690"/>
                  <a:gd name="T113" fmla="*/ 128190 h 2404"/>
                  <a:gd name="T114" fmla="*/ 952500 w 2690"/>
                  <a:gd name="T115" fmla="*/ 81229 h 2404"/>
                  <a:gd name="T116" fmla="*/ 487680 w 2690"/>
                  <a:gd name="T117" fmla="*/ 92652 h 2404"/>
                  <a:gd name="T118" fmla="*/ 637540 w 2690"/>
                  <a:gd name="T119" fmla="*/ 180228 h 2404"/>
                  <a:gd name="T120" fmla="*/ 613410 w 2690"/>
                  <a:gd name="T121" fmla="*/ 60922 h 2404"/>
                  <a:gd name="T122" fmla="*/ 499110 w 2690"/>
                  <a:gd name="T123" fmla="*/ 11423 h 2404"/>
                  <a:gd name="T124" fmla="*/ 1026160 w 2690"/>
                  <a:gd name="T125" fmla="*/ 776755 h 24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2690"/>
                  <a:gd name="T190" fmla="*/ 0 h 2404"/>
                  <a:gd name="T191" fmla="*/ 2690 w 2690"/>
                  <a:gd name="T192" fmla="*/ 2404 h 240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2690" h="2404">
                    <a:moveTo>
                      <a:pt x="692" y="12"/>
                    </a:moveTo>
                    <a:lnTo>
                      <a:pt x="692" y="12"/>
                    </a:lnTo>
                    <a:lnTo>
                      <a:pt x="698" y="14"/>
                    </a:lnTo>
                    <a:lnTo>
                      <a:pt x="702" y="18"/>
                    </a:lnTo>
                    <a:lnTo>
                      <a:pt x="708" y="20"/>
                    </a:lnTo>
                    <a:lnTo>
                      <a:pt x="714" y="20"/>
                    </a:lnTo>
                    <a:lnTo>
                      <a:pt x="716" y="20"/>
                    </a:lnTo>
                    <a:lnTo>
                      <a:pt x="714" y="18"/>
                    </a:lnTo>
                    <a:lnTo>
                      <a:pt x="712" y="16"/>
                    </a:lnTo>
                    <a:lnTo>
                      <a:pt x="710" y="12"/>
                    </a:lnTo>
                    <a:lnTo>
                      <a:pt x="708" y="12"/>
                    </a:lnTo>
                    <a:lnTo>
                      <a:pt x="710" y="12"/>
                    </a:lnTo>
                    <a:lnTo>
                      <a:pt x="714" y="12"/>
                    </a:lnTo>
                    <a:lnTo>
                      <a:pt x="718" y="16"/>
                    </a:lnTo>
                    <a:lnTo>
                      <a:pt x="722" y="18"/>
                    </a:lnTo>
                    <a:lnTo>
                      <a:pt x="728" y="18"/>
                    </a:lnTo>
                    <a:lnTo>
                      <a:pt x="730" y="16"/>
                    </a:lnTo>
                    <a:lnTo>
                      <a:pt x="730" y="12"/>
                    </a:lnTo>
                    <a:lnTo>
                      <a:pt x="724" y="6"/>
                    </a:lnTo>
                    <a:lnTo>
                      <a:pt x="714" y="2"/>
                    </a:lnTo>
                    <a:lnTo>
                      <a:pt x="708" y="0"/>
                    </a:lnTo>
                    <a:lnTo>
                      <a:pt x="702" y="2"/>
                    </a:lnTo>
                    <a:lnTo>
                      <a:pt x="694" y="4"/>
                    </a:lnTo>
                    <a:lnTo>
                      <a:pt x="688" y="8"/>
                    </a:lnTo>
                    <a:lnTo>
                      <a:pt x="688" y="10"/>
                    </a:lnTo>
                    <a:lnTo>
                      <a:pt x="692" y="12"/>
                    </a:lnTo>
                    <a:close/>
                    <a:moveTo>
                      <a:pt x="742" y="352"/>
                    </a:moveTo>
                    <a:lnTo>
                      <a:pt x="742" y="352"/>
                    </a:lnTo>
                    <a:lnTo>
                      <a:pt x="740" y="350"/>
                    </a:lnTo>
                    <a:lnTo>
                      <a:pt x="736" y="352"/>
                    </a:lnTo>
                    <a:lnTo>
                      <a:pt x="732" y="358"/>
                    </a:lnTo>
                    <a:lnTo>
                      <a:pt x="728" y="366"/>
                    </a:lnTo>
                    <a:lnTo>
                      <a:pt x="724" y="382"/>
                    </a:lnTo>
                    <a:lnTo>
                      <a:pt x="724" y="386"/>
                    </a:lnTo>
                    <a:lnTo>
                      <a:pt x="724" y="388"/>
                    </a:lnTo>
                    <a:lnTo>
                      <a:pt x="726" y="388"/>
                    </a:lnTo>
                    <a:lnTo>
                      <a:pt x="736" y="382"/>
                    </a:lnTo>
                    <a:lnTo>
                      <a:pt x="742" y="374"/>
                    </a:lnTo>
                    <a:lnTo>
                      <a:pt x="744" y="364"/>
                    </a:lnTo>
                    <a:lnTo>
                      <a:pt x="742" y="352"/>
                    </a:lnTo>
                    <a:close/>
                    <a:moveTo>
                      <a:pt x="696" y="550"/>
                    </a:moveTo>
                    <a:lnTo>
                      <a:pt x="696" y="550"/>
                    </a:lnTo>
                    <a:lnTo>
                      <a:pt x="692" y="548"/>
                    </a:lnTo>
                    <a:lnTo>
                      <a:pt x="690" y="548"/>
                    </a:lnTo>
                    <a:lnTo>
                      <a:pt x="690" y="552"/>
                    </a:lnTo>
                    <a:lnTo>
                      <a:pt x="692" y="556"/>
                    </a:lnTo>
                    <a:lnTo>
                      <a:pt x="700" y="566"/>
                    </a:lnTo>
                    <a:lnTo>
                      <a:pt x="710" y="578"/>
                    </a:lnTo>
                    <a:lnTo>
                      <a:pt x="714" y="580"/>
                    </a:lnTo>
                    <a:lnTo>
                      <a:pt x="718" y="578"/>
                    </a:lnTo>
                    <a:lnTo>
                      <a:pt x="724" y="576"/>
                    </a:lnTo>
                    <a:lnTo>
                      <a:pt x="728" y="574"/>
                    </a:lnTo>
                    <a:lnTo>
                      <a:pt x="734" y="568"/>
                    </a:lnTo>
                    <a:lnTo>
                      <a:pt x="736" y="564"/>
                    </a:lnTo>
                    <a:lnTo>
                      <a:pt x="738" y="558"/>
                    </a:lnTo>
                    <a:lnTo>
                      <a:pt x="736" y="552"/>
                    </a:lnTo>
                    <a:lnTo>
                      <a:pt x="730" y="546"/>
                    </a:lnTo>
                    <a:lnTo>
                      <a:pt x="728" y="544"/>
                    </a:lnTo>
                    <a:lnTo>
                      <a:pt x="724" y="546"/>
                    </a:lnTo>
                    <a:lnTo>
                      <a:pt x="722" y="548"/>
                    </a:lnTo>
                    <a:lnTo>
                      <a:pt x="718" y="552"/>
                    </a:lnTo>
                    <a:lnTo>
                      <a:pt x="712" y="554"/>
                    </a:lnTo>
                    <a:lnTo>
                      <a:pt x="706" y="554"/>
                    </a:lnTo>
                    <a:lnTo>
                      <a:pt x="696" y="550"/>
                    </a:lnTo>
                    <a:close/>
                    <a:moveTo>
                      <a:pt x="936" y="688"/>
                    </a:moveTo>
                    <a:lnTo>
                      <a:pt x="936" y="688"/>
                    </a:lnTo>
                    <a:lnTo>
                      <a:pt x="938" y="696"/>
                    </a:lnTo>
                    <a:lnTo>
                      <a:pt x="940" y="696"/>
                    </a:lnTo>
                    <a:lnTo>
                      <a:pt x="942" y="696"/>
                    </a:lnTo>
                    <a:lnTo>
                      <a:pt x="946" y="692"/>
                    </a:lnTo>
                    <a:lnTo>
                      <a:pt x="950" y="684"/>
                    </a:lnTo>
                    <a:lnTo>
                      <a:pt x="950" y="680"/>
                    </a:lnTo>
                    <a:lnTo>
                      <a:pt x="950" y="678"/>
                    </a:lnTo>
                    <a:lnTo>
                      <a:pt x="946" y="676"/>
                    </a:lnTo>
                    <a:lnTo>
                      <a:pt x="942" y="676"/>
                    </a:lnTo>
                    <a:lnTo>
                      <a:pt x="940" y="676"/>
                    </a:lnTo>
                    <a:lnTo>
                      <a:pt x="936" y="680"/>
                    </a:lnTo>
                    <a:lnTo>
                      <a:pt x="934" y="684"/>
                    </a:lnTo>
                    <a:lnTo>
                      <a:pt x="936" y="688"/>
                    </a:lnTo>
                    <a:close/>
                    <a:moveTo>
                      <a:pt x="1610" y="556"/>
                    </a:moveTo>
                    <a:lnTo>
                      <a:pt x="1610" y="556"/>
                    </a:lnTo>
                    <a:lnTo>
                      <a:pt x="1616" y="560"/>
                    </a:lnTo>
                    <a:lnTo>
                      <a:pt x="1624" y="562"/>
                    </a:lnTo>
                    <a:lnTo>
                      <a:pt x="1632" y="564"/>
                    </a:lnTo>
                    <a:lnTo>
                      <a:pt x="1634" y="564"/>
                    </a:lnTo>
                    <a:lnTo>
                      <a:pt x="1634" y="562"/>
                    </a:lnTo>
                    <a:lnTo>
                      <a:pt x="1628" y="558"/>
                    </a:lnTo>
                    <a:lnTo>
                      <a:pt x="1618" y="552"/>
                    </a:lnTo>
                    <a:lnTo>
                      <a:pt x="1610" y="550"/>
                    </a:lnTo>
                    <a:lnTo>
                      <a:pt x="1610" y="552"/>
                    </a:lnTo>
                    <a:lnTo>
                      <a:pt x="1610" y="556"/>
                    </a:lnTo>
                    <a:close/>
                    <a:moveTo>
                      <a:pt x="1402" y="2052"/>
                    </a:moveTo>
                    <a:lnTo>
                      <a:pt x="1402" y="2052"/>
                    </a:lnTo>
                    <a:lnTo>
                      <a:pt x="1404" y="2054"/>
                    </a:lnTo>
                    <a:lnTo>
                      <a:pt x="1410" y="2056"/>
                    </a:lnTo>
                    <a:lnTo>
                      <a:pt x="1416" y="2056"/>
                    </a:lnTo>
                    <a:lnTo>
                      <a:pt x="1420" y="2054"/>
                    </a:lnTo>
                    <a:lnTo>
                      <a:pt x="1420" y="2052"/>
                    </a:lnTo>
                    <a:lnTo>
                      <a:pt x="1418" y="2048"/>
                    </a:lnTo>
                    <a:lnTo>
                      <a:pt x="1412" y="2048"/>
                    </a:lnTo>
                    <a:lnTo>
                      <a:pt x="1404" y="2048"/>
                    </a:lnTo>
                    <a:lnTo>
                      <a:pt x="1402" y="2050"/>
                    </a:lnTo>
                    <a:lnTo>
                      <a:pt x="1402" y="2052"/>
                    </a:lnTo>
                    <a:close/>
                    <a:moveTo>
                      <a:pt x="1610" y="1344"/>
                    </a:moveTo>
                    <a:lnTo>
                      <a:pt x="1610" y="1344"/>
                    </a:lnTo>
                    <a:lnTo>
                      <a:pt x="1612" y="1338"/>
                    </a:lnTo>
                    <a:lnTo>
                      <a:pt x="1614" y="1334"/>
                    </a:lnTo>
                    <a:lnTo>
                      <a:pt x="1612" y="1324"/>
                    </a:lnTo>
                    <a:lnTo>
                      <a:pt x="1610" y="1312"/>
                    </a:lnTo>
                    <a:lnTo>
                      <a:pt x="1608" y="1304"/>
                    </a:lnTo>
                    <a:lnTo>
                      <a:pt x="1610" y="1294"/>
                    </a:lnTo>
                    <a:lnTo>
                      <a:pt x="1610" y="1280"/>
                    </a:lnTo>
                    <a:lnTo>
                      <a:pt x="1608" y="1276"/>
                    </a:lnTo>
                    <a:lnTo>
                      <a:pt x="1606" y="1276"/>
                    </a:lnTo>
                    <a:lnTo>
                      <a:pt x="1604" y="1274"/>
                    </a:lnTo>
                    <a:lnTo>
                      <a:pt x="1600" y="1270"/>
                    </a:lnTo>
                    <a:lnTo>
                      <a:pt x="1598" y="1266"/>
                    </a:lnTo>
                    <a:lnTo>
                      <a:pt x="1596" y="1256"/>
                    </a:lnTo>
                    <a:lnTo>
                      <a:pt x="1594" y="1246"/>
                    </a:lnTo>
                    <a:lnTo>
                      <a:pt x="1590" y="1238"/>
                    </a:lnTo>
                    <a:lnTo>
                      <a:pt x="1582" y="1226"/>
                    </a:lnTo>
                    <a:lnTo>
                      <a:pt x="1570" y="1214"/>
                    </a:lnTo>
                    <a:lnTo>
                      <a:pt x="1560" y="1198"/>
                    </a:lnTo>
                    <a:lnTo>
                      <a:pt x="1550" y="1184"/>
                    </a:lnTo>
                    <a:lnTo>
                      <a:pt x="1548" y="1182"/>
                    </a:lnTo>
                    <a:lnTo>
                      <a:pt x="1546" y="1182"/>
                    </a:lnTo>
                    <a:lnTo>
                      <a:pt x="1542" y="1182"/>
                    </a:lnTo>
                    <a:lnTo>
                      <a:pt x="1538" y="1180"/>
                    </a:lnTo>
                    <a:lnTo>
                      <a:pt x="1534" y="1176"/>
                    </a:lnTo>
                    <a:lnTo>
                      <a:pt x="1526" y="1166"/>
                    </a:lnTo>
                    <a:lnTo>
                      <a:pt x="1518" y="1156"/>
                    </a:lnTo>
                    <a:lnTo>
                      <a:pt x="1514" y="1146"/>
                    </a:lnTo>
                    <a:lnTo>
                      <a:pt x="1514" y="1136"/>
                    </a:lnTo>
                    <a:lnTo>
                      <a:pt x="1514" y="1126"/>
                    </a:lnTo>
                    <a:lnTo>
                      <a:pt x="1514" y="1110"/>
                    </a:lnTo>
                    <a:lnTo>
                      <a:pt x="1514" y="1104"/>
                    </a:lnTo>
                    <a:lnTo>
                      <a:pt x="1510" y="1098"/>
                    </a:lnTo>
                    <a:lnTo>
                      <a:pt x="1508" y="1096"/>
                    </a:lnTo>
                    <a:lnTo>
                      <a:pt x="1506" y="1096"/>
                    </a:lnTo>
                    <a:lnTo>
                      <a:pt x="1502" y="1102"/>
                    </a:lnTo>
                    <a:lnTo>
                      <a:pt x="1502" y="1104"/>
                    </a:lnTo>
                    <a:lnTo>
                      <a:pt x="1498" y="1104"/>
                    </a:lnTo>
                    <a:lnTo>
                      <a:pt x="1494" y="1102"/>
                    </a:lnTo>
                    <a:lnTo>
                      <a:pt x="1490" y="1096"/>
                    </a:lnTo>
                    <a:lnTo>
                      <a:pt x="1484" y="1090"/>
                    </a:lnTo>
                    <a:lnTo>
                      <a:pt x="1480" y="1090"/>
                    </a:lnTo>
                    <a:lnTo>
                      <a:pt x="1480" y="1092"/>
                    </a:lnTo>
                    <a:lnTo>
                      <a:pt x="1480" y="1098"/>
                    </a:lnTo>
                    <a:lnTo>
                      <a:pt x="1478" y="1102"/>
                    </a:lnTo>
                    <a:lnTo>
                      <a:pt x="1478" y="1106"/>
                    </a:lnTo>
                    <a:lnTo>
                      <a:pt x="1474" y="1104"/>
                    </a:lnTo>
                    <a:lnTo>
                      <a:pt x="1470" y="1100"/>
                    </a:lnTo>
                    <a:lnTo>
                      <a:pt x="1464" y="1092"/>
                    </a:lnTo>
                    <a:lnTo>
                      <a:pt x="1462" y="1086"/>
                    </a:lnTo>
                    <a:lnTo>
                      <a:pt x="1462" y="1080"/>
                    </a:lnTo>
                    <a:lnTo>
                      <a:pt x="1462" y="1076"/>
                    </a:lnTo>
                    <a:lnTo>
                      <a:pt x="1464" y="1066"/>
                    </a:lnTo>
                    <a:lnTo>
                      <a:pt x="1462" y="1060"/>
                    </a:lnTo>
                    <a:lnTo>
                      <a:pt x="1462" y="1054"/>
                    </a:lnTo>
                    <a:lnTo>
                      <a:pt x="1458" y="1046"/>
                    </a:lnTo>
                    <a:lnTo>
                      <a:pt x="1452" y="1038"/>
                    </a:lnTo>
                    <a:lnTo>
                      <a:pt x="1440" y="1022"/>
                    </a:lnTo>
                    <a:lnTo>
                      <a:pt x="1430" y="1012"/>
                    </a:lnTo>
                    <a:lnTo>
                      <a:pt x="1428" y="1008"/>
                    </a:lnTo>
                    <a:lnTo>
                      <a:pt x="1432" y="1008"/>
                    </a:lnTo>
                    <a:lnTo>
                      <a:pt x="1436" y="1008"/>
                    </a:lnTo>
                    <a:lnTo>
                      <a:pt x="1438" y="1006"/>
                    </a:lnTo>
                    <a:lnTo>
                      <a:pt x="1440" y="1002"/>
                    </a:lnTo>
                    <a:lnTo>
                      <a:pt x="1438" y="998"/>
                    </a:lnTo>
                    <a:lnTo>
                      <a:pt x="1436" y="994"/>
                    </a:lnTo>
                    <a:lnTo>
                      <a:pt x="1430" y="988"/>
                    </a:lnTo>
                    <a:lnTo>
                      <a:pt x="1422" y="984"/>
                    </a:lnTo>
                    <a:lnTo>
                      <a:pt x="1410" y="978"/>
                    </a:lnTo>
                    <a:lnTo>
                      <a:pt x="1398" y="974"/>
                    </a:lnTo>
                    <a:lnTo>
                      <a:pt x="1392" y="968"/>
                    </a:lnTo>
                    <a:lnTo>
                      <a:pt x="1388" y="964"/>
                    </a:lnTo>
                    <a:lnTo>
                      <a:pt x="1386" y="960"/>
                    </a:lnTo>
                    <a:lnTo>
                      <a:pt x="1384" y="956"/>
                    </a:lnTo>
                    <a:lnTo>
                      <a:pt x="1380" y="952"/>
                    </a:lnTo>
                    <a:lnTo>
                      <a:pt x="1374" y="950"/>
                    </a:lnTo>
                    <a:lnTo>
                      <a:pt x="1364" y="946"/>
                    </a:lnTo>
                    <a:lnTo>
                      <a:pt x="1354" y="942"/>
                    </a:lnTo>
                    <a:lnTo>
                      <a:pt x="1346" y="938"/>
                    </a:lnTo>
                    <a:lnTo>
                      <a:pt x="1340" y="934"/>
                    </a:lnTo>
                    <a:lnTo>
                      <a:pt x="1338" y="928"/>
                    </a:lnTo>
                    <a:lnTo>
                      <a:pt x="1334" y="916"/>
                    </a:lnTo>
                    <a:lnTo>
                      <a:pt x="1332" y="908"/>
                    </a:lnTo>
                    <a:lnTo>
                      <a:pt x="1328" y="902"/>
                    </a:lnTo>
                    <a:lnTo>
                      <a:pt x="1324" y="896"/>
                    </a:lnTo>
                    <a:lnTo>
                      <a:pt x="1324" y="886"/>
                    </a:lnTo>
                    <a:lnTo>
                      <a:pt x="1322" y="864"/>
                    </a:lnTo>
                    <a:lnTo>
                      <a:pt x="1322" y="852"/>
                    </a:lnTo>
                    <a:lnTo>
                      <a:pt x="1320" y="840"/>
                    </a:lnTo>
                    <a:lnTo>
                      <a:pt x="1316" y="828"/>
                    </a:lnTo>
                    <a:lnTo>
                      <a:pt x="1308" y="818"/>
                    </a:lnTo>
                    <a:lnTo>
                      <a:pt x="1304" y="812"/>
                    </a:lnTo>
                    <a:lnTo>
                      <a:pt x="1302" y="806"/>
                    </a:lnTo>
                    <a:lnTo>
                      <a:pt x="1298" y="794"/>
                    </a:lnTo>
                    <a:lnTo>
                      <a:pt x="1296" y="780"/>
                    </a:lnTo>
                    <a:lnTo>
                      <a:pt x="1296" y="764"/>
                    </a:lnTo>
                    <a:lnTo>
                      <a:pt x="1296" y="750"/>
                    </a:lnTo>
                    <a:lnTo>
                      <a:pt x="1294" y="736"/>
                    </a:lnTo>
                    <a:lnTo>
                      <a:pt x="1290" y="726"/>
                    </a:lnTo>
                    <a:lnTo>
                      <a:pt x="1286" y="722"/>
                    </a:lnTo>
                    <a:lnTo>
                      <a:pt x="1282" y="718"/>
                    </a:lnTo>
                    <a:lnTo>
                      <a:pt x="1274" y="712"/>
                    </a:lnTo>
                    <a:lnTo>
                      <a:pt x="1268" y="704"/>
                    </a:lnTo>
                    <a:lnTo>
                      <a:pt x="1262" y="692"/>
                    </a:lnTo>
                    <a:lnTo>
                      <a:pt x="1258" y="690"/>
                    </a:lnTo>
                    <a:lnTo>
                      <a:pt x="1256" y="688"/>
                    </a:lnTo>
                    <a:lnTo>
                      <a:pt x="1254" y="690"/>
                    </a:lnTo>
                    <a:lnTo>
                      <a:pt x="1250" y="698"/>
                    </a:lnTo>
                    <a:lnTo>
                      <a:pt x="1244" y="702"/>
                    </a:lnTo>
                    <a:lnTo>
                      <a:pt x="1240" y="704"/>
                    </a:lnTo>
                    <a:lnTo>
                      <a:pt x="1236" y="702"/>
                    </a:lnTo>
                    <a:lnTo>
                      <a:pt x="1232" y="696"/>
                    </a:lnTo>
                    <a:lnTo>
                      <a:pt x="1228" y="690"/>
                    </a:lnTo>
                    <a:lnTo>
                      <a:pt x="1226" y="682"/>
                    </a:lnTo>
                    <a:lnTo>
                      <a:pt x="1224" y="664"/>
                    </a:lnTo>
                    <a:lnTo>
                      <a:pt x="1224" y="650"/>
                    </a:lnTo>
                    <a:lnTo>
                      <a:pt x="1224" y="634"/>
                    </a:lnTo>
                    <a:lnTo>
                      <a:pt x="1220" y="620"/>
                    </a:lnTo>
                    <a:lnTo>
                      <a:pt x="1216" y="614"/>
                    </a:lnTo>
                    <a:lnTo>
                      <a:pt x="1212" y="606"/>
                    </a:lnTo>
                    <a:lnTo>
                      <a:pt x="1208" y="600"/>
                    </a:lnTo>
                    <a:lnTo>
                      <a:pt x="1206" y="596"/>
                    </a:lnTo>
                    <a:lnTo>
                      <a:pt x="1206" y="588"/>
                    </a:lnTo>
                    <a:lnTo>
                      <a:pt x="1208" y="584"/>
                    </a:lnTo>
                    <a:lnTo>
                      <a:pt x="1206" y="582"/>
                    </a:lnTo>
                    <a:lnTo>
                      <a:pt x="1204" y="578"/>
                    </a:lnTo>
                    <a:lnTo>
                      <a:pt x="1200" y="576"/>
                    </a:lnTo>
                    <a:lnTo>
                      <a:pt x="1196" y="572"/>
                    </a:lnTo>
                    <a:lnTo>
                      <a:pt x="1194" y="562"/>
                    </a:lnTo>
                    <a:lnTo>
                      <a:pt x="1192" y="548"/>
                    </a:lnTo>
                    <a:lnTo>
                      <a:pt x="1190" y="534"/>
                    </a:lnTo>
                    <a:lnTo>
                      <a:pt x="1188" y="526"/>
                    </a:lnTo>
                    <a:lnTo>
                      <a:pt x="1184" y="522"/>
                    </a:lnTo>
                    <a:lnTo>
                      <a:pt x="1180" y="520"/>
                    </a:lnTo>
                    <a:lnTo>
                      <a:pt x="1176" y="520"/>
                    </a:lnTo>
                    <a:lnTo>
                      <a:pt x="1172" y="522"/>
                    </a:lnTo>
                    <a:lnTo>
                      <a:pt x="1170" y="526"/>
                    </a:lnTo>
                    <a:lnTo>
                      <a:pt x="1166" y="532"/>
                    </a:lnTo>
                    <a:lnTo>
                      <a:pt x="1166" y="538"/>
                    </a:lnTo>
                    <a:lnTo>
                      <a:pt x="1164" y="552"/>
                    </a:lnTo>
                    <a:lnTo>
                      <a:pt x="1162" y="564"/>
                    </a:lnTo>
                    <a:lnTo>
                      <a:pt x="1150" y="594"/>
                    </a:lnTo>
                    <a:lnTo>
                      <a:pt x="1146" y="602"/>
                    </a:lnTo>
                    <a:lnTo>
                      <a:pt x="1146" y="608"/>
                    </a:lnTo>
                    <a:lnTo>
                      <a:pt x="1146" y="612"/>
                    </a:lnTo>
                    <a:lnTo>
                      <a:pt x="1150" y="614"/>
                    </a:lnTo>
                    <a:lnTo>
                      <a:pt x="1152" y="616"/>
                    </a:lnTo>
                    <a:lnTo>
                      <a:pt x="1152" y="618"/>
                    </a:lnTo>
                    <a:lnTo>
                      <a:pt x="1150" y="622"/>
                    </a:lnTo>
                    <a:lnTo>
                      <a:pt x="1144" y="630"/>
                    </a:lnTo>
                    <a:lnTo>
                      <a:pt x="1144" y="636"/>
                    </a:lnTo>
                    <a:lnTo>
                      <a:pt x="1144" y="646"/>
                    </a:lnTo>
                    <a:lnTo>
                      <a:pt x="1138" y="658"/>
                    </a:lnTo>
                    <a:lnTo>
                      <a:pt x="1136" y="668"/>
                    </a:lnTo>
                    <a:lnTo>
                      <a:pt x="1136" y="676"/>
                    </a:lnTo>
                    <a:lnTo>
                      <a:pt x="1140" y="700"/>
                    </a:lnTo>
                    <a:lnTo>
                      <a:pt x="1144" y="724"/>
                    </a:lnTo>
                    <a:lnTo>
                      <a:pt x="1144" y="736"/>
                    </a:lnTo>
                    <a:lnTo>
                      <a:pt x="1142" y="748"/>
                    </a:lnTo>
                    <a:lnTo>
                      <a:pt x="1136" y="768"/>
                    </a:lnTo>
                    <a:lnTo>
                      <a:pt x="1136" y="780"/>
                    </a:lnTo>
                    <a:lnTo>
                      <a:pt x="1136" y="792"/>
                    </a:lnTo>
                    <a:lnTo>
                      <a:pt x="1130" y="806"/>
                    </a:lnTo>
                    <a:lnTo>
                      <a:pt x="1124" y="816"/>
                    </a:lnTo>
                    <a:lnTo>
                      <a:pt x="1120" y="826"/>
                    </a:lnTo>
                    <a:lnTo>
                      <a:pt x="1116" y="840"/>
                    </a:lnTo>
                    <a:lnTo>
                      <a:pt x="1114" y="850"/>
                    </a:lnTo>
                    <a:lnTo>
                      <a:pt x="1110" y="856"/>
                    </a:lnTo>
                    <a:lnTo>
                      <a:pt x="1102" y="862"/>
                    </a:lnTo>
                    <a:lnTo>
                      <a:pt x="1096" y="866"/>
                    </a:lnTo>
                    <a:lnTo>
                      <a:pt x="1088" y="866"/>
                    </a:lnTo>
                    <a:lnTo>
                      <a:pt x="1078" y="864"/>
                    </a:lnTo>
                    <a:lnTo>
                      <a:pt x="1068" y="860"/>
                    </a:lnTo>
                    <a:lnTo>
                      <a:pt x="1060" y="854"/>
                    </a:lnTo>
                    <a:lnTo>
                      <a:pt x="1052" y="848"/>
                    </a:lnTo>
                    <a:lnTo>
                      <a:pt x="1046" y="842"/>
                    </a:lnTo>
                    <a:lnTo>
                      <a:pt x="1044" y="836"/>
                    </a:lnTo>
                    <a:lnTo>
                      <a:pt x="1040" y="830"/>
                    </a:lnTo>
                    <a:lnTo>
                      <a:pt x="1036" y="826"/>
                    </a:lnTo>
                    <a:lnTo>
                      <a:pt x="1028" y="824"/>
                    </a:lnTo>
                    <a:lnTo>
                      <a:pt x="1022" y="822"/>
                    </a:lnTo>
                    <a:lnTo>
                      <a:pt x="1014" y="818"/>
                    </a:lnTo>
                    <a:lnTo>
                      <a:pt x="1004" y="812"/>
                    </a:lnTo>
                    <a:lnTo>
                      <a:pt x="990" y="800"/>
                    </a:lnTo>
                    <a:lnTo>
                      <a:pt x="978" y="788"/>
                    </a:lnTo>
                    <a:lnTo>
                      <a:pt x="968" y="782"/>
                    </a:lnTo>
                    <a:lnTo>
                      <a:pt x="962" y="780"/>
                    </a:lnTo>
                    <a:lnTo>
                      <a:pt x="956" y="778"/>
                    </a:lnTo>
                    <a:lnTo>
                      <a:pt x="948" y="776"/>
                    </a:lnTo>
                    <a:lnTo>
                      <a:pt x="942" y="772"/>
                    </a:lnTo>
                    <a:lnTo>
                      <a:pt x="934" y="764"/>
                    </a:lnTo>
                    <a:lnTo>
                      <a:pt x="922" y="752"/>
                    </a:lnTo>
                    <a:lnTo>
                      <a:pt x="912" y="744"/>
                    </a:lnTo>
                    <a:lnTo>
                      <a:pt x="898" y="732"/>
                    </a:lnTo>
                    <a:lnTo>
                      <a:pt x="896" y="728"/>
                    </a:lnTo>
                    <a:lnTo>
                      <a:pt x="896" y="722"/>
                    </a:lnTo>
                    <a:lnTo>
                      <a:pt x="900" y="712"/>
                    </a:lnTo>
                    <a:lnTo>
                      <a:pt x="908" y="700"/>
                    </a:lnTo>
                    <a:lnTo>
                      <a:pt x="916" y="684"/>
                    </a:lnTo>
                    <a:lnTo>
                      <a:pt x="920" y="674"/>
                    </a:lnTo>
                    <a:lnTo>
                      <a:pt x="920" y="670"/>
                    </a:lnTo>
                    <a:lnTo>
                      <a:pt x="918" y="670"/>
                    </a:lnTo>
                    <a:lnTo>
                      <a:pt x="916" y="668"/>
                    </a:lnTo>
                    <a:lnTo>
                      <a:pt x="914" y="666"/>
                    </a:lnTo>
                    <a:lnTo>
                      <a:pt x="914" y="662"/>
                    </a:lnTo>
                    <a:lnTo>
                      <a:pt x="918" y="652"/>
                    </a:lnTo>
                    <a:lnTo>
                      <a:pt x="924" y="644"/>
                    </a:lnTo>
                    <a:lnTo>
                      <a:pt x="928" y="640"/>
                    </a:lnTo>
                    <a:lnTo>
                      <a:pt x="930" y="642"/>
                    </a:lnTo>
                    <a:lnTo>
                      <a:pt x="934" y="646"/>
                    </a:lnTo>
                    <a:lnTo>
                      <a:pt x="936" y="648"/>
                    </a:lnTo>
                    <a:lnTo>
                      <a:pt x="936" y="650"/>
                    </a:lnTo>
                    <a:lnTo>
                      <a:pt x="938" y="646"/>
                    </a:lnTo>
                    <a:lnTo>
                      <a:pt x="940" y="638"/>
                    </a:lnTo>
                    <a:lnTo>
                      <a:pt x="942" y="626"/>
                    </a:lnTo>
                    <a:lnTo>
                      <a:pt x="946" y="618"/>
                    </a:lnTo>
                    <a:lnTo>
                      <a:pt x="950" y="612"/>
                    </a:lnTo>
                    <a:lnTo>
                      <a:pt x="956" y="606"/>
                    </a:lnTo>
                    <a:lnTo>
                      <a:pt x="958" y="604"/>
                    </a:lnTo>
                    <a:lnTo>
                      <a:pt x="960" y="602"/>
                    </a:lnTo>
                    <a:lnTo>
                      <a:pt x="960" y="598"/>
                    </a:lnTo>
                    <a:lnTo>
                      <a:pt x="956" y="596"/>
                    </a:lnTo>
                    <a:lnTo>
                      <a:pt x="950" y="590"/>
                    </a:lnTo>
                    <a:lnTo>
                      <a:pt x="946" y="586"/>
                    </a:lnTo>
                    <a:lnTo>
                      <a:pt x="942" y="580"/>
                    </a:lnTo>
                    <a:lnTo>
                      <a:pt x="942" y="578"/>
                    </a:lnTo>
                    <a:lnTo>
                      <a:pt x="940" y="578"/>
                    </a:lnTo>
                    <a:lnTo>
                      <a:pt x="934" y="582"/>
                    </a:lnTo>
                    <a:lnTo>
                      <a:pt x="930" y="584"/>
                    </a:lnTo>
                    <a:lnTo>
                      <a:pt x="928" y="588"/>
                    </a:lnTo>
                    <a:lnTo>
                      <a:pt x="928" y="594"/>
                    </a:lnTo>
                    <a:lnTo>
                      <a:pt x="930" y="598"/>
                    </a:lnTo>
                    <a:lnTo>
                      <a:pt x="928" y="600"/>
                    </a:lnTo>
                    <a:lnTo>
                      <a:pt x="926" y="602"/>
                    </a:lnTo>
                    <a:lnTo>
                      <a:pt x="922" y="604"/>
                    </a:lnTo>
                    <a:lnTo>
                      <a:pt x="920" y="604"/>
                    </a:lnTo>
                    <a:lnTo>
                      <a:pt x="918" y="598"/>
                    </a:lnTo>
                    <a:lnTo>
                      <a:pt x="918" y="592"/>
                    </a:lnTo>
                    <a:lnTo>
                      <a:pt x="918" y="590"/>
                    </a:lnTo>
                    <a:lnTo>
                      <a:pt x="916" y="590"/>
                    </a:lnTo>
                    <a:lnTo>
                      <a:pt x="914" y="588"/>
                    </a:lnTo>
                    <a:lnTo>
                      <a:pt x="914" y="586"/>
                    </a:lnTo>
                    <a:lnTo>
                      <a:pt x="914" y="578"/>
                    </a:lnTo>
                    <a:lnTo>
                      <a:pt x="914" y="574"/>
                    </a:lnTo>
                    <a:lnTo>
                      <a:pt x="912" y="574"/>
                    </a:lnTo>
                    <a:lnTo>
                      <a:pt x="906" y="576"/>
                    </a:lnTo>
                    <a:lnTo>
                      <a:pt x="898" y="584"/>
                    </a:lnTo>
                    <a:lnTo>
                      <a:pt x="888" y="590"/>
                    </a:lnTo>
                    <a:lnTo>
                      <a:pt x="882" y="594"/>
                    </a:lnTo>
                    <a:lnTo>
                      <a:pt x="878" y="594"/>
                    </a:lnTo>
                    <a:lnTo>
                      <a:pt x="874" y="592"/>
                    </a:lnTo>
                    <a:lnTo>
                      <a:pt x="870" y="586"/>
                    </a:lnTo>
                    <a:lnTo>
                      <a:pt x="866" y="584"/>
                    </a:lnTo>
                    <a:lnTo>
                      <a:pt x="860" y="584"/>
                    </a:lnTo>
                    <a:lnTo>
                      <a:pt x="854" y="586"/>
                    </a:lnTo>
                    <a:lnTo>
                      <a:pt x="848" y="586"/>
                    </a:lnTo>
                    <a:lnTo>
                      <a:pt x="844" y="584"/>
                    </a:lnTo>
                    <a:lnTo>
                      <a:pt x="842" y="580"/>
                    </a:lnTo>
                    <a:lnTo>
                      <a:pt x="834" y="572"/>
                    </a:lnTo>
                    <a:lnTo>
                      <a:pt x="830" y="570"/>
                    </a:lnTo>
                    <a:lnTo>
                      <a:pt x="822" y="570"/>
                    </a:lnTo>
                    <a:lnTo>
                      <a:pt x="814" y="570"/>
                    </a:lnTo>
                    <a:lnTo>
                      <a:pt x="808" y="568"/>
                    </a:lnTo>
                    <a:lnTo>
                      <a:pt x="804" y="564"/>
                    </a:lnTo>
                    <a:lnTo>
                      <a:pt x="802" y="560"/>
                    </a:lnTo>
                    <a:lnTo>
                      <a:pt x="798" y="554"/>
                    </a:lnTo>
                    <a:lnTo>
                      <a:pt x="796" y="554"/>
                    </a:lnTo>
                    <a:lnTo>
                      <a:pt x="792" y="554"/>
                    </a:lnTo>
                    <a:lnTo>
                      <a:pt x="788" y="554"/>
                    </a:lnTo>
                    <a:lnTo>
                      <a:pt x="784" y="554"/>
                    </a:lnTo>
                    <a:lnTo>
                      <a:pt x="782" y="550"/>
                    </a:lnTo>
                    <a:lnTo>
                      <a:pt x="776" y="546"/>
                    </a:lnTo>
                    <a:lnTo>
                      <a:pt x="774" y="544"/>
                    </a:lnTo>
                    <a:lnTo>
                      <a:pt x="768" y="542"/>
                    </a:lnTo>
                    <a:lnTo>
                      <a:pt x="758" y="542"/>
                    </a:lnTo>
                    <a:lnTo>
                      <a:pt x="752" y="544"/>
                    </a:lnTo>
                    <a:lnTo>
                      <a:pt x="750" y="546"/>
                    </a:lnTo>
                    <a:lnTo>
                      <a:pt x="750" y="548"/>
                    </a:lnTo>
                    <a:lnTo>
                      <a:pt x="754" y="556"/>
                    </a:lnTo>
                    <a:lnTo>
                      <a:pt x="756" y="558"/>
                    </a:lnTo>
                    <a:lnTo>
                      <a:pt x="762" y="560"/>
                    </a:lnTo>
                    <a:lnTo>
                      <a:pt x="774" y="560"/>
                    </a:lnTo>
                    <a:lnTo>
                      <a:pt x="778" y="560"/>
                    </a:lnTo>
                    <a:lnTo>
                      <a:pt x="782" y="564"/>
                    </a:lnTo>
                    <a:lnTo>
                      <a:pt x="784" y="570"/>
                    </a:lnTo>
                    <a:lnTo>
                      <a:pt x="782" y="580"/>
                    </a:lnTo>
                    <a:lnTo>
                      <a:pt x="778" y="594"/>
                    </a:lnTo>
                    <a:lnTo>
                      <a:pt x="778" y="596"/>
                    </a:lnTo>
                    <a:lnTo>
                      <a:pt x="776" y="596"/>
                    </a:lnTo>
                    <a:lnTo>
                      <a:pt x="768" y="594"/>
                    </a:lnTo>
                    <a:lnTo>
                      <a:pt x="760" y="594"/>
                    </a:lnTo>
                    <a:lnTo>
                      <a:pt x="750" y="596"/>
                    </a:lnTo>
                    <a:lnTo>
                      <a:pt x="742" y="596"/>
                    </a:lnTo>
                    <a:lnTo>
                      <a:pt x="736" y="596"/>
                    </a:lnTo>
                    <a:lnTo>
                      <a:pt x="728" y="592"/>
                    </a:lnTo>
                    <a:lnTo>
                      <a:pt x="726" y="592"/>
                    </a:lnTo>
                    <a:lnTo>
                      <a:pt x="720" y="594"/>
                    </a:lnTo>
                    <a:lnTo>
                      <a:pt x="700" y="608"/>
                    </a:lnTo>
                    <a:lnTo>
                      <a:pt x="688" y="620"/>
                    </a:lnTo>
                    <a:lnTo>
                      <a:pt x="680" y="628"/>
                    </a:lnTo>
                    <a:lnTo>
                      <a:pt x="678" y="634"/>
                    </a:lnTo>
                    <a:lnTo>
                      <a:pt x="676" y="638"/>
                    </a:lnTo>
                    <a:lnTo>
                      <a:pt x="676" y="644"/>
                    </a:lnTo>
                    <a:lnTo>
                      <a:pt x="674" y="652"/>
                    </a:lnTo>
                    <a:lnTo>
                      <a:pt x="670" y="662"/>
                    </a:lnTo>
                    <a:lnTo>
                      <a:pt x="662" y="674"/>
                    </a:lnTo>
                    <a:lnTo>
                      <a:pt x="654" y="688"/>
                    </a:lnTo>
                    <a:lnTo>
                      <a:pt x="650" y="698"/>
                    </a:lnTo>
                    <a:lnTo>
                      <a:pt x="652" y="706"/>
                    </a:lnTo>
                    <a:lnTo>
                      <a:pt x="654" y="710"/>
                    </a:lnTo>
                    <a:lnTo>
                      <a:pt x="662" y="716"/>
                    </a:lnTo>
                    <a:lnTo>
                      <a:pt x="662" y="720"/>
                    </a:lnTo>
                    <a:lnTo>
                      <a:pt x="658" y="724"/>
                    </a:lnTo>
                    <a:lnTo>
                      <a:pt x="652" y="728"/>
                    </a:lnTo>
                    <a:lnTo>
                      <a:pt x="648" y="730"/>
                    </a:lnTo>
                    <a:lnTo>
                      <a:pt x="644" y="730"/>
                    </a:lnTo>
                    <a:lnTo>
                      <a:pt x="640" y="728"/>
                    </a:lnTo>
                    <a:lnTo>
                      <a:pt x="630" y="722"/>
                    </a:lnTo>
                    <a:lnTo>
                      <a:pt x="626" y="722"/>
                    </a:lnTo>
                    <a:lnTo>
                      <a:pt x="618" y="722"/>
                    </a:lnTo>
                    <a:lnTo>
                      <a:pt x="612" y="722"/>
                    </a:lnTo>
                    <a:lnTo>
                      <a:pt x="608" y="718"/>
                    </a:lnTo>
                    <a:lnTo>
                      <a:pt x="596" y="712"/>
                    </a:lnTo>
                    <a:lnTo>
                      <a:pt x="574" y="688"/>
                    </a:lnTo>
                    <a:lnTo>
                      <a:pt x="562" y="676"/>
                    </a:lnTo>
                    <a:lnTo>
                      <a:pt x="554" y="670"/>
                    </a:lnTo>
                    <a:lnTo>
                      <a:pt x="550" y="668"/>
                    </a:lnTo>
                    <a:lnTo>
                      <a:pt x="548" y="668"/>
                    </a:lnTo>
                    <a:lnTo>
                      <a:pt x="546" y="670"/>
                    </a:lnTo>
                    <a:lnTo>
                      <a:pt x="544" y="674"/>
                    </a:lnTo>
                    <a:lnTo>
                      <a:pt x="542" y="682"/>
                    </a:lnTo>
                    <a:lnTo>
                      <a:pt x="540" y="684"/>
                    </a:lnTo>
                    <a:lnTo>
                      <a:pt x="536" y="684"/>
                    </a:lnTo>
                    <a:lnTo>
                      <a:pt x="532" y="682"/>
                    </a:lnTo>
                    <a:lnTo>
                      <a:pt x="526" y="678"/>
                    </a:lnTo>
                    <a:lnTo>
                      <a:pt x="522" y="678"/>
                    </a:lnTo>
                    <a:lnTo>
                      <a:pt x="518" y="682"/>
                    </a:lnTo>
                    <a:lnTo>
                      <a:pt x="516" y="690"/>
                    </a:lnTo>
                    <a:lnTo>
                      <a:pt x="516" y="698"/>
                    </a:lnTo>
                    <a:lnTo>
                      <a:pt x="514" y="700"/>
                    </a:lnTo>
                    <a:lnTo>
                      <a:pt x="510" y="700"/>
                    </a:lnTo>
                    <a:lnTo>
                      <a:pt x="508" y="698"/>
                    </a:lnTo>
                    <a:lnTo>
                      <a:pt x="502" y="696"/>
                    </a:lnTo>
                    <a:lnTo>
                      <a:pt x="498" y="698"/>
                    </a:lnTo>
                    <a:lnTo>
                      <a:pt x="490" y="704"/>
                    </a:lnTo>
                    <a:lnTo>
                      <a:pt x="482" y="718"/>
                    </a:lnTo>
                    <a:lnTo>
                      <a:pt x="474" y="732"/>
                    </a:lnTo>
                    <a:lnTo>
                      <a:pt x="468" y="742"/>
                    </a:lnTo>
                    <a:lnTo>
                      <a:pt x="458" y="752"/>
                    </a:lnTo>
                    <a:lnTo>
                      <a:pt x="454" y="756"/>
                    </a:lnTo>
                    <a:lnTo>
                      <a:pt x="452" y="762"/>
                    </a:lnTo>
                    <a:lnTo>
                      <a:pt x="450" y="768"/>
                    </a:lnTo>
                    <a:lnTo>
                      <a:pt x="448" y="780"/>
                    </a:lnTo>
                    <a:lnTo>
                      <a:pt x="448" y="794"/>
                    </a:lnTo>
                    <a:lnTo>
                      <a:pt x="446" y="798"/>
                    </a:lnTo>
                    <a:lnTo>
                      <a:pt x="444" y="800"/>
                    </a:lnTo>
                    <a:lnTo>
                      <a:pt x="440" y="798"/>
                    </a:lnTo>
                    <a:lnTo>
                      <a:pt x="434" y="794"/>
                    </a:lnTo>
                    <a:lnTo>
                      <a:pt x="428" y="792"/>
                    </a:lnTo>
                    <a:lnTo>
                      <a:pt x="426" y="792"/>
                    </a:lnTo>
                    <a:lnTo>
                      <a:pt x="422" y="794"/>
                    </a:lnTo>
                    <a:lnTo>
                      <a:pt x="420" y="798"/>
                    </a:lnTo>
                    <a:lnTo>
                      <a:pt x="418" y="804"/>
                    </a:lnTo>
                    <a:lnTo>
                      <a:pt x="416" y="824"/>
                    </a:lnTo>
                    <a:lnTo>
                      <a:pt x="414" y="840"/>
                    </a:lnTo>
                    <a:lnTo>
                      <a:pt x="414" y="842"/>
                    </a:lnTo>
                    <a:lnTo>
                      <a:pt x="412" y="842"/>
                    </a:lnTo>
                    <a:lnTo>
                      <a:pt x="408" y="828"/>
                    </a:lnTo>
                    <a:lnTo>
                      <a:pt x="402" y="818"/>
                    </a:lnTo>
                    <a:lnTo>
                      <a:pt x="400" y="812"/>
                    </a:lnTo>
                    <a:lnTo>
                      <a:pt x="396" y="810"/>
                    </a:lnTo>
                    <a:lnTo>
                      <a:pt x="392" y="810"/>
                    </a:lnTo>
                    <a:lnTo>
                      <a:pt x="386" y="812"/>
                    </a:lnTo>
                    <a:lnTo>
                      <a:pt x="382" y="816"/>
                    </a:lnTo>
                    <a:lnTo>
                      <a:pt x="376" y="822"/>
                    </a:lnTo>
                    <a:lnTo>
                      <a:pt x="366" y="840"/>
                    </a:lnTo>
                    <a:lnTo>
                      <a:pt x="360" y="852"/>
                    </a:lnTo>
                    <a:lnTo>
                      <a:pt x="360" y="864"/>
                    </a:lnTo>
                    <a:lnTo>
                      <a:pt x="362" y="872"/>
                    </a:lnTo>
                    <a:lnTo>
                      <a:pt x="362" y="880"/>
                    </a:lnTo>
                    <a:lnTo>
                      <a:pt x="362" y="886"/>
                    </a:lnTo>
                    <a:lnTo>
                      <a:pt x="358" y="894"/>
                    </a:lnTo>
                    <a:lnTo>
                      <a:pt x="350" y="902"/>
                    </a:lnTo>
                    <a:lnTo>
                      <a:pt x="344" y="908"/>
                    </a:lnTo>
                    <a:lnTo>
                      <a:pt x="338" y="916"/>
                    </a:lnTo>
                    <a:lnTo>
                      <a:pt x="334" y="930"/>
                    </a:lnTo>
                    <a:lnTo>
                      <a:pt x="330" y="940"/>
                    </a:lnTo>
                    <a:lnTo>
                      <a:pt x="324" y="948"/>
                    </a:lnTo>
                    <a:lnTo>
                      <a:pt x="316" y="958"/>
                    </a:lnTo>
                    <a:lnTo>
                      <a:pt x="304" y="968"/>
                    </a:lnTo>
                    <a:lnTo>
                      <a:pt x="290" y="976"/>
                    </a:lnTo>
                    <a:lnTo>
                      <a:pt x="276" y="980"/>
                    </a:lnTo>
                    <a:lnTo>
                      <a:pt x="266" y="982"/>
                    </a:lnTo>
                    <a:lnTo>
                      <a:pt x="256" y="980"/>
                    </a:lnTo>
                    <a:lnTo>
                      <a:pt x="240" y="980"/>
                    </a:lnTo>
                    <a:lnTo>
                      <a:pt x="234" y="982"/>
                    </a:lnTo>
                    <a:lnTo>
                      <a:pt x="232" y="986"/>
                    </a:lnTo>
                    <a:lnTo>
                      <a:pt x="228" y="990"/>
                    </a:lnTo>
                    <a:lnTo>
                      <a:pt x="224" y="994"/>
                    </a:lnTo>
                    <a:lnTo>
                      <a:pt x="212" y="998"/>
                    </a:lnTo>
                    <a:lnTo>
                      <a:pt x="198" y="1002"/>
                    </a:lnTo>
                    <a:lnTo>
                      <a:pt x="180" y="1012"/>
                    </a:lnTo>
                    <a:lnTo>
                      <a:pt x="170" y="1016"/>
                    </a:lnTo>
                    <a:lnTo>
                      <a:pt x="162" y="1016"/>
                    </a:lnTo>
                    <a:lnTo>
                      <a:pt x="150" y="1012"/>
                    </a:lnTo>
                    <a:lnTo>
                      <a:pt x="142" y="1012"/>
                    </a:lnTo>
                    <a:lnTo>
                      <a:pt x="134" y="1014"/>
                    </a:lnTo>
                    <a:lnTo>
                      <a:pt x="124" y="1020"/>
                    </a:lnTo>
                    <a:lnTo>
                      <a:pt x="110" y="1034"/>
                    </a:lnTo>
                    <a:lnTo>
                      <a:pt x="98" y="1048"/>
                    </a:lnTo>
                    <a:lnTo>
                      <a:pt x="86" y="1058"/>
                    </a:lnTo>
                    <a:lnTo>
                      <a:pt x="78" y="1062"/>
                    </a:lnTo>
                    <a:lnTo>
                      <a:pt x="72" y="1066"/>
                    </a:lnTo>
                    <a:lnTo>
                      <a:pt x="66" y="1068"/>
                    </a:lnTo>
                    <a:lnTo>
                      <a:pt x="60" y="1074"/>
                    </a:lnTo>
                    <a:lnTo>
                      <a:pt x="54" y="1082"/>
                    </a:lnTo>
                    <a:lnTo>
                      <a:pt x="50" y="1094"/>
                    </a:lnTo>
                    <a:lnTo>
                      <a:pt x="44" y="1104"/>
                    </a:lnTo>
                    <a:lnTo>
                      <a:pt x="42" y="1106"/>
                    </a:lnTo>
                    <a:lnTo>
                      <a:pt x="42" y="1104"/>
                    </a:lnTo>
                    <a:lnTo>
                      <a:pt x="40" y="1100"/>
                    </a:lnTo>
                    <a:lnTo>
                      <a:pt x="38" y="1092"/>
                    </a:lnTo>
                    <a:lnTo>
                      <a:pt x="38" y="1084"/>
                    </a:lnTo>
                    <a:lnTo>
                      <a:pt x="36" y="1078"/>
                    </a:lnTo>
                    <a:lnTo>
                      <a:pt x="34" y="1078"/>
                    </a:lnTo>
                    <a:lnTo>
                      <a:pt x="30" y="1078"/>
                    </a:lnTo>
                    <a:lnTo>
                      <a:pt x="24" y="1088"/>
                    </a:lnTo>
                    <a:lnTo>
                      <a:pt x="18" y="1100"/>
                    </a:lnTo>
                    <a:lnTo>
                      <a:pt x="16" y="1110"/>
                    </a:lnTo>
                    <a:lnTo>
                      <a:pt x="18" y="1118"/>
                    </a:lnTo>
                    <a:lnTo>
                      <a:pt x="20" y="1126"/>
                    </a:lnTo>
                    <a:lnTo>
                      <a:pt x="22" y="1134"/>
                    </a:lnTo>
                    <a:lnTo>
                      <a:pt x="22" y="1144"/>
                    </a:lnTo>
                    <a:lnTo>
                      <a:pt x="20" y="1154"/>
                    </a:lnTo>
                    <a:lnTo>
                      <a:pt x="12" y="1170"/>
                    </a:lnTo>
                    <a:lnTo>
                      <a:pt x="8" y="1180"/>
                    </a:lnTo>
                    <a:lnTo>
                      <a:pt x="4" y="1188"/>
                    </a:lnTo>
                    <a:lnTo>
                      <a:pt x="4" y="1196"/>
                    </a:lnTo>
                    <a:lnTo>
                      <a:pt x="4" y="1204"/>
                    </a:lnTo>
                    <a:lnTo>
                      <a:pt x="8" y="1220"/>
                    </a:lnTo>
                    <a:lnTo>
                      <a:pt x="16" y="1236"/>
                    </a:lnTo>
                    <a:lnTo>
                      <a:pt x="34" y="1266"/>
                    </a:lnTo>
                    <a:lnTo>
                      <a:pt x="40" y="1280"/>
                    </a:lnTo>
                    <a:lnTo>
                      <a:pt x="40" y="1288"/>
                    </a:lnTo>
                    <a:lnTo>
                      <a:pt x="42" y="1294"/>
                    </a:lnTo>
                    <a:lnTo>
                      <a:pt x="40" y="1304"/>
                    </a:lnTo>
                    <a:lnTo>
                      <a:pt x="38" y="1304"/>
                    </a:lnTo>
                    <a:lnTo>
                      <a:pt x="36" y="1304"/>
                    </a:lnTo>
                    <a:lnTo>
                      <a:pt x="32" y="1298"/>
                    </a:lnTo>
                    <a:lnTo>
                      <a:pt x="26" y="1288"/>
                    </a:lnTo>
                    <a:lnTo>
                      <a:pt x="14" y="1268"/>
                    </a:lnTo>
                    <a:lnTo>
                      <a:pt x="10" y="1264"/>
                    </a:lnTo>
                    <a:lnTo>
                      <a:pt x="8" y="1264"/>
                    </a:lnTo>
                    <a:lnTo>
                      <a:pt x="6" y="1270"/>
                    </a:lnTo>
                    <a:lnTo>
                      <a:pt x="8" y="1276"/>
                    </a:lnTo>
                    <a:lnTo>
                      <a:pt x="14" y="1290"/>
                    </a:lnTo>
                    <a:lnTo>
                      <a:pt x="20" y="1304"/>
                    </a:lnTo>
                    <a:lnTo>
                      <a:pt x="22" y="1310"/>
                    </a:lnTo>
                    <a:lnTo>
                      <a:pt x="22" y="1316"/>
                    </a:lnTo>
                    <a:lnTo>
                      <a:pt x="20" y="1316"/>
                    </a:lnTo>
                    <a:lnTo>
                      <a:pt x="16" y="1312"/>
                    </a:lnTo>
                    <a:lnTo>
                      <a:pt x="10" y="1298"/>
                    </a:lnTo>
                    <a:lnTo>
                      <a:pt x="6" y="1292"/>
                    </a:lnTo>
                    <a:lnTo>
                      <a:pt x="2" y="1288"/>
                    </a:lnTo>
                    <a:lnTo>
                      <a:pt x="0" y="1290"/>
                    </a:lnTo>
                    <a:lnTo>
                      <a:pt x="0" y="1298"/>
                    </a:lnTo>
                    <a:lnTo>
                      <a:pt x="0" y="1306"/>
                    </a:lnTo>
                    <a:lnTo>
                      <a:pt x="4" y="1316"/>
                    </a:lnTo>
                    <a:lnTo>
                      <a:pt x="18" y="1334"/>
                    </a:lnTo>
                    <a:lnTo>
                      <a:pt x="30" y="1354"/>
                    </a:lnTo>
                    <a:lnTo>
                      <a:pt x="34" y="1364"/>
                    </a:lnTo>
                    <a:lnTo>
                      <a:pt x="36" y="1374"/>
                    </a:lnTo>
                    <a:lnTo>
                      <a:pt x="36" y="1390"/>
                    </a:lnTo>
                    <a:lnTo>
                      <a:pt x="40" y="1402"/>
                    </a:lnTo>
                    <a:lnTo>
                      <a:pt x="48" y="1414"/>
                    </a:lnTo>
                    <a:lnTo>
                      <a:pt x="60" y="1438"/>
                    </a:lnTo>
                    <a:lnTo>
                      <a:pt x="66" y="1452"/>
                    </a:lnTo>
                    <a:lnTo>
                      <a:pt x="68" y="1462"/>
                    </a:lnTo>
                    <a:lnTo>
                      <a:pt x="68" y="1482"/>
                    </a:lnTo>
                    <a:lnTo>
                      <a:pt x="70" y="1494"/>
                    </a:lnTo>
                    <a:lnTo>
                      <a:pt x="72" y="1510"/>
                    </a:lnTo>
                    <a:lnTo>
                      <a:pt x="76" y="1530"/>
                    </a:lnTo>
                    <a:lnTo>
                      <a:pt x="86" y="1556"/>
                    </a:lnTo>
                    <a:lnTo>
                      <a:pt x="96" y="1580"/>
                    </a:lnTo>
                    <a:lnTo>
                      <a:pt x="100" y="1598"/>
                    </a:lnTo>
                    <a:lnTo>
                      <a:pt x="102" y="1610"/>
                    </a:lnTo>
                    <a:lnTo>
                      <a:pt x="100" y="1620"/>
                    </a:lnTo>
                    <a:lnTo>
                      <a:pt x="96" y="1632"/>
                    </a:lnTo>
                    <a:lnTo>
                      <a:pt x="94" y="1638"/>
                    </a:lnTo>
                    <a:lnTo>
                      <a:pt x="94" y="1646"/>
                    </a:lnTo>
                    <a:lnTo>
                      <a:pt x="96" y="1656"/>
                    </a:lnTo>
                    <a:lnTo>
                      <a:pt x="96" y="1664"/>
                    </a:lnTo>
                    <a:lnTo>
                      <a:pt x="94" y="1672"/>
                    </a:lnTo>
                    <a:lnTo>
                      <a:pt x="92" y="1678"/>
                    </a:lnTo>
                    <a:lnTo>
                      <a:pt x="88" y="1682"/>
                    </a:lnTo>
                    <a:lnTo>
                      <a:pt x="84" y="1684"/>
                    </a:lnTo>
                    <a:lnTo>
                      <a:pt x="80" y="1684"/>
                    </a:lnTo>
                    <a:lnTo>
                      <a:pt x="74" y="1684"/>
                    </a:lnTo>
                    <a:lnTo>
                      <a:pt x="70" y="1684"/>
                    </a:lnTo>
                    <a:lnTo>
                      <a:pt x="68" y="1688"/>
                    </a:lnTo>
                    <a:lnTo>
                      <a:pt x="66" y="1694"/>
                    </a:lnTo>
                    <a:lnTo>
                      <a:pt x="66" y="1702"/>
                    </a:lnTo>
                    <a:lnTo>
                      <a:pt x="68" y="1710"/>
                    </a:lnTo>
                    <a:lnTo>
                      <a:pt x="70" y="1716"/>
                    </a:lnTo>
                    <a:lnTo>
                      <a:pt x="76" y="1722"/>
                    </a:lnTo>
                    <a:lnTo>
                      <a:pt x="82" y="1722"/>
                    </a:lnTo>
                    <a:lnTo>
                      <a:pt x="88" y="1722"/>
                    </a:lnTo>
                    <a:lnTo>
                      <a:pt x="92" y="1726"/>
                    </a:lnTo>
                    <a:lnTo>
                      <a:pt x="104" y="1738"/>
                    </a:lnTo>
                    <a:lnTo>
                      <a:pt x="114" y="1746"/>
                    </a:lnTo>
                    <a:lnTo>
                      <a:pt x="124" y="1754"/>
                    </a:lnTo>
                    <a:lnTo>
                      <a:pt x="138" y="1760"/>
                    </a:lnTo>
                    <a:lnTo>
                      <a:pt x="156" y="1762"/>
                    </a:lnTo>
                    <a:lnTo>
                      <a:pt x="174" y="1764"/>
                    </a:lnTo>
                    <a:lnTo>
                      <a:pt x="188" y="1760"/>
                    </a:lnTo>
                    <a:lnTo>
                      <a:pt x="200" y="1756"/>
                    </a:lnTo>
                    <a:lnTo>
                      <a:pt x="208" y="1750"/>
                    </a:lnTo>
                    <a:lnTo>
                      <a:pt x="222" y="1736"/>
                    </a:lnTo>
                    <a:lnTo>
                      <a:pt x="230" y="1732"/>
                    </a:lnTo>
                    <a:lnTo>
                      <a:pt x="238" y="1730"/>
                    </a:lnTo>
                    <a:lnTo>
                      <a:pt x="246" y="1728"/>
                    </a:lnTo>
                    <a:lnTo>
                      <a:pt x="252" y="1724"/>
                    </a:lnTo>
                    <a:lnTo>
                      <a:pt x="254" y="1720"/>
                    </a:lnTo>
                    <a:lnTo>
                      <a:pt x="258" y="1714"/>
                    </a:lnTo>
                    <a:lnTo>
                      <a:pt x="260" y="1708"/>
                    </a:lnTo>
                    <a:lnTo>
                      <a:pt x="264" y="1704"/>
                    </a:lnTo>
                    <a:lnTo>
                      <a:pt x="270" y="1702"/>
                    </a:lnTo>
                    <a:lnTo>
                      <a:pt x="278" y="1700"/>
                    </a:lnTo>
                    <a:lnTo>
                      <a:pt x="290" y="1700"/>
                    </a:lnTo>
                    <a:lnTo>
                      <a:pt x="300" y="1700"/>
                    </a:lnTo>
                    <a:lnTo>
                      <a:pt x="316" y="1696"/>
                    </a:lnTo>
                    <a:lnTo>
                      <a:pt x="322" y="1694"/>
                    </a:lnTo>
                    <a:lnTo>
                      <a:pt x="328" y="1694"/>
                    </a:lnTo>
                    <a:lnTo>
                      <a:pt x="336" y="1694"/>
                    </a:lnTo>
                    <a:lnTo>
                      <a:pt x="344" y="1698"/>
                    </a:lnTo>
                    <a:lnTo>
                      <a:pt x="354" y="1702"/>
                    </a:lnTo>
                    <a:lnTo>
                      <a:pt x="360" y="1704"/>
                    </a:lnTo>
                    <a:lnTo>
                      <a:pt x="364" y="1704"/>
                    </a:lnTo>
                    <a:lnTo>
                      <a:pt x="368" y="1702"/>
                    </a:lnTo>
                    <a:lnTo>
                      <a:pt x="372" y="1698"/>
                    </a:lnTo>
                    <a:lnTo>
                      <a:pt x="378" y="1698"/>
                    </a:lnTo>
                    <a:lnTo>
                      <a:pt x="386" y="1698"/>
                    </a:lnTo>
                    <a:lnTo>
                      <a:pt x="398" y="1702"/>
                    </a:lnTo>
                    <a:lnTo>
                      <a:pt x="406" y="1702"/>
                    </a:lnTo>
                    <a:lnTo>
                      <a:pt x="410" y="1702"/>
                    </a:lnTo>
                    <a:lnTo>
                      <a:pt x="416" y="1702"/>
                    </a:lnTo>
                    <a:lnTo>
                      <a:pt x="420" y="1698"/>
                    </a:lnTo>
                    <a:lnTo>
                      <a:pt x="426" y="1690"/>
                    </a:lnTo>
                    <a:lnTo>
                      <a:pt x="430" y="1678"/>
                    </a:lnTo>
                    <a:lnTo>
                      <a:pt x="434" y="1668"/>
                    </a:lnTo>
                    <a:lnTo>
                      <a:pt x="438" y="1656"/>
                    </a:lnTo>
                    <a:lnTo>
                      <a:pt x="446" y="1650"/>
                    </a:lnTo>
                    <a:lnTo>
                      <a:pt x="450" y="1646"/>
                    </a:lnTo>
                    <a:lnTo>
                      <a:pt x="454" y="1646"/>
                    </a:lnTo>
                    <a:lnTo>
                      <a:pt x="464" y="1644"/>
                    </a:lnTo>
                    <a:lnTo>
                      <a:pt x="472" y="1640"/>
                    </a:lnTo>
                    <a:lnTo>
                      <a:pt x="484" y="1628"/>
                    </a:lnTo>
                    <a:lnTo>
                      <a:pt x="492" y="1622"/>
                    </a:lnTo>
                    <a:lnTo>
                      <a:pt x="502" y="1616"/>
                    </a:lnTo>
                    <a:lnTo>
                      <a:pt x="514" y="1614"/>
                    </a:lnTo>
                    <a:lnTo>
                      <a:pt x="530" y="1614"/>
                    </a:lnTo>
                    <a:lnTo>
                      <a:pt x="544" y="1614"/>
                    </a:lnTo>
                    <a:lnTo>
                      <a:pt x="556" y="1614"/>
                    </a:lnTo>
                    <a:lnTo>
                      <a:pt x="578" y="1610"/>
                    </a:lnTo>
                    <a:lnTo>
                      <a:pt x="596" y="1602"/>
                    </a:lnTo>
                    <a:lnTo>
                      <a:pt x="614" y="1594"/>
                    </a:lnTo>
                    <a:lnTo>
                      <a:pt x="630" y="1586"/>
                    </a:lnTo>
                    <a:lnTo>
                      <a:pt x="644" y="1580"/>
                    </a:lnTo>
                    <a:lnTo>
                      <a:pt x="660" y="1574"/>
                    </a:lnTo>
                    <a:lnTo>
                      <a:pt x="668" y="1574"/>
                    </a:lnTo>
                    <a:lnTo>
                      <a:pt x="676" y="1574"/>
                    </a:lnTo>
                    <a:lnTo>
                      <a:pt x="696" y="1578"/>
                    </a:lnTo>
                    <a:lnTo>
                      <a:pt x="706" y="1576"/>
                    </a:lnTo>
                    <a:lnTo>
                      <a:pt x="712" y="1574"/>
                    </a:lnTo>
                    <a:lnTo>
                      <a:pt x="716" y="1572"/>
                    </a:lnTo>
                    <a:lnTo>
                      <a:pt x="718" y="1570"/>
                    </a:lnTo>
                    <a:lnTo>
                      <a:pt x="724" y="1572"/>
                    </a:lnTo>
                    <a:lnTo>
                      <a:pt x="752" y="1586"/>
                    </a:lnTo>
                    <a:lnTo>
                      <a:pt x="772" y="1596"/>
                    </a:lnTo>
                    <a:lnTo>
                      <a:pt x="786" y="1602"/>
                    </a:lnTo>
                    <a:lnTo>
                      <a:pt x="798" y="1606"/>
                    </a:lnTo>
                    <a:lnTo>
                      <a:pt x="806" y="1606"/>
                    </a:lnTo>
                    <a:lnTo>
                      <a:pt x="822" y="1608"/>
                    </a:lnTo>
                    <a:lnTo>
                      <a:pt x="828" y="1612"/>
                    </a:lnTo>
                    <a:lnTo>
                      <a:pt x="838" y="1618"/>
                    </a:lnTo>
                    <a:lnTo>
                      <a:pt x="846" y="1626"/>
                    </a:lnTo>
                    <a:lnTo>
                      <a:pt x="848" y="1632"/>
                    </a:lnTo>
                    <a:lnTo>
                      <a:pt x="848" y="1636"/>
                    </a:lnTo>
                    <a:lnTo>
                      <a:pt x="846" y="1642"/>
                    </a:lnTo>
                    <a:lnTo>
                      <a:pt x="844" y="1646"/>
                    </a:lnTo>
                    <a:lnTo>
                      <a:pt x="844" y="1650"/>
                    </a:lnTo>
                    <a:lnTo>
                      <a:pt x="848" y="1656"/>
                    </a:lnTo>
                    <a:lnTo>
                      <a:pt x="860" y="1662"/>
                    </a:lnTo>
                    <a:lnTo>
                      <a:pt x="866" y="1666"/>
                    </a:lnTo>
                    <a:lnTo>
                      <a:pt x="870" y="1672"/>
                    </a:lnTo>
                    <a:lnTo>
                      <a:pt x="876" y="1682"/>
                    </a:lnTo>
                    <a:lnTo>
                      <a:pt x="880" y="1694"/>
                    </a:lnTo>
                    <a:lnTo>
                      <a:pt x="882" y="1708"/>
                    </a:lnTo>
                    <a:lnTo>
                      <a:pt x="884" y="1722"/>
                    </a:lnTo>
                    <a:lnTo>
                      <a:pt x="886" y="1732"/>
                    </a:lnTo>
                    <a:lnTo>
                      <a:pt x="892" y="1742"/>
                    </a:lnTo>
                    <a:lnTo>
                      <a:pt x="894" y="1746"/>
                    </a:lnTo>
                    <a:lnTo>
                      <a:pt x="900" y="1748"/>
                    </a:lnTo>
                    <a:lnTo>
                      <a:pt x="914" y="1756"/>
                    </a:lnTo>
                    <a:lnTo>
                      <a:pt x="914" y="1758"/>
                    </a:lnTo>
                    <a:lnTo>
                      <a:pt x="914" y="1756"/>
                    </a:lnTo>
                    <a:lnTo>
                      <a:pt x="914" y="1750"/>
                    </a:lnTo>
                    <a:lnTo>
                      <a:pt x="916" y="1742"/>
                    </a:lnTo>
                    <a:lnTo>
                      <a:pt x="920" y="1730"/>
                    </a:lnTo>
                    <a:lnTo>
                      <a:pt x="932" y="1716"/>
                    </a:lnTo>
                    <a:lnTo>
                      <a:pt x="944" y="1702"/>
                    </a:lnTo>
                    <a:lnTo>
                      <a:pt x="952" y="1694"/>
                    </a:lnTo>
                    <a:lnTo>
                      <a:pt x="958" y="1690"/>
                    </a:lnTo>
                    <a:lnTo>
                      <a:pt x="962" y="1690"/>
                    </a:lnTo>
                    <a:lnTo>
                      <a:pt x="964" y="1690"/>
                    </a:lnTo>
                    <a:lnTo>
                      <a:pt x="966" y="1680"/>
                    </a:lnTo>
                    <a:lnTo>
                      <a:pt x="968" y="1672"/>
                    </a:lnTo>
                    <a:lnTo>
                      <a:pt x="972" y="1666"/>
                    </a:lnTo>
                    <a:lnTo>
                      <a:pt x="980" y="1658"/>
                    </a:lnTo>
                    <a:lnTo>
                      <a:pt x="986" y="1650"/>
                    </a:lnTo>
                    <a:lnTo>
                      <a:pt x="988" y="1646"/>
                    </a:lnTo>
                    <a:lnTo>
                      <a:pt x="990" y="1640"/>
                    </a:lnTo>
                    <a:lnTo>
                      <a:pt x="990" y="1632"/>
                    </a:lnTo>
                    <a:lnTo>
                      <a:pt x="990" y="1630"/>
                    </a:lnTo>
                    <a:lnTo>
                      <a:pt x="990" y="1632"/>
                    </a:lnTo>
                    <a:lnTo>
                      <a:pt x="998" y="1646"/>
                    </a:lnTo>
                    <a:lnTo>
                      <a:pt x="998" y="1654"/>
                    </a:lnTo>
                    <a:lnTo>
                      <a:pt x="996" y="1664"/>
                    </a:lnTo>
                    <a:lnTo>
                      <a:pt x="988" y="1686"/>
                    </a:lnTo>
                    <a:lnTo>
                      <a:pt x="980" y="1710"/>
                    </a:lnTo>
                    <a:lnTo>
                      <a:pt x="978" y="1718"/>
                    </a:lnTo>
                    <a:lnTo>
                      <a:pt x="978" y="1726"/>
                    </a:lnTo>
                    <a:lnTo>
                      <a:pt x="980" y="1736"/>
                    </a:lnTo>
                    <a:lnTo>
                      <a:pt x="980" y="1746"/>
                    </a:lnTo>
                    <a:lnTo>
                      <a:pt x="976" y="1750"/>
                    </a:lnTo>
                    <a:lnTo>
                      <a:pt x="972" y="1752"/>
                    </a:lnTo>
                    <a:lnTo>
                      <a:pt x="968" y="1752"/>
                    </a:lnTo>
                    <a:lnTo>
                      <a:pt x="964" y="1754"/>
                    </a:lnTo>
                    <a:lnTo>
                      <a:pt x="960" y="1756"/>
                    </a:lnTo>
                    <a:lnTo>
                      <a:pt x="956" y="1758"/>
                    </a:lnTo>
                    <a:lnTo>
                      <a:pt x="954" y="1762"/>
                    </a:lnTo>
                    <a:lnTo>
                      <a:pt x="954" y="1766"/>
                    </a:lnTo>
                    <a:lnTo>
                      <a:pt x="958" y="1770"/>
                    </a:lnTo>
                    <a:lnTo>
                      <a:pt x="962" y="1770"/>
                    </a:lnTo>
                    <a:lnTo>
                      <a:pt x="972" y="1770"/>
                    </a:lnTo>
                    <a:lnTo>
                      <a:pt x="978" y="1770"/>
                    </a:lnTo>
                    <a:lnTo>
                      <a:pt x="982" y="1766"/>
                    </a:lnTo>
                    <a:lnTo>
                      <a:pt x="990" y="1758"/>
                    </a:lnTo>
                    <a:lnTo>
                      <a:pt x="994" y="1750"/>
                    </a:lnTo>
                    <a:lnTo>
                      <a:pt x="996" y="1740"/>
                    </a:lnTo>
                    <a:lnTo>
                      <a:pt x="1000" y="1730"/>
                    </a:lnTo>
                    <a:lnTo>
                      <a:pt x="1002" y="1726"/>
                    </a:lnTo>
                    <a:lnTo>
                      <a:pt x="1004" y="1726"/>
                    </a:lnTo>
                    <a:lnTo>
                      <a:pt x="1006" y="1726"/>
                    </a:lnTo>
                    <a:lnTo>
                      <a:pt x="1012" y="1734"/>
                    </a:lnTo>
                    <a:lnTo>
                      <a:pt x="1016" y="1744"/>
                    </a:lnTo>
                    <a:lnTo>
                      <a:pt x="1018" y="1754"/>
                    </a:lnTo>
                    <a:lnTo>
                      <a:pt x="1016" y="1762"/>
                    </a:lnTo>
                    <a:lnTo>
                      <a:pt x="1014" y="1770"/>
                    </a:lnTo>
                    <a:lnTo>
                      <a:pt x="1006" y="1784"/>
                    </a:lnTo>
                    <a:lnTo>
                      <a:pt x="1004" y="1788"/>
                    </a:lnTo>
                    <a:lnTo>
                      <a:pt x="1006" y="1792"/>
                    </a:lnTo>
                    <a:lnTo>
                      <a:pt x="1008" y="1794"/>
                    </a:lnTo>
                    <a:lnTo>
                      <a:pt x="1012" y="1794"/>
                    </a:lnTo>
                    <a:lnTo>
                      <a:pt x="1020" y="1792"/>
                    </a:lnTo>
                    <a:lnTo>
                      <a:pt x="1030" y="1792"/>
                    </a:lnTo>
                    <a:lnTo>
                      <a:pt x="1036" y="1792"/>
                    </a:lnTo>
                    <a:lnTo>
                      <a:pt x="1042" y="1794"/>
                    </a:lnTo>
                    <a:lnTo>
                      <a:pt x="1048" y="1800"/>
                    </a:lnTo>
                    <a:lnTo>
                      <a:pt x="1054" y="1806"/>
                    </a:lnTo>
                    <a:lnTo>
                      <a:pt x="1060" y="1814"/>
                    </a:lnTo>
                    <a:lnTo>
                      <a:pt x="1066" y="1824"/>
                    </a:lnTo>
                    <a:lnTo>
                      <a:pt x="1070" y="1832"/>
                    </a:lnTo>
                    <a:lnTo>
                      <a:pt x="1072" y="1842"/>
                    </a:lnTo>
                    <a:lnTo>
                      <a:pt x="1072" y="1850"/>
                    </a:lnTo>
                    <a:lnTo>
                      <a:pt x="1070" y="1858"/>
                    </a:lnTo>
                    <a:lnTo>
                      <a:pt x="1068" y="1866"/>
                    </a:lnTo>
                    <a:lnTo>
                      <a:pt x="1068" y="1874"/>
                    </a:lnTo>
                    <a:lnTo>
                      <a:pt x="1074" y="1886"/>
                    </a:lnTo>
                    <a:lnTo>
                      <a:pt x="1080" y="1896"/>
                    </a:lnTo>
                    <a:lnTo>
                      <a:pt x="1088" y="1904"/>
                    </a:lnTo>
                    <a:lnTo>
                      <a:pt x="1098" y="1914"/>
                    </a:lnTo>
                    <a:lnTo>
                      <a:pt x="1106" y="1920"/>
                    </a:lnTo>
                    <a:lnTo>
                      <a:pt x="1114" y="1924"/>
                    </a:lnTo>
                    <a:lnTo>
                      <a:pt x="1120" y="1926"/>
                    </a:lnTo>
                    <a:lnTo>
                      <a:pt x="1126" y="1930"/>
                    </a:lnTo>
                    <a:lnTo>
                      <a:pt x="1134" y="1938"/>
                    </a:lnTo>
                    <a:lnTo>
                      <a:pt x="1138" y="1944"/>
                    </a:lnTo>
                    <a:lnTo>
                      <a:pt x="1142" y="1944"/>
                    </a:lnTo>
                    <a:lnTo>
                      <a:pt x="1146" y="1942"/>
                    </a:lnTo>
                    <a:lnTo>
                      <a:pt x="1152" y="1936"/>
                    </a:lnTo>
                    <a:lnTo>
                      <a:pt x="1156" y="1936"/>
                    </a:lnTo>
                    <a:lnTo>
                      <a:pt x="1160" y="1936"/>
                    </a:lnTo>
                    <a:lnTo>
                      <a:pt x="1176" y="1942"/>
                    </a:lnTo>
                    <a:lnTo>
                      <a:pt x="1198" y="1956"/>
                    </a:lnTo>
                    <a:lnTo>
                      <a:pt x="1210" y="1962"/>
                    </a:lnTo>
                    <a:lnTo>
                      <a:pt x="1218" y="1964"/>
                    </a:lnTo>
                    <a:lnTo>
                      <a:pt x="1224" y="1964"/>
                    </a:lnTo>
                    <a:lnTo>
                      <a:pt x="1230" y="1960"/>
                    </a:lnTo>
                    <a:lnTo>
                      <a:pt x="1238" y="1952"/>
                    </a:lnTo>
                    <a:lnTo>
                      <a:pt x="1244" y="1946"/>
                    </a:lnTo>
                    <a:lnTo>
                      <a:pt x="1252" y="1940"/>
                    </a:lnTo>
                    <a:lnTo>
                      <a:pt x="1260" y="1936"/>
                    </a:lnTo>
                    <a:lnTo>
                      <a:pt x="1264" y="1930"/>
                    </a:lnTo>
                    <a:lnTo>
                      <a:pt x="1270" y="1920"/>
                    </a:lnTo>
                    <a:lnTo>
                      <a:pt x="1270" y="1918"/>
                    </a:lnTo>
                    <a:lnTo>
                      <a:pt x="1272" y="1916"/>
                    </a:lnTo>
                    <a:lnTo>
                      <a:pt x="1276" y="1916"/>
                    </a:lnTo>
                    <a:lnTo>
                      <a:pt x="1282" y="1918"/>
                    </a:lnTo>
                    <a:lnTo>
                      <a:pt x="1286" y="1924"/>
                    </a:lnTo>
                    <a:lnTo>
                      <a:pt x="1288" y="1928"/>
                    </a:lnTo>
                    <a:lnTo>
                      <a:pt x="1284" y="1930"/>
                    </a:lnTo>
                    <a:lnTo>
                      <a:pt x="1280" y="1934"/>
                    </a:lnTo>
                    <a:lnTo>
                      <a:pt x="1274" y="1940"/>
                    </a:lnTo>
                    <a:lnTo>
                      <a:pt x="1274" y="1944"/>
                    </a:lnTo>
                    <a:lnTo>
                      <a:pt x="1278" y="1946"/>
                    </a:lnTo>
                    <a:lnTo>
                      <a:pt x="1282" y="1948"/>
                    </a:lnTo>
                    <a:lnTo>
                      <a:pt x="1288" y="1948"/>
                    </a:lnTo>
                    <a:lnTo>
                      <a:pt x="1290" y="1944"/>
                    </a:lnTo>
                    <a:lnTo>
                      <a:pt x="1292" y="1942"/>
                    </a:lnTo>
                    <a:lnTo>
                      <a:pt x="1296" y="1936"/>
                    </a:lnTo>
                    <a:lnTo>
                      <a:pt x="1296" y="1942"/>
                    </a:lnTo>
                    <a:lnTo>
                      <a:pt x="1298" y="1948"/>
                    </a:lnTo>
                    <a:lnTo>
                      <a:pt x="1300" y="1952"/>
                    </a:lnTo>
                    <a:lnTo>
                      <a:pt x="1306" y="1956"/>
                    </a:lnTo>
                    <a:lnTo>
                      <a:pt x="1316" y="1964"/>
                    </a:lnTo>
                    <a:lnTo>
                      <a:pt x="1324" y="1970"/>
                    </a:lnTo>
                    <a:lnTo>
                      <a:pt x="1334" y="1982"/>
                    </a:lnTo>
                    <a:lnTo>
                      <a:pt x="1338" y="1988"/>
                    </a:lnTo>
                    <a:lnTo>
                      <a:pt x="1340" y="1988"/>
                    </a:lnTo>
                    <a:lnTo>
                      <a:pt x="1340" y="1980"/>
                    </a:lnTo>
                    <a:lnTo>
                      <a:pt x="1340" y="1974"/>
                    </a:lnTo>
                    <a:lnTo>
                      <a:pt x="1340" y="1968"/>
                    </a:lnTo>
                    <a:lnTo>
                      <a:pt x="1342" y="1962"/>
                    </a:lnTo>
                    <a:lnTo>
                      <a:pt x="1346" y="1960"/>
                    </a:lnTo>
                    <a:lnTo>
                      <a:pt x="1354" y="1956"/>
                    </a:lnTo>
                    <a:lnTo>
                      <a:pt x="1362" y="1950"/>
                    </a:lnTo>
                    <a:lnTo>
                      <a:pt x="1386" y="1930"/>
                    </a:lnTo>
                    <a:lnTo>
                      <a:pt x="1398" y="1920"/>
                    </a:lnTo>
                    <a:lnTo>
                      <a:pt x="1412" y="1912"/>
                    </a:lnTo>
                    <a:lnTo>
                      <a:pt x="1428" y="1908"/>
                    </a:lnTo>
                    <a:lnTo>
                      <a:pt x="1434" y="1908"/>
                    </a:lnTo>
                    <a:lnTo>
                      <a:pt x="1442" y="1908"/>
                    </a:lnTo>
                    <a:lnTo>
                      <a:pt x="1456" y="1910"/>
                    </a:lnTo>
                    <a:lnTo>
                      <a:pt x="1466" y="1906"/>
                    </a:lnTo>
                    <a:lnTo>
                      <a:pt x="1474" y="1902"/>
                    </a:lnTo>
                    <a:lnTo>
                      <a:pt x="1478" y="1896"/>
                    </a:lnTo>
                    <a:lnTo>
                      <a:pt x="1482" y="1890"/>
                    </a:lnTo>
                    <a:lnTo>
                      <a:pt x="1482" y="1884"/>
                    </a:lnTo>
                    <a:lnTo>
                      <a:pt x="1482" y="1878"/>
                    </a:lnTo>
                    <a:lnTo>
                      <a:pt x="1478" y="1874"/>
                    </a:lnTo>
                    <a:lnTo>
                      <a:pt x="1476" y="1870"/>
                    </a:lnTo>
                    <a:lnTo>
                      <a:pt x="1476" y="1866"/>
                    </a:lnTo>
                    <a:lnTo>
                      <a:pt x="1480" y="1856"/>
                    </a:lnTo>
                    <a:lnTo>
                      <a:pt x="1486" y="1842"/>
                    </a:lnTo>
                    <a:lnTo>
                      <a:pt x="1488" y="1836"/>
                    </a:lnTo>
                    <a:lnTo>
                      <a:pt x="1488" y="1828"/>
                    </a:lnTo>
                    <a:lnTo>
                      <a:pt x="1490" y="1812"/>
                    </a:lnTo>
                    <a:lnTo>
                      <a:pt x="1494" y="1794"/>
                    </a:lnTo>
                    <a:lnTo>
                      <a:pt x="1502" y="1776"/>
                    </a:lnTo>
                    <a:lnTo>
                      <a:pt x="1506" y="1770"/>
                    </a:lnTo>
                    <a:lnTo>
                      <a:pt x="1510" y="1766"/>
                    </a:lnTo>
                    <a:lnTo>
                      <a:pt x="1514" y="1760"/>
                    </a:lnTo>
                    <a:lnTo>
                      <a:pt x="1518" y="1750"/>
                    </a:lnTo>
                    <a:lnTo>
                      <a:pt x="1526" y="1718"/>
                    </a:lnTo>
                    <a:lnTo>
                      <a:pt x="1530" y="1700"/>
                    </a:lnTo>
                    <a:lnTo>
                      <a:pt x="1538" y="1680"/>
                    </a:lnTo>
                    <a:lnTo>
                      <a:pt x="1548" y="1662"/>
                    </a:lnTo>
                    <a:lnTo>
                      <a:pt x="1554" y="1654"/>
                    </a:lnTo>
                    <a:lnTo>
                      <a:pt x="1562" y="1646"/>
                    </a:lnTo>
                    <a:lnTo>
                      <a:pt x="1574" y="1634"/>
                    </a:lnTo>
                    <a:lnTo>
                      <a:pt x="1582" y="1626"/>
                    </a:lnTo>
                    <a:lnTo>
                      <a:pt x="1586" y="1618"/>
                    </a:lnTo>
                    <a:lnTo>
                      <a:pt x="1588" y="1612"/>
                    </a:lnTo>
                    <a:lnTo>
                      <a:pt x="1588" y="1604"/>
                    </a:lnTo>
                    <a:lnTo>
                      <a:pt x="1590" y="1598"/>
                    </a:lnTo>
                    <a:lnTo>
                      <a:pt x="1594" y="1590"/>
                    </a:lnTo>
                    <a:lnTo>
                      <a:pt x="1598" y="1576"/>
                    </a:lnTo>
                    <a:lnTo>
                      <a:pt x="1602" y="1566"/>
                    </a:lnTo>
                    <a:lnTo>
                      <a:pt x="1602" y="1556"/>
                    </a:lnTo>
                    <a:lnTo>
                      <a:pt x="1602" y="1546"/>
                    </a:lnTo>
                    <a:lnTo>
                      <a:pt x="1602" y="1532"/>
                    </a:lnTo>
                    <a:lnTo>
                      <a:pt x="1604" y="1524"/>
                    </a:lnTo>
                    <a:lnTo>
                      <a:pt x="1606" y="1516"/>
                    </a:lnTo>
                    <a:lnTo>
                      <a:pt x="1612" y="1504"/>
                    </a:lnTo>
                    <a:lnTo>
                      <a:pt x="1614" y="1494"/>
                    </a:lnTo>
                    <a:lnTo>
                      <a:pt x="1616" y="1476"/>
                    </a:lnTo>
                    <a:lnTo>
                      <a:pt x="1618" y="1458"/>
                    </a:lnTo>
                    <a:lnTo>
                      <a:pt x="1620" y="1448"/>
                    </a:lnTo>
                    <a:lnTo>
                      <a:pt x="1626" y="1438"/>
                    </a:lnTo>
                    <a:lnTo>
                      <a:pt x="1628" y="1432"/>
                    </a:lnTo>
                    <a:lnTo>
                      <a:pt x="1630" y="1426"/>
                    </a:lnTo>
                    <a:lnTo>
                      <a:pt x="1628" y="1412"/>
                    </a:lnTo>
                    <a:lnTo>
                      <a:pt x="1626" y="1398"/>
                    </a:lnTo>
                    <a:lnTo>
                      <a:pt x="1622" y="1384"/>
                    </a:lnTo>
                    <a:lnTo>
                      <a:pt x="1612" y="1358"/>
                    </a:lnTo>
                    <a:lnTo>
                      <a:pt x="1610" y="1350"/>
                    </a:lnTo>
                    <a:lnTo>
                      <a:pt x="1610" y="1344"/>
                    </a:lnTo>
                    <a:close/>
                    <a:moveTo>
                      <a:pt x="1412" y="2026"/>
                    </a:moveTo>
                    <a:lnTo>
                      <a:pt x="1412" y="2026"/>
                    </a:lnTo>
                    <a:lnTo>
                      <a:pt x="1408" y="2024"/>
                    </a:lnTo>
                    <a:lnTo>
                      <a:pt x="1406" y="2020"/>
                    </a:lnTo>
                    <a:lnTo>
                      <a:pt x="1404" y="2016"/>
                    </a:lnTo>
                    <a:lnTo>
                      <a:pt x="1402" y="2014"/>
                    </a:lnTo>
                    <a:lnTo>
                      <a:pt x="1400" y="2014"/>
                    </a:lnTo>
                    <a:lnTo>
                      <a:pt x="1396" y="2018"/>
                    </a:lnTo>
                    <a:lnTo>
                      <a:pt x="1392" y="2022"/>
                    </a:lnTo>
                    <a:lnTo>
                      <a:pt x="1392" y="2024"/>
                    </a:lnTo>
                    <a:lnTo>
                      <a:pt x="1394" y="2024"/>
                    </a:lnTo>
                    <a:lnTo>
                      <a:pt x="1396" y="2026"/>
                    </a:lnTo>
                    <a:lnTo>
                      <a:pt x="1398" y="2028"/>
                    </a:lnTo>
                    <a:lnTo>
                      <a:pt x="1400" y="2038"/>
                    </a:lnTo>
                    <a:lnTo>
                      <a:pt x="1402" y="2040"/>
                    </a:lnTo>
                    <a:lnTo>
                      <a:pt x="1404" y="2042"/>
                    </a:lnTo>
                    <a:lnTo>
                      <a:pt x="1410" y="2044"/>
                    </a:lnTo>
                    <a:lnTo>
                      <a:pt x="1414" y="2042"/>
                    </a:lnTo>
                    <a:lnTo>
                      <a:pt x="1414" y="2040"/>
                    </a:lnTo>
                    <a:lnTo>
                      <a:pt x="1414" y="2036"/>
                    </a:lnTo>
                    <a:lnTo>
                      <a:pt x="1412" y="2034"/>
                    </a:lnTo>
                    <a:lnTo>
                      <a:pt x="1412" y="2032"/>
                    </a:lnTo>
                    <a:lnTo>
                      <a:pt x="1414" y="2030"/>
                    </a:lnTo>
                    <a:lnTo>
                      <a:pt x="1416" y="2028"/>
                    </a:lnTo>
                    <a:lnTo>
                      <a:pt x="1412" y="2026"/>
                    </a:lnTo>
                    <a:close/>
                    <a:moveTo>
                      <a:pt x="1708" y="300"/>
                    </a:moveTo>
                    <a:lnTo>
                      <a:pt x="1708" y="300"/>
                    </a:lnTo>
                    <a:lnTo>
                      <a:pt x="1704" y="298"/>
                    </a:lnTo>
                    <a:lnTo>
                      <a:pt x="1700" y="294"/>
                    </a:lnTo>
                    <a:lnTo>
                      <a:pt x="1694" y="284"/>
                    </a:lnTo>
                    <a:lnTo>
                      <a:pt x="1688" y="274"/>
                    </a:lnTo>
                    <a:lnTo>
                      <a:pt x="1686" y="272"/>
                    </a:lnTo>
                    <a:lnTo>
                      <a:pt x="1682" y="268"/>
                    </a:lnTo>
                    <a:lnTo>
                      <a:pt x="1678" y="266"/>
                    </a:lnTo>
                    <a:lnTo>
                      <a:pt x="1676" y="262"/>
                    </a:lnTo>
                    <a:lnTo>
                      <a:pt x="1672" y="252"/>
                    </a:lnTo>
                    <a:lnTo>
                      <a:pt x="1668" y="244"/>
                    </a:lnTo>
                    <a:lnTo>
                      <a:pt x="1668" y="242"/>
                    </a:lnTo>
                    <a:lnTo>
                      <a:pt x="1664" y="244"/>
                    </a:lnTo>
                    <a:lnTo>
                      <a:pt x="1662" y="248"/>
                    </a:lnTo>
                    <a:lnTo>
                      <a:pt x="1662" y="250"/>
                    </a:lnTo>
                    <a:lnTo>
                      <a:pt x="1666" y="256"/>
                    </a:lnTo>
                    <a:lnTo>
                      <a:pt x="1670" y="264"/>
                    </a:lnTo>
                    <a:lnTo>
                      <a:pt x="1672" y="268"/>
                    </a:lnTo>
                    <a:lnTo>
                      <a:pt x="1672" y="276"/>
                    </a:lnTo>
                    <a:lnTo>
                      <a:pt x="1672" y="282"/>
                    </a:lnTo>
                    <a:lnTo>
                      <a:pt x="1672" y="288"/>
                    </a:lnTo>
                    <a:lnTo>
                      <a:pt x="1680" y="298"/>
                    </a:lnTo>
                    <a:lnTo>
                      <a:pt x="1688" y="306"/>
                    </a:lnTo>
                    <a:lnTo>
                      <a:pt x="1690" y="310"/>
                    </a:lnTo>
                    <a:lnTo>
                      <a:pt x="1692" y="316"/>
                    </a:lnTo>
                    <a:lnTo>
                      <a:pt x="1694" y="324"/>
                    </a:lnTo>
                    <a:lnTo>
                      <a:pt x="1700" y="330"/>
                    </a:lnTo>
                    <a:lnTo>
                      <a:pt x="1708" y="332"/>
                    </a:lnTo>
                    <a:lnTo>
                      <a:pt x="1716" y="330"/>
                    </a:lnTo>
                    <a:lnTo>
                      <a:pt x="1720" y="328"/>
                    </a:lnTo>
                    <a:lnTo>
                      <a:pt x="1722" y="326"/>
                    </a:lnTo>
                    <a:lnTo>
                      <a:pt x="1722" y="322"/>
                    </a:lnTo>
                    <a:lnTo>
                      <a:pt x="1720" y="316"/>
                    </a:lnTo>
                    <a:lnTo>
                      <a:pt x="1716" y="306"/>
                    </a:lnTo>
                    <a:lnTo>
                      <a:pt x="1712" y="304"/>
                    </a:lnTo>
                    <a:lnTo>
                      <a:pt x="1708" y="300"/>
                    </a:lnTo>
                    <a:close/>
                    <a:moveTo>
                      <a:pt x="1712" y="342"/>
                    </a:moveTo>
                    <a:lnTo>
                      <a:pt x="1712" y="342"/>
                    </a:lnTo>
                    <a:lnTo>
                      <a:pt x="1712" y="346"/>
                    </a:lnTo>
                    <a:lnTo>
                      <a:pt x="1716" y="346"/>
                    </a:lnTo>
                    <a:lnTo>
                      <a:pt x="1718" y="346"/>
                    </a:lnTo>
                    <a:lnTo>
                      <a:pt x="1720" y="344"/>
                    </a:lnTo>
                    <a:lnTo>
                      <a:pt x="1718" y="340"/>
                    </a:lnTo>
                    <a:lnTo>
                      <a:pt x="1716" y="338"/>
                    </a:lnTo>
                    <a:lnTo>
                      <a:pt x="1712" y="340"/>
                    </a:lnTo>
                    <a:lnTo>
                      <a:pt x="1712" y="342"/>
                    </a:lnTo>
                    <a:close/>
                    <a:moveTo>
                      <a:pt x="1238" y="2006"/>
                    </a:moveTo>
                    <a:lnTo>
                      <a:pt x="1238" y="2006"/>
                    </a:lnTo>
                    <a:lnTo>
                      <a:pt x="1236" y="2012"/>
                    </a:lnTo>
                    <a:lnTo>
                      <a:pt x="1234" y="2024"/>
                    </a:lnTo>
                    <a:lnTo>
                      <a:pt x="1236" y="2032"/>
                    </a:lnTo>
                    <a:lnTo>
                      <a:pt x="1240" y="2034"/>
                    </a:lnTo>
                    <a:lnTo>
                      <a:pt x="1242" y="2032"/>
                    </a:lnTo>
                    <a:lnTo>
                      <a:pt x="1244" y="2028"/>
                    </a:lnTo>
                    <a:lnTo>
                      <a:pt x="1246" y="2024"/>
                    </a:lnTo>
                    <a:lnTo>
                      <a:pt x="1246" y="2014"/>
                    </a:lnTo>
                    <a:lnTo>
                      <a:pt x="1242" y="2006"/>
                    </a:lnTo>
                    <a:lnTo>
                      <a:pt x="1240" y="2004"/>
                    </a:lnTo>
                    <a:lnTo>
                      <a:pt x="1238" y="2006"/>
                    </a:lnTo>
                    <a:close/>
                    <a:moveTo>
                      <a:pt x="1414" y="2116"/>
                    </a:moveTo>
                    <a:lnTo>
                      <a:pt x="1414" y="2116"/>
                    </a:lnTo>
                    <a:lnTo>
                      <a:pt x="1414" y="2106"/>
                    </a:lnTo>
                    <a:lnTo>
                      <a:pt x="1414" y="2096"/>
                    </a:lnTo>
                    <a:lnTo>
                      <a:pt x="1414" y="2088"/>
                    </a:lnTo>
                    <a:lnTo>
                      <a:pt x="1412" y="2082"/>
                    </a:lnTo>
                    <a:lnTo>
                      <a:pt x="1408" y="2076"/>
                    </a:lnTo>
                    <a:lnTo>
                      <a:pt x="1406" y="2072"/>
                    </a:lnTo>
                    <a:lnTo>
                      <a:pt x="1402" y="2072"/>
                    </a:lnTo>
                    <a:lnTo>
                      <a:pt x="1400" y="2074"/>
                    </a:lnTo>
                    <a:lnTo>
                      <a:pt x="1398" y="2078"/>
                    </a:lnTo>
                    <a:lnTo>
                      <a:pt x="1396" y="2078"/>
                    </a:lnTo>
                    <a:lnTo>
                      <a:pt x="1392" y="2076"/>
                    </a:lnTo>
                    <a:lnTo>
                      <a:pt x="1388" y="2076"/>
                    </a:lnTo>
                    <a:lnTo>
                      <a:pt x="1386" y="2078"/>
                    </a:lnTo>
                    <a:lnTo>
                      <a:pt x="1382" y="2080"/>
                    </a:lnTo>
                    <a:lnTo>
                      <a:pt x="1380" y="2082"/>
                    </a:lnTo>
                    <a:lnTo>
                      <a:pt x="1378" y="2082"/>
                    </a:lnTo>
                    <a:lnTo>
                      <a:pt x="1370" y="2082"/>
                    </a:lnTo>
                    <a:lnTo>
                      <a:pt x="1352" y="2088"/>
                    </a:lnTo>
                    <a:lnTo>
                      <a:pt x="1340" y="2092"/>
                    </a:lnTo>
                    <a:lnTo>
                      <a:pt x="1332" y="2094"/>
                    </a:lnTo>
                    <a:lnTo>
                      <a:pt x="1324" y="2092"/>
                    </a:lnTo>
                    <a:lnTo>
                      <a:pt x="1320" y="2088"/>
                    </a:lnTo>
                    <a:lnTo>
                      <a:pt x="1310" y="2080"/>
                    </a:lnTo>
                    <a:lnTo>
                      <a:pt x="1304" y="2076"/>
                    </a:lnTo>
                    <a:lnTo>
                      <a:pt x="1296" y="2076"/>
                    </a:lnTo>
                    <a:lnTo>
                      <a:pt x="1288" y="2074"/>
                    </a:lnTo>
                    <a:lnTo>
                      <a:pt x="1282" y="2072"/>
                    </a:lnTo>
                    <a:lnTo>
                      <a:pt x="1274" y="2066"/>
                    </a:lnTo>
                    <a:lnTo>
                      <a:pt x="1272" y="2064"/>
                    </a:lnTo>
                    <a:lnTo>
                      <a:pt x="1270" y="2064"/>
                    </a:lnTo>
                    <a:lnTo>
                      <a:pt x="1266" y="2078"/>
                    </a:lnTo>
                    <a:lnTo>
                      <a:pt x="1264" y="2086"/>
                    </a:lnTo>
                    <a:lnTo>
                      <a:pt x="1266" y="2094"/>
                    </a:lnTo>
                    <a:lnTo>
                      <a:pt x="1276" y="2118"/>
                    </a:lnTo>
                    <a:lnTo>
                      <a:pt x="1280" y="2130"/>
                    </a:lnTo>
                    <a:lnTo>
                      <a:pt x="1284" y="2134"/>
                    </a:lnTo>
                    <a:lnTo>
                      <a:pt x="1288" y="2136"/>
                    </a:lnTo>
                    <a:lnTo>
                      <a:pt x="1288" y="2144"/>
                    </a:lnTo>
                    <a:lnTo>
                      <a:pt x="1288" y="2158"/>
                    </a:lnTo>
                    <a:lnTo>
                      <a:pt x="1292" y="2174"/>
                    </a:lnTo>
                    <a:lnTo>
                      <a:pt x="1296" y="2186"/>
                    </a:lnTo>
                    <a:lnTo>
                      <a:pt x="1300" y="2192"/>
                    </a:lnTo>
                    <a:lnTo>
                      <a:pt x="1304" y="2198"/>
                    </a:lnTo>
                    <a:lnTo>
                      <a:pt x="1310" y="2202"/>
                    </a:lnTo>
                    <a:lnTo>
                      <a:pt x="1312" y="2206"/>
                    </a:lnTo>
                    <a:lnTo>
                      <a:pt x="1318" y="2216"/>
                    </a:lnTo>
                    <a:lnTo>
                      <a:pt x="1322" y="2224"/>
                    </a:lnTo>
                    <a:lnTo>
                      <a:pt x="1324" y="2226"/>
                    </a:lnTo>
                    <a:lnTo>
                      <a:pt x="1328" y="2226"/>
                    </a:lnTo>
                    <a:lnTo>
                      <a:pt x="1332" y="2226"/>
                    </a:lnTo>
                    <a:lnTo>
                      <a:pt x="1338" y="2226"/>
                    </a:lnTo>
                    <a:lnTo>
                      <a:pt x="1352" y="2230"/>
                    </a:lnTo>
                    <a:lnTo>
                      <a:pt x="1356" y="2232"/>
                    </a:lnTo>
                    <a:lnTo>
                      <a:pt x="1358" y="2230"/>
                    </a:lnTo>
                    <a:lnTo>
                      <a:pt x="1360" y="2226"/>
                    </a:lnTo>
                    <a:lnTo>
                      <a:pt x="1362" y="2220"/>
                    </a:lnTo>
                    <a:lnTo>
                      <a:pt x="1366" y="2214"/>
                    </a:lnTo>
                    <a:lnTo>
                      <a:pt x="1370" y="2212"/>
                    </a:lnTo>
                    <a:lnTo>
                      <a:pt x="1372" y="2208"/>
                    </a:lnTo>
                    <a:lnTo>
                      <a:pt x="1374" y="2200"/>
                    </a:lnTo>
                    <a:lnTo>
                      <a:pt x="1376" y="2194"/>
                    </a:lnTo>
                    <a:lnTo>
                      <a:pt x="1378" y="2194"/>
                    </a:lnTo>
                    <a:lnTo>
                      <a:pt x="1378" y="2196"/>
                    </a:lnTo>
                    <a:lnTo>
                      <a:pt x="1380" y="2198"/>
                    </a:lnTo>
                    <a:lnTo>
                      <a:pt x="1382" y="2198"/>
                    </a:lnTo>
                    <a:lnTo>
                      <a:pt x="1382" y="2194"/>
                    </a:lnTo>
                    <a:lnTo>
                      <a:pt x="1384" y="2190"/>
                    </a:lnTo>
                    <a:lnTo>
                      <a:pt x="1386" y="2188"/>
                    </a:lnTo>
                    <a:lnTo>
                      <a:pt x="1388" y="2188"/>
                    </a:lnTo>
                    <a:lnTo>
                      <a:pt x="1392" y="2192"/>
                    </a:lnTo>
                    <a:lnTo>
                      <a:pt x="1394" y="2194"/>
                    </a:lnTo>
                    <a:lnTo>
                      <a:pt x="1394" y="2196"/>
                    </a:lnTo>
                    <a:lnTo>
                      <a:pt x="1392" y="2196"/>
                    </a:lnTo>
                    <a:lnTo>
                      <a:pt x="1388" y="2198"/>
                    </a:lnTo>
                    <a:lnTo>
                      <a:pt x="1388" y="2202"/>
                    </a:lnTo>
                    <a:lnTo>
                      <a:pt x="1390" y="2206"/>
                    </a:lnTo>
                    <a:lnTo>
                      <a:pt x="1398" y="2210"/>
                    </a:lnTo>
                    <a:lnTo>
                      <a:pt x="1402" y="2208"/>
                    </a:lnTo>
                    <a:lnTo>
                      <a:pt x="1404" y="2206"/>
                    </a:lnTo>
                    <a:lnTo>
                      <a:pt x="1402" y="2194"/>
                    </a:lnTo>
                    <a:lnTo>
                      <a:pt x="1400" y="2180"/>
                    </a:lnTo>
                    <a:lnTo>
                      <a:pt x="1400" y="2174"/>
                    </a:lnTo>
                    <a:lnTo>
                      <a:pt x="1402" y="2170"/>
                    </a:lnTo>
                    <a:lnTo>
                      <a:pt x="1404" y="2168"/>
                    </a:lnTo>
                    <a:lnTo>
                      <a:pt x="1404" y="2166"/>
                    </a:lnTo>
                    <a:lnTo>
                      <a:pt x="1402" y="2160"/>
                    </a:lnTo>
                    <a:lnTo>
                      <a:pt x="1402" y="2152"/>
                    </a:lnTo>
                    <a:lnTo>
                      <a:pt x="1402" y="2150"/>
                    </a:lnTo>
                    <a:lnTo>
                      <a:pt x="1404" y="2146"/>
                    </a:lnTo>
                    <a:lnTo>
                      <a:pt x="1408" y="2144"/>
                    </a:lnTo>
                    <a:lnTo>
                      <a:pt x="1410" y="2144"/>
                    </a:lnTo>
                    <a:lnTo>
                      <a:pt x="1410" y="2150"/>
                    </a:lnTo>
                    <a:lnTo>
                      <a:pt x="1412" y="2154"/>
                    </a:lnTo>
                    <a:lnTo>
                      <a:pt x="1414" y="2152"/>
                    </a:lnTo>
                    <a:lnTo>
                      <a:pt x="1416" y="2148"/>
                    </a:lnTo>
                    <a:lnTo>
                      <a:pt x="1416" y="2146"/>
                    </a:lnTo>
                    <a:lnTo>
                      <a:pt x="1414" y="2140"/>
                    </a:lnTo>
                    <a:lnTo>
                      <a:pt x="1412" y="2132"/>
                    </a:lnTo>
                    <a:lnTo>
                      <a:pt x="1412" y="2124"/>
                    </a:lnTo>
                    <a:lnTo>
                      <a:pt x="1414" y="2116"/>
                    </a:lnTo>
                    <a:close/>
                    <a:moveTo>
                      <a:pt x="984" y="1792"/>
                    </a:moveTo>
                    <a:lnTo>
                      <a:pt x="984" y="1792"/>
                    </a:lnTo>
                    <a:lnTo>
                      <a:pt x="980" y="1788"/>
                    </a:lnTo>
                    <a:lnTo>
                      <a:pt x="974" y="1788"/>
                    </a:lnTo>
                    <a:lnTo>
                      <a:pt x="966" y="1788"/>
                    </a:lnTo>
                    <a:lnTo>
                      <a:pt x="958" y="1792"/>
                    </a:lnTo>
                    <a:lnTo>
                      <a:pt x="950" y="1794"/>
                    </a:lnTo>
                    <a:lnTo>
                      <a:pt x="944" y="1798"/>
                    </a:lnTo>
                    <a:lnTo>
                      <a:pt x="942" y="1804"/>
                    </a:lnTo>
                    <a:lnTo>
                      <a:pt x="940" y="1808"/>
                    </a:lnTo>
                    <a:lnTo>
                      <a:pt x="942" y="1810"/>
                    </a:lnTo>
                    <a:lnTo>
                      <a:pt x="948" y="1812"/>
                    </a:lnTo>
                    <a:lnTo>
                      <a:pt x="960" y="1814"/>
                    </a:lnTo>
                    <a:lnTo>
                      <a:pt x="974" y="1812"/>
                    </a:lnTo>
                    <a:lnTo>
                      <a:pt x="982" y="1810"/>
                    </a:lnTo>
                    <a:lnTo>
                      <a:pt x="990" y="1808"/>
                    </a:lnTo>
                    <a:lnTo>
                      <a:pt x="998" y="1808"/>
                    </a:lnTo>
                    <a:lnTo>
                      <a:pt x="1004" y="1806"/>
                    </a:lnTo>
                    <a:lnTo>
                      <a:pt x="1004" y="1804"/>
                    </a:lnTo>
                    <a:lnTo>
                      <a:pt x="1002" y="1800"/>
                    </a:lnTo>
                    <a:lnTo>
                      <a:pt x="1000" y="1798"/>
                    </a:lnTo>
                    <a:lnTo>
                      <a:pt x="994" y="1798"/>
                    </a:lnTo>
                    <a:lnTo>
                      <a:pt x="990" y="1796"/>
                    </a:lnTo>
                    <a:lnTo>
                      <a:pt x="984" y="1792"/>
                    </a:lnTo>
                    <a:close/>
                    <a:moveTo>
                      <a:pt x="2204" y="1064"/>
                    </a:moveTo>
                    <a:lnTo>
                      <a:pt x="2204" y="1064"/>
                    </a:lnTo>
                    <a:lnTo>
                      <a:pt x="2206" y="1066"/>
                    </a:lnTo>
                    <a:lnTo>
                      <a:pt x="2208" y="1066"/>
                    </a:lnTo>
                    <a:lnTo>
                      <a:pt x="2212" y="1066"/>
                    </a:lnTo>
                    <a:lnTo>
                      <a:pt x="2214" y="1060"/>
                    </a:lnTo>
                    <a:lnTo>
                      <a:pt x="2214" y="1058"/>
                    </a:lnTo>
                    <a:lnTo>
                      <a:pt x="2212" y="1054"/>
                    </a:lnTo>
                    <a:lnTo>
                      <a:pt x="2210" y="1050"/>
                    </a:lnTo>
                    <a:lnTo>
                      <a:pt x="2208" y="1048"/>
                    </a:lnTo>
                    <a:lnTo>
                      <a:pt x="2206" y="1048"/>
                    </a:lnTo>
                    <a:lnTo>
                      <a:pt x="2204" y="1050"/>
                    </a:lnTo>
                    <a:lnTo>
                      <a:pt x="2202" y="1054"/>
                    </a:lnTo>
                    <a:lnTo>
                      <a:pt x="2204" y="1064"/>
                    </a:lnTo>
                    <a:close/>
                    <a:moveTo>
                      <a:pt x="2218" y="862"/>
                    </a:moveTo>
                    <a:lnTo>
                      <a:pt x="2218" y="862"/>
                    </a:lnTo>
                    <a:lnTo>
                      <a:pt x="2216" y="866"/>
                    </a:lnTo>
                    <a:lnTo>
                      <a:pt x="2218" y="870"/>
                    </a:lnTo>
                    <a:lnTo>
                      <a:pt x="2222" y="872"/>
                    </a:lnTo>
                    <a:lnTo>
                      <a:pt x="2228" y="874"/>
                    </a:lnTo>
                    <a:lnTo>
                      <a:pt x="2230" y="872"/>
                    </a:lnTo>
                    <a:lnTo>
                      <a:pt x="2230" y="870"/>
                    </a:lnTo>
                    <a:lnTo>
                      <a:pt x="2228" y="864"/>
                    </a:lnTo>
                    <a:lnTo>
                      <a:pt x="2222" y="860"/>
                    </a:lnTo>
                    <a:lnTo>
                      <a:pt x="2220" y="860"/>
                    </a:lnTo>
                    <a:lnTo>
                      <a:pt x="2218" y="862"/>
                    </a:lnTo>
                    <a:close/>
                    <a:moveTo>
                      <a:pt x="2220" y="824"/>
                    </a:moveTo>
                    <a:lnTo>
                      <a:pt x="2220" y="824"/>
                    </a:lnTo>
                    <a:lnTo>
                      <a:pt x="2222" y="824"/>
                    </a:lnTo>
                    <a:lnTo>
                      <a:pt x="2222" y="822"/>
                    </a:lnTo>
                    <a:lnTo>
                      <a:pt x="2216" y="814"/>
                    </a:lnTo>
                    <a:lnTo>
                      <a:pt x="2216" y="812"/>
                    </a:lnTo>
                    <a:lnTo>
                      <a:pt x="2214" y="814"/>
                    </a:lnTo>
                    <a:lnTo>
                      <a:pt x="2212" y="816"/>
                    </a:lnTo>
                    <a:lnTo>
                      <a:pt x="2214" y="822"/>
                    </a:lnTo>
                    <a:lnTo>
                      <a:pt x="2216" y="822"/>
                    </a:lnTo>
                    <a:lnTo>
                      <a:pt x="2220" y="824"/>
                    </a:lnTo>
                    <a:close/>
                    <a:moveTo>
                      <a:pt x="2124" y="1064"/>
                    </a:moveTo>
                    <a:lnTo>
                      <a:pt x="2124" y="1064"/>
                    </a:lnTo>
                    <a:lnTo>
                      <a:pt x="2118" y="1060"/>
                    </a:lnTo>
                    <a:lnTo>
                      <a:pt x="2116" y="1060"/>
                    </a:lnTo>
                    <a:lnTo>
                      <a:pt x="2114" y="1062"/>
                    </a:lnTo>
                    <a:lnTo>
                      <a:pt x="2096" y="1042"/>
                    </a:lnTo>
                    <a:lnTo>
                      <a:pt x="2094" y="1038"/>
                    </a:lnTo>
                    <a:lnTo>
                      <a:pt x="2090" y="1032"/>
                    </a:lnTo>
                    <a:lnTo>
                      <a:pt x="2076" y="1018"/>
                    </a:lnTo>
                    <a:lnTo>
                      <a:pt x="2060" y="1008"/>
                    </a:lnTo>
                    <a:lnTo>
                      <a:pt x="2050" y="1000"/>
                    </a:lnTo>
                    <a:lnTo>
                      <a:pt x="2050" y="1004"/>
                    </a:lnTo>
                    <a:lnTo>
                      <a:pt x="2044" y="998"/>
                    </a:lnTo>
                    <a:lnTo>
                      <a:pt x="2040" y="994"/>
                    </a:lnTo>
                    <a:lnTo>
                      <a:pt x="2036" y="992"/>
                    </a:lnTo>
                    <a:lnTo>
                      <a:pt x="2040" y="1000"/>
                    </a:lnTo>
                    <a:lnTo>
                      <a:pt x="2050" y="1020"/>
                    </a:lnTo>
                    <a:lnTo>
                      <a:pt x="2052" y="1024"/>
                    </a:lnTo>
                    <a:lnTo>
                      <a:pt x="2052" y="1026"/>
                    </a:lnTo>
                    <a:lnTo>
                      <a:pt x="2064" y="1036"/>
                    </a:lnTo>
                    <a:lnTo>
                      <a:pt x="2070" y="1042"/>
                    </a:lnTo>
                    <a:lnTo>
                      <a:pt x="2076" y="1056"/>
                    </a:lnTo>
                    <a:lnTo>
                      <a:pt x="2076" y="1054"/>
                    </a:lnTo>
                    <a:lnTo>
                      <a:pt x="2078" y="1058"/>
                    </a:lnTo>
                    <a:lnTo>
                      <a:pt x="2082" y="1058"/>
                    </a:lnTo>
                    <a:lnTo>
                      <a:pt x="2088" y="1064"/>
                    </a:lnTo>
                    <a:lnTo>
                      <a:pt x="2094" y="1070"/>
                    </a:lnTo>
                    <a:lnTo>
                      <a:pt x="2102" y="1074"/>
                    </a:lnTo>
                    <a:lnTo>
                      <a:pt x="2110" y="1080"/>
                    </a:lnTo>
                    <a:lnTo>
                      <a:pt x="2116" y="1086"/>
                    </a:lnTo>
                    <a:lnTo>
                      <a:pt x="2136" y="1098"/>
                    </a:lnTo>
                    <a:lnTo>
                      <a:pt x="2136" y="1102"/>
                    </a:lnTo>
                    <a:lnTo>
                      <a:pt x="2136" y="1104"/>
                    </a:lnTo>
                    <a:lnTo>
                      <a:pt x="2154" y="1100"/>
                    </a:lnTo>
                    <a:lnTo>
                      <a:pt x="2158" y="1098"/>
                    </a:lnTo>
                    <a:lnTo>
                      <a:pt x="2158" y="1096"/>
                    </a:lnTo>
                    <a:lnTo>
                      <a:pt x="2148" y="1086"/>
                    </a:lnTo>
                    <a:lnTo>
                      <a:pt x="2124" y="1064"/>
                    </a:lnTo>
                    <a:close/>
                    <a:moveTo>
                      <a:pt x="2172" y="1036"/>
                    </a:moveTo>
                    <a:lnTo>
                      <a:pt x="2172" y="1036"/>
                    </a:lnTo>
                    <a:lnTo>
                      <a:pt x="2178" y="1038"/>
                    </a:lnTo>
                    <a:lnTo>
                      <a:pt x="2182" y="1040"/>
                    </a:lnTo>
                    <a:lnTo>
                      <a:pt x="2184" y="1038"/>
                    </a:lnTo>
                    <a:lnTo>
                      <a:pt x="2186" y="1036"/>
                    </a:lnTo>
                    <a:lnTo>
                      <a:pt x="2186" y="1030"/>
                    </a:lnTo>
                    <a:lnTo>
                      <a:pt x="2182" y="1024"/>
                    </a:lnTo>
                    <a:lnTo>
                      <a:pt x="2176" y="1018"/>
                    </a:lnTo>
                    <a:lnTo>
                      <a:pt x="2172" y="1016"/>
                    </a:lnTo>
                    <a:lnTo>
                      <a:pt x="2168" y="1018"/>
                    </a:lnTo>
                    <a:lnTo>
                      <a:pt x="2168" y="1020"/>
                    </a:lnTo>
                    <a:lnTo>
                      <a:pt x="2170" y="1020"/>
                    </a:lnTo>
                    <a:lnTo>
                      <a:pt x="2172" y="1022"/>
                    </a:lnTo>
                    <a:lnTo>
                      <a:pt x="2172" y="1024"/>
                    </a:lnTo>
                    <a:lnTo>
                      <a:pt x="2170" y="1028"/>
                    </a:lnTo>
                    <a:lnTo>
                      <a:pt x="2168" y="1032"/>
                    </a:lnTo>
                    <a:lnTo>
                      <a:pt x="2170" y="1034"/>
                    </a:lnTo>
                    <a:lnTo>
                      <a:pt x="2172" y="1036"/>
                    </a:lnTo>
                    <a:close/>
                    <a:moveTo>
                      <a:pt x="2152" y="752"/>
                    </a:moveTo>
                    <a:lnTo>
                      <a:pt x="2152" y="752"/>
                    </a:lnTo>
                    <a:lnTo>
                      <a:pt x="2154" y="760"/>
                    </a:lnTo>
                    <a:lnTo>
                      <a:pt x="2156" y="764"/>
                    </a:lnTo>
                    <a:lnTo>
                      <a:pt x="2160" y="766"/>
                    </a:lnTo>
                    <a:lnTo>
                      <a:pt x="2168" y="764"/>
                    </a:lnTo>
                    <a:lnTo>
                      <a:pt x="2172" y="762"/>
                    </a:lnTo>
                    <a:lnTo>
                      <a:pt x="2174" y="760"/>
                    </a:lnTo>
                    <a:lnTo>
                      <a:pt x="2176" y="758"/>
                    </a:lnTo>
                    <a:lnTo>
                      <a:pt x="2176" y="754"/>
                    </a:lnTo>
                    <a:lnTo>
                      <a:pt x="2174" y="746"/>
                    </a:lnTo>
                    <a:lnTo>
                      <a:pt x="2170" y="736"/>
                    </a:lnTo>
                    <a:lnTo>
                      <a:pt x="2168" y="732"/>
                    </a:lnTo>
                    <a:lnTo>
                      <a:pt x="2166" y="732"/>
                    </a:lnTo>
                    <a:lnTo>
                      <a:pt x="2164" y="734"/>
                    </a:lnTo>
                    <a:lnTo>
                      <a:pt x="2162" y="736"/>
                    </a:lnTo>
                    <a:lnTo>
                      <a:pt x="2158" y="730"/>
                    </a:lnTo>
                    <a:lnTo>
                      <a:pt x="2156" y="724"/>
                    </a:lnTo>
                    <a:lnTo>
                      <a:pt x="2154" y="718"/>
                    </a:lnTo>
                    <a:lnTo>
                      <a:pt x="2152" y="716"/>
                    </a:lnTo>
                    <a:lnTo>
                      <a:pt x="2148" y="716"/>
                    </a:lnTo>
                    <a:lnTo>
                      <a:pt x="2146" y="718"/>
                    </a:lnTo>
                    <a:lnTo>
                      <a:pt x="2146" y="722"/>
                    </a:lnTo>
                    <a:lnTo>
                      <a:pt x="2148" y="726"/>
                    </a:lnTo>
                    <a:lnTo>
                      <a:pt x="2152" y="736"/>
                    </a:lnTo>
                    <a:lnTo>
                      <a:pt x="2152" y="742"/>
                    </a:lnTo>
                    <a:lnTo>
                      <a:pt x="2152" y="746"/>
                    </a:lnTo>
                    <a:lnTo>
                      <a:pt x="2152" y="752"/>
                    </a:lnTo>
                    <a:close/>
                    <a:moveTo>
                      <a:pt x="2196" y="758"/>
                    </a:moveTo>
                    <a:lnTo>
                      <a:pt x="2196" y="758"/>
                    </a:lnTo>
                    <a:lnTo>
                      <a:pt x="2202" y="754"/>
                    </a:lnTo>
                    <a:lnTo>
                      <a:pt x="2206" y="750"/>
                    </a:lnTo>
                    <a:lnTo>
                      <a:pt x="2208" y="748"/>
                    </a:lnTo>
                    <a:lnTo>
                      <a:pt x="2206" y="746"/>
                    </a:lnTo>
                    <a:lnTo>
                      <a:pt x="2202" y="746"/>
                    </a:lnTo>
                    <a:lnTo>
                      <a:pt x="2198" y="748"/>
                    </a:lnTo>
                    <a:lnTo>
                      <a:pt x="2194" y="752"/>
                    </a:lnTo>
                    <a:lnTo>
                      <a:pt x="2194" y="754"/>
                    </a:lnTo>
                    <a:lnTo>
                      <a:pt x="2196" y="758"/>
                    </a:lnTo>
                    <a:close/>
                    <a:moveTo>
                      <a:pt x="2206" y="798"/>
                    </a:moveTo>
                    <a:lnTo>
                      <a:pt x="2206" y="798"/>
                    </a:lnTo>
                    <a:lnTo>
                      <a:pt x="2210" y="800"/>
                    </a:lnTo>
                    <a:lnTo>
                      <a:pt x="2214" y="800"/>
                    </a:lnTo>
                    <a:lnTo>
                      <a:pt x="2216" y="798"/>
                    </a:lnTo>
                    <a:lnTo>
                      <a:pt x="2216" y="792"/>
                    </a:lnTo>
                    <a:lnTo>
                      <a:pt x="2216" y="790"/>
                    </a:lnTo>
                    <a:lnTo>
                      <a:pt x="2214" y="788"/>
                    </a:lnTo>
                    <a:lnTo>
                      <a:pt x="2208" y="790"/>
                    </a:lnTo>
                    <a:lnTo>
                      <a:pt x="2204" y="794"/>
                    </a:lnTo>
                    <a:lnTo>
                      <a:pt x="2204" y="796"/>
                    </a:lnTo>
                    <a:lnTo>
                      <a:pt x="2206" y="798"/>
                    </a:lnTo>
                    <a:close/>
                    <a:moveTo>
                      <a:pt x="1762" y="382"/>
                    </a:moveTo>
                    <a:lnTo>
                      <a:pt x="1762" y="382"/>
                    </a:lnTo>
                    <a:lnTo>
                      <a:pt x="1762" y="386"/>
                    </a:lnTo>
                    <a:lnTo>
                      <a:pt x="1764" y="392"/>
                    </a:lnTo>
                    <a:lnTo>
                      <a:pt x="1768" y="394"/>
                    </a:lnTo>
                    <a:lnTo>
                      <a:pt x="1770" y="394"/>
                    </a:lnTo>
                    <a:lnTo>
                      <a:pt x="1772" y="392"/>
                    </a:lnTo>
                    <a:lnTo>
                      <a:pt x="1774" y="390"/>
                    </a:lnTo>
                    <a:lnTo>
                      <a:pt x="1772" y="386"/>
                    </a:lnTo>
                    <a:lnTo>
                      <a:pt x="1770" y="382"/>
                    </a:lnTo>
                    <a:lnTo>
                      <a:pt x="1766" y="378"/>
                    </a:lnTo>
                    <a:lnTo>
                      <a:pt x="1764" y="380"/>
                    </a:lnTo>
                    <a:lnTo>
                      <a:pt x="1762" y="382"/>
                    </a:lnTo>
                    <a:close/>
                    <a:moveTo>
                      <a:pt x="1786" y="386"/>
                    </a:moveTo>
                    <a:lnTo>
                      <a:pt x="1786" y="386"/>
                    </a:lnTo>
                    <a:lnTo>
                      <a:pt x="1784" y="386"/>
                    </a:lnTo>
                    <a:lnTo>
                      <a:pt x="1780" y="388"/>
                    </a:lnTo>
                    <a:lnTo>
                      <a:pt x="1776" y="396"/>
                    </a:lnTo>
                    <a:lnTo>
                      <a:pt x="1776" y="402"/>
                    </a:lnTo>
                    <a:lnTo>
                      <a:pt x="1778" y="404"/>
                    </a:lnTo>
                    <a:lnTo>
                      <a:pt x="1780" y="404"/>
                    </a:lnTo>
                    <a:lnTo>
                      <a:pt x="1784" y="402"/>
                    </a:lnTo>
                    <a:lnTo>
                      <a:pt x="1788" y="404"/>
                    </a:lnTo>
                    <a:lnTo>
                      <a:pt x="1790" y="410"/>
                    </a:lnTo>
                    <a:lnTo>
                      <a:pt x="1794" y="414"/>
                    </a:lnTo>
                    <a:lnTo>
                      <a:pt x="1796" y="416"/>
                    </a:lnTo>
                    <a:lnTo>
                      <a:pt x="1800" y="412"/>
                    </a:lnTo>
                    <a:lnTo>
                      <a:pt x="1798" y="408"/>
                    </a:lnTo>
                    <a:lnTo>
                      <a:pt x="1794" y="402"/>
                    </a:lnTo>
                    <a:lnTo>
                      <a:pt x="1790" y="396"/>
                    </a:lnTo>
                    <a:lnTo>
                      <a:pt x="1790" y="392"/>
                    </a:lnTo>
                    <a:lnTo>
                      <a:pt x="1790" y="390"/>
                    </a:lnTo>
                    <a:lnTo>
                      <a:pt x="1786" y="386"/>
                    </a:lnTo>
                    <a:close/>
                    <a:moveTo>
                      <a:pt x="1754" y="340"/>
                    </a:moveTo>
                    <a:lnTo>
                      <a:pt x="1754" y="340"/>
                    </a:lnTo>
                    <a:lnTo>
                      <a:pt x="1758" y="346"/>
                    </a:lnTo>
                    <a:lnTo>
                      <a:pt x="1766" y="354"/>
                    </a:lnTo>
                    <a:lnTo>
                      <a:pt x="1776" y="360"/>
                    </a:lnTo>
                    <a:lnTo>
                      <a:pt x="1780" y="360"/>
                    </a:lnTo>
                    <a:lnTo>
                      <a:pt x="1784" y="360"/>
                    </a:lnTo>
                    <a:lnTo>
                      <a:pt x="1788" y="358"/>
                    </a:lnTo>
                    <a:lnTo>
                      <a:pt x="1784" y="356"/>
                    </a:lnTo>
                    <a:lnTo>
                      <a:pt x="1776" y="352"/>
                    </a:lnTo>
                    <a:lnTo>
                      <a:pt x="1774" y="348"/>
                    </a:lnTo>
                    <a:lnTo>
                      <a:pt x="1772" y="344"/>
                    </a:lnTo>
                    <a:lnTo>
                      <a:pt x="1768" y="336"/>
                    </a:lnTo>
                    <a:lnTo>
                      <a:pt x="1764" y="332"/>
                    </a:lnTo>
                    <a:lnTo>
                      <a:pt x="1746" y="320"/>
                    </a:lnTo>
                    <a:lnTo>
                      <a:pt x="1742" y="318"/>
                    </a:lnTo>
                    <a:lnTo>
                      <a:pt x="1740" y="320"/>
                    </a:lnTo>
                    <a:lnTo>
                      <a:pt x="1742" y="328"/>
                    </a:lnTo>
                    <a:lnTo>
                      <a:pt x="1744" y="332"/>
                    </a:lnTo>
                    <a:lnTo>
                      <a:pt x="1748" y="334"/>
                    </a:lnTo>
                    <a:lnTo>
                      <a:pt x="1752" y="336"/>
                    </a:lnTo>
                    <a:lnTo>
                      <a:pt x="1754" y="340"/>
                    </a:lnTo>
                    <a:close/>
                    <a:moveTo>
                      <a:pt x="1744" y="368"/>
                    </a:moveTo>
                    <a:lnTo>
                      <a:pt x="1744" y="368"/>
                    </a:lnTo>
                    <a:lnTo>
                      <a:pt x="1744" y="374"/>
                    </a:lnTo>
                    <a:lnTo>
                      <a:pt x="1748" y="378"/>
                    </a:lnTo>
                    <a:lnTo>
                      <a:pt x="1752" y="382"/>
                    </a:lnTo>
                    <a:lnTo>
                      <a:pt x="1754" y="380"/>
                    </a:lnTo>
                    <a:lnTo>
                      <a:pt x="1756" y="380"/>
                    </a:lnTo>
                    <a:lnTo>
                      <a:pt x="1758" y="376"/>
                    </a:lnTo>
                    <a:lnTo>
                      <a:pt x="1758" y="374"/>
                    </a:lnTo>
                    <a:lnTo>
                      <a:pt x="1752" y="368"/>
                    </a:lnTo>
                    <a:lnTo>
                      <a:pt x="1746" y="366"/>
                    </a:lnTo>
                    <a:lnTo>
                      <a:pt x="1744" y="366"/>
                    </a:lnTo>
                    <a:lnTo>
                      <a:pt x="1744" y="368"/>
                    </a:lnTo>
                    <a:close/>
                    <a:moveTo>
                      <a:pt x="1802" y="416"/>
                    </a:moveTo>
                    <a:lnTo>
                      <a:pt x="1802" y="416"/>
                    </a:lnTo>
                    <a:lnTo>
                      <a:pt x="1800" y="420"/>
                    </a:lnTo>
                    <a:lnTo>
                      <a:pt x="1800" y="424"/>
                    </a:lnTo>
                    <a:lnTo>
                      <a:pt x="1804" y="426"/>
                    </a:lnTo>
                    <a:lnTo>
                      <a:pt x="1810" y="424"/>
                    </a:lnTo>
                    <a:lnTo>
                      <a:pt x="1810" y="422"/>
                    </a:lnTo>
                    <a:lnTo>
                      <a:pt x="1812" y="420"/>
                    </a:lnTo>
                    <a:lnTo>
                      <a:pt x="1810" y="416"/>
                    </a:lnTo>
                    <a:lnTo>
                      <a:pt x="1806" y="414"/>
                    </a:lnTo>
                    <a:lnTo>
                      <a:pt x="1804" y="414"/>
                    </a:lnTo>
                    <a:lnTo>
                      <a:pt x="1802" y="416"/>
                    </a:lnTo>
                    <a:close/>
                    <a:moveTo>
                      <a:pt x="1858" y="386"/>
                    </a:moveTo>
                    <a:lnTo>
                      <a:pt x="1858" y="386"/>
                    </a:lnTo>
                    <a:lnTo>
                      <a:pt x="1848" y="382"/>
                    </a:lnTo>
                    <a:lnTo>
                      <a:pt x="1844" y="378"/>
                    </a:lnTo>
                    <a:lnTo>
                      <a:pt x="1840" y="374"/>
                    </a:lnTo>
                    <a:lnTo>
                      <a:pt x="1832" y="368"/>
                    </a:lnTo>
                    <a:lnTo>
                      <a:pt x="1828" y="366"/>
                    </a:lnTo>
                    <a:lnTo>
                      <a:pt x="1826" y="368"/>
                    </a:lnTo>
                    <a:lnTo>
                      <a:pt x="1828" y="378"/>
                    </a:lnTo>
                    <a:lnTo>
                      <a:pt x="1830" y="382"/>
                    </a:lnTo>
                    <a:lnTo>
                      <a:pt x="1834" y="386"/>
                    </a:lnTo>
                    <a:lnTo>
                      <a:pt x="1848" y="394"/>
                    </a:lnTo>
                    <a:lnTo>
                      <a:pt x="1864" y="404"/>
                    </a:lnTo>
                    <a:lnTo>
                      <a:pt x="1878" y="414"/>
                    </a:lnTo>
                    <a:lnTo>
                      <a:pt x="1880" y="416"/>
                    </a:lnTo>
                    <a:lnTo>
                      <a:pt x="1882" y="416"/>
                    </a:lnTo>
                    <a:lnTo>
                      <a:pt x="1878" y="408"/>
                    </a:lnTo>
                    <a:lnTo>
                      <a:pt x="1870" y="396"/>
                    </a:lnTo>
                    <a:lnTo>
                      <a:pt x="1864" y="390"/>
                    </a:lnTo>
                    <a:lnTo>
                      <a:pt x="1858" y="386"/>
                    </a:lnTo>
                    <a:close/>
                    <a:moveTo>
                      <a:pt x="1882" y="456"/>
                    </a:moveTo>
                    <a:lnTo>
                      <a:pt x="1882" y="456"/>
                    </a:lnTo>
                    <a:lnTo>
                      <a:pt x="1876" y="450"/>
                    </a:lnTo>
                    <a:lnTo>
                      <a:pt x="1872" y="450"/>
                    </a:lnTo>
                    <a:lnTo>
                      <a:pt x="1870" y="454"/>
                    </a:lnTo>
                    <a:lnTo>
                      <a:pt x="1870" y="462"/>
                    </a:lnTo>
                    <a:lnTo>
                      <a:pt x="1870" y="468"/>
                    </a:lnTo>
                    <a:lnTo>
                      <a:pt x="1876" y="474"/>
                    </a:lnTo>
                    <a:lnTo>
                      <a:pt x="1882" y="478"/>
                    </a:lnTo>
                    <a:lnTo>
                      <a:pt x="1892" y="478"/>
                    </a:lnTo>
                    <a:lnTo>
                      <a:pt x="1900" y="476"/>
                    </a:lnTo>
                    <a:lnTo>
                      <a:pt x="1900" y="478"/>
                    </a:lnTo>
                    <a:lnTo>
                      <a:pt x="1902" y="480"/>
                    </a:lnTo>
                    <a:lnTo>
                      <a:pt x="1912" y="482"/>
                    </a:lnTo>
                    <a:lnTo>
                      <a:pt x="1916" y="482"/>
                    </a:lnTo>
                    <a:lnTo>
                      <a:pt x="1920" y="482"/>
                    </a:lnTo>
                    <a:lnTo>
                      <a:pt x="1920" y="480"/>
                    </a:lnTo>
                    <a:lnTo>
                      <a:pt x="1918" y="476"/>
                    </a:lnTo>
                    <a:lnTo>
                      <a:pt x="1914" y="468"/>
                    </a:lnTo>
                    <a:lnTo>
                      <a:pt x="1906" y="460"/>
                    </a:lnTo>
                    <a:lnTo>
                      <a:pt x="1902" y="458"/>
                    </a:lnTo>
                    <a:lnTo>
                      <a:pt x="1900" y="456"/>
                    </a:lnTo>
                    <a:lnTo>
                      <a:pt x="1892" y="456"/>
                    </a:lnTo>
                    <a:lnTo>
                      <a:pt x="1886" y="458"/>
                    </a:lnTo>
                    <a:lnTo>
                      <a:pt x="1884" y="456"/>
                    </a:lnTo>
                    <a:lnTo>
                      <a:pt x="1882" y="456"/>
                    </a:lnTo>
                    <a:close/>
                    <a:moveTo>
                      <a:pt x="1884" y="560"/>
                    </a:moveTo>
                    <a:lnTo>
                      <a:pt x="1884" y="560"/>
                    </a:lnTo>
                    <a:lnTo>
                      <a:pt x="1886" y="564"/>
                    </a:lnTo>
                    <a:lnTo>
                      <a:pt x="1894" y="570"/>
                    </a:lnTo>
                    <a:lnTo>
                      <a:pt x="1902" y="576"/>
                    </a:lnTo>
                    <a:lnTo>
                      <a:pt x="1906" y="576"/>
                    </a:lnTo>
                    <a:lnTo>
                      <a:pt x="1910" y="576"/>
                    </a:lnTo>
                    <a:lnTo>
                      <a:pt x="1910" y="574"/>
                    </a:lnTo>
                    <a:lnTo>
                      <a:pt x="1908" y="570"/>
                    </a:lnTo>
                    <a:lnTo>
                      <a:pt x="1900" y="562"/>
                    </a:lnTo>
                    <a:lnTo>
                      <a:pt x="1890" y="558"/>
                    </a:lnTo>
                    <a:lnTo>
                      <a:pt x="1886" y="558"/>
                    </a:lnTo>
                    <a:lnTo>
                      <a:pt x="1884" y="560"/>
                    </a:lnTo>
                    <a:close/>
                    <a:moveTo>
                      <a:pt x="1966" y="508"/>
                    </a:moveTo>
                    <a:lnTo>
                      <a:pt x="1966" y="508"/>
                    </a:lnTo>
                    <a:lnTo>
                      <a:pt x="1958" y="506"/>
                    </a:lnTo>
                    <a:lnTo>
                      <a:pt x="1950" y="502"/>
                    </a:lnTo>
                    <a:lnTo>
                      <a:pt x="1942" y="498"/>
                    </a:lnTo>
                    <a:lnTo>
                      <a:pt x="1938" y="498"/>
                    </a:lnTo>
                    <a:lnTo>
                      <a:pt x="1936" y="500"/>
                    </a:lnTo>
                    <a:lnTo>
                      <a:pt x="1934" y="500"/>
                    </a:lnTo>
                    <a:lnTo>
                      <a:pt x="1934" y="502"/>
                    </a:lnTo>
                    <a:lnTo>
                      <a:pt x="1938" y="504"/>
                    </a:lnTo>
                    <a:lnTo>
                      <a:pt x="1942" y="506"/>
                    </a:lnTo>
                    <a:lnTo>
                      <a:pt x="1944" y="510"/>
                    </a:lnTo>
                    <a:lnTo>
                      <a:pt x="1944" y="512"/>
                    </a:lnTo>
                    <a:lnTo>
                      <a:pt x="1946" y="516"/>
                    </a:lnTo>
                    <a:lnTo>
                      <a:pt x="1948" y="518"/>
                    </a:lnTo>
                    <a:lnTo>
                      <a:pt x="1956" y="524"/>
                    </a:lnTo>
                    <a:lnTo>
                      <a:pt x="1966" y="528"/>
                    </a:lnTo>
                    <a:lnTo>
                      <a:pt x="1974" y="528"/>
                    </a:lnTo>
                    <a:lnTo>
                      <a:pt x="1976" y="528"/>
                    </a:lnTo>
                    <a:lnTo>
                      <a:pt x="1978" y="526"/>
                    </a:lnTo>
                    <a:lnTo>
                      <a:pt x="1976" y="518"/>
                    </a:lnTo>
                    <a:lnTo>
                      <a:pt x="1972" y="512"/>
                    </a:lnTo>
                    <a:lnTo>
                      <a:pt x="1968" y="510"/>
                    </a:lnTo>
                    <a:lnTo>
                      <a:pt x="1966" y="508"/>
                    </a:lnTo>
                    <a:close/>
                    <a:moveTo>
                      <a:pt x="2174" y="784"/>
                    </a:moveTo>
                    <a:lnTo>
                      <a:pt x="2174" y="784"/>
                    </a:lnTo>
                    <a:lnTo>
                      <a:pt x="2174" y="788"/>
                    </a:lnTo>
                    <a:lnTo>
                      <a:pt x="2180" y="792"/>
                    </a:lnTo>
                    <a:lnTo>
                      <a:pt x="2182" y="794"/>
                    </a:lnTo>
                    <a:lnTo>
                      <a:pt x="2184" y="798"/>
                    </a:lnTo>
                    <a:lnTo>
                      <a:pt x="2186" y="804"/>
                    </a:lnTo>
                    <a:lnTo>
                      <a:pt x="2188" y="808"/>
                    </a:lnTo>
                    <a:lnTo>
                      <a:pt x="2192" y="808"/>
                    </a:lnTo>
                    <a:lnTo>
                      <a:pt x="2196" y="808"/>
                    </a:lnTo>
                    <a:lnTo>
                      <a:pt x="2198" y="806"/>
                    </a:lnTo>
                    <a:lnTo>
                      <a:pt x="2198" y="800"/>
                    </a:lnTo>
                    <a:lnTo>
                      <a:pt x="2196" y="794"/>
                    </a:lnTo>
                    <a:lnTo>
                      <a:pt x="2190" y="788"/>
                    </a:lnTo>
                    <a:lnTo>
                      <a:pt x="2186" y="784"/>
                    </a:lnTo>
                    <a:lnTo>
                      <a:pt x="2180" y="780"/>
                    </a:lnTo>
                    <a:lnTo>
                      <a:pt x="2176" y="780"/>
                    </a:lnTo>
                    <a:lnTo>
                      <a:pt x="2174" y="784"/>
                    </a:lnTo>
                    <a:close/>
                    <a:moveTo>
                      <a:pt x="1938" y="458"/>
                    </a:moveTo>
                    <a:lnTo>
                      <a:pt x="1938" y="458"/>
                    </a:lnTo>
                    <a:lnTo>
                      <a:pt x="1938" y="454"/>
                    </a:lnTo>
                    <a:lnTo>
                      <a:pt x="1938" y="448"/>
                    </a:lnTo>
                    <a:lnTo>
                      <a:pt x="1936" y="444"/>
                    </a:lnTo>
                    <a:lnTo>
                      <a:pt x="1930" y="438"/>
                    </a:lnTo>
                    <a:lnTo>
                      <a:pt x="1928" y="434"/>
                    </a:lnTo>
                    <a:lnTo>
                      <a:pt x="1926" y="428"/>
                    </a:lnTo>
                    <a:lnTo>
                      <a:pt x="1922" y="420"/>
                    </a:lnTo>
                    <a:lnTo>
                      <a:pt x="1920" y="410"/>
                    </a:lnTo>
                    <a:lnTo>
                      <a:pt x="1916" y="408"/>
                    </a:lnTo>
                    <a:lnTo>
                      <a:pt x="1910" y="406"/>
                    </a:lnTo>
                    <a:lnTo>
                      <a:pt x="1908" y="404"/>
                    </a:lnTo>
                    <a:lnTo>
                      <a:pt x="1906" y="406"/>
                    </a:lnTo>
                    <a:lnTo>
                      <a:pt x="1906" y="412"/>
                    </a:lnTo>
                    <a:lnTo>
                      <a:pt x="1912" y="422"/>
                    </a:lnTo>
                    <a:lnTo>
                      <a:pt x="1916" y="440"/>
                    </a:lnTo>
                    <a:lnTo>
                      <a:pt x="1918" y="446"/>
                    </a:lnTo>
                    <a:lnTo>
                      <a:pt x="1920" y="448"/>
                    </a:lnTo>
                    <a:lnTo>
                      <a:pt x="1926" y="452"/>
                    </a:lnTo>
                    <a:lnTo>
                      <a:pt x="1930" y="460"/>
                    </a:lnTo>
                    <a:lnTo>
                      <a:pt x="1936" y="466"/>
                    </a:lnTo>
                    <a:lnTo>
                      <a:pt x="1940" y="470"/>
                    </a:lnTo>
                    <a:lnTo>
                      <a:pt x="1942" y="468"/>
                    </a:lnTo>
                    <a:lnTo>
                      <a:pt x="1938" y="458"/>
                    </a:lnTo>
                    <a:close/>
                    <a:moveTo>
                      <a:pt x="2456" y="2102"/>
                    </a:moveTo>
                    <a:lnTo>
                      <a:pt x="2456" y="2102"/>
                    </a:lnTo>
                    <a:lnTo>
                      <a:pt x="2460" y="2096"/>
                    </a:lnTo>
                    <a:lnTo>
                      <a:pt x="2460" y="2090"/>
                    </a:lnTo>
                    <a:lnTo>
                      <a:pt x="2458" y="2084"/>
                    </a:lnTo>
                    <a:lnTo>
                      <a:pt x="2456" y="2082"/>
                    </a:lnTo>
                    <a:lnTo>
                      <a:pt x="2450" y="2082"/>
                    </a:lnTo>
                    <a:lnTo>
                      <a:pt x="2442" y="2084"/>
                    </a:lnTo>
                    <a:lnTo>
                      <a:pt x="2434" y="2088"/>
                    </a:lnTo>
                    <a:lnTo>
                      <a:pt x="2426" y="2094"/>
                    </a:lnTo>
                    <a:lnTo>
                      <a:pt x="2418" y="2100"/>
                    </a:lnTo>
                    <a:lnTo>
                      <a:pt x="2412" y="2100"/>
                    </a:lnTo>
                    <a:lnTo>
                      <a:pt x="2410" y="2098"/>
                    </a:lnTo>
                    <a:lnTo>
                      <a:pt x="2410" y="2094"/>
                    </a:lnTo>
                    <a:lnTo>
                      <a:pt x="2410" y="2080"/>
                    </a:lnTo>
                    <a:lnTo>
                      <a:pt x="2410" y="2076"/>
                    </a:lnTo>
                    <a:lnTo>
                      <a:pt x="2408" y="2074"/>
                    </a:lnTo>
                    <a:lnTo>
                      <a:pt x="2400" y="2072"/>
                    </a:lnTo>
                    <a:lnTo>
                      <a:pt x="2398" y="2070"/>
                    </a:lnTo>
                    <a:lnTo>
                      <a:pt x="2398" y="2068"/>
                    </a:lnTo>
                    <a:lnTo>
                      <a:pt x="2404" y="2064"/>
                    </a:lnTo>
                    <a:lnTo>
                      <a:pt x="2408" y="2062"/>
                    </a:lnTo>
                    <a:lnTo>
                      <a:pt x="2408" y="2058"/>
                    </a:lnTo>
                    <a:lnTo>
                      <a:pt x="2408" y="2056"/>
                    </a:lnTo>
                    <a:lnTo>
                      <a:pt x="2404" y="2054"/>
                    </a:lnTo>
                    <a:lnTo>
                      <a:pt x="2400" y="2054"/>
                    </a:lnTo>
                    <a:lnTo>
                      <a:pt x="2396" y="2056"/>
                    </a:lnTo>
                    <a:lnTo>
                      <a:pt x="2388" y="2060"/>
                    </a:lnTo>
                    <a:lnTo>
                      <a:pt x="2380" y="2068"/>
                    </a:lnTo>
                    <a:lnTo>
                      <a:pt x="2376" y="2074"/>
                    </a:lnTo>
                    <a:lnTo>
                      <a:pt x="2374" y="2080"/>
                    </a:lnTo>
                    <a:lnTo>
                      <a:pt x="2374" y="2096"/>
                    </a:lnTo>
                    <a:lnTo>
                      <a:pt x="2372" y="2104"/>
                    </a:lnTo>
                    <a:lnTo>
                      <a:pt x="2370" y="2110"/>
                    </a:lnTo>
                    <a:lnTo>
                      <a:pt x="2366" y="2116"/>
                    </a:lnTo>
                    <a:lnTo>
                      <a:pt x="2358" y="2120"/>
                    </a:lnTo>
                    <a:lnTo>
                      <a:pt x="2352" y="2126"/>
                    </a:lnTo>
                    <a:lnTo>
                      <a:pt x="2346" y="2134"/>
                    </a:lnTo>
                    <a:lnTo>
                      <a:pt x="2336" y="2156"/>
                    </a:lnTo>
                    <a:lnTo>
                      <a:pt x="2324" y="2180"/>
                    </a:lnTo>
                    <a:lnTo>
                      <a:pt x="2318" y="2190"/>
                    </a:lnTo>
                    <a:lnTo>
                      <a:pt x="2310" y="2196"/>
                    </a:lnTo>
                    <a:lnTo>
                      <a:pt x="2298" y="2206"/>
                    </a:lnTo>
                    <a:lnTo>
                      <a:pt x="2286" y="2218"/>
                    </a:lnTo>
                    <a:lnTo>
                      <a:pt x="2274" y="2228"/>
                    </a:lnTo>
                    <a:lnTo>
                      <a:pt x="2270" y="2230"/>
                    </a:lnTo>
                    <a:lnTo>
                      <a:pt x="2264" y="2232"/>
                    </a:lnTo>
                    <a:lnTo>
                      <a:pt x="2260" y="2234"/>
                    </a:lnTo>
                    <a:lnTo>
                      <a:pt x="2256" y="2236"/>
                    </a:lnTo>
                    <a:lnTo>
                      <a:pt x="2250" y="2242"/>
                    </a:lnTo>
                    <a:lnTo>
                      <a:pt x="2246" y="2248"/>
                    </a:lnTo>
                    <a:lnTo>
                      <a:pt x="2242" y="2250"/>
                    </a:lnTo>
                    <a:lnTo>
                      <a:pt x="2236" y="2250"/>
                    </a:lnTo>
                    <a:lnTo>
                      <a:pt x="2228" y="2250"/>
                    </a:lnTo>
                    <a:lnTo>
                      <a:pt x="2222" y="2254"/>
                    </a:lnTo>
                    <a:lnTo>
                      <a:pt x="2216" y="2260"/>
                    </a:lnTo>
                    <a:lnTo>
                      <a:pt x="2210" y="2266"/>
                    </a:lnTo>
                    <a:lnTo>
                      <a:pt x="2200" y="2282"/>
                    </a:lnTo>
                    <a:lnTo>
                      <a:pt x="2186" y="2298"/>
                    </a:lnTo>
                    <a:lnTo>
                      <a:pt x="2174" y="2310"/>
                    </a:lnTo>
                    <a:lnTo>
                      <a:pt x="2162" y="2322"/>
                    </a:lnTo>
                    <a:lnTo>
                      <a:pt x="2160" y="2328"/>
                    </a:lnTo>
                    <a:lnTo>
                      <a:pt x="2156" y="2334"/>
                    </a:lnTo>
                    <a:lnTo>
                      <a:pt x="2156" y="2338"/>
                    </a:lnTo>
                    <a:lnTo>
                      <a:pt x="2158" y="2344"/>
                    </a:lnTo>
                    <a:lnTo>
                      <a:pt x="2160" y="2348"/>
                    </a:lnTo>
                    <a:lnTo>
                      <a:pt x="2158" y="2352"/>
                    </a:lnTo>
                    <a:lnTo>
                      <a:pt x="2152" y="2356"/>
                    </a:lnTo>
                    <a:lnTo>
                      <a:pt x="2146" y="2360"/>
                    </a:lnTo>
                    <a:lnTo>
                      <a:pt x="2146" y="2362"/>
                    </a:lnTo>
                    <a:lnTo>
                      <a:pt x="2146" y="2368"/>
                    </a:lnTo>
                    <a:lnTo>
                      <a:pt x="2152" y="2376"/>
                    </a:lnTo>
                    <a:lnTo>
                      <a:pt x="2162" y="2382"/>
                    </a:lnTo>
                    <a:lnTo>
                      <a:pt x="2168" y="2384"/>
                    </a:lnTo>
                    <a:lnTo>
                      <a:pt x="2172" y="2384"/>
                    </a:lnTo>
                    <a:lnTo>
                      <a:pt x="2178" y="2382"/>
                    </a:lnTo>
                    <a:lnTo>
                      <a:pt x="2184" y="2378"/>
                    </a:lnTo>
                    <a:lnTo>
                      <a:pt x="2190" y="2376"/>
                    </a:lnTo>
                    <a:lnTo>
                      <a:pt x="2192" y="2374"/>
                    </a:lnTo>
                    <a:lnTo>
                      <a:pt x="2194" y="2376"/>
                    </a:lnTo>
                    <a:lnTo>
                      <a:pt x="2196" y="2378"/>
                    </a:lnTo>
                    <a:lnTo>
                      <a:pt x="2200" y="2384"/>
                    </a:lnTo>
                    <a:lnTo>
                      <a:pt x="2202" y="2386"/>
                    </a:lnTo>
                    <a:lnTo>
                      <a:pt x="2208" y="2386"/>
                    </a:lnTo>
                    <a:lnTo>
                      <a:pt x="2212" y="2386"/>
                    </a:lnTo>
                    <a:lnTo>
                      <a:pt x="2216" y="2388"/>
                    </a:lnTo>
                    <a:lnTo>
                      <a:pt x="2218" y="2392"/>
                    </a:lnTo>
                    <a:lnTo>
                      <a:pt x="2218" y="2396"/>
                    </a:lnTo>
                    <a:lnTo>
                      <a:pt x="2220" y="2398"/>
                    </a:lnTo>
                    <a:lnTo>
                      <a:pt x="2224" y="2402"/>
                    </a:lnTo>
                    <a:lnTo>
                      <a:pt x="2232" y="2402"/>
                    </a:lnTo>
                    <a:lnTo>
                      <a:pt x="2248" y="2404"/>
                    </a:lnTo>
                    <a:lnTo>
                      <a:pt x="2256" y="2404"/>
                    </a:lnTo>
                    <a:lnTo>
                      <a:pt x="2262" y="2404"/>
                    </a:lnTo>
                    <a:lnTo>
                      <a:pt x="2268" y="2402"/>
                    </a:lnTo>
                    <a:lnTo>
                      <a:pt x="2276" y="2398"/>
                    </a:lnTo>
                    <a:lnTo>
                      <a:pt x="2282" y="2390"/>
                    </a:lnTo>
                    <a:lnTo>
                      <a:pt x="2288" y="2380"/>
                    </a:lnTo>
                    <a:lnTo>
                      <a:pt x="2296" y="2372"/>
                    </a:lnTo>
                    <a:lnTo>
                      <a:pt x="2302" y="2366"/>
                    </a:lnTo>
                    <a:lnTo>
                      <a:pt x="2308" y="2362"/>
                    </a:lnTo>
                    <a:lnTo>
                      <a:pt x="2314" y="2360"/>
                    </a:lnTo>
                    <a:lnTo>
                      <a:pt x="2320" y="2358"/>
                    </a:lnTo>
                    <a:lnTo>
                      <a:pt x="2320" y="2356"/>
                    </a:lnTo>
                    <a:lnTo>
                      <a:pt x="2318" y="2352"/>
                    </a:lnTo>
                    <a:lnTo>
                      <a:pt x="2318" y="2346"/>
                    </a:lnTo>
                    <a:lnTo>
                      <a:pt x="2318" y="2340"/>
                    </a:lnTo>
                    <a:lnTo>
                      <a:pt x="2324" y="2328"/>
                    </a:lnTo>
                    <a:lnTo>
                      <a:pt x="2332" y="2312"/>
                    </a:lnTo>
                    <a:lnTo>
                      <a:pt x="2336" y="2300"/>
                    </a:lnTo>
                    <a:lnTo>
                      <a:pt x="2336" y="2288"/>
                    </a:lnTo>
                    <a:lnTo>
                      <a:pt x="2340" y="2276"/>
                    </a:lnTo>
                    <a:lnTo>
                      <a:pt x="2346" y="2266"/>
                    </a:lnTo>
                    <a:lnTo>
                      <a:pt x="2354" y="2258"/>
                    </a:lnTo>
                    <a:lnTo>
                      <a:pt x="2364" y="2252"/>
                    </a:lnTo>
                    <a:lnTo>
                      <a:pt x="2376" y="2248"/>
                    </a:lnTo>
                    <a:lnTo>
                      <a:pt x="2386" y="2246"/>
                    </a:lnTo>
                    <a:lnTo>
                      <a:pt x="2394" y="2244"/>
                    </a:lnTo>
                    <a:lnTo>
                      <a:pt x="2400" y="2246"/>
                    </a:lnTo>
                    <a:lnTo>
                      <a:pt x="2406" y="2246"/>
                    </a:lnTo>
                    <a:lnTo>
                      <a:pt x="2410" y="2246"/>
                    </a:lnTo>
                    <a:lnTo>
                      <a:pt x="2414" y="2244"/>
                    </a:lnTo>
                    <a:lnTo>
                      <a:pt x="2416" y="2242"/>
                    </a:lnTo>
                    <a:lnTo>
                      <a:pt x="2418" y="2238"/>
                    </a:lnTo>
                    <a:lnTo>
                      <a:pt x="2418" y="2236"/>
                    </a:lnTo>
                    <a:lnTo>
                      <a:pt x="2416" y="2232"/>
                    </a:lnTo>
                    <a:lnTo>
                      <a:pt x="2410" y="2230"/>
                    </a:lnTo>
                    <a:lnTo>
                      <a:pt x="2404" y="2228"/>
                    </a:lnTo>
                    <a:lnTo>
                      <a:pt x="2402" y="2224"/>
                    </a:lnTo>
                    <a:lnTo>
                      <a:pt x="2400" y="2218"/>
                    </a:lnTo>
                    <a:lnTo>
                      <a:pt x="2400" y="2214"/>
                    </a:lnTo>
                    <a:lnTo>
                      <a:pt x="2400" y="2208"/>
                    </a:lnTo>
                    <a:lnTo>
                      <a:pt x="2402" y="2204"/>
                    </a:lnTo>
                    <a:lnTo>
                      <a:pt x="2406" y="2200"/>
                    </a:lnTo>
                    <a:lnTo>
                      <a:pt x="2410" y="2198"/>
                    </a:lnTo>
                    <a:lnTo>
                      <a:pt x="2416" y="2196"/>
                    </a:lnTo>
                    <a:lnTo>
                      <a:pt x="2420" y="2192"/>
                    </a:lnTo>
                    <a:lnTo>
                      <a:pt x="2430" y="2178"/>
                    </a:lnTo>
                    <a:lnTo>
                      <a:pt x="2440" y="2160"/>
                    </a:lnTo>
                    <a:lnTo>
                      <a:pt x="2454" y="2138"/>
                    </a:lnTo>
                    <a:lnTo>
                      <a:pt x="2460" y="2130"/>
                    </a:lnTo>
                    <a:lnTo>
                      <a:pt x="2462" y="2124"/>
                    </a:lnTo>
                    <a:lnTo>
                      <a:pt x="2462" y="2120"/>
                    </a:lnTo>
                    <a:lnTo>
                      <a:pt x="2460" y="2118"/>
                    </a:lnTo>
                    <a:lnTo>
                      <a:pt x="2456" y="2116"/>
                    </a:lnTo>
                    <a:lnTo>
                      <a:pt x="2454" y="2114"/>
                    </a:lnTo>
                    <a:lnTo>
                      <a:pt x="2454" y="2110"/>
                    </a:lnTo>
                    <a:lnTo>
                      <a:pt x="2456" y="2102"/>
                    </a:lnTo>
                    <a:close/>
                    <a:moveTo>
                      <a:pt x="2684" y="808"/>
                    </a:moveTo>
                    <a:lnTo>
                      <a:pt x="2684" y="808"/>
                    </a:lnTo>
                    <a:lnTo>
                      <a:pt x="2680" y="812"/>
                    </a:lnTo>
                    <a:lnTo>
                      <a:pt x="2678" y="810"/>
                    </a:lnTo>
                    <a:lnTo>
                      <a:pt x="2682" y="802"/>
                    </a:lnTo>
                    <a:lnTo>
                      <a:pt x="2688" y="794"/>
                    </a:lnTo>
                    <a:lnTo>
                      <a:pt x="2690" y="792"/>
                    </a:lnTo>
                    <a:lnTo>
                      <a:pt x="2690" y="790"/>
                    </a:lnTo>
                    <a:lnTo>
                      <a:pt x="2688" y="788"/>
                    </a:lnTo>
                    <a:lnTo>
                      <a:pt x="2684" y="790"/>
                    </a:lnTo>
                    <a:lnTo>
                      <a:pt x="2676" y="794"/>
                    </a:lnTo>
                    <a:lnTo>
                      <a:pt x="2664" y="800"/>
                    </a:lnTo>
                    <a:lnTo>
                      <a:pt x="2658" y="804"/>
                    </a:lnTo>
                    <a:lnTo>
                      <a:pt x="2652" y="806"/>
                    </a:lnTo>
                    <a:lnTo>
                      <a:pt x="2648" y="806"/>
                    </a:lnTo>
                    <a:lnTo>
                      <a:pt x="2646" y="812"/>
                    </a:lnTo>
                    <a:lnTo>
                      <a:pt x="2644" y="814"/>
                    </a:lnTo>
                    <a:lnTo>
                      <a:pt x="2642" y="816"/>
                    </a:lnTo>
                    <a:lnTo>
                      <a:pt x="2636" y="814"/>
                    </a:lnTo>
                    <a:lnTo>
                      <a:pt x="2634" y="814"/>
                    </a:lnTo>
                    <a:lnTo>
                      <a:pt x="2634" y="816"/>
                    </a:lnTo>
                    <a:lnTo>
                      <a:pt x="2636" y="826"/>
                    </a:lnTo>
                    <a:lnTo>
                      <a:pt x="2640" y="832"/>
                    </a:lnTo>
                    <a:lnTo>
                      <a:pt x="2642" y="832"/>
                    </a:lnTo>
                    <a:lnTo>
                      <a:pt x="2656" y="822"/>
                    </a:lnTo>
                    <a:lnTo>
                      <a:pt x="2660" y="820"/>
                    </a:lnTo>
                    <a:lnTo>
                      <a:pt x="2662" y="820"/>
                    </a:lnTo>
                    <a:lnTo>
                      <a:pt x="2664" y="820"/>
                    </a:lnTo>
                    <a:lnTo>
                      <a:pt x="2666" y="822"/>
                    </a:lnTo>
                    <a:lnTo>
                      <a:pt x="2666" y="824"/>
                    </a:lnTo>
                    <a:lnTo>
                      <a:pt x="2668" y="824"/>
                    </a:lnTo>
                    <a:lnTo>
                      <a:pt x="2670" y="824"/>
                    </a:lnTo>
                    <a:lnTo>
                      <a:pt x="2678" y="820"/>
                    </a:lnTo>
                    <a:lnTo>
                      <a:pt x="2684" y="820"/>
                    </a:lnTo>
                    <a:lnTo>
                      <a:pt x="2690" y="820"/>
                    </a:lnTo>
                    <a:lnTo>
                      <a:pt x="2688" y="816"/>
                    </a:lnTo>
                    <a:lnTo>
                      <a:pt x="2688" y="810"/>
                    </a:lnTo>
                    <a:lnTo>
                      <a:pt x="2688" y="806"/>
                    </a:lnTo>
                    <a:lnTo>
                      <a:pt x="2684" y="808"/>
                    </a:lnTo>
                    <a:close/>
                    <a:moveTo>
                      <a:pt x="2600" y="1904"/>
                    </a:moveTo>
                    <a:lnTo>
                      <a:pt x="2600" y="1904"/>
                    </a:lnTo>
                    <a:lnTo>
                      <a:pt x="2596" y="1910"/>
                    </a:lnTo>
                    <a:lnTo>
                      <a:pt x="2592" y="1916"/>
                    </a:lnTo>
                    <a:lnTo>
                      <a:pt x="2586" y="1918"/>
                    </a:lnTo>
                    <a:lnTo>
                      <a:pt x="2580" y="1918"/>
                    </a:lnTo>
                    <a:lnTo>
                      <a:pt x="2574" y="1918"/>
                    </a:lnTo>
                    <a:lnTo>
                      <a:pt x="2566" y="1914"/>
                    </a:lnTo>
                    <a:lnTo>
                      <a:pt x="2548" y="1906"/>
                    </a:lnTo>
                    <a:lnTo>
                      <a:pt x="2540" y="1900"/>
                    </a:lnTo>
                    <a:lnTo>
                      <a:pt x="2534" y="1892"/>
                    </a:lnTo>
                    <a:lnTo>
                      <a:pt x="2530" y="1884"/>
                    </a:lnTo>
                    <a:lnTo>
                      <a:pt x="2528" y="1876"/>
                    </a:lnTo>
                    <a:lnTo>
                      <a:pt x="2522" y="1856"/>
                    </a:lnTo>
                    <a:lnTo>
                      <a:pt x="2518" y="1848"/>
                    </a:lnTo>
                    <a:lnTo>
                      <a:pt x="2514" y="1840"/>
                    </a:lnTo>
                    <a:lnTo>
                      <a:pt x="2508" y="1834"/>
                    </a:lnTo>
                    <a:lnTo>
                      <a:pt x="2504" y="1832"/>
                    </a:lnTo>
                    <a:lnTo>
                      <a:pt x="2504" y="1834"/>
                    </a:lnTo>
                    <a:lnTo>
                      <a:pt x="2504" y="1838"/>
                    </a:lnTo>
                    <a:lnTo>
                      <a:pt x="2506" y="1850"/>
                    </a:lnTo>
                    <a:lnTo>
                      <a:pt x="2512" y="1868"/>
                    </a:lnTo>
                    <a:lnTo>
                      <a:pt x="2514" y="1874"/>
                    </a:lnTo>
                    <a:lnTo>
                      <a:pt x="2512" y="1876"/>
                    </a:lnTo>
                    <a:lnTo>
                      <a:pt x="2506" y="1874"/>
                    </a:lnTo>
                    <a:lnTo>
                      <a:pt x="2498" y="1868"/>
                    </a:lnTo>
                    <a:lnTo>
                      <a:pt x="2490" y="1862"/>
                    </a:lnTo>
                    <a:lnTo>
                      <a:pt x="2484" y="1854"/>
                    </a:lnTo>
                    <a:lnTo>
                      <a:pt x="2482" y="1844"/>
                    </a:lnTo>
                    <a:lnTo>
                      <a:pt x="2482" y="1836"/>
                    </a:lnTo>
                    <a:lnTo>
                      <a:pt x="2482" y="1830"/>
                    </a:lnTo>
                    <a:lnTo>
                      <a:pt x="2482" y="1826"/>
                    </a:lnTo>
                    <a:lnTo>
                      <a:pt x="2478" y="1818"/>
                    </a:lnTo>
                    <a:lnTo>
                      <a:pt x="2474" y="1810"/>
                    </a:lnTo>
                    <a:lnTo>
                      <a:pt x="2472" y="1806"/>
                    </a:lnTo>
                    <a:lnTo>
                      <a:pt x="2472" y="1802"/>
                    </a:lnTo>
                    <a:lnTo>
                      <a:pt x="2472" y="1792"/>
                    </a:lnTo>
                    <a:lnTo>
                      <a:pt x="2470" y="1786"/>
                    </a:lnTo>
                    <a:lnTo>
                      <a:pt x="2466" y="1780"/>
                    </a:lnTo>
                    <a:lnTo>
                      <a:pt x="2462" y="1770"/>
                    </a:lnTo>
                    <a:lnTo>
                      <a:pt x="2454" y="1762"/>
                    </a:lnTo>
                    <a:lnTo>
                      <a:pt x="2448" y="1758"/>
                    </a:lnTo>
                    <a:lnTo>
                      <a:pt x="2440" y="1754"/>
                    </a:lnTo>
                    <a:lnTo>
                      <a:pt x="2428" y="1752"/>
                    </a:lnTo>
                    <a:lnTo>
                      <a:pt x="2424" y="1750"/>
                    </a:lnTo>
                    <a:lnTo>
                      <a:pt x="2422" y="1748"/>
                    </a:lnTo>
                    <a:lnTo>
                      <a:pt x="2418" y="1738"/>
                    </a:lnTo>
                    <a:lnTo>
                      <a:pt x="2412" y="1730"/>
                    </a:lnTo>
                    <a:lnTo>
                      <a:pt x="2408" y="1726"/>
                    </a:lnTo>
                    <a:lnTo>
                      <a:pt x="2402" y="1726"/>
                    </a:lnTo>
                    <a:lnTo>
                      <a:pt x="2394" y="1726"/>
                    </a:lnTo>
                    <a:lnTo>
                      <a:pt x="2394" y="1728"/>
                    </a:lnTo>
                    <a:lnTo>
                      <a:pt x="2394" y="1730"/>
                    </a:lnTo>
                    <a:lnTo>
                      <a:pt x="2400" y="1736"/>
                    </a:lnTo>
                    <a:lnTo>
                      <a:pt x="2410" y="1748"/>
                    </a:lnTo>
                    <a:lnTo>
                      <a:pt x="2414" y="1754"/>
                    </a:lnTo>
                    <a:lnTo>
                      <a:pt x="2416" y="1758"/>
                    </a:lnTo>
                    <a:lnTo>
                      <a:pt x="2416" y="1762"/>
                    </a:lnTo>
                    <a:lnTo>
                      <a:pt x="2416" y="1764"/>
                    </a:lnTo>
                    <a:lnTo>
                      <a:pt x="2414" y="1768"/>
                    </a:lnTo>
                    <a:lnTo>
                      <a:pt x="2420" y="1776"/>
                    </a:lnTo>
                    <a:lnTo>
                      <a:pt x="2426" y="1784"/>
                    </a:lnTo>
                    <a:lnTo>
                      <a:pt x="2430" y="1794"/>
                    </a:lnTo>
                    <a:lnTo>
                      <a:pt x="2440" y="1814"/>
                    </a:lnTo>
                    <a:lnTo>
                      <a:pt x="2444" y="1822"/>
                    </a:lnTo>
                    <a:lnTo>
                      <a:pt x="2448" y="1828"/>
                    </a:lnTo>
                    <a:lnTo>
                      <a:pt x="2452" y="1830"/>
                    </a:lnTo>
                    <a:lnTo>
                      <a:pt x="2454" y="1826"/>
                    </a:lnTo>
                    <a:lnTo>
                      <a:pt x="2456" y="1822"/>
                    </a:lnTo>
                    <a:lnTo>
                      <a:pt x="2460" y="1822"/>
                    </a:lnTo>
                    <a:lnTo>
                      <a:pt x="2464" y="1830"/>
                    </a:lnTo>
                    <a:lnTo>
                      <a:pt x="2466" y="1840"/>
                    </a:lnTo>
                    <a:lnTo>
                      <a:pt x="2466" y="1842"/>
                    </a:lnTo>
                    <a:lnTo>
                      <a:pt x="2464" y="1842"/>
                    </a:lnTo>
                    <a:lnTo>
                      <a:pt x="2458" y="1838"/>
                    </a:lnTo>
                    <a:lnTo>
                      <a:pt x="2458" y="1842"/>
                    </a:lnTo>
                    <a:lnTo>
                      <a:pt x="2474" y="1878"/>
                    </a:lnTo>
                    <a:lnTo>
                      <a:pt x="2480" y="1892"/>
                    </a:lnTo>
                    <a:lnTo>
                      <a:pt x="2482" y="1902"/>
                    </a:lnTo>
                    <a:lnTo>
                      <a:pt x="2482" y="1910"/>
                    </a:lnTo>
                    <a:lnTo>
                      <a:pt x="2482" y="1916"/>
                    </a:lnTo>
                    <a:lnTo>
                      <a:pt x="2478" y="1928"/>
                    </a:lnTo>
                    <a:lnTo>
                      <a:pt x="2476" y="1936"/>
                    </a:lnTo>
                    <a:lnTo>
                      <a:pt x="2476" y="1946"/>
                    </a:lnTo>
                    <a:lnTo>
                      <a:pt x="2476" y="1954"/>
                    </a:lnTo>
                    <a:lnTo>
                      <a:pt x="2472" y="1962"/>
                    </a:lnTo>
                    <a:lnTo>
                      <a:pt x="2466" y="1968"/>
                    </a:lnTo>
                    <a:lnTo>
                      <a:pt x="2460" y="1972"/>
                    </a:lnTo>
                    <a:lnTo>
                      <a:pt x="2446" y="1980"/>
                    </a:lnTo>
                    <a:lnTo>
                      <a:pt x="2442" y="1984"/>
                    </a:lnTo>
                    <a:lnTo>
                      <a:pt x="2440" y="1988"/>
                    </a:lnTo>
                    <a:lnTo>
                      <a:pt x="2440" y="1994"/>
                    </a:lnTo>
                    <a:lnTo>
                      <a:pt x="2444" y="2000"/>
                    </a:lnTo>
                    <a:lnTo>
                      <a:pt x="2456" y="2010"/>
                    </a:lnTo>
                    <a:lnTo>
                      <a:pt x="2474" y="2020"/>
                    </a:lnTo>
                    <a:lnTo>
                      <a:pt x="2488" y="2028"/>
                    </a:lnTo>
                    <a:lnTo>
                      <a:pt x="2494" y="2032"/>
                    </a:lnTo>
                    <a:lnTo>
                      <a:pt x="2496" y="2040"/>
                    </a:lnTo>
                    <a:lnTo>
                      <a:pt x="2498" y="2048"/>
                    </a:lnTo>
                    <a:lnTo>
                      <a:pt x="2496" y="2058"/>
                    </a:lnTo>
                    <a:lnTo>
                      <a:pt x="2492" y="2076"/>
                    </a:lnTo>
                    <a:lnTo>
                      <a:pt x="2488" y="2082"/>
                    </a:lnTo>
                    <a:lnTo>
                      <a:pt x="2484" y="2088"/>
                    </a:lnTo>
                    <a:lnTo>
                      <a:pt x="2478" y="2092"/>
                    </a:lnTo>
                    <a:lnTo>
                      <a:pt x="2474" y="2098"/>
                    </a:lnTo>
                    <a:lnTo>
                      <a:pt x="2474" y="2100"/>
                    </a:lnTo>
                    <a:lnTo>
                      <a:pt x="2476" y="2100"/>
                    </a:lnTo>
                    <a:lnTo>
                      <a:pt x="2488" y="2106"/>
                    </a:lnTo>
                    <a:lnTo>
                      <a:pt x="2492" y="2108"/>
                    </a:lnTo>
                    <a:lnTo>
                      <a:pt x="2494" y="2110"/>
                    </a:lnTo>
                    <a:lnTo>
                      <a:pt x="2498" y="2116"/>
                    </a:lnTo>
                    <a:lnTo>
                      <a:pt x="2498" y="2120"/>
                    </a:lnTo>
                    <a:lnTo>
                      <a:pt x="2502" y="2120"/>
                    </a:lnTo>
                    <a:lnTo>
                      <a:pt x="2506" y="2118"/>
                    </a:lnTo>
                    <a:lnTo>
                      <a:pt x="2512" y="2114"/>
                    </a:lnTo>
                    <a:lnTo>
                      <a:pt x="2520" y="2108"/>
                    </a:lnTo>
                    <a:lnTo>
                      <a:pt x="2530" y="2094"/>
                    </a:lnTo>
                    <a:lnTo>
                      <a:pt x="2552" y="2062"/>
                    </a:lnTo>
                    <a:lnTo>
                      <a:pt x="2560" y="2044"/>
                    </a:lnTo>
                    <a:lnTo>
                      <a:pt x="2568" y="2028"/>
                    </a:lnTo>
                    <a:lnTo>
                      <a:pt x="2570" y="2016"/>
                    </a:lnTo>
                    <a:lnTo>
                      <a:pt x="2570" y="2010"/>
                    </a:lnTo>
                    <a:lnTo>
                      <a:pt x="2568" y="2006"/>
                    </a:lnTo>
                    <a:lnTo>
                      <a:pt x="2566" y="2002"/>
                    </a:lnTo>
                    <a:lnTo>
                      <a:pt x="2568" y="1998"/>
                    </a:lnTo>
                    <a:lnTo>
                      <a:pt x="2570" y="1992"/>
                    </a:lnTo>
                    <a:lnTo>
                      <a:pt x="2574" y="1986"/>
                    </a:lnTo>
                    <a:lnTo>
                      <a:pt x="2580" y="1982"/>
                    </a:lnTo>
                    <a:lnTo>
                      <a:pt x="2586" y="1980"/>
                    </a:lnTo>
                    <a:lnTo>
                      <a:pt x="2594" y="1982"/>
                    </a:lnTo>
                    <a:lnTo>
                      <a:pt x="2602" y="1986"/>
                    </a:lnTo>
                    <a:lnTo>
                      <a:pt x="2608" y="1990"/>
                    </a:lnTo>
                    <a:lnTo>
                      <a:pt x="2610" y="1990"/>
                    </a:lnTo>
                    <a:lnTo>
                      <a:pt x="2612" y="1988"/>
                    </a:lnTo>
                    <a:lnTo>
                      <a:pt x="2612" y="1984"/>
                    </a:lnTo>
                    <a:lnTo>
                      <a:pt x="2610" y="1978"/>
                    </a:lnTo>
                    <a:lnTo>
                      <a:pt x="2608" y="1970"/>
                    </a:lnTo>
                    <a:lnTo>
                      <a:pt x="2608" y="1964"/>
                    </a:lnTo>
                    <a:lnTo>
                      <a:pt x="2610" y="1958"/>
                    </a:lnTo>
                    <a:lnTo>
                      <a:pt x="2612" y="1956"/>
                    </a:lnTo>
                    <a:lnTo>
                      <a:pt x="2614" y="1954"/>
                    </a:lnTo>
                    <a:lnTo>
                      <a:pt x="2620" y="1952"/>
                    </a:lnTo>
                    <a:lnTo>
                      <a:pt x="2624" y="1948"/>
                    </a:lnTo>
                    <a:lnTo>
                      <a:pt x="2626" y="1942"/>
                    </a:lnTo>
                    <a:lnTo>
                      <a:pt x="2626" y="1934"/>
                    </a:lnTo>
                    <a:lnTo>
                      <a:pt x="2628" y="1920"/>
                    </a:lnTo>
                    <a:lnTo>
                      <a:pt x="2628" y="1912"/>
                    </a:lnTo>
                    <a:lnTo>
                      <a:pt x="2630" y="1908"/>
                    </a:lnTo>
                    <a:lnTo>
                      <a:pt x="2632" y="1904"/>
                    </a:lnTo>
                    <a:lnTo>
                      <a:pt x="2630" y="1900"/>
                    </a:lnTo>
                    <a:lnTo>
                      <a:pt x="2626" y="1896"/>
                    </a:lnTo>
                    <a:lnTo>
                      <a:pt x="2620" y="1894"/>
                    </a:lnTo>
                    <a:lnTo>
                      <a:pt x="2614" y="1894"/>
                    </a:lnTo>
                    <a:lnTo>
                      <a:pt x="2608" y="1896"/>
                    </a:lnTo>
                    <a:lnTo>
                      <a:pt x="2604" y="1900"/>
                    </a:lnTo>
                    <a:lnTo>
                      <a:pt x="2600" y="1904"/>
                    </a:lnTo>
                    <a:close/>
                    <a:moveTo>
                      <a:pt x="2636" y="868"/>
                    </a:moveTo>
                    <a:lnTo>
                      <a:pt x="2636" y="868"/>
                    </a:lnTo>
                    <a:lnTo>
                      <a:pt x="2636" y="864"/>
                    </a:lnTo>
                    <a:lnTo>
                      <a:pt x="2634" y="860"/>
                    </a:lnTo>
                    <a:lnTo>
                      <a:pt x="2630" y="856"/>
                    </a:lnTo>
                    <a:lnTo>
                      <a:pt x="2626" y="854"/>
                    </a:lnTo>
                    <a:lnTo>
                      <a:pt x="2616" y="850"/>
                    </a:lnTo>
                    <a:lnTo>
                      <a:pt x="2606" y="852"/>
                    </a:lnTo>
                    <a:lnTo>
                      <a:pt x="2596" y="858"/>
                    </a:lnTo>
                    <a:lnTo>
                      <a:pt x="2588" y="864"/>
                    </a:lnTo>
                    <a:lnTo>
                      <a:pt x="2582" y="870"/>
                    </a:lnTo>
                    <a:lnTo>
                      <a:pt x="2580" y="876"/>
                    </a:lnTo>
                    <a:lnTo>
                      <a:pt x="2580" y="880"/>
                    </a:lnTo>
                    <a:lnTo>
                      <a:pt x="2580" y="882"/>
                    </a:lnTo>
                    <a:lnTo>
                      <a:pt x="2582" y="886"/>
                    </a:lnTo>
                    <a:lnTo>
                      <a:pt x="2586" y="888"/>
                    </a:lnTo>
                    <a:lnTo>
                      <a:pt x="2600" y="892"/>
                    </a:lnTo>
                    <a:lnTo>
                      <a:pt x="2610" y="896"/>
                    </a:lnTo>
                    <a:lnTo>
                      <a:pt x="2616" y="894"/>
                    </a:lnTo>
                    <a:lnTo>
                      <a:pt x="2620" y="890"/>
                    </a:lnTo>
                    <a:lnTo>
                      <a:pt x="2624" y="888"/>
                    </a:lnTo>
                    <a:lnTo>
                      <a:pt x="2626" y="886"/>
                    </a:lnTo>
                    <a:lnTo>
                      <a:pt x="2630" y="888"/>
                    </a:lnTo>
                    <a:lnTo>
                      <a:pt x="2636" y="890"/>
                    </a:lnTo>
                    <a:lnTo>
                      <a:pt x="2638" y="890"/>
                    </a:lnTo>
                    <a:lnTo>
                      <a:pt x="2640" y="888"/>
                    </a:lnTo>
                    <a:lnTo>
                      <a:pt x="2642" y="886"/>
                    </a:lnTo>
                    <a:lnTo>
                      <a:pt x="2640" y="882"/>
                    </a:lnTo>
                    <a:lnTo>
                      <a:pt x="2636" y="876"/>
                    </a:lnTo>
                    <a:lnTo>
                      <a:pt x="2636" y="872"/>
                    </a:lnTo>
                    <a:lnTo>
                      <a:pt x="2636" y="868"/>
                    </a:lnTo>
                    <a:close/>
                    <a:moveTo>
                      <a:pt x="2260" y="930"/>
                    </a:moveTo>
                    <a:lnTo>
                      <a:pt x="2260" y="930"/>
                    </a:lnTo>
                    <a:lnTo>
                      <a:pt x="2260" y="928"/>
                    </a:lnTo>
                    <a:lnTo>
                      <a:pt x="2262" y="924"/>
                    </a:lnTo>
                    <a:lnTo>
                      <a:pt x="2258" y="918"/>
                    </a:lnTo>
                    <a:lnTo>
                      <a:pt x="2254" y="912"/>
                    </a:lnTo>
                    <a:lnTo>
                      <a:pt x="2252" y="912"/>
                    </a:lnTo>
                    <a:lnTo>
                      <a:pt x="2248" y="914"/>
                    </a:lnTo>
                    <a:lnTo>
                      <a:pt x="2248" y="918"/>
                    </a:lnTo>
                    <a:lnTo>
                      <a:pt x="2248" y="920"/>
                    </a:lnTo>
                    <a:lnTo>
                      <a:pt x="2250" y="926"/>
                    </a:lnTo>
                    <a:lnTo>
                      <a:pt x="2256" y="930"/>
                    </a:lnTo>
                    <a:lnTo>
                      <a:pt x="2258" y="930"/>
                    </a:lnTo>
                    <a:lnTo>
                      <a:pt x="2260" y="930"/>
                    </a:lnTo>
                    <a:close/>
                    <a:moveTo>
                      <a:pt x="2258" y="948"/>
                    </a:moveTo>
                    <a:lnTo>
                      <a:pt x="2258" y="948"/>
                    </a:lnTo>
                    <a:lnTo>
                      <a:pt x="2256" y="950"/>
                    </a:lnTo>
                    <a:lnTo>
                      <a:pt x="2256" y="954"/>
                    </a:lnTo>
                    <a:lnTo>
                      <a:pt x="2258" y="960"/>
                    </a:lnTo>
                    <a:lnTo>
                      <a:pt x="2262" y="964"/>
                    </a:lnTo>
                    <a:lnTo>
                      <a:pt x="2266" y="966"/>
                    </a:lnTo>
                    <a:lnTo>
                      <a:pt x="2268" y="964"/>
                    </a:lnTo>
                    <a:lnTo>
                      <a:pt x="2268" y="962"/>
                    </a:lnTo>
                    <a:lnTo>
                      <a:pt x="2266" y="954"/>
                    </a:lnTo>
                    <a:lnTo>
                      <a:pt x="2262" y="948"/>
                    </a:lnTo>
                    <a:lnTo>
                      <a:pt x="2260" y="948"/>
                    </a:lnTo>
                    <a:lnTo>
                      <a:pt x="2258" y="948"/>
                    </a:lnTo>
                    <a:close/>
                    <a:moveTo>
                      <a:pt x="1490" y="460"/>
                    </a:moveTo>
                    <a:lnTo>
                      <a:pt x="1490" y="460"/>
                    </a:lnTo>
                    <a:lnTo>
                      <a:pt x="1492" y="462"/>
                    </a:lnTo>
                    <a:lnTo>
                      <a:pt x="1494" y="464"/>
                    </a:lnTo>
                    <a:lnTo>
                      <a:pt x="1496" y="462"/>
                    </a:lnTo>
                    <a:lnTo>
                      <a:pt x="1496" y="460"/>
                    </a:lnTo>
                    <a:lnTo>
                      <a:pt x="1496" y="454"/>
                    </a:lnTo>
                    <a:lnTo>
                      <a:pt x="1494" y="448"/>
                    </a:lnTo>
                    <a:lnTo>
                      <a:pt x="1490" y="446"/>
                    </a:lnTo>
                    <a:lnTo>
                      <a:pt x="1486" y="448"/>
                    </a:lnTo>
                    <a:lnTo>
                      <a:pt x="1486" y="452"/>
                    </a:lnTo>
                    <a:lnTo>
                      <a:pt x="1490" y="460"/>
                    </a:lnTo>
                    <a:close/>
                    <a:moveTo>
                      <a:pt x="1532" y="492"/>
                    </a:moveTo>
                    <a:lnTo>
                      <a:pt x="1532" y="492"/>
                    </a:lnTo>
                    <a:lnTo>
                      <a:pt x="1534" y="486"/>
                    </a:lnTo>
                    <a:lnTo>
                      <a:pt x="1534" y="482"/>
                    </a:lnTo>
                    <a:lnTo>
                      <a:pt x="1532" y="482"/>
                    </a:lnTo>
                    <a:lnTo>
                      <a:pt x="1530" y="482"/>
                    </a:lnTo>
                    <a:lnTo>
                      <a:pt x="1528" y="484"/>
                    </a:lnTo>
                    <a:lnTo>
                      <a:pt x="1526" y="484"/>
                    </a:lnTo>
                    <a:lnTo>
                      <a:pt x="1522" y="480"/>
                    </a:lnTo>
                    <a:lnTo>
                      <a:pt x="1518" y="478"/>
                    </a:lnTo>
                    <a:lnTo>
                      <a:pt x="1516" y="478"/>
                    </a:lnTo>
                    <a:lnTo>
                      <a:pt x="1518" y="486"/>
                    </a:lnTo>
                    <a:lnTo>
                      <a:pt x="1522" y="492"/>
                    </a:lnTo>
                    <a:lnTo>
                      <a:pt x="1528" y="496"/>
                    </a:lnTo>
                    <a:lnTo>
                      <a:pt x="1532" y="496"/>
                    </a:lnTo>
                    <a:lnTo>
                      <a:pt x="1532" y="492"/>
                    </a:lnTo>
                    <a:close/>
                    <a:moveTo>
                      <a:pt x="1520" y="466"/>
                    </a:moveTo>
                    <a:lnTo>
                      <a:pt x="1520" y="466"/>
                    </a:lnTo>
                    <a:lnTo>
                      <a:pt x="1516" y="458"/>
                    </a:lnTo>
                    <a:lnTo>
                      <a:pt x="1512" y="454"/>
                    </a:lnTo>
                    <a:lnTo>
                      <a:pt x="1508" y="454"/>
                    </a:lnTo>
                    <a:lnTo>
                      <a:pt x="1506" y="454"/>
                    </a:lnTo>
                    <a:lnTo>
                      <a:pt x="1504" y="456"/>
                    </a:lnTo>
                    <a:lnTo>
                      <a:pt x="1502" y="460"/>
                    </a:lnTo>
                    <a:lnTo>
                      <a:pt x="1500" y="468"/>
                    </a:lnTo>
                    <a:lnTo>
                      <a:pt x="1500" y="470"/>
                    </a:lnTo>
                    <a:lnTo>
                      <a:pt x="1504" y="470"/>
                    </a:lnTo>
                    <a:lnTo>
                      <a:pt x="1514" y="472"/>
                    </a:lnTo>
                    <a:lnTo>
                      <a:pt x="1518" y="470"/>
                    </a:lnTo>
                    <a:lnTo>
                      <a:pt x="1520" y="466"/>
                    </a:lnTo>
                    <a:close/>
                    <a:moveTo>
                      <a:pt x="1400" y="268"/>
                    </a:moveTo>
                    <a:lnTo>
                      <a:pt x="1400" y="268"/>
                    </a:lnTo>
                    <a:lnTo>
                      <a:pt x="1394" y="264"/>
                    </a:lnTo>
                    <a:lnTo>
                      <a:pt x="1392" y="264"/>
                    </a:lnTo>
                    <a:lnTo>
                      <a:pt x="1390" y="266"/>
                    </a:lnTo>
                    <a:lnTo>
                      <a:pt x="1392" y="272"/>
                    </a:lnTo>
                    <a:lnTo>
                      <a:pt x="1396" y="280"/>
                    </a:lnTo>
                    <a:lnTo>
                      <a:pt x="1398" y="282"/>
                    </a:lnTo>
                    <a:lnTo>
                      <a:pt x="1400" y="284"/>
                    </a:lnTo>
                    <a:lnTo>
                      <a:pt x="1402" y="282"/>
                    </a:lnTo>
                    <a:lnTo>
                      <a:pt x="1404" y="280"/>
                    </a:lnTo>
                    <a:lnTo>
                      <a:pt x="1404" y="274"/>
                    </a:lnTo>
                    <a:lnTo>
                      <a:pt x="1402" y="272"/>
                    </a:lnTo>
                    <a:lnTo>
                      <a:pt x="1400" y="268"/>
                    </a:lnTo>
                    <a:close/>
                    <a:moveTo>
                      <a:pt x="1360" y="254"/>
                    </a:moveTo>
                    <a:lnTo>
                      <a:pt x="1360" y="254"/>
                    </a:lnTo>
                    <a:lnTo>
                      <a:pt x="1360" y="256"/>
                    </a:lnTo>
                    <a:lnTo>
                      <a:pt x="1360" y="260"/>
                    </a:lnTo>
                    <a:lnTo>
                      <a:pt x="1362" y="264"/>
                    </a:lnTo>
                    <a:lnTo>
                      <a:pt x="1368" y="266"/>
                    </a:lnTo>
                    <a:lnTo>
                      <a:pt x="1372" y="264"/>
                    </a:lnTo>
                    <a:lnTo>
                      <a:pt x="1372" y="262"/>
                    </a:lnTo>
                    <a:lnTo>
                      <a:pt x="1372" y="260"/>
                    </a:lnTo>
                    <a:lnTo>
                      <a:pt x="1370" y="254"/>
                    </a:lnTo>
                    <a:lnTo>
                      <a:pt x="1366" y="252"/>
                    </a:lnTo>
                    <a:lnTo>
                      <a:pt x="1364" y="252"/>
                    </a:lnTo>
                    <a:lnTo>
                      <a:pt x="1360" y="254"/>
                    </a:lnTo>
                    <a:close/>
                    <a:moveTo>
                      <a:pt x="1320" y="218"/>
                    </a:moveTo>
                    <a:lnTo>
                      <a:pt x="1320" y="218"/>
                    </a:lnTo>
                    <a:lnTo>
                      <a:pt x="1318" y="216"/>
                    </a:lnTo>
                    <a:lnTo>
                      <a:pt x="1316" y="218"/>
                    </a:lnTo>
                    <a:lnTo>
                      <a:pt x="1314" y="220"/>
                    </a:lnTo>
                    <a:lnTo>
                      <a:pt x="1314" y="226"/>
                    </a:lnTo>
                    <a:lnTo>
                      <a:pt x="1316" y="232"/>
                    </a:lnTo>
                    <a:lnTo>
                      <a:pt x="1318" y="232"/>
                    </a:lnTo>
                    <a:lnTo>
                      <a:pt x="1320" y="232"/>
                    </a:lnTo>
                    <a:lnTo>
                      <a:pt x="1324" y="228"/>
                    </a:lnTo>
                    <a:lnTo>
                      <a:pt x="1324" y="224"/>
                    </a:lnTo>
                    <a:lnTo>
                      <a:pt x="1324" y="220"/>
                    </a:lnTo>
                    <a:lnTo>
                      <a:pt x="1320" y="218"/>
                    </a:lnTo>
                    <a:close/>
                    <a:moveTo>
                      <a:pt x="1360" y="106"/>
                    </a:moveTo>
                    <a:lnTo>
                      <a:pt x="1360" y="106"/>
                    </a:lnTo>
                    <a:lnTo>
                      <a:pt x="1370" y="106"/>
                    </a:lnTo>
                    <a:lnTo>
                      <a:pt x="1376" y="102"/>
                    </a:lnTo>
                    <a:lnTo>
                      <a:pt x="1376" y="100"/>
                    </a:lnTo>
                    <a:lnTo>
                      <a:pt x="1376" y="98"/>
                    </a:lnTo>
                    <a:lnTo>
                      <a:pt x="1374" y="98"/>
                    </a:lnTo>
                    <a:lnTo>
                      <a:pt x="1370" y="96"/>
                    </a:lnTo>
                    <a:lnTo>
                      <a:pt x="1362" y="94"/>
                    </a:lnTo>
                    <a:lnTo>
                      <a:pt x="1352" y="94"/>
                    </a:lnTo>
                    <a:lnTo>
                      <a:pt x="1344" y="96"/>
                    </a:lnTo>
                    <a:lnTo>
                      <a:pt x="1342" y="100"/>
                    </a:lnTo>
                    <a:lnTo>
                      <a:pt x="1340" y="102"/>
                    </a:lnTo>
                    <a:lnTo>
                      <a:pt x="1340" y="108"/>
                    </a:lnTo>
                    <a:lnTo>
                      <a:pt x="1344" y="108"/>
                    </a:lnTo>
                    <a:lnTo>
                      <a:pt x="1352" y="108"/>
                    </a:lnTo>
                    <a:lnTo>
                      <a:pt x="1360" y="106"/>
                    </a:lnTo>
                    <a:close/>
                    <a:moveTo>
                      <a:pt x="918" y="88"/>
                    </a:moveTo>
                    <a:lnTo>
                      <a:pt x="918" y="88"/>
                    </a:lnTo>
                    <a:lnTo>
                      <a:pt x="922" y="90"/>
                    </a:lnTo>
                    <a:lnTo>
                      <a:pt x="926" y="92"/>
                    </a:lnTo>
                    <a:lnTo>
                      <a:pt x="948" y="88"/>
                    </a:lnTo>
                    <a:lnTo>
                      <a:pt x="958" y="84"/>
                    </a:lnTo>
                    <a:lnTo>
                      <a:pt x="954" y="82"/>
                    </a:lnTo>
                    <a:lnTo>
                      <a:pt x="920" y="78"/>
                    </a:lnTo>
                    <a:lnTo>
                      <a:pt x="906" y="76"/>
                    </a:lnTo>
                    <a:lnTo>
                      <a:pt x="902" y="78"/>
                    </a:lnTo>
                    <a:lnTo>
                      <a:pt x="908" y="80"/>
                    </a:lnTo>
                    <a:lnTo>
                      <a:pt x="918" y="88"/>
                    </a:lnTo>
                    <a:close/>
                    <a:moveTo>
                      <a:pt x="910" y="44"/>
                    </a:moveTo>
                    <a:lnTo>
                      <a:pt x="910" y="44"/>
                    </a:lnTo>
                    <a:lnTo>
                      <a:pt x="912" y="46"/>
                    </a:lnTo>
                    <a:lnTo>
                      <a:pt x="914" y="48"/>
                    </a:lnTo>
                    <a:lnTo>
                      <a:pt x="914" y="54"/>
                    </a:lnTo>
                    <a:lnTo>
                      <a:pt x="916" y="56"/>
                    </a:lnTo>
                    <a:lnTo>
                      <a:pt x="918" y="56"/>
                    </a:lnTo>
                    <a:lnTo>
                      <a:pt x="922" y="58"/>
                    </a:lnTo>
                    <a:lnTo>
                      <a:pt x="930" y="56"/>
                    </a:lnTo>
                    <a:lnTo>
                      <a:pt x="936" y="54"/>
                    </a:lnTo>
                    <a:lnTo>
                      <a:pt x="938" y="52"/>
                    </a:lnTo>
                    <a:lnTo>
                      <a:pt x="936" y="50"/>
                    </a:lnTo>
                    <a:lnTo>
                      <a:pt x="928" y="46"/>
                    </a:lnTo>
                    <a:lnTo>
                      <a:pt x="924" y="44"/>
                    </a:lnTo>
                    <a:lnTo>
                      <a:pt x="920" y="38"/>
                    </a:lnTo>
                    <a:lnTo>
                      <a:pt x="916" y="34"/>
                    </a:lnTo>
                    <a:lnTo>
                      <a:pt x="906" y="30"/>
                    </a:lnTo>
                    <a:lnTo>
                      <a:pt x="896" y="30"/>
                    </a:lnTo>
                    <a:lnTo>
                      <a:pt x="894" y="30"/>
                    </a:lnTo>
                    <a:lnTo>
                      <a:pt x="896" y="32"/>
                    </a:lnTo>
                    <a:lnTo>
                      <a:pt x="902" y="38"/>
                    </a:lnTo>
                    <a:lnTo>
                      <a:pt x="910" y="44"/>
                    </a:lnTo>
                    <a:close/>
                    <a:moveTo>
                      <a:pt x="868" y="284"/>
                    </a:moveTo>
                    <a:lnTo>
                      <a:pt x="868" y="284"/>
                    </a:lnTo>
                    <a:lnTo>
                      <a:pt x="866" y="272"/>
                    </a:lnTo>
                    <a:lnTo>
                      <a:pt x="862" y="266"/>
                    </a:lnTo>
                    <a:lnTo>
                      <a:pt x="860" y="264"/>
                    </a:lnTo>
                    <a:lnTo>
                      <a:pt x="858" y="264"/>
                    </a:lnTo>
                    <a:lnTo>
                      <a:pt x="856" y="270"/>
                    </a:lnTo>
                    <a:lnTo>
                      <a:pt x="852" y="276"/>
                    </a:lnTo>
                    <a:lnTo>
                      <a:pt x="850" y="276"/>
                    </a:lnTo>
                    <a:lnTo>
                      <a:pt x="848" y="276"/>
                    </a:lnTo>
                    <a:lnTo>
                      <a:pt x="846" y="278"/>
                    </a:lnTo>
                    <a:lnTo>
                      <a:pt x="848" y="280"/>
                    </a:lnTo>
                    <a:lnTo>
                      <a:pt x="848" y="282"/>
                    </a:lnTo>
                    <a:lnTo>
                      <a:pt x="850" y="284"/>
                    </a:lnTo>
                    <a:lnTo>
                      <a:pt x="850" y="288"/>
                    </a:lnTo>
                    <a:lnTo>
                      <a:pt x="850" y="296"/>
                    </a:lnTo>
                    <a:lnTo>
                      <a:pt x="852" y="300"/>
                    </a:lnTo>
                    <a:lnTo>
                      <a:pt x="860" y="308"/>
                    </a:lnTo>
                    <a:lnTo>
                      <a:pt x="864" y="310"/>
                    </a:lnTo>
                    <a:lnTo>
                      <a:pt x="866" y="306"/>
                    </a:lnTo>
                    <a:lnTo>
                      <a:pt x="868" y="298"/>
                    </a:lnTo>
                    <a:lnTo>
                      <a:pt x="868" y="284"/>
                    </a:lnTo>
                    <a:close/>
                    <a:moveTo>
                      <a:pt x="852" y="306"/>
                    </a:moveTo>
                    <a:lnTo>
                      <a:pt x="852" y="306"/>
                    </a:lnTo>
                    <a:lnTo>
                      <a:pt x="848" y="302"/>
                    </a:lnTo>
                    <a:lnTo>
                      <a:pt x="846" y="298"/>
                    </a:lnTo>
                    <a:lnTo>
                      <a:pt x="844" y="296"/>
                    </a:lnTo>
                    <a:lnTo>
                      <a:pt x="844" y="302"/>
                    </a:lnTo>
                    <a:lnTo>
                      <a:pt x="846" y="304"/>
                    </a:lnTo>
                    <a:lnTo>
                      <a:pt x="852" y="310"/>
                    </a:lnTo>
                    <a:lnTo>
                      <a:pt x="858" y="318"/>
                    </a:lnTo>
                    <a:lnTo>
                      <a:pt x="858" y="314"/>
                    </a:lnTo>
                    <a:lnTo>
                      <a:pt x="856" y="310"/>
                    </a:lnTo>
                    <a:lnTo>
                      <a:pt x="852" y="306"/>
                    </a:lnTo>
                    <a:close/>
                    <a:moveTo>
                      <a:pt x="1028" y="396"/>
                    </a:moveTo>
                    <a:lnTo>
                      <a:pt x="1028" y="396"/>
                    </a:lnTo>
                    <a:lnTo>
                      <a:pt x="1032" y="394"/>
                    </a:lnTo>
                    <a:lnTo>
                      <a:pt x="1032" y="392"/>
                    </a:lnTo>
                    <a:lnTo>
                      <a:pt x="1036" y="380"/>
                    </a:lnTo>
                    <a:lnTo>
                      <a:pt x="1040" y="372"/>
                    </a:lnTo>
                    <a:lnTo>
                      <a:pt x="1040" y="370"/>
                    </a:lnTo>
                    <a:lnTo>
                      <a:pt x="1036" y="368"/>
                    </a:lnTo>
                    <a:lnTo>
                      <a:pt x="1034" y="366"/>
                    </a:lnTo>
                    <a:lnTo>
                      <a:pt x="1032" y="364"/>
                    </a:lnTo>
                    <a:lnTo>
                      <a:pt x="1032" y="362"/>
                    </a:lnTo>
                    <a:lnTo>
                      <a:pt x="1028" y="360"/>
                    </a:lnTo>
                    <a:lnTo>
                      <a:pt x="1024" y="358"/>
                    </a:lnTo>
                    <a:lnTo>
                      <a:pt x="1018" y="360"/>
                    </a:lnTo>
                    <a:lnTo>
                      <a:pt x="1008" y="366"/>
                    </a:lnTo>
                    <a:lnTo>
                      <a:pt x="998" y="374"/>
                    </a:lnTo>
                    <a:lnTo>
                      <a:pt x="994" y="378"/>
                    </a:lnTo>
                    <a:lnTo>
                      <a:pt x="994" y="384"/>
                    </a:lnTo>
                    <a:lnTo>
                      <a:pt x="992" y="388"/>
                    </a:lnTo>
                    <a:lnTo>
                      <a:pt x="988" y="396"/>
                    </a:lnTo>
                    <a:lnTo>
                      <a:pt x="984" y="402"/>
                    </a:lnTo>
                    <a:lnTo>
                      <a:pt x="984" y="408"/>
                    </a:lnTo>
                    <a:lnTo>
                      <a:pt x="984" y="410"/>
                    </a:lnTo>
                    <a:lnTo>
                      <a:pt x="984" y="412"/>
                    </a:lnTo>
                    <a:lnTo>
                      <a:pt x="988" y="410"/>
                    </a:lnTo>
                    <a:lnTo>
                      <a:pt x="996" y="408"/>
                    </a:lnTo>
                    <a:lnTo>
                      <a:pt x="1000" y="408"/>
                    </a:lnTo>
                    <a:lnTo>
                      <a:pt x="1006" y="410"/>
                    </a:lnTo>
                    <a:lnTo>
                      <a:pt x="1012" y="410"/>
                    </a:lnTo>
                    <a:lnTo>
                      <a:pt x="1016" y="410"/>
                    </a:lnTo>
                    <a:lnTo>
                      <a:pt x="1020" y="406"/>
                    </a:lnTo>
                    <a:lnTo>
                      <a:pt x="1024" y="400"/>
                    </a:lnTo>
                    <a:lnTo>
                      <a:pt x="1028" y="396"/>
                    </a:lnTo>
                    <a:close/>
                    <a:moveTo>
                      <a:pt x="1032" y="410"/>
                    </a:moveTo>
                    <a:lnTo>
                      <a:pt x="1032" y="410"/>
                    </a:lnTo>
                    <a:lnTo>
                      <a:pt x="1036" y="410"/>
                    </a:lnTo>
                    <a:lnTo>
                      <a:pt x="1036" y="406"/>
                    </a:lnTo>
                    <a:lnTo>
                      <a:pt x="1034" y="402"/>
                    </a:lnTo>
                    <a:lnTo>
                      <a:pt x="1032" y="400"/>
                    </a:lnTo>
                    <a:lnTo>
                      <a:pt x="1032" y="398"/>
                    </a:lnTo>
                    <a:lnTo>
                      <a:pt x="1030" y="398"/>
                    </a:lnTo>
                    <a:lnTo>
                      <a:pt x="1026" y="400"/>
                    </a:lnTo>
                    <a:lnTo>
                      <a:pt x="1024" y="404"/>
                    </a:lnTo>
                    <a:lnTo>
                      <a:pt x="1024" y="408"/>
                    </a:lnTo>
                    <a:lnTo>
                      <a:pt x="1024" y="410"/>
                    </a:lnTo>
                    <a:lnTo>
                      <a:pt x="1032" y="410"/>
                    </a:lnTo>
                    <a:close/>
                    <a:moveTo>
                      <a:pt x="1044" y="820"/>
                    </a:moveTo>
                    <a:lnTo>
                      <a:pt x="1044" y="820"/>
                    </a:lnTo>
                    <a:lnTo>
                      <a:pt x="1046" y="820"/>
                    </a:lnTo>
                    <a:lnTo>
                      <a:pt x="1050" y="820"/>
                    </a:lnTo>
                    <a:lnTo>
                      <a:pt x="1054" y="816"/>
                    </a:lnTo>
                    <a:lnTo>
                      <a:pt x="1056" y="812"/>
                    </a:lnTo>
                    <a:lnTo>
                      <a:pt x="1060" y="812"/>
                    </a:lnTo>
                    <a:lnTo>
                      <a:pt x="1064" y="810"/>
                    </a:lnTo>
                    <a:lnTo>
                      <a:pt x="1068" y="808"/>
                    </a:lnTo>
                    <a:lnTo>
                      <a:pt x="1068" y="806"/>
                    </a:lnTo>
                    <a:lnTo>
                      <a:pt x="1066" y="804"/>
                    </a:lnTo>
                    <a:lnTo>
                      <a:pt x="1064" y="802"/>
                    </a:lnTo>
                    <a:lnTo>
                      <a:pt x="1060" y="804"/>
                    </a:lnTo>
                    <a:lnTo>
                      <a:pt x="1052" y="808"/>
                    </a:lnTo>
                    <a:lnTo>
                      <a:pt x="1046" y="814"/>
                    </a:lnTo>
                    <a:lnTo>
                      <a:pt x="1044" y="818"/>
                    </a:lnTo>
                    <a:lnTo>
                      <a:pt x="1044" y="820"/>
                    </a:lnTo>
                    <a:close/>
                    <a:moveTo>
                      <a:pt x="844" y="336"/>
                    </a:moveTo>
                    <a:lnTo>
                      <a:pt x="844" y="336"/>
                    </a:lnTo>
                    <a:lnTo>
                      <a:pt x="852" y="332"/>
                    </a:lnTo>
                    <a:lnTo>
                      <a:pt x="856" y="326"/>
                    </a:lnTo>
                    <a:lnTo>
                      <a:pt x="854" y="320"/>
                    </a:lnTo>
                    <a:lnTo>
                      <a:pt x="850" y="312"/>
                    </a:lnTo>
                    <a:lnTo>
                      <a:pt x="846" y="306"/>
                    </a:lnTo>
                    <a:lnTo>
                      <a:pt x="842" y="306"/>
                    </a:lnTo>
                    <a:lnTo>
                      <a:pt x="840" y="310"/>
                    </a:lnTo>
                    <a:lnTo>
                      <a:pt x="840" y="316"/>
                    </a:lnTo>
                    <a:lnTo>
                      <a:pt x="840" y="330"/>
                    </a:lnTo>
                    <a:lnTo>
                      <a:pt x="842" y="336"/>
                    </a:lnTo>
                    <a:lnTo>
                      <a:pt x="844" y="336"/>
                    </a:lnTo>
                    <a:close/>
                    <a:moveTo>
                      <a:pt x="794" y="292"/>
                    </a:moveTo>
                    <a:lnTo>
                      <a:pt x="794" y="292"/>
                    </a:lnTo>
                    <a:lnTo>
                      <a:pt x="800" y="276"/>
                    </a:lnTo>
                    <a:lnTo>
                      <a:pt x="804" y="264"/>
                    </a:lnTo>
                    <a:lnTo>
                      <a:pt x="806" y="256"/>
                    </a:lnTo>
                    <a:lnTo>
                      <a:pt x="804" y="256"/>
                    </a:lnTo>
                    <a:lnTo>
                      <a:pt x="798" y="264"/>
                    </a:lnTo>
                    <a:lnTo>
                      <a:pt x="794" y="278"/>
                    </a:lnTo>
                    <a:lnTo>
                      <a:pt x="794" y="292"/>
                    </a:lnTo>
                    <a:close/>
                    <a:moveTo>
                      <a:pt x="1118" y="446"/>
                    </a:moveTo>
                    <a:lnTo>
                      <a:pt x="1118" y="446"/>
                    </a:lnTo>
                    <a:lnTo>
                      <a:pt x="1122" y="448"/>
                    </a:lnTo>
                    <a:lnTo>
                      <a:pt x="1128" y="450"/>
                    </a:lnTo>
                    <a:lnTo>
                      <a:pt x="1142" y="448"/>
                    </a:lnTo>
                    <a:lnTo>
                      <a:pt x="1158" y="448"/>
                    </a:lnTo>
                    <a:lnTo>
                      <a:pt x="1166" y="450"/>
                    </a:lnTo>
                    <a:lnTo>
                      <a:pt x="1172" y="452"/>
                    </a:lnTo>
                    <a:lnTo>
                      <a:pt x="1180" y="454"/>
                    </a:lnTo>
                    <a:lnTo>
                      <a:pt x="1186" y="454"/>
                    </a:lnTo>
                    <a:lnTo>
                      <a:pt x="1190" y="452"/>
                    </a:lnTo>
                    <a:lnTo>
                      <a:pt x="1194" y="450"/>
                    </a:lnTo>
                    <a:lnTo>
                      <a:pt x="1204" y="442"/>
                    </a:lnTo>
                    <a:lnTo>
                      <a:pt x="1208" y="440"/>
                    </a:lnTo>
                    <a:lnTo>
                      <a:pt x="1212" y="440"/>
                    </a:lnTo>
                    <a:lnTo>
                      <a:pt x="1216" y="440"/>
                    </a:lnTo>
                    <a:lnTo>
                      <a:pt x="1218" y="438"/>
                    </a:lnTo>
                    <a:lnTo>
                      <a:pt x="1218" y="434"/>
                    </a:lnTo>
                    <a:lnTo>
                      <a:pt x="1218" y="430"/>
                    </a:lnTo>
                    <a:lnTo>
                      <a:pt x="1214" y="420"/>
                    </a:lnTo>
                    <a:lnTo>
                      <a:pt x="1206" y="414"/>
                    </a:lnTo>
                    <a:lnTo>
                      <a:pt x="1200" y="410"/>
                    </a:lnTo>
                    <a:lnTo>
                      <a:pt x="1198" y="406"/>
                    </a:lnTo>
                    <a:lnTo>
                      <a:pt x="1200" y="406"/>
                    </a:lnTo>
                    <a:lnTo>
                      <a:pt x="1206" y="404"/>
                    </a:lnTo>
                    <a:lnTo>
                      <a:pt x="1218" y="402"/>
                    </a:lnTo>
                    <a:lnTo>
                      <a:pt x="1222" y="398"/>
                    </a:lnTo>
                    <a:lnTo>
                      <a:pt x="1222" y="394"/>
                    </a:lnTo>
                    <a:lnTo>
                      <a:pt x="1222" y="392"/>
                    </a:lnTo>
                    <a:lnTo>
                      <a:pt x="1224" y="390"/>
                    </a:lnTo>
                    <a:lnTo>
                      <a:pt x="1230" y="388"/>
                    </a:lnTo>
                    <a:lnTo>
                      <a:pt x="1232" y="388"/>
                    </a:lnTo>
                    <a:lnTo>
                      <a:pt x="1232" y="384"/>
                    </a:lnTo>
                    <a:lnTo>
                      <a:pt x="1232" y="376"/>
                    </a:lnTo>
                    <a:lnTo>
                      <a:pt x="1228" y="364"/>
                    </a:lnTo>
                    <a:lnTo>
                      <a:pt x="1234" y="372"/>
                    </a:lnTo>
                    <a:lnTo>
                      <a:pt x="1240" y="376"/>
                    </a:lnTo>
                    <a:lnTo>
                      <a:pt x="1246" y="378"/>
                    </a:lnTo>
                    <a:lnTo>
                      <a:pt x="1256" y="376"/>
                    </a:lnTo>
                    <a:lnTo>
                      <a:pt x="1268" y="372"/>
                    </a:lnTo>
                    <a:lnTo>
                      <a:pt x="1272" y="374"/>
                    </a:lnTo>
                    <a:lnTo>
                      <a:pt x="1272" y="376"/>
                    </a:lnTo>
                    <a:lnTo>
                      <a:pt x="1274" y="378"/>
                    </a:lnTo>
                    <a:lnTo>
                      <a:pt x="1278" y="382"/>
                    </a:lnTo>
                    <a:lnTo>
                      <a:pt x="1284" y="384"/>
                    </a:lnTo>
                    <a:lnTo>
                      <a:pt x="1296" y="386"/>
                    </a:lnTo>
                    <a:lnTo>
                      <a:pt x="1308" y="388"/>
                    </a:lnTo>
                    <a:lnTo>
                      <a:pt x="1316" y="392"/>
                    </a:lnTo>
                    <a:lnTo>
                      <a:pt x="1324" y="398"/>
                    </a:lnTo>
                    <a:lnTo>
                      <a:pt x="1330" y="406"/>
                    </a:lnTo>
                    <a:lnTo>
                      <a:pt x="1340" y="426"/>
                    </a:lnTo>
                    <a:lnTo>
                      <a:pt x="1348" y="438"/>
                    </a:lnTo>
                    <a:lnTo>
                      <a:pt x="1358" y="450"/>
                    </a:lnTo>
                    <a:lnTo>
                      <a:pt x="1374" y="472"/>
                    </a:lnTo>
                    <a:lnTo>
                      <a:pt x="1380" y="480"/>
                    </a:lnTo>
                    <a:lnTo>
                      <a:pt x="1384" y="486"/>
                    </a:lnTo>
                    <a:lnTo>
                      <a:pt x="1392" y="488"/>
                    </a:lnTo>
                    <a:lnTo>
                      <a:pt x="1400" y="492"/>
                    </a:lnTo>
                    <a:lnTo>
                      <a:pt x="1432" y="498"/>
                    </a:lnTo>
                    <a:lnTo>
                      <a:pt x="1450" y="502"/>
                    </a:lnTo>
                    <a:lnTo>
                      <a:pt x="1462" y="506"/>
                    </a:lnTo>
                    <a:lnTo>
                      <a:pt x="1470" y="510"/>
                    </a:lnTo>
                    <a:lnTo>
                      <a:pt x="1476" y="512"/>
                    </a:lnTo>
                    <a:lnTo>
                      <a:pt x="1482" y="518"/>
                    </a:lnTo>
                    <a:lnTo>
                      <a:pt x="1488" y="520"/>
                    </a:lnTo>
                    <a:lnTo>
                      <a:pt x="1492" y="520"/>
                    </a:lnTo>
                    <a:lnTo>
                      <a:pt x="1500" y="520"/>
                    </a:lnTo>
                    <a:lnTo>
                      <a:pt x="1506" y="518"/>
                    </a:lnTo>
                    <a:lnTo>
                      <a:pt x="1512" y="514"/>
                    </a:lnTo>
                    <a:lnTo>
                      <a:pt x="1514" y="510"/>
                    </a:lnTo>
                    <a:lnTo>
                      <a:pt x="1514" y="506"/>
                    </a:lnTo>
                    <a:lnTo>
                      <a:pt x="1512" y="502"/>
                    </a:lnTo>
                    <a:lnTo>
                      <a:pt x="1508" y="498"/>
                    </a:lnTo>
                    <a:lnTo>
                      <a:pt x="1498" y="494"/>
                    </a:lnTo>
                    <a:lnTo>
                      <a:pt x="1482" y="490"/>
                    </a:lnTo>
                    <a:lnTo>
                      <a:pt x="1474" y="484"/>
                    </a:lnTo>
                    <a:lnTo>
                      <a:pt x="1472" y="482"/>
                    </a:lnTo>
                    <a:lnTo>
                      <a:pt x="1472" y="480"/>
                    </a:lnTo>
                    <a:lnTo>
                      <a:pt x="1474" y="476"/>
                    </a:lnTo>
                    <a:lnTo>
                      <a:pt x="1478" y="472"/>
                    </a:lnTo>
                    <a:lnTo>
                      <a:pt x="1478" y="470"/>
                    </a:lnTo>
                    <a:lnTo>
                      <a:pt x="1476" y="468"/>
                    </a:lnTo>
                    <a:lnTo>
                      <a:pt x="1464" y="466"/>
                    </a:lnTo>
                    <a:lnTo>
                      <a:pt x="1454" y="464"/>
                    </a:lnTo>
                    <a:lnTo>
                      <a:pt x="1450" y="462"/>
                    </a:lnTo>
                    <a:lnTo>
                      <a:pt x="1448" y="458"/>
                    </a:lnTo>
                    <a:lnTo>
                      <a:pt x="1448" y="454"/>
                    </a:lnTo>
                    <a:lnTo>
                      <a:pt x="1450" y="448"/>
                    </a:lnTo>
                    <a:lnTo>
                      <a:pt x="1454" y="442"/>
                    </a:lnTo>
                    <a:lnTo>
                      <a:pt x="1454" y="438"/>
                    </a:lnTo>
                    <a:lnTo>
                      <a:pt x="1448" y="438"/>
                    </a:lnTo>
                    <a:lnTo>
                      <a:pt x="1436" y="440"/>
                    </a:lnTo>
                    <a:lnTo>
                      <a:pt x="1432" y="440"/>
                    </a:lnTo>
                    <a:lnTo>
                      <a:pt x="1428" y="440"/>
                    </a:lnTo>
                    <a:lnTo>
                      <a:pt x="1422" y="436"/>
                    </a:lnTo>
                    <a:lnTo>
                      <a:pt x="1416" y="428"/>
                    </a:lnTo>
                    <a:lnTo>
                      <a:pt x="1412" y="420"/>
                    </a:lnTo>
                    <a:lnTo>
                      <a:pt x="1408" y="400"/>
                    </a:lnTo>
                    <a:lnTo>
                      <a:pt x="1404" y="394"/>
                    </a:lnTo>
                    <a:lnTo>
                      <a:pt x="1400" y="390"/>
                    </a:lnTo>
                    <a:lnTo>
                      <a:pt x="1394" y="386"/>
                    </a:lnTo>
                    <a:lnTo>
                      <a:pt x="1386" y="378"/>
                    </a:lnTo>
                    <a:lnTo>
                      <a:pt x="1370" y="360"/>
                    </a:lnTo>
                    <a:lnTo>
                      <a:pt x="1364" y="350"/>
                    </a:lnTo>
                    <a:lnTo>
                      <a:pt x="1358" y="340"/>
                    </a:lnTo>
                    <a:lnTo>
                      <a:pt x="1356" y="334"/>
                    </a:lnTo>
                    <a:lnTo>
                      <a:pt x="1356" y="332"/>
                    </a:lnTo>
                    <a:lnTo>
                      <a:pt x="1358" y="330"/>
                    </a:lnTo>
                    <a:lnTo>
                      <a:pt x="1362" y="328"/>
                    </a:lnTo>
                    <a:lnTo>
                      <a:pt x="1366" y="326"/>
                    </a:lnTo>
                    <a:lnTo>
                      <a:pt x="1376" y="328"/>
                    </a:lnTo>
                    <a:lnTo>
                      <a:pt x="1388" y="328"/>
                    </a:lnTo>
                    <a:lnTo>
                      <a:pt x="1392" y="326"/>
                    </a:lnTo>
                    <a:lnTo>
                      <a:pt x="1394" y="324"/>
                    </a:lnTo>
                    <a:lnTo>
                      <a:pt x="1396" y="320"/>
                    </a:lnTo>
                    <a:lnTo>
                      <a:pt x="1396" y="314"/>
                    </a:lnTo>
                    <a:lnTo>
                      <a:pt x="1390" y="302"/>
                    </a:lnTo>
                    <a:lnTo>
                      <a:pt x="1386" y="296"/>
                    </a:lnTo>
                    <a:lnTo>
                      <a:pt x="1380" y="292"/>
                    </a:lnTo>
                    <a:lnTo>
                      <a:pt x="1374" y="290"/>
                    </a:lnTo>
                    <a:lnTo>
                      <a:pt x="1370" y="290"/>
                    </a:lnTo>
                    <a:lnTo>
                      <a:pt x="1364" y="290"/>
                    </a:lnTo>
                    <a:lnTo>
                      <a:pt x="1360" y="290"/>
                    </a:lnTo>
                    <a:lnTo>
                      <a:pt x="1354" y="284"/>
                    </a:lnTo>
                    <a:lnTo>
                      <a:pt x="1344" y="276"/>
                    </a:lnTo>
                    <a:lnTo>
                      <a:pt x="1338" y="272"/>
                    </a:lnTo>
                    <a:lnTo>
                      <a:pt x="1328" y="270"/>
                    </a:lnTo>
                    <a:lnTo>
                      <a:pt x="1312" y="264"/>
                    </a:lnTo>
                    <a:lnTo>
                      <a:pt x="1310" y="262"/>
                    </a:lnTo>
                    <a:lnTo>
                      <a:pt x="1308" y="260"/>
                    </a:lnTo>
                    <a:lnTo>
                      <a:pt x="1310" y="256"/>
                    </a:lnTo>
                    <a:lnTo>
                      <a:pt x="1312" y="246"/>
                    </a:lnTo>
                    <a:lnTo>
                      <a:pt x="1312" y="238"/>
                    </a:lnTo>
                    <a:lnTo>
                      <a:pt x="1306" y="230"/>
                    </a:lnTo>
                    <a:lnTo>
                      <a:pt x="1298" y="220"/>
                    </a:lnTo>
                    <a:lnTo>
                      <a:pt x="1288" y="210"/>
                    </a:lnTo>
                    <a:lnTo>
                      <a:pt x="1278" y="200"/>
                    </a:lnTo>
                    <a:lnTo>
                      <a:pt x="1266" y="192"/>
                    </a:lnTo>
                    <a:lnTo>
                      <a:pt x="1256" y="188"/>
                    </a:lnTo>
                    <a:lnTo>
                      <a:pt x="1248" y="186"/>
                    </a:lnTo>
                    <a:lnTo>
                      <a:pt x="1242" y="186"/>
                    </a:lnTo>
                    <a:lnTo>
                      <a:pt x="1238" y="184"/>
                    </a:lnTo>
                    <a:lnTo>
                      <a:pt x="1230" y="178"/>
                    </a:lnTo>
                    <a:lnTo>
                      <a:pt x="1220" y="170"/>
                    </a:lnTo>
                    <a:lnTo>
                      <a:pt x="1214" y="166"/>
                    </a:lnTo>
                    <a:lnTo>
                      <a:pt x="1202" y="162"/>
                    </a:lnTo>
                    <a:lnTo>
                      <a:pt x="1190" y="158"/>
                    </a:lnTo>
                    <a:lnTo>
                      <a:pt x="1174" y="152"/>
                    </a:lnTo>
                    <a:lnTo>
                      <a:pt x="1140" y="134"/>
                    </a:lnTo>
                    <a:lnTo>
                      <a:pt x="1106" y="120"/>
                    </a:lnTo>
                    <a:lnTo>
                      <a:pt x="1092" y="116"/>
                    </a:lnTo>
                    <a:lnTo>
                      <a:pt x="1078" y="116"/>
                    </a:lnTo>
                    <a:lnTo>
                      <a:pt x="1080" y="404"/>
                    </a:lnTo>
                    <a:lnTo>
                      <a:pt x="1094" y="414"/>
                    </a:lnTo>
                    <a:lnTo>
                      <a:pt x="1104" y="426"/>
                    </a:lnTo>
                    <a:lnTo>
                      <a:pt x="1118" y="446"/>
                    </a:lnTo>
                    <a:close/>
                    <a:moveTo>
                      <a:pt x="784" y="288"/>
                    </a:moveTo>
                    <a:lnTo>
                      <a:pt x="784" y="288"/>
                    </a:lnTo>
                    <a:lnTo>
                      <a:pt x="786" y="290"/>
                    </a:lnTo>
                    <a:lnTo>
                      <a:pt x="788" y="288"/>
                    </a:lnTo>
                    <a:lnTo>
                      <a:pt x="790" y="286"/>
                    </a:lnTo>
                    <a:lnTo>
                      <a:pt x="790" y="282"/>
                    </a:lnTo>
                    <a:lnTo>
                      <a:pt x="788" y="278"/>
                    </a:lnTo>
                    <a:lnTo>
                      <a:pt x="784" y="274"/>
                    </a:lnTo>
                    <a:lnTo>
                      <a:pt x="782" y="276"/>
                    </a:lnTo>
                    <a:lnTo>
                      <a:pt x="784" y="288"/>
                    </a:lnTo>
                    <a:close/>
                    <a:moveTo>
                      <a:pt x="1474" y="80"/>
                    </a:moveTo>
                    <a:lnTo>
                      <a:pt x="1474" y="80"/>
                    </a:lnTo>
                    <a:lnTo>
                      <a:pt x="1476" y="80"/>
                    </a:lnTo>
                    <a:lnTo>
                      <a:pt x="1476" y="78"/>
                    </a:lnTo>
                    <a:lnTo>
                      <a:pt x="1474" y="72"/>
                    </a:lnTo>
                    <a:lnTo>
                      <a:pt x="1468" y="68"/>
                    </a:lnTo>
                    <a:lnTo>
                      <a:pt x="1466" y="68"/>
                    </a:lnTo>
                    <a:lnTo>
                      <a:pt x="1464" y="68"/>
                    </a:lnTo>
                    <a:lnTo>
                      <a:pt x="1464" y="72"/>
                    </a:lnTo>
                    <a:lnTo>
                      <a:pt x="1464" y="76"/>
                    </a:lnTo>
                    <a:lnTo>
                      <a:pt x="1468" y="78"/>
                    </a:lnTo>
                    <a:lnTo>
                      <a:pt x="1474" y="80"/>
                    </a:lnTo>
                    <a:close/>
                    <a:moveTo>
                      <a:pt x="1436" y="292"/>
                    </a:moveTo>
                    <a:lnTo>
                      <a:pt x="1436" y="292"/>
                    </a:lnTo>
                    <a:lnTo>
                      <a:pt x="1442" y="296"/>
                    </a:lnTo>
                    <a:lnTo>
                      <a:pt x="1446" y="298"/>
                    </a:lnTo>
                    <a:lnTo>
                      <a:pt x="1448" y="298"/>
                    </a:lnTo>
                    <a:lnTo>
                      <a:pt x="1450" y="298"/>
                    </a:lnTo>
                    <a:lnTo>
                      <a:pt x="1452" y="296"/>
                    </a:lnTo>
                    <a:lnTo>
                      <a:pt x="1454" y="296"/>
                    </a:lnTo>
                    <a:lnTo>
                      <a:pt x="1458" y="298"/>
                    </a:lnTo>
                    <a:lnTo>
                      <a:pt x="1462" y="302"/>
                    </a:lnTo>
                    <a:lnTo>
                      <a:pt x="1468" y="306"/>
                    </a:lnTo>
                    <a:lnTo>
                      <a:pt x="1478" y="308"/>
                    </a:lnTo>
                    <a:lnTo>
                      <a:pt x="1490" y="306"/>
                    </a:lnTo>
                    <a:lnTo>
                      <a:pt x="1502" y="302"/>
                    </a:lnTo>
                    <a:lnTo>
                      <a:pt x="1514" y="298"/>
                    </a:lnTo>
                    <a:lnTo>
                      <a:pt x="1524" y="292"/>
                    </a:lnTo>
                    <a:lnTo>
                      <a:pt x="1534" y="284"/>
                    </a:lnTo>
                    <a:lnTo>
                      <a:pt x="1538" y="278"/>
                    </a:lnTo>
                    <a:lnTo>
                      <a:pt x="1542" y="272"/>
                    </a:lnTo>
                    <a:lnTo>
                      <a:pt x="1544" y="270"/>
                    </a:lnTo>
                    <a:lnTo>
                      <a:pt x="1548" y="270"/>
                    </a:lnTo>
                    <a:lnTo>
                      <a:pt x="1550" y="270"/>
                    </a:lnTo>
                    <a:lnTo>
                      <a:pt x="1556" y="272"/>
                    </a:lnTo>
                    <a:lnTo>
                      <a:pt x="1560" y="270"/>
                    </a:lnTo>
                    <a:lnTo>
                      <a:pt x="1566" y="268"/>
                    </a:lnTo>
                    <a:lnTo>
                      <a:pt x="1568" y="264"/>
                    </a:lnTo>
                    <a:lnTo>
                      <a:pt x="1570" y="260"/>
                    </a:lnTo>
                    <a:lnTo>
                      <a:pt x="1566" y="252"/>
                    </a:lnTo>
                    <a:lnTo>
                      <a:pt x="1564" y="246"/>
                    </a:lnTo>
                    <a:lnTo>
                      <a:pt x="1564" y="244"/>
                    </a:lnTo>
                    <a:lnTo>
                      <a:pt x="1566" y="242"/>
                    </a:lnTo>
                    <a:lnTo>
                      <a:pt x="1572" y="240"/>
                    </a:lnTo>
                    <a:lnTo>
                      <a:pt x="1574" y="238"/>
                    </a:lnTo>
                    <a:lnTo>
                      <a:pt x="1580" y="228"/>
                    </a:lnTo>
                    <a:lnTo>
                      <a:pt x="1580" y="216"/>
                    </a:lnTo>
                    <a:lnTo>
                      <a:pt x="1578" y="212"/>
                    </a:lnTo>
                    <a:lnTo>
                      <a:pt x="1576" y="208"/>
                    </a:lnTo>
                    <a:lnTo>
                      <a:pt x="1572" y="202"/>
                    </a:lnTo>
                    <a:lnTo>
                      <a:pt x="1566" y="202"/>
                    </a:lnTo>
                    <a:lnTo>
                      <a:pt x="1548" y="202"/>
                    </a:lnTo>
                    <a:lnTo>
                      <a:pt x="1546" y="204"/>
                    </a:lnTo>
                    <a:lnTo>
                      <a:pt x="1544" y="206"/>
                    </a:lnTo>
                    <a:lnTo>
                      <a:pt x="1542" y="210"/>
                    </a:lnTo>
                    <a:lnTo>
                      <a:pt x="1546" y="224"/>
                    </a:lnTo>
                    <a:lnTo>
                      <a:pt x="1550" y="236"/>
                    </a:lnTo>
                    <a:lnTo>
                      <a:pt x="1548" y="240"/>
                    </a:lnTo>
                    <a:lnTo>
                      <a:pt x="1542" y="240"/>
                    </a:lnTo>
                    <a:lnTo>
                      <a:pt x="1536" y="238"/>
                    </a:lnTo>
                    <a:lnTo>
                      <a:pt x="1530" y="242"/>
                    </a:lnTo>
                    <a:lnTo>
                      <a:pt x="1526" y="248"/>
                    </a:lnTo>
                    <a:lnTo>
                      <a:pt x="1522" y="254"/>
                    </a:lnTo>
                    <a:lnTo>
                      <a:pt x="1518" y="262"/>
                    </a:lnTo>
                    <a:lnTo>
                      <a:pt x="1514" y="266"/>
                    </a:lnTo>
                    <a:lnTo>
                      <a:pt x="1510" y="268"/>
                    </a:lnTo>
                    <a:lnTo>
                      <a:pt x="1504" y="266"/>
                    </a:lnTo>
                    <a:lnTo>
                      <a:pt x="1500" y="264"/>
                    </a:lnTo>
                    <a:lnTo>
                      <a:pt x="1498" y="264"/>
                    </a:lnTo>
                    <a:lnTo>
                      <a:pt x="1494" y="268"/>
                    </a:lnTo>
                    <a:lnTo>
                      <a:pt x="1490" y="270"/>
                    </a:lnTo>
                    <a:lnTo>
                      <a:pt x="1488" y="264"/>
                    </a:lnTo>
                    <a:lnTo>
                      <a:pt x="1486" y="256"/>
                    </a:lnTo>
                    <a:lnTo>
                      <a:pt x="1488" y="250"/>
                    </a:lnTo>
                    <a:lnTo>
                      <a:pt x="1490" y="248"/>
                    </a:lnTo>
                    <a:lnTo>
                      <a:pt x="1490" y="244"/>
                    </a:lnTo>
                    <a:lnTo>
                      <a:pt x="1488" y="242"/>
                    </a:lnTo>
                    <a:lnTo>
                      <a:pt x="1484" y="244"/>
                    </a:lnTo>
                    <a:lnTo>
                      <a:pt x="1480" y="250"/>
                    </a:lnTo>
                    <a:lnTo>
                      <a:pt x="1480" y="262"/>
                    </a:lnTo>
                    <a:lnTo>
                      <a:pt x="1478" y="266"/>
                    </a:lnTo>
                    <a:lnTo>
                      <a:pt x="1476" y="268"/>
                    </a:lnTo>
                    <a:lnTo>
                      <a:pt x="1470" y="270"/>
                    </a:lnTo>
                    <a:lnTo>
                      <a:pt x="1460" y="268"/>
                    </a:lnTo>
                    <a:lnTo>
                      <a:pt x="1448" y="266"/>
                    </a:lnTo>
                    <a:lnTo>
                      <a:pt x="1434" y="266"/>
                    </a:lnTo>
                    <a:lnTo>
                      <a:pt x="1424" y="264"/>
                    </a:lnTo>
                    <a:lnTo>
                      <a:pt x="1416" y="266"/>
                    </a:lnTo>
                    <a:lnTo>
                      <a:pt x="1414" y="268"/>
                    </a:lnTo>
                    <a:lnTo>
                      <a:pt x="1414" y="270"/>
                    </a:lnTo>
                    <a:lnTo>
                      <a:pt x="1416" y="278"/>
                    </a:lnTo>
                    <a:lnTo>
                      <a:pt x="1420" y="280"/>
                    </a:lnTo>
                    <a:lnTo>
                      <a:pt x="1428" y="284"/>
                    </a:lnTo>
                    <a:lnTo>
                      <a:pt x="1436" y="292"/>
                    </a:lnTo>
                    <a:close/>
                    <a:moveTo>
                      <a:pt x="1546" y="156"/>
                    </a:moveTo>
                    <a:lnTo>
                      <a:pt x="1546" y="156"/>
                    </a:lnTo>
                    <a:lnTo>
                      <a:pt x="1552" y="162"/>
                    </a:lnTo>
                    <a:lnTo>
                      <a:pt x="1562" y="170"/>
                    </a:lnTo>
                    <a:lnTo>
                      <a:pt x="1572" y="178"/>
                    </a:lnTo>
                    <a:lnTo>
                      <a:pt x="1582" y="190"/>
                    </a:lnTo>
                    <a:lnTo>
                      <a:pt x="1586" y="196"/>
                    </a:lnTo>
                    <a:lnTo>
                      <a:pt x="1588" y="202"/>
                    </a:lnTo>
                    <a:lnTo>
                      <a:pt x="1590" y="210"/>
                    </a:lnTo>
                    <a:lnTo>
                      <a:pt x="1590" y="220"/>
                    </a:lnTo>
                    <a:lnTo>
                      <a:pt x="1592" y="224"/>
                    </a:lnTo>
                    <a:lnTo>
                      <a:pt x="1594" y="232"/>
                    </a:lnTo>
                    <a:lnTo>
                      <a:pt x="1598" y="236"/>
                    </a:lnTo>
                    <a:lnTo>
                      <a:pt x="1602" y="234"/>
                    </a:lnTo>
                    <a:lnTo>
                      <a:pt x="1604" y="230"/>
                    </a:lnTo>
                    <a:lnTo>
                      <a:pt x="1608" y="222"/>
                    </a:lnTo>
                    <a:lnTo>
                      <a:pt x="1608" y="214"/>
                    </a:lnTo>
                    <a:lnTo>
                      <a:pt x="1608" y="206"/>
                    </a:lnTo>
                    <a:lnTo>
                      <a:pt x="1604" y="196"/>
                    </a:lnTo>
                    <a:lnTo>
                      <a:pt x="1596" y="190"/>
                    </a:lnTo>
                    <a:lnTo>
                      <a:pt x="1582" y="178"/>
                    </a:lnTo>
                    <a:lnTo>
                      <a:pt x="1574" y="168"/>
                    </a:lnTo>
                    <a:lnTo>
                      <a:pt x="1566" y="160"/>
                    </a:lnTo>
                    <a:lnTo>
                      <a:pt x="1556" y="154"/>
                    </a:lnTo>
                    <a:lnTo>
                      <a:pt x="1538" y="142"/>
                    </a:lnTo>
                    <a:lnTo>
                      <a:pt x="1526" y="132"/>
                    </a:lnTo>
                    <a:lnTo>
                      <a:pt x="1518" y="126"/>
                    </a:lnTo>
                    <a:lnTo>
                      <a:pt x="1516" y="126"/>
                    </a:lnTo>
                    <a:lnTo>
                      <a:pt x="1514" y="128"/>
                    </a:lnTo>
                    <a:lnTo>
                      <a:pt x="1510" y="132"/>
                    </a:lnTo>
                    <a:lnTo>
                      <a:pt x="1508" y="134"/>
                    </a:lnTo>
                    <a:lnTo>
                      <a:pt x="1510" y="136"/>
                    </a:lnTo>
                    <a:lnTo>
                      <a:pt x="1516" y="138"/>
                    </a:lnTo>
                    <a:lnTo>
                      <a:pt x="1530" y="144"/>
                    </a:lnTo>
                    <a:lnTo>
                      <a:pt x="1538" y="150"/>
                    </a:lnTo>
                    <a:lnTo>
                      <a:pt x="1546" y="156"/>
                    </a:lnTo>
                    <a:close/>
                    <a:moveTo>
                      <a:pt x="1500" y="128"/>
                    </a:moveTo>
                    <a:lnTo>
                      <a:pt x="1500" y="128"/>
                    </a:lnTo>
                    <a:lnTo>
                      <a:pt x="1502" y="126"/>
                    </a:lnTo>
                    <a:lnTo>
                      <a:pt x="1502" y="122"/>
                    </a:lnTo>
                    <a:lnTo>
                      <a:pt x="1496" y="116"/>
                    </a:lnTo>
                    <a:lnTo>
                      <a:pt x="1492" y="114"/>
                    </a:lnTo>
                    <a:lnTo>
                      <a:pt x="1490" y="114"/>
                    </a:lnTo>
                    <a:lnTo>
                      <a:pt x="1486" y="114"/>
                    </a:lnTo>
                    <a:lnTo>
                      <a:pt x="1484" y="118"/>
                    </a:lnTo>
                    <a:lnTo>
                      <a:pt x="1484" y="120"/>
                    </a:lnTo>
                    <a:lnTo>
                      <a:pt x="1484" y="124"/>
                    </a:lnTo>
                    <a:lnTo>
                      <a:pt x="1488" y="128"/>
                    </a:lnTo>
                    <a:lnTo>
                      <a:pt x="1494" y="130"/>
                    </a:lnTo>
                    <a:lnTo>
                      <a:pt x="1498" y="130"/>
                    </a:lnTo>
                    <a:lnTo>
                      <a:pt x="1500" y="128"/>
                    </a:lnTo>
                    <a:close/>
                    <a:moveTo>
                      <a:pt x="726" y="46"/>
                    </a:moveTo>
                    <a:lnTo>
                      <a:pt x="726" y="46"/>
                    </a:lnTo>
                    <a:lnTo>
                      <a:pt x="726" y="50"/>
                    </a:lnTo>
                    <a:lnTo>
                      <a:pt x="724" y="54"/>
                    </a:lnTo>
                    <a:lnTo>
                      <a:pt x="716" y="62"/>
                    </a:lnTo>
                    <a:lnTo>
                      <a:pt x="714" y="66"/>
                    </a:lnTo>
                    <a:lnTo>
                      <a:pt x="716" y="70"/>
                    </a:lnTo>
                    <a:lnTo>
                      <a:pt x="718" y="72"/>
                    </a:lnTo>
                    <a:lnTo>
                      <a:pt x="726" y="72"/>
                    </a:lnTo>
                    <a:lnTo>
                      <a:pt x="738" y="72"/>
                    </a:lnTo>
                    <a:lnTo>
                      <a:pt x="742" y="74"/>
                    </a:lnTo>
                    <a:lnTo>
                      <a:pt x="746" y="78"/>
                    </a:lnTo>
                    <a:lnTo>
                      <a:pt x="752" y="88"/>
                    </a:lnTo>
                    <a:lnTo>
                      <a:pt x="758" y="104"/>
                    </a:lnTo>
                    <a:lnTo>
                      <a:pt x="762" y="106"/>
                    </a:lnTo>
                    <a:lnTo>
                      <a:pt x="764" y="108"/>
                    </a:lnTo>
                    <a:lnTo>
                      <a:pt x="774" y="110"/>
                    </a:lnTo>
                    <a:lnTo>
                      <a:pt x="786" y="110"/>
                    </a:lnTo>
                    <a:lnTo>
                      <a:pt x="798" y="110"/>
                    </a:lnTo>
                    <a:lnTo>
                      <a:pt x="810" y="108"/>
                    </a:lnTo>
                    <a:lnTo>
                      <a:pt x="820" y="108"/>
                    </a:lnTo>
                    <a:lnTo>
                      <a:pt x="828" y="110"/>
                    </a:lnTo>
                    <a:lnTo>
                      <a:pt x="830" y="112"/>
                    </a:lnTo>
                    <a:lnTo>
                      <a:pt x="830" y="114"/>
                    </a:lnTo>
                    <a:lnTo>
                      <a:pt x="830" y="120"/>
                    </a:lnTo>
                    <a:lnTo>
                      <a:pt x="826" y="122"/>
                    </a:lnTo>
                    <a:lnTo>
                      <a:pt x="822" y="122"/>
                    </a:lnTo>
                    <a:lnTo>
                      <a:pt x="816" y="120"/>
                    </a:lnTo>
                    <a:lnTo>
                      <a:pt x="808" y="120"/>
                    </a:lnTo>
                    <a:lnTo>
                      <a:pt x="802" y="118"/>
                    </a:lnTo>
                    <a:lnTo>
                      <a:pt x="798" y="120"/>
                    </a:lnTo>
                    <a:lnTo>
                      <a:pt x="794" y="124"/>
                    </a:lnTo>
                    <a:lnTo>
                      <a:pt x="790" y="130"/>
                    </a:lnTo>
                    <a:lnTo>
                      <a:pt x="784" y="134"/>
                    </a:lnTo>
                    <a:lnTo>
                      <a:pt x="778" y="134"/>
                    </a:lnTo>
                    <a:lnTo>
                      <a:pt x="772" y="132"/>
                    </a:lnTo>
                    <a:lnTo>
                      <a:pt x="766" y="130"/>
                    </a:lnTo>
                    <a:lnTo>
                      <a:pt x="760" y="130"/>
                    </a:lnTo>
                    <a:lnTo>
                      <a:pt x="756" y="132"/>
                    </a:lnTo>
                    <a:lnTo>
                      <a:pt x="756" y="138"/>
                    </a:lnTo>
                    <a:lnTo>
                      <a:pt x="756" y="142"/>
                    </a:lnTo>
                    <a:lnTo>
                      <a:pt x="760" y="144"/>
                    </a:lnTo>
                    <a:lnTo>
                      <a:pt x="768" y="146"/>
                    </a:lnTo>
                    <a:lnTo>
                      <a:pt x="780" y="156"/>
                    </a:lnTo>
                    <a:lnTo>
                      <a:pt x="786" y="164"/>
                    </a:lnTo>
                    <a:lnTo>
                      <a:pt x="790" y="170"/>
                    </a:lnTo>
                    <a:lnTo>
                      <a:pt x="790" y="174"/>
                    </a:lnTo>
                    <a:lnTo>
                      <a:pt x="788" y="176"/>
                    </a:lnTo>
                    <a:lnTo>
                      <a:pt x="784" y="180"/>
                    </a:lnTo>
                    <a:lnTo>
                      <a:pt x="784" y="184"/>
                    </a:lnTo>
                    <a:lnTo>
                      <a:pt x="784" y="188"/>
                    </a:lnTo>
                    <a:lnTo>
                      <a:pt x="788" y="194"/>
                    </a:lnTo>
                    <a:lnTo>
                      <a:pt x="792" y="196"/>
                    </a:lnTo>
                    <a:lnTo>
                      <a:pt x="796" y="198"/>
                    </a:lnTo>
                    <a:lnTo>
                      <a:pt x="802" y="198"/>
                    </a:lnTo>
                    <a:lnTo>
                      <a:pt x="806" y="196"/>
                    </a:lnTo>
                    <a:lnTo>
                      <a:pt x="810" y="192"/>
                    </a:lnTo>
                    <a:lnTo>
                      <a:pt x="814" y="186"/>
                    </a:lnTo>
                    <a:lnTo>
                      <a:pt x="816" y="178"/>
                    </a:lnTo>
                    <a:lnTo>
                      <a:pt x="822" y="158"/>
                    </a:lnTo>
                    <a:lnTo>
                      <a:pt x="826" y="150"/>
                    </a:lnTo>
                    <a:lnTo>
                      <a:pt x="828" y="150"/>
                    </a:lnTo>
                    <a:lnTo>
                      <a:pt x="828" y="154"/>
                    </a:lnTo>
                    <a:lnTo>
                      <a:pt x="824" y="168"/>
                    </a:lnTo>
                    <a:lnTo>
                      <a:pt x="824" y="174"/>
                    </a:lnTo>
                    <a:lnTo>
                      <a:pt x="824" y="178"/>
                    </a:lnTo>
                    <a:lnTo>
                      <a:pt x="828" y="180"/>
                    </a:lnTo>
                    <a:lnTo>
                      <a:pt x="832" y="184"/>
                    </a:lnTo>
                    <a:lnTo>
                      <a:pt x="844" y="188"/>
                    </a:lnTo>
                    <a:lnTo>
                      <a:pt x="852" y="192"/>
                    </a:lnTo>
                    <a:lnTo>
                      <a:pt x="860" y="198"/>
                    </a:lnTo>
                    <a:lnTo>
                      <a:pt x="870" y="206"/>
                    </a:lnTo>
                    <a:lnTo>
                      <a:pt x="878" y="212"/>
                    </a:lnTo>
                    <a:lnTo>
                      <a:pt x="886" y="214"/>
                    </a:lnTo>
                    <a:lnTo>
                      <a:pt x="892" y="216"/>
                    </a:lnTo>
                    <a:lnTo>
                      <a:pt x="906" y="218"/>
                    </a:lnTo>
                    <a:lnTo>
                      <a:pt x="916" y="220"/>
                    </a:lnTo>
                    <a:lnTo>
                      <a:pt x="926" y="226"/>
                    </a:lnTo>
                    <a:lnTo>
                      <a:pt x="940" y="232"/>
                    </a:lnTo>
                    <a:lnTo>
                      <a:pt x="954" y="238"/>
                    </a:lnTo>
                    <a:lnTo>
                      <a:pt x="966" y="242"/>
                    </a:lnTo>
                    <a:lnTo>
                      <a:pt x="980" y="252"/>
                    </a:lnTo>
                    <a:lnTo>
                      <a:pt x="988" y="258"/>
                    </a:lnTo>
                    <a:lnTo>
                      <a:pt x="994" y="266"/>
                    </a:lnTo>
                    <a:lnTo>
                      <a:pt x="1004" y="284"/>
                    </a:lnTo>
                    <a:lnTo>
                      <a:pt x="1014" y="302"/>
                    </a:lnTo>
                    <a:lnTo>
                      <a:pt x="1024" y="318"/>
                    </a:lnTo>
                    <a:lnTo>
                      <a:pt x="1028" y="324"/>
                    </a:lnTo>
                    <a:lnTo>
                      <a:pt x="1030" y="328"/>
                    </a:lnTo>
                    <a:lnTo>
                      <a:pt x="1028" y="330"/>
                    </a:lnTo>
                    <a:lnTo>
                      <a:pt x="1026" y="332"/>
                    </a:lnTo>
                    <a:lnTo>
                      <a:pt x="1022" y="336"/>
                    </a:lnTo>
                    <a:lnTo>
                      <a:pt x="1020" y="338"/>
                    </a:lnTo>
                    <a:lnTo>
                      <a:pt x="1020" y="344"/>
                    </a:lnTo>
                    <a:lnTo>
                      <a:pt x="1024" y="350"/>
                    </a:lnTo>
                    <a:lnTo>
                      <a:pt x="1028" y="354"/>
                    </a:lnTo>
                    <a:lnTo>
                      <a:pt x="1036" y="360"/>
                    </a:lnTo>
                    <a:lnTo>
                      <a:pt x="1040" y="364"/>
                    </a:lnTo>
                    <a:lnTo>
                      <a:pt x="1044" y="368"/>
                    </a:lnTo>
                    <a:lnTo>
                      <a:pt x="1044" y="372"/>
                    </a:lnTo>
                    <a:lnTo>
                      <a:pt x="1040" y="380"/>
                    </a:lnTo>
                    <a:lnTo>
                      <a:pt x="1036" y="394"/>
                    </a:lnTo>
                    <a:lnTo>
                      <a:pt x="1036" y="396"/>
                    </a:lnTo>
                    <a:lnTo>
                      <a:pt x="1038" y="398"/>
                    </a:lnTo>
                    <a:lnTo>
                      <a:pt x="1044" y="396"/>
                    </a:lnTo>
                    <a:lnTo>
                      <a:pt x="1046" y="396"/>
                    </a:lnTo>
                    <a:lnTo>
                      <a:pt x="1050" y="396"/>
                    </a:lnTo>
                    <a:lnTo>
                      <a:pt x="1052" y="398"/>
                    </a:lnTo>
                    <a:lnTo>
                      <a:pt x="1054" y="398"/>
                    </a:lnTo>
                    <a:lnTo>
                      <a:pt x="1060" y="398"/>
                    </a:lnTo>
                    <a:lnTo>
                      <a:pt x="1068" y="398"/>
                    </a:lnTo>
                    <a:lnTo>
                      <a:pt x="1074" y="400"/>
                    </a:lnTo>
                    <a:lnTo>
                      <a:pt x="1080" y="404"/>
                    </a:lnTo>
                    <a:lnTo>
                      <a:pt x="1078" y="116"/>
                    </a:lnTo>
                    <a:lnTo>
                      <a:pt x="1070" y="114"/>
                    </a:lnTo>
                    <a:lnTo>
                      <a:pt x="1060" y="110"/>
                    </a:lnTo>
                    <a:lnTo>
                      <a:pt x="1038" y="100"/>
                    </a:lnTo>
                    <a:lnTo>
                      <a:pt x="1002" y="76"/>
                    </a:lnTo>
                    <a:lnTo>
                      <a:pt x="996" y="72"/>
                    </a:lnTo>
                    <a:lnTo>
                      <a:pt x="988" y="72"/>
                    </a:lnTo>
                    <a:lnTo>
                      <a:pt x="982" y="74"/>
                    </a:lnTo>
                    <a:lnTo>
                      <a:pt x="976" y="76"/>
                    </a:lnTo>
                    <a:lnTo>
                      <a:pt x="970" y="80"/>
                    </a:lnTo>
                    <a:lnTo>
                      <a:pt x="966" y="84"/>
                    </a:lnTo>
                    <a:lnTo>
                      <a:pt x="964" y="88"/>
                    </a:lnTo>
                    <a:lnTo>
                      <a:pt x="964" y="92"/>
                    </a:lnTo>
                    <a:lnTo>
                      <a:pt x="966" y="96"/>
                    </a:lnTo>
                    <a:lnTo>
                      <a:pt x="964" y="100"/>
                    </a:lnTo>
                    <a:lnTo>
                      <a:pt x="956" y="106"/>
                    </a:lnTo>
                    <a:lnTo>
                      <a:pt x="946" y="110"/>
                    </a:lnTo>
                    <a:lnTo>
                      <a:pt x="942" y="110"/>
                    </a:lnTo>
                    <a:lnTo>
                      <a:pt x="938" y="108"/>
                    </a:lnTo>
                    <a:lnTo>
                      <a:pt x="936" y="108"/>
                    </a:lnTo>
                    <a:lnTo>
                      <a:pt x="934" y="110"/>
                    </a:lnTo>
                    <a:lnTo>
                      <a:pt x="928" y="116"/>
                    </a:lnTo>
                    <a:lnTo>
                      <a:pt x="914" y="138"/>
                    </a:lnTo>
                    <a:lnTo>
                      <a:pt x="906" y="148"/>
                    </a:lnTo>
                    <a:lnTo>
                      <a:pt x="898" y="158"/>
                    </a:lnTo>
                    <a:lnTo>
                      <a:pt x="890" y="164"/>
                    </a:lnTo>
                    <a:lnTo>
                      <a:pt x="886" y="164"/>
                    </a:lnTo>
                    <a:lnTo>
                      <a:pt x="882" y="164"/>
                    </a:lnTo>
                    <a:lnTo>
                      <a:pt x="876" y="160"/>
                    </a:lnTo>
                    <a:lnTo>
                      <a:pt x="872" y="156"/>
                    </a:lnTo>
                    <a:lnTo>
                      <a:pt x="870" y="150"/>
                    </a:lnTo>
                    <a:lnTo>
                      <a:pt x="868" y="144"/>
                    </a:lnTo>
                    <a:lnTo>
                      <a:pt x="864" y="132"/>
                    </a:lnTo>
                    <a:lnTo>
                      <a:pt x="862" y="126"/>
                    </a:lnTo>
                    <a:lnTo>
                      <a:pt x="860" y="120"/>
                    </a:lnTo>
                    <a:lnTo>
                      <a:pt x="856" y="118"/>
                    </a:lnTo>
                    <a:lnTo>
                      <a:pt x="854" y="118"/>
                    </a:lnTo>
                    <a:lnTo>
                      <a:pt x="852" y="124"/>
                    </a:lnTo>
                    <a:lnTo>
                      <a:pt x="852" y="126"/>
                    </a:lnTo>
                    <a:lnTo>
                      <a:pt x="846" y="114"/>
                    </a:lnTo>
                    <a:lnTo>
                      <a:pt x="842" y="102"/>
                    </a:lnTo>
                    <a:lnTo>
                      <a:pt x="842" y="94"/>
                    </a:lnTo>
                    <a:lnTo>
                      <a:pt x="842" y="86"/>
                    </a:lnTo>
                    <a:lnTo>
                      <a:pt x="844" y="80"/>
                    </a:lnTo>
                    <a:lnTo>
                      <a:pt x="846" y="66"/>
                    </a:lnTo>
                    <a:lnTo>
                      <a:pt x="846" y="58"/>
                    </a:lnTo>
                    <a:lnTo>
                      <a:pt x="844" y="48"/>
                    </a:lnTo>
                    <a:lnTo>
                      <a:pt x="840" y="40"/>
                    </a:lnTo>
                    <a:lnTo>
                      <a:pt x="838" y="36"/>
                    </a:lnTo>
                    <a:lnTo>
                      <a:pt x="834" y="36"/>
                    </a:lnTo>
                    <a:lnTo>
                      <a:pt x="830" y="36"/>
                    </a:lnTo>
                    <a:lnTo>
                      <a:pt x="826" y="36"/>
                    </a:lnTo>
                    <a:lnTo>
                      <a:pt x="818" y="36"/>
                    </a:lnTo>
                    <a:lnTo>
                      <a:pt x="810" y="32"/>
                    </a:lnTo>
                    <a:lnTo>
                      <a:pt x="798" y="26"/>
                    </a:lnTo>
                    <a:lnTo>
                      <a:pt x="786" y="18"/>
                    </a:lnTo>
                    <a:lnTo>
                      <a:pt x="776" y="16"/>
                    </a:lnTo>
                    <a:lnTo>
                      <a:pt x="770" y="16"/>
                    </a:lnTo>
                    <a:lnTo>
                      <a:pt x="764" y="20"/>
                    </a:lnTo>
                    <a:lnTo>
                      <a:pt x="756" y="28"/>
                    </a:lnTo>
                    <a:lnTo>
                      <a:pt x="752" y="32"/>
                    </a:lnTo>
                    <a:lnTo>
                      <a:pt x="748" y="34"/>
                    </a:lnTo>
                    <a:lnTo>
                      <a:pt x="740" y="36"/>
                    </a:lnTo>
                    <a:lnTo>
                      <a:pt x="732" y="38"/>
                    </a:lnTo>
                    <a:lnTo>
                      <a:pt x="728" y="40"/>
                    </a:lnTo>
                    <a:lnTo>
                      <a:pt x="726" y="42"/>
                    </a:lnTo>
                    <a:lnTo>
                      <a:pt x="726" y="46"/>
                    </a:lnTo>
                    <a:close/>
                    <a:moveTo>
                      <a:pt x="1600" y="438"/>
                    </a:moveTo>
                    <a:lnTo>
                      <a:pt x="1600" y="438"/>
                    </a:lnTo>
                    <a:lnTo>
                      <a:pt x="1594" y="436"/>
                    </a:lnTo>
                    <a:lnTo>
                      <a:pt x="1588" y="434"/>
                    </a:lnTo>
                    <a:lnTo>
                      <a:pt x="1586" y="436"/>
                    </a:lnTo>
                    <a:lnTo>
                      <a:pt x="1588" y="438"/>
                    </a:lnTo>
                    <a:lnTo>
                      <a:pt x="1590" y="442"/>
                    </a:lnTo>
                    <a:lnTo>
                      <a:pt x="1590" y="444"/>
                    </a:lnTo>
                    <a:lnTo>
                      <a:pt x="1592" y="446"/>
                    </a:lnTo>
                    <a:lnTo>
                      <a:pt x="1596" y="448"/>
                    </a:lnTo>
                    <a:lnTo>
                      <a:pt x="1600" y="448"/>
                    </a:lnTo>
                    <a:lnTo>
                      <a:pt x="1604" y="446"/>
                    </a:lnTo>
                    <a:lnTo>
                      <a:pt x="1604" y="444"/>
                    </a:lnTo>
                    <a:lnTo>
                      <a:pt x="1600" y="438"/>
                    </a:lnTo>
                    <a:close/>
                    <a:moveTo>
                      <a:pt x="1606" y="1248"/>
                    </a:moveTo>
                    <a:lnTo>
                      <a:pt x="1606" y="1248"/>
                    </a:lnTo>
                    <a:lnTo>
                      <a:pt x="1606" y="1252"/>
                    </a:lnTo>
                    <a:lnTo>
                      <a:pt x="1604" y="1260"/>
                    </a:lnTo>
                    <a:lnTo>
                      <a:pt x="1604" y="1268"/>
                    </a:lnTo>
                    <a:lnTo>
                      <a:pt x="1604" y="1272"/>
                    </a:lnTo>
                    <a:lnTo>
                      <a:pt x="1606" y="1274"/>
                    </a:lnTo>
                    <a:lnTo>
                      <a:pt x="1608" y="1274"/>
                    </a:lnTo>
                    <a:lnTo>
                      <a:pt x="1610" y="1270"/>
                    </a:lnTo>
                    <a:lnTo>
                      <a:pt x="1610" y="1260"/>
                    </a:lnTo>
                    <a:lnTo>
                      <a:pt x="1614" y="1250"/>
                    </a:lnTo>
                    <a:lnTo>
                      <a:pt x="1620" y="1240"/>
                    </a:lnTo>
                    <a:lnTo>
                      <a:pt x="1620" y="1236"/>
                    </a:lnTo>
                    <a:lnTo>
                      <a:pt x="1618" y="1232"/>
                    </a:lnTo>
                    <a:lnTo>
                      <a:pt x="1618" y="1228"/>
                    </a:lnTo>
                    <a:lnTo>
                      <a:pt x="1616" y="1224"/>
                    </a:lnTo>
                    <a:lnTo>
                      <a:pt x="1616" y="1220"/>
                    </a:lnTo>
                    <a:lnTo>
                      <a:pt x="1614" y="1220"/>
                    </a:lnTo>
                    <a:lnTo>
                      <a:pt x="1612" y="1224"/>
                    </a:lnTo>
                    <a:lnTo>
                      <a:pt x="1612" y="1230"/>
                    </a:lnTo>
                    <a:lnTo>
                      <a:pt x="1612" y="1234"/>
                    </a:lnTo>
                    <a:lnTo>
                      <a:pt x="1612" y="1236"/>
                    </a:lnTo>
                    <a:lnTo>
                      <a:pt x="1608" y="1240"/>
                    </a:lnTo>
                    <a:lnTo>
                      <a:pt x="1606" y="1244"/>
                    </a:lnTo>
                    <a:lnTo>
                      <a:pt x="1604" y="1246"/>
                    </a:lnTo>
                    <a:lnTo>
                      <a:pt x="1606" y="124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b="1" dirty="0"/>
              </a:p>
            </p:txBody>
          </p:sp>
          <p:sp>
            <p:nvSpPr>
              <p:cNvPr id="1712" name="Freeform 6153">
                <a:extLst>
                  <a:ext uri="{FF2B5EF4-FFF2-40B4-BE49-F238E27FC236}">
                    <a16:creationId xmlns:a16="http://schemas.microsoft.com/office/drawing/2014/main" id="{069CB45B-CB35-4A63-9D30-0F430B8964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90913" y="2755900"/>
                <a:ext cx="1762125" cy="2303463"/>
              </a:xfrm>
              <a:custGeom>
                <a:avLst/>
                <a:gdLst>
                  <a:gd name="T0" fmla="*/ 1666909 w 2776"/>
                  <a:gd name="T1" fmla="*/ 1643154 h 3628"/>
                  <a:gd name="T2" fmla="*/ 1572963 w 2776"/>
                  <a:gd name="T3" fmla="*/ 1734581 h 3628"/>
                  <a:gd name="T4" fmla="*/ 1567885 w 2776"/>
                  <a:gd name="T5" fmla="*/ 1859024 h 3628"/>
                  <a:gd name="T6" fmla="*/ 1595815 w 2776"/>
                  <a:gd name="T7" fmla="*/ 1991086 h 3628"/>
                  <a:gd name="T8" fmla="*/ 1712613 w 2776"/>
                  <a:gd name="T9" fmla="*/ 1728232 h 3628"/>
                  <a:gd name="T10" fmla="*/ 1736734 w 2776"/>
                  <a:gd name="T11" fmla="*/ 1666011 h 3628"/>
                  <a:gd name="T12" fmla="*/ 1698648 w 2776"/>
                  <a:gd name="T13" fmla="*/ 844434 h 3628"/>
                  <a:gd name="T14" fmla="*/ 1576772 w 2776"/>
                  <a:gd name="T15" fmla="*/ 868560 h 3628"/>
                  <a:gd name="T16" fmla="*/ 1533607 w 2776"/>
                  <a:gd name="T17" fmla="*/ 784752 h 3628"/>
                  <a:gd name="T18" fmla="*/ 1484095 w 2776"/>
                  <a:gd name="T19" fmla="*/ 730150 h 3628"/>
                  <a:gd name="T20" fmla="*/ 1434583 w 2776"/>
                  <a:gd name="T21" fmla="*/ 633643 h 3628"/>
                  <a:gd name="T22" fmla="*/ 1401575 w 2776"/>
                  <a:gd name="T23" fmla="*/ 539676 h 3628"/>
                  <a:gd name="T24" fmla="*/ 1353332 w 2776"/>
                  <a:gd name="T25" fmla="*/ 454597 h 3628"/>
                  <a:gd name="T26" fmla="*/ 1301281 w 2776"/>
                  <a:gd name="T27" fmla="*/ 313647 h 3628"/>
                  <a:gd name="T28" fmla="*/ 1263195 w 2776"/>
                  <a:gd name="T29" fmla="*/ 199363 h 3628"/>
                  <a:gd name="T30" fmla="*/ 1197179 w 2776"/>
                  <a:gd name="T31" fmla="*/ 219680 h 3628"/>
                  <a:gd name="T32" fmla="*/ 1090537 w 2776"/>
                  <a:gd name="T33" fmla="*/ 195553 h 3628"/>
                  <a:gd name="T34" fmla="*/ 983895 w 2776"/>
                  <a:gd name="T35" fmla="*/ 156189 h 3628"/>
                  <a:gd name="T36" fmla="*/ 873445 w 2776"/>
                  <a:gd name="T37" fmla="*/ 208251 h 3628"/>
                  <a:gd name="T38" fmla="*/ 743952 w 2776"/>
                  <a:gd name="T39" fmla="*/ 142220 h 3628"/>
                  <a:gd name="T40" fmla="*/ 731256 w 2776"/>
                  <a:gd name="T41" fmla="*/ 69840 h 3628"/>
                  <a:gd name="T42" fmla="*/ 712213 w 2776"/>
                  <a:gd name="T43" fmla="*/ 20317 h 3628"/>
                  <a:gd name="T44" fmla="*/ 633502 w 2776"/>
                  <a:gd name="T45" fmla="*/ 8889 h 3628"/>
                  <a:gd name="T46" fmla="*/ 534477 w 2776"/>
                  <a:gd name="T47" fmla="*/ 17778 h 3628"/>
                  <a:gd name="T48" fmla="*/ 424027 w 2776"/>
                  <a:gd name="T49" fmla="*/ 54602 h 3628"/>
                  <a:gd name="T50" fmla="*/ 344046 w 2776"/>
                  <a:gd name="T51" fmla="*/ 72380 h 3628"/>
                  <a:gd name="T52" fmla="*/ 210744 w 2776"/>
                  <a:gd name="T53" fmla="*/ 162538 h 3628"/>
                  <a:gd name="T54" fmla="*/ 124415 w 2776"/>
                  <a:gd name="T55" fmla="*/ 312377 h 3628"/>
                  <a:gd name="T56" fmla="*/ 38086 w 2776"/>
                  <a:gd name="T57" fmla="*/ 453328 h 3628"/>
                  <a:gd name="T58" fmla="*/ 15235 w 2776"/>
                  <a:gd name="T59" fmla="*/ 537136 h 3628"/>
                  <a:gd name="T60" fmla="*/ 38086 w 2776"/>
                  <a:gd name="T61" fmla="*/ 626024 h 3628"/>
                  <a:gd name="T62" fmla="*/ 25391 w 2776"/>
                  <a:gd name="T63" fmla="*/ 775863 h 3628"/>
                  <a:gd name="T64" fmla="*/ 34278 w 2776"/>
                  <a:gd name="T65" fmla="*/ 802530 h 3628"/>
                  <a:gd name="T66" fmla="*/ 34278 w 2776"/>
                  <a:gd name="T67" fmla="*/ 825386 h 3628"/>
                  <a:gd name="T68" fmla="*/ 54590 w 2776"/>
                  <a:gd name="T69" fmla="*/ 848243 h 3628"/>
                  <a:gd name="T70" fmla="*/ 71094 w 2776"/>
                  <a:gd name="T71" fmla="*/ 863481 h 3628"/>
                  <a:gd name="T72" fmla="*/ 106642 w 2776"/>
                  <a:gd name="T73" fmla="*/ 909195 h 3628"/>
                  <a:gd name="T74" fmla="*/ 115528 w 2776"/>
                  <a:gd name="T75" fmla="*/ 940941 h 3628"/>
                  <a:gd name="T76" fmla="*/ 171388 w 2776"/>
                  <a:gd name="T77" fmla="*/ 996813 h 3628"/>
                  <a:gd name="T78" fmla="*/ 319925 w 2776"/>
                  <a:gd name="T79" fmla="*/ 1036177 h 3628"/>
                  <a:gd name="T80" fmla="*/ 411332 w 2776"/>
                  <a:gd name="T81" fmla="*/ 1038717 h 3628"/>
                  <a:gd name="T82" fmla="*/ 535747 w 2776"/>
                  <a:gd name="T83" fmla="*/ 993003 h 3628"/>
                  <a:gd name="T84" fmla="*/ 632232 w 2776"/>
                  <a:gd name="T85" fmla="*/ 1052685 h 3628"/>
                  <a:gd name="T86" fmla="*/ 690631 w 2776"/>
                  <a:gd name="T87" fmla="*/ 1069193 h 3628"/>
                  <a:gd name="T88" fmla="*/ 686822 w 2776"/>
                  <a:gd name="T89" fmla="*/ 1158081 h 3628"/>
                  <a:gd name="T90" fmla="*/ 700787 w 2776"/>
                  <a:gd name="T91" fmla="*/ 1193636 h 3628"/>
                  <a:gd name="T92" fmla="*/ 690631 w 2776"/>
                  <a:gd name="T93" fmla="*/ 1262206 h 3628"/>
                  <a:gd name="T94" fmla="*/ 766804 w 2776"/>
                  <a:gd name="T95" fmla="*/ 1376491 h 3628"/>
                  <a:gd name="T96" fmla="*/ 797273 w 2776"/>
                  <a:gd name="T97" fmla="*/ 1521251 h 3628"/>
                  <a:gd name="T98" fmla="*/ 746491 w 2776"/>
                  <a:gd name="T99" fmla="*/ 1737121 h 3628"/>
                  <a:gd name="T100" fmla="*/ 846785 w 2776"/>
                  <a:gd name="T101" fmla="*/ 2073625 h 3628"/>
                  <a:gd name="T102" fmla="*/ 903914 w 2776"/>
                  <a:gd name="T103" fmla="*/ 2242511 h 3628"/>
                  <a:gd name="T104" fmla="*/ 934383 w 2776"/>
                  <a:gd name="T105" fmla="*/ 2289495 h 3628"/>
                  <a:gd name="T106" fmla="*/ 1009286 w 2776"/>
                  <a:gd name="T107" fmla="*/ 2284416 h 3628"/>
                  <a:gd name="T108" fmla="*/ 1104502 w 2776"/>
                  <a:gd name="T109" fmla="*/ 2269178 h 3628"/>
                  <a:gd name="T110" fmla="*/ 1280968 w 2776"/>
                  <a:gd name="T111" fmla="*/ 2079974 h 3628"/>
                  <a:gd name="T112" fmla="*/ 1354602 w 2776"/>
                  <a:gd name="T113" fmla="*/ 1940293 h 3628"/>
                  <a:gd name="T114" fmla="*/ 1338098 w 2776"/>
                  <a:gd name="T115" fmla="*/ 1812041 h 3628"/>
                  <a:gd name="T116" fmla="*/ 1482826 w 2776"/>
                  <a:gd name="T117" fmla="*/ 1673630 h 3628"/>
                  <a:gd name="T118" fmla="*/ 1475208 w 2776"/>
                  <a:gd name="T119" fmla="*/ 1513632 h 3628"/>
                  <a:gd name="T120" fmla="*/ 1448548 w 2776"/>
                  <a:gd name="T121" fmla="*/ 1400617 h 3628"/>
                  <a:gd name="T122" fmla="*/ 1491712 w 2776"/>
                  <a:gd name="T123" fmla="*/ 1268555 h 3628"/>
                  <a:gd name="T124" fmla="*/ 1679605 w 2776"/>
                  <a:gd name="T125" fmla="*/ 1045066 h 362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2776"/>
                  <a:gd name="T190" fmla="*/ 0 h 3628"/>
                  <a:gd name="T191" fmla="*/ 2776 w 2776"/>
                  <a:gd name="T192" fmla="*/ 3628 h 362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2776" h="3628">
                    <a:moveTo>
                      <a:pt x="2710" y="2504"/>
                    </a:moveTo>
                    <a:lnTo>
                      <a:pt x="2710" y="2504"/>
                    </a:lnTo>
                    <a:lnTo>
                      <a:pt x="2706" y="2498"/>
                    </a:lnTo>
                    <a:lnTo>
                      <a:pt x="2702" y="2492"/>
                    </a:lnTo>
                    <a:lnTo>
                      <a:pt x="2698" y="2476"/>
                    </a:lnTo>
                    <a:lnTo>
                      <a:pt x="2696" y="2470"/>
                    </a:lnTo>
                    <a:lnTo>
                      <a:pt x="2692" y="2466"/>
                    </a:lnTo>
                    <a:lnTo>
                      <a:pt x="2690" y="2468"/>
                    </a:lnTo>
                    <a:lnTo>
                      <a:pt x="2684" y="2472"/>
                    </a:lnTo>
                    <a:lnTo>
                      <a:pt x="2680" y="2480"/>
                    </a:lnTo>
                    <a:lnTo>
                      <a:pt x="2678" y="2486"/>
                    </a:lnTo>
                    <a:lnTo>
                      <a:pt x="2676" y="2508"/>
                    </a:lnTo>
                    <a:lnTo>
                      <a:pt x="2674" y="2518"/>
                    </a:lnTo>
                    <a:lnTo>
                      <a:pt x="2672" y="2526"/>
                    </a:lnTo>
                    <a:lnTo>
                      <a:pt x="2668" y="2532"/>
                    </a:lnTo>
                    <a:lnTo>
                      <a:pt x="2664" y="2536"/>
                    </a:lnTo>
                    <a:lnTo>
                      <a:pt x="2656" y="2542"/>
                    </a:lnTo>
                    <a:lnTo>
                      <a:pt x="2648" y="2544"/>
                    </a:lnTo>
                    <a:lnTo>
                      <a:pt x="2634" y="2546"/>
                    </a:lnTo>
                    <a:lnTo>
                      <a:pt x="2632" y="2548"/>
                    </a:lnTo>
                    <a:lnTo>
                      <a:pt x="2632" y="2554"/>
                    </a:lnTo>
                    <a:lnTo>
                      <a:pt x="2638" y="2566"/>
                    </a:lnTo>
                    <a:lnTo>
                      <a:pt x="2636" y="2572"/>
                    </a:lnTo>
                    <a:lnTo>
                      <a:pt x="2636" y="2576"/>
                    </a:lnTo>
                    <a:lnTo>
                      <a:pt x="2626" y="2588"/>
                    </a:lnTo>
                    <a:lnTo>
                      <a:pt x="2606" y="2608"/>
                    </a:lnTo>
                    <a:lnTo>
                      <a:pt x="2596" y="2618"/>
                    </a:lnTo>
                    <a:lnTo>
                      <a:pt x="2588" y="2628"/>
                    </a:lnTo>
                    <a:lnTo>
                      <a:pt x="2578" y="2640"/>
                    </a:lnTo>
                    <a:lnTo>
                      <a:pt x="2572" y="2646"/>
                    </a:lnTo>
                    <a:lnTo>
                      <a:pt x="2564" y="2650"/>
                    </a:lnTo>
                    <a:lnTo>
                      <a:pt x="2554" y="2652"/>
                    </a:lnTo>
                    <a:lnTo>
                      <a:pt x="2538" y="2656"/>
                    </a:lnTo>
                    <a:lnTo>
                      <a:pt x="2530" y="2658"/>
                    </a:lnTo>
                    <a:lnTo>
                      <a:pt x="2526" y="2660"/>
                    </a:lnTo>
                    <a:lnTo>
                      <a:pt x="2522" y="2664"/>
                    </a:lnTo>
                    <a:lnTo>
                      <a:pt x="2520" y="2668"/>
                    </a:lnTo>
                    <a:lnTo>
                      <a:pt x="2516" y="2670"/>
                    </a:lnTo>
                    <a:lnTo>
                      <a:pt x="2512" y="2670"/>
                    </a:lnTo>
                    <a:lnTo>
                      <a:pt x="2506" y="2670"/>
                    </a:lnTo>
                    <a:lnTo>
                      <a:pt x="2500" y="2670"/>
                    </a:lnTo>
                    <a:lnTo>
                      <a:pt x="2496" y="2670"/>
                    </a:lnTo>
                    <a:lnTo>
                      <a:pt x="2496" y="2672"/>
                    </a:lnTo>
                    <a:lnTo>
                      <a:pt x="2496" y="2676"/>
                    </a:lnTo>
                    <a:lnTo>
                      <a:pt x="2494" y="2690"/>
                    </a:lnTo>
                    <a:lnTo>
                      <a:pt x="2492" y="2700"/>
                    </a:lnTo>
                    <a:lnTo>
                      <a:pt x="2486" y="2712"/>
                    </a:lnTo>
                    <a:lnTo>
                      <a:pt x="2480" y="2724"/>
                    </a:lnTo>
                    <a:lnTo>
                      <a:pt x="2478" y="2732"/>
                    </a:lnTo>
                    <a:lnTo>
                      <a:pt x="2478" y="2738"/>
                    </a:lnTo>
                    <a:lnTo>
                      <a:pt x="2478" y="2742"/>
                    </a:lnTo>
                    <a:lnTo>
                      <a:pt x="2482" y="2750"/>
                    </a:lnTo>
                    <a:lnTo>
                      <a:pt x="2482" y="2754"/>
                    </a:lnTo>
                    <a:lnTo>
                      <a:pt x="2482" y="2762"/>
                    </a:lnTo>
                    <a:lnTo>
                      <a:pt x="2480" y="2772"/>
                    </a:lnTo>
                    <a:lnTo>
                      <a:pt x="2480" y="2778"/>
                    </a:lnTo>
                    <a:lnTo>
                      <a:pt x="2484" y="2790"/>
                    </a:lnTo>
                    <a:lnTo>
                      <a:pt x="2488" y="2798"/>
                    </a:lnTo>
                    <a:lnTo>
                      <a:pt x="2488" y="2802"/>
                    </a:lnTo>
                    <a:lnTo>
                      <a:pt x="2488" y="2806"/>
                    </a:lnTo>
                    <a:lnTo>
                      <a:pt x="2488" y="2814"/>
                    </a:lnTo>
                    <a:lnTo>
                      <a:pt x="2490" y="2820"/>
                    </a:lnTo>
                    <a:lnTo>
                      <a:pt x="2494" y="2832"/>
                    </a:lnTo>
                    <a:lnTo>
                      <a:pt x="2498" y="2848"/>
                    </a:lnTo>
                    <a:lnTo>
                      <a:pt x="2498" y="2860"/>
                    </a:lnTo>
                    <a:lnTo>
                      <a:pt x="2496" y="2868"/>
                    </a:lnTo>
                    <a:lnTo>
                      <a:pt x="2492" y="2876"/>
                    </a:lnTo>
                    <a:lnTo>
                      <a:pt x="2488" y="2884"/>
                    </a:lnTo>
                    <a:lnTo>
                      <a:pt x="2480" y="2900"/>
                    </a:lnTo>
                    <a:lnTo>
                      <a:pt x="2476" y="2908"/>
                    </a:lnTo>
                    <a:lnTo>
                      <a:pt x="2474" y="2916"/>
                    </a:lnTo>
                    <a:lnTo>
                      <a:pt x="2472" y="2924"/>
                    </a:lnTo>
                    <a:lnTo>
                      <a:pt x="2470" y="2928"/>
                    </a:lnTo>
                    <a:lnTo>
                      <a:pt x="2466" y="2928"/>
                    </a:lnTo>
                    <a:lnTo>
                      <a:pt x="2464" y="2928"/>
                    </a:lnTo>
                    <a:lnTo>
                      <a:pt x="2462" y="2930"/>
                    </a:lnTo>
                    <a:lnTo>
                      <a:pt x="2458" y="2934"/>
                    </a:lnTo>
                    <a:lnTo>
                      <a:pt x="2454" y="2942"/>
                    </a:lnTo>
                    <a:lnTo>
                      <a:pt x="2450" y="2954"/>
                    </a:lnTo>
                    <a:lnTo>
                      <a:pt x="2448" y="2968"/>
                    </a:lnTo>
                    <a:lnTo>
                      <a:pt x="2446" y="2980"/>
                    </a:lnTo>
                    <a:lnTo>
                      <a:pt x="2448" y="2990"/>
                    </a:lnTo>
                    <a:lnTo>
                      <a:pt x="2448" y="2998"/>
                    </a:lnTo>
                    <a:lnTo>
                      <a:pt x="2456" y="3012"/>
                    </a:lnTo>
                    <a:lnTo>
                      <a:pt x="2464" y="3026"/>
                    </a:lnTo>
                    <a:lnTo>
                      <a:pt x="2466" y="3034"/>
                    </a:lnTo>
                    <a:lnTo>
                      <a:pt x="2466" y="3040"/>
                    </a:lnTo>
                    <a:lnTo>
                      <a:pt x="2466" y="3054"/>
                    </a:lnTo>
                    <a:lnTo>
                      <a:pt x="2464" y="3062"/>
                    </a:lnTo>
                    <a:lnTo>
                      <a:pt x="2466" y="3072"/>
                    </a:lnTo>
                    <a:lnTo>
                      <a:pt x="2468" y="3084"/>
                    </a:lnTo>
                    <a:lnTo>
                      <a:pt x="2474" y="3100"/>
                    </a:lnTo>
                    <a:lnTo>
                      <a:pt x="2480" y="3114"/>
                    </a:lnTo>
                    <a:lnTo>
                      <a:pt x="2486" y="3122"/>
                    </a:lnTo>
                    <a:lnTo>
                      <a:pt x="2492" y="3126"/>
                    </a:lnTo>
                    <a:lnTo>
                      <a:pt x="2498" y="3130"/>
                    </a:lnTo>
                    <a:lnTo>
                      <a:pt x="2510" y="3134"/>
                    </a:lnTo>
                    <a:lnTo>
                      <a:pt x="2514" y="3136"/>
                    </a:lnTo>
                    <a:lnTo>
                      <a:pt x="2520" y="3142"/>
                    </a:lnTo>
                    <a:lnTo>
                      <a:pt x="2522" y="3144"/>
                    </a:lnTo>
                    <a:lnTo>
                      <a:pt x="2526" y="3146"/>
                    </a:lnTo>
                    <a:lnTo>
                      <a:pt x="2534" y="3146"/>
                    </a:lnTo>
                    <a:lnTo>
                      <a:pt x="2544" y="3144"/>
                    </a:lnTo>
                    <a:lnTo>
                      <a:pt x="2554" y="3140"/>
                    </a:lnTo>
                    <a:lnTo>
                      <a:pt x="2574" y="3128"/>
                    </a:lnTo>
                    <a:lnTo>
                      <a:pt x="2584" y="3124"/>
                    </a:lnTo>
                    <a:lnTo>
                      <a:pt x="2594" y="3122"/>
                    </a:lnTo>
                    <a:lnTo>
                      <a:pt x="2598" y="3120"/>
                    </a:lnTo>
                    <a:lnTo>
                      <a:pt x="2602" y="3116"/>
                    </a:lnTo>
                    <a:lnTo>
                      <a:pt x="2610" y="3096"/>
                    </a:lnTo>
                    <a:lnTo>
                      <a:pt x="2620" y="3068"/>
                    </a:lnTo>
                    <a:lnTo>
                      <a:pt x="2628" y="3034"/>
                    </a:lnTo>
                    <a:lnTo>
                      <a:pt x="2648" y="2952"/>
                    </a:lnTo>
                    <a:lnTo>
                      <a:pt x="2668" y="2870"/>
                    </a:lnTo>
                    <a:lnTo>
                      <a:pt x="2682" y="2822"/>
                    </a:lnTo>
                    <a:lnTo>
                      <a:pt x="2694" y="2792"/>
                    </a:lnTo>
                    <a:lnTo>
                      <a:pt x="2696" y="2780"/>
                    </a:lnTo>
                    <a:lnTo>
                      <a:pt x="2700" y="2768"/>
                    </a:lnTo>
                    <a:lnTo>
                      <a:pt x="2700" y="2756"/>
                    </a:lnTo>
                    <a:lnTo>
                      <a:pt x="2698" y="2742"/>
                    </a:lnTo>
                    <a:lnTo>
                      <a:pt x="2698" y="2730"/>
                    </a:lnTo>
                    <a:lnTo>
                      <a:pt x="2698" y="2722"/>
                    </a:lnTo>
                    <a:lnTo>
                      <a:pt x="2700" y="2718"/>
                    </a:lnTo>
                    <a:lnTo>
                      <a:pt x="2704" y="2714"/>
                    </a:lnTo>
                    <a:lnTo>
                      <a:pt x="2710" y="2710"/>
                    </a:lnTo>
                    <a:lnTo>
                      <a:pt x="2712" y="2706"/>
                    </a:lnTo>
                    <a:lnTo>
                      <a:pt x="2710" y="2700"/>
                    </a:lnTo>
                    <a:lnTo>
                      <a:pt x="2710" y="2690"/>
                    </a:lnTo>
                    <a:lnTo>
                      <a:pt x="2712" y="2684"/>
                    </a:lnTo>
                    <a:lnTo>
                      <a:pt x="2712" y="2674"/>
                    </a:lnTo>
                    <a:lnTo>
                      <a:pt x="2712" y="2670"/>
                    </a:lnTo>
                    <a:lnTo>
                      <a:pt x="2710" y="2662"/>
                    </a:lnTo>
                    <a:lnTo>
                      <a:pt x="2706" y="2654"/>
                    </a:lnTo>
                    <a:lnTo>
                      <a:pt x="2706" y="2648"/>
                    </a:lnTo>
                    <a:lnTo>
                      <a:pt x="2706" y="2642"/>
                    </a:lnTo>
                    <a:lnTo>
                      <a:pt x="2708" y="2638"/>
                    </a:lnTo>
                    <a:lnTo>
                      <a:pt x="2710" y="2636"/>
                    </a:lnTo>
                    <a:lnTo>
                      <a:pt x="2714" y="2640"/>
                    </a:lnTo>
                    <a:lnTo>
                      <a:pt x="2718" y="2646"/>
                    </a:lnTo>
                    <a:lnTo>
                      <a:pt x="2722" y="2658"/>
                    </a:lnTo>
                    <a:lnTo>
                      <a:pt x="2724" y="2662"/>
                    </a:lnTo>
                    <a:lnTo>
                      <a:pt x="2728" y="2662"/>
                    </a:lnTo>
                    <a:lnTo>
                      <a:pt x="2732" y="2658"/>
                    </a:lnTo>
                    <a:lnTo>
                      <a:pt x="2734" y="2652"/>
                    </a:lnTo>
                    <a:lnTo>
                      <a:pt x="2736" y="2644"/>
                    </a:lnTo>
                    <a:lnTo>
                      <a:pt x="2738" y="2634"/>
                    </a:lnTo>
                    <a:lnTo>
                      <a:pt x="2736" y="2624"/>
                    </a:lnTo>
                    <a:lnTo>
                      <a:pt x="2734" y="2614"/>
                    </a:lnTo>
                    <a:lnTo>
                      <a:pt x="2732" y="2604"/>
                    </a:lnTo>
                    <a:lnTo>
                      <a:pt x="2730" y="2590"/>
                    </a:lnTo>
                    <a:lnTo>
                      <a:pt x="2724" y="2556"/>
                    </a:lnTo>
                    <a:lnTo>
                      <a:pt x="2720" y="2522"/>
                    </a:lnTo>
                    <a:lnTo>
                      <a:pt x="2716" y="2510"/>
                    </a:lnTo>
                    <a:lnTo>
                      <a:pt x="2710" y="2504"/>
                    </a:lnTo>
                    <a:close/>
                    <a:moveTo>
                      <a:pt x="2770" y="1364"/>
                    </a:moveTo>
                    <a:lnTo>
                      <a:pt x="2770" y="1364"/>
                    </a:lnTo>
                    <a:lnTo>
                      <a:pt x="2764" y="1352"/>
                    </a:lnTo>
                    <a:lnTo>
                      <a:pt x="2762" y="1342"/>
                    </a:lnTo>
                    <a:lnTo>
                      <a:pt x="2764" y="1332"/>
                    </a:lnTo>
                    <a:lnTo>
                      <a:pt x="2766" y="1322"/>
                    </a:lnTo>
                    <a:lnTo>
                      <a:pt x="2770" y="1316"/>
                    </a:lnTo>
                    <a:lnTo>
                      <a:pt x="2770" y="1308"/>
                    </a:lnTo>
                    <a:lnTo>
                      <a:pt x="2768" y="1304"/>
                    </a:lnTo>
                    <a:lnTo>
                      <a:pt x="2762" y="1300"/>
                    </a:lnTo>
                    <a:lnTo>
                      <a:pt x="2752" y="1300"/>
                    </a:lnTo>
                    <a:lnTo>
                      <a:pt x="2746" y="1302"/>
                    </a:lnTo>
                    <a:lnTo>
                      <a:pt x="2730" y="1314"/>
                    </a:lnTo>
                    <a:lnTo>
                      <a:pt x="2720" y="1320"/>
                    </a:lnTo>
                    <a:lnTo>
                      <a:pt x="2708" y="1326"/>
                    </a:lnTo>
                    <a:lnTo>
                      <a:pt x="2694" y="1330"/>
                    </a:lnTo>
                    <a:lnTo>
                      <a:pt x="2676" y="1330"/>
                    </a:lnTo>
                    <a:lnTo>
                      <a:pt x="2660" y="1332"/>
                    </a:lnTo>
                    <a:lnTo>
                      <a:pt x="2650" y="1332"/>
                    </a:lnTo>
                    <a:lnTo>
                      <a:pt x="2646" y="1334"/>
                    </a:lnTo>
                    <a:lnTo>
                      <a:pt x="2646" y="1336"/>
                    </a:lnTo>
                    <a:lnTo>
                      <a:pt x="2646" y="1338"/>
                    </a:lnTo>
                    <a:lnTo>
                      <a:pt x="2644" y="1340"/>
                    </a:lnTo>
                    <a:lnTo>
                      <a:pt x="2640" y="1340"/>
                    </a:lnTo>
                    <a:lnTo>
                      <a:pt x="2630" y="1340"/>
                    </a:lnTo>
                    <a:lnTo>
                      <a:pt x="2618" y="1340"/>
                    </a:lnTo>
                    <a:lnTo>
                      <a:pt x="2608" y="1342"/>
                    </a:lnTo>
                    <a:lnTo>
                      <a:pt x="2602" y="1346"/>
                    </a:lnTo>
                    <a:lnTo>
                      <a:pt x="2596" y="1352"/>
                    </a:lnTo>
                    <a:lnTo>
                      <a:pt x="2590" y="1356"/>
                    </a:lnTo>
                    <a:lnTo>
                      <a:pt x="2584" y="1360"/>
                    </a:lnTo>
                    <a:lnTo>
                      <a:pt x="2574" y="1360"/>
                    </a:lnTo>
                    <a:lnTo>
                      <a:pt x="2564" y="1358"/>
                    </a:lnTo>
                    <a:lnTo>
                      <a:pt x="2552" y="1356"/>
                    </a:lnTo>
                    <a:lnTo>
                      <a:pt x="2542" y="1356"/>
                    </a:lnTo>
                    <a:lnTo>
                      <a:pt x="2534" y="1360"/>
                    </a:lnTo>
                    <a:lnTo>
                      <a:pt x="2528" y="1366"/>
                    </a:lnTo>
                    <a:lnTo>
                      <a:pt x="2520" y="1370"/>
                    </a:lnTo>
                    <a:lnTo>
                      <a:pt x="2512" y="1374"/>
                    </a:lnTo>
                    <a:lnTo>
                      <a:pt x="2504" y="1376"/>
                    </a:lnTo>
                    <a:lnTo>
                      <a:pt x="2494" y="1374"/>
                    </a:lnTo>
                    <a:lnTo>
                      <a:pt x="2484" y="1368"/>
                    </a:lnTo>
                    <a:lnTo>
                      <a:pt x="2476" y="1362"/>
                    </a:lnTo>
                    <a:lnTo>
                      <a:pt x="2470" y="1356"/>
                    </a:lnTo>
                    <a:lnTo>
                      <a:pt x="2466" y="1350"/>
                    </a:lnTo>
                    <a:lnTo>
                      <a:pt x="2458" y="1334"/>
                    </a:lnTo>
                    <a:lnTo>
                      <a:pt x="2454" y="1328"/>
                    </a:lnTo>
                    <a:lnTo>
                      <a:pt x="2448" y="1320"/>
                    </a:lnTo>
                    <a:lnTo>
                      <a:pt x="2444" y="1318"/>
                    </a:lnTo>
                    <a:lnTo>
                      <a:pt x="2438" y="1316"/>
                    </a:lnTo>
                    <a:lnTo>
                      <a:pt x="2428" y="1316"/>
                    </a:lnTo>
                    <a:lnTo>
                      <a:pt x="2426" y="1316"/>
                    </a:lnTo>
                    <a:lnTo>
                      <a:pt x="2428" y="1314"/>
                    </a:lnTo>
                    <a:lnTo>
                      <a:pt x="2444" y="1302"/>
                    </a:lnTo>
                    <a:lnTo>
                      <a:pt x="2450" y="1298"/>
                    </a:lnTo>
                    <a:lnTo>
                      <a:pt x="2452" y="1294"/>
                    </a:lnTo>
                    <a:lnTo>
                      <a:pt x="2452" y="1288"/>
                    </a:lnTo>
                    <a:lnTo>
                      <a:pt x="2452" y="1284"/>
                    </a:lnTo>
                    <a:lnTo>
                      <a:pt x="2448" y="1272"/>
                    </a:lnTo>
                    <a:lnTo>
                      <a:pt x="2440" y="1260"/>
                    </a:lnTo>
                    <a:lnTo>
                      <a:pt x="2436" y="1256"/>
                    </a:lnTo>
                    <a:lnTo>
                      <a:pt x="2432" y="1254"/>
                    </a:lnTo>
                    <a:lnTo>
                      <a:pt x="2426" y="1252"/>
                    </a:lnTo>
                    <a:lnTo>
                      <a:pt x="2422" y="1244"/>
                    </a:lnTo>
                    <a:lnTo>
                      <a:pt x="2418" y="1238"/>
                    </a:lnTo>
                    <a:lnTo>
                      <a:pt x="2416" y="1236"/>
                    </a:lnTo>
                    <a:lnTo>
                      <a:pt x="2414" y="1232"/>
                    </a:lnTo>
                    <a:lnTo>
                      <a:pt x="2410" y="1224"/>
                    </a:lnTo>
                    <a:lnTo>
                      <a:pt x="2404" y="1214"/>
                    </a:lnTo>
                    <a:lnTo>
                      <a:pt x="2402" y="1214"/>
                    </a:lnTo>
                    <a:lnTo>
                      <a:pt x="2402" y="1216"/>
                    </a:lnTo>
                    <a:lnTo>
                      <a:pt x="2396" y="1208"/>
                    </a:lnTo>
                    <a:lnTo>
                      <a:pt x="2394" y="1204"/>
                    </a:lnTo>
                    <a:lnTo>
                      <a:pt x="2392" y="1202"/>
                    </a:lnTo>
                    <a:lnTo>
                      <a:pt x="2388" y="1202"/>
                    </a:lnTo>
                    <a:lnTo>
                      <a:pt x="2384" y="1202"/>
                    </a:lnTo>
                    <a:lnTo>
                      <a:pt x="2382" y="1198"/>
                    </a:lnTo>
                    <a:lnTo>
                      <a:pt x="2378" y="1192"/>
                    </a:lnTo>
                    <a:lnTo>
                      <a:pt x="2372" y="1182"/>
                    </a:lnTo>
                    <a:lnTo>
                      <a:pt x="2366" y="1172"/>
                    </a:lnTo>
                    <a:lnTo>
                      <a:pt x="2362" y="1166"/>
                    </a:lnTo>
                    <a:lnTo>
                      <a:pt x="2358" y="1164"/>
                    </a:lnTo>
                    <a:lnTo>
                      <a:pt x="2356" y="1164"/>
                    </a:lnTo>
                    <a:lnTo>
                      <a:pt x="2354" y="1166"/>
                    </a:lnTo>
                    <a:lnTo>
                      <a:pt x="2352" y="1166"/>
                    </a:lnTo>
                    <a:lnTo>
                      <a:pt x="2348" y="1162"/>
                    </a:lnTo>
                    <a:lnTo>
                      <a:pt x="2344" y="1156"/>
                    </a:lnTo>
                    <a:lnTo>
                      <a:pt x="2340" y="1150"/>
                    </a:lnTo>
                    <a:lnTo>
                      <a:pt x="2338" y="1150"/>
                    </a:lnTo>
                    <a:lnTo>
                      <a:pt x="2334" y="1150"/>
                    </a:lnTo>
                    <a:lnTo>
                      <a:pt x="2332" y="1152"/>
                    </a:lnTo>
                    <a:lnTo>
                      <a:pt x="2330" y="1152"/>
                    </a:lnTo>
                    <a:lnTo>
                      <a:pt x="2326" y="1150"/>
                    </a:lnTo>
                    <a:lnTo>
                      <a:pt x="2322" y="1144"/>
                    </a:lnTo>
                    <a:lnTo>
                      <a:pt x="2316" y="1132"/>
                    </a:lnTo>
                    <a:lnTo>
                      <a:pt x="2312" y="1124"/>
                    </a:lnTo>
                    <a:lnTo>
                      <a:pt x="2310" y="1122"/>
                    </a:lnTo>
                    <a:lnTo>
                      <a:pt x="2308" y="1124"/>
                    </a:lnTo>
                    <a:lnTo>
                      <a:pt x="2308" y="1128"/>
                    </a:lnTo>
                    <a:lnTo>
                      <a:pt x="2308" y="1140"/>
                    </a:lnTo>
                    <a:lnTo>
                      <a:pt x="2308" y="1144"/>
                    </a:lnTo>
                    <a:lnTo>
                      <a:pt x="2306" y="1146"/>
                    </a:lnTo>
                    <a:lnTo>
                      <a:pt x="2304" y="1142"/>
                    </a:lnTo>
                    <a:lnTo>
                      <a:pt x="2300" y="1136"/>
                    </a:lnTo>
                    <a:lnTo>
                      <a:pt x="2298" y="1126"/>
                    </a:lnTo>
                    <a:lnTo>
                      <a:pt x="2290" y="1110"/>
                    </a:lnTo>
                    <a:lnTo>
                      <a:pt x="2286" y="1100"/>
                    </a:lnTo>
                    <a:lnTo>
                      <a:pt x="2284" y="1086"/>
                    </a:lnTo>
                    <a:lnTo>
                      <a:pt x="2280" y="1058"/>
                    </a:lnTo>
                    <a:lnTo>
                      <a:pt x="2276" y="1042"/>
                    </a:lnTo>
                    <a:lnTo>
                      <a:pt x="2272" y="1026"/>
                    </a:lnTo>
                    <a:lnTo>
                      <a:pt x="2268" y="1012"/>
                    </a:lnTo>
                    <a:lnTo>
                      <a:pt x="2260" y="998"/>
                    </a:lnTo>
                    <a:lnTo>
                      <a:pt x="2252" y="988"/>
                    </a:lnTo>
                    <a:lnTo>
                      <a:pt x="2248" y="984"/>
                    </a:lnTo>
                    <a:lnTo>
                      <a:pt x="2244" y="986"/>
                    </a:lnTo>
                    <a:lnTo>
                      <a:pt x="2242" y="986"/>
                    </a:lnTo>
                    <a:lnTo>
                      <a:pt x="2240" y="984"/>
                    </a:lnTo>
                    <a:lnTo>
                      <a:pt x="2236" y="976"/>
                    </a:lnTo>
                    <a:lnTo>
                      <a:pt x="2230" y="968"/>
                    </a:lnTo>
                    <a:lnTo>
                      <a:pt x="2226" y="966"/>
                    </a:lnTo>
                    <a:lnTo>
                      <a:pt x="2222" y="966"/>
                    </a:lnTo>
                    <a:lnTo>
                      <a:pt x="2220" y="966"/>
                    </a:lnTo>
                    <a:lnTo>
                      <a:pt x="2218" y="964"/>
                    </a:lnTo>
                    <a:lnTo>
                      <a:pt x="2212" y="956"/>
                    </a:lnTo>
                    <a:lnTo>
                      <a:pt x="2208" y="944"/>
                    </a:lnTo>
                    <a:lnTo>
                      <a:pt x="2206" y="928"/>
                    </a:lnTo>
                    <a:lnTo>
                      <a:pt x="2202" y="900"/>
                    </a:lnTo>
                    <a:lnTo>
                      <a:pt x="2200" y="890"/>
                    </a:lnTo>
                    <a:lnTo>
                      <a:pt x="2202" y="884"/>
                    </a:lnTo>
                    <a:lnTo>
                      <a:pt x="2204" y="876"/>
                    </a:lnTo>
                    <a:lnTo>
                      <a:pt x="2204" y="870"/>
                    </a:lnTo>
                    <a:lnTo>
                      <a:pt x="2200" y="858"/>
                    </a:lnTo>
                    <a:lnTo>
                      <a:pt x="2198" y="850"/>
                    </a:lnTo>
                    <a:lnTo>
                      <a:pt x="2200" y="848"/>
                    </a:lnTo>
                    <a:lnTo>
                      <a:pt x="2204" y="850"/>
                    </a:lnTo>
                    <a:lnTo>
                      <a:pt x="2208" y="850"/>
                    </a:lnTo>
                    <a:lnTo>
                      <a:pt x="2210" y="848"/>
                    </a:lnTo>
                    <a:lnTo>
                      <a:pt x="2204" y="842"/>
                    </a:lnTo>
                    <a:lnTo>
                      <a:pt x="2198" y="826"/>
                    </a:lnTo>
                    <a:lnTo>
                      <a:pt x="2194" y="816"/>
                    </a:lnTo>
                    <a:lnTo>
                      <a:pt x="2192" y="802"/>
                    </a:lnTo>
                    <a:lnTo>
                      <a:pt x="2190" y="794"/>
                    </a:lnTo>
                    <a:lnTo>
                      <a:pt x="2188" y="790"/>
                    </a:lnTo>
                    <a:lnTo>
                      <a:pt x="2184" y="786"/>
                    </a:lnTo>
                    <a:lnTo>
                      <a:pt x="2176" y="784"/>
                    </a:lnTo>
                    <a:lnTo>
                      <a:pt x="2174" y="782"/>
                    </a:lnTo>
                    <a:lnTo>
                      <a:pt x="2170" y="780"/>
                    </a:lnTo>
                    <a:lnTo>
                      <a:pt x="2166" y="772"/>
                    </a:lnTo>
                    <a:lnTo>
                      <a:pt x="2162" y="766"/>
                    </a:lnTo>
                    <a:lnTo>
                      <a:pt x="2160" y="764"/>
                    </a:lnTo>
                    <a:lnTo>
                      <a:pt x="2154" y="764"/>
                    </a:lnTo>
                    <a:lnTo>
                      <a:pt x="2150" y="762"/>
                    </a:lnTo>
                    <a:lnTo>
                      <a:pt x="2146" y="758"/>
                    </a:lnTo>
                    <a:lnTo>
                      <a:pt x="2138" y="746"/>
                    </a:lnTo>
                    <a:lnTo>
                      <a:pt x="2134" y="752"/>
                    </a:lnTo>
                    <a:lnTo>
                      <a:pt x="2138" y="746"/>
                    </a:lnTo>
                    <a:lnTo>
                      <a:pt x="2134" y="732"/>
                    </a:lnTo>
                    <a:lnTo>
                      <a:pt x="2132" y="716"/>
                    </a:lnTo>
                    <a:lnTo>
                      <a:pt x="2132" y="710"/>
                    </a:lnTo>
                    <a:lnTo>
                      <a:pt x="2134" y="706"/>
                    </a:lnTo>
                    <a:lnTo>
                      <a:pt x="2136" y="702"/>
                    </a:lnTo>
                    <a:lnTo>
                      <a:pt x="2142" y="702"/>
                    </a:lnTo>
                    <a:lnTo>
                      <a:pt x="2144" y="702"/>
                    </a:lnTo>
                    <a:lnTo>
                      <a:pt x="2138" y="698"/>
                    </a:lnTo>
                    <a:lnTo>
                      <a:pt x="2134" y="692"/>
                    </a:lnTo>
                    <a:lnTo>
                      <a:pt x="2128" y="684"/>
                    </a:lnTo>
                    <a:lnTo>
                      <a:pt x="2120" y="674"/>
                    </a:lnTo>
                    <a:lnTo>
                      <a:pt x="2116" y="662"/>
                    </a:lnTo>
                    <a:lnTo>
                      <a:pt x="2108" y="642"/>
                    </a:lnTo>
                    <a:lnTo>
                      <a:pt x="2098" y="624"/>
                    </a:lnTo>
                    <a:lnTo>
                      <a:pt x="2082" y="594"/>
                    </a:lnTo>
                    <a:lnTo>
                      <a:pt x="2072" y="572"/>
                    </a:lnTo>
                    <a:lnTo>
                      <a:pt x="2070" y="564"/>
                    </a:lnTo>
                    <a:lnTo>
                      <a:pt x="2070" y="556"/>
                    </a:lnTo>
                    <a:lnTo>
                      <a:pt x="2070" y="550"/>
                    </a:lnTo>
                    <a:lnTo>
                      <a:pt x="2070" y="544"/>
                    </a:lnTo>
                    <a:lnTo>
                      <a:pt x="2064" y="534"/>
                    </a:lnTo>
                    <a:lnTo>
                      <a:pt x="2058" y="526"/>
                    </a:lnTo>
                    <a:lnTo>
                      <a:pt x="2056" y="520"/>
                    </a:lnTo>
                    <a:lnTo>
                      <a:pt x="2056" y="512"/>
                    </a:lnTo>
                    <a:lnTo>
                      <a:pt x="2054" y="504"/>
                    </a:lnTo>
                    <a:lnTo>
                      <a:pt x="2050" y="494"/>
                    </a:lnTo>
                    <a:lnTo>
                      <a:pt x="2036" y="474"/>
                    </a:lnTo>
                    <a:lnTo>
                      <a:pt x="2022" y="452"/>
                    </a:lnTo>
                    <a:lnTo>
                      <a:pt x="2018" y="442"/>
                    </a:lnTo>
                    <a:lnTo>
                      <a:pt x="2016" y="434"/>
                    </a:lnTo>
                    <a:lnTo>
                      <a:pt x="2016" y="426"/>
                    </a:lnTo>
                    <a:lnTo>
                      <a:pt x="2014" y="422"/>
                    </a:lnTo>
                    <a:lnTo>
                      <a:pt x="2010" y="416"/>
                    </a:lnTo>
                    <a:lnTo>
                      <a:pt x="2008" y="412"/>
                    </a:lnTo>
                    <a:lnTo>
                      <a:pt x="2008" y="408"/>
                    </a:lnTo>
                    <a:lnTo>
                      <a:pt x="2010" y="402"/>
                    </a:lnTo>
                    <a:lnTo>
                      <a:pt x="2014" y="394"/>
                    </a:lnTo>
                    <a:lnTo>
                      <a:pt x="2000" y="332"/>
                    </a:lnTo>
                    <a:lnTo>
                      <a:pt x="1998" y="332"/>
                    </a:lnTo>
                    <a:lnTo>
                      <a:pt x="1996" y="328"/>
                    </a:lnTo>
                    <a:lnTo>
                      <a:pt x="1992" y="326"/>
                    </a:lnTo>
                    <a:lnTo>
                      <a:pt x="1990" y="326"/>
                    </a:lnTo>
                    <a:lnTo>
                      <a:pt x="1986" y="326"/>
                    </a:lnTo>
                    <a:lnTo>
                      <a:pt x="1984" y="324"/>
                    </a:lnTo>
                    <a:lnTo>
                      <a:pt x="1984" y="322"/>
                    </a:lnTo>
                    <a:lnTo>
                      <a:pt x="1984" y="320"/>
                    </a:lnTo>
                    <a:lnTo>
                      <a:pt x="1986" y="318"/>
                    </a:lnTo>
                    <a:lnTo>
                      <a:pt x="1988" y="316"/>
                    </a:lnTo>
                    <a:lnTo>
                      <a:pt x="1990" y="314"/>
                    </a:lnTo>
                    <a:lnTo>
                      <a:pt x="1992" y="316"/>
                    </a:lnTo>
                    <a:lnTo>
                      <a:pt x="1998" y="320"/>
                    </a:lnTo>
                    <a:lnTo>
                      <a:pt x="1996" y="316"/>
                    </a:lnTo>
                    <a:lnTo>
                      <a:pt x="1990" y="310"/>
                    </a:lnTo>
                    <a:lnTo>
                      <a:pt x="1988" y="308"/>
                    </a:lnTo>
                    <a:lnTo>
                      <a:pt x="1986" y="308"/>
                    </a:lnTo>
                    <a:lnTo>
                      <a:pt x="1980" y="312"/>
                    </a:lnTo>
                    <a:lnTo>
                      <a:pt x="1976" y="314"/>
                    </a:lnTo>
                    <a:lnTo>
                      <a:pt x="1974" y="314"/>
                    </a:lnTo>
                    <a:lnTo>
                      <a:pt x="1966" y="310"/>
                    </a:lnTo>
                    <a:lnTo>
                      <a:pt x="1958" y="306"/>
                    </a:lnTo>
                    <a:lnTo>
                      <a:pt x="1954" y="306"/>
                    </a:lnTo>
                    <a:lnTo>
                      <a:pt x="1948" y="308"/>
                    </a:lnTo>
                    <a:lnTo>
                      <a:pt x="1938" y="312"/>
                    </a:lnTo>
                    <a:lnTo>
                      <a:pt x="1932" y="312"/>
                    </a:lnTo>
                    <a:lnTo>
                      <a:pt x="1928" y="312"/>
                    </a:lnTo>
                    <a:lnTo>
                      <a:pt x="1922" y="318"/>
                    </a:lnTo>
                    <a:lnTo>
                      <a:pt x="1920" y="320"/>
                    </a:lnTo>
                    <a:lnTo>
                      <a:pt x="1916" y="322"/>
                    </a:lnTo>
                    <a:lnTo>
                      <a:pt x="1908" y="326"/>
                    </a:lnTo>
                    <a:lnTo>
                      <a:pt x="1892" y="340"/>
                    </a:lnTo>
                    <a:lnTo>
                      <a:pt x="1886" y="346"/>
                    </a:lnTo>
                    <a:lnTo>
                      <a:pt x="1880" y="346"/>
                    </a:lnTo>
                    <a:lnTo>
                      <a:pt x="1874" y="346"/>
                    </a:lnTo>
                    <a:lnTo>
                      <a:pt x="1866" y="344"/>
                    </a:lnTo>
                    <a:lnTo>
                      <a:pt x="1854" y="336"/>
                    </a:lnTo>
                    <a:lnTo>
                      <a:pt x="1848" y="334"/>
                    </a:lnTo>
                    <a:lnTo>
                      <a:pt x="1844" y="334"/>
                    </a:lnTo>
                    <a:lnTo>
                      <a:pt x="1836" y="332"/>
                    </a:lnTo>
                    <a:lnTo>
                      <a:pt x="1830" y="330"/>
                    </a:lnTo>
                    <a:lnTo>
                      <a:pt x="1826" y="326"/>
                    </a:lnTo>
                    <a:lnTo>
                      <a:pt x="1822" y="326"/>
                    </a:lnTo>
                    <a:lnTo>
                      <a:pt x="1818" y="326"/>
                    </a:lnTo>
                    <a:lnTo>
                      <a:pt x="1812" y="326"/>
                    </a:lnTo>
                    <a:lnTo>
                      <a:pt x="1812" y="324"/>
                    </a:lnTo>
                    <a:lnTo>
                      <a:pt x="1808" y="322"/>
                    </a:lnTo>
                    <a:lnTo>
                      <a:pt x="1804" y="318"/>
                    </a:lnTo>
                    <a:lnTo>
                      <a:pt x="1794" y="314"/>
                    </a:lnTo>
                    <a:lnTo>
                      <a:pt x="1778" y="310"/>
                    </a:lnTo>
                    <a:lnTo>
                      <a:pt x="1762" y="308"/>
                    </a:lnTo>
                    <a:lnTo>
                      <a:pt x="1750" y="306"/>
                    </a:lnTo>
                    <a:lnTo>
                      <a:pt x="1734" y="308"/>
                    </a:lnTo>
                    <a:lnTo>
                      <a:pt x="1724" y="310"/>
                    </a:lnTo>
                    <a:lnTo>
                      <a:pt x="1718" y="310"/>
                    </a:lnTo>
                    <a:lnTo>
                      <a:pt x="1718" y="308"/>
                    </a:lnTo>
                    <a:lnTo>
                      <a:pt x="1716" y="302"/>
                    </a:lnTo>
                    <a:lnTo>
                      <a:pt x="1714" y="292"/>
                    </a:lnTo>
                    <a:lnTo>
                      <a:pt x="1710" y="288"/>
                    </a:lnTo>
                    <a:lnTo>
                      <a:pt x="1706" y="286"/>
                    </a:lnTo>
                    <a:lnTo>
                      <a:pt x="1700" y="284"/>
                    </a:lnTo>
                    <a:lnTo>
                      <a:pt x="1692" y="284"/>
                    </a:lnTo>
                    <a:lnTo>
                      <a:pt x="1678" y="284"/>
                    </a:lnTo>
                    <a:lnTo>
                      <a:pt x="1672" y="282"/>
                    </a:lnTo>
                    <a:lnTo>
                      <a:pt x="1666" y="280"/>
                    </a:lnTo>
                    <a:lnTo>
                      <a:pt x="1654" y="278"/>
                    </a:lnTo>
                    <a:lnTo>
                      <a:pt x="1648" y="276"/>
                    </a:lnTo>
                    <a:lnTo>
                      <a:pt x="1644" y="274"/>
                    </a:lnTo>
                    <a:lnTo>
                      <a:pt x="1640" y="266"/>
                    </a:lnTo>
                    <a:lnTo>
                      <a:pt x="1638" y="262"/>
                    </a:lnTo>
                    <a:lnTo>
                      <a:pt x="1632" y="256"/>
                    </a:lnTo>
                    <a:lnTo>
                      <a:pt x="1624" y="250"/>
                    </a:lnTo>
                    <a:lnTo>
                      <a:pt x="1612" y="242"/>
                    </a:lnTo>
                    <a:lnTo>
                      <a:pt x="1596" y="236"/>
                    </a:lnTo>
                    <a:lnTo>
                      <a:pt x="1584" y="236"/>
                    </a:lnTo>
                    <a:lnTo>
                      <a:pt x="1574" y="238"/>
                    </a:lnTo>
                    <a:lnTo>
                      <a:pt x="1568" y="242"/>
                    </a:lnTo>
                    <a:lnTo>
                      <a:pt x="1564" y="244"/>
                    </a:lnTo>
                    <a:lnTo>
                      <a:pt x="1560" y="246"/>
                    </a:lnTo>
                    <a:lnTo>
                      <a:pt x="1550" y="246"/>
                    </a:lnTo>
                    <a:lnTo>
                      <a:pt x="1544" y="248"/>
                    </a:lnTo>
                    <a:lnTo>
                      <a:pt x="1536" y="252"/>
                    </a:lnTo>
                    <a:lnTo>
                      <a:pt x="1528" y="260"/>
                    </a:lnTo>
                    <a:lnTo>
                      <a:pt x="1516" y="274"/>
                    </a:lnTo>
                    <a:lnTo>
                      <a:pt x="1510" y="284"/>
                    </a:lnTo>
                    <a:lnTo>
                      <a:pt x="1508" y="292"/>
                    </a:lnTo>
                    <a:lnTo>
                      <a:pt x="1508" y="302"/>
                    </a:lnTo>
                    <a:lnTo>
                      <a:pt x="1510" y="314"/>
                    </a:lnTo>
                    <a:lnTo>
                      <a:pt x="1512" y="324"/>
                    </a:lnTo>
                    <a:lnTo>
                      <a:pt x="1514" y="334"/>
                    </a:lnTo>
                    <a:lnTo>
                      <a:pt x="1512" y="344"/>
                    </a:lnTo>
                    <a:lnTo>
                      <a:pt x="1506" y="354"/>
                    </a:lnTo>
                    <a:lnTo>
                      <a:pt x="1498" y="362"/>
                    </a:lnTo>
                    <a:lnTo>
                      <a:pt x="1492" y="368"/>
                    </a:lnTo>
                    <a:lnTo>
                      <a:pt x="1484" y="374"/>
                    </a:lnTo>
                    <a:lnTo>
                      <a:pt x="1478" y="376"/>
                    </a:lnTo>
                    <a:lnTo>
                      <a:pt x="1470" y="376"/>
                    </a:lnTo>
                    <a:lnTo>
                      <a:pt x="1464" y="374"/>
                    </a:lnTo>
                    <a:lnTo>
                      <a:pt x="1458" y="368"/>
                    </a:lnTo>
                    <a:lnTo>
                      <a:pt x="1452" y="362"/>
                    </a:lnTo>
                    <a:lnTo>
                      <a:pt x="1446" y="356"/>
                    </a:lnTo>
                    <a:lnTo>
                      <a:pt x="1438" y="350"/>
                    </a:lnTo>
                    <a:lnTo>
                      <a:pt x="1418" y="338"/>
                    </a:lnTo>
                    <a:lnTo>
                      <a:pt x="1398" y="330"/>
                    </a:lnTo>
                    <a:lnTo>
                      <a:pt x="1376" y="328"/>
                    </a:lnTo>
                    <a:lnTo>
                      <a:pt x="1358" y="326"/>
                    </a:lnTo>
                    <a:lnTo>
                      <a:pt x="1350" y="324"/>
                    </a:lnTo>
                    <a:lnTo>
                      <a:pt x="1344" y="320"/>
                    </a:lnTo>
                    <a:lnTo>
                      <a:pt x="1338" y="316"/>
                    </a:lnTo>
                    <a:lnTo>
                      <a:pt x="1334" y="310"/>
                    </a:lnTo>
                    <a:lnTo>
                      <a:pt x="1330" y="300"/>
                    </a:lnTo>
                    <a:lnTo>
                      <a:pt x="1326" y="288"/>
                    </a:lnTo>
                    <a:lnTo>
                      <a:pt x="1324" y="276"/>
                    </a:lnTo>
                    <a:lnTo>
                      <a:pt x="1320" y="268"/>
                    </a:lnTo>
                    <a:lnTo>
                      <a:pt x="1314" y="262"/>
                    </a:lnTo>
                    <a:lnTo>
                      <a:pt x="1306" y="260"/>
                    </a:lnTo>
                    <a:lnTo>
                      <a:pt x="1294" y="258"/>
                    </a:lnTo>
                    <a:lnTo>
                      <a:pt x="1288" y="256"/>
                    </a:lnTo>
                    <a:lnTo>
                      <a:pt x="1284" y="254"/>
                    </a:lnTo>
                    <a:lnTo>
                      <a:pt x="1272" y="248"/>
                    </a:lnTo>
                    <a:lnTo>
                      <a:pt x="1256" y="242"/>
                    </a:lnTo>
                    <a:lnTo>
                      <a:pt x="1238" y="240"/>
                    </a:lnTo>
                    <a:lnTo>
                      <a:pt x="1230" y="240"/>
                    </a:lnTo>
                    <a:lnTo>
                      <a:pt x="1224" y="240"/>
                    </a:lnTo>
                    <a:lnTo>
                      <a:pt x="1216" y="242"/>
                    </a:lnTo>
                    <a:lnTo>
                      <a:pt x="1210" y="242"/>
                    </a:lnTo>
                    <a:lnTo>
                      <a:pt x="1196" y="236"/>
                    </a:lnTo>
                    <a:lnTo>
                      <a:pt x="1182" y="230"/>
                    </a:lnTo>
                    <a:lnTo>
                      <a:pt x="1172" y="224"/>
                    </a:lnTo>
                    <a:lnTo>
                      <a:pt x="1160" y="218"/>
                    </a:lnTo>
                    <a:lnTo>
                      <a:pt x="1156" y="214"/>
                    </a:lnTo>
                    <a:lnTo>
                      <a:pt x="1154" y="206"/>
                    </a:lnTo>
                    <a:lnTo>
                      <a:pt x="1152" y="198"/>
                    </a:lnTo>
                    <a:lnTo>
                      <a:pt x="1150" y="198"/>
                    </a:lnTo>
                    <a:lnTo>
                      <a:pt x="1148" y="198"/>
                    </a:lnTo>
                    <a:lnTo>
                      <a:pt x="1144" y="200"/>
                    </a:lnTo>
                    <a:lnTo>
                      <a:pt x="1142" y="200"/>
                    </a:lnTo>
                    <a:lnTo>
                      <a:pt x="1140" y="198"/>
                    </a:lnTo>
                    <a:lnTo>
                      <a:pt x="1132" y="196"/>
                    </a:lnTo>
                    <a:lnTo>
                      <a:pt x="1124" y="194"/>
                    </a:lnTo>
                    <a:lnTo>
                      <a:pt x="1118" y="194"/>
                    </a:lnTo>
                    <a:lnTo>
                      <a:pt x="1114" y="190"/>
                    </a:lnTo>
                    <a:lnTo>
                      <a:pt x="1110" y="184"/>
                    </a:lnTo>
                    <a:lnTo>
                      <a:pt x="1108" y="176"/>
                    </a:lnTo>
                    <a:lnTo>
                      <a:pt x="1110" y="170"/>
                    </a:lnTo>
                    <a:lnTo>
                      <a:pt x="1116" y="162"/>
                    </a:lnTo>
                    <a:lnTo>
                      <a:pt x="1134" y="144"/>
                    </a:lnTo>
                    <a:lnTo>
                      <a:pt x="1142" y="134"/>
                    </a:lnTo>
                    <a:lnTo>
                      <a:pt x="1150" y="124"/>
                    </a:lnTo>
                    <a:lnTo>
                      <a:pt x="1154" y="116"/>
                    </a:lnTo>
                    <a:lnTo>
                      <a:pt x="1154" y="114"/>
                    </a:lnTo>
                    <a:lnTo>
                      <a:pt x="1152" y="110"/>
                    </a:lnTo>
                    <a:lnTo>
                      <a:pt x="1150" y="106"/>
                    </a:lnTo>
                    <a:lnTo>
                      <a:pt x="1148" y="102"/>
                    </a:lnTo>
                    <a:lnTo>
                      <a:pt x="1148" y="96"/>
                    </a:lnTo>
                    <a:lnTo>
                      <a:pt x="1148" y="92"/>
                    </a:lnTo>
                    <a:lnTo>
                      <a:pt x="1146" y="90"/>
                    </a:lnTo>
                    <a:lnTo>
                      <a:pt x="1142" y="86"/>
                    </a:lnTo>
                    <a:lnTo>
                      <a:pt x="1136" y="82"/>
                    </a:lnTo>
                    <a:lnTo>
                      <a:pt x="1132" y="78"/>
                    </a:lnTo>
                    <a:lnTo>
                      <a:pt x="1128" y="74"/>
                    </a:lnTo>
                    <a:lnTo>
                      <a:pt x="1124" y="64"/>
                    </a:lnTo>
                    <a:lnTo>
                      <a:pt x="1124" y="60"/>
                    </a:lnTo>
                    <a:lnTo>
                      <a:pt x="1124" y="56"/>
                    </a:lnTo>
                    <a:lnTo>
                      <a:pt x="1126" y="52"/>
                    </a:lnTo>
                    <a:lnTo>
                      <a:pt x="1130" y="50"/>
                    </a:lnTo>
                    <a:lnTo>
                      <a:pt x="1140" y="42"/>
                    </a:lnTo>
                    <a:lnTo>
                      <a:pt x="1148" y="34"/>
                    </a:lnTo>
                    <a:lnTo>
                      <a:pt x="1152" y="26"/>
                    </a:lnTo>
                    <a:lnTo>
                      <a:pt x="1152" y="20"/>
                    </a:lnTo>
                    <a:lnTo>
                      <a:pt x="1152" y="16"/>
                    </a:lnTo>
                    <a:lnTo>
                      <a:pt x="1148" y="14"/>
                    </a:lnTo>
                    <a:lnTo>
                      <a:pt x="1146" y="16"/>
                    </a:lnTo>
                    <a:lnTo>
                      <a:pt x="1136" y="22"/>
                    </a:lnTo>
                    <a:lnTo>
                      <a:pt x="1128" y="30"/>
                    </a:lnTo>
                    <a:lnTo>
                      <a:pt x="1124" y="32"/>
                    </a:lnTo>
                    <a:lnTo>
                      <a:pt x="1122" y="32"/>
                    </a:lnTo>
                    <a:lnTo>
                      <a:pt x="1120" y="30"/>
                    </a:lnTo>
                    <a:lnTo>
                      <a:pt x="1118" y="26"/>
                    </a:lnTo>
                    <a:lnTo>
                      <a:pt x="1118" y="18"/>
                    </a:lnTo>
                    <a:lnTo>
                      <a:pt x="1116" y="10"/>
                    </a:lnTo>
                    <a:lnTo>
                      <a:pt x="1112" y="6"/>
                    </a:lnTo>
                    <a:lnTo>
                      <a:pt x="1108" y="4"/>
                    </a:lnTo>
                    <a:lnTo>
                      <a:pt x="1096" y="0"/>
                    </a:lnTo>
                    <a:lnTo>
                      <a:pt x="1088" y="2"/>
                    </a:lnTo>
                    <a:lnTo>
                      <a:pt x="1080" y="4"/>
                    </a:lnTo>
                    <a:lnTo>
                      <a:pt x="1074" y="6"/>
                    </a:lnTo>
                    <a:lnTo>
                      <a:pt x="1064" y="16"/>
                    </a:lnTo>
                    <a:lnTo>
                      <a:pt x="1058" y="22"/>
                    </a:lnTo>
                    <a:lnTo>
                      <a:pt x="1052" y="22"/>
                    </a:lnTo>
                    <a:lnTo>
                      <a:pt x="1040" y="22"/>
                    </a:lnTo>
                    <a:lnTo>
                      <a:pt x="1034" y="22"/>
                    </a:lnTo>
                    <a:lnTo>
                      <a:pt x="1026" y="24"/>
                    </a:lnTo>
                    <a:lnTo>
                      <a:pt x="1022" y="28"/>
                    </a:lnTo>
                    <a:lnTo>
                      <a:pt x="1018" y="24"/>
                    </a:lnTo>
                    <a:lnTo>
                      <a:pt x="1014" y="20"/>
                    </a:lnTo>
                    <a:lnTo>
                      <a:pt x="1006" y="14"/>
                    </a:lnTo>
                    <a:lnTo>
                      <a:pt x="1002" y="12"/>
                    </a:lnTo>
                    <a:lnTo>
                      <a:pt x="998" y="14"/>
                    </a:lnTo>
                    <a:lnTo>
                      <a:pt x="994" y="18"/>
                    </a:lnTo>
                    <a:lnTo>
                      <a:pt x="992" y="20"/>
                    </a:lnTo>
                    <a:lnTo>
                      <a:pt x="988" y="22"/>
                    </a:lnTo>
                    <a:lnTo>
                      <a:pt x="984" y="22"/>
                    </a:lnTo>
                    <a:lnTo>
                      <a:pt x="978" y="20"/>
                    </a:lnTo>
                    <a:lnTo>
                      <a:pt x="966" y="16"/>
                    </a:lnTo>
                    <a:lnTo>
                      <a:pt x="962" y="16"/>
                    </a:lnTo>
                    <a:lnTo>
                      <a:pt x="960" y="18"/>
                    </a:lnTo>
                    <a:lnTo>
                      <a:pt x="954" y="22"/>
                    </a:lnTo>
                    <a:lnTo>
                      <a:pt x="942" y="26"/>
                    </a:lnTo>
                    <a:lnTo>
                      <a:pt x="936" y="28"/>
                    </a:lnTo>
                    <a:lnTo>
                      <a:pt x="930" y="30"/>
                    </a:lnTo>
                    <a:lnTo>
                      <a:pt x="924" y="36"/>
                    </a:lnTo>
                    <a:lnTo>
                      <a:pt x="920" y="38"/>
                    </a:lnTo>
                    <a:lnTo>
                      <a:pt x="918" y="38"/>
                    </a:lnTo>
                    <a:lnTo>
                      <a:pt x="914" y="36"/>
                    </a:lnTo>
                    <a:lnTo>
                      <a:pt x="910" y="32"/>
                    </a:lnTo>
                    <a:lnTo>
                      <a:pt x="906" y="28"/>
                    </a:lnTo>
                    <a:lnTo>
                      <a:pt x="900" y="26"/>
                    </a:lnTo>
                    <a:lnTo>
                      <a:pt x="886" y="22"/>
                    </a:lnTo>
                    <a:lnTo>
                      <a:pt x="870" y="24"/>
                    </a:lnTo>
                    <a:lnTo>
                      <a:pt x="854" y="26"/>
                    </a:lnTo>
                    <a:lnTo>
                      <a:pt x="848" y="28"/>
                    </a:lnTo>
                    <a:lnTo>
                      <a:pt x="842" y="28"/>
                    </a:lnTo>
                    <a:lnTo>
                      <a:pt x="832" y="28"/>
                    </a:lnTo>
                    <a:lnTo>
                      <a:pt x="822" y="28"/>
                    </a:lnTo>
                    <a:lnTo>
                      <a:pt x="820" y="30"/>
                    </a:lnTo>
                    <a:lnTo>
                      <a:pt x="816" y="32"/>
                    </a:lnTo>
                    <a:lnTo>
                      <a:pt x="812" y="38"/>
                    </a:lnTo>
                    <a:lnTo>
                      <a:pt x="804" y="40"/>
                    </a:lnTo>
                    <a:lnTo>
                      <a:pt x="776" y="42"/>
                    </a:lnTo>
                    <a:lnTo>
                      <a:pt x="754" y="46"/>
                    </a:lnTo>
                    <a:lnTo>
                      <a:pt x="732" y="52"/>
                    </a:lnTo>
                    <a:lnTo>
                      <a:pt x="724" y="58"/>
                    </a:lnTo>
                    <a:lnTo>
                      <a:pt x="716" y="64"/>
                    </a:lnTo>
                    <a:lnTo>
                      <a:pt x="710" y="70"/>
                    </a:lnTo>
                    <a:lnTo>
                      <a:pt x="706" y="76"/>
                    </a:lnTo>
                    <a:lnTo>
                      <a:pt x="704" y="82"/>
                    </a:lnTo>
                    <a:lnTo>
                      <a:pt x="700" y="86"/>
                    </a:lnTo>
                    <a:lnTo>
                      <a:pt x="698" y="86"/>
                    </a:lnTo>
                    <a:lnTo>
                      <a:pt x="696" y="84"/>
                    </a:lnTo>
                    <a:lnTo>
                      <a:pt x="690" y="80"/>
                    </a:lnTo>
                    <a:lnTo>
                      <a:pt x="686" y="82"/>
                    </a:lnTo>
                    <a:lnTo>
                      <a:pt x="682" y="84"/>
                    </a:lnTo>
                    <a:lnTo>
                      <a:pt x="680" y="86"/>
                    </a:lnTo>
                    <a:lnTo>
                      <a:pt x="676" y="88"/>
                    </a:lnTo>
                    <a:lnTo>
                      <a:pt x="670" y="86"/>
                    </a:lnTo>
                    <a:lnTo>
                      <a:pt x="668" y="86"/>
                    </a:lnTo>
                    <a:lnTo>
                      <a:pt x="664" y="88"/>
                    </a:lnTo>
                    <a:lnTo>
                      <a:pt x="662" y="90"/>
                    </a:lnTo>
                    <a:lnTo>
                      <a:pt x="656" y="96"/>
                    </a:lnTo>
                    <a:lnTo>
                      <a:pt x="650" y="104"/>
                    </a:lnTo>
                    <a:lnTo>
                      <a:pt x="640" y="114"/>
                    </a:lnTo>
                    <a:lnTo>
                      <a:pt x="634" y="118"/>
                    </a:lnTo>
                    <a:lnTo>
                      <a:pt x="628" y="120"/>
                    </a:lnTo>
                    <a:lnTo>
                      <a:pt x="622" y="120"/>
                    </a:lnTo>
                    <a:lnTo>
                      <a:pt x="616" y="120"/>
                    </a:lnTo>
                    <a:lnTo>
                      <a:pt x="600" y="120"/>
                    </a:lnTo>
                    <a:lnTo>
                      <a:pt x="596" y="118"/>
                    </a:lnTo>
                    <a:lnTo>
                      <a:pt x="592" y="116"/>
                    </a:lnTo>
                    <a:lnTo>
                      <a:pt x="588" y="112"/>
                    </a:lnTo>
                    <a:lnTo>
                      <a:pt x="586" y="108"/>
                    </a:lnTo>
                    <a:lnTo>
                      <a:pt x="586" y="104"/>
                    </a:lnTo>
                    <a:lnTo>
                      <a:pt x="584" y="104"/>
                    </a:lnTo>
                    <a:lnTo>
                      <a:pt x="580" y="108"/>
                    </a:lnTo>
                    <a:lnTo>
                      <a:pt x="578" y="110"/>
                    </a:lnTo>
                    <a:lnTo>
                      <a:pt x="574" y="112"/>
                    </a:lnTo>
                    <a:lnTo>
                      <a:pt x="570" y="114"/>
                    </a:lnTo>
                    <a:lnTo>
                      <a:pt x="562" y="112"/>
                    </a:lnTo>
                    <a:lnTo>
                      <a:pt x="558" y="110"/>
                    </a:lnTo>
                    <a:lnTo>
                      <a:pt x="552" y="110"/>
                    </a:lnTo>
                    <a:lnTo>
                      <a:pt x="542" y="114"/>
                    </a:lnTo>
                    <a:lnTo>
                      <a:pt x="536" y="116"/>
                    </a:lnTo>
                    <a:lnTo>
                      <a:pt x="530" y="118"/>
                    </a:lnTo>
                    <a:lnTo>
                      <a:pt x="520" y="116"/>
                    </a:lnTo>
                    <a:lnTo>
                      <a:pt x="510" y="112"/>
                    </a:lnTo>
                    <a:lnTo>
                      <a:pt x="502" y="108"/>
                    </a:lnTo>
                    <a:lnTo>
                      <a:pt x="498" y="102"/>
                    </a:lnTo>
                    <a:lnTo>
                      <a:pt x="494" y="98"/>
                    </a:lnTo>
                    <a:lnTo>
                      <a:pt x="492" y="94"/>
                    </a:lnTo>
                    <a:lnTo>
                      <a:pt x="464" y="96"/>
                    </a:lnTo>
                    <a:lnTo>
                      <a:pt x="454" y="122"/>
                    </a:lnTo>
                    <a:lnTo>
                      <a:pt x="444" y="152"/>
                    </a:lnTo>
                    <a:lnTo>
                      <a:pt x="436" y="166"/>
                    </a:lnTo>
                    <a:lnTo>
                      <a:pt x="426" y="180"/>
                    </a:lnTo>
                    <a:lnTo>
                      <a:pt x="414" y="190"/>
                    </a:lnTo>
                    <a:lnTo>
                      <a:pt x="400" y="200"/>
                    </a:lnTo>
                    <a:lnTo>
                      <a:pt x="380" y="206"/>
                    </a:lnTo>
                    <a:lnTo>
                      <a:pt x="368" y="212"/>
                    </a:lnTo>
                    <a:lnTo>
                      <a:pt x="360" y="218"/>
                    </a:lnTo>
                    <a:lnTo>
                      <a:pt x="356" y="222"/>
                    </a:lnTo>
                    <a:lnTo>
                      <a:pt x="352" y="232"/>
                    </a:lnTo>
                    <a:lnTo>
                      <a:pt x="348" y="238"/>
                    </a:lnTo>
                    <a:lnTo>
                      <a:pt x="342" y="244"/>
                    </a:lnTo>
                    <a:lnTo>
                      <a:pt x="334" y="252"/>
                    </a:lnTo>
                    <a:lnTo>
                      <a:pt x="332" y="256"/>
                    </a:lnTo>
                    <a:lnTo>
                      <a:pt x="330" y="260"/>
                    </a:lnTo>
                    <a:lnTo>
                      <a:pt x="330" y="264"/>
                    </a:lnTo>
                    <a:lnTo>
                      <a:pt x="330" y="270"/>
                    </a:lnTo>
                    <a:lnTo>
                      <a:pt x="330" y="274"/>
                    </a:lnTo>
                    <a:lnTo>
                      <a:pt x="326" y="282"/>
                    </a:lnTo>
                    <a:lnTo>
                      <a:pt x="320" y="292"/>
                    </a:lnTo>
                    <a:lnTo>
                      <a:pt x="312" y="306"/>
                    </a:lnTo>
                    <a:lnTo>
                      <a:pt x="308" y="320"/>
                    </a:lnTo>
                    <a:lnTo>
                      <a:pt x="308" y="336"/>
                    </a:lnTo>
                    <a:lnTo>
                      <a:pt x="310" y="350"/>
                    </a:lnTo>
                    <a:lnTo>
                      <a:pt x="314" y="376"/>
                    </a:lnTo>
                    <a:lnTo>
                      <a:pt x="314" y="388"/>
                    </a:lnTo>
                    <a:lnTo>
                      <a:pt x="310" y="398"/>
                    </a:lnTo>
                    <a:lnTo>
                      <a:pt x="298" y="420"/>
                    </a:lnTo>
                    <a:lnTo>
                      <a:pt x="288" y="434"/>
                    </a:lnTo>
                    <a:lnTo>
                      <a:pt x="282" y="442"/>
                    </a:lnTo>
                    <a:lnTo>
                      <a:pt x="276" y="446"/>
                    </a:lnTo>
                    <a:lnTo>
                      <a:pt x="264" y="452"/>
                    </a:lnTo>
                    <a:lnTo>
                      <a:pt x="258" y="456"/>
                    </a:lnTo>
                    <a:lnTo>
                      <a:pt x="250" y="466"/>
                    </a:lnTo>
                    <a:lnTo>
                      <a:pt x="240" y="478"/>
                    </a:lnTo>
                    <a:lnTo>
                      <a:pt x="228" y="484"/>
                    </a:lnTo>
                    <a:lnTo>
                      <a:pt x="218" y="488"/>
                    </a:lnTo>
                    <a:lnTo>
                      <a:pt x="206" y="490"/>
                    </a:lnTo>
                    <a:lnTo>
                      <a:pt x="196" y="492"/>
                    </a:lnTo>
                    <a:lnTo>
                      <a:pt x="188" y="496"/>
                    </a:lnTo>
                    <a:lnTo>
                      <a:pt x="180" y="500"/>
                    </a:lnTo>
                    <a:lnTo>
                      <a:pt x="174" y="510"/>
                    </a:lnTo>
                    <a:lnTo>
                      <a:pt x="164" y="538"/>
                    </a:lnTo>
                    <a:lnTo>
                      <a:pt x="156" y="556"/>
                    </a:lnTo>
                    <a:lnTo>
                      <a:pt x="148" y="566"/>
                    </a:lnTo>
                    <a:lnTo>
                      <a:pt x="140" y="572"/>
                    </a:lnTo>
                    <a:lnTo>
                      <a:pt x="134" y="574"/>
                    </a:lnTo>
                    <a:lnTo>
                      <a:pt x="128" y="578"/>
                    </a:lnTo>
                    <a:lnTo>
                      <a:pt x="124" y="584"/>
                    </a:lnTo>
                    <a:lnTo>
                      <a:pt x="120" y="596"/>
                    </a:lnTo>
                    <a:lnTo>
                      <a:pt x="116" y="610"/>
                    </a:lnTo>
                    <a:lnTo>
                      <a:pt x="114" y="614"/>
                    </a:lnTo>
                    <a:lnTo>
                      <a:pt x="110" y="620"/>
                    </a:lnTo>
                    <a:lnTo>
                      <a:pt x="108" y="640"/>
                    </a:lnTo>
                    <a:lnTo>
                      <a:pt x="104" y="660"/>
                    </a:lnTo>
                    <a:lnTo>
                      <a:pt x="102" y="666"/>
                    </a:lnTo>
                    <a:lnTo>
                      <a:pt x="98" y="670"/>
                    </a:lnTo>
                    <a:lnTo>
                      <a:pt x="90" y="678"/>
                    </a:lnTo>
                    <a:lnTo>
                      <a:pt x="78" y="692"/>
                    </a:lnTo>
                    <a:lnTo>
                      <a:pt x="64" y="706"/>
                    </a:lnTo>
                    <a:lnTo>
                      <a:pt x="58" y="712"/>
                    </a:lnTo>
                    <a:lnTo>
                      <a:pt x="58" y="714"/>
                    </a:lnTo>
                    <a:lnTo>
                      <a:pt x="60" y="714"/>
                    </a:lnTo>
                    <a:lnTo>
                      <a:pt x="64" y="714"/>
                    </a:lnTo>
                    <a:lnTo>
                      <a:pt x="66" y="714"/>
                    </a:lnTo>
                    <a:lnTo>
                      <a:pt x="66" y="716"/>
                    </a:lnTo>
                    <a:lnTo>
                      <a:pt x="60" y="726"/>
                    </a:lnTo>
                    <a:lnTo>
                      <a:pt x="54" y="740"/>
                    </a:lnTo>
                    <a:lnTo>
                      <a:pt x="52" y="750"/>
                    </a:lnTo>
                    <a:lnTo>
                      <a:pt x="50" y="762"/>
                    </a:lnTo>
                    <a:lnTo>
                      <a:pt x="48" y="772"/>
                    </a:lnTo>
                    <a:lnTo>
                      <a:pt x="46" y="778"/>
                    </a:lnTo>
                    <a:lnTo>
                      <a:pt x="42" y="782"/>
                    </a:lnTo>
                    <a:lnTo>
                      <a:pt x="36" y="786"/>
                    </a:lnTo>
                    <a:lnTo>
                      <a:pt x="32" y="788"/>
                    </a:lnTo>
                    <a:lnTo>
                      <a:pt x="28" y="794"/>
                    </a:lnTo>
                    <a:lnTo>
                      <a:pt x="24" y="800"/>
                    </a:lnTo>
                    <a:lnTo>
                      <a:pt x="20" y="812"/>
                    </a:lnTo>
                    <a:lnTo>
                      <a:pt x="16" y="834"/>
                    </a:lnTo>
                    <a:lnTo>
                      <a:pt x="14" y="850"/>
                    </a:lnTo>
                    <a:lnTo>
                      <a:pt x="16" y="858"/>
                    </a:lnTo>
                    <a:lnTo>
                      <a:pt x="16" y="860"/>
                    </a:lnTo>
                    <a:lnTo>
                      <a:pt x="18" y="860"/>
                    </a:lnTo>
                    <a:lnTo>
                      <a:pt x="20" y="860"/>
                    </a:lnTo>
                    <a:lnTo>
                      <a:pt x="22" y="858"/>
                    </a:lnTo>
                    <a:lnTo>
                      <a:pt x="22" y="852"/>
                    </a:lnTo>
                    <a:lnTo>
                      <a:pt x="24" y="846"/>
                    </a:lnTo>
                    <a:lnTo>
                      <a:pt x="24" y="844"/>
                    </a:lnTo>
                    <a:lnTo>
                      <a:pt x="26" y="844"/>
                    </a:lnTo>
                    <a:lnTo>
                      <a:pt x="30" y="846"/>
                    </a:lnTo>
                    <a:lnTo>
                      <a:pt x="30" y="850"/>
                    </a:lnTo>
                    <a:lnTo>
                      <a:pt x="32" y="860"/>
                    </a:lnTo>
                    <a:lnTo>
                      <a:pt x="34" y="868"/>
                    </a:lnTo>
                    <a:lnTo>
                      <a:pt x="36" y="868"/>
                    </a:lnTo>
                    <a:lnTo>
                      <a:pt x="38" y="868"/>
                    </a:lnTo>
                    <a:lnTo>
                      <a:pt x="42" y="868"/>
                    </a:lnTo>
                    <a:lnTo>
                      <a:pt x="44" y="868"/>
                    </a:lnTo>
                    <a:lnTo>
                      <a:pt x="48" y="878"/>
                    </a:lnTo>
                    <a:lnTo>
                      <a:pt x="50" y="890"/>
                    </a:lnTo>
                    <a:lnTo>
                      <a:pt x="50" y="902"/>
                    </a:lnTo>
                    <a:lnTo>
                      <a:pt x="50" y="910"/>
                    </a:lnTo>
                    <a:lnTo>
                      <a:pt x="46" y="918"/>
                    </a:lnTo>
                    <a:lnTo>
                      <a:pt x="42" y="926"/>
                    </a:lnTo>
                    <a:lnTo>
                      <a:pt x="38" y="930"/>
                    </a:lnTo>
                    <a:lnTo>
                      <a:pt x="40" y="932"/>
                    </a:lnTo>
                    <a:lnTo>
                      <a:pt x="42" y="936"/>
                    </a:lnTo>
                    <a:lnTo>
                      <a:pt x="46" y="940"/>
                    </a:lnTo>
                    <a:lnTo>
                      <a:pt x="50" y="948"/>
                    </a:lnTo>
                    <a:lnTo>
                      <a:pt x="54" y="958"/>
                    </a:lnTo>
                    <a:lnTo>
                      <a:pt x="58" y="972"/>
                    </a:lnTo>
                    <a:lnTo>
                      <a:pt x="60" y="986"/>
                    </a:lnTo>
                    <a:lnTo>
                      <a:pt x="60" y="1002"/>
                    </a:lnTo>
                    <a:lnTo>
                      <a:pt x="58" y="1016"/>
                    </a:lnTo>
                    <a:lnTo>
                      <a:pt x="54" y="1030"/>
                    </a:lnTo>
                    <a:lnTo>
                      <a:pt x="42" y="1066"/>
                    </a:lnTo>
                    <a:lnTo>
                      <a:pt x="40" y="1076"/>
                    </a:lnTo>
                    <a:lnTo>
                      <a:pt x="40" y="1086"/>
                    </a:lnTo>
                    <a:lnTo>
                      <a:pt x="40" y="1102"/>
                    </a:lnTo>
                    <a:lnTo>
                      <a:pt x="34" y="1122"/>
                    </a:lnTo>
                    <a:lnTo>
                      <a:pt x="28" y="1132"/>
                    </a:lnTo>
                    <a:lnTo>
                      <a:pt x="22" y="1142"/>
                    </a:lnTo>
                    <a:lnTo>
                      <a:pt x="16" y="1150"/>
                    </a:lnTo>
                    <a:lnTo>
                      <a:pt x="6" y="1156"/>
                    </a:lnTo>
                    <a:lnTo>
                      <a:pt x="2" y="1160"/>
                    </a:lnTo>
                    <a:lnTo>
                      <a:pt x="0" y="1162"/>
                    </a:lnTo>
                    <a:lnTo>
                      <a:pt x="2" y="1164"/>
                    </a:lnTo>
                    <a:lnTo>
                      <a:pt x="10" y="1164"/>
                    </a:lnTo>
                    <a:lnTo>
                      <a:pt x="14" y="1164"/>
                    </a:lnTo>
                    <a:lnTo>
                      <a:pt x="16" y="1168"/>
                    </a:lnTo>
                    <a:lnTo>
                      <a:pt x="22" y="1184"/>
                    </a:lnTo>
                    <a:lnTo>
                      <a:pt x="30" y="1202"/>
                    </a:lnTo>
                    <a:lnTo>
                      <a:pt x="34" y="1210"/>
                    </a:lnTo>
                    <a:lnTo>
                      <a:pt x="38" y="1218"/>
                    </a:lnTo>
                    <a:lnTo>
                      <a:pt x="40" y="1222"/>
                    </a:lnTo>
                    <a:lnTo>
                      <a:pt x="44" y="1224"/>
                    </a:lnTo>
                    <a:lnTo>
                      <a:pt x="46" y="1226"/>
                    </a:lnTo>
                    <a:lnTo>
                      <a:pt x="52" y="1226"/>
                    </a:lnTo>
                    <a:lnTo>
                      <a:pt x="64" y="1224"/>
                    </a:lnTo>
                    <a:lnTo>
                      <a:pt x="80" y="1224"/>
                    </a:lnTo>
                    <a:lnTo>
                      <a:pt x="62" y="1228"/>
                    </a:lnTo>
                    <a:lnTo>
                      <a:pt x="50" y="1232"/>
                    </a:lnTo>
                    <a:lnTo>
                      <a:pt x="40" y="1232"/>
                    </a:lnTo>
                    <a:lnTo>
                      <a:pt x="38" y="1232"/>
                    </a:lnTo>
                    <a:lnTo>
                      <a:pt x="36" y="1228"/>
                    </a:lnTo>
                    <a:lnTo>
                      <a:pt x="34" y="1226"/>
                    </a:lnTo>
                    <a:lnTo>
                      <a:pt x="32" y="1224"/>
                    </a:lnTo>
                    <a:lnTo>
                      <a:pt x="28" y="1228"/>
                    </a:lnTo>
                    <a:lnTo>
                      <a:pt x="26" y="1234"/>
                    </a:lnTo>
                    <a:lnTo>
                      <a:pt x="28" y="1242"/>
                    </a:lnTo>
                    <a:lnTo>
                      <a:pt x="30" y="1252"/>
                    </a:lnTo>
                    <a:lnTo>
                      <a:pt x="30" y="1260"/>
                    </a:lnTo>
                    <a:lnTo>
                      <a:pt x="30" y="1264"/>
                    </a:lnTo>
                    <a:lnTo>
                      <a:pt x="32" y="1264"/>
                    </a:lnTo>
                    <a:lnTo>
                      <a:pt x="34" y="1264"/>
                    </a:lnTo>
                    <a:lnTo>
                      <a:pt x="40" y="1262"/>
                    </a:lnTo>
                    <a:lnTo>
                      <a:pt x="44" y="1264"/>
                    </a:lnTo>
                    <a:lnTo>
                      <a:pt x="48" y="1266"/>
                    </a:lnTo>
                    <a:lnTo>
                      <a:pt x="54" y="1264"/>
                    </a:lnTo>
                    <a:lnTo>
                      <a:pt x="60" y="1264"/>
                    </a:lnTo>
                    <a:lnTo>
                      <a:pt x="64" y="1264"/>
                    </a:lnTo>
                    <a:lnTo>
                      <a:pt x="70" y="1268"/>
                    </a:lnTo>
                    <a:lnTo>
                      <a:pt x="76" y="1268"/>
                    </a:lnTo>
                    <a:lnTo>
                      <a:pt x="64" y="1270"/>
                    </a:lnTo>
                    <a:lnTo>
                      <a:pt x="54" y="1270"/>
                    </a:lnTo>
                    <a:lnTo>
                      <a:pt x="44" y="1268"/>
                    </a:lnTo>
                    <a:lnTo>
                      <a:pt x="38" y="1266"/>
                    </a:lnTo>
                    <a:lnTo>
                      <a:pt x="36" y="1268"/>
                    </a:lnTo>
                    <a:lnTo>
                      <a:pt x="32" y="1270"/>
                    </a:lnTo>
                    <a:lnTo>
                      <a:pt x="30" y="1274"/>
                    </a:lnTo>
                    <a:lnTo>
                      <a:pt x="30" y="1276"/>
                    </a:lnTo>
                    <a:lnTo>
                      <a:pt x="34" y="1278"/>
                    </a:lnTo>
                    <a:lnTo>
                      <a:pt x="38" y="1282"/>
                    </a:lnTo>
                    <a:lnTo>
                      <a:pt x="40" y="1286"/>
                    </a:lnTo>
                    <a:lnTo>
                      <a:pt x="42" y="1286"/>
                    </a:lnTo>
                    <a:lnTo>
                      <a:pt x="48" y="1284"/>
                    </a:lnTo>
                    <a:lnTo>
                      <a:pt x="52" y="1284"/>
                    </a:lnTo>
                    <a:lnTo>
                      <a:pt x="50" y="1290"/>
                    </a:lnTo>
                    <a:lnTo>
                      <a:pt x="46" y="1296"/>
                    </a:lnTo>
                    <a:lnTo>
                      <a:pt x="48" y="1298"/>
                    </a:lnTo>
                    <a:lnTo>
                      <a:pt x="48" y="1300"/>
                    </a:lnTo>
                    <a:lnTo>
                      <a:pt x="54" y="1300"/>
                    </a:lnTo>
                    <a:lnTo>
                      <a:pt x="60" y="1300"/>
                    </a:lnTo>
                    <a:lnTo>
                      <a:pt x="64" y="1298"/>
                    </a:lnTo>
                    <a:lnTo>
                      <a:pt x="64" y="1300"/>
                    </a:lnTo>
                    <a:lnTo>
                      <a:pt x="64" y="1306"/>
                    </a:lnTo>
                    <a:lnTo>
                      <a:pt x="64" y="1312"/>
                    </a:lnTo>
                    <a:lnTo>
                      <a:pt x="66" y="1312"/>
                    </a:lnTo>
                    <a:lnTo>
                      <a:pt x="70" y="1310"/>
                    </a:lnTo>
                    <a:lnTo>
                      <a:pt x="78" y="1304"/>
                    </a:lnTo>
                    <a:lnTo>
                      <a:pt x="86" y="1300"/>
                    </a:lnTo>
                    <a:lnTo>
                      <a:pt x="88" y="1300"/>
                    </a:lnTo>
                    <a:lnTo>
                      <a:pt x="88" y="1302"/>
                    </a:lnTo>
                    <a:lnTo>
                      <a:pt x="82" y="1304"/>
                    </a:lnTo>
                    <a:lnTo>
                      <a:pt x="80" y="1306"/>
                    </a:lnTo>
                    <a:lnTo>
                      <a:pt x="78" y="1308"/>
                    </a:lnTo>
                    <a:lnTo>
                      <a:pt x="80" y="1312"/>
                    </a:lnTo>
                    <a:lnTo>
                      <a:pt x="82" y="1318"/>
                    </a:lnTo>
                    <a:lnTo>
                      <a:pt x="84" y="1320"/>
                    </a:lnTo>
                    <a:lnTo>
                      <a:pt x="82" y="1324"/>
                    </a:lnTo>
                    <a:lnTo>
                      <a:pt x="80" y="1328"/>
                    </a:lnTo>
                    <a:lnTo>
                      <a:pt x="82" y="1328"/>
                    </a:lnTo>
                    <a:lnTo>
                      <a:pt x="84" y="1328"/>
                    </a:lnTo>
                    <a:lnTo>
                      <a:pt x="86" y="1332"/>
                    </a:lnTo>
                    <a:lnTo>
                      <a:pt x="86" y="1336"/>
                    </a:lnTo>
                    <a:lnTo>
                      <a:pt x="88" y="1336"/>
                    </a:lnTo>
                    <a:lnTo>
                      <a:pt x="90" y="1338"/>
                    </a:lnTo>
                    <a:lnTo>
                      <a:pt x="90" y="1342"/>
                    </a:lnTo>
                    <a:lnTo>
                      <a:pt x="92" y="1346"/>
                    </a:lnTo>
                    <a:lnTo>
                      <a:pt x="94" y="1344"/>
                    </a:lnTo>
                    <a:lnTo>
                      <a:pt x="100" y="1336"/>
                    </a:lnTo>
                    <a:lnTo>
                      <a:pt x="98" y="1344"/>
                    </a:lnTo>
                    <a:lnTo>
                      <a:pt x="100" y="1348"/>
                    </a:lnTo>
                    <a:lnTo>
                      <a:pt x="98" y="1352"/>
                    </a:lnTo>
                    <a:lnTo>
                      <a:pt x="100" y="1356"/>
                    </a:lnTo>
                    <a:lnTo>
                      <a:pt x="102" y="1356"/>
                    </a:lnTo>
                    <a:lnTo>
                      <a:pt x="104" y="1352"/>
                    </a:lnTo>
                    <a:lnTo>
                      <a:pt x="108" y="1346"/>
                    </a:lnTo>
                    <a:lnTo>
                      <a:pt x="110" y="1344"/>
                    </a:lnTo>
                    <a:lnTo>
                      <a:pt x="114" y="1344"/>
                    </a:lnTo>
                    <a:lnTo>
                      <a:pt x="116" y="1344"/>
                    </a:lnTo>
                    <a:lnTo>
                      <a:pt x="112" y="1346"/>
                    </a:lnTo>
                    <a:lnTo>
                      <a:pt x="110" y="1350"/>
                    </a:lnTo>
                    <a:lnTo>
                      <a:pt x="110" y="1354"/>
                    </a:lnTo>
                    <a:lnTo>
                      <a:pt x="110" y="1358"/>
                    </a:lnTo>
                    <a:lnTo>
                      <a:pt x="112" y="1360"/>
                    </a:lnTo>
                    <a:lnTo>
                      <a:pt x="114" y="1360"/>
                    </a:lnTo>
                    <a:lnTo>
                      <a:pt x="118" y="1356"/>
                    </a:lnTo>
                    <a:lnTo>
                      <a:pt x="118" y="1354"/>
                    </a:lnTo>
                    <a:lnTo>
                      <a:pt x="118" y="1362"/>
                    </a:lnTo>
                    <a:lnTo>
                      <a:pt x="118" y="1372"/>
                    </a:lnTo>
                    <a:lnTo>
                      <a:pt x="120" y="1378"/>
                    </a:lnTo>
                    <a:lnTo>
                      <a:pt x="124" y="1384"/>
                    </a:lnTo>
                    <a:lnTo>
                      <a:pt x="128" y="1386"/>
                    </a:lnTo>
                    <a:lnTo>
                      <a:pt x="134" y="1388"/>
                    </a:lnTo>
                    <a:lnTo>
                      <a:pt x="140" y="1392"/>
                    </a:lnTo>
                    <a:lnTo>
                      <a:pt x="146" y="1398"/>
                    </a:lnTo>
                    <a:lnTo>
                      <a:pt x="154" y="1402"/>
                    </a:lnTo>
                    <a:lnTo>
                      <a:pt x="158" y="1404"/>
                    </a:lnTo>
                    <a:lnTo>
                      <a:pt x="158" y="1406"/>
                    </a:lnTo>
                    <a:lnTo>
                      <a:pt x="158" y="1408"/>
                    </a:lnTo>
                    <a:lnTo>
                      <a:pt x="156" y="1414"/>
                    </a:lnTo>
                    <a:lnTo>
                      <a:pt x="154" y="1418"/>
                    </a:lnTo>
                    <a:lnTo>
                      <a:pt x="156" y="1420"/>
                    </a:lnTo>
                    <a:lnTo>
                      <a:pt x="162" y="1424"/>
                    </a:lnTo>
                    <a:lnTo>
                      <a:pt x="166" y="1426"/>
                    </a:lnTo>
                    <a:lnTo>
                      <a:pt x="166" y="1430"/>
                    </a:lnTo>
                    <a:lnTo>
                      <a:pt x="168" y="1432"/>
                    </a:lnTo>
                    <a:lnTo>
                      <a:pt x="170" y="1434"/>
                    </a:lnTo>
                    <a:lnTo>
                      <a:pt x="172" y="1436"/>
                    </a:lnTo>
                    <a:lnTo>
                      <a:pt x="170" y="1438"/>
                    </a:lnTo>
                    <a:lnTo>
                      <a:pt x="170" y="1440"/>
                    </a:lnTo>
                    <a:lnTo>
                      <a:pt x="170" y="1442"/>
                    </a:lnTo>
                    <a:lnTo>
                      <a:pt x="176" y="1448"/>
                    </a:lnTo>
                    <a:lnTo>
                      <a:pt x="176" y="1450"/>
                    </a:lnTo>
                    <a:lnTo>
                      <a:pt x="174" y="1450"/>
                    </a:lnTo>
                    <a:lnTo>
                      <a:pt x="172" y="1452"/>
                    </a:lnTo>
                    <a:lnTo>
                      <a:pt x="170" y="1454"/>
                    </a:lnTo>
                    <a:lnTo>
                      <a:pt x="172" y="1458"/>
                    </a:lnTo>
                    <a:lnTo>
                      <a:pt x="174" y="1462"/>
                    </a:lnTo>
                    <a:lnTo>
                      <a:pt x="176" y="1462"/>
                    </a:lnTo>
                    <a:lnTo>
                      <a:pt x="180" y="1462"/>
                    </a:lnTo>
                    <a:lnTo>
                      <a:pt x="186" y="1464"/>
                    </a:lnTo>
                    <a:lnTo>
                      <a:pt x="182" y="1468"/>
                    </a:lnTo>
                    <a:lnTo>
                      <a:pt x="178" y="1470"/>
                    </a:lnTo>
                    <a:lnTo>
                      <a:pt x="172" y="1470"/>
                    </a:lnTo>
                    <a:lnTo>
                      <a:pt x="170" y="1468"/>
                    </a:lnTo>
                    <a:lnTo>
                      <a:pt x="170" y="1472"/>
                    </a:lnTo>
                    <a:lnTo>
                      <a:pt x="174" y="1480"/>
                    </a:lnTo>
                    <a:lnTo>
                      <a:pt x="178" y="1482"/>
                    </a:lnTo>
                    <a:lnTo>
                      <a:pt x="182" y="1482"/>
                    </a:lnTo>
                    <a:lnTo>
                      <a:pt x="184" y="1486"/>
                    </a:lnTo>
                    <a:lnTo>
                      <a:pt x="186" y="1492"/>
                    </a:lnTo>
                    <a:lnTo>
                      <a:pt x="184" y="1494"/>
                    </a:lnTo>
                    <a:lnTo>
                      <a:pt x="182" y="1496"/>
                    </a:lnTo>
                    <a:lnTo>
                      <a:pt x="182" y="1498"/>
                    </a:lnTo>
                    <a:lnTo>
                      <a:pt x="186" y="1502"/>
                    </a:lnTo>
                    <a:lnTo>
                      <a:pt x="192" y="1504"/>
                    </a:lnTo>
                    <a:lnTo>
                      <a:pt x="196" y="1506"/>
                    </a:lnTo>
                    <a:lnTo>
                      <a:pt x="202" y="1510"/>
                    </a:lnTo>
                    <a:lnTo>
                      <a:pt x="204" y="1512"/>
                    </a:lnTo>
                    <a:lnTo>
                      <a:pt x="204" y="1514"/>
                    </a:lnTo>
                    <a:lnTo>
                      <a:pt x="202" y="1518"/>
                    </a:lnTo>
                    <a:lnTo>
                      <a:pt x="200" y="1520"/>
                    </a:lnTo>
                    <a:lnTo>
                      <a:pt x="202" y="1520"/>
                    </a:lnTo>
                    <a:lnTo>
                      <a:pt x="208" y="1524"/>
                    </a:lnTo>
                    <a:lnTo>
                      <a:pt x="228" y="1534"/>
                    </a:lnTo>
                    <a:lnTo>
                      <a:pt x="236" y="1538"/>
                    </a:lnTo>
                    <a:lnTo>
                      <a:pt x="242" y="1546"/>
                    </a:lnTo>
                    <a:lnTo>
                      <a:pt x="246" y="1552"/>
                    </a:lnTo>
                    <a:lnTo>
                      <a:pt x="250" y="1556"/>
                    </a:lnTo>
                    <a:lnTo>
                      <a:pt x="260" y="1562"/>
                    </a:lnTo>
                    <a:lnTo>
                      <a:pt x="268" y="1566"/>
                    </a:lnTo>
                    <a:lnTo>
                      <a:pt x="270" y="1570"/>
                    </a:lnTo>
                    <a:lnTo>
                      <a:pt x="272" y="1574"/>
                    </a:lnTo>
                    <a:lnTo>
                      <a:pt x="272" y="1576"/>
                    </a:lnTo>
                    <a:lnTo>
                      <a:pt x="274" y="1578"/>
                    </a:lnTo>
                    <a:lnTo>
                      <a:pt x="282" y="1582"/>
                    </a:lnTo>
                    <a:lnTo>
                      <a:pt x="294" y="1590"/>
                    </a:lnTo>
                    <a:lnTo>
                      <a:pt x="302" y="1596"/>
                    </a:lnTo>
                    <a:lnTo>
                      <a:pt x="310" y="1606"/>
                    </a:lnTo>
                    <a:lnTo>
                      <a:pt x="328" y="1626"/>
                    </a:lnTo>
                    <a:lnTo>
                      <a:pt x="346" y="1644"/>
                    </a:lnTo>
                    <a:lnTo>
                      <a:pt x="364" y="1654"/>
                    </a:lnTo>
                    <a:lnTo>
                      <a:pt x="380" y="1660"/>
                    </a:lnTo>
                    <a:lnTo>
                      <a:pt x="388" y="1664"/>
                    </a:lnTo>
                    <a:lnTo>
                      <a:pt x="392" y="1668"/>
                    </a:lnTo>
                    <a:lnTo>
                      <a:pt x="396" y="1670"/>
                    </a:lnTo>
                    <a:lnTo>
                      <a:pt x="402" y="1672"/>
                    </a:lnTo>
                    <a:lnTo>
                      <a:pt x="408" y="1670"/>
                    </a:lnTo>
                    <a:lnTo>
                      <a:pt x="412" y="1666"/>
                    </a:lnTo>
                    <a:lnTo>
                      <a:pt x="422" y="1658"/>
                    </a:lnTo>
                    <a:lnTo>
                      <a:pt x="436" y="1648"/>
                    </a:lnTo>
                    <a:lnTo>
                      <a:pt x="448" y="1642"/>
                    </a:lnTo>
                    <a:lnTo>
                      <a:pt x="462" y="1638"/>
                    </a:lnTo>
                    <a:lnTo>
                      <a:pt x="488" y="1634"/>
                    </a:lnTo>
                    <a:lnTo>
                      <a:pt x="504" y="1632"/>
                    </a:lnTo>
                    <a:lnTo>
                      <a:pt x="516" y="1632"/>
                    </a:lnTo>
                    <a:lnTo>
                      <a:pt x="530" y="1630"/>
                    </a:lnTo>
                    <a:lnTo>
                      <a:pt x="540" y="1628"/>
                    </a:lnTo>
                    <a:lnTo>
                      <a:pt x="554" y="1630"/>
                    </a:lnTo>
                    <a:lnTo>
                      <a:pt x="566" y="1630"/>
                    </a:lnTo>
                    <a:lnTo>
                      <a:pt x="572" y="1630"/>
                    </a:lnTo>
                    <a:lnTo>
                      <a:pt x="576" y="1630"/>
                    </a:lnTo>
                    <a:lnTo>
                      <a:pt x="580" y="1630"/>
                    </a:lnTo>
                    <a:lnTo>
                      <a:pt x="590" y="1632"/>
                    </a:lnTo>
                    <a:lnTo>
                      <a:pt x="592" y="1632"/>
                    </a:lnTo>
                    <a:lnTo>
                      <a:pt x="590" y="1632"/>
                    </a:lnTo>
                    <a:lnTo>
                      <a:pt x="582" y="1634"/>
                    </a:lnTo>
                    <a:lnTo>
                      <a:pt x="578" y="1634"/>
                    </a:lnTo>
                    <a:lnTo>
                      <a:pt x="576" y="1636"/>
                    </a:lnTo>
                    <a:lnTo>
                      <a:pt x="578" y="1636"/>
                    </a:lnTo>
                    <a:lnTo>
                      <a:pt x="594" y="1640"/>
                    </a:lnTo>
                    <a:lnTo>
                      <a:pt x="606" y="1644"/>
                    </a:lnTo>
                    <a:lnTo>
                      <a:pt x="618" y="1650"/>
                    </a:lnTo>
                    <a:lnTo>
                      <a:pt x="622" y="1652"/>
                    </a:lnTo>
                    <a:lnTo>
                      <a:pt x="626" y="1652"/>
                    </a:lnTo>
                    <a:lnTo>
                      <a:pt x="636" y="1644"/>
                    </a:lnTo>
                    <a:lnTo>
                      <a:pt x="648" y="1636"/>
                    </a:lnTo>
                    <a:lnTo>
                      <a:pt x="656" y="1632"/>
                    </a:lnTo>
                    <a:lnTo>
                      <a:pt x="664" y="1630"/>
                    </a:lnTo>
                    <a:lnTo>
                      <a:pt x="674" y="1628"/>
                    </a:lnTo>
                    <a:lnTo>
                      <a:pt x="680" y="1624"/>
                    </a:lnTo>
                    <a:lnTo>
                      <a:pt x="690" y="1614"/>
                    </a:lnTo>
                    <a:lnTo>
                      <a:pt x="698" y="1610"/>
                    </a:lnTo>
                    <a:lnTo>
                      <a:pt x="706" y="1606"/>
                    </a:lnTo>
                    <a:lnTo>
                      <a:pt x="716" y="1602"/>
                    </a:lnTo>
                    <a:lnTo>
                      <a:pt x="730" y="1600"/>
                    </a:lnTo>
                    <a:lnTo>
                      <a:pt x="742" y="1598"/>
                    </a:lnTo>
                    <a:lnTo>
                      <a:pt x="746" y="1596"/>
                    </a:lnTo>
                    <a:lnTo>
                      <a:pt x="746" y="1594"/>
                    </a:lnTo>
                    <a:lnTo>
                      <a:pt x="748" y="1590"/>
                    </a:lnTo>
                    <a:lnTo>
                      <a:pt x="754" y="1586"/>
                    </a:lnTo>
                    <a:lnTo>
                      <a:pt x="760" y="1582"/>
                    </a:lnTo>
                    <a:lnTo>
                      <a:pt x="774" y="1578"/>
                    </a:lnTo>
                    <a:lnTo>
                      <a:pt x="796" y="1574"/>
                    </a:lnTo>
                    <a:lnTo>
                      <a:pt x="814" y="1572"/>
                    </a:lnTo>
                    <a:lnTo>
                      <a:pt x="832" y="1572"/>
                    </a:lnTo>
                    <a:lnTo>
                      <a:pt x="838" y="1570"/>
                    </a:lnTo>
                    <a:lnTo>
                      <a:pt x="840" y="1568"/>
                    </a:lnTo>
                    <a:lnTo>
                      <a:pt x="844" y="1564"/>
                    </a:lnTo>
                    <a:lnTo>
                      <a:pt x="846" y="1566"/>
                    </a:lnTo>
                    <a:lnTo>
                      <a:pt x="850" y="1570"/>
                    </a:lnTo>
                    <a:lnTo>
                      <a:pt x="860" y="1570"/>
                    </a:lnTo>
                    <a:lnTo>
                      <a:pt x="874" y="1570"/>
                    </a:lnTo>
                    <a:lnTo>
                      <a:pt x="884" y="1574"/>
                    </a:lnTo>
                    <a:lnTo>
                      <a:pt x="890" y="1578"/>
                    </a:lnTo>
                    <a:lnTo>
                      <a:pt x="896" y="1584"/>
                    </a:lnTo>
                    <a:lnTo>
                      <a:pt x="908" y="1600"/>
                    </a:lnTo>
                    <a:lnTo>
                      <a:pt x="916" y="1616"/>
                    </a:lnTo>
                    <a:lnTo>
                      <a:pt x="924" y="1642"/>
                    </a:lnTo>
                    <a:lnTo>
                      <a:pt x="930" y="1654"/>
                    </a:lnTo>
                    <a:lnTo>
                      <a:pt x="936" y="1664"/>
                    </a:lnTo>
                    <a:lnTo>
                      <a:pt x="944" y="1670"/>
                    </a:lnTo>
                    <a:lnTo>
                      <a:pt x="948" y="1672"/>
                    </a:lnTo>
                    <a:lnTo>
                      <a:pt x="954" y="1672"/>
                    </a:lnTo>
                    <a:lnTo>
                      <a:pt x="970" y="1672"/>
                    </a:lnTo>
                    <a:lnTo>
                      <a:pt x="976" y="1672"/>
                    </a:lnTo>
                    <a:lnTo>
                      <a:pt x="984" y="1670"/>
                    </a:lnTo>
                    <a:lnTo>
                      <a:pt x="990" y="1668"/>
                    </a:lnTo>
                    <a:lnTo>
                      <a:pt x="992" y="1664"/>
                    </a:lnTo>
                    <a:lnTo>
                      <a:pt x="992" y="1662"/>
                    </a:lnTo>
                    <a:lnTo>
                      <a:pt x="992" y="1658"/>
                    </a:lnTo>
                    <a:lnTo>
                      <a:pt x="992" y="1656"/>
                    </a:lnTo>
                    <a:lnTo>
                      <a:pt x="996" y="1658"/>
                    </a:lnTo>
                    <a:lnTo>
                      <a:pt x="1002" y="1660"/>
                    </a:lnTo>
                    <a:lnTo>
                      <a:pt x="1008" y="1662"/>
                    </a:lnTo>
                    <a:lnTo>
                      <a:pt x="1018" y="1662"/>
                    </a:lnTo>
                    <a:lnTo>
                      <a:pt x="1028" y="1662"/>
                    </a:lnTo>
                    <a:lnTo>
                      <a:pt x="1036" y="1660"/>
                    </a:lnTo>
                    <a:lnTo>
                      <a:pt x="1040" y="1656"/>
                    </a:lnTo>
                    <a:lnTo>
                      <a:pt x="1042" y="1654"/>
                    </a:lnTo>
                    <a:lnTo>
                      <a:pt x="1042" y="1650"/>
                    </a:lnTo>
                    <a:lnTo>
                      <a:pt x="1036" y="1640"/>
                    </a:lnTo>
                    <a:lnTo>
                      <a:pt x="1048" y="1650"/>
                    </a:lnTo>
                    <a:lnTo>
                      <a:pt x="1048" y="1658"/>
                    </a:lnTo>
                    <a:lnTo>
                      <a:pt x="1050" y="1662"/>
                    </a:lnTo>
                    <a:lnTo>
                      <a:pt x="1052" y="1662"/>
                    </a:lnTo>
                    <a:lnTo>
                      <a:pt x="1056" y="1662"/>
                    </a:lnTo>
                    <a:lnTo>
                      <a:pt x="1060" y="1660"/>
                    </a:lnTo>
                    <a:lnTo>
                      <a:pt x="1062" y="1662"/>
                    </a:lnTo>
                    <a:lnTo>
                      <a:pt x="1064" y="1666"/>
                    </a:lnTo>
                    <a:lnTo>
                      <a:pt x="1066" y="1682"/>
                    </a:lnTo>
                    <a:lnTo>
                      <a:pt x="1070" y="1684"/>
                    </a:lnTo>
                    <a:lnTo>
                      <a:pt x="1076" y="1688"/>
                    </a:lnTo>
                    <a:lnTo>
                      <a:pt x="1082" y="1690"/>
                    </a:lnTo>
                    <a:lnTo>
                      <a:pt x="1084" y="1690"/>
                    </a:lnTo>
                    <a:lnTo>
                      <a:pt x="1086" y="1686"/>
                    </a:lnTo>
                    <a:lnTo>
                      <a:pt x="1088" y="1684"/>
                    </a:lnTo>
                    <a:lnTo>
                      <a:pt x="1090" y="1684"/>
                    </a:lnTo>
                    <a:lnTo>
                      <a:pt x="1094" y="1684"/>
                    </a:lnTo>
                    <a:lnTo>
                      <a:pt x="1096" y="1688"/>
                    </a:lnTo>
                    <a:lnTo>
                      <a:pt x="1096" y="1690"/>
                    </a:lnTo>
                    <a:lnTo>
                      <a:pt x="1094" y="1694"/>
                    </a:lnTo>
                    <a:lnTo>
                      <a:pt x="1090" y="1698"/>
                    </a:lnTo>
                    <a:lnTo>
                      <a:pt x="1090" y="1700"/>
                    </a:lnTo>
                    <a:lnTo>
                      <a:pt x="1092" y="1704"/>
                    </a:lnTo>
                    <a:lnTo>
                      <a:pt x="1096" y="1708"/>
                    </a:lnTo>
                    <a:lnTo>
                      <a:pt x="1094" y="1708"/>
                    </a:lnTo>
                    <a:lnTo>
                      <a:pt x="1094" y="1712"/>
                    </a:lnTo>
                    <a:lnTo>
                      <a:pt x="1100" y="1718"/>
                    </a:lnTo>
                    <a:lnTo>
                      <a:pt x="1102" y="1724"/>
                    </a:lnTo>
                    <a:lnTo>
                      <a:pt x="1104" y="1730"/>
                    </a:lnTo>
                    <a:lnTo>
                      <a:pt x="1104" y="1742"/>
                    </a:lnTo>
                    <a:lnTo>
                      <a:pt x="1100" y="1756"/>
                    </a:lnTo>
                    <a:lnTo>
                      <a:pt x="1100" y="1770"/>
                    </a:lnTo>
                    <a:lnTo>
                      <a:pt x="1100" y="1782"/>
                    </a:lnTo>
                    <a:lnTo>
                      <a:pt x="1098" y="1790"/>
                    </a:lnTo>
                    <a:lnTo>
                      <a:pt x="1094" y="1798"/>
                    </a:lnTo>
                    <a:lnTo>
                      <a:pt x="1090" y="1804"/>
                    </a:lnTo>
                    <a:lnTo>
                      <a:pt x="1084" y="1814"/>
                    </a:lnTo>
                    <a:lnTo>
                      <a:pt x="1082" y="1820"/>
                    </a:lnTo>
                    <a:lnTo>
                      <a:pt x="1082" y="1824"/>
                    </a:lnTo>
                    <a:lnTo>
                      <a:pt x="1082" y="1828"/>
                    </a:lnTo>
                    <a:lnTo>
                      <a:pt x="1084" y="1828"/>
                    </a:lnTo>
                    <a:lnTo>
                      <a:pt x="1088" y="1828"/>
                    </a:lnTo>
                    <a:lnTo>
                      <a:pt x="1092" y="1828"/>
                    </a:lnTo>
                    <a:lnTo>
                      <a:pt x="1090" y="1834"/>
                    </a:lnTo>
                    <a:lnTo>
                      <a:pt x="1090" y="1838"/>
                    </a:lnTo>
                    <a:lnTo>
                      <a:pt x="1092" y="1844"/>
                    </a:lnTo>
                    <a:lnTo>
                      <a:pt x="1094" y="1848"/>
                    </a:lnTo>
                    <a:lnTo>
                      <a:pt x="1092" y="1852"/>
                    </a:lnTo>
                    <a:lnTo>
                      <a:pt x="1090" y="1852"/>
                    </a:lnTo>
                    <a:lnTo>
                      <a:pt x="1088" y="1850"/>
                    </a:lnTo>
                    <a:lnTo>
                      <a:pt x="1086" y="1848"/>
                    </a:lnTo>
                    <a:lnTo>
                      <a:pt x="1082" y="1852"/>
                    </a:lnTo>
                    <a:lnTo>
                      <a:pt x="1082" y="1854"/>
                    </a:lnTo>
                    <a:lnTo>
                      <a:pt x="1082" y="1858"/>
                    </a:lnTo>
                    <a:lnTo>
                      <a:pt x="1086" y="1864"/>
                    </a:lnTo>
                    <a:lnTo>
                      <a:pt x="1094" y="1868"/>
                    </a:lnTo>
                    <a:lnTo>
                      <a:pt x="1106" y="1872"/>
                    </a:lnTo>
                    <a:lnTo>
                      <a:pt x="1110" y="1872"/>
                    </a:lnTo>
                    <a:lnTo>
                      <a:pt x="1110" y="1874"/>
                    </a:lnTo>
                    <a:lnTo>
                      <a:pt x="1110" y="1876"/>
                    </a:lnTo>
                    <a:lnTo>
                      <a:pt x="1106" y="1878"/>
                    </a:lnTo>
                    <a:lnTo>
                      <a:pt x="1104" y="1880"/>
                    </a:lnTo>
                    <a:lnTo>
                      <a:pt x="1098" y="1880"/>
                    </a:lnTo>
                    <a:lnTo>
                      <a:pt x="1094" y="1878"/>
                    </a:lnTo>
                    <a:lnTo>
                      <a:pt x="1090" y="1874"/>
                    </a:lnTo>
                    <a:lnTo>
                      <a:pt x="1084" y="1868"/>
                    </a:lnTo>
                    <a:lnTo>
                      <a:pt x="1082" y="1866"/>
                    </a:lnTo>
                    <a:lnTo>
                      <a:pt x="1080" y="1866"/>
                    </a:lnTo>
                    <a:lnTo>
                      <a:pt x="1080" y="1872"/>
                    </a:lnTo>
                    <a:lnTo>
                      <a:pt x="1080" y="1882"/>
                    </a:lnTo>
                    <a:lnTo>
                      <a:pt x="1078" y="1898"/>
                    </a:lnTo>
                    <a:lnTo>
                      <a:pt x="1074" y="1910"/>
                    </a:lnTo>
                    <a:lnTo>
                      <a:pt x="1072" y="1914"/>
                    </a:lnTo>
                    <a:lnTo>
                      <a:pt x="1068" y="1918"/>
                    </a:lnTo>
                    <a:lnTo>
                      <a:pt x="1066" y="1918"/>
                    </a:lnTo>
                    <a:lnTo>
                      <a:pt x="1062" y="1914"/>
                    </a:lnTo>
                    <a:lnTo>
                      <a:pt x="1056" y="1910"/>
                    </a:lnTo>
                    <a:lnTo>
                      <a:pt x="1056" y="1912"/>
                    </a:lnTo>
                    <a:lnTo>
                      <a:pt x="1058" y="1922"/>
                    </a:lnTo>
                    <a:lnTo>
                      <a:pt x="1064" y="1936"/>
                    </a:lnTo>
                    <a:lnTo>
                      <a:pt x="1076" y="1964"/>
                    </a:lnTo>
                    <a:lnTo>
                      <a:pt x="1080" y="1974"/>
                    </a:lnTo>
                    <a:lnTo>
                      <a:pt x="1084" y="1982"/>
                    </a:lnTo>
                    <a:lnTo>
                      <a:pt x="1088" y="1988"/>
                    </a:lnTo>
                    <a:lnTo>
                      <a:pt x="1094" y="1996"/>
                    </a:lnTo>
                    <a:lnTo>
                      <a:pt x="1100" y="2006"/>
                    </a:lnTo>
                    <a:lnTo>
                      <a:pt x="1110" y="2018"/>
                    </a:lnTo>
                    <a:lnTo>
                      <a:pt x="1132" y="2042"/>
                    </a:lnTo>
                    <a:lnTo>
                      <a:pt x="1140" y="2052"/>
                    </a:lnTo>
                    <a:lnTo>
                      <a:pt x="1142" y="2058"/>
                    </a:lnTo>
                    <a:lnTo>
                      <a:pt x="1150" y="2070"/>
                    </a:lnTo>
                    <a:lnTo>
                      <a:pt x="1172" y="2092"/>
                    </a:lnTo>
                    <a:lnTo>
                      <a:pt x="1178" y="2100"/>
                    </a:lnTo>
                    <a:lnTo>
                      <a:pt x="1180" y="2110"/>
                    </a:lnTo>
                    <a:lnTo>
                      <a:pt x="1184" y="2118"/>
                    </a:lnTo>
                    <a:lnTo>
                      <a:pt x="1190" y="2128"/>
                    </a:lnTo>
                    <a:lnTo>
                      <a:pt x="1194" y="2136"/>
                    </a:lnTo>
                    <a:lnTo>
                      <a:pt x="1196" y="2142"/>
                    </a:lnTo>
                    <a:lnTo>
                      <a:pt x="1194" y="2148"/>
                    </a:lnTo>
                    <a:lnTo>
                      <a:pt x="1194" y="2156"/>
                    </a:lnTo>
                    <a:lnTo>
                      <a:pt x="1194" y="2158"/>
                    </a:lnTo>
                    <a:lnTo>
                      <a:pt x="1196" y="2160"/>
                    </a:lnTo>
                    <a:lnTo>
                      <a:pt x="1198" y="2164"/>
                    </a:lnTo>
                    <a:lnTo>
                      <a:pt x="1200" y="2168"/>
                    </a:lnTo>
                    <a:lnTo>
                      <a:pt x="1204" y="2170"/>
                    </a:lnTo>
                    <a:lnTo>
                      <a:pt x="1208" y="2168"/>
                    </a:lnTo>
                    <a:lnTo>
                      <a:pt x="1216" y="2164"/>
                    </a:lnTo>
                    <a:lnTo>
                      <a:pt x="1222" y="2162"/>
                    </a:lnTo>
                    <a:lnTo>
                      <a:pt x="1226" y="2162"/>
                    </a:lnTo>
                    <a:lnTo>
                      <a:pt x="1234" y="2162"/>
                    </a:lnTo>
                    <a:lnTo>
                      <a:pt x="1226" y="2168"/>
                    </a:lnTo>
                    <a:lnTo>
                      <a:pt x="1220" y="2172"/>
                    </a:lnTo>
                    <a:lnTo>
                      <a:pt x="1208" y="2174"/>
                    </a:lnTo>
                    <a:lnTo>
                      <a:pt x="1202" y="2176"/>
                    </a:lnTo>
                    <a:lnTo>
                      <a:pt x="1200" y="2178"/>
                    </a:lnTo>
                    <a:lnTo>
                      <a:pt x="1202" y="2182"/>
                    </a:lnTo>
                    <a:lnTo>
                      <a:pt x="1212" y="2202"/>
                    </a:lnTo>
                    <a:lnTo>
                      <a:pt x="1226" y="2240"/>
                    </a:lnTo>
                    <a:lnTo>
                      <a:pt x="1232" y="2260"/>
                    </a:lnTo>
                    <a:lnTo>
                      <a:pt x="1238" y="2278"/>
                    </a:lnTo>
                    <a:lnTo>
                      <a:pt x="1238" y="2294"/>
                    </a:lnTo>
                    <a:lnTo>
                      <a:pt x="1236" y="2300"/>
                    </a:lnTo>
                    <a:lnTo>
                      <a:pt x="1234" y="2306"/>
                    </a:lnTo>
                    <a:lnTo>
                      <a:pt x="1230" y="2314"/>
                    </a:lnTo>
                    <a:lnTo>
                      <a:pt x="1230" y="2324"/>
                    </a:lnTo>
                    <a:lnTo>
                      <a:pt x="1230" y="2336"/>
                    </a:lnTo>
                    <a:lnTo>
                      <a:pt x="1234" y="2346"/>
                    </a:lnTo>
                    <a:lnTo>
                      <a:pt x="1246" y="2372"/>
                    </a:lnTo>
                    <a:lnTo>
                      <a:pt x="1256" y="2396"/>
                    </a:lnTo>
                    <a:lnTo>
                      <a:pt x="1260" y="2408"/>
                    </a:lnTo>
                    <a:lnTo>
                      <a:pt x="1262" y="2422"/>
                    </a:lnTo>
                    <a:lnTo>
                      <a:pt x="1262" y="2436"/>
                    </a:lnTo>
                    <a:lnTo>
                      <a:pt x="1262" y="2450"/>
                    </a:lnTo>
                    <a:lnTo>
                      <a:pt x="1258" y="2464"/>
                    </a:lnTo>
                    <a:lnTo>
                      <a:pt x="1254" y="2476"/>
                    </a:lnTo>
                    <a:lnTo>
                      <a:pt x="1246" y="2486"/>
                    </a:lnTo>
                    <a:lnTo>
                      <a:pt x="1238" y="2494"/>
                    </a:lnTo>
                    <a:lnTo>
                      <a:pt x="1230" y="2502"/>
                    </a:lnTo>
                    <a:lnTo>
                      <a:pt x="1222" y="2510"/>
                    </a:lnTo>
                    <a:lnTo>
                      <a:pt x="1218" y="2518"/>
                    </a:lnTo>
                    <a:lnTo>
                      <a:pt x="1212" y="2528"/>
                    </a:lnTo>
                    <a:lnTo>
                      <a:pt x="1206" y="2548"/>
                    </a:lnTo>
                    <a:lnTo>
                      <a:pt x="1202" y="2570"/>
                    </a:lnTo>
                    <a:lnTo>
                      <a:pt x="1196" y="2610"/>
                    </a:lnTo>
                    <a:lnTo>
                      <a:pt x="1192" y="2626"/>
                    </a:lnTo>
                    <a:lnTo>
                      <a:pt x="1188" y="2640"/>
                    </a:lnTo>
                    <a:lnTo>
                      <a:pt x="1182" y="2652"/>
                    </a:lnTo>
                    <a:lnTo>
                      <a:pt x="1178" y="2662"/>
                    </a:lnTo>
                    <a:lnTo>
                      <a:pt x="1176" y="2670"/>
                    </a:lnTo>
                    <a:lnTo>
                      <a:pt x="1176" y="2680"/>
                    </a:lnTo>
                    <a:lnTo>
                      <a:pt x="1178" y="2700"/>
                    </a:lnTo>
                    <a:lnTo>
                      <a:pt x="1178" y="2712"/>
                    </a:lnTo>
                    <a:lnTo>
                      <a:pt x="1178" y="2726"/>
                    </a:lnTo>
                    <a:lnTo>
                      <a:pt x="1176" y="2736"/>
                    </a:lnTo>
                    <a:lnTo>
                      <a:pt x="1176" y="2746"/>
                    </a:lnTo>
                    <a:lnTo>
                      <a:pt x="1180" y="2764"/>
                    </a:lnTo>
                    <a:lnTo>
                      <a:pt x="1188" y="2784"/>
                    </a:lnTo>
                    <a:lnTo>
                      <a:pt x="1200" y="2804"/>
                    </a:lnTo>
                    <a:lnTo>
                      <a:pt x="1222" y="2850"/>
                    </a:lnTo>
                    <a:lnTo>
                      <a:pt x="1234" y="2876"/>
                    </a:lnTo>
                    <a:lnTo>
                      <a:pt x="1242" y="2904"/>
                    </a:lnTo>
                    <a:lnTo>
                      <a:pt x="1250" y="2930"/>
                    </a:lnTo>
                    <a:lnTo>
                      <a:pt x="1260" y="2946"/>
                    </a:lnTo>
                    <a:lnTo>
                      <a:pt x="1268" y="2958"/>
                    </a:lnTo>
                    <a:lnTo>
                      <a:pt x="1276" y="2966"/>
                    </a:lnTo>
                    <a:lnTo>
                      <a:pt x="1284" y="2976"/>
                    </a:lnTo>
                    <a:lnTo>
                      <a:pt x="1288" y="2990"/>
                    </a:lnTo>
                    <a:lnTo>
                      <a:pt x="1288" y="3008"/>
                    </a:lnTo>
                    <a:lnTo>
                      <a:pt x="1286" y="3038"/>
                    </a:lnTo>
                    <a:lnTo>
                      <a:pt x="1284" y="3052"/>
                    </a:lnTo>
                    <a:lnTo>
                      <a:pt x="1286" y="3070"/>
                    </a:lnTo>
                    <a:lnTo>
                      <a:pt x="1294" y="3112"/>
                    </a:lnTo>
                    <a:lnTo>
                      <a:pt x="1304" y="3156"/>
                    </a:lnTo>
                    <a:lnTo>
                      <a:pt x="1308" y="3178"/>
                    </a:lnTo>
                    <a:lnTo>
                      <a:pt x="1310" y="3200"/>
                    </a:lnTo>
                    <a:lnTo>
                      <a:pt x="1312" y="3220"/>
                    </a:lnTo>
                    <a:lnTo>
                      <a:pt x="1318" y="3238"/>
                    </a:lnTo>
                    <a:lnTo>
                      <a:pt x="1326" y="3254"/>
                    </a:lnTo>
                    <a:lnTo>
                      <a:pt x="1334" y="3266"/>
                    </a:lnTo>
                    <a:lnTo>
                      <a:pt x="1342" y="3278"/>
                    </a:lnTo>
                    <a:lnTo>
                      <a:pt x="1352" y="3286"/>
                    </a:lnTo>
                    <a:lnTo>
                      <a:pt x="1366" y="3302"/>
                    </a:lnTo>
                    <a:lnTo>
                      <a:pt x="1376" y="3316"/>
                    </a:lnTo>
                    <a:lnTo>
                      <a:pt x="1384" y="3330"/>
                    </a:lnTo>
                    <a:lnTo>
                      <a:pt x="1388" y="3344"/>
                    </a:lnTo>
                    <a:lnTo>
                      <a:pt x="1392" y="3358"/>
                    </a:lnTo>
                    <a:lnTo>
                      <a:pt x="1396" y="3374"/>
                    </a:lnTo>
                    <a:lnTo>
                      <a:pt x="1402" y="3392"/>
                    </a:lnTo>
                    <a:lnTo>
                      <a:pt x="1410" y="3414"/>
                    </a:lnTo>
                    <a:lnTo>
                      <a:pt x="1424" y="3436"/>
                    </a:lnTo>
                    <a:lnTo>
                      <a:pt x="1436" y="3458"/>
                    </a:lnTo>
                    <a:lnTo>
                      <a:pt x="1444" y="3474"/>
                    </a:lnTo>
                    <a:lnTo>
                      <a:pt x="1446" y="3490"/>
                    </a:lnTo>
                    <a:lnTo>
                      <a:pt x="1446" y="3502"/>
                    </a:lnTo>
                    <a:lnTo>
                      <a:pt x="1442" y="3510"/>
                    </a:lnTo>
                    <a:lnTo>
                      <a:pt x="1438" y="3516"/>
                    </a:lnTo>
                    <a:lnTo>
                      <a:pt x="1434" y="3518"/>
                    </a:lnTo>
                    <a:lnTo>
                      <a:pt x="1432" y="3518"/>
                    </a:lnTo>
                    <a:lnTo>
                      <a:pt x="1430" y="3516"/>
                    </a:lnTo>
                    <a:lnTo>
                      <a:pt x="1426" y="3518"/>
                    </a:lnTo>
                    <a:lnTo>
                      <a:pt x="1424" y="3518"/>
                    </a:lnTo>
                    <a:lnTo>
                      <a:pt x="1424" y="3522"/>
                    </a:lnTo>
                    <a:lnTo>
                      <a:pt x="1424" y="3526"/>
                    </a:lnTo>
                    <a:lnTo>
                      <a:pt x="1424" y="3532"/>
                    </a:lnTo>
                    <a:lnTo>
                      <a:pt x="1428" y="3538"/>
                    </a:lnTo>
                    <a:lnTo>
                      <a:pt x="1432" y="3546"/>
                    </a:lnTo>
                    <a:lnTo>
                      <a:pt x="1442" y="3558"/>
                    </a:lnTo>
                    <a:lnTo>
                      <a:pt x="1446" y="3568"/>
                    </a:lnTo>
                    <a:lnTo>
                      <a:pt x="1448" y="3574"/>
                    </a:lnTo>
                    <a:lnTo>
                      <a:pt x="1444" y="3580"/>
                    </a:lnTo>
                    <a:lnTo>
                      <a:pt x="1442" y="3582"/>
                    </a:lnTo>
                    <a:lnTo>
                      <a:pt x="1442" y="3588"/>
                    </a:lnTo>
                    <a:lnTo>
                      <a:pt x="1442" y="3596"/>
                    </a:lnTo>
                    <a:lnTo>
                      <a:pt x="1446" y="3602"/>
                    </a:lnTo>
                    <a:lnTo>
                      <a:pt x="1448" y="3602"/>
                    </a:lnTo>
                    <a:lnTo>
                      <a:pt x="1448" y="3598"/>
                    </a:lnTo>
                    <a:lnTo>
                      <a:pt x="1450" y="3594"/>
                    </a:lnTo>
                    <a:lnTo>
                      <a:pt x="1452" y="3590"/>
                    </a:lnTo>
                    <a:lnTo>
                      <a:pt x="1454" y="3588"/>
                    </a:lnTo>
                    <a:lnTo>
                      <a:pt x="1458" y="3588"/>
                    </a:lnTo>
                    <a:lnTo>
                      <a:pt x="1460" y="3588"/>
                    </a:lnTo>
                    <a:lnTo>
                      <a:pt x="1462" y="3590"/>
                    </a:lnTo>
                    <a:lnTo>
                      <a:pt x="1464" y="3592"/>
                    </a:lnTo>
                    <a:lnTo>
                      <a:pt x="1464" y="3596"/>
                    </a:lnTo>
                    <a:lnTo>
                      <a:pt x="1464" y="3602"/>
                    </a:lnTo>
                    <a:lnTo>
                      <a:pt x="1466" y="3604"/>
                    </a:lnTo>
                    <a:lnTo>
                      <a:pt x="1470" y="3606"/>
                    </a:lnTo>
                    <a:lnTo>
                      <a:pt x="1472" y="3606"/>
                    </a:lnTo>
                    <a:lnTo>
                      <a:pt x="1478" y="3606"/>
                    </a:lnTo>
                    <a:lnTo>
                      <a:pt x="1480" y="3608"/>
                    </a:lnTo>
                    <a:lnTo>
                      <a:pt x="1482" y="3612"/>
                    </a:lnTo>
                    <a:lnTo>
                      <a:pt x="1484" y="3618"/>
                    </a:lnTo>
                    <a:lnTo>
                      <a:pt x="1486" y="3620"/>
                    </a:lnTo>
                    <a:lnTo>
                      <a:pt x="1490" y="3620"/>
                    </a:lnTo>
                    <a:lnTo>
                      <a:pt x="1494" y="3624"/>
                    </a:lnTo>
                    <a:lnTo>
                      <a:pt x="1496" y="3628"/>
                    </a:lnTo>
                    <a:lnTo>
                      <a:pt x="1500" y="3626"/>
                    </a:lnTo>
                    <a:lnTo>
                      <a:pt x="1506" y="3626"/>
                    </a:lnTo>
                    <a:lnTo>
                      <a:pt x="1510" y="3626"/>
                    </a:lnTo>
                    <a:lnTo>
                      <a:pt x="1514" y="3628"/>
                    </a:lnTo>
                    <a:lnTo>
                      <a:pt x="1516" y="3626"/>
                    </a:lnTo>
                    <a:lnTo>
                      <a:pt x="1520" y="3620"/>
                    </a:lnTo>
                    <a:lnTo>
                      <a:pt x="1526" y="3612"/>
                    </a:lnTo>
                    <a:lnTo>
                      <a:pt x="1532" y="3610"/>
                    </a:lnTo>
                    <a:lnTo>
                      <a:pt x="1540" y="3608"/>
                    </a:lnTo>
                    <a:lnTo>
                      <a:pt x="1552" y="3606"/>
                    </a:lnTo>
                    <a:lnTo>
                      <a:pt x="1558" y="3608"/>
                    </a:lnTo>
                    <a:lnTo>
                      <a:pt x="1564" y="3608"/>
                    </a:lnTo>
                    <a:lnTo>
                      <a:pt x="1576" y="3604"/>
                    </a:lnTo>
                    <a:lnTo>
                      <a:pt x="1584" y="3602"/>
                    </a:lnTo>
                    <a:lnTo>
                      <a:pt x="1590" y="3598"/>
                    </a:lnTo>
                    <a:lnTo>
                      <a:pt x="1594" y="3592"/>
                    </a:lnTo>
                    <a:lnTo>
                      <a:pt x="1600" y="3586"/>
                    </a:lnTo>
                    <a:lnTo>
                      <a:pt x="1602" y="3586"/>
                    </a:lnTo>
                    <a:lnTo>
                      <a:pt x="1608" y="3584"/>
                    </a:lnTo>
                    <a:lnTo>
                      <a:pt x="1620" y="3584"/>
                    </a:lnTo>
                    <a:lnTo>
                      <a:pt x="1632" y="3588"/>
                    </a:lnTo>
                    <a:lnTo>
                      <a:pt x="1642" y="3590"/>
                    </a:lnTo>
                    <a:lnTo>
                      <a:pt x="1648" y="3590"/>
                    </a:lnTo>
                    <a:lnTo>
                      <a:pt x="1652" y="3586"/>
                    </a:lnTo>
                    <a:lnTo>
                      <a:pt x="1656" y="3586"/>
                    </a:lnTo>
                    <a:lnTo>
                      <a:pt x="1664" y="3586"/>
                    </a:lnTo>
                    <a:lnTo>
                      <a:pt x="1678" y="3592"/>
                    </a:lnTo>
                    <a:lnTo>
                      <a:pt x="1686" y="3594"/>
                    </a:lnTo>
                    <a:lnTo>
                      <a:pt x="1694" y="3594"/>
                    </a:lnTo>
                    <a:lnTo>
                      <a:pt x="1702" y="3594"/>
                    </a:lnTo>
                    <a:lnTo>
                      <a:pt x="1706" y="3590"/>
                    </a:lnTo>
                    <a:lnTo>
                      <a:pt x="1712" y="3584"/>
                    </a:lnTo>
                    <a:lnTo>
                      <a:pt x="1718" y="3582"/>
                    </a:lnTo>
                    <a:lnTo>
                      <a:pt x="1724" y="3584"/>
                    </a:lnTo>
                    <a:lnTo>
                      <a:pt x="1730" y="3584"/>
                    </a:lnTo>
                    <a:lnTo>
                      <a:pt x="1738" y="3586"/>
                    </a:lnTo>
                    <a:lnTo>
                      <a:pt x="1740" y="3584"/>
                    </a:lnTo>
                    <a:lnTo>
                      <a:pt x="1740" y="3580"/>
                    </a:lnTo>
                    <a:lnTo>
                      <a:pt x="1740" y="3574"/>
                    </a:lnTo>
                    <a:lnTo>
                      <a:pt x="1742" y="3572"/>
                    </a:lnTo>
                    <a:lnTo>
                      <a:pt x="1748" y="3572"/>
                    </a:lnTo>
                    <a:lnTo>
                      <a:pt x="1756" y="3572"/>
                    </a:lnTo>
                    <a:lnTo>
                      <a:pt x="1764" y="3572"/>
                    </a:lnTo>
                    <a:lnTo>
                      <a:pt x="1774" y="3570"/>
                    </a:lnTo>
                    <a:lnTo>
                      <a:pt x="1782" y="3568"/>
                    </a:lnTo>
                    <a:lnTo>
                      <a:pt x="1792" y="3562"/>
                    </a:lnTo>
                    <a:lnTo>
                      <a:pt x="1810" y="3550"/>
                    </a:lnTo>
                    <a:lnTo>
                      <a:pt x="1832" y="3532"/>
                    </a:lnTo>
                    <a:lnTo>
                      <a:pt x="1858" y="3506"/>
                    </a:lnTo>
                    <a:lnTo>
                      <a:pt x="1870" y="3490"/>
                    </a:lnTo>
                    <a:lnTo>
                      <a:pt x="1884" y="3472"/>
                    </a:lnTo>
                    <a:lnTo>
                      <a:pt x="1892" y="3462"/>
                    </a:lnTo>
                    <a:lnTo>
                      <a:pt x="1898" y="3456"/>
                    </a:lnTo>
                    <a:lnTo>
                      <a:pt x="1912" y="3442"/>
                    </a:lnTo>
                    <a:lnTo>
                      <a:pt x="1920" y="3432"/>
                    </a:lnTo>
                    <a:lnTo>
                      <a:pt x="1930" y="3418"/>
                    </a:lnTo>
                    <a:lnTo>
                      <a:pt x="1940" y="3398"/>
                    </a:lnTo>
                    <a:lnTo>
                      <a:pt x="1952" y="3372"/>
                    </a:lnTo>
                    <a:lnTo>
                      <a:pt x="1968" y="3344"/>
                    </a:lnTo>
                    <a:lnTo>
                      <a:pt x="1980" y="3324"/>
                    </a:lnTo>
                    <a:lnTo>
                      <a:pt x="1992" y="3314"/>
                    </a:lnTo>
                    <a:lnTo>
                      <a:pt x="2002" y="3304"/>
                    </a:lnTo>
                    <a:lnTo>
                      <a:pt x="2010" y="3294"/>
                    </a:lnTo>
                    <a:lnTo>
                      <a:pt x="2018" y="3276"/>
                    </a:lnTo>
                    <a:lnTo>
                      <a:pt x="2026" y="3250"/>
                    </a:lnTo>
                    <a:lnTo>
                      <a:pt x="2030" y="3210"/>
                    </a:lnTo>
                    <a:lnTo>
                      <a:pt x="2034" y="3182"/>
                    </a:lnTo>
                    <a:lnTo>
                      <a:pt x="2032" y="3176"/>
                    </a:lnTo>
                    <a:lnTo>
                      <a:pt x="2030" y="3176"/>
                    </a:lnTo>
                    <a:lnTo>
                      <a:pt x="2026" y="3176"/>
                    </a:lnTo>
                    <a:lnTo>
                      <a:pt x="2024" y="3176"/>
                    </a:lnTo>
                    <a:lnTo>
                      <a:pt x="2022" y="3170"/>
                    </a:lnTo>
                    <a:lnTo>
                      <a:pt x="2020" y="3164"/>
                    </a:lnTo>
                    <a:lnTo>
                      <a:pt x="2024" y="3156"/>
                    </a:lnTo>
                    <a:lnTo>
                      <a:pt x="2028" y="3148"/>
                    </a:lnTo>
                    <a:lnTo>
                      <a:pt x="2036" y="3140"/>
                    </a:lnTo>
                    <a:lnTo>
                      <a:pt x="2046" y="3132"/>
                    </a:lnTo>
                    <a:lnTo>
                      <a:pt x="2056" y="3126"/>
                    </a:lnTo>
                    <a:lnTo>
                      <a:pt x="2070" y="3118"/>
                    </a:lnTo>
                    <a:lnTo>
                      <a:pt x="2084" y="3114"/>
                    </a:lnTo>
                    <a:lnTo>
                      <a:pt x="2096" y="3108"/>
                    </a:lnTo>
                    <a:lnTo>
                      <a:pt x="2108" y="3100"/>
                    </a:lnTo>
                    <a:lnTo>
                      <a:pt x="2118" y="3094"/>
                    </a:lnTo>
                    <a:lnTo>
                      <a:pt x="2126" y="3086"/>
                    </a:lnTo>
                    <a:lnTo>
                      <a:pt x="2132" y="3078"/>
                    </a:lnTo>
                    <a:lnTo>
                      <a:pt x="2136" y="3070"/>
                    </a:lnTo>
                    <a:lnTo>
                      <a:pt x="2136" y="3062"/>
                    </a:lnTo>
                    <a:lnTo>
                      <a:pt x="2134" y="3056"/>
                    </a:lnTo>
                    <a:lnTo>
                      <a:pt x="2130" y="3050"/>
                    </a:lnTo>
                    <a:lnTo>
                      <a:pt x="2130" y="3044"/>
                    </a:lnTo>
                    <a:lnTo>
                      <a:pt x="2132" y="3034"/>
                    </a:lnTo>
                    <a:lnTo>
                      <a:pt x="2136" y="3016"/>
                    </a:lnTo>
                    <a:lnTo>
                      <a:pt x="2138" y="3006"/>
                    </a:lnTo>
                    <a:lnTo>
                      <a:pt x="2138" y="2990"/>
                    </a:lnTo>
                    <a:lnTo>
                      <a:pt x="2136" y="2972"/>
                    </a:lnTo>
                    <a:lnTo>
                      <a:pt x="2136" y="2970"/>
                    </a:lnTo>
                    <a:lnTo>
                      <a:pt x="2134" y="2972"/>
                    </a:lnTo>
                    <a:lnTo>
                      <a:pt x="2132" y="2974"/>
                    </a:lnTo>
                    <a:lnTo>
                      <a:pt x="2130" y="2974"/>
                    </a:lnTo>
                    <a:lnTo>
                      <a:pt x="2128" y="2972"/>
                    </a:lnTo>
                    <a:lnTo>
                      <a:pt x="2126" y="2962"/>
                    </a:lnTo>
                    <a:lnTo>
                      <a:pt x="2120" y="2934"/>
                    </a:lnTo>
                    <a:lnTo>
                      <a:pt x="2120" y="2920"/>
                    </a:lnTo>
                    <a:lnTo>
                      <a:pt x="2118" y="2910"/>
                    </a:lnTo>
                    <a:lnTo>
                      <a:pt x="2108" y="2896"/>
                    </a:lnTo>
                    <a:lnTo>
                      <a:pt x="2104" y="2890"/>
                    </a:lnTo>
                    <a:lnTo>
                      <a:pt x="2102" y="2886"/>
                    </a:lnTo>
                    <a:lnTo>
                      <a:pt x="2102" y="2878"/>
                    </a:lnTo>
                    <a:lnTo>
                      <a:pt x="2104" y="2870"/>
                    </a:lnTo>
                    <a:lnTo>
                      <a:pt x="2104" y="2860"/>
                    </a:lnTo>
                    <a:lnTo>
                      <a:pt x="2104" y="2854"/>
                    </a:lnTo>
                    <a:lnTo>
                      <a:pt x="2108" y="2854"/>
                    </a:lnTo>
                    <a:lnTo>
                      <a:pt x="2114" y="2852"/>
                    </a:lnTo>
                    <a:lnTo>
                      <a:pt x="2120" y="2848"/>
                    </a:lnTo>
                    <a:lnTo>
                      <a:pt x="2126" y="2842"/>
                    </a:lnTo>
                    <a:lnTo>
                      <a:pt x="2136" y="2832"/>
                    </a:lnTo>
                    <a:lnTo>
                      <a:pt x="2144" y="2822"/>
                    </a:lnTo>
                    <a:lnTo>
                      <a:pt x="2150" y="2816"/>
                    </a:lnTo>
                    <a:lnTo>
                      <a:pt x="2160" y="2812"/>
                    </a:lnTo>
                    <a:lnTo>
                      <a:pt x="2166" y="2808"/>
                    </a:lnTo>
                    <a:lnTo>
                      <a:pt x="2170" y="2804"/>
                    </a:lnTo>
                    <a:lnTo>
                      <a:pt x="2178" y="2794"/>
                    </a:lnTo>
                    <a:lnTo>
                      <a:pt x="2186" y="2780"/>
                    </a:lnTo>
                    <a:lnTo>
                      <a:pt x="2196" y="2764"/>
                    </a:lnTo>
                    <a:lnTo>
                      <a:pt x="2206" y="2750"/>
                    </a:lnTo>
                    <a:lnTo>
                      <a:pt x="2216" y="2740"/>
                    </a:lnTo>
                    <a:lnTo>
                      <a:pt x="2226" y="2734"/>
                    </a:lnTo>
                    <a:lnTo>
                      <a:pt x="2236" y="2728"/>
                    </a:lnTo>
                    <a:lnTo>
                      <a:pt x="2246" y="2724"/>
                    </a:lnTo>
                    <a:lnTo>
                      <a:pt x="2266" y="2718"/>
                    </a:lnTo>
                    <a:lnTo>
                      <a:pt x="2276" y="2714"/>
                    </a:lnTo>
                    <a:lnTo>
                      <a:pt x="2284" y="2708"/>
                    </a:lnTo>
                    <a:lnTo>
                      <a:pt x="2294" y="2700"/>
                    </a:lnTo>
                    <a:lnTo>
                      <a:pt x="2302" y="2690"/>
                    </a:lnTo>
                    <a:lnTo>
                      <a:pt x="2320" y="2666"/>
                    </a:lnTo>
                    <a:lnTo>
                      <a:pt x="2336" y="2636"/>
                    </a:lnTo>
                    <a:lnTo>
                      <a:pt x="2344" y="2622"/>
                    </a:lnTo>
                    <a:lnTo>
                      <a:pt x="2344" y="2620"/>
                    </a:lnTo>
                    <a:lnTo>
                      <a:pt x="2344" y="2616"/>
                    </a:lnTo>
                    <a:lnTo>
                      <a:pt x="2348" y="2606"/>
                    </a:lnTo>
                    <a:lnTo>
                      <a:pt x="2350" y="2598"/>
                    </a:lnTo>
                    <a:lnTo>
                      <a:pt x="2352" y="2594"/>
                    </a:lnTo>
                    <a:lnTo>
                      <a:pt x="2350" y="2590"/>
                    </a:lnTo>
                    <a:lnTo>
                      <a:pt x="2348" y="2586"/>
                    </a:lnTo>
                    <a:lnTo>
                      <a:pt x="2344" y="2582"/>
                    </a:lnTo>
                    <a:lnTo>
                      <a:pt x="2340" y="2576"/>
                    </a:lnTo>
                    <a:lnTo>
                      <a:pt x="2338" y="2566"/>
                    </a:lnTo>
                    <a:lnTo>
                      <a:pt x="2338" y="2552"/>
                    </a:lnTo>
                    <a:lnTo>
                      <a:pt x="2338" y="2500"/>
                    </a:lnTo>
                    <a:lnTo>
                      <a:pt x="2338" y="2478"/>
                    </a:lnTo>
                    <a:lnTo>
                      <a:pt x="2334" y="2454"/>
                    </a:lnTo>
                    <a:lnTo>
                      <a:pt x="2334" y="2440"/>
                    </a:lnTo>
                    <a:lnTo>
                      <a:pt x="2334" y="2432"/>
                    </a:lnTo>
                    <a:lnTo>
                      <a:pt x="2338" y="2426"/>
                    </a:lnTo>
                    <a:lnTo>
                      <a:pt x="2342" y="2424"/>
                    </a:lnTo>
                    <a:lnTo>
                      <a:pt x="2344" y="2420"/>
                    </a:lnTo>
                    <a:lnTo>
                      <a:pt x="2344" y="2414"/>
                    </a:lnTo>
                    <a:lnTo>
                      <a:pt x="2340" y="2406"/>
                    </a:lnTo>
                    <a:lnTo>
                      <a:pt x="2334" y="2394"/>
                    </a:lnTo>
                    <a:lnTo>
                      <a:pt x="2324" y="2384"/>
                    </a:lnTo>
                    <a:lnTo>
                      <a:pt x="2318" y="2380"/>
                    </a:lnTo>
                    <a:lnTo>
                      <a:pt x="2312" y="2376"/>
                    </a:lnTo>
                    <a:lnTo>
                      <a:pt x="2308" y="2368"/>
                    </a:lnTo>
                    <a:lnTo>
                      <a:pt x="2304" y="2358"/>
                    </a:lnTo>
                    <a:lnTo>
                      <a:pt x="2302" y="2348"/>
                    </a:lnTo>
                    <a:lnTo>
                      <a:pt x="2300" y="2334"/>
                    </a:lnTo>
                    <a:lnTo>
                      <a:pt x="2292" y="2310"/>
                    </a:lnTo>
                    <a:lnTo>
                      <a:pt x="2288" y="2298"/>
                    </a:lnTo>
                    <a:lnTo>
                      <a:pt x="2288" y="2290"/>
                    </a:lnTo>
                    <a:lnTo>
                      <a:pt x="2288" y="2286"/>
                    </a:lnTo>
                    <a:lnTo>
                      <a:pt x="2290" y="2280"/>
                    </a:lnTo>
                    <a:lnTo>
                      <a:pt x="2292" y="2278"/>
                    </a:lnTo>
                    <a:lnTo>
                      <a:pt x="2294" y="2274"/>
                    </a:lnTo>
                    <a:lnTo>
                      <a:pt x="2294" y="2268"/>
                    </a:lnTo>
                    <a:lnTo>
                      <a:pt x="2292" y="2258"/>
                    </a:lnTo>
                    <a:lnTo>
                      <a:pt x="2288" y="2248"/>
                    </a:lnTo>
                    <a:lnTo>
                      <a:pt x="2288" y="2240"/>
                    </a:lnTo>
                    <a:lnTo>
                      <a:pt x="2290" y="2236"/>
                    </a:lnTo>
                    <a:lnTo>
                      <a:pt x="2292" y="2232"/>
                    </a:lnTo>
                    <a:lnTo>
                      <a:pt x="2294" y="2230"/>
                    </a:lnTo>
                    <a:lnTo>
                      <a:pt x="2296" y="2228"/>
                    </a:lnTo>
                    <a:lnTo>
                      <a:pt x="2296" y="2226"/>
                    </a:lnTo>
                    <a:lnTo>
                      <a:pt x="2294" y="2220"/>
                    </a:lnTo>
                    <a:lnTo>
                      <a:pt x="2282" y="2206"/>
                    </a:lnTo>
                    <a:lnTo>
                      <a:pt x="2272" y="2192"/>
                    </a:lnTo>
                    <a:lnTo>
                      <a:pt x="2268" y="2184"/>
                    </a:lnTo>
                    <a:lnTo>
                      <a:pt x="2266" y="2174"/>
                    </a:lnTo>
                    <a:lnTo>
                      <a:pt x="2268" y="2164"/>
                    </a:lnTo>
                    <a:lnTo>
                      <a:pt x="2272" y="2150"/>
                    </a:lnTo>
                    <a:lnTo>
                      <a:pt x="2276" y="2138"/>
                    </a:lnTo>
                    <a:lnTo>
                      <a:pt x="2278" y="2130"/>
                    </a:lnTo>
                    <a:lnTo>
                      <a:pt x="2282" y="2122"/>
                    </a:lnTo>
                    <a:lnTo>
                      <a:pt x="2288" y="2108"/>
                    </a:lnTo>
                    <a:lnTo>
                      <a:pt x="2304" y="2084"/>
                    </a:lnTo>
                    <a:lnTo>
                      <a:pt x="2308" y="2074"/>
                    </a:lnTo>
                    <a:lnTo>
                      <a:pt x="2310" y="2058"/>
                    </a:lnTo>
                    <a:lnTo>
                      <a:pt x="2312" y="2052"/>
                    </a:lnTo>
                    <a:lnTo>
                      <a:pt x="2314" y="2048"/>
                    </a:lnTo>
                    <a:lnTo>
                      <a:pt x="2320" y="2046"/>
                    </a:lnTo>
                    <a:lnTo>
                      <a:pt x="2322" y="2044"/>
                    </a:lnTo>
                    <a:lnTo>
                      <a:pt x="2324" y="2042"/>
                    </a:lnTo>
                    <a:lnTo>
                      <a:pt x="2324" y="2036"/>
                    </a:lnTo>
                    <a:lnTo>
                      <a:pt x="2322" y="2026"/>
                    </a:lnTo>
                    <a:lnTo>
                      <a:pt x="2324" y="2016"/>
                    </a:lnTo>
                    <a:lnTo>
                      <a:pt x="2326" y="2008"/>
                    </a:lnTo>
                    <a:lnTo>
                      <a:pt x="2332" y="2004"/>
                    </a:lnTo>
                    <a:lnTo>
                      <a:pt x="2338" y="2002"/>
                    </a:lnTo>
                    <a:lnTo>
                      <a:pt x="2350" y="1998"/>
                    </a:lnTo>
                    <a:lnTo>
                      <a:pt x="2354" y="1994"/>
                    </a:lnTo>
                    <a:lnTo>
                      <a:pt x="2354" y="1988"/>
                    </a:lnTo>
                    <a:lnTo>
                      <a:pt x="2352" y="1980"/>
                    </a:lnTo>
                    <a:lnTo>
                      <a:pt x="2356" y="1980"/>
                    </a:lnTo>
                    <a:lnTo>
                      <a:pt x="2360" y="1980"/>
                    </a:lnTo>
                    <a:lnTo>
                      <a:pt x="2366" y="1978"/>
                    </a:lnTo>
                    <a:lnTo>
                      <a:pt x="2372" y="1972"/>
                    </a:lnTo>
                    <a:lnTo>
                      <a:pt x="2380" y="1962"/>
                    </a:lnTo>
                    <a:lnTo>
                      <a:pt x="2388" y="1950"/>
                    </a:lnTo>
                    <a:lnTo>
                      <a:pt x="2390" y="1944"/>
                    </a:lnTo>
                    <a:lnTo>
                      <a:pt x="2394" y="1932"/>
                    </a:lnTo>
                    <a:lnTo>
                      <a:pt x="2396" y="1926"/>
                    </a:lnTo>
                    <a:lnTo>
                      <a:pt x="2400" y="1918"/>
                    </a:lnTo>
                    <a:lnTo>
                      <a:pt x="2408" y="1908"/>
                    </a:lnTo>
                    <a:lnTo>
                      <a:pt x="2422" y="1892"/>
                    </a:lnTo>
                    <a:lnTo>
                      <a:pt x="2450" y="1860"/>
                    </a:lnTo>
                    <a:lnTo>
                      <a:pt x="2470" y="1836"/>
                    </a:lnTo>
                    <a:lnTo>
                      <a:pt x="2494" y="1812"/>
                    </a:lnTo>
                    <a:lnTo>
                      <a:pt x="2532" y="1780"/>
                    </a:lnTo>
                    <a:lnTo>
                      <a:pt x="2556" y="1760"/>
                    </a:lnTo>
                    <a:lnTo>
                      <a:pt x="2580" y="1736"/>
                    </a:lnTo>
                    <a:lnTo>
                      <a:pt x="2604" y="1710"/>
                    </a:lnTo>
                    <a:lnTo>
                      <a:pt x="2626" y="1680"/>
                    </a:lnTo>
                    <a:lnTo>
                      <a:pt x="2646" y="1646"/>
                    </a:lnTo>
                    <a:lnTo>
                      <a:pt x="2666" y="1610"/>
                    </a:lnTo>
                    <a:lnTo>
                      <a:pt x="2686" y="1570"/>
                    </a:lnTo>
                    <a:lnTo>
                      <a:pt x="2702" y="1526"/>
                    </a:lnTo>
                    <a:lnTo>
                      <a:pt x="2712" y="1502"/>
                    </a:lnTo>
                    <a:lnTo>
                      <a:pt x="2722" y="1482"/>
                    </a:lnTo>
                    <a:lnTo>
                      <a:pt x="2738" y="1452"/>
                    </a:lnTo>
                    <a:lnTo>
                      <a:pt x="2750" y="1426"/>
                    </a:lnTo>
                    <a:lnTo>
                      <a:pt x="2752" y="1416"/>
                    </a:lnTo>
                    <a:lnTo>
                      <a:pt x="2754" y="1404"/>
                    </a:lnTo>
                    <a:lnTo>
                      <a:pt x="2758" y="1388"/>
                    </a:lnTo>
                    <a:lnTo>
                      <a:pt x="2762" y="1378"/>
                    </a:lnTo>
                    <a:lnTo>
                      <a:pt x="2768" y="1376"/>
                    </a:lnTo>
                    <a:lnTo>
                      <a:pt x="2772" y="1376"/>
                    </a:lnTo>
                    <a:lnTo>
                      <a:pt x="2776" y="1376"/>
                    </a:lnTo>
                    <a:lnTo>
                      <a:pt x="2770" y="13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b="1" dirty="0"/>
              </a:p>
            </p:txBody>
          </p:sp>
          <p:sp>
            <p:nvSpPr>
              <p:cNvPr id="1713" name="Freeform 6155">
                <a:extLst>
                  <a:ext uri="{FF2B5EF4-FFF2-40B4-BE49-F238E27FC236}">
                    <a16:creationId xmlns:a16="http://schemas.microsoft.com/office/drawing/2014/main" id="{F050A3CA-8EE3-4AAF-99B0-6F76BFCC91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68697" y="954107"/>
                <a:ext cx="1798643" cy="2608252"/>
              </a:xfrm>
              <a:custGeom>
                <a:avLst/>
                <a:gdLst>
                  <a:gd name="T0" fmla="*/ 794599 w 2834"/>
                  <a:gd name="T1" fmla="*/ 115556 h 4108"/>
                  <a:gd name="T2" fmla="*/ 750173 w 2834"/>
                  <a:gd name="T3" fmla="*/ 64762 h 4108"/>
                  <a:gd name="T4" fmla="*/ 742557 w 2834"/>
                  <a:gd name="T5" fmla="*/ 528256 h 4108"/>
                  <a:gd name="T6" fmla="*/ 842833 w 2834"/>
                  <a:gd name="T7" fmla="*/ 165080 h 4108"/>
                  <a:gd name="T8" fmla="*/ 708285 w 2834"/>
                  <a:gd name="T9" fmla="*/ 563811 h 4108"/>
                  <a:gd name="T10" fmla="*/ 635933 w 2834"/>
                  <a:gd name="T11" fmla="*/ 595557 h 4108"/>
                  <a:gd name="T12" fmla="*/ 684167 w 2834"/>
                  <a:gd name="T13" fmla="*/ 565081 h 4108"/>
                  <a:gd name="T14" fmla="*/ 836487 w 2834"/>
                  <a:gd name="T15" fmla="*/ 25397 h 4108"/>
                  <a:gd name="T16" fmla="*/ 91392 w 2834"/>
                  <a:gd name="T17" fmla="*/ 1043813 h 4108"/>
                  <a:gd name="T18" fmla="*/ 44426 w 2834"/>
                  <a:gd name="T19" fmla="*/ 1184766 h 4108"/>
                  <a:gd name="T20" fmla="*/ 107893 w 2834"/>
                  <a:gd name="T21" fmla="*/ 1048892 h 4108"/>
                  <a:gd name="T22" fmla="*/ 119317 w 2834"/>
                  <a:gd name="T23" fmla="*/ 1116194 h 4108"/>
                  <a:gd name="T24" fmla="*/ 171359 w 2834"/>
                  <a:gd name="T25" fmla="*/ 1036194 h 4108"/>
                  <a:gd name="T26" fmla="*/ 129471 w 2834"/>
                  <a:gd name="T27" fmla="*/ 1116194 h 4108"/>
                  <a:gd name="T28" fmla="*/ 148511 w 2834"/>
                  <a:gd name="T29" fmla="*/ 1240639 h 4108"/>
                  <a:gd name="T30" fmla="*/ 200554 w 2834"/>
                  <a:gd name="T31" fmla="*/ 1323179 h 4108"/>
                  <a:gd name="T32" fmla="*/ 397299 w 2834"/>
                  <a:gd name="T33" fmla="*/ 877463 h 4108"/>
                  <a:gd name="T34" fmla="*/ 224671 w 2834"/>
                  <a:gd name="T35" fmla="*/ 943495 h 4108"/>
                  <a:gd name="T36" fmla="*/ 331294 w 2834"/>
                  <a:gd name="T37" fmla="*/ 721272 h 4108"/>
                  <a:gd name="T38" fmla="*/ 114239 w 2834"/>
                  <a:gd name="T39" fmla="*/ 665399 h 4108"/>
                  <a:gd name="T40" fmla="*/ 151050 w 2834"/>
                  <a:gd name="T41" fmla="*/ 1219051 h 4108"/>
                  <a:gd name="T42" fmla="*/ 576275 w 2834"/>
                  <a:gd name="T43" fmla="*/ 1158099 h 4108"/>
                  <a:gd name="T44" fmla="*/ 580083 w 2834"/>
                  <a:gd name="T45" fmla="*/ 1159369 h 4108"/>
                  <a:gd name="T46" fmla="*/ 694322 w 2834"/>
                  <a:gd name="T47" fmla="*/ 1079368 h 4108"/>
                  <a:gd name="T48" fmla="*/ 401107 w 2834"/>
                  <a:gd name="T49" fmla="*/ 961273 h 4108"/>
                  <a:gd name="T50" fmla="*/ 840295 w 2834"/>
                  <a:gd name="T51" fmla="*/ 1010797 h 4108"/>
                  <a:gd name="T52" fmla="*/ 605469 w 2834"/>
                  <a:gd name="T53" fmla="*/ 1771434 h 4108"/>
                  <a:gd name="T54" fmla="*/ 799676 w 2834"/>
                  <a:gd name="T55" fmla="*/ 1789212 h 4108"/>
                  <a:gd name="T56" fmla="*/ 858065 w 2834"/>
                  <a:gd name="T57" fmla="*/ 1842545 h 4108"/>
                  <a:gd name="T58" fmla="*/ 1586659 w 2834"/>
                  <a:gd name="T59" fmla="*/ 2201912 h 4108"/>
                  <a:gd name="T60" fmla="*/ 1488921 w 2834"/>
                  <a:gd name="T61" fmla="*/ 2069848 h 4108"/>
                  <a:gd name="T62" fmla="*/ 1391183 w 2834"/>
                  <a:gd name="T63" fmla="*/ 620954 h 4108"/>
                  <a:gd name="T64" fmla="*/ 1212208 w 2834"/>
                  <a:gd name="T65" fmla="*/ 568891 h 4108"/>
                  <a:gd name="T66" fmla="*/ 974843 w 2834"/>
                  <a:gd name="T67" fmla="*/ 468573 h 4108"/>
                  <a:gd name="T68" fmla="*/ 856796 w 2834"/>
                  <a:gd name="T69" fmla="*/ 514287 h 4108"/>
                  <a:gd name="T70" fmla="*/ 732402 w 2834"/>
                  <a:gd name="T71" fmla="*/ 544764 h 4108"/>
                  <a:gd name="T72" fmla="*/ 657512 w 2834"/>
                  <a:gd name="T73" fmla="*/ 642542 h 4108"/>
                  <a:gd name="T74" fmla="*/ 562312 w 2834"/>
                  <a:gd name="T75" fmla="*/ 758098 h 4108"/>
                  <a:gd name="T76" fmla="*/ 446803 w 2834"/>
                  <a:gd name="T77" fmla="*/ 830479 h 4108"/>
                  <a:gd name="T78" fmla="*/ 396030 w 2834"/>
                  <a:gd name="T79" fmla="*/ 911749 h 4108"/>
                  <a:gd name="T80" fmla="*/ 482344 w 2834"/>
                  <a:gd name="T81" fmla="*/ 1027305 h 4108"/>
                  <a:gd name="T82" fmla="*/ 679090 w 2834"/>
                  <a:gd name="T83" fmla="*/ 1102226 h 4108"/>
                  <a:gd name="T84" fmla="*/ 728594 w 2834"/>
                  <a:gd name="T85" fmla="*/ 845717 h 4108"/>
                  <a:gd name="T86" fmla="*/ 818716 w 2834"/>
                  <a:gd name="T87" fmla="*/ 825399 h 4108"/>
                  <a:gd name="T88" fmla="*/ 984998 w 2834"/>
                  <a:gd name="T89" fmla="*/ 975241 h 4108"/>
                  <a:gd name="T90" fmla="*/ 748903 w 2834"/>
                  <a:gd name="T91" fmla="*/ 1168258 h 4108"/>
                  <a:gd name="T92" fmla="*/ 514078 w 2834"/>
                  <a:gd name="T93" fmla="*/ 1158099 h 4108"/>
                  <a:gd name="T94" fmla="*/ 486152 w 2834"/>
                  <a:gd name="T95" fmla="*/ 1146670 h 4108"/>
                  <a:gd name="T96" fmla="*/ 392222 w 2834"/>
                  <a:gd name="T97" fmla="*/ 1235559 h 4108"/>
                  <a:gd name="T98" fmla="*/ 185322 w 2834"/>
                  <a:gd name="T99" fmla="*/ 1389211 h 4108"/>
                  <a:gd name="T100" fmla="*/ 171359 w 2834"/>
                  <a:gd name="T101" fmla="*/ 1584767 h 4108"/>
                  <a:gd name="T102" fmla="*/ 180244 w 2834"/>
                  <a:gd name="T103" fmla="*/ 1823498 h 4108"/>
                  <a:gd name="T104" fmla="*/ 542003 w 2834"/>
                  <a:gd name="T105" fmla="*/ 1610164 h 4108"/>
                  <a:gd name="T106" fmla="*/ 628317 w 2834"/>
                  <a:gd name="T107" fmla="*/ 1615243 h 4108"/>
                  <a:gd name="T108" fmla="*/ 786983 w 2834"/>
                  <a:gd name="T109" fmla="*/ 1730799 h 4108"/>
                  <a:gd name="T110" fmla="*/ 884721 w 2834"/>
                  <a:gd name="T111" fmla="*/ 1789212 h 4108"/>
                  <a:gd name="T112" fmla="*/ 972305 w 2834"/>
                  <a:gd name="T113" fmla="*/ 1674926 h 4108"/>
                  <a:gd name="T114" fmla="*/ 1124624 w 2834"/>
                  <a:gd name="T115" fmla="*/ 1530163 h 4108"/>
                  <a:gd name="T116" fmla="*/ 1213477 w 2834"/>
                  <a:gd name="T117" fmla="*/ 1530163 h 4108"/>
                  <a:gd name="T118" fmla="*/ 976113 w 2834"/>
                  <a:gd name="T119" fmla="*/ 1692704 h 4108"/>
                  <a:gd name="T120" fmla="*/ 1042118 w 2834"/>
                  <a:gd name="T121" fmla="*/ 1838736 h 4108"/>
                  <a:gd name="T122" fmla="*/ 1153819 w 2834"/>
                  <a:gd name="T123" fmla="*/ 2114292 h 4108"/>
                  <a:gd name="T124" fmla="*/ 1426724 w 2834"/>
                  <a:gd name="T125" fmla="*/ 2595564 h 410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2834"/>
                  <a:gd name="T190" fmla="*/ 0 h 4108"/>
                  <a:gd name="T191" fmla="*/ 2834 w 2834"/>
                  <a:gd name="T192" fmla="*/ 4108 h 410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2834" h="4108">
                    <a:moveTo>
                      <a:pt x="1216" y="808"/>
                    </a:moveTo>
                    <a:lnTo>
                      <a:pt x="1216" y="808"/>
                    </a:lnTo>
                    <a:lnTo>
                      <a:pt x="1216" y="806"/>
                    </a:lnTo>
                    <a:lnTo>
                      <a:pt x="1212" y="804"/>
                    </a:lnTo>
                    <a:lnTo>
                      <a:pt x="1208" y="804"/>
                    </a:lnTo>
                    <a:lnTo>
                      <a:pt x="1206" y="804"/>
                    </a:lnTo>
                    <a:lnTo>
                      <a:pt x="1206" y="806"/>
                    </a:lnTo>
                    <a:lnTo>
                      <a:pt x="1210" y="808"/>
                    </a:lnTo>
                    <a:lnTo>
                      <a:pt x="1214" y="808"/>
                    </a:lnTo>
                    <a:lnTo>
                      <a:pt x="1216" y="808"/>
                    </a:lnTo>
                    <a:close/>
                    <a:moveTo>
                      <a:pt x="1202" y="798"/>
                    </a:moveTo>
                    <a:lnTo>
                      <a:pt x="1202" y="798"/>
                    </a:lnTo>
                    <a:lnTo>
                      <a:pt x="1198" y="798"/>
                    </a:lnTo>
                    <a:lnTo>
                      <a:pt x="1194" y="802"/>
                    </a:lnTo>
                    <a:lnTo>
                      <a:pt x="1194" y="806"/>
                    </a:lnTo>
                    <a:lnTo>
                      <a:pt x="1196" y="806"/>
                    </a:lnTo>
                    <a:lnTo>
                      <a:pt x="1200" y="806"/>
                    </a:lnTo>
                    <a:lnTo>
                      <a:pt x="1202" y="802"/>
                    </a:lnTo>
                    <a:lnTo>
                      <a:pt x="1202" y="800"/>
                    </a:lnTo>
                    <a:lnTo>
                      <a:pt x="1202" y="798"/>
                    </a:lnTo>
                    <a:close/>
                    <a:moveTo>
                      <a:pt x="1082" y="898"/>
                    </a:moveTo>
                    <a:lnTo>
                      <a:pt x="1082" y="898"/>
                    </a:lnTo>
                    <a:lnTo>
                      <a:pt x="1078" y="896"/>
                    </a:lnTo>
                    <a:lnTo>
                      <a:pt x="1074" y="900"/>
                    </a:lnTo>
                    <a:lnTo>
                      <a:pt x="1072" y="902"/>
                    </a:lnTo>
                    <a:lnTo>
                      <a:pt x="1072" y="906"/>
                    </a:lnTo>
                    <a:lnTo>
                      <a:pt x="1072" y="910"/>
                    </a:lnTo>
                    <a:lnTo>
                      <a:pt x="1066" y="914"/>
                    </a:lnTo>
                    <a:lnTo>
                      <a:pt x="1062" y="916"/>
                    </a:lnTo>
                    <a:lnTo>
                      <a:pt x="1064" y="914"/>
                    </a:lnTo>
                    <a:lnTo>
                      <a:pt x="1066" y="910"/>
                    </a:lnTo>
                    <a:lnTo>
                      <a:pt x="1064" y="908"/>
                    </a:lnTo>
                    <a:lnTo>
                      <a:pt x="1062" y="908"/>
                    </a:lnTo>
                    <a:lnTo>
                      <a:pt x="1060" y="908"/>
                    </a:lnTo>
                    <a:lnTo>
                      <a:pt x="1060" y="906"/>
                    </a:lnTo>
                    <a:lnTo>
                      <a:pt x="1062" y="902"/>
                    </a:lnTo>
                    <a:lnTo>
                      <a:pt x="1066" y="896"/>
                    </a:lnTo>
                    <a:lnTo>
                      <a:pt x="1066" y="894"/>
                    </a:lnTo>
                    <a:lnTo>
                      <a:pt x="1064" y="892"/>
                    </a:lnTo>
                    <a:lnTo>
                      <a:pt x="1058" y="892"/>
                    </a:lnTo>
                    <a:lnTo>
                      <a:pt x="1054" y="896"/>
                    </a:lnTo>
                    <a:lnTo>
                      <a:pt x="1048" y="900"/>
                    </a:lnTo>
                    <a:lnTo>
                      <a:pt x="1046" y="906"/>
                    </a:lnTo>
                    <a:lnTo>
                      <a:pt x="1046" y="912"/>
                    </a:lnTo>
                    <a:lnTo>
                      <a:pt x="1046" y="916"/>
                    </a:lnTo>
                    <a:lnTo>
                      <a:pt x="1046" y="918"/>
                    </a:lnTo>
                    <a:lnTo>
                      <a:pt x="1042" y="920"/>
                    </a:lnTo>
                    <a:lnTo>
                      <a:pt x="1036" y="922"/>
                    </a:lnTo>
                    <a:lnTo>
                      <a:pt x="1036" y="924"/>
                    </a:lnTo>
                    <a:lnTo>
                      <a:pt x="1036" y="928"/>
                    </a:lnTo>
                    <a:lnTo>
                      <a:pt x="1032" y="938"/>
                    </a:lnTo>
                    <a:lnTo>
                      <a:pt x="1030" y="942"/>
                    </a:lnTo>
                    <a:lnTo>
                      <a:pt x="1034" y="940"/>
                    </a:lnTo>
                    <a:lnTo>
                      <a:pt x="1040" y="938"/>
                    </a:lnTo>
                    <a:lnTo>
                      <a:pt x="1044" y="938"/>
                    </a:lnTo>
                    <a:lnTo>
                      <a:pt x="1048" y="940"/>
                    </a:lnTo>
                    <a:lnTo>
                      <a:pt x="1050" y="940"/>
                    </a:lnTo>
                    <a:lnTo>
                      <a:pt x="1052" y="940"/>
                    </a:lnTo>
                    <a:lnTo>
                      <a:pt x="1054" y="936"/>
                    </a:lnTo>
                    <a:lnTo>
                      <a:pt x="1056" y="934"/>
                    </a:lnTo>
                    <a:lnTo>
                      <a:pt x="1058" y="932"/>
                    </a:lnTo>
                    <a:lnTo>
                      <a:pt x="1060" y="934"/>
                    </a:lnTo>
                    <a:lnTo>
                      <a:pt x="1062" y="936"/>
                    </a:lnTo>
                    <a:lnTo>
                      <a:pt x="1064" y="936"/>
                    </a:lnTo>
                    <a:lnTo>
                      <a:pt x="1068" y="930"/>
                    </a:lnTo>
                    <a:lnTo>
                      <a:pt x="1070" y="926"/>
                    </a:lnTo>
                    <a:lnTo>
                      <a:pt x="1072" y="924"/>
                    </a:lnTo>
                    <a:lnTo>
                      <a:pt x="1076" y="920"/>
                    </a:lnTo>
                    <a:lnTo>
                      <a:pt x="1084" y="920"/>
                    </a:lnTo>
                    <a:lnTo>
                      <a:pt x="1088" y="918"/>
                    </a:lnTo>
                    <a:lnTo>
                      <a:pt x="1090" y="916"/>
                    </a:lnTo>
                    <a:lnTo>
                      <a:pt x="1090" y="914"/>
                    </a:lnTo>
                    <a:lnTo>
                      <a:pt x="1090" y="910"/>
                    </a:lnTo>
                    <a:lnTo>
                      <a:pt x="1086" y="904"/>
                    </a:lnTo>
                    <a:lnTo>
                      <a:pt x="1082" y="898"/>
                    </a:lnTo>
                    <a:close/>
                    <a:moveTo>
                      <a:pt x="1190" y="808"/>
                    </a:moveTo>
                    <a:lnTo>
                      <a:pt x="1190" y="808"/>
                    </a:lnTo>
                    <a:lnTo>
                      <a:pt x="1188" y="808"/>
                    </a:lnTo>
                    <a:lnTo>
                      <a:pt x="1186" y="808"/>
                    </a:lnTo>
                    <a:lnTo>
                      <a:pt x="1184" y="808"/>
                    </a:lnTo>
                    <a:lnTo>
                      <a:pt x="1182" y="808"/>
                    </a:lnTo>
                    <a:lnTo>
                      <a:pt x="1180" y="808"/>
                    </a:lnTo>
                    <a:lnTo>
                      <a:pt x="1178" y="810"/>
                    </a:lnTo>
                    <a:lnTo>
                      <a:pt x="1176" y="814"/>
                    </a:lnTo>
                    <a:lnTo>
                      <a:pt x="1178" y="814"/>
                    </a:lnTo>
                    <a:lnTo>
                      <a:pt x="1178" y="816"/>
                    </a:lnTo>
                    <a:lnTo>
                      <a:pt x="1184" y="814"/>
                    </a:lnTo>
                    <a:lnTo>
                      <a:pt x="1188" y="810"/>
                    </a:lnTo>
                    <a:lnTo>
                      <a:pt x="1190" y="808"/>
                    </a:lnTo>
                    <a:close/>
                    <a:moveTo>
                      <a:pt x="1400" y="746"/>
                    </a:moveTo>
                    <a:lnTo>
                      <a:pt x="1400" y="746"/>
                    </a:lnTo>
                    <a:lnTo>
                      <a:pt x="1394" y="744"/>
                    </a:lnTo>
                    <a:lnTo>
                      <a:pt x="1390" y="744"/>
                    </a:lnTo>
                    <a:lnTo>
                      <a:pt x="1388" y="744"/>
                    </a:lnTo>
                    <a:lnTo>
                      <a:pt x="1390" y="748"/>
                    </a:lnTo>
                    <a:lnTo>
                      <a:pt x="1394" y="750"/>
                    </a:lnTo>
                    <a:lnTo>
                      <a:pt x="1398" y="750"/>
                    </a:lnTo>
                    <a:lnTo>
                      <a:pt x="1400" y="748"/>
                    </a:lnTo>
                    <a:lnTo>
                      <a:pt x="1400" y="746"/>
                    </a:lnTo>
                    <a:close/>
                    <a:moveTo>
                      <a:pt x="1252" y="182"/>
                    </a:moveTo>
                    <a:lnTo>
                      <a:pt x="1252" y="182"/>
                    </a:lnTo>
                    <a:lnTo>
                      <a:pt x="1256" y="186"/>
                    </a:lnTo>
                    <a:lnTo>
                      <a:pt x="1256" y="188"/>
                    </a:lnTo>
                    <a:lnTo>
                      <a:pt x="1258" y="190"/>
                    </a:lnTo>
                    <a:lnTo>
                      <a:pt x="1258" y="192"/>
                    </a:lnTo>
                    <a:lnTo>
                      <a:pt x="1262" y="192"/>
                    </a:lnTo>
                    <a:lnTo>
                      <a:pt x="1272" y="190"/>
                    </a:lnTo>
                    <a:lnTo>
                      <a:pt x="1290" y="186"/>
                    </a:lnTo>
                    <a:lnTo>
                      <a:pt x="1306" y="186"/>
                    </a:lnTo>
                    <a:lnTo>
                      <a:pt x="1312" y="184"/>
                    </a:lnTo>
                    <a:lnTo>
                      <a:pt x="1316" y="182"/>
                    </a:lnTo>
                    <a:lnTo>
                      <a:pt x="1318" y="178"/>
                    </a:lnTo>
                    <a:lnTo>
                      <a:pt x="1318" y="172"/>
                    </a:lnTo>
                    <a:lnTo>
                      <a:pt x="1316" y="166"/>
                    </a:lnTo>
                    <a:lnTo>
                      <a:pt x="1312" y="162"/>
                    </a:lnTo>
                    <a:lnTo>
                      <a:pt x="1306" y="160"/>
                    </a:lnTo>
                    <a:lnTo>
                      <a:pt x="1300" y="158"/>
                    </a:lnTo>
                    <a:lnTo>
                      <a:pt x="1284" y="158"/>
                    </a:lnTo>
                    <a:lnTo>
                      <a:pt x="1266" y="162"/>
                    </a:lnTo>
                    <a:lnTo>
                      <a:pt x="1250" y="166"/>
                    </a:lnTo>
                    <a:lnTo>
                      <a:pt x="1238" y="168"/>
                    </a:lnTo>
                    <a:lnTo>
                      <a:pt x="1238" y="170"/>
                    </a:lnTo>
                    <a:lnTo>
                      <a:pt x="1238" y="174"/>
                    </a:lnTo>
                    <a:lnTo>
                      <a:pt x="1252" y="182"/>
                    </a:lnTo>
                    <a:close/>
                    <a:moveTo>
                      <a:pt x="1236" y="808"/>
                    </a:moveTo>
                    <a:lnTo>
                      <a:pt x="1236" y="808"/>
                    </a:lnTo>
                    <a:lnTo>
                      <a:pt x="1238" y="806"/>
                    </a:lnTo>
                    <a:lnTo>
                      <a:pt x="1236" y="804"/>
                    </a:lnTo>
                    <a:lnTo>
                      <a:pt x="1228" y="802"/>
                    </a:lnTo>
                    <a:lnTo>
                      <a:pt x="1224" y="798"/>
                    </a:lnTo>
                    <a:lnTo>
                      <a:pt x="1220" y="796"/>
                    </a:lnTo>
                    <a:lnTo>
                      <a:pt x="1216" y="794"/>
                    </a:lnTo>
                    <a:lnTo>
                      <a:pt x="1216" y="798"/>
                    </a:lnTo>
                    <a:lnTo>
                      <a:pt x="1216" y="802"/>
                    </a:lnTo>
                    <a:lnTo>
                      <a:pt x="1220" y="806"/>
                    </a:lnTo>
                    <a:lnTo>
                      <a:pt x="1228" y="810"/>
                    </a:lnTo>
                    <a:lnTo>
                      <a:pt x="1236" y="808"/>
                    </a:lnTo>
                    <a:close/>
                    <a:moveTo>
                      <a:pt x="902" y="108"/>
                    </a:moveTo>
                    <a:lnTo>
                      <a:pt x="902" y="108"/>
                    </a:lnTo>
                    <a:lnTo>
                      <a:pt x="902" y="114"/>
                    </a:lnTo>
                    <a:lnTo>
                      <a:pt x="904" y="120"/>
                    </a:lnTo>
                    <a:lnTo>
                      <a:pt x="906" y="124"/>
                    </a:lnTo>
                    <a:lnTo>
                      <a:pt x="910" y="126"/>
                    </a:lnTo>
                    <a:lnTo>
                      <a:pt x="912" y="128"/>
                    </a:lnTo>
                    <a:lnTo>
                      <a:pt x="910" y="128"/>
                    </a:lnTo>
                    <a:lnTo>
                      <a:pt x="900" y="130"/>
                    </a:lnTo>
                    <a:lnTo>
                      <a:pt x="886" y="130"/>
                    </a:lnTo>
                    <a:lnTo>
                      <a:pt x="884" y="132"/>
                    </a:lnTo>
                    <a:lnTo>
                      <a:pt x="886" y="136"/>
                    </a:lnTo>
                    <a:lnTo>
                      <a:pt x="898" y="148"/>
                    </a:lnTo>
                    <a:lnTo>
                      <a:pt x="922" y="172"/>
                    </a:lnTo>
                    <a:lnTo>
                      <a:pt x="936" y="184"/>
                    </a:lnTo>
                    <a:lnTo>
                      <a:pt x="948" y="192"/>
                    </a:lnTo>
                    <a:lnTo>
                      <a:pt x="960" y="194"/>
                    </a:lnTo>
                    <a:lnTo>
                      <a:pt x="970" y="192"/>
                    </a:lnTo>
                    <a:lnTo>
                      <a:pt x="980" y="188"/>
                    </a:lnTo>
                    <a:lnTo>
                      <a:pt x="990" y="182"/>
                    </a:lnTo>
                    <a:lnTo>
                      <a:pt x="1018" y="164"/>
                    </a:lnTo>
                    <a:lnTo>
                      <a:pt x="1038" y="152"/>
                    </a:lnTo>
                    <a:lnTo>
                      <a:pt x="1040" y="152"/>
                    </a:lnTo>
                    <a:lnTo>
                      <a:pt x="1042" y="154"/>
                    </a:lnTo>
                    <a:lnTo>
                      <a:pt x="1042" y="158"/>
                    </a:lnTo>
                    <a:lnTo>
                      <a:pt x="1048" y="160"/>
                    </a:lnTo>
                    <a:lnTo>
                      <a:pt x="1056" y="164"/>
                    </a:lnTo>
                    <a:lnTo>
                      <a:pt x="1072" y="166"/>
                    </a:lnTo>
                    <a:lnTo>
                      <a:pt x="1088" y="168"/>
                    </a:lnTo>
                    <a:lnTo>
                      <a:pt x="1096" y="170"/>
                    </a:lnTo>
                    <a:lnTo>
                      <a:pt x="1094" y="172"/>
                    </a:lnTo>
                    <a:lnTo>
                      <a:pt x="1088" y="176"/>
                    </a:lnTo>
                    <a:lnTo>
                      <a:pt x="1058" y="186"/>
                    </a:lnTo>
                    <a:lnTo>
                      <a:pt x="1014" y="198"/>
                    </a:lnTo>
                    <a:lnTo>
                      <a:pt x="994" y="206"/>
                    </a:lnTo>
                    <a:lnTo>
                      <a:pt x="980" y="210"/>
                    </a:lnTo>
                    <a:lnTo>
                      <a:pt x="972" y="216"/>
                    </a:lnTo>
                    <a:lnTo>
                      <a:pt x="970" y="218"/>
                    </a:lnTo>
                    <a:lnTo>
                      <a:pt x="970" y="220"/>
                    </a:lnTo>
                    <a:lnTo>
                      <a:pt x="976" y="222"/>
                    </a:lnTo>
                    <a:lnTo>
                      <a:pt x="988" y="224"/>
                    </a:lnTo>
                    <a:lnTo>
                      <a:pt x="1008" y="224"/>
                    </a:lnTo>
                    <a:lnTo>
                      <a:pt x="1034" y="222"/>
                    </a:lnTo>
                    <a:lnTo>
                      <a:pt x="1058" y="220"/>
                    </a:lnTo>
                    <a:lnTo>
                      <a:pt x="1072" y="220"/>
                    </a:lnTo>
                    <a:lnTo>
                      <a:pt x="1074" y="222"/>
                    </a:lnTo>
                    <a:lnTo>
                      <a:pt x="1076" y="222"/>
                    </a:lnTo>
                    <a:lnTo>
                      <a:pt x="1072" y="226"/>
                    </a:lnTo>
                    <a:lnTo>
                      <a:pt x="1064" y="232"/>
                    </a:lnTo>
                    <a:lnTo>
                      <a:pt x="1050" y="236"/>
                    </a:lnTo>
                    <a:lnTo>
                      <a:pt x="1036" y="242"/>
                    </a:lnTo>
                    <a:lnTo>
                      <a:pt x="1018" y="244"/>
                    </a:lnTo>
                    <a:lnTo>
                      <a:pt x="994" y="250"/>
                    </a:lnTo>
                    <a:lnTo>
                      <a:pt x="988" y="252"/>
                    </a:lnTo>
                    <a:lnTo>
                      <a:pt x="984" y="256"/>
                    </a:lnTo>
                    <a:lnTo>
                      <a:pt x="986" y="260"/>
                    </a:lnTo>
                    <a:lnTo>
                      <a:pt x="990" y="264"/>
                    </a:lnTo>
                    <a:lnTo>
                      <a:pt x="1014" y="274"/>
                    </a:lnTo>
                    <a:lnTo>
                      <a:pt x="1028" y="280"/>
                    </a:lnTo>
                    <a:lnTo>
                      <a:pt x="1036" y="286"/>
                    </a:lnTo>
                    <a:lnTo>
                      <a:pt x="1048" y="296"/>
                    </a:lnTo>
                    <a:lnTo>
                      <a:pt x="1052" y="302"/>
                    </a:lnTo>
                    <a:lnTo>
                      <a:pt x="1060" y="308"/>
                    </a:lnTo>
                    <a:lnTo>
                      <a:pt x="1072" y="312"/>
                    </a:lnTo>
                    <a:lnTo>
                      <a:pt x="1090" y="318"/>
                    </a:lnTo>
                    <a:lnTo>
                      <a:pt x="1098" y="320"/>
                    </a:lnTo>
                    <a:lnTo>
                      <a:pt x="1104" y="320"/>
                    </a:lnTo>
                    <a:lnTo>
                      <a:pt x="1110" y="318"/>
                    </a:lnTo>
                    <a:lnTo>
                      <a:pt x="1114" y="316"/>
                    </a:lnTo>
                    <a:lnTo>
                      <a:pt x="1116" y="312"/>
                    </a:lnTo>
                    <a:lnTo>
                      <a:pt x="1116" y="306"/>
                    </a:lnTo>
                    <a:lnTo>
                      <a:pt x="1118" y="294"/>
                    </a:lnTo>
                    <a:lnTo>
                      <a:pt x="1120" y="282"/>
                    </a:lnTo>
                    <a:lnTo>
                      <a:pt x="1124" y="268"/>
                    </a:lnTo>
                    <a:lnTo>
                      <a:pt x="1128" y="262"/>
                    </a:lnTo>
                    <a:lnTo>
                      <a:pt x="1132" y="256"/>
                    </a:lnTo>
                    <a:lnTo>
                      <a:pt x="1138" y="252"/>
                    </a:lnTo>
                    <a:lnTo>
                      <a:pt x="1146" y="248"/>
                    </a:lnTo>
                    <a:lnTo>
                      <a:pt x="1160" y="242"/>
                    </a:lnTo>
                    <a:lnTo>
                      <a:pt x="1166" y="236"/>
                    </a:lnTo>
                    <a:lnTo>
                      <a:pt x="1166" y="230"/>
                    </a:lnTo>
                    <a:lnTo>
                      <a:pt x="1164" y="224"/>
                    </a:lnTo>
                    <a:lnTo>
                      <a:pt x="1162" y="218"/>
                    </a:lnTo>
                    <a:lnTo>
                      <a:pt x="1162" y="214"/>
                    </a:lnTo>
                    <a:lnTo>
                      <a:pt x="1162" y="212"/>
                    </a:lnTo>
                    <a:lnTo>
                      <a:pt x="1166" y="208"/>
                    </a:lnTo>
                    <a:lnTo>
                      <a:pt x="1176" y="204"/>
                    </a:lnTo>
                    <a:lnTo>
                      <a:pt x="1182" y="202"/>
                    </a:lnTo>
                    <a:lnTo>
                      <a:pt x="1188" y="200"/>
                    </a:lnTo>
                    <a:lnTo>
                      <a:pt x="1190" y="196"/>
                    </a:lnTo>
                    <a:lnTo>
                      <a:pt x="1192" y="192"/>
                    </a:lnTo>
                    <a:lnTo>
                      <a:pt x="1194" y="186"/>
                    </a:lnTo>
                    <a:lnTo>
                      <a:pt x="1194" y="178"/>
                    </a:lnTo>
                    <a:lnTo>
                      <a:pt x="1196" y="170"/>
                    </a:lnTo>
                    <a:lnTo>
                      <a:pt x="1198" y="166"/>
                    </a:lnTo>
                    <a:lnTo>
                      <a:pt x="1202" y="164"/>
                    </a:lnTo>
                    <a:lnTo>
                      <a:pt x="1206" y="160"/>
                    </a:lnTo>
                    <a:lnTo>
                      <a:pt x="1212" y="158"/>
                    </a:lnTo>
                    <a:lnTo>
                      <a:pt x="1234" y="156"/>
                    </a:lnTo>
                    <a:lnTo>
                      <a:pt x="1272" y="152"/>
                    </a:lnTo>
                    <a:lnTo>
                      <a:pt x="1284" y="148"/>
                    </a:lnTo>
                    <a:lnTo>
                      <a:pt x="1290" y="146"/>
                    </a:lnTo>
                    <a:lnTo>
                      <a:pt x="1290" y="144"/>
                    </a:lnTo>
                    <a:lnTo>
                      <a:pt x="1290" y="142"/>
                    </a:lnTo>
                    <a:lnTo>
                      <a:pt x="1284" y="138"/>
                    </a:lnTo>
                    <a:lnTo>
                      <a:pt x="1274" y="136"/>
                    </a:lnTo>
                    <a:lnTo>
                      <a:pt x="1260" y="130"/>
                    </a:lnTo>
                    <a:lnTo>
                      <a:pt x="1244" y="126"/>
                    </a:lnTo>
                    <a:lnTo>
                      <a:pt x="1236" y="124"/>
                    </a:lnTo>
                    <a:lnTo>
                      <a:pt x="1226" y="118"/>
                    </a:lnTo>
                    <a:lnTo>
                      <a:pt x="1224" y="116"/>
                    </a:lnTo>
                    <a:lnTo>
                      <a:pt x="1220" y="114"/>
                    </a:lnTo>
                    <a:lnTo>
                      <a:pt x="1202" y="114"/>
                    </a:lnTo>
                    <a:lnTo>
                      <a:pt x="1190" y="112"/>
                    </a:lnTo>
                    <a:lnTo>
                      <a:pt x="1186" y="110"/>
                    </a:lnTo>
                    <a:lnTo>
                      <a:pt x="1184" y="106"/>
                    </a:lnTo>
                    <a:lnTo>
                      <a:pt x="1182" y="102"/>
                    </a:lnTo>
                    <a:lnTo>
                      <a:pt x="1182" y="96"/>
                    </a:lnTo>
                    <a:lnTo>
                      <a:pt x="1182" y="90"/>
                    </a:lnTo>
                    <a:lnTo>
                      <a:pt x="1178" y="84"/>
                    </a:lnTo>
                    <a:lnTo>
                      <a:pt x="1170" y="78"/>
                    </a:lnTo>
                    <a:lnTo>
                      <a:pt x="1162" y="74"/>
                    </a:lnTo>
                    <a:lnTo>
                      <a:pt x="1156" y="76"/>
                    </a:lnTo>
                    <a:lnTo>
                      <a:pt x="1152" y="82"/>
                    </a:lnTo>
                    <a:lnTo>
                      <a:pt x="1148" y="88"/>
                    </a:lnTo>
                    <a:lnTo>
                      <a:pt x="1144" y="96"/>
                    </a:lnTo>
                    <a:lnTo>
                      <a:pt x="1144" y="98"/>
                    </a:lnTo>
                    <a:lnTo>
                      <a:pt x="1142" y="94"/>
                    </a:lnTo>
                    <a:lnTo>
                      <a:pt x="1140" y="84"/>
                    </a:lnTo>
                    <a:lnTo>
                      <a:pt x="1140" y="78"/>
                    </a:lnTo>
                    <a:lnTo>
                      <a:pt x="1142" y="74"/>
                    </a:lnTo>
                    <a:lnTo>
                      <a:pt x="1144" y="70"/>
                    </a:lnTo>
                    <a:lnTo>
                      <a:pt x="1150" y="66"/>
                    </a:lnTo>
                    <a:lnTo>
                      <a:pt x="1152" y="64"/>
                    </a:lnTo>
                    <a:lnTo>
                      <a:pt x="1132" y="54"/>
                    </a:lnTo>
                    <a:lnTo>
                      <a:pt x="1124" y="50"/>
                    </a:lnTo>
                    <a:lnTo>
                      <a:pt x="1108" y="50"/>
                    </a:lnTo>
                    <a:lnTo>
                      <a:pt x="1100" y="50"/>
                    </a:lnTo>
                    <a:lnTo>
                      <a:pt x="1092" y="48"/>
                    </a:lnTo>
                    <a:lnTo>
                      <a:pt x="1084" y="42"/>
                    </a:lnTo>
                    <a:lnTo>
                      <a:pt x="1080" y="40"/>
                    </a:lnTo>
                    <a:lnTo>
                      <a:pt x="1076" y="40"/>
                    </a:lnTo>
                    <a:lnTo>
                      <a:pt x="1070" y="40"/>
                    </a:lnTo>
                    <a:lnTo>
                      <a:pt x="1062" y="44"/>
                    </a:lnTo>
                    <a:lnTo>
                      <a:pt x="1058" y="48"/>
                    </a:lnTo>
                    <a:lnTo>
                      <a:pt x="1056" y="54"/>
                    </a:lnTo>
                    <a:lnTo>
                      <a:pt x="1054" y="58"/>
                    </a:lnTo>
                    <a:lnTo>
                      <a:pt x="1056" y="66"/>
                    </a:lnTo>
                    <a:lnTo>
                      <a:pt x="1060" y="80"/>
                    </a:lnTo>
                    <a:lnTo>
                      <a:pt x="1068" y="94"/>
                    </a:lnTo>
                    <a:lnTo>
                      <a:pt x="1084" y="120"/>
                    </a:lnTo>
                    <a:lnTo>
                      <a:pt x="1086" y="130"/>
                    </a:lnTo>
                    <a:lnTo>
                      <a:pt x="1086" y="132"/>
                    </a:lnTo>
                    <a:lnTo>
                      <a:pt x="1084" y="132"/>
                    </a:lnTo>
                    <a:lnTo>
                      <a:pt x="1080" y="132"/>
                    </a:lnTo>
                    <a:lnTo>
                      <a:pt x="1076" y="130"/>
                    </a:lnTo>
                    <a:lnTo>
                      <a:pt x="1068" y="122"/>
                    </a:lnTo>
                    <a:lnTo>
                      <a:pt x="1048" y="96"/>
                    </a:lnTo>
                    <a:lnTo>
                      <a:pt x="1036" y="82"/>
                    </a:lnTo>
                    <a:lnTo>
                      <a:pt x="1026" y="72"/>
                    </a:lnTo>
                    <a:lnTo>
                      <a:pt x="1020" y="68"/>
                    </a:lnTo>
                    <a:lnTo>
                      <a:pt x="1014" y="66"/>
                    </a:lnTo>
                    <a:lnTo>
                      <a:pt x="1008" y="64"/>
                    </a:lnTo>
                    <a:lnTo>
                      <a:pt x="1004" y="66"/>
                    </a:lnTo>
                    <a:lnTo>
                      <a:pt x="998" y="68"/>
                    </a:lnTo>
                    <a:lnTo>
                      <a:pt x="994" y="70"/>
                    </a:lnTo>
                    <a:lnTo>
                      <a:pt x="990" y="78"/>
                    </a:lnTo>
                    <a:lnTo>
                      <a:pt x="988" y="88"/>
                    </a:lnTo>
                    <a:lnTo>
                      <a:pt x="986" y="96"/>
                    </a:lnTo>
                    <a:lnTo>
                      <a:pt x="986" y="108"/>
                    </a:lnTo>
                    <a:lnTo>
                      <a:pt x="984" y="106"/>
                    </a:lnTo>
                    <a:lnTo>
                      <a:pt x="980" y="100"/>
                    </a:lnTo>
                    <a:lnTo>
                      <a:pt x="974" y="90"/>
                    </a:lnTo>
                    <a:lnTo>
                      <a:pt x="968" y="84"/>
                    </a:lnTo>
                    <a:lnTo>
                      <a:pt x="960" y="80"/>
                    </a:lnTo>
                    <a:lnTo>
                      <a:pt x="954" y="78"/>
                    </a:lnTo>
                    <a:lnTo>
                      <a:pt x="950" y="76"/>
                    </a:lnTo>
                    <a:lnTo>
                      <a:pt x="948" y="76"/>
                    </a:lnTo>
                    <a:lnTo>
                      <a:pt x="960" y="72"/>
                    </a:lnTo>
                    <a:lnTo>
                      <a:pt x="972" y="70"/>
                    </a:lnTo>
                    <a:lnTo>
                      <a:pt x="978" y="66"/>
                    </a:lnTo>
                    <a:lnTo>
                      <a:pt x="984" y="62"/>
                    </a:lnTo>
                    <a:lnTo>
                      <a:pt x="984" y="60"/>
                    </a:lnTo>
                    <a:lnTo>
                      <a:pt x="982" y="56"/>
                    </a:lnTo>
                    <a:lnTo>
                      <a:pt x="978" y="56"/>
                    </a:lnTo>
                    <a:lnTo>
                      <a:pt x="970" y="56"/>
                    </a:lnTo>
                    <a:lnTo>
                      <a:pt x="958" y="60"/>
                    </a:lnTo>
                    <a:lnTo>
                      <a:pt x="946" y="62"/>
                    </a:lnTo>
                    <a:lnTo>
                      <a:pt x="938" y="62"/>
                    </a:lnTo>
                    <a:lnTo>
                      <a:pt x="934" y="62"/>
                    </a:lnTo>
                    <a:lnTo>
                      <a:pt x="930" y="58"/>
                    </a:lnTo>
                    <a:lnTo>
                      <a:pt x="928" y="56"/>
                    </a:lnTo>
                    <a:lnTo>
                      <a:pt x="926" y="56"/>
                    </a:lnTo>
                    <a:lnTo>
                      <a:pt x="922" y="58"/>
                    </a:lnTo>
                    <a:lnTo>
                      <a:pt x="916" y="60"/>
                    </a:lnTo>
                    <a:lnTo>
                      <a:pt x="908" y="64"/>
                    </a:lnTo>
                    <a:lnTo>
                      <a:pt x="904" y="64"/>
                    </a:lnTo>
                    <a:lnTo>
                      <a:pt x="902" y="64"/>
                    </a:lnTo>
                    <a:lnTo>
                      <a:pt x="900" y="60"/>
                    </a:lnTo>
                    <a:lnTo>
                      <a:pt x="896" y="58"/>
                    </a:lnTo>
                    <a:lnTo>
                      <a:pt x="892" y="58"/>
                    </a:lnTo>
                    <a:lnTo>
                      <a:pt x="884" y="60"/>
                    </a:lnTo>
                    <a:lnTo>
                      <a:pt x="874" y="64"/>
                    </a:lnTo>
                    <a:lnTo>
                      <a:pt x="862" y="72"/>
                    </a:lnTo>
                    <a:lnTo>
                      <a:pt x="856" y="78"/>
                    </a:lnTo>
                    <a:lnTo>
                      <a:pt x="854" y="82"/>
                    </a:lnTo>
                    <a:lnTo>
                      <a:pt x="854" y="88"/>
                    </a:lnTo>
                    <a:lnTo>
                      <a:pt x="858" y="92"/>
                    </a:lnTo>
                    <a:lnTo>
                      <a:pt x="862" y="98"/>
                    </a:lnTo>
                    <a:lnTo>
                      <a:pt x="872" y="112"/>
                    </a:lnTo>
                    <a:lnTo>
                      <a:pt x="878" y="116"/>
                    </a:lnTo>
                    <a:lnTo>
                      <a:pt x="884" y="118"/>
                    </a:lnTo>
                    <a:lnTo>
                      <a:pt x="890" y="114"/>
                    </a:lnTo>
                    <a:lnTo>
                      <a:pt x="894" y="110"/>
                    </a:lnTo>
                    <a:lnTo>
                      <a:pt x="902" y="104"/>
                    </a:lnTo>
                    <a:lnTo>
                      <a:pt x="902" y="108"/>
                    </a:lnTo>
                    <a:close/>
                    <a:moveTo>
                      <a:pt x="1272" y="818"/>
                    </a:moveTo>
                    <a:lnTo>
                      <a:pt x="1272" y="818"/>
                    </a:lnTo>
                    <a:lnTo>
                      <a:pt x="1272" y="816"/>
                    </a:lnTo>
                    <a:lnTo>
                      <a:pt x="1270" y="814"/>
                    </a:lnTo>
                    <a:lnTo>
                      <a:pt x="1266" y="812"/>
                    </a:lnTo>
                    <a:lnTo>
                      <a:pt x="1264" y="814"/>
                    </a:lnTo>
                    <a:lnTo>
                      <a:pt x="1264" y="818"/>
                    </a:lnTo>
                    <a:lnTo>
                      <a:pt x="1264" y="820"/>
                    </a:lnTo>
                    <a:lnTo>
                      <a:pt x="1272" y="818"/>
                    </a:lnTo>
                    <a:close/>
                    <a:moveTo>
                      <a:pt x="1168" y="848"/>
                    </a:moveTo>
                    <a:lnTo>
                      <a:pt x="1168" y="848"/>
                    </a:lnTo>
                    <a:lnTo>
                      <a:pt x="1176" y="848"/>
                    </a:lnTo>
                    <a:lnTo>
                      <a:pt x="1180" y="848"/>
                    </a:lnTo>
                    <a:lnTo>
                      <a:pt x="1182" y="844"/>
                    </a:lnTo>
                    <a:lnTo>
                      <a:pt x="1184" y="840"/>
                    </a:lnTo>
                    <a:lnTo>
                      <a:pt x="1190" y="836"/>
                    </a:lnTo>
                    <a:lnTo>
                      <a:pt x="1192" y="834"/>
                    </a:lnTo>
                    <a:lnTo>
                      <a:pt x="1192" y="832"/>
                    </a:lnTo>
                    <a:lnTo>
                      <a:pt x="1192" y="830"/>
                    </a:lnTo>
                    <a:lnTo>
                      <a:pt x="1188" y="828"/>
                    </a:lnTo>
                    <a:lnTo>
                      <a:pt x="1182" y="826"/>
                    </a:lnTo>
                    <a:lnTo>
                      <a:pt x="1180" y="826"/>
                    </a:lnTo>
                    <a:lnTo>
                      <a:pt x="1180" y="828"/>
                    </a:lnTo>
                    <a:lnTo>
                      <a:pt x="1176" y="830"/>
                    </a:lnTo>
                    <a:lnTo>
                      <a:pt x="1174" y="830"/>
                    </a:lnTo>
                    <a:lnTo>
                      <a:pt x="1172" y="832"/>
                    </a:lnTo>
                    <a:lnTo>
                      <a:pt x="1170" y="832"/>
                    </a:lnTo>
                    <a:lnTo>
                      <a:pt x="1166" y="832"/>
                    </a:lnTo>
                    <a:lnTo>
                      <a:pt x="1164" y="832"/>
                    </a:lnTo>
                    <a:lnTo>
                      <a:pt x="1162" y="834"/>
                    </a:lnTo>
                    <a:lnTo>
                      <a:pt x="1162" y="838"/>
                    </a:lnTo>
                    <a:lnTo>
                      <a:pt x="1160" y="842"/>
                    </a:lnTo>
                    <a:lnTo>
                      <a:pt x="1156" y="842"/>
                    </a:lnTo>
                    <a:lnTo>
                      <a:pt x="1154" y="842"/>
                    </a:lnTo>
                    <a:lnTo>
                      <a:pt x="1152" y="844"/>
                    </a:lnTo>
                    <a:lnTo>
                      <a:pt x="1152" y="846"/>
                    </a:lnTo>
                    <a:lnTo>
                      <a:pt x="1154" y="848"/>
                    </a:lnTo>
                    <a:lnTo>
                      <a:pt x="1168" y="848"/>
                    </a:lnTo>
                    <a:close/>
                    <a:moveTo>
                      <a:pt x="1214" y="822"/>
                    </a:moveTo>
                    <a:lnTo>
                      <a:pt x="1214" y="822"/>
                    </a:lnTo>
                    <a:lnTo>
                      <a:pt x="1218" y="816"/>
                    </a:lnTo>
                    <a:lnTo>
                      <a:pt x="1218" y="814"/>
                    </a:lnTo>
                    <a:lnTo>
                      <a:pt x="1216" y="814"/>
                    </a:lnTo>
                    <a:lnTo>
                      <a:pt x="1212" y="812"/>
                    </a:lnTo>
                    <a:lnTo>
                      <a:pt x="1208" y="814"/>
                    </a:lnTo>
                    <a:lnTo>
                      <a:pt x="1206" y="814"/>
                    </a:lnTo>
                    <a:lnTo>
                      <a:pt x="1202" y="812"/>
                    </a:lnTo>
                    <a:lnTo>
                      <a:pt x="1198" y="810"/>
                    </a:lnTo>
                    <a:lnTo>
                      <a:pt x="1196" y="812"/>
                    </a:lnTo>
                    <a:lnTo>
                      <a:pt x="1192" y="814"/>
                    </a:lnTo>
                    <a:lnTo>
                      <a:pt x="1190" y="814"/>
                    </a:lnTo>
                    <a:lnTo>
                      <a:pt x="1188" y="814"/>
                    </a:lnTo>
                    <a:lnTo>
                      <a:pt x="1188" y="816"/>
                    </a:lnTo>
                    <a:lnTo>
                      <a:pt x="1184" y="820"/>
                    </a:lnTo>
                    <a:lnTo>
                      <a:pt x="1182" y="822"/>
                    </a:lnTo>
                    <a:lnTo>
                      <a:pt x="1184" y="824"/>
                    </a:lnTo>
                    <a:lnTo>
                      <a:pt x="1190" y="824"/>
                    </a:lnTo>
                    <a:lnTo>
                      <a:pt x="1196" y="828"/>
                    </a:lnTo>
                    <a:lnTo>
                      <a:pt x="1200" y="830"/>
                    </a:lnTo>
                    <a:lnTo>
                      <a:pt x="1204" y="830"/>
                    </a:lnTo>
                    <a:lnTo>
                      <a:pt x="1214" y="822"/>
                    </a:lnTo>
                    <a:close/>
                    <a:moveTo>
                      <a:pt x="1352" y="792"/>
                    </a:moveTo>
                    <a:lnTo>
                      <a:pt x="1352" y="792"/>
                    </a:lnTo>
                    <a:lnTo>
                      <a:pt x="1348" y="790"/>
                    </a:lnTo>
                    <a:lnTo>
                      <a:pt x="1344" y="788"/>
                    </a:lnTo>
                    <a:lnTo>
                      <a:pt x="1338" y="788"/>
                    </a:lnTo>
                    <a:lnTo>
                      <a:pt x="1330" y="790"/>
                    </a:lnTo>
                    <a:lnTo>
                      <a:pt x="1328" y="792"/>
                    </a:lnTo>
                    <a:lnTo>
                      <a:pt x="1330" y="794"/>
                    </a:lnTo>
                    <a:lnTo>
                      <a:pt x="1340" y="798"/>
                    </a:lnTo>
                    <a:lnTo>
                      <a:pt x="1350" y="796"/>
                    </a:lnTo>
                    <a:lnTo>
                      <a:pt x="1352" y="796"/>
                    </a:lnTo>
                    <a:lnTo>
                      <a:pt x="1352" y="792"/>
                    </a:lnTo>
                    <a:close/>
                    <a:moveTo>
                      <a:pt x="1326" y="780"/>
                    </a:moveTo>
                    <a:lnTo>
                      <a:pt x="1326" y="780"/>
                    </a:lnTo>
                    <a:lnTo>
                      <a:pt x="1330" y="778"/>
                    </a:lnTo>
                    <a:lnTo>
                      <a:pt x="1334" y="776"/>
                    </a:lnTo>
                    <a:lnTo>
                      <a:pt x="1338" y="776"/>
                    </a:lnTo>
                    <a:lnTo>
                      <a:pt x="1342" y="776"/>
                    </a:lnTo>
                    <a:lnTo>
                      <a:pt x="1346" y="778"/>
                    </a:lnTo>
                    <a:lnTo>
                      <a:pt x="1350" y="776"/>
                    </a:lnTo>
                    <a:lnTo>
                      <a:pt x="1364" y="766"/>
                    </a:lnTo>
                    <a:lnTo>
                      <a:pt x="1372" y="760"/>
                    </a:lnTo>
                    <a:lnTo>
                      <a:pt x="1372" y="758"/>
                    </a:lnTo>
                    <a:lnTo>
                      <a:pt x="1372" y="756"/>
                    </a:lnTo>
                    <a:lnTo>
                      <a:pt x="1368" y="756"/>
                    </a:lnTo>
                    <a:lnTo>
                      <a:pt x="1362" y="756"/>
                    </a:lnTo>
                    <a:lnTo>
                      <a:pt x="1356" y="758"/>
                    </a:lnTo>
                    <a:lnTo>
                      <a:pt x="1358" y="760"/>
                    </a:lnTo>
                    <a:lnTo>
                      <a:pt x="1358" y="762"/>
                    </a:lnTo>
                    <a:lnTo>
                      <a:pt x="1356" y="764"/>
                    </a:lnTo>
                    <a:lnTo>
                      <a:pt x="1350" y="762"/>
                    </a:lnTo>
                    <a:lnTo>
                      <a:pt x="1348" y="762"/>
                    </a:lnTo>
                    <a:lnTo>
                      <a:pt x="1346" y="762"/>
                    </a:lnTo>
                    <a:lnTo>
                      <a:pt x="1342" y="766"/>
                    </a:lnTo>
                    <a:lnTo>
                      <a:pt x="1342" y="770"/>
                    </a:lnTo>
                    <a:lnTo>
                      <a:pt x="1340" y="768"/>
                    </a:lnTo>
                    <a:lnTo>
                      <a:pt x="1338" y="766"/>
                    </a:lnTo>
                    <a:lnTo>
                      <a:pt x="1332" y="766"/>
                    </a:lnTo>
                    <a:lnTo>
                      <a:pt x="1318" y="770"/>
                    </a:lnTo>
                    <a:lnTo>
                      <a:pt x="1314" y="774"/>
                    </a:lnTo>
                    <a:lnTo>
                      <a:pt x="1318" y="776"/>
                    </a:lnTo>
                    <a:lnTo>
                      <a:pt x="1320" y="776"/>
                    </a:lnTo>
                    <a:lnTo>
                      <a:pt x="1322" y="778"/>
                    </a:lnTo>
                    <a:lnTo>
                      <a:pt x="1320" y="780"/>
                    </a:lnTo>
                    <a:lnTo>
                      <a:pt x="1326" y="780"/>
                    </a:lnTo>
                    <a:close/>
                    <a:moveTo>
                      <a:pt x="1414" y="220"/>
                    </a:moveTo>
                    <a:lnTo>
                      <a:pt x="1414" y="220"/>
                    </a:lnTo>
                    <a:lnTo>
                      <a:pt x="1408" y="216"/>
                    </a:lnTo>
                    <a:lnTo>
                      <a:pt x="1402" y="216"/>
                    </a:lnTo>
                    <a:lnTo>
                      <a:pt x="1392" y="218"/>
                    </a:lnTo>
                    <a:lnTo>
                      <a:pt x="1388" y="220"/>
                    </a:lnTo>
                    <a:lnTo>
                      <a:pt x="1382" y="220"/>
                    </a:lnTo>
                    <a:lnTo>
                      <a:pt x="1374" y="218"/>
                    </a:lnTo>
                    <a:lnTo>
                      <a:pt x="1364" y="214"/>
                    </a:lnTo>
                    <a:lnTo>
                      <a:pt x="1356" y="208"/>
                    </a:lnTo>
                    <a:lnTo>
                      <a:pt x="1354" y="204"/>
                    </a:lnTo>
                    <a:lnTo>
                      <a:pt x="1356" y="200"/>
                    </a:lnTo>
                    <a:lnTo>
                      <a:pt x="1360" y="198"/>
                    </a:lnTo>
                    <a:lnTo>
                      <a:pt x="1370" y="194"/>
                    </a:lnTo>
                    <a:lnTo>
                      <a:pt x="1370" y="192"/>
                    </a:lnTo>
                    <a:lnTo>
                      <a:pt x="1366" y="190"/>
                    </a:lnTo>
                    <a:lnTo>
                      <a:pt x="1354" y="188"/>
                    </a:lnTo>
                    <a:lnTo>
                      <a:pt x="1336" y="188"/>
                    </a:lnTo>
                    <a:lnTo>
                      <a:pt x="1316" y="188"/>
                    </a:lnTo>
                    <a:lnTo>
                      <a:pt x="1296" y="190"/>
                    </a:lnTo>
                    <a:lnTo>
                      <a:pt x="1280" y="194"/>
                    </a:lnTo>
                    <a:lnTo>
                      <a:pt x="1274" y="196"/>
                    </a:lnTo>
                    <a:lnTo>
                      <a:pt x="1270" y="198"/>
                    </a:lnTo>
                    <a:lnTo>
                      <a:pt x="1270" y="202"/>
                    </a:lnTo>
                    <a:lnTo>
                      <a:pt x="1272" y="204"/>
                    </a:lnTo>
                    <a:lnTo>
                      <a:pt x="1276" y="208"/>
                    </a:lnTo>
                    <a:lnTo>
                      <a:pt x="1286" y="212"/>
                    </a:lnTo>
                    <a:lnTo>
                      <a:pt x="1292" y="214"/>
                    </a:lnTo>
                    <a:lnTo>
                      <a:pt x="1292" y="216"/>
                    </a:lnTo>
                    <a:lnTo>
                      <a:pt x="1292" y="218"/>
                    </a:lnTo>
                    <a:lnTo>
                      <a:pt x="1286" y="224"/>
                    </a:lnTo>
                    <a:lnTo>
                      <a:pt x="1272" y="236"/>
                    </a:lnTo>
                    <a:lnTo>
                      <a:pt x="1264" y="242"/>
                    </a:lnTo>
                    <a:lnTo>
                      <a:pt x="1262" y="246"/>
                    </a:lnTo>
                    <a:lnTo>
                      <a:pt x="1264" y="248"/>
                    </a:lnTo>
                    <a:lnTo>
                      <a:pt x="1270" y="250"/>
                    </a:lnTo>
                    <a:lnTo>
                      <a:pt x="1288" y="250"/>
                    </a:lnTo>
                    <a:lnTo>
                      <a:pt x="1314" y="246"/>
                    </a:lnTo>
                    <a:lnTo>
                      <a:pt x="1324" y="248"/>
                    </a:lnTo>
                    <a:lnTo>
                      <a:pt x="1328" y="248"/>
                    </a:lnTo>
                    <a:lnTo>
                      <a:pt x="1328" y="250"/>
                    </a:lnTo>
                    <a:lnTo>
                      <a:pt x="1328" y="256"/>
                    </a:lnTo>
                    <a:lnTo>
                      <a:pt x="1328" y="260"/>
                    </a:lnTo>
                    <a:lnTo>
                      <a:pt x="1326" y="264"/>
                    </a:lnTo>
                    <a:lnTo>
                      <a:pt x="1326" y="266"/>
                    </a:lnTo>
                    <a:lnTo>
                      <a:pt x="1328" y="266"/>
                    </a:lnTo>
                    <a:lnTo>
                      <a:pt x="1336" y="266"/>
                    </a:lnTo>
                    <a:lnTo>
                      <a:pt x="1350" y="260"/>
                    </a:lnTo>
                    <a:lnTo>
                      <a:pt x="1376" y="250"/>
                    </a:lnTo>
                    <a:lnTo>
                      <a:pt x="1402" y="238"/>
                    </a:lnTo>
                    <a:lnTo>
                      <a:pt x="1412" y="234"/>
                    </a:lnTo>
                    <a:lnTo>
                      <a:pt x="1418" y="228"/>
                    </a:lnTo>
                    <a:lnTo>
                      <a:pt x="1420" y="226"/>
                    </a:lnTo>
                    <a:lnTo>
                      <a:pt x="1420" y="224"/>
                    </a:lnTo>
                    <a:lnTo>
                      <a:pt x="1418" y="222"/>
                    </a:lnTo>
                    <a:lnTo>
                      <a:pt x="1414" y="220"/>
                    </a:lnTo>
                    <a:close/>
                    <a:moveTo>
                      <a:pt x="1370" y="792"/>
                    </a:moveTo>
                    <a:lnTo>
                      <a:pt x="1370" y="792"/>
                    </a:lnTo>
                    <a:lnTo>
                      <a:pt x="1378" y="782"/>
                    </a:lnTo>
                    <a:lnTo>
                      <a:pt x="1380" y="776"/>
                    </a:lnTo>
                    <a:lnTo>
                      <a:pt x="1378" y="774"/>
                    </a:lnTo>
                    <a:lnTo>
                      <a:pt x="1376" y="772"/>
                    </a:lnTo>
                    <a:lnTo>
                      <a:pt x="1372" y="770"/>
                    </a:lnTo>
                    <a:lnTo>
                      <a:pt x="1370" y="774"/>
                    </a:lnTo>
                    <a:lnTo>
                      <a:pt x="1362" y="776"/>
                    </a:lnTo>
                    <a:lnTo>
                      <a:pt x="1354" y="780"/>
                    </a:lnTo>
                    <a:lnTo>
                      <a:pt x="1350" y="784"/>
                    </a:lnTo>
                    <a:lnTo>
                      <a:pt x="1350" y="786"/>
                    </a:lnTo>
                    <a:lnTo>
                      <a:pt x="1350" y="788"/>
                    </a:lnTo>
                    <a:lnTo>
                      <a:pt x="1356" y="792"/>
                    </a:lnTo>
                    <a:lnTo>
                      <a:pt x="1364" y="794"/>
                    </a:lnTo>
                    <a:lnTo>
                      <a:pt x="1366" y="794"/>
                    </a:lnTo>
                    <a:lnTo>
                      <a:pt x="1370" y="792"/>
                    </a:lnTo>
                    <a:close/>
                    <a:moveTo>
                      <a:pt x="1388" y="762"/>
                    </a:moveTo>
                    <a:lnTo>
                      <a:pt x="1388" y="762"/>
                    </a:lnTo>
                    <a:lnTo>
                      <a:pt x="1384" y="762"/>
                    </a:lnTo>
                    <a:lnTo>
                      <a:pt x="1380" y="764"/>
                    </a:lnTo>
                    <a:lnTo>
                      <a:pt x="1380" y="766"/>
                    </a:lnTo>
                    <a:lnTo>
                      <a:pt x="1380" y="770"/>
                    </a:lnTo>
                    <a:lnTo>
                      <a:pt x="1384" y="776"/>
                    </a:lnTo>
                    <a:lnTo>
                      <a:pt x="1386" y="778"/>
                    </a:lnTo>
                    <a:lnTo>
                      <a:pt x="1388" y="778"/>
                    </a:lnTo>
                    <a:lnTo>
                      <a:pt x="1394" y="776"/>
                    </a:lnTo>
                    <a:lnTo>
                      <a:pt x="1396" y="772"/>
                    </a:lnTo>
                    <a:lnTo>
                      <a:pt x="1396" y="770"/>
                    </a:lnTo>
                    <a:lnTo>
                      <a:pt x="1396" y="766"/>
                    </a:lnTo>
                    <a:lnTo>
                      <a:pt x="1392" y="764"/>
                    </a:lnTo>
                    <a:lnTo>
                      <a:pt x="1388" y="762"/>
                    </a:lnTo>
                    <a:close/>
                    <a:moveTo>
                      <a:pt x="1264" y="804"/>
                    </a:moveTo>
                    <a:lnTo>
                      <a:pt x="1264" y="804"/>
                    </a:lnTo>
                    <a:lnTo>
                      <a:pt x="1264" y="800"/>
                    </a:lnTo>
                    <a:lnTo>
                      <a:pt x="1262" y="798"/>
                    </a:lnTo>
                    <a:lnTo>
                      <a:pt x="1258" y="798"/>
                    </a:lnTo>
                    <a:lnTo>
                      <a:pt x="1252" y="802"/>
                    </a:lnTo>
                    <a:lnTo>
                      <a:pt x="1248" y="804"/>
                    </a:lnTo>
                    <a:lnTo>
                      <a:pt x="1248" y="808"/>
                    </a:lnTo>
                    <a:lnTo>
                      <a:pt x="1250" y="810"/>
                    </a:lnTo>
                    <a:lnTo>
                      <a:pt x="1254" y="812"/>
                    </a:lnTo>
                    <a:lnTo>
                      <a:pt x="1260" y="814"/>
                    </a:lnTo>
                    <a:lnTo>
                      <a:pt x="1262" y="812"/>
                    </a:lnTo>
                    <a:lnTo>
                      <a:pt x="1264" y="804"/>
                    </a:lnTo>
                    <a:close/>
                    <a:moveTo>
                      <a:pt x="1102" y="904"/>
                    </a:moveTo>
                    <a:lnTo>
                      <a:pt x="1102" y="904"/>
                    </a:lnTo>
                    <a:lnTo>
                      <a:pt x="1102" y="908"/>
                    </a:lnTo>
                    <a:lnTo>
                      <a:pt x="1104" y="908"/>
                    </a:lnTo>
                    <a:lnTo>
                      <a:pt x="1112" y="908"/>
                    </a:lnTo>
                    <a:lnTo>
                      <a:pt x="1114" y="906"/>
                    </a:lnTo>
                    <a:lnTo>
                      <a:pt x="1112" y="902"/>
                    </a:lnTo>
                    <a:lnTo>
                      <a:pt x="1106" y="902"/>
                    </a:lnTo>
                    <a:lnTo>
                      <a:pt x="1104" y="902"/>
                    </a:lnTo>
                    <a:lnTo>
                      <a:pt x="1102" y="904"/>
                    </a:lnTo>
                    <a:close/>
                    <a:moveTo>
                      <a:pt x="1116" y="898"/>
                    </a:moveTo>
                    <a:lnTo>
                      <a:pt x="1116" y="898"/>
                    </a:lnTo>
                    <a:lnTo>
                      <a:pt x="1120" y="900"/>
                    </a:lnTo>
                    <a:lnTo>
                      <a:pt x="1122" y="898"/>
                    </a:lnTo>
                    <a:lnTo>
                      <a:pt x="1124" y="896"/>
                    </a:lnTo>
                    <a:lnTo>
                      <a:pt x="1124" y="894"/>
                    </a:lnTo>
                    <a:lnTo>
                      <a:pt x="1120" y="892"/>
                    </a:lnTo>
                    <a:lnTo>
                      <a:pt x="1116" y="894"/>
                    </a:lnTo>
                    <a:lnTo>
                      <a:pt x="1114" y="896"/>
                    </a:lnTo>
                    <a:lnTo>
                      <a:pt x="1116" y="898"/>
                    </a:lnTo>
                    <a:close/>
                    <a:moveTo>
                      <a:pt x="1150" y="850"/>
                    </a:moveTo>
                    <a:lnTo>
                      <a:pt x="1150" y="850"/>
                    </a:lnTo>
                    <a:lnTo>
                      <a:pt x="1148" y="850"/>
                    </a:lnTo>
                    <a:lnTo>
                      <a:pt x="1148" y="848"/>
                    </a:lnTo>
                    <a:lnTo>
                      <a:pt x="1146" y="846"/>
                    </a:lnTo>
                    <a:lnTo>
                      <a:pt x="1144" y="846"/>
                    </a:lnTo>
                    <a:lnTo>
                      <a:pt x="1142" y="848"/>
                    </a:lnTo>
                    <a:lnTo>
                      <a:pt x="1140" y="846"/>
                    </a:lnTo>
                    <a:lnTo>
                      <a:pt x="1138" y="844"/>
                    </a:lnTo>
                    <a:lnTo>
                      <a:pt x="1136" y="846"/>
                    </a:lnTo>
                    <a:lnTo>
                      <a:pt x="1136" y="848"/>
                    </a:lnTo>
                    <a:lnTo>
                      <a:pt x="1132" y="848"/>
                    </a:lnTo>
                    <a:lnTo>
                      <a:pt x="1130" y="846"/>
                    </a:lnTo>
                    <a:lnTo>
                      <a:pt x="1130" y="850"/>
                    </a:lnTo>
                    <a:lnTo>
                      <a:pt x="1130" y="852"/>
                    </a:lnTo>
                    <a:lnTo>
                      <a:pt x="1128" y="850"/>
                    </a:lnTo>
                    <a:lnTo>
                      <a:pt x="1124" y="850"/>
                    </a:lnTo>
                    <a:lnTo>
                      <a:pt x="1120" y="850"/>
                    </a:lnTo>
                    <a:lnTo>
                      <a:pt x="1118" y="854"/>
                    </a:lnTo>
                    <a:lnTo>
                      <a:pt x="1120" y="856"/>
                    </a:lnTo>
                    <a:lnTo>
                      <a:pt x="1124" y="856"/>
                    </a:lnTo>
                    <a:lnTo>
                      <a:pt x="1124" y="858"/>
                    </a:lnTo>
                    <a:lnTo>
                      <a:pt x="1120" y="860"/>
                    </a:lnTo>
                    <a:lnTo>
                      <a:pt x="1114" y="860"/>
                    </a:lnTo>
                    <a:lnTo>
                      <a:pt x="1108" y="860"/>
                    </a:lnTo>
                    <a:lnTo>
                      <a:pt x="1108" y="862"/>
                    </a:lnTo>
                    <a:lnTo>
                      <a:pt x="1110" y="862"/>
                    </a:lnTo>
                    <a:lnTo>
                      <a:pt x="1110" y="864"/>
                    </a:lnTo>
                    <a:lnTo>
                      <a:pt x="1108" y="866"/>
                    </a:lnTo>
                    <a:lnTo>
                      <a:pt x="1106" y="866"/>
                    </a:lnTo>
                    <a:lnTo>
                      <a:pt x="1108" y="868"/>
                    </a:lnTo>
                    <a:lnTo>
                      <a:pt x="1110" y="870"/>
                    </a:lnTo>
                    <a:lnTo>
                      <a:pt x="1108" y="870"/>
                    </a:lnTo>
                    <a:lnTo>
                      <a:pt x="1108" y="872"/>
                    </a:lnTo>
                    <a:lnTo>
                      <a:pt x="1108" y="874"/>
                    </a:lnTo>
                    <a:lnTo>
                      <a:pt x="1108" y="876"/>
                    </a:lnTo>
                    <a:lnTo>
                      <a:pt x="1108" y="878"/>
                    </a:lnTo>
                    <a:lnTo>
                      <a:pt x="1106" y="880"/>
                    </a:lnTo>
                    <a:lnTo>
                      <a:pt x="1104" y="882"/>
                    </a:lnTo>
                    <a:lnTo>
                      <a:pt x="1108" y="884"/>
                    </a:lnTo>
                    <a:lnTo>
                      <a:pt x="1114" y="884"/>
                    </a:lnTo>
                    <a:lnTo>
                      <a:pt x="1114" y="886"/>
                    </a:lnTo>
                    <a:lnTo>
                      <a:pt x="1114" y="888"/>
                    </a:lnTo>
                    <a:lnTo>
                      <a:pt x="1116" y="888"/>
                    </a:lnTo>
                    <a:lnTo>
                      <a:pt x="1120" y="884"/>
                    </a:lnTo>
                    <a:lnTo>
                      <a:pt x="1122" y="880"/>
                    </a:lnTo>
                    <a:lnTo>
                      <a:pt x="1126" y="876"/>
                    </a:lnTo>
                    <a:lnTo>
                      <a:pt x="1130" y="874"/>
                    </a:lnTo>
                    <a:lnTo>
                      <a:pt x="1132" y="876"/>
                    </a:lnTo>
                    <a:lnTo>
                      <a:pt x="1132" y="878"/>
                    </a:lnTo>
                    <a:lnTo>
                      <a:pt x="1134" y="878"/>
                    </a:lnTo>
                    <a:lnTo>
                      <a:pt x="1142" y="878"/>
                    </a:lnTo>
                    <a:lnTo>
                      <a:pt x="1146" y="876"/>
                    </a:lnTo>
                    <a:lnTo>
                      <a:pt x="1148" y="874"/>
                    </a:lnTo>
                    <a:lnTo>
                      <a:pt x="1146" y="870"/>
                    </a:lnTo>
                    <a:lnTo>
                      <a:pt x="1146" y="866"/>
                    </a:lnTo>
                    <a:lnTo>
                      <a:pt x="1148" y="864"/>
                    </a:lnTo>
                    <a:lnTo>
                      <a:pt x="1150" y="862"/>
                    </a:lnTo>
                    <a:lnTo>
                      <a:pt x="1150" y="860"/>
                    </a:lnTo>
                    <a:lnTo>
                      <a:pt x="1152" y="852"/>
                    </a:lnTo>
                    <a:lnTo>
                      <a:pt x="1152" y="850"/>
                    </a:lnTo>
                    <a:lnTo>
                      <a:pt x="1150" y="850"/>
                    </a:lnTo>
                    <a:close/>
                    <a:moveTo>
                      <a:pt x="1254" y="830"/>
                    </a:moveTo>
                    <a:lnTo>
                      <a:pt x="1254" y="830"/>
                    </a:lnTo>
                    <a:lnTo>
                      <a:pt x="1260" y="826"/>
                    </a:lnTo>
                    <a:lnTo>
                      <a:pt x="1262" y="824"/>
                    </a:lnTo>
                    <a:lnTo>
                      <a:pt x="1260" y="820"/>
                    </a:lnTo>
                    <a:lnTo>
                      <a:pt x="1258" y="822"/>
                    </a:lnTo>
                    <a:lnTo>
                      <a:pt x="1256" y="826"/>
                    </a:lnTo>
                    <a:lnTo>
                      <a:pt x="1254" y="830"/>
                    </a:lnTo>
                    <a:close/>
                    <a:moveTo>
                      <a:pt x="1226" y="818"/>
                    </a:moveTo>
                    <a:lnTo>
                      <a:pt x="1226" y="818"/>
                    </a:lnTo>
                    <a:lnTo>
                      <a:pt x="1222" y="818"/>
                    </a:lnTo>
                    <a:lnTo>
                      <a:pt x="1218" y="820"/>
                    </a:lnTo>
                    <a:lnTo>
                      <a:pt x="1214" y="826"/>
                    </a:lnTo>
                    <a:lnTo>
                      <a:pt x="1216" y="826"/>
                    </a:lnTo>
                    <a:lnTo>
                      <a:pt x="1220" y="824"/>
                    </a:lnTo>
                    <a:lnTo>
                      <a:pt x="1224" y="822"/>
                    </a:lnTo>
                    <a:lnTo>
                      <a:pt x="1226" y="818"/>
                    </a:lnTo>
                    <a:close/>
                    <a:moveTo>
                      <a:pt x="1074" y="928"/>
                    </a:moveTo>
                    <a:lnTo>
                      <a:pt x="1074" y="928"/>
                    </a:lnTo>
                    <a:lnTo>
                      <a:pt x="1074" y="930"/>
                    </a:lnTo>
                    <a:lnTo>
                      <a:pt x="1074" y="932"/>
                    </a:lnTo>
                    <a:lnTo>
                      <a:pt x="1078" y="932"/>
                    </a:lnTo>
                    <a:lnTo>
                      <a:pt x="1082" y="930"/>
                    </a:lnTo>
                    <a:lnTo>
                      <a:pt x="1084" y="926"/>
                    </a:lnTo>
                    <a:lnTo>
                      <a:pt x="1084" y="924"/>
                    </a:lnTo>
                    <a:lnTo>
                      <a:pt x="1080" y="924"/>
                    </a:lnTo>
                    <a:lnTo>
                      <a:pt x="1076" y="924"/>
                    </a:lnTo>
                    <a:lnTo>
                      <a:pt x="1074" y="928"/>
                    </a:lnTo>
                    <a:close/>
                    <a:moveTo>
                      <a:pt x="772" y="1274"/>
                    </a:moveTo>
                    <a:lnTo>
                      <a:pt x="772" y="1274"/>
                    </a:lnTo>
                    <a:lnTo>
                      <a:pt x="784" y="1270"/>
                    </a:lnTo>
                    <a:lnTo>
                      <a:pt x="788" y="1270"/>
                    </a:lnTo>
                    <a:lnTo>
                      <a:pt x="790" y="1268"/>
                    </a:lnTo>
                    <a:lnTo>
                      <a:pt x="790" y="1266"/>
                    </a:lnTo>
                    <a:lnTo>
                      <a:pt x="788" y="1264"/>
                    </a:lnTo>
                    <a:lnTo>
                      <a:pt x="786" y="1264"/>
                    </a:lnTo>
                    <a:lnTo>
                      <a:pt x="784" y="1262"/>
                    </a:lnTo>
                    <a:lnTo>
                      <a:pt x="784" y="1260"/>
                    </a:lnTo>
                    <a:lnTo>
                      <a:pt x="778" y="1262"/>
                    </a:lnTo>
                    <a:lnTo>
                      <a:pt x="768" y="1266"/>
                    </a:lnTo>
                    <a:lnTo>
                      <a:pt x="760" y="1268"/>
                    </a:lnTo>
                    <a:lnTo>
                      <a:pt x="758" y="1270"/>
                    </a:lnTo>
                    <a:lnTo>
                      <a:pt x="756" y="1274"/>
                    </a:lnTo>
                    <a:lnTo>
                      <a:pt x="758" y="1276"/>
                    </a:lnTo>
                    <a:lnTo>
                      <a:pt x="760" y="1276"/>
                    </a:lnTo>
                    <a:lnTo>
                      <a:pt x="772" y="1274"/>
                    </a:lnTo>
                    <a:close/>
                    <a:moveTo>
                      <a:pt x="776" y="1258"/>
                    </a:moveTo>
                    <a:lnTo>
                      <a:pt x="776" y="1258"/>
                    </a:lnTo>
                    <a:lnTo>
                      <a:pt x="780" y="1256"/>
                    </a:lnTo>
                    <a:lnTo>
                      <a:pt x="778" y="1252"/>
                    </a:lnTo>
                    <a:lnTo>
                      <a:pt x="776" y="1250"/>
                    </a:lnTo>
                    <a:lnTo>
                      <a:pt x="774" y="1252"/>
                    </a:lnTo>
                    <a:lnTo>
                      <a:pt x="772" y="1254"/>
                    </a:lnTo>
                    <a:lnTo>
                      <a:pt x="764" y="1256"/>
                    </a:lnTo>
                    <a:lnTo>
                      <a:pt x="760" y="1258"/>
                    </a:lnTo>
                    <a:lnTo>
                      <a:pt x="758" y="1258"/>
                    </a:lnTo>
                    <a:lnTo>
                      <a:pt x="758" y="1260"/>
                    </a:lnTo>
                    <a:lnTo>
                      <a:pt x="764" y="1260"/>
                    </a:lnTo>
                    <a:lnTo>
                      <a:pt x="776" y="1258"/>
                    </a:lnTo>
                    <a:close/>
                    <a:moveTo>
                      <a:pt x="892" y="180"/>
                    </a:moveTo>
                    <a:lnTo>
                      <a:pt x="892" y="180"/>
                    </a:lnTo>
                    <a:lnTo>
                      <a:pt x="904" y="186"/>
                    </a:lnTo>
                    <a:lnTo>
                      <a:pt x="912" y="188"/>
                    </a:lnTo>
                    <a:lnTo>
                      <a:pt x="912" y="186"/>
                    </a:lnTo>
                    <a:lnTo>
                      <a:pt x="910" y="182"/>
                    </a:lnTo>
                    <a:lnTo>
                      <a:pt x="906" y="176"/>
                    </a:lnTo>
                    <a:lnTo>
                      <a:pt x="900" y="170"/>
                    </a:lnTo>
                    <a:lnTo>
                      <a:pt x="894" y="164"/>
                    </a:lnTo>
                    <a:lnTo>
                      <a:pt x="888" y="164"/>
                    </a:lnTo>
                    <a:lnTo>
                      <a:pt x="882" y="162"/>
                    </a:lnTo>
                    <a:lnTo>
                      <a:pt x="878" y="158"/>
                    </a:lnTo>
                    <a:lnTo>
                      <a:pt x="870" y="144"/>
                    </a:lnTo>
                    <a:lnTo>
                      <a:pt x="866" y="138"/>
                    </a:lnTo>
                    <a:lnTo>
                      <a:pt x="860" y="134"/>
                    </a:lnTo>
                    <a:lnTo>
                      <a:pt x="856" y="132"/>
                    </a:lnTo>
                    <a:lnTo>
                      <a:pt x="850" y="132"/>
                    </a:lnTo>
                    <a:lnTo>
                      <a:pt x="846" y="136"/>
                    </a:lnTo>
                    <a:lnTo>
                      <a:pt x="846" y="142"/>
                    </a:lnTo>
                    <a:lnTo>
                      <a:pt x="860" y="164"/>
                    </a:lnTo>
                    <a:lnTo>
                      <a:pt x="866" y="174"/>
                    </a:lnTo>
                    <a:lnTo>
                      <a:pt x="868" y="174"/>
                    </a:lnTo>
                    <a:lnTo>
                      <a:pt x="870" y="174"/>
                    </a:lnTo>
                    <a:lnTo>
                      <a:pt x="872" y="172"/>
                    </a:lnTo>
                    <a:lnTo>
                      <a:pt x="876" y="172"/>
                    </a:lnTo>
                    <a:lnTo>
                      <a:pt x="884" y="174"/>
                    </a:lnTo>
                    <a:lnTo>
                      <a:pt x="892" y="180"/>
                    </a:lnTo>
                    <a:close/>
                    <a:moveTo>
                      <a:pt x="1006" y="948"/>
                    </a:moveTo>
                    <a:lnTo>
                      <a:pt x="1006" y="948"/>
                    </a:lnTo>
                    <a:lnTo>
                      <a:pt x="1016" y="944"/>
                    </a:lnTo>
                    <a:lnTo>
                      <a:pt x="1026" y="934"/>
                    </a:lnTo>
                    <a:lnTo>
                      <a:pt x="1030" y="932"/>
                    </a:lnTo>
                    <a:lnTo>
                      <a:pt x="1030" y="930"/>
                    </a:lnTo>
                    <a:lnTo>
                      <a:pt x="1026" y="930"/>
                    </a:lnTo>
                    <a:lnTo>
                      <a:pt x="1018" y="930"/>
                    </a:lnTo>
                    <a:lnTo>
                      <a:pt x="1008" y="932"/>
                    </a:lnTo>
                    <a:lnTo>
                      <a:pt x="1004" y="934"/>
                    </a:lnTo>
                    <a:lnTo>
                      <a:pt x="1006" y="936"/>
                    </a:lnTo>
                    <a:lnTo>
                      <a:pt x="1006" y="938"/>
                    </a:lnTo>
                    <a:lnTo>
                      <a:pt x="1002" y="938"/>
                    </a:lnTo>
                    <a:lnTo>
                      <a:pt x="998" y="938"/>
                    </a:lnTo>
                    <a:lnTo>
                      <a:pt x="998" y="940"/>
                    </a:lnTo>
                    <a:lnTo>
                      <a:pt x="1000" y="942"/>
                    </a:lnTo>
                    <a:lnTo>
                      <a:pt x="998" y="946"/>
                    </a:lnTo>
                    <a:lnTo>
                      <a:pt x="996" y="948"/>
                    </a:lnTo>
                    <a:lnTo>
                      <a:pt x="1000" y="948"/>
                    </a:lnTo>
                    <a:lnTo>
                      <a:pt x="1006" y="948"/>
                    </a:lnTo>
                    <a:close/>
                    <a:moveTo>
                      <a:pt x="1028" y="900"/>
                    </a:moveTo>
                    <a:lnTo>
                      <a:pt x="1028" y="900"/>
                    </a:lnTo>
                    <a:lnTo>
                      <a:pt x="1024" y="900"/>
                    </a:lnTo>
                    <a:lnTo>
                      <a:pt x="1022" y="902"/>
                    </a:lnTo>
                    <a:lnTo>
                      <a:pt x="1022" y="904"/>
                    </a:lnTo>
                    <a:lnTo>
                      <a:pt x="1018" y="906"/>
                    </a:lnTo>
                    <a:lnTo>
                      <a:pt x="1016" y="904"/>
                    </a:lnTo>
                    <a:lnTo>
                      <a:pt x="1014" y="902"/>
                    </a:lnTo>
                    <a:lnTo>
                      <a:pt x="1012" y="902"/>
                    </a:lnTo>
                    <a:lnTo>
                      <a:pt x="1010" y="904"/>
                    </a:lnTo>
                    <a:lnTo>
                      <a:pt x="1008" y="904"/>
                    </a:lnTo>
                    <a:lnTo>
                      <a:pt x="1006" y="904"/>
                    </a:lnTo>
                    <a:lnTo>
                      <a:pt x="1004" y="906"/>
                    </a:lnTo>
                    <a:lnTo>
                      <a:pt x="1004" y="910"/>
                    </a:lnTo>
                    <a:lnTo>
                      <a:pt x="1002" y="912"/>
                    </a:lnTo>
                    <a:lnTo>
                      <a:pt x="1002" y="914"/>
                    </a:lnTo>
                    <a:lnTo>
                      <a:pt x="1004" y="916"/>
                    </a:lnTo>
                    <a:lnTo>
                      <a:pt x="1008" y="918"/>
                    </a:lnTo>
                    <a:lnTo>
                      <a:pt x="1012" y="916"/>
                    </a:lnTo>
                    <a:lnTo>
                      <a:pt x="1016" y="914"/>
                    </a:lnTo>
                    <a:lnTo>
                      <a:pt x="1026" y="910"/>
                    </a:lnTo>
                    <a:lnTo>
                      <a:pt x="1030" y="910"/>
                    </a:lnTo>
                    <a:lnTo>
                      <a:pt x="1026" y="914"/>
                    </a:lnTo>
                    <a:lnTo>
                      <a:pt x="1020" y="918"/>
                    </a:lnTo>
                    <a:lnTo>
                      <a:pt x="1020" y="920"/>
                    </a:lnTo>
                    <a:lnTo>
                      <a:pt x="1030" y="918"/>
                    </a:lnTo>
                    <a:lnTo>
                      <a:pt x="1040" y="916"/>
                    </a:lnTo>
                    <a:lnTo>
                      <a:pt x="1042" y="914"/>
                    </a:lnTo>
                    <a:lnTo>
                      <a:pt x="1042" y="912"/>
                    </a:lnTo>
                    <a:lnTo>
                      <a:pt x="1042" y="910"/>
                    </a:lnTo>
                    <a:lnTo>
                      <a:pt x="1040" y="906"/>
                    </a:lnTo>
                    <a:lnTo>
                      <a:pt x="1040" y="904"/>
                    </a:lnTo>
                    <a:lnTo>
                      <a:pt x="1042" y="902"/>
                    </a:lnTo>
                    <a:lnTo>
                      <a:pt x="1042" y="900"/>
                    </a:lnTo>
                    <a:lnTo>
                      <a:pt x="1038" y="896"/>
                    </a:lnTo>
                    <a:lnTo>
                      <a:pt x="1034" y="890"/>
                    </a:lnTo>
                    <a:lnTo>
                      <a:pt x="1032" y="890"/>
                    </a:lnTo>
                    <a:lnTo>
                      <a:pt x="1030" y="890"/>
                    </a:lnTo>
                    <a:lnTo>
                      <a:pt x="1028" y="890"/>
                    </a:lnTo>
                    <a:lnTo>
                      <a:pt x="1028" y="892"/>
                    </a:lnTo>
                    <a:lnTo>
                      <a:pt x="1030" y="896"/>
                    </a:lnTo>
                    <a:lnTo>
                      <a:pt x="1032" y="900"/>
                    </a:lnTo>
                    <a:lnTo>
                      <a:pt x="1028" y="900"/>
                    </a:lnTo>
                    <a:close/>
                    <a:moveTo>
                      <a:pt x="996" y="942"/>
                    </a:moveTo>
                    <a:lnTo>
                      <a:pt x="996" y="942"/>
                    </a:lnTo>
                    <a:lnTo>
                      <a:pt x="996" y="940"/>
                    </a:lnTo>
                    <a:lnTo>
                      <a:pt x="994" y="938"/>
                    </a:lnTo>
                    <a:lnTo>
                      <a:pt x="990" y="938"/>
                    </a:lnTo>
                    <a:lnTo>
                      <a:pt x="988" y="938"/>
                    </a:lnTo>
                    <a:lnTo>
                      <a:pt x="990" y="940"/>
                    </a:lnTo>
                    <a:lnTo>
                      <a:pt x="992" y="942"/>
                    </a:lnTo>
                    <a:lnTo>
                      <a:pt x="994" y="942"/>
                    </a:lnTo>
                    <a:lnTo>
                      <a:pt x="996" y="942"/>
                    </a:lnTo>
                    <a:close/>
                    <a:moveTo>
                      <a:pt x="942" y="966"/>
                    </a:moveTo>
                    <a:lnTo>
                      <a:pt x="942" y="966"/>
                    </a:lnTo>
                    <a:lnTo>
                      <a:pt x="940" y="974"/>
                    </a:lnTo>
                    <a:lnTo>
                      <a:pt x="946" y="970"/>
                    </a:lnTo>
                    <a:lnTo>
                      <a:pt x="948" y="968"/>
                    </a:lnTo>
                    <a:lnTo>
                      <a:pt x="950" y="964"/>
                    </a:lnTo>
                    <a:lnTo>
                      <a:pt x="950" y="958"/>
                    </a:lnTo>
                    <a:lnTo>
                      <a:pt x="950" y="956"/>
                    </a:lnTo>
                    <a:lnTo>
                      <a:pt x="948" y="956"/>
                    </a:lnTo>
                    <a:lnTo>
                      <a:pt x="942" y="966"/>
                    </a:lnTo>
                    <a:close/>
                    <a:moveTo>
                      <a:pt x="970" y="956"/>
                    </a:moveTo>
                    <a:lnTo>
                      <a:pt x="970" y="956"/>
                    </a:lnTo>
                    <a:lnTo>
                      <a:pt x="972" y="956"/>
                    </a:lnTo>
                    <a:lnTo>
                      <a:pt x="974" y="956"/>
                    </a:lnTo>
                    <a:lnTo>
                      <a:pt x="976" y="956"/>
                    </a:lnTo>
                    <a:lnTo>
                      <a:pt x="978" y="954"/>
                    </a:lnTo>
                    <a:lnTo>
                      <a:pt x="982" y="952"/>
                    </a:lnTo>
                    <a:lnTo>
                      <a:pt x="984" y="950"/>
                    </a:lnTo>
                    <a:lnTo>
                      <a:pt x="988" y="946"/>
                    </a:lnTo>
                    <a:lnTo>
                      <a:pt x="992" y="946"/>
                    </a:lnTo>
                    <a:lnTo>
                      <a:pt x="990" y="944"/>
                    </a:lnTo>
                    <a:lnTo>
                      <a:pt x="980" y="942"/>
                    </a:lnTo>
                    <a:lnTo>
                      <a:pt x="976" y="940"/>
                    </a:lnTo>
                    <a:lnTo>
                      <a:pt x="972" y="942"/>
                    </a:lnTo>
                    <a:lnTo>
                      <a:pt x="970" y="944"/>
                    </a:lnTo>
                    <a:lnTo>
                      <a:pt x="966" y="948"/>
                    </a:lnTo>
                    <a:lnTo>
                      <a:pt x="966" y="952"/>
                    </a:lnTo>
                    <a:lnTo>
                      <a:pt x="966" y="954"/>
                    </a:lnTo>
                    <a:lnTo>
                      <a:pt x="964" y="956"/>
                    </a:lnTo>
                    <a:lnTo>
                      <a:pt x="966" y="958"/>
                    </a:lnTo>
                    <a:lnTo>
                      <a:pt x="968" y="958"/>
                    </a:lnTo>
                    <a:lnTo>
                      <a:pt x="970" y="956"/>
                    </a:lnTo>
                    <a:close/>
                    <a:moveTo>
                      <a:pt x="958" y="954"/>
                    </a:moveTo>
                    <a:lnTo>
                      <a:pt x="958" y="954"/>
                    </a:lnTo>
                    <a:lnTo>
                      <a:pt x="958" y="956"/>
                    </a:lnTo>
                    <a:lnTo>
                      <a:pt x="956" y="956"/>
                    </a:lnTo>
                    <a:lnTo>
                      <a:pt x="954" y="956"/>
                    </a:lnTo>
                    <a:lnTo>
                      <a:pt x="954" y="960"/>
                    </a:lnTo>
                    <a:lnTo>
                      <a:pt x="956" y="962"/>
                    </a:lnTo>
                    <a:lnTo>
                      <a:pt x="962" y="958"/>
                    </a:lnTo>
                    <a:lnTo>
                      <a:pt x="964" y="954"/>
                    </a:lnTo>
                    <a:lnTo>
                      <a:pt x="962" y="950"/>
                    </a:lnTo>
                    <a:lnTo>
                      <a:pt x="960" y="950"/>
                    </a:lnTo>
                    <a:lnTo>
                      <a:pt x="958" y="954"/>
                    </a:lnTo>
                    <a:close/>
                    <a:moveTo>
                      <a:pt x="1028" y="966"/>
                    </a:moveTo>
                    <a:lnTo>
                      <a:pt x="1028" y="966"/>
                    </a:lnTo>
                    <a:lnTo>
                      <a:pt x="1032" y="966"/>
                    </a:lnTo>
                    <a:lnTo>
                      <a:pt x="1034" y="964"/>
                    </a:lnTo>
                    <a:lnTo>
                      <a:pt x="1030" y="962"/>
                    </a:lnTo>
                    <a:lnTo>
                      <a:pt x="1028" y="962"/>
                    </a:lnTo>
                    <a:lnTo>
                      <a:pt x="1026" y="964"/>
                    </a:lnTo>
                    <a:lnTo>
                      <a:pt x="1026" y="966"/>
                    </a:lnTo>
                    <a:lnTo>
                      <a:pt x="1028" y="966"/>
                    </a:lnTo>
                    <a:close/>
                    <a:moveTo>
                      <a:pt x="1078" y="890"/>
                    </a:moveTo>
                    <a:lnTo>
                      <a:pt x="1078" y="890"/>
                    </a:lnTo>
                    <a:lnTo>
                      <a:pt x="1080" y="892"/>
                    </a:lnTo>
                    <a:lnTo>
                      <a:pt x="1082" y="894"/>
                    </a:lnTo>
                    <a:lnTo>
                      <a:pt x="1088" y="896"/>
                    </a:lnTo>
                    <a:lnTo>
                      <a:pt x="1092" y="896"/>
                    </a:lnTo>
                    <a:lnTo>
                      <a:pt x="1092" y="894"/>
                    </a:lnTo>
                    <a:lnTo>
                      <a:pt x="1088" y="892"/>
                    </a:lnTo>
                    <a:lnTo>
                      <a:pt x="1082" y="890"/>
                    </a:lnTo>
                    <a:lnTo>
                      <a:pt x="1078" y="890"/>
                    </a:lnTo>
                    <a:close/>
                    <a:moveTo>
                      <a:pt x="1054" y="890"/>
                    </a:moveTo>
                    <a:lnTo>
                      <a:pt x="1054" y="890"/>
                    </a:lnTo>
                    <a:lnTo>
                      <a:pt x="1060" y="890"/>
                    </a:lnTo>
                    <a:lnTo>
                      <a:pt x="1062" y="888"/>
                    </a:lnTo>
                    <a:lnTo>
                      <a:pt x="1068" y="878"/>
                    </a:lnTo>
                    <a:lnTo>
                      <a:pt x="1072" y="872"/>
                    </a:lnTo>
                    <a:lnTo>
                      <a:pt x="1074" y="868"/>
                    </a:lnTo>
                    <a:lnTo>
                      <a:pt x="1072" y="868"/>
                    </a:lnTo>
                    <a:lnTo>
                      <a:pt x="1066" y="870"/>
                    </a:lnTo>
                    <a:lnTo>
                      <a:pt x="1054" y="878"/>
                    </a:lnTo>
                    <a:lnTo>
                      <a:pt x="1050" y="882"/>
                    </a:lnTo>
                    <a:lnTo>
                      <a:pt x="1046" y="890"/>
                    </a:lnTo>
                    <a:lnTo>
                      <a:pt x="1044" y="894"/>
                    </a:lnTo>
                    <a:lnTo>
                      <a:pt x="1044" y="896"/>
                    </a:lnTo>
                    <a:lnTo>
                      <a:pt x="1046" y="898"/>
                    </a:lnTo>
                    <a:lnTo>
                      <a:pt x="1048" y="898"/>
                    </a:lnTo>
                    <a:lnTo>
                      <a:pt x="1048" y="894"/>
                    </a:lnTo>
                    <a:lnTo>
                      <a:pt x="1050" y="892"/>
                    </a:lnTo>
                    <a:lnTo>
                      <a:pt x="1054" y="890"/>
                    </a:lnTo>
                    <a:close/>
                    <a:moveTo>
                      <a:pt x="752" y="1276"/>
                    </a:moveTo>
                    <a:lnTo>
                      <a:pt x="752" y="1276"/>
                    </a:lnTo>
                    <a:lnTo>
                      <a:pt x="750" y="1274"/>
                    </a:lnTo>
                    <a:lnTo>
                      <a:pt x="742" y="1274"/>
                    </a:lnTo>
                    <a:lnTo>
                      <a:pt x="738" y="1276"/>
                    </a:lnTo>
                    <a:lnTo>
                      <a:pt x="736" y="1278"/>
                    </a:lnTo>
                    <a:lnTo>
                      <a:pt x="742" y="1282"/>
                    </a:lnTo>
                    <a:lnTo>
                      <a:pt x="748" y="1282"/>
                    </a:lnTo>
                    <a:lnTo>
                      <a:pt x="750" y="1278"/>
                    </a:lnTo>
                    <a:lnTo>
                      <a:pt x="752" y="1276"/>
                    </a:lnTo>
                    <a:close/>
                    <a:moveTo>
                      <a:pt x="1156" y="42"/>
                    </a:moveTo>
                    <a:lnTo>
                      <a:pt x="1156" y="42"/>
                    </a:lnTo>
                    <a:lnTo>
                      <a:pt x="1164" y="44"/>
                    </a:lnTo>
                    <a:lnTo>
                      <a:pt x="1166" y="46"/>
                    </a:lnTo>
                    <a:lnTo>
                      <a:pt x="1164" y="48"/>
                    </a:lnTo>
                    <a:lnTo>
                      <a:pt x="1162" y="48"/>
                    </a:lnTo>
                    <a:lnTo>
                      <a:pt x="1160" y="50"/>
                    </a:lnTo>
                    <a:lnTo>
                      <a:pt x="1162" y="52"/>
                    </a:lnTo>
                    <a:lnTo>
                      <a:pt x="1166" y="56"/>
                    </a:lnTo>
                    <a:lnTo>
                      <a:pt x="1176" y="62"/>
                    </a:lnTo>
                    <a:lnTo>
                      <a:pt x="1186" y="66"/>
                    </a:lnTo>
                    <a:lnTo>
                      <a:pt x="1194" y="68"/>
                    </a:lnTo>
                    <a:lnTo>
                      <a:pt x="1204" y="68"/>
                    </a:lnTo>
                    <a:lnTo>
                      <a:pt x="1214" y="66"/>
                    </a:lnTo>
                    <a:lnTo>
                      <a:pt x="1238" y="62"/>
                    </a:lnTo>
                    <a:lnTo>
                      <a:pt x="1252" y="60"/>
                    </a:lnTo>
                    <a:lnTo>
                      <a:pt x="1270" y="58"/>
                    </a:lnTo>
                    <a:lnTo>
                      <a:pt x="1296" y="58"/>
                    </a:lnTo>
                    <a:lnTo>
                      <a:pt x="1298" y="60"/>
                    </a:lnTo>
                    <a:lnTo>
                      <a:pt x="1294" y="62"/>
                    </a:lnTo>
                    <a:lnTo>
                      <a:pt x="1274" y="66"/>
                    </a:lnTo>
                    <a:lnTo>
                      <a:pt x="1236" y="74"/>
                    </a:lnTo>
                    <a:lnTo>
                      <a:pt x="1220" y="78"/>
                    </a:lnTo>
                    <a:lnTo>
                      <a:pt x="1216" y="80"/>
                    </a:lnTo>
                    <a:lnTo>
                      <a:pt x="1216" y="82"/>
                    </a:lnTo>
                    <a:lnTo>
                      <a:pt x="1216" y="84"/>
                    </a:lnTo>
                    <a:lnTo>
                      <a:pt x="1220" y="86"/>
                    </a:lnTo>
                    <a:lnTo>
                      <a:pt x="1232" y="88"/>
                    </a:lnTo>
                    <a:lnTo>
                      <a:pt x="1270" y="92"/>
                    </a:lnTo>
                    <a:lnTo>
                      <a:pt x="1308" y="94"/>
                    </a:lnTo>
                    <a:lnTo>
                      <a:pt x="1324" y="96"/>
                    </a:lnTo>
                    <a:lnTo>
                      <a:pt x="1336" y="100"/>
                    </a:lnTo>
                    <a:lnTo>
                      <a:pt x="1360" y="110"/>
                    </a:lnTo>
                    <a:lnTo>
                      <a:pt x="1370" y="114"/>
                    </a:lnTo>
                    <a:lnTo>
                      <a:pt x="1380" y="114"/>
                    </a:lnTo>
                    <a:lnTo>
                      <a:pt x="1390" y="112"/>
                    </a:lnTo>
                    <a:lnTo>
                      <a:pt x="1402" y="106"/>
                    </a:lnTo>
                    <a:lnTo>
                      <a:pt x="1412" y="98"/>
                    </a:lnTo>
                    <a:lnTo>
                      <a:pt x="1420" y="96"/>
                    </a:lnTo>
                    <a:lnTo>
                      <a:pt x="1424" y="94"/>
                    </a:lnTo>
                    <a:lnTo>
                      <a:pt x="1430" y="96"/>
                    </a:lnTo>
                    <a:lnTo>
                      <a:pt x="1438" y="98"/>
                    </a:lnTo>
                    <a:lnTo>
                      <a:pt x="1446" y="98"/>
                    </a:lnTo>
                    <a:lnTo>
                      <a:pt x="1456" y="96"/>
                    </a:lnTo>
                    <a:lnTo>
                      <a:pt x="1464" y="92"/>
                    </a:lnTo>
                    <a:lnTo>
                      <a:pt x="1468" y="88"/>
                    </a:lnTo>
                    <a:lnTo>
                      <a:pt x="1468" y="84"/>
                    </a:lnTo>
                    <a:lnTo>
                      <a:pt x="1468" y="80"/>
                    </a:lnTo>
                    <a:lnTo>
                      <a:pt x="1470" y="76"/>
                    </a:lnTo>
                    <a:lnTo>
                      <a:pt x="1476" y="72"/>
                    </a:lnTo>
                    <a:lnTo>
                      <a:pt x="1488" y="66"/>
                    </a:lnTo>
                    <a:lnTo>
                      <a:pt x="1506" y="58"/>
                    </a:lnTo>
                    <a:lnTo>
                      <a:pt x="1516" y="54"/>
                    </a:lnTo>
                    <a:lnTo>
                      <a:pt x="1522" y="48"/>
                    </a:lnTo>
                    <a:lnTo>
                      <a:pt x="1520" y="42"/>
                    </a:lnTo>
                    <a:lnTo>
                      <a:pt x="1516" y="38"/>
                    </a:lnTo>
                    <a:lnTo>
                      <a:pt x="1510" y="34"/>
                    </a:lnTo>
                    <a:lnTo>
                      <a:pt x="1502" y="30"/>
                    </a:lnTo>
                    <a:lnTo>
                      <a:pt x="1492" y="28"/>
                    </a:lnTo>
                    <a:lnTo>
                      <a:pt x="1484" y="28"/>
                    </a:lnTo>
                    <a:lnTo>
                      <a:pt x="1468" y="28"/>
                    </a:lnTo>
                    <a:lnTo>
                      <a:pt x="1450" y="24"/>
                    </a:lnTo>
                    <a:lnTo>
                      <a:pt x="1430" y="18"/>
                    </a:lnTo>
                    <a:lnTo>
                      <a:pt x="1406" y="14"/>
                    </a:lnTo>
                    <a:lnTo>
                      <a:pt x="1394" y="12"/>
                    </a:lnTo>
                    <a:lnTo>
                      <a:pt x="1388" y="14"/>
                    </a:lnTo>
                    <a:lnTo>
                      <a:pt x="1384" y="16"/>
                    </a:lnTo>
                    <a:lnTo>
                      <a:pt x="1382" y="20"/>
                    </a:lnTo>
                    <a:lnTo>
                      <a:pt x="1378" y="28"/>
                    </a:lnTo>
                    <a:lnTo>
                      <a:pt x="1374" y="30"/>
                    </a:lnTo>
                    <a:lnTo>
                      <a:pt x="1366" y="30"/>
                    </a:lnTo>
                    <a:lnTo>
                      <a:pt x="1360" y="28"/>
                    </a:lnTo>
                    <a:lnTo>
                      <a:pt x="1358" y="24"/>
                    </a:lnTo>
                    <a:lnTo>
                      <a:pt x="1358" y="20"/>
                    </a:lnTo>
                    <a:lnTo>
                      <a:pt x="1360" y="16"/>
                    </a:lnTo>
                    <a:lnTo>
                      <a:pt x="1362" y="10"/>
                    </a:lnTo>
                    <a:lnTo>
                      <a:pt x="1362" y="6"/>
                    </a:lnTo>
                    <a:lnTo>
                      <a:pt x="1360" y="4"/>
                    </a:lnTo>
                    <a:lnTo>
                      <a:pt x="1350" y="0"/>
                    </a:lnTo>
                    <a:lnTo>
                      <a:pt x="1344" y="0"/>
                    </a:lnTo>
                    <a:lnTo>
                      <a:pt x="1340" y="2"/>
                    </a:lnTo>
                    <a:lnTo>
                      <a:pt x="1334" y="4"/>
                    </a:lnTo>
                    <a:lnTo>
                      <a:pt x="1332" y="8"/>
                    </a:lnTo>
                    <a:lnTo>
                      <a:pt x="1328" y="14"/>
                    </a:lnTo>
                    <a:lnTo>
                      <a:pt x="1326" y="22"/>
                    </a:lnTo>
                    <a:lnTo>
                      <a:pt x="1324" y="36"/>
                    </a:lnTo>
                    <a:lnTo>
                      <a:pt x="1322" y="40"/>
                    </a:lnTo>
                    <a:lnTo>
                      <a:pt x="1320" y="40"/>
                    </a:lnTo>
                    <a:lnTo>
                      <a:pt x="1318" y="40"/>
                    </a:lnTo>
                    <a:lnTo>
                      <a:pt x="1314" y="36"/>
                    </a:lnTo>
                    <a:lnTo>
                      <a:pt x="1306" y="24"/>
                    </a:lnTo>
                    <a:lnTo>
                      <a:pt x="1300" y="20"/>
                    </a:lnTo>
                    <a:lnTo>
                      <a:pt x="1296" y="18"/>
                    </a:lnTo>
                    <a:lnTo>
                      <a:pt x="1292" y="18"/>
                    </a:lnTo>
                    <a:lnTo>
                      <a:pt x="1286" y="18"/>
                    </a:lnTo>
                    <a:lnTo>
                      <a:pt x="1278" y="20"/>
                    </a:lnTo>
                    <a:lnTo>
                      <a:pt x="1268" y="18"/>
                    </a:lnTo>
                    <a:lnTo>
                      <a:pt x="1252" y="16"/>
                    </a:lnTo>
                    <a:lnTo>
                      <a:pt x="1232" y="8"/>
                    </a:lnTo>
                    <a:lnTo>
                      <a:pt x="1216" y="2"/>
                    </a:lnTo>
                    <a:lnTo>
                      <a:pt x="1208" y="2"/>
                    </a:lnTo>
                    <a:lnTo>
                      <a:pt x="1208" y="4"/>
                    </a:lnTo>
                    <a:lnTo>
                      <a:pt x="1212" y="10"/>
                    </a:lnTo>
                    <a:lnTo>
                      <a:pt x="1216" y="16"/>
                    </a:lnTo>
                    <a:lnTo>
                      <a:pt x="1216" y="20"/>
                    </a:lnTo>
                    <a:lnTo>
                      <a:pt x="1216" y="22"/>
                    </a:lnTo>
                    <a:lnTo>
                      <a:pt x="1212" y="22"/>
                    </a:lnTo>
                    <a:lnTo>
                      <a:pt x="1200" y="16"/>
                    </a:lnTo>
                    <a:lnTo>
                      <a:pt x="1188" y="12"/>
                    </a:lnTo>
                    <a:lnTo>
                      <a:pt x="1182" y="12"/>
                    </a:lnTo>
                    <a:lnTo>
                      <a:pt x="1184" y="14"/>
                    </a:lnTo>
                    <a:lnTo>
                      <a:pt x="1188" y="18"/>
                    </a:lnTo>
                    <a:lnTo>
                      <a:pt x="1192" y="24"/>
                    </a:lnTo>
                    <a:lnTo>
                      <a:pt x="1194" y="28"/>
                    </a:lnTo>
                    <a:lnTo>
                      <a:pt x="1194" y="30"/>
                    </a:lnTo>
                    <a:lnTo>
                      <a:pt x="1190" y="30"/>
                    </a:lnTo>
                    <a:lnTo>
                      <a:pt x="1180" y="28"/>
                    </a:lnTo>
                    <a:lnTo>
                      <a:pt x="1166" y="26"/>
                    </a:lnTo>
                    <a:lnTo>
                      <a:pt x="1154" y="24"/>
                    </a:lnTo>
                    <a:lnTo>
                      <a:pt x="1148" y="24"/>
                    </a:lnTo>
                    <a:lnTo>
                      <a:pt x="1142" y="26"/>
                    </a:lnTo>
                    <a:lnTo>
                      <a:pt x="1142" y="30"/>
                    </a:lnTo>
                    <a:lnTo>
                      <a:pt x="1144" y="34"/>
                    </a:lnTo>
                    <a:lnTo>
                      <a:pt x="1148" y="38"/>
                    </a:lnTo>
                    <a:lnTo>
                      <a:pt x="1156" y="42"/>
                    </a:lnTo>
                    <a:close/>
                    <a:moveTo>
                      <a:pt x="388" y="1446"/>
                    </a:moveTo>
                    <a:lnTo>
                      <a:pt x="388" y="1446"/>
                    </a:lnTo>
                    <a:lnTo>
                      <a:pt x="384" y="1448"/>
                    </a:lnTo>
                    <a:lnTo>
                      <a:pt x="384" y="1450"/>
                    </a:lnTo>
                    <a:lnTo>
                      <a:pt x="384" y="1452"/>
                    </a:lnTo>
                    <a:lnTo>
                      <a:pt x="386" y="1456"/>
                    </a:lnTo>
                    <a:lnTo>
                      <a:pt x="388" y="1454"/>
                    </a:lnTo>
                    <a:lnTo>
                      <a:pt x="390" y="1452"/>
                    </a:lnTo>
                    <a:lnTo>
                      <a:pt x="390" y="1448"/>
                    </a:lnTo>
                    <a:lnTo>
                      <a:pt x="388" y="1446"/>
                    </a:lnTo>
                    <a:close/>
                    <a:moveTo>
                      <a:pt x="164" y="1358"/>
                    </a:moveTo>
                    <a:lnTo>
                      <a:pt x="164" y="1358"/>
                    </a:lnTo>
                    <a:lnTo>
                      <a:pt x="166" y="1356"/>
                    </a:lnTo>
                    <a:lnTo>
                      <a:pt x="168" y="1358"/>
                    </a:lnTo>
                    <a:lnTo>
                      <a:pt x="170" y="1356"/>
                    </a:lnTo>
                    <a:lnTo>
                      <a:pt x="172" y="1354"/>
                    </a:lnTo>
                    <a:lnTo>
                      <a:pt x="170" y="1354"/>
                    </a:lnTo>
                    <a:lnTo>
                      <a:pt x="168" y="1350"/>
                    </a:lnTo>
                    <a:lnTo>
                      <a:pt x="164" y="1346"/>
                    </a:lnTo>
                    <a:lnTo>
                      <a:pt x="164" y="1348"/>
                    </a:lnTo>
                    <a:lnTo>
                      <a:pt x="164" y="1350"/>
                    </a:lnTo>
                    <a:lnTo>
                      <a:pt x="164" y="1352"/>
                    </a:lnTo>
                    <a:lnTo>
                      <a:pt x="164" y="1354"/>
                    </a:lnTo>
                    <a:lnTo>
                      <a:pt x="164" y="1358"/>
                    </a:lnTo>
                    <a:close/>
                    <a:moveTo>
                      <a:pt x="148" y="1644"/>
                    </a:moveTo>
                    <a:lnTo>
                      <a:pt x="148" y="1644"/>
                    </a:lnTo>
                    <a:lnTo>
                      <a:pt x="150" y="1642"/>
                    </a:lnTo>
                    <a:lnTo>
                      <a:pt x="150" y="1640"/>
                    </a:lnTo>
                    <a:lnTo>
                      <a:pt x="152" y="1636"/>
                    </a:lnTo>
                    <a:lnTo>
                      <a:pt x="156" y="1634"/>
                    </a:lnTo>
                    <a:lnTo>
                      <a:pt x="160" y="1634"/>
                    </a:lnTo>
                    <a:lnTo>
                      <a:pt x="162" y="1634"/>
                    </a:lnTo>
                    <a:lnTo>
                      <a:pt x="162" y="1632"/>
                    </a:lnTo>
                    <a:lnTo>
                      <a:pt x="162" y="1630"/>
                    </a:lnTo>
                    <a:lnTo>
                      <a:pt x="164" y="1630"/>
                    </a:lnTo>
                    <a:lnTo>
                      <a:pt x="166" y="1628"/>
                    </a:lnTo>
                    <a:lnTo>
                      <a:pt x="166" y="1626"/>
                    </a:lnTo>
                    <a:lnTo>
                      <a:pt x="164" y="1624"/>
                    </a:lnTo>
                    <a:lnTo>
                      <a:pt x="166" y="1622"/>
                    </a:lnTo>
                    <a:lnTo>
                      <a:pt x="164" y="1620"/>
                    </a:lnTo>
                    <a:lnTo>
                      <a:pt x="166" y="1618"/>
                    </a:lnTo>
                    <a:lnTo>
                      <a:pt x="168" y="1618"/>
                    </a:lnTo>
                    <a:lnTo>
                      <a:pt x="170" y="1618"/>
                    </a:lnTo>
                    <a:lnTo>
                      <a:pt x="174" y="1616"/>
                    </a:lnTo>
                    <a:lnTo>
                      <a:pt x="176" y="1614"/>
                    </a:lnTo>
                    <a:lnTo>
                      <a:pt x="172" y="1614"/>
                    </a:lnTo>
                    <a:lnTo>
                      <a:pt x="168" y="1614"/>
                    </a:lnTo>
                    <a:lnTo>
                      <a:pt x="172" y="1610"/>
                    </a:lnTo>
                    <a:lnTo>
                      <a:pt x="174" y="1606"/>
                    </a:lnTo>
                    <a:lnTo>
                      <a:pt x="174" y="1600"/>
                    </a:lnTo>
                    <a:lnTo>
                      <a:pt x="172" y="1598"/>
                    </a:lnTo>
                    <a:lnTo>
                      <a:pt x="170" y="1598"/>
                    </a:lnTo>
                    <a:lnTo>
                      <a:pt x="164" y="1602"/>
                    </a:lnTo>
                    <a:lnTo>
                      <a:pt x="158" y="1606"/>
                    </a:lnTo>
                    <a:lnTo>
                      <a:pt x="150" y="1610"/>
                    </a:lnTo>
                    <a:lnTo>
                      <a:pt x="148" y="1612"/>
                    </a:lnTo>
                    <a:lnTo>
                      <a:pt x="148" y="1614"/>
                    </a:lnTo>
                    <a:lnTo>
                      <a:pt x="148" y="1616"/>
                    </a:lnTo>
                    <a:lnTo>
                      <a:pt x="148" y="1620"/>
                    </a:lnTo>
                    <a:lnTo>
                      <a:pt x="146" y="1620"/>
                    </a:lnTo>
                    <a:lnTo>
                      <a:pt x="144" y="1618"/>
                    </a:lnTo>
                    <a:lnTo>
                      <a:pt x="142" y="1616"/>
                    </a:lnTo>
                    <a:lnTo>
                      <a:pt x="140" y="1616"/>
                    </a:lnTo>
                    <a:lnTo>
                      <a:pt x="136" y="1622"/>
                    </a:lnTo>
                    <a:lnTo>
                      <a:pt x="136" y="1624"/>
                    </a:lnTo>
                    <a:lnTo>
                      <a:pt x="138" y="1628"/>
                    </a:lnTo>
                    <a:lnTo>
                      <a:pt x="140" y="1630"/>
                    </a:lnTo>
                    <a:lnTo>
                      <a:pt x="138" y="1632"/>
                    </a:lnTo>
                    <a:lnTo>
                      <a:pt x="144" y="1636"/>
                    </a:lnTo>
                    <a:lnTo>
                      <a:pt x="146" y="1636"/>
                    </a:lnTo>
                    <a:lnTo>
                      <a:pt x="142" y="1638"/>
                    </a:lnTo>
                    <a:lnTo>
                      <a:pt x="138" y="1642"/>
                    </a:lnTo>
                    <a:lnTo>
                      <a:pt x="136" y="1644"/>
                    </a:lnTo>
                    <a:lnTo>
                      <a:pt x="138" y="1646"/>
                    </a:lnTo>
                    <a:lnTo>
                      <a:pt x="140" y="1648"/>
                    </a:lnTo>
                    <a:lnTo>
                      <a:pt x="142" y="1648"/>
                    </a:lnTo>
                    <a:lnTo>
                      <a:pt x="144" y="1644"/>
                    </a:lnTo>
                    <a:lnTo>
                      <a:pt x="148" y="1644"/>
                    </a:lnTo>
                    <a:close/>
                    <a:moveTo>
                      <a:pt x="84" y="2020"/>
                    </a:moveTo>
                    <a:lnTo>
                      <a:pt x="84" y="2020"/>
                    </a:lnTo>
                    <a:lnTo>
                      <a:pt x="88" y="2008"/>
                    </a:lnTo>
                    <a:lnTo>
                      <a:pt x="90" y="2008"/>
                    </a:lnTo>
                    <a:lnTo>
                      <a:pt x="92" y="2012"/>
                    </a:lnTo>
                    <a:lnTo>
                      <a:pt x="94" y="2014"/>
                    </a:lnTo>
                    <a:lnTo>
                      <a:pt x="96" y="2014"/>
                    </a:lnTo>
                    <a:lnTo>
                      <a:pt x="106" y="2008"/>
                    </a:lnTo>
                    <a:lnTo>
                      <a:pt x="120" y="2000"/>
                    </a:lnTo>
                    <a:lnTo>
                      <a:pt x="126" y="1996"/>
                    </a:lnTo>
                    <a:lnTo>
                      <a:pt x="132" y="1994"/>
                    </a:lnTo>
                    <a:lnTo>
                      <a:pt x="142" y="1992"/>
                    </a:lnTo>
                    <a:lnTo>
                      <a:pt x="148" y="1990"/>
                    </a:lnTo>
                    <a:lnTo>
                      <a:pt x="152" y="1990"/>
                    </a:lnTo>
                    <a:lnTo>
                      <a:pt x="160" y="1990"/>
                    </a:lnTo>
                    <a:lnTo>
                      <a:pt x="166" y="1992"/>
                    </a:lnTo>
                    <a:lnTo>
                      <a:pt x="168" y="1988"/>
                    </a:lnTo>
                    <a:lnTo>
                      <a:pt x="168" y="1980"/>
                    </a:lnTo>
                    <a:lnTo>
                      <a:pt x="168" y="1974"/>
                    </a:lnTo>
                    <a:lnTo>
                      <a:pt x="172" y="1966"/>
                    </a:lnTo>
                    <a:lnTo>
                      <a:pt x="176" y="1958"/>
                    </a:lnTo>
                    <a:lnTo>
                      <a:pt x="178" y="1950"/>
                    </a:lnTo>
                    <a:lnTo>
                      <a:pt x="180" y="1934"/>
                    </a:lnTo>
                    <a:lnTo>
                      <a:pt x="178" y="1920"/>
                    </a:lnTo>
                    <a:lnTo>
                      <a:pt x="174" y="1906"/>
                    </a:lnTo>
                    <a:lnTo>
                      <a:pt x="168" y="1888"/>
                    </a:lnTo>
                    <a:lnTo>
                      <a:pt x="166" y="1884"/>
                    </a:lnTo>
                    <a:lnTo>
                      <a:pt x="170" y="1884"/>
                    </a:lnTo>
                    <a:lnTo>
                      <a:pt x="172" y="1882"/>
                    </a:lnTo>
                    <a:lnTo>
                      <a:pt x="172" y="1880"/>
                    </a:lnTo>
                    <a:lnTo>
                      <a:pt x="168" y="1874"/>
                    </a:lnTo>
                    <a:lnTo>
                      <a:pt x="172" y="1874"/>
                    </a:lnTo>
                    <a:lnTo>
                      <a:pt x="176" y="1876"/>
                    </a:lnTo>
                    <a:lnTo>
                      <a:pt x="178" y="1878"/>
                    </a:lnTo>
                    <a:lnTo>
                      <a:pt x="180" y="1878"/>
                    </a:lnTo>
                    <a:lnTo>
                      <a:pt x="186" y="1870"/>
                    </a:lnTo>
                    <a:lnTo>
                      <a:pt x="190" y="1866"/>
                    </a:lnTo>
                    <a:lnTo>
                      <a:pt x="194" y="1866"/>
                    </a:lnTo>
                    <a:lnTo>
                      <a:pt x="196" y="1864"/>
                    </a:lnTo>
                    <a:lnTo>
                      <a:pt x="198" y="1862"/>
                    </a:lnTo>
                    <a:lnTo>
                      <a:pt x="196" y="1858"/>
                    </a:lnTo>
                    <a:lnTo>
                      <a:pt x="194" y="1858"/>
                    </a:lnTo>
                    <a:lnTo>
                      <a:pt x="192" y="1858"/>
                    </a:lnTo>
                    <a:lnTo>
                      <a:pt x="194" y="1854"/>
                    </a:lnTo>
                    <a:lnTo>
                      <a:pt x="196" y="1850"/>
                    </a:lnTo>
                    <a:lnTo>
                      <a:pt x="196" y="1848"/>
                    </a:lnTo>
                    <a:lnTo>
                      <a:pt x="196" y="1850"/>
                    </a:lnTo>
                    <a:lnTo>
                      <a:pt x="200" y="1858"/>
                    </a:lnTo>
                    <a:lnTo>
                      <a:pt x="202" y="1858"/>
                    </a:lnTo>
                    <a:lnTo>
                      <a:pt x="204" y="1856"/>
                    </a:lnTo>
                    <a:lnTo>
                      <a:pt x="204" y="1850"/>
                    </a:lnTo>
                    <a:lnTo>
                      <a:pt x="202" y="1844"/>
                    </a:lnTo>
                    <a:lnTo>
                      <a:pt x="198" y="1840"/>
                    </a:lnTo>
                    <a:lnTo>
                      <a:pt x="196" y="1838"/>
                    </a:lnTo>
                    <a:lnTo>
                      <a:pt x="194" y="1838"/>
                    </a:lnTo>
                    <a:lnTo>
                      <a:pt x="186" y="1840"/>
                    </a:lnTo>
                    <a:lnTo>
                      <a:pt x="184" y="1840"/>
                    </a:lnTo>
                    <a:lnTo>
                      <a:pt x="186" y="1838"/>
                    </a:lnTo>
                    <a:lnTo>
                      <a:pt x="192" y="1834"/>
                    </a:lnTo>
                    <a:lnTo>
                      <a:pt x="194" y="1832"/>
                    </a:lnTo>
                    <a:lnTo>
                      <a:pt x="192" y="1828"/>
                    </a:lnTo>
                    <a:lnTo>
                      <a:pt x="190" y="1828"/>
                    </a:lnTo>
                    <a:lnTo>
                      <a:pt x="186" y="1826"/>
                    </a:lnTo>
                    <a:lnTo>
                      <a:pt x="182" y="1820"/>
                    </a:lnTo>
                    <a:lnTo>
                      <a:pt x="176" y="1808"/>
                    </a:lnTo>
                    <a:lnTo>
                      <a:pt x="174" y="1806"/>
                    </a:lnTo>
                    <a:lnTo>
                      <a:pt x="172" y="1804"/>
                    </a:lnTo>
                    <a:lnTo>
                      <a:pt x="164" y="1806"/>
                    </a:lnTo>
                    <a:lnTo>
                      <a:pt x="156" y="1808"/>
                    </a:lnTo>
                    <a:lnTo>
                      <a:pt x="148" y="1808"/>
                    </a:lnTo>
                    <a:lnTo>
                      <a:pt x="142" y="1810"/>
                    </a:lnTo>
                    <a:lnTo>
                      <a:pt x="140" y="1812"/>
                    </a:lnTo>
                    <a:lnTo>
                      <a:pt x="138" y="1814"/>
                    </a:lnTo>
                    <a:lnTo>
                      <a:pt x="130" y="1816"/>
                    </a:lnTo>
                    <a:lnTo>
                      <a:pt x="126" y="1818"/>
                    </a:lnTo>
                    <a:lnTo>
                      <a:pt x="124" y="1822"/>
                    </a:lnTo>
                    <a:lnTo>
                      <a:pt x="122" y="1828"/>
                    </a:lnTo>
                    <a:lnTo>
                      <a:pt x="120" y="1834"/>
                    </a:lnTo>
                    <a:lnTo>
                      <a:pt x="116" y="1836"/>
                    </a:lnTo>
                    <a:lnTo>
                      <a:pt x="112" y="1836"/>
                    </a:lnTo>
                    <a:lnTo>
                      <a:pt x="116" y="1836"/>
                    </a:lnTo>
                    <a:lnTo>
                      <a:pt x="120" y="1832"/>
                    </a:lnTo>
                    <a:lnTo>
                      <a:pt x="122" y="1826"/>
                    </a:lnTo>
                    <a:lnTo>
                      <a:pt x="124" y="1818"/>
                    </a:lnTo>
                    <a:lnTo>
                      <a:pt x="128" y="1816"/>
                    </a:lnTo>
                    <a:lnTo>
                      <a:pt x="132" y="1814"/>
                    </a:lnTo>
                    <a:lnTo>
                      <a:pt x="132" y="1810"/>
                    </a:lnTo>
                    <a:lnTo>
                      <a:pt x="134" y="1808"/>
                    </a:lnTo>
                    <a:lnTo>
                      <a:pt x="138" y="1806"/>
                    </a:lnTo>
                    <a:lnTo>
                      <a:pt x="140" y="1804"/>
                    </a:lnTo>
                    <a:lnTo>
                      <a:pt x="134" y="1798"/>
                    </a:lnTo>
                    <a:lnTo>
                      <a:pt x="130" y="1796"/>
                    </a:lnTo>
                    <a:lnTo>
                      <a:pt x="126" y="1796"/>
                    </a:lnTo>
                    <a:lnTo>
                      <a:pt x="124" y="1798"/>
                    </a:lnTo>
                    <a:lnTo>
                      <a:pt x="122" y="1800"/>
                    </a:lnTo>
                    <a:lnTo>
                      <a:pt x="118" y="1804"/>
                    </a:lnTo>
                    <a:lnTo>
                      <a:pt x="116" y="1804"/>
                    </a:lnTo>
                    <a:lnTo>
                      <a:pt x="112" y="1804"/>
                    </a:lnTo>
                    <a:lnTo>
                      <a:pt x="104" y="1806"/>
                    </a:lnTo>
                    <a:lnTo>
                      <a:pt x="94" y="1810"/>
                    </a:lnTo>
                    <a:lnTo>
                      <a:pt x="86" y="1816"/>
                    </a:lnTo>
                    <a:lnTo>
                      <a:pt x="84" y="1820"/>
                    </a:lnTo>
                    <a:lnTo>
                      <a:pt x="84" y="1824"/>
                    </a:lnTo>
                    <a:lnTo>
                      <a:pt x="84" y="1828"/>
                    </a:lnTo>
                    <a:lnTo>
                      <a:pt x="82" y="1830"/>
                    </a:lnTo>
                    <a:lnTo>
                      <a:pt x="76" y="1834"/>
                    </a:lnTo>
                    <a:lnTo>
                      <a:pt x="70" y="1836"/>
                    </a:lnTo>
                    <a:lnTo>
                      <a:pt x="68" y="1838"/>
                    </a:lnTo>
                    <a:lnTo>
                      <a:pt x="68" y="1840"/>
                    </a:lnTo>
                    <a:lnTo>
                      <a:pt x="70" y="1842"/>
                    </a:lnTo>
                    <a:lnTo>
                      <a:pt x="76" y="1842"/>
                    </a:lnTo>
                    <a:lnTo>
                      <a:pt x="86" y="1842"/>
                    </a:lnTo>
                    <a:lnTo>
                      <a:pt x="94" y="1844"/>
                    </a:lnTo>
                    <a:lnTo>
                      <a:pt x="94" y="1846"/>
                    </a:lnTo>
                    <a:lnTo>
                      <a:pt x="90" y="1848"/>
                    </a:lnTo>
                    <a:lnTo>
                      <a:pt x="82" y="1856"/>
                    </a:lnTo>
                    <a:lnTo>
                      <a:pt x="78" y="1862"/>
                    </a:lnTo>
                    <a:lnTo>
                      <a:pt x="74" y="1866"/>
                    </a:lnTo>
                    <a:lnTo>
                      <a:pt x="70" y="1866"/>
                    </a:lnTo>
                    <a:lnTo>
                      <a:pt x="62" y="1864"/>
                    </a:lnTo>
                    <a:lnTo>
                      <a:pt x="58" y="1866"/>
                    </a:lnTo>
                    <a:lnTo>
                      <a:pt x="54" y="1866"/>
                    </a:lnTo>
                    <a:lnTo>
                      <a:pt x="48" y="1864"/>
                    </a:lnTo>
                    <a:lnTo>
                      <a:pt x="40" y="1860"/>
                    </a:lnTo>
                    <a:lnTo>
                      <a:pt x="30" y="1860"/>
                    </a:lnTo>
                    <a:lnTo>
                      <a:pt x="22" y="1862"/>
                    </a:lnTo>
                    <a:lnTo>
                      <a:pt x="14" y="1868"/>
                    </a:lnTo>
                    <a:lnTo>
                      <a:pt x="14" y="1870"/>
                    </a:lnTo>
                    <a:lnTo>
                      <a:pt x="18" y="1870"/>
                    </a:lnTo>
                    <a:lnTo>
                      <a:pt x="20" y="1870"/>
                    </a:lnTo>
                    <a:lnTo>
                      <a:pt x="20" y="1872"/>
                    </a:lnTo>
                    <a:lnTo>
                      <a:pt x="20" y="1874"/>
                    </a:lnTo>
                    <a:lnTo>
                      <a:pt x="18" y="1878"/>
                    </a:lnTo>
                    <a:lnTo>
                      <a:pt x="16" y="1884"/>
                    </a:lnTo>
                    <a:lnTo>
                      <a:pt x="18" y="1886"/>
                    </a:lnTo>
                    <a:lnTo>
                      <a:pt x="22" y="1888"/>
                    </a:lnTo>
                    <a:lnTo>
                      <a:pt x="28" y="1888"/>
                    </a:lnTo>
                    <a:lnTo>
                      <a:pt x="38" y="1888"/>
                    </a:lnTo>
                    <a:lnTo>
                      <a:pt x="38" y="1890"/>
                    </a:lnTo>
                    <a:lnTo>
                      <a:pt x="34" y="1892"/>
                    </a:lnTo>
                    <a:lnTo>
                      <a:pt x="24" y="1898"/>
                    </a:lnTo>
                    <a:lnTo>
                      <a:pt x="22" y="1900"/>
                    </a:lnTo>
                    <a:lnTo>
                      <a:pt x="20" y="1904"/>
                    </a:lnTo>
                    <a:lnTo>
                      <a:pt x="16" y="1908"/>
                    </a:lnTo>
                    <a:lnTo>
                      <a:pt x="14" y="1912"/>
                    </a:lnTo>
                    <a:lnTo>
                      <a:pt x="16" y="1914"/>
                    </a:lnTo>
                    <a:lnTo>
                      <a:pt x="24" y="1922"/>
                    </a:lnTo>
                    <a:lnTo>
                      <a:pt x="36" y="1928"/>
                    </a:lnTo>
                    <a:lnTo>
                      <a:pt x="40" y="1928"/>
                    </a:lnTo>
                    <a:lnTo>
                      <a:pt x="44" y="1928"/>
                    </a:lnTo>
                    <a:lnTo>
                      <a:pt x="52" y="1926"/>
                    </a:lnTo>
                    <a:lnTo>
                      <a:pt x="58" y="1928"/>
                    </a:lnTo>
                    <a:lnTo>
                      <a:pt x="60" y="1928"/>
                    </a:lnTo>
                    <a:lnTo>
                      <a:pt x="60" y="1930"/>
                    </a:lnTo>
                    <a:lnTo>
                      <a:pt x="50" y="1934"/>
                    </a:lnTo>
                    <a:lnTo>
                      <a:pt x="44" y="1936"/>
                    </a:lnTo>
                    <a:lnTo>
                      <a:pt x="42" y="1938"/>
                    </a:lnTo>
                    <a:lnTo>
                      <a:pt x="42" y="1940"/>
                    </a:lnTo>
                    <a:lnTo>
                      <a:pt x="42" y="1944"/>
                    </a:lnTo>
                    <a:lnTo>
                      <a:pt x="42" y="1948"/>
                    </a:lnTo>
                    <a:lnTo>
                      <a:pt x="40" y="1952"/>
                    </a:lnTo>
                    <a:lnTo>
                      <a:pt x="36" y="1956"/>
                    </a:lnTo>
                    <a:lnTo>
                      <a:pt x="28" y="1962"/>
                    </a:lnTo>
                    <a:lnTo>
                      <a:pt x="22" y="1966"/>
                    </a:lnTo>
                    <a:lnTo>
                      <a:pt x="22" y="1968"/>
                    </a:lnTo>
                    <a:lnTo>
                      <a:pt x="26" y="1968"/>
                    </a:lnTo>
                    <a:lnTo>
                      <a:pt x="30" y="1968"/>
                    </a:lnTo>
                    <a:lnTo>
                      <a:pt x="58" y="1960"/>
                    </a:lnTo>
                    <a:lnTo>
                      <a:pt x="64" y="1960"/>
                    </a:lnTo>
                    <a:lnTo>
                      <a:pt x="66" y="1960"/>
                    </a:lnTo>
                    <a:lnTo>
                      <a:pt x="66" y="1962"/>
                    </a:lnTo>
                    <a:lnTo>
                      <a:pt x="66" y="1964"/>
                    </a:lnTo>
                    <a:lnTo>
                      <a:pt x="62" y="1966"/>
                    </a:lnTo>
                    <a:lnTo>
                      <a:pt x="50" y="1968"/>
                    </a:lnTo>
                    <a:lnTo>
                      <a:pt x="36" y="1970"/>
                    </a:lnTo>
                    <a:lnTo>
                      <a:pt x="28" y="1974"/>
                    </a:lnTo>
                    <a:lnTo>
                      <a:pt x="24" y="1978"/>
                    </a:lnTo>
                    <a:lnTo>
                      <a:pt x="26" y="1982"/>
                    </a:lnTo>
                    <a:lnTo>
                      <a:pt x="28" y="1984"/>
                    </a:lnTo>
                    <a:lnTo>
                      <a:pt x="26" y="1986"/>
                    </a:lnTo>
                    <a:lnTo>
                      <a:pt x="22" y="1984"/>
                    </a:lnTo>
                    <a:lnTo>
                      <a:pt x="14" y="1984"/>
                    </a:lnTo>
                    <a:lnTo>
                      <a:pt x="10" y="1986"/>
                    </a:lnTo>
                    <a:lnTo>
                      <a:pt x="4" y="1988"/>
                    </a:lnTo>
                    <a:lnTo>
                      <a:pt x="0" y="1994"/>
                    </a:lnTo>
                    <a:lnTo>
                      <a:pt x="0" y="1996"/>
                    </a:lnTo>
                    <a:lnTo>
                      <a:pt x="2" y="1996"/>
                    </a:lnTo>
                    <a:lnTo>
                      <a:pt x="6" y="1996"/>
                    </a:lnTo>
                    <a:lnTo>
                      <a:pt x="10" y="1996"/>
                    </a:lnTo>
                    <a:lnTo>
                      <a:pt x="14" y="1996"/>
                    </a:lnTo>
                    <a:lnTo>
                      <a:pt x="14" y="2000"/>
                    </a:lnTo>
                    <a:lnTo>
                      <a:pt x="10" y="2004"/>
                    </a:lnTo>
                    <a:lnTo>
                      <a:pt x="6" y="2010"/>
                    </a:lnTo>
                    <a:lnTo>
                      <a:pt x="4" y="2012"/>
                    </a:lnTo>
                    <a:lnTo>
                      <a:pt x="8" y="2014"/>
                    </a:lnTo>
                    <a:lnTo>
                      <a:pt x="12" y="2016"/>
                    </a:lnTo>
                    <a:lnTo>
                      <a:pt x="18" y="2018"/>
                    </a:lnTo>
                    <a:lnTo>
                      <a:pt x="20" y="2020"/>
                    </a:lnTo>
                    <a:lnTo>
                      <a:pt x="16" y="2024"/>
                    </a:lnTo>
                    <a:lnTo>
                      <a:pt x="14" y="2026"/>
                    </a:lnTo>
                    <a:lnTo>
                      <a:pt x="16" y="2026"/>
                    </a:lnTo>
                    <a:lnTo>
                      <a:pt x="28" y="2022"/>
                    </a:lnTo>
                    <a:lnTo>
                      <a:pt x="36" y="2020"/>
                    </a:lnTo>
                    <a:lnTo>
                      <a:pt x="36" y="2022"/>
                    </a:lnTo>
                    <a:lnTo>
                      <a:pt x="30" y="2026"/>
                    </a:lnTo>
                    <a:lnTo>
                      <a:pt x="28" y="2030"/>
                    </a:lnTo>
                    <a:lnTo>
                      <a:pt x="28" y="2032"/>
                    </a:lnTo>
                    <a:lnTo>
                      <a:pt x="30" y="2034"/>
                    </a:lnTo>
                    <a:lnTo>
                      <a:pt x="38" y="2034"/>
                    </a:lnTo>
                    <a:lnTo>
                      <a:pt x="48" y="2032"/>
                    </a:lnTo>
                    <a:lnTo>
                      <a:pt x="70" y="2028"/>
                    </a:lnTo>
                    <a:lnTo>
                      <a:pt x="78" y="2024"/>
                    </a:lnTo>
                    <a:lnTo>
                      <a:pt x="84" y="2020"/>
                    </a:lnTo>
                    <a:close/>
                    <a:moveTo>
                      <a:pt x="154" y="1672"/>
                    </a:moveTo>
                    <a:lnTo>
                      <a:pt x="154" y="1672"/>
                    </a:lnTo>
                    <a:lnTo>
                      <a:pt x="156" y="1672"/>
                    </a:lnTo>
                    <a:lnTo>
                      <a:pt x="158" y="1670"/>
                    </a:lnTo>
                    <a:lnTo>
                      <a:pt x="162" y="1672"/>
                    </a:lnTo>
                    <a:lnTo>
                      <a:pt x="162" y="1674"/>
                    </a:lnTo>
                    <a:lnTo>
                      <a:pt x="162" y="1676"/>
                    </a:lnTo>
                    <a:lnTo>
                      <a:pt x="162" y="1678"/>
                    </a:lnTo>
                    <a:lnTo>
                      <a:pt x="164" y="1682"/>
                    </a:lnTo>
                    <a:lnTo>
                      <a:pt x="168" y="1684"/>
                    </a:lnTo>
                    <a:lnTo>
                      <a:pt x="170" y="1684"/>
                    </a:lnTo>
                    <a:lnTo>
                      <a:pt x="174" y="1682"/>
                    </a:lnTo>
                    <a:lnTo>
                      <a:pt x="180" y="1682"/>
                    </a:lnTo>
                    <a:lnTo>
                      <a:pt x="182" y="1684"/>
                    </a:lnTo>
                    <a:lnTo>
                      <a:pt x="182" y="1688"/>
                    </a:lnTo>
                    <a:lnTo>
                      <a:pt x="180" y="1692"/>
                    </a:lnTo>
                    <a:lnTo>
                      <a:pt x="180" y="1694"/>
                    </a:lnTo>
                    <a:lnTo>
                      <a:pt x="182" y="1692"/>
                    </a:lnTo>
                    <a:lnTo>
                      <a:pt x="186" y="1688"/>
                    </a:lnTo>
                    <a:lnTo>
                      <a:pt x="192" y="1678"/>
                    </a:lnTo>
                    <a:lnTo>
                      <a:pt x="192" y="1676"/>
                    </a:lnTo>
                    <a:lnTo>
                      <a:pt x="190" y="1676"/>
                    </a:lnTo>
                    <a:lnTo>
                      <a:pt x="184" y="1678"/>
                    </a:lnTo>
                    <a:lnTo>
                      <a:pt x="180" y="1676"/>
                    </a:lnTo>
                    <a:lnTo>
                      <a:pt x="178" y="1674"/>
                    </a:lnTo>
                    <a:lnTo>
                      <a:pt x="176" y="1672"/>
                    </a:lnTo>
                    <a:lnTo>
                      <a:pt x="174" y="1662"/>
                    </a:lnTo>
                    <a:lnTo>
                      <a:pt x="172" y="1654"/>
                    </a:lnTo>
                    <a:lnTo>
                      <a:pt x="170" y="1652"/>
                    </a:lnTo>
                    <a:lnTo>
                      <a:pt x="168" y="1650"/>
                    </a:lnTo>
                    <a:lnTo>
                      <a:pt x="166" y="1650"/>
                    </a:lnTo>
                    <a:lnTo>
                      <a:pt x="166" y="1652"/>
                    </a:lnTo>
                    <a:lnTo>
                      <a:pt x="166" y="1656"/>
                    </a:lnTo>
                    <a:lnTo>
                      <a:pt x="166" y="1662"/>
                    </a:lnTo>
                    <a:lnTo>
                      <a:pt x="166" y="1664"/>
                    </a:lnTo>
                    <a:lnTo>
                      <a:pt x="162" y="1664"/>
                    </a:lnTo>
                    <a:lnTo>
                      <a:pt x="160" y="1660"/>
                    </a:lnTo>
                    <a:lnTo>
                      <a:pt x="158" y="1658"/>
                    </a:lnTo>
                    <a:lnTo>
                      <a:pt x="154" y="1656"/>
                    </a:lnTo>
                    <a:lnTo>
                      <a:pt x="154" y="1658"/>
                    </a:lnTo>
                    <a:lnTo>
                      <a:pt x="154" y="1660"/>
                    </a:lnTo>
                    <a:lnTo>
                      <a:pt x="156" y="1664"/>
                    </a:lnTo>
                    <a:lnTo>
                      <a:pt x="154" y="1666"/>
                    </a:lnTo>
                    <a:lnTo>
                      <a:pt x="150" y="1666"/>
                    </a:lnTo>
                    <a:lnTo>
                      <a:pt x="150" y="1668"/>
                    </a:lnTo>
                    <a:lnTo>
                      <a:pt x="154" y="1672"/>
                    </a:lnTo>
                    <a:close/>
                    <a:moveTo>
                      <a:pt x="146" y="1346"/>
                    </a:moveTo>
                    <a:lnTo>
                      <a:pt x="146" y="1346"/>
                    </a:lnTo>
                    <a:lnTo>
                      <a:pt x="142" y="1346"/>
                    </a:lnTo>
                    <a:lnTo>
                      <a:pt x="144" y="1352"/>
                    </a:lnTo>
                    <a:lnTo>
                      <a:pt x="148" y="1358"/>
                    </a:lnTo>
                    <a:lnTo>
                      <a:pt x="154" y="1362"/>
                    </a:lnTo>
                    <a:lnTo>
                      <a:pt x="158" y="1364"/>
                    </a:lnTo>
                    <a:lnTo>
                      <a:pt x="160" y="1364"/>
                    </a:lnTo>
                    <a:lnTo>
                      <a:pt x="162" y="1362"/>
                    </a:lnTo>
                    <a:lnTo>
                      <a:pt x="160" y="1360"/>
                    </a:lnTo>
                    <a:lnTo>
                      <a:pt x="158" y="1358"/>
                    </a:lnTo>
                    <a:lnTo>
                      <a:pt x="160" y="1358"/>
                    </a:lnTo>
                    <a:lnTo>
                      <a:pt x="160" y="1356"/>
                    </a:lnTo>
                    <a:lnTo>
                      <a:pt x="158" y="1356"/>
                    </a:lnTo>
                    <a:lnTo>
                      <a:pt x="154" y="1354"/>
                    </a:lnTo>
                    <a:lnTo>
                      <a:pt x="154" y="1352"/>
                    </a:lnTo>
                    <a:lnTo>
                      <a:pt x="154" y="1350"/>
                    </a:lnTo>
                    <a:lnTo>
                      <a:pt x="152" y="1350"/>
                    </a:lnTo>
                    <a:lnTo>
                      <a:pt x="148" y="1350"/>
                    </a:lnTo>
                    <a:lnTo>
                      <a:pt x="148" y="1348"/>
                    </a:lnTo>
                    <a:lnTo>
                      <a:pt x="148" y="1346"/>
                    </a:lnTo>
                    <a:lnTo>
                      <a:pt x="146" y="1346"/>
                    </a:lnTo>
                    <a:close/>
                    <a:moveTo>
                      <a:pt x="166" y="1740"/>
                    </a:moveTo>
                    <a:lnTo>
                      <a:pt x="166" y="1740"/>
                    </a:lnTo>
                    <a:lnTo>
                      <a:pt x="166" y="1742"/>
                    </a:lnTo>
                    <a:lnTo>
                      <a:pt x="168" y="1742"/>
                    </a:lnTo>
                    <a:lnTo>
                      <a:pt x="174" y="1740"/>
                    </a:lnTo>
                    <a:lnTo>
                      <a:pt x="188" y="1736"/>
                    </a:lnTo>
                    <a:lnTo>
                      <a:pt x="194" y="1734"/>
                    </a:lnTo>
                    <a:lnTo>
                      <a:pt x="192" y="1732"/>
                    </a:lnTo>
                    <a:lnTo>
                      <a:pt x="190" y="1728"/>
                    </a:lnTo>
                    <a:lnTo>
                      <a:pt x="184" y="1724"/>
                    </a:lnTo>
                    <a:lnTo>
                      <a:pt x="178" y="1722"/>
                    </a:lnTo>
                    <a:lnTo>
                      <a:pt x="176" y="1718"/>
                    </a:lnTo>
                    <a:lnTo>
                      <a:pt x="174" y="1718"/>
                    </a:lnTo>
                    <a:lnTo>
                      <a:pt x="170" y="1720"/>
                    </a:lnTo>
                    <a:lnTo>
                      <a:pt x="168" y="1722"/>
                    </a:lnTo>
                    <a:lnTo>
                      <a:pt x="166" y="1724"/>
                    </a:lnTo>
                    <a:lnTo>
                      <a:pt x="174" y="1728"/>
                    </a:lnTo>
                    <a:lnTo>
                      <a:pt x="176" y="1730"/>
                    </a:lnTo>
                    <a:lnTo>
                      <a:pt x="174" y="1730"/>
                    </a:lnTo>
                    <a:lnTo>
                      <a:pt x="172" y="1732"/>
                    </a:lnTo>
                    <a:lnTo>
                      <a:pt x="172" y="1734"/>
                    </a:lnTo>
                    <a:lnTo>
                      <a:pt x="172" y="1736"/>
                    </a:lnTo>
                    <a:lnTo>
                      <a:pt x="170" y="1736"/>
                    </a:lnTo>
                    <a:lnTo>
                      <a:pt x="168" y="1738"/>
                    </a:lnTo>
                    <a:lnTo>
                      <a:pt x="166" y="1740"/>
                    </a:lnTo>
                    <a:close/>
                    <a:moveTo>
                      <a:pt x="362" y="2084"/>
                    </a:moveTo>
                    <a:lnTo>
                      <a:pt x="362" y="2084"/>
                    </a:lnTo>
                    <a:lnTo>
                      <a:pt x="370" y="2088"/>
                    </a:lnTo>
                    <a:lnTo>
                      <a:pt x="376" y="2088"/>
                    </a:lnTo>
                    <a:lnTo>
                      <a:pt x="380" y="2086"/>
                    </a:lnTo>
                    <a:lnTo>
                      <a:pt x="378" y="2082"/>
                    </a:lnTo>
                    <a:lnTo>
                      <a:pt x="376" y="2080"/>
                    </a:lnTo>
                    <a:lnTo>
                      <a:pt x="372" y="2078"/>
                    </a:lnTo>
                    <a:lnTo>
                      <a:pt x="366" y="2080"/>
                    </a:lnTo>
                    <a:lnTo>
                      <a:pt x="362" y="2084"/>
                    </a:lnTo>
                    <a:close/>
                    <a:moveTo>
                      <a:pt x="174" y="1354"/>
                    </a:moveTo>
                    <a:lnTo>
                      <a:pt x="174" y="1354"/>
                    </a:lnTo>
                    <a:lnTo>
                      <a:pt x="176" y="1352"/>
                    </a:lnTo>
                    <a:lnTo>
                      <a:pt x="176" y="1350"/>
                    </a:lnTo>
                    <a:lnTo>
                      <a:pt x="174" y="1348"/>
                    </a:lnTo>
                    <a:lnTo>
                      <a:pt x="174" y="1350"/>
                    </a:lnTo>
                    <a:lnTo>
                      <a:pt x="172" y="1350"/>
                    </a:lnTo>
                    <a:lnTo>
                      <a:pt x="172" y="1352"/>
                    </a:lnTo>
                    <a:lnTo>
                      <a:pt x="174" y="1354"/>
                    </a:lnTo>
                    <a:close/>
                    <a:moveTo>
                      <a:pt x="168" y="1784"/>
                    </a:moveTo>
                    <a:lnTo>
                      <a:pt x="168" y="1784"/>
                    </a:lnTo>
                    <a:lnTo>
                      <a:pt x="170" y="1784"/>
                    </a:lnTo>
                    <a:lnTo>
                      <a:pt x="176" y="1780"/>
                    </a:lnTo>
                    <a:lnTo>
                      <a:pt x="178" y="1776"/>
                    </a:lnTo>
                    <a:lnTo>
                      <a:pt x="178" y="1772"/>
                    </a:lnTo>
                    <a:lnTo>
                      <a:pt x="176" y="1768"/>
                    </a:lnTo>
                    <a:lnTo>
                      <a:pt x="176" y="1764"/>
                    </a:lnTo>
                    <a:lnTo>
                      <a:pt x="176" y="1762"/>
                    </a:lnTo>
                    <a:lnTo>
                      <a:pt x="174" y="1762"/>
                    </a:lnTo>
                    <a:lnTo>
                      <a:pt x="172" y="1764"/>
                    </a:lnTo>
                    <a:lnTo>
                      <a:pt x="170" y="1766"/>
                    </a:lnTo>
                    <a:lnTo>
                      <a:pt x="168" y="1766"/>
                    </a:lnTo>
                    <a:lnTo>
                      <a:pt x="166" y="1764"/>
                    </a:lnTo>
                    <a:lnTo>
                      <a:pt x="166" y="1766"/>
                    </a:lnTo>
                    <a:lnTo>
                      <a:pt x="162" y="1768"/>
                    </a:lnTo>
                    <a:lnTo>
                      <a:pt x="158" y="1772"/>
                    </a:lnTo>
                    <a:lnTo>
                      <a:pt x="158" y="1774"/>
                    </a:lnTo>
                    <a:lnTo>
                      <a:pt x="160" y="1776"/>
                    </a:lnTo>
                    <a:lnTo>
                      <a:pt x="162" y="1776"/>
                    </a:lnTo>
                    <a:lnTo>
                      <a:pt x="166" y="1774"/>
                    </a:lnTo>
                    <a:lnTo>
                      <a:pt x="168" y="1774"/>
                    </a:lnTo>
                    <a:lnTo>
                      <a:pt x="170" y="1776"/>
                    </a:lnTo>
                    <a:lnTo>
                      <a:pt x="170" y="1778"/>
                    </a:lnTo>
                    <a:lnTo>
                      <a:pt x="168" y="1780"/>
                    </a:lnTo>
                    <a:lnTo>
                      <a:pt x="166" y="1782"/>
                    </a:lnTo>
                    <a:lnTo>
                      <a:pt x="168" y="1784"/>
                    </a:lnTo>
                    <a:close/>
                    <a:moveTo>
                      <a:pt x="190" y="1748"/>
                    </a:moveTo>
                    <a:lnTo>
                      <a:pt x="190" y="1748"/>
                    </a:lnTo>
                    <a:lnTo>
                      <a:pt x="186" y="1752"/>
                    </a:lnTo>
                    <a:lnTo>
                      <a:pt x="182" y="1756"/>
                    </a:lnTo>
                    <a:lnTo>
                      <a:pt x="178" y="1762"/>
                    </a:lnTo>
                    <a:lnTo>
                      <a:pt x="178" y="1768"/>
                    </a:lnTo>
                    <a:lnTo>
                      <a:pt x="180" y="1768"/>
                    </a:lnTo>
                    <a:lnTo>
                      <a:pt x="182" y="1766"/>
                    </a:lnTo>
                    <a:lnTo>
                      <a:pt x="188" y="1758"/>
                    </a:lnTo>
                    <a:lnTo>
                      <a:pt x="192" y="1750"/>
                    </a:lnTo>
                    <a:lnTo>
                      <a:pt x="192" y="1748"/>
                    </a:lnTo>
                    <a:lnTo>
                      <a:pt x="190" y="1748"/>
                    </a:lnTo>
                    <a:close/>
                    <a:moveTo>
                      <a:pt x="700" y="1324"/>
                    </a:moveTo>
                    <a:lnTo>
                      <a:pt x="700" y="1324"/>
                    </a:lnTo>
                    <a:lnTo>
                      <a:pt x="698" y="1322"/>
                    </a:lnTo>
                    <a:lnTo>
                      <a:pt x="694" y="1322"/>
                    </a:lnTo>
                    <a:lnTo>
                      <a:pt x="690" y="1324"/>
                    </a:lnTo>
                    <a:lnTo>
                      <a:pt x="690" y="1326"/>
                    </a:lnTo>
                    <a:lnTo>
                      <a:pt x="692" y="1326"/>
                    </a:lnTo>
                    <a:lnTo>
                      <a:pt x="696" y="1326"/>
                    </a:lnTo>
                    <a:lnTo>
                      <a:pt x="700" y="1326"/>
                    </a:lnTo>
                    <a:lnTo>
                      <a:pt x="700" y="1324"/>
                    </a:lnTo>
                    <a:close/>
                    <a:moveTo>
                      <a:pt x="494" y="1970"/>
                    </a:moveTo>
                    <a:lnTo>
                      <a:pt x="494" y="1970"/>
                    </a:lnTo>
                    <a:lnTo>
                      <a:pt x="492" y="1962"/>
                    </a:lnTo>
                    <a:lnTo>
                      <a:pt x="486" y="1954"/>
                    </a:lnTo>
                    <a:lnTo>
                      <a:pt x="478" y="1948"/>
                    </a:lnTo>
                    <a:lnTo>
                      <a:pt x="470" y="1944"/>
                    </a:lnTo>
                    <a:lnTo>
                      <a:pt x="460" y="1942"/>
                    </a:lnTo>
                    <a:lnTo>
                      <a:pt x="452" y="1942"/>
                    </a:lnTo>
                    <a:lnTo>
                      <a:pt x="446" y="1944"/>
                    </a:lnTo>
                    <a:lnTo>
                      <a:pt x="442" y="1948"/>
                    </a:lnTo>
                    <a:lnTo>
                      <a:pt x="438" y="1954"/>
                    </a:lnTo>
                    <a:lnTo>
                      <a:pt x="434" y="1954"/>
                    </a:lnTo>
                    <a:lnTo>
                      <a:pt x="432" y="1952"/>
                    </a:lnTo>
                    <a:lnTo>
                      <a:pt x="428" y="1950"/>
                    </a:lnTo>
                    <a:lnTo>
                      <a:pt x="424" y="1948"/>
                    </a:lnTo>
                    <a:lnTo>
                      <a:pt x="424" y="1946"/>
                    </a:lnTo>
                    <a:lnTo>
                      <a:pt x="428" y="1942"/>
                    </a:lnTo>
                    <a:lnTo>
                      <a:pt x="434" y="1938"/>
                    </a:lnTo>
                    <a:lnTo>
                      <a:pt x="436" y="1936"/>
                    </a:lnTo>
                    <a:lnTo>
                      <a:pt x="438" y="1932"/>
                    </a:lnTo>
                    <a:lnTo>
                      <a:pt x="434" y="1924"/>
                    </a:lnTo>
                    <a:lnTo>
                      <a:pt x="428" y="1914"/>
                    </a:lnTo>
                    <a:lnTo>
                      <a:pt x="418" y="1906"/>
                    </a:lnTo>
                    <a:lnTo>
                      <a:pt x="410" y="1902"/>
                    </a:lnTo>
                    <a:lnTo>
                      <a:pt x="408" y="1898"/>
                    </a:lnTo>
                    <a:lnTo>
                      <a:pt x="410" y="1898"/>
                    </a:lnTo>
                    <a:lnTo>
                      <a:pt x="418" y="1902"/>
                    </a:lnTo>
                    <a:lnTo>
                      <a:pt x="424" y="1906"/>
                    </a:lnTo>
                    <a:lnTo>
                      <a:pt x="428" y="1906"/>
                    </a:lnTo>
                    <a:lnTo>
                      <a:pt x="430" y="1904"/>
                    </a:lnTo>
                    <a:lnTo>
                      <a:pt x="428" y="1902"/>
                    </a:lnTo>
                    <a:lnTo>
                      <a:pt x="422" y="1894"/>
                    </a:lnTo>
                    <a:lnTo>
                      <a:pt x="418" y="1888"/>
                    </a:lnTo>
                    <a:lnTo>
                      <a:pt x="416" y="1884"/>
                    </a:lnTo>
                    <a:lnTo>
                      <a:pt x="416" y="1876"/>
                    </a:lnTo>
                    <a:lnTo>
                      <a:pt x="416" y="1872"/>
                    </a:lnTo>
                    <a:lnTo>
                      <a:pt x="416" y="1870"/>
                    </a:lnTo>
                    <a:lnTo>
                      <a:pt x="412" y="1868"/>
                    </a:lnTo>
                    <a:lnTo>
                      <a:pt x="408" y="1866"/>
                    </a:lnTo>
                    <a:lnTo>
                      <a:pt x="406" y="1864"/>
                    </a:lnTo>
                    <a:lnTo>
                      <a:pt x="404" y="1858"/>
                    </a:lnTo>
                    <a:lnTo>
                      <a:pt x="400" y="1852"/>
                    </a:lnTo>
                    <a:lnTo>
                      <a:pt x="396" y="1850"/>
                    </a:lnTo>
                    <a:lnTo>
                      <a:pt x="390" y="1848"/>
                    </a:lnTo>
                    <a:lnTo>
                      <a:pt x="380" y="1844"/>
                    </a:lnTo>
                    <a:lnTo>
                      <a:pt x="376" y="1842"/>
                    </a:lnTo>
                    <a:lnTo>
                      <a:pt x="372" y="1836"/>
                    </a:lnTo>
                    <a:lnTo>
                      <a:pt x="366" y="1822"/>
                    </a:lnTo>
                    <a:lnTo>
                      <a:pt x="360" y="1806"/>
                    </a:lnTo>
                    <a:lnTo>
                      <a:pt x="358" y="1794"/>
                    </a:lnTo>
                    <a:lnTo>
                      <a:pt x="356" y="1786"/>
                    </a:lnTo>
                    <a:lnTo>
                      <a:pt x="354" y="1782"/>
                    </a:lnTo>
                    <a:lnTo>
                      <a:pt x="352" y="1780"/>
                    </a:lnTo>
                    <a:lnTo>
                      <a:pt x="346" y="1774"/>
                    </a:lnTo>
                    <a:lnTo>
                      <a:pt x="342" y="1768"/>
                    </a:lnTo>
                    <a:lnTo>
                      <a:pt x="336" y="1762"/>
                    </a:lnTo>
                    <a:lnTo>
                      <a:pt x="322" y="1756"/>
                    </a:lnTo>
                    <a:lnTo>
                      <a:pt x="314" y="1754"/>
                    </a:lnTo>
                    <a:lnTo>
                      <a:pt x="310" y="1754"/>
                    </a:lnTo>
                    <a:lnTo>
                      <a:pt x="308" y="1754"/>
                    </a:lnTo>
                    <a:lnTo>
                      <a:pt x="306" y="1756"/>
                    </a:lnTo>
                    <a:lnTo>
                      <a:pt x="302" y="1758"/>
                    </a:lnTo>
                    <a:lnTo>
                      <a:pt x="298" y="1760"/>
                    </a:lnTo>
                    <a:lnTo>
                      <a:pt x="290" y="1758"/>
                    </a:lnTo>
                    <a:lnTo>
                      <a:pt x="286" y="1758"/>
                    </a:lnTo>
                    <a:lnTo>
                      <a:pt x="288" y="1756"/>
                    </a:lnTo>
                    <a:lnTo>
                      <a:pt x="294" y="1754"/>
                    </a:lnTo>
                    <a:lnTo>
                      <a:pt x="300" y="1748"/>
                    </a:lnTo>
                    <a:lnTo>
                      <a:pt x="302" y="1746"/>
                    </a:lnTo>
                    <a:lnTo>
                      <a:pt x="304" y="1746"/>
                    </a:lnTo>
                    <a:lnTo>
                      <a:pt x="308" y="1746"/>
                    </a:lnTo>
                    <a:lnTo>
                      <a:pt x="316" y="1742"/>
                    </a:lnTo>
                    <a:lnTo>
                      <a:pt x="318" y="1742"/>
                    </a:lnTo>
                    <a:lnTo>
                      <a:pt x="318" y="1740"/>
                    </a:lnTo>
                    <a:lnTo>
                      <a:pt x="316" y="1738"/>
                    </a:lnTo>
                    <a:lnTo>
                      <a:pt x="310" y="1736"/>
                    </a:lnTo>
                    <a:lnTo>
                      <a:pt x="308" y="1734"/>
                    </a:lnTo>
                    <a:lnTo>
                      <a:pt x="308" y="1730"/>
                    </a:lnTo>
                    <a:lnTo>
                      <a:pt x="304" y="1728"/>
                    </a:lnTo>
                    <a:lnTo>
                      <a:pt x="304" y="1726"/>
                    </a:lnTo>
                    <a:lnTo>
                      <a:pt x="306" y="1728"/>
                    </a:lnTo>
                    <a:lnTo>
                      <a:pt x="312" y="1728"/>
                    </a:lnTo>
                    <a:lnTo>
                      <a:pt x="314" y="1728"/>
                    </a:lnTo>
                    <a:lnTo>
                      <a:pt x="318" y="1726"/>
                    </a:lnTo>
                    <a:lnTo>
                      <a:pt x="326" y="1716"/>
                    </a:lnTo>
                    <a:lnTo>
                      <a:pt x="334" y="1696"/>
                    </a:lnTo>
                    <a:lnTo>
                      <a:pt x="342" y="1678"/>
                    </a:lnTo>
                    <a:lnTo>
                      <a:pt x="348" y="1668"/>
                    </a:lnTo>
                    <a:lnTo>
                      <a:pt x="350" y="1664"/>
                    </a:lnTo>
                    <a:lnTo>
                      <a:pt x="348" y="1656"/>
                    </a:lnTo>
                    <a:lnTo>
                      <a:pt x="346" y="1652"/>
                    </a:lnTo>
                    <a:lnTo>
                      <a:pt x="342" y="1650"/>
                    </a:lnTo>
                    <a:lnTo>
                      <a:pt x="332" y="1650"/>
                    </a:lnTo>
                    <a:lnTo>
                      <a:pt x="320" y="1650"/>
                    </a:lnTo>
                    <a:lnTo>
                      <a:pt x="302" y="1650"/>
                    </a:lnTo>
                    <a:lnTo>
                      <a:pt x="286" y="1650"/>
                    </a:lnTo>
                    <a:lnTo>
                      <a:pt x="274" y="1652"/>
                    </a:lnTo>
                    <a:lnTo>
                      <a:pt x="268" y="1656"/>
                    </a:lnTo>
                    <a:lnTo>
                      <a:pt x="262" y="1658"/>
                    </a:lnTo>
                    <a:lnTo>
                      <a:pt x="258" y="1658"/>
                    </a:lnTo>
                    <a:lnTo>
                      <a:pt x="258" y="1654"/>
                    </a:lnTo>
                    <a:lnTo>
                      <a:pt x="268" y="1644"/>
                    </a:lnTo>
                    <a:lnTo>
                      <a:pt x="270" y="1642"/>
                    </a:lnTo>
                    <a:lnTo>
                      <a:pt x="268" y="1642"/>
                    </a:lnTo>
                    <a:lnTo>
                      <a:pt x="264" y="1642"/>
                    </a:lnTo>
                    <a:lnTo>
                      <a:pt x="258" y="1642"/>
                    </a:lnTo>
                    <a:lnTo>
                      <a:pt x="260" y="1640"/>
                    </a:lnTo>
                    <a:lnTo>
                      <a:pt x="270" y="1632"/>
                    </a:lnTo>
                    <a:lnTo>
                      <a:pt x="284" y="1620"/>
                    </a:lnTo>
                    <a:lnTo>
                      <a:pt x="296" y="1608"/>
                    </a:lnTo>
                    <a:lnTo>
                      <a:pt x="300" y="1604"/>
                    </a:lnTo>
                    <a:lnTo>
                      <a:pt x="300" y="1600"/>
                    </a:lnTo>
                    <a:lnTo>
                      <a:pt x="298" y="1598"/>
                    </a:lnTo>
                    <a:lnTo>
                      <a:pt x="298" y="1596"/>
                    </a:lnTo>
                    <a:lnTo>
                      <a:pt x="300" y="1592"/>
                    </a:lnTo>
                    <a:lnTo>
                      <a:pt x="300" y="1590"/>
                    </a:lnTo>
                    <a:lnTo>
                      <a:pt x="292" y="1588"/>
                    </a:lnTo>
                    <a:lnTo>
                      <a:pt x="286" y="1588"/>
                    </a:lnTo>
                    <a:lnTo>
                      <a:pt x="284" y="1590"/>
                    </a:lnTo>
                    <a:lnTo>
                      <a:pt x="284" y="1592"/>
                    </a:lnTo>
                    <a:lnTo>
                      <a:pt x="280" y="1592"/>
                    </a:lnTo>
                    <a:lnTo>
                      <a:pt x="272" y="1592"/>
                    </a:lnTo>
                    <a:lnTo>
                      <a:pt x="262" y="1594"/>
                    </a:lnTo>
                    <a:lnTo>
                      <a:pt x="254" y="1596"/>
                    </a:lnTo>
                    <a:lnTo>
                      <a:pt x="246" y="1596"/>
                    </a:lnTo>
                    <a:lnTo>
                      <a:pt x="242" y="1594"/>
                    </a:lnTo>
                    <a:lnTo>
                      <a:pt x="238" y="1596"/>
                    </a:lnTo>
                    <a:lnTo>
                      <a:pt x="236" y="1596"/>
                    </a:lnTo>
                    <a:lnTo>
                      <a:pt x="232" y="1594"/>
                    </a:lnTo>
                    <a:lnTo>
                      <a:pt x="226" y="1592"/>
                    </a:lnTo>
                    <a:lnTo>
                      <a:pt x="222" y="1590"/>
                    </a:lnTo>
                    <a:lnTo>
                      <a:pt x="218" y="1594"/>
                    </a:lnTo>
                    <a:lnTo>
                      <a:pt x="218" y="1600"/>
                    </a:lnTo>
                    <a:lnTo>
                      <a:pt x="218" y="1602"/>
                    </a:lnTo>
                    <a:lnTo>
                      <a:pt x="218" y="1604"/>
                    </a:lnTo>
                    <a:lnTo>
                      <a:pt x="214" y="1606"/>
                    </a:lnTo>
                    <a:lnTo>
                      <a:pt x="212" y="1606"/>
                    </a:lnTo>
                    <a:lnTo>
                      <a:pt x="216" y="1612"/>
                    </a:lnTo>
                    <a:lnTo>
                      <a:pt x="218" y="1616"/>
                    </a:lnTo>
                    <a:lnTo>
                      <a:pt x="212" y="1616"/>
                    </a:lnTo>
                    <a:lnTo>
                      <a:pt x="206" y="1614"/>
                    </a:lnTo>
                    <a:lnTo>
                      <a:pt x="206" y="1618"/>
                    </a:lnTo>
                    <a:lnTo>
                      <a:pt x="210" y="1622"/>
                    </a:lnTo>
                    <a:lnTo>
                      <a:pt x="210" y="1624"/>
                    </a:lnTo>
                    <a:lnTo>
                      <a:pt x="210" y="1626"/>
                    </a:lnTo>
                    <a:lnTo>
                      <a:pt x="208" y="1626"/>
                    </a:lnTo>
                    <a:lnTo>
                      <a:pt x="204" y="1626"/>
                    </a:lnTo>
                    <a:lnTo>
                      <a:pt x="202" y="1626"/>
                    </a:lnTo>
                    <a:lnTo>
                      <a:pt x="204" y="1628"/>
                    </a:lnTo>
                    <a:lnTo>
                      <a:pt x="206" y="1632"/>
                    </a:lnTo>
                    <a:lnTo>
                      <a:pt x="206" y="1636"/>
                    </a:lnTo>
                    <a:lnTo>
                      <a:pt x="206" y="1638"/>
                    </a:lnTo>
                    <a:lnTo>
                      <a:pt x="202" y="1638"/>
                    </a:lnTo>
                    <a:lnTo>
                      <a:pt x="190" y="1638"/>
                    </a:lnTo>
                    <a:lnTo>
                      <a:pt x="188" y="1640"/>
                    </a:lnTo>
                    <a:lnTo>
                      <a:pt x="188" y="1646"/>
                    </a:lnTo>
                    <a:lnTo>
                      <a:pt x="190" y="1650"/>
                    </a:lnTo>
                    <a:lnTo>
                      <a:pt x="190" y="1654"/>
                    </a:lnTo>
                    <a:lnTo>
                      <a:pt x="188" y="1660"/>
                    </a:lnTo>
                    <a:lnTo>
                      <a:pt x="188" y="1668"/>
                    </a:lnTo>
                    <a:lnTo>
                      <a:pt x="188" y="1672"/>
                    </a:lnTo>
                    <a:lnTo>
                      <a:pt x="190" y="1674"/>
                    </a:lnTo>
                    <a:lnTo>
                      <a:pt x="194" y="1674"/>
                    </a:lnTo>
                    <a:lnTo>
                      <a:pt x="196" y="1676"/>
                    </a:lnTo>
                    <a:lnTo>
                      <a:pt x="194" y="1682"/>
                    </a:lnTo>
                    <a:lnTo>
                      <a:pt x="192" y="1686"/>
                    </a:lnTo>
                    <a:lnTo>
                      <a:pt x="190" y="1690"/>
                    </a:lnTo>
                    <a:lnTo>
                      <a:pt x="188" y="1690"/>
                    </a:lnTo>
                    <a:lnTo>
                      <a:pt x="190" y="1692"/>
                    </a:lnTo>
                    <a:lnTo>
                      <a:pt x="190" y="1694"/>
                    </a:lnTo>
                    <a:lnTo>
                      <a:pt x="190" y="1696"/>
                    </a:lnTo>
                    <a:lnTo>
                      <a:pt x="186" y="1698"/>
                    </a:lnTo>
                    <a:lnTo>
                      <a:pt x="184" y="1700"/>
                    </a:lnTo>
                    <a:lnTo>
                      <a:pt x="188" y="1702"/>
                    </a:lnTo>
                    <a:lnTo>
                      <a:pt x="188" y="1704"/>
                    </a:lnTo>
                    <a:lnTo>
                      <a:pt x="186" y="1706"/>
                    </a:lnTo>
                    <a:lnTo>
                      <a:pt x="182" y="1708"/>
                    </a:lnTo>
                    <a:lnTo>
                      <a:pt x="178" y="1708"/>
                    </a:lnTo>
                    <a:lnTo>
                      <a:pt x="174" y="1708"/>
                    </a:lnTo>
                    <a:lnTo>
                      <a:pt x="172" y="1710"/>
                    </a:lnTo>
                    <a:lnTo>
                      <a:pt x="172" y="1712"/>
                    </a:lnTo>
                    <a:lnTo>
                      <a:pt x="174" y="1714"/>
                    </a:lnTo>
                    <a:lnTo>
                      <a:pt x="182" y="1714"/>
                    </a:lnTo>
                    <a:lnTo>
                      <a:pt x="190" y="1712"/>
                    </a:lnTo>
                    <a:lnTo>
                      <a:pt x="192" y="1714"/>
                    </a:lnTo>
                    <a:lnTo>
                      <a:pt x="184" y="1716"/>
                    </a:lnTo>
                    <a:lnTo>
                      <a:pt x="180" y="1718"/>
                    </a:lnTo>
                    <a:lnTo>
                      <a:pt x="180" y="1720"/>
                    </a:lnTo>
                    <a:lnTo>
                      <a:pt x="184" y="1722"/>
                    </a:lnTo>
                    <a:lnTo>
                      <a:pt x="188" y="1722"/>
                    </a:lnTo>
                    <a:lnTo>
                      <a:pt x="190" y="1722"/>
                    </a:lnTo>
                    <a:lnTo>
                      <a:pt x="192" y="1724"/>
                    </a:lnTo>
                    <a:lnTo>
                      <a:pt x="196" y="1724"/>
                    </a:lnTo>
                    <a:lnTo>
                      <a:pt x="200" y="1720"/>
                    </a:lnTo>
                    <a:lnTo>
                      <a:pt x="208" y="1714"/>
                    </a:lnTo>
                    <a:lnTo>
                      <a:pt x="206" y="1720"/>
                    </a:lnTo>
                    <a:lnTo>
                      <a:pt x="202" y="1726"/>
                    </a:lnTo>
                    <a:lnTo>
                      <a:pt x="202" y="1730"/>
                    </a:lnTo>
                    <a:lnTo>
                      <a:pt x="202" y="1734"/>
                    </a:lnTo>
                    <a:lnTo>
                      <a:pt x="198" y="1738"/>
                    </a:lnTo>
                    <a:lnTo>
                      <a:pt x="196" y="1740"/>
                    </a:lnTo>
                    <a:lnTo>
                      <a:pt x="196" y="1744"/>
                    </a:lnTo>
                    <a:lnTo>
                      <a:pt x="198" y="1748"/>
                    </a:lnTo>
                    <a:lnTo>
                      <a:pt x="194" y="1754"/>
                    </a:lnTo>
                    <a:lnTo>
                      <a:pt x="192" y="1758"/>
                    </a:lnTo>
                    <a:lnTo>
                      <a:pt x="192" y="1762"/>
                    </a:lnTo>
                    <a:lnTo>
                      <a:pt x="194" y="1764"/>
                    </a:lnTo>
                    <a:lnTo>
                      <a:pt x="194" y="1768"/>
                    </a:lnTo>
                    <a:lnTo>
                      <a:pt x="194" y="1772"/>
                    </a:lnTo>
                    <a:lnTo>
                      <a:pt x="194" y="1774"/>
                    </a:lnTo>
                    <a:lnTo>
                      <a:pt x="200" y="1770"/>
                    </a:lnTo>
                    <a:lnTo>
                      <a:pt x="198" y="1774"/>
                    </a:lnTo>
                    <a:lnTo>
                      <a:pt x="194" y="1784"/>
                    </a:lnTo>
                    <a:lnTo>
                      <a:pt x="188" y="1794"/>
                    </a:lnTo>
                    <a:lnTo>
                      <a:pt x="188" y="1800"/>
                    </a:lnTo>
                    <a:lnTo>
                      <a:pt x="192" y="1802"/>
                    </a:lnTo>
                    <a:lnTo>
                      <a:pt x="194" y="1802"/>
                    </a:lnTo>
                    <a:lnTo>
                      <a:pt x="196" y="1800"/>
                    </a:lnTo>
                    <a:lnTo>
                      <a:pt x="198" y="1792"/>
                    </a:lnTo>
                    <a:lnTo>
                      <a:pt x="202" y="1780"/>
                    </a:lnTo>
                    <a:lnTo>
                      <a:pt x="204" y="1776"/>
                    </a:lnTo>
                    <a:lnTo>
                      <a:pt x="206" y="1772"/>
                    </a:lnTo>
                    <a:lnTo>
                      <a:pt x="208" y="1770"/>
                    </a:lnTo>
                    <a:lnTo>
                      <a:pt x="208" y="1768"/>
                    </a:lnTo>
                    <a:lnTo>
                      <a:pt x="204" y="1764"/>
                    </a:lnTo>
                    <a:lnTo>
                      <a:pt x="202" y="1760"/>
                    </a:lnTo>
                    <a:lnTo>
                      <a:pt x="204" y="1758"/>
                    </a:lnTo>
                    <a:lnTo>
                      <a:pt x="206" y="1756"/>
                    </a:lnTo>
                    <a:lnTo>
                      <a:pt x="210" y="1754"/>
                    </a:lnTo>
                    <a:lnTo>
                      <a:pt x="208" y="1756"/>
                    </a:lnTo>
                    <a:lnTo>
                      <a:pt x="208" y="1762"/>
                    </a:lnTo>
                    <a:lnTo>
                      <a:pt x="208" y="1764"/>
                    </a:lnTo>
                    <a:lnTo>
                      <a:pt x="210" y="1766"/>
                    </a:lnTo>
                    <a:lnTo>
                      <a:pt x="214" y="1766"/>
                    </a:lnTo>
                    <a:lnTo>
                      <a:pt x="216" y="1764"/>
                    </a:lnTo>
                    <a:lnTo>
                      <a:pt x="216" y="1762"/>
                    </a:lnTo>
                    <a:lnTo>
                      <a:pt x="220" y="1764"/>
                    </a:lnTo>
                    <a:lnTo>
                      <a:pt x="222" y="1764"/>
                    </a:lnTo>
                    <a:lnTo>
                      <a:pt x="224" y="1758"/>
                    </a:lnTo>
                    <a:lnTo>
                      <a:pt x="224" y="1756"/>
                    </a:lnTo>
                    <a:lnTo>
                      <a:pt x="228" y="1756"/>
                    </a:lnTo>
                    <a:lnTo>
                      <a:pt x="232" y="1758"/>
                    </a:lnTo>
                    <a:lnTo>
                      <a:pt x="238" y="1762"/>
                    </a:lnTo>
                    <a:lnTo>
                      <a:pt x="230" y="1764"/>
                    </a:lnTo>
                    <a:lnTo>
                      <a:pt x="224" y="1766"/>
                    </a:lnTo>
                    <a:lnTo>
                      <a:pt x="224" y="1768"/>
                    </a:lnTo>
                    <a:lnTo>
                      <a:pt x="224" y="1772"/>
                    </a:lnTo>
                    <a:lnTo>
                      <a:pt x="230" y="1780"/>
                    </a:lnTo>
                    <a:lnTo>
                      <a:pt x="234" y="1786"/>
                    </a:lnTo>
                    <a:lnTo>
                      <a:pt x="234" y="1790"/>
                    </a:lnTo>
                    <a:lnTo>
                      <a:pt x="234" y="1794"/>
                    </a:lnTo>
                    <a:lnTo>
                      <a:pt x="230" y="1798"/>
                    </a:lnTo>
                    <a:lnTo>
                      <a:pt x="224" y="1806"/>
                    </a:lnTo>
                    <a:lnTo>
                      <a:pt x="222" y="1810"/>
                    </a:lnTo>
                    <a:lnTo>
                      <a:pt x="220" y="1816"/>
                    </a:lnTo>
                    <a:lnTo>
                      <a:pt x="222" y="1822"/>
                    </a:lnTo>
                    <a:lnTo>
                      <a:pt x="220" y="1822"/>
                    </a:lnTo>
                    <a:lnTo>
                      <a:pt x="216" y="1818"/>
                    </a:lnTo>
                    <a:lnTo>
                      <a:pt x="214" y="1820"/>
                    </a:lnTo>
                    <a:lnTo>
                      <a:pt x="214" y="1822"/>
                    </a:lnTo>
                    <a:lnTo>
                      <a:pt x="214" y="1826"/>
                    </a:lnTo>
                    <a:lnTo>
                      <a:pt x="220" y="1834"/>
                    </a:lnTo>
                    <a:lnTo>
                      <a:pt x="224" y="1840"/>
                    </a:lnTo>
                    <a:lnTo>
                      <a:pt x="224" y="1838"/>
                    </a:lnTo>
                    <a:lnTo>
                      <a:pt x="224" y="1836"/>
                    </a:lnTo>
                    <a:lnTo>
                      <a:pt x="222" y="1830"/>
                    </a:lnTo>
                    <a:lnTo>
                      <a:pt x="224" y="1828"/>
                    </a:lnTo>
                    <a:lnTo>
                      <a:pt x="228" y="1828"/>
                    </a:lnTo>
                    <a:lnTo>
                      <a:pt x="234" y="1832"/>
                    </a:lnTo>
                    <a:lnTo>
                      <a:pt x="240" y="1838"/>
                    </a:lnTo>
                    <a:lnTo>
                      <a:pt x="244" y="1840"/>
                    </a:lnTo>
                    <a:lnTo>
                      <a:pt x="246" y="1838"/>
                    </a:lnTo>
                    <a:lnTo>
                      <a:pt x="246" y="1834"/>
                    </a:lnTo>
                    <a:lnTo>
                      <a:pt x="246" y="1828"/>
                    </a:lnTo>
                    <a:lnTo>
                      <a:pt x="246" y="1826"/>
                    </a:lnTo>
                    <a:lnTo>
                      <a:pt x="246" y="1828"/>
                    </a:lnTo>
                    <a:lnTo>
                      <a:pt x="252" y="1830"/>
                    </a:lnTo>
                    <a:lnTo>
                      <a:pt x="260" y="1834"/>
                    </a:lnTo>
                    <a:lnTo>
                      <a:pt x="264" y="1834"/>
                    </a:lnTo>
                    <a:lnTo>
                      <a:pt x="266" y="1830"/>
                    </a:lnTo>
                    <a:lnTo>
                      <a:pt x="270" y="1826"/>
                    </a:lnTo>
                    <a:lnTo>
                      <a:pt x="274" y="1826"/>
                    </a:lnTo>
                    <a:lnTo>
                      <a:pt x="276" y="1828"/>
                    </a:lnTo>
                    <a:lnTo>
                      <a:pt x="278" y="1824"/>
                    </a:lnTo>
                    <a:lnTo>
                      <a:pt x="282" y="1822"/>
                    </a:lnTo>
                    <a:lnTo>
                      <a:pt x="286" y="1820"/>
                    </a:lnTo>
                    <a:lnTo>
                      <a:pt x="292" y="1820"/>
                    </a:lnTo>
                    <a:lnTo>
                      <a:pt x="292" y="1822"/>
                    </a:lnTo>
                    <a:lnTo>
                      <a:pt x="288" y="1826"/>
                    </a:lnTo>
                    <a:lnTo>
                      <a:pt x="280" y="1838"/>
                    </a:lnTo>
                    <a:lnTo>
                      <a:pt x="276" y="1844"/>
                    </a:lnTo>
                    <a:lnTo>
                      <a:pt x="276" y="1850"/>
                    </a:lnTo>
                    <a:lnTo>
                      <a:pt x="276" y="1854"/>
                    </a:lnTo>
                    <a:lnTo>
                      <a:pt x="278" y="1858"/>
                    </a:lnTo>
                    <a:lnTo>
                      <a:pt x="286" y="1866"/>
                    </a:lnTo>
                    <a:lnTo>
                      <a:pt x="292" y="1872"/>
                    </a:lnTo>
                    <a:lnTo>
                      <a:pt x="294" y="1876"/>
                    </a:lnTo>
                    <a:lnTo>
                      <a:pt x="296" y="1874"/>
                    </a:lnTo>
                    <a:lnTo>
                      <a:pt x="300" y="1872"/>
                    </a:lnTo>
                    <a:lnTo>
                      <a:pt x="302" y="1870"/>
                    </a:lnTo>
                    <a:lnTo>
                      <a:pt x="304" y="1870"/>
                    </a:lnTo>
                    <a:lnTo>
                      <a:pt x="308" y="1870"/>
                    </a:lnTo>
                    <a:lnTo>
                      <a:pt x="308" y="1872"/>
                    </a:lnTo>
                    <a:lnTo>
                      <a:pt x="308" y="1874"/>
                    </a:lnTo>
                    <a:lnTo>
                      <a:pt x="306" y="1878"/>
                    </a:lnTo>
                    <a:lnTo>
                      <a:pt x="306" y="1880"/>
                    </a:lnTo>
                    <a:lnTo>
                      <a:pt x="306" y="1882"/>
                    </a:lnTo>
                    <a:lnTo>
                      <a:pt x="308" y="1882"/>
                    </a:lnTo>
                    <a:lnTo>
                      <a:pt x="306" y="1884"/>
                    </a:lnTo>
                    <a:lnTo>
                      <a:pt x="300" y="1888"/>
                    </a:lnTo>
                    <a:lnTo>
                      <a:pt x="298" y="1890"/>
                    </a:lnTo>
                    <a:lnTo>
                      <a:pt x="298" y="1892"/>
                    </a:lnTo>
                    <a:lnTo>
                      <a:pt x="298" y="1894"/>
                    </a:lnTo>
                    <a:lnTo>
                      <a:pt x="302" y="1896"/>
                    </a:lnTo>
                    <a:lnTo>
                      <a:pt x="304" y="1898"/>
                    </a:lnTo>
                    <a:lnTo>
                      <a:pt x="302" y="1900"/>
                    </a:lnTo>
                    <a:lnTo>
                      <a:pt x="300" y="1902"/>
                    </a:lnTo>
                    <a:lnTo>
                      <a:pt x="300" y="1906"/>
                    </a:lnTo>
                    <a:lnTo>
                      <a:pt x="300" y="1910"/>
                    </a:lnTo>
                    <a:lnTo>
                      <a:pt x="302" y="1916"/>
                    </a:lnTo>
                    <a:lnTo>
                      <a:pt x="308" y="1924"/>
                    </a:lnTo>
                    <a:lnTo>
                      <a:pt x="304" y="1922"/>
                    </a:lnTo>
                    <a:lnTo>
                      <a:pt x="300" y="1918"/>
                    </a:lnTo>
                    <a:lnTo>
                      <a:pt x="296" y="1916"/>
                    </a:lnTo>
                    <a:lnTo>
                      <a:pt x="294" y="1918"/>
                    </a:lnTo>
                    <a:lnTo>
                      <a:pt x="296" y="1922"/>
                    </a:lnTo>
                    <a:lnTo>
                      <a:pt x="298" y="1926"/>
                    </a:lnTo>
                    <a:lnTo>
                      <a:pt x="294" y="1924"/>
                    </a:lnTo>
                    <a:lnTo>
                      <a:pt x="290" y="1922"/>
                    </a:lnTo>
                    <a:lnTo>
                      <a:pt x="286" y="1922"/>
                    </a:lnTo>
                    <a:lnTo>
                      <a:pt x="282" y="1922"/>
                    </a:lnTo>
                    <a:lnTo>
                      <a:pt x="276" y="1924"/>
                    </a:lnTo>
                    <a:lnTo>
                      <a:pt x="272" y="1924"/>
                    </a:lnTo>
                    <a:lnTo>
                      <a:pt x="270" y="1922"/>
                    </a:lnTo>
                    <a:lnTo>
                      <a:pt x="266" y="1924"/>
                    </a:lnTo>
                    <a:lnTo>
                      <a:pt x="264" y="1926"/>
                    </a:lnTo>
                    <a:lnTo>
                      <a:pt x="260" y="1926"/>
                    </a:lnTo>
                    <a:lnTo>
                      <a:pt x="256" y="1928"/>
                    </a:lnTo>
                    <a:lnTo>
                      <a:pt x="252" y="1932"/>
                    </a:lnTo>
                    <a:lnTo>
                      <a:pt x="246" y="1940"/>
                    </a:lnTo>
                    <a:lnTo>
                      <a:pt x="240" y="1944"/>
                    </a:lnTo>
                    <a:lnTo>
                      <a:pt x="236" y="1946"/>
                    </a:lnTo>
                    <a:lnTo>
                      <a:pt x="232" y="1950"/>
                    </a:lnTo>
                    <a:lnTo>
                      <a:pt x="230" y="1956"/>
                    </a:lnTo>
                    <a:lnTo>
                      <a:pt x="234" y="1954"/>
                    </a:lnTo>
                    <a:lnTo>
                      <a:pt x="238" y="1954"/>
                    </a:lnTo>
                    <a:lnTo>
                      <a:pt x="240" y="1954"/>
                    </a:lnTo>
                    <a:lnTo>
                      <a:pt x="244" y="1952"/>
                    </a:lnTo>
                    <a:lnTo>
                      <a:pt x="252" y="1948"/>
                    </a:lnTo>
                    <a:lnTo>
                      <a:pt x="256" y="1946"/>
                    </a:lnTo>
                    <a:lnTo>
                      <a:pt x="258" y="1946"/>
                    </a:lnTo>
                    <a:lnTo>
                      <a:pt x="256" y="1948"/>
                    </a:lnTo>
                    <a:lnTo>
                      <a:pt x="256" y="1954"/>
                    </a:lnTo>
                    <a:lnTo>
                      <a:pt x="258" y="1954"/>
                    </a:lnTo>
                    <a:lnTo>
                      <a:pt x="260" y="1956"/>
                    </a:lnTo>
                    <a:lnTo>
                      <a:pt x="258" y="1960"/>
                    </a:lnTo>
                    <a:lnTo>
                      <a:pt x="256" y="1964"/>
                    </a:lnTo>
                    <a:lnTo>
                      <a:pt x="256" y="1968"/>
                    </a:lnTo>
                    <a:lnTo>
                      <a:pt x="258" y="1974"/>
                    </a:lnTo>
                    <a:lnTo>
                      <a:pt x="258" y="1978"/>
                    </a:lnTo>
                    <a:lnTo>
                      <a:pt x="256" y="1982"/>
                    </a:lnTo>
                    <a:lnTo>
                      <a:pt x="252" y="1986"/>
                    </a:lnTo>
                    <a:lnTo>
                      <a:pt x="246" y="1990"/>
                    </a:lnTo>
                    <a:lnTo>
                      <a:pt x="232" y="1998"/>
                    </a:lnTo>
                    <a:lnTo>
                      <a:pt x="222" y="2000"/>
                    </a:lnTo>
                    <a:lnTo>
                      <a:pt x="216" y="2000"/>
                    </a:lnTo>
                    <a:lnTo>
                      <a:pt x="210" y="2006"/>
                    </a:lnTo>
                    <a:lnTo>
                      <a:pt x="208" y="2008"/>
                    </a:lnTo>
                    <a:lnTo>
                      <a:pt x="208" y="2010"/>
                    </a:lnTo>
                    <a:lnTo>
                      <a:pt x="212" y="2012"/>
                    </a:lnTo>
                    <a:lnTo>
                      <a:pt x="216" y="2012"/>
                    </a:lnTo>
                    <a:lnTo>
                      <a:pt x="216" y="2014"/>
                    </a:lnTo>
                    <a:lnTo>
                      <a:pt x="214" y="2016"/>
                    </a:lnTo>
                    <a:lnTo>
                      <a:pt x="214" y="2020"/>
                    </a:lnTo>
                    <a:lnTo>
                      <a:pt x="216" y="2024"/>
                    </a:lnTo>
                    <a:lnTo>
                      <a:pt x="224" y="2024"/>
                    </a:lnTo>
                    <a:lnTo>
                      <a:pt x="232" y="2022"/>
                    </a:lnTo>
                    <a:lnTo>
                      <a:pt x="240" y="2018"/>
                    </a:lnTo>
                    <a:lnTo>
                      <a:pt x="246" y="2018"/>
                    </a:lnTo>
                    <a:lnTo>
                      <a:pt x="250" y="2022"/>
                    </a:lnTo>
                    <a:lnTo>
                      <a:pt x="250" y="2026"/>
                    </a:lnTo>
                    <a:lnTo>
                      <a:pt x="248" y="2028"/>
                    </a:lnTo>
                    <a:lnTo>
                      <a:pt x="250" y="2030"/>
                    </a:lnTo>
                    <a:lnTo>
                      <a:pt x="256" y="2028"/>
                    </a:lnTo>
                    <a:lnTo>
                      <a:pt x="260" y="2028"/>
                    </a:lnTo>
                    <a:lnTo>
                      <a:pt x="264" y="2028"/>
                    </a:lnTo>
                    <a:lnTo>
                      <a:pt x="270" y="2030"/>
                    </a:lnTo>
                    <a:lnTo>
                      <a:pt x="274" y="2034"/>
                    </a:lnTo>
                    <a:lnTo>
                      <a:pt x="280" y="2038"/>
                    </a:lnTo>
                    <a:lnTo>
                      <a:pt x="284" y="2040"/>
                    </a:lnTo>
                    <a:lnTo>
                      <a:pt x="288" y="2040"/>
                    </a:lnTo>
                    <a:lnTo>
                      <a:pt x="292" y="2038"/>
                    </a:lnTo>
                    <a:lnTo>
                      <a:pt x="298" y="2032"/>
                    </a:lnTo>
                    <a:lnTo>
                      <a:pt x="302" y="2030"/>
                    </a:lnTo>
                    <a:lnTo>
                      <a:pt x="304" y="2028"/>
                    </a:lnTo>
                    <a:lnTo>
                      <a:pt x="310" y="2026"/>
                    </a:lnTo>
                    <a:lnTo>
                      <a:pt x="314" y="2024"/>
                    </a:lnTo>
                    <a:lnTo>
                      <a:pt x="320" y="2020"/>
                    </a:lnTo>
                    <a:lnTo>
                      <a:pt x="326" y="2016"/>
                    </a:lnTo>
                    <a:lnTo>
                      <a:pt x="322" y="2022"/>
                    </a:lnTo>
                    <a:lnTo>
                      <a:pt x="318" y="2026"/>
                    </a:lnTo>
                    <a:lnTo>
                      <a:pt x="312" y="2032"/>
                    </a:lnTo>
                    <a:lnTo>
                      <a:pt x="306" y="2036"/>
                    </a:lnTo>
                    <a:lnTo>
                      <a:pt x="304" y="2044"/>
                    </a:lnTo>
                    <a:lnTo>
                      <a:pt x="302" y="2048"/>
                    </a:lnTo>
                    <a:lnTo>
                      <a:pt x="294" y="2050"/>
                    </a:lnTo>
                    <a:lnTo>
                      <a:pt x="284" y="2050"/>
                    </a:lnTo>
                    <a:lnTo>
                      <a:pt x="280" y="2050"/>
                    </a:lnTo>
                    <a:lnTo>
                      <a:pt x="274" y="2048"/>
                    </a:lnTo>
                    <a:lnTo>
                      <a:pt x="262" y="2048"/>
                    </a:lnTo>
                    <a:lnTo>
                      <a:pt x="256" y="2048"/>
                    </a:lnTo>
                    <a:lnTo>
                      <a:pt x="252" y="2050"/>
                    </a:lnTo>
                    <a:lnTo>
                      <a:pt x="252" y="2052"/>
                    </a:lnTo>
                    <a:lnTo>
                      <a:pt x="252" y="2054"/>
                    </a:lnTo>
                    <a:lnTo>
                      <a:pt x="252" y="2058"/>
                    </a:lnTo>
                    <a:lnTo>
                      <a:pt x="250" y="2058"/>
                    </a:lnTo>
                    <a:lnTo>
                      <a:pt x="246" y="2060"/>
                    </a:lnTo>
                    <a:lnTo>
                      <a:pt x="242" y="2060"/>
                    </a:lnTo>
                    <a:lnTo>
                      <a:pt x="238" y="2062"/>
                    </a:lnTo>
                    <a:lnTo>
                      <a:pt x="238" y="2066"/>
                    </a:lnTo>
                    <a:lnTo>
                      <a:pt x="238" y="2070"/>
                    </a:lnTo>
                    <a:lnTo>
                      <a:pt x="238" y="2074"/>
                    </a:lnTo>
                    <a:lnTo>
                      <a:pt x="236" y="2076"/>
                    </a:lnTo>
                    <a:lnTo>
                      <a:pt x="232" y="2078"/>
                    </a:lnTo>
                    <a:lnTo>
                      <a:pt x="230" y="2082"/>
                    </a:lnTo>
                    <a:lnTo>
                      <a:pt x="230" y="2084"/>
                    </a:lnTo>
                    <a:lnTo>
                      <a:pt x="226" y="2086"/>
                    </a:lnTo>
                    <a:lnTo>
                      <a:pt x="220" y="2092"/>
                    </a:lnTo>
                    <a:lnTo>
                      <a:pt x="214" y="2100"/>
                    </a:lnTo>
                    <a:lnTo>
                      <a:pt x="210" y="2106"/>
                    </a:lnTo>
                    <a:lnTo>
                      <a:pt x="206" y="2106"/>
                    </a:lnTo>
                    <a:lnTo>
                      <a:pt x="202" y="2108"/>
                    </a:lnTo>
                    <a:lnTo>
                      <a:pt x="198" y="2108"/>
                    </a:lnTo>
                    <a:lnTo>
                      <a:pt x="194" y="2108"/>
                    </a:lnTo>
                    <a:lnTo>
                      <a:pt x="192" y="2112"/>
                    </a:lnTo>
                    <a:lnTo>
                      <a:pt x="192" y="2114"/>
                    </a:lnTo>
                    <a:lnTo>
                      <a:pt x="192" y="2118"/>
                    </a:lnTo>
                    <a:lnTo>
                      <a:pt x="194" y="2118"/>
                    </a:lnTo>
                    <a:lnTo>
                      <a:pt x="196" y="2118"/>
                    </a:lnTo>
                    <a:lnTo>
                      <a:pt x="200" y="2116"/>
                    </a:lnTo>
                    <a:lnTo>
                      <a:pt x="202" y="2116"/>
                    </a:lnTo>
                    <a:lnTo>
                      <a:pt x="206" y="2118"/>
                    </a:lnTo>
                    <a:lnTo>
                      <a:pt x="210" y="2122"/>
                    </a:lnTo>
                    <a:lnTo>
                      <a:pt x="212" y="2122"/>
                    </a:lnTo>
                    <a:lnTo>
                      <a:pt x="214" y="2122"/>
                    </a:lnTo>
                    <a:lnTo>
                      <a:pt x="216" y="2120"/>
                    </a:lnTo>
                    <a:lnTo>
                      <a:pt x="216" y="2118"/>
                    </a:lnTo>
                    <a:lnTo>
                      <a:pt x="218" y="2116"/>
                    </a:lnTo>
                    <a:lnTo>
                      <a:pt x="222" y="2112"/>
                    </a:lnTo>
                    <a:lnTo>
                      <a:pt x="226" y="2110"/>
                    </a:lnTo>
                    <a:lnTo>
                      <a:pt x="230" y="2106"/>
                    </a:lnTo>
                    <a:lnTo>
                      <a:pt x="234" y="2102"/>
                    </a:lnTo>
                    <a:lnTo>
                      <a:pt x="244" y="2100"/>
                    </a:lnTo>
                    <a:lnTo>
                      <a:pt x="252" y="2100"/>
                    </a:lnTo>
                    <a:lnTo>
                      <a:pt x="258" y="2102"/>
                    </a:lnTo>
                    <a:lnTo>
                      <a:pt x="270" y="2108"/>
                    </a:lnTo>
                    <a:lnTo>
                      <a:pt x="274" y="2110"/>
                    </a:lnTo>
                    <a:lnTo>
                      <a:pt x="276" y="2108"/>
                    </a:lnTo>
                    <a:lnTo>
                      <a:pt x="280" y="2098"/>
                    </a:lnTo>
                    <a:lnTo>
                      <a:pt x="282" y="2088"/>
                    </a:lnTo>
                    <a:lnTo>
                      <a:pt x="284" y="2086"/>
                    </a:lnTo>
                    <a:lnTo>
                      <a:pt x="286" y="2084"/>
                    </a:lnTo>
                    <a:lnTo>
                      <a:pt x="288" y="2086"/>
                    </a:lnTo>
                    <a:lnTo>
                      <a:pt x="290" y="2084"/>
                    </a:lnTo>
                    <a:lnTo>
                      <a:pt x="298" y="2080"/>
                    </a:lnTo>
                    <a:lnTo>
                      <a:pt x="302" y="2078"/>
                    </a:lnTo>
                    <a:lnTo>
                      <a:pt x="306" y="2078"/>
                    </a:lnTo>
                    <a:lnTo>
                      <a:pt x="312" y="2080"/>
                    </a:lnTo>
                    <a:lnTo>
                      <a:pt x="316" y="2084"/>
                    </a:lnTo>
                    <a:lnTo>
                      <a:pt x="322" y="2088"/>
                    </a:lnTo>
                    <a:lnTo>
                      <a:pt x="324" y="2088"/>
                    </a:lnTo>
                    <a:lnTo>
                      <a:pt x="328" y="2086"/>
                    </a:lnTo>
                    <a:lnTo>
                      <a:pt x="330" y="2086"/>
                    </a:lnTo>
                    <a:lnTo>
                      <a:pt x="334" y="2086"/>
                    </a:lnTo>
                    <a:lnTo>
                      <a:pt x="342" y="2086"/>
                    </a:lnTo>
                    <a:lnTo>
                      <a:pt x="344" y="2084"/>
                    </a:lnTo>
                    <a:lnTo>
                      <a:pt x="346" y="2082"/>
                    </a:lnTo>
                    <a:lnTo>
                      <a:pt x="356" y="2078"/>
                    </a:lnTo>
                    <a:lnTo>
                      <a:pt x="366" y="2076"/>
                    </a:lnTo>
                    <a:lnTo>
                      <a:pt x="368" y="2074"/>
                    </a:lnTo>
                    <a:lnTo>
                      <a:pt x="368" y="2072"/>
                    </a:lnTo>
                    <a:lnTo>
                      <a:pt x="374" y="2074"/>
                    </a:lnTo>
                    <a:lnTo>
                      <a:pt x="380" y="2076"/>
                    </a:lnTo>
                    <a:lnTo>
                      <a:pt x="382" y="2076"/>
                    </a:lnTo>
                    <a:lnTo>
                      <a:pt x="384" y="2074"/>
                    </a:lnTo>
                    <a:lnTo>
                      <a:pt x="386" y="2076"/>
                    </a:lnTo>
                    <a:lnTo>
                      <a:pt x="388" y="2078"/>
                    </a:lnTo>
                    <a:lnTo>
                      <a:pt x="392" y="2078"/>
                    </a:lnTo>
                    <a:lnTo>
                      <a:pt x="400" y="2074"/>
                    </a:lnTo>
                    <a:lnTo>
                      <a:pt x="410" y="2072"/>
                    </a:lnTo>
                    <a:lnTo>
                      <a:pt x="416" y="2074"/>
                    </a:lnTo>
                    <a:lnTo>
                      <a:pt x="422" y="2074"/>
                    </a:lnTo>
                    <a:lnTo>
                      <a:pt x="428" y="2076"/>
                    </a:lnTo>
                    <a:lnTo>
                      <a:pt x="432" y="2076"/>
                    </a:lnTo>
                    <a:lnTo>
                      <a:pt x="440" y="2074"/>
                    </a:lnTo>
                    <a:lnTo>
                      <a:pt x="448" y="2070"/>
                    </a:lnTo>
                    <a:lnTo>
                      <a:pt x="456" y="2068"/>
                    </a:lnTo>
                    <a:lnTo>
                      <a:pt x="460" y="2068"/>
                    </a:lnTo>
                    <a:lnTo>
                      <a:pt x="462" y="2064"/>
                    </a:lnTo>
                    <a:lnTo>
                      <a:pt x="464" y="2060"/>
                    </a:lnTo>
                    <a:lnTo>
                      <a:pt x="470" y="2056"/>
                    </a:lnTo>
                    <a:lnTo>
                      <a:pt x="478" y="2052"/>
                    </a:lnTo>
                    <a:lnTo>
                      <a:pt x="480" y="2048"/>
                    </a:lnTo>
                    <a:lnTo>
                      <a:pt x="480" y="2044"/>
                    </a:lnTo>
                    <a:lnTo>
                      <a:pt x="480" y="2040"/>
                    </a:lnTo>
                    <a:lnTo>
                      <a:pt x="480" y="2038"/>
                    </a:lnTo>
                    <a:lnTo>
                      <a:pt x="478" y="2038"/>
                    </a:lnTo>
                    <a:lnTo>
                      <a:pt x="472" y="2038"/>
                    </a:lnTo>
                    <a:lnTo>
                      <a:pt x="462" y="2040"/>
                    </a:lnTo>
                    <a:lnTo>
                      <a:pt x="456" y="2040"/>
                    </a:lnTo>
                    <a:lnTo>
                      <a:pt x="450" y="2038"/>
                    </a:lnTo>
                    <a:lnTo>
                      <a:pt x="448" y="2036"/>
                    </a:lnTo>
                    <a:lnTo>
                      <a:pt x="450" y="2036"/>
                    </a:lnTo>
                    <a:lnTo>
                      <a:pt x="446" y="2034"/>
                    </a:lnTo>
                    <a:lnTo>
                      <a:pt x="444" y="2032"/>
                    </a:lnTo>
                    <a:lnTo>
                      <a:pt x="448" y="2030"/>
                    </a:lnTo>
                    <a:lnTo>
                      <a:pt x="456" y="2030"/>
                    </a:lnTo>
                    <a:lnTo>
                      <a:pt x="458" y="2028"/>
                    </a:lnTo>
                    <a:lnTo>
                      <a:pt x="460" y="2026"/>
                    </a:lnTo>
                    <a:lnTo>
                      <a:pt x="460" y="2020"/>
                    </a:lnTo>
                    <a:lnTo>
                      <a:pt x="458" y="2020"/>
                    </a:lnTo>
                    <a:lnTo>
                      <a:pt x="456" y="2020"/>
                    </a:lnTo>
                    <a:lnTo>
                      <a:pt x="458" y="2016"/>
                    </a:lnTo>
                    <a:lnTo>
                      <a:pt x="462" y="2014"/>
                    </a:lnTo>
                    <a:lnTo>
                      <a:pt x="464" y="2014"/>
                    </a:lnTo>
                    <a:lnTo>
                      <a:pt x="472" y="2014"/>
                    </a:lnTo>
                    <a:lnTo>
                      <a:pt x="476" y="2014"/>
                    </a:lnTo>
                    <a:lnTo>
                      <a:pt x="476" y="2012"/>
                    </a:lnTo>
                    <a:lnTo>
                      <a:pt x="474" y="2010"/>
                    </a:lnTo>
                    <a:lnTo>
                      <a:pt x="474" y="2008"/>
                    </a:lnTo>
                    <a:lnTo>
                      <a:pt x="474" y="2006"/>
                    </a:lnTo>
                    <a:lnTo>
                      <a:pt x="482" y="2000"/>
                    </a:lnTo>
                    <a:lnTo>
                      <a:pt x="486" y="1996"/>
                    </a:lnTo>
                    <a:lnTo>
                      <a:pt x="490" y="1990"/>
                    </a:lnTo>
                    <a:lnTo>
                      <a:pt x="494" y="1982"/>
                    </a:lnTo>
                    <a:lnTo>
                      <a:pt x="494" y="1970"/>
                    </a:lnTo>
                    <a:close/>
                    <a:moveTo>
                      <a:pt x="662" y="1344"/>
                    </a:moveTo>
                    <a:lnTo>
                      <a:pt x="662" y="1344"/>
                    </a:lnTo>
                    <a:lnTo>
                      <a:pt x="660" y="1344"/>
                    </a:lnTo>
                    <a:lnTo>
                      <a:pt x="656" y="1346"/>
                    </a:lnTo>
                    <a:lnTo>
                      <a:pt x="656" y="1350"/>
                    </a:lnTo>
                    <a:lnTo>
                      <a:pt x="656" y="1354"/>
                    </a:lnTo>
                    <a:lnTo>
                      <a:pt x="660" y="1354"/>
                    </a:lnTo>
                    <a:lnTo>
                      <a:pt x="662" y="1352"/>
                    </a:lnTo>
                    <a:lnTo>
                      <a:pt x="664" y="1348"/>
                    </a:lnTo>
                    <a:lnTo>
                      <a:pt x="664" y="1346"/>
                    </a:lnTo>
                    <a:lnTo>
                      <a:pt x="662" y="1344"/>
                    </a:lnTo>
                    <a:close/>
                    <a:moveTo>
                      <a:pt x="652" y="1354"/>
                    </a:moveTo>
                    <a:lnTo>
                      <a:pt x="652" y="1354"/>
                    </a:lnTo>
                    <a:lnTo>
                      <a:pt x="650" y="1352"/>
                    </a:lnTo>
                    <a:lnTo>
                      <a:pt x="648" y="1352"/>
                    </a:lnTo>
                    <a:lnTo>
                      <a:pt x="646" y="1352"/>
                    </a:lnTo>
                    <a:lnTo>
                      <a:pt x="644" y="1356"/>
                    </a:lnTo>
                    <a:lnTo>
                      <a:pt x="646" y="1358"/>
                    </a:lnTo>
                    <a:lnTo>
                      <a:pt x="648" y="1358"/>
                    </a:lnTo>
                    <a:lnTo>
                      <a:pt x="652" y="1356"/>
                    </a:lnTo>
                    <a:lnTo>
                      <a:pt x="652" y="1354"/>
                    </a:lnTo>
                    <a:close/>
                    <a:moveTo>
                      <a:pt x="150" y="1398"/>
                    </a:moveTo>
                    <a:lnTo>
                      <a:pt x="150" y="1398"/>
                    </a:lnTo>
                    <a:lnTo>
                      <a:pt x="148" y="1396"/>
                    </a:lnTo>
                    <a:lnTo>
                      <a:pt x="146" y="1394"/>
                    </a:lnTo>
                    <a:lnTo>
                      <a:pt x="146" y="1396"/>
                    </a:lnTo>
                    <a:lnTo>
                      <a:pt x="144" y="1398"/>
                    </a:lnTo>
                    <a:lnTo>
                      <a:pt x="146" y="1402"/>
                    </a:lnTo>
                    <a:lnTo>
                      <a:pt x="152" y="1410"/>
                    </a:lnTo>
                    <a:lnTo>
                      <a:pt x="154" y="1412"/>
                    </a:lnTo>
                    <a:lnTo>
                      <a:pt x="156" y="1412"/>
                    </a:lnTo>
                    <a:lnTo>
                      <a:pt x="158" y="1412"/>
                    </a:lnTo>
                    <a:lnTo>
                      <a:pt x="156" y="1410"/>
                    </a:lnTo>
                    <a:lnTo>
                      <a:pt x="154" y="1404"/>
                    </a:lnTo>
                    <a:lnTo>
                      <a:pt x="154" y="1400"/>
                    </a:lnTo>
                    <a:lnTo>
                      <a:pt x="150" y="1398"/>
                    </a:lnTo>
                    <a:close/>
                    <a:moveTo>
                      <a:pt x="732" y="1304"/>
                    </a:moveTo>
                    <a:lnTo>
                      <a:pt x="732" y="1304"/>
                    </a:lnTo>
                    <a:lnTo>
                      <a:pt x="734" y="1302"/>
                    </a:lnTo>
                    <a:lnTo>
                      <a:pt x="732" y="1300"/>
                    </a:lnTo>
                    <a:lnTo>
                      <a:pt x="730" y="1298"/>
                    </a:lnTo>
                    <a:lnTo>
                      <a:pt x="728" y="1300"/>
                    </a:lnTo>
                    <a:lnTo>
                      <a:pt x="726" y="1302"/>
                    </a:lnTo>
                    <a:lnTo>
                      <a:pt x="724" y="1302"/>
                    </a:lnTo>
                    <a:lnTo>
                      <a:pt x="722" y="1300"/>
                    </a:lnTo>
                    <a:lnTo>
                      <a:pt x="720" y="1302"/>
                    </a:lnTo>
                    <a:lnTo>
                      <a:pt x="720" y="1304"/>
                    </a:lnTo>
                    <a:lnTo>
                      <a:pt x="724" y="1306"/>
                    </a:lnTo>
                    <a:lnTo>
                      <a:pt x="732" y="1304"/>
                    </a:lnTo>
                    <a:close/>
                    <a:moveTo>
                      <a:pt x="618" y="1384"/>
                    </a:moveTo>
                    <a:lnTo>
                      <a:pt x="618" y="1384"/>
                    </a:lnTo>
                    <a:lnTo>
                      <a:pt x="622" y="1384"/>
                    </a:lnTo>
                    <a:lnTo>
                      <a:pt x="626" y="1382"/>
                    </a:lnTo>
                    <a:lnTo>
                      <a:pt x="628" y="1380"/>
                    </a:lnTo>
                    <a:lnTo>
                      <a:pt x="628" y="1378"/>
                    </a:lnTo>
                    <a:lnTo>
                      <a:pt x="622" y="1378"/>
                    </a:lnTo>
                    <a:lnTo>
                      <a:pt x="618" y="1378"/>
                    </a:lnTo>
                    <a:lnTo>
                      <a:pt x="616" y="1380"/>
                    </a:lnTo>
                    <a:lnTo>
                      <a:pt x="618" y="1384"/>
                    </a:lnTo>
                    <a:close/>
                    <a:moveTo>
                      <a:pt x="620" y="1456"/>
                    </a:moveTo>
                    <a:lnTo>
                      <a:pt x="620" y="1456"/>
                    </a:lnTo>
                    <a:lnTo>
                      <a:pt x="616" y="1454"/>
                    </a:lnTo>
                    <a:lnTo>
                      <a:pt x="618" y="1456"/>
                    </a:lnTo>
                    <a:lnTo>
                      <a:pt x="622" y="1462"/>
                    </a:lnTo>
                    <a:lnTo>
                      <a:pt x="624" y="1462"/>
                    </a:lnTo>
                    <a:lnTo>
                      <a:pt x="626" y="1464"/>
                    </a:lnTo>
                    <a:lnTo>
                      <a:pt x="624" y="1462"/>
                    </a:lnTo>
                    <a:lnTo>
                      <a:pt x="622" y="1458"/>
                    </a:lnTo>
                    <a:lnTo>
                      <a:pt x="620" y="1456"/>
                    </a:lnTo>
                    <a:close/>
                    <a:moveTo>
                      <a:pt x="630" y="1474"/>
                    </a:moveTo>
                    <a:lnTo>
                      <a:pt x="630" y="1474"/>
                    </a:lnTo>
                    <a:lnTo>
                      <a:pt x="626" y="1468"/>
                    </a:lnTo>
                    <a:lnTo>
                      <a:pt x="622" y="1466"/>
                    </a:lnTo>
                    <a:lnTo>
                      <a:pt x="622" y="1468"/>
                    </a:lnTo>
                    <a:lnTo>
                      <a:pt x="626" y="1474"/>
                    </a:lnTo>
                    <a:lnTo>
                      <a:pt x="628" y="1476"/>
                    </a:lnTo>
                    <a:lnTo>
                      <a:pt x="630" y="1474"/>
                    </a:lnTo>
                    <a:close/>
                    <a:moveTo>
                      <a:pt x="624" y="1490"/>
                    </a:moveTo>
                    <a:lnTo>
                      <a:pt x="624" y="1490"/>
                    </a:lnTo>
                    <a:lnTo>
                      <a:pt x="626" y="1490"/>
                    </a:lnTo>
                    <a:lnTo>
                      <a:pt x="626" y="1486"/>
                    </a:lnTo>
                    <a:lnTo>
                      <a:pt x="624" y="1476"/>
                    </a:lnTo>
                    <a:lnTo>
                      <a:pt x="622" y="1474"/>
                    </a:lnTo>
                    <a:lnTo>
                      <a:pt x="622" y="1476"/>
                    </a:lnTo>
                    <a:lnTo>
                      <a:pt x="622" y="1480"/>
                    </a:lnTo>
                    <a:lnTo>
                      <a:pt x="622" y="1486"/>
                    </a:lnTo>
                    <a:lnTo>
                      <a:pt x="622" y="1490"/>
                    </a:lnTo>
                    <a:lnTo>
                      <a:pt x="624" y="1490"/>
                    </a:lnTo>
                    <a:close/>
                    <a:moveTo>
                      <a:pt x="302" y="1578"/>
                    </a:moveTo>
                    <a:lnTo>
                      <a:pt x="302" y="1578"/>
                    </a:lnTo>
                    <a:lnTo>
                      <a:pt x="300" y="1580"/>
                    </a:lnTo>
                    <a:lnTo>
                      <a:pt x="300" y="1582"/>
                    </a:lnTo>
                    <a:lnTo>
                      <a:pt x="302" y="1582"/>
                    </a:lnTo>
                    <a:lnTo>
                      <a:pt x="304" y="1584"/>
                    </a:lnTo>
                    <a:lnTo>
                      <a:pt x="306" y="1582"/>
                    </a:lnTo>
                    <a:lnTo>
                      <a:pt x="306" y="1580"/>
                    </a:lnTo>
                    <a:lnTo>
                      <a:pt x="304" y="1578"/>
                    </a:lnTo>
                    <a:lnTo>
                      <a:pt x="302" y="1578"/>
                    </a:lnTo>
                    <a:close/>
                    <a:moveTo>
                      <a:pt x="160" y="1386"/>
                    </a:moveTo>
                    <a:lnTo>
                      <a:pt x="160" y="1386"/>
                    </a:lnTo>
                    <a:lnTo>
                      <a:pt x="158" y="1382"/>
                    </a:lnTo>
                    <a:lnTo>
                      <a:pt x="154" y="1378"/>
                    </a:lnTo>
                    <a:lnTo>
                      <a:pt x="150" y="1378"/>
                    </a:lnTo>
                    <a:lnTo>
                      <a:pt x="148" y="1378"/>
                    </a:lnTo>
                    <a:lnTo>
                      <a:pt x="148" y="1380"/>
                    </a:lnTo>
                    <a:lnTo>
                      <a:pt x="148" y="1382"/>
                    </a:lnTo>
                    <a:lnTo>
                      <a:pt x="152" y="1384"/>
                    </a:lnTo>
                    <a:lnTo>
                      <a:pt x="156" y="1386"/>
                    </a:lnTo>
                    <a:lnTo>
                      <a:pt x="160" y="1386"/>
                    </a:lnTo>
                    <a:close/>
                    <a:moveTo>
                      <a:pt x="320" y="1546"/>
                    </a:moveTo>
                    <a:lnTo>
                      <a:pt x="320" y="1546"/>
                    </a:lnTo>
                    <a:lnTo>
                      <a:pt x="318" y="1546"/>
                    </a:lnTo>
                    <a:lnTo>
                      <a:pt x="316" y="1546"/>
                    </a:lnTo>
                    <a:lnTo>
                      <a:pt x="314" y="1548"/>
                    </a:lnTo>
                    <a:lnTo>
                      <a:pt x="312" y="1552"/>
                    </a:lnTo>
                    <a:lnTo>
                      <a:pt x="314" y="1552"/>
                    </a:lnTo>
                    <a:lnTo>
                      <a:pt x="318" y="1552"/>
                    </a:lnTo>
                    <a:lnTo>
                      <a:pt x="318" y="1550"/>
                    </a:lnTo>
                    <a:lnTo>
                      <a:pt x="320" y="1548"/>
                    </a:lnTo>
                    <a:lnTo>
                      <a:pt x="322" y="1546"/>
                    </a:lnTo>
                    <a:lnTo>
                      <a:pt x="320" y="1546"/>
                    </a:lnTo>
                    <a:close/>
                    <a:moveTo>
                      <a:pt x="354" y="1486"/>
                    </a:moveTo>
                    <a:lnTo>
                      <a:pt x="354" y="1486"/>
                    </a:lnTo>
                    <a:lnTo>
                      <a:pt x="356" y="1488"/>
                    </a:lnTo>
                    <a:lnTo>
                      <a:pt x="356" y="1490"/>
                    </a:lnTo>
                    <a:lnTo>
                      <a:pt x="358" y="1488"/>
                    </a:lnTo>
                    <a:lnTo>
                      <a:pt x="362" y="1490"/>
                    </a:lnTo>
                    <a:lnTo>
                      <a:pt x="364" y="1492"/>
                    </a:lnTo>
                    <a:lnTo>
                      <a:pt x="364" y="1490"/>
                    </a:lnTo>
                    <a:lnTo>
                      <a:pt x="366" y="1488"/>
                    </a:lnTo>
                    <a:lnTo>
                      <a:pt x="370" y="1490"/>
                    </a:lnTo>
                    <a:lnTo>
                      <a:pt x="372" y="1492"/>
                    </a:lnTo>
                    <a:lnTo>
                      <a:pt x="372" y="1494"/>
                    </a:lnTo>
                    <a:lnTo>
                      <a:pt x="370" y="1500"/>
                    </a:lnTo>
                    <a:lnTo>
                      <a:pt x="368" y="1506"/>
                    </a:lnTo>
                    <a:lnTo>
                      <a:pt x="368" y="1508"/>
                    </a:lnTo>
                    <a:lnTo>
                      <a:pt x="370" y="1512"/>
                    </a:lnTo>
                    <a:lnTo>
                      <a:pt x="372" y="1512"/>
                    </a:lnTo>
                    <a:lnTo>
                      <a:pt x="372" y="1510"/>
                    </a:lnTo>
                    <a:lnTo>
                      <a:pt x="374" y="1502"/>
                    </a:lnTo>
                    <a:lnTo>
                      <a:pt x="376" y="1496"/>
                    </a:lnTo>
                    <a:lnTo>
                      <a:pt x="374" y="1490"/>
                    </a:lnTo>
                    <a:lnTo>
                      <a:pt x="374" y="1488"/>
                    </a:lnTo>
                    <a:lnTo>
                      <a:pt x="376" y="1484"/>
                    </a:lnTo>
                    <a:lnTo>
                      <a:pt x="380" y="1476"/>
                    </a:lnTo>
                    <a:lnTo>
                      <a:pt x="380" y="1472"/>
                    </a:lnTo>
                    <a:lnTo>
                      <a:pt x="378" y="1474"/>
                    </a:lnTo>
                    <a:lnTo>
                      <a:pt x="376" y="1476"/>
                    </a:lnTo>
                    <a:lnTo>
                      <a:pt x="376" y="1474"/>
                    </a:lnTo>
                    <a:lnTo>
                      <a:pt x="376" y="1472"/>
                    </a:lnTo>
                    <a:lnTo>
                      <a:pt x="374" y="1470"/>
                    </a:lnTo>
                    <a:lnTo>
                      <a:pt x="372" y="1470"/>
                    </a:lnTo>
                    <a:lnTo>
                      <a:pt x="372" y="1472"/>
                    </a:lnTo>
                    <a:lnTo>
                      <a:pt x="370" y="1474"/>
                    </a:lnTo>
                    <a:lnTo>
                      <a:pt x="370" y="1472"/>
                    </a:lnTo>
                    <a:lnTo>
                      <a:pt x="370" y="1462"/>
                    </a:lnTo>
                    <a:lnTo>
                      <a:pt x="370" y="1460"/>
                    </a:lnTo>
                    <a:lnTo>
                      <a:pt x="368" y="1460"/>
                    </a:lnTo>
                    <a:lnTo>
                      <a:pt x="364" y="1464"/>
                    </a:lnTo>
                    <a:lnTo>
                      <a:pt x="358" y="1468"/>
                    </a:lnTo>
                    <a:lnTo>
                      <a:pt x="358" y="1470"/>
                    </a:lnTo>
                    <a:lnTo>
                      <a:pt x="364" y="1474"/>
                    </a:lnTo>
                    <a:lnTo>
                      <a:pt x="368" y="1476"/>
                    </a:lnTo>
                    <a:lnTo>
                      <a:pt x="368" y="1480"/>
                    </a:lnTo>
                    <a:lnTo>
                      <a:pt x="366" y="1482"/>
                    </a:lnTo>
                    <a:lnTo>
                      <a:pt x="360" y="1482"/>
                    </a:lnTo>
                    <a:lnTo>
                      <a:pt x="356" y="1482"/>
                    </a:lnTo>
                    <a:lnTo>
                      <a:pt x="356" y="1484"/>
                    </a:lnTo>
                    <a:lnTo>
                      <a:pt x="354" y="1486"/>
                    </a:lnTo>
                    <a:close/>
                    <a:moveTo>
                      <a:pt x="312" y="1560"/>
                    </a:moveTo>
                    <a:lnTo>
                      <a:pt x="312" y="1560"/>
                    </a:lnTo>
                    <a:lnTo>
                      <a:pt x="312" y="1562"/>
                    </a:lnTo>
                    <a:lnTo>
                      <a:pt x="314" y="1562"/>
                    </a:lnTo>
                    <a:lnTo>
                      <a:pt x="318" y="1560"/>
                    </a:lnTo>
                    <a:lnTo>
                      <a:pt x="316" y="1558"/>
                    </a:lnTo>
                    <a:lnTo>
                      <a:pt x="314" y="1556"/>
                    </a:lnTo>
                    <a:lnTo>
                      <a:pt x="312" y="1560"/>
                    </a:lnTo>
                    <a:close/>
                    <a:moveTo>
                      <a:pt x="744" y="1294"/>
                    </a:moveTo>
                    <a:lnTo>
                      <a:pt x="744" y="1294"/>
                    </a:lnTo>
                    <a:lnTo>
                      <a:pt x="746" y="1296"/>
                    </a:lnTo>
                    <a:lnTo>
                      <a:pt x="748" y="1296"/>
                    </a:lnTo>
                    <a:lnTo>
                      <a:pt x="750" y="1294"/>
                    </a:lnTo>
                    <a:lnTo>
                      <a:pt x="752" y="1292"/>
                    </a:lnTo>
                    <a:lnTo>
                      <a:pt x="748" y="1288"/>
                    </a:lnTo>
                    <a:lnTo>
                      <a:pt x="746" y="1288"/>
                    </a:lnTo>
                    <a:lnTo>
                      <a:pt x="744" y="1290"/>
                    </a:lnTo>
                    <a:lnTo>
                      <a:pt x="744" y="1294"/>
                    </a:lnTo>
                    <a:close/>
                    <a:moveTo>
                      <a:pt x="380" y="1462"/>
                    </a:moveTo>
                    <a:lnTo>
                      <a:pt x="380" y="1462"/>
                    </a:lnTo>
                    <a:lnTo>
                      <a:pt x="382" y="1460"/>
                    </a:lnTo>
                    <a:lnTo>
                      <a:pt x="382" y="1456"/>
                    </a:lnTo>
                    <a:lnTo>
                      <a:pt x="382" y="1454"/>
                    </a:lnTo>
                    <a:lnTo>
                      <a:pt x="380" y="1454"/>
                    </a:lnTo>
                    <a:lnTo>
                      <a:pt x="378" y="1454"/>
                    </a:lnTo>
                    <a:lnTo>
                      <a:pt x="378" y="1456"/>
                    </a:lnTo>
                    <a:lnTo>
                      <a:pt x="376" y="1460"/>
                    </a:lnTo>
                    <a:lnTo>
                      <a:pt x="374" y="1462"/>
                    </a:lnTo>
                    <a:lnTo>
                      <a:pt x="376" y="1468"/>
                    </a:lnTo>
                    <a:lnTo>
                      <a:pt x="378" y="1468"/>
                    </a:lnTo>
                    <a:lnTo>
                      <a:pt x="378" y="1466"/>
                    </a:lnTo>
                    <a:lnTo>
                      <a:pt x="380" y="1464"/>
                    </a:lnTo>
                    <a:lnTo>
                      <a:pt x="380" y="1462"/>
                    </a:lnTo>
                    <a:close/>
                    <a:moveTo>
                      <a:pt x="134" y="1090"/>
                    </a:moveTo>
                    <a:lnTo>
                      <a:pt x="134" y="1090"/>
                    </a:lnTo>
                    <a:lnTo>
                      <a:pt x="148" y="1086"/>
                    </a:lnTo>
                    <a:lnTo>
                      <a:pt x="158" y="1086"/>
                    </a:lnTo>
                    <a:lnTo>
                      <a:pt x="190" y="1088"/>
                    </a:lnTo>
                    <a:lnTo>
                      <a:pt x="200" y="1088"/>
                    </a:lnTo>
                    <a:lnTo>
                      <a:pt x="202" y="1090"/>
                    </a:lnTo>
                    <a:lnTo>
                      <a:pt x="202" y="1092"/>
                    </a:lnTo>
                    <a:lnTo>
                      <a:pt x="198" y="1094"/>
                    </a:lnTo>
                    <a:lnTo>
                      <a:pt x="186" y="1100"/>
                    </a:lnTo>
                    <a:lnTo>
                      <a:pt x="182" y="1104"/>
                    </a:lnTo>
                    <a:lnTo>
                      <a:pt x="180" y="1108"/>
                    </a:lnTo>
                    <a:lnTo>
                      <a:pt x="182" y="1110"/>
                    </a:lnTo>
                    <a:lnTo>
                      <a:pt x="186" y="1112"/>
                    </a:lnTo>
                    <a:lnTo>
                      <a:pt x="196" y="1112"/>
                    </a:lnTo>
                    <a:lnTo>
                      <a:pt x="204" y="1114"/>
                    </a:lnTo>
                    <a:lnTo>
                      <a:pt x="198" y="1118"/>
                    </a:lnTo>
                    <a:lnTo>
                      <a:pt x="190" y="1120"/>
                    </a:lnTo>
                    <a:lnTo>
                      <a:pt x="182" y="1120"/>
                    </a:lnTo>
                    <a:lnTo>
                      <a:pt x="174" y="1118"/>
                    </a:lnTo>
                    <a:lnTo>
                      <a:pt x="166" y="1116"/>
                    </a:lnTo>
                    <a:lnTo>
                      <a:pt x="162" y="1116"/>
                    </a:lnTo>
                    <a:lnTo>
                      <a:pt x="156" y="1120"/>
                    </a:lnTo>
                    <a:lnTo>
                      <a:pt x="150" y="1122"/>
                    </a:lnTo>
                    <a:lnTo>
                      <a:pt x="144" y="1124"/>
                    </a:lnTo>
                    <a:lnTo>
                      <a:pt x="132" y="1124"/>
                    </a:lnTo>
                    <a:lnTo>
                      <a:pt x="122" y="1126"/>
                    </a:lnTo>
                    <a:lnTo>
                      <a:pt x="120" y="1130"/>
                    </a:lnTo>
                    <a:lnTo>
                      <a:pt x="120" y="1132"/>
                    </a:lnTo>
                    <a:lnTo>
                      <a:pt x="122" y="1136"/>
                    </a:lnTo>
                    <a:lnTo>
                      <a:pt x="124" y="1138"/>
                    </a:lnTo>
                    <a:lnTo>
                      <a:pt x="134" y="1136"/>
                    </a:lnTo>
                    <a:lnTo>
                      <a:pt x="152" y="1134"/>
                    </a:lnTo>
                    <a:lnTo>
                      <a:pt x="162" y="1134"/>
                    </a:lnTo>
                    <a:lnTo>
                      <a:pt x="174" y="1136"/>
                    </a:lnTo>
                    <a:lnTo>
                      <a:pt x="180" y="1138"/>
                    </a:lnTo>
                    <a:lnTo>
                      <a:pt x="184" y="1140"/>
                    </a:lnTo>
                    <a:lnTo>
                      <a:pt x="186" y="1142"/>
                    </a:lnTo>
                    <a:lnTo>
                      <a:pt x="186" y="1146"/>
                    </a:lnTo>
                    <a:lnTo>
                      <a:pt x="186" y="1152"/>
                    </a:lnTo>
                    <a:lnTo>
                      <a:pt x="188" y="1154"/>
                    </a:lnTo>
                    <a:lnTo>
                      <a:pt x="190" y="1156"/>
                    </a:lnTo>
                    <a:lnTo>
                      <a:pt x="198" y="1160"/>
                    </a:lnTo>
                    <a:lnTo>
                      <a:pt x="202" y="1166"/>
                    </a:lnTo>
                    <a:lnTo>
                      <a:pt x="202" y="1174"/>
                    </a:lnTo>
                    <a:lnTo>
                      <a:pt x="198" y="1184"/>
                    </a:lnTo>
                    <a:lnTo>
                      <a:pt x="196" y="1186"/>
                    </a:lnTo>
                    <a:lnTo>
                      <a:pt x="190" y="1186"/>
                    </a:lnTo>
                    <a:lnTo>
                      <a:pt x="180" y="1184"/>
                    </a:lnTo>
                    <a:lnTo>
                      <a:pt x="172" y="1184"/>
                    </a:lnTo>
                    <a:lnTo>
                      <a:pt x="170" y="1186"/>
                    </a:lnTo>
                    <a:lnTo>
                      <a:pt x="170" y="1190"/>
                    </a:lnTo>
                    <a:lnTo>
                      <a:pt x="172" y="1196"/>
                    </a:lnTo>
                    <a:lnTo>
                      <a:pt x="174" y="1198"/>
                    </a:lnTo>
                    <a:lnTo>
                      <a:pt x="176" y="1200"/>
                    </a:lnTo>
                    <a:lnTo>
                      <a:pt x="182" y="1202"/>
                    </a:lnTo>
                    <a:lnTo>
                      <a:pt x="196" y="1202"/>
                    </a:lnTo>
                    <a:lnTo>
                      <a:pt x="220" y="1200"/>
                    </a:lnTo>
                    <a:lnTo>
                      <a:pt x="232" y="1200"/>
                    </a:lnTo>
                    <a:lnTo>
                      <a:pt x="242" y="1202"/>
                    </a:lnTo>
                    <a:lnTo>
                      <a:pt x="252" y="1206"/>
                    </a:lnTo>
                    <a:lnTo>
                      <a:pt x="260" y="1208"/>
                    </a:lnTo>
                    <a:lnTo>
                      <a:pt x="274" y="1216"/>
                    </a:lnTo>
                    <a:lnTo>
                      <a:pt x="282" y="1218"/>
                    </a:lnTo>
                    <a:lnTo>
                      <a:pt x="292" y="1220"/>
                    </a:lnTo>
                    <a:lnTo>
                      <a:pt x="300" y="1220"/>
                    </a:lnTo>
                    <a:lnTo>
                      <a:pt x="308" y="1224"/>
                    </a:lnTo>
                    <a:lnTo>
                      <a:pt x="318" y="1228"/>
                    </a:lnTo>
                    <a:lnTo>
                      <a:pt x="322" y="1230"/>
                    </a:lnTo>
                    <a:lnTo>
                      <a:pt x="328" y="1232"/>
                    </a:lnTo>
                    <a:lnTo>
                      <a:pt x="336" y="1232"/>
                    </a:lnTo>
                    <a:lnTo>
                      <a:pt x="346" y="1230"/>
                    </a:lnTo>
                    <a:lnTo>
                      <a:pt x="356" y="1226"/>
                    </a:lnTo>
                    <a:lnTo>
                      <a:pt x="362" y="1222"/>
                    </a:lnTo>
                    <a:lnTo>
                      <a:pt x="368" y="1214"/>
                    </a:lnTo>
                    <a:lnTo>
                      <a:pt x="370" y="1210"/>
                    </a:lnTo>
                    <a:lnTo>
                      <a:pt x="374" y="1206"/>
                    </a:lnTo>
                    <a:lnTo>
                      <a:pt x="380" y="1206"/>
                    </a:lnTo>
                    <a:lnTo>
                      <a:pt x="388" y="1206"/>
                    </a:lnTo>
                    <a:lnTo>
                      <a:pt x="396" y="1204"/>
                    </a:lnTo>
                    <a:lnTo>
                      <a:pt x="404" y="1204"/>
                    </a:lnTo>
                    <a:lnTo>
                      <a:pt x="418" y="1198"/>
                    </a:lnTo>
                    <a:lnTo>
                      <a:pt x="452" y="1176"/>
                    </a:lnTo>
                    <a:lnTo>
                      <a:pt x="462" y="1172"/>
                    </a:lnTo>
                    <a:lnTo>
                      <a:pt x="470" y="1170"/>
                    </a:lnTo>
                    <a:lnTo>
                      <a:pt x="484" y="1168"/>
                    </a:lnTo>
                    <a:lnTo>
                      <a:pt x="488" y="1166"/>
                    </a:lnTo>
                    <a:lnTo>
                      <a:pt x="494" y="1164"/>
                    </a:lnTo>
                    <a:lnTo>
                      <a:pt x="500" y="1160"/>
                    </a:lnTo>
                    <a:lnTo>
                      <a:pt x="504" y="1154"/>
                    </a:lnTo>
                    <a:lnTo>
                      <a:pt x="514" y="1142"/>
                    </a:lnTo>
                    <a:lnTo>
                      <a:pt x="522" y="1136"/>
                    </a:lnTo>
                    <a:lnTo>
                      <a:pt x="528" y="1134"/>
                    </a:lnTo>
                    <a:lnTo>
                      <a:pt x="534" y="1126"/>
                    </a:lnTo>
                    <a:lnTo>
                      <a:pt x="540" y="1112"/>
                    </a:lnTo>
                    <a:lnTo>
                      <a:pt x="542" y="1104"/>
                    </a:lnTo>
                    <a:lnTo>
                      <a:pt x="542" y="1098"/>
                    </a:lnTo>
                    <a:lnTo>
                      <a:pt x="542" y="1090"/>
                    </a:lnTo>
                    <a:lnTo>
                      <a:pt x="538" y="1086"/>
                    </a:lnTo>
                    <a:lnTo>
                      <a:pt x="532" y="1082"/>
                    </a:lnTo>
                    <a:lnTo>
                      <a:pt x="526" y="1080"/>
                    </a:lnTo>
                    <a:lnTo>
                      <a:pt x="518" y="1078"/>
                    </a:lnTo>
                    <a:lnTo>
                      <a:pt x="514" y="1076"/>
                    </a:lnTo>
                    <a:lnTo>
                      <a:pt x="510" y="1072"/>
                    </a:lnTo>
                    <a:lnTo>
                      <a:pt x="506" y="1068"/>
                    </a:lnTo>
                    <a:lnTo>
                      <a:pt x="502" y="1066"/>
                    </a:lnTo>
                    <a:lnTo>
                      <a:pt x="496" y="1068"/>
                    </a:lnTo>
                    <a:lnTo>
                      <a:pt x="494" y="1066"/>
                    </a:lnTo>
                    <a:lnTo>
                      <a:pt x="492" y="1064"/>
                    </a:lnTo>
                    <a:lnTo>
                      <a:pt x="496" y="1058"/>
                    </a:lnTo>
                    <a:lnTo>
                      <a:pt x="500" y="1052"/>
                    </a:lnTo>
                    <a:lnTo>
                      <a:pt x="500" y="1048"/>
                    </a:lnTo>
                    <a:lnTo>
                      <a:pt x="496" y="1046"/>
                    </a:lnTo>
                    <a:lnTo>
                      <a:pt x="492" y="1046"/>
                    </a:lnTo>
                    <a:lnTo>
                      <a:pt x="486" y="1044"/>
                    </a:lnTo>
                    <a:lnTo>
                      <a:pt x="484" y="1044"/>
                    </a:lnTo>
                    <a:lnTo>
                      <a:pt x="484" y="1040"/>
                    </a:lnTo>
                    <a:lnTo>
                      <a:pt x="488" y="1036"/>
                    </a:lnTo>
                    <a:lnTo>
                      <a:pt x="500" y="1028"/>
                    </a:lnTo>
                    <a:lnTo>
                      <a:pt x="500" y="1024"/>
                    </a:lnTo>
                    <a:lnTo>
                      <a:pt x="500" y="1022"/>
                    </a:lnTo>
                    <a:lnTo>
                      <a:pt x="494" y="1022"/>
                    </a:lnTo>
                    <a:lnTo>
                      <a:pt x="484" y="1026"/>
                    </a:lnTo>
                    <a:lnTo>
                      <a:pt x="474" y="1032"/>
                    </a:lnTo>
                    <a:lnTo>
                      <a:pt x="466" y="1036"/>
                    </a:lnTo>
                    <a:lnTo>
                      <a:pt x="462" y="1036"/>
                    </a:lnTo>
                    <a:lnTo>
                      <a:pt x="460" y="1034"/>
                    </a:lnTo>
                    <a:lnTo>
                      <a:pt x="456" y="1028"/>
                    </a:lnTo>
                    <a:lnTo>
                      <a:pt x="450" y="1020"/>
                    </a:lnTo>
                    <a:lnTo>
                      <a:pt x="446" y="1016"/>
                    </a:lnTo>
                    <a:lnTo>
                      <a:pt x="442" y="1012"/>
                    </a:lnTo>
                    <a:lnTo>
                      <a:pt x="436" y="1012"/>
                    </a:lnTo>
                    <a:lnTo>
                      <a:pt x="430" y="1012"/>
                    </a:lnTo>
                    <a:lnTo>
                      <a:pt x="424" y="1014"/>
                    </a:lnTo>
                    <a:lnTo>
                      <a:pt x="420" y="1018"/>
                    </a:lnTo>
                    <a:lnTo>
                      <a:pt x="418" y="1022"/>
                    </a:lnTo>
                    <a:lnTo>
                      <a:pt x="420" y="1026"/>
                    </a:lnTo>
                    <a:lnTo>
                      <a:pt x="424" y="1034"/>
                    </a:lnTo>
                    <a:lnTo>
                      <a:pt x="424" y="1038"/>
                    </a:lnTo>
                    <a:lnTo>
                      <a:pt x="424" y="1040"/>
                    </a:lnTo>
                    <a:lnTo>
                      <a:pt x="420" y="1042"/>
                    </a:lnTo>
                    <a:lnTo>
                      <a:pt x="418" y="1042"/>
                    </a:lnTo>
                    <a:lnTo>
                      <a:pt x="406" y="1038"/>
                    </a:lnTo>
                    <a:lnTo>
                      <a:pt x="402" y="1036"/>
                    </a:lnTo>
                    <a:lnTo>
                      <a:pt x="396" y="1038"/>
                    </a:lnTo>
                    <a:lnTo>
                      <a:pt x="390" y="1046"/>
                    </a:lnTo>
                    <a:lnTo>
                      <a:pt x="386" y="1050"/>
                    </a:lnTo>
                    <a:lnTo>
                      <a:pt x="382" y="1052"/>
                    </a:lnTo>
                    <a:lnTo>
                      <a:pt x="378" y="1052"/>
                    </a:lnTo>
                    <a:lnTo>
                      <a:pt x="374" y="1048"/>
                    </a:lnTo>
                    <a:lnTo>
                      <a:pt x="362" y="1038"/>
                    </a:lnTo>
                    <a:lnTo>
                      <a:pt x="358" y="1038"/>
                    </a:lnTo>
                    <a:lnTo>
                      <a:pt x="356" y="1038"/>
                    </a:lnTo>
                    <a:lnTo>
                      <a:pt x="354" y="1038"/>
                    </a:lnTo>
                    <a:lnTo>
                      <a:pt x="352" y="1042"/>
                    </a:lnTo>
                    <a:lnTo>
                      <a:pt x="352" y="1052"/>
                    </a:lnTo>
                    <a:lnTo>
                      <a:pt x="352" y="1056"/>
                    </a:lnTo>
                    <a:lnTo>
                      <a:pt x="350" y="1058"/>
                    </a:lnTo>
                    <a:lnTo>
                      <a:pt x="350" y="1060"/>
                    </a:lnTo>
                    <a:lnTo>
                      <a:pt x="346" y="1058"/>
                    </a:lnTo>
                    <a:lnTo>
                      <a:pt x="342" y="1052"/>
                    </a:lnTo>
                    <a:lnTo>
                      <a:pt x="338" y="1042"/>
                    </a:lnTo>
                    <a:lnTo>
                      <a:pt x="336" y="1038"/>
                    </a:lnTo>
                    <a:lnTo>
                      <a:pt x="330" y="1036"/>
                    </a:lnTo>
                    <a:lnTo>
                      <a:pt x="326" y="1036"/>
                    </a:lnTo>
                    <a:lnTo>
                      <a:pt x="320" y="1038"/>
                    </a:lnTo>
                    <a:lnTo>
                      <a:pt x="314" y="1042"/>
                    </a:lnTo>
                    <a:lnTo>
                      <a:pt x="308" y="1048"/>
                    </a:lnTo>
                    <a:lnTo>
                      <a:pt x="306" y="1054"/>
                    </a:lnTo>
                    <a:lnTo>
                      <a:pt x="306" y="1060"/>
                    </a:lnTo>
                    <a:lnTo>
                      <a:pt x="304" y="1070"/>
                    </a:lnTo>
                    <a:lnTo>
                      <a:pt x="304" y="1072"/>
                    </a:lnTo>
                    <a:lnTo>
                      <a:pt x="302" y="1072"/>
                    </a:lnTo>
                    <a:lnTo>
                      <a:pt x="294" y="1066"/>
                    </a:lnTo>
                    <a:lnTo>
                      <a:pt x="286" y="1052"/>
                    </a:lnTo>
                    <a:lnTo>
                      <a:pt x="280" y="1044"/>
                    </a:lnTo>
                    <a:lnTo>
                      <a:pt x="276" y="1042"/>
                    </a:lnTo>
                    <a:lnTo>
                      <a:pt x="272" y="1040"/>
                    </a:lnTo>
                    <a:lnTo>
                      <a:pt x="268" y="1042"/>
                    </a:lnTo>
                    <a:lnTo>
                      <a:pt x="266" y="1046"/>
                    </a:lnTo>
                    <a:lnTo>
                      <a:pt x="266" y="1052"/>
                    </a:lnTo>
                    <a:lnTo>
                      <a:pt x="266" y="1056"/>
                    </a:lnTo>
                    <a:lnTo>
                      <a:pt x="268" y="1062"/>
                    </a:lnTo>
                    <a:lnTo>
                      <a:pt x="270" y="1074"/>
                    </a:lnTo>
                    <a:lnTo>
                      <a:pt x="270" y="1078"/>
                    </a:lnTo>
                    <a:lnTo>
                      <a:pt x="270" y="1080"/>
                    </a:lnTo>
                    <a:lnTo>
                      <a:pt x="266" y="1082"/>
                    </a:lnTo>
                    <a:lnTo>
                      <a:pt x="264" y="1082"/>
                    </a:lnTo>
                    <a:lnTo>
                      <a:pt x="260" y="1080"/>
                    </a:lnTo>
                    <a:lnTo>
                      <a:pt x="256" y="1074"/>
                    </a:lnTo>
                    <a:lnTo>
                      <a:pt x="252" y="1070"/>
                    </a:lnTo>
                    <a:lnTo>
                      <a:pt x="248" y="1072"/>
                    </a:lnTo>
                    <a:lnTo>
                      <a:pt x="246" y="1076"/>
                    </a:lnTo>
                    <a:lnTo>
                      <a:pt x="242" y="1082"/>
                    </a:lnTo>
                    <a:lnTo>
                      <a:pt x="240" y="1088"/>
                    </a:lnTo>
                    <a:lnTo>
                      <a:pt x="236" y="1090"/>
                    </a:lnTo>
                    <a:lnTo>
                      <a:pt x="234" y="1092"/>
                    </a:lnTo>
                    <a:lnTo>
                      <a:pt x="232" y="1090"/>
                    </a:lnTo>
                    <a:lnTo>
                      <a:pt x="228" y="1084"/>
                    </a:lnTo>
                    <a:lnTo>
                      <a:pt x="226" y="1076"/>
                    </a:lnTo>
                    <a:lnTo>
                      <a:pt x="226" y="1070"/>
                    </a:lnTo>
                    <a:lnTo>
                      <a:pt x="228" y="1060"/>
                    </a:lnTo>
                    <a:lnTo>
                      <a:pt x="228" y="1058"/>
                    </a:lnTo>
                    <a:lnTo>
                      <a:pt x="228" y="1054"/>
                    </a:lnTo>
                    <a:lnTo>
                      <a:pt x="224" y="1050"/>
                    </a:lnTo>
                    <a:lnTo>
                      <a:pt x="216" y="1046"/>
                    </a:lnTo>
                    <a:lnTo>
                      <a:pt x="204" y="1036"/>
                    </a:lnTo>
                    <a:lnTo>
                      <a:pt x="200" y="1030"/>
                    </a:lnTo>
                    <a:lnTo>
                      <a:pt x="194" y="1026"/>
                    </a:lnTo>
                    <a:lnTo>
                      <a:pt x="184" y="1020"/>
                    </a:lnTo>
                    <a:lnTo>
                      <a:pt x="174" y="1018"/>
                    </a:lnTo>
                    <a:lnTo>
                      <a:pt x="168" y="1018"/>
                    </a:lnTo>
                    <a:lnTo>
                      <a:pt x="162" y="1018"/>
                    </a:lnTo>
                    <a:lnTo>
                      <a:pt x="158" y="1020"/>
                    </a:lnTo>
                    <a:lnTo>
                      <a:pt x="154" y="1024"/>
                    </a:lnTo>
                    <a:lnTo>
                      <a:pt x="152" y="1026"/>
                    </a:lnTo>
                    <a:lnTo>
                      <a:pt x="152" y="1030"/>
                    </a:lnTo>
                    <a:lnTo>
                      <a:pt x="154" y="1032"/>
                    </a:lnTo>
                    <a:lnTo>
                      <a:pt x="162" y="1038"/>
                    </a:lnTo>
                    <a:lnTo>
                      <a:pt x="170" y="1042"/>
                    </a:lnTo>
                    <a:lnTo>
                      <a:pt x="180" y="1048"/>
                    </a:lnTo>
                    <a:lnTo>
                      <a:pt x="186" y="1054"/>
                    </a:lnTo>
                    <a:lnTo>
                      <a:pt x="188" y="1058"/>
                    </a:lnTo>
                    <a:lnTo>
                      <a:pt x="186" y="1058"/>
                    </a:lnTo>
                    <a:lnTo>
                      <a:pt x="178" y="1056"/>
                    </a:lnTo>
                    <a:lnTo>
                      <a:pt x="166" y="1048"/>
                    </a:lnTo>
                    <a:lnTo>
                      <a:pt x="154" y="1040"/>
                    </a:lnTo>
                    <a:lnTo>
                      <a:pt x="148" y="1038"/>
                    </a:lnTo>
                    <a:lnTo>
                      <a:pt x="144" y="1036"/>
                    </a:lnTo>
                    <a:lnTo>
                      <a:pt x="140" y="1038"/>
                    </a:lnTo>
                    <a:lnTo>
                      <a:pt x="136" y="1040"/>
                    </a:lnTo>
                    <a:lnTo>
                      <a:pt x="130" y="1048"/>
                    </a:lnTo>
                    <a:lnTo>
                      <a:pt x="128" y="1058"/>
                    </a:lnTo>
                    <a:lnTo>
                      <a:pt x="128" y="1064"/>
                    </a:lnTo>
                    <a:lnTo>
                      <a:pt x="126" y="1066"/>
                    </a:lnTo>
                    <a:lnTo>
                      <a:pt x="122" y="1068"/>
                    </a:lnTo>
                    <a:lnTo>
                      <a:pt x="118" y="1068"/>
                    </a:lnTo>
                    <a:lnTo>
                      <a:pt x="116" y="1070"/>
                    </a:lnTo>
                    <a:lnTo>
                      <a:pt x="116" y="1074"/>
                    </a:lnTo>
                    <a:lnTo>
                      <a:pt x="114" y="1080"/>
                    </a:lnTo>
                    <a:lnTo>
                      <a:pt x="112" y="1080"/>
                    </a:lnTo>
                    <a:lnTo>
                      <a:pt x="106" y="1078"/>
                    </a:lnTo>
                    <a:lnTo>
                      <a:pt x="102" y="1078"/>
                    </a:lnTo>
                    <a:lnTo>
                      <a:pt x="98" y="1080"/>
                    </a:lnTo>
                    <a:lnTo>
                      <a:pt x="96" y="1082"/>
                    </a:lnTo>
                    <a:lnTo>
                      <a:pt x="96" y="1084"/>
                    </a:lnTo>
                    <a:lnTo>
                      <a:pt x="100" y="1086"/>
                    </a:lnTo>
                    <a:lnTo>
                      <a:pt x="104" y="1090"/>
                    </a:lnTo>
                    <a:lnTo>
                      <a:pt x="118" y="1092"/>
                    </a:lnTo>
                    <a:lnTo>
                      <a:pt x="126" y="1092"/>
                    </a:lnTo>
                    <a:lnTo>
                      <a:pt x="134" y="1090"/>
                    </a:lnTo>
                    <a:close/>
                    <a:moveTo>
                      <a:pt x="306" y="1550"/>
                    </a:moveTo>
                    <a:lnTo>
                      <a:pt x="306" y="1550"/>
                    </a:lnTo>
                    <a:lnTo>
                      <a:pt x="304" y="1546"/>
                    </a:lnTo>
                    <a:lnTo>
                      <a:pt x="302" y="1544"/>
                    </a:lnTo>
                    <a:lnTo>
                      <a:pt x="300" y="1544"/>
                    </a:lnTo>
                    <a:lnTo>
                      <a:pt x="300" y="1546"/>
                    </a:lnTo>
                    <a:lnTo>
                      <a:pt x="302" y="1548"/>
                    </a:lnTo>
                    <a:lnTo>
                      <a:pt x="306" y="1550"/>
                    </a:lnTo>
                    <a:close/>
                    <a:moveTo>
                      <a:pt x="294" y="1582"/>
                    </a:moveTo>
                    <a:lnTo>
                      <a:pt x="294" y="1582"/>
                    </a:lnTo>
                    <a:lnTo>
                      <a:pt x="296" y="1580"/>
                    </a:lnTo>
                    <a:lnTo>
                      <a:pt x="294" y="1576"/>
                    </a:lnTo>
                    <a:lnTo>
                      <a:pt x="290" y="1572"/>
                    </a:lnTo>
                    <a:lnTo>
                      <a:pt x="288" y="1572"/>
                    </a:lnTo>
                    <a:lnTo>
                      <a:pt x="286" y="1574"/>
                    </a:lnTo>
                    <a:lnTo>
                      <a:pt x="286" y="1576"/>
                    </a:lnTo>
                    <a:lnTo>
                      <a:pt x="290" y="1580"/>
                    </a:lnTo>
                    <a:lnTo>
                      <a:pt x="294" y="1582"/>
                    </a:lnTo>
                    <a:close/>
                    <a:moveTo>
                      <a:pt x="134" y="1350"/>
                    </a:moveTo>
                    <a:lnTo>
                      <a:pt x="134" y="1350"/>
                    </a:lnTo>
                    <a:lnTo>
                      <a:pt x="134" y="1354"/>
                    </a:lnTo>
                    <a:lnTo>
                      <a:pt x="134" y="1356"/>
                    </a:lnTo>
                    <a:lnTo>
                      <a:pt x="138" y="1360"/>
                    </a:lnTo>
                    <a:lnTo>
                      <a:pt x="140" y="1362"/>
                    </a:lnTo>
                    <a:lnTo>
                      <a:pt x="144" y="1364"/>
                    </a:lnTo>
                    <a:lnTo>
                      <a:pt x="150" y="1372"/>
                    </a:lnTo>
                    <a:lnTo>
                      <a:pt x="154" y="1374"/>
                    </a:lnTo>
                    <a:lnTo>
                      <a:pt x="154" y="1370"/>
                    </a:lnTo>
                    <a:lnTo>
                      <a:pt x="152" y="1364"/>
                    </a:lnTo>
                    <a:lnTo>
                      <a:pt x="148" y="1360"/>
                    </a:lnTo>
                    <a:lnTo>
                      <a:pt x="146" y="1358"/>
                    </a:lnTo>
                    <a:lnTo>
                      <a:pt x="144" y="1358"/>
                    </a:lnTo>
                    <a:lnTo>
                      <a:pt x="142" y="1354"/>
                    </a:lnTo>
                    <a:lnTo>
                      <a:pt x="140" y="1350"/>
                    </a:lnTo>
                    <a:lnTo>
                      <a:pt x="136" y="1348"/>
                    </a:lnTo>
                    <a:lnTo>
                      <a:pt x="134" y="1348"/>
                    </a:lnTo>
                    <a:lnTo>
                      <a:pt x="134" y="1350"/>
                    </a:lnTo>
                    <a:close/>
                    <a:moveTo>
                      <a:pt x="138" y="1658"/>
                    </a:moveTo>
                    <a:lnTo>
                      <a:pt x="138" y="1658"/>
                    </a:lnTo>
                    <a:lnTo>
                      <a:pt x="140" y="1652"/>
                    </a:lnTo>
                    <a:lnTo>
                      <a:pt x="138" y="1650"/>
                    </a:lnTo>
                    <a:lnTo>
                      <a:pt x="136" y="1650"/>
                    </a:lnTo>
                    <a:lnTo>
                      <a:pt x="132" y="1652"/>
                    </a:lnTo>
                    <a:lnTo>
                      <a:pt x="128" y="1652"/>
                    </a:lnTo>
                    <a:lnTo>
                      <a:pt x="124" y="1652"/>
                    </a:lnTo>
                    <a:lnTo>
                      <a:pt x="122" y="1654"/>
                    </a:lnTo>
                    <a:lnTo>
                      <a:pt x="120" y="1656"/>
                    </a:lnTo>
                    <a:lnTo>
                      <a:pt x="122" y="1656"/>
                    </a:lnTo>
                    <a:lnTo>
                      <a:pt x="126" y="1660"/>
                    </a:lnTo>
                    <a:lnTo>
                      <a:pt x="134" y="1660"/>
                    </a:lnTo>
                    <a:lnTo>
                      <a:pt x="136" y="1660"/>
                    </a:lnTo>
                    <a:lnTo>
                      <a:pt x="138" y="1658"/>
                    </a:lnTo>
                    <a:close/>
                    <a:moveTo>
                      <a:pt x="124" y="1360"/>
                    </a:moveTo>
                    <a:lnTo>
                      <a:pt x="124" y="1360"/>
                    </a:lnTo>
                    <a:lnTo>
                      <a:pt x="122" y="1360"/>
                    </a:lnTo>
                    <a:lnTo>
                      <a:pt x="124" y="1362"/>
                    </a:lnTo>
                    <a:lnTo>
                      <a:pt x="132" y="1368"/>
                    </a:lnTo>
                    <a:lnTo>
                      <a:pt x="134" y="1370"/>
                    </a:lnTo>
                    <a:lnTo>
                      <a:pt x="138" y="1368"/>
                    </a:lnTo>
                    <a:lnTo>
                      <a:pt x="138" y="1366"/>
                    </a:lnTo>
                    <a:lnTo>
                      <a:pt x="136" y="1362"/>
                    </a:lnTo>
                    <a:lnTo>
                      <a:pt x="132" y="1358"/>
                    </a:lnTo>
                    <a:lnTo>
                      <a:pt x="130" y="1358"/>
                    </a:lnTo>
                    <a:lnTo>
                      <a:pt x="124" y="1360"/>
                    </a:lnTo>
                    <a:close/>
                    <a:moveTo>
                      <a:pt x="162" y="1352"/>
                    </a:moveTo>
                    <a:lnTo>
                      <a:pt x="162" y="1352"/>
                    </a:lnTo>
                    <a:lnTo>
                      <a:pt x="162" y="1348"/>
                    </a:lnTo>
                    <a:lnTo>
                      <a:pt x="160" y="1344"/>
                    </a:lnTo>
                    <a:lnTo>
                      <a:pt x="160" y="1350"/>
                    </a:lnTo>
                    <a:lnTo>
                      <a:pt x="160" y="1352"/>
                    </a:lnTo>
                    <a:lnTo>
                      <a:pt x="162" y="1352"/>
                    </a:lnTo>
                    <a:close/>
                    <a:moveTo>
                      <a:pt x="128" y="1670"/>
                    </a:moveTo>
                    <a:lnTo>
                      <a:pt x="128" y="1670"/>
                    </a:lnTo>
                    <a:lnTo>
                      <a:pt x="126" y="1670"/>
                    </a:lnTo>
                    <a:lnTo>
                      <a:pt x="124" y="1672"/>
                    </a:lnTo>
                    <a:lnTo>
                      <a:pt x="122" y="1678"/>
                    </a:lnTo>
                    <a:lnTo>
                      <a:pt x="124" y="1686"/>
                    </a:lnTo>
                    <a:lnTo>
                      <a:pt x="126" y="1688"/>
                    </a:lnTo>
                    <a:lnTo>
                      <a:pt x="128" y="1688"/>
                    </a:lnTo>
                    <a:lnTo>
                      <a:pt x="130" y="1688"/>
                    </a:lnTo>
                    <a:lnTo>
                      <a:pt x="130" y="1684"/>
                    </a:lnTo>
                    <a:lnTo>
                      <a:pt x="128" y="1682"/>
                    </a:lnTo>
                    <a:lnTo>
                      <a:pt x="128" y="1680"/>
                    </a:lnTo>
                    <a:lnTo>
                      <a:pt x="130" y="1678"/>
                    </a:lnTo>
                    <a:lnTo>
                      <a:pt x="132" y="1674"/>
                    </a:lnTo>
                    <a:lnTo>
                      <a:pt x="130" y="1672"/>
                    </a:lnTo>
                    <a:lnTo>
                      <a:pt x="128" y="1670"/>
                    </a:lnTo>
                    <a:close/>
                    <a:moveTo>
                      <a:pt x="238" y="1920"/>
                    </a:moveTo>
                    <a:lnTo>
                      <a:pt x="238" y="1920"/>
                    </a:lnTo>
                    <a:lnTo>
                      <a:pt x="236" y="1924"/>
                    </a:lnTo>
                    <a:lnTo>
                      <a:pt x="238" y="1926"/>
                    </a:lnTo>
                    <a:lnTo>
                      <a:pt x="240" y="1930"/>
                    </a:lnTo>
                    <a:lnTo>
                      <a:pt x="246" y="1930"/>
                    </a:lnTo>
                    <a:lnTo>
                      <a:pt x="248" y="1930"/>
                    </a:lnTo>
                    <a:lnTo>
                      <a:pt x="252" y="1926"/>
                    </a:lnTo>
                    <a:lnTo>
                      <a:pt x="252" y="1924"/>
                    </a:lnTo>
                    <a:lnTo>
                      <a:pt x="254" y="1920"/>
                    </a:lnTo>
                    <a:lnTo>
                      <a:pt x="252" y="1918"/>
                    </a:lnTo>
                    <a:lnTo>
                      <a:pt x="250" y="1916"/>
                    </a:lnTo>
                    <a:lnTo>
                      <a:pt x="248" y="1914"/>
                    </a:lnTo>
                    <a:lnTo>
                      <a:pt x="244" y="1916"/>
                    </a:lnTo>
                    <a:lnTo>
                      <a:pt x="240" y="1916"/>
                    </a:lnTo>
                    <a:lnTo>
                      <a:pt x="238" y="1920"/>
                    </a:lnTo>
                    <a:close/>
                    <a:moveTo>
                      <a:pt x="232" y="1878"/>
                    </a:moveTo>
                    <a:lnTo>
                      <a:pt x="232" y="1878"/>
                    </a:lnTo>
                    <a:lnTo>
                      <a:pt x="236" y="1878"/>
                    </a:lnTo>
                    <a:lnTo>
                      <a:pt x="240" y="1876"/>
                    </a:lnTo>
                    <a:lnTo>
                      <a:pt x="246" y="1870"/>
                    </a:lnTo>
                    <a:lnTo>
                      <a:pt x="248" y="1862"/>
                    </a:lnTo>
                    <a:lnTo>
                      <a:pt x="246" y="1858"/>
                    </a:lnTo>
                    <a:lnTo>
                      <a:pt x="244" y="1856"/>
                    </a:lnTo>
                    <a:lnTo>
                      <a:pt x="240" y="1858"/>
                    </a:lnTo>
                    <a:lnTo>
                      <a:pt x="234" y="1866"/>
                    </a:lnTo>
                    <a:lnTo>
                      <a:pt x="230" y="1874"/>
                    </a:lnTo>
                    <a:lnTo>
                      <a:pt x="230" y="1876"/>
                    </a:lnTo>
                    <a:lnTo>
                      <a:pt x="232" y="1878"/>
                    </a:lnTo>
                    <a:close/>
                    <a:moveTo>
                      <a:pt x="290" y="1568"/>
                    </a:moveTo>
                    <a:lnTo>
                      <a:pt x="290" y="1568"/>
                    </a:lnTo>
                    <a:lnTo>
                      <a:pt x="294" y="1572"/>
                    </a:lnTo>
                    <a:lnTo>
                      <a:pt x="298" y="1572"/>
                    </a:lnTo>
                    <a:lnTo>
                      <a:pt x="302" y="1572"/>
                    </a:lnTo>
                    <a:lnTo>
                      <a:pt x="304" y="1572"/>
                    </a:lnTo>
                    <a:lnTo>
                      <a:pt x="306" y="1574"/>
                    </a:lnTo>
                    <a:lnTo>
                      <a:pt x="310" y="1574"/>
                    </a:lnTo>
                    <a:lnTo>
                      <a:pt x="312" y="1572"/>
                    </a:lnTo>
                    <a:lnTo>
                      <a:pt x="312" y="1570"/>
                    </a:lnTo>
                    <a:lnTo>
                      <a:pt x="310" y="1568"/>
                    </a:lnTo>
                    <a:lnTo>
                      <a:pt x="310" y="1570"/>
                    </a:lnTo>
                    <a:lnTo>
                      <a:pt x="308" y="1570"/>
                    </a:lnTo>
                    <a:lnTo>
                      <a:pt x="308" y="1568"/>
                    </a:lnTo>
                    <a:lnTo>
                      <a:pt x="304" y="1566"/>
                    </a:lnTo>
                    <a:lnTo>
                      <a:pt x="302" y="1566"/>
                    </a:lnTo>
                    <a:lnTo>
                      <a:pt x="300" y="1566"/>
                    </a:lnTo>
                    <a:lnTo>
                      <a:pt x="300" y="1564"/>
                    </a:lnTo>
                    <a:lnTo>
                      <a:pt x="302" y="1560"/>
                    </a:lnTo>
                    <a:lnTo>
                      <a:pt x="300" y="1560"/>
                    </a:lnTo>
                    <a:lnTo>
                      <a:pt x="296" y="1556"/>
                    </a:lnTo>
                    <a:lnTo>
                      <a:pt x="292" y="1556"/>
                    </a:lnTo>
                    <a:lnTo>
                      <a:pt x="290" y="1560"/>
                    </a:lnTo>
                    <a:lnTo>
                      <a:pt x="288" y="1564"/>
                    </a:lnTo>
                    <a:lnTo>
                      <a:pt x="290" y="1568"/>
                    </a:lnTo>
                    <a:close/>
                    <a:moveTo>
                      <a:pt x="208" y="1778"/>
                    </a:moveTo>
                    <a:lnTo>
                      <a:pt x="208" y="1778"/>
                    </a:lnTo>
                    <a:lnTo>
                      <a:pt x="206" y="1784"/>
                    </a:lnTo>
                    <a:lnTo>
                      <a:pt x="206" y="1788"/>
                    </a:lnTo>
                    <a:lnTo>
                      <a:pt x="210" y="1792"/>
                    </a:lnTo>
                    <a:lnTo>
                      <a:pt x="214" y="1792"/>
                    </a:lnTo>
                    <a:lnTo>
                      <a:pt x="216" y="1792"/>
                    </a:lnTo>
                    <a:lnTo>
                      <a:pt x="218" y="1788"/>
                    </a:lnTo>
                    <a:lnTo>
                      <a:pt x="216" y="1782"/>
                    </a:lnTo>
                    <a:lnTo>
                      <a:pt x="212" y="1776"/>
                    </a:lnTo>
                    <a:lnTo>
                      <a:pt x="210" y="1776"/>
                    </a:lnTo>
                    <a:lnTo>
                      <a:pt x="208" y="1778"/>
                    </a:lnTo>
                    <a:close/>
                    <a:moveTo>
                      <a:pt x="618" y="1434"/>
                    </a:moveTo>
                    <a:lnTo>
                      <a:pt x="618" y="1434"/>
                    </a:lnTo>
                    <a:lnTo>
                      <a:pt x="620" y="1434"/>
                    </a:lnTo>
                    <a:lnTo>
                      <a:pt x="622" y="1430"/>
                    </a:lnTo>
                    <a:lnTo>
                      <a:pt x="622" y="1428"/>
                    </a:lnTo>
                    <a:lnTo>
                      <a:pt x="620" y="1426"/>
                    </a:lnTo>
                    <a:lnTo>
                      <a:pt x="616" y="1430"/>
                    </a:lnTo>
                    <a:lnTo>
                      <a:pt x="616" y="1432"/>
                    </a:lnTo>
                    <a:lnTo>
                      <a:pt x="618" y="1434"/>
                    </a:lnTo>
                    <a:close/>
                    <a:moveTo>
                      <a:pt x="882" y="1770"/>
                    </a:moveTo>
                    <a:lnTo>
                      <a:pt x="882" y="1770"/>
                    </a:lnTo>
                    <a:lnTo>
                      <a:pt x="876" y="1774"/>
                    </a:lnTo>
                    <a:lnTo>
                      <a:pt x="870" y="1774"/>
                    </a:lnTo>
                    <a:lnTo>
                      <a:pt x="866" y="1772"/>
                    </a:lnTo>
                    <a:lnTo>
                      <a:pt x="860" y="1774"/>
                    </a:lnTo>
                    <a:lnTo>
                      <a:pt x="860" y="1776"/>
                    </a:lnTo>
                    <a:lnTo>
                      <a:pt x="864" y="1778"/>
                    </a:lnTo>
                    <a:lnTo>
                      <a:pt x="870" y="1782"/>
                    </a:lnTo>
                    <a:lnTo>
                      <a:pt x="870" y="1784"/>
                    </a:lnTo>
                    <a:lnTo>
                      <a:pt x="870" y="1786"/>
                    </a:lnTo>
                    <a:lnTo>
                      <a:pt x="870" y="1788"/>
                    </a:lnTo>
                    <a:lnTo>
                      <a:pt x="872" y="1790"/>
                    </a:lnTo>
                    <a:lnTo>
                      <a:pt x="874" y="1792"/>
                    </a:lnTo>
                    <a:lnTo>
                      <a:pt x="872" y="1796"/>
                    </a:lnTo>
                    <a:lnTo>
                      <a:pt x="870" y="1798"/>
                    </a:lnTo>
                    <a:lnTo>
                      <a:pt x="872" y="1800"/>
                    </a:lnTo>
                    <a:lnTo>
                      <a:pt x="874" y="1800"/>
                    </a:lnTo>
                    <a:lnTo>
                      <a:pt x="876" y="1804"/>
                    </a:lnTo>
                    <a:lnTo>
                      <a:pt x="876" y="1806"/>
                    </a:lnTo>
                    <a:lnTo>
                      <a:pt x="878" y="1806"/>
                    </a:lnTo>
                    <a:lnTo>
                      <a:pt x="882" y="1806"/>
                    </a:lnTo>
                    <a:lnTo>
                      <a:pt x="886" y="1806"/>
                    </a:lnTo>
                    <a:lnTo>
                      <a:pt x="888" y="1808"/>
                    </a:lnTo>
                    <a:lnTo>
                      <a:pt x="892" y="1806"/>
                    </a:lnTo>
                    <a:lnTo>
                      <a:pt x="894" y="1808"/>
                    </a:lnTo>
                    <a:lnTo>
                      <a:pt x="896" y="1810"/>
                    </a:lnTo>
                    <a:lnTo>
                      <a:pt x="896" y="1814"/>
                    </a:lnTo>
                    <a:lnTo>
                      <a:pt x="894" y="1814"/>
                    </a:lnTo>
                    <a:lnTo>
                      <a:pt x="892" y="1814"/>
                    </a:lnTo>
                    <a:lnTo>
                      <a:pt x="890" y="1816"/>
                    </a:lnTo>
                    <a:lnTo>
                      <a:pt x="892" y="1816"/>
                    </a:lnTo>
                    <a:lnTo>
                      <a:pt x="894" y="1818"/>
                    </a:lnTo>
                    <a:lnTo>
                      <a:pt x="898" y="1820"/>
                    </a:lnTo>
                    <a:lnTo>
                      <a:pt x="898" y="1822"/>
                    </a:lnTo>
                    <a:lnTo>
                      <a:pt x="896" y="1824"/>
                    </a:lnTo>
                    <a:lnTo>
                      <a:pt x="896" y="1826"/>
                    </a:lnTo>
                    <a:lnTo>
                      <a:pt x="900" y="1832"/>
                    </a:lnTo>
                    <a:lnTo>
                      <a:pt x="902" y="1836"/>
                    </a:lnTo>
                    <a:lnTo>
                      <a:pt x="904" y="1840"/>
                    </a:lnTo>
                    <a:lnTo>
                      <a:pt x="904" y="1844"/>
                    </a:lnTo>
                    <a:lnTo>
                      <a:pt x="906" y="1846"/>
                    </a:lnTo>
                    <a:lnTo>
                      <a:pt x="906" y="1848"/>
                    </a:lnTo>
                    <a:lnTo>
                      <a:pt x="908" y="1848"/>
                    </a:lnTo>
                    <a:lnTo>
                      <a:pt x="908" y="1844"/>
                    </a:lnTo>
                    <a:lnTo>
                      <a:pt x="908" y="1838"/>
                    </a:lnTo>
                    <a:lnTo>
                      <a:pt x="910" y="1834"/>
                    </a:lnTo>
                    <a:lnTo>
                      <a:pt x="912" y="1832"/>
                    </a:lnTo>
                    <a:lnTo>
                      <a:pt x="912" y="1828"/>
                    </a:lnTo>
                    <a:lnTo>
                      <a:pt x="908" y="1824"/>
                    </a:lnTo>
                    <a:lnTo>
                      <a:pt x="902" y="1822"/>
                    </a:lnTo>
                    <a:lnTo>
                      <a:pt x="904" y="1822"/>
                    </a:lnTo>
                    <a:lnTo>
                      <a:pt x="906" y="1820"/>
                    </a:lnTo>
                    <a:lnTo>
                      <a:pt x="910" y="1820"/>
                    </a:lnTo>
                    <a:lnTo>
                      <a:pt x="912" y="1818"/>
                    </a:lnTo>
                    <a:lnTo>
                      <a:pt x="912" y="1816"/>
                    </a:lnTo>
                    <a:lnTo>
                      <a:pt x="912" y="1812"/>
                    </a:lnTo>
                    <a:lnTo>
                      <a:pt x="912" y="1810"/>
                    </a:lnTo>
                    <a:lnTo>
                      <a:pt x="912" y="1808"/>
                    </a:lnTo>
                    <a:lnTo>
                      <a:pt x="918" y="1804"/>
                    </a:lnTo>
                    <a:lnTo>
                      <a:pt x="924" y="1802"/>
                    </a:lnTo>
                    <a:lnTo>
                      <a:pt x="926" y="1800"/>
                    </a:lnTo>
                    <a:lnTo>
                      <a:pt x="924" y="1798"/>
                    </a:lnTo>
                    <a:lnTo>
                      <a:pt x="918" y="1794"/>
                    </a:lnTo>
                    <a:lnTo>
                      <a:pt x="914" y="1790"/>
                    </a:lnTo>
                    <a:lnTo>
                      <a:pt x="914" y="1788"/>
                    </a:lnTo>
                    <a:lnTo>
                      <a:pt x="916" y="1784"/>
                    </a:lnTo>
                    <a:lnTo>
                      <a:pt x="922" y="1782"/>
                    </a:lnTo>
                    <a:lnTo>
                      <a:pt x="926" y="1782"/>
                    </a:lnTo>
                    <a:lnTo>
                      <a:pt x="928" y="1778"/>
                    </a:lnTo>
                    <a:lnTo>
                      <a:pt x="928" y="1772"/>
                    </a:lnTo>
                    <a:lnTo>
                      <a:pt x="928" y="1764"/>
                    </a:lnTo>
                    <a:lnTo>
                      <a:pt x="930" y="1758"/>
                    </a:lnTo>
                    <a:lnTo>
                      <a:pt x="932" y="1754"/>
                    </a:lnTo>
                    <a:lnTo>
                      <a:pt x="930" y="1752"/>
                    </a:lnTo>
                    <a:lnTo>
                      <a:pt x="920" y="1750"/>
                    </a:lnTo>
                    <a:lnTo>
                      <a:pt x="914" y="1750"/>
                    </a:lnTo>
                    <a:lnTo>
                      <a:pt x="908" y="1752"/>
                    </a:lnTo>
                    <a:lnTo>
                      <a:pt x="904" y="1756"/>
                    </a:lnTo>
                    <a:lnTo>
                      <a:pt x="902" y="1760"/>
                    </a:lnTo>
                    <a:lnTo>
                      <a:pt x="904" y="1762"/>
                    </a:lnTo>
                    <a:lnTo>
                      <a:pt x="904" y="1764"/>
                    </a:lnTo>
                    <a:lnTo>
                      <a:pt x="900" y="1772"/>
                    </a:lnTo>
                    <a:lnTo>
                      <a:pt x="898" y="1776"/>
                    </a:lnTo>
                    <a:lnTo>
                      <a:pt x="896" y="1774"/>
                    </a:lnTo>
                    <a:lnTo>
                      <a:pt x="896" y="1770"/>
                    </a:lnTo>
                    <a:lnTo>
                      <a:pt x="898" y="1762"/>
                    </a:lnTo>
                    <a:lnTo>
                      <a:pt x="896" y="1760"/>
                    </a:lnTo>
                    <a:lnTo>
                      <a:pt x="894" y="1760"/>
                    </a:lnTo>
                    <a:lnTo>
                      <a:pt x="890" y="1760"/>
                    </a:lnTo>
                    <a:lnTo>
                      <a:pt x="884" y="1758"/>
                    </a:lnTo>
                    <a:lnTo>
                      <a:pt x="880" y="1758"/>
                    </a:lnTo>
                    <a:lnTo>
                      <a:pt x="876" y="1758"/>
                    </a:lnTo>
                    <a:lnTo>
                      <a:pt x="878" y="1760"/>
                    </a:lnTo>
                    <a:lnTo>
                      <a:pt x="882" y="1762"/>
                    </a:lnTo>
                    <a:lnTo>
                      <a:pt x="886" y="1764"/>
                    </a:lnTo>
                    <a:lnTo>
                      <a:pt x="884" y="1768"/>
                    </a:lnTo>
                    <a:lnTo>
                      <a:pt x="882" y="1770"/>
                    </a:lnTo>
                    <a:close/>
                    <a:moveTo>
                      <a:pt x="850" y="1762"/>
                    </a:moveTo>
                    <a:lnTo>
                      <a:pt x="850" y="1762"/>
                    </a:lnTo>
                    <a:lnTo>
                      <a:pt x="848" y="1760"/>
                    </a:lnTo>
                    <a:lnTo>
                      <a:pt x="846" y="1764"/>
                    </a:lnTo>
                    <a:lnTo>
                      <a:pt x="848" y="1768"/>
                    </a:lnTo>
                    <a:lnTo>
                      <a:pt x="848" y="1772"/>
                    </a:lnTo>
                    <a:lnTo>
                      <a:pt x="850" y="1772"/>
                    </a:lnTo>
                    <a:lnTo>
                      <a:pt x="850" y="1770"/>
                    </a:lnTo>
                    <a:lnTo>
                      <a:pt x="852" y="1766"/>
                    </a:lnTo>
                    <a:lnTo>
                      <a:pt x="850" y="1762"/>
                    </a:lnTo>
                    <a:close/>
                    <a:moveTo>
                      <a:pt x="834" y="1814"/>
                    </a:moveTo>
                    <a:lnTo>
                      <a:pt x="834" y="1814"/>
                    </a:lnTo>
                    <a:lnTo>
                      <a:pt x="846" y="1816"/>
                    </a:lnTo>
                    <a:lnTo>
                      <a:pt x="852" y="1814"/>
                    </a:lnTo>
                    <a:lnTo>
                      <a:pt x="856" y="1812"/>
                    </a:lnTo>
                    <a:lnTo>
                      <a:pt x="858" y="1808"/>
                    </a:lnTo>
                    <a:lnTo>
                      <a:pt x="858" y="1806"/>
                    </a:lnTo>
                    <a:lnTo>
                      <a:pt x="858" y="1800"/>
                    </a:lnTo>
                    <a:lnTo>
                      <a:pt x="856" y="1794"/>
                    </a:lnTo>
                    <a:lnTo>
                      <a:pt x="856" y="1790"/>
                    </a:lnTo>
                    <a:lnTo>
                      <a:pt x="856" y="1788"/>
                    </a:lnTo>
                    <a:lnTo>
                      <a:pt x="852" y="1784"/>
                    </a:lnTo>
                    <a:lnTo>
                      <a:pt x="850" y="1782"/>
                    </a:lnTo>
                    <a:lnTo>
                      <a:pt x="850" y="1784"/>
                    </a:lnTo>
                    <a:lnTo>
                      <a:pt x="848" y="1786"/>
                    </a:lnTo>
                    <a:lnTo>
                      <a:pt x="840" y="1782"/>
                    </a:lnTo>
                    <a:lnTo>
                      <a:pt x="836" y="1782"/>
                    </a:lnTo>
                    <a:lnTo>
                      <a:pt x="830" y="1784"/>
                    </a:lnTo>
                    <a:lnTo>
                      <a:pt x="824" y="1786"/>
                    </a:lnTo>
                    <a:lnTo>
                      <a:pt x="818" y="1786"/>
                    </a:lnTo>
                    <a:lnTo>
                      <a:pt x="816" y="1786"/>
                    </a:lnTo>
                    <a:lnTo>
                      <a:pt x="814" y="1788"/>
                    </a:lnTo>
                    <a:lnTo>
                      <a:pt x="814" y="1790"/>
                    </a:lnTo>
                    <a:lnTo>
                      <a:pt x="816" y="1792"/>
                    </a:lnTo>
                    <a:lnTo>
                      <a:pt x="820" y="1798"/>
                    </a:lnTo>
                    <a:lnTo>
                      <a:pt x="824" y="1806"/>
                    </a:lnTo>
                    <a:lnTo>
                      <a:pt x="824" y="1810"/>
                    </a:lnTo>
                    <a:lnTo>
                      <a:pt x="826" y="1808"/>
                    </a:lnTo>
                    <a:lnTo>
                      <a:pt x="828" y="1808"/>
                    </a:lnTo>
                    <a:lnTo>
                      <a:pt x="830" y="1808"/>
                    </a:lnTo>
                    <a:lnTo>
                      <a:pt x="830" y="1810"/>
                    </a:lnTo>
                    <a:lnTo>
                      <a:pt x="830" y="1812"/>
                    </a:lnTo>
                    <a:lnTo>
                      <a:pt x="830" y="1814"/>
                    </a:lnTo>
                    <a:lnTo>
                      <a:pt x="834" y="1814"/>
                    </a:lnTo>
                    <a:close/>
                    <a:moveTo>
                      <a:pt x="898" y="1832"/>
                    </a:moveTo>
                    <a:lnTo>
                      <a:pt x="898" y="1832"/>
                    </a:lnTo>
                    <a:lnTo>
                      <a:pt x="894" y="1826"/>
                    </a:lnTo>
                    <a:lnTo>
                      <a:pt x="892" y="1826"/>
                    </a:lnTo>
                    <a:lnTo>
                      <a:pt x="890" y="1828"/>
                    </a:lnTo>
                    <a:lnTo>
                      <a:pt x="890" y="1830"/>
                    </a:lnTo>
                    <a:lnTo>
                      <a:pt x="888" y="1830"/>
                    </a:lnTo>
                    <a:lnTo>
                      <a:pt x="878" y="1824"/>
                    </a:lnTo>
                    <a:lnTo>
                      <a:pt x="872" y="1822"/>
                    </a:lnTo>
                    <a:lnTo>
                      <a:pt x="868" y="1822"/>
                    </a:lnTo>
                    <a:lnTo>
                      <a:pt x="866" y="1826"/>
                    </a:lnTo>
                    <a:lnTo>
                      <a:pt x="866" y="1830"/>
                    </a:lnTo>
                    <a:lnTo>
                      <a:pt x="870" y="1834"/>
                    </a:lnTo>
                    <a:lnTo>
                      <a:pt x="876" y="1838"/>
                    </a:lnTo>
                    <a:lnTo>
                      <a:pt x="886" y="1840"/>
                    </a:lnTo>
                    <a:lnTo>
                      <a:pt x="894" y="1842"/>
                    </a:lnTo>
                    <a:lnTo>
                      <a:pt x="898" y="1842"/>
                    </a:lnTo>
                    <a:lnTo>
                      <a:pt x="900" y="1840"/>
                    </a:lnTo>
                    <a:lnTo>
                      <a:pt x="898" y="1832"/>
                    </a:lnTo>
                    <a:close/>
                    <a:moveTo>
                      <a:pt x="914" y="1822"/>
                    </a:moveTo>
                    <a:lnTo>
                      <a:pt x="914" y="1822"/>
                    </a:lnTo>
                    <a:lnTo>
                      <a:pt x="912" y="1824"/>
                    </a:lnTo>
                    <a:lnTo>
                      <a:pt x="914" y="1826"/>
                    </a:lnTo>
                    <a:lnTo>
                      <a:pt x="918" y="1824"/>
                    </a:lnTo>
                    <a:lnTo>
                      <a:pt x="924" y="1820"/>
                    </a:lnTo>
                    <a:lnTo>
                      <a:pt x="926" y="1820"/>
                    </a:lnTo>
                    <a:lnTo>
                      <a:pt x="926" y="1818"/>
                    </a:lnTo>
                    <a:lnTo>
                      <a:pt x="922" y="1816"/>
                    </a:lnTo>
                    <a:lnTo>
                      <a:pt x="918" y="1816"/>
                    </a:lnTo>
                    <a:lnTo>
                      <a:pt x="914" y="1822"/>
                    </a:lnTo>
                    <a:close/>
                    <a:moveTo>
                      <a:pt x="868" y="1848"/>
                    </a:moveTo>
                    <a:lnTo>
                      <a:pt x="868" y="1848"/>
                    </a:lnTo>
                    <a:lnTo>
                      <a:pt x="866" y="1850"/>
                    </a:lnTo>
                    <a:lnTo>
                      <a:pt x="868" y="1852"/>
                    </a:lnTo>
                    <a:lnTo>
                      <a:pt x="872" y="1854"/>
                    </a:lnTo>
                    <a:lnTo>
                      <a:pt x="876" y="1854"/>
                    </a:lnTo>
                    <a:lnTo>
                      <a:pt x="880" y="1854"/>
                    </a:lnTo>
                    <a:lnTo>
                      <a:pt x="878" y="1852"/>
                    </a:lnTo>
                    <a:lnTo>
                      <a:pt x="876" y="1848"/>
                    </a:lnTo>
                    <a:lnTo>
                      <a:pt x="872" y="1848"/>
                    </a:lnTo>
                    <a:lnTo>
                      <a:pt x="868" y="1848"/>
                    </a:lnTo>
                    <a:close/>
                    <a:moveTo>
                      <a:pt x="1030" y="1820"/>
                    </a:moveTo>
                    <a:lnTo>
                      <a:pt x="1030" y="1820"/>
                    </a:lnTo>
                    <a:lnTo>
                      <a:pt x="1032" y="1818"/>
                    </a:lnTo>
                    <a:lnTo>
                      <a:pt x="1034" y="1814"/>
                    </a:lnTo>
                    <a:lnTo>
                      <a:pt x="1032" y="1810"/>
                    </a:lnTo>
                    <a:lnTo>
                      <a:pt x="1030" y="1808"/>
                    </a:lnTo>
                    <a:lnTo>
                      <a:pt x="1022" y="1802"/>
                    </a:lnTo>
                    <a:lnTo>
                      <a:pt x="1018" y="1800"/>
                    </a:lnTo>
                    <a:lnTo>
                      <a:pt x="1016" y="1802"/>
                    </a:lnTo>
                    <a:lnTo>
                      <a:pt x="1014" y="1806"/>
                    </a:lnTo>
                    <a:lnTo>
                      <a:pt x="1016" y="1812"/>
                    </a:lnTo>
                    <a:lnTo>
                      <a:pt x="1022" y="1818"/>
                    </a:lnTo>
                    <a:lnTo>
                      <a:pt x="1026" y="1820"/>
                    </a:lnTo>
                    <a:lnTo>
                      <a:pt x="1030" y="1820"/>
                    </a:lnTo>
                    <a:close/>
                    <a:moveTo>
                      <a:pt x="952" y="1846"/>
                    </a:moveTo>
                    <a:lnTo>
                      <a:pt x="952" y="1846"/>
                    </a:lnTo>
                    <a:lnTo>
                      <a:pt x="952" y="1848"/>
                    </a:lnTo>
                    <a:lnTo>
                      <a:pt x="954" y="1850"/>
                    </a:lnTo>
                    <a:lnTo>
                      <a:pt x="954" y="1854"/>
                    </a:lnTo>
                    <a:lnTo>
                      <a:pt x="954" y="1856"/>
                    </a:lnTo>
                    <a:lnTo>
                      <a:pt x="952" y="1858"/>
                    </a:lnTo>
                    <a:lnTo>
                      <a:pt x="952" y="1860"/>
                    </a:lnTo>
                    <a:lnTo>
                      <a:pt x="960" y="1866"/>
                    </a:lnTo>
                    <a:lnTo>
                      <a:pt x="962" y="1866"/>
                    </a:lnTo>
                    <a:lnTo>
                      <a:pt x="964" y="1866"/>
                    </a:lnTo>
                    <a:lnTo>
                      <a:pt x="964" y="1864"/>
                    </a:lnTo>
                    <a:lnTo>
                      <a:pt x="964" y="1862"/>
                    </a:lnTo>
                    <a:lnTo>
                      <a:pt x="966" y="1860"/>
                    </a:lnTo>
                    <a:lnTo>
                      <a:pt x="968" y="1858"/>
                    </a:lnTo>
                    <a:lnTo>
                      <a:pt x="972" y="1862"/>
                    </a:lnTo>
                    <a:lnTo>
                      <a:pt x="976" y="1864"/>
                    </a:lnTo>
                    <a:lnTo>
                      <a:pt x="976" y="1862"/>
                    </a:lnTo>
                    <a:lnTo>
                      <a:pt x="976" y="1860"/>
                    </a:lnTo>
                    <a:lnTo>
                      <a:pt x="972" y="1858"/>
                    </a:lnTo>
                    <a:lnTo>
                      <a:pt x="972" y="1856"/>
                    </a:lnTo>
                    <a:lnTo>
                      <a:pt x="972" y="1854"/>
                    </a:lnTo>
                    <a:lnTo>
                      <a:pt x="974" y="1850"/>
                    </a:lnTo>
                    <a:lnTo>
                      <a:pt x="974" y="1846"/>
                    </a:lnTo>
                    <a:lnTo>
                      <a:pt x="972" y="1846"/>
                    </a:lnTo>
                    <a:lnTo>
                      <a:pt x="970" y="1844"/>
                    </a:lnTo>
                    <a:lnTo>
                      <a:pt x="966" y="1842"/>
                    </a:lnTo>
                    <a:lnTo>
                      <a:pt x="964" y="1840"/>
                    </a:lnTo>
                    <a:lnTo>
                      <a:pt x="960" y="1838"/>
                    </a:lnTo>
                    <a:lnTo>
                      <a:pt x="956" y="1840"/>
                    </a:lnTo>
                    <a:lnTo>
                      <a:pt x="954" y="1842"/>
                    </a:lnTo>
                    <a:lnTo>
                      <a:pt x="958" y="1844"/>
                    </a:lnTo>
                    <a:lnTo>
                      <a:pt x="964" y="1846"/>
                    </a:lnTo>
                    <a:lnTo>
                      <a:pt x="966" y="1848"/>
                    </a:lnTo>
                    <a:lnTo>
                      <a:pt x="964" y="1850"/>
                    </a:lnTo>
                    <a:lnTo>
                      <a:pt x="960" y="1850"/>
                    </a:lnTo>
                    <a:lnTo>
                      <a:pt x="952" y="1846"/>
                    </a:lnTo>
                    <a:close/>
                    <a:moveTo>
                      <a:pt x="862" y="1678"/>
                    </a:moveTo>
                    <a:lnTo>
                      <a:pt x="862" y="1678"/>
                    </a:lnTo>
                    <a:lnTo>
                      <a:pt x="864" y="1678"/>
                    </a:lnTo>
                    <a:lnTo>
                      <a:pt x="868" y="1678"/>
                    </a:lnTo>
                    <a:lnTo>
                      <a:pt x="872" y="1674"/>
                    </a:lnTo>
                    <a:lnTo>
                      <a:pt x="872" y="1672"/>
                    </a:lnTo>
                    <a:lnTo>
                      <a:pt x="868" y="1672"/>
                    </a:lnTo>
                    <a:lnTo>
                      <a:pt x="864" y="1674"/>
                    </a:lnTo>
                    <a:lnTo>
                      <a:pt x="862" y="1678"/>
                    </a:lnTo>
                    <a:close/>
                    <a:moveTo>
                      <a:pt x="860" y="1816"/>
                    </a:moveTo>
                    <a:lnTo>
                      <a:pt x="860" y="1816"/>
                    </a:lnTo>
                    <a:lnTo>
                      <a:pt x="860" y="1814"/>
                    </a:lnTo>
                    <a:lnTo>
                      <a:pt x="860" y="1812"/>
                    </a:lnTo>
                    <a:lnTo>
                      <a:pt x="858" y="1814"/>
                    </a:lnTo>
                    <a:lnTo>
                      <a:pt x="856" y="1818"/>
                    </a:lnTo>
                    <a:lnTo>
                      <a:pt x="850" y="1826"/>
                    </a:lnTo>
                    <a:lnTo>
                      <a:pt x="848" y="1830"/>
                    </a:lnTo>
                    <a:lnTo>
                      <a:pt x="848" y="1834"/>
                    </a:lnTo>
                    <a:lnTo>
                      <a:pt x="850" y="1836"/>
                    </a:lnTo>
                    <a:lnTo>
                      <a:pt x="852" y="1836"/>
                    </a:lnTo>
                    <a:lnTo>
                      <a:pt x="854" y="1830"/>
                    </a:lnTo>
                    <a:lnTo>
                      <a:pt x="860" y="1816"/>
                    </a:lnTo>
                    <a:close/>
                    <a:moveTo>
                      <a:pt x="1100" y="2508"/>
                    </a:moveTo>
                    <a:lnTo>
                      <a:pt x="1100" y="2508"/>
                    </a:lnTo>
                    <a:lnTo>
                      <a:pt x="1102" y="2508"/>
                    </a:lnTo>
                    <a:lnTo>
                      <a:pt x="1100" y="2506"/>
                    </a:lnTo>
                    <a:lnTo>
                      <a:pt x="1094" y="2504"/>
                    </a:lnTo>
                    <a:lnTo>
                      <a:pt x="1086" y="2504"/>
                    </a:lnTo>
                    <a:lnTo>
                      <a:pt x="1084" y="2504"/>
                    </a:lnTo>
                    <a:lnTo>
                      <a:pt x="1084" y="2506"/>
                    </a:lnTo>
                    <a:lnTo>
                      <a:pt x="1086" y="2508"/>
                    </a:lnTo>
                    <a:lnTo>
                      <a:pt x="1092" y="2510"/>
                    </a:lnTo>
                    <a:lnTo>
                      <a:pt x="1096" y="2510"/>
                    </a:lnTo>
                    <a:lnTo>
                      <a:pt x="1100" y="2508"/>
                    </a:lnTo>
                    <a:close/>
                    <a:moveTo>
                      <a:pt x="1092" y="2518"/>
                    </a:moveTo>
                    <a:lnTo>
                      <a:pt x="1092" y="2518"/>
                    </a:lnTo>
                    <a:lnTo>
                      <a:pt x="1108" y="2520"/>
                    </a:lnTo>
                    <a:lnTo>
                      <a:pt x="1110" y="2518"/>
                    </a:lnTo>
                    <a:lnTo>
                      <a:pt x="1108" y="2516"/>
                    </a:lnTo>
                    <a:lnTo>
                      <a:pt x="1100" y="2514"/>
                    </a:lnTo>
                    <a:lnTo>
                      <a:pt x="1086" y="2514"/>
                    </a:lnTo>
                    <a:lnTo>
                      <a:pt x="1084" y="2514"/>
                    </a:lnTo>
                    <a:lnTo>
                      <a:pt x="1082" y="2516"/>
                    </a:lnTo>
                    <a:lnTo>
                      <a:pt x="1092" y="2518"/>
                    </a:lnTo>
                    <a:close/>
                    <a:moveTo>
                      <a:pt x="1108" y="1672"/>
                    </a:moveTo>
                    <a:lnTo>
                      <a:pt x="1108" y="1672"/>
                    </a:lnTo>
                    <a:lnTo>
                      <a:pt x="1106" y="1672"/>
                    </a:lnTo>
                    <a:lnTo>
                      <a:pt x="1104" y="1674"/>
                    </a:lnTo>
                    <a:lnTo>
                      <a:pt x="1102" y="1682"/>
                    </a:lnTo>
                    <a:lnTo>
                      <a:pt x="1100" y="1692"/>
                    </a:lnTo>
                    <a:lnTo>
                      <a:pt x="1094" y="1700"/>
                    </a:lnTo>
                    <a:lnTo>
                      <a:pt x="1090" y="1710"/>
                    </a:lnTo>
                    <a:lnTo>
                      <a:pt x="1086" y="1722"/>
                    </a:lnTo>
                    <a:lnTo>
                      <a:pt x="1084" y="1734"/>
                    </a:lnTo>
                    <a:lnTo>
                      <a:pt x="1084" y="1740"/>
                    </a:lnTo>
                    <a:lnTo>
                      <a:pt x="1086" y="1744"/>
                    </a:lnTo>
                    <a:lnTo>
                      <a:pt x="1090" y="1734"/>
                    </a:lnTo>
                    <a:lnTo>
                      <a:pt x="1100" y="1708"/>
                    </a:lnTo>
                    <a:lnTo>
                      <a:pt x="1108" y="1684"/>
                    </a:lnTo>
                    <a:lnTo>
                      <a:pt x="1110" y="1676"/>
                    </a:lnTo>
                    <a:lnTo>
                      <a:pt x="1110" y="1674"/>
                    </a:lnTo>
                    <a:lnTo>
                      <a:pt x="1108" y="1672"/>
                    </a:lnTo>
                    <a:close/>
                    <a:moveTo>
                      <a:pt x="1804" y="2938"/>
                    </a:moveTo>
                    <a:lnTo>
                      <a:pt x="1804" y="2938"/>
                    </a:lnTo>
                    <a:lnTo>
                      <a:pt x="1810" y="2932"/>
                    </a:lnTo>
                    <a:lnTo>
                      <a:pt x="1812" y="2928"/>
                    </a:lnTo>
                    <a:lnTo>
                      <a:pt x="1808" y="2930"/>
                    </a:lnTo>
                    <a:lnTo>
                      <a:pt x="1800" y="2934"/>
                    </a:lnTo>
                    <a:lnTo>
                      <a:pt x="1790" y="2940"/>
                    </a:lnTo>
                    <a:lnTo>
                      <a:pt x="1776" y="2946"/>
                    </a:lnTo>
                    <a:lnTo>
                      <a:pt x="1768" y="2946"/>
                    </a:lnTo>
                    <a:lnTo>
                      <a:pt x="1760" y="2944"/>
                    </a:lnTo>
                    <a:lnTo>
                      <a:pt x="1754" y="2944"/>
                    </a:lnTo>
                    <a:lnTo>
                      <a:pt x="1750" y="2944"/>
                    </a:lnTo>
                    <a:lnTo>
                      <a:pt x="1748" y="2946"/>
                    </a:lnTo>
                    <a:lnTo>
                      <a:pt x="1748" y="2948"/>
                    </a:lnTo>
                    <a:lnTo>
                      <a:pt x="1748" y="2954"/>
                    </a:lnTo>
                    <a:lnTo>
                      <a:pt x="1746" y="2954"/>
                    </a:lnTo>
                    <a:lnTo>
                      <a:pt x="1742" y="2954"/>
                    </a:lnTo>
                    <a:lnTo>
                      <a:pt x="1736" y="2954"/>
                    </a:lnTo>
                    <a:lnTo>
                      <a:pt x="1732" y="2958"/>
                    </a:lnTo>
                    <a:lnTo>
                      <a:pt x="1730" y="2960"/>
                    </a:lnTo>
                    <a:lnTo>
                      <a:pt x="1726" y="2960"/>
                    </a:lnTo>
                    <a:lnTo>
                      <a:pt x="1722" y="2960"/>
                    </a:lnTo>
                    <a:lnTo>
                      <a:pt x="1722" y="2962"/>
                    </a:lnTo>
                    <a:lnTo>
                      <a:pt x="1726" y="2974"/>
                    </a:lnTo>
                    <a:lnTo>
                      <a:pt x="1728" y="2978"/>
                    </a:lnTo>
                    <a:lnTo>
                      <a:pt x="1732" y="2980"/>
                    </a:lnTo>
                    <a:lnTo>
                      <a:pt x="1736" y="2982"/>
                    </a:lnTo>
                    <a:lnTo>
                      <a:pt x="1742" y="2982"/>
                    </a:lnTo>
                    <a:lnTo>
                      <a:pt x="1748" y="2982"/>
                    </a:lnTo>
                    <a:lnTo>
                      <a:pt x="1750" y="2984"/>
                    </a:lnTo>
                    <a:lnTo>
                      <a:pt x="1752" y="2986"/>
                    </a:lnTo>
                    <a:lnTo>
                      <a:pt x="1754" y="2984"/>
                    </a:lnTo>
                    <a:lnTo>
                      <a:pt x="1754" y="2982"/>
                    </a:lnTo>
                    <a:lnTo>
                      <a:pt x="1756" y="2980"/>
                    </a:lnTo>
                    <a:lnTo>
                      <a:pt x="1764" y="2978"/>
                    </a:lnTo>
                    <a:lnTo>
                      <a:pt x="1770" y="2976"/>
                    </a:lnTo>
                    <a:lnTo>
                      <a:pt x="1774" y="2974"/>
                    </a:lnTo>
                    <a:lnTo>
                      <a:pt x="1776" y="2970"/>
                    </a:lnTo>
                    <a:lnTo>
                      <a:pt x="1780" y="2966"/>
                    </a:lnTo>
                    <a:lnTo>
                      <a:pt x="1782" y="2964"/>
                    </a:lnTo>
                    <a:lnTo>
                      <a:pt x="1790" y="2964"/>
                    </a:lnTo>
                    <a:lnTo>
                      <a:pt x="1794" y="2964"/>
                    </a:lnTo>
                    <a:lnTo>
                      <a:pt x="1796" y="2962"/>
                    </a:lnTo>
                    <a:lnTo>
                      <a:pt x="1794" y="2960"/>
                    </a:lnTo>
                    <a:lnTo>
                      <a:pt x="1790" y="2954"/>
                    </a:lnTo>
                    <a:lnTo>
                      <a:pt x="1790" y="2950"/>
                    </a:lnTo>
                    <a:lnTo>
                      <a:pt x="1796" y="2944"/>
                    </a:lnTo>
                    <a:lnTo>
                      <a:pt x="1804" y="2938"/>
                    </a:lnTo>
                    <a:close/>
                    <a:moveTo>
                      <a:pt x="1538" y="2902"/>
                    </a:moveTo>
                    <a:lnTo>
                      <a:pt x="1538" y="2902"/>
                    </a:lnTo>
                    <a:lnTo>
                      <a:pt x="1540" y="2906"/>
                    </a:lnTo>
                    <a:lnTo>
                      <a:pt x="1538" y="2910"/>
                    </a:lnTo>
                    <a:lnTo>
                      <a:pt x="1538" y="2914"/>
                    </a:lnTo>
                    <a:lnTo>
                      <a:pt x="1542" y="2918"/>
                    </a:lnTo>
                    <a:lnTo>
                      <a:pt x="1544" y="2918"/>
                    </a:lnTo>
                    <a:lnTo>
                      <a:pt x="1548" y="2914"/>
                    </a:lnTo>
                    <a:lnTo>
                      <a:pt x="1554" y="2904"/>
                    </a:lnTo>
                    <a:lnTo>
                      <a:pt x="1558" y="2894"/>
                    </a:lnTo>
                    <a:lnTo>
                      <a:pt x="1560" y="2888"/>
                    </a:lnTo>
                    <a:lnTo>
                      <a:pt x="1560" y="2886"/>
                    </a:lnTo>
                    <a:lnTo>
                      <a:pt x="1558" y="2886"/>
                    </a:lnTo>
                    <a:lnTo>
                      <a:pt x="1554" y="2886"/>
                    </a:lnTo>
                    <a:lnTo>
                      <a:pt x="1546" y="2892"/>
                    </a:lnTo>
                    <a:lnTo>
                      <a:pt x="1540" y="2898"/>
                    </a:lnTo>
                    <a:lnTo>
                      <a:pt x="1538" y="2900"/>
                    </a:lnTo>
                    <a:lnTo>
                      <a:pt x="1538" y="2902"/>
                    </a:lnTo>
                    <a:close/>
                    <a:moveTo>
                      <a:pt x="644" y="1508"/>
                    </a:moveTo>
                    <a:lnTo>
                      <a:pt x="644" y="1508"/>
                    </a:lnTo>
                    <a:lnTo>
                      <a:pt x="646" y="1510"/>
                    </a:lnTo>
                    <a:lnTo>
                      <a:pt x="648" y="1508"/>
                    </a:lnTo>
                    <a:lnTo>
                      <a:pt x="650" y="1500"/>
                    </a:lnTo>
                    <a:lnTo>
                      <a:pt x="650" y="1498"/>
                    </a:lnTo>
                    <a:lnTo>
                      <a:pt x="646" y="1498"/>
                    </a:lnTo>
                    <a:lnTo>
                      <a:pt x="640" y="1500"/>
                    </a:lnTo>
                    <a:lnTo>
                      <a:pt x="636" y="1504"/>
                    </a:lnTo>
                    <a:lnTo>
                      <a:pt x="634" y="1510"/>
                    </a:lnTo>
                    <a:lnTo>
                      <a:pt x="636" y="1514"/>
                    </a:lnTo>
                    <a:lnTo>
                      <a:pt x="638" y="1516"/>
                    </a:lnTo>
                    <a:lnTo>
                      <a:pt x="642" y="1518"/>
                    </a:lnTo>
                    <a:lnTo>
                      <a:pt x="644" y="1516"/>
                    </a:lnTo>
                    <a:lnTo>
                      <a:pt x="644" y="1514"/>
                    </a:lnTo>
                    <a:lnTo>
                      <a:pt x="642" y="1508"/>
                    </a:lnTo>
                    <a:lnTo>
                      <a:pt x="640" y="1506"/>
                    </a:lnTo>
                    <a:lnTo>
                      <a:pt x="644" y="1508"/>
                    </a:lnTo>
                    <a:close/>
                    <a:moveTo>
                      <a:pt x="632" y="1558"/>
                    </a:moveTo>
                    <a:lnTo>
                      <a:pt x="632" y="1558"/>
                    </a:lnTo>
                    <a:lnTo>
                      <a:pt x="634" y="1556"/>
                    </a:lnTo>
                    <a:lnTo>
                      <a:pt x="634" y="1554"/>
                    </a:lnTo>
                    <a:lnTo>
                      <a:pt x="634" y="1548"/>
                    </a:lnTo>
                    <a:lnTo>
                      <a:pt x="630" y="1544"/>
                    </a:lnTo>
                    <a:lnTo>
                      <a:pt x="630" y="1546"/>
                    </a:lnTo>
                    <a:lnTo>
                      <a:pt x="630" y="1554"/>
                    </a:lnTo>
                    <a:lnTo>
                      <a:pt x="630" y="1558"/>
                    </a:lnTo>
                    <a:lnTo>
                      <a:pt x="632" y="1558"/>
                    </a:lnTo>
                    <a:close/>
                    <a:moveTo>
                      <a:pt x="628" y="1528"/>
                    </a:moveTo>
                    <a:lnTo>
                      <a:pt x="628" y="1528"/>
                    </a:lnTo>
                    <a:lnTo>
                      <a:pt x="630" y="1528"/>
                    </a:lnTo>
                    <a:lnTo>
                      <a:pt x="630" y="1526"/>
                    </a:lnTo>
                    <a:lnTo>
                      <a:pt x="632" y="1522"/>
                    </a:lnTo>
                    <a:lnTo>
                      <a:pt x="632" y="1520"/>
                    </a:lnTo>
                    <a:lnTo>
                      <a:pt x="634" y="1520"/>
                    </a:lnTo>
                    <a:lnTo>
                      <a:pt x="634" y="1522"/>
                    </a:lnTo>
                    <a:lnTo>
                      <a:pt x="636" y="1522"/>
                    </a:lnTo>
                    <a:lnTo>
                      <a:pt x="638" y="1522"/>
                    </a:lnTo>
                    <a:lnTo>
                      <a:pt x="638" y="1520"/>
                    </a:lnTo>
                    <a:lnTo>
                      <a:pt x="636" y="1518"/>
                    </a:lnTo>
                    <a:lnTo>
                      <a:pt x="632" y="1514"/>
                    </a:lnTo>
                    <a:lnTo>
                      <a:pt x="628" y="1512"/>
                    </a:lnTo>
                    <a:lnTo>
                      <a:pt x="628" y="1516"/>
                    </a:lnTo>
                    <a:lnTo>
                      <a:pt x="628" y="1528"/>
                    </a:lnTo>
                    <a:close/>
                    <a:moveTo>
                      <a:pt x="1186" y="1636"/>
                    </a:moveTo>
                    <a:lnTo>
                      <a:pt x="1186" y="1636"/>
                    </a:lnTo>
                    <a:lnTo>
                      <a:pt x="1180" y="1640"/>
                    </a:lnTo>
                    <a:lnTo>
                      <a:pt x="1176" y="1638"/>
                    </a:lnTo>
                    <a:lnTo>
                      <a:pt x="1174" y="1638"/>
                    </a:lnTo>
                    <a:lnTo>
                      <a:pt x="1164" y="1646"/>
                    </a:lnTo>
                    <a:lnTo>
                      <a:pt x="1156" y="1656"/>
                    </a:lnTo>
                    <a:lnTo>
                      <a:pt x="1150" y="1666"/>
                    </a:lnTo>
                    <a:lnTo>
                      <a:pt x="1150" y="1676"/>
                    </a:lnTo>
                    <a:lnTo>
                      <a:pt x="1154" y="1682"/>
                    </a:lnTo>
                    <a:lnTo>
                      <a:pt x="1154" y="1686"/>
                    </a:lnTo>
                    <a:lnTo>
                      <a:pt x="1154" y="1690"/>
                    </a:lnTo>
                    <a:lnTo>
                      <a:pt x="1154" y="1696"/>
                    </a:lnTo>
                    <a:lnTo>
                      <a:pt x="1154" y="1700"/>
                    </a:lnTo>
                    <a:lnTo>
                      <a:pt x="1158" y="1700"/>
                    </a:lnTo>
                    <a:lnTo>
                      <a:pt x="1162" y="1696"/>
                    </a:lnTo>
                    <a:lnTo>
                      <a:pt x="1166" y="1690"/>
                    </a:lnTo>
                    <a:lnTo>
                      <a:pt x="1170" y="1682"/>
                    </a:lnTo>
                    <a:lnTo>
                      <a:pt x="1178" y="1674"/>
                    </a:lnTo>
                    <a:lnTo>
                      <a:pt x="1182" y="1670"/>
                    </a:lnTo>
                    <a:lnTo>
                      <a:pt x="1184" y="1666"/>
                    </a:lnTo>
                    <a:lnTo>
                      <a:pt x="1182" y="1662"/>
                    </a:lnTo>
                    <a:lnTo>
                      <a:pt x="1180" y="1658"/>
                    </a:lnTo>
                    <a:lnTo>
                      <a:pt x="1180" y="1656"/>
                    </a:lnTo>
                    <a:lnTo>
                      <a:pt x="1182" y="1652"/>
                    </a:lnTo>
                    <a:lnTo>
                      <a:pt x="1186" y="1646"/>
                    </a:lnTo>
                    <a:lnTo>
                      <a:pt x="1194" y="1638"/>
                    </a:lnTo>
                    <a:lnTo>
                      <a:pt x="1198" y="1632"/>
                    </a:lnTo>
                    <a:lnTo>
                      <a:pt x="1196" y="1630"/>
                    </a:lnTo>
                    <a:lnTo>
                      <a:pt x="1194" y="1632"/>
                    </a:lnTo>
                    <a:lnTo>
                      <a:pt x="1186" y="1636"/>
                    </a:lnTo>
                    <a:close/>
                    <a:moveTo>
                      <a:pt x="1058" y="962"/>
                    </a:moveTo>
                    <a:lnTo>
                      <a:pt x="1058" y="962"/>
                    </a:lnTo>
                    <a:lnTo>
                      <a:pt x="1050" y="960"/>
                    </a:lnTo>
                    <a:lnTo>
                      <a:pt x="1048" y="962"/>
                    </a:lnTo>
                    <a:lnTo>
                      <a:pt x="1046" y="964"/>
                    </a:lnTo>
                    <a:lnTo>
                      <a:pt x="1048" y="964"/>
                    </a:lnTo>
                    <a:lnTo>
                      <a:pt x="1054" y="964"/>
                    </a:lnTo>
                    <a:lnTo>
                      <a:pt x="1058" y="962"/>
                    </a:lnTo>
                    <a:close/>
                    <a:moveTo>
                      <a:pt x="1366" y="1568"/>
                    </a:moveTo>
                    <a:lnTo>
                      <a:pt x="1366" y="1568"/>
                    </a:lnTo>
                    <a:lnTo>
                      <a:pt x="1364" y="1566"/>
                    </a:lnTo>
                    <a:lnTo>
                      <a:pt x="1360" y="1564"/>
                    </a:lnTo>
                    <a:lnTo>
                      <a:pt x="1356" y="1564"/>
                    </a:lnTo>
                    <a:lnTo>
                      <a:pt x="1354" y="1566"/>
                    </a:lnTo>
                    <a:lnTo>
                      <a:pt x="1356" y="1568"/>
                    </a:lnTo>
                    <a:lnTo>
                      <a:pt x="1360" y="1570"/>
                    </a:lnTo>
                    <a:lnTo>
                      <a:pt x="1364" y="1570"/>
                    </a:lnTo>
                    <a:lnTo>
                      <a:pt x="1366" y="1568"/>
                    </a:lnTo>
                    <a:close/>
                    <a:moveTo>
                      <a:pt x="1332" y="1588"/>
                    </a:moveTo>
                    <a:lnTo>
                      <a:pt x="1332" y="1588"/>
                    </a:lnTo>
                    <a:lnTo>
                      <a:pt x="1336" y="1586"/>
                    </a:lnTo>
                    <a:lnTo>
                      <a:pt x="1338" y="1584"/>
                    </a:lnTo>
                    <a:lnTo>
                      <a:pt x="1338" y="1582"/>
                    </a:lnTo>
                    <a:lnTo>
                      <a:pt x="1342" y="1580"/>
                    </a:lnTo>
                    <a:lnTo>
                      <a:pt x="1344" y="1582"/>
                    </a:lnTo>
                    <a:lnTo>
                      <a:pt x="1346" y="1580"/>
                    </a:lnTo>
                    <a:lnTo>
                      <a:pt x="1346" y="1578"/>
                    </a:lnTo>
                    <a:lnTo>
                      <a:pt x="1348" y="1578"/>
                    </a:lnTo>
                    <a:lnTo>
                      <a:pt x="1350" y="1578"/>
                    </a:lnTo>
                    <a:lnTo>
                      <a:pt x="1352" y="1576"/>
                    </a:lnTo>
                    <a:lnTo>
                      <a:pt x="1350" y="1574"/>
                    </a:lnTo>
                    <a:lnTo>
                      <a:pt x="1346" y="1570"/>
                    </a:lnTo>
                    <a:lnTo>
                      <a:pt x="1336" y="1562"/>
                    </a:lnTo>
                    <a:lnTo>
                      <a:pt x="1334" y="1562"/>
                    </a:lnTo>
                    <a:lnTo>
                      <a:pt x="1330" y="1566"/>
                    </a:lnTo>
                    <a:lnTo>
                      <a:pt x="1326" y="1568"/>
                    </a:lnTo>
                    <a:lnTo>
                      <a:pt x="1320" y="1570"/>
                    </a:lnTo>
                    <a:lnTo>
                      <a:pt x="1316" y="1570"/>
                    </a:lnTo>
                    <a:lnTo>
                      <a:pt x="1312" y="1570"/>
                    </a:lnTo>
                    <a:lnTo>
                      <a:pt x="1310" y="1572"/>
                    </a:lnTo>
                    <a:lnTo>
                      <a:pt x="1312" y="1574"/>
                    </a:lnTo>
                    <a:lnTo>
                      <a:pt x="1322" y="1574"/>
                    </a:lnTo>
                    <a:lnTo>
                      <a:pt x="1324" y="1574"/>
                    </a:lnTo>
                    <a:lnTo>
                      <a:pt x="1326" y="1576"/>
                    </a:lnTo>
                    <a:lnTo>
                      <a:pt x="1326" y="1580"/>
                    </a:lnTo>
                    <a:lnTo>
                      <a:pt x="1328" y="1584"/>
                    </a:lnTo>
                    <a:lnTo>
                      <a:pt x="1330" y="1586"/>
                    </a:lnTo>
                    <a:lnTo>
                      <a:pt x="1332" y="1588"/>
                    </a:lnTo>
                    <a:close/>
                    <a:moveTo>
                      <a:pt x="1306" y="1608"/>
                    </a:moveTo>
                    <a:lnTo>
                      <a:pt x="1306" y="1608"/>
                    </a:lnTo>
                    <a:lnTo>
                      <a:pt x="1304" y="1610"/>
                    </a:lnTo>
                    <a:lnTo>
                      <a:pt x="1302" y="1612"/>
                    </a:lnTo>
                    <a:lnTo>
                      <a:pt x="1304" y="1616"/>
                    </a:lnTo>
                    <a:lnTo>
                      <a:pt x="1310" y="1618"/>
                    </a:lnTo>
                    <a:lnTo>
                      <a:pt x="1316" y="1622"/>
                    </a:lnTo>
                    <a:lnTo>
                      <a:pt x="1316" y="1624"/>
                    </a:lnTo>
                    <a:lnTo>
                      <a:pt x="1312" y="1628"/>
                    </a:lnTo>
                    <a:lnTo>
                      <a:pt x="1308" y="1630"/>
                    </a:lnTo>
                    <a:lnTo>
                      <a:pt x="1308" y="1634"/>
                    </a:lnTo>
                    <a:lnTo>
                      <a:pt x="1308" y="1636"/>
                    </a:lnTo>
                    <a:lnTo>
                      <a:pt x="1314" y="1636"/>
                    </a:lnTo>
                    <a:lnTo>
                      <a:pt x="1316" y="1634"/>
                    </a:lnTo>
                    <a:lnTo>
                      <a:pt x="1318" y="1630"/>
                    </a:lnTo>
                    <a:lnTo>
                      <a:pt x="1322" y="1620"/>
                    </a:lnTo>
                    <a:lnTo>
                      <a:pt x="1326" y="1618"/>
                    </a:lnTo>
                    <a:lnTo>
                      <a:pt x="1328" y="1616"/>
                    </a:lnTo>
                    <a:lnTo>
                      <a:pt x="1330" y="1616"/>
                    </a:lnTo>
                    <a:lnTo>
                      <a:pt x="1334" y="1618"/>
                    </a:lnTo>
                    <a:lnTo>
                      <a:pt x="1340" y="1614"/>
                    </a:lnTo>
                    <a:lnTo>
                      <a:pt x="1348" y="1610"/>
                    </a:lnTo>
                    <a:lnTo>
                      <a:pt x="1352" y="1604"/>
                    </a:lnTo>
                    <a:lnTo>
                      <a:pt x="1356" y="1602"/>
                    </a:lnTo>
                    <a:lnTo>
                      <a:pt x="1358" y="1602"/>
                    </a:lnTo>
                    <a:lnTo>
                      <a:pt x="1358" y="1604"/>
                    </a:lnTo>
                    <a:lnTo>
                      <a:pt x="1362" y="1604"/>
                    </a:lnTo>
                    <a:lnTo>
                      <a:pt x="1364" y="1602"/>
                    </a:lnTo>
                    <a:lnTo>
                      <a:pt x="1362" y="1602"/>
                    </a:lnTo>
                    <a:lnTo>
                      <a:pt x="1354" y="1596"/>
                    </a:lnTo>
                    <a:lnTo>
                      <a:pt x="1348" y="1594"/>
                    </a:lnTo>
                    <a:lnTo>
                      <a:pt x="1342" y="1594"/>
                    </a:lnTo>
                    <a:lnTo>
                      <a:pt x="1338" y="1594"/>
                    </a:lnTo>
                    <a:lnTo>
                      <a:pt x="1334" y="1592"/>
                    </a:lnTo>
                    <a:lnTo>
                      <a:pt x="1330" y="1590"/>
                    </a:lnTo>
                    <a:lnTo>
                      <a:pt x="1324" y="1592"/>
                    </a:lnTo>
                    <a:lnTo>
                      <a:pt x="1318" y="1594"/>
                    </a:lnTo>
                    <a:lnTo>
                      <a:pt x="1314" y="1600"/>
                    </a:lnTo>
                    <a:lnTo>
                      <a:pt x="1312" y="1602"/>
                    </a:lnTo>
                    <a:lnTo>
                      <a:pt x="1310" y="1602"/>
                    </a:lnTo>
                    <a:lnTo>
                      <a:pt x="1308" y="1598"/>
                    </a:lnTo>
                    <a:lnTo>
                      <a:pt x="1304" y="1598"/>
                    </a:lnTo>
                    <a:lnTo>
                      <a:pt x="1304" y="1600"/>
                    </a:lnTo>
                    <a:lnTo>
                      <a:pt x="1306" y="1604"/>
                    </a:lnTo>
                    <a:lnTo>
                      <a:pt x="1308" y="1606"/>
                    </a:lnTo>
                    <a:lnTo>
                      <a:pt x="1308" y="1608"/>
                    </a:lnTo>
                    <a:lnTo>
                      <a:pt x="1306" y="1608"/>
                    </a:lnTo>
                    <a:close/>
                    <a:moveTo>
                      <a:pt x="1364" y="1596"/>
                    </a:moveTo>
                    <a:lnTo>
                      <a:pt x="1364" y="1596"/>
                    </a:lnTo>
                    <a:lnTo>
                      <a:pt x="1364" y="1592"/>
                    </a:lnTo>
                    <a:lnTo>
                      <a:pt x="1360" y="1590"/>
                    </a:lnTo>
                    <a:lnTo>
                      <a:pt x="1356" y="1588"/>
                    </a:lnTo>
                    <a:lnTo>
                      <a:pt x="1354" y="1588"/>
                    </a:lnTo>
                    <a:lnTo>
                      <a:pt x="1354" y="1592"/>
                    </a:lnTo>
                    <a:lnTo>
                      <a:pt x="1356" y="1596"/>
                    </a:lnTo>
                    <a:lnTo>
                      <a:pt x="1360" y="1598"/>
                    </a:lnTo>
                    <a:lnTo>
                      <a:pt x="1364" y="1596"/>
                    </a:lnTo>
                    <a:close/>
                    <a:moveTo>
                      <a:pt x="1102" y="2532"/>
                    </a:moveTo>
                    <a:lnTo>
                      <a:pt x="1102" y="2532"/>
                    </a:lnTo>
                    <a:lnTo>
                      <a:pt x="1110" y="2530"/>
                    </a:lnTo>
                    <a:lnTo>
                      <a:pt x="1112" y="2530"/>
                    </a:lnTo>
                    <a:lnTo>
                      <a:pt x="1110" y="2528"/>
                    </a:lnTo>
                    <a:lnTo>
                      <a:pt x="1098" y="2526"/>
                    </a:lnTo>
                    <a:lnTo>
                      <a:pt x="1092" y="2528"/>
                    </a:lnTo>
                    <a:lnTo>
                      <a:pt x="1094" y="2530"/>
                    </a:lnTo>
                    <a:lnTo>
                      <a:pt x="1096" y="2532"/>
                    </a:lnTo>
                    <a:lnTo>
                      <a:pt x="1102" y="2532"/>
                    </a:lnTo>
                    <a:close/>
                    <a:moveTo>
                      <a:pt x="470" y="2754"/>
                    </a:moveTo>
                    <a:lnTo>
                      <a:pt x="470" y="2754"/>
                    </a:lnTo>
                    <a:lnTo>
                      <a:pt x="472" y="2756"/>
                    </a:lnTo>
                    <a:lnTo>
                      <a:pt x="476" y="2756"/>
                    </a:lnTo>
                    <a:lnTo>
                      <a:pt x="482" y="2752"/>
                    </a:lnTo>
                    <a:lnTo>
                      <a:pt x="486" y="2746"/>
                    </a:lnTo>
                    <a:lnTo>
                      <a:pt x="486" y="2744"/>
                    </a:lnTo>
                    <a:lnTo>
                      <a:pt x="484" y="2740"/>
                    </a:lnTo>
                    <a:lnTo>
                      <a:pt x="482" y="2740"/>
                    </a:lnTo>
                    <a:lnTo>
                      <a:pt x="480" y="2740"/>
                    </a:lnTo>
                    <a:lnTo>
                      <a:pt x="474" y="2744"/>
                    </a:lnTo>
                    <a:lnTo>
                      <a:pt x="470" y="2750"/>
                    </a:lnTo>
                    <a:lnTo>
                      <a:pt x="470" y="2752"/>
                    </a:lnTo>
                    <a:lnTo>
                      <a:pt x="470" y="2754"/>
                    </a:lnTo>
                    <a:close/>
                    <a:moveTo>
                      <a:pt x="808" y="2632"/>
                    </a:moveTo>
                    <a:lnTo>
                      <a:pt x="808" y="2632"/>
                    </a:lnTo>
                    <a:lnTo>
                      <a:pt x="804" y="2628"/>
                    </a:lnTo>
                    <a:lnTo>
                      <a:pt x="802" y="2626"/>
                    </a:lnTo>
                    <a:lnTo>
                      <a:pt x="798" y="2624"/>
                    </a:lnTo>
                    <a:lnTo>
                      <a:pt x="794" y="2626"/>
                    </a:lnTo>
                    <a:lnTo>
                      <a:pt x="790" y="2628"/>
                    </a:lnTo>
                    <a:lnTo>
                      <a:pt x="776" y="2638"/>
                    </a:lnTo>
                    <a:lnTo>
                      <a:pt x="768" y="2644"/>
                    </a:lnTo>
                    <a:lnTo>
                      <a:pt x="762" y="2646"/>
                    </a:lnTo>
                    <a:lnTo>
                      <a:pt x="758" y="2644"/>
                    </a:lnTo>
                    <a:lnTo>
                      <a:pt x="756" y="2642"/>
                    </a:lnTo>
                    <a:lnTo>
                      <a:pt x="752" y="2640"/>
                    </a:lnTo>
                    <a:lnTo>
                      <a:pt x="750" y="2650"/>
                    </a:lnTo>
                    <a:lnTo>
                      <a:pt x="752" y="2654"/>
                    </a:lnTo>
                    <a:lnTo>
                      <a:pt x="752" y="2658"/>
                    </a:lnTo>
                    <a:lnTo>
                      <a:pt x="756" y="2664"/>
                    </a:lnTo>
                    <a:lnTo>
                      <a:pt x="760" y="2672"/>
                    </a:lnTo>
                    <a:lnTo>
                      <a:pt x="762" y="2678"/>
                    </a:lnTo>
                    <a:lnTo>
                      <a:pt x="762" y="2686"/>
                    </a:lnTo>
                    <a:lnTo>
                      <a:pt x="762" y="2694"/>
                    </a:lnTo>
                    <a:lnTo>
                      <a:pt x="764" y="2698"/>
                    </a:lnTo>
                    <a:lnTo>
                      <a:pt x="764" y="2702"/>
                    </a:lnTo>
                    <a:lnTo>
                      <a:pt x="762" y="2714"/>
                    </a:lnTo>
                    <a:lnTo>
                      <a:pt x="760" y="2728"/>
                    </a:lnTo>
                    <a:lnTo>
                      <a:pt x="764" y="2742"/>
                    </a:lnTo>
                    <a:lnTo>
                      <a:pt x="766" y="2746"/>
                    </a:lnTo>
                    <a:lnTo>
                      <a:pt x="770" y="2750"/>
                    </a:lnTo>
                    <a:lnTo>
                      <a:pt x="774" y="2752"/>
                    </a:lnTo>
                    <a:lnTo>
                      <a:pt x="778" y="2752"/>
                    </a:lnTo>
                    <a:lnTo>
                      <a:pt x="782" y="2752"/>
                    </a:lnTo>
                    <a:lnTo>
                      <a:pt x="784" y="2748"/>
                    </a:lnTo>
                    <a:lnTo>
                      <a:pt x="788" y="2742"/>
                    </a:lnTo>
                    <a:lnTo>
                      <a:pt x="790" y="2738"/>
                    </a:lnTo>
                    <a:lnTo>
                      <a:pt x="792" y="2736"/>
                    </a:lnTo>
                    <a:lnTo>
                      <a:pt x="796" y="2738"/>
                    </a:lnTo>
                    <a:lnTo>
                      <a:pt x="802" y="2740"/>
                    </a:lnTo>
                    <a:lnTo>
                      <a:pt x="806" y="2740"/>
                    </a:lnTo>
                    <a:lnTo>
                      <a:pt x="808" y="2736"/>
                    </a:lnTo>
                    <a:lnTo>
                      <a:pt x="810" y="2726"/>
                    </a:lnTo>
                    <a:lnTo>
                      <a:pt x="814" y="2708"/>
                    </a:lnTo>
                    <a:lnTo>
                      <a:pt x="816" y="2698"/>
                    </a:lnTo>
                    <a:lnTo>
                      <a:pt x="814" y="2690"/>
                    </a:lnTo>
                    <a:lnTo>
                      <a:pt x="812" y="2682"/>
                    </a:lnTo>
                    <a:lnTo>
                      <a:pt x="810" y="2678"/>
                    </a:lnTo>
                    <a:lnTo>
                      <a:pt x="814" y="2672"/>
                    </a:lnTo>
                    <a:lnTo>
                      <a:pt x="818" y="2668"/>
                    </a:lnTo>
                    <a:lnTo>
                      <a:pt x="818" y="2662"/>
                    </a:lnTo>
                    <a:lnTo>
                      <a:pt x="818" y="2652"/>
                    </a:lnTo>
                    <a:lnTo>
                      <a:pt x="814" y="2642"/>
                    </a:lnTo>
                    <a:lnTo>
                      <a:pt x="808" y="2632"/>
                    </a:lnTo>
                    <a:close/>
                    <a:moveTo>
                      <a:pt x="576" y="2694"/>
                    </a:moveTo>
                    <a:lnTo>
                      <a:pt x="576" y="2694"/>
                    </a:lnTo>
                    <a:lnTo>
                      <a:pt x="578" y="2696"/>
                    </a:lnTo>
                    <a:lnTo>
                      <a:pt x="580" y="2696"/>
                    </a:lnTo>
                    <a:lnTo>
                      <a:pt x="584" y="2696"/>
                    </a:lnTo>
                    <a:lnTo>
                      <a:pt x="588" y="2698"/>
                    </a:lnTo>
                    <a:lnTo>
                      <a:pt x="592" y="2702"/>
                    </a:lnTo>
                    <a:lnTo>
                      <a:pt x="594" y="2700"/>
                    </a:lnTo>
                    <a:lnTo>
                      <a:pt x="596" y="2698"/>
                    </a:lnTo>
                    <a:lnTo>
                      <a:pt x="594" y="2692"/>
                    </a:lnTo>
                    <a:lnTo>
                      <a:pt x="594" y="2690"/>
                    </a:lnTo>
                    <a:lnTo>
                      <a:pt x="590" y="2688"/>
                    </a:lnTo>
                    <a:lnTo>
                      <a:pt x="584" y="2686"/>
                    </a:lnTo>
                    <a:lnTo>
                      <a:pt x="578" y="2688"/>
                    </a:lnTo>
                    <a:lnTo>
                      <a:pt x="576" y="2690"/>
                    </a:lnTo>
                    <a:lnTo>
                      <a:pt x="576" y="2694"/>
                    </a:lnTo>
                    <a:close/>
                    <a:moveTo>
                      <a:pt x="1022" y="2792"/>
                    </a:moveTo>
                    <a:lnTo>
                      <a:pt x="1022" y="2792"/>
                    </a:lnTo>
                    <a:lnTo>
                      <a:pt x="1016" y="2792"/>
                    </a:lnTo>
                    <a:lnTo>
                      <a:pt x="1010" y="2794"/>
                    </a:lnTo>
                    <a:lnTo>
                      <a:pt x="998" y="2800"/>
                    </a:lnTo>
                    <a:lnTo>
                      <a:pt x="990" y="2802"/>
                    </a:lnTo>
                    <a:lnTo>
                      <a:pt x="982" y="2802"/>
                    </a:lnTo>
                    <a:lnTo>
                      <a:pt x="974" y="2800"/>
                    </a:lnTo>
                    <a:lnTo>
                      <a:pt x="966" y="2796"/>
                    </a:lnTo>
                    <a:lnTo>
                      <a:pt x="960" y="2790"/>
                    </a:lnTo>
                    <a:lnTo>
                      <a:pt x="954" y="2790"/>
                    </a:lnTo>
                    <a:lnTo>
                      <a:pt x="950" y="2792"/>
                    </a:lnTo>
                    <a:lnTo>
                      <a:pt x="948" y="2794"/>
                    </a:lnTo>
                    <a:lnTo>
                      <a:pt x="944" y="2800"/>
                    </a:lnTo>
                    <a:lnTo>
                      <a:pt x="942" y="2800"/>
                    </a:lnTo>
                    <a:lnTo>
                      <a:pt x="938" y="2794"/>
                    </a:lnTo>
                    <a:lnTo>
                      <a:pt x="936" y="2794"/>
                    </a:lnTo>
                    <a:lnTo>
                      <a:pt x="934" y="2792"/>
                    </a:lnTo>
                    <a:lnTo>
                      <a:pt x="930" y="2796"/>
                    </a:lnTo>
                    <a:lnTo>
                      <a:pt x="926" y="2802"/>
                    </a:lnTo>
                    <a:lnTo>
                      <a:pt x="924" y="2814"/>
                    </a:lnTo>
                    <a:lnTo>
                      <a:pt x="926" y="2820"/>
                    </a:lnTo>
                    <a:lnTo>
                      <a:pt x="930" y="2822"/>
                    </a:lnTo>
                    <a:lnTo>
                      <a:pt x="944" y="2828"/>
                    </a:lnTo>
                    <a:lnTo>
                      <a:pt x="954" y="2832"/>
                    </a:lnTo>
                    <a:lnTo>
                      <a:pt x="966" y="2840"/>
                    </a:lnTo>
                    <a:lnTo>
                      <a:pt x="976" y="2848"/>
                    </a:lnTo>
                    <a:lnTo>
                      <a:pt x="982" y="2850"/>
                    </a:lnTo>
                    <a:lnTo>
                      <a:pt x="986" y="2850"/>
                    </a:lnTo>
                    <a:lnTo>
                      <a:pt x="994" y="2852"/>
                    </a:lnTo>
                    <a:lnTo>
                      <a:pt x="1000" y="2858"/>
                    </a:lnTo>
                    <a:lnTo>
                      <a:pt x="1008" y="2864"/>
                    </a:lnTo>
                    <a:lnTo>
                      <a:pt x="1016" y="2870"/>
                    </a:lnTo>
                    <a:lnTo>
                      <a:pt x="1030" y="2874"/>
                    </a:lnTo>
                    <a:lnTo>
                      <a:pt x="1032" y="2874"/>
                    </a:lnTo>
                    <a:lnTo>
                      <a:pt x="1032" y="2870"/>
                    </a:lnTo>
                    <a:lnTo>
                      <a:pt x="1034" y="2862"/>
                    </a:lnTo>
                    <a:lnTo>
                      <a:pt x="1036" y="2852"/>
                    </a:lnTo>
                    <a:lnTo>
                      <a:pt x="1036" y="2844"/>
                    </a:lnTo>
                    <a:lnTo>
                      <a:pt x="1034" y="2840"/>
                    </a:lnTo>
                    <a:lnTo>
                      <a:pt x="1032" y="2838"/>
                    </a:lnTo>
                    <a:lnTo>
                      <a:pt x="1030" y="2834"/>
                    </a:lnTo>
                    <a:lnTo>
                      <a:pt x="1030" y="2828"/>
                    </a:lnTo>
                    <a:lnTo>
                      <a:pt x="1036" y="2814"/>
                    </a:lnTo>
                    <a:lnTo>
                      <a:pt x="1050" y="2788"/>
                    </a:lnTo>
                    <a:lnTo>
                      <a:pt x="1052" y="2786"/>
                    </a:lnTo>
                    <a:lnTo>
                      <a:pt x="1050" y="2784"/>
                    </a:lnTo>
                    <a:lnTo>
                      <a:pt x="1042" y="2788"/>
                    </a:lnTo>
                    <a:lnTo>
                      <a:pt x="1032" y="2792"/>
                    </a:lnTo>
                    <a:lnTo>
                      <a:pt x="1026" y="2792"/>
                    </a:lnTo>
                    <a:lnTo>
                      <a:pt x="1022" y="2792"/>
                    </a:lnTo>
                    <a:close/>
                    <a:moveTo>
                      <a:pt x="802" y="2526"/>
                    </a:moveTo>
                    <a:lnTo>
                      <a:pt x="802" y="2526"/>
                    </a:lnTo>
                    <a:lnTo>
                      <a:pt x="800" y="2524"/>
                    </a:lnTo>
                    <a:lnTo>
                      <a:pt x="800" y="2526"/>
                    </a:lnTo>
                    <a:lnTo>
                      <a:pt x="798" y="2534"/>
                    </a:lnTo>
                    <a:lnTo>
                      <a:pt x="798" y="2540"/>
                    </a:lnTo>
                    <a:lnTo>
                      <a:pt x="798" y="2542"/>
                    </a:lnTo>
                    <a:lnTo>
                      <a:pt x="794" y="2542"/>
                    </a:lnTo>
                    <a:lnTo>
                      <a:pt x="790" y="2542"/>
                    </a:lnTo>
                    <a:lnTo>
                      <a:pt x="788" y="2542"/>
                    </a:lnTo>
                    <a:lnTo>
                      <a:pt x="782" y="2546"/>
                    </a:lnTo>
                    <a:lnTo>
                      <a:pt x="778" y="2548"/>
                    </a:lnTo>
                    <a:lnTo>
                      <a:pt x="774" y="2550"/>
                    </a:lnTo>
                    <a:lnTo>
                      <a:pt x="772" y="2550"/>
                    </a:lnTo>
                    <a:lnTo>
                      <a:pt x="772" y="2554"/>
                    </a:lnTo>
                    <a:lnTo>
                      <a:pt x="770" y="2568"/>
                    </a:lnTo>
                    <a:lnTo>
                      <a:pt x="770" y="2580"/>
                    </a:lnTo>
                    <a:lnTo>
                      <a:pt x="770" y="2584"/>
                    </a:lnTo>
                    <a:lnTo>
                      <a:pt x="772" y="2586"/>
                    </a:lnTo>
                    <a:lnTo>
                      <a:pt x="776" y="2586"/>
                    </a:lnTo>
                    <a:lnTo>
                      <a:pt x="776" y="2588"/>
                    </a:lnTo>
                    <a:lnTo>
                      <a:pt x="774" y="2592"/>
                    </a:lnTo>
                    <a:lnTo>
                      <a:pt x="772" y="2594"/>
                    </a:lnTo>
                    <a:lnTo>
                      <a:pt x="772" y="2596"/>
                    </a:lnTo>
                    <a:lnTo>
                      <a:pt x="778" y="2596"/>
                    </a:lnTo>
                    <a:lnTo>
                      <a:pt x="780" y="2598"/>
                    </a:lnTo>
                    <a:lnTo>
                      <a:pt x="778" y="2602"/>
                    </a:lnTo>
                    <a:lnTo>
                      <a:pt x="776" y="2604"/>
                    </a:lnTo>
                    <a:lnTo>
                      <a:pt x="776" y="2606"/>
                    </a:lnTo>
                    <a:lnTo>
                      <a:pt x="778" y="2608"/>
                    </a:lnTo>
                    <a:lnTo>
                      <a:pt x="786" y="2612"/>
                    </a:lnTo>
                    <a:lnTo>
                      <a:pt x="788" y="2614"/>
                    </a:lnTo>
                    <a:lnTo>
                      <a:pt x="790" y="2616"/>
                    </a:lnTo>
                    <a:lnTo>
                      <a:pt x="792" y="2616"/>
                    </a:lnTo>
                    <a:lnTo>
                      <a:pt x="794" y="2616"/>
                    </a:lnTo>
                    <a:lnTo>
                      <a:pt x="794" y="2612"/>
                    </a:lnTo>
                    <a:lnTo>
                      <a:pt x="794" y="2610"/>
                    </a:lnTo>
                    <a:lnTo>
                      <a:pt x="796" y="2606"/>
                    </a:lnTo>
                    <a:lnTo>
                      <a:pt x="800" y="2604"/>
                    </a:lnTo>
                    <a:lnTo>
                      <a:pt x="800" y="2600"/>
                    </a:lnTo>
                    <a:lnTo>
                      <a:pt x="802" y="2588"/>
                    </a:lnTo>
                    <a:lnTo>
                      <a:pt x="802" y="2582"/>
                    </a:lnTo>
                    <a:lnTo>
                      <a:pt x="804" y="2578"/>
                    </a:lnTo>
                    <a:lnTo>
                      <a:pt x="808" y="2574"/>
                    </a:lnTo>
                    <a:lnTo>
                      <a:pt x="808" y="2562"/>
                    </a:lnTo>
                    <a:lnTo>
                      <a:pt x="806" y="2552"/>
                    </a:lnTo>
                    <a:lnTo>
                      <a:pt x="804" y="2546"/>
                    </a:lnTo>
                    <a:lnTo>
                      <a:pt x="804" y="2544"/>
                    </a:lnTo>
                    <a:lnTo>
                      <a:pt x="804" y="2540"/>
                    </a:lnTo>
                    <a:lnTo>
                      <a:pt x="804" y="2530"/>
                    </a:lnTo>
                    <a:lnTo>
                      <a:pt x="804" y="2528"/>
                    </a:lnTo>
                    <a:lnTo>
                      <a:pt x="802" y="2526"/>
                    </a:lnTo>
                    <a:close/>
                    <a:moveTo>
                      <a:pt x="550" y="2700"/>
                    </a:moveTo>
                    <a:lnTo>
                      <a:pt x="550" y="2700"/>
                    </a:lnTo>
                    <a:lnTo>
                      <a:pt x="548" y="2696"/>
                    </a:lnTo>
                    <a:lnTo>
                      <a:pt x="544" y="2696"/>
                    </a:lnTo>
                    <a:lnTo>
                      <a:pt x="538" y="2698"/>
                    </a:lnTo>
                    <a:lnTo>
                      <a:pt x="532" y="2702"/>
                    </a:lnTo>
                    <a:lnTo>
                      <a:pt x="520" y="2712"/>
                    </a:lnTo>
                    <a:lnTo>
                      <a:pt x="518" y="2716"/>
                    </a:lnTo>
                    <a:lnTo>
                      <a:pt x="520" y="2718"/>
                    </a:lnTo>
                    <a:lnTo>
                      <a:pt x="520" y="2720"/>
                    </a:lnTo>
                    <a:lnTo>
                      <a:pt x="526" y="2718"/>
                    </a:lnTo>
                    <a:lnTo>
                      <a:pt x="530" y="2718"/>
                    </a:lnTo>
                    <a:lnTo>
                      <a:pt x="532" y="2720"/>
                    </a:lnTo>
                    <a:lnTo>
                      <a:pt x="536" y="2726"/>
                    </a:lnTo>
                    <a:lnTo>
                      <a:pt x="542" y="2730"/>
                    </a:lnTo>
                    <a:lnTo>
                      <a:pt x="546" y="2732"/>
                    </a:lnTo>
                    <a:lnTo>
                      <a:pt x="548" y="2732"/>
                    </a:lnTo>
                    <a:lnTo>
                      <a:pt x="554" y="2726"/>
                    </a:lnTo>
                    <a:lnTo>
                      <a:pt x="562" y="2708"/>
                    </a:lnTo>
                    <a:lnTo>
                      <a:pt x="564" y="2706"/>
                    </a:lnTo>
                    <a:lnTo>
                      <a:pt x="564" y="2704"/>
                    </a:lnTo>
                    <a:lnTo>
                      <a:pt x="558" y="2704"/>
                    </a:lnTo>
                    <a:lnTo>
                      <a:pt x="552" y="2706"/>
                    </a:lnTo>
                    <a:lnTo>
                      <a:pt x="550" y="2704"/>
                    </a:lnTo>
                    <a:lnTo>
                      <a:pt x="550" y="2700"/>
                    </a:lnTo>
                    <a:close/>
                    <a:moveTo>
                      <a:pt x="1254" y="2806"/>
                    </a:moveTo>
                    <a:lnTo>
                      <a:pt x="1254" y="2806"/>
                    </a:lnTo>
                    <a:lnTo>
                      <a:pt x="1252" y="2810"/>
                    </a:lnTo>
                    <a:lnTo>
                      <a:pt x="1254" y="2814"/>
                    </a:lnTo>
                    <a:lnTo>
                      <a:pt x="1260" y="2818"/>
                    </a:lnTo>
                    <a:lnTo>
                      <a:pt x="1264" y="2820"/>
                    </a:lnTo>
                    <a:lnTo>
                      <a:pt x="1266" y="2818"/>
                    </a:lnTo>
                    <a:lnTo>
                      <a:pt x="1266" y="2816"/>
                    </a:lnTo>
                    <a:lnTo>
                      <a:pt x="1264" y="2812"/>
                    </a:lnTo>
                    <a:lnTo>
                      <a:pt x="1258" y="2808"/>
                    </a:lnTo>
                    <a:lnTo>
                      <a:pt x="1254" y="2806"/>
                    </a:lnTo>
                    <a:close/>
                    <a:moveTo>
                      <a:pt x="1410" y="2874"/>
                    </a:moveTo>
                    <a:lnTo>
                      <a:pt x="1410" y="2874"/>
                    </a:lnTo>
                    <a:lnTo>
                      <a:pt x="1412" y="2870"/>
                    </a:lnTo>
                    <a:lnTo>
                      <a:pt x="1410" y="2868"/>
                    </a:lnTo>
                    <a:lnTo>
                      <a:pt x="1408" y="2868"/>
                    </a:lnTo>
                    <a:lnTo>
                      <a:pt x="1402" y="2870"/>
                    </a:lnTo>
                    <a:lnTo>
                      <a:pt x="1402" y="2872"/>
                    </a:lnTo>
                    <a:lnTo>
                      <a:pt x="1400" y="2874"/>
                    </a:lnTo>
                    <a:lnTo>
                      <a:pt x="1402" y="2876"/>
                    </a:lnTo>
                    <a:lnTo>
                      <a:pt x="1406" y="2876"/>
                    </a:lnTo>
                    <a:lnTo>
                      <a:pt x="1410" y="2874"/>
                    </a:lnTo>
                    <a:close/>
                    <a:moveTo>
                      <a:pt x="1214" y="2706"/>
                    </a:moveTo>
                    <a:lnTo>
                      <a:pt x="1214" y="2706"/>
                    </a:lnTo>
                    <a:lnTo>
                      <a:pt x="1214" y="2712"/>
                    </a:lnTo>
                    <a:lnTo>
                      <a:pt x="1218" y="2718"/>
                    </a:lnTo>
                    <a:lnTo>
                      <a:pt x="1224" y="2722"/>
                    </a:lnTo>
                    <a:lnTo>
                      <a:pt x="1230" y="2726"/>
                    </a:lnTo>
                    <a:lnTo>
                      <a:pt x="1232" y="2726"/>
                    </a:lnTo>
                    <a:lnTo>
                      <a:pt x="1230" y="2724"/>
                    </a:lnTo>
                    <a:lnTo>
                      <a:pt x="1228" y="2720"/>
                    </a:lnTo>
                    <a:lnTo>
                      <a:pt x="1224" y="2714"/>
                    </a:lnTo>
                    <a:lnTo>
                      <a:pt x="1222" y="2708"/>
                    </a:lnTo>
                    <a:lnTo>
                      <a:pt x="1222" y="2704"/>
                    </a:lnTo>
                    <a:lnTo>
                      <a:pt x="1218" y="2702"/>
                    </a:lnTo>
                    <a:lnTo>
                      <a:pt x="1216" y="2702"/>
                    </a:lnTo>
                    <a:lnTo>
                      <a:pt x="1214" y="2706"/>
                    </a:lnTo>
                    <a:close/>
                    <a:moveTo>
                      <a:pt x="1468" y="2954"/>
                    </a:moveTo>
                    <a:lnTo>
                      <a:pt x="1468" y="2954"/>
                    </a:lnTo>
                    <a:lnTo>
                      <a:pt x="1464" y="2956"/>
                    </a:lnTo>
                    <a:lnTo>
                      <a:pt x="1462" y="2956"/>
                    </a:lnTo>
                    <a:lnTo>
                      <a:pt x="1460" y="2952"/>
                    </a:lnTo>
                    <a:lnTo>
                      <a:pt x="1460" y="2948"/>
                    </a:lnTo>
                    <a:lnTo>
                      <a:pt x="1456" y="2946"/>
                    </a:lnTo>
                    <a:lnTo>
                      <a:pt x="1452" y="2946"/>
                    </a:lnTo>
                    <a:lnTo>
                      <a:pt x="1446" y="2948"/>
                    </a:lnTo>
                    <a:lnTo>
                      <a:pt x="1442" y="2946"/>
                    </a:lnTo>
                    <a:lnTo>
                      <a:pt x="1434" y="2944"/>
                    </a:lnTo>
                    <a:lnTo>
                      <a:pt x="1424" y="2942"/>
                    </a:lnTo>
                    <a:lnTo>
                      <a:pt x="1418" y="2942"/>
                    </a:lnTo>
                    <a:lnTo>
                      <a:pt x="1410" y="2944"/>
                    </a:lnTo>
                    <a:lnTo>
                      <a:pt x="1406" y="2944"/>
                    </a:lnTo>
                    <a:lnTo>
                      <a:pt x="1402" y="2942"/>
                    </a:lnTo>
                    <a:lnTo>
                      <a:pt x="1398" y="2938"/>
                    </a:lnTo>
                    <a:lnTo>
                      <a:pt x="1396" y="2934"/>
                    </a:lnTo>
                    <a:lnTo>
                      <a:pt x="1394" y="2932"/>
                    </a:lnTo>
                    <a:lnTo>
                      <a:pt x="1392" y="2934"/>
                    </a:lnTo>
                    <a:lnTo>
                      <a:pt x="1390" y="2934"/>
                    </a:lnTo>
                    <a:lnTo>
                      <a:pt x="1386" y="2934"/>
                    </a:lnTo>
                    <a:lnTo>
                      <a:pt x="1382" y="2932"/>
                    </a:lnTo>
                    <a:lnTo>
                      <a:pt x="1380" y="2928"/>
                    </a:lnTo>
                    <a:lnTo>
                      <a:pt x="1378" y="2928"/>
                    </a:lnTo>
                    <a:lnTo>
                      <a:pt x="1378" y="2930"/>
                    </a:lnTo>
                    <a:lnTo>
                      <a:pt x="1376" y="2934"/>
                    </a:lnTo>
                    <a:lnTo>
                      <a:pt x="1374" y="2936"/>
                    </a:lnTo>
                    <a:lnTo>
                      <a:pt x="1372" y="2938"/>
                    </a:lnTo>
                    <a:lnTo>
                      <a:pt x="1372" y="2946"/>
                    </a:lnTo>
                    <a:lnTo>
                      <a:pt x="1372" y="2950"/>
                    </a:lnTo>
                    <a:lnTo>
                      <a:pt x="1376" y="2952"/>
                    </a:lnTo>
                    <a:lnTo>
                      <a:pt x="1388" y="2952"/>
                    </a:lnTo>
                    <a:lnTo>
                      <a:pt x="1402" y="2954"/>
                    </a:lnTo>
                    <a:lnTo>
                      <a:pt x="1410" y="2958"/>
                    </a:lnTo>
                    <a:lnTo>
                      <a:pt x="1418" y="2962"/>
                    </a:lnTo>
                    <a:lnTo>
                      <a:pt x="1422" y="2964"/>
                    </a:lnTo>
                    <a:lnTo>
                      <a:pt x="1428" y="2966"/>
                    </a:lnTo>
                    <a:lnTo>
                      <a:pt x="1440" y="2966"/>
                    </a:lnTo>
                    <a:lnTo>
                      <a:pt x="1452" y="2964"/>
                    </a:lnTo>
                    <a:lnTo>
                      <a:pt x="1468" y="2964"/>
                    </a:lnTo>
                    <a:lnTo>
                      <a:pt x="1476" y="2962"/>
                    </a:lnTo>
                    <a:lnTo>
                      <a:pt x="1480" y="2960"/>
                    </a:lnTo>
                    <a:lnTo>
                      <a:pt x="1482" y="2958"/>
                    </a:lnTo>
                    <a:lnTo>
                      <a:pt x="1484" y="2954"/>
                    </a:lnTo>
                    <a:lnTo>
                      <a:pt x="1482" y="2952"/>
                    </a:lnTo>
                    <a:lnTo>
                      <a:pt x="1478" y="2950"/>
                    </a:lnTo>
                    <a:lnTo>
                      <a:pt x="1474" y="2950"/>
                    </a:lnTo>
                    <a:lnTo>
                      <a:pt x="1468" y="2954"/>
                    </a:lnTo>
                    <a:close/>
                    <a:moveTo>
                      <a:pt x="1518" y="2942"/>
                    </a:moveTo>
                    <a:lnTo>
                      <a:pt x="1518" y="2942"/>
                    </a:lnTo>
                    <a:lnTo>
                      <a:pt x="1520" y="2940"/>
                    </a:lnTo>
                    <a:lnTo>
                      <a:pt x="1520" y="2938"/>
                    </a:lnTo>
                    <a:lnTo>
                      <a:pt x="1518" y="2926"/>
                    </a:lnTo>
                    <a:lnTo>
                      <a:pt x="1516" y="2924"/>
                    </a:lnTo>
                    <a:lnTo>
                      <a:pt x="1516" y="2926"/>
                    </a:lnTo>
                    <a:lnTo>
                      <a:pt x="1514" y="2932"/>
                    </a:lnTo>
                    <a:lnTo>
                      <a:pt x="1514" y="2938"/>
                    </a:lnTo>
                    <a:lnTo>
                      <a:pt x="1516" y="2940"/>
                    </a:lnTo>
                    <a:lnTo>
                      <a:pt x="1518" y="2942"/>
                    </a:lnTo>
                    <a:close/>
                    <a:moveTo>
                      <a:pt x="1252" y="2768"/>
                    </a:moveTo>
                    <a:lnTo>
                      <a:pt x="1252" y="2768"/>
                    </a:lnTo>
                    <a:lnTo>
                      <a:pt x="1254" y="2768"/>
                    </a:lnTo>
                    <a:lnTo>
                      <a:pt x="1256" y="2766"/>
                    </a:lnTo>
                    <a:lnTo>
                      <a:pt x="1256" y="2764"/>
                    </a:lnTo>
                    <a:lnTo>
                      <a:pt x="1254" y="2760"/>
                    </a:lnTo>
                    <a:lnTo>
                      <a:pt x="1254" y="2758"/>
                    </a:lnTo>
                    <a:lnTo>
                      <a:pt x="1252" y="2758"/>
                    </a:lnTo>
                    <a:lnTo>
                      <a:pt x="1250" y="2762"/>
                    </a:lnTo>
                    <a:lnTo>
                      <a:pt x="1248" y="2766"/>
                    </a:lnTo>
                    <a:lnTo>
                      <a:pt x="1250" y="2768"/>
                    </a:lnTo>
                    <a:lnTo>
                      <a:pt x="1252" y="2768"/>
                    </a:lnTo>
                    <a:close/>
                    <a:moveTo>
                      <a:pt x="1256" y="2790"/>
                    </a:moveTo>
                    <a:lnTo>
                      <a:pt x="1256" y="2790"/>
                    </a:lnTo>
                    <a:lnTo>
                      <a:pt x="1254" y="2786"/>
                    </a:lnTo>
                    <a:lnTo>
                      <a:pt x="1252" y="2782"/>
                    </a:lnTo>
                    <a:lnTo>
                      <a:pt x="1252" y="2780"/>
                    </a:lnTo>
                    <a:lnTo>
                      <a:pt x="1250" y="2780"/>
                    </a:lnTo>
                    <a:lnTo>
                      <a:pt x="1248" y="2782"/>
                    </a:lnTo>
                    <a:lnTo>
                      <a:pt x="1244" y="2782"/>
                    </a:lnTo>
                    <a:lnTo>
                      <a:pt x="1242" y="2784"/>
                    </a:lnTo>
                    <a:lnTo>
                      <a:pt x="1242" y="2790"/>
                    </a:lnTo>
                    <a:lnTo>
                      <a:pt x="1244" y="2794"/>
                    </a:lnTo>
                    <a:lnTo>
                      <a:pt x="1246" y="2794"/>
                    </a:lnTo>
                    <a:lnTo>
                      <a:pt x="1250" y="2794"/>
                    </a:lnTo>
                    <a:lnTo>
                      <a:pt x="1256" y="2796"/>
                    </a:lnTo>
                    <a:lnTo>
                      <a:pt x="1260" y="2798"/>
                    </a:lnTo>
                    <a:lnTo>
                      <a:pt x="1260" y="2794"/>
                    </a:lnTo>
                    <a:lnTo>
                      <a:pt x="1256" y="2790"/>
                    </a:lnTo>
                    <a:close/>
                    <a:moveTo>
                      <a:pt x="1348" y="2902"/>
                    </a:moveTo>
                    <a:lnTo>
                      <a:pt x="1348" y="2902"/>
                    </a:lnTo>
                    <a:lnTo>
                      <a:pt x="1352" y="2904"/>
                    </a:lnTo>
                    <a:lnTo>
                      <a:pt x="1352" y="2902"/>
                    </a:lnTo>
                    <a:lnTo>
                      <a:pt x="1352" y="2898"/>
                    </a:lnTo>
                    <a:lnTo>
                      <a:pt x="1350" y="2892"/>
                    </a:lnTo>
                    <a:lnTo>
                      <a:pt x="1346" y="2890"/>
                    </a:lnTo>
                    <a:lnTo>
                      <a:pt x="1344" y="2892"/>
                    </a:lnTo>
                    <a:lnTo>
                      <a:pt x="1346" y="2896"/>
                    </a:lnTo>
                    <a:lnTo>
                      <a:pt x="1348" y="2902"/>
                    </a:lnTo>
                    <a:close/>
                    <a:moveTo>
                      <a:pt x="1448" y="2860"/>
                    </a:moveTo>
                    <a:lnTo>
                      <a:pt x="1448" y="2860"/>
                    </a:lnTo>
                    <a:lnTo>
                      <a:pt x="1450" y="2860"/>
                    </a:lnTo>
                    <a:lnTo>
                      <a:pt x="1452" y="2860"/>
                    </a:lnTo>
                    <a:lnTo>
                      <a:pt x="1454" y="2854"/>
                    </a:lnTo>
                    <a:lnTo>
                      <a:pt x="1452" y="2848"/>
                    </a:lnTo>
                    <a:lnTo>
                      <a:pt x="1452" y="2846"/>
                    </a:lnTo>
                    <a:lnTo>
                      <a:pt x="1448" y="2846"/>
                    </a:lnTo>
                    <a:lnTo>
                      <a:pt x="1446" y="2850"/>
                    </a:lnTo>
                    <a:lnTo>
                      <a:pt x="1444" y="2852"/>
                    </a:lnTo>
                    <a:lnTo>
                      <a:pt x="1446" y="2856"/>
                    </a:lnTo>
                    <a:lnTo>
                      <a:pt x="1448" y="2860"/>
                    </a:lnTo>
                    <a:close/>
                    <a:moveTo>
                      <a:pt x="1440" y="2848"/>
                    </a:moveTo>
                    <a:lnTo>
                      <a:pt x="1440" y="2848"/>
                    </a:lnTo>
                    <a:lnTo>
                      <a:pt x="1438" y="2848"/>
                    </a:lnTo>
                    <a:lnTo>
                      <a:pt x="1434" y="2850"/>
                    </a:lnTo>
                    <a:lnTo>
                      <a:pt x="1434" y="2854"/>
                    </a:lnTo>
                    <a:lnTo>
                      <a:pt x="1436" y="2856"/>
                    </a:lnTo>
                    <a:lnTo>
                      <a:pt x="1438" y="2856"/>
                    </a:lnTo>
                    <a:lnTo>
                      <a:pt x="1440" y="2854"/>
                    </a:lnTo>
                    <a:lnTo>
                      <a:pt x="1440" y="2850"/>
                    </a:lnTo>
                    <a:lnTo>
                      <a:pt x="1440" y="2848"/>
                    </a:lnTo>
                    <a:close/>
                    <a:moveTo>
                      <a:pt x="2822" y="3608"/>
                    </a:moveTo>
                    <a:lnTo>
                      <a:pt x="2822" y="3608"/>
                    </a:lnTo>
                    <a:lnTo>
                      <a:pt x="2818" y="3606"/>
                    </a:lnTo>
                    <a:lnTo>
                      <a:pt x="2814" y="3598"/>
                    </a:lnTo>
                    <a:lnTo>
                      <a:pt x="2802" y="3578"/>
                    </a:lnTo>
                    <a:lnTo>
                      <a:pt x="2798" y="3570"/>
                    </a:lnTo>
                    <a:lnTo>
                      <a:pt x="2792" y="3562"/>
                    </a:lnTo>
                    <a:lnTo>
                      <a:pt x="2786" y="3558"/>
                    </a:lnTo>
                    <a:lnTo>
                      <a:pt x="2782" y="3556"/>
                    </a:lnTo>
                    <a:lnTo>
                      <a:pt x="2780" y="3558"/>
                    </a:lnTo>
                    <a:lnTo>
                      <a:pt x="2776" y="3558"/>
                    </a:lnTo>
                    <a:lnTo>
                      <a:pt x="2774" y="3558"/>
                    </a:lnTo>
                    <a:lnTo>
                      <a:pt x="2768" y="3554"/>
                    </a:lnTo>
                    <a:lnTo>
                      <a:pt x="2762" y="3550"/>
                    </a:lnTo>
                    <a:lnTo>
                      <a:pt x="2756" y="3548"/>
                    </a:lnTo>
                    <a:lnTo>
                      <a:pt x="2746" y="3546"/>
                    </a:lnTo>
                    <a:lnTo>
                      <a:pt x="2738" y="3544"/>
                    </a:lnTo>
                    <a:lnTo>
                      <a:pt x="2728" y="3540"/>
                    </a:lnTo>
                    <a:lnTo>
                      <a:pt x="2720" y="3532"/>
                    </a:lnTo>
                    <a:lnTo>
                      <a:pt x="2712" y="3524"/>
                    </a:lnTo>
                    <a:lnTo>
                      <a:pt x="2706" y="3516"/>
                    </a:lnTo>
                    <a:lnTo>
                      <a:pt x="2700" y="3506"/>
                    </a:lnTo>
                    <a:lnTo>
                      <a:pt x="2696" y="3496"/>
                    </a:lnTo>
                    <a:lnTo>
                      <a:pt x="2694" y="3488"/>
                    </a:lnTo>
                    <a:lnTo>
                      <a:pt x="2694" y="3464"/>
                    </a:lnTo>
                    <a:lnTo>
                      <a:pt x="2694" y="3458"/>
                    </a:lnTo>
                    <a:lnTo>
                      <a:pt x="2692" y="3454"/>
                    </a:lnTo>
                    <a:lnTo>
                      <a:pt x="2692" y="3448"/>
                    </a:lnTo>
                    <a:lnTo>
                      <a:pt x="2694" y="3442"/>
                    </a:lnTo>
                    <a:lnTo>
                      <a:pt x="2696" y="3438"/>
                    </a:lnTo>
                    <a:lnTo>
                      <a:pt x="2696" y="3434"/>
                    </a:lnTo>
                    <a:lnTo>
                      <a:pt x="2696" y="3430"/>
                    </a:lnTo>
                    <a:lnTo>
                      <a:pt x="2698" y="3422"/>
                    </a:lnTo>
                    <a:lnTo>
                      <a:pt x="2700" y="3418"/>
                    </a:lnTo>
                    <a:lnTo>
                      <a:pt x="2698" y="3416"/>
                    </a:lnTo>
                    <a:lnTo>
                      <a:pt x="2696" y="3414"/>
                    </a:lnTo>
                    <a:lnTo>
                      <a:pt x="2694" y="3416"/>
                    </a:lnTo>
                    <a:lnTo>
                      <a:pt x="2692" y="3416"/>
                    </a:lnTo>
                    <a:lnTo>
                      <a:pt x="2692" y="3420"/>
                    </a:lnTo>
                    <a:lnTo>
                      <a:pt x="2694" y="3424"/>
                    </a:lnTo>
                    <a:lnTo>
                      <a:pt x="2692" y="3424"/>
                    </a:lnTo>
                    <a:lnTo>
                      <a:pt x="2688" y="3422"/>
                    </a:lnTo>
                    <a:lnTo>
                      <a:pt x="2686" y="3422"/>
                    </a:lnTo>
                    <a:lnTo>
                      <a:pt x="2684" y="3432"/>
                    </a:lnTo>
                    <a:lnTo>
                      <a:pt x="2680" y="3444"/>
                    </a:lnTo>
                    <a:lnTo>
                      <a:pt x="2678" y="3444"/>
                    </a:lnTo>
                    <a:lnTo>
                      <a:pt x="2676" y="3444"/>
                    </a:lnTo>
                    <a:lnTo>
                      <a:pt x="2674" y="3444"/>
                    </a:lnTo>
                    <a:lnTo>
                      <a:pt x="2670" y="3452"/>
                    </a:lnTo>
                    <a:lnTo>
                      <a:pt x="2666" y="3458"/>
                    </a:lnTo>
                    <a:lnTo>
                      <a:pt x="2660" y="3462"/>
                    </a:lnTo>
                    <a:lnTo>
                      <a:pt x="2654" y="3468"/>
                    </a:lnTo>
                    <a:lnTo>
                      <a:pt x="2646" y="3476"/>
                    </a:lnTo>
                    <a:lnTo>
                      <a:pt x="2638" y="3488"/>
                    </a:lnTo>
                    <a:lnTo>
                      <a:pt x="2628" y="3496"/>
                    </a:lnTo>
                    <a:lnTo>
                      <a:pt x="2614" y="3508"/>
                    </a:lnTo>
                    <a:lnTo>
                      <a:pt x="2616" y="3510"/>
                    </a:lnTo>
                    <a:lnTo>
                      <a:pt x="2618" y="3512"/>
                    </a:lnTo>
                    <a:lnTo>
                      <a:pt x="2618" y="3516"/>
                    </a:lnTo>
                    <a:lnTo>
                      <a:pt x="2614" y="3524"/>
                    </a:lnTo>
                    <a:lnTo>
                      <a:pt x="2606" y="3530"/>
                    </a:lnTo>
                    <a:lnTo>
                      <a:pt x="2598" y="3532"/>
                    </a:lnTo>
                    <a:lnTo>
                      <a:pt x="2588" y="3534"/>
                    </a:lnTo>
                    <a:lnTo>
                      <a:pt x="2578" y="3532"/>
                    </a:lnTo>
                    <a:lnTo>
                      <a:pt x="2558" y="3528"/>
                    </a:lnTo>
                    <a:lnTo>
                      <a:pt x="2546" y="3528"/>
                    </a:lnTo>
                    <a:lnTo>
                      <a:pt x="2538" y="3532"/>
                    </a:lnTo>
                    <a:lnTo>
                      <a:pt x="2522" y="3538"/>
                    </a:lnTo>
                    <a:lnTo>
                      <a:pt x="2514" y="3538"/>
                    </a:lnTo>
                    <a:lnTo>
                      <a:pt x="2512" y="3538"/>
                    </a:lnTo>
                    <a:lnTo>
                      <a:pt x="2510" y="3536"/>
                    </a:lnTo>
                    <a:lnTo>
                      <a:pt x="2510" y="3528"/>
                    </a:lnTo>
                    <a:lnTo>
                      <a:pt x="2510" y="3522"/>
                    </a:lnTo>
                    <a:lnTo>
                      <a:pt x="2506" y="3522"/>
                    </a:lnTo>
                    <a:lnTo>
                      <a:pt x="2502" y="3522"/>
                    </a:lnTo>
                    <a:lnTo>
                      <a:pt x="2496" y="3522"/>
                    </a:lnTo>
                    <a:lnTo>
                      <a:pt x="2492" y="3520"/>
                    </a:lnTo>
                    <a:lnTo>
                      <a:pt x="2490" y="3518"/>
                    </a:lnTo>
                    <a:lnTo>
                      <a:pt x="2492" y="3514"/>
                    </a:lnTo>
                    <a:lnTo>
                      <a:pt x="2496" y="3510"/>
                    </a:lnTo>
                    <a:lnTo>
                      <a:pt x="2496" y="3506"/>
                    </a:lnTo>
                    <a:lnTo>
                      <a:pt x="2492" y="3508"/>
                    </a:lnTo>
                    <a:lnTo>
                      <a:pt x="2490" y="3508"/>
                    </a:lnTo>
                    <a:lnTo>
                      <a:pt x="2488" y="3508"/>
                    </a:lnTo>
                    <a:lnTo>
                      <a:pt x="2486" y="3506"/>
                    </a:lnTo>
                    <a:lnTo>
                      <a:pt x="2488" y="3504"/>
                    </a:lnTo>
                    <a:lnTo>
                      <a:pt x="2490" y="3504"/>
                    </a:lnTo>
                    <a:lnTo>
                      <a:pt x="2494" y="3504"/>
                    </a:lnTo>
                    <a:lnTo>
                      <a:pt x="2496" y="3502"/>
                    </a:lnTo>
                    <a:lnTo>
                      <a:pt x="2498" y="3496"/>
                    </a:lnTo>
                    <a:lnTo>
                      <a:pt x="2502" y="3480"/>
                    </a:lnTo>
                    <a:lnTo>
                      <a:pt x="2502" y="3474"/>
                    </a:lnTo>
                    <a:lnTo>
                      <a:pt x="2500" y="3468"/>
                    </a:lnTo>
                    <a:lnTo>
                      <a:pt x="2496" y="3462"/>
                    </a:lnTo>
                    <a:lnTo>
                      <a:pt x="2496" y="3458"/>
                    </a:lnTo>
                    <a:lnTo>
                      <a:pt x="2498" y="3454"/>
                    </a:lnTo>
                    <a:lnTo>
                      <a:pt x="2500" y="3448"/>
                    </a:lnTo>
                    <a:lnTo>
                      <a:pt x="2498" y="3440"/>
                    </a:lnTo>
                    <a:lnTo>
                      <a:pt x="2494" y="3434"/>
                    </a:lnTo>
                    <a:lnTo>
                      <a:pt x="2490" y="3428"/>
                    </a:lnTo>
                    <a:lnTo>
                      <a:pt x="2486" y="3426"/>
                    </a:lnTo>
                    <a:lnTo>
                      <a:pt x="2484" y="3426"/>
                    </a:lnTo>
                    <a:lnTo>
                      <a:pt x="2480" y="3430"/>
                    </a:lnTo>
                    <a:lnTo>
                      <a:pt x="2476" y="3444"/>
                    </a:lnTo>
                    <a:lnTo>
                      <a:pt x="2470" y="3456"/>
                    </a:lnTo>
                    <a:lnTo>
                      <a:pt x="2470" y="3466"/>
                    </a:lnTo>
                    <a:lnTo>
                      <a:pt x="2468" y="3498"/>
                    </a:lnTo>
                    <a:lnTo>
                      <a:pt x="2464" y="3486"/>
                    </a:lnTo>
                    <a:lnTo>
                      <a:pt x="2460" y="3478"/>
                    </a:lnTo>
                    <a:lnTo>
                      <a:pt x="2458" y="3468"/>
                    </a:lnTo>
                    <a:lnTo>
                      <a:pt x="2452" y="3462"/>
                    </a:lnTo>
                    <a:lnTo>
                      <a:pt x="2448" y="3456"/>
                    </a:lnTo>
                    <a:lnTo>
                      <a:pt x="2448" y="3454"/>
                    </a:lnTo>
                    <a:lnTo>
                      <a:pt x="2448" y="3450"/>
                    </a:lnTo>
                    <a:lnTo>
                      <a:pt x="2444" y="3444"/>
                    </a:lnTo>
                    <a:lnTo>
                      <a:pt x="2442" y="3438"/>
                    </a:lnTo>
                    <a:lnTo>
                      <a:pt x="2442" y="3434"/>
                    </a:lnTo>
                    <a:lnTo>
                      <a:pt x="2442" y="3428"/>
                    </a:lnTo>
                    <a:lnTo>
                      <a:pt x="2444" y="3420"/>
                    </a:lnTo>
                    <a:lnTo>
                      <a:pt x="2442" y="3414"/>
                    </a:lnTo>
                    <a:lnTo>
                      <a:pt x="2440" y="3408"/>
                    </a:lnTo>
                    <a:lnTo>
                      <a:pt x="2438" y="3402"/>
                    </a:lnTo>
                    <a:lnTo>
                      <a:pt x="2438" y="3400"/>
                    </a:lnTo>
                    <a:lnTo>
                      <a:pt x="2442" y="3400"/>
                    </a:lnTo>
                    <a:lnTo>
                      <a:pt x="2444" y="3404"/>
                    </a:lnTo>
                    <a:lnTo>
                      <a:pt x="2448" y="3404"/>
                    </a:lnTo>
                    <a:lnTo>
                      <a:pt x="2448" y="3406"/>
                    </a:lnTo>
                    <a:lnTo>
                      <a:pt x="2446" y="3408"/>
                    </a:lnTo>
                    <a:lnTo>
                      <a:pt x="2444" y="3410"/>
                    </a:lnTo>
                    <a:lnTo>
                      <a:pt x="2448" y="3410"/>
                    </a:lnTo>
                    <a:lnTo>
                      <a:pt x="2450" y="3412"/>
                    </a:lnTo>
                    <a:lnTo>
                      <a:pt x="2448" y="3414"/>
                    </a:lnTo>
                    <a:lnTo>
                      <a:pt x="2450" y="3416"/>
                    </a:lnTo>
                    <a:lnTo>
                      <a:pt x="2454" y="3420"/>
                    </a:lnTo>
                    <a:lnTo>
                      <a:pt x="2456" y="3422"/>
                    </a:lnTo>
                    <a:lnTo>
                      <a:pt x="2458" y="3422"/>
                    </a:lnTo>
                    <a:lnTo>
                      <a:pt x="2460" y="3422"/>
                    </a:lnTo>
                    <a:lnTo>
                      <a:pt x="2460" y="3420"/>
                    </a:lnTo>
                    <a:lnTo>
                      <a:pt x="2460" y="3418"/>
                    </a:lnTo>
                    <a:lnTo>
                      <a:pt x="2462" y="3416"/>
                    </a:lnTo>
                    <a:lnTo>
                      <a:pt x="2464" y="3412"/>
                    </a:lnTo>
                    <a:lnTo>
                      <a:pt x="2466" y="3406"/>
                    </a:lnTo>
                    <a:lnTo>
                      <a:pt x="2466" y="3402"/>
                    </a:lnTo>
                    <a:lnTo>
                      <a:pt x="2468" y="3400"/>
                    </a:lnTo>
                    <a:lnTo>
                      <a:pt x="2468" y="3402"/>
                    </a:lnTo>
                    <a:lnTo>
                      <a:pt x="2474" y="3404"/>
                    </a:lnTo>
                    <a:lnTo>
                      <a:pt x="2476" y="3404"/>
                    </a:lnTo>
                    <a:lnTo>
                      <a:pt x="2476" y="3402"/>
                    </a:lnTo>
                    <a:lnTo>
                      <a:pt x="2478" y="3402"/>
                    </a:lnTo>
                    <a:lnTo>
                      <a:pt x="2480" y="3400"/>
                    </a:lnTo>
                    <a:lnTo>
                      <a:pt x="2480" y="3398"/>
                    </a:lnTo>
                    <a:lnTo>
                      <a:pt x="2482" y="3396"/>
                    </a:lnTo>
                    <a:lnTo>
                      <a:pt x="2482" y="3394"/>
                    </a:lnTo>
                    <a:lnTo>
                      <a:pt x="2482" y="3392"/>
                    </a:lnTo>
                    <a:lnTo>
                      <a:pt x="2482" y="3388"/>
                    </a:lnTo>
                    <a:lnTo>
                      <a:pt x="2480" y="3386"/>
                    </a:lnTo>
                    <a:lnTo>
                      <a:pt x="2482" y="3384"/>
                    </a:lnTo>
                    <a:lnTo>
                      <a:pt x="2480" y="3384"/>
                    </a:lnTo>
                    <a:lnTo>
                      <a:pt x="2478" y="3384"/>
                    </a:lnTo>
                    <a:lnTo>
                      <a:pt x="2478" y="3386"/>
                    </a:lnTo>
                    <a:lnTo>
                      <a:pt x="2476" y="3388"/>
                    </a:lnTo>
                    <a:lnTo>
                      <a:pt x="2472" y="3388"/>
                    </a:lnTo>
                    <a:lnTo>
                      <a:pt x="2470" y="3388"/>
                    </a:lnTo>
                    <a:lnTo>
                      <a:pt x="2468" y="3382"/>
                    </a:lnTo>
                    <a:lnTo>
                      <a:pt x="2466" y="3378"/>
                    </a:lnTo>
                    <a:lnTo>
                      <a:pt x="2468" y="3374"/>
                    </a:lnTo>
                    <a:lnTo>
                      <a:pt x="2468" y="3372"/>
                    </a:lnTo>
                    <a:lnTo>
                      <a:pt x="2466" y="3370"/>
                    </a:lnTo>
                    <a:lnTo>
                      <a:pt x="2464" y="3370"/>
                    </a:lnTo>
                    <a:lnTo>
                      <a:pt x="2464" y="3374"/>
                    </a:lnTo>
                    <a:lnTo>
                      <a:pt x="2462" y="3378"/>
                    </a:lnTo>
                    <a:lnTo>
                      <a:pt x="2462" y="3380"/>
                    </a:lnTo>
                    <a:lnTo>
                      <a:pt x="2460" y="3380"/>
                    </a:lnTo>
                    <a:lnTo>
                      <a:pt x="2456" y="3380"/>
                    </a:lnTo>
                    <a:lnTo>
                      <a:pt x="2452" y="3382"/>
                    </a:lnTo>
                    <a:lnTo>
                      <a:pt x="2450" y="3384"/>
                    </a:lnTo>
                    <a:lnTo>
                      <a:pt x="2446" y="3384"/>
                    </a:lnTo>
                    <a:lnTo>
                      <a:pt x="2444" y="3384"/>
                    </a:lnTo>
                    <a:lnTo>
                      <a:pt x="2444" y="3388"/>
                    </a:lnTo>
                    <a:lnTo>
                      <a:pt x="2442" y="3394"/>
                    </a:lnTo>
                    <a:lnTo>
                      <a:pt x="2434" y="3388"/>
                    </a:lnTo>
                    <a:lnTo>
                      <a:pt x="2422" y="3378"/>
                    </a:lnTo>
                    <a:lnTo>
                      <a:pt x="2414" y="3368"/>
                    </a:lnTo>
                    <a:lnTo>
                      <a:pt x="2410" y="3364"/>
                    </a:lnTo>
                    <a:lnTo>
                      <a:pt x="2410" y="3358"/>
                    </a:lnTo>
                    <a:lnTo>
                      <a:pt x="2410" y="3354"/>
                    </a:lnTo>
                    <a:lnTo>
                      <a:pt x="2408" y="3352"/>
                    </a:lnTo>
                    <a:lnTo>
                      <a:pt x="2402" y="3350"/>
                    </a:lnTo>
                    <a:lnTo>
                      <a:pt x="2394" y="3350"/>
                    </a:lnTo>
                    <a:lnTo>
                      <a:pt x="2392" y="3348"/>
                    </a:lnTo>
                    <a:lnTo>
                      <a:pt x="2392" y="3344"/>
                    </a:lnTo>
                    <a:lnTo>
                      <a:pt x="2390" y="3338"/>
                    </a:lnTo>
                    <a:lnTo>
                      <a:pt x="2386" y="3330"/>
                    </a:lnTo>
                    <a:lnTo>
                      <a:pt x="2382" y="3320"/>
                    </a:lnTo>
                    <a:lnTo>
                      <a:pt x="2376" y="3302"/>
                    </a:lnTo>
                    <a:lnTo>
                      <a:pt x="2370" y="3290"/>
                    </a:lnTo>
                    <a:lnTo>
                      <a:pt x="2366" y="3284"/>
                    </a:lnTo>
                    <a:lnTo>
                      <a:pt x="2364" y="3280"/>
                    </a:lnTo>
                    <a:lnTo>
                      <a:pt x="2362" y="3270"/>
                    </a:lnTo>
                    <a:lnTo>
                      <a:pt x="2360" y="3266"/>
                    </a:lnTo>
                    <a:lnTo>
                      <a:pt x="2358" y="3264"/>
                    </a:lnTo>
                    <a:lnTo>
                      <a:pt x="2352" y="3262"/>
                    </a:lnTo>
                    <a:lnTo>
                      <a:pt x="2346" y="3260"/>
                    </a:lnTo>
                    <a:lnTo>
                      <a:pt x="2346" y="3258"/>
                    </a:lnTo>
                    <a:lnTo>
                      <a:pt x="2346" y="3254"/>
                    </a:lnTo>
                    <a:lnTo>
                      <a:pt x="2350" y="3250"/>
                    </a:lnTo>
                    <a:lnTo>
                      <a:pt x="2354" y="3248"/>
                    </a:lnTo>
                    <a:lnTo>
                      <a:pt x="2360" y="3250"/>
                    </a:lnTo>
                    <a:lnTo>
                      <a:pt x="2362" y="3248"/>
                    </a:lnTo>
                    <a:lnTo>
                      <a:pt x="2362" y="3246"/>
                    </a:lnTo>
                    <a:lnTo>
                      <a:pt x="2354" y="3228"/>
                    </a:lnTo>
                    <a:lnTo>
                      <a:pt x="2354" y="3224"/>
                    </a:lnTo>
                    <a:lnTo>
                      <a:pt x="2356" y="3224"/>
                    </a:lnTo>
                    <a:lnTo>
                      <a:pt x="2364" y="3226"/>
                    </a:lnTo>
                    <a:lnTo>
                      <a:pt x="2372" y="3230"/>
                    </a:lnTo>
                    <a:lnTo>
                      <a:pt x="2376" y="3232"/>
                    </a:lnTo>
                    <a:lnTo>
                      <a:pt x="2378" y="3230"/>
                    </a:lnTo>
                    <a:lnTo>
                      <a:pt x="2384" y="3226"/>
                    </a:lnTo>
                    <a:lnTo>
                      <a:pt x="2390" y="3226"/>
                    </a:lnTo>
                    <a:lnTo>
                      <a:pt x="2392" y="3224"/>
                    </a:lnTo>
                    <a:lnTo>
                      <a:pt x="2394" y="3216"/>
                    </a:lnTo>
                    <a:lnTo>
                      <a:pt x="2396" y="3212"/>
                    </a:lnTo>
                    <a:lnTo>
                      <a:pt x="2398" y="3212"/>
                    </a:lnTo>
                    <a:lnTo>
                      <a:pt x="2406" y="3218"/>
                    </a:lnTo>
                    <a:lnTo>
                      <a:pt x="2412" y="3222"/>
                    </a:lnTo>
                    <a:lnTo>
                      <a:pt x="2416" y="3224"/>
                    </a:lnTo>
                    <a:lnTo>
                      <a:pt x="2424" y="3224"/>
                    </a:lnTo>
                    <a:lnTo>
                      <a:pt x="2430" y="3222"/>
                    </a:lnTo>
                    <a:lnTo>
                      <a:pt x="2436" y="3218"/>
                    </a:lnTo>
                    <a:lnTo>
                      <a:pt x="2438" y="3218"/>
                    </a:lnTo>
                    <a:lnTo>
                      <a:pt x="2440" y="3220"/>
                    </a:lnTo>
                    <a:lnTo>
                      <a:pt x="2442" y="3222"/>
                    </a:lnTo>
                    <a:lnTo>
                      <a:pt x="2444" y="3232"/>
                    </a:lnTo>
                    <a:lnTo>
                      <a:pt x="2448" y="3238"/>
                    </a:lnTo>
                    <a:lnTo>
                      <a:pt x="2452" y="3244"/>
                    </a:lnTo>
                    <a:lnTo>
                      <a:pt x="2452" y="3220"/>
                    </a:lnTo>
                    <a:lnTo>
                      <a:pt x="2414" y="3146"/>
                    </a:lnTo>
                    <a:lnTo>
                      <a:pt x="2378" y="3050"/>
                    </a:lnTo>
                    <a:lnTo>
                      <a:pt x="2372" y="3006"/>
                    </a:lnTo>
                    <a:lnTo>
                      <a:pt x="2378" y="2910"/>
                    </a:lnTo>
                    <a:lnTo>
                      <a:pt x="2378" y="2868"/>
                    </a:lnTo>
                    <a:lnTo>
                      <a:pt x="2392" y="2778"/>
                    </a:lnTo>
                    <a:lnTo>
                      <a:pt x="2386" y="2780"/>
                    </a:lnTo>
                    <a:lnTo>
                      <a:pt x="2382" y="2780"/>
                    </a:lnTo>
                    <a:lnTo>
                      <a:pt x="2380" y="2778"/>
                    </a:lnTo>
                    <a:lnTo>
                      <a:pt x="2380" y="2776"/>
                    </a:lnTo>
                    <a:lnTo>
                      <a:pt x="2378" y="2770"/>
                    </a:lnTo>
                    <a:lnTo>
                      <a:pt x="2376" y="2768"/>
                    </a:lnTo>
                    <a:lnTo>
                      <a:pt x="2374" y="2768"/>
                    </a:lnTo>
                    <a:lnTo>
                      <a:pt x="2376" y="2768"/>
                    </a:lnTo>
                    <a:lnTo>
                      <a:pt x="2378" y="2770"/>
                    </a:lnTo>
                    <a:lnTo>
                      <a:pt x="2380" y="2776"/>
                    </a:lnTo>
                    <a:lnTo>
                      <a:pt x="2380" y="2778"/>
                    </a:lnTo>
                    <a:lnTo>
                      <a:pt x="2382" y="2780"/>
                    </a:lnTo>
                    <a:lnTo>
                      <a:pt x="2386" y="2780"/>
                    </a:lnTo>
                    <a:lnTo>
                      <a:pt x="2392" y="2778"/>
                    </a:lnTo>
                    <a:lnTo>
                      <a:pt x="2390" y="2764"/>
                    </a:lnTo>
                    <a:lnTo>
                      <a:pt x="2394" y="2746"/>
                    </a:lnTo>
                    <a:lnTo>
                      <a:pt x="2390" y="2726"/>
                    </a:lnTo>
                    <a:lnTo>
                      <a:pt x="2386" y="2674"/>
                    </a:lnTo>
                    <a:lnTo>
                      <a:pt x="2384" y="2658"/>
                    </a:lnTo>
                    <a:lnTo>
                      <a:pt x="2386" y="2626"/>
                    </a:lnTo>
                    <a:lnTo>
                      <a:pt x="2360" y="2586"/>
                    </a:lnTo>
                    <a:lnTo>
                      <a:pt x="2336" y="2534"/>
                    </a:lnTo>
                    <a:lnTo>
                      <a:pt x="2284" y="2470"/>
                    </a:lnTo>
                    <a:lnTo>
                      <a:pt x="2274" y="2434"/>
                    </a:lnTo>
                    <a:lnTo>
                      <a:pt x="2302" y="2390"/>
                    </a:lnTo>
                    <a:lnTo>
                      <a:pt x="2334" y="2368"/>
                    </a:lnTo>
                    <a:lnTo>
                      <a:pt x="2352" y="2336"/>
                    </a:lnTo>
                    <a:lnTo>
                      <a:pt x="2346" y="2304"/>
                    </a:lnTo>
                    <a:lnTo>
                      <a:pt x="2318" y="2270"/>
                    </a:lnTo>
                    <a:lnTo>
                      <a:pt x="2280" y="2246"/>
                    </a:lnTo>
                    <a:lnTo>
                      <a:pt x="2264" y="2186"/>
                    </a:lnTo>
                    <a:lnTo>
                      <a:pt x="2274" y="2140"/>
                    </a:lnTo>
                    <a:lnTo>
                      <a:pt x="2288" y="2090"/>
                    </a:lnTo>
                    <a:lnTo>
                      <a:pt x="2290" y="2086"/>
                    </a:lnTo>
                    <a:lnTo>
                      <a:pt x="2296" y="2086"/>
                    </a:lnTo>
                    <a:lnTo>
                      <a:pt x="2308" y="2088"/>
                    </a:lnTo>
                    <a:lnTo>
                      <a:pt x="2328" y="2096"/>
                    </a:lnTo>
                    <a:lnTo>
                      <a:pt x="2370" y="2082"/>
                    </a:lnTo>
                    <a:lnTo>
                      <a:pt x="2376" y="2058"/>
                    </a:lnTo>
                    <a:lnTo>
                      <a:pt x="2440" y="2024"/>
                    </a:lnTo>
                    <a:lnTo>
                      <a:pt x="2384" y="1780"/>
                    </a:lnTo>
                    <a:lnTo>
                      <a:pt x="2264" y="1588"/>
                    </a:lnTo>
                    <a:lnTo>
                      <a:pt x="2204" y="1444"/>
                    </a:lnTo>
                    <a:lnTo>
                      <a:pt x="2204" y="1264"/>
                    </a:lnTo>
                    <a:lnTo>
                      <a:pt x="2212" y="1228"/>
                    </a:lnTo>
                    <a:lnTo>
                      <a:pt x="2224" y="1194"/>
                    </a:lnTo>
                    <a:lnTo>
                      <a:pt x="2232" y="1174"/>
                    </a:lnTo>
                    <a:lnTo>
                      <a:pt x="2240" y="1156"/>
                    </a:lnTo>
                    <a:lnTo>
                      <a:pt x="2248" y="1138"/>
                    </a:lnTo>
                    <a:lnTo>
                      <a:pt x="2258" y="1112"/>
                    </a:lnTo>
                    <a:lnTo>
                      <a:pt x="2282" y="1046"/>
                    </a:lnTo>
                    <a:lnTo>
                      <a:pt x="2276" y="1048"/>
                    </a:lnTo>
                    <a:lnTo>
                      <a:pt x="2274" y="1046"/>
                    </a:lnTo>
                    <a:lnTo>
                      <a:pt x="2270" y="1038"/>
                    </a:lnTo>
                    <a:lnTo>
                      <a:pt x="2266" y="1032"/>
                    </a:lnTo>
                    <a:lnTo>
                      <a:pt x="2262" y="1026"/>
                    </a:lnTo>
                    <a:lnTo>
                      <a:pt x="2256" y="1018"/>
                    </a:lnTo>
                    <a:lnTo>
                      <a:pt x="2246" y="1014"/>
                    </a:lnTo>
                    <a:lnTo>
                      <a:pt x="2236" y="1006"/>
                    </a:lnTo>
                    <a:lnTo>
                      <a:pt x="2234" y="1004"/>
                    </a:lnTo>
                    <a:lnTo>
                      <a:pt x="2232" y="1000"/>
                    </a:lnTo>
                    <a:lnTo>
                      <a:pt x="2234" y="998"/>
                    </a:lnTo>
                    <a:lnTo>
                      <a:pt x="2234" y="994"/>
                    </a:lnTo>
                    <a:lnTo>
                      <a:pt x="2242" y="988"/>
                    </a:lnTo>
                    <a:lnTo>
                      <a:pt x="2250" y="982"/>
                    </a:lnTo>
                    <a:lnTo>
                      <a:pt x="2262" y="978"/>
                    </a:lnTo>
                    <a:lnTo>
                      <a:pt x="2274" y="974"/>
                    </a:lnTo>
                    <a:lnTo>
                      <a:pt x="2286" y="974"/>
                    </a:lnTo>
                    <a:lnTo>
                      <a:pt x="2292" y="974"/>
                    </a:lnTo>
                    <a:lnTo>
                      <a:pt x="2296" y="972"/>
                    </a:lnTo>
                    <a:lnTo>
                      <a:pt x="2298" y="968"/>
                    </a:lnTo>
                    <a:lnTo>
                      <a:pt x="2300" y="966"/>
                    </a:lnTo>
                    <a:lnTo>
                      <a:pt x="2298" y="956"/>
                    </a:lnTo>
                    <a:lnTo>
                      <a:pt x="2294" y="946"/>
                    </a:lnTo>
                    <a:lnTo>
                      <a:pt x="2284" y="936"/>
                    </a:lnTo>
                    <a:lnTo>
                      <a:pt x="2272" y="928"/>
                    </a:lnTo>
                    <a:lnTo>
                      <a:pt x="2258" y="922"/>
                    </a:lnTo>
                    <a:lnTo>
                      <a:pt x="2250" y="922"/>
                    </a:lnTo>
                    <a:lnTo>
                      <a:pt x="2242" y="920"/>
                    </a:lnTo>
                    <a:lnTo>
                      <a:pt x="2224" y="920"/>
                    </a:lnTo>
                    <a:lnTo>
                      <a:pt x="2208" y="918"/>
                    </a:lnTo>
                    <a:lnTo>
                      <a:pt x="2182" y="912"/>
                    </a:lnTo>
                    <a:lnTo>
                      <a:pt x="2174" y="912"/>
                    </a:lnTo>
                    <a:lnTo>
                      <a:pt x="2172" y="912"/>
                    </a:lnTo>
                    <a:lnTo>
                      <a:pt x="2172" y="914"/>
                    </a:lnTo>
                    <a:lnTo>
                      <a:pt x="2174" y="918"/>
                    </a:lnTo>
                    <a:lnTo>
                      <a:pt x="2186" y="928"/>
                    </a:lnTo>
                    <a:lnTo>
                      <a:pt x="2192" y="934"/>
                    </a:lnTo>
                    <a:lnTo>
                      <a:pt x="2196" y="942"/>
                    </a:lnTo>
                    <a:lnTo>
                      <a:pt x="2198" y="948"/>
                    </a:lnTo>
                    <a:lnTo>
                      <a:pt x="2200" y="954"/>
                    </a:lnTo>
                    <a:lnTo>
                      <a:pt x="2196" y="966"/>
                    </a:lnTo>
                    <a:lnTo>
                      <a:pt x="2192" y="978"/>
                    </a:lnTo>
                    <a:lnTo>
                      <a:pt x="2188" y="990"/>
                    </a:lnTo>
                    <a:lnTo>
                      <a:pt x="2186" y="1000"/>
                    </a:lnTo>
                    <a:lnTo>
                      <a:pt x="2186" y="1006"/>
                    </a:lnTo>
                    <a:lnTo>
                      <a:pt x="2188" y="1012"/>
                    </a:lnTo>
                    <a:lnTo>
                      <a:pt x="2194" y="1016"/>
                    </a:lnTo>
                    <a:lnTo>
                      <a:pt x="2200" y="1022"/>
                    </a:lnTo>
                    <a:lnTo>
                      <a:pt x="2212" y="1032"/>
                    </a:lnTo>
                    <a:lnTo>
                      <a:pt x="2216" y="1036"/>
                    </a:lnTo>
                    <a:lnTo>
                      <a:pt x="2218" y="1040"/>
                    </a:lnTo>
                    <a:lnTo>
                      <a:pt x="2216" y="1046"/>
                    </a:lnTo>
                    <a:lnTo>
                      <a:pt x="2214" y="1054"/>
                    </a:lnTo>
                    <a:lnTo>
                      <a:pt x="2208" y="1062"/>
                    </a:lnTo>
                    <a:lnTo>
                      <a:pt x="2204" y="1072"/>
                    </a:lnTo>
                    <a:lnTo>
                      <a:pt x="2200" y="1084"/>
                    </a:lnTo>
                    <a:lnTo>
                      <a:pt x="2202" y="1098"/>
                    </a:lnTo>
                    <a:lnTo>
                      <a:pt x="2202" y="1106"/>
                    </a:lnTo>
                    <a:lnTo>
                      <a:pt x="2200" y="1104"/>
                    </a:lnTo>
                    <a:lnTo>
                      <a:pt x="2192" y="1096"/>
                    </a:lnTo>
                    <a:lnTo>
                      <a:pt x="2180" y="1084"/>
                    </a:lnTo>
                    <a:lnTo>
                      <a:pt x="2166" y="1072"/>
                    </a:lnTo>
                    <a:lnTo>
                      <a:pt x="2156" y="1068"/>
                    </a:lnTo>
                    <a:lnTo>
                      <a:pt x="2148" y="1066"/>
                    </a:lnTo>
                    <a:lnTo>
                      <a:pt x="2136" y="1064"/>
                    </a:lnTo>
                    <a:lnTo>
                      <a:pt x="2126" y="1066"/>
                    </a:lnTo>
                    <a:lnTo>
                      <a:pt x="2114" y="1070"/>
                    </a:lnTo>
                    <a:lnTo>
                      <a:pt x="2102" y="1076"/>
                    </a:lnTo>
                    <a:lnTo>
                      <a:pt x="2078" y="1092"/>
                    </a:lnTo>
                    <a:lnTo>
                      <a:pt x="2056" y="1104"/>
                    </a:lnTo>
                    <a:lnTo>
                      <a:pt x="2040" y="1114"/>
                    </a:lnTo>
                    <a:lnTo>
                      <a:pt x="2028" y="1122"/>
                    </a:lnTo>
                    <a:lnTo>
                      <a:pt x="2022" y="1130"/>
                    </a:lnTo>
                    <a:lnTo>
                      <a:pt x="2020" y="1134"/>
                    </a:lnTo>
                    <a:lnTo>
                      <a:pt x="2022" y="1140"/>
                    </a:lnTo>
                    <a:lnTo>
                      <a:pt x="2026" y="1150"/>
                    </a:lnTo>
                    <a:lnTo>
                      <a:pt x="2040" y="1166"/>
                    </a:lnTo>
                    <a:lnTo>
                      <a:pt x="2052" y="1180"/>
                    </a:lnTo>
                    <a:lnTo>
                      <a:pt x="2054" y="1186"/>
                    </a:lnTo>
                    <a:lnTo>
                      <a:pt x="2054" y="1192"/>
                    </a:lnTo>
                    <a:lnTo>
                      <a:pt x="2054" y="1196"/>
                    </a:lnTo>
                    <a:lnTo>
                      <a:pt x="2050" y="1198"/>
                    </a:lnTo>
                    <a:lnTo>
                      <a:pt x="2046" y="1200"/>
                    </a:lnTo>
                    <a:lnTo>
                      <a:pt x="2040" y="1202"/>
                    </a:lnTo>
                    <a:lnTo>
                      <a:pt x="2026" y="1202"/>
                    </a:lnTo>
                    <a:lnTo>
                      <a:pt x="2006" y="1198"/>
                    </a:lnTo>
                    <a:lnTo>
                      <a:pt x="1984" y="1190"/>
                    </a:lnTo>
                    <a:lnTo>
                      <a:pt x="1958" y="1180"/>
                    </a:lnTo>
                    <a:lnTo>
                      <a:pt x="1934" y="1170"/>
                    </a:lnTo>
                    <a:lnTo>
                      <a:pt x="1916" y="1164"/>
                    </a:lnTo>
                    <a:lnTo>
                      <a:pt x="1900" y="1162"/>
                    </a:lnTo>
                    <a:lnTo>
                      <a:pt x="1892" y="1164"/>
                    </a:lnTo>
                    <a:lnTo>
                      <a:pt x="1888" y="1166"/>
                    </a:lnTo>
                    <a:lnTo>
                      <a:pt x="1886" y="1170"/>
                    </a:lnTo>
                    <a:lnTo>
                      <a:pt x="1886" y="1176"/>
                    </a:lnTo>
                    <a:lnTo>
                      <a:pt x="1892" y="1186"/>
                    </a:lnTo>
                    <a:lnTo>
                      <a:pt x="1900" y="1196"/>
                    </a:lnTo>
                    <a:lnTo>
                      <a:pt x="1912" y="1206"/>
                    </a:lnTo>
                    <a:lnTo>
                      <a:pt x="1924" y="1214"/>
                    </a:lnTo>
                    <a:lnTo>
                      <a:pt x="1946" y="1222"/>
                    </a:lnTo>
                    <a:lnTo>
                      <a:pt x="1954" y="1226"/>
                    </a:lnTo>
                    <a:lnTo>
                      <a:pt x="1956" y="1228"/>
                    </a:lnTo>
                    <a:lnTo>
                      <a:pt x="1956" y="1232"/>
                    </a:lnTo>
                    <a:lnTo>
                      <a:pt x="1952" y="1238"/>
                    </a:lnTo>
                    <a:lnTo>
                      <a:pt x="1940" y="1246"/>
                    </a:lnTo>
                    <a:lnTo>
                      <a:pt x="1926" y="1252"/>
                    </a:lnTo>
                    <a:lnTo>
                      <a:pt x="1920" y="1252"/>
                    </a:lnTo>
                    <a:lnTo>
                      <a:pt x="1916" y="1252"/>
                    </a:lnTo>
                    <a:lnTo>
                      <a:pt x="1908" y="1248"/>
                    </a:lnTo>
                    <a:lnTo>
                      <a:pt x="1902" y="1240"/>
                    </a:lnTo>
                    <a:lnTo>
                      <a:pt x="1894" y="1232"/>
                    </a:lnTo>
                    <a:lnTo>
                      <a:pt x="1886" y="1224"/>
                    </a:lnTo>
                    <a:lnTo>
                      <a:pt x="1874" y="1216"/>
                    </a:lnTo>
                    <a:lnTo>
                      <a:pt x="1868" y="1212"/>
                    </a:lnTo>
                    <a:lnTo>
                      <a:pt x="1858" y="1210"/>
                    </a:lnTo>
                    <a:lnTo>
                      <a:pt x="1844" y="1206"/>
                    </a:lnTo>
                    <a:lnTo>
                      <a:pt x="1836" y="1202"/>
                    </a:lnTo>
                    <a:lnTo>
                      <a:pt x="1832" y="1196"/>
                    </a:lnTo>
                    <a:lnTo>
                      <a:pt x="1832" y="1188"/>
                    </a:lnTo>
                    <a:lnTo>
                      <a:pt x="1832" y="1182"/>
                    </a:lnTo>
                    <a:lnTo>
                      <a:pt x="1830" y="1174"/>
                    </a:lnTo>
                    <a:lnTo>
                      <a:pt x="1826" y="1164"/>
                    </a:lnTo>
                    <a:lnTo>
                      <a:pt x="1818" y="1156"/>
                    </a:lnTo>
                    <a:lnTo>
                      <a:pt x="1814" y="1152"/>
                    </a:lnTo>
                    <a:lnTo>
                      <a:pt x="1812" y="1148"/>
                    </a:lnTo>
                    <a:lnTo>
                      <a:pt x="1812" y="1144"/>
                    </a:lnTo>
                    <a:lnTo>
                      <a:pt x="1812" y="1140"/>
                    </a:lnTo>
                    <a:lnTo>
                      <a:pt x="1816" y="1134"/>
                    </a:lnTo>
                    <a:lnTo>
                      <a:pt x="1822" y="1128"/>
                    </a:lnTo>
                    <a:lnTo>
                      <a:pt x="1826" y="1122"/>
                    </a:lnTo>
                    <a:lnTo>
                      <a:pt x="1830" y="1114"/>
                    </a:lnTo>
                    <a:lnTo>
                      <a:pt x="1828" y="1110"/>
                    </a:lnTo>
                    <a:lnTo>
                      <a:pt x="1826" y="1106"/>
                    </a:lnTo>
                    <a:lnTo>
                      <a:pt x="1822" y="1100"/>
                    </a:lnTo>
                    <a:lnTo>
                      <a:pt x="1816" y="1096"/>
                    </a:lnTo>
                    <a:lnTo>
                      <a:pt x="1800" y="1084"/>
                    </a:lnTo>
                    <a:lnTo>
                      <a:pt x="1784" y="1076"/>
                    </a:lnTo>
                    <a:lnTo>
                      <a:pt x="1758" y="1060"/>
                    </a:lnTo>
                    <a:lnTo>
                      <a:pt x="1746" y="1054"/>
                    </a:lnTo>
                    <a:lnTo>
                      <a:pt x="1738" y="1046"/>
                    </a:lnTo>
                    <a:lnTo>
                      <a:pt x="1730" y="1036"/>
                    </a:lnTo>
                    <a:lnTo>
                      <a:pt x="1726" y="1026"/>
                    </a:lnTo>
                    <a:lnTo>
                      <a:pt x="1724" y="1018"/>
                    </a:lnTo>
                    <a:lnTo>
                      <a:pt x="1726" y="1016"/>
                    </a:lnTo>
                    <a:lnTo>
                      <a:pt x="1736" y="1026"/>
                    </a:lnTo>
                    <a:lnTo>
                      <a:pt x="1746" y="1036"/>
                    </a:lnTo>
                    <a:lnTo>
                      <a:pt x="1762" y="1044"/>
                    </a:lnTo>
                    <a:lnTo>
                      <a:pt x="1782" y="1054"/>
                    </a:lnTo>
                    <a:lnTo>
                      <a:pt x="1808" y="1060"/>
                    </a:lnTo>
                    <a:lnTo>
                      <a:pt x="1836" y="1066"/>
                    </a:lnTo>
                    <a:lnTo>
                      <a:pt x="1864" y="1074"/>
                    </a:lnTo>
                    <a:lnTo>
                      <a:pt x="1920" y="1092"/>
                    </a:lnTo>
                    <a:lnTo>
                      <a:pt x="1948" y="1098"/>
                    </a:lnTo>
                    <a:lnTo>
                      <a:pt x="1962" y="1100"/>
                    </a:lnTo>
                    <a:lnTo>
                      <a:pt x="1976" y="1100"/>
                    </a:lnTo>
                    <a:lnTo>
                      <a:pt x="1990" y="1098"/>
                    </a:lnTo>
                    <a:lnTo>
                      <a:pt x="2002" y="1096"/>
                    </a:lnTo>
                    <a:lnTo>
                      <a:pt x="2016" y="1092"/>
                    </a:lnTo>
                    <a:lnTo>
                      <a:pt x="2030" y="1084"/>
                    </a:lnTo>
                    <a:lnTo>
                      <a:pt x="2052" y="1070"/>
                    </a:lnTo>
                    <a:lnTo>
                      <a:pt x="2072" y="1056"/>
                    </a:lnTo>
                    <a:lnTo>
                      <a:pt x="2084" y="1042"/>
                    </a:lnTo>
                    <a:lnTo>
                      <a:pt x="2090" y="1036"/>
                    </a:lnTo>
                    <a:lnTo>
                      <a:pt x="2092" y="1030"/>
                    </a:lnTo>
                    <a:lnTo>
                      <a:pt x="2094" y="1022"/>
                    </a:lnTo>
                    <a:lnTo>
                      <a:pt x="2092" y="1016"/>
                    </a:lnTo>
                    <a:lnTo>
                      <a:pt x="2090" y="1010"/>
                    </a:lnTo>
                    <a:lnTo>
                      <a:pt x="2086" y="1002"/>
                    </a:lnTo>
                    <a:lnTo>
                      <a:pt x="2080" y="994"/>
                    </a:lnTo>
                    <a:lnTo>
                      <a:pt x="2072" y="988"/>
                    </a:lnTo>
                    <a:lnTo>
                      <a:pt x="2050" y="970"/>
                    </a:lnTo>
                    <a:lnTo>
                      <a:pt x="2010" y="946"/>
                    </a:lnTo>
                    <a:lnTo>
                      <a:pt x="1982" y="934"/>
                    </a:lnTo>
                    <a:lnTo>
                      <a:pt x="1954" y="920"/>
                    </a:lnTo>
                    <a:lnTo>
                      <a:pt x="1910" y="896"/>
                    </a:lnTo>
                    <a:lnTo>
                      <a:pt x="1884" y="882"/>
                    </a:lnTo>
                    <a:lnTo>
                      <a:pt x="1868" y="874"/>
                    </a:lnTo>
                    <a:lnTo>
                      <a:pt x="1854" y="870"/>
                    </a:lnTo>
                    <a:lnTo>
                      <a:pt x="1844" y="870"/>
                    </a:lnTo>
                    <a:lnTo>
                      <a:pt x="1834" y="872"/>
                    </a:lnTo>
                    <a:lnTo>
                      <a:pt x="1822" y="872"/>
                    </a:lnTo>
                    <a:lnTo>
                      <a:pt x="1808" y="870"/>
                    </a:lnTo>
                    <a:lnTo>
                      <a:pt x="1786" y="866"/>
                    </a:lnTo>
                    <a:lnTo>
                      <a:pt x="1768" y="858"/>
                    </a:lnTo>
                    <a:lnTo>
                      <a:pt x="1758" y="852"/>
                    </a:lnTo>
                    <a:lnTo>
                      <a:pt x="1756" y="850"/>
                    </a:lnTo>
                    <a:lnTo>
                      <a:pt x="1756" y="846"/>
                    </a:lnTo>
                    <a:lnTo>
                      <a:pt x="1758" y="844"/>
                    </a:lnTo>
                    <a:lnTo>
                      <a:pt x="1758" y="840"/>
                    </a:lnTo>
                    <a:lnTo>
                      <a:pt x="1752" y="834"/>
                    </a:lnTo>
                    <a:lnTo>
                      <a:pt x="1740" y="828"/>
                    </a:lnTo>
                    <a:lnTo>
                      <a:pt x="1726" y="824"/>
                    </a:lnTo>
                    <a:lnTo>
                      <a:pt x="1718" y="824"/>
                    </a:lnTo>
                    <a:lnTo>
                      <a:pt x="1712" y="826"/>
                    </a:lnTo>
                    <a:lnTo>
                      <a:pt x="1710" y="830"/>
                    </a:lnTo>
                    <a:lnTo>
                      <a:pt x="1706" y="834"/>
                    </a:lnTo>
                    <a:lnTo>
                      <a:pt x="1698" y="838"/>
                    </a:lnTo>
                    <a:lnTo>
                      <a:pt x="1686" y="838"/>
                    </a:lnTo>
                    <a:lnTo>
                      <a:pt x="1666" y="834"/>
                    </a:lnTo>
                    <a:lnTo>
                      <a:pt x="1658" y="832"/>
                    </a:lnTo>
                    <a:lnTo>
                      <a:pt x="1652" y="832"/>
                    </a:lnTo>
                    <a:lnTo>
                      <a:pt x="1648" y="832"/>
                    </a:lnTo>
                    <a:lnTo>
                      <a:pt x="1644" y="828"/>
                    </a:lnTo>
                    <a:lnTo>
                      <a:pt x="1640" y="828"/>
                    </a:lnTo>
                    <a:lnTo>
                      <a:pt x="1638" y="830"/>
                    </a:lnTo>
                    <a:lnTo>
                      <a:pt x="1636" y="834"/>
                    </a:lnTo>
                    <a:lnTo>
                      <a:pt x="1630" y="836"/>
                    </a:lnTo>
                    <a:lnTo>
                      <a:pt x="1620" y="838"/>
                    </a:lnTo>
                    <a:lnTo>
                      <a:pt x="1618" y="838"/>
                    </a:lnTo>
                    <a:lnTo>
                      <a:pt x="1618" y="834"/>
                    </a:lnTo>
                    <a:lnTo>
                      <a:pt x="1622" y="830"/>
                    </a:lnTo>
                    <a:lnTo>
                      <a:pt x="1622" y="826"/>
                    </a:lnTo>
                    <a:lnTo>
                      <a:pt x="1620" y="822"/>
                    </a:lnTo>
                    <a:lnTo>
                      <a:pt x="1618" y="820"/>
                    </a:lnTo>
                    <a:lnTo>
                      <a:pt x="1614" y="818"/>
                    </a:lnTo>
                    <a:lnTo>
                      <a:pt x="1608" y="818"/>
                    </a:lnTo>
                    <a:lnTo>
                      <a:pt x="1598" y="816"/>
                    </a:lnTo>
                    <a:lnTo>
                      <a:pt x="1590" y="814"/>
                    </a:lnTo>
                    <a:lnTo>
                      <a:pt x="1586" y="812"/>
                    </a:lnTo>
                    <a:lnTo>
                      <a:pt x="1580" y="810"/>
                    </a:lnTo>
                    <a:lnTo>
                      <a:pt x="1576" y="810"/>
                    </a:lnTo>
                    <a:lnTo>
                      <a:pt x="1580" y="808"/>
                    </a:lnTo>
                    <a:lnTo>
                      <a:pt x="1592" y="808"/>
                    </a:lnTo>
                    <a:lnTo>
                      <a:pt x="1612" y="812"/>
                    </a:lnTo>
                    <a:lnTo>
                      <a:pt x="1624" y="812"/>
                    </a:lnTo>
                    <a:lnTo>
                      <a:pt x="1634" y="812"/>
                    </a:lnTo>
                    <a:lnTo>
                      <a:pt x="1640" y="810"/>
                    </a:lnTo>
                    <a:lnTo>
                      <a:pt x="1646" y="808"/>
                    </a:lnTo>
                    <a:lnTo>
                      <a:pt x="1654" y="800"/>
                    </a:lnTo>
                    <a:lnTo>
                      <a:pt x="1658" y="800"/>
                    </a:lnTo>
                    <a:lnTo>
                      <a:pt x="1662" y="800"/>
                    </a:lnTo>
                    <a:lnTo>
                      <a:pt x="1668" y="800"/>
                    </a:lnTo>
                    <a:lnTo>
                      <a:pt x="1672" y="798"/>
                    </a:lnTo>
                    <a:lnTo>
                      <a:pt x="1674" y="796"/>
                    </a:lnTo>
                    <a:lnTo>
                      <a:pt x="1676" y="794"/>
                    </a:lnTo>
                    <a:lnTo>
                      <a:pt x="1676" y="790"/>
                    </a:lnTo>
                    <a:lnTo>
                      <a:pt x="1674" y="788"/>
                    </a:lnTo>
                    <a:lnTo>
                      <a:pt x="1672" y="786"/>
                    </a:lnTo>
                    <a:lnTo>
                      <a:pt x="1668" y="786"/>
                    </a:lnTo>
                    <a:lnTo>
                      <a:pt x="1660" y="786"/>
                    </a:lnTo>
                    <a:lnTo>
                      <a:pt x="1658" y="782"/>
                    </a:lnTo>
                    <a:lnTo>
                      <a:pt x="1656" y="780"/>
                    </a:lnTo>
                    <a:lnTo>
                      <a:pt x="1650" y="778"/>
                    </a:lnTo>
                    <a:lnTo>
                      <a:pt x="1648" y="776"/>
                    </a:lnTo>
                    <a:lnTo>
                      <a:pt x="1644" y="774"/>
                    </a:lnTo>
                    <a:lnTo>
                      <a:pt x="1640" y="770"/>
                    </a:lnTo>
                    <a:lnTo>
                      <a:pt x="1636" y="766"/>
                    </a:lnTo>
                    <a:lnTo>
                      <a:pt x="1634" y="766"/>
                    </a:lnTo>
                    <a:lnTo>
                      <a:pt x="1630" y="768"/>
                    </a:lnTo>
                    <a:lnTo>
                      <a:pt x="1624" y="768"/>
                    </a:lnTo>
                    <a:lnTo>
                      <a:pt x="1624" y="766"/>
                    </a:lnTo>
                    <a:lnTo>
                      <a:pt x="1620" y="764"/>
                    </a:lnTo>
                    <a:lnTo>
                      <a:pt x="1614" y="766"/>
                    </a:lnTo>
                    <a:lnTo>
                      <a:pt x="1606" y="768"/>
                    </a:lnTo>
                    <a:lnTo>
                      <a:pt x="1606" y="764"/>
                    </a:lnTo>
                    <a:lnTo>
                      <a:pt x="1606" y="762"/>
                    </a:lnTo>
                    <a:lnTo>
                      <a:pt x="1606" y="760"/>
                    </a:lnTo>
                    <a:lnTo>
                      <a:pt x="1602" y="758"/>
                    </a:lnTo>
                    <a:lnTo>
                      <a:pt x="1596" y="756"/>
                    </a:lnTo>
                    <a:lnTo>
                      <a:pt x="1588" y="754"/>
                    </a:lnTo>
                    <a:lnTo>
                      <a:pt x="1582" y="754"/>
                    </a:lnTo>
                    <a:lnTo>
                      <a:pt x="1578" y="758"/>
                    </a:lnTo>
                    <a:lnTo>
                      <a:pt x="1574" y="760"/>
                    </a:lnTo>
                    <a:lnTo>
                      <a:pt x="1572" y="766"/>
                    </a:lnTo>
                    <a:lnTo>
                      <a:pt x="1570" y="770"/>
                    </a:lnTo>
                    <a:lnTo>
                      <a:pt x="1570" y="780"/>
                    </a:lnTo>
                    <a:lnTo>
                      <a:pt x="1572" y="786"/>
                    </a:lnTo>
                    <a:lnTo>
                      <a:pt x="1568" y="786"/>
                    </a:lnTo>
                    <a:lnTo>
                      <a:pt x="1564" y="782"/>
                    </a:lnTo>
                    <a:lnTo>
                      <a:pt x="1560" y="782"/>
                    </a:lnTo>
                    <a:lnTo>
                      <a:pt x="1558" y="782"/>
                    </a:lnTo>
                    <a:lnTo>
                      <a:pt x="1550" y="784"/>
                    </a:lnTo>
                    <a:lnTo>
                      <a:pt x="1548" y="784"/>
                    </a:lnTo>
                    <a:lnTo>
                      <a:pt x="1548" y="782"/>
                    </a:lnTo>
                    <a:lnTo>
                      <a:pt x="1554" y="778"/>
                    </a:lnTo>
                    <a:lnTo>
                      <a:pt x="1560" y="772"/>
                    </a:lnTo>
                    <a:lnTo>
                      <a:pt x="1564" y="768"/>
                    </a:lnTo>
                    <a:lnTo>
                      <a:pt x="1564" y="766"/>
                    </a:lnTo>
                    <a:lnTo>
                      <a:pt x="1562" y="766"/>
                    </a:lnTo>
                    <a:lnTo>
                      <a:pt x="1556" y="766"/>
                    </a:lnTo>
                    <a:lnTo>
                      <a:pt x="1554" y="766"/>
                    </a:lnTo>
                    <a:lnTo>
                      <a:pt x="1554" y="762"/>
                    </a:lnTo>
                    <a:lnTo>
                      <a:pt x="1558" y="758"/>
                    </a:lnTo>
                    <a:lnTo>
                      <a:pt x="1564" y="756"/>
                    </a:lnTo>
                    <a:lnTo>
                      <a:pt x="1572" y="752"/>
                    </a:lnTo>
                    <a:lnTo>
                      <a:pt x="1574" y="750"/>
                    </a:lnTo>
                    <a:lnTo>
                      <a:pt x="1574" y="748"/>
                    </a:lnTo>
                    <a:lnTo>
                      <a:pt x="1572" y="746"/>
                    </a:lnTo>
                    <a:lnTo>
                      <a:pt x="1570" y="746"/>
                    </a:lnTo>
                    <a:lnTo>
                      <a:pt x="1566" y="746"/>
                    </a:lnTo>
                    <a:lnTo>
                      <a:pt x="1562" y="746"/>
                    </a:lnTo>
                    <a:lnTo>
                      <a:pt x="1560" y="746"/>
                    </a:lnTo>
                    <a:lnTo>
                      <a:pt x="1560" y="742"/>
                    </a:lnTo>
                    <a:lnTo>
                      <a:pt x="1560" y="740"/>
                    </a:lnTo>
                    <a:lnTo>
                      <a:pt x="1558" y="740"/>
                    </a:lnTo>
                    <a:lnTo>
                      <a:pt x="1554" y="740"/>
                    </a:lnTo>
                    <a:lnTo>
                      <a:pt x="1548" y="742"/>
                    </a:lnTo>
                    <a:lnTo>
                      <a:pt x="1544" y="742"/>
                    </a:lnTo>
                    <a:lnTo>
                      <a:pt x="1540" y="740"/>
                    </a:lnTo>
                    <a:lnTo>
                      <a:pt x="1538" y="738"/>
                    </a:lnTo>
                    <a:lnTo>
                      <a:pt x="1536" y="738"/>
                    </a:lnTo>
                    <a:lnTo>
                      <a:pt x="1534" y="740"/>
                    </a:lnTo>
                    <a:lnTo>
                      <a:pt x="1532" y="744"/>
                    </a:lnTo>
                    <a:lnTo>
                      <a:pt x="1530" y="744"/>
                    </a:lnTo>
                    <a:lnTo>
                      <a:pt x="1528" y="744"/>
                    </a:lnTo>
                    <a:lnTo>
                      <a:pt x="1524" y="742"/>
                    </a:lnTo>
                    <a:lnTo>
                      <a:pt x="1522" y="744"/>
                    </a:lnTo>
                    <a:lnTo>
                      <a:pt x="1518" y="746"/>
                    </a:lnTo>
                    <a:lnTo>
                      <a:pt x="1518" y="750"/>
                    </a:lnTo>
                    <a:lnTo>
                      <a:pt x="1518" y="752"/>
                    </a:lnTo>
                    <a:lnTo>
                      <a:pt x="1520" y="752"/>
                    </a:lnTo>
                    <a:lnTo>
                      <a:pt x="1524" y="754"/>
                    </a:lnTo>
                    <a:lnTo>
                      <a:pt x="1530" y="754"/>
                    </a:lnTo>
                    <a:lnTo>
                      <a:pt x="1528" y="756"/>
                    </a:lnTo>
                    <a:lnTo>
                      <a:pt x="1522" y="760"/>
                    </a:lnTo>
                    <a:lnTo>
                      <a:pt x="1522" y="762"/>
                    </a:lnTo>
                    <a:lnTo>
                      <a:pt x="1520" y="764"/>
                    </a:lnTo>
                    <a:lnTo>
                      <a:pt x="1516" y="766"/>
                    </a:lnTo>
                    <a:lnTo>
                      <a:pt x="1516" y="768"/>
                    </a:lnTo>
                    <a:lnTo>
                      <a:pt x="1514" y="772"/>
                    </a:lnTo>
                    <a:lnTo>
                      <a:pt x="1512" y="772"/>
                    </a:lnTo>
                    <a:lnTo>
                      <a:pt x="1510" y="774"/>
                    </a:lnTo>
                    <a:lnTo>
                      <a:pt x="1510" y="780"/>
                    </a:lnTo>
                    <a:lnTo>
                      <a:pt x="1510" y="782"/>
                    </a:lnTo>
                    <a:lnTo>
                      <a:pt x="1510" y="784"/>
                    </a:lnTo>
                    <a:lnTo>
                      <a:pt x="1504" y="786"/>
                    </a:lnTo>
                    <a:lnTo>
                      <a:pt x="1496" y="790"/>
                    </a:lnTo>
                    <a:lnTo>
                      <a:pt x="1492" y="792"/>
                    </a:lnTo>
                    <a:lnTo>
                      <a:pt x="1490" y="790"/>
                    </a:lnTo>
                    <a:lnTo>
                      <a:pt x="1492" y="784"/>
                    </a:lnTo>
                    <a:lnTo>
                      <a:pt x="1494" y="776"/>
                    </a:lnTo>
                    <a:lnTo>
                      <a:pt x="1496" y="770"/>
                    </a:lnTo>
                    <a:lnTo>
                      <a:pt x="1496" y="766"/>
                    </a:lnTo>
                    <a:lnTo>
                      <a:pt x="1498" y="760"/>
                    </a:lnTo>
                    <a:lnTo>
                      <a:pt x="1500" y="754"/>
                    </a:lnTo>
                    <a:lnTo>
                      <a:pt x="1498" y="750"/>
                    </a:lnTo>
                    <a:lnTo>
                      <a:pt x="1494" y="750"/>
                    </a:lnTo>
                    <a:lnTo>
                      <a:pt x="1490" y="752"/>
                    </a:lnTo>
                    <a:lnTo>
                      <a:pt x="1480" y="762"/>
                    </a:lnTo>
                    <a:lnTo>
                      <a:pt x="1456" y="784"/>
                    </a:lnTo>
                    <a:lnTo>
                      <a:pt x="1450" y="790"/>
                    </a:lnTo>
                    <a:lnTo>
                      <a:pt x="1450" y="794"/>
                    </a:lnTo>
                    <a:lnTo>
                      <a:pt x="1450" y="798"/>
                    </a:lnTo>
                    <a:lnTo>
                      <a:pt x="1446" y="804"/>
                    </a:lnTo>
                    <a:lnTo>
                      <a:pt x="1440" y="810"/>
                    </a:lnTo>
                    <a:lnTo>
                      <a:pt x="1436" y="810"/>
                    </a:lnTo>
                    <a:lnTo>
                      <a:pt x="1434" y="810"/>
                    </a:lnTo>
                    <a:lnTo>
                      <a:pt x="1432" y="810"/>
                    </a:lnTo>
                    <a:lnTo>
                      <a:pt x="1428" y="812"/>
                    </a:lnTo>
                    <a:lnTo>
                      <a:pt x="1426" y="812"/>
                    </a:lnTo>
                    <a:lnTo>
                      <a:pt x="1428" y="808"/>
                    </a:lnTo>
                    <a:lnTo>
                      <a:pt x="1432" y="802"/>
                    </a:lnTo>
                    <a:lnTo>
                      <a:pt x="1436" y="798"/>
                    </a:lnTo>
                    <a:lnTo>
                      <a:pt x="1436" y="794"/>
                    </a:lnTo>
                    <a:lnTo>
                      <a:pt x="1436" y="792"/>
                    </a:lnTo>
                    <a:lnTo>
                      <a:pt x="1438" y="790"/>
                    </a:lnTo>
                    <a:lnTo>
                      <a:pt x="1442" y="784"/>
                    </a:lnTo>
                    <a:lnTo>
                      <a:pt x="1440" y="782"/>
                    </a:lnTo>
                    <a:lnTo>
                      <a:pt x="1440" y="778"/>
                    </a:lnTo>
                    <a:lnTo>
                      <a:pt x="1448" y="770"/>
                    </a:lnTo>
                    <a:lnTo>
                      <a:pt x="1466" y="756"/>
                    </a:lnTo>
                    <a:lnTo>
                      <a:pt x="1466" y="754"/>
                    </a:lnTo>
                    <a:lnTo>
                      <a:pt x="1458" y="754"/>
                    </a:lnTo>
                    <a:lnTo>
                      <a:pt x="1454" y="752"/>
                    </a:lnTo>
                    <a:lnTo>
                      <a:pt x="1450" y="752"/>
                    </a:lnTo>
                    <a:lnTo>
                      <a:pt x="1446" y="748"/>
                    </a:lnTo>
                    <a:lnTo>
                      <a:pt x="1446" y="746"/>
                    </a:lnTo>
                    <a:lnTo>
                      <a:pt x="1444" y="752"/>
                    </a:lnTo>
                    <a:lnTo>
                      <a:pt x="1442" y="758"/>
                    </a:lnTo>
                    <a:lnTo>
                      <a:pt x="1442" y="760"/>
                    </a:lnTo>
                    <a:lnTo>
                      <a:pt x="1440" y="758"/>
                    </a:lnTo>
                    <a:lnTo>
                      <a:pt x="1438" y="754"/>
                    </a:lnTo>
                    <a:lnTo>
                      <a:pt x="1434" y="750"/>
                    </a:lnTo>
                    <a:lnTo>
                      <a:pt x="1430" y="748"/>
                    </a:lnTo>
                    <a:lnTo>
                      <a:pt x="1426" y="750"/>
                    </a:lnTo>
                    <a:lnTo>
                      <a:pt x="1424" y="750"/>
                    </a:lnTo>
                    <a:lnTo>
                      <a:pt x="1420" y="748"/>
                    </a:lnTo>
                    <a:lnTo>
                      <a:pt x="1418" y="746"/>
                    </a:lnTo>
                    <a:lnTo>
                      <a:pt x="1414" y="746"/>
                    </a:lnTo>
                    <a:lnTo>
                      <a:pt x="1412" y="748"/>
                    </a:lnTo>
                    <a:lnTo>
                      <a:pt x="1414" y="752"/>
                    </a:lnTo>
                    <a:lnTo>
                      <a:pt x="1416" y="754"/>
                    </a:lnTo>
                    <a:lnTo>
                      <a:pt x="1416" y="758"/>
                    </a:lnTo>
                    <a:lnTo>
                      <a:pt x="1414" y="760"/>
                    </a:lnTo>
                    <a:lnTo>
                      <a:pt x="1408" y="758"/>
                    </a:lnTo>
                    <a:lnTo>
                      <a:pt x="1402" y="754"/>
                    </a:lnTo>
                    <a:lnTo>
                      <a:pt x="1400" y="756"/>
                    </a:lnTo>
                    <a:lnTo>
                      <a:pt x="1402" y="760"/>
                    </a:lnTo>
                    <a:lnTo>
                      <a:pt x="1410" y="764"/>
                    </a:lnTo>
                    <a:lnTo>
                      <a:pt x="1418" y="768"/>
                    </a:lnTo>
                    <a:lnTo>
                      <a:pt x="1422" y="770"/>
                    </a:lnTo>
                    <a:lnTo>
                      <a:pt x="1418" y="772"/>
                    </a:lnTo>
                    <a:lnTo>
                      <a:pt x="1410" y="770"/>
                    </a:lnTo>
                    <a:lnTo>
                      <a:pt x="1404" y="768"/>
                    </a:lnTo>
                    <a:lnTo>
                      <a:pt x="1402" y="768"/>
                    </a:lnTo>
                    <a:lnTo>
                      <a:pt x="1402" y="770"/>
                    </a:lnTo>
                    <a:lnTo>
                      <a:pt x="1400" y="774"/>
                    </a:lnTo>
                    <a:lnTo>
                      <a:pt x="1396" y="778"/>
                    </a:lnTo>
                    <a:lnTo>
                      <a:pt x="1388" y="782"/>
                    </a:lnTo>
                    <a:lnTo>
                      <a:pt x="1376" y="790"/>
                    </a:lnTo>
                    <a:lnTo>
                      <a:pt x="1372" y="792"/>
                    </a:lnTo>
                    <a:lnTo>
                      <a:pt x="1372" y="794"/>
                    </a:lnTo>
                    <a:lnTo>
                      <a:pt x="1366" y="798"/>
                    </a:lnTo>
                    <a:lnTo>
                      <a:pt x="1362" y="800"/>
                    </a:lnTo>
                    <a:lnTo>
                      <a:pt x="1360" y="802"/>
                    </a:lnTo>
                    <a:lnTo>
                      <a:pt x="1360" y="804"/>
                    </a:lnTo>
                    <a:lnTo>
                      <a:pt x="1362" y="808"/>
                    </a:lnTo>
                    <a:lnTo>
                      <a:pt x="1360" y="810"/>
                    </a:lnTo>
                    <a:lnTo>
                      <a:pt x="1358" y="810"/>
                    </a:lnTo>
                    <a:lnTo>
                      <a:pt x="1358" y="812"/>
                    </a:lnTo>
                    <a:lnTo>
                      <a:pt x="1362" y="816"/>
                    </a:lnTo>
                    <a:lnTo>
                      <a:pt x="1368" y="818"/>
                    </a:lnTo>
                    <a:lnTo>
                      <a:pt x="1370" y="818"/>
                    </a:lnTo>
                    <a:lnTo>
                      <a:pt x="1368" y="818"/>
                    </a:lnTo>
                    <a:lnTo>
                      <a:pt x="1362" y="818"/>
                    </a:lnTo>
                    <a:lnTo>
                      <a:pt x="1356" y="818"/>
                    </a:lnTo>
                    <a:lnTo>
                      <a:pt x="1350" y="816"/>
                    </a:lnTo>
                    <a:lnTo>
                      <a:pt x="1350" y="814"/>
                    </a:lnTo>
                    <a:lnTo>
                      <a:pt x="1350" y="810"/>
                    </a:lnTo>
                    <a:lnTo>
                      <a:pt x="1350" y="806"/>
                    </a:lnTo>
                    <a:lnTo>
                      <a:pt x="1350" y="804"/>
                    </a:lnTo>
                    <a:lnTo>
                      <a:pt x="1342" y="802"/>
                    </a:lnTo>
                    <a:lnTo>
                      <a:pt x="1334" y="800"/>
                    </a:lnTo>
                    <a:lnTo>
                      <a:pt x="1326" y="800"/>
                    </a:lnTo>
                    <a:lnTo>
                      <a:pt x="1324" y="798"/>
                    </a:lnTo>
                    <a:lnTo>
                      <a:pt x="1322" y="798"/>
                    </a:lnTo>
                    <a:lnTo>
                      <a:pt x="1320" y="796"/>
                    </a:lnTo>
                    <a:lnTo>
                      <a:pt x="1318" y="798"/>
                    </a:lnTo>
                    <a:lnTo>
                      <a:pt x="1312" y="796"/>
                    </a:lnTo>
                    <a:lnTo>
                      <a:pt x="1308" y="794"/>
                    </a:lnTo>
                    <a:lnTo>
                      <a:pt x="1306" y="794"/>
                    </a:lnTo>
                    <a:lnTo>
                      <a:pt x="1306" y="796"/>
                    </a:lnTo>
                    <a:lnTo>
                      <a:pt x="1304" y="802"/>
                    </a:lnTo>
                    <a:lnTo>
                      <a:pt x="1302" y="808"/>
                    </a:lnTo>
                    <a:lnTo>
                      <a:pt x="1300" y="802"/>
                    </a:lnTo>
                    <a:lnTo>
                      <a:pt x="1298" y="800"/>
                    </a:lnTo>
                    <a:lnTo>
                      <a:pt x="1294" y="796"/>
                    </a:lnTo>
                    <a:lnTo>
                      <a:pt x="1290" y="796"/>
                    </a:lnTo>
                    <a:lnTo>
                      <a:pt x="1284" y="798"/>
                    </a:lnTo>
                    <a:lnTo>
                      <a:pt x="1278" y="802"/>
                    </a:lnTo>
                    <a:lnTo>
                      <a:pt x="1280" y="804"/>
                    </a:lnTo>
                    <a:lnTo>
                      <a:pt x="1286" y="806"/>
                    </a:lnTo>
                    <a:lnTo>
                      <a:pt x="1288" y="808"/>
                    </a:lnTo>
                    <a:lnTo>
                      <a:pt x="1290" y="810"/>
                    </a:lnTo>
                    <a:lnTo>
                      <a:pt x="1294" y="812"/>
                    </a:lnTo>
                    <a:lnTo>
                      <a:pt x="1298" y="812"/>
                    </a:lnTo>
                    <a:lnTo>
                      <a:pt x="1302" y="814"/>
                    </a:lnTo>
                    <a:lnTo>
                      <a:pt x="1304" y="816"/>
                    </a:lnTo>
                    <a:lnTo>
                      <a:pt x="1308" y="816"/>
                    </a:lnTo>
                    <a:lnTo>
                      <a:pt x="1310" y="818"/>
                    </a:lnTo>
                    <a:lnTo>
                      <a:pt x="1308" y="820"/>
                    </a:lnTo>
                    <a:lnTo>
                      <a:pt x="1306" y="822"/>
                    </a:lnTo>
                    <a:lnTo>
                      <a:pt x="1306" y="824"/>
                    </a:lnTo>
                    <a:lnTo>
                      <a:pt x="1312" y="832"/>
                    </a:lnTo>
                    <a:lnTo>
                      <a:pt x="1314" y="836"/>
                    </a:lnTo>
                    <a:lnTo>
                      <a:pt x="1312" y="836"/>
                    </a:lnTo>
                    <a:lnTo>
                      <a:pt x="1296" y="824"/>
                    </a:lnTo>
                    <a:lnTo>
                      <a:pt x="1286" y="818"/>
                    </a:lnTo>
                    <a:lnTo>
                      <a:pt x="1280" y="816"/>
                    </a:lnTo>
                    <a:lnTo>
                      <a:pt x="1278" y="818"/>
                    </a:lnTo>
                    <a:lnTo>
                      <a:pt x="1278" y="822"/>
                    </a:lnTo>
                    <a:lnTo>
                      <a:pt x="1280" y="822"/>
                    </a:lnTo>
                    <a:lnTo>
                      <a:pt x="1280" y="824"/>
                    </a:lnTo>
                    <a:lnTo>
                      <a:pt x="1276" y="826"/>
                    </a:lnTo>
                    <a:lnTo>
                      <a:pt x="1274" y="826"/>
                    </a:lnTo>
                    <a:lnTo>
                      <a:pt x="1272" y="826"/>
                    </a:lnTo>
                    <a:lnTo>
                      <a:pt x="1272" y="824"/>
                    </a:lnTo>
                    <a:lnTo>
                      <a:pt x="1274" y="822"/>
                    </a:lnTo>
                    <a:lnTo>
                      <a:pt x="1272" y="822"/>
                    </a:lnTo>
                    <a:lnTo>
                      <a:pt x="1266" y="824"/>
                    </a:lnTo>
                    <a:lnTo>
                      <a:pt x="1252" y="834"/>
                    </a:lnTo>
                    <a:lnTo>
                      <a:pt x="1252" y="836"/>
                    </a:lnTo>
                    <a:lnTo>
                      <a:pt x="1250" y="838"/>
                    </a:lnTo>
                    <a:lnTo>
                      <a:pt x="1248" y="846"/>
                    </a:lnTo>
                    <a:lnTo>
                      <a:pt x="1246" y="850"/>
                    </a:lnTo>
                    <a:lnTo>
                      <a:pt x="1244" y="856"/>
                    </a:lnTo>
                    <a:lnTo>
                      <a:pt x="1238" y="862"/>
                    </a:lnTo>
                    <a:lnTo>
                      <a:pt x="1228" y="868"/>
                    </a:lnTo>
                    <a:lnTo>
                      <a:pt x="1238" y="856"/>
                    </a:lnTo>
                    <a:lnTo>
                      <a:pt x="1242" y="844"/>
                    </a:lnTo>
                    <a:lnTo>
                      <a:pt x="1244" y="832"/>
                    </a:lnTo>
                    <a:lnTo>
                      <a:pt x="1244" y="824"/>
                    </a:lnTo>
                    <a:lnTo>
                      <a:pt x="1242" y="820"/>
                    </a:lnTo>
                    <a:lnTo>
                      <a:pt x="1240" y="822"/>
                    </a:lnTo>
                    <a:lnTo>
                      <a:pt x="1238" y="824"/>
                    </a:lnTo>
                    <a:lnTo>
                      <a:pt x="1236" y="826"/>
                    </a:lnTo>
                    <a:lnTo>
                      <a:pt x="1236" y="824"/>
                    </a:lnTo>
                    <a:lnTo>
                      <a:pt x="1232" y="822"/>
                    </a:lnTo>
                    <a:lnTo>
                      <a:pt x="1230" y="822"/>
                    </a:lnTo>
                    <a:lnTo>
                      <a:pt x="1224" y="834"/>
                    </a:lnTo>
                    <a:lnTo>
                      <a:pt x="1222" y="840"/>
                    </a:lnTo>
                    <a:lnTo>
                      <a:pt x="1222" y="842"/>
                    </a:lnTo>
                    <a:lnTo>
                      <a:pt x="1222" y="844"/>
                    </a:lnTo>
                    <a:lnTo>
                      <a:pt x="1220" y="846"/>
                    </a:lnTo>
                    <a:lnTo>
                      <a:pt x="1216" y="848"/>
                    </a:lnTo>
                    <a:lnTo>
                      <a:pt x="1214" y="848"/>
                    </a:lnTo>
                    <a:lnTo>
                      <a:pt x="1214" y="846"/>
                    </a:lnTo>
                    <a:lnTo>
                      <a:pt x="1216" y="840"/>
                    </a:lnTo>
                    <a:lnTo>
                      <a:pt x="1218" y="836"/>
                    </a:lnTo>
                    <a:lnTo>
                      <a:pt x="1216" y="832"/>
                    </a:lnTo>
                    <a:lnTo>
                      <a:pt x="1214" y="830"/>
                    </a:lnTo>
                    <a:lnTo>
                      <a:pt x="1212" y="830"/>
                    </a:lnTo>
                    <a:lnTo>
                      <a:pt x="1204" y="832"/>
                    </a:lnTo>
                    <a:lnTo>
                      <a:pt x="1198" y="836"/>
                    </a:lnTo>
                    <a:lnTo>
                      <a:pt x="1186" y="844"/>
                    </a:lnTo>
                    <a:lnTo>
                      <a:pt x="1184" y="846"/>
                    </a:lnTo>
                    <a:lnTo>
                      <a:pt x="1188" y="848"/>
                    </a:lnTo>
                    <a:lnTo>
                      <a:pt x="1188" y="850"/>
                    </a:lnTo>
                    <a:lnTo>
                      <a:pt x="1188" y="854"/>
                    </a:lnTo>
                    <a:lnTo>
                      <a:pt x="1188" y="856"/>
                    </a:lnTo>
                    <a:lnTo>
                      <a:pt x="1190" y="858"/>
                    </a:lnTo>
                    <a:lnTo>
                      <a:pt x="1196" y="860"/>
                    </a:lnTo>
                    <a:lnTo>
                      <a:pt x="1200" y="862"/>
                    </a:lnTo>
                    <a:lnTo>
                      <a:pt x="1204" y="864"/>
                    </a:lnTo>
                    <a:lnTo>
                      <a:pt x="1208" y="868"/>
                    </a:lnTo>
                    <a:lnTo>
                      <a:pt x="1210" y="876"/>
                    </a:lnTo>
                    <a:lnTo>
                      <a:pt x="1200" y="872"/>
                    </a:lnTo>
                    <a:lnTo>
                      <a:pt x="1198" y="870"/>
                    </a:lnTo>
                    <a:lnTo>
                      <a:pt x="1200" y="868"/>
                    </a:lnTo>
                    <a:lnTo>
                      <a:pt x="1202" y="868"/>
                    </a:lnTo>
                    <a:lnTo>
                      <a:pt x="1196" y="864"/>
                    </a:lnTo>
                    <a:lnTo>
                      <a:pt x="1190" y="862"/>
                    </a:lnTo>
                    <a:lnTo>
                      <a:pt x="1186" y="860"/>
                    </a:lnTo>
                    <a:lnTo>
                      <a:pt x="1182" y="854"/>
                    </a:lnTo>
                    <a:lnTo>
                      <a:pt x="1180" y="852"/>
                    </a:lnTo>
                    <a:lnTo>
                      <a:pt x="1174" y="852"/>
                    </a:lnTo>
                    <a:lnTo>
                      <a:pt x="1166" y="854"/>
                    </a:lnTo>
                    <a:lnTo>
                      <a:pt x="1166" y="856"/>
                    </a:lnTo>
                    <a:lnTo>
                      <a:pt x="1174" y="862"/>
                    </a:lnTo>
                    <a:lnTo>
                      <a:pt x="1178" y="866"/>
                    </a:lnTo>
                    <a:lnTo>
                      <a:pt x="1176" y="868"/>
                    </a:lnTo>
                    <a:lnTo>
                      <a:pt x="1172" y="868"/>
                    </a:lnTo>
                    <a:lnTo>
                      <a:pt x="1168" y="862"/>
                    </a:lnTo>
                    <a:lnTo>
                      <a:pt x="1158" y="854"/>
                    </a:lnTo>
                    <a:lnTo>
                      <a:pt x="1154" y="854"/>
                    </a:lnTo>
                    <a:lnTo>
                      <a:pt x="1154" y="858"/>
                    </a:lnTo>
                    <a:lnTo>
                      <a:pt x="1154" y="860"/>
                    </a:lnTo>
                    <a:lnTo>
                      <a:pt x="1154" y="862"/>
                    </a:lnTo>
                    <a:lnTo>
                      <a:pt x="1152" y="864"/>
                    </a:lnTo>
                    <a:lnTo>
                      <a:pt x="1150" y="868"/>
                    </a:lnTo>
                    <a:lnTo>
                      <a:pt x="1150" y="872"/>
                    </a:lnTo>
                    <a:lnTo>
                      <a:pt x="1152" y="876"/>
                    </a:lnTo>
                    <a:lnTo>
                      <a:pt x="1152" y="878"/>
                    </a:lnTo>
                    <a:lnTo>
                      <a:pt x="1146" y="880"/>
                    </a:lnTo>
                    <a:lnTo>
                      <a:pt x="1138" y="884"/>
                    </a:lnTo>
                    <a:lnTo>
                      <a:pt x="1134" y="886"/>
                    </a:lnTo>
                    <a:lnTo>
                      <a:pt x="1130" y="888"/>
                    </a:lnTo>
                    <a:lnTo>
                      <a:pt x="1128" y="892"/>
                    </a:lnTo>
                    <a:lnTo>
                      <a:pt x="1128" y="894"/>
                    </a:lnTo>
                    <a:lnTo>
                      <a:pt x="1134" y="896"/>
                    </a:lnTo>
                    <a:lnTo>
                      <a:pt x="1138" y="898"/>
                    </a:lnTo>
                    <a:lnTo>
                      <a:pt x="1132" y="900"/>
                    </a:lnTo>
                    <a:lnTo>
                      <a:pt x="1122" y="902"/>
                    </a:lnTo>
                    <a:lnTo>
                      <a:pt x="1120" y="906"/>
                    </a:lnTo>
                    <a:lnTo>
                      <a:pt x="1118" y="908"/>
                    </a:lnTo>
                    <a:lnTo>
                      <a:pt x="1114" y="912"/>
                    </a:lnTo>
                    <a:lnTo>
                      <a:pt x="1108" y="912"/>
                    </a:lnTo>
                    <a:lnTo>
                      <a:pt x="1102" y="912"/>
                    </a:lnTo>
                    <a:lnTo>
                      <a:pt x="1096" y="916"/>
                    </a:lnTo>
                    <a:lnTo>
                      <a:pt x="1090" y="924"/>
                    </a:lnTo>
                    <a:lnTo>
                      <a:pt x="1088" y="928"/>
                    </a:lnTo>
                    <a:lnTo>
                      <a:pt x="1088" y="930"/>
                    </a:lnTo>
                    <a:lnTo>
                      <a:pt x="1092" y="930"/>
                    </a:lnTo>
                    <a:lnTo>
                      <a:pt x="1096" y="928"/>
                    </a:lnTo>
                    <a:lnTo>
                      <a:pt x="1106" y="926"/>
                    </a:lnTo>
                    <a:lnTo>
                      <a:pt x="1108" y="926"/>
                    </a:lnTo>
                    <a:lnTo>
                      <a:pt x="1108" y="930"/>
                    </a:lnTo>
                    <a:lnTo>
                      <a:pt x="1112" y="930"/>
                    </a:lnTo>
                    <a:lnTo>
                      <a:pt x="1124" y="924"/>
                    </a:lnTo>
                    <a:lnTo>
                      <a:pt x="1128" y="924"/>
                    </a:lnTo>
                    <a:lnTo>
                      <a:pt x="1130" y="924"/>
                    </a:lnTo>
                    <a:lnTo>
                      <a:pt x="1128" y="928"/>
                    </a:lnTo>
                    <a:lnTo>
                      <a:pt x="1120" y="932"/>
                    </a:lnTo>
                    <a:lnTo>
                      <a:pt x="1110" y="936"/>
                    </a:lnTo>
                    <a:lnTo>
                      <a:pt x="1102" y="936"/>
                    </a:lnTo>
                    <a:lnTo>
                      <a:pt x="1100" y="936"/>
                    </a:lnTo>
                    <a:lnTo>
                      <a:pt x="1096" y="934"/>
                    </a:lnTo>
                    <a:lnTo>
                      <a:pt x="1088" y="934"/>
                    </a:lnTo>
                    <a:lnTo>
                      <a:pt x="1078" y="936"/>
                    </a:lnTo>
                    <a:lnTo>
                      <a:pt x="1072" y="938"/>
                    </a:lnTo>
                    <a:lnTo>
                      <a:pt x="1070" y="940"/>
                    </a:lnTo>
                    <a:lnTo>
                      <a:pt x="1074" y="942"/>
                    </a:lnTo>
                    <a:lnTo>
                      <a:pt x="1076" y="944"/>
                    </a:lnTo>
                    <a:lnTo>
                      <a:pt x="1076" y="946"/>
                    </a:lnTo>
                    <a:lnTo>
                      <a:pt x="1080" y="948"/>
                    </a:lnTo>
                    <a:lnTo>
                      <a:pt x="1086" y="948"/>
                    </a:lnTo>
                    <a:lnTo>
                      <a:pt x="1084" y="952"/>
                    </a:lnTo>
                    <a:lnTo>
                      <a:pt x="1080" y="958"/>
                    </a:lnTo>
                    <a:lnTo>
                      <a:pt x="1078" y="960"/>
                    </a:lnTo>
                    <a:lnTo>
                      <a:pt x="1076" y="964"/>
                    </a:lnTo>
                    <a:lnTo>
                      <a:pt x="1076" y="968"/>
                    </a:lnTo>
                    <a:lnTo>
                      <a:pt x="1074" y="966"/>
                    </a:lnTo>
                    <a:lnTo>
                      <a:pt x="1070" y="960"/>
                    </a:lnTo>
                    <a:lnTo>
                      <a:pt x="1070" y="954"/>
                    </a:lnTo>
                    <a:lnTo>
                      <a:pt x="1070" y="948"/>
                    </a:lnTo>
                    <a:lnTo>
                      <a:pt x="1068" y="944"/>
                    </a:lnTo>
                    <a:lnTo>
                      <a:pt x="1066" y="944"/>
                    </a:lnTo>
                    <a:lnTo>
                      <a:pt x="1064" y="948"/>
                    </a:lnTo>
                    <a:lnTo>
                      <a:pt x="1060" y="954"/>
                    </a:lnTo>
                    <a:lnTo>
                      <a:pt x="1058" y="954"/>
                    </a:lnTo>
                    <a:lnTo>
                      <a:pt x="1056" y="954"/>
                    </a:lnTo>
                    <a:lnTo>
                      <a:pt x="1056" y="952"/>
                    </a:lnTo>
                    <a:lnTo>
                      <a:pt x="1052" y="950"/>
                    </a:lnTo>
                    <a:lnTo>
                      <a:pt x="1046" y="952"/>
                    </a:lnTo>
                    <a:lnTo>
                      <a:pt x="1042" y="956"/>
                    </a:lnTo>
                    <a:lnTo>
                      <a:pt x="1040" y="956"/>
                    </a:lnTo>
                    <a:lnTo>
                      <a:pt x="1040" y="958"/>
                    </a:lnTo>
                    <a:lnTo>
                      <a:pt x="1042" y="960"/>
                    </a:lnTo>
                    <a:lnTo>
                      <a:pt x="1044" y="960"/>
                    </a:lnTo>
                    <a:lnTo>
                      <a:pt x="1048" y="958"/>
                    </a:lnTo>
                    <a:lnTo>
                      <a:pt x="1054" y="958"/>
                    </a:lnTo>
                    <a:lnTo>
                      <a:pt x="1062" y="960"/>
                    </a:lnTo>
                    <a:lnTo>
                      <a:pt x="1064" y="962"/>
                    </a:lnTo>
                    <a:lnTo>
                      <a:pt x="1064" y="964"/>
                    </a:lnTo>
                    <a:lnTo>
                      <a:pt x="1060" y="966"/>
                    </a:lnTo>
                    <a:lnTo>
                      <a:pt x="1050" y="966"/>
                    </a:lnTo>
                    <a:lnTo>
                      <a:pt x="1032" y="970"/>
                    </a:lnTo>
                    <a:lnTo>
                      <a:pt x="1020" y="974"/>
                    </a:lnTo>
                    <a:lnTo>
                      <a:pt x="1018" y="976"/>
                    </a:lnTo>
                    <a:lnTo>
                      <a:pt x="1020" y="978"/>
                    </a:lnTo>
                    <a:lnTo>
                      <a:pt x="1022" y="980"/>
                    </a:lnTo>
                    <a:lnTo>
                      <a:pt x="1018" y="984"/>
                    </a:lnTo>
                    <a:lnTo>
                      <a:pt x="1016" y="986"/>
                    </a:lnTo>
                    <a:lnTo>
                      <a:pt x="1020" y="988"/>
                    </a:lnTo>
                    <a:lnTo>
                      <a:pt x="1026" y="988"/>
                    </a:lnTo>
                    <a:lnTo>
                      <a:pt x="1030" y="986"/>
                    </a:lnTo>
                    <a:lnTo>
                      <a:pt x="1036" y="980"/>
                    </a:lnTo>
                    <a:lnTo>
                      <a:pt x="1042" y="976"/>
                    </a:lnTo>
                    <a:lnTo>
                      <a:pt x="1046" y="976"/>
                    </a:lnTo>
                    <a:lnTo>
                      <a:pt x="1052" y="976"/>
                    </a:lnTo>
                    <a:lnTo>
                      <a:pt x="1060" y="980"/>
                    </a:lnTo>
                    <a:lnTo>
                      <a:pt x="1058" y="980"/>
                    </a:lnTo>
                    <a:lnTo>
                      <a:pt x="1050" y="980"/>
                    </a:lnTo>
                    <a:lnTo>
                      <a:pt x="1040" y="982"/>
                    </a:lnTo>
                    <a:lnTo>
                      <a:pt x="1034" y="986"/>
                    </a:lnTo>
                    <a:lnTo>
                      <a:pt x="1034" y="988"/>
                    </a:lnTo>
                    <a:lnTo>
                      <a:pt x="1036" y="990"/>
                    </a:lnTo>
                    <a:lnTo>
                      <a:pt x="1034" y="990"/>
                    </a:lnTo>
                    <a:lnTo>
                      <a:pt x="1026" y="992"/>
                    </a:lnTo>
                    <a:lnTo>
                      <a:pt x="1016" y="996"/>
                    </a:lnTo>
                    <a:lnTo>
                      <a:pt x="1016" y="998"/>
                    </a:lnTo>
                    <a:lnTo>
                      <a:pt x="1020" y="1002"/>
                    </a:lnTo>
                    <a:lnTo>
                      <a:pt x="1022" y="1002"/>
                    </a:lnTo>
                    <a:lnTo>
                      <a:pt x="1022" y="1004"/>
                    </a:lnTo>
                    <a:lnTo>
                      <a:pt x="1020" y="1006"/>
                    </a:lnTo>
                    <a:lnTo>
                      <a:pt x="1016" y="1004"/>
                    </a:lnTo>
                    <a:lnTo>
                      <a:pt x="1014" y="1002"/>
                    </a:lnTo>
                    <a:lnTo>
                      <a:pt x="1010" y="1004"/>
                    </a:lnTo>
                    <a:lnTo>
                      <a:pt x="1004" y="1012"/>
                    </a:lnTo>
                    <a:lnTo>
                      <a:pt x="1008" y="1014"/>
                    </a:lnTo>
                    <a:lnTo>
                      <a:pt x="1012" y="1014"/>
                    </a:lnTo>
                    <a:lnTo>
                      <a:pt x="1016" y="1012"/>
                    </a:lnTo>
                    <a:lnTo>
                      <a:pt x="1024" y="1012"/>
                    </a:lnTo>
                    <a:lnTo>
                      <a:pt x="1036" y="1012"/>
                    </a:lnTo>
                    <a:lnTo>
                      <a:pt x="1050" y="1016"/>
                    </a:lnTo>
                    <a:lnTo>
                      <a:pt x="1048" y="1016"/>
                    </a:lnTo>
                    <a:lnTo>
                      <a:pt x="1046" y="1018"/>
                    </a:lnTo>
                    <a:lnTo>
                      <a:pt x="1046" y="1022"/>
                    </a:lnTo>
                    <a:lnTo>
                      <a:pt x="1046" y="1024"/>
                    </a:lnTo>
                    <a:lnTo>
                      <a:pt x="1044" y="1022"/>
                    </a:lnTo>
                    <a:lnTo>
                      <a:pt x="1038" y="1018"/>
                    </a:lnTo>
                    <a:lnTo>
                      <a:pt x="1034" y="1016"/>
                    </a:lnTo>
                    <a:lnTo>
                      <a:pt x="1028" y="1016"/>
                    </a:lnTo>
                    <a:lnTo>
                      <a:pt x="1020" y="1016"/>
                    </a:lnTo>
                    <a:lnTo>
                      <a:pt x="1014" y="1018"/>
                    </a:lnTo>
                    <a:lnTo>
                      <a:pt x="1008" y="1020"/>
                    </a:lnTo>
                    <a:lnTo>
                      <a:pt x="1002" y="1020"/>
                    </a:lnTo>
                    <a:lnTo>
                      <a:pt x="998" y="1020"/>
                    </a:lnTo>
                    <a:lnTo>
                      <a:pt x="996" y="1020"/>
                    </a:lnTo>
                    <a:lnTo>
                      <a:pt x="994" y="1022"/>
                    </a:lnTo>
                    <a:lnTo>
                      <a:pt x="990" y="1022"/>
                    </a:lnTo>
                    <a:lnTo>
                      <a:pt x="988" y="1024"/>
                    </a:lnTo>
                    <a:lnTo>
                      <a:pt x="988" y="1026"/>
                    </a:lnTo>
                    <a:lnTo>
                      <a:pt x="988" y="1028"/>
                    </a:lnTo>
                    <a:lnTo>
                      <a:pt x="988" y="1030"/>
                    </a:lnTo>
                    <a:lnTo>
                      <a:pt x="986" y="1032"/>
                    </a:lnTo>
                    <a:lnTo>
                      <a:pt x="982" y="1034"/>
                    </a:lnTo>
                    <a:lnTo>
                      <a:pt x="976" y="1034"/>
                    </a:lnTo>
                    <a:lnTo>
                      <a:pt x="968" y="1036"/>
                    </a:lnTo>
                    <a:lnTo>
                      <a:pt x="970" y="1038"/>
                    </a:lnTo>
                    <a:lnTo>
                      <a:pt x="974" y="1042"/>
                    </a:lnTo>
                    <a:lnTo>
                      <a:pt x="974" y="1044"/>
                    </a:lnTo>
                    <a:lnTo>
                      <a:pt x="972" y="1046"/>
                    </a:lnTo>
                    <a:lnTo>
                      <a:pt x="966" y="1050"/>
                    </a:lnTo>
                    <a:lnTo>
                      <a:pt x="964" y="1050"/>
                    </a:lnTo>
                    <a:lnTo>
                      <a:pt x="962" y="1050"/>
                    </a:lnTo>
                    <a:lnTo>
                      <a:pt x="956" y="1052"/>
                    </a:lnTo>
                    <a:lnTo>
                      <a:pt x="954" y="1056"/>
                    </a:lnTo>
                    <a:lnTo>
                      <a:pt x="956" y="1058"/>
                    </a:lnTo>
                    <a:lnTo>
                      <a:pt x="958" y="1058"/>
                    </a:lnTo>
                    <a:lnTo>
                      <a:pt x="958" y="1060"/>
                    </a:lnTo>
                    <a:lnTo>
                      <a:pt x="954" y="1062"/>
                    </a:lnTo>
                    <a:lnTo>
                      <a:pt x="954" y="1064"/>
                    </a:lnTo>
                    <a:lnTo>
                      <a:pt x="956" y="1066"/>
                    </a:lnTo>
                    <a:lnTo>
                      <a:pt x="954" y="1064"/>
                    </a:lnTo>
                    <a:lnTo>
                      <a:pt x="950" y="1064"/>
                    </a:lnTo>
                    <a:lnTo>
                      <a:pt x="946" y="1064"/>
                    </a:lnTo>
                    <a:lnTo>
                      <a:pt x="946" y="1066"/>
                    </a:lnTo>
                    <a:lnTo>
                      <a:pt x="948" y="1068"/>
                    </a:lnTo>
                    <a:lnTo>
                      <a:pt x="950" y="1070"/>
                    </a:lnTo>
                    <a:lnTo>
                      <a:pt x="950" y="1072"/>
                    </a:lnTo>
                    <a:lnTo>
                      <a:pt x="948" y="1076"/>
                    </a:lnTo>
                    <a:lnTo>
                      <a:pt x="948" y="1080"/>
                    </a:lnTo>
                    <a:lnTo>
                      <a:pt x="954" y="1080"/>
                    </a:lnTo>
                    <a:lnTo>
                      <a:pt x="958" y="1080"/>
                    </a:lnTo>
                    <a:lnTo>
                      <a:pt x="954" y="1082"/>
                    </a:lnTo>
                    <a:lnTo>
                      <a:pt x="948" y="1084"/>
                    </a:lnTo>
                    <a:lnTo>
                      <a:pt x="946" y="1086"/>
                    </a:lnTo>
                    <a:lnTo>
                      <a:pt x="954" y="1086"/>
                    </a:lnTo>
                    <a:lnTo>
                      <a:pt x="964" y="1084"/>
                    </a:lnTo>
                    <a:lnTo>
                      <a:pt x="988" y="1078"/>
                    </a:lnTo>
                    <a:lnTo>
                      <a:pt x="994" y="1078"/>
                    </a:lnTo>
                    <a:lnTo>
                      <a:pt x="990" y="1080"/>
                    </a:lnTo>
                    <a:lnTo>
                      <a:pt x="982" y="1084"/>
                    </a:lnTo>
                    <a:lnTo>
                      <a:pt x="972" y="1086"/>
                    </a:lnTo>
                    <a:lnTo>
                      <a:pt x="954" y="1090"/>
                    </a:lnTo>
                    <a:lnTo>
                      <a:pt x="946" y="1092"/>
                    </a:lnTo>
                    <a:lnTo>
                      <a:pt x="936" y="1094"/>
                    </a:lnTo>
                    <a:lnTo>
                      <a:pt x="932" y="1096"/>
                    </a:lnTo>
                    <a:lnTo>
                      <a:pt x="936" y="1096"/>
                    </a:lnTo>
                    <a:lnTo>
                      <a:pt x="942" y="1098"/>
                    </a:lnTo>
                    <a:lnTo>
                      <a:pt x="944" y="1098"/>
                    </a:lnTo>
                    <a:lnTo>
                      <a:pt x="946" y="1100"/>
                    </a:lnTo>
                    <a:lnTo>
                      <a:pt x="944" y="1104"/>
                    </a:lnTo>
                    <a:lnTo>
                      <a:pt x="940" y="1106"/>
                    </a:lnTo>
                    <a:lnTo>
                      <a:pt x="934" y="1108"/>
                    </a:lnTo>
                    <a:lnTo>
                      <a:pt x="932" y="1114"/>
                    </a:lnTo>
                    <a:lnTo>
                      <a:pt x="930" y="1118"/>
                    </a:lnTo>
                    <a:lnTo>
                      <a:pt x="928" y="1120"/>
                    </a:lnTo>
                    <a:lnTo>
                      <a:pt x="924" y="1122"/>
                    </a:lnTo>
                    <a:lnTo>
                      <a:pt x="920" y="1122"/>
                    </a:lnTo>
                    <a:lnTo>
                      <a:pt x="920" y="1128"/>
                    </a:lnTo>
                    <a:lnTo>
                      <a:pt x="922" y="1132"/>
                    </a:lnTo>
                    <a:lnTo>
                      <a:pt x="924" y="1134"/>
                    </a:lnTo>
                    <a:lnTo>
                      <a:pt x="926" y="1134"/>
                    </a:lnTo>
                    <a:lnTo>
                      <a:pt x="928" y="1138"/>
                    </a:lnTo>
                    <a:lnTo>
                      <a:pt x="928" y="1140"/>
                    </a:lnTo>
                    <a:lnTo>
                      <a:pt x="928" y="1142"/>
                    </a:lnTo>
                    <a:lnTo>
                      <a:pt x="922" y="1146"/>
                    </a:lnTo>
                    <a:lnTo>
                      <a:pt x="918" y="1150"/>
                    </a:lnTo>
                    <a:lnTo>
                      <a:pt x="918" y="1152"/>
                    </a:lnTo>
                    <a:lnTo>
                      <a:pt x="920" y="1152"/>
                    </a:lnTo>
                    <a:lnTo>
                      <a:pt x="922" y="1156"/>
                    </a:lnTo>
                    <a:lnTo>
                      <a:pt x="922" y="1160"/>
                    </a:lnTo>
                    <a:lnTo>
                      <a:pt x="918" y="1164"/>
                    </a:lnTo>
                    <a:lnTo>
                      <a:pt x="910" y="1166"/>
                    </a:lnTo>
                    <a:lnTo>
                      <a:pt x="904" y="1168"/>
                    </a:lnTo>
                    <a:lnTo>
                      <a:pt x="900" y="1168"/>
                    </a:lnTo>
                    <a:lnTo>
                      <a:pt x="898" y="1170"/>
                    </a:lnTo>
                    <a:lnTo>
                      <a:pt x="892" y="1172"/>
                    </a:lnTo>
                    <a:lnTo>
                      <a:pt x="888" y="1174"/>
                    </a:lnTo>
                    <a:lnTo>
                      <a:pt x="884" y="1174"/>
                    </a:lnTo>
                    <a:lnTo>
                      <a:pt x="880" y="1176"/>
                    </a:lnTo>
                    <a:lnTo>
                      <a:pt x="876" y="1176"/>
                    </a:lnTo>
                    <a:lnTo>
                      <a:pt x="866" y="1176"/>
                    </a:lnTo>
                    <a:lnTo>
                      <a:pt x="862" y="1176"/>
                    </a:lnTo>
                    <a:lnTo>
                      <a:pt x="860" y="1178"/>
                    </a:lnTo>
                    <a:lnTo>
                      <a:pt x="860" y="1180"/>
                    </a:lnTo>
                    <a:lnTo>
                      <a:pt x="864" y="1180"/>
                    </a:lnTo>
                    <a:lnTo>
                      <a:pt x="868" y="1180"/>
                    </a:lnTo>
                    <a:lnTo>
                      <a:pt x="876" y="1180"/>
                    </a:lnTo>
                    <a:lnTo>
                      <a:pt x="878" y="1182"/>
                    </a:lnTo>
                    <a:lnTo>
                      <a:pt x="880" y="1184"/>
                    </a:lnTo>
                    <a:lnTo>
                      <a:pt x="878" y="1186"/>
                    </a:lnTo>
                    <a:lnTo>
                      <a:pt x="878" y="1188"/>
                    </a:lnTo>
                    <a:lnTo>
                      <a:pt x="886" y="1184"/>
                    </a:lnTo>
                    <a:lnTo>
                      <a:pt x="892" y="1182"/>
                    </a:lnTo>
                    <a:lnTo>
                      <a:pt x="892" y="1184"/>
                    </a:lnTo>
                    <a:lnTo>
                      <a:pt x="890" y="1186"/>
                    </a:lnTo>
                    <a:lnTo>
                      <a:pt x="886" y="1190"/>
                    </a:lnTo>
                    <a:lnTo>
                      <a:pt x="884" y="1190"/>
                    </a:lnTo>
                    <a:lnTo>
                      <a:pt x="882" y="1192"/>
                    </a:lnTo>
                    <a:lnTo>
                      <a:pt x="886" y="1194"/>
                    </a:lnTo>
                    <a:lnTo>
                      <a:pt x="890" y="1196"/>
                    </a:lnTo>
                    <a:lnTo>
                      <a:pt x="890" y="1198"/>
                    </a:lnTo>
                    <a:lnTo>
                      <a:pt x="890" y="1200"/>
                    </a:lnTo>
                    <a:lnTo>
                      <a:pt x="886" y="1204"/>
                    </a:lnTo>
                    <a:lnTo>
                      <a:pt x="886" y="1206"/>
                    </a:lnTo>
                    <a:lnTo>
                      <a:pt x="884" y="1208"/>
                    </a:lnTo>
                    <a:lnTo>
                      <a:pt x="878" y="1208"/>
                    </a:lnTo>
                    <a:lnTo>
                      <a:pt x="874" y="1208"/>
                    </a:lnTo>
                    <a:lnTo>
                      <a:pt x="872" y="1208"/>
                    </a:lnTo>
                    <a:lnTo>
                      <a:pt x="870" y="1204"/>
                    </a:lnTo>
                    <a:lnTo>
                      <a:pt x="868" y="1198"/>
                    </a:lnTo>
                    <a:lnTo>
                      <a:pt x="866" y="1198"/>
                    </a:lnTo>
                    <a:lnTo>
                      <a:pt x="864" y="1198"/>
                    </a:lnTo>
                    <a:lnTo>
                      <a:pt x="862" y="1198"/>
                    </a:lnTo>
                    <a:lnTo>
                      <a:pt x="862" y="1200"/>
                    </a:lnTo>
                    <a:lnTo>
                      <a:pt x="862" y="1202"/>
                    </a:lnTo>
                    <a:lnTo>
                      <a:pt x="860" y="1204"/>
                    </a:lnTo>
                    <a:lnTo>
                      <a:pt x="852" y="1204"/>
                    </a:lnTo>
                    <a:lnTo>
                      <a:pt x="848" y="1208"/>
                    </a:lnTo>
                    <a:lnTo>
                      <a:pt x="846" y="1210"/>
                    </a:lnTo>
                    <a:lnTo>
                      <a:pt x="846" y="1214"/>
                    </a:lnTo>
                    <a:lnTo>
                      <a:pt x="846" y="1216"/>
                    </a:lnTo>
                    <a:lnTo>
                      <a:pt x="844" y="1218"/>
                    </a:lnTo>
                    <a:lnTo>
                      <a:pt x="840" y="1220"/>
                    </a:lnTo>
                    <a:lnTo>
                      <a:pt x="834" y="1222"/>
                    </a:lnTo>
                    <a:lnTo>
                      <a:pt x="832" y="1224"/>
                    </a:lnTo>
                    <a:lnTo>
                      <a:pt x="830" y="1228"/>
                    </a:lnTo>
                    <a:lnTo>
                      <a:pt x="828" y="1234"/>
                    </a:lnTo>
                    <a:lnTo>
                      <a:pt x="824" y="1240"/>
                    </a:lnTo>
                    <a:lnTo>
                      <a:pt x="818" y="1246"/>
                    </a:lnTo>
                    <a:lnTo>
                      <a:pt x="812" y="1250"/>
                    </a:lnTo>
                    <a:lnTo>
                      <a:pt x="808" y="1252"/>
                    </a:lnTo>
                    <a:lnTo>
                      <a:pt x="806" y="1256"/>
                    </a:lnTo>
                    <a:lnTo>
                      <a:pt x="806" y="1258"/>
                    </a:lnTo>
                    <a:lnTo>
                      <a:pt x="806" y="1260"/>
                    </a:lnTo>
                    <a:lnTo>
                      <a:pt x="810" y="1260"/>
                    </a:lnTo>
                    <a:lnTo>
                      <a:pt x="816" y="1258"/>
                    </a:lnTo>
                    <a:lnTo>
                      <a:pt x="818" y="1258"/>
                    </a:lnTo>
                    <a:lnTo>
                      <a:pt x="818" y="1262"/>
                    </a:lnTo>
                    <a:lnTo>
                      <a:pt x="820" y="1262"/>
                    </a:lnTo>
                    <a:lnTo>
                      <a:pt x="822" y="1264"/>
                    </a:lnTo>
                    <a:lnTo>
                      <a:pt x="822" y="1268"/>
                    </a:lnTo>
                    <a:lnTo>
                      <a:pt x="824" y="1270"/>
                    </a:lnTo>
                    <a:lnTo>
                      <a:pt x="826" y="1270"/>
                    </a:lnTo>
                    <a:lnTo>
                      <a:pt x="834" y="1270"/>
                    </a:lnTo>
                    <a:lnTo>
                      <a:pt x="848" y="1264"/>
                    </a:lnTo>
                    <a:lnTo>
                      <a:pt x="862" y="1254"/>
                    </a:lnTo>
                    <a:lnTo>
                      <a:pt x="868" y="1250"/>
                    </a:lnTo>
                    <a:lnTo>
                      <a:pt x="868" y="1246"/>
                    </a:lnTo>
                    <a:lnTo>
                      <a:pt x="864" y="1244"/>
                    </a:lnTo>
                    <a:lnTo>
                      <a:pt x="858" y="1244"/>
                    </a:lnTo>
                    <a:lnTo>
                      <a:pt x="862" y="1242"/>
                    </a:lnTo>
                    <a:lnTo>
                      <a:pt x="870" y="1238"/>
                    </a:lnTo>
                    <a:lnTo>
                      <a:pt x="874" y="1236"/>
                    </a:lnTo>
                    <a:lnTo>
                      <a:pt x="876" y="1234"/>
                    </a:lnTo>
                    <a:lnTo>
                      <a:pt x="880" y="1236"/>
                    </a:lnTo>
                    <a:lnTo>
                      <a:pt x="884" y="1236"/>
                    </a:lnTo>
                    <a:lnTo>
                      <a:pt x="884" y="1238"/>
                    </a:lnTo>
                    <a:lnTo>
                      <a:pt x="878" y="1240"/>
                    </a:lnTo>
                    <a:lnTo>
                      <a:pt x="874" y="1242"/>
                    </a:lnTo>
                    <a:lnTo>
                      <a:pt x="872" y="1244"/>
                    </a:lnTo>
                    <a:lnTo>
                      <a:pt x="874" y="1246"/>
                    </a:lnTo>
                    <a:lnTo>
                      <a:pt x="880" y="1248"/>
                    </a:lnTo>
                    <a:lnTo>
                      <a:pt x="884" y="1250"/>
                    </a:lnTo>
                    <a:lnTo>
                      <a:pt x="880" y="1254"/>
                    </a:lnTo>
                    <a:lnTo>
                      <a:pt x="860" y="1262"/>
                    </a:lnTo>
                    <a:lnTo>
                      <a:pt x="854" y="1266"/>
                    </a:lnTo>
                    <a:lnTo>
                      <a:pt x="858" y="1268"/>
                    </a:lnTo>
                    <a:lnTo>
                      <a:pt x="856" y="1268"/>
                    </a:lnTo>
                    <a:lnTo>
                      <a:pt x="856" y="1270"/>
                    </a:lnTo>
                    <a:lnTo>
                      <a:pt x="856" y="1272"/>
                    </a:lnTo>
                    <a:lnTo>
                      <a:pt x="858" y="1272"/>
                    </a:lnTo>
                    <a:lnTo>
                      <a:pt x="862" y="1274"/>
                    </a:lnTo>
                    <a:lnTo>
                      <a:pt x="860" y="1276"/>
                    </a:lnTo>
                    <a:lnTo>
                      <a:pt x="856" y="1276"/>
                    </a:lnTo>
                    <a:lnTo>
                      <a:pt x="852" y="1276"/>
                    </a:lnTo>
                    <a:lnTo>
                      <a:pt x="844" y="1276"/>
                    </a:lnTo>
                    <a:lnTo>
                      <a:pt x="836" y="1276"/>
                    </a:lnTo>
                    <a:lnTo>
                      <a:pt x="830" y="1276"/>
                    </a:lnTo>
                    <a:lnTo>
                      <a:pt x="826" y="1280"/>
                    </a:lnTo>
                    <a:lnTo>
                      <a:pt x="822" y="1282"/>
                    </a:lnTo>
                    <a:lnTo>
                      <a:pt x="822" y="1276"/>
                    </a:lnTo>
                    <a:lnTo>
                      <a:pt x="818" y="1268"/>
                    </a:lnTo>
                    <a:lnTo>
                      <a:pt x="814" y="1262"/>
                    </a:lnTo>
                    <a:lnTo>
                      <a:pt x="810" y="1262"/>
                    </a:lnTo>
                    <a:lnTo>
                      <a:pt x="806" y="1266"/>
                    </a:lnTo>
                    <a:lnTo>
                      <a:pt x="798" y="1268"/>
                    </a:lnTo>
                    <a:lnTo>
                      <a:pt x="796" y="1268"/>
                    </a:lnTo>
                    <a:lnTo>
                      <a:pt x="794" y="1270"/>
                    </a:lnTo>
                    <a:lnTo>
                      <a:pt x="792" y="1274"/>
                    </a:lnTo>
                    <a:lnTo>
                      <a:pt x="792" y="1276"/>
                    </a:lnTo>
                    <a:lnTo>
                      <a:pt x="790" y="1274"/>
                    </a:lnTo>
                    <a:lnTo>
                      <a:pt x="784" y="1274"/>
                    </a:lnTo>
                    <a:lnTo>
                      <a:pt x="778" y="1274"/>
                    </a:lnTo>
                    <a:lnTo>
                      <a:pt x="762" y="1280"/>
                    </a:lnTo>
                    <a:lnTo>
                      <a:pt x="760" y="1282"/>
                    </a:lnTo>
                    <a:lnTo>
                      <a:pt x="760" y="1284"/>
                    </a:lnTo>
                    <a:lnTo>
                      <a:pt x="766" y="1288"/>
                    </a:lnTo>
                    <a:lnTo>
                      <a:pt x="768" y="1290"/>
                    </a:lnTo>
                    <a:lnTo>
                      <a:pt x="768" y="1292"/>
                    </a:lnTo>
                    <a:lnTo>
                      <a:pt x="766" y="1294"/>
                    </a:lnTo>
                    <a:lnTo>
                      <a:pt x="760" y="1294"/>
                    </a:lnTo>
                    <a:lnTo>
                      <a:pt x="754" y="1296"/>
                    </a:lnTo>
                    <a:lnTo>
                      <a:pt x="752" y="1298"/>
                    </a:lnTo>
                    <a:lnTo>
                      <a:pt x="752" y="1300"/>
                    </a:lnTo>
                    <a:lnTo>
                      <a:pt x="756" y="1302"/>
                    </a:lnTo>
                    <a:lnTo>
                      <a:pt x="746" y="1300"/>
                    </a:lnTo>
                    <a:lnTo>
                      <a:pt x="738" y="1298"/>
                    </a:lnTo>
                    <a:lnTo>
                      <a:pt x="742" y="1300"/>
                    </a:lnTo>
                    <a:lnTo>
                      <a:pt x="744" y="1304"/>
                    </a:lnTo>
                    <a:lnTo>
                      <a:pt x="744" y="1306"/>
                    </a:lnTo>
                    <a:lnTo>
                      <a:pt x="740" y="1308"/>
                    </a:lnTo>
                    <a:lnTo>
                      <a:pt x="728" y="1308"/>
                    </a:lnTo>
                    <a:lnTo>
                      <a:pt x="716" y="1308"/>
                    </a:lnTo>
                    <a:lnTo>
                      <a:pt x="708" y="1306"/>
                    </a:lnTo>
                    <a:lnTo>
                      <a:pt x="704" y="1308"/>
                    </a:lnTo>
                    <a:lnTo>
                      <a:pt x="702" y="1310"/>
                    </a:lnTo>
                    <a:lnTo>
                      <a:pt x="702" y="1316"/>
                    </a:lnTo>
                    <a:lnTo>
                      <a:pt x="704" y="1318"/>
                    </a:lnTo>
                    <a:lnTo>
                      <a:pt x="708" y="1320"/>
                    </a:lnTo>
                    <a:lnTo>
                      <a:pt x="712" y="1320"/>
                    </a:lnTo>
                    <a:lnTo>
                      <a:pt x="718" y="1320"/>
                    </a:lnTo>
                    <a:lnTo>
                      <a:pt x="726" y="1318"/>
                    </a:lnTo>
                    <a:lnTo>
                      <a:pt x="724" y="1320"/>
                    </a:lnTo>
                    <a:lnTo>
                      <a:pt x="720" y="1324"/>
                    </a:lnTo>
                    <a:lnTo>
                      <a:pt x="720" y="1328"/>
                    </a:lnTo>
                    <a:lnTo>
                      <a:pt x="722" y="1332"/>
                    </a:lnTo>
                    <a:lnTo>
                      <a:pt x="724" y="1334"/>
                    </a:lnTo>
                    <a:lnTo>
                      <a:pt x="718" y="1332"/>
                    </a:lnTo>
                    <a:lnTo>
                      <a:pt x="704" y="1328"/>
                    </a:lnTo>
                    <a:lnTo>
                      <a:pt x="696" y="1328"/>
                    </a:lnTo>
                    <a:lnTo>
                      <a:pt x="686" y="1330"/>
                    </a:lnTo>
                    <a:lnTo>
                      <a:pt x="678" y="1334"/>
                    </a:lnTo>
                    <a:lnTo>
                      <a:pt x="676" y="1336"/>
                    </a:lnTo>
                    <a:lnTo>
                      <a:pt x="678" y="1336"/>
                    </a:lnTo>
                    <a:lnTo>
                      <a:pt x="682" y="1338"/>
                    </a:lnTo>
                    <a:lnTo>
                      <a:pt x="694" y="1340"/>
                    </a:lnTo>
                    <a:lnTo>
                      <a:pt x="698" y="1342"/>
                    </a:lnTo>
                    <a:lnTo>
                      <a:pt x="702" y="1344"/>
                    </a:lnTo>
                    <a:lnTo>
                      <a:pt x="704" y="1348"/>
                    </a:lnTo>
                    <a:lnTo>
                      <a:pt x="700" y="1346"/>
                    </a:lnTo>
                    <a:lnTo>
                      <a:pt x="696" y="1344"/>
                    </a:lnTo>
                    <a:lnTo>
                      <a:pt x="692" y="1344"/>
                    </a:lnTo>
                    <a:lnTo>
                      <a:pt x="684" y="1344"/>
                    </a:lnTo>
                    <a:lnTo>
                      <a:pt x="676" y="1346"/>
                    </a:lnTo>
                    <a:lnTo>
                      <a:pt x="668" y="1350"/>
                    </a:lnTo>
                    <a:lnTo>
                      <a:pt x="664" y="1354"/>
                    </a:lnTo>
                    <a:lnTo>
                      <a:pt x="662" y="1356"/>
                    </a:lnTo>
                    <a:lnTo>
                      <a:pt x="662" y="1358"/>
                    </a:lnTo>
                    <a:lnTo>
                      <a:pt x="664" y="1358"/>
                    </a:lnTo>
                    <a:lnTo>
                      <a:pt x="658" y="1358"/>
                    </a:lnTo>
                    <a:lnTo>
                      <a:pt x="654" y="1358"/>
                    </a:lnTo>
                    <a:lnTo>
                      <a:pt x="652" y="1358"/>
                    </a:lnTo>
                    <a:lnTo>
                      <a:pt x="652" y="1360"/>
                    </a:lnTo>
                    <a:lnTo>
                      <a:pt x="654" y="1362"/>
                    </a:lnTo>
                    <a:lnTo>
                      <a:pt x="652" y="1364"/>
                    </a:lnTo>
                    <a:lnTo>
                      <a:pt x="646" y="1362"/>
                    </a:lnTo>
                    <a:lnTo>
                      <a:pt x="628" y="1360"/>
                    </a:lnTo>
                    <a:lnTo>
                      <a:pt x="628" y="1362"/>
                    </a:lnTo>
                    <a:lnTo>
                      <a:pt x="632" y="1366"/>
                    </a:lnTo>
                    <a:lnTo>
                      <a:pt x="632" y="1368"/>
                    </a:lnTo>
                    <a:lnTo>
                      <a:pt x="626" y="1370"/>
                    </a:lnTo>
                    <a:lnTo>
                      <a:pt x="622" y="1370"/>
                    </a:lnTo>
                    <a:lnTo>
                      <a:pt x="624" y="1372"/>
                    </a:lnTo>
                    <a:lnTo>
                      <a:pt x="628" y="1374"/>
                    </a:lnTo>
                    <a:lnTo>
                      <a:pt x="632" y="1376"/>
                    </a:lnTo>
                    <a:lnTo>
                      <a:pt x="644" y="1376"/>
                    </a:lnTo>
                    <a:lnTo>
                      <a:pt x="660" y="1378"/>
                    </a:lnTo>
                    <a:lnTo>
                      <a:pt x="666" y="1378"/>
                    </a:lnTo>
                    <a:lnTo>
                      <a:pt x="674" y="1382"/>
                    </a:lnTo>
                    <a:lnTo>
                      <a:pt x="682" y="1386"/>
                    </a:lnTo>
                    <a:lnTo>
                      <a:pt x="680" y="1386"/>
                    </a:lnTo>
                    <a:lnTo>
                      <a:pt x="672" y="1384"/>
                    </a:lnTo>
                    <a:lnTo>
                      <a:pt x="668" y="1384"/>
                    </a:lnTo>
                    <a:lnTo>
                      <a:pt x="664" y="1386"/>
                    </a:lnTo>
                    <a:lnTo>
                      <a:pt x="662" y="1386"/>
                    </a:lnTo>
                    <a:lnTo>
                      <a:pt x="660" y="1386"/>
                    </a:lnTo>
                    <a:lnTo>
                      <a:pt x="654" y="1382"/>
                    </a:lnTo>
                    <a:lnTo>
                      <a:pt x="648" y="1380"/>
                    </a:lnTo>
                    <a:lnTo>
                      <a:pt x="644" y="1378"/>
                    </a:lnTo>
                    <a:lnTo>
                      <a:pt x="638" y="1380"/>
                    </a:lnTo>
                    <a:lnTo>
                      <a:pt x="630" y="1384"/>
                    </a:lnTo>
                    <a:lnTo>
                      <a:pt x="624" y="1390"/>
                    </a:lnTo>
                    <a:lnTo>
                      <a:pt x="622" y="1394"/>
                    </a:lnTo>
                    <a:lnTo>
                      <a:pt x="624" y="1396"/>
                    </a:lnTo>
                    <a:lnTo>
                      <a:pt x="626" y="1398"/>
                    </a:lnTo>
                    <a:lnTo>
                      <a:pt x="632" y="1404"/>
                    </a:lnTo>
                    <a:lnTo>
                      <a:pt x="628" y="1406"/>
                    </a:lnTo>
                    <a:lnTo>
                      <a:pt x="622" y="1410"/>
                    </a:lnTo>
                    <a:lnTo>
                      <a:pt x="622" y="1412"/>
                    </a:lnTo>
                    <a:lnTo>
                      <a:pt x="624" y="1412"/>
                    </a:lnTo>
                    <a:lnTo>
                      <a:pt x="628" y="1416"/>
                    </a:lnTo>
                    <a:lnTo>
                      <a:pt x="626" y="1418"/>
                    </a:lnTo>
                    <a:lnTo>
                      <a:pt x="626" y="1420"/>
                    </a:lnTo>
                    <a:lnTo>
                      <a:pt x="624" y="1424"/>
                    </a:lnTo>
                    <a:lnTo>
                      <a:pt x="626" y="1426"/>
                    </a:lnTo>
                    <a:lnTo>
                      <a:pt x="628" y="1428"/>
                    </a:lnTo>
                    <a:lnTo>
                      <a:pt x="632" y="1430"/>
                    </a:lnTo>
                    <a:lnTo>
                      <a:pt x="636" y="1430"/>
                    </a:lnTo>
                    <a:lnTo>
                      <a:pt x="642" y="1430"/>
                    </a:lnTo>
                    <a:lnTo>
                      <a:pt x="648" y="1428"/>
                    </a:lnTo>
                    <a:lnTo>
                      <a:pt x="654" y="1424"/>
                    </a:lnTo>
                    <a:lnTo>
                      <a:pt x="660" y="1424"/>
                    </a:lnTo>
                    <a:lnTo>
                      <a:pt x="670" y="1426"/>
                    </a:lnTo>
                    <a:lnTo>
                      <a:pt x="678" y="1428"/>
                    </a:lnTo>
                    <a:lnTo>
                      <a:pt x="680" y="1426"/>
                    </a:lnTo>
                    <a:lnTo>
                      <a:pt x="684" y="1422"/>
                    </a:lnTo>
                    <a:lnTo>
                      <a:pt x="686" y="1420"/>
                    </a:lnTo>
                    <a:lnTo>
                      <a:pt x="688" y="1418"/>
                    </a:lnTo>
                    <a:lnTo>
                      <a:pt x="692" y="1420"/>
                    </a:lnTo>
                    <a:lnTo>
                      <a:pt x="700" y="1424"/>
                    </a:lnTo>
                    <a:lnTo>
                      <a:pt x="704" y="1426"/>
                    </a:lnTo>
                    <a:lnTo>
                      <a:pt x="710" y="1426"/>
                    </a:lnTo>
                    <a:lnTo>
                      <a:pt x="720" y="1424"/>
                    </a:lnTo>
                    <a:lnTo>
                      <a:pt x="726" y="1424"/>
                    </a:lnTo>
                    <a:lnTo>
                      <a:pt x="726" y="1426"/>
                    </a:lnTo>
                    <a:lnTo>
                      <a:pt x="724" y="1426"/>
                    </a:lnTo>
                    <a:lnTo>
                      <a:pt x="716" y="1430"/>
                    </a:lnTo>
                    <a:lnTo>
                      <a:pt x="710" y="1432"/>
                    </a:lnTo>
                    <a:lnTo>
                      <a:pt x="708" y="1434"/>
                    </a:lnTo>
                    <a:lnTo>
                      <a:pt x="708" y="1436"/>
                    </a:lnTo>
                    <a:lnTo>
                      <a:pt x="708" y="1438"/>
                    </a:lnTo>
                    <a:lnTo>
                      <a:pt x="708" y="1440"/>
                    </a:lnTo>
                    <a:lnTo>
                      <a:pt x="700" y="1434"/>
                    </a:lnTo>
                    <a:lnTo>
                      <a:pt x="694" y="1428"/>
                    </a:lnTo>
                    <a:lnTo>
                      <a:pt x="690" y="1428"/>
                    </a:lnTo>
                    <a:lnTo>
                      <a:pt x="688" y="1428"/>
                    </a:lnTo>
                    <a:lnTo>
                      <a:pt x="686" y="1430"/>
                    </a:lnTo>
                    <a:lnTo>
                      <a:pt x="682" y="1434"/>
                    </a:lnTo>
                    <a:lnTo>
                      <a:pt x="680" y="1434"/>
                    </a:lnTo>
                    <a:lnTo>
                      <a:pt x="676" y="1432"/>
                    </a:lnTo>
                    <a:lnTo>
                      <a:pt x="672" y="1430"/>
                    </a:lnTo>
                    <a:lnTo>
                      <a:pt x="666" y="1430"/>
                    </a:lnTo>
                    <a:lnTo>
                      <a:pt x="656" y="1432"/>
                    </a:lnTo>
                    <a:lnTo>
                      <a:pt x="646" y="1436"/>
                    </a:lnTo>
                    <a:lnTo>
                      <a:pt x="640" y="1436"/>
                    </a:lnTo>
                    <a:lnTo>
                      <a:pt x="636" y="1436"/>
                    </a:lnTo>
                    <a:lnTo>
                      <a:pt x="626" y="1434"/>
                    </a:lnTo>
                    <a:lnTo>
                      <a:pt x="624" y="1436"/>
                    </a:lnTo>
                    <a:lnTo>
                      <a:pt x="626" y="1442"/>
                    </a:lnTo>
                    <a:lnTo>
                      <a:pt x="626" y="1446"/>
                    </a:lnTo>
                    <a:lnTo>
                      <a:pt x="626" y="1448"/>
                    </a:lnTo>
                    <a:lnTo>
                      <a:pt x="632" y="1448"/>
                    </a:lnTo>
                    <a:lnTo>
                      <a:pt x="636" y="1448"/>
                    </a:lnTo>
                    <a:lnTo>
                      <a:pt x="636" y="1450"/>
                    </a:lnTo>
                    <a:lnTo>
                      <a:pt x="638" y="1454"/>
                    </a:lnTo>
                    <a:lnTo>
                      <a:pt x="636" y="1456"/>
                    </a:lnTo>
                    <a:lnTo>
                      <a:pt x="630" y="1454"/>
                    </a:lnTo>
                    <a:lnTo>
                      <a:pt x="626" y="1454"/>
                    </a:lnTo>
                    <a:lnTo>
                      <a:pt x="624" y="1454"/>
                    </a:lnTo>
                    <a:lnTo>
                      <a:pt x="626" y="1458"/>
                    </a:lnTo>
                    <a:lnTo>
                      <a:pt x="628" y="1460"/>
                    </a:lnTo>
                    <a:lnTo>
                      <a:pt x="630" y="1462"/>
                    </a:lnTo>
                    <a:lnTo>
                      <a:pt x="634" y="1462"/>
                    </a:lnTo>
                    <a:lnTo>
                      <a:pt x="638" y="1462"/>
                    </a:lnTo>
                    <a:lnTo>
                      <a:pt x="640" y="1464"/>
                    </a:lnTo>
                    <a:lnTo>
                      <a:pt x="638" y="1468"/>
                    </a:lnTo>
                    <a:lnTo>
                      <a:pt x="638" y="1472"/>
                    </a:lnTo>
                    <a:lnTo>
                      <a:pt x="636" y="1476"/>
                    </a:lnTo>
                    <a:lnTo>
                      <a:pt x="630" y="1478"/>
                    </a:lnTo>
                    <a:lnTo>
                      <a:pt x="626" y="1480"/>
                    </a:lnTo>
                    <a:lnTo>
                      <a:pt x="626" y="1482"/>
                    </a:lnTo>
                    <a:lnTo>
                      <a:pt x="636" y="1490"/>
                    </a:lnTo>
                    <a:lnTo>
                      <a:pt x="638" y="1492"/>
                    </a:lnTo>
                    <a:lnTo>
                      <a:pt x="642" y="1490"/>
                    </a:lnTo>
                    <a:lnTo>
                      <a:pt x="646" y="1488"/>
                    </a:lnTo>
                    <a:lnTo>
                      <a:pt x="648" y="1490"/>
                    </a:lnTo>
                    <a:lnTo>
                      <a:pt x="650" y="1494"/>
                    </a:lnTo>
                    <a:lnTo>
                      <a:pt x="652" y="1492"/>
                    </a:lnTo>
                    <a:lnTo>
                      <a:pt x="654" y="1492"/>
                    </a:lnTo>
                    <a:lnTo>
                      <a:pt x="654" y="1496"/>
                    </a:lnTo>
                    <a:lnTo>
                      <a:pt x="654" y="1500"/>
                    </a:lnTo>
                    <a:lnTo>
                      <a:pt x="654" y="1502"/>
                    </a:lnTo>
                    <a:lnTo>
                      <a:pt x="656" y="1502"/>
                    </a:lnTo>
                    <a:lnTo>
                      <a:pt x="658" y="1502"/>
                    </a:lnTo>
                    <a:lnTo>
                      <a:pt x="658" y="1500"/>
                    </a:lnTo>
                    <a:lnTo>
                      <a:pt x="660" y="1494"/>
                    </a:lnTo>
                    <a:lnTo>
                      <a:pt x="662" y="1488"/>
                    </a:lnTo>
                    <a:lnTo>
                      <a:pt x="662" y="1486"/>
                    </a:lnTo>
                    <a:lnTo>
                      <a:pt x="666" y="1486"/>
                    </a:lnTo>
                    <a:lnTo>
                      <a:pt x="668" y="1486"/>
                    </a:lnTo>
                    <a:lnTo>
                      <a:pt x="670" y="1488"/>
                    </a:lnTo>
                    <a:lnTo>
                      <a:pt x="666" y="1496"/>
                    </a:lnTo>
                    <a:lnTo>
                      <a:pt x="660" y="1504"/>
                    </a:lnTo>
                    <a:lnTo>
                      <a:pt x="654" y="1508"/>
                    </a:lnTo>
                    <a:lnTo>
                      <a:pt x="652" y="1510"/>
                    </a:lnTo>
                    <a:lnTo>
                      <a:pt x="650" y="1512"/>
                    </a:lnTo>
                    <a:lnTo>
                      <a:pt x="654" y="1514"/>
                    </a:lnTo>
                    <a:lnTo>
                      <a:pt x="658" y="1518"/>
                    </a:lnTo>
                    <a:lnTo>
                      <a:pt x="658" y="1520"/>
                    </a:lnTo>
                    <a:lnTo>
                      <a:pt x="656" y="1522"/>
                    </a:lnTo>
                    <a:lnTo>
                      <a:pt x="650" y="1524"/>
                    </a:lnTo>
                    <a:lnTo>
                      <a:pt x="648" y="1522"/>
                    </a:lnTo>
                    <a:lnTo>
                      <a:pt x="644" y="1522"/>
                    </a:lnTo>
                    <a:lnTo>
                      <a:pt x="636" y="1526"/>
                    </a:lnTo>
                    <a:lnTo>
                      <a:pt x="632" y="1530"/>
                    </a:lnTo>
                    <a:lnTo>
                      <a:pt x="632" y="1536"/>
                    </a:lnTo>
                    <a:lnTo>
                      <a:pt x="632" y="1540"/>
                    </a:lnTo>
                    <a:lnTo>
                      <a:pt x="634" y="1544"/>
                    </a:lnTo>
                    <a:lnTo>
                      <a:pt x="640" y="1548"/>
                    </a:lnTo>
                    <a:lnTo>
                      <a:pt x="644" y="1548"/>
                    </a:lnTo>
                    <a:lnTo>
                      <a:pt x="646" y="1548"/>
                    </a:lnTo>
                    <a:lnTo>
                      <a:pt x="646" y="1546"/>
                    </a:lnTo>
                    <a:lnTo>
                      <a:pt x="648" y="1546"/>
                    </a:lnTo>
                    <a:lnTo>
                      <a:pt x="650" y="1546"/>
                    </a:lnTo>
                    <a:lnTo>
                      <a:pt x="654" y="1548"/>
                    </a:lnTo>
                    <a:lnTo>
                      <a:pt x="656" y="1544"/>
                    </a:lnTo>
                    <a:lnTo>
                      <a:pt x="658" y="1542"/>
                    </a:lnTo>
                    <a:lnTo>
                      <a:pt x="660" y="1540"/>
                    </a:lnTo>
                    <a:lnTo>
                      <a:pt x="664" y="1542"/>
                    </a:lnTo>
                    <a:lnTo>
                      <a:pt x="666" y="1544"/>
                    </a:lnTo>
                    <a:lnTo>
                      <a:pt x="664" y="1548"/>
                    </a:lnTo>
                    <a:lnTo>
                      <a:pt x="662" y="1548"/>
                    </a:lnTo>
                    <a:lnTo>
                      <a:pt x="660" y="1550"/>
                    </a:lnTo>
                    <a:lnTo>
                      <a:pt x="660" y="1552"/>
                    </a:lnTo>
                    <a:lnTo>
                      <a:pt x="662" y="1554"/>
                    </a:lnTo>
                    <a:lnTo>
                      <a:pt x="664" y="1556"/>
                    </a:lnTo>
                    <a:lnTo>
                      <a:pt x="662" y="1558"/>
                    </a:lnTo>
                    <a:lnTo>
                      <a:pt x="660" y="1560"/>
                    </a:lnTo>
                    <a:lnTo>
                      <a:pt x="660" y="1562"/>
                    </a:lnTo>
                    <a:lnTo>
                      <a:pt x="662" y="1564"/>
                    </a:lnTo>
                    <a:lnTo>
                      <a:pt x="662" y="1568"/>
                    </a:lnTo>
                    <a:lnTo>
                      <a:pt x="658" y="1570"/>
                    </a:lnTo>
                    <a:lnTo>
                      <a:pt x="654" y="1572"/>
                    </a:lnTo>
                    <a:lnTo>
                      <a:pt x="652" y="1570"/>
                    </a:lnTo>
                    <a:lnTo>
                      <a:pt x="648" y="1568"/>
                    </a:lnTo>
                    <a:lnTo>
                      <a:pt x="646" y="1566"/>
                    </a:lnTo>
                    <a:lnTo>
                      <a:pt x="644" y="1576"/>
                    </a:lnTo>
                    <a:lnTo>
                      <a:pt x="642" y="1586"/>
                    </a:lnTo>
                    <a:lnTo>
                      <a:pt x="646" y="1592"/>
                    </a:lnTo>
                    <a:lnTo>
                      <a:pt x="652" y="1598"/>
                    </a:lnTo>
                    <a:lnTo>
                      <a:pt x="658" y="1600"/>
                    </a:lnTo>
                    <a:lnTo>
                      <a:pt x="662" y="1600"/>
                    </a:lnTo>
                    <a:lnTo>
                      <a:pt x="664" y="1604"/>
                    </a:lnTo>
                    <a:lnTo>
                      <a:pt x="668" y="1608"/>
                    </a:lnTo>
                    <a:lnTo>
                      <a:pt x="674" y="1612"/>
                    </a:lnTo>
                    <a:lnTo>
                      <a:pt x="688" y="1616"/>
                    </a:lnTo>
                    <a:lnTo>
                      <a:pt x="690" y="1618"/>
                    </a:lnTo>
                    <a:lnTo>
                      <a:pt x="688" y="1620"/>
                    </a:lnTo>
                    <a:lnTo>
                      <a:pt x="688" y="1624"/>
                    </a:lnTo>
                    <a:lnTo>
                      <a:pt x="690" y="1626"/>
                    </a:lnTo>
                    <a:lnTo>
                      <a:pt x="692" y="1628"/>
                    </a:lnTo>
                    <a:lnTo>
                      <a:pt x="694" y="1628"/>
                    </a:lnTo>
                    <a:lnTo>
                      <a:pt x="696" y="1626"/>
                    </a:lnTo>
                    <a:lnTo>
                      <a:pt x="700" y="1626"/>
                    </a:lnTo>
                    <a:lnTo>
                      <a:pt x="704" y="1630"/>
                    </a:lnTo>
                    <a:lnTo>
                      <a:pt x="706" y="1632"/>
                    </a:lnTo>
                    <a:lnTo>
                      <a:pt x="710" y="1630"/>
                    </a:lnTo>
                    <a:lnTo>
                      <a:pt x="720" y="1628"/>
                    </a:lnTo>
                    <a:lnTo>
                      <a:pt x="734" y="1628"/>
                    </a:lnTo>
                    <a:lnTo>
                      <a:pt x="746" y="1626"/>
                    </a:lnTo>
                    <a:lnTo>
                      <a:pt x="752" y="1624"/>
                    </a:lnTo>
                    <a:lnTo>
                      <a:pt x="756" y="1620"/>
                    </a:lnTo>
                    <a:lnTo>
                      <a:pt x="760" y="1618"/>
                    </a:lnTo>
                    <a:lnTo>
                      <a:pt x="766" y="1614"/>
                    </a:lnTo>
                    <a:lnTo>
                      <a:pt x="774" y="1608"/>
                    </a:lnTo>
                    <a:lnTo>
                      <a:pt x="780" y="1600"/>
                    </a:lnTo>
                    <a:lnTo>
                      <a:pt x="782" y="1596"/>
                    </a:lnTo>
                    <a:lnTo>
                      <a:pt x="784" y="1594"/>
                    </a:lnTo>
                    <a:lnTo>
                      <a:pt x="790" y="1592"/>
                    </a:lnTo>
                    <a:lnTo>
                      <a:pt x="792" y="1592"/>
                    </a:lnTo>
                    <a:lnTo>
                      <a:pt x="794" y="1588"/>
                    </a:lnTo>
                    <a:lnTo>
                      <a:pt x="794" y="1586"/>
                    </a:lnTo>
                    <a:lnTo>
                      <a:pt x="796" y="1586"/>
                    </a:lnTo>
                    <a:lnTo>
                      <a:pt x="800" y="1584"/>
                    </a:lnTo>
                    <a:lnTo>
                      <a:pt x="804" y="1582"/>
                    </a:lnTo>
                    <a:lnTo>
                      <a:pt x="800" y="1578"/>
                    </a:lnTo>
                    <a:lnTo>
                      <a:pt x="798" y="1576"/>
                    </a:lnTo>
                    <a:lnTo>
                      <a:pt x="802" y="1574"/>
                    </a:lnTo>
                    <a:lnTo>
                      <a:pt x="810" y="1572"/>
                    </a:lnTo>
                    <a:lnTo>
                      <a:pt x="812" y="1570"/>
                    </a:lnTo>
                    <a:lnTo>
                      <a:pt x="812" y="1566"/>
                    </a:lnTo>
                    <a:lnTo>
                      <a:pt x="812" y="1562"/>
                    </a:lnTo>
                    <a:lnTo>
                      <a:pt x="816" y="1564"/>
                    </a:lnTo>
                    <a:lnTo>
                      <a:pt x="820" y="1568"/>
                    </a:lnTo>
                    <a:lnTo>
                      <a:pt x="822" y="1570"/>
                    </a:lnTo>
                    <a:lnTo>
                      <a:pt x="824" y="1568"/>
                    </a:lnTo>
                    <a:lnTo>
                      <a:pt x="828" y="1566"/>
                    </a:lnTo>
                    <a:lnTo>
                      <a:pt x="834" y="1566"/>
                    </a:lnTo>
                    <a:lnTo>
                      <a:pt x="838" y="1564"/>
                    </a:lnTo>
                    <a:lnTo>
                      <a:pt x="838" y="1558"/>
                    </a:lnTo>
                    <a:lnTo>
                      <a:pt x="838" y="1554"/>
                    </a:lnTo>
                    <a:lnTo>
                      <a:pt x="840" y="1552"/>
                    </a:lnTo>
                    <a:lnTo>
                      <a:pt x="844" y="1550"/>
                    </a:lnTo>
                    <a:lnTo>
                      <a:pt x="846" y="1548"/>
                    </a:lnTo>
                    <a:lnTo>
                      <a:pt x="842" y="1540"/>
                    </a:lnTo>
                    <a:lnTo>
                      <a:pt x="840" y="1536"/>
                    </a:lnTo>
                    <a:lnTo>
                      <a:pt x="838" y="1532"/>
                    </a:lnTo>
                    <a:lnTo>
                      <a:pt x="840" y="1528"/>
                    </a:lnTo>
                    <a:lnTo>
                      <a:pt x="844" y="1532"/>
                    </a:lnTo>
                    <a:lnTo>
                      <a:pt x="846" y="1534"/>
                    </a:lnTo>
                    <a:lnTo>
                      <a:pt x="848" y="1534"/>
                    </a:lnTo>
                    <a:lnTo>
                      <a:pt x="850" y="1530"/>
                    </a:lnTo>
                    <a:lnTo>
                      <a:pt x="850" y="1528"/>
                    </a:lnTo>
                    <a:lnTo>
                      <a:pt x="852" y="1530"/>
                    </a:lnTo>
                    <a:lnTo>
                      <a:pt x="852" y="1536"/>
                    </a:lnTo>
                    <a:lnTo>
                      <a:pt x="850" y="1538"/>
                    </a:lnTo>
                    <a:lnTo>
                      <a:pt x="850" y="1540"/>
                    </a:lnTo>
                    <a:lnTo>
                      <a:pt x="852" y="1542"/>
                    </a:lnTo>
                    <a:lnTo>
                      <a:pt x="854" y="1548"/>
                    </a:lnTo>
                    <a:lnTo>
                      <a:pt x="854" y="1552"/>
                    </a:lnTo>
                    <a:lnTo>
                      <a:pt x="856" y="1554"/>
                    </a:lnTo>
                    <a:lnTo>
                      <a:pt x="862" y="1556"/>
                    </a:lnTo>
                    <a:lnTo>
                      <a:pt x="866" y="1556"/>
                    </a:lnTo>
                    <a:lnTo>
                      <a:pt x="866" y="1558"/>
                    </a:lnTo>
                    <a:lnTo>
                      <a:pt x="868" y="1558"/>
                    </a:lnTo>
                    <a:lnTo>
                      <a:pt x="876" y="1560"/>
                    </a:lnTo>
                    <a:lnTo>
                      <a:pt x="874" y="1564"/>
                    </a:lnTo>
                    <a:lnTo>
                      <a:pt x="872" y="1566"/>
                    </a:lnTo>
                    <a:lnTo>
                      <a:pt x="872" y="1570"/>
                    </a:lnTo>
                    <a:lnTo>
                      <a:pt x="874" y="1576"/>
                    </a:lnTo>
                    <a:lnTo>
                      <a:pt x="876" y="1584"/>
                    </a:lnTo>
                    <a:lnTo>
                      <a:pt x="876" y="1594"/>
                    </a:lnTo>
                    <a:lnTo>
                      <a:pt x="876" y="1602"/>
                    </a:lnTo>
                    <a:lnTo>
                      <a:pt x="876" y="1608"/>
                    </a:lnTo>
                    <a:lnTo>
                      <a:pt x="878" y="1612"/>
                    </a:lnTo>
                    <a:lnTo>
                      <a:pt x="882" y="1616"/>
                    </a:lnTo>
                    <a:lnTo>
                      <a:pt x="886" y="1616"/>
                    </a:lnTo>
                    <a:lnTo>
                      <a:pt x="890" y="1614"/>
                    </a:lnTo>
                    <a:lnTo>
                      <a:pt x="896" y="1610"/>
                    </a:lnTo>
                    <a:lnTo>
                      <a:pt x="898" y="1612"/>
                    </a:lnTo>
                    <a:lnTo>
                      <a:pt x="900" y="1614"/>
                    </a:lnTo>
                    <a:lnTo>
                      <a:pt x="902" y="1618"/>
                    </a:lnTo>
                    <a:lnTo>
                      <a:pt x="902" y="1622"/>
                    </a:lnTo>
                    <a:lnTo>
                      <a:pt x="900" y="1628"/>
                    </a:lnTo>
                    <a:lnTo>
                      <a:pt x="896" y="1638"/>
                    </a:lnTo>
                    <a:lnTo>
                      <a:pt x="898" y="1644"/>
                    </a:lnTo>
                    <a:lnTo>
                      <a:pt x="900" y="1652"/>
                    </a:lnTo>
                    <a:lnTo>
                      <a:pt x="906" y="1672"/>
                    </a:lnTo>
                    <a:lnTo>
                      <a:pt x="916" y="1694"/>
                    </a:lnTo>
                    <a:lnTo>
                      <a:pt x="928" y="1710"/>
                    </a:lnTo>
                    <a:lnTo>
                      <a:pt x="932" y="1716"/>
                    </a:lnTo>
                    <a:lnTo>
                      <a:pt x="936" y="1716"/>
                    </a:lnTo>
                    <a:lnTo>
                      <a:pt x="942" y="1716"/>
                    </a:lnTo>
                    <a:lnTo>
                      <a:pt x="944" y="1718"/>
                    </a:lnTo>
                    <a:lnTo>
                      <a:pt x="944" y="1720"/>
                    </a:lnTo>
                    <a:lnTo>
                      <a:pt x="942" y="1726"/>
                    </a:lnTo>
                    <a:lnTo>
                      <a:pt x="934" y="1728"/>
                    </a:lnTo>
                    <a:lnTo>
                      <a:pt x="932" y="1730"/>
                    </a:lnTo>
                    <a:lnTo>
                      <a:pt x="934" y="1732"/>
                    </a:lnTo>
                    <a:lnTo>
                      <a:pt x="936" y="1738"/>
                    </a:lnTo>
                    <a:lnTo>
                      <a:pt x="938" y="1742"/>
                    </a:lnTo>
                    <a:lnTo>
                      <a:pt x="932" y="1740"/>
                    </a:lnTo>
                    <a:lnTo>
                      <a:pt x="926" y="1740"/>
                    </a:lnTo>
                    <a:lnTo>
                      <a:pt x="934" y="1752"/>
                    </a:lnTo>
                    <a:lnTo>
                      <a:pt x="940" y="1760"/>
                    </a:lnTo>
                    <a:lnTo>
                      <a:pt x="944" y="1768"/>
                    </a:lnTo>
                    <a:lnTo>
                      <a:pt x="946" y="1778"/>
                    </a:lnTo>
                    <a:lnTo>
                      <a:pt x="946" y="1782"/>
                    </a:lnTo>
                    <a:lnTo>
                      <a:pt x="944" y="1786"/>
                    </a:lnTo>
                    <a:lnTo>
                      <a:pt x="940" y="1792"/>
                    </a:lnTo>
                    <a:lnTo>
                      <a:pt x="942" y="1796"/>
                    </a:lnTo>
                    <a:lnTo>
                      <a:pt x="946" y="1798"/>
                    </a:lnTo>
                    <a:lnTo>
                      <a:pt x="954" y="1798"/>
                    </a:lnTo>
                    <a:lnTo>
                      <a:pt x="972" y="1796"/>
                    </a:lnTo>
                    <a:lnTo>
                      <a:pt x="982" y="1794"/>
                    </a:lnTo>
                    <a:lnTo>
                      <a:pt x="990" y="1794"/>
                    </a:lnTo>
                    <a:lnTo>
                      <a:pt x="996" y="1794"/>
                    </a:lnTo>
                    <a:lnTo>
                      <a:pt x="998" y="1788"/>
                    </a:lnTo>
                    <a:lnTo>
                      <a:pt x="1000" y="1774"/>
                    </a:lnTo>
                    <a:lnTo>
                      <a:pt x="1000" y="1768"/>
                    </a:lnTo>
                    <a:lnTo>
                      <a:pt x="1002" y="1760"/>
                    </a:lnTo>
                    <a:lnTo>
                      <a:pt x="1004" y="1756"/>
                    </a:lnTo>
                    <a:lnTo>
                      <a:pt x="1010" y="1756"/>
                    </a:lnTo>
                    <a:lnTo>
                      <a:pt x="1018" y="1756"/>
                    </a:lnTo>
                    <a:lnTo>
                      <a:pt x="1018" y="1754"/>
                    </a:lnTo>
                    <a:lnTo>
                      <a:pt x="1018" y="1752"/>
                    </a:lnTo>
                    <a:lnTo>
                      <a:pt x="1020" y="1750"/>
                    </a:lnTo>
                    <a:lnTo>
                      <a:pt x="1024" y="1748"/>
                    </a:lnTo>
                    <a:lnTo>
                      <a:pt x="1034" y="1746"/>
                    </a:lnTo>
                    <a:lnTo>
                      <a:pt x="1042" y="1746"/>
                    </a:lnTo>
                    <a:lnTo>
                      <a:pt x="1050" y="1746"/>
                    </a:lnTo>
                    <a:lnTo>
                      <a:pt x="1058" y="1750"/>
                    </a:lnTo>
                    <a:lnTo>
                      <a:pt x="1062" y="1750"/>
                    </a:lnTo>
                    <a:lnTo>
                      <a:pt x="1064" y="1750"/>
                    </a:lnTo>
                    <a:lnTo>
                      <a:pt x="1070" y="1736"/>
                    </a:lnTo>
                    <a:lnTo>
                      <a:pt x="1076" y="1720"/>
                    </a:lnTo>
                    <a:lnTo>
                      <a:pt x="1082" y="1708"/>
                    </a:lnTo>
                    <a:lnTo>
                      <a:pt x="1086" y="1700"/>
                    </a:lnTo>
                    <a:lnTo>
                      <a:pt x="1088" y="1692"/>
                    </a:lnTo>
                    <a:lnTo>
                      <a:pt x="1088" y="1684"/>
                    </a:lnTo>
                    <a:lnTo>
                      <a:pt x="1090" y="1676"/>
                    </a:lnTo>
                    <a:lnTo>
                      <a:pt x="1092" y="1666"/>
                    </a:lnTo>
                    <a:lnTo>
                      <a:pt x="1092" y="1658"/>
                    </a:lnTo>
                    <a:lnTo>
                      <a:pt x="1090" y="1654"/>
                    </a:lnTo>
                    <a:lnTo>
                      <a:pt x="1092" y="1650"/>
                    </a:lnTo>
                    <a:lnTo>
                      <a:pt x="1094" y="1644"/>
                    </a:lnTo>
                    <a:lnTo>
                      <a:pt x="1098" y="1638"/>
                    </a:lnTo>
                    <a:lnTo>
                      <a:pt x="1098" y="1634"/>
                    </a:lnTo>
                    <a:lnTo>
                      <a:pt x="1098" y="1632"/>
                    </a:lnTo>
                    <a:lnTo>
                      <a:pt x="1096" y="1626"/>
                    </a:lnTo>
                    <a:lnTo>
                      <a:pt x="1098" y="1622"/>
                    </a:lnTo>
                    <a:lnTo>
                      <a:pt x="1100" y="1618"/>
                    </a:lnTo>
                    <a:lnTo>
                      <a:pt x="1098" y="1610"/>
                    </a:lnTo>
                    <a:lnTo>
                      <a:pt x="1096" y="1606"/>
                    </a:lnTo>
                    <a:lnTo>
                      <a:pt x="1096" y="1604"/>
                    </a:lnTo>
                    <a:lnTo>
                      <a:pt x="1098" y="1604"/>
                    </a:lnTo>
                    <a:lnTo>
                      <a:pt x="1100" y="1602"/>
                    </a:lnTo>
                    <a:lnTo>
                      <a:pt x="1102" y="1600"/>
                    </a:lnTo>
                    <a:lnTo>
                      <a:pt x="1100" y="1598"/>
                    </a:lnTo>
                    <a:lnTo>
                      <a:pt x="1100" y="1596"/>
                    </a:lnTo>
                    <a:lnTo>
                      <a:pt x="1102" y="1592"/>
                    </a:lnTo>
                    <a:lnTo>
                      <a:pt x="1112" y="1588"/>
                    </a:lnTo>
                    <a:lnTo>
                      <a:pt x="1124" y="1582"/>
                    </a:lnTo>
                    <a:lnTo>
                      <a:pt x="1130" y="1578"/>
                    </a:lnTo>
                    <a:lnTo>
                      <a:pt x="1132" y="1574"/>
                    </a:lnTo>
                    <a:lnTo>
                      <a:pt x="1134" y="1570"/>
                    </a:lnTo>
                    <a:lnTo>
                      <a:pt x="1134" y="1568"/>
                    </a:lnTo>
                    <a:lnTo>
                      <a:pt x="1138" y="1572"/>
                    </a:lnTo>
                    <a:lnTo>
                      <a:pt x="1142" y="1576"/>
                    </a:lnTo>
                    <a:lnTo>
                      <a:pt x="1144" y="1574"/>
                    </a:lnTo>
                    <a:lnTo>
                      <a:pt x="1146" y="1572"/>
                    </a:lnTo>
                    <a:lnTo>
                      <a:pt x="1152" y="1566"/>
                    </a:lnTo>
                    <a:lnTo>
                      <a:pt x="1158" y="1562"/>
                    </a:lnTo>
                    <a:lnTo>
                      <a:pt x="1164" y="1560"/>
                    </a:lnTo>
                    <a:lnTo>
                      <a:pt x="1164" y="1558"/>
                    </a:lnTo>
                    <a:lnTo>
                      <a:pt x="1164" y="1556"/>
                    </a:lnTo>
                    <a:lnTo>
                      <a:pt x="1166" y="1554"/>
                    </a:lnTo>
                    <a:lnTo>
                      <a:pt x="1170" y="1552"/>
                    </a:lnTo>
                    <a:lnTo>
                      <a:pt x="1172" y="1550"/>
                    </a:lnTo>
                    <a:lnTo>
                      <a:pt x="1172" y="1548"/>
                    </a:lnTo>
                    <a:lnTo>
                      <a:pt x="1172" y="1546"/>
                    </a:lnTo>
                    <a:lnTo>
                      <a:pt x="1170" y="1542"/>
                    </a:lnTo>
                    <a:lnTo>
                      <a:pt x="1168" y="1540"/>
                    </a:lnTo>
                    <a:lnTo>
                      <a:pt x="1164" y="1540"/>
                    </a:lnTo>
                    <a:lnTo>
                      <a:pt x="1152" y="1546"/>
                    </a:lnTo>
                    <a:lnTo>
                      <a:pt x="1144" y="1550"/>
                    </a:lnTo>
                    <a:lnTo>
                      <a:pt x="1136" y="1550"/>
                    </a:lnTo>
                    <a:lnTo>
                      <a:pt x="1128" y="1550"/>
                    </a:lnTo>
                    <a:lnTo>
                      <a:pt x="1122" y="1546"/>
                    </a:lnTo>
                    <a:lnTo>
                      <a:pt x="1112" y="1540"/>
                    </a:lnTo>
                    <a:lnTo>
                      <a:pt x="1104" y="1538"/>
                    </a:lnTo>
                    <a:lnTo>
                      <a:pt x="1094" y="1538"/>
                    </a:lnTo>
                    <a:lnTo>
                      <a:pt x="1086" y="1538"/>
                    </a:lnTo>
                    <a:lnTo>
                      <a:pt x="1076" y="1538"/>
                    </a:lnTo>
                    <a:lnTo>
                      <a:pt x="1084" y="1534"/>
                    </a:lnTo>
                    <a:lnTo>
                      <a:pt x="1092" y="1530"/>
                    </a:lnTo>
                    <a:lnTo>
                      <a:pt x="1098" y="1530"/>
                    </a:lnTo>
                    <a:lnTo>
                      <a:pt x="1110" y="1530"/>
                    </a:lnTo>
                    <a:lnTo>
                      <a:pt x="1118" y="1534"/>
                    </a:lnTo>
                    <a:lnTo>
                      <a:pt x="1122" y="1534"/>
                    </a:lnTo>
                    <a:lnTo>
                      <a:pt x="1124" y="1532"/>
                    </a:lnTo>
                    <a:lnTo>
                      <a:pt x="1126" y="1532"/>
                    </a:lnTo>
                    <a:lnTo>
                      <a:pt x="1128" y="1532"/>
                    </a:lnTo>
                    <a:lnTo>
                      <a:pt x="1134" y="1538"/>
                    </a:lnTo>
                    <a:lnTo>
                      <a:pt x="1142" y="1544"/>
                    </a:lnTo>
                    <a:lnTo>
                      <a:pt x="1146" y="1544"/>
                    </a:lnTo>
                    <a:lnTo>
                      <a:pt x="1150" y="1542"/>
                    </a:lnTo>
                    <a:lnTo>
                      <a:pt x="1178" y="1528"/>
                    </a:lnTo>
                    <a:lnTo>
                      <a:pt x="1190" y="1518"/>
                    </a:lnTo>
                    <a:lnTo>
                      <a:pt x="1192" y="1516"/>
                    </a:lnTo>
                    <a:lnTo>
                      <a:pt x="1192" y="1512"/>
                    </a:lnTo>
                    <a:lnTo>
                      <a:pt x="1184" y="1500"/>
                    </a:lnTo>
                    <a:lnTo>
                      <a:pt x="1178" y="1496"/>
                    </a:lnTo>
                    <a:lnTo>
                      <a:pt x="1172" y="1496"/>
                    </a:lnTo>
                    <a:lnTo>
                      <a:pt x="1168" y="1496"/>
                    </a:lnTo>
                    <a:lnTo>
                      <a:pt x="1168" y="1494"/>
                    </a:lnTo>
                    <a:lnTo>
                      <a:pt x="1168" y="1490"/>
                    </a:lnTo>
                    <a:lnTo>
                      <a:pt x="1170" y="1484"/>
                    </a:lnTo>
                    <a:lnTo>
                      <a:pt x="1168" y="1482"/>
                    </a:lnTo>
                    <a:lnTo>
                      <a:pt x="1164" y="1480"/>
                    </a:lnTo>
                    <a:lnTo>
                      <a:pt x="1158" y="1476"/>
                    </a:lnTo>
                    <a:lnTo>
                      <a:pt x="1154" y="1472"/>
                    </a:lnTo>
                    <a:lnTo>
                      <a:pt x="1148" y="1468"/>
                    </a:lnTo>
                    <a:lnTo>
                      <a:pt x="1144" y="1466"/>
                    </a:lnTo>
                    <a:lnTo>
                      <a:pt x="1138" y="1468"/>
                    </a:lnTo>
                    <a:lnTo>
                      <a:pt x="1132" y="1468"/>
                    </a:lnTo>
                    <a:lnTo>
                      <a:pt x="1132" y="1466"/>
                    </a:lnTo>
                    <a:lnTo>
                      <a:pt x="1132" y="1462"/>
                    </a:lnTo>
                    <a:lnTo>
                      <a:pt x="1130" y="1462"/>
                    </a:lnTo>
                    <a:lnTo>
                      <a:pt x="1126" y="1460"/>
                    </a:lnTo>
                    <a:lnTo>
                      <a:pt x="1124" y="1460"/>
                    </a:lnTo>
                    <a:lnTo>
                      <a:pt x="1122" y="1458"/>
                    </a:lnTo>
                    <a:lnTo>
                      <a:pt x="1118" y="1450"/>
                    </a:lnTo>
                    <a:lnTo>
                      <a:pt x="1116" y="1440"/>
                    </a:lnTo>
                    <a:lnTo>
                      <a:pt x="1116" y="1428"/>
                    </a:lnTo>
                    <a:lnTo>
                      <a:pt x="1116" y="1416"/>
                    </a:lnTo>
                    <a:lnTo>
                      <a:pt x="1116" y="1406"/>
                    </a:lnTo>
                    <a:lnTo>
                      <a:pt x="1120" y="1398"/>
                    </a:lnTo>
                    <a:lnTo>
                      <a:pt x="1120" y="1396"/>
                    </a:lnTo>
                    <a:lnTo>
                      <a:pt x="1124" y="1396"/>
                    </a:lnTo>
                    <a:lnTo>
                      <a:pt x="1126" y="1394"/>
                    </a:lnTo>
                    <a:lnTo>
                      <a:pt x="1128" y="1392"/>
                    </a:lnTo>
                    <a:lnTo>
                      <a:pt x="1126" y="1386"/>
                    </a:lnTo>
                    <a:lnTo>
                      <a:pt x="1126" y="1374"/>
                    </a:lnTo>
                    <a:lnTo>
                      <a:pt x="1126" y="1368"/>
                    </a:lnTo>
                    <a:lnTo>
                      <a:pt x="1128" y="1360"/>
                    </a:lnTo>
                    <a:lnTo>
                      <a:pt x="1132" y="1356"/>
                    </a:lnTo>
                    <a:lnTo>
                      <a:pt x="1132" y="1352"/>
                    </a:lnTo>
                    <a:lnTo>
                      <a:pt x="1130" y="1352"/>
                    </a:lnTo>
                    <a:lnTo>
                      <a:pt x="1128" y="1350"/>
                    </a:lnTo>
                    <a:lnTo>
                      <a:pt x="1124" y="1350"/>
                    </a:lnTo>
                    <a:lnTo>
                      <a:pt x="1122" y="1348"/>
                    </a:lnTo>
                    <a:lnTo>
                      <a:pt x="1122" y="1342"/>
                    </a:lnTo>
                    <a:lnTo>
                      <a:pt x="1122" y="1336"/>
                    </a:lnTo>
                    <a:lnTo>
                      <a:pt x="1124" y="1338"/>
                    </a:lnTo>
                    <a:lnTo>
                      <a:pt x="1130" y="1340"/>
                    </a:lnTo>
                    <a:lnTo>
                      <a:pt x="1136" y="1340"/>
                    </a:lnTo>
                    <a:lnTo>
                      <a:pt x="1142" y="1338"/>
                    </a:lnTo>
                    <a:lnTo>
                      <a:pt x="1148" y="1334"/>
                    </a:lnTo>
                    <a:lnTo>
                      <a:pt x="1148" y="1332"/>
                    </a:lnTo>
                    <a:lnTo>
                      <a:pt x="1148" y="1330"/>
                    </a:lnTo>
                    <a:lnTo>
                      <a:pt x="1146" y="1326"/>
                    </a:lnTo>
                    <a:lnTo>
                      <a:pt x="1144" y="1324"/>
                    </a:lnTo>
                    <a:lnTo>
                      <a:pt x="1142" y="1322"/>
                    </a:lnTo>
                    <a:lnTo>
                      <a:pt x="1144" y="1322"/>
                    </a:lnTo>
                    <a:lnTo>
                      <a:pt x="1152" y="1320"/>
                    </a:lnTo>
                    <a:lnTo>
                      <a:pt x="1160" y="1318"/>
                    </a:lnTo>
                    <a:lnTo>
                      <a:pt x="1166" y="1312"/>
                    </a:lnTo>
                    <a:lnTo>
                      <a:pt x="1170" y="1308"/>
                    </a:lnTo>
                    <a:lnTo>
                      <a:pt x="1172" y="1302"/>
                    </a:lnTo>
                    <a:lnTo>
                      <a:pt x="1178" y="1294"/>
                    </a:lnTo>
                    <a:lnTo>
                      <a:pt x="1180" y="1292"/>
                    </a:lnTo>
                    <a:lnTo>
                      <a:pt x="1186" y="1292"/>
                    </a:lnTo>
                    <a:lnTo>
                      <a:pt x="1190" y="1294"/>
                    </a:lnTo>
                    <a:lnTo>
                      <a:pt x="1194" y="1292"/>
                    </a:lnTo>
                    <a:lnTo>
                      <a:pt x="1196" y="1286"/>
                    </a:lnTo>
                    <a:lnTo>
                      <a:pt x="1200" y="1278"/>
                    </a:lnTo>
                    <a:lnTo>
                      <a:pt x="1204" y="1274"/>
                    </a:lnTo>
                    <a:lnTo>
                      <a:pt x="1208" y="1274"/>
                    </a:lnTo>
                    <a:lnTo>
                      <a:pt x="1214" y="1274"/>
                    </a:lnTo>
                    <a:lnTo>
                      <a:pt x="1218" y="1274"/>
                    </a:lnTo>
                    <a:lnTo>
                      <a:pt x="1222" y="1268"/>
                    </a:lnTo>
                    <a:lnTo>
                      <a:pt x="1226" y="1264"/>
                    </a:lnTo>
                    <a:lnTo>
                      <a:pt x="1228" y="1264"/>
                    </a:lnTo>
                    <a:lnTo>
                      <a:pt x="1232" y="1264"/>
                    </a:lnTo>
                    <a:lnTo>
                      <a:pt x="1236" y="1264"/>
                    </a:lnTo>
                    <a:lnTo>
                      <a:pt x="1238" y="1264"/>
                    </a:lnTo>
                    <a:lnTo>
                      <a:pt x="1240" y="1260"/>
                    </a:lnTo>
                    <a:lnTo>
                      <a:pt x="1244" y="1254"/>
                    </a:lnTo>
                    <a:lnTo>
                      <a:pt x="1246" y="1254"/>
                    </a:lnTo>
                    <a:lnTo>
                      <a:pt x="1250" y="1254"/>
                    </a:lnTo>
                    <a:lnTo>
                      <a:pt x="1254" y="1252"/>
                    </a:lnTo>
                    <a:lnTo>
                      <a:pt x="1258" y="1250"/>
                    </a:lnTo>
                    <a:lnTo>
                      <a:pt x="1262" y="1240"/>
                    </a:lnTo>
                    <a:lnTo>
                      <a:pt x="1268" y="1226"/>
                    </a:lnTo>
                    <a:lnTo>
                      <a:pt x="1274" y="1220"/>
                    </a:lnTo>
                    <a:lnTo>
                      <a:pt x="1284" y="1214"/>
                    </a:lnTo>
                    <a:lnTo>
                      <a:pt x="1290" y="1208"/>
                    </a:lnTo>
                    <a:lnTo>
                      <a:pt x="1292" y="1206"/>
                    </a:lnTo>
                    <a:lnTo>
                      <a:pt x="1292" y="1204"/>
                    </a:lnTo>
                    <a:lnTo>
                      <a:pt x="1290" y="1202"/>
                    </a:lnTo>
                    <a:lnTo>
                      <a:pt x="1284" y="1198"/>
                    </a:lnTo>
                    <a:lnTo>
                      <a:pt x="1280" y="1194"/>
                    </a:lnTo>
                    <a:lnTo>
                      <a:pt x="1276" y="1190"/>
                    </a:lnTo>
                    <a:lnTo>
                      <a:pt x="1276" y="1184"/>
                    </a:lnTo>
                    <a:lnTo>
                      <a:pt x="1276" y="1180"/>
                    </a:lnTo>
                    <a:lnTo>
                      <a:pt x="1282" y="1174"/>
                    </a:lnTo>
                    <a:lnTo>
                      <a:pt x="1288" y="1168"/>
                    </a:lnTo>
                    <a:lnTo>
                      <a:pt x="1290" y="1164"/>
                    </a:lnTo>
                    <a:lnTo>
                      <a:pt x="1292" y="1156"/>
                    </a:lnTo>
                    <a:lnTo>
                      <a:pt x="1292" y="1150"/>
                    </a:lnTo>
                    <a:lnTo>
                      <a:pt x="1294" y="1146"/>
                    </a:lnTo>
                    <a:lnTo>
                      <a:pt x="1298" y="1144"/>
                    </a:lnTo>
                    <a:lnTo>
                      <a:pt x="1300" y="1144"/>
                    </a:lnTo>
                    <a:lnTo>
                      <a:pt x="1306" y="1142"/>
                    </a:lnTo>
                    <a:lnTo>
                      <a:pt x="1310" y="1140"/>
                    </a:lnTo>
                    <a:lnTo>
                      <a:pt x="1310" y="1138"/>
                    </a:lnTo>
                    <a:lnTo>
                      <a:pt x="1314" y="1132"/>
                    </a:lnTo>
                    <a:lnTo>
                      <a:pt x="1320" y="1126"/>
                    </a:lnTo>
                    <a:lnTo>
                      <a:pt x="1338" y="1114"/>
                    </a:lnTo>
                    <a:lnTo>
                      <a:pt x="1340" y="1112"/>
                    </a:lnTo>
                    <a:lnTo>
                      <a:pt x="1344" y="1112"/>
                    </a:lnTo>
                    <a:lnTo>
                      <a:pt x="1346" y="1116"/>
                    </a:lnTo>
                    <a:lnTo>
                      <a:pt x="1348" y="1118"/>
                    </a:lnTo>
                    <a:lnTo>
                      <a:pt x="1350" y="1120"/>
                    </a:lnTo>
                    <a:lnTo>
                      <a:pt x="1354" y="1120"/>
                    </a:lnTo>
                    <a:lnTo>
                      <a:pt x="1358" y="1118"/>
                    </a:lnTo>
                    <a:lnTo>
                      <a:pt x="1364" y="1116"/>
                    </a:lnTo>
                    <a:lnTo>
                      <a:pt x="1368" y="1116"/>
                    </a:lnTo>
                    <a:lnTo>
                      <a:pt x="1378" y="1116"/>
                    </a:lnTo>
                    <a:lnTo>
                      <a:pt x="1386" y="1116"/>
                    </a:lnTo>
                    <a:lnTo>
                      <a:pt x="1392" y="1116"/>
                    </a:lnTo>
                    <a:lnTo>
                      <a:pt x="1396" y="1114"/>
                    </a:lnTo>
                    <a:lnTo>
                      <a:pt x="1408" y="1116"/>
                    </a:lnTo>
                    <a:lnTo>
                      <a:pt x="1414" y="1120"/>
                    </a:lnTo>
                    <a:lnTo>
                      <a:pt x="1418" y="1124"/>
                    </a:lnTo>
                    <a:lnTo>
                      <a:pt x="1428" y="1126"/>
                    </a:lnTo>
                    <a:lnTo>
                      <a:pt x="1438" y="1130"/>
                    </a:lnTo>
                    <a:lnTo>
                      <a:pt x="1440" y="1134"/>
                    </a:lnTo>
                    <a:lnTo>
                      <a:pt x="1442" y="1136"/>
                    </a:lnTo>
                    <a:lnTo>
                      <a:pt x="1442" y="1144"/>
                    </a:lnTo>
                    <a:lnTo>
                      <a:pt x="1440" y="1154"/>
                    </a:lnTo>
                    <a:lnTo>
                      <a:pt x="1440" y="1162"/>
                    </a:lnTo>
                    <a:lnTo>
                      <a:pt x="1442" y="1166"/>
                    </a:lnTo>
                    <a:lnTo>
                      <a:pt x="1446" y="1168"/>
                    </a:lnTo>
                    <a:lnTo>
                      <a:pt x="1444" y="1174"/>
                    </a:lnTo>
                    <a:lnTo>
                      <a:pt x="1442" y="1176"/>
                    </a:lnTo>
                    <a:lnTo>
                      <a:pt x="1440" y="1176"/>
                    </a:lnTo>
                    <a:lnTo>
                      <a:pt x="1434" y="1176"/>
                    </a:lnTo>
                    <a:lnTo>
                      <a:pt x="1422" y="1178"/>
                    </a:lnTo>
                    <a:lnTo>
                      <a:pt x="1416" y="1180"/>
                    </a:lnTo>
                    <a:lnTo>
                      <a:pt x="1412" y="1184"/>
                    </a:lnTo>
                    <a:lnTo>
                      <a:pt x="1406" y="1196"/>
                    </a:lnTo>
                    <a:lnTo>
                      <a:pt x="1398" y="1208"/>
                    </a:lnTo>
                    <a:lnTo>
                      <a:pt x="1390" y="1216"/>
                    </a:lnTo>
                    <a:lnTo>
                      <a:pt x="1382" y="1222"/>
                    </a:lnTo>
                    <a:lnTo>
                      <a:pt x="1372" y="1228"/>
                    </a:lnTo>
                    <a:lnTo>
                      <a:pt x="1368" y="1232"/>
                    </a:lnTo>
                    <a:lnTo>
                      <a:pt x="1366" y="1236"/>
                    </a:lnTo>
                    <a:lnTo>
                      <a:pt x="1366" y="1238"/>
                    </a:lnTo>
                    <a:lnTo>
                      <a:pt x="1366" y="1242"/>
                    </a:lnTo>
                    <a:lnTo>
                      <a:pt x="1358" y="1244"/>
                    </a:lnTo>
                    <a:lnTo>
                      <a:pt x="1354" y="1246"/>
                    </a:lnTo>
                    <a:lnTo>
                      <a:pt x="1350" y="1248"/>
                    </a:lnTo>
                    <a:lnTo>
                      <a:pt x="1346" y="1254"/>
                    </a:lnTo>
                    <a:lnTo>
                      <a:pt x="1344" y="1258"/>
                    </a:lnTo>
                    <a:lnTo>
                      <a:pt x="1342" y="1260"/>
                    </a:lnTo>
                    <a:lnTo>
                      <a:pt x="1338" y="1260"/>
                    </a:lnTo>
                    <a:lnTo>
                      <a:pt x="1334" y="1260"/>
                    </a:lnTo>
                    <a:lnTo>
                      <a:pt x="1332" y="1260"/>
                    </a:lnTo>
                    <a:lnTo>
                      <a:pt x="1328" y="1264"/>
                    </a:lnTo>
                    <a:lnTo>
                      <a:pt x="1326" y="1268"/>
                    </a:lnTo>
                    <a:lnTo>
                      <a:pt x="1324" y="1270"/>
                    </a:lnTo>
                    <a:lnTo>
                      <a:pt x="1322" y="1270"/>
                    </a:lnTo>
                    <a:lnTo>
                      <a:pt x="1320" y="1272"/>
                    </a:lnTo>
                    <a:lnTo>
                      <a:pt x="1318" y="1272"/>
                    </a:lnTo>
                    <a:lnTo>
                      <a:pt x="1318" y="1278"/>
                    </a:lnTo>
                    <a:lnTo>
                      <a:pt x="1318" y="1286"/>
                    </a:lnTo>
                    <a:lnTo>
                      <a:pt x="1318" y="1288"/>
                    </a:lnTo>
                    <a:lnTo>
                      <a:pt x="1314" y="1292"/>
                    </a:lnTo>
                    <a:lnTo>
                      <a:pt x="1310" y="1294"/>
                    </a:lnTo>
                    <a:lnTo>
                      <a:pt x="1308" y="1294"/>
                    </a:lnTo>
                    <a:lnTo>
                      <a:pt x="1300" y="1292"/>
                    </a:lnTo>
                    <a:lnTo>
                      <a:pt x="1294" y="1290"/>
                    </a:lnTo>
                    <a:lnTo>
                      <a:pt x="1292" y="1292"/>
                    </a:lnTo>
                    <a:lnTo>
                      <a:pt x="1290" y="1296"/>
                    </a:lnTo>
                    <a:lnTo>
                      <a:pt x="1290" y="1300"/>
                    </a:lnTo>
                    <a:lnTo>
                      <a:pt x="1286" y="1304"/>
                    </a:lnTo>
                    <a:lnTo>
                      <a:pt x="1278" y="1314"/>
                    </a:lnTo>
                    <a:lnTo>
                      <a:pt x="1276" y="1322"/>
                    </a:lnTo>
                    <a:lnTo>
                      <a:pt x="1274" y="1328"/>
                    </a:lnTo>
                    <a:lnTo>
                      <a:pt x="1274" y="1338"/>
                    </a:lnTo>
                    <a:lnTo>
                      <a:pt x="1278" y="1346"/>
                    </a:lnTo>
                    <a:lnTo>
                      <a:pt x="1282" y="1354"/>
                    </a:lnTo>
                    <a:lnTo>
                      <a:pt x="1282" y="1360"/>
                    </a:lnTo>
                    <a:lnTo>
                      <a:pt x="1282" y="1364"/>
                    </a:lnTo>
                    <a:lnTo>
                      <a:pt x="1280" y="1366"/>
                    </a:lnTo>
                    <a:lnTo>
                      <a:pt x="1278" y="1368"/>
                    </a:lnTo>
                    <a:lnTo>
                      <a:pt x="1278" y="1372"/>
                    </a:lnTo>
                    <a:lnTo>
                      <a:pt x="1280" y="1378"/>
                    </a:lnTo>
                    <a:lnTo>
                      <a:pt x="1288" y="1388"/>
                    </a:lnTo>
                    <a:lnTo>
                      <a:pt x="1292" y="1394"/>
                    </a:lnTo>
                    <a:lnTo>
                      <a:pt x="1294" y="1396"/>
                    </a:lnTo>
                    <a:lnTo>
                      <a:pt x="1294" y="1398"/>
                    </a:lnTo>
                    <a:lnTo>
                      <a:pt x="1292" y="1400"/>
                    </a:lnTo>
                    <a:lnTo>
                      <a:pt x="1288" y="1402"/>
                    </a:lnTo>
                    <a:lnTo>
                      <a:pt x="1286" y="1404"/>
                    </a:lnTo>
                    <a:lnTo>
                      <a:pt x="1286" y="1406"/>
                    </a:lnTo>
                    <a:lnTo>
                      <a:pt x="1288" y="1416"/>
                    </a:lnTo>
                    <a:lnTo>
                      <a:pt x="1288" y="1424"/>
                    </a:lnTo>
                    <a:lnTo>
                      <a:pt x="1282" y="1444"/>
                    </a:lnTo>
                    <a:lnTo>
                      <a:pt x="1280" y="1456"/>
                    </a:lnTo>
                    <a:lnTo>
                      <a:pt x="1280" y="1462"/>
                    </a:lnTo>
                    <a:lnTo>
                      <a:pt x="1282" y="1464"/>
                    </a:lnTo>
                    <a:lnTo>
                      <a:pt x="1286" y="1466"/>
                    </a:lnTo>
                    <a:lnTo>
                      <a:pt x="1298" y="1470"/>
                    </a:lnTo>
                    <a:lnTo>
                      <a:pt x="1322" y="1476"/>
                    </a:lnTo>
                    <a:lnTo>
                      <a:pt x="1328" y="1478"/>
                    </a:lnTo>
                    <a:lnTo>
                      <a:pt x="1330" y="1480"/>
                    </a:lnTo>
                    <a:lnTo>
                      <a:pt x="1328" y="1484"/>
                    </a:lnTo>
                    <a:lnTo>
                      <a:pt x="1328" y="1492"/>
                    </a:lnTo>
                    <a:lnTo>
                      <a:pt x="1328" y="1500"/>
                    </a:lnTo>
                    <a:lnTo>
                      <a:pt x="1330" y="1504"/>
                    </a:lnTo>
                    <a:lnTo>
                      <a:pt x="1334" y="1504"/>
                    </a:lnTo>
                    <a:lnTo>
                      <a:pt x="1336" y="1504"/>
                    </a:lnTo>
                    <a:lnTo>
                      <a:pt x="1340" y="1500"/>
                    </a:lnTo>
                    <a:lnTo>
                      <a:pt x="1346" y="1494"/>
                    </a:lnTo>
                    <a:lnTo>
                      <a:pt x="1352" y="1494"/>
                    </a:lnTo>
                    <a:lnTo>
                      <a:pt x="1354" y="1496"/>
                    </a:lnTo>
                    <a:lnTo>
                      <a:pt x="1354" y="1498"/>
                    </a:lnTo>
                    <a:lnTo>
                      <a:pt x="1354" y="1500"/>
                    </a:lnTo>
                    <a:lnTo>
                      <a:pt x="1352" y="1506"/>
                    </a:lnTo>
                    <a:lnTo>
                      <a:pt x="1346" y="1512"/>
                    </a:lnTo>
                    <a:lnTo>
                      <a:pt x="1346" y="1516"/>
                    </a:lnTo>
                    <a:lnTo>
                      <a:pt x="1352" y="1514"/>
                    </a:lnTo>
                    <a:lnTo>
                      <a:pt x="1366" y="1508"/>
                    </a:lnTo>
                    <a:lnTo>
                      <a:pt x="1376" y="1504"/>
                    </a:lnTo>
                    <a:lnTo>
                      <a:pt x="1390" y="1504"/>
                    </a:lnTo>
                    <a:lnTo>
                      <a:pt x="1408" y="1500"/>
                    </a:lnTo>
                    <a:lnTo>
                      <a:pt x="1436" y="1488"/>
                    </a:lnTo>
                    <a:lnTo>
                      <a:pt x="1448" y="1484"/>
                    </a:lnTo>
                    <a:lnTo>
                      <a:pt x="1454" y="1484"/>
                    </a:lnTo>
                    <a:lnTo>
                      <a:pt x="1458" y="1484"/>
                    </a:lnTo>
                    <a:lnTo>
                      <a:pt x="1462" y="1484"/>
                    </a:lnTo>
                    <a:lnTo>
                      <a:pt x="1466" y="1486"/>
                    </a:lnTo>
                    <a:lnTo>
                      <a:pt x="1470" y="1482"/>
                    </a:lnTo>
                    <a:lnTo>
                      <a:pt x="1476" y="1476"/>
                    </a:lnTo>
                    <a:lnTo>
                      <a:pt x="1478" y="1476"/>
                    </a:lnTo>
                    <a:lnTo>
                      <a:pt x="1484" y="1478"/>
                    </a:lnTo>
                    <a:lnTo>
                      <a:pt x="1490" y="1476"/>
                    </a:lnTo>
                    <a:lnTo>
                      <a:pt x="1498" y="1474"/>
                    </a:lnTo>
                    <a:lnTo>
                      <a:pt x="1506" y="1472"/>
                    </a:lnTo>
                    <a:lnTo>
                      <a:pt x="1512" y="1470"/>
                    </a:lnTo>
                    <a:lnTo>
                      <a:pt x="1522" y="1470"/>
                    </a:lnTo>
                    <a:lnTo>
                      <a:pt x="1532" y="1470"/>
                    </a:lnTo>
                    <a:lnTo>
                      <a:pt x="1538" y="1470"/>
                    </a:lnTo>
                    <a:lnTo>
                      <a:pt x="1546" y="1466"/>
                    </a:lnTo>
                    <a:lnTo>
                      <a:pt x="1550" y="1468"/>
                    </a:lnTo>
                    <a:lnTo>
                      <a:pt x="1556" y="1468"/>
                    </a:lnTo>
                    <a:lnTo>
                      <a:pt x="1566" y="1462"/>
                    </a:lnTo>
                    <a:lnTo>
                      <a:pt x="1574" y="1456"/>
                    </a:lnTo>
                    <a:lnTo>
                      <a:pt x="1578" y="1454"/>
                    </a:lnTo>
                    <a:lnTo>
                      <a:pt x="1580" y="1456"/>
                    </a:lnTo>
                    <a:lnTo>
                      <a:pt x="1582" y="1458"/>
                    </a:lnTo>
                    <a:lnTo>
                      <a:pt x="1578" y="1458"/>
                    </a:lnTo>
                    <a:lnTo>
                      <a:pt x="1576" y="1462"/>
                    </a:lnTo>
                    <a:lnTo>
                      <a:pt x="1578" y="1466"/>
                    </a:lnTo>
                    <a:lnTo>
                      <a:pt x="1580" y="1470"/>
                    </a:lnTo>
                    <a:lnTo>
                      <a:pt x="1578" y="1472"/>
                    </a:lnTo>
                    <a:lnTo>
                      <a:pt x="1572" y="1470"/>
                    </a:lnTo>
                    <a:lnTo>
                      <a:pt x="1568" y="1468"/>
                    </a:lnTo>
                    <a:lnTo>
                      <a:pt x="1572" y="1474"/>
                    </a:lnTo>
                    <a:lnTo>
                      <a:pt x="1578" y="1480"/>
                    </a:lnTo>
                    <a:lnTo>
                      <a:pt x="1582" y="1480"/>
                    </a:lnTo>
                    <a:lnTo>
                      <a:pt x="1584" y="1482"/>
                    </a:lnTo>
                    <a:lnTo>
                      <a:pt x="1588" y="1486"/>
                    </a:lnTo>
                    <a:lnTo>
                      <a:pt x="1592" y="1490"/>
                    </a:lnTo>
                    <a:lnTo>
                      <a:pt x="1596" y="1490"/>
                    </a:lnTo>
                    <a:lnTo>
                      <a:pt x="1608" y="1490"/>
                    </a:lnTo>
                    <a:lnTo>
                      <a:pt x="1618" y="1490"/>
                    </a:lnTo>
                    <a:lnTo>
                      <a:pt x="1622" y="1492"/>
                    </a:lnTo>
                    <a:lnTo>
                      <a:pt x="1626" y="1494"/>
                    </a:lnTo>
                    <a:lnTo>
                      <a:pt x="1628" y="1498"/>
                    </a:lnTo>
                    <a:lnTo>
                      <a:pt x="1632" y="1500"/>
                    </a:lnTo>
                    <a:lnTo>
                      <a:pt x="1638" y="1502"/>
                    </a:lnTo>
                    <a:lnTo>
                      <a:pt x="1642" y="1504"/>
                    </a:lnTo>
                    <a:lnTo>
                      <a:pt x="1642" y="1508"/>
                    </a:lnTo>
                    <a:lnTo>
                      <a:pt x="1638" y="1510"/>
                    </a:lnTo>
                    <a:lnTo>
                      <a:pt x="1634" y="1510"/>
                    </a:lnTo>
                    <a:lnTo>
                      <a:pt x="1610" y="1504"/>
                    </a:lnTo>
                    <a:lnTo>
                      <a:pt x="1602" y="1502"/>
                    </a:lnTo>
                    <a:lnTo>
                      <a:pt x="1596" y="1504"/>
                    </a:lnTo>
                    <a:lnTo>
                      <a:pt x="1594" y="1506"/>
                    </a:lnTo>
                    <a:lnTo>
                      <a:pt x="1592" y="1510"/>
                    </a:lnTo>
                    <a:lnTo>
                      <a:pt x="1590" y="1512"/>
                    </a:lnTo>
                    <a:lnTo>
                      <a:pt x="1588" y="1516"/>
                    </a:lnTo>
                    <a:lnTo>
                      <a:pt x="1584" y="1516"/>
                    </a:lnTo>
                    <a:lnTo>
                      <a:pt x="1578" y="1514"/>
                    </a:lnTo>
                    <a:lnTo>
                      <a:pt x="1574" y="1512"/>
                    </a:lnTo>
                    <a:lnTo>
                      <a:pt x="1570" y="1514"/>
                    </a:lnTo>
                    <a:lnTo>
                      <a:pt x="1568" y="1516"/>
                    </a:lnTo>
                    <a:lnTo>
                      <a:pt x="1568" y="1518"/>
                    </a:lnTo>
                    <a:lnTo>
                      <a:pt x="1568" y="1522"/>
                    </a:lnTo>
                    <a:lnTo>
                      <a:pt x="1568" y="1524"/>
                    </a:lnTo>
                    <a:lnTo>
                      <a:pt x="1564" y="1524"/>
                    </a:lnTo>
                    <a:lnTo>
                      <a:pt x="1560" y="1520"/>
                    </a:lnTo>
                    <a:lnTo>
                      <a:pt x="1556" y="1518"/>
                    </a:lnTo>
                    <a:lnTo>
                      <a:pt x="1552" y="1516"/>
                    </a:lnTo>
                    <a:lnTo>
                      <a:pt x="1552" y="1518"/>
                    </a:lnTo>
                    <a:lnTo>
                      <a:pt x="1552" y="1520"/>
                    </a:lnTo>
                    <a:lnTo>
                      <a:pt x="1554" y="1530"/>
                    </a:lnTo>
                    <a:lnTo>
                      <a:pt x="1554" y="1534"/>
                    </a:lnTo>
                    <a:lnTo>
                      <a:pt x="1552" y="1536"/>
                    </a:lnTo>
                    <a:lnTo>
                      <a:pt x="1540" y="1540"/>
                    </a:lnTo>
                    <a:lnTo>
                      <a:pt x="1530" y="1542"/>
                    </a:lnTo>
                    <a:lnTo>
                      <a:pt x="1518" y="1540"/>
                    </a:lnTo>
                    <a:lnTo>
                      <a:pt x="1508" y="1536"/>
                    </a:lnTo>
                    <a:lnTo>
                      <a:pt x="1498" y="1532"/>
                    </a:lnTo>
                    <a:lnTo>
                      <a:pt x="1488" y="1530"/>
                    </a:lnTo>
                    <a:lnTo>
                      <a:pt x="1476" y="1528"/>
                    </a:lnTo>
                    <a:lnTo>
                      <a:pt x="1460" y="1526"/>
                    </a:lnTo>
                    <a:lnTo>
                      <a:pt x="1454" y="1524"/>
                    </a:lnTo>
                    <a:lnTo>
                      <a:pt x="1450" y="1524"/>
                    </a:lnTo>
                    <a:lnTo>
                      <a:pt x="1448" y="1526"/>
                    </a:lnTo>
                    <a:lnTo>
                      <a:pt x="1448" y="1528"/>
                    </a:lnTo>
                    <a:lnTo>
                      <a:pt x="1446" y="1532"/>
                    </a:lnTo>
                    <a:lnTo>
                      <a:pt x="1442" y="1534"/>
                    </a:lnTo>
                    <a:lnTo>
                      <a:pt x="1436" y="1534"/>
                    </a:lnTo>
                    <a:lnTo>
                      <a:pt x="1422" y="1534"/>
                    </a:lnTo>
                    <a:lnTo>
                      <a:pt x="1408" y="1534"/>
                    </a:lnTo>
                    <a:lnTo>
                      <a:pt x="1398" y="1538"/>
                    </a:lnTo>
                    <a:lnTo>
                      <a:pt x="1394" y="1542"/>
                    </a:lnTo>
                    <a:lnTo>
                      <a:pt x="1392" y="1544"/>
                    </a:lnTo>
                    <a:lnTo>
                      <a:pt x="1390" y="1548"/>
                    </a:lnTo>
                    <a:lnTo>
                      <a:pt x="1388" y="1550"/>
                    </a:lnTo>
                    <a:lnTo>
                      <a:pt x="1380" y="1552"/>
                    </a:lnTo>
                    <a:lnTo>
                      <a:pt x="1374" y="1554"/>
                    </a:lnTo>
                    <a:lnTo>
                      <a:pt x="1372" y="1558"/>
                    </a:lnTo>
                    <a:lnTo>
                      <a:pt x="1370" y="1562"/>
                    </a:lnTo>
                    <a:lnTo>
                      <a:pt x="1368" y="1572"/>
                    </a:lnTo>
                    <a:lnTo>
                      <a:pt x="1368" y="1580"/>
                    </a:lnTo>
                    <a:lnTo>
                      <a:pt x="1370" y="1588"/>
                    </a:lnTo>
                    <a:lnTo>
                      <a:pt x="1372" y="1594"/>
                    </a:lnTo>
                    <a:lnTo>
                      <a:pt x="1378" y="1604"/>
                    </a:lnTo>
                    <a:lnTo>
                      <a:pt x="1382" y="1610"/>
                    </a:lnTo>
                    <a:lnTo>
                      <a:pt x="1386" y="1614"/>
                    </a:lnTo>
                    <a:lnTo>
                      <a:pt x="1390" y="1614"/>
                    </a:lnTo>
                    <a:lnTo>
                      <a:pt x="1396" y="1614"/>
                    </a:lnTo>
                    <a:lnTo>
                      <a:pt x="1402" y="1610"/>
                    </a:lnTo>
                    <a:lnTo>
                      <a:pt x="1410" y="1606"/>
                    </a:lnTo>
                    <a:lnTo>
                      <a:pt x="1410" y="1608"/>
                    </a:lnTo>
                    <a:lnTo>
                      <a:pt x="1410" y="1610"/>
                    </a:lnTo>
                    <a:lnTo>
                      <a:pt x="1402" y="1640"/>
                    </a:lnTo>
                    <a:lnTo>
                      <a:pt x="1402" y="1646"/>
                    </a:lnTo>
                    <a:lnTo>
                      <a:pt x="1404" y="1654"/>
                    </a:lnTo>
                    <a:lnTo>
                      <a:pt x="1406" y="1668"/>
                    </a:lnTo>
                    <a:lnTo>
                      <a:pt x="1408" y="1676"/>
                    </a:lnTo>
                    <a:lnTo>
                      <a:pt x="1406" y="1682"/>
                    </a:lnTo>
                    <a:lnTo>
                      <a:pt x="1402" y="1686"/>
                    </a:lnTo>
                    <a:lnTo>
                      <a:pt x="1392" y="1692"/>
                    </a:lnTo>
                    <a:lnTo>
                      <a:pt x="1380" y="1694"/>
                    </a:lnTo>
                    <a:lnTo>
                      <a:pt x="1370" y="1694"/>
                    </a:lnTo>
                    <a:lnTo>
                      <a:pt x="1364" y="1690"/>
                    </a:lnTo>
                    <a:lnTo>
                      <a:pt x="1360" y="1684"/>
                    </a:lnTo>
                    <a:lnTo>
                      <a:pt x="1354" y="1672"/>
                    </a:lnTo>
                    <a:lnTo>
                      <a:pt x="1348" y="1666"/>
                    </a:lnTo>
                    <a:lnTo>
                      <a:pt x="1342" y="1662"/>
                    </a:lnTo>
                    <a:lnTo>
                      <a:pt x="1336" y="1660"/>
                    </a:lnTo>
                    <a:lnTo>
                      <a:pt x="1334" y="1656"/>
                    </a:lnTo>
                    <a:lnTo>
                      <a:pt x="1332" y="1652"/>
                    </a:lnTo>
                    <a:lnTo>
                      <a:pt x="1332" y="1650"/>
                    </a:lnTo>
                    <a:lnTo>
                      <a:pt x="1332" y="1648"/>
                    </a:lnTo>
                    <a:lnTo>
                      <a:pt x="1324" y="1648"/>
                    </a:lnTo>
                    <a:lnTo>
                      <a:pt x="1302" y="1656"/>
                    </a:lnTo>
                    <a:lnTo>
                      <a:pt x="1294" y="1660"/>
                    </a:lnTo>
                    <a:lnTo>
                      <a:pt x="1292" y="1664"/>
                    </a:lnTo>
                    <a:lnTo>
                      <a:pt x="1286" y="1674"/>
                    </a:lnTo>
                    <a:lnTo>
                      <a:pt x="1284" y="1678"/>
                    </a:lnTo>
                    <a:lnTo>
                      <a:pt x="1286" y="1684"/>
                    </a:lnTo>
                    <a:lnTo>
                      <a:pt x="1286" y="1688"/>
                    </a:lnTo>
                    <a:lnTo>
                      <a:pt x="1286" y="1690"/>
                    </a:lnTo>
                    <a:lnTo>
                      <a:pt x="1280" y="1694"/>
                    </a:lnTo>
                    <a:lnTo>
                      <a:pt x="1274" y="1700"/>
                    </a:lnTo>
                    <a:lnTo>
                      <a:pt x="1272" y="1704"/>
                    </a:lnTo>
                    <a:lnTo>
                      <a:pt x="1270" y="1710"/>
                    </a:lnTo>
                    <a:lnTo>
                      <a:pt x="1266" y="1720"/>
                    </a:lnTo>
                    <a:lnTo>
                      <a:pt x="1266" y="1732"/>
                    </a:lnTo>
                    <a:lnTo>
                      <a:pt x="1268" y="1752"/>
                    </a:lnTo>
                    <a:lnTo>
                      <a:pt x="1268" y="1766"/>
                    </a:lnTo>
                    <a:lnTo>
                      <a:pt x="1270" y="1772"/>
                    </a:lnTo>
                    <a:lnTo>
                      <a:pt x="1274" y="1776"/>
                    </a:lnTo>
                    <a:lnTo>
                      <a:pt x="1278" y="1782"/>
                    </a:lnTo>
                    <a:lnTo>
                      <a:pt x="1280" y="1790"/>
                    </a:lnTo>
                    <a:lnTo>
                      <a:pt x="1280" y="1804"/>
                    </a:lnTo>
                    <a:lnTo>
                      <a:pt x="1278" y="1806"/>
                    </a:lnTo>
                    <a:lnTo>
                      <a:pt x="1276" y="1808"/>
                    </a:lnTo>
                    <a:lnTo>
                      <a:pt x="1276" y="1816"/>
                    </a:lnTo>
                    <a:lnTo>
                      <a:pt x="1278" y="1818"/>
                    </a:lnTo>
                    <a:lnTo>
                      <a:pt x="1276" y="1822"/>
                    </a:lnTo>
                    <a:lnTo>
                      <a:pt x="1270" y="1824"/>
                    </a:lnTo>
                    <a:lnTo>
                      <a:pt x="1264" y="1826"/>
                    </a:lnTo>
                    <a:lnTo>
                      <a:pt x="1258" y="1824"/>
                    </a:lnTo>
                    <a:lnTo>
                      <a:pt x="1256" y="1824"/>
                    </a:lnTo>
                    <a:lnTo>
                      <a:pt x="1256" y="1822"/>
                    </a:lnTo>
                    <a:lnTo>
                      <a:pt x="1258" y="1816"/>
                    </a:lnTo>
                    <a:lnTo>
                      <a:pt x="1268" y="1804"/>
                    </a:lnTo>
                    <a:lnTo>
                      <a:pt x="1270" y="1800"/>
                    </a:lnTo>
                    <a:lnTo>
                      <a:pt x="1268" y="1800"/>
                    </a:lnTo>
                    <a:lnTo>
                      <a:pt x="1256" y="1814"/>
                    </a:lnTo>
                    <a:lnTo>
                      <a:pt x="1248" y="1820"/>
                    </a:lnTo>
                    <a:lnTo>
                      <a:pt x="1246" y="1822"/>
                    </a:lnTo>
                    <a:lnTo>
                      <a:pt x="1240" y="1820"/>
                    </a:lnTo>
                    <a:lnTo>
                      <a:pt x="1232" y="1820"/>
                    </a:lnTo>
                    <a:lnTo>
                      <a:pt x="1226" y="1822"/>
                    </a:lnTo>
                    <a:lnTo>
                      <a:pt x="1224" y="1824"/>
                    </a:lnTo>
                    <a:lnTo>
                      <a:pt x="1224" y="1830"/>
                    </a:lnTo>
                    <a:lnTo>
                      <a:pt x="1224" y="1836"/>
                    </a:lnTo>
                    <a:lnTo>
                      <a:pt x="1224" y="1840"/>
                    </a:lnTo>
                    <a:lnTo>
                      <a:pt x="1220" y="1846"/>
                    </a:lnTo>
                    <a:lnTo>
                      <a:pt x="1214" y="1852"/>
                    </a:lnTo>
                    <a:lnTo>
                      <a:pt x="1202" y="1858"/>
                    </a:lnTo>
                    <a:lnTo>
                      <a:pt x="1188" y="1860"/>
                    </a:lnTo>
                    <a:lnTo>
                      <a:pt x="1182" y="1858"/>
                    </a:lnTo>
                    <a:lnTo>
                      <a:pt x="1176" y="1856"/>
                    </a:lnTo>
                    <a:lnTo>
                      <a:pt x="1172" y="1854"/>
                    </a:lnTo>
                    <a:lnTo>
                      <a:pt x="1170" y="1848"/>
                    </a:lnTo>
                    <a:lnTo>
                      <a:pt x="1166" y="1836"/>
                    </a:lnTo>
                    <a:lnTo>
                      <a:pt x="1172" y="1840"/>
                    </a:lnTo>
                    <a:lnTo>
                      <a:pt x="1180" y="1844"/>
                    </a:lnTo>
                    <a:lnTo>
                      <a:pt x="1184" y="1844"/>
                    </a:lnTo>
                    <a:lnTo>
                      <a:pt x="1184" y="1842"/>
                    </a:lnTo>
                    <a:lnTo>
                      <a:pt x="1180" y="1840"/>
                    </a:lnTo>
                    <a:lnTo>
                      <a:pt x="1168" y="1832"/>
                    </a:lnTo>
                    <a:lnTo>
                      <a:pt x="1160" y="1828"/>
                    </a:lnTo>
                    <a:lnTo>
                      <a:pt x="1152" y="1828"/>
                    </a:lnTo>
                    <a:lnTo>
                      <a:pt x="1136" y="1832"/>
                    </a:lnTo>
                    <a:lnTo>
                      <a:pt x="1118" y="1836"/>
                    </a:lnTo>
                    <a:lnTo>
                      <a:pt x="1112" y="1838"/>
                    </a:lnTo>
                    <a:lnTo>
                      <a:pt x="1110" y="1840"/>
                    </a:lnTo>
                    <a:lnTo>
                      <a:pt x="1098" y="1844"/>
                    </a:lnTo>
                    <a:lnTo>
                      <a:pt x="1090" y="1848"/>
                    </a:lnTo>
                    <a:lnTo>
                      <a:pt x="1086" y="1850"/>
                    </a:lnTo>
                    <a:lnTo>
                      <a:pt x="1082" y="1856"/>
                    </a:lnTo>
                    <a:lnTo>
                      <a:pt x="1080" y="1858"/>
                    </a:lnTo>
                    <a:lnTo>
                      <a:pt x="1074" y="1862"/>
                    </a:lnTo>
                    <a:lnTo>
                      <a:pt x="1066" y="1864"/>
                    </a:lnTo>
                    <a:lnTo>
                      <a:pt x="1054" y="1868"/>
                    </a:lnTo>
                    <a:lnTo>
                      <a:pt x="1034" y="1874"/>
                    </a:lnTo>
                    <a:lnTo>
                      <a:pt x="1020" y="1880"/>
                    </a:lnTo>
                    <a:lnTo>
                      <a:pt x="1008" y="1884"/>
                    </a:lnTo>
                    <a:lnTo>
                      <a:pt x="1002" y="1884"/>
                    </a:lnTo>
                    <a:lnTo>
                      <a:pt x="996" y="1884"/>
                    </a:lnTo>
                    <a:lnTo>
                      <a:pt x="992" y="1882"/>
                    </a:lnTo>
                    <a:lnTo>
                      <a:pt x="986" y="1878"/>
                    </a:lnTo>
                    <a:lnTo>
                      <a:pt x="980" y="1870"/>
                    </a:lnTo>
                    <a:lnTo>
                      <a:pt x="978" y="1870"/>
                    </a:lnTo>
                    <a:lnTo>
                      <a:pt x="980" y="1874"/>
                    </a:lnTo>
                    <a:lnTo>
                      <a:pt x="984" y="1884"/>
                    </a:lnTo>
                    <a:lnTo>
                      <a:pt x="984" y="1886"/>
                    </a:lnTo>
                    <a:lnTo>
                      <a:pt x="984" y="1888"/>
                    </a:lnTo>
                    <a:lnTo>
                      <a:pt x="982" y="1888"/>
                    </a:lnTo>
                    <a:lnTo>
                      <a:pt x="982" y="1890"/>
                    </a:lnTo>
                    <a:lnTo>
                      <a:pt x="984" y="1890"/>
                    </a:lnTo>
                    <a:lnTo>
                      <a:pt x="988" y="1890"/>
                    </a:lnTo>
                    <a:lnTo>
                      <a:pt x="992" y="1888"/>
                    </a:lnTo>
                    <a:lnTo>
                      <a:pt x="996" y="1890"/>
                    </a:lnTo>
                    <a:lnTo>
                      <a:pt x="998" y="1892"/>
                    </a:lnTo>
                    <a:lnTo>
                      <a:pt x="1002" y="1892"/>
                    </a:lnTo>
                    <a:lnTo>
                      <a:pt x="1004" y="1890"/>
                    </a:lnTo>
                    <a:lnTo>
                      <a:pt x="1008" y="1890"/>
                    </a:lnTo>
                    <a:lnTo>
                      <a:pt x="1010" y="1894"/>
                    </a:lnTo>
                    <a:lnTo>
                      <a:pt x="1010" y="1900"/>
                    </a:lnTo>
                    <a:lnTo>
                      <a:pt x="1010" y="1902"/>
                    </a:lnTo>
                    <a:lnTo>
                      <a:pt x="1008" y="1902"/>
                    </a:lnTo>
                    <a:lnTo>
                      <a:pt x="1004" y="1900"/>
                    </a:lnTo>
                    <a:lnTo>
                      <a:pt x="998" y="1898"/>
                    </a:lnTo>
                    <a:lnTo>
                      <a:pt x="996" y="1898"/>
                    </a:lnTo>
                    <a:lnTo>
                      <a:pt x="986" y="1896"/>
                    </a:lnTo>
                    <a:lnTo>
                      <a:pt x="980" y="1892"/>
                    </a:lnTo>
                    <a:lnTo>
                      <a:pt x="980" y="1890"/>
                    </a:lnTo>
                    <a:lnTo>
                      <a:pt x="980" y="1886"/>
                    </a:lnTo>
                    <a:lnTo>
                      <a:pt x="980" y="1884"/>
                    </a:lnTo>
                    <a:lnTo>
                      <a:pt x="978" y="1882"/>
                    </a:lnTo>
                    <a:lnTo>
                      <a:pt x="976" y="1878"/>
                    </a:lnTo>
                    <a:lnTo>
                      <a:pt x="976" y="1872"/>
                    </a:lnTo>
                    <a:lnTo>
                      <a:pt x="976" y="1870"/>
                    </a:lnTo>
                    <a:lnTo>
                      <a:pt x="974" y="1870"/>
                    </a:lnTo>
                    <a:lnTo>
                      <a:pt x="970" y="1872"/>
                    </a:lnTo>
                    <a:lnTo>
                      <a:pt x="962" y="1872"/>
                    </a:lnTo>
                    <a:lnTo>
                      <a:pt x="958" y="1870"/>
                    </a:lnTo>
                    <a:lnTo>
                      <a:pt x="954" y="1868"/>
                    </a:lnTo>
                    <a:lnTo>
                      <a:pt x="950" y="1860"/>
                    </a:lnTo>
                    <a:lnTo>
                      <a:pt x="948" y="1856"/>
                    </a:lnTo>
                    <a:lnTo>
                      <a:pt x="946" y="1854"/>
                    </a:lnTo>
                    <a:lnTo>
                      <a:pt x="944" y="1854"/>
                    </a:lnTo>
                    <a:lnTo>
                      <a:pt x="938" y="1854"/>
                    </a:lnTo>
                    <a:lnTo>
                      <a:pt x="932" y="1852"/>
                    </a:lnTo>
                    <a:lnTo>
                      <a:pt x="930" y="1850"/>
                    </a:lnTo>
                    <a:lnTo>
                      <a:pt x="926" y="1850"/>
                    </a:lnTo>
                    <a:lnTo>
                      <a:pt x="924" y="1854"/>
                    </a:lnTo>
                    <a:lnTo>
                      <a:pt x="920" y="1862"/>
                    </a:lnTo>
                    <a:lnTo>
                      <a:pt x="912" y="1868"/>
                    </a:lnTo>
                    <a:lnTo>
                      <a:pt x="908" y="1870"/>
                    </a:lnTo>
                    <a:lnTo>
                      <a:pt x="900" y="1870"/>
                    </a:lnTo>
                    <a:lnTo>
                      <a:pt x="894" y="1872"/>
                    </a:lnTo>
                    <a:lnTo>
                      <a:pt x="890" y="1874"/>
                    </a:lnTo>
                    <a:lnTo>
                      <a:pt x="886" y="1880"/>
                    </a:lnTo>
                    <a:lnTo>
                      <a:pt x="884" y="1884"/>
                    </a:lnTo>
                    <a:lnTo>
                      <a:pt x="882" y="1884"/>
                    </a:lnTo>
                    <a:lnTo>
                      <a:pt x="878" y="1882"/>
                    </a:lnTo>
                    <a:lnTo>
                      <a:pt x="874" y="1880"/>
                    </a:lnTo>
                    <a:lnTo>
                      <a:pt x="870" y="1880"/>
                    </a:lnTo>
                    <a:lnTo>
                      <a:pt x="864" y="1882"/>
                    </a:lnTo>
                    <a:lnTo>
                      <a:pt x="860" y="1882"/>
                    </a:lnTo>
                    <a:lnTo>
                      <a:pt x="858" y="1882"/>
                    </a:lnTo>
                    <a:lnTo>
                      <a:pt x="856" y="1880"/>
                    </a:lnTo>
                    <a:lnTo>
                      <a:pt x="856" y="1878"/>
                    </a:lnTo>
                    <a:lnTo>
                      <a:pt x="858" y="1876"/>
                    </a:lnTo>
                    <a:lnTo>
                      <a:pt x="864" y="1872"/>
                    </a:lnTo>
                    <a:lnTo>
                      <a:pt x="870" y="1870"/>
                    </a:lnTo>
                    <a:lnTo>
                      <a:pt x="870" y="1868"/>
                    </a:lnTo>
                    <a:lnTo>
                      <a:pt x="870" y="1864"/>
                    </a:lnTo>
                    <a:lnTo>
                      <a:pt x="870" y="1862"/>
                    </a:lnTo>
                    <a:lnTo>
                      <a:pt x="870" y="1858"/>
                    </a:lnTo>
                    <a:lnTo>
                      <a:pt x="870" y="1856"/>
                    </a:lnTo>
                    <a:lnTo>
                      <a:pt x="862" y="1858"/>
                    </a:lnTo>
                    <a:lnTo>
                      <a:pt x="856" y="1860"/>
                    </a:lnTo>
                    <a:lnTo>
                      <a:pt x="852" y="1860"/>
                    </a:lnTo>
                    <a:lnTo>
                      <a:pt x="848" y="1860"/>
                    </a:lnTo>
                    <a:lnTo>
                      <a:pt x="846" y="1858"/>
                    </a:lnTo>
                    <a:lnTo>
                      <a:pt x="842" y="1854"/>
                    </a:lnTo>
                    <a:lnTo>
                      <a:pt x="840" y="1854"/>
                    </a:lnTo>
                    <a:lnTo>
                      <a:pt x="838" y="1854"/>
                    </a:lnTo>
                    <a:lnTo>
                      <a:pt x="834" y="1856"/>
                    </a:lnTo>
                    <a:lnTo>
                      <a:pt x="832" y="1854"/>
                    </a:lnTo>
                    <a:lnTo>
                      <a:pt x="830" y="1852"/>
                    </a:lnTo>
                    <a:lnTo>
                      <a:pt x="826" y="1850"/>
                    </a:lnTo>
                    <a:lnTo>
                      <a:pt x="822" y="1850"/>
                    </a:lnTo>
                    <a:lnTo>
                      <a:pt x="824" y="1848"/>
                    </a:lnTo>
                    <a:lnTo>
                      <a:pt x="826" y="1844"/>
                    </a:lnTo>
                    <a:lnTo>
                      <a:pt x="828" y="1842"/>
                    </a:lnTo>
                    <a:lnTo>
                      <a:pt x="826" y="1838"/>
                    </a:lnTo>
                    <a:lnTo>
                      <a:pt x="824" y="1834"/>
                    </a:lnTo>
                    <a:lnTo>
                      <a:pt x="822" y="1832"/>
                    </a:lnTo>
                    <a:lnTo>
                      <a:pt x="820" y="1834"/>
                    </a:lnTo>
                    <a:lnTo>
                      <a:pt x="816" y="1832"/>
                    </a:lnTo>
                    <a:lnTo>
                      <a:pt x="812" y="1830"/>
                    </a:lnTo>
                    <a:lnTo>
                      <a:pt x="808" y="1830"/>
                    </a:lnTo>
                    <a:lnTo>
                      <a:pt x="806" y="1832"/>
                    </a:lnTo>
                    <a:lnTo>
                      <a:pt x="802" y="1830"/>
                    </a:lnTo>
                    <a:lnTo>
                      <a:pt x="808" y="1826"/>
                    </a:lnTo>
                    <a:lnTo>
                      <a:pt x="810" y="1824"/>
                    </a:lnTo>
                    <a:lnTo>
                      <a:pt x="810" y="1826"/>
                    </a:lnTo>
                    <a:lnTo>
                      <a:pt x="812" y="1828"/>
                    </a:lnTo>
                    <a:lnTo>
                      <a:pt x="816" y="1828"/>
                    </a:lnTo>
                    <a:lnTo>
                      <a:pt x="818" y="1826"/>
                    </a:lnTo>
                    <a:lnTo>
                      <a:pt x="820" y="1826"/>
                    </a:lnTo>
                    <a:lnTo>
                      <a:pt x="824" y="1828"/>
                    </a:lnTo>
                    <a:lnTo>
                      <a:pt x="826" y="1826"/>
                    </a:lnTo>
                    <a:lnTo>
                      <a:pt x="828" y="1824"/>
                    </a:lnTo>
                    <a:lnTo>
                      <a:pt x="828" y="1822"/>
                    </a:lnTo>
                    <a:lnTo>
                      <a:pt x="822" y="1818"/>
                    </a:lnTo>
                    <a:lnTo>
                      <a:pt x="816" y="1814"/>
                    </a:lnTo>
                    <a:lnTo>
                      <a:pt x="812" y="1816"/>
                    </a:lnTo>
                    <a:lnTo>
                      <a:pt x="810" y="1818"/>
                    </a:lnTo>
                    <a:lnTo>
                      <a:pt x="806" y="1814"/>
                    </a:lnTo>
                    <a:lnTo>
                      <a:pt x="806" y="1812"/>
                    </a:lnTo>
                    <a:lnTo>
                      <a:pt x="806" y="1810"/>
                    </a:lnTo>
                    <a:lnTo>
                      <a:pt x="810" y="1808"/>
                    </a:lnTo>
                    <a:lnTo>
                      <a:pt x="812" y="1804"/>
                    </a:lnTo>
                    <a:lnTo>
                      <a:pt x="814" y="1804"/>
                    </a:lnTo>
                    <a:lnTo>
                      <a:pt x="812" y="1802"/>
                    </a:lnTo>
                    <a:lnTo>
                      <a:pt x="810" y="1798"/>
                    </a:lnTo>
                    <a:lnTo>
                      <a:pt x="810" y="1794"/>
                    </a:lnTo>
                    <a:lnTo>
                      <a:pt x="810" y="1792"/>
                    </a:lnTo>
                    <a:lnTo>
                      <a:pt x="808" y="1790"/>
                    </a:lnTo>
                    <a:lnTo>
                      <a:pt x="808" y="1788"/>
                    </a:lnTo>
                    <a:lnTo>
                      <a:pt x="808" y="1786"/>
                    </a:lnTo>
                    <a:lnTo>
                      <a:pt x="814" y="1784"/>
                    </a:lnTo>
                    <a:lnTo>
                      <a:pt x="818" y="1782"/>
                    </a:lnTo>
                    <a:lnTo>
                      <a:pt x="818" y="1780"/>
                    </a:lnTo>
                    <a:lnTo>
                      <a:pt x="818" y="1778"/>
                    </a:lnTo>
                    <a:lnTo>
                      <a:pt x="818" y="1776"/>
                    </a:lnTo>
                    <a:lnTo>
                      <a:pt x="822" y="1776"/>
                    </a:lnTo>
                    <a:lnTo>
                      <a:pt x="826" y="1774"/>
                    </a:lnTo>
                    <a:lnTo>
                      <a:pt x="826" y="1772"/>
                    </a:lnTo>
                    <a:lnTo>
                      <a:pt x="824" y="1768"/>
                    </a:lnTo>
                    <a:lnTo>
                      <a:pt x="820" y="1764"/>
                    </a:lnTo>
                    <a:lnTo>
                      <a:pt x="824" y="1766"/>
                    </a:lnTo>
                    <a:lnTo>
                      <a:pt x="828" y="1768"/>
                    </a:lnTo>
                    <a:lnTo>
                      <a:pt x="832" y="1768"/>
                    </a:lnTo>
                    <a:lnTo>
                      <a:pt x="834" y="1766"/>
                    </a:lnTo>
                    <a:lnTo>
                      <a:pt x="834" y="1764"/>
                    </a:lnTo>
                    <a:lnTo>
                      <a:pt x="834" y="1760"/>
                    </a:lnTo>
                    <a:lnTo>
                      <a:pt x="834" y="1750"/>
                    </a:lnTo>
                    <a:lnTo>
                      <a:pt x="836" y="1742"/>
                    </a:lnTo>
                    <a:lnTo>
                      <a:pt x="836" y="1740"/>
                    </a:lnTo>
                    <a:lnTo>
                      <a:pt x="840" y="1738"/>
                    </a:lnTo>
                    <a:lnTo>
                      <a:pt x="844" y="1738"/>
                    </a:lnTo>
                    <a:lnTo>
                      <a:pt x="844" y="1742"/>
                    </a:lnTo>
                    <a:lnTo>
                      <a:pt x="842" y="1744"/>
                    </a:lnTo>
                    <a:lnTo>
                      <a:pt x="842" y="1746"/>
                    </a:lnTo>
                    <a:lnTo>
                      <a:pt x="844" y="1748"/>
                    </a:lnTo>
                    <a:lnTo>
                      <a:pt x="848" y="1750"/>
                    </a:lnTo>
                    <a:lnTo>
                      <a:pt x="848" y="1748"/>
                    </a:lnTo>
                    <a:lnTo>
                      <a:pt x="850" y="1746"/>
                    </a:lnTo>
                    <a:lnTo>
                      <a:pt x="852" y="1746"/>
                    </a:lnTo>
                    <a:lnTo>
                      <a:pt x="854" y="1748"/>
                    </a:lnTo>
                    <a:lnTo>
                      <a:pt x="856" y="1746"/>
                    </a:lnTo>
                    <a:lnTo>
                      <a:pt x="858" y="1744"/>
                    </a:lnTo>
                    <a:lnTo>
                      <a:pt x="864" y="1732"/>
                    </a:lnTo>
                    <a:lnTo>
                      <a:pt x="864" y="1730"/>
                    </a:lnTo>
                    <a:lnTo>
                      <a:pt x="864" y="1728"/>
                    </a:lnTo>
                    <a:lnTo>
                      <a:pt x="858" y="1726"/>
                    </a:lnTo>
                    <a:lnTo>
                      <a:pt x="844" y="1724"/>
                    </a:lnTo>
                    <a:lnTo>
                      <a:pt x="840" y="1722"/>
                    </a:lnTo>
                    <a:lnTo>
                      <a:pt x="838" y="1722"/>
                    </a:lnTo>
                    <a:lnTo>
                      <a:pt x="840" y="1718"/>
                    </a:lnTo>
                    <a:lnTo>
                      <a:pt x="842" y="1714"/>
                    </a:lnTo>
                    <a:lnTo>
                      <a:pt x="840" y="1710"/>
                    </a:lnTo>
                    <a:lnTo>
                      <a:pt x="838" y="1706"/>
                    </a:lnTo>
                    <a:lnTo>
                      <a:pt x="838" y="1700"/>
                    </a:lnTo>
                    <a:lnTo>
                      <a:pt x="840" y="1690"/>
                    </a:lnTo>
                    <a:lnTo>
                      <a:pt x="842" y="1686"/>
                    </a:lnTo>
                    <a:lnTo>
                      <a:pt x="844" y="1684"/>
                    </a:lnTo>
                    <a:lnTo>
                      <a:pt x="846" y="1680"/>
                    </a:lnTo>
                    <a:lnTo>
                      <a:pt x="848" y="1676"/>
                    </a:lnTo>
                    <a:lnTo>
                      <a:pt x="848" y="1670"/>
                    </a:lnTo>
                    <a:lnTo>
                      <a:pt x="846" y="1662"/>
                    </a:lnTo>
                    <a:lnTo>
                      <a:pt x="844" y="1658"/>
                    </a:lnTo>
                    <a:lnTo>
                      <a:pt x="844" y="1656"/>
                    </a:lnTo>
                    <a:lnTo>
                      <a:pt x="846" y="1652"/>
                    </a:lnTo>
                    <a:lnTo>
                      <a:pt x="850" y="1648"/>
                    </a:lnTo>
                    <a:lnTo>
                      <a:pt x="850" y="1646"/>
                    </a:lnTo>
                    <a:lnTo>
                      <a:pt x="846" y="1646"/>
                    </a:lnTo>
                    <a:lnTo>
                      <a:pt x="844" y="1650"/>
                    </a:lnTo>
                    <a:lnTo>
                      <a:pt x="838" y="1654"/>
                    </a:lnTo>
                    <a:lnTo>
                      <a:pt x="830" y="1656"/>
                    </a:lnTo>
                    <a:lnTo>
                      <a:pt x="824" y="1658"/>
                    </a:lnTo>
                    <a:lnTo>
                      <a:pt x="822" y="1660"/>
                    </a:lnTo>
                    <a:lnTo>
                      <a:pt x="814" y="1672"/>
                    </a:lnTo>
                    <a:lnTo>
                      <a:pt x="810" y="1676"/>
                    </a:lnTo>
                    <a:lnTo>
                      <a:pt x="804" y="1680"/>
                    </a:lnTo>
                    <a:lnTo>
                      <a:pt x="796" y="1684"/>
                    </a:lnTo>
                    <a:lnTo>
                      <a:pt x="786" y="1686"/>
                    </a:lnTo>
                    <a:lnTo>
                      <a:pt x="776" y="1686"/>
                    </a:lnTo>
                    <a:lnTo>
                      <a:pt x="768" y="1690"/>
                    </a:lnTo>
                    <a:lnTo>
                      <a:pt x="762" y="1694"/>
                    </a:lnTo>
                    <a:lnTo>
                      <a:pt x="758" y="1700"/>
                    </a:lnTo>
                    <a:lnTo>
                      <a:pt x="754" y="1708"/>
                    </a:lnTo>
                    <a:lnTo>
                      <a:pt x="752" y="1718"/>
                    </a:lnTo>
                    <a:lnTo>
                      <a:pt x="748" y="1736"/>
                    </a:lnTo>
                    <a:lnTo>
                      <a:pt x="748" y="1752"/>
                    </a:lnTo>
                    <a:lnTo>
                      <a:pt x="750" y="1762"/>
                    </a:lnTo>
                    <a:lnTo>
                      <a:pt x="752" y="1770"/>
                    </a:lnTo>
                    <a:lnTo>
                      <a:pt x="750" y="1778"/>
                    </a:lnTo>
                    <a:lnTo>
                      <a:pt x="746" y="1784"/>
                    </a:lnTo>
                    <a:lnTo>
                      <a:pt x="748" y="1786"/>
                    </a:lnTo>
                    <a:lnTo>
                      <a:pt x="750" y="1786"/>
                    </a:lnTo>
                    <a:lnTo>
                      <a:pt x="754" y="1790"/>
                    </a:lnTo>
                    <a:lnTo>
                      <a:pt x="758" y="1792"/>
                    </a:lnTo>
                    <a:lnTo>
                      <a:pt x="758" y="1790"/>
                    </a:lnTo>
                    <a:lnTo>
                      <a:pt x="758" y="1788"/>
                    </a:lnTo>
                    <a:lnTo>
                      <a:pt x="762" y="1790"/>
                    </a:lnTo>
                    <a:lnTo>
                      <a:pt x="764" y="1792"/>
                    </a:lnTo>
                    <a:lnTo>
                      <a:pt x="768" y="1792"/>
                    </a:lnTo>
                    <a:lnTo>
                      <a:pt x="772" y="1796"/>
                    </a:lnTo>
                    <a:lnTo>
                      <a:pt x="772" y="1804"/>
                    </a:lnTo>
                    <a:lnTo>
                      <a:pt x="770" y="1810"/>
                    </a:lnTo>
                    <a:lnTo>
                      <a:pt x="768" y="1808"/>
                    </a:lnTo>
                    <a:lnTo>
                      <a:pt x="766" y="1806"/>
                    </a:lnTo>
                    <a:lnTo>
                      <a:pt x="764" y="1806"/>
                    </a:lnTo>
                    <a:lnTo>
                      <a:pt x="764" y="1810"/>
                    </a:lnTo>
                    <a:lnTo>
                      <a:pt x="764" y="1814"/>
                    </a:lnTo>
                    <a:lnTo>
                      <a:pt x="768" y="1812"/>
                    </a:lnTo>
                    <a:lnTo>
                      <a:pt x="770" y="1812"/>
                    </a:lnTo>
                    <a:lnTo>
                      <a:pt x="770" y="1814"/>
                    </a:lnTo>
                    <a:lnTo>
                      <a:pt x="770" y="1826"/>
                    </a:lnTo>
                    <a:lnTo>
                      <a:pt x="770" y="1830"/>
                    </a:lnTo>
                    <a:lnTo>
                      <a:pt x="774" y="1836"/>
                    </a:lnTo>
                    <a:lnTo>
                      <a:pt x="784" y="1848"/>
                    </a:lnTo>
                    <a:lnTo>
                      <a:pt x="786" y="1850"/>
                    </a:lnTo>
                    <a:lnTo>
                      <a:pt x="786" y="1852"/>
                    </a:lnTo>
                    <a:lnTo>
                      <a:pt x="782" y="1854"/>
                    </a:lnTo>
                    <a:lnTo>
                      <a:pt x="774" y="1856"/>
                    </a:lnTo>
                    <a:lnTo>
                      <a:pt x="772" y="1858"/>
                    </a:lnTo>
                    <a:lnTo>
                      <a:pt x="770" y="1860"/>
                    </a:lnTo>
                    <a:lnTo>
                      <a:pt x="770" y="1864"/>
                    </a:lnTo>
                    <a:lnTo>
                      <a:pt x="776" y="1864"/>
                    </a:lnTo>
                    <a:lnTo>
                      <a:pt x="780" y="1862"/>
                    </a:lnTo>
                    <a:lnTo>
                      <a:pt x="780" y="1864"/>
                    </a:lnTo>
                    <a:lnTo>
                      <a:pt x="778" y="1866"/>
                    </a:lnTo>
                    <a:lnTo>
                      <a:pt x="778" y="1870"/>
                    </a:lnTo>
                    <a:lnTo>
                      <a:pt x="778" y="1872"/>
                    </a:lnTo>
                    <a:lnTo>
                      <a:pt x="782" y="1874"/>
                    </a:lnTo>
                    <a:lnTo>
                      <a:pt x="786" y="1876"/>
                    </a:lnTo>
                    <a:lnTo>
                      <a:pt x="784" y="1878"/>
                    </a:lnTo>
                    <a:lnTo>
                      <a:pt x="780" y="1880"/>
                    </a:lnTo>
                    <a:lnTo>
                      <a:pt x="780" y="1882"/>
                    </a:lnTo>
                    <a:lnTo>
                      <a:pt x="782" y="1886"/>
                    </a:lnTo>
                    <a:lnTo>
                      <a:pt x="790" y="1886"/>
                    </a:lnTo>
                    <a:lnTo>
                      <a:pt x="798" y="1890"/>
                    </a:lnTo>
                    <a:lnTo>
                      <a:pt x="804" y="1894"/>
                    </a:lnTo>
                    <a:lnTo>
                      <a:pt x="804" y="1898"/>
                    </a:lnTo>
                    <a:lnTo>
                      <a:pt x="800" y="1896"/>
                    </a:lnTo>
                    <a:lnTo>
                      <a:pt x="794" y="1892"/>
                    </a:lnTo>
                    <a:lnTo>
                      <a:pt x="786" y="1890"/>
                    </a:lnTo>
                    <a:lnTo>
                      <a:pt x="780" y="1890"/>
                    </a:lnTo>
                    <a:lnTo>
                      <a:pt x="772" y="1888"/>
                    </a:lnTo>
                    <a:lnTo>
                      <a:pt x="770" y="1888"/>
                    </a:lnTo>
                    <a:lnTo>
                      <a:pt x="768" y="1890"/>
                    </a:lnTo>
                    <a:lnTo>
                      <a:pt x="768" y="1900"/>
                    </a:lnTo>
                    <a:lnTo>
                      <a:pt x="770" y="1910"/>
                    </a:lnTo>
                    <a:lnTo>
                      <a:pt x="768" y="1916"/>
                    </a:lnTo>
                    <a:lnTo>
                      <a:pt x="766" y="1918"/>
                    </a:lnTo>
                    <a:lnTo>
                      <a:pt x="764" y="1920"/>
                    </a:lnTo>
                    <a:lnTo>
                      <a:pt x="764" y="1918"/>
                    </a:lnTo>
                    <a:lnTo>
                      <a:pt x="764" y="1914"/>
                    </a:lnTo>
                    <a:lnTo>
                      <a:pt x="764" y="1908"/>
                    </a:lnTo>
                    <a:lnTo>
                      <a:pt x="764" y="1906"/>
                    </a:lnTo>
                    <a:lnTo>
                      <a:pt x="762" y="1904"/>
                    </a:lnTo>
                    <a:lnTo>
                      <a:pt x="758" y="1904"/>
                    </a:lnTo>
                    <a:lnTo>
                      <a:pt x="756" y="1906"/>
                    </a:lnTo>
                    <a:lnTo>
                      <a:pt x="756" y="1912"/>
                    </a:lnTo>
                    <a:lnTo>
                      <a:pt x="754" y="1916"/>
                    </a:lnTo>
                    <a:lnTo>
                      <a:pt x="750" y="1914"/>
                    </a:lnTo>
                    <a:lnTo>
                      <a:pt x="748" y="1912"/>
                    </a:lnTo>
                    <a:lnTo>
                      <a:pt x="748" y="1910"/>
                    </a:lnTo>
                    <a:lnTo>
                      <a:pt x="750" y="1904"/>
                    </a:lnTo>
                    <a:lnTo>
                      <a:pt x="748" y="1902"/>
                    </a:lnTo>
                    <a:lnTo>
                      <a:pt x="746" y="1900"/>
                    </a:lnTo>
                    <a:lnTo>
                      <a:pt x="742" y="1898"/>
                    </a:lnTo>
                    <a:lnTo>
                      <a:pt x="734" y="1898"/>
                    </a:lnTo>
                    <a:lnTo>
                      <a:pt x="720" y="1898"/>
                    </a:lnTo>
                    <a:lnTo>
                      <a:pt x="714" y="1900"/>
                    </a:lnTo>
                    <a:lnTo>
                      <a:pt x="710" y="1906"/>
                    </a:lnTo>
                    <a:lnTo>
                      <a:pt x="708" y="1914"/>
                    </a:lnTo>
                    <a:lnTo>
                      <a:pt x="706" y="1916"/>
                    </a:lnTo>
                    <a:lnTo>
                      <a:pt x="706" y="1920"/>
                    </a:lnTo>
                    <a:lnTo>
                      <a:pt x="710" y="1922"/>
                    </a:lnTo>
                    <a:lnTo>
                      <a:pt x="714" y="1922"/>
                    </a:lnTo>
                    <a:lnTo>
                      <a:pt x="714" y="1924"/>
                    </a:lnTo>
                    <a:lnTo>
                      <a:pt x="712" y="1926"/>
                    </a:lnTo>
                    <a:lnTo>
                      <a:pt x="708" y="1926"/>
                    </a:lnTo>
                    <a:lnTo>
                      <a:pt x="706" y="1926"/>
                    </a:lnTo>
                    <a:lnTo>
                      <a:pt x="700" y="1918"/>
                    </a:lnTo>
                    <a:lnTo>
                      <a:pt x="696" y="1914"/>
                    </a:lnTo>
                    <a:lnTo>
                      <a:pt x="688" y="1914"/>
                    </a:lnTo>
                    <a:lnTo>
                      <a:pt x="664" y="1918"/>
                    </a:lnTo>
                    <a:lnTo>
                      <a:pt x="654" y="1920"/>
                    </a:lnTo>
                    <a:lnTo>
                      <a:pt x="646" y="1924"/>
                    </a:lnTo>
                    <a:lnTo>
                      <a:pt x="640" y="1926"/>
                    </a:lnTo>
                    <a:lnTo>
                      <a:pt x="636" y="1930"/>
                    </a:lnTo>
                    <a:lnTo>
                      <a:pt x="634" y="1934"/>
                    </a:lnTo>
                    <a:lnTo>
                      <a:pt x="634" y="1938"/>
                    </a:lnTo>
                    <a:lnTo>
                      <a:pt x="634" y="1940"/>
                    </a:lnTo>
                    <a:lnTo>
                      <a:pt x="636" y="1940"/>
                    </a:lnTo>
                    <a:lnTo>
                      <a:pt x="638" y="1940"/>
                    </a:lnTo>
                    <a:lnTo>
                      <a:pt x="640" y="1942"/>
                    </a:lnTo>
                    <a:lnTo>
                      <a:pt x="640" y="1946"/>
                    </a:lnTo>
                    <a:lnTo>
                      <a:pt x="640" y="1950"/>
                    </a:lnTo>
                    <a:lnTo>
                      <a:pt x="642" y="1950"/>
                    </a:lnTo>
                    <a:lnTo>
                      <a:pt x="644" y="1952"/>
                    </a:lnTo>
                    <a:lnTo>
                      <a:pt x="646" y="1952"/>
                    </a:lnTo>
                    <a:lnTo>
                      <a:pt x="646" y="1954"/>
                    </a:lnTo>
                    <a:lnTo>
                      <a:pt x="646" y="1958"/>
                    </a:lnTo>
                    <a:lnTo>
                      <a:pt x="646" y="1962"/>
                    </a:lnTo>
                    <a:lnTo>
                      <a:pt x="648" y="1964"/>
                    </a:lnTo>
                    <a:lnTo>
                      <a:pt x="650" y="1966"/>
                    </a:lnTo>
                    <a:lnTo>
                      <a:pt x="654" y="1968"/>
                    </a:lnTo>
                    <a:lnTo>
                      <a:pt x="656" y="1972"/>
                    </a:lnTo>
                    <a:lnTo>
                      <a:pt x="654" y="1976"/>
                    </a:lnTo>
                    <a:lnTo>
                      <a:pt x="652" y="1980"/>
                    </a:lnTo>
                    <a:lnTo>
                      <a:pt x="648" y="1984"/>
                    </a:lnTo>
                    <a:lnTo>
                      <a:pt x="644" y="1986"/>
                    </a:lnTo>
                    <a:lnTo>
                      <a:pt x="638" y="1988"/>
                    </a:lnTo>
                    <a:lnTo>
                      <a:pt x="634" y="1986"/>
                    </a:lnTo>
                    <a:lnTo>
                      <a:pt x="628" y="1980"/>
                    </a:lnTo>
                    <a:lnTo>
                      <a:pt x="624" y="1974"/>
                    </a:lnTo>
                    <a:lnTo>
                      <a:pt x="624" y="1970"/>
                    </a:lnTo>
                    <a:lnTo>
                      <a:pt x="624" y="1968"/>
                    </a:lnTo>
                    <a:lnTo>
                      <a:pt x="626" y="1966"/>
                    </a:lnTo>
                    <a:lnTo>
                      <a:pt x="630" y="1964"/>
                    </a:lnTo>
                    <a:lnTo>
                      <a:pt x="634" y="1960"/>
                    </a:lnTo>
                    <a:lnTo>
                      <a:pt x="632" y="1958"/>
                    </a:lnTo>
                    <a:lnTo>
                      <a:pt x="628" y="1956"/>
                    </a:lnTo>
                    <a:lnTo>
                      <a:pt x="626" y="1952"/>
                    </a:lnTo>
                    <a:lnTo>
                      <a:pt x="626" y="1946"/>
                    </a:lnTo>
                    <a:lnTo>
                      <a:pt x="630" y="1942"/>
                    </a:lnTo>
                    <a:lnTo>
                      <a:pt x="630" y="1940"/>
                    </a:lnTo>
                    <a:lnTo>
                      <a:pt x="628" y="1940"/>
                    </a:lnTo>
                    <a:lnTo>
                      <a:pt x="618" y="1946"/>
                    </a:lnTo>
                    <a:lnTo>
                      <a:pt x="614" y="1944"/>
                    </a:lnTo>
                    <a:lnTo>
                      <a:pt x="612" y="1946"/>
                    </a:lnTo>
                    <a:lnTo>
                      <a:pt x="610" y="1954"/>
                    </a:lnTo>
                    <a:lnTo>
                      <a:pt x="606" y="1968"/>
                    </a:lnTo>
                    <a:lnTo>
                      <a:pt x="604" y="1978"/>
                    </a:lnTo>
                    <a:lnTo>
                      <a:pt x="600" y="1986"/>
                    </a:lnTo>
                    <a:lnTo>
                      <a:pt x="592" y="2000"/>
                    </a:lnTo>
                    <a:lnTo>
                      <a:pt x="588" y="2004"/>
                    </a:lnTo>
                    <a:lnTo>
                      <a:pt x="586" y="2004"/>
                    </a:lnTo>
                    <a:lnTo>
                      <a:pt x="586" y="2008"/>
                    </a:lnTo>
                    <a:lnTo>
                      <a:pt x="586" y="2010"/>
                    </a:lnTo>
                    <a:lnTo>
                      <a:pt x="584" y="2012"/>
                    </a:lnTo>
                    <a:lnTo>
                      <a:pt x="578" y="2014"/>
                    </a:lnTo>
                    <a:lnTo>
                      <a:pt x="572" y="2016"/>
                    </a:lnTo>
                    <a:lnTo>
                      <a:pt x="570" y="2018"/>
                    </a:lnTo>
                    <a:lnTo>
                      <a:pt x="572" y="2020"/>
                    </a:lnTo>
                    <a:lnTo>
                      <a:pt x="578" y="2024"/>
                    </a:lnTo>
                    <a:lnTo>
                      <a:pt x="586" y="2024"/>
                    </a:lnTo>
                    <a:lnTo>
                      <a:pt x="590" y="2026"/>
                    </a:lnTo>
                    <a:lnTo>
                      <a:pt x="584" y="2030"/>
                    </a:lnTo>
                    <a:lnTo>
                      <a:pt x="570" y="2026"/>
                    </a:lnTo>
                    <a:lnTo>
                      <a:pt x="564" y="2026"/>
                    </a:lnTo>
                    <a:lnTo>
                      <a:pt x="562" y="2028"/>
                    </a:lnTo>
                    <a:lnTo>
                      <a:pt x="562" y="2030"/>
                    </a:lnTo>
                    <a:lnTo>
                      <a:pt x="562" y="2032"/>
                    </a:lnTo>
                    <a:lnTo>
                      <a:pt x="568" y="2034"/>
                    </a:lnTo>
                    <a:lnTo>
                      <a:pt x="574" y="2036"/>
                    </a:lnTo>
                    <a:lnTo>
                      <a:pt x="580" y="2036"/>
                    </a:lnTo>
                    <a:lnTo>
                      <a:pt x="586" y="2036"/>
                    </a:lnTo>
                    <a:lnTo>
                      <a:pt x="588" y="2036"/>
                    </a:lnTo>
                    <a:lnTo>
                      <a:pt x="588" y="2038"/>
                    </a:lnTo>
                    <a:lnTo>
                      <a:pt x="588" y="2040"/>
                    </a:lnTo>
                    <a:lnTo>
                      <a:pt x="580" y="2042"/>
                    </a:lnTo>
                    <a:lnTo>
                      <a:pt x="576" y="2042"/>
                    </a:lnTo>
                    <a:lnTo>
                      <a:pt x="572" y="2042"/>
                    </a:lnTo>
                    <a:lnTo>
                      <a:pt x="566" y="2038"/>
                    </a:lnTo>
                    <a:lnTo>
                      <a:pt x="564" y="2038"/>
                    </a:lnTo>
                    <a:lnTo>
                      <a:pt x="558" y="2040"/>
                    </a:lnTo>
                    <a:lnTo>
                      <a:pt x="550" y="2044"/>
                    </a:lnTo>
                    <a:lnTo>
                      <a:pt x="540" y="2048"/>
                    </a:lnTo>
                    <a:lnTo>
                      <a:pt x="532" y="2054"/>
                    </a:lnTo>
                    <a:lnTo>
                      <a:pt x="524" y="2058"/>
                    </a:lnTo>
                    <a:lnTo>
                      <a:pt x="504" y="2060"/>
                    </a:lnTo>
                    <a:lnTo>
                      <a:pt x="492" y="2064"/>
                    </a:lnTo>
                    <a:lnTo>
                      <a:pt x="488" y="2068"/>
                    </a:lnTo>
                    <a:lnTo>
                      <a:pt x="486" y="2070"/>
                    </a:lnTo>
                    <a:lnTo>
                      <a:pt x="484" y="2074"/>
                    </a:lnTo>
                    <a:lnTo>
                      <a:pt x="484" y="2078"/>
                    </a:lnTo>
                    <a:lnTo>
                      <a:pt x="486" y="2086"/>
                    </a:lnTo>
                    <a:lnTo>
                      <a:pt x="484" y="2090"/>
                    </a:lnTo>
                    <a:lnTo>
                      <a:pt x="484" y="2094"/>
                    </a:lnTo>
                    <a:lnTo>
                      <a:pt x="486" y="2098"/>
                    </a:lnTo>
                    <a:lnTo>
                      <a:pt x="486" y="2100"/>
                    </a:lnTo>
                    <a:lnTo>
                      <a:pt x="484" y="2100"/>
                    </a:lnTo>
                    <a:lnTo>
                      <a:pt x="484" y="2102"/>
                    </a:lnTo>
                    <a:lnTo>
                      <a:pt x="486" y="2106"/>
                    </a:lnTo>
                    <a:lnTo>
                      <a:pt x="488" y="2108"/>
                    </a:lnTo>
                    <a:lnTo>
                      <a:pt x="486" y="2110"/>
                    </a:lnTo>
                    <a:lnTo>
                      <a:pt x="482" y="2112"/>
                    </a:lnTo>
                    <a:lnTo>
                      <a:pt x="480" y="2114"/>
                    </a:lnTo>
                    <a:lnTo>
                      <a:pt x="478" y="2118"/>
                    </a:lnTo>
                    <a:lnTo>
                      <a:pt x="472" y="2120"/>
                    </a:lnTo>
                    <a:lnTo>
                      <a:pt x="444" y="2132"/>
                    </a:lnTo>
                    <a:lnTo>
                      <a:pt x="434" y="2136"/>
                    </a:lnTo>
                    <a:lnTo>
                      <a:pt x="428" y="2140"/>
                    </a:lnTo>
                    <a:lnTo>
                      <a:pt x="426" y="2144"/>
                    </a:lnTo>
                    <a:lnTo>
                      <a:pt x="426" y="2146"/>
                    </a:lnTo>
                    <a:lnTo>
                      <a:pt x="426" y="2150"/>
                    </a:lnTo>
                    <a:lnTo>
                      <a:pt x="428" y="2152"/>
                    </a:lnTo>
                    <a:lnTo>
                      <a:pt x="432" y="2154"/>
                    </a:lnTo>
                    <a:lnTo>
                      <a:pt x="434" y="2154"/>
                    </a:lnTo>
                    <a:lnTo>
                      <a:pt x="432" y="2156"/>
                    </a:lnTo>
                    <a:lnTo>
                      <a:pt x="420" y="2162"/>
                    </a:lnTo>
                    <a:lnTo>
                      <a:pt x="416" y="2164"/>
                    </a:lnTo>
                    <a:lnTo>
                      <a:pt x="412" y="2164"/>
                    </a:lnTo>
                    <a:lnTo>
                      <a:pt x="402" y="2162"/>
                    </a:lnTo>
                    <a:lnTo>
                      <a:pt x="392" y="2158"/>
                    </a:lnTo>
                    <a:lnTo>
                      <a:pt x="384" y="2158"/>
                    </a:lnTo>
                    <a:lnTo>
                      <a:pt x="376" y="2160"/>
                    </a:lnTo>
                    <a:lnTo>
                      <a:pt x="374" y="2160"/>
                    </a:lnTo>
                    <a:lnTo>
                      <a:pt x="372" y="2156"/>
                    </a:lnTo>
                    <a:lnTo>
                      <a:pt x="372" y="2148"/>
                    </a:lnTo>
                    <a:lnTo>
                      <a:pt x="370" y="2142"/>
                    </a:lnTo>
                    <a:lnTo>
                      <a:pt x="368" y="2140"/>
                    </a:lnTo>
                    <a:lnTo>
                      <a:pt x="364" y="2140"/>
                    </a:lnTo>
                    <a:lnTo>
                      <a:pt x="356" y="2140"/>
                    </a:lnTo>
                    <a:lnTo>
                      <a:pt x="348" y="2140"/>
                    </a:lnTo>
                    <a:lnTo>
                      <a:pt x="346" y="2138"/>
                    </a:lnTo>
                    <a:lnTo>
                      <a:pt x="346" y="2142"/>
                    </a:lnTo>
                    <a:lnTo>
                      <a:pt x="348" y="2148"/>
                    </a:lnTo>
                    <a:lnTo>
                      <a:pt x="348" y="2152"/>
                    </a:lnTo>
                    <a:lnTo>
                      <a:pt x="348" y="2156"/>
                    </a:lnTo>
                    <a:lnTo>
                      <a:pt x="352" y="2160"/>
                    </a:lnTo>
                    <a:lnTo>
                      <a:pt x="356" y="2164"/>
                    </a:lnTo>
                    <a:lnTo>
                      <a:pt x="358" y="2172"/>
                    </a:lnTo>
                    <a:lnTo>
                      <a:pt x="360" y="2180"/>
                    </a:lnTo>
                    <a:lnTo>
                      <a:pt x="360" y="2188"/>
                    </a:lnTo>
                    <a:lnTo>
                      <a:pt x="360" y="2192"/>
                    </a:lnTo>
                    <a:lnTo>
                      <a:pt x="360" y="2194"/>
                    </a:lnTo>
                    <a:lnTo>
                      <a:pt x="362" y="2200"/>
                    </a:lnTo>
                    <a:lnTo>
                      <a:pt x="364" y="2202"/>
                    </a:lnTo>
                    <a:lnTo>
                      <a:pt x="358" y="2204"/>
                    </a:lnTo>
                    <a:lnTo>
                      <a:pt x="352" y="2204"/>
                    </a:lnTo>
                    <a:lnTo>
                      <a:pt x="350" y="2202"/>
                    </a:lnTo>
                    <a:lnTo>
                      <a:pt x="348" y="2198"/>
                    </a:lnTo>
                    <a:lnTo>
                      <a:pt x="346" y="2198"/>
                    </a:lnTo>
                    <a:lnTo>
                      <a:pt x="344" y="2198"/>
                    </a:lnTo>
                    <a:lnTo>
                      <a:pt x="344" y="2200"/>
                    </a:lnTo>
                    <a:lnTo>
                      <a:pt x="342" y="2202"/>
                    </a:lnTo>
                    <a:lnTo>
                      <a:pt x="338" y="2202"/>
                    </a:lnTo>
                    <a:lnTo>
                      <a:pt x="334" y="2202"/>
                    </a:lnTo>
                    <a:lnTo>
                      <a:pt x="332" y="2200"/>
                    </a:lnTo>
                    <a:lnTo>
                      <a:pt x="330" y="2198"/>
                    </a:lnTo>
                    <a:lnTo>
                      <a:pt x="326" y="2200"/>
                    </a:lnTo>
                    <a:lnTo>
                      <a:pt x="318" y="2206"/>
                    </a:lnTo>
                    <a:lnTo>
                      <a:pt x="314" y="2208"/>
                    </a:lnTo>
                    <a:lnTo>
                      <a:pt x="310" y="2206"/>
                    </a:lnTo>
                    <a:lnTo>
                      <a:pt x="302" y="2192"/>
                    </a:lnTo>
                    <a:lnTo>
                      <a:pt x="298" y="2186"/>
                    </a:lnTo>
                    <a:lnTo>
                      <a:pt x="296" y="2186"/>
                    </a:lnTo>
                    <a:lnTo>
                      <a:pt x="292" y="2188"/>
                    </a:lnTo>
                    <a:lnTo>
                      <a:pt x="286" y="2190"/>
                    </a:lnTo>
                    <a:lnTo>
                      <a:pt x="282" y="2190"/>
                    </a:lnTo>
                    <a:lnTo>
                      <a:pt x="280" y="2190"/>
                    </a:lnTo>
                    <a:lnTo>
                      <a:pt x="278" y="2194"/>
                    </a:lnTo>
                    <a:lnTo>
                      <a:pt x="278" y="2198"/>
                    </a:lnTo>
                    <a:lnTo>
                      <a:pt x="276" y="2200"/>
                    </a:lnTo>
                    <a:lnTo>
                      <a:pt x="270" y="2200"/>
                    </a:lnTo>
                    <a:lnTo>
                      <a:pt x="264" y="2198"/>
                    </a:lnTo>
                    <a:lnTo>
                      <a:pt x="260" y="2196"/>
                    </a:lnTo>
                    <a:lnTo>
                      <a:pt x="258" y="2198"/>
                    </a:lnTo>
                    <a:lnTo>
                      <a:pt x="250" y="2200"/>
                    </a:lnTo>
                    <a:lnTo>
                      <a:pt x="240" y="2202"/>
                    </a:lnTo>
                    <a:lnTo>
                      <a:pt x="234" y="2206"/>
                    </a:lnTo>
                    <a:lnTo>
                      <a:pt x="230" y="2212"/>
                    </a:lnTo>
                    <a:lnTo>
                      <a:pt x="230" y="2216"/>
                    </a:lnTo>
                    <a:lnTo>
                      <a:pt x="232" y="2218"/>
                    </a:lnTo>
                    <a:lnTo>
                      <a:pt x="236" y="2218"/>
                    </a:lnTo>
                    <a:lnTo>
                      <a:pt x="240" y="2218"/>
                    </a:lnTo>
                    <a:lnTo>
                      <a:pt x="244" y="2218"/>
                    </a:lnTo>
                    <a:lnTo>
                      <a:pt x="246" y="2220"/>
                    </a:lnTo>
                    <a:lnTo>
                      <a:pt x="242" y="2220"/>
                    </a:lnTo>
                    <a:lnTo>
                      <a:pt x="238" y="2222"/>
                    </a:lnTo>
                    <a:lnTo>
                      <a:pt x="238" y="2224"/>
                    </a:lnTo>
                    <a:lnTo>
                      <a:pt x="236" y="2226"/>
                    </a:lnTo>
                    <a:lnTo>
                      <a:pt x="238" y="2228"/>
                    </a:lnTo>
                    <a:lnTo>
                      <a:pt x="242" y="2228"/>
                    </a:lnTo>
                    <a:lnTo>
                      <a:pt x="246" y="2228"/>
                    </a:lnTo>
                    <a:lnTo>
                      <a:pt x="250" y="2230"/>
                    </a:lnTo>
                    <a:lnTo>
                      <a:pt x="246" y="2232"/>
                    </a:lnTo>
                    <a:lnTo>
                      <a:pt x="240" y="2234"/>
                    </a:lnTo>
                    <a:lnTo>
                      <a:pt x="234" y="2234"/>
                    </a:lnTo>
                    <a:lnTo>
                      <a:pt x="234" y="2236"/>
                    </a:lnTo>
                    <a:lnTo>
                      <a:pt x="236" y="2238"/>
                    </a:lnTo>
                    <a:lnTo>
                      <a:pt x="242" y="2244"/>
                    </a:lnTo>
                    <a:lnTo>
                      <a:pt x="244" y="2248"/>
                    </a:lnTo>
                    <a:lnTo>
                      <a:pt x="248" y="2250"/>
                    </a:lnTo>
                    <a:lnTo>
                      <a:pt x="252" y="2250"/>
                    </a:lnTo>
                    <a:lnTo>
                      <a:pt x="258" y="2248"/>
                    </a:lnTo>
                    <a:lnTo>
                      <a:pt x="264" y="2248"/>
                    </a:lnTo>
                    <a:lnTo>
                      <a:pt x="280" y="2254"/>
                    </a:lnTo>
                    <a:lnTo>
                      <a:pt x="286" y="2258"/>
                    </a:lnTo>
                    <a:lnTo>
                      <a:pt x="292" y="2260"/>
                    </a:lnTo>
                    <a:lnTo>
                      <a:pt x="296" y="2262"/>
                    </a:lnTo>
                    <a:lnTo>
                      <a:pt x="302" y="2262"/>
                    </a:lnTo>
                    <a:lnTo>
                      <a:pt x="306" y="2262"/>
                    </a:lnTo>
                    <a:lnTo>
                      <a:pt x="306" y="2266"/>
                    </a:lnTo>
                    <a:lnTo>
                      <a:pt x="306" y="2268"/>
                    </a:lnTo>
                    <a:lnTo>
                      <a:pt x="314" y="2268"/>
                    </a:lnTo>
                    <a:lnTo>
                      <a:pt x="318" y="2268"/>
                    </a:lnTo>
                    <a:lnTo>
                      <a:pt x="322" y="2268"/>
                    </a:lnTo>
                    <a:lnTo>
                      <a:pt x="324" y="2270"/>
                    </a:lnTo>
                    <a:lnTo>
                      <a:pt x="322" y="2272"/>
                    </a:lnTo>
                    <a:lnTo>
                      <a:pt x="320" y="2276"/>
                    </a:lnTo>
                    <a:lnTo>
                      <a:pt x="320" y="2280"/>
                    </a:lnTo>
                    <a:lnTo>
                      <a:pt x="322" y="2282"/>
                    </a:lnTo>
                    <a:lnTo>
                      <a:pt x="330" y="2282"/>
                    </a:lnTo>
                    <a:lnTo>
                      <a:pt x="334" y="2282"/>
                    </a:lnTo>
                    <a:lnTo>
                      <a:pt x="334" y="2286"/>
                    </a:lnTo>
                    <a:lnTo>
                      <a:pt x="332" y="2290"/>
                    </a:lnTo>
                    <a:lnTo>
                      <a:pt x="334" y="2290"/>
                    </a:lnTo>
                    <a:lnTo>
                      <a:pt x="336" y="2292"/>
                    </a:lnTo>
                    <a:lnTo>
                      <a:pt x="340" y="2292"/>
                    </a:lnTo>
                    <a:lnTo>
                      <a:pt x="342" y="2294"/>
                    </a:lnTo>
                    <a:lnTo>
                      <a:pt x="342" y="2298"/>
                    </a:lnTo>
                    <a:lnTo>
                      <a:pt x="338" y="2300"/>
                    </a:lnTo>
                    <a:lnTo>
                      <a:pt x="336" y="2302"/>
                    </a:lnTo>
                    <a:lnTo>
                      <a:pt x="336" y="2306"/>
                    </a:lnTo>
                    <a:lnTo>
                      <a:pt x="340" y="2314"/>
                    </a:lnTo>
                    <a:lnTo>
                      <a:pt x="348" y="2324"/>
                    </a:lnTo>
                    <a:lnTo>
                      <a:pt x="358" y="2332"/>
                    </a:lnTo>
                    <a:lnTo>
                      <a:pt x="368" y="2336"/>
                    </a:lnTo>
                    <a:lnTo>
                      <a:pt x="374" y="2338"/>
                    </a:lnTo>
                    <a:lnTo>
                      <a:pt x="376" y="2338"/>
                    </a:lnTo>
                    <a:lnTo>
                      <a:pt x="374" y="2342"/>
                    </a:lnTo>
                    <a:lnTo>
                      <a:pt x="374" y="2346"/>
                    </a:lnTo>
                    <a:lnTo>
                      <a:pt x="376" y="2348"/>
                    </a:lnTo>
                    <a:lnTo>
                      <a:pt x="378" y="2352"/>
                    </a:lnTo>
                    <a:lnTo>
                      <a:pt x="378" y="2360"/>
                    </a:lnTo>
                    <a:lnTo>
                      <a:pt x="376" y="2364"/>
                    </a:lnTo>
                    <a:lnTo>
                      <a:pt x="374" y="2366"/>
                    </a:lnTo>
                    <a:lnTo>
                      <a:pt x="370" y="2368"/>
                    </a:lnTo>
                    <a:lnTo>
                      <a:pt x="370" y="2370"/>
                    </a:lnTo>
                    <a:lnTo>
                      <a:pt x="378" y="2376"/>
                    </a:lnTo>
                    <a:lnTo>
                      <a:pt x="388" y="2382"/>
                    </a:lnTo>
                    <a:lnTo>
                      <a:pt x="392" y="2388"/>
                    </a:lnTo>
                    <a:lnTo>
                      <a:pt x="394" y="2396"/>
                    </a:lnTo>
                    <a:lnTo>
                      <a:pt x="394" y="2402"/>
                    </a:lnTo>
                    <a:lnTo>
                      <a:pt x="394" y="2404"/>
                    </a:lnTo>
                    <a:lnTo>
                      <a:pt x="392" y="2398"/>
                    </a:lnTo>
                    <a:lnTo>
                      <a:pt x="388" y="2388"/>
                    </a:lnTo>
                    <a:lnTo>
                      <a:pt x="384" y="2384"/>
                    </a:lnTo>
                    <a:lnTo>
                      <a:pt x="380" y="2382"/>
                    </a:lnTo>
                    <a:lnTo>
                      <a:pt x="378" y="2390"/>
                    </a:lnTo>
                    <a:lnTo>
                      <a:pt x="372" y="2410"/>
                    </a:lnTo>
                    <a:lnTo>
                      <a:pt x="370" y="2426"/>
                    </a:lnTo>
                    <a:lnTo>
                      <a:pt x="372" y="2428"/>
                    </a:lnTo>
                    <a:lnTo>
                      <a:pt x="374" y="2426"/>
                    </a:lnTo>
                    <a:lnTo>
                      <a:pt x="376" y="2426"/>
                    </a:lnTo>
                    <a:lnTo>
                      <a:pt x="378" y="2426"/>
                    </a:lnTo>
                    <a:lnTo>
                      <a:pt x="378" y="2430"/>
                    </a:lnTo>
                    <a:lnTo>
                      <a:pt x="376" y="2432"/>
                    </a:lnTo>
                    <a:lnTo>
                      <a:pt x="374" y="2432"/>
                    </a:lnTo>
                    <a:lnTo>
                      <a:pt x="372" y="2436"/>
                    </a:lnTo>
                    <a:lnTo>
                      <a:pt x="370" y="2460"/>
                    </a:lnTo>
                    <a:lnTo>
                      <a:pt x="366" y="2480"/>
                    </a:lnTo>
                    <a:lnTo>
                      <a:pt x="362" y="2492"/>
                    </a:lnTo>
                    <a:lnTo>
                      <a:pt x="358" y="2500"/>
                    </a:lnTo>
                    <a:lnTo>
                      <a:pt x="352" y="2502"/>
                    </a:lnTo>
                    <a:lnTo>
                      <a:pt x="342" y="2506"/>
                    </a:lnTo>
                    <a:lnTo>
                      <a:pt x="334" y="2506"/>
                    </a:lnTo>
                    <a:lnTo>
                      <a:pt x="326" y="2504"/>
                    </a:lnTo>
                    <a:lnTo>
                      <a:pt x="314" y="2500"/>
                    </a:lnTo>
                    <a:lnTo>
                      <a:pt x="308" y="2500"/>
                    </a:lnTo>
                    <a:lnTo>
                      <a:pt x="300" y="2502"/>
                    </a:lnTo>
                    <a:lnTo>
                      <a:pt x="286" y="2498"/>
                    </a:lnTo>
                    <a:lnTo>
                      <a:pt x="278" y="2496"/>
                    </a:lnTo>
                    <a:lnTo>
                      <a:pt x="270" y="2496"/>
                    </a:lnTo>
                    <a:lnTo>
                      <a:pt x="252" y="2498"/>
                    </a:lnTo>
                    <a:lnTo>
                      <a:pt x="232" y="2498"/>
                    </a:lnTo>
                    <a:lnTo>
                      <a:pt x="220" y="2498"/>
                    </a:lnTo>
                    <a:lnTo>
                      <a:pt x="206" y="2494"/>
                    </a:lnTo>
                    <a:lnTo>
                      <a:pt x="192" y="2490"/>
                    </a:lnTo>
                    <a:lnTo>
                      <a:pt x="182" y="2490"/>
                    </a:lnTo>
                    <a:lnTo>
                      <a:pt x="172" y="2492"/>
                    </a:lnTo>
                    <a:lnTo>
                      <a:pt x="154" y="2492"/>
                    </a:lnTo>
                    <a:lnTo>
                      <a:pt x="142" y="2492"/>
                    </a:lnTo>
                    <a:lnTo>
                      <a:pt x="134" y="2490"/>
                    </a:lnTo>
                    <a:lnTo>
                      <a:pt x="120" y="2486"/>
                    </a:lnTo>
                    <a:lnTo>
                      <a:pt x="110" y="2482"/>
                    </a:lnTo>
                    <a:lnTo>
                      <a:pt x="104" y="2484"/>
                    </a:lnTo>
                    <a:lnTo>
                      <a:pt x="98" y="2486"/>
                    </a:lnTo>
                    <a:lnTo>
                      <a:pt x="92" y="2490"/>
                    </a:lnTo>
                    <a:lnTo>
                      <a:pt x="88" y="2492"/>
                    </a:lnTo>
                    <a:lnTo>
                      <a:pt x="86" y="2500"/>
                    </a:lnTo>
                    <a:lnTo>
                      <a:pt x="86" y="2504"/>
                    </a:lnTo>
                    <a:lnTo>
                      <a:pt x="82" y="2506"/>
                    </a:lnTo>
                    <a:lnTo>
                      <a:pt x="78" y="2506"/>
                    </a:lnTo>
                    <a:lnTo>
                      <a:pt x="72" y="2506"/>
                    </a:lnTo>
                    <a:lnTo>
                      <a:pt x="66" y="2508"/>
                    </a:lnTo>
                    <a:lnTo>
                      <a:pt x="54" y="2516"/>
                    </a:lnTo>
                    <a:lnTo>
                      <a:pt x="50" y="2520"/>
                    </a:lnTo>
                    <a:lnTo>
                      <a:pt x="48" y="2524"/>
                    </a:lnTo>
                    <a:lnTo>
                      <a:pt x="48" y="2528"/>
                    </a:lnTo>
                    <a:lnTo>
                      <a:pt x="50" y="2530"/>
                    </a:lnTo>
                    <a:lnTo>
                      <a:pt x="54" y="2534"/>
                    </a:lnTo>
                    <a:lnTo>
                      <a:pt x="56" y="2540"/>
                    </a:lnTo>
                    <a:lnTo>
                      <a:pt x="58" y="2546"/>
                    </a:lnTo>
                    <a:lnTo>
                      <a:pt x="60" y="2552"/>
                    </a:lnTo>
                    <a:lnTo>
                      <a:pt x="64" y="2560"/>
                    </a:lnTo>
                    <a:lnTo>
                      <a:pt x="64" y="2570"/>
                    </a:lnTo>
                    <a:lnTo>
                      <a:pt x="64" y="2578"/>
                    </a:lnTo>
                    <a:lnTo>
                      <a:pt x="66" y="2588"/>
                    </a:lnTo>
                    <a:lnTo>
                      <a:pt x="64" y="2594"/>
                    </a:lnTo>
                    <a:lnTo>
                      <a:pt x="66" y="2596"/>
                    </a:lnTo>
                    <a:lnTo>
                      <a:pt x="68" y="2600"/>
                    </a:lnTo>
                    <a:lnTo>
                      <a:pt x="66" y="2602"/>
                    </a:lnTo>
                    <a:lnTo>
                      <a:pt x="66" y="2606"/>
                    </a:lnTo>
                    <a:lnTo>
                      <a:pt x="66" y="2612"/>
                    </a:lnTo>
                    <a:lnTo>
                      <a:pt x="74" y="2628"/>
                    </a:lnTo>
                    <a:lnTo>
                      <a:pt x="74" y="2632"/>
                    </a:lnTo>
                    <a:lnTo>
                      <a:pt x="74" y="2640"/>
                    </a:lnTo>
                    <a:lnTo>
                      <a:pt x="70" y="2654"/>
                    </a:lnTo>
                    <a:lnTo>
                      <a:pt x="66" y="2670"/>
                    </a:lnTo>
                    <a:lnTo>
                      <a:pt x="64" y="2680"/>
                    </a:lnTo>
                    <a:lnTo>
                      <a:pt x="66" y="2684"/>
                    </a:lnTo>
                    <a:lnTo>
                      <a:pt x="64" y="2688"/>
                    </a:lnTo>
                    <a:lnTo>
                      <a:pt x="60" y="2694"/>
                    </a:lnTo>
                    <a:lnTo>
                      <a:pt x="56" y="2708"/>
                    </a:lnTo>
                    <a:lnTo>
                      <a:pt x="54" y="2716"/>
                    </a:lnTo>
                    <a:lnTo>
                      <a:pt x="50" y="2720"/>
                    </a:lnTo>
                    <a:lnTo>
                      <a:pt x="46" y="2724"/>
                    </a:lnTo>
                    <a:lnTo>
                      <a:pt x="44" y="2726"/>
                    </a:lnTo>
                    <a:lnTo>
                      <a:pt x="44" y="2730"/>
                    </a:lnTo>
                    <a:lnTo>
                      <a:pt x="44" y="2734"/>
                    </a:lnTo>
                    <a:lnTo>
                      <a:pt x="44" y="2740"/>
                    </a:lnTo>
                    <a:lnTo>
                      <a:pt x="40" y="2750"/>
                    </a:lnTo>
                    <a:lnTo>
                      <a:pt x="38" y="2756"/>
                    </a:lnTo>
                    <a:lnTo>
                      <a:pt x="38" y="2760"/>
                    </a:lnTo>
                    <a:lnTo>
                      <a:pt x="40" y="2762"/>
                    </a:lnTo>
                    <a:lnTo>
                      <a:pt x="44" y="2764"/>
                    </a:lnTo>
                    <a:lnTo>
                      <a:pt x="52" y="2764"/>
                    </a:lnTo>
                    <a:lnTo>
                      <a:pt x="50" y="2766"/>
                    </a:lnTo>
                    <a:lnTo>
                      <a:pt x="50" y="2770"/>
                    </a:lnTo>
                    <a:lnTo>
                      <a:pt x="50" y="2772"/>
                    </a:lnTo>
                    <a:lnTo>
                      <a:pt x="50" y="2776"/>
                    </a:lnTo>
                    <a:lnTo>
                      <a:pt x="50" y="2778"/>
                    </a:lnTo>
                    <a:lnTo>
                      <a:pt x="52" y="2778"/>
                    </a:lnTo>
                    <a:lnTo>
                      <a:pt x="58" y="2776"/>
                    </a:lnTo>
                    <a:lnTo>
                      <a:pt x="64" y="2778"/>
                    </a:lnTo>
                    <a:lnTo>
                      <a:pt x="66" y="2780"/>
                    </a:lnTo>
                    <a:lnTo>
                      <a:pt x="66" y="2782"/>
                    </a:lnTo>
                    <a:lnTo>
                      <a:pt x="68" y="2788"/>
                    </a:lnTo>
                    <a:lnTo>
                      <a:pt x="66" y="2794"/>
                    </a:lnTo>
                    <a:lnTo>
                      <a:pt x="64" y="2804"/>
                    </a:lnTo>
                    <a:lnTo>
                      <a:pt x="66" y="2810"/>
                    </a:lnTo>
                    <a:lnTo>
                      <a:pt x="66" y="2820"/>
                    </a:lnTo>
                    <a:lnTo>
                      <a:pt x="62" y="2842"/>
                    </a:lnTo>
                    <a:lnTo>
                      <a:pt x="60" y="2856"/>
                    </a:lnTo>
                    <a:lnTo>
                      <a:pt x="62" y="2856"/>
                    </a:lnTo>
                    <a:lnTo>
                      <a:pt x="64" y="2856"/>
                    </a:lnTo>
                    <a:lnTo>
                      <a:pt x="68" y="2852"/>
                    </a:lnTo>
                    <a:lnTo>
                      <a:pt x="72" y="2850"/>
                    </a:lnTo>
                    <a:lnTo>
                      <a:pt x="80" y="2850"/>
                    </a:lnTo>
                    <a:lnTo>
                      <a:pt x="92" y="2854"/>
                    </a:lnTo>
                    <a:lnTo>
                      <a:pt x="104" y="2858"/>
                    </a:lnTo>
                    <a:lnTo>
                      <a:pt x="110" y="2856"/>
                    </a:lnTo>
                    <a:lnTo>
                      <a:pt x="114" y="2852"/>
                    </a:lnTo>
                    <a:lnTo>
                      <a:pt x="124" y="2846"/>
                    </a:lnTo>
                    <a:lnTo>
                      <a:pt x="130" y="2844"/>
                    </a:lnTo>
                    <a:lnTo>
                      <a:pt x="136" y="2844"/>
                    </a:lnTo>
                    <a:lnTo>
                      <a:pt x="142" y="2846"/>
                    </a:lnTo>
                    <a:lnTo>
                      <a:pt x="148" y="2850"/>
                    </a:lnTo>
                    <a:lnTo>
                      <a:pt x="158" y="2858"/>
                    </a:lnTo>
                    <a:lnTo>
                      <a:pt x="160" y="2862"/>
                    </a:lnTo>
                    <a:lnTo>
                      <a:pt x="162" y="2866"/>
                    </a:lnTo>
                    <a:lnTo>
                      <a:pt x="162" y="2874"/>
                    </a:lnTo>
                    <a:lnTo>
                      <a:pt x="166" y="2882"/>
                    </a:lnTo>
                    <a:lnTo>
                      <a:pt x="174" y="2892"/>
                    </a:lnTo>
                    <a:lnTo>
                      <a:pt x="182" y="2902"/>
                    </a:lnTo>
                    <a:lnTo>
                      <a:pt x="190" y="2908"/>
                    </a:lnTo>
                    <a:lnTo>
                      <a:pt x="196" y="2910"/>
                    </a:lnTo>
                    <a:lnTo>
                      <a:pt x="198" y="2910"/>
                    </a:lnTo>
                    <a:lnTo>
                      <a:pt x="202" y="2906"/>
                    </a:lnTo>
                    <a:lnTo>
                      <a:pt x="206" y="2902"/>
                    </a:lnTo>
                    <a:lnTo>
                      <a:pt x="208" y="2898"/>
                    </a:lnTo>
                    <a:lnTo>
                      <a:pt x="212" y="2892"/>
                    </a:lnTo>
                    <a:lnTo>
                      <a:pt x="214" y="2888"/>
                    </a:lnTo>
                    <a:lnTo>
                      <a:pt x="218" y="2886"/>
                    </a:lnTo>
                    <a:lnTo>
                      <a:pt x="228" y="2884"/>
                    </a:lnTo>
                    <a:lnTo>
                      <a:pt x="236" y="2884"/>
                    </a:lnTo>
                    <a:lnTo>
                      <a:pt x="238" y="2882"/>
                    </a:lnTo>
                    <a:lnTo>
                      <a:pt x="240" y="2880"/>
                    </a:lnTo>
                    <a:lnTo>
                      <a:pt x="246" y="2874"/>
                    </a:lnTo>
                    <a:lnTo>
                      <a:pt x="254" y="2868"/>
                    </a:lnTo>
                    <a:lnTo>
                      <a:pt x="264" y="2868"/>
                    </a:lnTo>
                    <a:lnTo>
                      <a:pt x="270" y="2868"/>
                    </a:lnTo>
                    <a:lnTo>
                      <a:pt x="276" y="2870"/>
                    </a:lnTo>
                    <a:lnTo>
                      <a:pt x="284" y="2872"/>
                    </a:lnTo>
                    <a:lnTo>
                      <a:pt x="292" y="2874"/>
                    </a:lnTo>
                    <a:lnTo>
                      <a:pt x="310" y="2870"/>
                    </a:lnTo>
                    <a:lnTo>
                      <a:pt x="322" y="2868"/>
                    </a:lnTo>
                    <a:lnTo>
                      <a:pt x="328" y="2866"/>
                    </a:lnTo>
                    <a:lnTo>
                      <a:pt x="332" y="2868"/>
                    </a:lnTo>
                    <a:lnTo>
                      <a:pt x="336" y="2870"/>
                    </a:lnTo>
                    <a:lnTo>
                      <a:pt x="340" y="2866"/>
                    </a:lnTo>
                    <a:lnTo>
                      <a:pt x="346" y="2852"/>
                    </a:lnTo>
                    <a:lnTo>
                      <a:pt x="350" y="2844"/>
                    </a:lnTo>
                    <a:lnTo>
                      <a:pt x="356" y="2836"/>
                    </a:lnTo>
                    <a:lnTo>
                      <a:pt x="364" y="2830"/>
                    </a:lnTo>
                    <a:lnTo>
                      <a:pt x="374" y="2828"/>
                    </a:lnTo>
                    <a:lnTo>
                      <a:pt x="390" y="2826"/>
                    </a:lnTo>
                    <a:lnTo>
                      <a:pt x="392" y="2824"/>
                    </a:lnTo>
                    <a:lnTo>
                      <a:pt x="390" y="2818"/>
                    </a:lnTo>
                    <a:lnTo>
                      <a:pt x="392" y="2808"/>
                    </a:lnTo>
                    <a:lnTo>
                      <a:pt x="396" y="2798"/>
                    </a:lnTo>
                    <a:lnTo>
                      <a:pt x="402" y="2788"/>
                    </a:lnTo>
                    <a:lnTo>
                      <a:pt x="410" y="2780"/>
                    </a:lnTo>
                    <a:lnTo>
                      <a:pt x="424" y="2768"/>
                    </a:lnTo>
                    <a:lnTo>
                      <a:pt x="428" y="2764"/>
                    </a:lnTo>
                    <a:lnTo>
                      <a:pt x="430" y="2760"/>
                    </a:lnTo>
                    <a:lnTo>
                      <a:pt x="428" y="2756"/>
                    </a:lnTo>
                    <a:lnTo>
                      <a:pt x="422" y="2752"/>
                    </a:lnTo>
                    <a:lnTo>
                      <a:pt x="416" y="2746"/>
                    </a:lnTo>
                    <a:lnTo>
                      <a:pt x="412" y="2740"/>
                    </a:lnTo>
                    <a:lnTo>
                      <a:pt x="410" y="2734"/>
                    </a:lnTo>
                    <a:lnTo>
                      <a:pt x="410" y="2724"/>
                    </a:lnTo>
                    <a:lnTo>
                      <a:pt x="412" y="2714"/>
                    </a:lnTo>
                    <a:lnTo>
                      <a:pt x="418" y="2702"/>
                    </a:lnTo>
                    <a:lnTo>
                      <a:pt x="424" y="2690"/>
                    </a:lnTo>
                    <a:lnTo>
                      <a:pt x="438" y="2670"/>
                    </a:lnTo>
                    <a:lnTo>
                      <a:pt x="446" y="2664"/>
                    </a:lnTo>
                    <a:lnTo>
                      <a:pt x="450" y="2660"/>
                    </a:lnTo>
                    <a:lnTo>
                      <a:pt x="460" y="2656"/>
                    </a:lnTo>
                    <a:lnTo>
                      <a:pt x="460" y="2654"/>
                    </a:lnTo>
                    <a:lnTo>
                      <a:pt x="460" y="2652"/>
                    </a:lnTo>
                    <a:lnTo>
                      <a:pt x="454" y="2648"/>
                    </a:lnTo>
                    <a:lnTo>
                      <a:pt x="454" y="2646"/>
                    </a:lnTo>
                    <a:lnTo>
                      <a:pt x="454" y="2642"/>
                    </a:lnTo>
                    <a:lnTo>
                      <a:pt x="458" y="2638"/>
                    </a:lnTo>
                    <a:lnTo>
                      <a:pt x="466" y="2634"/>
                    </a:lnTo>
                    <a:lnTo>
                      <a:pt x="484" y="2628"/>
                    </a:lnTo>
                    <a:lnTo>
                      <a:pt x="502" y="2624"/>
                    </a:lnTo>
                    <a:lnTo>
                      <a:pt x="508" y="2620"/>
                    </a:lnTo>
                    <a:lnTo>
                      <a:pt x="510" y="2616"/>
                    </a:lnTo>
                    <a:lnTo>
                      <a:pt x="514" y="2612"/>
                    </a:lnTo>
                    <a:lnTo>
                      <a:pt x="520" y="2608"/>
                    </a:lnTo>
                    <a:lnTo>
                      <a:pt x="536" y="2600"/>
                    </a:lnTo>
                    <a:lnTo>
                      <a:pt x="544" y="2596"/>
                    </a:lnTo>
                    <a:lnTo>
                      <a:pt x="550" y="2590"/>
                    </a:lnTo>
                    <a:lnTo>
                      <a:pt x="552" y="2584"/>
                    </a:lnTo>
                    <a:lnTo>
                      <a:pt x="552" y="2580"/>
                    </a:lnTo>
                    <a:lnTo>
                      <a:pt x="550" y="2576"/>
                    </a:lnTo>
                    <a:lnTo>
                      <a:pt x="550" y="2572"/>
                    </a:lnTo>
                    <a:lnTo>
                      <a:pt x="550" y="2570"/>
                    </a:lnTo>
                    <a:lnTo>
                      <a:pt x="554" y="2566"/>
                    </a:lnTo>
                    <a:lnTo>
                      <a:pt x="556" y="2566"/>
                    </a:lnTo>
                    <a:lnTo>
                      <a:pt x="556" y="2562"/>
                    </a:lnTo>
                    <a:lnTo>
                      <a:pt x="554" y="2560"/>
                    </a:lnTo>
                    <a:lnTo>
                      <a:pt x="548" y="2554"/>
                    </a:lnTo>
                    <a:lnTo>
                      <a:pt x="548" y="2542"/>
                    </a:lnTo>
                    <a:lnTo>
                      <a:pt x="548" y="2536"/>
                    </a:lnTo>
                    <a:lnTo>
                      <a:pt x="548" y="2532"/>
                    </a:lnTo>
                    <a:lnTo>
                      <a:pt x="548" y="2524"/>
                    </a:lnTo>
                    <a:lnTo>
                      <a:pt x="548" y="2518"/>
                    </a:lnTo>
                    <a:lnTo>
                      <a:pt x="550" y="2514"/>
                    </a:lnTo>
                    <a:lnTo>
                      <a:pt x="556" y="2510"/>
                    </a:lnTo>
                    <a:lnTo>
                      <a:pt x="564" y="2508"/>
                    </a:lnTo>
                    <a:lnTo>
                      <a:pt x="572" y="2502"/>
                    </a:lnTo>
                    <a:lnTo>
                      <a:pt x="584" y="2494"/>
                    </a:lnTo>
                    <a:lnTo>
                      <a:pt x="586" y="2494"/>
                    </a:lnTo>
                    <a:lnTo>
                      <a:pt x="588" y="2494"/>
                    </a:lnTo>
                    <a:lnTo>
                      <a:pt x="590" y="2498"/>
                    </a:lnTo>
                    <a:lnTo>
                      <a:pt x="592" y="2500"/>
                    </a:lnTo>
                    <a:lnTo>
                      <a:pt x="598" y="2502"/>
                    </a:lnTo>
                    <a:lnTo>
                      <a:pt x="604" y="2502"/>
                    </a:lnTo>
                    <a:lnTo>
                      <a:pt x="608" y="2504"/>
                    </a:lnTo>
                    <a:lnTo>
                      <a:pt x="610" y="2506"/>
                    </a:lnTo>
                    <a:lnTo>
                      <a:pt x="616" y="2506"/>
                    </a:lnTo>
                    <a:lnTo>
                      <a:pt x="626" y="2504"/>
                    </a:lnTo>
                    <a:lnTo>
                      <a:pt x="630" y="2504"/>
                    </a:lnTo>
                    <a:lnTo>
                      <a:pt x="634" y="2506"/>
                    </a:lnTo>
                    <a:lnTo>
                      <a:pt x="640" y="2512"/>
                    </a:lnTo>
                    <a:lnTo>
                      <a:pt x="644" y="2516"/>
                    </a:lnTo>
                    <a:lnTo>
                      <a:pt x="646" y="2516"/>
                    </a:lnTo>
                    <a:lnTo>
                      <a:pt x="650" y="2514"/>
                    </a:lnTo>
                    <a:lnTo>
                      <a:pt x="654" y="2516"/>
                    </a:lnTo>
                    <a:lnTo>
                      <a:pt x="656" y="2518"/>
                    </a:lnTo>
                    <a:lnTo>
                      <a:pt x="660" y="2520"/>
                    </a:lnTo>
                    <a:lnTo>
                      <a:pt x="664" y="2520"/>
                    </a:lnTo>
                    <a:lnTo>
                      <a:pt x="678" y="2518"/>
                    </a:lnTo>
                    <a:lnTo>
                      <a:pt x="690" y="2512"/>
                    </a:lnTo>
                    <a:lnTo>
                      <a:pt x="692" y="2508"/>
                    </a:lnTo>
                    <a:lnTo>
                      <a:pt x="694" y="2506"/>
                    </a:lnTo>
                    <a:lnTo>
                      <a:pt x="694" y="2502"/>
                    </a:lnTo>
                    <a:lnTo>
                      <a:pt x="696" y="2500"/>
                    </a:lnTo>
                    <a:lnTo>
                      <a:pt x="704" y="2494"/>
                    </a:lnTo>
                    <a:lnTo>
                      <a:pt x="726" y="2482"/>
                    </a:lnTo>
                    <a:lnTo>
                      <a:pt x="738" y="2476"/>
                    </a:lnTo>
                    <a:lnTo>
                      <a:pt x="748" y="2472"/>
                    </a:lnTo>
                    <a:lnTo>
                      <a:pt x="754" y="2466"/>
                    </a:lnTo>
                    <a:lnTo>
                      <a:pt x="758" y="2462"/>
                    </a:lnTo>
                    <a:lnTo>
                      <a:pt x="762" y="2452"/>
                    </a:lnTo>
                    <a:lnTo>
                      <a:pt x="766" y="2448"/>
                    </a:lnTo>
                    <a:lnTo>
                      <a:pt x="774" y="2444"/>
                    </a:lnTo>
                    <a:lnTo>
                      <a:pt x="780" y="2444"/>
                    </a:lnTo>
                    <a:lnTo>
                      <a:pt x="786" y="2444"/>
                    </a:lnTo>
                    <a:lnTo>
                      <a:pt x="792" y="2448"/>
                    </a:lnTo>
                    <a:lnTo>
                      <a:pt x="798" y="2454"/>
                    </a:lnTo>
                    <a:lnTo>
                      <a:pt x="808" y="2462"/>
                    </a:lnTo>
                    <a:lnTo>
                      <a:pt x="814" y="2466"/>
                    </a:lnTo>
                    <a:lnTo>
                      <a:pt x="820" y="2466"/>
                    </a:lnTo>
                    <a:lnTo>
                      <a:pt x="826" y="2466"/>
                    </a:lnTo>
                    <a:lnTo>
                      <a:pt x="830" y="2468"/>
                    </a:lnTo>
                    <a:lnTo>
                      <a:pt x="832" y="2474"/>
                    </a:lnTo>
                    <a:lnTo>
                      <a:pt x="834" y="2480"/>
                    </a:lnTo>
                    <a:lnTo>
                      <a:pt x="836" y="2494"/>
                    </a:lnTo>
                    <a:lnTo>
                      <a:pt x="838" y="2500"/>
                    </a:lnTo>
                    <a:lnTo>
                      <a:pt x="842" y="2504"/>
                    </a:lnTo>
                    <a:lnTo>
                      <a:pt x="844" y="2508"/>
                    </a:lnTo>
                    <a:lnTo>
                      <a:pt x="846" y="2512"/>
                    </a:lnTo>
                    <a:lnTo>
                      <a:pt x="846" y="2518"/>
                    </a:lnTo>
                    <a:lnTo>
                      <a:pt x="846" y="2522"/>
                    </a:lnTo>
                    <a:lnTo>
                      <a:pt x="846" y="2526"/>
                    </a:lnTo>
                    <a:lnTo>
                      <a:pt x="848" y="2530"/>
                    </a:lnTo>
                    <a:lnTo>
                      <a:pt x="854" y="2536"/>
                    </a:lnTo>
                    <a:lnTo>
                      <a:pt x="870" y="2546"/>
                    </a:lnTo>
                    <a:lnTo>
                      <a:pt x="872" y="2550"/>
                    </a:lnTo>
                    <a:lnTo>
                      <a:pt x="872" y="2556"/>
                    </a:lnTo>
                    <a:lnTo>
                      <a:pt x="872" y="2560"/>
                    </a:lnTo>
                    <a:lnTo>
                      <a:pt x="874" y="2562"/>
                    </a:lnTo>
                    <a:lnTo>
                      <a:pt x="882" y="2564"/>
                    </a:lnTo>
                    <a:lnTo>
                      <a:pt x="890" y="2566"/>
                    </a:lnTo>
                    <a:lnTo>
                      <a:pt x="894" y="2570"/>
                    </a:lnTo>
                    <a:lnTo>
                      <a:pt x="898" y="2576"/>
                    </a:lnTo>
                    <a:lnTo>
                      <a:pt x="902" y="2584"/>
                    </a:lnTo>
                    <a:lnTo>
                      <a:pt x="906" y="2586"/>
                    </a:lnTo>
                    <a:lnTo>
                      <a:pt x="910" y="2588"/>
                    </a:lnTo>
                    <a:lnTo>
                      <a:pt x="920" y="2598"/>
                    </a:lnTo>
                    <a:lnTo>
                      <a:pt x="932" y="2612"/>
                    </a:lnTo>
                    <a:lnTo>
                      <a:pt x="944" y="2620"/>
                    </a:lnTo>
                    <a:lnTo>
                      <a:pt x="956" y="2624"/>
                    </a:lnTo>
                    <a:lnTo>
                      <a:pt x="970" y="2624"/>
                    </a:lnTo>
                    <a:lnTo>
                      <a:pt x="974" y="2626"/>
                    </a:lnTo>
                    <a:lnTo>
                      <a:pt x="978" y="2628"/>
                    </a:lnTo>
                    <a:lnTo>
                      <a:pt x="982" y="2638"/>
                    </a:lnTo>
                    <a:lnTo>
                      <a:pt x="988" y="2646"/>
                    </a:lnTo>
                    <a:lnTo>
                      <a:pt x="990" y="2650"/>
                    </a:lnTo>
                    <a:lnTo>
                      <a:pt x="996" y="2650"/>
                    </a:lnTo>
                    <a:lnTo>
                      <a:pt x="1002" y="2650"/>
                    </a:lnTo>
                    <a:lnTo>
                      <a:pt x="1004" y="2650"/>
                    </a:lnTo>
                    <a:lnTo>
                      <a:pt x="1004" y="2656"/>
                    </a:lnTo>
                    <a:lnTo>
                      <a:pt x="1002" y="2658"/>
                    </a:lnTo>
                    <a:lnTo>
                      <a:pt x="1004" y="2658"/>
                    </a:lnTo>
                    <a:lnTo>
                      <a:pt x="1006" y="2660"/>
                    </a:lnTo>
                    <a:lnTo>
                      <a:pt x="1012" y="2658"/>
                    </a:lnTo>
                    <a:lnTo>
                      <a:pt x="1018" y="2658"/>
                    </a:lnTo>
                    <a:lnTo>
                      <a:pt x="1020" y="2660"/>
                    </a:lnTo>
                    <a:lnTo>
                      <a:pt x="1022" y="2662"/>
                    </a:lnTo>
                    <a:lnTo>
                      <a:pt x="1022" y="2666"/>
                    </a:lnTo>
                    <a:lnTo>
                      <a:pt x="1022" y="2674"/>
                    </a:lnTo>
                    <a:lnTo>
                      <a:pt x="1024" y="2680"/>
                    </a:lnTo>
                    <a:lnTo>
                      <a:pt x="1030" y="2684"/>
                    </a:lnTo>
                    <a:lnTo>
                      <a:pt x="1040" y="2690"/>
                    </a:lnTo>
                    <a:lnTo>
                      <a:pt x="1050" y="2694"/>
                    </a:lnTo>
                    <a:lnTo>
                      <a:pt x="1054" y="2698"/>
                    </a:lnTo>
                    <a:lnTo>
                      <a:pt x="1058" y="2702"/>
                    </a:lnTo>
                    <a:lnTo>
                      <a:pt x="1062" y="2710"/>
                    </a:lnTo>
                    <a:lnTo>
                      <a:pt x="1066" y="2720"/>
                    </a:lnTo>
                    <a:lnTo>
                      <a:pt x="1070" y="2740"/>
                    </a:lnTo>
                    <a:lnTo>
                      <a:pt x="1072" y="2752"/>
                    </a:lnTo>
                    <a:lnTo>
                      <a:pt x="1072" y="2758"/>
                    </a:lnTo>
                    <a:lnTo>
                      <a:pt x="1066" y="2762"/>
                    </a:lnTo>
                    <a:lnTo>
                      <a:pt x="1064" y="2768"/>
                    </a:lnTo>
                    <a:lnTo>
                      <a:pt x="1064" y="2772"/>
                    </a:lnTo>
                    <a:lnTo>
                      <a:pt x="1062" y="2776"/>
                    </a:lnTo>
                    <a:lnTo>
                      <a:pt x="1060" y="2784"/>
                    </a:lnTo>
                    <a:lnTo>
                      <a:pt x="1054" y="2790"/>
                    </a:lnTo>
                    <a:lnTo>
                      <a:pt x="1052" y="2796"/>
                    </a:lnTo>
                    <a:lnTo>
                      <a:pt x="1054" y="2802"/>
                    </a:lnTo>
                    <a:lnTo>
                      <a:pt x="1058" y="2806"/>
                    </a:lnTo>
                    <a:lnTo>
                      <a:pt x="1064" y="2808"/>
                    </a:lnTo>
                    <a:lnTo>
                      <a:pt x="1068" y="2808"/>
                    </a:lnTo>
                    <a:lnTo>
                      <a:pt x="1070" y="2806"/>
                    </a:lnTo>
                    <a:lnTo>
                      <a:pt x="1072" y="2804"/>
                    </a:lnTo>
                    <a:lnTo>
                      <a:pt x="1076" y="2794"/>
                    </a:lnTo>
                    <a:lnTo>
                      <a:pt x="1084" y="2784"/>
                    </a:lnTo>
                    <a:lnTo>
                      <a:pt x="1088" y="2780"/>
                    </a:lnTo>
                    <a:lnTo>
                      <a:pt x="1090" y="2776"/>
                    </a:lnTo>
                    <a:lnTo>
                      <a:pt x="1092" y="2768"/>
                    </a:lnTo>
                    <a:lnTo>
                      <a:pt x="1096" y="2760"/>
                    </a:lnTo>
                    <a:lnTo>
                      <a:pt x="1098" y="2756"/>
                    </a:lnTo>
                    <a:lnTo>
                      <a:pt x="1104" y="2752"/>
                    </a:lnTo>
                    <a:lnTo>
                      <a:pt x="1110" y="2748"/>
                    </a:lnTo>
                    <a:lnTo>
                      <a:pt x="1114" y="2742"/>
                    </a:lnTo>
                    <a:lnTo>
                      <a:pt x="1116" y="2738"/>
                    </a:lnTo>
                    <a:lnTo>
                      <a:pt x="1114" y="2732"/>
                    </a:lnTo>
                    <a:lnTo>
                      <a:pt x="1112" y="2726"/>
                    </a:lnTo>
                    <a:lnTo>
                      <a:pt x="1108" y="2722"/>
                    </a:lnTo>
                    <a:lnTo>
                      <a:pt x="1104" y="2718"/>
                    </a:lnTo>
                    <a:lnTo>
                      <a:pt x="1098" y="2716"/>
                    </a:lnTo>
                    <a:lnTo>
                      <a:pt x="1090" y="2712"/>
                    </a:lnTo>
                    <a:lnTo>
                      <a:pt x="1086" y="2708"/>
                    </a:lnTo>
                    <a:lnTo>
                      <a:pt x="1086" y="2704"/>
                    </a:lnTo>
                    <a:lnTo>
                      <a:pt x="1090" y="2698"/>
                    </a:lnTo>
                    <a:lnTo>
                      <a:pt x="1092" y="2692"/>
                    </a:lnTo>
                    <a:lnTo>
                      <a:pt x="1094" y="2684"/>
                    </a:lnTo>
                    <a:lnTo>
                      <a:pt x="1096" y="2676"/>
                    </a:lnTo>
                    <a:lnTo>
                      <a:pt x="1100" y="2672"/>
                    </a:lnTo>
                    <a:lnTo>
                      <a:pt x="1104" y="2670"/>
                    </a:lnTo>
                    <a:lnTo>
                      <a:pt x="1112" y="2666"/>
                    </a:lnTo>
                    <a:lnTo>
                      <a:pt x="1116" y="2668"/>
                    </a:lnTo>
                    <a:lnTo>
                      <a:pt x="1124" y="2670"/>
                    </a:lnTo>
                    <a:lnTo>
                      <a:pt x="1134" y="2672"/>
                    </a:lnTo>
                    <a:lnTo>
                      <a:pt x="1140" y="2674"/>
                    </a:lnTo>
                    <a:lnTo>
                      <a:pt x="1144" y="2678"/>
                    </a:lnTo>
                    <a:lnTo>
                      <a:pt x="1148" y="2688"/>
                    </a:lnTo>
                    <a:lnTo>
                      <a:pt x="1150" y="2696"/>
                    </a:lnTo>
                    <a:lnTo>
                      <a:pt x="1154" y="2700"/>
                    </a:lnTo>
                    <a:lnTo>
                      <a:pt x="1158" y="2702"/>
                    </a:lnTo>
                    <a:lnTo>
                      <a:pt x="1166" y="2702"/>
                    </a:lnTo>
                    <a:lnTo>
                      <a:pt x="1166" y="2700"/>
                    </a:lnTo>
                    <a:lnTo>
                      <a:pt x="1166" y="2696"/>
                    </a:lnTo>
                    <a:lnTo>
                      <a:pt x="1168" y="2688"/>
                    </a:lnTo>
                    <a:lnTo>
                      <a:pt x="1168" y="2684"/>
                    </a:lnTo>
                    <a:lnTo>
                      <a:pt x="1168" y="2678"/>
                    </a:lnTo>
                    <a:lnTo>
                      <a:pt x="1166" y="2674"/>
                    </a:lnTo>
                    <a:lnTo>
                      <a:pt x="1162" y="2670"/>
                    </a:lnTo>
                    <a:lnTo>
                      <a:pt x="1152" y="2662"/>
                    </a:lnTo>
                    <a:lnTo>
                      <a:pt x="1142" y="2654"/>
                    </a:lnTo>
                    <a:lnTo>
                      <a:pt x="1126" y="2646"/>
                    </a:lnTo>
                    <a:lnTo>
                      <a:pt x="1120" y="2642"/>
                    </a:lnTo>
                    <a:lnTo>
                      <a:pt x="1114" y="2636"/>
                    </a:lnTo>
                    <a:lnTo>
                      <a:pt x="1110" y="2632"/>
                    </a:lnTo>
                    <a:lnTo>
                      <a:pt x="1102" y="2628"/>
                    </a:lnTo>
                    <a:lnTo>
                      <a:pt x="1082" y="2620"/>
                    </a:lnTo>
                    <a:lnTo>
                      <a:pt x="1074" y="2616"/>
                    </a:lnTo>
                    <a:lnTo>
                      <a:pt x="1068" y="2610"/>
                    </a:lnTo>
                    <a:lnTo>
                      <a:pt x="1066" y="2606"/>
                    </a:lnTo>
                    <a:lnTo>
                      <a:pt x="1066" y="2602"/>
                    </a:lnTo>
                    <a:lnTo>
                      <a:pt x="1070" y="2600"/>
                    </a:lnTo>
                    <a:lnTo>
                      <a:pt x="1074" y="2594"/>
                    </a:lnTo>
                    <a:lnTo>
                      <a:pt x="1076" y="2592"/>
                    </a:lnTo>
                    <a:lnTo>
                      <a:pt x="1074" y="2590"/>
                    </a:lnTo>
                    <a:lnTo>
                      <a:pt x="1068" y="2588"/>
                    </a:lnTo>
                    <a:lnTo>
                      <a:pt x="1060" y="2586"/>
                    </a:lnTo>
                    <a:lnTo>
                      <a:pt x="1036" y="2584"/>
                    </a:lnTo>
                    <a:lnTo>
                      <a:pt x="1026" y="2580"/>
                    </a:lnTo>
                    <a:lnTo>
                      <a:pt x="1016" y="2576"/>
                    </a:lnTo>
                    <a:lnTo>
                      <a:pt x="1002" y="2560"/>
                    </a:lnTo>
                    <a:lnTo>
                      <a:pt x="990" y="2544"/>
                    </a:lnTo>
                    <a:lnTo>
                      <a:pt x="984" y="2530"/>
                    </a:lnTo>
                    <a:lnTo>
                      <a:pt x="978" y="2518"/>
                    </a:lnTo>
                    <a:lnTo>
                      <a:pt x="974" y="2498"/>
                    </a:lnTo>
                    <a:lnTo>
                      <a:pt x="970" y="2492"/>
                    </a:lnTo>
                    <a:lnTo>
                      <a:pt x="966" y="2490"/>
                    </a:lnTo>
                    <a:lnTo>
                      <a:pt x="958" y="2488"/>
                    </a:lnTo>
                    <a:lnTo>
                      <a:pt x="950" y="2484"/>
                    </a:lnTo>
                    <a:lnTo>
                      <a:pt x="944" y="2476"/>
                    </a:lnTo>
                    <a:lnTo>
                      <a:pt x="934" y="2468"/>
                    </a:lnTo>
                    <a:lnTo>
                      <a:pt x="928" y="2462"/>
                    </a:lnTo>
                    <a:lnTo>
                      <a:pt x="922" y="2456"/>
                    </a:lnTo>
                    <a:lnTo>
                      <a:pt x="920" y="2448"/>
                    </a:lnTo>
                    <a:lnTo>
                      <a:pt x="918" y="2442"/>
                    </a:lnTo>
                    <a:lnTo>
                      <a:pt x="916" y="2434"/>
                    </a:lnTo>
                    <a:lnTo>
                      <a:pt x="918" y="2428"/>
                    </a:lnTo>
                    <a:lnTo>
                      <a:pt x="920" y="2424"/>
                    </a:lnTo>
                    <a:lnTo>
                      <a:pt x="922" y="2422"/>
                    </a:lnTo>
                    <a:lnTo>
                      <a:pt x="926" y="2420"/>
                    </a:lnTo>
                    <a:lnTo>
                      <a:pt x="928" y="2418"/>
                    </a:lnTo>
                    <a:lnTo>
                      <a:pt x="926" y="2414"/>
                    </a:lnTo>
                    <a:lnTo>
                      <a:pt x="918" y="2400"/>
                    </a:lnTo>
                    <a:lnTo>
                      <a:pt x="914" y="2394"/>
                    </a:lnTo>
                    <a:lnTo>
                      <a:pt x="916" y="2388"/>
                    </a:lnTo>
                    <a:lnTo>
                      <a:pt x="920" y="2384"/>
                    </a:lnTo>
                    <a:lnTo>
                      <a:pt x="924" y="2386"/>
                    </a:lnTo>
                    <a:lnTo>
                      <a:pt x="926" y="2388"/>
                    </a:lnTo>
                    <a:lnTo>
                      <a:pt x="930" y="2388"/>
                    </a:lnTo>
                    <a:lnTo>
                      <a:pt x="934" y="2384"/>
                    </a:lnTo>
                    <a:lnTo>
                      <a:pt x="940" y="2378"/>
                    </a:lnTo>
                    <a:lnTo>
                      <a:pt x="950" y="2372"/>
                    </a:lnTo>
                    <a:lnTo>
                      <a:pt x="956" y="2370"/>
                    </a:lnTo>
                    <a:lnTo>
                      <a:pt x="958" y="2372"/>
                    </a:lnTo>
                    <a:lnTo>
                      <a:pt x="960" y="2374"/>
                    </a:lnTo>
                    <a:lnTo>
                      <a:pt x="966" y="2374"/>
                    </a:lnTo>
                    <a:lnTo>
                      <a:pt x="972" y="2372"/>
                    </a:lnTo>
                    <a:lnTo>
                      <a:pt x="974" y="2374"/>
                    </a:lnTo>
                    <a:lnTo>
                      <a:pt x="974" y="2378"/>
                    </a:lnTo>
                    <a:lnTo>
                      <a:pt x="974" y="2380"/>
                    </a:lnTo>
                    <a:lnTo>
                      <a:pt x="972" y="2382"/>
                    </a:lnTo>
                    <a:lnTo>
                      <a:pt x="970" y="2382"/>
                    </a:lnTo>
                    <a:lnTo>
                      <a:pt x="968" y="2384"/>
                    </a:lnTo>
                    <a:lnTo>
                      <a:pt x="968" y="2386"/>
                    </a:lnTo>
                    <a:lnTo>
                      <a:pt x="970" y="2398"/>
                    </a:lnTo>
                    <a:lnTo>
                      <a:pt x="976" y="2414"/>
                    </a:lnTo>
                    <a:lnTo>
                      <a:pt x="982" y="2426"/>
                    </a:lnTo>
                    <a:lnTo>
                      <a:pt x="986" y="2428"/>
                    </a:lnTo>
                    <a:lnTo>
                      <a:pt x="988" y="2424"/>
                    </a:lnTo>
                    <a:lnTo>
                      <a:pt x="994" y="2402"/>
                    </a:lnTo>
                    <a:lnTo>
                      <a:pt x="996" y="2398"/>
                    </a:lnTo>
                    <a:lnTo>
                      <a:pt x="1000" y="2394"/>
                    </a:lnTo>
                    <a:lnTo>
                      <a:pt x="1004" y="2394"/>
                    </a:lnTo>
                    <a:lnTo>
                      <a:pt x="1008" y="2398"/>
                    </a:lnTo>
                    <a:lnTo>
                      <a:pt x="1016" y="2404"/>
                    </a:lnTo>
                    <a:lnTo>
                      <a:pt x="1020" y="2410"/>
                    </a:lnTo>
                    <a:lnTo>
                      <a:pt x="1022" y="2414"/>
                    </a:lnTo>
                    <a:lnTo>
                      <a:pt x="1022" y="2420"/>
                    </a:lnTo>
                    <a:lnTo>
                      <a:pt x="1024" y="2428"/>
                    </a:lnTo>
                    <a:lnTo>
                      <a:pt x="1026" y="2434"/>
                    </a:lnTo>
                    <a:lnTo>
                      <a:pt x="1030" y="2440"/>
                    </a:lnTo>
                    <a:lnTo>
                      <a:pt x="1034" y="2446"/>
                    </a:lnTo>
                    <a:lnTo>
                      <a:pt x="1036" y="2450"/>
                    </a:lnTo>
                    <a:lnTo>
                      <a:pt x="1036" y="2452"/>
                    </a:lnTo>
                    <a:lnTo>
                      <a:pt x="1034" y="2454"/>
                    </a:lnTo>
                    <a:lnTo>
                      <a:pt x="1034" y="2456"/>
                    </a:lnTo>
                    <a:lnTo>
                      <a:pt x="1034" y="2460"/>
                    </a:lnTo>
                    <a:lnTo>
                      <a:pt x="1038" y="2464"/>
                    </a:lnTo>
                    <a:lnTo>
                      <a:pt x="1046" y="2472"/>
                    </a:lnTo>
                    <a:lnTo>
                      <a:pt x="1056" y="2480"/>
                    </a:lnTo>
                    <a:lnTo>
                      <a:pt x="1062" y="2486"/>
                    </a:lnTo>
                    <a:lnTo>
                      <a:pt x="1066" y="2494"/>
                    </a:lnTo>
                    <a:lnTo>
                      <a:pt x="1066" y="2496"/>
                    </a:lnTo>
                    <a:lnTo>
                      <a:pt x="1068" y="2496"/>
                    </a:lnTo>
                    <a:lnTo>
                      <a:pt x="1076" y="2496"/>
                    </a:lnTo>
                    <a:lnTo>
                      <a:pt x="1084" y="2496"/>
                    </a:lnTo>
                    <a:lnTo>
                      <a:pt x="1090" y="2498"/>
                    </a:lnTo>
                    <a:lnTo>
                      <a:pt x="1102" y="2504"/>
                    </a:lnTo>
                    <a:lnTo>
                      <a:pt x="1114" y="2516"/>
                    </a:lnTo>
                    <a:lnTo>
                      <a:pt x="1128" y="2528"/>
                    </a:lnTo>
                    <a:lnTo>
                      <a:pt x="1114" y="2524"/>
                    </a:lnTo>
                    <a:lnTo>
                      <a:pt x="1110" y="2524"/>
                    </a:lnTo>
                    <a:lnTo>
                      <a:pt x="1110" y="2526"/>
                    </a:lnTo>
                    <a:lnTo>
                      <a:pt x="1116" y="2530"/>
                    </a:lnTo>
                    <a:lnTo>
                      <a:pt x="1134" y="2536"/>
                    </a:lnTo>
                    <a:lnTo>
                      <a:pt x="1144" y="2540"/>
                    </a:lnTo>
                    <a:lnTo>
                      <a:pt x="1152" y="2544"/>
                    </a:lnTo>
                    <a:lnTo>
                      <a:pt x="1160" y="2552"/>
                    </a:lnTo>
                    <a:lnTo>
                      <a:pt x="1162" y="2558"/>
                    </a:lnTo>
                    <a:lnTo>
                      <a:pt x="1164" y="2560"/>
                    </a:lnTo>
                    <a:lnTo>
                      <a:pt x="1166" y="2560"/>
                    </a:lnTo>
                    <a:lnTo>
                      <a:pt x="1174" y="2560"/>
                    </a:lnTo>
                    <a:lnTo>
                      <a:pt x="1176" y="2562"/>
                    </a:lnTo>
                    <a:lnTo>
                      <a:pt x="1184" y="2566"/>
                    </a:lnTo>
                    <a:lnTo>
                      <a:pt x="1188" y="2568"/>
                    </a:lnTo>
                    <a:lnTo>
                      <a:pt x="1190" y="2574"/>
                    </a:lnTo>
                    <a:lnTo>
                      <a:pt x="1190" y="2582"/>
                    </a:lnTo>
                    <a:lnTo>
                      <a:pt x="1192" y="2584"/>
                    </a:lnTo>
                    <a:lnTo>
                      <a:pt x="1196" y="2586"/>
                    </a:lnTo>
                    <a:lnTo>
                      <a:pt x="1204" y="2588"/>
                    </a:lnTo>
                    <a:lnTo>
                      <a:pt x="1208" y="2590"/>
                    </a:lnTo>
                    <a:lnTo>
                      <a:pt x="1208" y="2596"/>
                    </a:lnTo>
                    <a:lnTo>
                      <a:pt x="1208" y="2610"/>
                    </a:lnTo>
                    <a:lnTo>
                      <a:pt x="1206" y="2626"/>
                    </a:lnTo>
                    <a:lnTo>
                      <a:pt x="1206" y="2632"/>
                    </a:lnTo>
                    <a:lnTo>
                      <a:pt x="1206" y="2636"/>
                    </a:lnTo>
                    <a:lnTo>
                      <a:pt x="1206" y="2638"/>
                    </a:lnTo>
                    <a:lnTo>
                      <a:pt x="1206" y="2640"/>
                    </a:lnTo>
                    <a:lnTo>
                      <a:pt x="1204" y="2646"/>
                    </a:lnTo>
                    <a:lnTo>
                      <a:pt x="1200" y="2652"/>
                    </a:lnTo>
                    <a:lnTo>
                      <a:pt x="1200" y="2656"/>
                    </a:lnTo>
                    <a:lnTo>
                      <a:pt x="1202" y="2662"/>
                    </a:lnTo>
                    <a:lnTo>
                      <a:pt x="1202" y="2666"/>
                    </a:lnTo>
                    <a:lnTo>
                      <a:pt x="1202" y="2670"/>
                    </a:lnTo>
                    <a:lnTo>
                      <a:pt x="1202" y="2672"/>
                    </a:lnTo>
                    <a:lnTo>
                      <a:pt x="1200" y="2674"/>
                    </a:lnTo>
                    <a:lnTo>
                      <a:pt x="1202" y="2674"/>
                    </a:lnTo>
                    <a:lnTo>
                      <a:pt x="1208" y="2680"/>
                    </a:lnTo>
                    <a:lnTo>
                      <a:pt x="1216" y="2686"/>
                    </a:lnTo>
                    <a:lnTo>
                      <a:pt x="1222" y="2690"/>
                    </a:lnTo>
                    <a:lnTo>
                      <a:pt x="1224" y="2696"/>
                    </a:lnTo>
                    <a:lnTo>
                      <a:pt x="1224" y="2700"/>
                    </a:lnTo>
                    <a:lnTo>
                      <a:pt x="1226" y="2706"/>
                    </a:lnTo>
                    <a:lnTo>
                      <a:pt x="1228" y="2708"/>
                    </a:lnTo>
                    <a:lnTo>
                      <a:pt x="1230" y="2710"/>
                    </a:lnTo>
                    <a:lnTo>
                      <a:pt x="1240" y="2726"/>
                    </a:lnTo>
                    <a:lnTo>
                      <a:pt x="1246" y="2736"/>
                    </a:lnTo>
                    <a:lnTo>
                      <a:pt x="1250" y="2740"/>
                    </a:lnTo>
                    <a:lnTo>
                      <a:pt x="1254" y="2744"/>
                    </a:lnTo>
                    <a:lnTo>
                      <a:pt x="1258" y="2748"/>
                    </a:lnTo>
                    <a:lnTo>
                      <a:pt x="1260" y="2748"/>
                    </a:lnTo>
                    <a:lnTo>
                      <a:pt x="1260" y="2746"/>
                    </a:lnTo>
                    <a:lnTo>
                      <a:pt x="1262" y="2746"/>
                    </a:lnTo>
                    <a:lnTo>
                      <a:pt x="1266" y="2746"/>
                    </a:lnTo>
                    <a:lnTo>
                      <a:pt x="1272" y="2750"/>
                    </a:lnTo>
                    <a:lnTo>
                      <a:pt x="1274" y="2752"/>
                    </a:lnTo>
                    <a:lnTo>
                      <a:pt x="1266" y="2754"/>
                    </a:lnTo>
                    <a:lnTo>
                      <a:pt x="1258" y="2754"/>
                    </a:lnTo>
                    <a:lnTo>
                      <a:pt x="1258" y="2758"/>
                    </a:lnTo>
                    <a:lnTo>
                      <a:pt x="1260" y="2762"/>
                    </a:lnTo>
                    <a:lnTo>
                      <a:pt x="1268" y="2772"/>
                    </a:lnTo>
                    <a:lnTo>
                      <a:pt x="1272" y="2780"/>
                    </a:lnTo>
                    <a:lnTo>
                      <a:pt x="1274" y="2786"/>
                    </a:lnTo>
                    <a:lnTo>
                      <a:pt x="1276" y="2786"/>
                    </a:lnTo>
                    <a:lnTo>
                      <a:pt x="1280" y="2784"/>
                    </a:lnTo>
                    <a:lnTo>
                      <a:pt x="1284" y="2780"/>
                    </a:lnTo>
                    <a:lnTo>
                      <a:pt x="1286" y="2782"/>
                    </a:lnTo>
                    <a:lnTo>
                      <a:pt x="1290" y="2782"/>
                    </a:lnTo>
                    <a:lnTo>
                      <a:pt x="1300" y="2782"/>
                    </a:lnTo>
                    <a:lnTo>
                      <a:pt x="1312" y="2780"/>
                    </a:lnTo>
                    <a:lnTo>
                      <a:pt x="1316" y="2782"/>
                    </a:lnTo>
                    <a:lnTo>
                      <a:pt x="1318" y="2784"/>
                    </a:lnTo>
                    <a:lnTo>
                      <a:pt x="1324" y="2784"/>
                    </a:lnTo>
                    <a:lnTo>
                      <a:pt x="1330" y="2782"/>
                    </a:lnTo>
                    <a:lnTo>
                      <a:pt x="1336" y="2786"/>
                    </a:lnTo>
                    <a:lnTo>
                      <a:pt x="1342" y="2790"/>
                    </a:lnTo>
                    <a:lnTo>
                      <a:pt x="1348" y="2790"/>
                    </a:lnTo>
                    <a:lnTo>
                      <a:pt x="1354" y="2790"/>
                    </a:lnTo>
                    <a:lnTo>
                      <a:pt x="1358" y="2792"/>
                    </a:lnTo>
                    <a:lnTo>
                      <a:pt x="1358" y="2794"/>
                    </a:lnTo>
                    <a:lnTo>
                      <a:pt x="1358" y="2796"/>
                    </a:lnTo>
                    <a:lnTo>
                      <a:pt x="1350" y="2800"/>
                    </a:lnTo>
                    <a:lnTo>
                      <a:pt x="1342" y="2802"/>
                    </a:lnTo>
                    <a:lnTo>
                      <a:pt x="1336" y="2800"/>
                    </a:lnTo>
                    <a:lnTo>
                      <a:pt x="1322" y="2792"/>
                    </a:lnTo>
                    <a:lnTo>
                      <a:pt x="1312" y="2788"/>
                    </a:lnTo>
                    <a:lnTo>
                      <a:pt x="1306" y="2786"/>
                    </a:lnTo>
                    <a:lnTo>
                      <a:pt x="1302" y="2786"/>
                    </a:lnTo>
                    <a:lnTo>
                      <a:pt x="1298" y="2792"/>
                    </a:lnTo>
                    <a:lnTo>
                      <a:pt x="1296" y="2794"/>
                    </a:lnTo>
                    <a:lnTo>
                      <a:pt x="1292" y="2794"/>
                    </a:lnTo>
                    <a:lnTo>
                      <a:pt x="1288" y="2792"/>
                    </a:lnTo>
                    <a:lnTo>
                      <a:pt x="1282" y="2792"/>
                    </a:lnTo>
                    <a:lnTo>
                      <a:pt x="1282" y="2794"/>
                    </a:lnTo>
                    <a:lnTo>
                      <a:pt x="1280" y="2798"/>
                    </a:lnTo>
                    <a:lnTo>
                      <a:pt x="1280" y="2802"/>
                    </a:lnTo>
                    <a:lnTo>
                      <a:pt x="1278" y="2804"/>
                    </a:lnTo>
                    <a:lnTo>
                      <a:pt x="1274" y="2808"/>
                    </a:lnTo>
                    <a:lnTo>
                      <a:pt x="1272" y="2808"/>
                    </a:lnTo>
                    <a:lnTo>
                      <a:pt x="1276" y="2812"/>
                    </a:lnTo>
                    <a:lnTo>
                      <a:pt x="1280" y="2816"/>
                    </a:lnTo>
                    <a:lnTo>
                      <a:pt x="1280" y="2820"/>
                    </a:lnTo>
                    <a:lnTo>
                      <a:pt x="1280" y="2824"/>
                    </a:lnTo>
                    <a:lnTo>
                      <a:pt x="1286" y="2824"/>
                    </a:lnTo>
                    <a:lnTo>
                      <a:pt x="1288" y="2824"/>
                    </a:lnTo>
                    <a:lnTo>
                      <a:pt x="1292" y="2826"/>
                    </a:lnTo>
                    <a:lnTo>
                      <a:pt x="1294" y="2832"/>
                    </a:lnTo>
                    <a:lnTo>
                      <a:pt x="1294" y="2838"/>
                    </a:lnTo>
                    <a:lnTo>
                      <a:pt x="1292" y="2844"/>
                    </a:lnTo>
                    <a:lnTo>
                      <a:pt x="1292" y="2848"/>
                    </a:lnTo>
                    <a:lnTo>
                      <a:pt x="1292" y="2854"/>
                    </a:lnTo>
                    <a:lnTo>
                      <a:pt x="1298" y="2864"/>
                    </a:lnTo>
                    <a:lnTo>
                      <a:pt x="1300" y="2866"/>
                    </a:lnTo>
                    <a:lnTo>
                      <a:pt x="1304" y="2868"/>
                    </a:lnTo>
                    <a:lnTo>
                      <a:pt x="1306" y="2866"/>
                    </a:lnTo>
                    <a:lnTo>
                      <a:pt x="1308" y="2862"/>
                    </a:lnTo>
                    <a:lnTo>
                      <a:pt x="1308" y="2856"/>
                    </a:lnTo>
                    <a:lnTo>
                      <a:pt x="1310" y="2854"/>
                    </a:lnTo>
                    <a:lnTo>
                      <a:pt x="1314" y="2854"/>
                    </a:lnTo>
                    <a:lnTo>
                      <a:pt x="1316" y="2856"/>
                    </a:lnTo>
                    <a:lnTo>
                      <a:pt x="1320" y="2866"/>
                    </a:lnTo>
                    <a:lnTo>
                      <a:pt x="1322" y="2880"/>
                    </a:lnTo>
                    <a:lnTo>
                      <a:pt x="1324" y="2888"/>
                    </a:lnTo>
                    <a:lnTo>
                      <a:pt x="1326" y="2888"/>
                    </a:lnTo>
                    <a:lnTo>
                      <a:pt x="1328" y="2888"/>
                    </a:lnTo>
                    <a:lnTo>
                      <a:pt x="1330" y="2882"/>
                    </a:lnTo>
                    <a:lnTo>
                      <a:pt x="1332" y="2874"/>
                    </a:lnTo>
                    <a:lnTo>
                      <a:pt x="1334" y="2866"/>
                    </a:lnTo>
                    <a:lnTo>
                      <a:pt x="1336" y="2866"/>
                    </a:lnTo>
                    <a:lnTo>
                      <a:pt x="1338" y="2868"/>
                    </a:lnTo>
                    <a:lnTo>
                      <a:pt x="1342" y="2872"/>
                    </a:lnTo>
                    <a:lnTo>
                      <a:pt x="1348" y="2882"/>
                    </a:lnTo>
                    <a:lnTo>
                      <a:pt x="1350" y="2886"/>
                    </a:lnTo>
                    <a:lnTo>
                      <a:pt x="1354" y="2888"/>
                    </a:lnTo>
                    <a:lnTo>
                      <a:pt x="1356" y="2886"/>
                    </a:lnTo>
                    <a:lnTo>
                      <a:pt x="1356" y="2884"/>
                    </a:lnTo>
                    <a:lnTo>
                      <a:pt x="1356" y="2876"/>
                    </a:lnTo>
                    <a:lnTo>
                      <a:pt x="1348" y="2854"/>
                    </a:lnTo>
                    <a:lnTo>
                      <a:pt x="1340" y="2834"/>
                    </a:lnTo>
                    <a:lnTo>
                      <a:pt x="1338" y="2828"/>
                    </a:lnTo>
                    <a:lnTo>
                      <a:pt x="1338" y="2826"/>
                    </a:lnTo>
                    <a:lnTo>
                      <a:pt x="1340" y="2824"/>
                    </a:lnTo>
                    <a:lnTo>
                      <a:pt x="1346" y="2826"/>
                    </a:lnTo>
                    <a:lnTo>
                      <a:pt x="1350" y="2828"/>
                    </a:lnTo>
                    <a:lnTo>
                      <a:pt x="1352" y="2832"/>
                    </a:lnTo>
                    <a:lnTo>
                      <a:pt x="1354" y="2838"/>
                    </a:lnTo>
                    <a:lnTo>
                      <a:pt x="1356" y="2840"/>
                    </a:lnTo>
                    <a:lnTo>
                      <a:pt x="1358" y="2840"/>
                    </a:lnTo>
                    <a:lnTo>
                      <a:pt x="1368" y="2836"/>
                    </a:lnTo>
                    <a:lnTo>
                      <a:pt x="1370" y="2834"/>
                    </a:lnTo>
                    <a:lnTo>
                      <a:pt x="1372" y="2832"/>
                    </a:lnTo>
                    <a:lnTo>
                      <a:pt x="1370" y="2828"/>
                    </a:lnTo>
                    <a:lnTo>
                      <a:pt x="1366" y="2824"/>
                    </a:lnTo>
                    <a:lnTo>
                      <a:pt x="1360" y="2822"/>
                    </a:lnTo>
                    <a:lnTo>
                      <a:pt x="1356" y="2822"/>
                    </a:lnTo>
                    <a:lnTo>
                      <a:pt x="1356" y="2820"/>
                    </a:lnTo>
                    <a:lnTo>
                      <a:pt x="1356" y="2816"/>
                    </a:lnTo>
                    <a:lnTo>
                      <a:pt x="1354" y="2812"/>
                    </a:lnTo>
                    <a:lnTo>
                      <a:pt x="1352" y="2810"/>
                    </a:lnTo>
                    <a:lnTo>
                      <a:pt x="1354" y="2808"/>
                    </a:lnTo>
                    <a:lnTo>
                      <a:pt x="1360" y="2802"/>
                    </a:lnTo>
                    <a:lnTo>
                      <a:pt x="1368" y="2800"/>
                    </a:lnTo>
                    <a:lnTo>
                      <a:pt x="1370" y="2800"/>
                    </a:lnTo>
                    <a:lnTo>
                      <a:pt x="1374" y="2802"/>
                    </a:lnTo>
                    <a:lnTo>
                      <a:pt x="1382" y="2816"/>
                    </a:lnTo>
                    <a:lnTo>
                      <a:pt x="1388" y="2820"/>
                    </a:lnTo>
                    <a:lnTo>
                      <a:pt x="1390" y="2820"/>
                    </a:lnTo>
                    <a:lnTo>
                      <a:pt x="1392" y="2820"/>
                    </a:lnTo>
                    <a:lnTo>
                      <a:pt x="1394" y="2818"/>
                    </a:lnTo>
                    <a:lnTo>
                      <a:pt x="1394" y="2816"/>
                    </a:lnTo>
                    <a:lnTo>
                      <a:pt x="1394" y="2810"/>
                    </a:lnTo>
                    <a:lnTo>
                      <a:pt x="1392" y="2804"/>
                    </a:lnTo>
                    <a:lnTo>
                      <a:pt x="1392" y="2796"/>
                    </a:lnTo>
                    <a:lnTo>
                      <a:pt x="1392" y="2794"/>
                    </a:lnTo>
                    <a:lnTo>
                      <a:pt x="1390" y="2790"/>
                    </a:lnTo>
                    <a:lnTo>
                      <a:pt x="1386" y="2788"/>
                    </a:lnTo>
                    <a:lnTo>
                      <a:pt x="1378" y="2784"/>
                    </a:lnTo>
                    <a:lnTo>
                      <a:pt x="1376" y="2782"/>
                    </a:lnTo>
                    <a:lnTo>
                      <a:pt x="1374" y="2780"/>
                    </a:lnTo>
                    <a:lnTo>
                      <a:pt x="1370" y="2774"/>
                    </a:lnTo>
                    <a:lnTo>
                      <a:pt x="1366" y="2774"/>
                    </a:lnTo>
                    <a:lnTo>
                      <a:pt x="1364" y="2772"/>
                    </a:lnTo>
                    <a:lnTo>
                      <a:pt x="1360" y="2768"/>
                    </a:lnTo>
                    <a:lnTo>
                      <a:pt x="1358" y="2764"/>
                    </a:lnTo>
                    <a:lnTo>
                      <a:pt x="1352" y="2762"/>
                    </a:lnTo>
                    <a:lnTo>
                      <a:pt x="1340" y="2758"/>
                    </a:lnTo>
                    <a:lnTo>
                      <a:pt x="1332" y="2754"/>
                    </a:lnTo>
                    <a:lnTo>
                      <a:pt x="1332" y="2752"/>
                    </a:lnTo>
                    <a:lnTo>
                      <a:pt x="1338" y="2752"/>
                    </a:lnTo>
                    <a:lnTo>
                      <a:pt x="1346" y="2750"/>
                    </a:lnTo>
                    <a:lnTo>
                      <a:pt x="1348" y="2746"/>
                    </a:lnTo>
                    <a:lnTo>
                      <a:pt x="1348" y="2744"/>
                    </a:lnTo>
                    <a:lnTo>
                      <a:pt x="1346" y="2740"/>
                    </a:lnTo>
                    <a:lnTo>
                      <a:pt x="1344" y="2732"/>
                    </a:lnTo>
                    <a:lnTo>
                      <a:pt x="1344" y="2730"/>
                    </a:lnTo>
                    <a:lnTo>
                      <a:pt x="1348" y="2730"/>
                    </a:lnTo>
                    <a:lnTo>
                      <a:pt x="1352" y="2730"/>
                    </a:lnTo>
                    <a:lnTo>
                      <a:pt x="1354" y="2732"/>
                    </a:lnTo>
                    <a:lnTo>
                      <a:pt x="1354" y="2738"/>
                    </a:lnTo>
                    <a:lnTo>
                      <a:pt x="1354" y="2742"/>
                    </a:lnTo>
                    <a:lnTo>
                      <a:pt x="1356" y="2742"/>
                    </a:lnTo>
                    <a:lnTo>
                      <a:pt x="1358" y="2742"/>
                    </a:lnTo>
                    <a:lnTo>
                      <a:pt x="1360" y="2738"/>
                    </a:lnTo>
                    <a:lnTo>
                      <a:pt x="1360" y="2736"/>
                    </a:lnTo>
                    <a:lnTo>
                      <a:pt x="1360" y="2728"/>
                    </a:lnTo>
                    <a:lnTo>
                      <a:pt x="1354" y="2720"/>
                    </a:lnTo>
                    <a:lnTo>
                      <a:pt x="1348" y="2710"/>
                    </a:lnTo>
                    <a:lnTo>
                      <a:pt x="1340" y="2702"/>
                    </a:lnTo>
                    <a:lnTo>
                      <a:pt x="1334" y="2692"/>
                    </a:lnTo>
                    <a:lnTo>
                      <a:pt x="1330" y="2682"/>
                    </a:lnTo>
                    <a:lnTo>
                      <a:pt x="1330" y="2678"/>
                    </a:lnTo>
                    <a:lnTo>
                      <a:pt x="1332" y="2674"/>
                    </a:lnTo>
                    <a:lnTo>
                      <a:pt x="1336" y="2666"/>
                    </a:lnTo>
                    <a:lnTo>
                      <a:pt x="1340" y="2660"/>
                    </a:lnTo>
                    <a:lnTo>
                      <a:pt x="1344" y="2660"/>
                    </a:lnTo>
                    <a:lnTo>
                      <a:pt x="1346" y="2660"/>
                    </a:lnTo>
                    <a:lnTo>
                      <a:pt x="1346" y="2662"/>
                    </a:lnTo>
                    <a:lnTo>
                      <a:pt x="1346" y="2668"/>
                    </a:lnTo>
                    <a:lnTo>
                      <a:pt x="1346" y="2670"/>
                    </a:lnTo>
                    <a:lnTo>
                      <a:pt x="1346" y="2672"/>
                    </a:lnTo>
                    <a:lnTo>
                      <a:pt x="1352" y="2674"/>
                    </a:lnTo>
                    <a:lnTo>
                      <a:pt x="1358" y="2676"/>
                    </a:lnTo>
                    <a:lnTo>
                      <a:pt x="1360" y="2680"/>
                    </a:lnTo>
                    <a:lnTo>
                      <a:pt x="1362" y="2686"/>
                    </a:lnTo>
                    <a:lnTo>
                      <a:pt x="1362" y="2690"/>
                    </a:lnTo>
                    <a:lnTo>
                      <a:pt x="1366" y="2694"/>
                    </a:lnTo>
                    <a:lnTo>
                      <a:pt x="1372" y="2696"/>
                    </a:lnTo>
                    <a:lnTo>
                      <a:pt x="1374" y="2696"/>
                    </a:lnTo>
                    <a:lnTo>
                      <a:pt x="1376" y="2696"/>
                    </a:lnTo>
                    <a:lnTo>
                      <a:pt x="1376" y="2694"/>
                    </a:lnTo>
                    <a:lnTo>
                      <a:pt x="1374" y="2690"/>
                    </a:lnTo>
                    <a:lnTo>
                      <a:pt x="1368" y="2684"/>
                    </a:lnTo>
                    <a:lnTo>
                      <a:pt x="1368" y="2678"/>
                    </a:lnTo>
                    <a:lnTo>
                      <a:pt x="1370" y="2678"/>
                    </a:lnTo>
                    <a:lnTo>
                      <a:pt x="1378" y="2684"/>
                    </a:lnTo>
                    <a:lnTo>
                      <a:pt x="1386" y="2692"/>
                    </a:lnTo>
                    <a:lnTo>
                      <a:pt x="1390" y="2694"/>
                    </a:lnTo>
                    <a:lnTo>
                      <a:pt x="1392" y="2694"/>
                    </a:lnTo>
                    <a:lnTo>
                      <a:pt x="1390" y="2692"/>
                    </a:lnTo>
                    <a:lnTo>
                      <a:pt x="1386" y="2684"/>
                    </a:lnTo>
                    <a:lnTo>
                      <a:pt x="1380" y="2676"/>
                    </a:lnTo>
                    <a:lnTo>
                      <a:pt x="1380" y="2674"/>
                    </a:lnTo>
                    <a:lnTo>
                      <a:pt x="1382" y="2674"/>
                    </a:lnTo>
                    <a:lnTo>
                      <a:pt x="1394" y="2680"/>
                    </a:lnTo>
                    <a:lnTo>
                      <a:pt x="1402" y="2684"/>
                    </a:lnTo>
                    <a:lnTo>
                      <a:pt x="1406" y="2684"/>
                    </a:lnTo>
                    <a:lnTo>
                      <a:pt x="1404" y="2682"/>
                    </a:lnTo>
                    <a:lnTo>
                      <a:pt x="1400" y="2676"/>
                    </a:lnTo>
                    <a:lnTo>
                      <a:pt x="1392" y="2670"/>
                    </a:lnTo>
                    <a:lnTo>
                      <a:pt x="1386" y="2668"/>
                    </a:lnTo>
                    <a:lnTo>
                      <a:pt x="1384" y="2668"/>
                    </a:lnTo>
                    <a:lnTo>
                      <a:pt x="1384" y="2664"/>
                    </a:lnTo>
                    <a:lnTo>
                      <a:pt x="1384" y="2662"/>
                    </a:lnTo>
                    <a:lnTo>
                      <a:pt x="1384" y="2660"/>
                    </a:lnTo>
                    <a:lnTo>
                      <a:pt x="1380" y="2656"/>
                    </a:lnTo>
                    <a:lnTo>
                      <a:pt x="1380" y="2654"/>
                    </a:lnTo>
                    <a:lnTo>
                      <a:pt x="1388" y="2652"/>
                    </a:lnTo>
                    <a:lnTo>
                      <a:pt x="1392" y="2652"/>
                    </a:lnTo>
                    <a:lnTo>
                      <a:pt x="1398" y="2650"/>
                    </a:lnTo>
                    <a:lnTo>
                      <a:pt x="1404" y="2644"/>
                    </a:lnTo>
                    <a:lnTo>
                      <a:pt x="1408" y="2642"/>
                    </a:lnTo>
                    <a:lnTo>
                      <a:pt x="1412" y="2640"/>
                    </a:lnTo>
                    <a:lnTo>
                      <a:pt x="1418" y="2642"/>
                    </a:lnTo>
                    <a:lnTo>
                      <a:pt x="1422" y="2644"/>
                    </a:lnTo>
                    <a:lnTo>
                      <a:pt x="1426" y="2644"/>
                    </a:lnTo>
                    <a:lnTo>
                      <a:pt x="1430" y="2640"/>
                    </a:lnTo>
                    <a:lnTo>
                      <a:pt x="1436" y="2638"/>
                    </a:lnTo>
                    <a:lnTo>
                      <a:pt x="1438" y="2638"/>
                    </a:lnTo>
                    <a:lnTo>
                      <a:pt x="1444" y="2640"/>
                    </a:lnTo>
                    <a:lnTo>
                      <a:pt x="1450" y="2644"/>
                    </a:lnTo>
                    <a:lnTo>
                      <a:pt x="1454" y="2644"/>
                    </a:lnTo>
                    <a:lnTo>
                      <a:pt x="1464" y="2644"/>
                    </a:lnTo>
                    <a:lnTo>
                      <a:pt x="1470" y="2644"/>
                    </a:lnTo>
                    <a:lnTo>
                      <a:pt x="1472" y="2646"/>
                    </a:lnTo>
                    <a:lnTo>
                      <a:pt x="1472" y="2650"/>
                    </a:lnTo>
                    <a:lnTo>
                      <a:pt x="1474" y="2656"/>
                    </a:lnTo>
                    <a:lnTo>
                      <a:pt x="1480" y="2660"/>
                    </a:lnTo>
                    <a:lnTo>
                      <a:pt x="1486" y="2660"/>
                    </a:lnTo>
                    <a:lnTo>
                      <a:pt x="1492" y="2658"/>
                    </a:lnTo>
                    <a:lnTo>
                      <a:pt x="1504" y="2656"/>
                    </a:lnTo>
                    <a:lnTo>
                      <a:pt x="1504" y="2658"/>
                    </a:lnTo>
                    <a:lnTo>
                      <a:pt x="1502" y="2660"/>
                    </a:lnTo>
                    <a:lnTo>
                      <a:pt x="1484" y="2668"/>
                    </a:lnTo>
                    <a:lnTo>
                      <a:pt x="1480" y="2672"/>
                    </a:lnTo>
                    <a:lnTo>
                      <a:pt x="1478" y="2680"/>
                    </a:lnTo>
                    <a:lnTo>
                      <a:pt x="1480" y="2684"/>
                    </a:lnTo>
                    <a:lnTo>
                      <a:pt x="1482" y="2682"/>
                    </a:lnTo>
                    <a:lnTo>
                      <a:pt x="1494" y="2670"/>
                    </a:lnTo>
                    <a:lnTo>
                      <a:pt x="1506" y="2662"/>
                    </a:lnTo>
                    <a:lnTo>
                      <a:pt x="1514" y="2658"/>
                    </a:lnTo>
                    <a:lnTo>
                      <a:pt x="1522" y="2654"/>
                    </a:lnTo>
                    <a:lnTo>
                      <a:pt x="1528" y="2646"/>
                    </a:lnTo>
                    <a:lnTo>
                      <a:pt x="1532" y="2638"/>
                    </a:lnTo>
                    <a:lnTo>
                      <a:pt x="1536" y="2636"/>
                    </a:lnTo>
                    <a:lnTo>
                      <a:pt x="1538" y="2634"/>
                    </a:lnTo>
                    <a:lnTo>
                      <a:pt x="1540" y="2636"/>
                    </a:lnTo>
                    <a:lnTo>
                      <a:pt x="1544" y="2640"/>
                    </a:lnTo>
                    <a:lnTo>
                      <a:pt x="1548" y="2640"/>
                    </a:lnTo>
                    <a:lnTo>
                      <a:pt x="1552" y="2638"/>
                    </a:lnTo>
                    <a:lnTo>
                      <a:pt x="1556" y="2634"/>
                    </a:lnTo>
                    <a:lnTo>
                      <a:pt x="1562" y="2634"/>
                    </a:lnTo>
                    <a:lnTo>
                      <a:pt x="1572" y="2638"/>
                    </a:lnTo>
                    <a:lnTo>
                      <a:pt x="1580" y="2638"/>
                    </a:lnTo>
                    <a:lnTo>
                      <a:pt x="1586" y="2638"/>
                    </a:lnTo>
                    <a:lnTo>
                      <a:pt x="1590" y="2634"/>
                    </a:lnTo>
                    <a:lnTo>
                      <a:pt x="1594" y="2626"/>
                    </a:lnTo>
                    <a:lnTo>
                      <a:pt x="1594" y="2624"/>
                    </a:lnTo>
                    <a:lnTo>
                      <a:pt x="1592" y="2624"/>
                    </a:lnTo>
                    <a:lnTo>
                      <a:pt x="1584" y="2622"/>
                    </a:lnTo>
                    <a:lnTo>
                      <a:pt x="1572" y="2616"/>
                    </a:lnTo>
                    <a:lnTo>
                      <a:pt x="1560" y="2608"/>
                    </a:lnTo>
                    <a:lnTo>
                      <a:pt x="1554" y="2600"/>
                    </a:lnTo>
                    <a:lnTo>
                      <a:pt x="1552" y="2592"/>
                    </a:lnTo>
                    <a:lnTo>
                      <a:pt x="1552" y="2582"/>
                    </a:lnTo>
                    <a:lnTo>
                      <a:pt x="1552" y="2578"/>
                    </a:lnTo>
                    <a:lnTo>
                      <a:pt x="1550" y="2576"/>
                    </a:lnTo>
                    <a:lnTo>
                      <a:pt x="1546" y="2572"/>
                    </a:lnTo>
                    <a:lnTo>
                      <a:pt x="1542" y="2570"/>
                    </a:lnTo>
                    <a:lnTo>
                      <a:pt x="1540" y="2568"/>
                    </a:lnTo>
                    <a:lnTo>
                      <a:pt x="1540" y="2564"/>
                    </a:lnTo>
                    <a:lnTo>
                      <a:pt x="1540" y="2560"/>
                    </a:lnTo>
                    <a:lnTo>
                      <a:pt x="1538" y="2558"/>
                    </a:lnTo>
                    <a:lnTo>
                      <a:pt x="1530" y="2556"/>
                    </a:lnTo>
                    <a:lnTo>
                      <a:pt x="1528" y="2556"/>
                    </a:lnTo>
                    <a:lnTo>
                      <a:pt x="1528" y="2554"/>
                    </a:lnTo>
                    <a:lnTo>
                      <a:pt x="1536" y="2546"/>
                    </a:lnTo>
                    <a:lnTo>
                      <a:pt x="1542" y="2542"/>
                    </a:lnTo>
                    <a:lnTo>
                      <a:pt x="1546" y="2538"/>
                    </a:lnTo>
                    <a:lnTo>
                      <a:pt x="1546" y="2534"/>
                    </a:lnTo>
                    <a:lnTo>
                      <a:pt x="1546" y="2530"/>
                    </a:lnTo>
                    <a:lnTo>
                      <a:pt x="1546" y="2522"/>
                    </a:lnTo>
                    <a:lnTo>
                      <a:pt x="1546" y="2516"/>
                    </a:lnTo>
                    <a:lnTo>
                      <a:pt x="1550" y="2510"/>
                    </a:lnTo>
                    <a:lnTo>
                      <a:pt x="1554" y="2504"/>
                    </a:lnTo>
                    <a:lnTo>
                      <a:pt x="1560" y="2502"/>
                    </a:lnTo>
                    <a:lnTo>
                      <a:pt x="1566" y="2504"/>
                    </a:lnTo>
                    <a:lnTo>
                      <a:pt x="1570" y="2504"/>
                    </a:lnTo>
                    <a:lnTo>
                      <a:pt x="1572" y="2502"/>
                    </a:lnTo>
                    <a:lnTo>
                      <a:pt x="1574" y="2496"/>
                    </a:lnTo>
                    <a:lnTo>
                      <a:pt x="1574" y="2484"/>
                    </a:lnTo>
                    <a:lnTo>
                      <a:pt x="1578" y="2458"/>
                    </a:lnTo>
                    <a:lnTo>
                      <a:pt x="1580" y="2448"/>
                    </a:lnTo>
                    <a:lnTo>
                      <a:pt x="1584" y="2440"/>
                    </a:lnTo>
                    <a:lnTo>
                      <a:pt x="1588" y="2434"/>
                    </a:lnTo>
                    <a:lnTo>
                      <a:pt x="1594" y="2428"/>
                    </a:lnTo>
                    <a:lnTo>
                      <a:pt x="1600" y="2426"/>
                    </a:lnTo>
                    <a:lnTo>
                      <a:pt x="1608" y="2422"/>
                    </a:lnTo>
                    <a:lnTo>
                      <a:pt x="1614" y="2418"/>
                    </a:lnTo>
                    <a:lnTo>
                      <a:pt x="1618" y="2414"/>
                    </a:lnTo>
                    <a:lnTo>
                      <a:pt x="1620" y="2406"/>
                    </a:lnTo>
                    <a:lnTo>
                      <a:pt x="1620" y="2398"/>
                    </a:lnTo>
                    <a:lnTo>
                      <a:pt x="1620" y="2390"/>
                    </a:lnTo>
                    <a:lnTo>
                      <a:pt x="1620" y="2386"/>
                    </a:lnTo>
                    <a:lnTo>
                      <a:pt x="1618" y="2384"/>
                    </a:lnTo>
                    <a:lnTo>
                      <a:pt x="1616" y="2378"/>
                    </a:lnTo>
                    <a:lnTo>
                      <a:pt x="1616" y="2372"/>
                    </a:lnTo>
                    <a:lnTo>
                      <a:pt x="1620" y="2372"/>
                    </a:lnTo>
                    <a:lnTo>
                      <a:pt x="1626" y="2372"/>
                    </a:lnTo>
                    <a:lnTo>
                      <a:pt x="1630" y="2370"/>
                    </a:lnTo>
                    <a:lnTo>
                      <a:pt x="1636" y="2366"/>
                    </a:lnTo>
                    <a:lnTo>
                      <a:pt x="1646" y="2358"/>
                    </a:lnTo>
                    <a:lnTo>
                      <a:pt x="1654" y="2348"/>
                    </a:lnTo>
                    <a:lnTo>
                      <a:pt x="1660" y="2340"/>
                    </a:lnTo>
                    <a:lnTo>
                      <a:pt x="1662" y="2330"/>
                    </a:lnTo>
                    <a:lnTo>
                      <a:pt x="1662" y="2326"/>
                    </a:lnTo>
                    <a:lnTo>
                      <a:pt x="1664" y="2324"/>
                    </a:lnTo>
                    <a:lnTo>
                      <a:pt x="1668" y="2322"/>
                    </a:lnTo>
                    <a:lnTo>
                      <a:pt x="1672" y="2320"/>
                    </a:lnTo>
                    <a:lnTo>
                      <a:pt x="1682" y="2320"/>
                    </a:lnTo>
                    <a:lnTo>
                      <a:pt x="1690" y="2318"/>
                    </a:lnTo>
                    <a:lnTo>
                      <a:pt x="1698" y="2318"/>
                    </a:lnTo>
                    <a:lnTo>
                      <a:pt x="1702" y="2318"/>
                    </a:lnTo>
                    <a:lnTo>
                      <a:pt x="1704" y="2318"/>
                    </a:lnTo>
                    <a:lnTo>
                      <a:pt x="1706" y="2312"/>
                    </a:lnTo>
                    <a:lnTo>
                      <a:pt x="1708" y="2296"/>
                    </a:lnTo>
                    <a:lnTo>
                      <a:pt x="1708" y="2294"/>
                    </a:lnTo>
                    <a:lnTo>
                      <a:pt x="1710" y="2298"/>
                    </a:lnTo>
                    <a:lnTo>
                      <a:pt x="1712" y="2308"/>
                    </a:lnTo>
                    <a:lnTo>
                      <a:pt x="1712" y="2316"/>
                    </a:lnTo>
                    <a:lnTo>
                      <a:pt x="1714" y="2320"/>
                    </a:lnTo>
                    <a:lnTo>
                      <a:pt x="1718" y="2322"/>
                    </a:lnTo>
                    <a:lnTo>
                      <a:pt x="1724" y="2322"/>
                    </a:lnTo>
                    <a:lnTo>
                      <a:pt x="1732" y="2322"/>
                    </a:lnTo>
                    <a:lnTo>
                      <a:pt x="1726" y="2324"/>
                    </a:lnTo>
                    <a:lnTo>
                      <a:pt x="1720" y="2326"/>
                    </a:lnTo>
                    <a:lnTo>
                      <a:pt x="1708" y="2324"/>
                    </a:lnTo>
                    <a:lnTo>
                      <a:pt x="1700" y="2322"/>
                    </a:lnTo>
                    <a:lnTo>
                      <a:pt x="1696" y="2322"/>
                    </a:lnTo>
                    <a:lnTo>
                      <a:pt x="1696" y="2324"/>
                    </a:lnTo>
                    <a:lnTo>
                      <a:pt x="1696" y="2326"/>
                    </a:lnTo>
                    <a:lnTo>
                      <a:pt x="1700" y="2330"/>
                    </a:lnTo>
                    <a:lnTo>
                      <a:pt x="1708" y="2336"/>
                    </a:lnTo>
                    <a:lnTo>
                      <a:pt x="1718" y="2342"/>
                    </a:lnTo>
                    <a:lnTo>
                      <a:pt x="1722" y="2346"/>
                    </a:lnTo>
                    <a:lnTo>
                      <a:pt x="1722" y="2348"/>
                    </a:lnTo>
                    <a:lnTo>
                      <a:pt x="1724" y="2350"/>
                    </a:lnTo>
                    <a:lnTo>
                      <a:pt x="1728" y="2350"/>
                    </a:lnTo>
                    <a:lnTo>
                      <a:pt x="1740" y="2350"/>
                    </a:lnTo>
                    <a:lnTo>
                      <a:pt x="1754" y="2348"/>
                    </a:lnTo>
                    <a:lnTo>
                      <a:pt x="1760" y="2348"/>
                    </a:lnTo>
                    <a:lnTo>
                      <a:pt x="1764" y="2350"/>
                    </a:lnTo>
                    <a:lnTo>
                      <a:pt x="1766" y="2352"/>
                    </a:lnTo>
                    <a:lnTo>
                      <a:pt x="1768" y="2352"/>
                    </a:lnTo>
                    <a:lnTo>
                      <a:pt x="1772" y="2350"/>
                    </a:lnTo>
                    <a:lnTo>
                      <a:pt x="1776" y="2350"/>
                    </a:lnTo>
                    <a:lnTo>
                      <a:pt x="1780" y="2356"/>
                    </a:lnTo>
                    <a:lnTo>
                      <a:pt x="1780" y="2358"/>
                    </a:lnTo>
                    <a:lnTo>
                      <a:pt x="1778" y="2360"/>
                    </a:lnTo>
                    <a:lnTo>
                      <a:pt x="1774" y="2364"/>
                    </a:lnTo>
                    <a:lnTo>
                      <a:pt x="1756" y="2374"/>
                    </a:lnTo>
                    <a:lnTo>
                      <a:pt x="1738" y="2382"/>
                    </a:lnTo>
                    <a:lnTo>
                      <a:pt x="1732" y="2386"/>
                    </a:lnTo>
                    <a:lnTo>
                      <a:pt x="1732" y="2388"/>
                    </a:lnTo>
                    <a:lnTo>
                      <a:pt x="1732" y="2390"/>
                    </a:lnTo>
                    <a:lnTo>
                      <a:pt x="1736" y="2392"/>
                    </a:lnTo>
                    <a:lnTo>
                      <a:pt x="1742" y="2394"/>
                    </a:lnTo>
                    <a:lnTo>
                      <a:pt x="1756" y="2398"/>
                    </a:lnTo>
                    <a:lnTo>
                      <a:pt x="1762" y="2400"/>
                    </a:lnTo>
                    <a:lnTo>
                      <a:pt x="1768" y="2404"/>
                    </a:lnTo>
                    <a:lnTo>
                      <a:pt x="1772" y="2410"/>
                    </a:lnTo>
                    <a:lnTo>
                      <a:pt x="1774" y="2416"/>
                    </a:lnTo>
                    <a:lnTo>
                      <a:pt x="1774" y="2424"/>
                    </a:lnTo>
                    <a:lnTo>
                      <a:pt x="1772" y="2428"/>
                    </a:lnTo>
                    <a:lnTo>
                      <a:pt x="1768" y="2432"/>
                    </a:lnTo>
                    <a:lnTo>
                      <a:pt x="1766" y="2434"/>
                    </a:lnTo>
                    <a:lnTo>
                      <a:pt x="1768" y="2434"/>
                    </a:lnTo>
                    <a:lnTo>
                      <a:pt x="1774" y="2442"/>
                    </a:lnTo>
                    <a:lnTo>
                      <a:pt x="1780" y="2446"/>
                    </a:lnTo>
                    <a:lnTo>
                      <a:pt x="1788" y="2448"/>
                    </a:lnTo>
                    <a:lnTo>
                      <a:pt x="1794" y="2446"/>
                    </a:lnTo>
                    <a:lnTo>
                      <a:pt x="1800" y="2442"/>
                    </a:lnTo>
                    <a:lnTo>
                      <a:pt x="1810" y="2432"/>
                    </a:lnTo>
                    <a:lnTo>
                      <a:pt x="1822" y="2422"/>
                    </a:lnTo>
                    <a:lnTo>
                      <a:pt x="1826" y="2420"/>
                    </a:lnTo>
                    <a:lnTo>
                      <a:pt x="1830" y="2420"/>
                    </a:lnTo>
                    <a:lnTo>
                      <a:pt x="1832" y="2422"/>
                    </a:lnTo>
                    <a:lnTo>
                      <a:pt x="1836" y="2422"/>
                    </a:lnTo>
                    <a:lnTo>
                      <a:pt x="1844" y="2416"/>
                    </a:lnTo>
                    <a:lnTo>
                      <a:pt x="1850" y="2410"/>
                    </a:lnTo>
                    <a:lnTo>
                      <a:pt x="1856" y="2408"/>
                    </a:lnTo>
                    <a:lnTo>
                      <a:pt x="1860" y="2408"/>
                    </a:lnTo>
                    <a:lnTo>
                      <a:pt x="1862" y="2408"/>
                    </a:lnTo>
                    <a:lnTo>
                      <a:pt x="1870" y="2412"/>
                    </a:lnTo>
                    <a:lnTo>
                      <a:pt x="1876" y="2414"/>
                    </a:lnTo>
                    <a:lnTo>
                      <a:pt x="1882" y="2412"/>
                    </a:lnTo>
                    <a:lnTo>
                      <a:pt x="1892" y="2408"/>
                    </a:lnTo>
                    <a:lnTo>
                      <a:pt x="1894" y="2406"/>
                    </a:lnTo>
                    <a:lnTo>
                      <a:pt x="1892" y="2404"/>
                    </a:lnTo>
                    <a:lnTo>
                      <a:pt x="1892" y="2400"/>
                    </a:lnTo>
                    <a:lnTo>
                      <a:pt x="1892" y="2398"/>
                    </a:lnTo>
                    <a:lnTo>
                      <a:pt x="1894" y="2394"/>
                    </a:lnTo>
                    <a:lnTo>
                      <a:pt x="1896" y="2390"/>
                    </a:lnTo>
                    <a:lnTo>
                      <a:pt x="1894" y="2386"/>
                    </a:lnTo>
                    <a:lnTo>
                      <a:pt x="1886" y="2384"/>
                    </a:lnTo>
                    <a:lnTo>
                      <a:pt x="1874" y="2386"/>
                    </a:lnTo>
                    <a:lnTo>
                      <a:pt x="1868" y="2388"/>
                    </a:lnTo>
                    <a:lnTo>
                      <a:pt x="1862" y="2392"/>
                    </a:lnTo>
                    <a:lnTo>
                      <a:pt x="1854" y="2396"/>
                    </a:lnTo>
                    <a:lnTo>
                      <a:pt x="1852" y="2396"/>
                    </a:lnTo>
                    <a:lnTo>
                      <a:pt x="1848" y="2392"/>
                    </a:lnTo>
                    <a:lnTo>
                      <a:pt x="1842" y="2386"/>
                    </a:lnTo>
                    <a:lnTo>
                      <a:pt x="1836" y="2376"/>
                    </a:lnTo>
                    <a:lnTo>
                      <a:pt x="1826" y="2358"/>
                    </a:lnTo>
                    <a:lnTo>
                      <a:pt x="1824" y="2348"/>
                    </a:lnTo>
                    <a:lnTo>
                      <a:pt x="1824" y="2346"/>
                    </a:lnTo>
                    <a:lnTo>
                      <a:pt x="1824" y="2344"/>
                    </a:lnTo>
                    <a:lnTo>
                      <a:pt x="1830" y="2342"/>
                    </a:lnTo>
                    <a:lnTo>
                      <a:pt x="1836" y="2340"/>
                    </a:lnTo>
                    <a:lnTo>
                      <a:pt x="1838" y="2340"/>
                    </a:lnTo>
                    <a:lnTo>
                      <a:pt x="1838" y="2342"/>
                    </a:lnTo>
                    <a:lnTo>
                      <a:pt x="1838" y="2344"/>
                    </a:lnTo>
                    <a:lnTo>
                      <a:pt x="1838" y="2348"/>
                    </a:lnTo>
                    <a:lnTo>
                      <a:pt x="1842" y="2346"/>
                    </a:lnTo>
                    <a:lnTo>
                      <a:pt x="1852" y="2336"/>
                    </a:lnTo>
                    <a:lnTo>
                      <a:pt x="1862" y="2326"/>
                    </a:lnTo>
                    <a:lnTo>
                      <a:pt x="1872" y="2318"/>
                    </a:lnTo>
                    <a:lnTo>
                      <a:pt x="1876" y="2316"/>
                    </a:lnTo>
                    <a:lnTo>
                      <a:pt x="1880" y="2316"/>
                    </a:lnTo>
                    <a:lnTo>
                      <a:pt x="1886" y="2318"/>
                    </a:lnTo>
                    <a:lnTo>
                      <a:pt x="1896" y="2316"/>
                    </a:lnTo>
                    <a:lnTo>
                      <a:pt x="1906" y="2312"/>
                    </a:lnTo>
                    <a:lnTo>
                      <a:pt x="1916" y="2308"/>
                    </a:lnTo>
                    <a:lnTo>
                      <a:pt x="1934" y="2296"/>
                    </a:lnTo>
                    <a:lnTo>
                      <a:pt x="1944" y="2292"/>
                    </a:lnTo>
                    <a:lnTo>
                      <a:pt x="1952" y="2292"/>
                    </a:lnTo>
                    <a:lnTo>
                      <a:pt x="1956" y="2294"/>
                    </a:lnTo>
                    <a:lnTo>
                      <a:pt x="1960" y="2296"/>
                    </a:lnTo>
                    <a:lnTo>
                      <a:pt x="1964" y="2294"/>
                    </a:lnTo>
                    <a:lnTo>
                      <a:pt x="1972" y="2288"/>
                    </a:lnTo>
                    <a:lnTo>
                      <a:pt x="1976" y="2288"/>
                    </a:lnTo>
                    <a:lnTo>
                      <a:pt x="1980" y="2290"/>
                    </a:lnTo>
                    <a:lnTo>
                      <a:pt x="1986" y="2288"/>
                    </a:lnTo>
                    <a:lnTo>
                      <a:pt x="1992" y="2286"/>
                    </a:lnTo>
                    <a:lnTo>
                      <a:pt x="1998" y="2284"/>
                    </a:lnTo>
                    <a:lnTo>
                      <a:pt x="2002" y="2284"/>
                    </a:lnTo>
                    <a:lnTo>
                      <a:pt x="2004" y="2286"/>
                    </a:lnTo>
                    <a:lnTo>
                      <a:pt x="2004" y="2288"/>
                    </a:lnTo>
                    <a:lnTo>
                      <a:pt x="2004" y="2290"/>
                    </a:lnTo>
                    <a:lnTo>
                      <a:pt x="2000" y="2294"/>
                    </a:lnTo>
                    <a:lnTo>
                      <a:pt x="1996" y="2298"/>
                    </a:lnTo>
                    <a:lnTo>
                      <a:pt x="1988" y="2300"/>
                    </a:lnTo>
                    <a:lnTo>
                      <a:pt x="1980" y="2302"/>
                    </a:lnTo>
                    <a:lnTo>
                      <a:pt x="1974" y="2306"/>
                    </a:lnTo>
                    <a:lnTo>
                      <a:pt x="1968" y="2312"/>
                    </a:lnTo>
                    <a:lnTo>
                      <a:pt x="1962" y="2316"/>
                    </a:lnTo>
                    <a:lnTo>
                      <a:pt x="1948" y="2318"/>
                    </a:lnTo>
                    <a:lnTo>
                      <a:pt x="1944" y="2318"/>
                    </a:lnTo>
                    <a:lnTo>
                      <a:pt x="1944" y="2320"/>
                    </a:lnTo>
                    <a:lnTo>
                      <a:pt x="1944" y="2324"/>
                    </a:lnTo>
                    <a:lnTo>
                      <a:pt x="1946" y="2326"/>
                    </a:lnTo>
                    <a:lnTo>
                      <a:pt x="1952" y="2332"/>
                    </a:lnTo>
                    <a:lnTo>
                      <a:pt x="1956" y="2334"/>
                    </a:lnTo>
                    <a:lnTo>
                      <a:pt x="1958" y="2334"/>
                    </a:lnTo>
                    <a:lnTo>
                      <a:pt x="1962" y="2334"/>
                    </a:lnTo>
                    <a:lnTo>
                      <a:pt x="1968" y="2338"/>
                    </a:lnTo>
                    <a:lnTo>
                      <a:pt x="1974" y="2344"/>
                    </a:lnTo>
                    <a:lnTo>
                      <a:pt x="1978" y="2352"/>
                    </a:lnTo>
                    <a:lnTo>
                      <a:pt x="1976" y="2354"/>
                    </a:lnTo>
                    <a:lnTo>
                      <a:pt x="1972" y="2352"/>
                    </a:lnTo>
                    <a:lnTo>
                      <a:pt x="1964" y="2350"/>
                    </a:lnTo>
                    <a:lnTo>
                      <a:pt x="1958" y="2350"/>
                    </a:lnTo>
                    <a:lnTo>
                      <a:pt x="1952" y="2354"/>
                    </a:lnTo>
                    <a:lnTo>
                      <a:pt x="1948" y="2362"/>
                    </a:lnTo>
                    <a:lnTo>
                      <a:pt x="1942" y="2376"/>
                    </a:lnTo>
                    <a:lnTo>
                      <a:pt x="1940" y="2382"/>
                    </a:lnTo>
                    <a:lnTo>
                      <a:pt x="1942" y="2388"/>
                    </a:lnTo>
                    <a:lnTo>
                      <a:pt x="1944" y="2396"/>
                    </a:lnTo>
                    <a:lnTo>
                      <a:pt x="1942" y="2396"/>
                    </a:lnTo>
                    <a:lnTo>
                      <a:pt x="1940" y="2396"/>
                    </a:lnTo>
                    <a:lnTo>
                      <a:pt x="1934" y="2394"/>
                    </a:lnTo>
                    <a:lnTo>
                      <a:pt x="1930" y="2392"/>
                    </a:lnTo>
                    <a:lnTo>
                      <a:pt x="1926" y="2394"/>
                    </a:lnTo>
                    <a:lnTo>
                      <a:pt x="1922" y="2394"/>
                    </a:lnTo>
                    <a:lnTo>
                      <a:pt x="1918" y="2392"/>
                    </a:lnTo>
                    <a:lnTo>
                      <a:pt x="1910" y="2390"/>
                    </a:lnTo>
                    <a:lnTo>
                      <a:pt x="1904" y="2388"/>
                    </a:lnTo>
                    <a:lnTo>
                      <a:pt x="1904" y="2390"/>
                    </a:lnTo>
                    <a:lnTo>
                      <a:pt x="1904" y="2392"/>
                    </a:lnTo>
                    <a:lnTo>
                      <a:pt x="1904" y="2396"/>
                    </a:lnTo>
                    <a:lnTo>
                      <a:pt x="1904" y="2398"/>
                    </a:lnTo>
                    <a:lnTo>
                      <a:pt x="1900" y="2402"/>
                    </a:lnTo>
                    <a:lnTo>
                      <a:pt x="1900" y="2404"/>
                    </a:lnTo>
                    <a:lnTo>
                      <a:pt x="1912" y="2410"/>
                    </a:lnTo>
                    <a:lnTo>
                      <a:pt x="1918" y="2414"/>
                    </a:lnTo>
                    <a:lnTo>
                      <a:pt x="1924" y="2418"/>
                    </a:lnTo>
                    <a:lnTo>
                      <a:pt x="1928" y="2424"/>
                    </a:lnTo>
                    <a:lnTo>
                      <a:pt x="1934" y="2430"/>
                    </a:lnTo>
                    <a:lnTo>
                      <a:pt x="1938" y="2432"/>
                    </a:lnTo>
                    <a:lnTo>
                      <a:pt x="1944" y="2434"/>
                    </a:lnTo>
                    <a:lnTo>
                      <a:pt x="1950" y="2434"/>
                    </a:lnTo>
                    <a:lnTo>
                      <a:pt x="1954" y="2436"/>
                    </a:lnTo>
                    <a:lnTo>
                      <a:pt x="1956" y="2440"/>
                    </a:lnTo>
                    <a:lnTo>
                      <a:pt x="1958" y="2442"/>
                    </a:lnTo>
                    <a:lnTo>
                      <a:pt x="1960" y="2446"/>
                    </a:lnTo>
                    <a:lnTo>
                      <a:pt x="1966" y="2448"/>
                    </a:lnTo>
                    <a:lnTo>
                      <a:pt x="1976" y="2452"/>
                    </a:lnTo>
                    <a:lnTo>
                      <a:pt x="1990" y="2456"/>
                    </a:lnTo>
                    <a:lnTo>
                      <a:pt x="1994" y="2458"/>
                    </a:lnTo>
                    <a:lnTo>
                      <a:pt x="1996" y="2462"/>
                    </a:lnTo>
                    <a:lnTo>
                      <a:pt x="2006" y="2474"/>
                    </a:lnTo>
                    <a:lnTo>
                      <a:pt x="2034" y="2504"/>
                    </a:lnTo>
                    <a:lnTo>
                      <a:pt x="2042" y="2510"/>
                    </a:lnTo>
                    <a:lnTo>
                      <a:pt x="2050" y="2516"/>
                    </a:lnTo>
                    <a:lnTo>
                      <a:pt x="2062" y="2520"/>
                    </a:lnTo>
                    <a:lnTo>
                      <a:pt x="2070" y="2522"/>
                    </a:lnTo>
                    <a:lnTo>
                      <a:pt x="2074" y="2526"/>
                    </a:lnTo>
                    <a:lnTo>
                      <a:pt x="2076" y="2530"/>
                    </a:lnTo>
                    <a:lnTo>
                      <a:pt x="2080" y="2534"/>
                    </a:lnTo>
                    <a:lnTo>
                      <a:pt x="2082" y="2538"/>
                    </a:lnTo>
                    <a:lnTo>
                      <a:pt x="2088" y="2538"/>
                    </a:lnTo>
                    <a:lnTo>
                      <a:pt x="2092" y="2540"/>
                    </a:lnTo>
                    <a:lnTo>
                      <a:pt x="2094" y="2544"/>
                    </a:lnTo>
                    <a:lnTo>
                      <a:pt x="2098" y="2552"/>
                    </a:lnTo>
                    <a:lnTo>
                      <a:pt x="2100" y="2562"/>
                    </a:lnTo>
                    <a:lnTo>
                      <a:pt x="2104" y="2584"/>
                    </a:lnTo>
                    <a:lnTo>
                      <a:pt x="2104" y="2598"/>
                    </a:lnTo>
                    <a:lnTo>
                      <a:pt x="2100" y="2606"/>
                    </a:lnTo>
                    <a:lnTo>
                      <a:pt x="2096" y="2610"/>
                    </a:lnTo>
                    <a:lnTo>
                      <a:pt x="2086" y="2618"/>
                    </a:lnTo>
                    <a:lnTo>
                      <a:pt x="2066" y="2630"/>
                    </a:lnTo>
                    <a:lnTo>
                      <a:pt x="2054" y="2636"/>
                    </a:lnTo>
                    <a:lnTo>
                      <a:pt x="2044" y="2640"/>
                    </a:lnTo>
                    <a:lnTo>
                      <a:pt x="2032" y="2638"/>
                    </a:lnTo>
                    <a:lnTo>
                      <a:pt x="2028" y="2638"/>
                    </a:lnTo>
                    <a:lnTo>
                      <a:pt x="2024" y="2634"/>
                    </a:lnTo>
                    <a:lnTo>
                      <a:pt x="2014" y="2630"/>
                    </a:lnTo>
                    <a:lnTo>
                      <a:pt x="2006" y="2630"/>
                    </a:lnTo>
                    <a:lnTo>
                      <a:pt x="1996" y="2632"/>
                    </a:lnTo>
                    <a:lnTo>
                      <a:pt x="1986" y="2636"/>
                    </a:lnTo>
                    <a:lnTo>
                      <a:pt x="1976" y="2640"/>
                    </a:lnTo>
                    <a:lnTo>
                      <a:pt x="1968" y="2642"/>
                    </a:lnTo>
                    <a:lnTo>
                      <a:pt x="1960" y="2642"/>
                    </a:lnTo>
                    <a:lnTo>
                      <a:pt x="1956" y="2640"/>
                    </a:lnTo>
                    <a:lnTo>
                      <a:pt x="1952" y="2636"/>
                    </a:lnTo>
                    <a:lnTo>
                      <a:pt x="1942" y="2630"/>
                    </a:lnTo>
                    <a:lnTo>
                      <a:pt x="1940" y="2630"/>
                    </a:lnTo>
                    <a:lnTo>
                      <a:pt x="1938" y="2632"/>
                    </a:lnTo>
                    <a:lnTo>
                      <a:pt x="1936" y="2634"/>
                    </a:lnTo>
                    <a:lnTo>
                      <a:pt x="1932" y="2634"/>
                    </a:lnTo>
                    <a:lnTo>
                      <a:pt x="1924" y="2630"/>
                    </a:lnTo>
                    <a:lnTo>
                      <a:pt x="1918" y="2626"/>
                    </a:lnTo>
                    <a:lnTo>
                      <a:pt x="1914" y="2622"/>
                    </a:lnTo>
                    <a:lnTo>
                      <a:pt x="1910" y="2618"/>
                    </a:lnTo>
                    <a:lnTo>
                      <a:pt x="1908" y="2616"/>
                    </a:lnTo>
                    <a:lnTo>
                      <a:pt x="1906" y="2616"/>
                    </a:lnTo>
                    <a:lnTo>
                      <a:pt x="1896" y="2620"/>
                    </a:lnTo>
                    <a:lnTo>
                      <a:pt x="1890" y="2620"/>
                    </a:lnTo>
                    <a:lnTo>
                      <a:pt x="1886" y="2618"/>
                    </a:lnTo>
                    <a:lnTo>
                      <a:pt x="1884" y="2614"/>
                    </a:lnTo>
                    <a:lnTo>
                      <a:pt x="1882" y="2608"/>
                    </a:lnTo>
                    <a:lnTo>
                      <a:pt x="1880" y="2602"/>
                    </a:lnTo>
                    <a:lnTo>
                      <a:pt x="1876" y="2598"/>
                    </a:lnTo>
                    <a:lnTo>
                      <a:pt x="1870" y="2596"/>
                    </a:lnTo>
                    <a:lnTo>
                      <a:pt x="1860" y="2598"/>
                    </a:lnTo>
                    <a:lnTo>
                      <a:pt x="1850" y="2600"/>
                    </a:lnTo>
                    <a:lnTo>
                      <a:pt x="1844" y="2596"/>
                    </a:lnTo>
                    <a:lnTo>
                      <a:pt x="1842" y="2592"/>
                    </a:lnTo>
                    <a:lnTo>
                      <a:pt x="1840" y="2586"/>
                    </a:lnTo>
                    <a:lnTo>
                      <a:pt x="1840" y="2582"/>
                    </a:lnTo>
                    <a:lnTo>
                      <a:pt x="1838" y="2578"/>
                    </a:lnTo>
                    <a:lnTo>
                      <a:pt x="1836" y="2576"/>
                    </a:lnTo>
                    <a:lnTo>
                      <a:pt x="1830" y="2580"/>
                    </a:lnTo>
                    <a:lnTo>
                      <a:pt x="1822" y="2582"/>
                    </a:lnTo>
                    <a:lnTo>
                      <a:pt x="1814" y="2584"/>
                    </a:lnTo>
                    <a:lnTo>
                      <a:pt x="1798" y="2582"/>
                    </a:lnTo>
                    <a:lnTo>
                      <a:pt x="1788" y="2580"/>
                    </a:lnTo>
                    <a:lnTo>
                      <a:pt x="1778" y="2580"/>
                    </a:lnTo>
                    <a:lnTo>
                      <a:pt x="1766" y="2582"/>
                    </a:lnTo>
                    <a:lnTo>
                      <a:pt x="1752" y="2586"/>
                    </a:lnTo>
                    <a:lnTo>
                      <a:pt x="1724" y="2596"/>
                    </a:lnTo>
                    <a:lnTo>
                      <a:pt x="1706" y="2608"/>
                    </a:lnTo>
                    <a:lnTo>
                      <a:pt x="1694" y="2618"/>
                    </a:lnTo>
                    <a:lnTo>
                      <a:pt x="1688" y="2624"/>
                    </a:lnTo>
                    <a:lnTo>
                      <a:pt x="1684" y="2630"/>
                    </a:lnTo>
                    <a:lnTo>
                      <a:pt x="1678" y="2632"/>
                    </a:lnTo>
                    <a:lnTo>
                      <a:pt x="1668" y="2632"/>
                    </a:lnTo>
                    <a:lnTo>
                      <a:pt x="1656" y="2628"/>
                    </a:lnTo>
                    <a:lnTo>
                      <a:pt x="1646" y="2626"/>
                    </a:lnTo>
                    <a:lnTo>
                      <a:pt x="1638" y="2626"/>
                    </a:lnTo>
                    <a:lnTo>
                      <a:pt x="1630" y="2628"/>
                    </a:lnTo>
                    <a:lnTo>
                      <a:pt x="1618" y="2628"/>
                    </a:lnTo>
                    <a:lnTo>
                      <a:pt x="1608" y="2624"/>
                    </a:lnTo>
                    <a:lnTo>
                      <a:pt x="1602" y="2626"/>
                    </a:lnTo>
                    <a:lnTo>
                      <a:pt x="1598" y="2628"/>
                    </a:lnTo>
                    <a:lnTo>
                      <a:pt x="1596" y="2634"/>
                    </a:lnTo>
                    <a:lnTo>
                      <a:pt x="1594" y="2638"/>
                    </a:lnTo>
                    <a:lnTo>
                      <a:pt x="1596" y="2640"/>
                    </a:lnTo>
                    <a:lnTo>
                      <a:pt x="1600" y="2642"/>
                    </a:lnTo>
                    <a:lnTo>
                      <a:pt x="1604" y="2646"/>
                    </a:lnTo>
                    <a:lnTo>
                      <a:pt x="1608" y="2650"/>
                    </a:lnTo>
                    <a:lnTo>
                      <a:pt x="1612" y="2650"/>
                    </a:lnTo>
                    <a:lnTo>
                      <a:pt x="1620" y="2652"/>
                    </a:lnTo>
                    <a:lnTo>
                      <a:pt x="1622" y="2652"/>
                    </a:lnTo>
                    <a:lnTo>
                      <a:pt x="1620" y="2652"/>
                    </a:lnTo>
                    <a:lnTo>
                      <a:pt x="1606" y="2656"/>
                    </a:lnTo>
                    <a:lnTo>
                      <a:pt x="1584" y="2660"/>
                    </a:lnTo>
                    <a:lnTo>
                      <a:pt x="1584" y="2662"/>
                    </a:lnTo>
                    <a:lnTo>
                      <a:pt x="1584" y="2664"/>
                    </a:lnTo>
                    <a:lnTo>
                      <a:pt x="1592" y="2666"/>
                    </a:lnTo>
                    <a:lnTo>
                      <a:pt x="1594" y="2668"/>
                    </a:lnTo>
                    <a:lnTo>
                      <a:pt x="1594" y="2672"/>
                    </a:lnTo>
                    <a:lnTo>
                      <a:pt x="1586" y="2674"/>
                    </a:lnTo>
                    <a:lnTo>
                      <a:pt x="1570" y="2674"/>
                    </a:lnTo>
                    <a:lnTo>
                      <a:pt x="1558" y="2672"/>
                    </a:lnTo>
                    <a:lnTo>
                      <a:pt x="1554" y="2670"/>
                    </a:lnTo>
                    <a:lnTo>
                      <a:pt x="1552" y="2666"/>
                    </a:lnTo>
                    <a:lnTo>
                      <a:pt x="1552" y="2664"/>
                    </a:lnTo>
                    <a:lnTo>
                      <a:pt x="1550" y="2662"/>
                    </a:lnTo>
                    <a:lnTo>
                      <a:pt x="1544" y="2662"/>
                    </a:lnTo>
                    <a:lnTo>
                      <a:pt x="1538" y="2666"/>
                    </a:lnTo>
                    <a:lnTo>
                      <a:pt x="1536" y="2668"/>
                    </a:lnTo>
                    <a:lnTo>
                      <a:pt x="1538" y="2670"/>
                    </a:lnTo>
                    <a:lnTo>
                      <a:pt x="1540" y="2672"/>
                    </a:lnTo>
                    <a:lnTo>
                      <a:pt x="1540" y="2674"/>
                    </a:lnTo>
                    <a:lnTo>
                      <a:pt x="1536" y="2676"/>
                    </a:lnTo>
                    <a:lnTo>
                      <a:pt x="1530" y="2676"/>
                    </a:lnTo>
                    <a:lnTo>
                      <a:pt x="1528" y="2674"/>
                    </a:lnTo>
                    <a:lnTo>
                      <a:pt x="1526" y="2672"/>
                    </a:lnTo>
                    <a:lnTo>
                      <a:pt x="1524" y="2670"/>
                    </a:lnTo>
                    <a:lnTo>
                      <a:pt x="1520" y="2668"/>
                    </a:lnTo>
                    <a:lnTo>
                      <a:pt x="1516" y="2666"/>
                    </a:lnTo>
                    <a:lnTo>
                      <a:pt x="1510" y="2668"/>
                    </a:lnTo>
                    <a:lnTo>
                      <a:pt x="1506" y="2670"/>
                    </a:lnTo>
                    <a:lnTo>
                      <a:pt x="1500" y="2672"/>
                    </a:lnTo>
                    <a:lnTo>
                      <a:pt x="1494" y="2678"/>
                    </a:lnTo>
                    <a:lnTo>
                      <a:pt x="1488" y="2686"/>
                    </a:lnTo>
                    <a:lnTo>
                      <a:pt x="1482" y="2692"/>
                    </a:lnTo>
                    <a:lnTo>
                      <a:pt x="1480" y="2694"/>
                    </a:lnTo>
                    <a:lnTo>
                      <a:pt x="1478" y="2696"/>
                    </a:lnTo>
                    <a:lnTo>
                      <a:pt x="1476" y="2706"/>
                    </a:lnTo>
                    <a:lnTo>
                      <a:pt x="1474" y="2716"/>
                    </a:lnTo>
                    <a:lnTo>
                      <a:pt x="1474" y="2718"/>
                    </a:lnTo>
                    <a:lnTo>
                      <a:pt x="1476" y="2720"/>
                    </a:lnTo>
                    <a:lnTo>
                      <a:pt x="1482" y="2720"/>
                    </a:lnTo>
                    <a:lnTo>
                      <a:pt x="1496" y="2716"/>
                    </a:lnTo>
                    <a:lnTo>
                      <a:pt x="1504" y="2716"/>
                    </a:lnTo>
                    <a:lnTo>
                      <a:pt x="1506" y="2716"/>
                    </a:lnTo>
                    <a:lnTo>
                      <a:pt x="1506" y="2718"/>
                    </a:lnTo>
                    <a:lnTo>
                      <a:pt x="1504" y="2720"/>
                    </a:lnTo>
                    <a:lnTo>
                      <a:pt x="1500" y="2728"/>
                    </a:lnTo>
                    <a:lnTo>
                      <a:pt x="1498" y="2732"/>
                    </a:lnTo>
                    <a:lnTo>
                      <a:pt x="1502" y="2734"/>
                    </a:lnTo>
                    <a:lnTo>
                      <a:pt x="1504" y="2738"/>
                    </a:lnTo>
                    <a:lnTo>
                      <a:pt x="1504" y="2740"/>
                    </a:lnTo>
                    <a:lnTo>
                      <a:pt x="1502" y="2746"/>
                    </a:lnTo>
                    <a:lnTo>
                      <a:pt x="1502" y="2750"/>
                    </a:lnTo>
                    <a:lnTo>
                      <a:pt x="1504" y="2752"/>
                    </a:lnTo>
                    <a:lnTo>
                      <a:pt x="1506" y="2752"/>
                    </a:lnTo>
                    <a:lnTo>
                      <a:pt x="1510" y="2754"/>
                    </a:lnTo>
                    <a:lnTo>
                      <a:pt x="1510" y="2756"/>
                    </a:lnTo>
                    <a:lnTo>
                      <a:pt x="1504" y="2760"/>
                    </a:lnTo>
                    <a:lnTo>
                      <a:pt x="1498" y="2766"/>
                    </a:lnTo>
                    <a:lnTo>
                      <a:pt x="1498" y="2768"/>
                    </a:lnTo>
                    <a:lnTo>
                      <a:pt x="1502" y="2770"/>
                    </a:lnTo>
                    <a:lnTo>
                      <a:pt x="1508" y="2774"/>
                    </a:lnTo>
                    <a:lnTo>
                      <a:pt x="1510" y="2778"/>
                    </a:lnTo>
                    <a:lnTo>
                      <a:pt x="1510" y="2780"/>
                    </a:lnTo>
                    <a:lnTo>
                      <a:pt x="1508" y="2782"/>
                    </a:lnTo>
                    <a:lnTo>
                      <a:pt x="1504" y="2782"/>
                    </a:lnTo>
                    <a:lnTo>
                      <a:pt x="1500" y="2782"/>
                    </a:lnTo>
                    <a:lnTo>
                      <a:pt x="1496" y="2780"/>
                    </a:lnTo>
                    <a:lnTo>
                      <a:pt x="1494" y="2774"/>
                    </a:lnTo>
                    <a:lnTo>
                      <a:pt x="1492" y="2768"/>
                    </a:lnTo>
                    <a:lnTo>
                      <a:pt x="1488" y="2768"/>
                    </a:lnTo>
                    <a:lnTo>
                      <a:pt x="1486" y="2768"/>
                    </a:lnTo>
                    <a:lnTo>
                      <a:pt x="1486" y="2772"/>
                    </a:lnTo>
                    <a:lnTo>
                      <a:pt x="1484" y="2782"/>
                    </a:lnTo>
                    <a:lnTo>
                      <a:pt x="1486" y="2788"/>
                    </a:lnTo>
                    <a:lnTo>
                      <a:pt x="1490" y="2792"/>
                    </a:lnTo>
                    <a:lnTo>
                      <a:pt x="1494" y="2794"/>
                    </a:lnTo>
                    <a:lnTo>
                      <a:pt x="1498" y="2794"/>
                    </a:lnTo>
                    <a:lnTo>
                      <a:pt x="1500" y="2794"/>
                    </a:lnTo>
                    <a:lnTo>
                      <a:pt x="1504" y="2796"/>
                    </a:lnTo>
                    <a:lnTo>
                      <a:pt x="1508" y="2800"/>
                    </a:lnTo>
                    <a:lnTo>
                      <a:pt x="1510" y="2800"/>
                    </a:lnTo>
                    <a:lnTo>
                      <a:pt x="1518" y="2802"/>
                    </a:lnTo>
                    <a:lnTo>
                      <a:pt x="1520" y="2802"/>
                    </a:lnTo>
                    <a:lnTo>
                      <a:pt x="1522" y="2804"/>
                    </a:lnTo>
                    <a:lnTo>
                      <a:pt x="1522" y="2806"/>
                    </a:lnTo>
                    <a:lnTo>
                      <a:pt x="1520" y="2810"/>
                    </a:lnTo>
                    <a:lnTo>
                      <a:pt x="1516" y="2818"/>
                    </a:lnTo>
                    <a:lnTo>
                      <a:pt x="1516" y="2822"/>
                    </a:lnTo>
                    <a:lnTo>
                      <a:pt x="1520" y="2826"/>
                    </a:lnTo>
                    <a:lnTo>
                      <a:pt x="1520" y="2832"/>
                    </a:lnTo>
                    <a:lnTo>
                      <a:pt x="1520" y="2836"/>
                    </a:lnTo>
                    <a:lnTo>
                      <a:pt x="1522" y="2838"/>
                    </a:lnTo>
                    <a:lnTo>
                      <a:pt x="1526" y="2838"/>
                    </a:lnTo>
                    <a:lnTo>
                      <a:pt x="1528" y="2840"/>
                    </a:lnTo>
                    <a:lnTo>
                      <a:pt x="1530" y="2844"/>
                    </a:lnTo>
                    <a:lnTo>
                      <a:pt x="1530" y="2848"/>
                    </a:lnTo>
                    <a:lnTo>
                      <a:pt x="1530" y="2850"/>
                    </a:lnTo>
                    <a:lnTo>
                      <a:pt x="1524" y="2850"/>
                    </a:lnTo>
                    <a:lnTo>
                      <a:pt x="1518" y="2850"/>
                    </a:lnTo>
                    <a:lnTo>
                      <a:pt x="1520" y="2854"/>
                    </a:lnTo>
                    <a:lnTo>
                      <a:pt x="1522" y="2856"/>
                    </a:lnTo>
                    <a:lnTo>
                      <a:pt x="1528" y="2858"/>
                    </a:lnTo>
                    <a:lnTo>
                      <a:pt x="1542" y="2856"/>
                    </a:lnTo>
                    <a:lnTo>
                      <a:pt x="1552" y="2856"/>
                    </a:lnTo>
                    <a:lnTo>
                      <a:pt x="1556" y="2858"/>
                    </a:lnTo>
                    <a:lnTo>
                      <a:pt x="1554" y="2860"/>
                    </a:lnTo>
                    <a:lnTo>
                      <a:pt x="1550" y="2864"/>
                    </a:lnTo>
                    <a:lnTo>
                      <a:pt x="1546" y="2866"/>
                    </a:lnTo>
                    <a:lnTo>
                      <a:pt x="1534" y="2868"/>
                    </a:lnTo>
                    <a:lnTo>
                      <a:pt x="1526" y="2870"/>
                    </a:lnTo>
                    <a:lnTo>
                      <a:pt x="1524" y="2870"/>
                    </a:lnTo>
                    <a:lnTo>
                      <a:pt x="1526" y="2872"/>
                    </a:lnTo>
                    <a:lnTo>
                      <a:pt x="1528" y="2876"/>
                    </a:lnTo>
                    <a:lnTo>
                      <a:pt x="1532" y="2876"/>
                    </a:lnTo>
                    <a:lnTo>
                      <a:pt x="1540" y="2874"/>
                    </a:lnTo>
                    <a:lnTo>
                      <a:pt x="1548" y="2872"/>
                    </a:lnTo>
                    <a:lnTo>
                      <a:pt x="1550" y="2872"/>
                    </a:lnTo>
                    <a:lnTo>
                      <a:pt x="1552" y="2876"/>
                    </a:lnTo>
                    <a:lnTo>
                      <a:pt x="1552" y="2878"/>
                    </a:lnTo>
                    <a:lnTo>
                      <a:pt x="1554" y="2878"/>
                    </a:lnTo>
                    <a:lnTo>
                      <a:pt x="1560" y="2872"/>
                    </a:lnTo>
                    <a:lnTo>
                      <a:pt x="1564" y="2870"/>
                    </a:lnTo>
                    <a:lnTo>
                      <a:pt x="1568" y="2868"/>
                    </a:lnTo>
                    <a:lnTo>
                      <a:pt x="1572" y="2868"/>
                    </a:lnTo>
                    <a:lnTo>
                      <a:pt x="1576" y="2870"/>
                    </a:lnTo>
                    <a:lnTo>
                      <a:pt x="1580" y="2874"/>
                    </a:lnTo>
                    <a:lnTo>
                      <a:pt x="1582" y="2874"/>
                    </a:lnTo>
                    <a:lnTo>
                      <a:pt x="1588" y="2874"/>
                    </a:lnTo>
                    <a:lnTo>
                      <a:pt x="1590" y="2872"/>
                    </a:lnTo>
                    <a:lnTo>
                      <a:pt x="1592" y="2874"/>
                    </a:lnTo>
                    <a:lnTo>
                      <a:pt x="1594" y="2880"/>
                    </a:lnTo>
                    <a:lnTo>
                      <a:pt x="1598" y="2886"/>
                    </a:lnTo>
                    <a:lnTo>
                      <a:pt x="1602" y="2892"/>
                    </a:lnTo>
                    <a:lnTo>
                      <a:pt x="1610" y="2900"/>
                    </a:lnTo>
                    <a:lnTo>
                      <a:pt x="1616" y="2902"/>
                    </a:lnTo>
                    <a:lnTo>
                      <a:pt x="1620" y="2904"/>
                    </a:lnTo>
                    <a:lnTo>
                      <a:pt x="1624" y="2904"/>
                    </a:lnTo>
                    <a:lnTo>
                      <a:pt x="1628" y="2902"/>
                    </a:lnTo>
                    <a:lnTo>
                      <a:pt x="1634" y="2896"/>
                    </a:lnTo>
                    <a:lnTo>
                      <a:pt x="1638" y="2894"/>
                    </a:lnTo>
                    <a:lnTo>
                      <a:pt x="1640" y="2894"/>
                    </a:lnTo>
                    <a:lnTo>
                      <a:pt x="1642" y="2896"/>
                    </a:lnTo>
                    <a:lnTo>
                      <a:pt x="1646" y="2898"/>
                    </a:lnTo>
                    <a:lnTo>
                      <a:pt x="1648" y="2896"/>
                    </a:lnTo>
                    <a:lnTo>
                      <a:pt x="1652" y="2894"/>
                    </a:lnTo>
                    <a:lnTo>
                      <a:pt x="1654" y="2890"/>
                    </a:lnTo>
                    <a:lnTo>
                      <a:pt x="1654" y="2884"/>
                    </a:lnTo>
                    <a:lnTo>
                      <a:pt x="1654" y="2872"/>
                    </a:lnTo>
                    <a:lnTo>
                      <a:pt x="1656" y="2866"/>
                    </a:lnTo>
                    <a:lnTo>
                      <a:pt x="1662" y="2864"/>
                    </a:lnTo>
                    <a:lnTo>
                      <a:pt x="1670" y="2864"/>
                    </a:lnTo>
                    <a:lnTo>
                      <a:pt x="1686" y="2868"/>
                    </a:lnTo>
                    <a:lnTo>
                      <a:pt x="1700" y="2874"/>
                    </a:lnTo>
                    <a:lnTo>
                      <a:pt x="1712" y="2882"/>
                    </a:lnTo>
                    <a:lnTo>
                      <a:pt x="1720" y="2890"/>
                    </a:lnTo>
                    <a:lnTo>
                      <a:pt x="1728" y="2898"/>
                    </a:lnTo>
                    <a:lnTo>
                      <a:pt x="1732" y="2904"/>
                    </a:lnTo>
                    <a:lnTo>
                      <a:pt x="1738" y="2908"/>
                    </a:lnTo>
                    <a:lnTo>
                      <a:pt x="1744" y="2910"/>
                    </a:lnTo>
                    <a:lnTo>
                      <a:pt x="1752" y="2908"/>
                    </a:lnTo>
                    <a:lnTo>
                      <a:pt x="1766" y="2904"/>
                    </a:lnTo>
                    <a:lnTo>
                      <a:pt x="1778" y="2902"/>
                    </a:lnTo>
                    <a:lnTo>
                      <a:pt x="1782" y="2900"/>
                    </a:lnTo>
                    <a:lnTo>
                      <a:pt x="1788" y="2898"/>
                    </a:lnTo>
                    <a:lnTo>
                      <a:pt x="1794" y="2892"/>
                    </a:lnTo>
                    <a:lnTo>
                      <a:pt x="1802" y="2884"/>
                    </a:lnTo>
                    <a:lnTo>
                      <a:pt x="1814" y="2872"/>
                    </a:lnTo>
                    <a:lnTo>
                      <a:pt x="1822" y="2868"/>
                    </a:lnTo>
                    <a:lnTo>
                      <a:pt x="1828" y="2868"/>
                    </a:lnTo>
                    <a:lnTo>
                      <a:pt x="1834" y="2872"/>
                    </a:lnTo>
                    <a:lnTo>
                      <a:pt x="1838" y="2876"/>
                    </a:lnTo>
                    <a:lnTo>
                      <a:pt x="1844" y="2880"/>
                    </a:lnTo>
                    <a:lnTo>
                      <a:pt x="1848" y="2880"/>
                    </a:lnTo>
                    <a:lnTo>
                      <a:pt x="1856" y="2876"/>
                    </a:lnTo>
                    <a:lnTo>
                      <a:pt x="1868" y="2864"/>
                    </a:lnTo>
                    <a:lnTo>
                      <a:pt x="1876" y="2860"/>
                    </a:lnTo>
                    <a:lnTo>
                      <a:pt x="1878" y="2860"/>
                    </a:lnTo>
                    <a:lnTo>
                      <a:pt x="1880" y="2862"/>
                    </a:lnTo>
                    <a:lnTo>
                      <a:pt x="1882" y="2870"/>
                    </a:lnTo>
                    <a:lnTo>
                      <a:pt x="1882" y="2874"/>
                    </a:lnTo>
                    <a:lnTo>
                      <a:pt x="1880" y="2878"/>
                    </a:lnTo>
                    <a:lnTo>
                      <a:pt x="1872" y="2886"/>
                    </a:lnTo>
                    <a:lnTo>
                      <a:pt x="1866" y="2892"/>
                    </a:lnTo>
                    <a:lnTo>
                      <a:pt x="1864" y="2894"/>
                    </a:lnTo>
                    <a:lnTo>
                      <a:pt x="1866" y="2896"/>
                    </a:lnTo>
                    <a:lnTo>
                      <a:pt x="1872" y="2906"/>
                    </a:lnTo>
                    <a:lnTo>
                      <a:pt x="1872" y="2910"/>
                    </a:lnTo>
                    <a:lnTo>
                      <a:pt x="1872" y="2914"/>
                    </a:lnTo>
                    <a:lnTo>
                      <a:pt x="1868" y="2918"/>
                    </a:lnTo>
                    <a:lnTo>
                      <a:pt x="1864" y="2924"/>
                    </a:lnTo>
                    <a:lnTo>
                      <a:pt x="1862" y="2930"/>
                    </a:lnTo>
                    <a:lnTo>
                      <a:pt x="1866" y="2940"/>
                    </a:lnTo>
                    <a:lnTo>
                      <a:pt x="1870" y="2948"/>
                    </a:lnTo>
                    <a:lnTo>
                      <a:pt x="1870" y="2956"/>
                    </a:lnTo>
                    <a:lnTo>
                      <a:pt x="1870" y="2966"/>
                    </a:lnTo>
                    <a:lnTo>
                      <a:pt x="1872" y="2980"/>
                    </a:lnTo>
                    <a:lnTo>
                      <a:pt x="1872" y="2986"/>
                    </a:lnTo>
                    <a:lnTo>
                      <a:pt x="1870" y="2990"/>
                    </a:lnTo>
                    <a:lnTo>
                      <a:pt x="1866" y="2996"/>
                    </a:lnTo>
                    <a:lnTo>
                      <a:pt x="1860" y="3000"/>
                    </a:lnTo>
                    <a:lnTo>
                      <a:pt x="1858" y="3006"/>
                    </a:lnTo>
                    <a:lnTo>
                      <a:pt x="1858" y="3012"/>
                    </a:lnTo>
                    <a:lnTo>
                      <a:pt x="1858" y="3020"/>
                    </a:lnTo>
                    <a:lnTo>
                      <a:pt x="1856" y="3020"/>
                    </a:lnTo>
                    <a:lnTo>
                      <a:pt x="1854" y="3024"/>
                    </a:lnTo>
                    <a:lnTo>
                      <a:pt x="1850" y="3034"/>
                    </a:lnTo>
                    <a:lnTo>
                      <a:pt x="1848" y="3044"/>
                    </a:lnTo>
                    <a:lnTo>
                      <a:pt x="1846" y="3050"/>
                    </a:lnTo>
                    <a:lnTo>
                      <a:pt x="1842" y="3054"/>
                    </a:lnTo>
                    <a:lnTo>
                      <a:pt x="1838" y="3064"/>
                    </a:lnTo>
                    <a:lnTo>
                      <a:pt x="1824" y="3108"/>
                    </a:lnTo>
                    <a:lnTo>
                      <a:pt x="1818" y="3130"/>
                    </a:lnTo>
                    <a:lnTo>
                      <a:pt x="1814" y="3144"/>
                    </a:lnTo>
                    <a:lnTo>
                      <a:pt x="1806" y="3154"/>
                    </a:lnTo>
                    <a:lnTo>
                      <a:pt x="1800" y="3160"/>
                    </a:lnTo>
                    <a:lnTo>
                      <a:pt x="1768" y="3170"/>
                    </a:lnTo>
                    <a:lnTo>
                      <a:pt x="1764" y="3170"/>
                    </a:lnTo>
                    <a:lnTo>
                      <a:pt x="1760" y="3166"/>
                    </a:lnTo>
                    <a:lnTo>
                      <a:pt x="1756" y="3164"/>
                    </a:lnTo>
                    <a:lnTo>
                      <a:pt x="1754" y="3166"/>
                    </a:lnTo>
                    <a:lnTo>
                      <a:pt x="1748" y="3168"/>
                    </a:lnTo>
                    <a:lnTo>
                      <a:pt x="1744" y="3170"/>
                    </a:lnTo>
                    <a:lnTo>
                      <a:pt x="1740" y="3170"/>
                    </a:lnTo>
                    <a:lnTo>
                      <a:pt x="1734" y="3168"/>
                    </a:lnTo>
                    <a:lnTo>
                      <a:pt x="1728" y="3164"/>
                    </a:lnTo>
                    <a:lnTo>
                      <a:pt x="1726" y="3162"/>
                    </a:lnTo>
                    <a:lnTo>
                      <a:pt x="1724" y="3162"/>
                    </a:lnTo>
                    <a:lnTo>
                      <a:pt x="1724" y="3164"/>
                    </a:lnTo>
                    <a:lnTo>
                      <a:pt x="1724" y="3168"/>
                    </a:lnTo>
                    <a:lnTo>
                      <a:pt x="1720" y="3170"/>
                    </a:lnTo>
                    <a:lnTo>
                      <a:pt x="1734" y="3232"/>
                    </a:lnTo>
                    <a:lnTo>
                      <a:pt x="1734" y="3230"/>
                    </a:lnTo>
                    <a:lnTo>
                      <a:pt x="1738" y="3232"/>
                    </a:lnTo>
                    <a:lnTo>
                      <a:pt x="1738" y="3236"/>
                    </a:lnTo>
                    <a:lnTo>
                      <a:pt x="1738" y="3242"/>
                    </a:lnTo>
                    <a:lnTo>
                      <a:pt x="1740" y="3252"/>
                    </a:lnTo>
                    <a:lnTo>
                      <a:pt x="1744" y="3260"/>
                    </a:lnTo>
                    <a:lnTo>
                      <a:pt x="1750" y="3266"/>
                    </a:lnTo>
                    <a:lnTo>
                      <a:pt x="1754" y="3272"/>
                    </a:lnTo>
                    <a:lnTo>
                      <a:pt x="1758" y="3278"/>
                    </a:lnTo>
                    <a:lnTo>
                      <a:pt x="1760" y="3288"/>
                    </a:lnTo>
                    <a:lnTo>
                      <a:pt x="1762" y="3300"/>
                    </a:lnTo>
                    <a:lnTo>
                      <a:pt x="1766" y="3306"/>
                    </a:lnTo>
                    <a:lnTo>
                      <a:pt x="1770" y="3312"/>
                    </a:lnTo>
                    <a:lnTo>
                      <a:pt x="1784" y="3328"/>
                    </a:lnTo>
                    <a:lnTo>
                      <a:pt x="1792" y="3340"/>
                    </a:lnTo>
                    <a:lnTo>
                      <a:pt x="1796" y="3344"/>
                    </a:lnTo>
                    <a:lnTo>
                      <a:pt x="1800" y="3346"/>
                    </a:lnTo>
                    <a:lnTo>
                      <a:pt x="1802" y="3344"/>
                    </a:lnTo>
                    <a:lnTo>
                      <a:pt x="1804" y="3340"/>
                    </a:lnTo>
                    <a:lnTo>
                      <a:pt x="1810" y="3328"/>
                    </a:lnTo>
                    <a:lnTo>
                      <a:pt x="1812" y="3314"/>
                    </a:lnTo>
                    <a:lnTo>
                      <a:pt x="1816" y="3292"/>
                    </a:lnTo>
                    <a:lnTo>
                      <a:pt x="1830" y="3254"/>
                    </a:lnTo>
                    <a:lnTo>
                      <a:pt x="1832" y="3250"/>
                    </a:lnTo>
                    <a:lnTo>
                      <a:pt x="1832" y="3256"/>
                    </a:lnTo>
                    <a:lnTo>
                      <a:pt x="1832" y="3260"/>
                    </a:lnTo>
                    <a:lnTo>
                      <a:pt x="1826" y="3286"/>
                    </a:lnTo>
                    <a:lnTo>
                      <a:pt x="1826" y="3296"/>
                    </a:lnTo>
                    <a:lnTo>
                      <a:pt x="1826" y="3302"/>
                    </a:lnTo>
                    <a:lnTo>
                      <a:pt x="1822" y="3312"/>
                    </a:lnTo>
                    <a:lnTo>
                      <a:pt x="1818" y="3328"/>
                    </a:lnTo>
                    <a:lnTo>
                      <a:pt x="1818" y="3330"/>
                    </a:lnTo>
                    <a:lnTo>
                      <a:pt x="1824" y="3328"/>
                    </a:lnTo>
                    <a:lnTo>
                      <a:pt x="1828" y="3326"/>
                    </a:lnTo>
                    <a:lnTo>
                      <a:pt x="1834" y="3326"/>
                    </a:lnTo>
                    <a:lnTo>
                      <a:pt x="1838" y="3328"/>
                    </a:lnTo>
                    <a:lnTo>
                      <a:pt x="1840" y="3330"/>
                    </a:lnTo>
                    <a:lnTo>
                      <a:pt x="1848" y="3340"/>
                    </a:lnTo>
                    <a:lnTo>
                      <a:pt x="1864" y="3372"/>
                    </a:lnTo>
                    <a:lnTo>
                      <a:pt x="1880" y="3406"/>
                    </a:lnTo>
                    <a:lnTo>
                      <a:pt x="1888" y="3418"/>
                    </a:lnTo>
                    <a:lnTo>
                      <a:pt x="1896" y="3428"/>
                    </a:lnTo>
                    <a:lnTo>
                      <a:pt x="1900" y="3434"/>
                    </a:lnTo>
                    <a:lnTo>
                      <a:pt x="1900" y="3440"/>
                    </a:lnTo>
                    <a:lnTo>
                      <a:pt x="1902" y="3444"/>
                    </a:lnTo>
                    <a:lnTo>
                      <a:pt x="1908" y="3450"/>
                    </a:lnTo>
                    <a:lnTo>
                      <a:pt x="1916" y="3458"/>
                    </a:lnTo>
                    <a:lnTo>
                      <a:pt x="1922" y="3470"/>
                    </a:lnTo>
                    <a:lnTo>
                      <a:pt x="1926" y="3482"/>
                    </a:lnTo>
                    <a:lnTo>
                      <a:pt x="1926" y="3486"/>
                    </a:lnTo>
                    <a:lnTo>
                      <a:pt x="1924" y="3492"/>
                    </a:lnTo>
                    <a:lnTo>
                      <a:pt x="1922" y="3496"/>
                    </a:lnTo>
                    <a:lnTo>
                      <a:pt x="1924" y="3502"/>
                    </a:lnTo>
                    <a:lnTo>
                      <a:pt x="1926" y="3506"/>
                    </a:lnTo>
                    <a:lnTo>
                      <a:pt x="1928" y="3512"/>
                    </a:lnTo>
                    <a:lnTo>
                      <a:pt x="1938" y="3522"/>
                    </a:lnTo>
                    <a:lnTo>
                      <a:pt x="1944" y="3526"/>
                    </a:lnTo>
                    <a:lnTo>
                      <a:pt x="1952" y="3528"/>
                    </a:lnTo>
                    <a:lnTo>
                      <a:pt x="1958" y="3532"/>
                    </a:lnTo>
                    <a:lnTo>
                      <a:pt x="1964" y="3538"/>
                    </a:lnTo>
                    <a:lnTo>
                      <a:pt x="1970" y="3548"/>
                    </a:lnTo>
                    <a:lnTo>
                      <a:pt x="1976" y="3560"/>
                    </a:lnTo>
                    <a:lnTo>
                      <a:pt x="1988" y="3586"/>
                    </a:lnTo>
                    <a:lnTo>
                      <a:pt x="1996" y="3610"/>
                    </a:lnTo>
                    <a:lnTo>
                      <a:pt x="1998" y="3620"/>
                    </a:lnTo>
                    <a:lnTo>
                      <a:pt x="1998" y="3626"/>
                    </a:lnTo>
                    <a:lnTo>
                      <a:pt x="1998" y="3632"/>
                    </a:lnTo>
                    <a:lnTo>
                      <a:pt x="1996" y="3636"/>
                    </a:lnTo>
                    <a:lnTo>
                      <a:pt x="1994" y="3638"/>
                    </a:lnTo>
                    <a:lnTo>
                      <a:pt x="1992" y="3642"/>
                    </a:lnTo>
                    <a:lnTo>
                      <a:pt x="1994" y="3648"/>
                    </a:lnTo>
                    <a:lnTo>
                      <a:pt x="1996" y="3656"/>
                    </a:lnTo>
                    <a:lnTo>
                      <a:pt x="2000" y="3664"/>
                    </a:lnTo>
                    <a:lnTo>
                      <a:pt x="2000" y="3668"/>
                    </a:lnTo>
                    <a:lnTo>
                      <a:pt x="1998" y="3670"/>
                    </a:lnTo>
                    <a:lnTo>
                      <a:pt x="1998" y="3672"/>
                    </a:lnTo>
                    <a:lnTo>
                      <a:pt x="1996" y="3674"/>
                    </a:lnTo>
                    <a:lnTo>
                      <a:pt x="1996" y="3676"/>
                    </a:lnTo>
                    <a:lnTo>
                      <a:pt x="2004" y="3690"/>
                    </a:lnTo>
                    <a:lnTo>
                      <a:pt x="2014" y="3706"/>
                    </a:lnTo>
                    <a:lnTo>
                      <a:pt x="2020" y="3716"/>
                    </a:lnTo>
                    <a:lnTo>
                      <a:pt x="2026" y="3722"/>
                    </a:lnTo>
                    <a:lnTo>
                      <a:pt x="2036" y="3726"/>
                    </a:lnTo>
                    <a:lnTo>
                      <a:pt x="2042" y="3730"/>
                    </a:lnTo>
                    <a:lnTo>
                      <a:pt x="2048" y="3734"/>
                    </a:lnTo>
                    <a:lnTo>
                      <a:pt x="2058" y="3744"/>
                    </a:lnTo>
                    <a:lnTo>
                      <a:pt x="2064" y="3758"/>
                    </a:lnTo>
                    <a:lnTo>
                      <a:pt x="2072" y="3770"/>
                    </a:lnTo>
                    <a:lnTo>
                      <a:pt x="2078" y="3778"/>
                    </a:lnTo>
                    <a:lnTo>
                      <a:pt x="2082" y="3782"/>
                    </a:lnTo>
                    <a:lnTo>
                      <a:pt x="2084" y="3786"/>
                    </a:lnTo>
                    <a:lnTo>
                      <a:pt x="2084" y="3796"/>
                    </a:lnTo>
                    <a:lnTo>
                      <a:pt x="2086" y="3804"/>
                    </a:lnTo>
                    <a:lnTo>
                      <a:pt x="2088" y="3810"/>
                    </a:lnTo>
                    <a:lnTo>
                      <a:pt x="2092" y="3816"/>
                    </a:lnTo>
                    <a:lnTo>
                      <a:pt x="2094" y="3824"/>
                    </a:lnTo>
                    <a:lnTo>
                      <a:pt x="2096" y="3830"/>
                    </a:lnTo>
                    <a:lnTo>
                      <a:pt x="2098" y="3836"/>
                    </a:lnTo>
                    <a:lnTo>
                      <a:pt x="2108" y="3848"/>
                    </a:lnTo>
                    <a:lnTo>
                      <a:pt x="2120" y="3862"/>
                    </a:lnTo>
                    <a:lnTo>
                      <a:pt x="2124" y="3870"/>
                    </a:lnTo>
                    <a:lnTo>
                      <a:pt x="2126" y="3878"/>
                    </a:lnTo>
                    <a:lnTo>
                      <a:pt x="2128" y="3884"/>
                    </a:lnTo>
                    <a:lnTo>
                      <a:pt x="2130" y="3886"/>
                    </a:lnTo>
                    <a:lnTo>
                      <a:pt x="2134" y="3886"/>
                    </a:lnTo>
                    <a:lnTo>
                      <a:pt x="2138" y="3888"/>
                    </a:lnTo>
                    <a:lnTo>
                      <a:pt x="2140" y="3892"/>
                    </a:lnTo>
                    <a:lnTo>
                      <a:pt x="2144" y="3902"/>
                    </a:lnTo>
                    <a:lnTo>
                      <a:pt x="2146" y="3918"/>
                    </a:lnTo>
                    <a:lnTo>
                      <a:pt x="2148" y="3936"/>
                    </a:lnTo>
                    <a:lnTo>
                      <a:pt x="2146" y="3944"/>
                    </a:lnTo>
                    <a:lnTo>
                      <a:pt x="2142" y="3952"/>
                    </a:lnTo>
                    <a:lnTo>
                      <a:pt x="2142" y="3954"/>
                    </a:lnTo>
                    <a:lnTo>
                      <a:pt x="2142" y="3958"/>
                    </a:lnTo>
                    <a:lnTo>
                      <a:pt x="2144" y="3964"/>
                    </a:lnTo>
                    <a:lnTo>
                      <a:pt x="2146" y="3968"/>
                    </a:lnTo>
                    <a:lnTo>
                      <a:pt x="2146" y="3972"/>
                    </a:lnTo>
                    <a:lnTo>
                      <a:pt x="2144" y="3974"/>
                    </a:lnTo>
                    <a:lnTo>
                      <a:pt x="2140" y="3976"/>
                    </a:lnTo>
                    <a:lnTo>
                      <a:pt x="2142" y="3980"/>
                    </a:lnTo>
                    <a:lnTo>
                      <a:pt x="2146" y="3982"/>
                    </a:lnTo>
                    <a:lnTo>
                      <a:pt x="2148" y="3986"/>
                    </a:lnTo>
                    <a:lnTo>
                      <a:pt x="2150" y="3988"/>
                    </a:lnTo>
                    <a:lnTo>
                      <a:pt x="2150" y="3996"/>
                    </a:lnTo>
                    <a:lnTo>
                      <a:pt x="2152" y="4000"/>
                    </a:lnTo>
                    <a:lnTo>
                      <a:pt x="2154" y="4008"/>
                    </a:lnTo>
                    <a:lnTo>
                      <a:pt x="2156" y="4020"/>
                    </a:lnTo>
                    <a:lnTo>
                      <a:pt x="2158" y="4034"/>
                    </a:lnTo>
                    <a:lnTo>
                      <a:pt x="2162" y="4044"/>
                    </a:lnTo>
                    <a:lnTo>
                      <a:pt x="2166" y="4054"/>
                    </a:lnTo>
                    <a:lnTo>
                      <a:pt x="2166" y="4058"/>
                    </a:lnTo>
                    <a:lnTo>
                      <a:pt x="2166" y="4064"/>
                    </a:lnTo>
                    <a:lnTo>
                      <a:pt x="2164" y="4072"/>
                    </a:lnTo>
                    <a:lnTo>
                      <a:pt x="2166" y="4076"/>
                    </a:lnTo>
                    <a:lnTo>
                      <a:pt x="2168" y="4082"/>
                    </a:lnTo>
                    <a:lnTo>
                      <a:pt x="2172" y="4092"/>
                    </a:lnTo>
                    <a:lnTo>
                      <a:pt x="2176" y="4100"/>
                    </a:lnTo>
                    <a:lnTo>
                      <a:pt x="2178" y="4102"/>
                    </a:lnTo>
                    <a:lnTo>
                      <a:pt x="2180" y="4102"/>
                    </a:lnTo>
                    <a:lnTo>
                      <a:pt x="2184" y="4100"/>
                    </a:lnTo>
                    <a:lnTo>
                      <a:pt x="2186" y="4102"/>
                    </a:lnTo>
                    <a:lnTo>
                      <a:pt x="2190" y="4104"/>
                    </a:lnTo>
                    <a:lnTo>
                      <a:pt x="2196" y="4108"/>
                    </a:lnTo>
                    <a:lnTo>
                      <a:pt x="2200" y="4106"/>
                    </a:lnTo>
                    <a:lnTo>
                      <a:pt x="2204" y="4104"/>
                    </a:lnTo>
                    <a:lnTo>
                      <a:pt x="2208" y="4104"/>
                    </a:lnTo>
                    <a:lnTo>
                      <a:pt x="2212" y="4104"/>
                    </a:lnTo>
                    <a:lnTo>
                      <a:pt x="2214" y="4102"/>
                    </a:lnTo>
                    <a:lnTo>
                      <a:pt x="2218" y="4098"/>
                    </a:lnTo>
                    <a:lnTo>
                      <a:pt x="2226" y="4098"/>
                    </a:lnTo>
                    <a:lnTo>
                      <a:pt x="2232" y="4100"/>
                    </a:lnTo>
                    <a:lnTo>
                      <a:pt x="2236" y="4098"/>
                    </a:lnTo>
                    <a:lnTo>
                      <a:pt x="2238" y="4096"/>
                    </a:lnTo>
                    <a:lnTo>
                      <a:pt x="2240" y="4094"/>
                    </a:lnTo>
                    <a:lnTo>
                      <a:pt x="2242" y="4090"/>
                    </a:lnTo>
                    <a:lnTo>
                      <a:pt x="2244" y="4088"/>
                    </a:lnTo>
                    <a:lnTo>
                      <a:pt x="2248" y="4088"/>
                    </a:lnTo>
                    <a:lnTo>
                      <a:pt x="2252" y="4086"/>
                    </a:lnTo>
                    <a:lnTo>
                      <a:pt x="2254" y="4084"/>
                    </a:lnTo>
                    <a:lnTo>
                      <a:pt x="2258" y="4074"/>
                    </a:lnTo>
                    <a:lnTo>
                      <a:pt x="2262" y="4070"/>
                    </a:lnTo>
                    <a:lnTo>
                      <a:pt x="2266" y="4068"/>
                    </a:lnTo>
                    <a:lnTo>
                      <a:pt x="2274" y="4066"/>
                    </a:lnTo>
                    <a:lnTo>
                      <a:pt x="2284" y="4066"/>
                    </a:lnTo>
                    <a:lnTo>
                      <a:pt x="2300" y="4066"/>
                    </a:lnTo>
                    <a:lnTo>
                      <a:pt x="2312" y="4062"/>
                    </a:lnTo>
                    <a:lnTo>
                      <a:pt x="2324" y="4058"/>
                    </a:lnTo>
                    <a:lnTo>
                      <a:pt x="2334" y="4050"/>
                    </a:lnTo>
                    <a:lnTo>
                      <a:pt x="2348" y="4038"/>
                    </a:lnTo>
                    <a:lnTo>
                      <a:pt x="2356" y="4036"/>
                    </a:lnTo>
                    <a:lnTo>
                      <a:pt x="2364" y="4036"/>
                    </a:lnTo>
                    <a:lnTo>
                      <a:pt x="2370" y="4038"/>
                    </a:lnTo>
                    <a:lnTo>
                      <a:pt x="2374" y="4038"/>
                    </a:lnTo>
                    <a:lnTo>
                      <a:pt x="2382" y="4034"/>
                    </a:lnTo>
                    <a:lnTo>
                      <a:pt x="2390" y="4028"/>
                    </a:lnTo>
                    <a:lnTo>
                      <a:pt x="2398" y="4020"/>
                    </a:lnTo>
                    <a:lnTo>
                      <a:pt x="2406" y="4010"/>
                    </a:lnTo>
                    <a:lnTo>
                      <a:pt x="2416" y="4002"/>
                    </a:lnTo>
                    <a:lnTo>
                      <a:pt x="2426" y="3998"/>
                    </a:lnTo>
                    <a:lnTo>
                      <a:pt x="2432" y="3996"/>
                    </a:lnTo>
                    <a:lnTo>
                      <a:pt x="2438" y="3998"/>
                    </a:lnTo>
                    <a:lnTo>
                      <a:pt x="2442" y="3998"/>
                    </a:lnTo>
                    <a:lnTo>
                      <a:pt x="2446" y="3996"/>
                    </a:lnTo>
                    <a:lnTo>
                      <a:pt x="2452" y="3992"/>
                    </a:lnTo>
                    <a:lnTo>
                      <a:pt x="2462" y="3986"/>
                    </a:lnTo>
                    <a:lnTo>
                      <a:pt x="2468" y="3982"/>
                    </a:lnTo>
                    <a:lnTo>
                      <a:pt x="2480" y="3978"/>
                    </a:lnTo>
                    <a:lnTo>
                      <a:pt x="2500" y="3972"/>
                    </a:lnTo>
                    <a:lnTo>
                      <a:pt x="2506" y="3968"/>
                    </a:lnTo>
                    <a:lnTo>
                      <a:pt x="2510" y="3966"/>
                    </a:lnTo>
                    <a:lnTo>
                      <a:pt x="2520" y="3962"/>
                    </a:lnTo>
                    <a:lnTo>
                      <a:pt x="2526" y="3960"/>
                    </a:lnTo>
                    <a:lnTo>
                      <a:pt x="2528" y="3954"/>
                    </a:lnTo>
                    <a:lnTo>
                      <a:pt x="2528" y="3942"/>
                    </a:lnTo>
                    <a:lnTo>
                      <a:pt x="2528" y="3934"/>
                    </a:lnTo>
                    <a:lnTo>
                      <a:pt x="2532" y="3926"/>
                    </a:lnTo>
                    <a:lnTo>
                      <a:pt x="2542" y="3916"/>
                    </a:lnTo>
                    <a:lnTo>
                      <a:pt x="2562" y="3906"/>
                    </a:lnTo>
                    <a:lnTo>
                      <a:pt x="2566" y="3902"/>
                    </a:lnTo>
                    <a:lnTo>
                      <a:pt x="2572" y="3902"/>
                    </a:lnTo>
                    <a:lnTo>
                      <a:pt x="2578" y="3902"/>
                    </a:lnTo>
                    <a:lnTo>
                      <a:pt x="2584" y="3902"/>
                    </a:lnTo>
                    <a:lnTo>
                      <a:pt x="2586" y="3900"/>
                    </a:lnTo>
                    <a:lnTo>
                      <a:pt x="2594" y="3894"/>
                    </a:lnTo>
                    <a:lnTo>
                      <a:pt x="2600" y="3892"/>
                    </a:lnTo>
                    <a:lnTo>
                      <a:pt x="2606" y="3890"/>
                    </a:lnTo>
                    <a:lnTo>
                      <a:pt x="2614" y="3888"/>
                    </a:lnTo>
                    <a:lnTo>
                      <a:pt x="2624" y="3890"/>
                    </a:lnTo>
                    <a:lnTo>
                      <a:pt x="2630" y="3890"/>
                    </a:lnTo>
                    <a:lnTo>
                      <a:pt x="2634" y="3890"/>
                    </a:lnTo>
                    <a:lnTo>
                      <a:pt x="2638" y="3888"/>
                    </a:lnTo>
                    <a:lnTo>
                      <a:pt x="2642" y="3886"/>
                    </a:lnTo>
                    <a:lnTo>
                      <a:pt x="2646" y="3878"/>
                    </a:lnTo>
                    <a:lnTo>
                      <a:pt x="2650" y="3868"/>
                    </a:lnTo>
                    <a:lnTo>
                      <a:pt x="2654" y="3858"/>
                    </a:lnTo>
                    <a:lnTo>
                      <a:pt x="2658" y="3850"/>
                    </a:lnTo>
                    <a:lnTo>
                      <a:pt x="2664" y="3844"/>
                    </a:lnTo>
                    <a:lnTo>
                      <a:pt x="2670" y="3842"/>
                    </a:lnTo>
                    <a:lnTo>
                      <a:pt x="2676" y="3842"/>
                    </a:lnTo>
                    <a:lnTo>
                      <a:pt x="2690" y="3840"/>
                    </a:lnTo>
                    <a:lnTo>
                      <a:pt x="2698" y="3836"/>
                    </a:lnTo>
                    <a:lnTo>
                      <a:pt x="2702" y="3830"/>
                    </a:lnTo>
                    <a:lnTo>
                      <a:pt x="2704" y="3822"/>
                    </a:lnTo>
                    <a:lnTo>
                      <a:pt x="2708" y="3814"/>
                    </a:lnTo>
                    <a:lnTo>
                      <a:pt x="2712" y="3806"/>
                    </a:lnTo>
                    <a:lnTo>
                      <a:pt x="2720" y="3798"/>
                    </a:lnTo>
                    <a:lnTo>
                      <a:pt x="2734" y="3794"/>
                    </a:lnTo>
                    <a:lnTo>
                      <a:pt x="2746" y="3790"/>
                    </a:lnTo>
                    <a:lnTo>
                      <a:pt x="2752" y="3786"/>
                    </a:lnTo>
                    <a:lnTo>
                      <a:pt x="2754" y="3782"/>
                    </a:lnTo>
                    <a:lnTo>
                      <a:pt x="2752" y="3776"/>
                    </a:lnTo>
                    <a:lnTo>
                      <a:pt x="2750" y="3768"/>
                    </a:lnTo>
                    <a:lnTo>
                      <a:pt x="2750" y="3758"/>
                    </a:lnTo>
                    <a:lnTo>
                      <a:pt x="2750" y="3746"/>
                    </a:lnTo>
                    <a:lnTo>
                      <a:pt x="2754" y="3730"/>
                    </a:lnTo>
                    <a:lnTo>
                      <a:pt x="2760" y="3716"/>
                    </a:lnTo>
                    <a:lnTo>
                      <a:pt x="2764" y="3710"/>
                    </a:lnTo>
                    <a:lnTo>
                      <a:pt x="2768" y="3712"/>
                    </a:lnTo>
                    <a:lnTo>
                      <a:pt x="2770" y="3714"/>
                    </a:lnTo>
                    <a:lnTo>
                      <a:pt x="2772" y="3718"/>
                    </a:lnTo>
                    <a:lnTo>
                      <a:pt x="2776" y="3720"/>
                    </a:lnTo>
                    <a:lnTo>
                      <a:pt x="2780" y="3716"/>
                    </a:lnTo>
                    <a:lnTo>
                      <a:pt x="2786" y="3704"/>
                    </a:lnTo>
                    <a:lnTo>
                      <a:pt x="2792" y="3692"/>
                    </a:lnTo>
                    <a:lnTo>
                      <a:pt x="2796" y="3684"/>
                    </a:lnTo>
                    <a:lnTo>
                      <a:pt x="2806" y="3674"/>
                    </a:lnTo>
                    <a:lnTo>
                      <a:pt x="2816" y="3664"/>
                    </a:lnTo>
                    <a:lnTo>
                      <a:pt x="2820" y="3656"/>
                    </a:lnTo>
                    <a:lnTo>
                      <a:pt x="2824" y="3644"/>
                    </a:lnTo>
                    <a:lnTo>
                      <a:pt x="2830" y="3628"/>
                    </a:lnTo>
                    <a:lnTo>
                      <a:pt x="2834" y="3618"/>
                    </a:lnTo>
                    <a:lnTo>
                      <a:pt x="2834" y="3616"/>
                    </a:lnTo>
                    <a:lnTo>
                      <a:pt x="2832" y="3614"/>
                    </a:lnTo>
                    <a:lnTo>
                      <a:pt x="2822" y="3608"/>
                    </a:lnTo>
                    <a:close/>
                    <a:moveTo>
                      <a:pt x="2468" y="3400"/>
                    </a:moveTo>
                    <a:lnTo>
                      <a:pt x="2468" y="3400"/>
                    </a:lnTo>
                    <a:lnTo>
                      <a:pt x="2470" y="3400"/>
                    </a:lnTo>
                    <a:lnTo>
                      <a:pt x="2468" y="3400"/>
                    </a:lnTo>
                    <a:close/>
                    <a:moveTo>
                      <a:pt x="1836" y="3098"/>
                    </a:moveTo>
                    <a:lnTo>
                      <a:pt x="1836" y="3098"/>
                    </a:lnTo>
                    <a:lnTo>
                      <a:pt x="1838" y="3094"/>
                    </a:lnTo>
                    <a:lnTo>
                      <a:pt x="1842" y="3094"/>
                    </a:lnTo>
                    <a:lnTo>
                      <a:pt x="1838" y="3094"/>
                    </a:lnTo>
                    <a:lnTo>
                      <a:pt x="1836" y="3098"/>
                    </a:lnTo>
                    <a:close/>
                    <a:moveTo>
                      <a:pt x="1856" y="3100"/>
                    </a:moveTo>
                    <a:lnTo>
                      <a:pt x="1856" y="3100"/>
                    </a:lnTo>
                    <a:lnTo>
                      <a:pt x="1856" y="3102"/>
                    </a:lnTo>
                    <a:lnTo>
                      <a:pt x="1856" y="3100"/>
                    </a:lnTo>
                    <a:lnTo>
                      <a:pt x="1856" y="3090"/>
                    </a:lnTo>
                    <a:lnTo>
                      <a:pt x="1858" y="3084"/>
                    </a:lnTo>
                    <a:lnTo>
                      <a:pt x="1860" y="3082"/>
                    </a:lnTo>
                    <a:lnTo>
                      <a:pt x="1858" y="3084"/>
                    </a:lnTo>
                    <a:lnTo>
                      <a:pt x="1856" y="3090"/>
                    </a:lnTo>
                    <a:lnTo>
                      <a:pt x="1856" y="310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b="1" dirty="0"/>
              </a:p>
            </p:txBody>
          </p:sp>
          <p:sp>
            <p:nvSpPr>
              <p:cNvPr id="1714" name="Freeform 6156">
                <a:extLst>
                  <a:ext uri="{FF2B5EF4-FFF2-40B4-BE49-F238E27FC236}">
                    <a16:creationId xmlns:a16="http://schemas.microsoft.com/office/drawing/2014/main" id="{6BD3020F-EFB7-4E2A-8A4D-0832E19AB9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67288" y="879494"/>
                <a:ext cx="3719525" cy="3473436"/>
              </a:xfrm>
              <a:custGeom>
                <a:avLst/>
                <a:gdLst>
                  <a:gd name="T0" fmla="*/ 334096 w 5856"/>
                  <a:gd name="T1" fmla="*/ 341505 h 5472"/>
                  <a:gd name="T2" fmla="*/ 374746 w 5856"/>
                  <a:gd name="T3" fmla="*/ 60938 h 5472"/>
                  <a:gd name="T4" fmla="*/ 2452998 w 5856"/>
                  <a:gd name="T5" fmla="*/ 316114 h 5472"/>
                  <a:gd name="T6" fmla="*/ 3177084 w 5856"/>
                  <a:gd name="T7" fmla="*/ 608108 h 5472"/>
                  <a:gd name="T8" fmla="*/ 2139228 w 5856"/>
                  <a:gd name="T9" fmla="*/ 481154 h 5472"/>
                  <a:gd name="T10" fmla="*/ 256606 w 5856"/>
                  <a:gd name="T11" fmla="*/ 559865 h 5472"/>
                  <a:gd name="T12" fmla="*/ 48272 w 5856"/>
                  <a:gd name="T13" fmla="*/ 76172 h 5472"/>
                  <a:gd name="T14" fmla="*/ 461128 w 5856"/>
                  <a:gd name="T15" fmla="*/ 11426 h 5472"/>
                  <a:gd name="T16" fmla="*/ 438262 w 5856"/>
                  <a:gd name="T17" fmla="*/ 78711 h 5472"/>
                  <a:gd name="T18" fmla="*/ 1814025 w 5856"/>
                  <a:gd name="T19" fmla="*/ 3336340 h 5472"/>
                  <a:gd name="T20" fmla="*/ 2066820 w 5856"/>
                  <a:gd name="T21" fmla="*/ 2794248 h 5472"/>
                  <a:gd name="T22" fmla="*/ 2090956 w 5856"/>
                  <a:gd name="T23" fmla="*/ 2845030 h 5472"/>
                  <a:gd name="T24" fmla="*/ 2021088 w 5856"/>
                  <a:gd name="T25" fmla="*/ 2668564 h 5472"/>
                  <a:gd name="T26" fmla="*/ 2068090 w 5856"/>
                  <a:gd name="T27" fmla="*/ 2759971 h 5472"/>
                  <a:gd name="T28" fmla="*/ 2012196 w 5856"/>
                  <a:gd name="T29" fmla="*/ 2762510 h 5472"/>
                  <a:gd name="T30" fmla="*/ 2125255 w 5856"/>
                  <a:gd name="T31" fmla="*/ 3088781 h 5472"/>
                  <a:gd name="T32" fmla="*/ 2097307 w 5856"/>
                  <a:gd name="T33" fmla="*/ 1976667 h 5472"/>
                  <a:gd name="T34" fmla="*/ 2010925 w 5856"/>
                  <a:gd name="T35" fmla="*/ 3324914 h 5472"/>
                  <a:gd name="T36" fmla="*/ 2102389 w 5856"/>
                  <a:gd name="T37" fmla="*/ 1863679 h 5472"/>
                  <a:gd name="T38" fmla="*/ 1256352 w 5856"/>
                  <a:gd name="T39" fmla="*/ 2824717 h 5472"/>
                  <a:gd name="T40" fmla="*/ 1637450 w 5856"/>
                  <a:gd name="T41" fmla="*/ 2959288 h 5472"/>
                  <a:gd name="T42" fmla="*/ 1636179 w 5856"/>
                  <a:gd name="T43" fmla="*/ 3313488 h 5472"/>
                  <a:gd name="T44" fmla="*/ 1580285 w 5856"/>
                  <a:gd name="T45" fmla="*/ 3222082 h 5472"/>
                  <a:gd name="T46" fmla="*/ 1342734 w 5856"/>
                  <a:gd name="T47" fmla="*/ 2956749 h 5472"/>
                  <a:gd name="T48" fmla="*/ 5081 w 5856"/>
                  <a:gd name="T49" fmla="*/ 3446790 h 5472"/>
                  <a:gd name="T50" fmla="*/ 2179879 w 5856"/>
                  <a:gd name="T51" fmla="*/ 2182332 h 5472"/>
                  <a:gd name="T52" fmla="*/ 2291667 w 5856"/>
                  <a:gd name="T53" fmla="*/ 2007136 h 5472"/>
                  <a:gd name="T54" fmla="*/ 1948679 w 5856"/>
                  <a:gd name="T55" fmla="*/ 3044347 h 5472"/>
                  <a:gd name="T56" fmla="*/ 1984248 w 5856"/>
                  <a:gd name="T57" fmla="*/ 3100206 h 5472"/>
                  <a:gd name="T58" fmla="*/ 1942328 w 5856"/>
                  <a:gd name="T59" fmla="*/ 2744736 h 5472"/>
                  <a:gd name="T60" fmla="*/ 2132876 w 5856"/>
                  <a:gd name="T61" fmla="*/ 3114171 h 5472"/>
                  <a:gd name="T62" fmla="*/ 2483486 w 5856"/>
                  <a:gd name="T63" fmla="*/ 1744342 h 5472"/>
                  <a:gd name="T64" fmla="*/ 2336129 w 5856"/>
                  <a:gd name="T65" fmla="*/ 1971589 h 5472"/>
                  <a:gd name="T66" fmla="*/ 2107470 w 5856"/>
                  <a:gd name="T67" fmla="*/ 1984284 h 5472"/>
                  <a:gd name="T68" fmla="*/ 2536840 w 5856"/>
                  <a:gd name="T69" fmla="*/ 1350786 h 5472"/>
                  <a:gd name="T70" fmla="*/ 2451728 w 5856"/>
                  <a:gd name="T71" fmla="*/ 1727838 h 5472"/>
                  <a:gd name="T72" fmla="*/ 2022358 w 5856"/>
                  <a:gd name="T73" fmla="*/ 2660947 h 5472"/>
                  <a:gd name="T74" fmla="*/ 1906759 w 5856"/>
                  <a:gd name="T75" fmla="*/ 2780283 h 5472"/>
                  <a:gd name="T76" fmla="*/ 2087145 w 5856"/>
                  <a:gd name="T77" fmla="*/ 2730772 h 5472"/>
                  <a:gd name="T78" fmla="*/ 1878811 w 5856"/>
                  <a:gd name="T79" fmla="*/ 2870420 h 5472"/>
                  <a:gd name="T80" fmla="*/ 1669208 w 5856"/>
                  <a:gd name="T81" fmla="*/ 3111632 h 5472"/>
                  <a:gd name="T82" fmla="*/ 2046494 w 5856"/>
                  <a:gd name="T83" fmla="*/ 2306747 h 5472"/>
                  <a:gd name="T84" fmla="*/ 3226627 w 5856"/>
                  <a:gd name="T85" fmla="*/ 603030 h 5472"/>
                  <a:gd name="T86" fmla="*/ 2160824 w 5856"/>
                  <a:gd name="T87" fmla="*/ 505275 h 5472"/>
                  <a:gd name="T88" fmla="*/ 1448171 w 5856"/>
                  <a:gd name="T89" fmla="*/ 275489 h 5472"/>
                  <a:gd name="T90" fmla="*/ 899390 w 5856"/>
                  <a:gd name="T91" fmla="*/ 483693 h 5472"/>
                  <a:gd name="T92" fmla="*/ 736789 w 5856"/>
                  <a:gd name="T93" fmla="*/ 700784 h 5472"/>
                  <a:gd name="T94" fmla="*/ 137195 w 5856"/>
                  <a:gd name="T95" fmla="*/ 684280 h 5472"/>
                  <a:gd name="T96" fmla="*/ 415396 w 5856"/>
                  <a:gd name="T97" fmla="*/ 2273739 h 5472"/>
                  <a:gd name="T98" fmla="*/ 814279 w 5856"/>
                  <a:gd name="T99" fmla="*/ 2748545 h 5472"/>
                  <a:gd name="T100" fmla="*/ 1185214 w 5856"/>
                  <a:gd name="T101" fmla="*/ 2338485 h 5472"/>
                  <a:gd name="T102" fmla="*/ 1393547 w 5856"/>
                  <a:gd name="T103" fmla="*/ 2695225 h 5472"/>
                  <a:gd name="T104" fmla="*/ 1451982 w 5856"/>
                  <a:gd name="T105" fmla="*/ 2856456 h 5472"/>
                  <a:gd name="T106" fmla="*/ 1629828 w 5856"/>
                  <a:gd name="T107" fmla="*/ 2740928 h 5472"/>
                  <a:gd name="T108" fmla="*/ 1744157 w 5856"/>
                  <a:gd name="T109" fmla="*/ 2391805 h 5472"/>
                  <a:gd name="T110" fmla="*/ 1933435 w 5856"/>
                  <a:gd name="T111" fmla="*/ 2254696 h 5472"/>
                  <a:gd name="T112" fmla="*/ 1986789 w 5856"/>
                  <a:gd name="T113" fmla="*/ 2059187 h 5472"/>
                  <a:gd name="T114" fmla="*/ 1905488 w 5856"/>
                  <a:gd name="T115" fmla="*/ 1812897 h 5472"/>
                  <a:gd name="T116" fmla="*/ 2103659 w 5856"/>
                  <a:gd name="T117" fmla="*/ 1858600 h 5472"/>
                  <a:gd name="T118" fmla="*/ 2129066 w 5856"/>
                  <a:gd name="T119" fmla="*/ 1809089 h 5472"/>
                  <a:gd name="T120" fmla="*/ 2413618 w 5856"/>
                  <a:gd name="T121" fmla="*/ 1277153 h 5472"/>
                  <a:gd name="T122" fmla="*/ 3003049 w 5856"/>
                  <a:gd name="T123" fmla="*/ 983890 h 5472"/>
                  <a:gd name="T124" fmla="*/ 3079269 w 5856"/>
                  <a:gd name="T125" fmla="*/ 1027054 h 547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856"/>
                  <a:gd name="T190" fmla="*/ 0 h 5472"/>
                  <a:gd name="T191" fmla="*/ 5856 w 5856"/>
                  <a:gd name="T192" fmla="*/ 5472 h 547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856" h="5472">
                    <a:moveTo>
                      <a:pt x="1912" y="64"/>
                    </a:moveTo>
                    <a:lnTo>
                      <a:pt x="1912" y="64"/>
                    </a:lnTo>
                    <a:lnTo>
                      <a:pt x="1910" y="60"/>
                    </a:lnTo>
                    <a:lnTo>
                      <a:pt x="1902" y="58"/>
                    </a:lnTo>
                    <a:lnTo>
                      <a:pt x="1882" y="54"/>
                    </a:lnTo>
                    <a:lnTo>
                      <a:pt x="1862" y="54"/>
                    </a:lnTo>
                    <a:lnTo>
                      <a:pt x="1854" y="56"/>
                    </a:lnTo>
                    <a:lnTo>
                      <a:pt x="1850" y="60"/>
                    </a:lnTo>
                    <a:lnTo>
                      <a:pt x="1850" y="62"/>
                    </a:lnTo>
                    <a:lnTo>
                      <a:pt x="1852" y="64"/>
                    </a:lnTo>
                    <a:lnTo>
                      <a:pt x="1858" y="68"/>
                    </a:lnTo>
                    <a:lnTo>
                      <a:pt x="1868" y="70"/>
                    </a:lnTo>
                    <a:lnTo>
                      <a:pt x="1880" y="70"/>
                    </a:lnTo>
                    <a:lnTo>
                      <a:pt x="1902" y="68"/>
                    </a:lnTo>
                    <a:lnTo>
                      <a:pt x="1908" y="66"/>
                    </a:lnTo>
                    <a:lnTo>
                      <a:pt x="1912" y="64"/>
                    </a:lnTo>
                    <a:close/>
                    <a:moveTo>
                      <a:pt x="1078" y="706"/>
                    </a:moveTo>
                    <a:lnTo>
                      <a:pt x="1078" y="706"/>
                    </a:lnTo>
                    <a:lnTo>
                      <a:pt x="1094" y="702"/>
                    </a:lnTo>
                    <a:lnTo>
                      <a:pt x="1100" y="700"/>
                    </a:lnTo>
                    <a:lnTo>
                      <a:pt x="1104" y="698"/>
                    </a:lnTo>
                    <a:lnTo>
                      <a:pt x="1104" y="694"/>
                    </a:lnTo>
                    <a:lnTo>
                      <a:pt x="1104" y="690"/>
                    </a:lnTo>
                    <a:lnTo>
                      <a:pt x="1102" y="684"/>
                    </a:lnTo>
                    <a:lnTo>
                      <a:pt x="1094" y="678"/>
                    </a:lnTo>
                    <a:lnTo>
                      <a:pt x="1082" y="674"/>
                    </a:lnTo>
                    <a:lnTo>
                      <a:pt x="1070" y="674"/>
                    </a:lnTo>
                    <a:lnTo>
                      <a:pt x="1058" y="676"/>
                    </a:lnTo>
                    <a:lnTo>
                      <a:pt x="1048" y="682"/>
                    </a:lnTo>
                    <a:lnTo>
                      <a:pt x="1040" y="688"/>
                    </a:lnTo>
                    <a:lnTo>
                      <a:pt x="1036" y="694"/>
                    </a:lnTo>
                    <a:lnTo>
                      <a:pt x="1036" y="700"/>
                    </a:lnTo>
                    <a:lnTo>
                      <a:pt x="1040" y="704"/>
                    </a:lnTo>
                    <a:lnTo>
                      <a:pt x="1048" y="708"/>
                    </a:lnTo>
                    <a:lnTo>
                      <a:pt x="1060" y="708"/>
                    </a:lnTo>
                    <a:lnTo>
                      <a:pt x="1078" y="706"/>
                    </a:lnTo>
                    <a:close/>
                    <a:moveTo>
                      <a:pt x="1928" y="154"/>
                    </a:moveTo>
                    <a:lnTo>
                      <a:pt x="1928" y="154"/>
                    </a:lnTo>
                    <a:lnTo>
                      <a:pt x="1914" y="152"/>
                    </a:lnTo>
                    <a:lnTo>
                      <a:pt x="1902" y="154"/>
                    </a:lnTo>
                    <a:lnTo>
                      <a:pt x="1894" y="156"/>
                    </a:lnTo>
                    <a:lnTo>
                      <a:pt x="1890" y="160"/>
                    </a:lnTo>
                    <a:lnTo>
                      <a:pt x="1890" y="164"/>
                    </a:lnTo>
                    <a:lnTo>
                      <a:pt x="1894" y="168"/>
                    </a:lnTo>
                    <a:lnTo>
                      <a:pt x="1900" y="172"/>
                    </a:lnTo>
                    <a:lnTo>
                      <a:pt x="1910" y="176"/>
                    </a:lnTo>
                    <a:lnTo>
                      <a:pt x="1920" y="178"/>
                    </a:lnTo>
                    <a:lnTo>
                      <a:pt x="1926" y="180"/>
                    </a:lnTo>
                    <a:lnTo>
                      <a:pt x="1932" y="186"/>
                    </a:lnTo>
                    <a:lnTo>
                      <a:pt x="1934" y="188"/>
                    </a:lnTo>
                    <a:lnTo>
                      <a:pt x="1938" y="190"/>
                    </a:lnTo>
                    <a:lnTo>
                      <a:pt x="1956" y="188"/>
                    </a:lnTo>
                    <a:lnTo>
                      <a:pt x="1982" y="180"/>
                    </a:lnTo>
                    <a:lnTo>
                      <a:pt x="1996" y="174"/>
                    </a:lnTo>
                    <a:lnTo>
                      <a:pt x="2000" y="172"/>
                    </a:lnTo>
                    <a:lnTo>
                      <a:pt x="2000" y="170"/>
                    </a:lnTo>
                    <a:lnTo>
                      <a:pt x="1998" y="168"/>
                    </a:lnTo>
                    <a:lnTo>
                      <a:pt x="1994" y="166"/>
                    </a:lnTo>
                    <a:lnTo>
                      <a:pt x="1982" y="162"/>
                    </a:lnTo>
                    <a:lnTo>
                      <a:pt x="1964" y="158"/>
                    </a:lnTo>
                    <a:lnTo>
                      <a:pt x="1928" y="154"/>
                    </a:lnTo>
                    <a:close/>
                    <a:moveTo>
                      <a:pt x="526" y="138"/>
                    </a:moveTo>
                    <a:lnTo>
                      <a:pt x="526" y="138"/>
                    </a:lnTo>
                    <a:lnTo>
                      <a:pt x="532" y="144"/>
                    </a:lnTo>
                    <a:lnTo>
                      <a:pt x="538" y="148"/>
                    </a:lnTo>
                    <a:lnTo>
                      <a:pt x="552" y="152"/>
                    </a:lnTo>
                    <a:lnTo>
                      <a:pt x="558" y="154"/>
                    </a:lnTo>
                    <a:lnTo>
                      <a:pt x="562" y="152"/>
                    </a:lnTo>
                    <a:lnTo>
                      <a:pt x="564" y="150"/>
                    </a:lnTo>
                    <a:lnTo>
                      <a:pt x="564" y="146"/>
                    </a:lnTo>
                    <a:lnTo>
                      <a:pt x="564" y="142"/>
                    </a:lnTo>
                    <a:lnTo>
                      <a:pt x="568" y="140"/>
                    </a:lnTo>
                    <a:lnTo>
                      <a:pt x="572" y="136"/>
                    </a:lnTo>
                    <a:lnTo>
                      <a:pt x="582" y="136"/>
                    </a:lnTo>
                    <a:lnTo>
                      <a:pt x="600" y="134"/>
                    </a:lnTo>
                    <a:lnTo>
                      <a:pt x="604" y="132"/>
                    </a:lnTo>
                    <a:lnTo>
                      <a:pt x="606" y="130"/>
                    </a:lnTo>
                    <a:lnTo>
                      <a:pt x="604" y="128"/>
                    </a:lnTo>
                    <a:lnTo>
                      <a:pt x="598" y="126"/>
                    </a:lnTo>
                    <a:lnTo>
                      <a:pt x="580" y="122"/>
                    </a:lnTo>
                    <a:lnTo>
                      <a:pt x="556" y="120"/>
                    </a:lnTo>
                    <a:lnTo>
                      <a:pt x="534" y="122"/>
                    </a:lnTo>
                    <a:lnTo>
                      <a:pt x="526" y="124"/>
                    </a:lnTo>
                    <a:lnTo>
                      <a:pt x="522" y="126"/>
                    </a:lnTo>
                    <a:lnTo>
                      <a:pt x="522" y="132"/>
                    </a:lnTo>
                    <a:lnTo>
                      <a:pt x="526" y="138"/>
                    </a:lnTo>
                    <a:close/>
                    <a:moveTo>
                      <a:pt x="658" y="948"/>
                    </a:moveTo>
                    <a:lnTo>
                      <a:pt x="658" y="948"/>
                    </a:lnTo>
                    <a:lnTo>
                      <a:pt x="658" y="944"/>
                    </a:lnTo>
                    <a:lnTo>
                      <a:pt x="656" y="942"/>
                    </a:lnTo>
                    <a:lnTo>
                      <a:pt x="644" y="936"/>
                    </a:lnTo>
                    <a:lnTo>
                      <a:pt x="628" y="926"/>
                    </a:lnTo>
                    <a:lnTo>
                      <a:pt x="620" y="920"/>
                    </a:lnTo>
                    <a:lnTo>
                      <a:pt x="612" y="912"/>
                    </a:lnTo>
                    <a:lnTo>
                      <a:pt x="602" y="904"/>
                    </a:lnTo>
                    <a:lnTo>
                      <a:pt x="594" y="904"/>
                    </a:lnTo>
                    <a:lnTo>
                      <a:pt x="588" y="906"/>
                    </a:lnTo>
                    <a:lnTo>
                      <a:pt x="582" y="908"/>
                    </a:lnTo>
                    <a:lnTo>
                      <a:pt x="580" y="910"/>
                    </a:lnTo>
                    <a:lnTo>
                      <a:pt x="580" y="912"/>
                    </a:lnTo>
                    <a:lnTo>
                      <a:pt x="582" y="916"/>
                    </a:lnTo>
                    <a:lnTo>
                      <a:pt x="584" y="920"/>
                    </a:lnTo>
                    <a:lnTo>
                      <a:pt x="582" y="920"/>
                    </a:lnTo>
                    <a:lnTo>
                      <a:pt x="578" y="918"/>
                    </a:lnTo>
                    <a:lnTo>
                      <a:pt x="576" y="918"/>
                    </a:lnTo>
                    <a:lnTo>
                      <a:pt x="574" y="920"/>
                    </a:lnTo>
                    <a:lnTo>
                      <a:pt x="576" y="924"/>
                    </a:lnTo>
                    <a:lnTo>
                      <a:pt x="580" y="930"/>
                    </a:lnTo>
                    <a:lnTo>
                      <a:pt x="588" y="940"/>
                    </a:lnTo>
                    <a:lnTo>
                      <a:pt x="594" y="944"/>
                    </a:lnTo>
                    <a:lnTo>
                      <a:pt x="596" y="946"/>
                    </a:lnTo>
                    <a:lnTo>
                      <a:pt x="600" y="944"/>
                    </a:lnTo>
                    <a:lnTo>
                      <a:pt x="600" y="942"/>
                    </a:lnTo>
                    <a:lnTo>
                      <a:pt x="604" y="942"/>
                    </a:lnTo>
                    <a:lnTo>
                      <a:pt x="610" y="942"/>
                    </a:lnTo>
                    <a:lnTo>
                      <a:pt x="618" y="946"/>
                    </a:lnTo>
                    <a:lnTo>
                      <a:pt x="620" y="948"/>
                    </a:lnTo>
                    <a:lnTo>
                      <a:pt x="620" y="952"/>
                    </a:lnTo>
                    <a:lnTo>
                      <a:pt x="620" y="956"/>
                    </a:lnTo>
                    <a:lnTo>
                      <a:pt x="624" y="958"/>
                    </a:lnTo>
                    <a:lnTo>
                      <a:pt x="638" y="956"/>
                    </a:lnTo>
                    <a:lnTo>
                      <a:pt x="652" y="954"/>
                    </a:lnTo>
                    <a:lnTo>
                      <a:pt x="656" y="950"/>
                    </a:lnTo>
                    <a:lnTo>
                      <a:pt x="658" y="948"/>
                    </a:lnTo>
                    <a:close/>
                    <a:moveTo>
                      <a:pt x="768" y="460"/>
                    </a:moveTo>
                    <a:lnTo>
                      <a:pt x="768" y="460"/>
                    </a:lnTo>
                    <a:lnTo>
                      <a:pt x="752" y="466"/>
                    </a:lnTo>
                    <a:lnTo>
                      <a:pt x="742" y="468"/>
                    </a:lnTo>
                    <a:lnTo>
                      <a:pt x="736" y="468"/>
                    </a:lnTo>
                    <a:lnTo>
                      <a:pt x="732" y="466"/>
                    </a:lnTo>
                    <a:lnTo>
                      <a:pt x="728" y="462"/>
                    </a:lnTo>
                    <a:lnTo>
                      <a:pt x="722" y="460"/>
                    </a:lnTo>
                    <a:lnTo>
                      <a:pt x="712" y="458"/>
                    </a:lnTo>
                    <a:lnTo>
                      <a:pt x="698" y="460"/>
                    </a:lnTo>
                    <a:lnTo>
                      <a:pt x="682" y="462"/>
                    </a:lnTo>
                    <a:lnTo>
                      <a:pt x="674" y="464"/>
                    </a:lnTo>
                    <a:lnTo>
                      <a:pt x="672" y="468"/>
                    </a:lnTo>
                    <a:lnTo>
                      <a:pt x="672" y="470"/>
                    </a:lnTo>
                    <a:lnTo>
                      <a:pt x="674" y="474"/>
                    </a:lnTo>
                    <a:lnTo>
                      <a:pt x="674" y="476"/>
                    </a:lnTo>
                    <a:lnTo>
                      <a:pt x="672" y="478"/>
                    </a:lnTo>
                    <a:lnTo>
                      <a:pt x="664" y="476"/>
                    </a:lnTo>
                    <a:lnTo>
                      <a:pt x="652" y="478"/>
                    </a:lnTo>
                    <a:lnTo>
                      <a:pt x="636" y="480"/>
                    </a:lnTo>
                    <a:lnTo>
                      <a:pt x="620" y="484"/>
                    </a:lnTo>
                    <a:lnTo>
                      <a:pt x="602" y="492"/>
                    </a:lnTo>
                    <a:lnTo>
                      <a:pt x="584" y="500"/>
                    </a:lnTo>
                    <a:lnTo>
                      <a:pt x="568" y="508"/>
                    </a:lnTo>
                    <a:lnTo>
                      <a:pt x="554" y="518"/>
                    </a:lnTo>
                    <a:lnTo>
                      <a:pt x="544" y="528"/>
                    </a:lnTo>
                    <a:lnTo>
                      <a:pt x="538" y="536"/>
                    </a:lnTo>
                    <a:lnTo>
                      <a:pt x="532" y="538"/>
                    </a:lnTo>
                    <a:lnTo>
                      <a:pt x="528" y="538"/>
                    </a:lnTo>
                    <a:lnTo>
                      <a:pt x="526" y="538"/>
                    </a:lnTo>
                    <a:lnTo>
                      <a:pt x="524" y="536"/>
                    </a:lnTo>
                    <a:lnTo>
                      <a:pt x="520" y="534"/>
                    </a:lnTo>
                    <a:lnTo>
                      <a:pt x="514" y="536"/>
                    </a:lnTo>
                    <a:lnTo>
                      <a:pt x="506" y="542"/>
                    </a:lnTo>
                    <a:lnTo>
                      <a:pt x="498" y="548"/>
                    </a:lnTo>
                    <a:lnTo>
                      <a:pt x="494" y="550"/>
                    </a:lnTo>
                    <a:lnTo>
                      <a:pt x="490" y="548"/>
                    </a:lnTo>
                    <a:lnTo>
                      <a:pt x="488" y="546"/>
                    </a:lnTo>
                    <a:lnTo>
                      <a:pt x="488" y="544"/>
                    </a:lnTo>
                    <a:lnTo>
                      <a:pt x="484" y="542"/>
                    </a:lnTo>
                    <a:lnTo>
                      <a:pt x="480" y="542"/>
                    </a:lnTo>
                    <a:lnTo>
                      <a:pt x="474" y="546"/>
                    </a:lnTo>
                    <a:lnTo>
                      <a:pt x="470" y="550"/>
                    </a:lnTo>
                    <a:lnTo>
                      <a:pt x="468" y="554"/>
                    </a:lnTo>
                    <a:lnTo>
                      <a:pt x="470" y="558"/>
                    </a:lnTo>
                    <a:lnTo>
                      <a:pt x="474" y="560"/>
                    </a:lnTo>
                    <a:lnTo>
                      <a:pt x="480" y="564"/>
                    </a:lnTo>
                    <a:lnTo>
                      <a:pt x="480" y="568"/>
                    </a:lnTo>
                    <a:lnTo>
                      <a:pt x="476" y="570"/>
                    </a:lnTo>
                    <a:lnTo>
                      <a:pt x="472" y="572"/>
                    </a:lnTo>
                    <a:lnTo>
                      <a:pt x="470" y="576"/>
                    </a:lnTo>
                    <a:lnTo>
                      <a:pt x="472" y="578"/>
                    </a:lnTo>
                    <a:lnTo>
                      <a:pt x="476" y="580"/>
                    </a:lnTo>
                    <a:lnTo>
                      <a:pt x="478" y="582"/>
                    </a:lnTo>
                    <a:lnTo>
                      <a:pt x="478" y="584"/>
                    </a:lnTo>
                    <a:lnTo>
                      <a:pt x="476" y="586"/>
                    </a:lnTo>
                    <a:lnTo>
                      <a:pt x="468" y="586"/>
                    </a:lnTo>
                    <a:lnTo>
                      <a:pt x="460" y="588"/>
                    </a:lnTo>
                    <a:lnTo>
                      <a:pt x="454" y="594"/>
                    </a:lnTo>
                    <a:lnTo>
                      <a:pt x="450" y="600"/>
                    </a:lnTo>
                    <a:lnTo>
                      <a:pt x="446" y="606"/>
                    </a:lnTo>
                    <a:lnTo>
                      <a:pt x="442" y="614"/>
                    </a:lnTo>
                    <a:lnTo>
                      <a:pt x="436" y="622"/>
                    </a:lnTo>
                    <a:lnTo>
                      <a:pt x="426" y="630"/>
                    </a:lnTo>
                    <a:lnTo>
                      <a:pt x="414" y="636"/>
                    </a:lnTo>
                    <a:lnTo>
                      <a:pt x="390" y="648"/>
                    </a:lnTo>
                    <a:lnTo>
                      <a:pt x="384" y="654"/>
                    </a:lnTo>
                    <a:lnTo>
                      <a:pt x="380" y="658"/>
                    </a:lnTo>
                    <a:lnTo>
                      <a:pt x="380" y="662"/>
                    </a:lnTo>
                    <a:lnTo>
                      <a:pt x="382" y="666"/>
                    </a:lnTo>
                    <a:lnTo>
                      <a:pt x="390" y="666"/>
                    </a:lnTo>
                    <a:lnTo>
                      <a:pt x="400" y="666"/>
                    </a:lnTo>
                    <a:lnTo>
                      <a:pt x="408" y="668"/>
                    </a:lnTo>
                    <a:lnTo>
                      <a:pt x="410" y="670"/>
                    </a:lnTo>
                    <a:lnTo>
                      <a:pt x="408" y="674"/>
                    </a:lnTo>
                    <a:lnTo>
                      <a:pt x="406" y="678"/>
                    </a:lnTo>
                    <a:lnTo>
                      <a:pt x="402" y="680"/>
                    </a:lnTo>
                    <a:lnTo>
                      <a:pt x="402" y="684"/>
                    </a:lnTo>
                    <a:lnTo>
                      <a:pt x="406" y="684"/>
                    </a:lnTo>
                    <a:lnTo>
                      <a:pt x="416" y="682"/>
                    </a:lnTo>
                    <a:lnTo>
                      <a:pt x="438" y="676"/>
                    </a:lnTo>
                    <a:lnTo>
                      <a:pt x="446" y="676"/>
                    </a:lnTo>
                    <a:lnTo>
                      <a:pt x="454" y="676"/>
                    </a:lnTo>
                    <a:lnTo>
                      <a:pt x="460" y="678"/>
                    </a:lnTo>
                    <a:lnTo>
                      <a:pt x="466" y="682"/>
                    </a:lnTo>
                    <a:lnTo>
                      <a:pt x="486" y="692"/>
                    </a:lnTo>
                    <a:lnTo>
                      <a:pt x="496" y="696"/>
                    </a:lnTo>
                    <a:lnTo>
                      <a:pt x="508" y="694"/>
                    </a:lnTo>
                    <a:lnTo>
                      <a:pt x="514" y="692"/>
                    </a:lnTo>
                    <a:lnTo>
                      <a:pt x="518" y="690"/>
                    </a:lnTo>
                    <a:lnTo>
                      <a:pt x="522" y="686"/>
                    </a:lnTo>
                    <a:lnTo>
                      <a:pt x="524" y="680"/>
                    </a:lnTo>
                    <a:lnTo>
                      <a:pt x="526" y="674"/>
                    </a:lnTo>
                    <a:lnTo>
                      <a:pt x="528" y="672"/>
                    </a:lnTo>
                    <a:lnTo>
                      <a:pt x="538" y="670"/>
                    </a:lnTo>
                    <a:lnTo>
                      <a:pt x="542" y="668"/>
                    </a:lnTo>
                    <a:lnTo>
                      <a:pt x="546" y="664"/>
                    </a:lnTo>
                    <a:lnTo>
                      <a:pt x="550" y="660"/>
                    </a:lnTo>
                    <a:lnTo>
                      <a:pt x="554" y="650"/>
                    </a:lnTo>
                    <a:lnTo>
                      <a:pt x="558" y="640"/>
                    </a:lnTo>
                    <a:lnTo>
                      <a:pt x="562" y="634"/>
                    </a:lnTo>
                    <a:lnTo>
                      <a:pt x="566" y="630"/>
                    </a:lnTo>
                    <a:lnTo>
                      <a:pt x="572" y="628"/>
                    </a:lnTo>
                    <a:lnTo>
                      <a:pt x="580" y="624"/>
                    </a:lnTo>
                    <a:lnTo>
                      <a:pt x="584" y="622"/>
                    </a:lnTo>
                    <a:lnTo>
                      <a:pt x="586" y="616"/>
                    </a:lnTo>
                    <a:lnTo>
                      <a:pt x="588" y="606"/>
                    </a:lnTo>
                    <a:lnTo>
                      <a:pt x="590" y="602"/>
                    </a:lnTo>
                    <a:lnTo>
                      <a:pt x="594" y="600"/>
                    </a:lnTo>
                    <a:lnTo>
                      <a:pt x="610" y="594"/>
                    </a:lnTo>
                    <a:lnTo>
                      <a:pt x="638" y="584"/>
                    </a:lnTo>
                    <a:lnTo>
                      <a:pt x="652" y="578"/>
                    </a:lnTo>
                    <a:lnTo>
                      <a:pt x="658" y="572"/>
                    </a:lnTo>
                    <a:lnTo>
                      <a:pt x="662" y="568"/>
                    </a:lnTo>
                    <a:lnTo>
                      <a:pt x="664" y="564"/>
                    </a:lnTo>
                    <a:lnTo>
                      <a:pt x="668" y="558"/>
                    </a:lnTo>
                    <a:lnTo>
                      <a:pt x="674" y="552"/>
                    </a:lnTo>
                    <a:lnTo>
                      <a:pt x="688" y="544"/>
                    </a:lnTo>
                    <a:lnTo>
                      <a:pt x="712" y="534"/>
                    </a:lnTo>
                    <a:lnTo>
                      <a:pt x="744" y="522"/>
                    </a:lnTo>
                    <a:lnTo>
                      <a:pt x="778" y="512"/>
                    </a:lnTo>
                    <a:lnTo>
                      <a:pt x="854" y="492"/>
                    </a:lnTo>
                    <a:lnTo>
                      <a:pt x="924" y="474"/>
                    </a:lnTo>
                    <a:lnTo>
                      <a:pt x="956" y="464"/>
                    </a:lnTo>
                    <a:lnTo>
                      <a:pt x="980" y="454"/>
                    </a:lnTo>
                    <a:lnTo>
                      <a:pt x="990" y="448"/>
                    </a:lnTo>
                    <a:lnTo>
                      <a:pt x="998" y="444"/>
                    </a:lnTo>
                    <a:lnTo>
                      <a:pt x="1002" y="438"/>
                    </a:lnTo>
                    <a:lnTo>
                      <a:pt x="1002" y="432"/>
                    </a:lnTo>
                    <a:lnTo>
                      <a:pt x="1002" y="428"/>
                    </a:lnTo>
                    <a:lnTo>
                      <a:pt x="1000" y="424"/>
                    </a:lnTo>
                    <a:lnTo>
                      <a:pt x="996" y="420"/>
                    </a:lnTo>
                    <a:lnTo>
                      <a:pt x="990" y="416"/>
                    </a:lnTo>
                    <a:lnTo>
                      <a:pt x="974" y="410"/>
                    </a:lnTo>
                    <a:lnTo>
                      <a:pt x="954" y="406"/>
                    </a:lnTo>
                    <a:lnTo>
                      <a:pt x="932" y="408"/>
                    </a:lnTo>
                    <a:lnTo>
                      <a:pt x="908" y="412"/>
                    </a:lnTo>
                    <a:lnTo>
                      <a:pt x="878" y="422"/>
                    </a:lnTo>
                    <a:lnTo>
                      <a:pt x="874" y="426"/>
                    </a:lnTo>
                    <a:lnTo>
                      <a:pt x="870" y="428"/>
                    </a:lnTo>
                    <a:lnTo>
                      <a:pt x="868" y="430"/>
                    </a:lnTo>
                    <a:lnTo>
                      <a:pt x="864" y="434"/>
                    </a:lnTo>
                    <a:lnTo>
                      <a:pt x="856" y="438"/>
                    </a:lnTo>
                    <a:lnTo>
                      <a:pt x="842" y="444"/>
                    </a:lnTo>
                    <a:lnTo>
                      <a:pt x="818" y="450"/>
                    </a:lnTo>
                    <a:lnTo>
                      <a:pt x="808" y="450"/>
                    </a:lnTo>
                    <a:lnTo>
                      <a:pt x="798" y="452"/>
                    </a:lnTo>
                    <a:lnTo>
                      <a:pt x="768" y="460"/>
                    </a:lnTo>
                    <a:close/>
                    <a:moveTo>
                      <a:pt x="484" y="70"/>
                    </a:moveTo>
                    <a:lnTo>
                      <a:pt x="484" y="70"/>
                    </a:lnTo>
                    <a:lnTo>
                      <a:pt x="482" y="70"/>
                    </a:lnTo>
                    <a:lnTo>
                      <a:pt x="484" y="70"/>
                    </a:lnTo>
                    <a:lnTo>
                      <a:pt x="490" y="72"/>
                    </a:lnTo>
                    <a:lnTo>
                      <a:pt x="500" y="74"/>
                    </a:lnTo>
                    <a:lnTo>
                      <a:pt x="510" y="78"/>
                    </a:lnTo>
                    <a:lnTo>
                      <a:pt x="528" y="86"/>
                    </a:lnTo>
                    <a:lnTo>
                      <a:pt x="538" y="86"/>
                    </a:lnTo>
                    <a:lnTo>
                      <a:pt x="554" y="86"/>
                    </a:lnTo>
                    <a:lnTo>
                      <a:pt x="568" y="86"/>
                    </a:lnTo>
                    <a:lnTo>
                      <a:pt x="568" y="84"/>
                    </a:lnTo>
                    <a:lnTo>
                      <a:pt x="566" y="82"/>
                    </a:lnTo>
                    <a:lnTo>
                      <a:pt x="544" y="76"/>
                    </a:lnTo>
                    <a:lnTo>
                      <a:pt x="530" y="72"/>
                    </a:lnTo>
                    <a:lnTo>
                      <a:pt x="512" y="70"/>
                    </a:lnTo>
                    <a:lnTo>
                      <a:pt x="496" y="68"/>
                    </a:lnTo>
                    <a:lnTo>
                      <a:pt x="484" y="70"/>
                    </a:lnTo>
                    <a:close/>
                    <a:moveTo>
                      <a:pt x="542" y="114"/>
                    </a:moveTo>
                    <a:lnTo>
                      <a:pt x="542" y="114"/>
                    </a:lnTo>
                    <a:lnTo>
                      <a:pt x="554" y="116"/>
                    </a:lnTo>
                    <a:lnTo>
                      <a:pt x="558" y="114"/>
                    </a:lnTo>
                    <a:lnTo>
                      <a:pt x="560" y="112"/>
                    </a:lnTo>
                    <a:lnTo>
                      <a:pt x="560" y="110"/>
                    </a:lnTo>
                    <a:lnTo>
                      <a:pt x="560" y="108"/>
                    </a:lnTo>
                    <a:lnTo>
                      <a:pt x="554" y="106"/>
                    </a:lnTo>
                    <a:lnTo>
                      <a:pt x="542" y="106"/>
                    </a:lnTo>
                    <a:lnTo>
                      <a:pt x="532" y="108"/>
                    </a:lnTo>
                    <a:lnTo>
                      <a:pt x="530" y="110"/>
                    </a:lnTo>
                    <a:lnTo>
                      <a:pt x="532" y="112"/>
                    </a:lnTo>
                    <a:lnTo>
                      <a:pt x="534" y="114"/>
                    </a:lnTo>
                    <a:lnTo>
                      <a:pt x="542" y="114"/>
                    </a:lnTo>
                    <a:close/>
                    <a:moveTo>
                      <a:pt x="590" y="96"/>
                    </a:moveTo>
                    <a:lnTo>
                      <a:pt x="590" y="96"/>
                    </a:lnTo>
                    <a:lnTo>
                      <a:pt x="596" y="94"/>
                    </a:lnTo>
                    <a:lnTo>
                      <a:pt x="598" y="92"/>
                    </a:lnTo>
                    <a:lnTo>
                      <a:pt x="598" y="90"/>
                    </a:lnTo>
                    <a:lnTo>
                      <a:pt x="596" y="88"/>
                    </a:lnTo>
                    <a:lnTo>
                      <a:pt x="592" y="86"/>
                    </a:lnTo>
                    <a:lnTo>
                      <a:pt x="584" y="86"/>
                    </a:lnTo>
                    <a:lnTo>
                      <a:pt x="574" y="88"/>
                    </a:lnTo>
                    <a:lnTo>
                      <a:pt x="562" y="90"/>
                    </a:lnTo>
                    <a:lnTo>
                      <a:pt x="556" y="92"/>
                    </a:lnTo>
                    <a:lnTo>
                      <a:pt x="556" y="94"/>
                    </a:lnTo>
                    <a:lnTo>
                      <a:pt x="560" y="96"/>
                    </a:lnTo>
                    <a:lnTo>
                      <a:pt x="576" y="96"/>
                    </a:lnTo>
                    <a:lnTo>
                      <a:pt x="590" y="96"/>
                    </a:lnTo>
                    <a:close/>
                    <a:moveTo>
                      <a:pt x="554" y="70"/>
                    </a:moveTo>
                    <a:lnTo>
                      <a:pt x="554" y="70"/>
                    </a:lnTo>
                    <a:lnTo>
                      <a:pt x="554" y="72"/>
                    </a:lnTo>
                    <a:lnTo>
                      <a:pt x="554" y="74"/>
                    </a:lnTo>
                    <a:lnTo>
                      <a:pt x="562" y="78"/>
                    </a:lnTo>
                    <a:lnTo>
                      <a:pt x="572" y="80"/>
                    </a:lnTo>
                    <a:lnTo>
                      <a:pt x="582" y="80"/>
                    </a:lnTo>
                    <a:lnTo>
                      <a:pt x="584" y="78"/>
                    </a:lnTo>
                    <a:lnTo>
                      <a:pt x="584" y="76"/>
                    </a:lnTo>
                    <a:lnTo>
                      <a:pt x="576" y="72"/>
                    </a:lnTo>
                    <a:lnTo>
                      <a:pt x="564" y="68"/>
                    </a:lnTo>
                    <a:lnTo>
                      <a:pt x="558" y="68"/>
                    </a:lnTo>
                    <a:lnTo>
                      <a:pt x="554" y="70"/>
                    </a:lnTo>
                    <a:close/>
                    <a:moveTo>
                      <a:pt x="1962" y="108"/>
                    </a:moveTo>
                    <a:lnTo>
                      <a:pt x="1962" y="108"/>
                    </a:lnTo>
                    <a:lnTo>
                      <a:pt x="1950" y="114"/>
                    </a:lnTo>
                    <a:lnTo>
                      <a:pt x="1938" y="120"/>
                    </a:lnTo>
                    <a:lnTo>
                      <a:pt x="1916" y="128"/>
                    </a:lnTo>
                    <a:lnTo>
                      <a:pt x="1908" y="132"/>
                    </a:lnTo>
                    <a:lnTo>
                      <a:pt x="1906" y="134"/>
                    </a:lnTo>
                    <a:lnTo>
                      <a:pt x="1908" y="136"/>
                    </a:lnTo>
                    <a:lnTo>
                      <a:pt x="1918" y="138"/>
                    </a:lnTo>
                    <a:lnTo>
                      <a:pt x="1930" y="138"/>
                    </a:lnTo>
                    <a:lnTo>
                      <a:pt x="1938" y="142"/>
                    </a:lnTo>
                    <a:lnTo>
                      <a:pt x="1952" y="146"/>
                    </a:lnTo>
                    <a:lnTo>
                      <a:pt x="1968" y="154"/>
                    </a:lnTo>
                    <a:lnTo>
                      <a:pt x="1980" y="156"/>
                    </a:lnTo>
                    <a:lnTo>
                      <a:pt x="1994" y="158"/>
                    </a:lnTo>
                    <a:lnTo>
                      <a:pt x="2010" y="158"/>
                    </a:lnTo>
                    <a:lnTo>
                      <a:pt x="2016" y="158"/>
                    </a:lnTo>
                    <a:lnTo>
                      <a:pt x="2020" y="156"/>
                    </a:lnTo>
                    <a:lnTo>
                      <a:pt x="2022" y="152"/>
                    </a:lnTo>
                    <a:lnTo>
                      <a:pt x="2024" y="150"/>
                    </a:lnTo>
                    <a:lnTo>
                      <a:pt x="2028" y="146"/>
                    </a:lnTo>
                    <a:lnTo>
                      <a:pt x="2040" y="142"/>
                    </a:lnTo>
                    <a:lnTo>
                      <a:pt x="2058" y="140"/>
                    </a:lnTo>
                    <a:lnTo>
                      <a:pt x="2100" y="140"/>
                    </a:lnTo>
                    <a:lnTo>
                      <a:pt x="2130" y="140"/>
                    </a:lnTo>
                    <a:lnTo>
                      <a:pt x="2138" y="138"/>
                    </a:lnTo>
                    <a:lnTo>
                      <a:pt x="2142" y="136"/>
                    </a:lnTo>
                    <a:lnTo>
                      <a:pt x="2142" y="130"/>
                    </a:lnTo>
                    <a:lnTo>
                      <a:pt x="2136" y="122"/>
                    </a:lnTo>
                    <a:lnTo>
                      <a:pt x="2132" y="114"/>
                    </a:lnTo>
                    <a:lnTo>
                      <a:pt x="2132" y="112"/>
                    </a:lnTo>
                    <a:lnTo>
                      <a:pt x="2134" y="110"/>
                    </a:lnTo>
                    <a:lnTo>
                      <a:pt x="2140" y="108"/>
                    </a:lnTo>
                    <a:lnTo>
                      <a:pt x="2146" y="106"/>
                    </a:lnTo>
                    <a:lnTo>
                      <a:pt x="2162" y="104"/>
                    </a:lnTo>
                    <a:lnTo>
                      <a:pt x="2164" y="102"/>
                    </a:lnTo>
                    <a:lnTo>
                      <a:pt x="2166" y="100"/>
                    </a:lnTo>
                    <a:lnTo>
                      <a:pt x="2164" y="96"/>
                    </a:lnTo>
                    <a:lnTo>
                      <a:pt x="2160" y="92"/>
                    </a:lnTo>
                    <a:lnTo>
                      <a:pt x="2154" y="90"/>
                    </a:lnTo>
                    <a:lnTo>
                      <a:pt x="2142" y="88"/>
                    </a:lnTo>
                    <a:lnTo>
                      <a:pt x="2136" y="88"/>
                    </a:lnTo>
                    <a:lnTo>
                      <a:pt x="2128" y="86"/>
                    </a:lnTo>
                    <a:lnTo>
                      <a:pt x="2118" y="82"/>
                    </a:lnTo>
                    <a:lnTo>
                      <a:pt x="2110" y="74"/>
                    </a:lnTo>
                    <a:lnTo>
                      <a:pt x="2090" y="60"/>
                    </a:lnTo>
                    <a:lnTo>
                      <a:pt x="2082" y="56"/>
                    </a:lnTo>
                    <a:lnTo>
                      <a:pt x="2076" y="52"/>
                    </a:lnTo>
                    <a:lnTo>
                      <a:pt x="2068" y="50"/>
                    </a:lnTo>
                    <a:lnTo>
                      <a:pt x="2060" y="50"/>
                    </a:lnTo>
                    <a:lnTo>
                      <a:pt x="2052" y="54"/>
                    </a:lnTo>
                    <a:lnTo>
                      <a:pt x="2044" y="58"/>
                    </a:lnTo>
                    <a:lnTo>
                      <a:pt x="2034" y="62"/>
                    </a:lnTo>
                    <a:lnTo>
                      <a:pt x="2026" y="66"/>
                    </a:lnTo>
                    <a:lnTo>
                      <a:pt x="2008" y="68"/>
                    </a:lnTo>
                    <a:lnTo>
                      <a:pt x="1988" y="74"/>
                    </a:lnTo>
                    <a:lnTo>
                      <a:pt x="1978" y="78"/>
                    </a:lnTo>
                    <a:lnTo>
                      <a:pt x="1964" y="84"/>
                    </a:lnTo>
                    <a:lnTo>
                      <a:pt x="1954" y="92"/>
                    </a:lnTo>
                    <a:lnTo>
                      <a:pt x="1952" y="94"/>
                    </a:lnTo>
                    <a:lnTo>
                      <a:pt x="1954" y="96"/>
                    </a:lnTo>
                    <a:lnTo>
                      <a:pt x="1960" y="98"/>
                    </a:lnTo>
                    <a:lnTo>
                      <a:pt x="1964" y="98"/>
                    </a:lnTo>
                    <a:lnTo>
                      <a:pt x="1968" y="98"/>
                    </a:lnTo>
                    <a:lnTo>
                      <a:pt x="1968" y="100"/>
                    </a:lnTo>
                    <a:lnTo>
                      <a:pt x="1968" y="102"/>
                    </a:lnTo>
                    <a:lnTo>
                      <a:pt x="1962" y="108"/>
                    </a:lnTo>
                    <a:close/>
                    <a:moveTo>
                      <a:pt x="3810" y="584"/>
                    </a:moveTo>
                    <a:lnTo>
                      <a:pt x="3810" y="584"/>
                    </a:lnTo>
                    <a:lnTo>
                      <a:pt x="3826" y="588"/>
                    </a:lnTo>
                    <a:lnTo>
                      <a:pt x="3834" y="588"/>
                    </a:lnTo>
                    <a:lnTo>
                      <a:pt x="3840" y="584"/>
                    </a:lnTo>
                    <a:lnTo>
                      <a:pt x="3842" y="580"/>
                    </a:lnTo>
                    <a:lnTo>
                      <a:pt x="3842" y="574"/>
                    </a:lnTo>
                    <a:lnTo>
                      <a:pt x="3846" y="570"/>
                    </a:lnTo>
                    <a:lnTo>
                      <a:pt x="3852" y="568"/>
                    </a:lnTo>
                    <a:lnTo>
                      <a:pt x="3864" y="570"/>
                    </a:lnTo>
                    <a:lnTo>
                      <a:pt x="3878" y="574"/>
                    </a:lnTo>
                    <a:lnTo>
                      <a:pt x="3890" y="572"/>
                    </a:lnTo>
                    <a:lnTo>
                      <a:pt x="3900" y="570"/>
                    </a:lnTo>
                    <a:lnTo>
                      <a:pt x="3910" y="566"/>
                    </a:lnTo>
                    <a:lnTo>
                      <a:pt x="3918" y="562"/>
                    </a:lnTo>
                    <a:lnTo>
                      <a:pt x="3926" y="560"/>
                    </a:lnTo>
                    <a:lnTo>
                      <a:pt x="3934" y="562"/>
                    </a:lnTo>
                    <a:lnTo>
                      <a:pt x="3942" y="566"/>
                    </a:lnTo>
                    <a:lnTo>
                      <a:pt x="3952" y="570"/>
                    </a:lnTo>
                    <a:lnTo>
                      <a:pt x="3962" y="572"/>
                    </a:lnTo>
                    <a:lnTo>
                      <a:pt x="3974" y="572"/>
                    </a:lnTo>
                    <a:lnTo>
                      <a:pt x="3986" y="570"/>
                    </a:lnTo>
                    <a:lnTo>
                      <a:pt x="4014" y="562"/>
                    </a:lnTo>
                    <a:lnTo>
                      <a:pt x="4048" y="552"/>
                    </a:lnTo>
                    <a:lnTo>
                      <a:pt x="4056" y="546"/>
                    </a:lnTo>
                    <a:lnTo>
                      <a:pt x="4060" y="542"/>
                    </a:lnTo>
                    <a:lnTo>
                      <a:pt x="4060" y="538"/>
                    </a:lnTo>
                    <a:lnTo>
                      <a:pt x="4056" y="534"/>
                    </a:lnTo>
                    <a:lnTo>
                      <a:pt x="4054" y="530"/>
                    </a:lnTo>
                    <a:lnTo>
                      <a:pt x="4054" y="528"/>
                    </a:lnTo>
                    <a:lnTo>
                      <a:pt x="4056" y="524"/>
                    </a:lnTo>
                    <a:lnTo>
                      <a:pt x="4066" y="524"/>
                    </a:lnTo>
                    <a:lnTo>
                      <a:pt x="4070" y="522"/>
                    </a:lnTo>
                    <a:lnTo>
                      <a:pt x="4074" y="520"/>
                    </a:lnTo>
                    <a:lnTo>
                      <a:pt x="4076" y="518"/>
                    </a:lnTo>
                    <a:lnTo>
                      <a:pt x="4074" y="516"/>
                    </a:lnTo>
                    <a:lnTo>
                      <a:pt x="4068" y="512"/>
                    </a:lnTo>
                    <a:lnTo>
                      <a:pt x="4056" y="506"/>
                    </a:lnTo>
                    <a:lnTo>
                      <a:pt x="4042" y="500"/>
                    </a:lnTo>
                    <a:lnTo>
                      <a:pt x="4026" y="498"/>
                    </a:lnTo>
                    <a:lnTo>
                      <a:pt x="4010" y="496"/>
                    </a:lnTo>
                    <a:lnTo>
                      <a:pt x="3994" y="498"/>
                    </a:lnTo>
                    <a:lnTo>
                      <a:pt x="3980" y="498"/>
                    </a:lnTo>
                    <a:lnTo>
                      <a:pt x="3968" y="496"/>
                    </a:lnTo>
                    <a:lnTo>
                      <a:pt x="3958" y="490"/>
                    </a:lnTo>
                    <a:lnTo>
                      <a:pt x="3948" y="484"/>
                    </a:lnTo>
                    <a:lnTo>
                      <a:pt x="3938" y="478"/>
                    </a:lnTo>
                    <a:lnTo>
                      <a:pt x="3928" y="472"/>
                    </a:lnTo>
                    <a:lnTo>
                      <a:pt x="3918" y="470"/>
                    </a:lnTo>
                    <a:lnTo>
                      <a:pt x="3912" y="472"/>
                    </a:lnTo>
                    <a:lnTo>
                      <a:pt x="3906" y="474"/>
                    </a:lnTo>
                    <a:lnTo>
                      <a:pt x="3898" y="480"/>
                    </a:lnTo>
                    <a:lnTo>
                      <a:pt x="3894" y="486"/>
                    </a:lnTo>
                    <a:lnTo>
                      <a:pt x="3892" y="492"/>
                    </a:lnTo>
                    <a:lnTo>
                      <a:pt x="3894" y="498"/>
                    </a:lnTo>
                    <a:lnTo>
                      <a:pt x="3900" y="506"/>
                    </a:lnTo>
                    <a:lnTo>
                      <a:pt x="3900" y="510"/>
                    </a:lnTo>
                    <a:lnTo>
                      <a:pt x="3896" y="512"/>
                    </a:lnTo>
                    <a:lnTo>
                      <a:pt x="3890" y="512"/>
                    </a:lnTo>
                    <a:lnTo>
                      <a:pt x="3882" y="508"/>
                    </a:lnTo>
                    <a:lnTo>
                      <a:pt x="3862" y="498"/>
                    </a:lnTo>
                    <a:lnTo>
                      <a:pt x="3842" y="484"/>
                    </a:lnTo>
                    <a:lnTo>
                      <a:pt x="3822" y="472"/>
                    </a:lnTo>
                    <a:lnTo>
                      <a:pt x="3814" y="468"/>
                    </a:lnTo>
                    <a:lnTo>
                      <a:pt x="3808" y="468"/>
                    </a:lnTo>
                    <a:lnTo>
                      <a:pt x="3800" y="466"/>
                    </a:lnTo>
                    <a:lnTo>
                      <a:pt x="3794" y="468"/>
                    </a:lnTo>
                    <a:lnTo>
                      <a:pt x="3778" y="476"/>
                    </a:lnTo>
                    <a:lnTo>
                      <a:pt x="3758" y="488"/>
                    </a:lnTo>
                    <a:lnTo>
                      <a:pt x="3748" y="496"/>
                    </a:lnTo>
                    <a:lnTo>
                      <a:pt x="3746" y="502"/>
                    </a:lnTo>
                    <a:lnTo>
                      <a:pt x="3746" y="508"/>
                    </a:lnTo>
                    <a:lnTo>
                      <a:pt x="3748" y="514"/>
                    </a:lnTo>
                    <a:lnTo>
                      <a:pt x="3752" y="524"/>
                    </a:lnTo>
                    <a:lnTo>
                      <a:pt x="3752" y="530"/>
                    </a:lnTo>
                    <a:lnTo>
                      <a:pt x="3746" y="532"/>
                    </a:lnTo>
                    <a:lnTo>
                      <a:pt x="3742" y="536"/>
                    </a:lnTo>
                    <a:lnTo>
                      <a:pt x="3742" y="542"/>
                    </a:lnTo>
                    <a:lnTo>
                      <a:pt x="3744" y="548"/>
                    </a:lnTo>
                    <a:lnTo>
                      <a:pt x="3752" y="554"/>
                    </a:lnTo>
                    <a:lnTo>
                      <a:pt x="3762" y="560"/>
                    </a:lnTo>
                    <a:lnTo>
                      <a:pt x="3776" y="568"/>
                    </a:lnTo>
                    <a:lnTo>
                      <a:pt x="3810" y="584"/>
                    </a:lnTo>
                    <a:close/>
                    <a:moveTo>
                      <a:pt x="4172" y="572"/>
                    </a:moveTo>
                    <a:lnTo>
                      <a:pt x="4172" y="572"/>
                    </a:lnTo>
                    <a:lnTo>
                      <a:pt x="4198" y="578"/>
                    </a:lnTo>
                    <a:lnTo>
                      <a:pt x="4218" y="578"/>
                    </a:lnTo>
                    <a:lnTo>
                      <a:pt x="4262" y="576"/>
                    </a:lnTo>
                    <a:lnTo>
                      <a:pt x="4276" y="574"/>
                    </a:lnTo>
                    <a:lnTo>
                      <a:pt x="4288" y="570"/>
                    </a:lnTo>
                    <a:lnTo>
                      <a:pt x="4294" y="566"/>
                    </a:lnTo>
                    <a:lnTo>
                      <a:pt x="4300" y="560"/>
                    </a:lnTo>
                    <a:lnTo>
                      <a:pt x="4300" y="556"/>
                    </a:lnTo>
                    <a:lnTo>
                      <a:pt x="4300" y="552"/>
                    </a:lnTo>
                    <a:lnTo>
                      <a:pt x="4296" y="550"/>
                    </a:lnTo>
                    <a:lnTo>
                      <a:pt x="4288" y="550"/>
                    </a:lnTo>
                    <a:lnTo>
                      <a:pt x="4280" y="550"/>
                    </a:lnTo>
                    <a:lnTo>
                      <a:pt x="4274" y="548"/>
                    </a:lnTo>
                    <a:lnTo>
                      <a:pt x="4266" y="540"/>
                    </a:lnTo>
                    <a:lnTo>
                      <a:pt x="4260" y="536"/>
                    </a:lnTo>
                    <a:lnTo>
                      <a:pt x="4252" y="534"/>
                    </a:lnTo>
                    <a:lnTo>
                      <a:pt x="4244" y="536"/>
                    </a:lnTo>
                    <a:lnTo>
                      <a:pt x="4230" y="540"/>
                    </a:lnTo>
                    <a:lnTo>
                      <a:pt x="4220" y="542"/>
                    </a:lnTo>
                    <a:lnTo>
                      <a:pt x="4214" y="542"/>
                    </a:lnTo>
                    <a:lnTo>
                      <a:pt x="4212" y="540"/>
                    </a:lnTo>
                    <a:lnTo>
                      <a:pt x="4212" y="536"/>
                    </a:lnTo>
                    <a:lnTo>
                      <a:pt x="4210" y="532"/>
                    </a:lnTo>
                    <a:lnTo>
                      <a:pt x="4204" y="528"/>
                    </a:lnTo>
                    <a:lnTo>
                      <a:pt x="4194" y="526"/>
                    </a:lnTo>
                    <a:lnTo>
                      <a:pt x="4174" y="528"/>
                    </a:lnTo>
                    <a:lnTo>
                      <a:pt x="4154" y="528"/>
                    </a:lnTo>
                    <a:lnTo>
                      <a:pt x="4142" y="526"/>
                    </a:lnTo>
                    <a:lnTo>
                      <a:pt x="4132" y="524"/>
                    </a:lnTo>
                    <a:lnTo>
                      <a:pt x="4126" y="520"/>
                    </a:lnTo>
                    <a:lnTo>
                      <a:pt x="4122" y="514"/>
                    </a:lnTo>
                    <a:lnTo>
                      <a:pt x="4122" y="516"/>
                    </a:lnTo>
                    <a:lnTo>
                      <a:pt x="4118" y="518"/>
                    </a:lnTo>
                    <a:lnTo>
                      <a:pt x="4112" y="530"/>
                    </a:lnTo>
                    <a:lnTo>
                      <a:pt x="4108" y="536"/>
                    </a:lnTo>
                    <a:lnTo>
                      <a:pt x="4110" y="542"/>
                    </a:lnTo>
                    <a:lnTo>
                      <a:pt x="4114" y="550"/>
                    </a:lnTo>
                    <a:lnTo>
                      <a:pt x="4126" y="556"/>
                    </a:lnTo>
                    <a:lnTo>
                      <a:pt x="4144" y="564"/>
                    </a:lnTo>
                    <a:lnTo>
                      <a:pt x="4172" y="572"/>
                    </a:lnTo>
                    <a:close/>
                    <a:moveTo>
                      <a:pt x="5478" y="870"/>
                    </a:moveTo>
                    <a:lnTo>
                      <a:pt x="5478" y="866"/>
                    </a:lnTo>
                    <a:lnTo>
                      <a:pt x="5548" y="856"/>
                    </a:lnTo>
                    <a:lnTo>
                      <a:pt x="5558" y="854"/>
                    </a:lnTo>
                    <a:lnTo>
                      <a:pt x="5564" y="852"/>
                    </a:lnTo>
                    <a:lnTo>
                      <a:pt x="5570" y="848"/>
                    </a:lnTo>
                    <a:lnTo>
                      <a:pt x="5572" y="846"/>
                    </a:lnTo>
                    <a:lnTo>
                      <a:pt x="5570" y="842"/>
                    </a:lnTo>
                    <a:lnTo>
                      <a:pt x="5568" y="838"/>
                    </a:lnTo>
                    <a:lnTo>
                      <a:pt x="5560" y="832"/>
                    </a:lnTo>
                    <a:lnTo>
                      <a:pt x="5546" y="826"/>
                    </a:lnTo>
                    <a:lnTo>
                      <a:pt x="5530" y="820"/>
                    </a:lnTo>
                    <a:lnTo>
                      <a:pt x="5512" y="818"/>
                    </a:lnTo>
                    <a:lnTo>
                      <a:pt x="5494" y="818"/>
                    </a:lnTo>
                    <a:lnTo>
                      <a:pt x="5478" y="820"/>
                    </a:lnTo>
                    <a:lnTo>
                      <a:pt x="5478" y="818"/>
                    </a:lnTo>
                    <a:lnTo>
                      <a:pt x="5454" y="826"/>
                    </a:lnTo>
                    <a:lnTo>
                      <a:pt x="5444" y="832"/>
                    </a:lnTo>
                    <a:lnTo>
                      <a:pt x="5434" y="838"/>
                    </a:lnTo>
                    <a:lnTo>
                      <a:pt x="5428" y="844"/>
                    </a:lnTo>
                    <a:lnTo>
                      <a:pt x="5422" y="850"/>
                    </a:lnTo>
                    <a:lnTo>
                      <a:pt x="5418" y="856"/>
                    </a:lnTo>
                    <a:lnTo>
                      <a:pt x="5418" y="864"/>
                    </a:lnTo>
                    <a:lnTo>
                      <a:pt x="5418" y="868"/>
                    </a:lnTo>
                    <a:lnTo>
                      <a:pt x="5422" y="872"/>
                    </a:lnTo>
                    <a:lnTo>
                      <a:pt x="5426" y="874"/>
                    </a:lnTo>
                    <a:lnTo>
                      <a:pt x="5434" y="874"/>
                    </a:lnTo>
                    <a:lnTo>
                      <a:pt x="5452" y="874"/>
                    </a:lnTo>
                    <a:lnTo>
                      <a:pt x="5478" y="870"/>
                    </a:lnTo>
                    <a:close/>
                    <a:moveTo>
                      <a:pt x="2060" y="404"/>
                    </a:moveTo>
                    <a:lnTo>
                      <a:pt x="2060" y="404"/>
                    </a:lnTo>
                    <a:lnTo>
                      <a:pt x="2068" y="408"/>
                    </a:lnTo>
                    <a:lnTo>
                      <a:pt x="2078" y="408"/>
                    </a:lnTo>
                    <a:lnTo>
                      <a:pt x="2088" y="406"/>
                    </a:lnTo>
                    <a:lnTo>
                      <a:pt x="2096" y="404"/>
                    </a:lnTo>
                    <a:lnTo>
                      <a:pt x="2104" y="400"/>
                    </a:lnTo>
                    <a:lnTo>
                      <a:pt x="2108" y="396"/>
                    </a:lnTo>
                    <a:lnTo>
                      <a:pt x="2112" y="392"/>
                    </a:lnTo>
                    <a:lnTo>
                      <a:pt x="2112" y="388"/>
                    </a:lnTo>
                    <a:lnTo>
                      <a:pt x="2106" y="386"/>
                    </a:lnTo>
                    <a:lnTo>
                      <a:pt x="2100" y="386"/>
                    </a:lnTo>
                    <a:lnTo>
                      <a:pt x="2080" y="392"/>
                    </a:lnTo>
                    <a:lnTo>
                      <a:pt x="2064" y="398"/>
                    </a:lnTo>
                    <a:lnTo>
                      <a:pt x="2060" y="402"/>
                    </a:lnTo>
                    <a:lnTo>
                      <a:pt x="2058" y="404"/>
                    </a:lnTo>
                    <a:lnTo>
                      <a:pt x="2060" y="404"/>
                    </a:lnTo>
                    <a:close/>
                    <a:moveTo>
                      <a:pt x="3868" y="678"/>
                    </a:moveTo>
                    <a:lnTo>
                      <a:pt x="3868" y="678"/>
                    </a:lnTo>
                    <a:lnTo>
                      <a:pt x="3858" y="686"/>
                    </a:lnTo>
                    <a:lnTo>
                      <a:pt x="3856" y="688"/>
                    </a:lnTo>
                    <a:lnTo>
                      <a:pt x="3858" y="690"/>
                    </a:lnTo>
                    <a:lnTo>
                      <a:pt x="3866" y="690"/>
                    </a:lnTo>
                    <a:lnTo>
                      <a:pt x="3896" y="688"/>
                    </a:lnTo>
                    <a:lnTo>
                      <a:pt x="3916" y="688"/>
                    </a:lnTo>
                    <a:lnTo>
                      <a:pt x="3940" y="692"/>
                    </a:lnTo>
                    <a:lnTo>
                      <a:pt x="3970" y="696"/>
                    </a:lnTo>
                    <a:lnTo>
                      <a:pt x="3990" y="696"/>
                    </a:lnTo>
                    <a:lnTo>
                      <a:pt x="4004" y="694"/>
                    </a:lnTo>
                    <a:lnTo>
                      <a:pt x="4006" y="692"/>
                    </a:lnTo>
                    <a:lnTo>
                      <a:pt x="4008" y="690"/>
                    </a:lnTo>
                    <a:lnTo>
                      <a:pt x="4008" y="686"/>
                    </a:lnTo>
                    <a:lnTo>
                      <a:pt x="4006" y="682"/>
                    </a:lnTo>
                    <a:lnTo>
                      <a:pt x="4000" y="674"/>
                    </a:lnTo>
                    <a:lnTo>
                      <a:pt x="3988" y="664"/>
                    </a:lnTo>
                    <a:lnTo>
                      <a:pt x="3972" y="654"/>
                    </a:lnTo>
                    <a:lnTo>
                      <a:pt x="3956" y="648"/>
                    </a:lnTo>
                    <a:lnTo>
                      <a:pt x="3940" y="644"/>
                    </a:lnTo>
                    <a:lnTo>
                      <a:pt x="3928" y="646"/>
                    </a:lnTo>
                    <a:lnTo>
                      <a:pt x="3916" y="648"/>
                    </a:lnTo>
                    <a:lnTo>
                      <a:pt x="3904" y="654"/>
                    </a:lnTo>
                    <a:lnTo>
                      <a:pt x="3894" y="662"/>
                    </a:lnTo>
                    <a:lnTo>
                      <a:pt x="3868" y="678"/>
                    </a:lnTo>
                    <a:close/>
                    <a:moveTo>
                      <a:pt x="5044" y="956"/>
                    </a:moveTo>
                    <a:lnTo>
                      <a:pt x="5044" y="956"/>
                    </a:lnTo>
                    <a:lnTo>
                      <a:pt x="5046" y="954"/>
                    </a:lnTo>
                    <a:lnTo>
                      <a:pt x="5046" y="950"/>
                    </a:lnTo>
                    <a:lnTo>
                      <a:pt x="5044" y="948"/>
                    </a:lnTo>
                    <a:lnTo>
                      <a:pt x="5042" y="946"/>
                    </a:lnTo>
                    <a:lnTo>
                      <a:pt x="5034" y="942"/>
                    </a:lnTo>
                    <a:lnTo>
                      <a:pt x="5024" y="940"/>
                    </a:lnTo>
                    <a:lnTo>
                      <a:pt x="5012" y="938"/>
                    </a:lnTo>
                    <a:lnTo>
                      <a:pt x="5000" y="938"/>
                    </a:lnTo>
                    <a:lnTo>
                      <a:pt x="4990" y="938"/>
                    </a:lnTo>
                    <a:lnTo>
                      <a:pt x="4984" y="942"/>
                    </a:lnTo>
                    <a:lnTo>
                      <a:pt x="4982" y="944"/>
                    </a:lnTo>
                    <a:lnTo>
                      <a:pt x="4982" y="946"/>
                    </a:lnTo>
                    <a:lnTo>
                      <a:pt x="4986" y="950"/>
                    </a:lnTo>
                    <a:lnTo>
                      <a:pt x="4992" y="954"/>
                    </a:lnTo>
                    <a:lnTo>
                      <a:pt x="5002" y="958"/>
                    </a:lnTo>
                    <a:lnTo>
                      <a:pt x="5014" y="960"/>
                    </a:lnTo>
                    <a:lnTo>
                      <a:pt x="5024" y="962"/>
                    </a:lnTo>
                    <a:lnTo>
                      <a:pt x="5034" y="960"/>
                    </a:lnTo>
                    <a:lnTo>
                      <a:pt x="5044" y="956"/>
                    </a:lnTo>
                    <a:close/>
                    <a:moveTo>
                      <a:pt x="3698" y="530"/>
                    </a:moveTo>
                    <a:lnTo>
                      <a:pt x="3698" y="530"/>
                    </a:lnTo>
                    <a:lnTo>
                      <a:pt x="3704" y="524"/>
                    </a:lnTo>
                    <a:lnTo>
                      <a:pt x="3706" y="518"/>
                    </a:lnTo>
                    <a:lnTo>
                      <a:pt x="3704" y="508"/>
                    </a:lnTo>
                    <a:lnTo>
                      <a:pt x="3696" y="498"/>
                    </a:lnTo>
                    <a:lnTo>
                      <a:pt x="3694" y="496"/>
                    </a:lnTo>
                    <a:lnTo>
                      <a:pt x="3692" y="496"/>
                    </a:lnTo>
                    <a:lnTo>
                      <a:pt x="3688" y="500"/>
                    </a:lnTo>
                    <a:lnTo>
                      <a:pt x="3684" y="506"/>
                    </a:lnTo>
                    <a:lnTo>
                      <a:pt x="3682" y="514"/>
                    </a:lnTo>
                    <a:lnTo>
                      <a:pt x="3680" y="524"/>
                    </a:lnTo>
                    <a:lnTo>
                      <a:pt x="3684" y="530"/>
                    </a:lnTo>
                    <a:lnTo>
                      <a:pt x="3686" y="532"/>
                    </a:lnTo>
                    <a:lnTo>
                      <a:pt x="3688" y="532"/>
                    </a:lnTo>
                    <a:lnTo>
                      <a:pt x="3692" y="532"/>
                    </a:lnTo>
                    <a:lnTo>
                      <a:pt x="3698" y="530"/>
                    </a:lnTo>
                    <a:close/>
                    <a:moveTo>
                      <a:pt x="2260" y="322"/>
                    </a:moveTo>
                    <a:lnTo>
                      <a:pt x="2260" y="322"/>
                    </a:lnTo>
                    <a:lnTo>
                      <a:pt x="2286" y="316"/>
                    </a:lnTo>
                    <a:lnTo>
                      <a:pt x="2314" y="310"/>
                    </a:lnTo>
                    <a:lnTo>
                      <a:pt x="2350" y="306"/>
                    </a:lnTo>
                    <a:lnTo>
                      <a:pt x="2398" y="304"/>
                    </a:lnTo>
                    <a:lnTo>
                      <a:pt x="2424" y="302"/>
                    </a:lnTo>
                    <a:lnTo>
                      <a:pt x="2442" y="298"/>
                    </a:lnTo>
                    <a:lnTo>
                      <a:pt x="2456" y="294"/>
                    </a:lnTo>
                    <a:lnTo>
                      <a:pt x="2464" y="288"/>
                    </a:lnTo>
                    <a:lnTo>
                      <a:pt x="2466" y="284"/>
                    </a:lnTo>
                    <a:lnTo>
                      <a:pt x="2466" y="282"/>
                    </a:lnTo>
                    <a:lnTo>
                      <a:pt x="2462" y="274"/>
                    </a:lnTo>
                    <a:lnTo>
                      <a:pt x="2456" y="266"/>
                    </a:lnTo>
                    <a:lnTo>
                      <a:pt x="2442" y="256"/>
                    </a:lnTo>
                    <a:lnTo>
                      <a:pt x="2420" y="240"/>
                    </a:lnTo>
                    <a:lnTo>
                      <a:pt x="2412" y="234"/>
                    </a:lnTo>
                    <a:lnTo>
                      <a:pt x="2406" y="232"/>
                    </a:lnTo>
                    <a:lnTo>
                      <a:pt x="2398" y="232"/>
                    </a:lnTo>
                    <a:lnTo>
                      <a:pt x="2388" y="236"/>
                    </a:lnTo>
                    <a:lnTo>
                      <a:pt x="2376" y="242"/>
                    </a:lnTo>
                    <a:lnTo>
                      <a:pt x="2360" y="254"/>
                    </a:lnTo>
                    <a:lnTo>
                      <a:pt x="2346" y="262"/>
                    </a:lnTo>
                    <a:lnTo>
                      <a:pt x="2344" y="264"/>
                    </a:lnTo>
                    <a:lnTo>
                      <a:pt x="2344" y="262"/>
                    </a:lnTo>
                    <a:lnTo>
                      <a:pt x="2356" y="248"/>
                    </a:lnTo>
                    <a:lnTo>
                      <a:pt x="2364" y="238"/>
                    </a:lnTo>
                    <a:lnTo>
                      <a:pt x="2372" y="226"/>
                    </a:lnTo>
                    <a:lnTo>
                      <a:pt x="2376" y="218"/>
                    </a:lnTo>
                    <a:lnTo>
                      <a:pt x="2374" y="214"/>
                    </a:lnTo>
                    <a:lnTo>
                      <a:pt x="2372" y="212"/>
                    </a:lnTo>
                    <a:lnTo>
                      <a:pt x="2354" y="208"/>
                    </a:lnTo>
                    <a:lnTo>
                      <a:pt x="2344" y="206"/>
                    </a:lnTo>
                    <a:lnTo>
                      <a:pt x="2336" y="206"/>
                    </a:lnTo>
                    <a:lnTo>
                      <a:pt x="2326" y="208"/>
                    </a:lnTo>
                    <a:lnTo>
                      <a:pt x="2316" y="212"/>
                    </a:lnTo>
                    <a:lnTo>
                      <a:pt x="2306" y="222"/>
                    </a:lnTo>
                    <a:lnTo>
                      <a:pt x="2294" y="236"/>
                    </a:lnTo>
                    <a:lnTo>
                      <a:pt x="2286" y="248"/>
                    </a:lnTo>
                    <a:lnTo>
                      <a:pt x="2278" y="256"/>
                    </a:lnTo>
                    <a:lnTo>
                      <a:pt x="2266" y="264"/>
                    </a:lnTo>
                    <a:lnTo>
                      <a:pt x="2260" y="270"/>
                    </a:lnTo>
                    <a:lnTo>
                      <a:pt x="2252" y="278"/>
                    </a:lnTo>
                    <a:lnTo>
                      <a:pt x="2242" y="292"/>
                    </a:lnTo>
                    <a:lnTo>
                      <a:pt x="2230" y="314"/>
                    </a:lnTo>
                    <a:lnTo>
                      <a:pt x="2226" y="324"/>
                    </a:lnTo>
                    <a:lnTo>
                      <a:pt x="2226" y="328"/>
                    </a:lnTo>
                    <a:lnTo>
                      <a:pt x="2228" y="330"/>
                    </a:lnTo>
                    <a:lnTo>
                      <a:pt x="2238" y="328"/>
                    </a:lnTo>
                    <a:lnTo>
                      <a:pt x="2260" y="322"/>
                    </a:lnTo>
                    <a:close/>
                    <a:moveTo>
                      <a:pt x="2156" y="150"/>
                    </a:moveTo>
                    <a:lnTo>
                      <a:pt x="2156" y="150"/>
                    </a:lnTo>
                    <a:lnTo>
                      <a:pt x="2132" y="150"/>
                    </a:lnTo>
                    <a:lnTo>
                      <a:pt x="2100" y="148"/>
                    </a:lnTo>
                    <a:lnTo>
                      <a:pt x="2084" y="150"/>
                    </a:lnTo>
                    <a:lnTo>
                      <a:pt x="2068" y="152"/>
                    </a:lnTo>
                    <a:lnTo>
                      <a:pt x="2054" y="156"/>
                    </a:lnTo>
                    <a:lnTo>
                      <a:pt x="2042" y="162"/>
                    </a:lnTo>
                    <a:lnTo>
                      <a:pt x="2016" y="178"/>
                    </a:lnTo>
                    <a:lnTo>
                      <a:pt x="1988" y="192"/>
                    </a:lnTo>
                    <a:lnTo>
                      <a:pt x="1980" y="198"/>
                    </a:lnTo>
                    <a:lnTo>
                      <a:pt x="1978" y="200"/>
                    </a:lnTo>
                    <a:lnTo>
                      <a:pt x="1978" y="202"/>
                    </a:lnTo>
                    <a:lnTo>
                      <a:pt x="1980" y="204"/>
                    </a:lnTo>
                    <a:lnTo>
                      <a:pt x="1982" y="204"/>
                    </a:lnTo>
                    <a:lnTo>
                      <a:pt x="1996" y="206"/>
                    </a:lnTo>
                    <a:lnTo>
                      <a:pt x="2012" y="206"/>
                    </a:lnTo>
                    <a:lnTo>
                      <a:pt x="2020" y="208"/>
                    </a:lnTo>
                    <a:lnTo>
                      <a:pt x="2024" y="210"/>
                    </a:lnTo>
                    <a:lnTo>
                      <a:pt x="2024" y="214"/>
                    </a:lnTo>
                    <a:lnTo>
                      <a:pt x="2024" y="218"/>
                    </a:lnTo>
                    <a:lnTo>
                      <a:pt x="2026" y="224"/>
                    </a:lnTo>
                    <a:lnTo>
                      <a:pt x="2030" y="230"/>
                    </a:lnTo>
                    <a:lnTo>
                      <a:pt x="2038" y="234"/>
                    </a:lnTo>
                    <a:lnTo>
                      <a:pt x="2046" y="238"/>
                    </a:lnTo>
                    <a:lnTo>
                      <a:pt x="2054" y="238"/>
                    </a:lnTo>
                    <a:lnTo>
                      <a:pt x="2074" y="240"/>
                    </a:lnTo>
                    <a:lnTo>
                      <a:pt x="2100" y="244"/>
                    </a:lnTo>
                    <a:lnTo>
                      <a:pt x="2118" y="246"/>
                    </a:lnTo>
                    <a:lnTo>
                      <a:pt x="2138" y="252"/>
                    </a:lnTo>
                    <a:lnTo>
                      <a:pt x="2158" y="258"/>
                    </a:lnTo>
                    <a:lnTo>
                      <a:pt x="2180" y="260"/>
                    </a:lnTo>
                    <a:lnTo>
                      <a:pt x="2200" y="260"/>
                    </a:lnTo>
                    <a:lnTo>
                      <a:pt x="2218" y="258"/>
                    </a:lnTo>
                    <a:lnTo>
                      <a:pt x="2232" y="252"/>
                    </a:lnTo>
                    <a:lnTo>
                      <a:pt x="2240" y="248"/>
                    </a:lnTo>
                    <a:lnTo>
                      <a:pt x="2244" y="244"/>
                    </a:lnTo>
                    <a:lnTo>
                      <a:pt x="2244" y="240"/>
                    </a:lnTo>
                    <a:lnTo>
                      <a:pt x="2242" y="238"/>
                    </a:lnTo>
                    <a:lnTo>
                      <a:pt x="2240" y="234"/>
                    </a:lnTo>
                    <a:lnTo>
                      <a:pt x="2236" y="232"/>
                    </a:lnTo>
                    <a:lnTo>
                      <a:pt x="2236" y="228"/>
                    </a:lnTo>
                    <a:lnTo>
                      <a:pt x="2236" y="220"/>
                    </a:lnTo>
                    <a:lnTo>
                      <a:pt x="2238" y="210"/>
                    </a:lnTo>
                    <a:lnTo>
                      <a:pt x="2244" y="202"/>
                    </a:lnTo>
                    <a:lnTo>
                      <a:pt x="2248" y="192"/>
                    </a:lnTo>
                    <a:lnTo>
                      <a:pt x="2252" y="184"/>
                    </a:lnTo>
                    <a:lnTo>
                      <a:pt x="2252" y="180"/>
                    </a:lnTo>
                    <a:lnTo>
                      <a:pt x="2252" y="176"/>
                    </a:lnTo>
                    <a:lnTo>
                      <a:pt x="2250" y="174"/>
                    </a:lnTo>
                    <a:lnTo>
                      <a:pt x="2246" y="172"/>
                    </a:lnTo>
                    <a:lnTo>
                      <a:pt x="2238" y="166"/>
                    </a:lnTo>
                    <a:lnTo>
                      <a:pt x="2234" y="162"/>
                    </a:lnTo>
                    <a:lnTo>
                      <a:pt x="2230" y="160"/>
                    </a:lnTo>
                    <a:lnTo>
                      <a:pt x="2226" y="156"/>
                    </a:lnTo>
                    <a:lnTo>
                      <a:pt x="2220" y="156"/>
                    </a:lnTo>
                    <a:lnTo>
                      <a:pt x="2212" y="156"/>
                    </a:lnTo>
                    <a:lnTo>
                      <a:pt x="2184" y="164"/>
                    </a:lnTo>
                    <a:lnTo>
                      <a:pt x="2170" y="170"/>
                    </a:lnTo>
                    <a:lnTo>
                      <a:pt x="2162" y="170"/>
                    </a:lnTo>
                    <a:lnTo>
                      <a:pt x="2160" y="168"/>
                    </a:lnTo>
                    <a:lnTo>
                      <a:pt x="2162" y="164"/>
                    </a:lnTo>
                    <a:lnTo>
                      <a:pt x="2164" y="158"/>
                    </a:lnTo>
                    <a:lnTo>
                      <a:pt x="2164" y="154"/>
                    </a:lnTo>
                    <a:lnTo>
                      <a:pt x="2164" y="150"/>
                    </a:lnTo>
                    <a:lnTo>
                      <a:pt x="2156" y="150"/>
                    </a:lnTo>
                    <a:close/>
                    <a:moveTo>
                      <a:pt x="3192" y="724"/>
                    </a:moveTo>
                    <a:lnTo>
                      <a:pt x="3192" y="724"/>
                    </a:lnTo>
                    <a:lnTo>
                      <a:pt x="3218" y="728"/>
                    </a:lnTo>
                    <a:lnTo>
                      <a:pt x="3242" y="734"/>
                    </a:lnTo>
                    <a:lnTo>
                      <a:pt x="3268" y="744"/>
                    </a:lnTo>
                    <a:lnTo>
                      <a:pt x="3300" y="758"/>
                    </a:lnTo>
                    <a:lnTo>
                      <a:pt x="3308" y="762"/>
                    </a:lnTo>
                    <a:lnTo>
                      <a:pt x="3314" y="764"/>
                    </a:lnTo>
                    <a:lnTo>
                      <a:pt x="3316" y="762"/>
                    </a:lnTo>
                    <a:lnTo>
                      <a:pt x="3316" y="760"/>
                    </a:lnTo>
                    <a:lnTo>
                      <a:pt x="3314" y="752"/>
                    </a:lnTo>
                    <a:lnTo>
                      <a:pt x="3316" y="748"/>
                    </a:lnTo>
                    <a:lnTo>
                      <a:pt x="3320" y="746"/>
                    </a:lnTo>
                    <a:lnTo>
                      <a:pt x="3332" y="746"/>
                    </a:lnTo>
                    <a:lnTo>
                      <a:pt x="3338" y="746"/>
                    </a:lnTo>
                    <a:lnTo>
                      <a:pt x="3368" y="758"/>
                    </a:lnTo>
                    <a:lnTo>
                      <a:pt x="3390" y="768"/>
                    </a:lnTo>
                    <a:lnTo>
                      <a:pt x="3412" y="778"/>
                    </a:lnTo>
                    <a:lnTo>
                      <a:pt x="3420" y="782"/>
                    </a:lnTo>
                    <a:lnTo>
                      <a:pt x="3428" y="782"/>
                    </a:lnTo>
                    <a:lnTo>
                      <a:pt x="3434" y="778"/>
                    </a:lnTo>
                    <a:lnTo>
                      <a:pt x="3440" y="772"/>
                    </a:lnTo>
                    <a:lnTo>
                      <a:pt x="3440" y="766"/>
                    </a:lnTo>
                    <a:lnTo>
                      <a:pt x="3440" y="762"/>
                    </a:lnTo>
                    <a:lnTo>
                      <a:pt x="3436" y="756"/>
                    </a:lnTo>
                    <a:lnTo>
                      <a:pt x="3430" y="752"/>
                    </a:lnTo>
                    <a:lnTo>
                      <a:pt x="3422" y="748"/>
                    </a:lnTo>
                    <a:lnTo>
                      <a:pt x="3414" y="746"/>
                    </a:lnTo>
                    <a:lnTo>
                      <a:pt x="3412" y="744"/>
                    </a:lnTo>
                    <a:lnTo>
                      <a:pt x="3412" y="742"/>
                    </a:lnTo>
                    <a:lnTo>
                      <a:pt x="3414" y="742"/>
                    </a:lnTo>
                    <a:lnTo>
                      <a:pt x="3422" y="738"/>
                    </a:lnTo>
                    <a:lnTo>
                      <a:pt x="3432" y="736"/>
                    </a:lnTo>
                    <a:lnTo>
                      <a:pt x="3432" y="734"/>
                    </a:lnTo>
                    <a:lnTo>
                      <a:pt x="3432" y="732"/>
                    </a:lnTo>
                    <a:lnTo>
                      <a:pt x="3426" y="730"/>
                    </a:lnTo>
                    <a:lnTo>
                      <a:pt x="3418" y="726"/>
                    </a:lnTo>
                    <a:lnTo>
                      <a:pt x="3410" y="724"/>
                    </a:lnTo>
                    <a:lnTo>
                      <a:pt x="3406" y="720"/>
                    </a:lnTo>
                    <a:lnTo>
                      <a:pt x="3406" y="718"/>
                    </a:lnTo>
                    <a:lnTo>
                      <a:pt x="3416" y="714"/>
                    </a:lnTo>
                    <a:lnTo>
                      <a:pt x="3428" y="710"/>
                    </a:lnTo>
                    <a:lnTo>
                      <a:pt x="3430" y="708"/>
                    </a:lnTo>
                    <a:lnTo>
                      <a:pt x="3430" y="706"/>
                    </a:lnTo>
                    <a:lnTo>
                      <a:pt x="3426" y="702"/>
                    </a:lnTo>
                    <a:lnTo>
                      <a:pt x="3418" y="696"/>
                    </a:lnTo>
                    <a:lnTo>
                      <a:pt x="3392" y="686"/>
                    </a:lnTo>
                    <a:lnTo>
                      <a:pt x="3364" y="676"/>
                    </a:lnTo>
                    <a:lnTo>
                      <a:pt x="3352" y="674"/>
                    </a:lnTo>
                    <a:lnTo>
                      <a:pt x="3342" y="676"/>
                    </a:lnTo>
                    <a:lnTo>
                      <a:pt x="3336" y="678"/>
                    </a:lnTo>
                    <a:lnTo>
                      <a:pt x="3330" y="684"/>
                    </a:lnTo>
                    <a:lnTo>
                      <a:pt x="3326" y="688"/>
                    </a:lnTo>
                    <a:lnTo>
                      <a:pt x="3322" y="690"/>
                    </a:lnTo>
                    <a:lnTo>
                      <a:pt x="3320" y="688"/>
                    </a:lnTo>
                    <a:lnTo>
                      <a:pt x="3316" y="682"/>
                    </a:lnTo>
                    <a:lnTo>
                      <a:pt x="3312" y="676"/>
                    </a:lnTo>
                    <a:lnTo>
                      <a:pt x="3306" y="672"/>
                    </a:lnTo>
                    <a:lnTo>
                      <a:pt x="3302" y="668"/>
                    </a:lnTo>
                    <a:lnTo>
                      <a:pt x="3294" y="668"/>
                    </a:lnTo>
                    <a:lnTo>
                      <a:pt x="3278" y="666"/>
                    </a:lnTo>
                    <a:lnTo>
                      <a:pt x="3270" y="664"/>
                    </a:lnTo>
                    <a:lnTo>
                      <a:pt x="3258" y="660"/>
                    </a:lnTo>
                    <a:lnTo>
                      <a:pt x="3244" y="656"/>
                    </a:lnTo>
                    <a:lnTo>
                      <a:pt x="3230" y="654"/>
                    </a:lnTo>
                    <a:lnTo>
                      <a:pt x="3216" y="656"/>
                    </a:lnTo>
                    <a:lnTo>
                      <a:pt x="3204" y="660"/>
                    </a:lnTo>
                    <a:lnTo>
                      <a:pt x="3194" y="666"/>
                    </a:lnTo>
                    <a:lnTo>
                      <a:pt x="3186" y="674"/>
                    </a:lnTo>
                    <a:lnTo>
                      <a:pt x="3186" y="676"/>
                    </a:lnTo>
                    <a:lnTo>
                      <a:pt x="3186" y="680"/>
                    </a:lnTo>
                    <a:lnTo>
                      <a:pt x="3188" y="684"/>
                    </a:lnTo>
                    <a:lnTo>
                      <a:pt x="3190" y="688"/>
                    </a:lnTo>
                    <a:lnTo>
                      <a:pt x="3194" y="692"/>
                    </a:lnTo>
                    <a:lnTo>
                      <a:pt x="3196" y="696"/>
                    </a:lnTo>
                    <a:lnTo>
                      <a:pt x="3196" y="700"/>
                    </a:lnTo>
                    <a:lnTo>
                      <a:pt x="3196" y="702"/>
                    </a:lnTo>
                    <a:lnTo>
                      <a:pt x="3190" y="706"/>
                    </a:lnTo>
                    <a:lnTo>
                      <a:pt x="3184" y="712"/>
                    </a:lnTo>
                    <a:lnTo>
                      <a:pt x="3178" y="714"/>
                    </a:lnTo>
                    <a:lnTo>
                      <a:pt x="3176" y="718"/>
                    </a:lnTo>
                    <a:lnTo>
                      <a:pt x="3180" y="720"/>
                    </a:lnTo>
                    <a:lnTo>
                      <a:pt x="3192" y="724"/>
                    </a:lnTo>
                    <a:close/>
                    <a:moveTo>
                      <a:pt x="614" y="10"/>
                    </a:moveTo>
                    <a:lnTo>
                      <a:pt x="614" y="10"/>
                    </a:lnTo>
                    <a:lnTo>
                      <a:pt x="614" y="8"/>
                    </a:lnTo>
                    <a:lnTo>
                      <a:pt x="612" y="6"/>
                    </a:lnTo>
                    <a:lnTo>
                      <a:pt x="606" y="4"/>
                    </a:lnTo>
                    <a:lnTo>
                      <a:pt x="588" y="0"/>
                    </a:lnTo>
                    <a:lnTo>
                      <a:pt x="576" y="0"/>
                    </a:lnTo>
                    <a:lnTo>
                      <a:pt x="566" y="2"/>
                    </a:lnTo>
                    <a:lnTo>
                      <a:pt x="558" y="4"/>
                    </a:lnTo>
                    <a:lnTo>
                      <a:pt x="554" y="10"/>
                    </a:lnTo>
                    <a:lnTo>
                      <a:pt x="552" y="12"/>
                    </a:lnTo>
                    <a:lnTo>
                      <a:pt x="554" y="14"/>
                    </a:lnTo>
                    <a:lnTo>
                      <a:pt x="558" y="18"/>
                    </a:lnTo>
                    <a:lnTo>
                      <a:pt x="568" y="18"/>
                    </a:lnTo>
                    <a:lnTo>
                      <a:pt x="578" y="18"/>
                    </a:lnTo>
                    <a:lnTo>
                      <a:pt x="602" y="16"/>
                    </a:lnTo>
                    <a:lnTo>
                      <a:pt x="610" y="12"/>
                    </a:lnTo>
                    <a:lnTo>
                      <a:pt x="614" y="10"/>
                    </a:lnTo>
                    <a:close/>
                    <a:moveTo>
                      <a:pt x="444" y="80"/>
                    </a:moveTo>
                    <a:lnTo>
                      <a:pt x="444" y="80"/>
                    </a:lnTo>
                    <a:lnTo>
                      <a:pt x="450" y="82"/>
                    </a:lnTo>
                    <a:lnTo>
                      <a:pt x="450" y="84"/>
                    </a:lnTo>
                    <a:lnTo>
                      <a:pt x="456" y="86"/>
                    </a:lnTo>
                    <a:lnTo>
                      <a:pt x="474" y="88"/>
                    </a:lnTo>
                    <a:lnTo>
                      <a:pt x="502" y="94"/>
                    </a:lnTo>
                    <a:lnTo>
                      <a:pt x="514" y="100"/>
                    </a:lnTo>
                    <a:lnTo>
                      <a:pt x="524" y="102"/>
                    </a:lnTo>
                    <a:lnTo>
                      <a:pt x="536" y="100"/>
                    </a:lnTo>
                    <a:lnTo>
                      <a:pt x="544" y="96"/>
                    </a:lnTo>
                    <a:lnTo>
                      <a:pt x="546" y="94"/>
                    </a:lnTo>
                    <a:lnTo>
                      <a:pt x="544" y="94"/>
                    </a:lnTo>
                    <a:lnTo>
                      <a:pt x="520" y="88"/>
                    </a:lnTo>
                    <a:lnTo>
                      <a:pt x="492" y="76"/>
                    </a:lnTo>
                    <a:lnTo>
                      <a:pt x="478" y="74"/>
                    </a:lnTo>
                    <a:lnTo>
                      <a:pt x="466" y="76"/>
                    </a:lnTo>
                    <a:lnTo>
                      <a:pt x="458" y="76"/>
                    </a:lnTo>
                    <a:lnTo>
                      <a:pt x="452" y="74"/>
                    </a:lnTo>
                    <a:lnTo>
                      <a:pt x="438" y="70"/>
                    </a:lnTo>
                    <a:lnTo>
                      <a:pt x="432" y="68"/>
                    </a:lnTo>
                    <a:lnTo>
                      <a:pt x="426" y="66"/>
                    </a:lnTo>
                    <a:lnTo>
                      <a:pt x="420" y="68"/>
                    </a:lnTo>
                    <a:lnTo>
                      <a:pt x="414" y="74"/>
                    </a:lnTo>
                    <a:lnTo>
                      <a:pt x="412" y="76"/>
                    </a:lnTo>
                    <a:lnTo>
                      <a:pt x="414" y="76"/>
                    </a:lnTo>
                    <a:lnTo>
                      <a:pt x="420" y="78"/>
                    </a:lnTo>
                    <a:lnTo>
                      <a:pt x="432" y="78"/>
                    </a:lnTo>
                    <a:lnTo>
                      <a:pt x="444" y="80"/>
                    </a:lnTo>
                    <a:close/>
                    <a:moveTo>
                      <a:pt x="296" y="786"/>
                    </a:moveTo>
                    <a:lnTo>
                      <a:pt x="296" y="786"/>
                    </a:lnTo>
                    <a:lnTo>
                      <a:pt x="290" y="806"/>
                    </a:lnTo>
                    <a:lnTo>
                      <a:pt x="288" y="812"/>
                    </a:lnTo>
                    <a:lnTo>
                      <a:pt x="288" y="818"/>
                    </a:lnTo>
                    <a:lnTo>
                      <a:pt x="292" y="822"/>
                    </a:lnTo>
                    <a:lnTo>
                      <a:pt x="300" y="826"/>
                    </a:lnTo>
                    <a:lnTo>
                      <a:pt x="310" y="828"/>
                    </a:lnTo>
                    <a:lnTo>
                      <a:pt x="324" y="828"/>
                    </a:lnTo>
                    <a:lnTo>
                      <a:pt x="340" y="828"/>
                    </a:lnTo>
                    <a:lnTo>
                      <a:pt x="338" y="830"/>
                    </a:lnTo>
                    <a:lnTo>
                      <a:pt x="334" y="832"/>
                    </a:lnTo>
                    <a:lnTo>
                      <a:pt x="330" y="836"/>
                    </a:lnTo>
                    <a:lnTo>
                      <a:pt x="330" y="842"/>
                    </a:lnTo>
                    <a:lnTo>
                      <a:pt x="330" y="844"/>
                    </a:lnTo>
                    <a:lnTo>
                      <a:pt x="332" y="848"/>
                    </a:lnTo>
                    <a:lnTo>
                      <a:pt x="344" y="856"/>
                    </a:lnTo>
                    <a:lnTo>
                      <a:pt x="350" y="858"/>
                    </a:lnTo>
                    <a:lnTo>
                      <a:pt x="356" y="860"/>
                    </a:lnTo>
                    <a:lnTo>
                      <a:pt x="360" y="860"/>
                    </a:lnTo>
                    <a:lnTo>
                      <a:pt x="362" y="858"/>
                    </a:lnTo>
                    <a:lnTo>
                      <a:pt x="364" y="852"/>
                    </a:lnTo>
                    <a:lnTo>
                      <a:pt x="366" y="844"/>
                    </a:lnTo>
                    <a:lnTo>
                      <a:pt x="366" y="838"/>
                    </a:lnTo>
                    <a:lnTo>
                      <a:pt x="366" y="834"/>
                    </a:lnTo>
                    <a:lnTo>
                      <a:pt x="368" y="832"/>
                    </a:lnTo>
                    <a:lnTo>
                      <a:pt x="370" y="834"/>
                    </a:lnTo>
                    <a:lnTo>
                      <a:pt x="376" y="842"/>
                    </a:lnTo>
                    <a:lnTo>
                      <a:pt x="380" y="848"/>
                    </a:lnTo>
                    <a:lnTo>
                      <a:pt x="382" y="852"/>
                    </a:lnTo>
                    <a:lnTo>
                      <a:pt x="382" y="856"/>
                    </a:lnTo>
                    <a:lnTo>
                      <a:pt x="382" y="860"/>
                    </a:lnTo>
                    <a:lnTo>
                      <a:pt x="378" y="866"/>
                    </a:lnTo>
                    <a:lnTo>
                      <a:pt x="372" y="870"/>
                    </a:lnTo>
                    <a:lnTo>
                      <a:pt x="368" y="874"/>
                    </a:lnTo>
                    <a:lnTo>
                      <a:pt x="368" y="876"/>
                    </a:lnTo>
                    <a:lnTo>
                      <a:pt x="374" y="878"/>
                    </a:lnTo>
                    <a:lnTo>
                      <a:pt x="388" y="880"/>
                    </a:lnTo>
                    <a:lnTo>
                      <a:pt x="404" y="882"/>
                    </a:lnTo>
                    <a:lnTo>
                      <a:pt x="414" y="884"/>
                    </a:lnTo>
                    <a:lnTo>
                      <a:pt x="420" y="886"/>
                    </a:lnTo>
                    <a:lnTo>
                      <a:pt x="424" y="888"/>
                    </a:lnTo>
                    <a:lnTo>
                      <a:pt x="426" y="890"/>
                    </a:lnTo>
                    <a:lnTo>
                      <a:pt x="430" y="892"/>
                    </a:lnTo>
                    <a:lnTo>
                      <a:pt x="450" y="892"/>
                    </a:lnTo>
                    <a:lnTo>
                      <a:pt x="464" y="894"/>
                    </a:lnTo>
                    <a:lnTo>
                      <a:pt x="476" y="894"/>
                    </a:lnTo>
                    <a:lnTo>
                      <a:pt x="494" y="898"/>
                    </a:lnTo>
                    <a:lnTo>
                      <a:pt x="504" y="898"/>
                    </a:lnTo>
                    <a:lnTo>
                      <a:pt x="514" y="898"/>
                    </a:lnTo>
                    <a:lnTo>
                      <a:pt x="524" y="894"/>
                    </a:lnTo>
                    <a:lnTo>
                      <a:pt x="536" y="888"/>
                    </a:lnTo>
                    <a:lnTo>
                      <a:pt x="540" y="886"/>
                    </a:lnTo>
                    <a:lnTo>
                      <a:pt x="540" y="884"/>
                    </a:lnTo>
                    <a:lnTo>
                      <a:pt x="540" y="882"/>
                    </a:lnTo>
                    <a:lnTo>
                      <a:pt x="538" y="878"/>
                    </a:lnTo>
                    <a:lnTo>
                      <a:pt x="530" y="874"/>
                    </a:lnTo>
                    <a:lnTo>
                      <a:pt x="518" y="868"/>
                    </a:lnTo>
                    <a:lnTo>
                      <a:pt x="506" y="862"/>
                    </a:lnTo>
                    <a:lnTo>
                      <a:pt x="494" y="854"/>
                    </a:lnTo>
                    <a:lnTo>
                      <a:pt x="484" y="846"/>
                    </a:lnTo>
                    <a:lnTo>
                      <a:pt x="476" y="836"/>
                    </a:lnTo>
                    <a:lnTo>
                      <a:pt x="472" y="826"/>
                    </a:lnTo>
                    <a:lnTo>
                      <a:pt x="466" y="820"/>
                    </a:lnTo>
                    <a:lnTo>
                      <a:pt x="456" y="808"/>
                    </a:lnTo>
                    <a:lnTo>
                      <a:pt x="452" y="800"/>
                    </a:lnTo>
                    <a:lnTo>
                      <a:pt x="448" y="792"/>
                    </a:lnTo>
                    <a:lnTo>
                      <a:pt x="448" y="780"/>
                    </a:lnTo>
                    <a:lnTo>
                      <a:pt x="450" y="764"/>
                    </a:lnTo>
                    <a:lnTo>
                      <a:pt x="452" y="756"/>
                    </a:lnTo>
                    <a:lnTo>
                      <a:pt x="456" y="748"/>
                    </a:lnTo>
                    <a:lnTo>
                      <a:pt x="464" y="736"/>
                    </a:lnTo>
                    <a:lnTo>
                      <a:pt x="474" y="726"/>
                    </a:lnTo>
                    <a:lnTo>
                      <a:pt x="482" y="718"/>
                    </a:lnTo>
                    <a:lnTo>
                      <a:pt x="490" y="712"/>
                    </a:lnTo>
                    <a:lnTo>
                      <a:pt x="492" y="706"/>
                    </a:lnTo>
                    <a:lnTo>
                      <a:pt x="492" y="704"/>
                    </a:lnTo>
                    <a:lnTo>
                      <a:pt x="488" y="702"/>
                    </a:lnTo>
                    <a:lnTo>
                      <a:pt x="478" y="696"/>
                    </a:lnTo>
                    <a:lnTo>
                      <a:pt x="458" y="688"/>
                    </a:lnTo>
                    <a:lnTo>
                      <a:pt x="454" y="686"/>
                    </a:lnTo>
                    <a:lnTo>
                      <a:pt x="448" y="686"/>
                    </a:lnTo>
                    <a:lnTo>
                      <a:pt x="434" y="688"/>
                    </a:lnTo>
                    <a:lnTo>
                      <a:pt x="400" y="694"/>
                    </a:lnTo>
                    <a:lnTo>
                      <a:pt x="378" y="698"/>
                    </a:lnTo>
                    <a:lnTo>
                      <a:pt x="366" y="700"/>
                    </a:lnTo>
                    <a:lnTo>
                      <a:pt x="362" y="702"/>
                    </a:lnTo>
                    <a:lnTo>
                      <a:pt x="362" y="706"/>
                    </a:lnTo>
                    <a:lnTo>
                      <a:pt x="362" y="708"/>
                    </a:lnTo>
                    <a:lnTo>
                      <a:pt x="362" y="712"/>
                    </a:lnTo>
                    <a:lnTo>
                      <a:pt x="358" y="716"/>
                    </a:lnTo>
                    <a:lnTo>
                      <a:pt x="348" y="720"/>
                    </a:lnTo>
                    <a:lnTo>
                      <a:pt x="338" y="726"/>
                    </a:lnTo>
                    <a:lnTo>
                      <a:pt x="334" y="730"/>
                    </a:lnTo>
                    <a:lnTo>
                      <a:pt x="332" y="734"/>
                    </a:lnTo>
                    <a:lnTo>
                      <a:pt x="334" y="736"/>
                    </a:lnTo>
                    <a:lnTo>
                      <a:pt x="338" y="742"/>
                    </a:lnTo>
                    <a:lnTo>
                      <a:pt x="340" y="746"/>
                    </a:lnTo>
                    <a:lnTo>
                      <a:pt x="340" y="754"/>
                    </a:lnTo>
                    <a:lnTo>
                      <a:pt x="336" y="764"/>
                    </a:lnTo>
                    <a:lnTo>
                      <a:pt x="330" y="774"/>
                    </a:lnTo>
                    <a:lnTo>
                      <a:pt x="324" y="778"/>
                    </a:lnTo>
                    <a:lnTo>
                      <a:pt x="320" y="778"/>
                    </a:lnTo>
                    <a:lnTo>
                      <a:pt x="316" y="776"/>
                    </a:lnTo>
                    <a:lnTo>
                      <a:pt x="310" y="774"/>
                    </a:lnTo>
                    <a:lnTo>
                      <a:pt x="306" y="774"/>
                    </a:lnTo>
                    <a:lnTo>
                      <a:pt x="302" y="778"/>
                    </a:lnTo>
                    <a:lnTo>
                      <a:pt x="296" y="786"/>
                    </a:lnTo>
                    <a:close/>
                    <a:moveTo>
                      <a:pt x="282" y="168"/>
                    </a:moveTo>
                    <a:lnTo>
                      <a:pt x="282" y="168"/>
                    </a:lnTo>
                    <a:lnTo>
                      <a:pt x="290" y="168"/>
                    </a:lnTo>
                    <a:lnTo>
                      <a:pt x="294" y="164"/>
                    </a:lnTo>
                    <a:lnTo>
                      <a:pt x="292" y="160"/>
                    </a:lnTo>
                    <a:lnTo>
                      <a:pt x="288" y="158"/>
                    </a:lnTo>
                    <a:lnTo>
                      <a:pt x="280" y="154"/>
                    </a:lnTo>
                    <a:lnTo>
                      <a:pt x="270" y="152"/>
                    </a:lnTo>
                    <a:lnTo>
                      <a:pt x="260" y="152"/>
                    </a:lnTo>
                    <a:lnTo>
                      <a:pt x="250" y="156"/>
                    </a:lnTo>
                    <a:lnTo>
                      <a:pt x="242" y="160"/>
                    </a:lnTo>
                    <a:lnTo>
                      <a:pt x="240" y="164"/>
                    </a:lnTo>
                    <a:lnTo>
                      <a:pt x="240" y="166"/>
                    </a:lnTo>
                    <a:lnTo>
                      <a:pt x="244" y="166"/>
                    </a:lnTo>
                    <a:lnTo>
                      <a:pt x="260" y="168"/>
                    </a:lnTo>
                    <a:lnTo>
                      <a:pt x="282" y="168"/>
                    </a:lnTo>
                    <a:close/>
                    <a:moveTo>
                      <a:pt x="416" y="96"/>
                    </a:moveTo>
                    <a:lnTo>
                      <a:pt x="416" y="96"/>
                    </a:lnTo>
                    <a:lnTo>
                      <a:pt x="424" y="96"/>
                    </a:lnTo>
                    <a:lnTo>
                      <a:pt x="428" y="100"/>
                    </a:lnTo>
                    <a:lnTo>
                      <a:pt x="432" y="100"/>
                    </a:lnTo>
                    <a:lnTo>
                      <a:pt x="440" y="100"/>
                    </a:lnTo>
                    <a:lnTo>
                      <a:pt x="452" y="98"/>
                    </a:lnTo>
                    <a:lnTo>
                      <a:pt x="464" y="96"/>
                    </a:lnTo>
                    <a:lnTo>
                      <a:pt x="470" y="96"/>
                    </a:lnTo>
                    <a:lnTo>
                      <a:pt x="472" y="96"/>
                    </a:lnTo>
                    <a:lnTo>
                      <a:pt x="470" y="94"/>
                    </a:lnTo>
                    <a:lnTo>
                      <a:pt x="452" y="88"/>
                    </a:lnTo>
                    <a:lnTo>
                      <a:pt x="440" y="86"/>
                    </a:lnTo>
                    <a:lnTo>
                      <a:pt x="436" y="86"/>
                    </a:lnTo>
                    <a:lnTo>
                      <a:pt x="432" y="88"/>
                    </a:lnTo>
                    <a:lnTo>
                      <a:pt x="428" y="90"/>
                    </a:lnTo>
                    <a:lnTo>
                      <a:pt x="424" y="90"/>
                    </a:lnTo>
                    <a:lnTo>
                      <a:pt x="414" y="88"/>
                    </a:lnTo>
                    <a:lnTo>
                      <a:pt x="404" y="86"/>
                    </a:lnTo>
                    <a:lnTo>
                      <a:pt x="398" y="88"/>
                    </a:lnTo>
                    <a:lnTo>
                      <a:pt x="396" y="92"/>
                    </a:lnTo>
                    <a:lnTo>
                      <a:pt x="394" y="94"/>
                    </a:lnTo>
                    <a:lnTo>
                      <a:pt x="398" y="96"/>
                    </a:lnTo>
                    <a:lnTo>
                      <a:pt x="416" y="96"/>
                    </a:lnTo>
                    <a:close/>
                    <a:moveTo>
                      <a:pt x="406" y="124"/>
                    </a:moveTo>
                    <a:lnTo>
                      <a:pt x="406" y="124"/>
                    </a:lnTo>
                    <a:lnTo>
                      <a:pt x="414" y="122"/>
                    </a:lnTo>
                    <a:lnTo>
                      <a:pt x="416" y="122"/>
                    </a:lnTo>
                    <a:lnTo>
                      <a:pt x="416" y="120"/>
                    </a:lnTo>
                    <a:lnTo>
                      <a:pt x="414" y="116"/>
                    </a:lnTo>
                    <a:lnTo>
                      <a:pt x="408" y="112"/>
                    </a:lnTo>
                    <a:lnTo>
                      <a:pt x="402" y="110"/>
                    </a:lnTo>
                    <a:lnTo>
                      <a:pt x="394" y="110"/>
                    </a:lnTo>
                    <a:lnTo>
                      <a:pt x="390" y="112"/>
                    </a:lnTo>
                    <a:lnTo>
                      <a:pt x="392" y="114"/>
                    </a:lnTo>
                    <a:lnTo>
                      <a:pt x="392" y="116"/>
                    </a:lnTo>
                    <a:lnTo>
                      <a:pt x="392" y="118"/>
                    </a:lnTo>
                    <a:lnTo>
                      <a:pt x="390" y="120"/>
                    </a:lnTo>
                    <a:lnTo>
                      <a:pt x="390" y="122"/>
                    </a:lnTo>
                    <a:lnTo>
                      <a:pt x="392" y="124"/>
                    </a:lnTo>
                    <a:lnTo>
                      <a:pt x="406" y="124"/>
                    </a:lnTo>
                    <a:close/>
                    <a:moveTo>
                      <a:pt x="382" y="134"/>
                    </a:moveTo>
                    <a:lnTo>
                      <a:pt x="382" y="134"/>
                    </a:lnTo>
                    <a:lnTo>
                      <a:pt x="372" y="126"/>
                    </a:lnTo>
                    <a:lnTo>
                      <a:pt x="368" y="124"/>
                    </a:lnTo>
                    <a:lnTo>
                      <a:pt x="364" y="124"/>
                    </a:lnTo>
                    <a:lnTo>
                      <a:pt x="350" y="128"/>
                    </a:lnTo>
                    <a:lnTo>
                      <a:pt x="330" y="136"/>
                    </a:lnTo>
                    <a:lnTo>
                      <a:pt x="328" y="138"/>
                    </a:lnTo>
                    <a:lnTo>
                      <a:pt x="326" y="140"/>
                    </a:lnTo>
                    <a:lnTo>
                      <a:pt x="328" y="142"/>
                    </a:lnTo>
                    <a:lnTo>
                      <a:pt x="332" y="144"/>
                    </a:lnTo>
                    <a:lnTo>
                      <a:pt x="342" y="146"/>
                    </a:lnTo>
                    <a:lnTo>
                      <a:pt x="356" y="148"/>
                    </a:lnTo>
                    <a:lnTo>
                      <a:pt x="370" y="148"/>
                    </a:lnTo>
                    <a:lnTo>
                      <a:pt x="380" y="146"/>
                    </a:lnTo>
                    <a:lnTo>
                      <a:pt x="384" y="144"/>
                    </a:lnTo>
                    <a:lnTo>
                      <a:pt x="386" y="142"/>
                    </a:lnTo>
                    <a:lnTo>
                      <a:pt x="386" y="138"/>
                    </a:lnTo>
                    <a:lnTo>
                      <a:pt x="382" y="134"/>
                    </a:lnTo>
                    <a:close/>
                    <a:moveTo>
                      <a:pt x="46" y="116"/>
                    </a:moveTo>
                    <a:lnTo>
                      <a:pt x="46" y="116"/>
                    </a:lnTo>
                    <a:lnTo>
                      <a:pt x="54" y="118"/>
                    </a:lnTo>
                    <a:lnTo>
                      <a:pt x="62" y="114"/>
                    </a:lnTo>
                    <a:lnTo>
                      <a:pt x="66" y="114"/>
                    </a:lnTo>
                    <a:lnTo>
                      <a:pt x="70" y="116"/>
                    </a:lnTo>
                    <a:lnTo>
                      <a:pt x="76" y="120"/>
                    </a:lnTo>
                    <a:lnTo>
                      <a:pt x="80" y="122"/>
                    </a:lnTo>
                    <a:lnTo>
                      <a:pt x="86" y="124"/>
                    </a:lnTo>
                    <a:lnTo>
                      <a:pt x="92" y="122"/>
                    </a:lnTo>
                    <a:lnTo>
                      <a:pt x="102" y="118"/>
                    </a:lnTo>
                    <a:lnTo>
                      <a:pt x="118" y="110"/>
                    </a:lnTo>
                    <a:lnTo>
                      <a:pt x="130" y="104"/>
                    </a:lnTo>
                    <a:lnTo>
                      <a:pt x="134" y="102"/>
                    </a:lnTo>
                    <a:lnTo>
                      <a:pt x="140" y="102"/>
                    </a:lnTo>
                    <a:lnTo>
                      <a:pt x="148" y="102"/>
                    </a:lnTo>
                    <a:lnTo>
                      <a:pt x="158" y="106"/>
                    </a:lnTo>
                    <a:lnTo>
                      <a:pt x="168" y="108"/>
                    </a:lnTo>
                    <a:lnTo>
                      <a:pt x="176" y="108"/>
                    </a:lnTo>
                    <a:lnTo>
                      <a:pt x="180" y="108"/>
                    </a:lnTo>
                    <a:lnTo>
                      <a:pt x="182" y="106"/>
                    </a:lnTo>
                    <a:lnTo>
                      <a:pt x="182" y="102"/>
                    </a:lnTo>
                    <a:lnTo>
                      <a:pt x="176" y="98"/>
                    </a:lnTo>
                    <a:lnTo>
                      <a:pt x="166" y="94"/>
                    </a:lnTo>
                    <a:lnTo>
                      <a:pt x="150" y="90"/>
                    </a:lnTo>
                    <a:lnTo>
                      <a:pt x="126" y="86"/>
                    </a:lnTo>
                    <a:lnTo>
                      <a:pt x="122" y="88"/>
                    </a:lnTo>
                    <a:lnTo>
                      <a:pt x="120" y="90"/>
                    </a:lnTo>
                    <a:lnTo>
                      <a:pt x="118" y="92"/>
                    </a:lnTo>
                    <a:lnTo>
                      <a:pt x="114" y="94"/>
                    </a:lnTo>
                    <a:lnTo>
                      <a:pt x="108" y="98"/>
                    </a:lnTo>
                    <a:lnTo>
                      <a:pt x="96" y="100"/>
                    </a:lnTo>
                    <a:lnTo>
                      <a:pt x="64" y="104"/>
                    </a:lnTo>
                    <a:lnTo>
                      <a:pt x="42" y="108"/>
                    </a:lnTo>
                    <a:lnTo>
                      <a:pt x="34" y="110"/>
                    </a:lnTo>
                    <a:lnTo>
                      <a:pt x="32" y="112"/>
                    </a:lnTo>
                    <a:lnTo>
                      <a:pt x="36" y="114"/>
                    </a:lnTo>
                    <a:lnTo>
                      <a:pt x="46" y="116"/>
                    </a:lnTo>
                    <a:close/>
                    <a:moveTo>
                      <a:pt x="202" y="100"/>
                    </a:moveTo>
                    <a:lnTo>
                      <a:pt x="202" y="100"/>
                    </a:lnTo>
                    <a:lnTo>
                      <a:pt x="210" y="106"/>
                    </a:lnTo>
                    <a:lnTo>
                      <a:pt x="210" y="108"/>
                    </a:lnTo>
                    <a:lnTo>
                      <a:pt x="210" y="112"/>
                    </a:lnTo>
                    <a:lnTo>
                      <a:pt x="208" y="114"/>
                    </a:lnTo>
                    <a:lnTo>
                      <a:pt x="202" y="116"/>
                    </a:lnTo>
                    <a:lnTo>
                      <a:pt x="178" y="118"/>
                    </a:lnTo>
                    <a:lnTo>
                      <a:pt x="152" y="118"/>
                    </a:lnTo>
                    <a:lnTo>
                      <a:pt x="136" y="118"/>
                    </a:lnTo>
                    <a:lnTo>
                      <a:pt x="132" y="120"/>
                    </a:lnTo>
                    <a:lnTo>
                      <a:pt x="134" y="124"/>
                    </a:lnTo>
                    <a:lnTo>
                      <a:pt x="140" y="126"/>
                    </a:lnTo>
                    <a:lnTo>
                      <a:pt x="146" y="132"/>
                    </a:lnTo>
                    <a:lnTo>
                      <a:pt x="146" y="134"/>
                    </a:lnTo>
                    <a:lnTo>
                      <a:pt x="144" y="134"/>
                    </a:lnTo>
                    <a:lnTo>
                      <a:pt x="124" y="132"/>
                    </a:lnTo>
                    <a:lnTo>
                      <a:pt x="110" y="132"/>
                    </a:lnTo>
                    <a:lnTo>
                      <a:pt x="100" y="132"/>
                    </a:lnTo>
                    <a:lnTo>
                      <a:pt x="96" y="134"/>
                    </a:lnTo>
                    <a:lnTo>
                      <a:pt x="96" y="136"/>
                    </a:lnTo>
                    <a:lnTo>
                      <a:pt x="100" y="140"/>
                    </a:lnTo>
                    <a:lnTo>
                      <a:pt x="110" y="144"/>
                    </a:lnTo>
                    <a:lnTo>
                      <a:pt x="118" y="148"/>
                    </a:lnTo>
                    <a:lnTo>
                      <a:pt x="122" y="148"/>
                    </a:lnTo>
                    <a:lnTo>
                      <a:pt x="128" y="144"/>
                    </a:lnTo>
                    <a:lnTo>
                      <a:pt x="140" y="140"/>
                    </a:lnTo>
                    <a:lnTo>
                      <a:pt x="146" y="140"/>
                    </a:lnTo>
                    <a:lnTo>
                      <a:pt x="148" y="140"/>
                    </a:lnTo>
                    <a:lnTo>
                      <a:pt x="146" y="146"/>
                    </a:lnTo>
                    <a:lnTo>
                      <a:pt x="146" y="150"/>
                    </a:lnTo>
                    <a:lnTo>
                      <a:pt x="146" y="152"/>
                    </a:lnTo>
                    <a:lnTo>
                      <a:pt x="150" y="152"/>
                    </a:lnTo>
                    <a:lnTo>
                      <a:pt x="160" y="150"/>
                    </a:lnTo>
                    <a:lnTo>
                      <a:pt x="168" y="148"/>
                    </a:lnTo>
                    <a:lnTo>
                      <a:pt x="176" y="146"/>
                    </a:lnTo>
                    <a:lnTo>
                      <a:pt x="184" y="148"/>
                    </a:lnTo>
                    <a:lnTo>
                      <a:pt x="190" y="150"/>
                    </a:lnTo>
                    <a:lnTo>
                      <a:pt x="192" y="150"/>
                    </a:lnTo>
                    <a:lnTo>
                      <a:pt x="196" y="148"/>
                    </a:lnTo>
                    <a:lnTo>
                      <a:pt x="200" y="144"/>
                    </a:lnTo>
                    <a:lnTo>
                      <a:pt x="198" y="142"/>
                    </a:lnTo>
                    <a:lnTo>
                      <a:pt x="192" y="140"/>
                    </a:lnTo>
                    <a:lnTo>
                      <a:pt x="184" y="138"/>
                    </a:lnTo>
                    <a:lnTo>
                      <a:pt x="184" y="136"/>
                    </a:lnTo>
                    <a:lnTo>
                      <a:pt x="186" y="134"/>
                    </a:lnTo>
                    <a:lnTo>
                      <a:pt x="196" y="130"/>
                    </a:lnTo>
                    <a:lnTo>
                      <a:pt x="206" y="130"/>
                    </a:lnTo>
                    <a:lnTo>
                      <a:pt x="216" y="128"/>
                    </a:lnTo>
                    <a:lnTo>
                      <a:pt x="220" y="126"/>
                    </a:lnTo>
                    <a:lnTo>
                      <a:pt x="226" y="124"/>
                    </a:lnTo>
                    <a:lnTo>
                      <a:pt x="230" y="120"/>
                    </a:lnTo>
                    <a:lnTo>
                      <a:pt x="234" y="118"/>
                    </a:lnTo>
                    <a:lnTo>
                      <a:pt x="246" y="118"/>
                    </a:lnTo>
                    <a:lnTo>
                      <a:pt x="262" y="118"/>
                    </a:lnTo>
                    <a:lnTo>
                      <a:pt x="286" y="114"/>
                    </a:lnTo>
                    <a:lnTo>
                      <a:pt x="298" y="112"/>
                    </a:lnTo>
                    <a:lnTo>
                      <a:pt x="304" y="108"/>
                    </a:lnTo>
                    <a:lnTo>
                      <a:pt x="306" y="104"/>
                    </a:lnTo>
                    <a:lnTo>
                      <a:pt x="304" y="102"/>
                    </a:lnTo>
                    <a:lnTo>
                      <a:pt x="298" y="98"/>
                    </a:lnTo>
                    <a:lnTo>
                      <a:pt x="290" y="96"/>
                    </a:lnTo>
                    <a:lnTo>
                      <a:pt x="280" y="96"/>
                    </a:lnTo>
                    <a:lnTo>
                      <a:pt x="270" y="98"/>
                    </a:lnTo>
                    <a:lnTo>
                      <a:pt x="256" y="98"/>
                    </a:lnTo>
                    <a:lnTo>
                      <a:pt x="258" y="98"/>
                    </a:lnTo>
                    <a:lnTo>
                      <a:pt x="260" y="96"/>
                    </a:lnTo>
                    <a:lnTo>
                      <a:pt x="262" y="94"/>
                    </a:lnTo>
                    <a:lnTo>
                      <a:pt x="262" y="92"/>
                    </a:lnTo>
                    <a:lnTo>
                      <a:pt x="258" y="90"/>
                    </a:lnTo>
                    <a:lnTo>
                      <a:pt x="250" y="88"/>
                    </a:lnTo>
                    <a:lnTo>
                      <a:pt x="228" y="88"/>
                    </a:lnTo>
                    <a:lnTo>
                      <a:pt x="208" y="90"/>
                    </a:lnTo>
                    <a:lnTo>
                      <a:pt x="202" y="92"/>
                    </a:lnTo>
                    <a:lnTo>
                      <a:pt x="198" y="96"/>
                    </a:lnTo>
                    <a:lnTo>
                      <a:pt x="198" y="98"/>
                    </a:lnTo>
                    <a:lnTo>
                      <a:pt x="202" y="100"/>
                    </a:lnTo>
                    <a:close/>
                    <a:moveTo>
                      <a:pt x="272" y="70"/>
                    </a:moveTo>
                    <a:lnTo>
                      <a:pt x="272" y="70"/>
                    </a:lnTo>
                    <a:lnTo>
                      <a:pt x="276" y="66"/>
                    </a:lnTo>
                    <a:lnTo>
                      <a:pt x="278" y="64"/>
                    </a:lnTo>
                    <a:lnTo>
                      <a:pt x="276" y="62"/>
                    </a:lnTo>
                    <a:lnTo>
                      <a:pt x="274" y="60"/>
                    </a:lnTo>
                    <a:lnTo>
                      <a:pt x="268" y="60"/>
                    </a:lnTo>
                    <a:lnTo>
                      <a:pt x="262" y="60"/>
                    </a:lnTo>
                    <a:lnTo>
                      <a:pt x="256" y="62"/>
                    </a:lnTo>
                    <a:lnTo>
                      <a:pt x="250" y="66"/>
                    </a:lnTo>
                    <a:lnTo>
                      <a:pt x="246" y="72"/>
                    </a:lnTo>
                    <a:lnTo>
                      <a:pt x="244" y="76"/>
                    </a:lnTo>
                    <a:lnTo>
                      <a:pt x="244" y="78"/>
                    </a:lnTo>
                    <a:lnTo>
                      <a:pt x="248" y="78"/>
                    </a:lnTo>
                    <a:lnTo>
                      <a:pt x="258" y="74"/>
                    </a:lnTo>
                    <a:lnTo>
                      <a:pt x="272" y="70"/>
                    </a:lnTo>
                    <a:close/>
                    <a:moveTo>
                      <a:pt x="228" y="142"/>
                    </a:moveTo>
                    <a:lnTo>
                      <a:pt x="228" y="142"/>
                    </a:lnTo>
                    <a:lnTo>
                      <a:pt x="222" y="144"/>
                    </a:lnTo>
                    <a:lnTo>
                      <a:pt x="220" y="146"/>
                    </a:lnTo>
                    <a:lnTo>
                      <a:pt x="218" y="150"/>
                    </a:lnTo>
                    <a:lnTo>
                      <a:pt x="220" y="152"/>
                    </a:lnTo>
                    <a:lnTo>
                      <a:pt x="222" y="156"/>
                    </a:lnTo>
                    <a:lnTo>
                      <a:pt x="226" y="156"/>
                    </a:lnTo>
                    <a:lnTo>
                      <a:pt x="232" y="156"/>
                    </a:lnTo>
                    <a:lnTo>
                      <a:pt x="238" y="154"/>
                    </a:lnTo>
                    <a:lnTo>
                      <a:pt x="246" y="148"/>
                    </a:lnTo>
                    <a:lnTo>
                      <a:pt x="248" y="144"/>
                    </a:lnTo>
                    <a:lnTo>
                      <a:pt x="248" y="142"/>
                    </a:lnTo>
                    <a:lnTo>
                      <a:pt x="246" y="140"/>
                    </a:lnTo>
                    <a:lnTo>
                      <a:pt x="242" y="138"/>
                    </a:lnTo>
                    <a:lnTo>
                      <a:pt x="228" y="142"/>
                    </a:lnTo>
                    <a:close/>
                    <a:moveTo>
                      <a:pt x="790" y="22"/>
                    </a:moveTo>
                    <a:lnTo>
                      <a:pt x="790" y="22"/>
                    </a:lnTo>
                    <a:lnTo>
                      <a:pt x="792" y="20"/>
                    </a:lnTo>
                    <a:lnTo>
                      <a:pt x="792" y="18"/>
                    </a:lnTo>
                    <a:lnTo>
                      <a:pt x="788" y="14"/>
                    </a:lnTo>
                    <a:lnTo>
                      <a:pt x="780" y="12"/>
                    </a:lnTo>
                    <a:lnTo>
                      <a:pt x="770" y="12"/>
                    </a:lnTo>
                    <a:lnTo>
                      <a:pt x="748" y="12"/>
                    </a:lnTo>
                    <a:lnTo>
                      <a:pt x="736" y="14"/>
                    </a:lnTo>
                    <a:lnTo>
                      <a:pt x="728" y="18"/>
                    </a:lnTo>
                    <a:lnTo>
                      <a:pt x="726" y="18"/>
                    </a:lnTo>
                    <a:lnTo>
                      <a:pt x="726" y="20"/>
                    </a:lnTo>
                    <a:lnTo>
                      <a:pt x="730" y="22"/>
                    </a:lnTo>
                    <a:lnTo>
                      <a:pt x="750" y="26"/>
                    </a:lnTo>
                    <a:lnTo>
                      <a:pt x="774" y="26"/>
                    </a:lnTo>
                    <a:lnTo>
                      <a:pt x="784" y="26"/>
                    </a:lnTo>
                    <a:lnTo>
                      <a:pt x="790" y="22"/>
                    </a:lnTo>
                    <a:close/>
                    <a:moveTo>
                      <a:pt x="596" y="154"/>
                    </a:moveTo>
                    <a:lnTo>
                      <a:pt x="596" y="154"/>
                    </a:lnTo>
                    <a:lnTo>
                      <a:pt x="588" y="158"/>
                    </a:lnTo>
                    <a:lnTo>
                      <a:pt x="586" y="160"/>
                    </a:lnTo>
                    <a:lnTo>
                      <a:pt x="588" y="162"/>
                    </a:lnTo>
                    <a:lnTo>
                      <a:pt x="592" y="164"/>
                    </a:lnTo>
                    <a:lnTo>
                      <a:pt x="608" y="164"/>
                    </a:lnTo>
                    <a:lnTo>
                      <a:pt x="628" y="164"/>
                    </a:lnTo>
                    <a:lnTo>
                      <a:pt x="634" y="162"/>
                    </a:lnTo>
                    <a:lnTo>
                      <a:pt x="638" y="160"/>
                    </a:lnTo>
                    <a:lnTo>
                      <a:pt x="636" y="158"/>
                    </a:lnTo>
                    <a:lnTo>
                      <a:pt x="632" y="156"/>
                    </a:lnTo>
                    <a:lnTo>
                      <a:pt x="618" y="152"/>
                    </a:lnTo>
                    <a:lnTo>
                      <a:pt x="610" y="152"/>
                    </a:lnTo>
                    <a:lnTo>
                      <a:pt x="600" y="154"/>
                    </a:lnTo>
                    <a:lnTo>
                      <a:pt x="596" y="154"/>
                    </a:lnTo>
                    <a:close/>
                    <a:moveTo>
                      <a:pt x="482" y="98"/>
                    </a:moveTo>
                    <a:lnTo>
                      <a:pt x="482" y="98"/>
                    </a:lnTo>
                    <a:lnTo>
                      <a:pt x="460" y="100"/>
                    </a:lnTo>
                    <a:lnTo>
                      <a:pt x="458" y="102"/>
                    </a:lnTo>
                    <a:lnTo>
                      <a:pt x="462" y="106"/>
                    </a:lnTo>
                    <a:lnTo>
                      <a:pt x="470" y="108"/>
                    </a:lnTo>
                    <a:lnTo>
                      <a:pt x="482" y="108"/>
                    </a:lnTo>
                    <a:lnTo>
                      <a:pt x="510" y="106"/>
                    </a:lnTo>
                    <a:lnTo>
                      <a:pt x="514" y="106"/>
                    </a:lnTo>
                    <a:lnTo>
                      <a:pt x="516" y="104"/>
                    </a:lnTo>
                    <a:lnTo>
                      <a:pt x="508" y="100"/>
                    </a:lnTo>
                    <a:lnTo>
                      <a:pt x="496" y="98"/>
                    </a:lnTo>
                    <a:lnTo>
                      <a:pt x="482" y="98"/>
                    </a:lnTo>
                    <a:close/>
                    <a:moveTo>
                      <a:pt x="796" y="100"/>
                    </a:moveTo>
                    <a:lnTo>
                      <a:pt x="796" y="100"/>
                    </a:lnTo>
                    <a:lnTo>
                      <a:pt x="822" y="96"/>
                    </a:lnTo>
                    <a:lnTo>
                      <a:pt x="842" y="92"/>
                    </a:lnTo>
                    <a:lnTo>
                      <a:pt x="848" y="90"/>
                    </a:lnTo>
                    <a:lnTo>
                      <a:pt x="854" y="88"/>
                    </a:lnTo>
                    <a:lnTo>
                      <a:pt x="856" y="84"/>
                    </a:lnTo>
                    <a:lnTo>
                      <a:pt x="858" y="78"/>
                    </a:lnTo>
                    <a:lnTo>
                      <a:pt x="856" y="70"/>
                    </a:lnTo>
                    <a:lnTo>
                      <a:pt x="852" y="66"/>
                    </a:lnTo>
                    <a:lnTo>
                      <a:pt x="844" y="62"/>
                    </a:lnTo>
                    <a:lnTo>
                      <a:pt x="836" y="60"/>
                    </a:lnTo>
                    <a:lnTo>
                      <a:pt x="828" y="60"/>
                    </a:lnTo>
                    <a:lnTo>
                      <a:pt x="820" y="60"/>
                    </a:lnTo>
                    <a:lnTo>
                      <a:pt x="812" y="62"/>
                    </a:lnTo>
                    <a:lnTo>
                      <a:pt x="806" y="66"/>
                    </a:lnTo>
                    <a:lnTo>
                      <a:pt x="800" y="70"/>
                    </a:lnTo>
                    <a:lnTo>
                      <a:pt x="796" y="72"/>
                    </a:lnTo>
                    <a:lnTo>
                      <a:pt x="784" y="74"/>
                    </a:lnTo>
                    <a:lnTo>
                      <a:pt x="768" y="76"/>
                    </a:lnTo>
                    <a:lnTo>
                      <a:pt x="758" y="80"/>
                    </a:lnTo>
                    <a:lnTo>
                      <a:pt x="748" y="86"/>
                    </a:lnTo>
                    <a:lnTo>
                      <a:pt x="742" y="90"/>
                    </a:lnTo>
                    <a:lnTo>
                      <a:pt x="740" y="94"/>
                    </a:lnTo>
                    <a:lnTo>
                      <a:pt x="742" y="98"/>
                    </a:lnTo>
                    <a:lnTo>
                      <a:pt x="748" y="100"/>
                    </a:lnTo>
                    <a:lnTo>
                      <a:pt x="758" y="102"/>
                    </a:lnTo>
                    <a:lnTo>
                      <a:pt x="768" y="102"/>
                    </a:lnTo>
                    <a:lnTo>
                      <a:pt x="796" y="100"/>
                    </a:lnTo>
                    <a:close/>
                    <a:moveTo>
                      <a:pt x="506" y="132"/>
                    </a:moveTo>
                    <a:lnTo>
                      <a:pt x="506" y="132"/>
                    </a:lnTo>
                    <a:lnTo>
                      <a:pt x="494" y="134"/>
                    </a:lnTo>
                    <a:lnTo>
                      <a:pt x="482" y="132"/>
                    </a:lnTo>
                    <a:lnTo>
                      <a:pt x="476" y="134"/>
                    </a:lnTo>
                    <a:lnTo>
                      <a:pt x="472" y="136"/>
                    </a:lnTo>
                    <a:lnTo>
                      <a:pt x="468" y="140"/>
                    </a:lnTo>
                    <a:lnTo>
                      <a:pt x="466" y="148"/>
                    </a:lnTo>
                    <a:lnTo>
                      <a:pt x="466" y="154"/>
                    </a:lnTo>
                    <a:lnTo>
                      <a:pt x="468" y="156"/>
                    </a:lnTo>
                    <a:lnTo>
                      <a:pt x="472" y="158"/>
                    </a:lnTo>
                    <a:lnTo>
                      <a:pt x="478" y="158"/>
                    </a:lnTo>
                    <a:lnTo>
                      <a:pt x="494" y="158"/>
                    </a:lnTo>
                    <a:lnTo>
                      <a:pt x="512" y="158"/>
                    </a:lnTo>
                    <a:lnTo>
                      <a:pt x="520" y="156"/>
                    </a:lnTo>
                    <a:lnTo>
                      <a:pt x="524" y="154"/>
                    </a:lnTo>
                    <a:lnTo>
                      <a:pt x="526" y="150"/>
                    </a:lnTo>
                    <a:lnTo>
                      <a:pt x="524" y="144"/>
                    </a:lnTo>
                    <a:lnTo>
                      <a:pt x="522" y="138"/>
                    </a:lnTo>
                    <a:lnTo>
                      <a:pt x="516" y="134"/>
                    </a:lnTo>
                    <a:lnTo>
                      <a:pt x="512" y="132"/>
                    </a:lnTo>
                    <a:lnTo>
                      <a:pt x="506" y="132"/>
                    </a:lnTo>
                    <a:close/>
                    <a:moveTo>
                      <a:pt x="456" y="58"/>
                    </a:moveTo>
                    <a:lnTo>
                      <a:pt x="456" y="58"/>
                    </a:lnTo>
                    <a:lnTo>
                      <a:pt x="460" y="58"/>
                    </a:lnTo>
                    <a:lnTo>
                      <a:pt x="464" y="58"/>
                    </a:lnTo>
                    <a:lnTo>
                      <a:pt x="470" y="58"/>
                    </a:lnTo>
                    <a:lnTo>
                      <a:pt x="480" y="58"/>
                    </a:lnTo>
                    <a:lnTo>
                      <a:pt x="486" y="58"/>
                    </a:lnTo>
                    <a:lnTo>
                      <a:pt x="492" y="62"/>
                    </a:lnTo>
                    <a:lnTo>
                      <a:pt x="496" y="64"/>
                    </a:lnTo>
                    <a:lnTo>
                      <a:pt x="500" y="64"/>
                    </a:lnTo>
                    <a:lnTo>
                      <a:pt x="508" y="60"/>
                    </a:lnTo>
                    <a:lnTo>
                      <a:pt x="524" y="56"/>
                    </a:lnTo>
                    <a:lnTo>
                      <a:pt x="548" y="52"/>
                    </a:lnTo>
                    <a:lnTo>
                      <a:pt x="552" y="52"/>
                    </a:lnTo>
                    <a:lnTo>
                      <a:pt x="550" y="50"/>
                    </a:lnTo>
                    <a:lnTo>
                      <a:pt x="540" y="48"/>
                    </a:lnTo>
                    <a:lnTo>
                      <a:pt x="498" y="44"/>
                    </a:lnTo>
                    <a:lnTo>
                      <a:pt x="492" y="44"/>
                    </a:lnTo>
                    <a:lnTo>
                      <a:pt x="488" y="44"/>
                    </a:lnTo>
                    <a:lnTo>
                      <a:pt x="488" y="46"/>
                    </a:lnTo>
                    <a:lnTo>
                      <a:pt x="490" y="48"/>
                    </a:lnTo>
                    <a:lnTo>
                      <a:pt x="494" y="52"/>
                    </a:lnTo>
                    <a:lnTo>
                      <a:pt x="492" y="54"/>
                    </a:lnTo>
                    <a:lnTo>
                      <a:pt x="488" y="54"/>
                    </a:lnTo>
                    <a:lnTo>
                      <a:pt x="462" y="52"/>
                    </a:lnTo>
                    <a:lnTo>
                      <a:pt x="454" y="54"/>
                    </a:lnTo>
                    <a:lnTo>
                      <a:pt x="454" y="56"/>
                    </a:lnTo>
                    <a:lnTo>
                      <a:pt x="456" y="58"/>
                    </a:lnTo>
                    <a:close/>
                    <a:moveTo>
                      <a:pt x="678" y="84"/>
                    </a:moveTo>
                    <a:lnTo>
                      <a:pt x="678" y="84"/>
                    </a:lnTo>
                    <a:lnTo>
                      <a:pt x="688" y="82"/>
                    </a:lnTo>
                    <a:lnTo>
                      <a:pt x="696" y="78"/>
                    </a:lnTo>
                    <a:lnTo>
                      <a:pt x="704" y="74"/>
                    </a:lnTo>
                    <a:lnTo>
                      <a:pt x="710" y="70"/>
                    </a:lnTo>
                    <a:lnTo>
                      <a:pt x="710" y="68"/>
                    </a:lnTo>
                    <a:lnTo>
                      <a:pt x="710" y="66"/>
                    </a:lnTo>
                    <a:lnTo>
                      <a:pt x="704" y="64"/>
                    </a:lnTo>
                    <a:lnTo>
                      <a:pt x="692" y="64"/>
                    </a:lnTo>
                    <a:lnTo>
                      <a:pt x="670" y="68"/>
                    </a:lnTo>
                    <a:lnTo>
                      <a:pt x="654" y="72"/>
                    </a:lnTo>
                    <a:lnTo>
                      <a:pt x="646" y="76"/>
                    </a:lnTo>
                    <a:lnTo>
                      <a:pt x="644" y="80"/>
                    </a:lnTo>
                    <a:lnTo>
                      <a:pt x="646" y="82"/>
                    </a:lnTo>
                    <a:lnTo>
                      <a:pt x="658" y="84"/>
                    </a:lnTo>
                    <a:lnTo>
                      <a:pt x="678" y="84"/>
                    </a:lnTo>
                    <a:close/>
                    <a:moveTo>
                      <a:pt x="568" y="44"/>
                    </a:moveTo>
                    <a:lnTo>
                      <a:pt x="568" y="44"/>
                    </a:lnTo>
                    <a:lnTo>
                      <a:pt x="580" y="44"/>
                    </a:lnTo>
                    <a:lnTo>
                      <a:pt x="582" y="44"/>
                    </a:lnTo>
                    <a:lnTo>
                      <a:pt x="580" y="42"/>
                    </a:lnTo>
                    <a:lnTo>
                      <a:pt x="570" y="38"/>
                    </a:lnTo>
                    <a:lnTo>
                      <a:pt x="556" y="34"/>
                    </a:lnTo>
                    <a:lnTo>
                      <a:pt x="544" y="30"/>
                    </a:lnTo>
                    <a:lnTo>
                      <a:pt x="536" y="28"/>
                    </a:lnTo>
                    <a:lnTo>
                      <a:pt x="528" y="30"/>
                    </a:lnTo>
                    <a:lnTo>
                      <a:pt x="518" y="34"/>
                    </a:lnTo>
                    <a:lnTo>
                      <a:pt x="510" y="38"/>
                    </a:lnTo>
                    <a:lnTo>
                      <a:pt x="508" y="40"/>
                    </a:lnTo>
                    <a:lnTo>
                      <a:pt x="510" y="40"/>
                    </a:lnTo>
                    <a:lnTo>
                      <a:pt x="520" y="40"/>
                    </a:lnTo>
                    <a:lnTo>
                      <a:pt x="542" y="42"/>
                    </a:lnTo>
                    <a:lnTo>
                      <a:pt x="568" y="44"/>
                    </a:lnTo>
                    <a:close/>
                    <a:moveTo>
                      <a:pt x="672" y="122"/>
                    </a:moveTo>
                    <a:lnTo>
                      <a:pt x="672" y="122"/>
                    </a:lnTo>
                    <a:lnTo>
                      <a:pt x="682" y="124"/>
                    </a:lnTo>
                    <a:lnTo>
                      <a:pt x="690" y="124"/>
                    </a:lnTo>
                    <a:lnTo>
                      <a:pt x="694" y="124"/>
                    </a:lnTo>
                    <a:lnTo>
                      <a:pt x="698" y="120"/>
                    </a:lnTo>
                    <a:lnTo>
                      <a:pt x="706" y="116"/>
                    </a:lnTo>
                    <a:lnTo>
                      <a:pt x="710" y="112"/>
                    </a:lnTo>
                    <a:lnTo>
                      <a:pt x="718" y="112"/>
                    </a:lnTo>
                    <a:lnTo>
                      <a:pt x="724" y="110"/>
                    </a:lnTo>
                    <a:lnTo>
                      <a:pt x="728" y="106"/>
                    </a:lnTo>
                    <a:lnTo>
                      <a:pt x="730" y="100"/>
                    </a:lnTo>
                    <a:lnTo>
                      <a:pt x="728" y="94"/>
                    </a:lnTo>
                    <a:lnTo>
                      <a:pt x="724" y="88"/>
                    </a:lnTo>
                    <a:lnTo>
                      <a:pt x="716" y="84"/>
                    </a:lnTo>
                    <a:lnTo>
                      <a:pt x="704" y="84"/>
                    </a:lnTo>
                    <a:lnTo>
                      <a:pt x="688" y="88"/>
                    </a:lnTo>
                    <a:lnTo>
                      <a:pt x="670" y="94"/>
                    </a:lnTo>
                    <a:lnTo>
                      <a:pt x="656" y="94"/>
                    </a:lnTo>
                    <a:lnTo>
                      <a:pt x="644" y="92"/>
                    </a:lnTo>
                    <a:lnTo>
                      <a:pt x="634" y="90"/>
                    </a:lnTo>
                    <a:lnTo>
                      <a:pt x="626" y="90"/>
                    </a:lnTo>
                    <a:lnTo>
                      <a:pt x="620" y="90"/>
                    </a:lnTo>
                    <a:lnTo>
                      <a:pt x="614" y="94"/>
                    </a:lnTo>
                    <a:lnTo>
                      <a:pt x="608" y="104"/>
                    </a:lnTo>
                    <a:lnTo>
                      <a:pt x="606" y="116"/>
                    </a:lnTo>
                    <a:lnTo>
                      <a:pt x="606" y="118"/>
                    </a:lnTo>
                    <a:lnTo>
                      <a:pt x="608" y="122"/>
                    </a:lnTo>
                    <a:lnTo>
                      <a:pt x="614" y="124"/>
                    </a:lnTo>
                    <a:lnTo>
                      <a:pt x="622" y="124"/>
                    </a:lnTo>
                    <a:lnTo>
                      <a:pt x="646" y="120"/>
                    </a:lnTo>
                    <a:lnTo>
                      <a:pt x="660" y="120"/>
                    </a:lnTo>
                    <a:lnTo>
                      <a:pt x="672" y="122"/>
                    </a:lnTo>
                    <a:close/>
                    <a:moveTo>
                      <a:pt x="4428" y="2314"/>
                    </a:moveTo>
                    <a:lnTo>
                      <a:pt x="4428" y="2314"/>
                    </a:lnTo>
                    <a:lnTo>
                      <a:pt x="4426" y="2314"/>
                    </a:lnTo>
                    <a:lnTo>
                      <a:pt x="4428" y="2314"/>
                    </a:lnTo>
                    <a:lnTo>
                      <a:pt x="4432" y="2310"/>
                    </a:lnTo>
                    <a:lnTo>
                      <a:pt x="4436" y="2306"/>
                    </a:lnTo>
                    <a:lnTo>
                      <a:pt x="4436" y="2302"/>
                    </a:lnTo>
                    <a:lnTo>
                      <a:pt x="4432" y="2304"/>
                    </a:lnTo>
                    <a:lnTo>
                      <a:pt x="4428" y="2314"/>
                    </a:lnTo>
                    <a:close/>
                    <a:moveTo>
                      <a:pt x="4510" y="2192"/>
                    </a:moveTo>
                    <a:lnTo>
                      <a:pt x="4510" y="2192"/>
                    </a:lnTo>
                    <a:lnTo>
                      <a:pt x="4508" y="2194"/>
                    </a:lnTo>
                    <a:lnTo>
                      <a:pt x="4506" y="2196"/>
                    </a:lnTo>
                    <a:lnTo>
                      <a:pt x="4502" y="2202"/>
                    </a:lnTo>
                    <a:lnTo>
                      <a:pt x="4498" y="2210"/>
                    </a:lnTo>
                    <a:lnTo>
                      <a:pt x="4496" y="2214"/>
                    </a:lnTo>
                    <a:lnTo>
                      <a:pt x="4492" y="2216"/>
                    </a:lnTo>
                    <a:lnTo>
                      <a:pt x="4482" y="2220"/>
                    </a:lnTo>
                    <a:lnTo>
                      <a:pt x="4476" y="2224"/>
                    </a:lnTo>
                    <a:lnTo>
                      <a:pt x="4476" y="2226"/>
                    </a:lnTo>
                    <a:lnTo>
                      <a:pt x="4474" y="2228"/>
                    </a:lnTo>
                    <a:lnTo>
                      <a:pt x="4478" y="2236"/>
                    </a:lnTo>
                    <a:lnTo>
                      <a:pt x="4480" y="2238"/>
                    </a:lnTo>
                    <a:lnTo>
                      <a:pt x="4482" y="2238"/>
                    </a:lnTo>
                    <a:lnTo>
                      <a:pt x="4484" y="2236"/>
                    </a:lnTo>
                    <a:lnTo>
                      <a:pt x="4490" y="2230"/>
                    </a:lnTo>
                    <a:lnTo>
                      <a:pt x="4494" y="2228"/>
                    </a:lnTo>
                    <a:lnTo>
                      <a:pt x="4498" y="2226"/>
                    </a:lnTo>
                    <a:lnTo>
                      <a:pt x="4504" y="2224"/>
                    </a:lnTo>
                    <a:lnTo>
                      <a:pt x="4508" y="2220"/>
                    </a:lnTo>
                    <a:lnTo>
                      <a:pt x="4510" y="2214"/>
                    </a:lnTo>
                    <a:lnTo>
                      <a:pt x="4512" y="2208"/>
                    </a:lnTo>
                    <a:lnTo>
                      <a:pt x="4512" y="2198"/>
                    </a:lnTo>
                    <a:lnTo>
                      <a:pt x="4512" y="2194"/>
                    </a:lnTo>
                    <a:lnTo>
                      <a:pt x="4510" y="2192"/>
                    </a:lnTo>
                    <a:close/>
                    <a:moveTo>
                      <a:pt x="4462" y="2262"/>
                    </a:moveTo>
                    <a:lnTo>
                      <a:pt x="4462" y="2262"/>
                    </a:lnTo>
                    <a:lnTo>
                      <a:pt x="4460" y="2260"/>
                    </a:lnTo>
                    <a:lnTo>
                      <a:pt x="4456" y="2262"/>
                    </a:lnTo>
                    <a:lnTo>
                      <a:pt x="4452" y="2272"/>
                    </a:lnTo>
                    <a:lnTo>
                      <a:pt x="4448" y="2284"/>
                    </a:lnTo>
                    <a:lnTo>
                      <a:pt x="4448" y="2292"/>
                    </a:lnTo>
                    <a:lnTo>
                      <a:pt x="4448" y="2294"/>
                    </a:lnTo>
                    <a:lnTo>
                      <a:pt x="4452" y="2292"/>
                    </a:lnTo>
                    <a:lnTo>
                      <a:pt x="4458" y="2282"/>
                    </a:lnTo>
                    <a:lnTo>
                      <a:pt x="4462" y="2272"/>
                    </a:lnTo>
                    <a:lnTo>
                      <a:pt x="4462" y="2266"/>
                    </a:lnTo>
                    <a:lnTo>
                      <a:pt x="4462" y="2262"/>
                    </a:lnTo>
                    <a:close/>
                    <a:moveTo>
                      <a:pt x="4486" y="4072"/>
                    </a:moveTo>
                    <a:lnTo>
                      <a:pt x="4486" y="4072"/>
                    </a:lnTo>
                    <a:lnTo>
                      <a:pt x="4482" y="4070"/>
                    </a:lnTo>
                    <a:lnTo>
                      <a:pt x="4482" y="4068"/>
                    </a:lnTo>
                    <a:lnTo>
                      <a:pt x="4480" y="4066"/>
                    </a:lnTo>
                    <a:lnTo>
                      <a:pt x="4478" y="4064"/>
                    </a:lnTo>
                    <a:lnTo>
                      <a:pt x="4474" y="4064"/>
                    </a:lnTo>
                    <a:lnTo>
                      <a:pt x="4470" y="4064"/>
                    </a:lnTo>
                    <a:lnTo>
                      <a:pt x="4460" y="4068"/>
                    </a:lnTo>
                    <a:lnTo>
                      <a:pt x="4450" y="4076"/>
                    </a:lnTo>
                    <a:lnTo>
                      <a:pt x="4448" y="4080"/>
                    </a:lnTo>
                    <a:lnTo>
                      <a:pt x="4448" y="4084"/>
                    </a:lnTo>
                    <a:lnTo>
                      <a:pt x="4446" y="4088"/>
                    </a:lnTo>
                    <a:lnTo>
                      <a:pt x="4442" y="4094"/>
                    </a:lnTo>
                    <a:lnTo>
                      <a:pt x="4440" y="4100"/>
                    </a:lnTo>
                    <a:lnTo>
                      <a:pt x="4438" y="4104"/>
                    </a:lnTo>
                    <a:lnTo>
                      <a:pt x="4440" y="4106"/>
                    </a:lnTo>
                    <a:lnTo>
                      <a:pt x="4442" y="4104"/>
                    </a:lnTo>
                    <a:lnTo>
                      <a:pt x="4448" y="4104"/>
                    </a:lnTo>
                    <a:lnTo>
                      <a:pt x="4458" y="4106"/>
                    </a:lnTo>
                    <a:lnTo>
                      <a:pt x="4462" y="4106"/>
                    </a:lnTo>
                    <a:lnTo>
                      <a:pt x="4466" y="4106"/>
                    </a:lnTo>
                    <a:lnTo>
                      <a:pt x="4470" y="4102"/>
                    </a:lnTo>
                    <a:lnTo>
                      <a:pt x="4474" y="4098"/>
                    </a:lnTo>
                    <a:lnTo>
                      <a:pt x="4478" y="4094"/>
                    </a:lnTo>
                    <a:lnTo>
                      <a:pt x="4480" y="4092"/>
                    </a:lnTo>
                    <a:lnTo>
                      <a:pt x="4482" y="4090"/>
                    </a:lnTo>
                    <a:lnTo>
                      <a:pt x="4484" y="4082"/>
                    </a:lnTo>
                    <a:lnTo>
                      <a:pt x="4488" y="4074"/>
                    </a:lnTo>
                    <a:lnTo>
                      <a:pt x="4488" y="4072"/>
                    </a:lnTo>
                    <a:lnTo>
                      <a:pt x="4486" y="4072"/>
                    </a:lnTo>
                    <a:close/>
                    <a:moveTo>
                      <a:pt x="2916" y="5240"/>
                    </a:moveTo>
                    <a:lnTo>
                      <a:pt x="2916" y="5240"/>
                    </a:lnTo>
                    <a:lnTo>
                      <a:pt x="2912" y="5240"/>
                    </a:lnTo>
                    <a:lnTo>
                      <a:pt x="2908" y="5240"/>
                    </a:lnTo>
                    <a:lnTo>
                      <a:pt x="2902" y="5244"/>
                    </a:lnTo>
                    <a:lnTo>
                      <a:pt x="2898" y="5248"/>
                    </a:lnTo>
                    <a:lnTo>
                      <a:pt x="2896" y="5252"/>
                    </a:lnTo>
                    <a:lnTo>
                      <a:pt x="2896" y="5260"/>
                    </a:lnTo>
                    <a:lnTo>
                      <a:pt x="2896" y="5264"/>
                    </a:lnTo>
                    <a:lnTo>
                      <a:pt x="2894" y="5266"/>
                    </a:lnTo>
                    <a:lnTo>
                      <a:pt x="2890" y="5266"/>
                    </a:lnTo>
                    <a:lnTo>
                      <a:pt x="2888" y="5270"/>
                    </a:lnTo>
                    <a:lnTo>
                      <a:pt x="2892" y="5272"/>
                    </a:lnTo>
                    <a:lnTo>
                      <a:pt x="2904" y="5274"/>
                    </a:lnTo>
                    <a:lnTo>
                      <a:pt x="2914" y="5274"/>
                    </a:lnTo>
                    <a:lnTo>
                      <a:pt x="2916" y="5272"/>
                    </a:lnTo>
                    <a:lnTo>
                      <a:pt x="2918" y="5272"/>
                    </a:lnTo>
                    <a:lnTo>
                      <a:pt x="2918" y="5266"/>
                    </a:lnTo>
                    <a:lnTo>
                      <a:pt x="2920" y="5258"/>
                    </a:lnTo>
                    <a:lnTo>
                      <a:pt x="2924" y="5250"/>
                    </a:lnTo>
                    <a:lnTo>
                      <a:pt x="2924" y="5246"/>
                    </a:lnTo>
                    <a:lnTo>
                      <a:pt x="2922" y="5242"/>
                    </a:lnTo>
                    <a:lnTo>
                      <a:pt x="2916" y="5240"/>
                    </a:lnTo>
                    <a:close/>
                    <a:moveTo>
                      <a:pt x="2868" y="5234"/>
                    </a:moveTo>
                    <a:lnTo>
                      <a:pt x="2868" y="5234"/>
                    </a:lnTo>
                    <a:lnTo>
                      <a:pt x="2866" y="5232"/>
                    </a:lnTo>
                    <a:lnTo>
                      <a:pt x="2864" y="5232"/>
                    </a:lnTo>
                    <a:lnTo>
                      <a:pt x="2860" y="5234"/>
                    </a:lnTo>
                    <a:lnTo>
                      <a:pt x="2854" y="5238"/>
                    </a:lnTo>
                    <a:lnTo>
                      <a:pt x="2850" y="5238"/>
                    </a:lnTo>
                    <a:lnTo>
                      <a:pt x="2844" y="5236"/>
                    </a:lnTo>
                    <a:lnTo>
                      <a:pt x="2838" y="5234"/>
                    </a:lnTo>
                    <a:lnTo>
                      <a:pt x="2836" y="5234"/>
                    </a:lnTo>
                    <a:lnTo>
                      <a:pt x="2834" y="5236"/>
                    </a:lnTo>
                    <a:lnTo>
                      <a:pt x="2834" y="5240"/>
                    </a:lnTo>
                    <a:lnTo>
                      <a:pt x="2836" y="5246"/>
                    </a:lnTo>
                    <a:lnTo>
                      <a:pt x="2840" y="5248"/>
                    </a:lnTo>
                    <a:lnTo>
                      <a:pt x="2844" y="5250"/>
                    </a:lnTo>
                    <a:lnTo>
                      <a:pt x="2850" y="5252"/>
                    </a:lnTo>
                    <a:lnTo>
                      <a:pt x="2856" y="5256"/>
                    </a:lnTo>
                    <a:lnTo>
                      <a:pt x="2860" y="5262"/>
                    </a:lnTo>
                    <a:lnTo>
                      <a:pt x="2860" y="5266"/>
                    </a:lnTo>
                    <a:lnTo>
                      <a:pt x="2860" y="5270"/>
                    </a:lnTo>
                    <a:lnTo>
                      <a:pt x="2862" y="5270"/>
                    </a:lnTo>
                    <a:lnTo>
                      <a:pt x="2866" y="5270"/>
                    </a:lnTo>
                    <a:lnTo>
                      <a:pt x="2868" y="5266"/>
                    </a:lnTo>
                    <a:lnTo>
                      <a:pt x="2870" y="5260"/>
                    </a:lnTo>
                    <a:lnTo>
                      <a:pt x="2876" y="5254"/>
                    </a:lnTo>
                    <a:lnTo>
                      <a:pt x="2882" y="5250"/>
                    </a:lnTo>
                    <a:lnTo>
                      <a:pt x="2882" y="5246"/>
                    </a:lnTo>
                    <a:lnTo>
                      <a:pt x="2882" y="5244"/>
                    </a:lnTo>
                    <a:lnTo>
                      <a:pt x="2876" y="5240"/>
                    </a:lnTo>
                    <a:lnTo>
                      <a:pt x="2868" y="5234"/>
                    </a:lnTo>
                    <a:close/>
                    <a:moveTo>
                      <a:pt x="2906" y="5026"/>
                    </a:moveTo>
                    <a:lnTo>
                      <a:pt x="2906" y="5026"/>
                    </a:lnTo>
                    <a:lnTo>
                      <a:pt x="2906" y="5016"/>
                    </a:lnTo>
                    <a:lnTo>
                      <a:pt x="2906" y="5006"/>
                    </a:lnTo>
                    <a:lnTo>
                      <a:pt x="2904" y="5000"/>
                    </a:lnTo>
                    <a:lnTo>
                      <a:pt x="2902" y="5000"/>
                    </a:lnTo>
                    <a:lnTo>
                      <a:pt x="2900" y="5002"/>
                    </a:lnTo>
                    <a:lnTo>
                      <a:pt x="2898" y="5010"/>
                    </a:lnTo>
                    <a:lnTo>
                      <a:pt x="2898" y="5018"/>
                    </a:lnTo>
                    <a:lnTo>
                      <a:pt x="2898" y="5026"/>
                    </a:lnTo>
                    <a:lnTo>
                      <a:pt x="2896" y="5036"/>
                    </a:lnTo>
                    <a:lnTo>
                      <a:pt x="2896" y="5038"/>
                    </a:lnTo>
                    <a:lnTo>
                      <a:pt x="2898" y="5038"/>
                    </a:lnTo>
                    <a:lnTo>
                      <a:pt x="2902" y="5034"/>
                    </a:lnTo>
                    <a:lnTo>
                      <a:pt x="2906" y="5026"/>
                    </a:lnTo>
                    <a:close/>
                    <a:moveTo>
                      <a:pt x="3284" y="4314"/>
                    </a:moveTo>
                    <a:lnTo>
                      <a:pt x="3284" y="4314"/>
                    </a:lnTo>
                    <a:lnTo>
                      <a:pt x="3286" y="4316"/>
                    </a:lnTo>
                    <a:lnTo>
                      <a:pt x="3288" y="4318"/>
                    </a:lnTo>
                    <a:lnTo>
                      <a:pt x="3290" y="4318"/>
                    </a:lnTo>
                    <a:lnTo>
                      <a:pt x="3290" y="4316"/>
                    </a:lnTo>
                    <a:lnTo>
                      <a:pt x="3290" y="4314"/>
                    </a:lnTo>
                    <a:lnTo>
                      <a:pt x="3288" y="4312"/>
                    </a:lnTo>
                    <a:lnTo>
                      <a:pt x="3284" y="4314"/>
                    </a:lnTo>
                    <a:close/>
                    <a:moveTo>
                      <a:pt x="3284" y="4332"/>
                    </a:moveTo>
                    <a:lnTo>
                      <a:pt x="3284" y="4332"/>
                    </a:lnTo>
                    <a:lnTo>
                      <a:pt x="3284" y="4330"/>
                    </a:lnTo>
                    <a:lnTo>
                      <a:pt x="3282" y="4330"/>
                    </a:lnTo>
                    <a:lnTo>
                      <a:pt x="3278" y="4336"/>
                    </a:lnTo>
                    <a:lnTo>
                      <a:pt x="3278" y="4344"/>
                    </a:lnTo>
                    <a:lnTo>
                      <a:pt x="3278" y="4350"/>
                    </a:lnTo>
                    <a:lnTo>
                      <a:pt x="3282" y="4354"/>
                    </a:lnTo>
                    <a:lnTo>
                      <a:pt x="3284" y="4358"/>
                    </a:lnTo>
                    <a:lnTo>
                      <a:pt x="3286" y="4358"/>
                    </a:lnTo>
                    <a:lnTo>
                      <a:pt x="3286" y="4354"/>
                    </a:lnTo>
                    <a:lnTo>
                      <a:pt x="3284" y="4332"/>
                    </a:lnTo>
                    <a:close/>
                    <a:moveTo>
                      <a:pt x="2868" y="5178"/>
                    </a:moveTo>
                    <a:lnTo>
                      <a:pt x="2868" y="5178"/>
                    </a:lnTo>
                    <a:lnTo>
                      <a:pt x="2870" y="5178"/>
                    </a:lnTo>
                    <a:lnTo>
                      <a:pt x="2872" y="5178"/>
                    </a:lnTo>
                    <a:lnTo>
                      <a:pt x="2874" y="5178"/>
                    </a:lnTo>
                    <a:lnTo>
                      <a:pt x="2876" y="5178"/>
                    </a:lnTo>
                    <a:lnTo>
                      <a:pt x="2876" y="5176"/>
                    </a:lnTo>
                    <a:lnTo>
                      <a:pt x="2874" y="5174"/>
                    </a:lnTo>
                    <a:lnTo>
                      <a:pt x="2872" y="5172"/>
                    </a:lnTo>
                    <a:lnTo>
                      <a:pt x="2866" y="5172"/>
                    </a:lnTo>
                    <a:lnTo>
                      <a:pt x="2862" y="5174"/>
                    </a:lnTo>
                    <a:lnTo>
                      <a:pt x="2864" y="5176"/>
                    </a:lnTo>
                    <a:lnTo>
                      <a:pt x="2866" y="5178"/>
                    </a:lnTo>
                    <a:lnTo>
                      <a:pt x="2868" y="5178"/>
                    </a:lnTo>
                    <a:close/>
                    <a:moveTo>
                      <a:pt x="2798" y="5190"/>
                    </a:moveTo>
                    <a:lnTo>
                      <a:pt x="2798" y="5190"/>
                    </a:lnTo>
                    <a:lnTo>
                      <a:pt x="2804" y="5186"/>
                    </a:lnTo>
                    <a:lnTo>
                      <a:pt x="2812" y="5182"/>
                    </a:lnTo>
                    <a:lnTo>
                      <a:pt x="2818" y="5180"/>
                    </a:lnTo>
                    <a:lnTo>
                      <a:pt x="2818" y="5178"/>
                    </a:lnTo>
                    <a:lnTo>
                      <a:pt x="2818" y="5176"/>
                    </a:lnTo>
                    <a:lnTo>
                      <a:pt x="2814" y="5174"/>
                    </a:lnTo>
                    <a:lnTo>
                      <a:pt x="2810" y="5174"/>
                    </a:lnTo>
                    <a:lnTo>
                      <a:pt x="2804" y="5176"/>
                    </a:lnTo>
                    <a:lnTo>
                      <a:pt x="2794" y="5176"/>
                    </a:lnTo>
                    <a:lnTo>
                      <a:pt x="2780" y="5174"/>
                    </a:lnTo>
                    <a:lnTo>
                      <a:pt x="2770" y="5176"/>
                    </a:lnTo>
                    <a:lnTo>
                      <a:pt x="2764" y="5180"/>
                    </a:lnTo>
                    <a:lnTo>
                      <a:pt x="2764" y="5182"/>
                    </a:lnTo>
                    <a:lnTo>
                      <a:pt x="2764" y="5186"/>
                    </a:lnTo>
                    <a:lnTo>
                      <a:pt x="2768" y="5188"/>
                    </a:lnTo>
                    <a:lnTo>
                      <a:pt x="2780" y="5192"/>
                    </a:lnTo>
                    <a:lnTo>
                      <a:pt x="2790" y="5192"/>
                    </a:lnTo>
                    <a:lnTo>
                      <a:pt x="2796" y="5192"/>
                    </a:lnTo>
                    <a:lnTo>
                      <a:pt x="2798" y="5190"/>
                    </a:lnTo>
                    <a:close/>
                    <a:moveTo>
                      <a:pt x="4914" y="1916"/>
                    </a:moveTo>
                    <a:lnTo>
                      <a:pt x="4914" y="1916"/>
                    </a:lnTo>
                    <a:lnTo>
                      <a:pt x="4910" y="1920"/>
                    </a:lnTo>
                    <a:lnTo>
                      <a:pt x="4910" y="1924"/>
                    </a:lnTo>
                    <a:lnTo>
                      <a:pt x="4912" y="1928"/>
                    </a:lnTo>
                    <a:lnTo>
                      <a:pt x="4914" y="1934"/>
                    </a:lnTo>
                    <a:lnTo>
                      <a:pt x="4926" y="1944"/>
                    </a:lnTo>
                    <a:lnTo>
                      <a:pt x="4938" y="1954"/>
                    </a:lnTo>
                    <a:lnTo>
                      <a:pt x="4942" y="1958"/>
                    </a:lnTo>
                    <a:lnTo>
                      <a:pt x="4942" y="1954"/>
                    </a:lnTo>
                    <a:lnTo>
                      <a:pt x="4940" y="1946"/>
                    </a:lnTo>
                    <a:lnTo>
                      <a:pt x="4936" y="1936"/>
                    </a:lnTo>
                    <a:lnTo>
                      <a:pt x="4930" y="1926"/>
                    </a:lnTo>
                    <a:lnTo>
                      <a:pt x="4924" y="1918"/>
                    </a:lnTo>
                    <a:lnTo>
                      <a:pt x="4918" y="1914"/>
                    </a:lnTo>
                    <a:lnTo>
                      <a:pt x="4916" y="1914"/>
                    </a:lnTo>
                    <a:lnTo>
                      <a:pt x="4914" y="1916"/>
                    </a:lnTo>
                    <a:close/>
                    <a:moveTo>
                      <a:pt x="4520" y="2200"/>
                    </a:moveTo>
                    <a:lnTo>
                      <a:pt x="4520" y="2200"/>
                    </a:lnTo>
                    <a:lnTo>
                      <a:pt x="4522" y="2200"/>
                    </a:lnTo>
                    <a:lnTo>
                      <a:pt x="4524" y="2200"/>
                    </a:lnTo>
                    <a:lnTo>
                      <a:pt x="4528" y="2196"/>
                    </a:lnTo>
                    <a:lnTo>
                      <a:pt x="4528" y="2192"/>
                    </a:lnTo>
                    <a:lnTo>
                      <a:pt x="4528" y="2188"/>
                    </a:lnTo>
                    <a:lnTo>
                      <a:pt x="4524" y="2188"/>
                    </a:lnTo>
                    <a:lnTo>
                      <a:pt x="4520" y="2190"/>
                    </a:lnTo>
                    <a:lnTo>
                      <a:pt x="4518" y="2194"/>
                    </a:lnTo>
                    <a:lnTo>
                      <a:pt x="4518" y="2196"/>
                    </a:lnTo>
                    <a:lnTo>
                      <a:pt x="4520" y="2200"/>
                    </a:lnTo>
                    <a:close/>
                    <a:moveTo>
                      <a:pt x="4814" y="1702"/>
                    </a:moveTo>
                    <a:lnTo>
                      <a:pt x="4814" y="1702"/>
                    </a:lnTo>
                    <a:lnTo>
                      <a:pt x="4812" y="1704"/>
                    </a:lnTo>
                    <a:lnTo>
                      <a:pt x="4812" y="1706"/>
                    </a:lnTo>
                    <a:lnTo>
                      <a:pt x="4816" y="1706"/>
                    </a:lnTo>
                    <a:lnTo>
                      <a:pt x="4832" y="1700"/>
                    </a:lnTo>
                    <a:lnTo>
                      <a:pt x="4842" y="1696"/>
                    </a:lnTo>
                    <a:lnTo>
                      <a:pt x="4850" y="1690"/>
                    </a:lnTo>
                    <a:lnTo>
                      <a:pt x="4856" y="1684"/>
                    </a:lnTo>
                    <a:lnTo>
                      <a:pt x="4858" y="1678"/>
                    </a:lnTo>
                    <a:lnTo>
                      <a:pt x="4856" y="1674"/>
                    </a:lnTo>
                    <a:lnTo>
                      <a:pt x="4852" y="1672"/>
                    </a:lnTo>
                    <a:lnTo>
                      <a:pt x="4848" y="1672"/>
                    </a:lnTo>
                    <a:lnTo>
                      <a:pt x="4842" y="1674"/>
                    </a:lnTo>
                    <a:lnTo>
                      <a:pt x="4828" y="1686"/>
                    </a:lnTo>
                    <a:lnTo>
                      <a:pt x="4814" y="1702"/>
                    </a:lnTo>
                    <a:close/>
                    <a:moveTo>
                      <a:pt x="3278" y="4364"/>
                    </a:moveTo>
                    <a:lnTo>
                      <a:pt x="3278" y="4364"/>
                    </a:lnTo>
                    <a:lnTo>
                      <a:pt x="3276" y="4362"/>
                    </a:lnTo>
                    <a:lnTo>
                      <a:pt x="3274" y="4362"/>
                    </a:lnTo>
                    <a:lnTo>
                      <a:pt x="3278" y="4384"/>
                    </a:lnTo>
                    <a:lnTo>
                      <a:pt x="3278" y="4398"/>
                    </a:lnTo>
                    <a:lnTo>
                      <a:pt x="3278" y="4400"/>
                    </a:lnTo>
                    <a:lnTo>
                      <a:pt x="3276" y="4402"/>
                    </a:lnTo>
                    <a:lnTo>
                      <a:pt x="3272" y="4402"/>
                    </a:lnTo>
                    <a:lnTo>
                      <a:pt x="3266" y="4398"/>
                    </a:lnTo>
                    <a:lnTo>
                      <a:pt x="3264" y="4400"/>
                    </a:lnTo>
                    <a:lnTo>
                      <a:pt x="3264" y="4406"/>
                    </a:lnTo>
                    <a:lnTo>
                      <a:pt x="3262" y="4408"/>
                    </a:lnTo>
                    <a:lnTo>
                      <a:pt x="3260" y="4408"/>
                    </a:lnTo>
                    <a:lnTo>
                      <a:pt x="3256" y="4404"/>
                    </a:lnTo>
                    <a:lnTo>
                      <a:pt x="3254" y="4402"/>
                    </a:lnTo>
                    <a:lnTo>
                      <a:pt x="3252" y="4400"/>
                    </a:lnTo>
                    <a:lnTo>
                      <a:pt x="3250" y="4402"/>
                    </a:lnTo>
                    <a:lnTo>
                      <a:pt x="3248" y="4404"/>
                    </a:lnTo>
                    <a:lnTo>
                      <a:pt x="3248" y="4424"/>
                    </a:lnTo>
                    <a:lnTo>
                      <a:pt x="3248" y="4426"/>
                    </a:lnTo>
                    <a:lnTo>
                      <a:pt x="3246" y="4426"/>
                    </a:lnTo>
                    <a:lnTo>
                      <a:pt x="3240" y="4422"/>
                    </a:lnTo>
                    <a:lnTo>
                      <a:pt x="3238" y="4422"/>
                    </a:lnTo>
                    <a:lnTo>
                      <a:pt x="3234" y="4420"/>
                    </a:lnTo>
                    <a:lnTo>
                      <a:pt x="3232" y="4422"/>
                    </a:lnTo>
                    <a:lnTo>
                      <a:pt x="3230" y="4428"/>
                    </a:lnTo>
                    <a:lnTo>
                      <a:pt x="3226" y="4438"/>
                    </a:lnTo>
                    <a:lnTo>
                      <a:pt x="3224" y="4440"/>
                    </a:lnTo>
                    <a:lnTo>
                      <a:pt x="3220" y="4440"/>
                    </a:lnTo>
                    <a:lnTo>
                      <a:pt x="3214" y="4444"/>
                    </a:lnTo>
                    <a:lnTo>
                      <a:pt x="3210" y="4446"/>
                    </a:lnTo>
                    <a:lnTo>
                      <a:pt x="3212" y="4440"/>
                    </a:lnTo>
                    <a:lnTo>
                      <a:pt x="3212" y="4432"/>
                    </a:lnTo>
                    <a:lnTo>
                      <a:pt x="3210" y="4424"/>
                    </a:lnTo>
                    <a:lnTo>
                      <a:pt x="3208" y="4420"/>
                    </a:lnTo>
                    <a:lnTo>
                      <a:pt x="3204" y="4418"/>
                    </a:lnTo>
                    <a:lnTo>
                      <a:pt x="3200" y="4418"/>
                    </a:lnTo>
                    <a:lnTo>
                      <a:pt x="3198" y="4420"/>
                    </a:lnTo>
                    <a:lnTo>
                      <a:pt x="3198" y="4418"/>
                    </a:lnTo>
                    <a:lnTo>
                      <a:pt x="3196" y="4416"/>
                    </a:lnTo>
                    <a:lnTo>
                      <a:pt x="3194" y="4414"/>
                    </a:lnTo>
                    <a:lnTo>
                      <a:pt x="3192" y="4416"/>
                    </a:lnTo>
                    <a:lnTo>
                      <a:pt x="3192" y="4420"/>
                    </a:lnTo>
                    <a:lnTo>
                      <a:pt x="3190" y="4422"/>
                    </a:lnTo>
                    <a:lnTo>
                      <a:pt x="3188" y="4424"/>
                    </a:lnTo>
                    <a:lnTo>
                      <a:pt x="3186" y="4424"/>
                    </a:lnTo>
                    <a:lnTo>
                      <a:pt x="3182" y="4424"/>
                    </a:lnTo>
                    <a:lnTo>
                      <a:pt x="3178" y="4428"/>
                    </a:lnTo>
                    <a:lnTo>
                      <a:pt x="3176" y="4432"/>
                    </a:lnTo>
                    <a:lnTo>
                      <a:pt x="3178" y="4438"/>
                    </a:lnTo>
                    <a:lnTo>
                      <a:pt x="3178" y="4440"/>
                    </a:lnTo>
                    <a:lnTo>
                      <a:pt x="3174" y="4442"/>
                    </a:lnTo>
                    <a:lnTo>
                      <a:pt x="3170" y="4444"/>
                    </a:lnTo>
                    <a:lnTo>
                      <a:pt x="3166" y="4442"/>
                    </a:lnTo>
                    <a:lnTo>
                      <a:pt x="3164" y="4442"/>
                    </a:lnTo>
                    <a:lnTo>
                      <a:pt x="3162" y="4442"/>
                    </a:lnTo>
                    <a:lnTo>
                      <a:pt x="3160" y="4444"/>
                    </a:lnTo>
                    <a:lnTo>
                      <a:pt x="3156" y="4446"/>
                    </a:lnTo>
                    <a:lnTo>
                      <a:pt x="3150" y="4448"/>
                    </a:lnTo>
                    <a:lnTo>
                      <a:pt x="3146" y="4452"/>
                    </a:lnTo>
                    <a:lnTo>
                      <a:pt x="3142" y="4458"/>
                    </a:lnTo>
                    <a:lnTo>
                      <a:pt x="3140" y="4462"/>
                    </a:lnTo>
                    <a:lnTo>
                      <a:pt x="3140" y="4472"/>
                    </a:lnTo>
                    <a:lnTo>
                      <a:pt x="3138" y="4478"/>
                    </a:lnTo>
                    <a:lnTo>
                      <a:pt x="3134" y="4488"/>
                    </a:lnTo>
                    <a:lnTo>
                      <a:pt x="3132" y="4492"/>
                    </a:lnTo>
                    <a:lnTo>
                      <a:pt x="3134" y="4496"/>
                    </a:lnTo>
                    <a:lnTo>
                      <a:pt x="3136" y="4500"/>
                    </a:lnTo>
                    <a:lnTo>
                      <a:pt x="3138" y="4504"/>
                    </a:lnTo>
                    <a:lnTo>
                      <a:pt x="3140" y="4504"/>
                    </a:lnTo>
                    <a:lnTo>
                      <a:pt x="3144" y="4500"/>
                    </a:lnTo>
                    <a:lnTo>
                      <a:pt x="3148" y="4488"/>
                    </a:lnTo>
                    <a:lnTo>
                      <a:pt x="3150" y="4480"/>
                    </a:lnTo>
                    <a:lnTo>
                      <a:pt x="3152" y="4478"/>
                    </a:lnTo>
                    <a:lnTo>
                      <a:pt x="3152" y="4476"/>
                    </a:lnTo>
                    <a:lnTo>
                      <a:pt x="3154" y="4474"/>
                    </a:lnTo>
                    <a:lnTo>
                      <a:pt x="3156" y="4472"/>
                    </a:lnTo>
                    <a:lnTo>
                      <a:pt x="3156" y="4470"/>
                    </a:lnTo>
                    <a:lnTo>
                      <a:pt x="3158" y="4466"/>
                    </a:lnTo>
                    <a:lnTo>
                      <a:pt x="3160" y="4462"/>
                    </a:lnTo>
                    <a:lnTo>
                      <a:pt x="3164" y="4460"/>
                    </a:lnTo>
                    <a:lnTo>
                      <a:pt x="3168" y="4462"/>
                    </a:lnTo>
                    <a:lnTo>
                      <a:pt x="3170" y="4466"/>
                    </a:lnTo>
                    <a:lnTo>
                      <a:pt x="3168" y="4472"/>
                    </a:lnTo>
                    <a:lnTo>
                      <a:pt x="3168" y="4474"/>
                    </a:lnTo>
                    <a:lnTo>
                      <a:pt x="3172" y="4474"/>
                    </a:lnTo>
                    <a:lnTo>
                      <a:pt x="3178" y="4472"/>
                    </a:lnTo>
                    <a:lnTo>
                      <a:pt x="3182" y="4466"/>
                    </a:lnTo>
                    <a:lnTo>
                      <a:pt x="3184" y="4462"/>
                    </a:lnTo>
                    <a:lnTo>
                      <a:pt x="3184" y="4466"/>
                    </a:lnTo>
                    <a:lnTo>
                      <a:pt x="3184" y="4472"/>
                    </a:lnTo>
                    <a:lnTo>
                      <a:pt x="3184" y="4474"/>
                    </a:lnTo>
                    <a:lnTo>
                      <a:pt x="3186" y="4476"/>
                    </a:lnTo>
                    <a:lnTo>
                      <a:pt x="3192" y="4478"/>
                    </a:lnTo>
                    <a:lnTo>
                      <a:pt x="3194" y="4480"/>
                    </a:lnTo>
                    <a:lnTo>
                      <a:pt x="3194" y="4476"/>
                    </a:lnTo>
                    <a:lnTo>
                      <a:pt x="3194" y="4470"/>
                    </a:lnTo>
                    <a:lnTo>
                      <a:pt x="3196" y="4466"/>
                    </a:lnTo>
                    <a:lnTo>
                      <a:pt x="3198" y="4464"/>
                    </a:lnTo>
                    <a:lnTo>
                      <a:pt x="3196" y="4462"/>
                    </a:lnTo>
                    <a:lnTo>
                      <a:pt x="3194" y="4460"/>
                    </a:lnTo>
                    <a:lnTo>
                      <a:pt x="3196" y="4458"/>
                    </a:lnTo>
                    <a:lnTo>
                      <a:pt x="3200" y="4458"/>
                    </a:lnTo>
                    <a:lnTo>
                      <a:pt x="3206" y="4460"/>
                    </a:lnTo>
                    <a:lnTo>
                      <a:pt x="3210" y="4464"/>
                    </a:lnTo>
                    <a:lnTo>
                      <a:pt x="3216" y="4466"/>
                    </a:lnTo>
                    <a:lnTo>
                      <a:pt x="3218" y="4468"/>
                    </a:lnTo>
                    <a:lnTo>
                      <a:pt x="3222" y="4472"/>
                    </a:lnTo>
                    <a:lnTo>
                      <a:pt x="3222" y="4476"/>
                    </a:lnTo>
                    <a:lnTo>
                      <a:pt x="3224" y="4478"/>
                    </a:lnTo>
                    <a:lnTo>
                      <a:pt x="3226" y="4478"/>
                    </a:lnTo>
                    <a:lnTo>
                      <a:pt x="3226" y="4482"/>
                    </a:lnTo>
                    <a:lnTo>
                      <a:pt x="3224" y="4486"/>
                    </a:lnTo>
                    <a:lnTo>
                      <a:pt x="3220" y="4492"/>
                    </a:lnTo>
                    <a:lnTo>
                      <a:pt x="3216" y="4500"/>
                    </a:lnTo>
                    <a:lnTo>
                      <a:pt x="3216" y="4502"/>
                    </a:lnTo>
                    <a:lnTo>
                      <a:pt x="3216" y="4506"/>
                    </a:lnTo>
                    <a:lnTo>
                      <a:pt x="3218" y="4520"/>
                    </a:lnTo>
                    <a:lnTo>
                      <a:pt x="3220" y="4526"/>
                    </a:lnTo>
                    <a:lnTo>
                      <a:pt x="3222" y="4532"/>
                    </a:lnTo>
                    <a:lnTo>
                      <a:pt x="3224" y="4534"/>
                    </a:lnTo>
                    <a:lnTo>
                      <a:pt x="3224" y="4536"/>
                    </a:lnTo>
                    <a:lnTo>
                      <a:pt x="3226" y="4538"/>
                    </a:lnTo>
                    <a:lnTo>
                      <a:pt x="3234" y="4544"/>
                    </a:lnTo>
                    <a:lnTo>
                      <a:pt x="3252" y="4552"/>
                    </a:lnTo>
                    <a:lnTo>
                      <a:pt x="3256" y="4554"/>
                    </a:lnTo>
                    <a:lnTo>
                      <a:pt x="3260" y="4548"/>
                    </a:lnTo>
                    <a:lnTo>
                      <a:pt x="3264" y="4542"/>
                    </a:lnTo>
                    <a:lnTo>
                      <a:pt x="3266" y="4542"/>
                    </a:lnTo>
                    <a:lnTo>
                      <a:pt x="3268" y="4544"/>
                    </a:lnTo>
                    <a:lnTo>
                      <a:pt x="3266" y="4550"/>
                    </a:lnTo>
                    <a:lnTo>
                      <a:pt x="3266" y="4556"/>
                    </a:lnTo>
                    <a:lnTo>
                      <a:pt x="3268" y="4564"/>
                    </a:lnTo>
                    <a:lnTo>
                      <a:pt x="3270" y="4566"/>
                    </a:lnTo>
                    <a:lnTo>
                      <a:pt x="3272" y="4568"/>
                    </a:lnTo>
                    <a:lnTo>
                      <a:pt x="3274" y="4566"/>
                    </a:lnTo>
                    <a:lnTo>
                      <a:pt x="3278" y="4564"/>
                    </a:lnTo>
                    <a:lnTo>
                      <a:pt x="3282" y="4554"/>
                    </a:lnTo>
                    <a:lnTo>
                      <a:pt x="3284" y="4546"/>
                    </a:lnTo>
                    <a:lnTo>
                      <a:pt x="3286" y="4540"/>
                    </a:lnTo>
                    <a:lnTo>
                      <a:pt x="3284" y="4534"/>
                    </a:lnTo>
                    <a:lnTo>
                      <a:pt x="3280" y="4524"/>
                    </a:lnTo>
                    <a:lnTo>
                      <a:pt x="3278" y="4520"/>
                    </a:lnTo>
                    <a:lnTo>
                      <a:pt x="3276" y="4518"/>
                    </a:lnTo>
                    <a:lnTo>
                      <a:pt x="3274" y="4516"/>
                    </a:lnTo>
                    <a:lnTo>
                      <a:pt x="3274" y="4514"/>
                    </a:lnTo>
                    <a:lnTo>
                      <a:pt x="3274" y="4508"/>
                    </a:lnTo>
                    <a:lnTo>
                      <a:pt x="3276" y="4500"/>
                    </a:lnTo>
                    <a:lnTo>
                      <a:pt x="3280" y="4496"/>
                    </a:lnTo>
                    <a:lnTo>
                      <a:pt x="3284" y="4494"/>
                    </a:lnTo>
                    <a:lnTo>
                      <a:pt x="3284" y="4490"/>
                    </a:lnTo>
                    <a:lnTo>
                      <a:pt x="3284" y="4486"/>
                    </a:lnTo>
                    <a:lnTo>
                      <a:pt x="3288" y="4484"/>
                    </a:lnTo>
                    <a:lnTo>
                      <a:pt x="3290" y="4482"/>
                    </a:lnTo>
                    <a:lnTo>
                      <a:pt x="3292" y="4482"/>
                    </a:lnTo>
                    <a:lnTo>
                      <a:pt x="3292" y="4490"/>
                    </a:lnTo>
                    <a:lnTo>
                      <a:pt x="3294" y="4498"/>
                    </a:lnTo>
                    <a:lnTo>
                      <a:pt x="3296" y="4502"/>
                    </a:lnTo>
                    <a:lnTo>
                      <a:pt x="3300" y="4506"/>
                    </a:lnTo>
                    <a:lnTo>
                      <a:pt x="3302" y="4510"/>
                    </a:lnTo>
                    <a:lnTo>
                      <a:pt x="3300" y="4512"/>
                    </a:lnTo>
                    <a:lnTo>
                      <a:pt x="3300" y="4518"/>
                    </a:lnTo>
                    <a:lnTo>
                      <a:pt x="3302" y="4528"/>
                    </a:lnTo>
                    <a:lnTo>
                      <a:pt x="3304" y="4530"/>
                    </a:lnTo>
                    <a:lnTo>
                      <a:pt x="3306" y="4530"/>
                    </a:lnTo>
                    <a:lnTo>
                      <a:pt x="3306" y="4526"/>
                    </a:lnTo>
                    <a:lnTo>
                      <a:pt x="3308" y="4518"/>
                    </a:lnTo>
                    <a:lnTo>
                      <a:pt x="3306" y="4508"/>
                    </a:lnTo>
                    <a:lnTo>
                      <a:pt x="3304" y="4502"/>
                    </a:lnTo>
                    <a:lnTo>
                      <a:pt x="3308" y="4504"/>
                    </a:lnTo>
                    <a:lnTo>
                      <a:pt x="3310" y="4506"/>
                    </a:lnTo>
                    <a:lnTo>
                      <a:pt x="3312" y="4506"/>
                    </a:lnTo>
                    <a:lnTo>
                      <a:pt x="3310" y="4504"/>
                    </a:lnTo>
                    <a:lnTo>
                      <a:pt x="3310" y="4500"/>
                    </a:lnTo>
                    <a:lnTo>
                      <a:pt x="3312" y="4498"/>
                    </a:lnTo>
                    <a:lnTo>
                      <a:pt x="3316" y="4498"/>
                    </a:lnTo>
                    <a:lnTo>
                      <a:pt x="3320" y="4492"/>
                    </a:lnTo>
                    <a:lnTo>
                      <a:pt x="3322" y="4488"/>
                    </a:lnTo>
                    <a:lnTo>
                      <a:pt x="3322" y="4482"/>
                    </a:lnTo>
                    <a:lnTo>
                      <a:pt x="3320" y="4468"/>
                    </a:lnTo>
                    <a:lnTo>
                      <a:pt x="3320" y="4464"/>
                    </a:lnTo>
                    <a:lnTo>
                      <a:pt x="3318" y="4462"/>
                    </a:lnTo>
                    <a:lnTo>
                      <a:pt x="3316" y="4460"/>
                    </a:lnTo>
                    <a:lnTo>
                      <a:pt x="3314" y="4458"/>
                    </a:lnTo>
                    <a:lnTo>
                      <a:pt x="3314" y="4452"/>
                    </a:lnTo>
                    <a:lnTo>
                      <a:pt x="3316" y="4446"/>
                    </a:lnTo>
                    <a:lnTo>
                      <a:pt x="3316" y="4442"/>
                    </a:lnTo>
                    <a:lnTo>
                      <a:pt x="3314" y="4438"/>
                    </a:lnTo>
                    <a:lnTo>
                      <a:pt x="3314" y="4432"/>
                    </a:lnTo>
                    <a:lnTo>
                      <a:pt x="3314" y="4428"/>
                    </a:lnTo>
                    <a:lnTo>
                      <a:pt x="3312" y="4424"/>
                    </a:lnTo>
                    <a:lnTo>
                      <a:pt x="3310" y="4424"/>
                    </a:lnTo>
                    <a:lnTo>
                      <a:pt x="3308" y="4424"/>
                    </a:lnTo>
                    <a:lnTo>
                      <a:pt x="3304" y="4424"/>
                    </a:lnTo>
                    <a:lnTo>
                      <a:pt x="3302" y="4422"/>
                    </a:lnTo>
                    <a:lnTo>
                      <a:pt x="3302" y="4420"/>
                    </a:lnTo>
                    <a:lnTo>
                      <a:pt x="3304" y="4418"/>
                    </a:lnTo>
                    <a:lnTo>
                      <a:pt x="3308" y="4416"/>
                    </a:lnTo>
                    <a:lnTo>
                      <a:pt x="3310" y="4412"/>
                    </a:lnTo>
                    <a:lnTo>
                      <a:pt x="3312" y="4406"/>
                    </a:lnTo>
                    <a:lnTo>
                      <a:pt x="3308" y="4400"/>
                    </a:lnTo>
                    <a:lnTo>
                      <a:pt x="3306" y="4396"/>
                    </a:lnTo>
                    <a:lnTo>
                      <a:pt x="3306" y="4390"/>
                    </a:lnTo>
                    <a:lnTo>
                      <a:pt x="3306" y="4386"/>
                    </a:lnTo>
                    <a:lnTo>
                      <a:pt x="3302" y="4388"/>
                    </a:lnTo>
                    <a:lnTo>
                      <a:pt x="3300" y="4388"/>
                    </a:lnTo>
                    <a:lnTo>
                      <a:pt x="3298" y="4384"/>
                    </a:lnTo>
                    <a:lnTo>
                      <a:pt x="3296" y="4380"/>
                    </a:lnTo>
                    <a:lnTo>
                      <a:pt x="3292" y="4376"/>
                    </a:lnTo>
                    <a:lnTo>
                      <a:pt x="3288" y="4374"/>
                    </a:lnTo>
                    <a:lnTo>
                      <a:pt x="3284" y="4372"/>
                    </a:lnTo>
                    <a:lnTo>
                      <a:pt x="3282" y="4368"/>
                    </a:lnTo>
                    <a:lnTo>
                      <a:pt x="3282" y="4366"/>
                    </a:lnTo>
                    <a:lnTo>
                      <a:pt x="3278" y="4364"/>
                    </a:lnTo>
                    <a:close/>
                    <a:moveTo>
                      <a:pt x="3136" y="4268"/>
                    </a:moveTo>
                    <a:lnTo>
                      <a:pt x="3136" y="4268"/>
                    </a:lnTo>
                    <a:lnTo>
                      <a:pt x="3138" y="4270"/>
                    </a:lnTo>
                    <a:lnTo>
                      <a:pt x="3140" y="4272"/>
                    </a:lnTo>
                    <a:lnTo>
                      <a:pt x="3140" y="4278"/>
                    </a:lnTo>
                    <a:lnTo>
                      <a:pt x="3138" y="4286"/>
                    </a:lnTo>
                    <a:lnTo>
                      <a:pt x="3138" y="4296"/>
                    </a:lnTo>
                    <a:lnTo>
                      <a:pt x="3140" y="4302"/>
                    </a:lnTo>
                    <a:lnTo>
                      <a:pt x="3136" y="4306"/>
                    </a:lnTo>
                    <a:lnTo>
                      <a:pt x="3134" y="4312"/>
                    </a:lnTo>
                    <a:lnTo>
                      <a:pt x="3134" y="4324"/>
                    </a:lnTo>
                    <a:lnTo>
                      <a:pt x="3134" y="4328"/>
                    </a:lnTo>
                    <a:lnTo>
                      <a:pt x="3136" y="4330"/>
                    </a:lnTo>
                    <a:lnTo>
                      <a:pt x="3138" y="4330"/>
                    </a:lnTo>
                    <a:lnTo>
                      <a:pt x="3140" y="4328"/>
                    </a:lnTo>
                    <a:lnTo>
                      <a:pt x="3146" y="4324"/>
                    </a:lnTo>
                    <a:lnTo>
                      <a:pt x="3148" y="4320"/>
                    </a:lnTo>
                    <a:lnTo>
                      <a:pt x="3152" y="4320"/>
                    </a:lnTo>
                    <a:lnTo>
                      <a:pt x="3158" y="4318"/>
                    </a:lnTo>
                    <a:lnTo>
                      <a:pt x="3166" y="4312"/>
                    </a:lnTo>
                    <a:lnTo>
                      <a:pt x="3178" y="4298"/>
                    </a:lnTo>
                    <a:lnTo>
                      <a:pt x="3182" y="4296"/>
                    </a:lnTo>
                    <a:lnTo>
                      <a:pt x="3182" y="4292"/>
                    </a:lnTo>
                    <a:lnTo>
                      <a:pt x="3184" y="4282"/>
                    </a:lnTo>
                    <a:lnTo>
                      <a:pt x="3182" y="4276"/>
                    </a:lnTo>
                    <a:lnTo>
                      <a:pt x="3180" y="4276"/>
                    </a:lnTo>
                    <a:lnTo>
                      <a:pt x="3178" y="4276"/>
                    </a:lnTo>
                    <a:lnTo>
                      <a:pt x="3176" y="4278"/>
                    </a:lnTo>
                    <a:lnTo>
                      <a:pt x="3172" y="4276"/>
                    </a:lnTo>
                    <a:lnTo>
                      <a:pt x="3168" y="4274"/>
                    </a:lnTo>
                    <a:lnTo>
                      <a:pt x="3166" y="4274"/>
                    </a:lnTo>
                    <a:lnTo>
                      <a:pt x="3164" y="4274"/>
                    </a:lnTo>
                    <a:lnTo>
                      <a:pt x="3162" y="4276"/>
                    </a:lnTo>
                    <a:lnTo>
                      <a:pt x="3160" y="4274"/>
                    </a:lnTo>
                    <a:lnTo>
                      <a:pt x="3154" y="4270"/>
                    </a:lnTo>
                    <a:lnTo>
                      <a:pt x="3146" y="4264"/>
                    </a:lnTo>
                    <a:lnTo>
                      <a:pt x="3138" y="4258"/>
                    </a:lnTo>
                    <a:lnTo>
                      <a:pt x="3132" y="4258"/>
                    </a:lnTo>
                    <a:lnTo>
                      <a:pt x="3130" y="4260"/>
                    </a:lnTo>
                    <a:lnTo>
                      <a:pt x="3130" y="4264"/>
                    </a:lnTo>
                    <a:lnTo>
                      <a:pt x="3136" y="4268"/>
                    </a:lnTo>
                    <a:close/>
                    <a:moveTo>
                      <a:pt x="3270" y="4928"/>
                    </a:moveTo>
                    <a:lnTo>
                      <a:pt x="3270" y="4928"/>
                    </a:lnTo>
                    <a:lnTo>
                      <a:pt x="3268" y="4926"/>
                    </a:lnTo>
                    <a:lnTo>
                      <a:pt x="3264" y="4924"/>
                    </a:lnTo>
                    <a:lnTo>
                      <a:pt x="3250" y="4920"/>
                    </a:lnTo>
                    <a:lnTo>
                      <a:pt x="3244" y="4920"/>
                    </a:lnTo>
                    <a:lnTo>
                      <a:pt x="3238" y="4920"/>
                    </a:lnTo>
                    <a:lnTo>
                      <a:pt x="3232" y="4924"/>
                    </a:lnTo>
                    <a:lnTo>
                      <a:pt x="3230" y="4930"/>
                    </a:lnTo>
                    <a:lnTo>
                      <a:pt x="3232" y="4934"/>
                    </a:lnTo>
                    <a:lnTo>
                      <a:pt x="3236" y="4936"/>
                    </a:lnTo>
                    <a:lnTo>
                      <a:pt x="3242" y="4936"/>
                    </a:lnTo>
                    <a:lnTo>
                      <a:pt x="3250" y="4936"/>
                    </a:lnTo>
                    <a:lnTo>
                      <a:pt x="3264" y="4934"/>
                    </a:lnTo>
                    <a:lnTo>
                      <a:pt x="3268" y="4932"/>
                    </a:lnTo>
                    <a:lnTo>
                      <a:pt x="3270" y="4928"/>
                    </a:lnTo>
                    <a:close/>
                    <a:moveTo>
                      <a:pt x="3148" y="4520"/>
                    </a:moveTo>
                    <a:lnTo>
                      <a:pt x="3148" y="4520"/>
                    </a:lnTo>
                    <a:lnTo>
                      <a:pt x="3146" y="4516"/>
                    </a:lnTo>
                    <a:lnTo>
                      <a:pt x="3138" y="4512"/>
                    </a:lnTo>
                    <a:lnTo>
                      <a:pt x="3136" y="4512"/>
                    </a:lnTo>
                    <a:lnTo>
                      <a:pt x="3132" y="4512"/>
                    </a:lnTo>
                    <a:lnTo>
                      <a:pt x="3130" y="4516"/>
                    </a:lnTo>
                    <a:lnTo>
                      <a:pt x="3130" y="4520"/>
                    </a:lnTo>
                    <a:lnTo>
                      <a:pt x="3130" y="4524"/>
                    </a:lnTo>
                    <a:lnTo>
                      <a:pt x="3132" y="4526"/>
                    </a:lnTo>
                    <a:lnTo>
                      <a:pt x="3136" y="4528"/>
                    </a:lnTo>
                    <a:lnTo>
                      <a:pt x="3140" y="4526"/>
                    </a:lnTo>
                    <a:lnTo>
                      <a:pt x="3146" y="4524"/>
                    </a:lnTo>
                    <a:lnTo>
                      <a:pt x="3148" y="4520"/>
                    </a:lnTo>
                    <a:close/>
                    <a:moveTo>
                      <a:pt x="3204" y="4288"/>
                    </a:moveTo>
                    <a:lnTo>
                      <a:pt x="3204" y="4288"/>
                    </a:lnTo>
                    <a:lnTo>
                      <a:pt x="3204" y="4290"/>
                    </a:lnTo>
                    <a:lnTo>
                      <a:pt x="3204" y="4294"/>
                    </a:lnTo>
                    <a:lnTo>
                      <a:pt x="3206" y="4296"/>
                    </a:lnTo>
                    <a:lnTo>
                      <a:pt x="3208" y="4296"/>
                    </a:lnTo>
                    <a:lnTo>
                      <a:pt x="3208" y="4294"/>
                    </a:lnTo>
                    <a:lnTo>
                      <a:pt x="3208" y="4292"/>
                    </a:lnTo>
                    <a:lnTo>
                      <a:pt x="3206" y="4288"/>
                    </a:lnTo>
                    <a:lnTo>
                      <a:pt x="3204" y="4288"/>
                    </a:lnTo>
                    <a:close/>
                    <a:moveTo>
                      <a:pt x="3186" y="4210"/>
                    </a:moveTo>
                    <a:lnTo>
                      <a:pt x="3186" y="4210"/>
                    </a:lnTo>
                    <a:lnTo>
                      <a:pt x="3184" y="4208"/>
                    </a:lnTo>
                    <a:lnTo>
                      <a:pt x="3182" y="4204"/>
                    </a:lnTo>
                    <a:lnTo>
                      <a:pt x="3178" y="4200"/>
                    </a:lnTo>
                    <a:lnTo>
                      <a:pt x="3174" y="4198"/>
                    </a:lnTo>
                    <a:lnTo>
                      <a:pt x="3174" y="4200"/>
                    </a:lnTo>
                    <a:lnTo>
                      <a:pt x="3174" y="4202"/>
                    </a:lnTo>
                    <a:lnTo>
                      <a:pt x="3178" y="4206"/>
                    </a:lnTo>
                    <a:lnTo>
                      <a:pt x="3180" y="4212"/>
                    </a:lnTo>
                    <a:lnTo>
                      <a:pt x="3184" y="4214"/>
                    </a:lnTo>
                    <a:lnTo>
                      <a:pt x="3190" y="4220"/>
                    </a:lnTo>
                    <a:lnTo>
                      <a:pt x="3192" y="4220"/>
                    </a:lnTo>
                    <a:lnTo>
                      <a:pt x="3190" y="4216"/>
                    </a:lnTo>
                    <a:lnTo>
                      <a:pt x="3188" y="4212"/>
                    </a:lnTo>
                    <a:lnTo>
                      <a:pt x="3186" y="4210"/>
                    </a:lnTo>
                    <a:close/>
                    <a:moveTo>
                      <a:pt x="3250" y="5238"/>
                    </a:moveTo>
                    <a:lnTo>
                      <a:pt x="3250" y="5238"/>
                    </a:lnTo>
                    <a:lnTo>
                      <a:pt x="3240" y="5236"/>
                    </a:lnTo>
                    <a:lnTo>
                      <a:pt x="3236" y="5234"/>
                    </a:lnTo>
                    <a:lnTo>
                      <a:pt x="3234" y="5234"/>
                    </a:lnTo>
                    <a:lnTo>
                      <a:pt x="3232" y="5242"/>
                    </a:lnTo>
                    <a:lnTo>
                      <a:pt x="3230" y="5250"/>
                    </a:lnTo>
                    <a:lnTo>
                      <a:pt x="3232" y="5250"/>
                    </a:lnTo>
                    <a:lnTo>
                      <a:pt x="3234" y="5250"/>
                    </a:lnTo>
                    <a:lnTo>
                      <a:pt x="3244" y="5248"/>
                    </a:lnTo>
                    <a:lnTo>
                      <a:pt x="3256" y="5248"/>
                    </a:lnTo>
                    <a:lnTo>
                      <a:pt x="3260" y="5246"/>
                    </a:lnTo>
                    <a:lnTo>
                      <a:pt x="3262" y="5246"/>
                    </a:lnTo>
                    <a:lnTo>
                      <a:pt x="3264" y="5244"/>
                    </a:lnTo>
                    <a:lnTo>
                      <a:pt x="3262" y="5242"/>
                    </a:lnTo>
                    <a:lnTo>
                      <a:pt x="3258" y="5238"/>
                    </a:lnTo>
                    <a:lnTo>
                      <a:pt x="3254" y="5236"/>
                    </a:lnTo>
                    <a:lnTo>
                      <a:pt x="3250" y="5238"/>
                    </a:lnTo>
                    <a:close/>
                    <a:moveTo>
                      <a:pt x="3160" y="4332"/>
                    </a:moveTo>
                    <a:lnTo>
                      <a:pt x="3160" y="4332"/>
                    </a:lnTo>
                    <a:lnTo>
                      <a:pt x="3162" y="4332"/>
                    </a:lnTo>
                    <a:lnTo>
                      <a:pt x="3166" y="4328"/>
                    </a:lnTo>
                    <a:lnTo>
                      <a:pt x="3168" y="4322"/>
                    </a:lnTo>
                    <a:lnTo>
                      <a:pt x="3166" y="4318"/>
                    </a:lnTo>
                    <a:lnTo>
                      <a:pt x="3164" y="4318"/>
                    </a:lnTo>
                    <a:lnTo>
                      <a:pt x="3162" y="4320"/>
                    </a:lnTo>
                    <a:lnTo>
                      <a:pt x="3160" y="4322"/>
                    </a:lnTo>
                    <a:lnTo>
                      <a:pt x="3160" y="4326"/>
                    </a:lnTo>
                    <a:lnTo>
                      <a:pt x="3160" y="4328"/>
                    </a:lnTo>
                    <a:lnTo>
                      <a:pt x="3158" y="4328"/>
                    </a:lnTo>
                    <a:lnTo>
                      <a:pt x="3158" y="4330"/>
                    </a:lnTo>
                    <a:lnTo>
                      <a:pt x="3160" y="4332"/>
                    </a:lnTo>
                    <a:close/>
                    <a:moveTo>
                      <a:pt x="3190" y="5244"/>
                    </a:moveTo>
                    <a:lnTo>
                      <a:pt x="3190" y="5244"/>
                    </a:lnTo>
                    <a:lnTo>
                      <a:pt x="3188" y="5242"/>
                    </a:lnTo>
                    <a:lnTo>
                      <a:pt x="3186" y="5240"/>
                    </a:lnTo>
                    <a:lnTo>
                      <a:pt x="3182" y="5242"/>
                    </a:lnTo>
                    <a:lnTo>
                      <a:pt x="3178" y="5244"/>
                    </a:lnTo>
                    <a:lnTo>
                      <a:pt x="3176" y="5248"/>
                    </a:lnTo>
                    <a:lnTo>
                      <a:pt x="3178" y="5248"/>
                    </a:lnTo>
                    <a:lnTo>
                      <a:pt x="3184" y="5248"/>
                    </a:lnTo>
                    <a:lnTo>
                      <a:pt x="3188" y="5248"/>
                    </a:lnTo>
                    <a:lnTo>
                      <a:pt x="3190" y="5244"/>
                    </a:lnTo>
                    <a:close/>
                    <a:moveTo>
                      <a:pt x="3176" y="5252"/>
                    </a:moveTo>
                    <a:lnTo>
                      <a:pt x="3176" y="5252"/>
                    </a:lnTo>
                    <a:lnTo>
                      <a:pt x="3172" y="5254"/>
                    </a:lnTo>
                    <a:lnTo>
                      <a:pt x="3172" y="5256"/>
                    </a:lnTo>
                    <a:lnTo>
                      <a:pt x="3176" y="5258"/>
                    </a:lnTo>
                    <a:lnTo>
                      <a:pt x="3180" y="5254"/>
                    </a:lnTo>
                    <a:lnTo>
                      <a:pt x="3182" y="5252"/>
                    </a:lnTo>
                    <a:lnTo>
                      <a:pt x="3182" y="5250"/>
                    </a:lnTo>
                    <a:lnTo>
                      <a:pt x="3176" y="5252"/>
                    </a:lnTo>
                    <a:close/>
                    <a:moveTo>
                      <a:pt x="3224" y="5242"/>
                    </a:moveTo>
                    <a:lnTo>
                      <a:pt x="3224" y="5242"/>
                    </a:lnTo>
                    <a:lnTo>
                      <a:pt x="3220" y="5246"/>
                    </a:lnTo>
                    <a:lnTo>
                      <a:pt x="3218" y="5246"/>
                    </a:lnTo>
                    <a:lnTo>
                      <a:pt x="3216" y="5244"/>
                    </a:lnTo>
                    <a:lnTo>
                      <a:pt x="3214" y="5248"/>
                    </a:lnTo>
                    <a:lnTo>
                      <a:pt x="3214" y="5250"/>
                    </a:lnTo>
                    <a:lnTo>
                      <a:pt x="3216" y="5254"/>
                    </a:lnTo>
                    <a:lnTo>
                      <a:pt x="3220" y="5256"/>
                    </a:lnTo>
                    <a:lnTo>
                      <a:pt x="3222" y="5254"/>
                    </a:lnTo>
                    <a:lnTo>
                      <a:pt x="3224" y="5252"/>
                    </a:lnTo>
                    <a:lnTo>
                      <a:pt x="3228" y="5246"/>
                    </a:lnTo>
                    <a:lnTo>
                      <a:pt x="3228" y="5240"/>
                    </a:lnTo>
                    <a:lnTo>
                      <a:pt x="3228" y="5238"/>
                    </a:lnTo>
                    <a:lnTo>
                      <a:pt x="3226" y="5238"/>
                    </a:lnTo>
                    <a:lnTo>
                      <a:pt x="3224" y="5242"/>
                    </a:lnTo>
                    <a:close/>
                    <a:moveTo>
                      <a:pt x="3202" y="5252"/>
                    </a:moveTo>
                    <a:lnTo>
                      <a:pt x="3202" y="5252"/>
                    </a:lnTo>
                    <a:lnTo>
                      <a:pt x="3204" y="5250"/>
                    </a:lnTo>
                    <a:lnTo>
                      <a:pt x="3206" y="5248"/>
                    </a:lnTo>
                    <a:lnTo>
                      <a:pt x="3206" y="5246"/>
                    </a:lnTo>
                    <a:lnTo>
                      <a:pt x="3210" y="5244"/>
                    </a:lnTo>
                    <a:lnTo>
                      <a:pt x="3212" y="5240"/>
                    </a:lnTo>
                    <a:lnTo>
                      <a:pt x="3208" y="5240"/>
                    </a:lnTo>
                    <a:lnTo>
                      <a:pt x="3198" y="5240"/>
                    </a:lnTo>
                    <a:lnTo>
                      <a:pt x="3194" y="5242"/>
                    </a:lnTo>
                    <a:lnTo>
                      <a:pt x="3194" y="5246"/>
                    </a:lnTo>
                    <a:lnTo>
                      <a:pt x="3194" y="5248"/>
                    </a:lnTo>
                    <a:lnTo>
                      <a:pt x="3188" y="5254"/>
                    </a:lnTo>
                    <a:lnTo>
                      <a:pt x="3184" y="5256"/>
                    </a:lnTo>
                    <a:lnTo>
                      <a:pt x="3186" y="5256"/>
                    </a:lnTo>
                    <a:lnTo>
                      <a:pt x="3196" y="5258"/>
                    </a:lnTo>
                    <a:lnTo>
                      <a:pt x="3200" y="5256"/>
                    </a:lnTo>
                    <a:lnTo>
                      <a:pt x="3200" y="5254"/>
                    </a:lnTo>
                    <a:lnTo>
                      <a:pt x="3202" y="5252"/>
                    </a:lnTo>
                    <a:close/>
                    <a:moveTo>
                      <a:pt x="3244" y="4390"/>
                    </a:moveTo>
                    <a:lnTo>
                      <a:pt x="3244" y="4390"/>
                    </a:lnTo>
                    <a:lnTo>
                      <a:pt x="3242" y="4392"/>
                    </a:lnTo>
                    <a:lnTo>
                      <a:pt x="3242" y="4394"/>
                    </a:lnTo>
                    <a:lnTo>
                      <a:pt x="3246" y="4396"/>
                    </a:lnTo>
                    <a:lnTo>
                      <a:pt x="3250" y="4396"/>
                    </a:lnTo>
                    <a:lnTo>
                      <a:pt x="3252" y="4394"/>
                    </a:lnTo>
                    <a:lnTo>
                      <a:pt x="3250" y="4392"/>
                    </a:lnTo>
                    <a:lnTo>
                      <a:pt x="3246" y="4390"/>
                    </a:lnTo>
                    <a:lnTo>
                      <a:pt x="3244" y="4390"/>
                    </a:lnTo>
                    <a:close/>
                    <a:moveTo>
                      <a:pt x="3228" y="4278"/>
                    </a:moveTo>
                    <a:lnTo>
                      <a:pt x="3228" y="4278"/>
                    </a:lnTo>
                    <a:lnTo>
                      <a:pt x="3228" y="4280"/>
                    </a:lnTo>
                    <a:lnTo>
                      <a:pt x="3230" y="4284"/>
                    </a:lnTo>
                    <a:lnTo>
                      <a:pt x="3234" y="4290"/>
                    </a:lnTo>
                    <a:lnTo>
                      <a:pt x="3234" y="4294"/>
                    </a:lnTo>
                    <a:lnTo>
                      <a:pt x="3232" y="4298"/>
                    </a:lnTo>
                    <a:lnTo>
                      <a:pt x="3234" y="4300"/>
                    </a:lnTo>
                    <a:lnTo>
                      <a:pt x="3234" y="4302"/>
                    </a:lnTo>
                    <a:lnTo>
                      <a:pt x="3232" y="4304"/>
                    </a:lnTo>
                    <a:lnTo>
                      <a:pt x="3232" y="4306"/>
                    </a:lnTo>
                    <a:lnTo>
                      <a:pt x="3234" y="4308"/>
                    </a:lnTo>
                    <a:lnTo>
                      <a:pt x="3238" y="4308"/>
                    </a:lnTo>
                    <a:lnTo>
                      <a:pt x="3240" y="4306"/>
                    </a:lnTo>
                    <a:lnTo>
                      <a:pt x="3240" y="4304"/>
                    </a:lnTo>
                    <a:lnTo>
                      <a:pt x="3242" y="4304"/>
                    </a:lnTo>
                    <a:lnTo>
                      <a:pt x="3246" y="4308"/>
                    </a:lnTo>
                    <a:lnTo>
                      <a:pt x="3248" y="4314"/>
                    </a:lnTo>
                    <a:lnTo>
                      <a:pt x="3248" y="4318"/>
                    </a:lnTo>
                    <a:lnTo>
                      <a:pt x="3248" y="4322"/>
                    </a:lnTo>
                    <a:lnTo>
                      <a:pt x="3246" y="4328"/>
                    </a:lnTo>
                    <a:lnTo>
                      <a:pt x="3248" y="4332"/>
                    </a:lnTo>
                    <a:lnTo>
                      <a:pt x="3248" y="4334"/>
                    </a:lnTo>
                    <a:lnTo>
                      <a:pt x="3248" y="4338"/>
                    </a:lnTo>
                    <a:lnTo>
                      <a:pt x="3246" y="4342"/>
                    </a:lnTo>
                    <a:lnTo>
                      <a:pt x="3248" y="4344"/>
                    </a:lnTo>
                    <a:lnTo>
                      <a:pt x="3256" y="4348"/>
                    </a:lnTo>
                    <a:lnTo>
                      <a:pt x="3258" y="4350"/>
                    </a:lnTo>
                    <a:lnTo>
                      <a:pt x="3258" y="4344"/>
                    </a:lnTo>
                    <a:lnTo>
                      <a:pt x="3256" y="4338"/>
                    </a:lnTo>
                    <a:lnTo>
                      <a:pt x="3256" y="4336"/>
                    </a:lnTo>
                    <a:lnTo>
                      <a:pt x="3256" y="4334"/>
                    </a:lnTo>
                    <a:lnTo>
                      <a:pt x="3258" y="4336"/>
                    </a:lnTo>
                    <a:lnTo>
                      <a:pt x="3260" y="4342"/>
                    </a:lnTo>
                    <a:lnTo>
                      <a:pt x="3262" y="4348"/>
                    </a:lnTo>
                    <a:lnTo>
                      <a:pt x="3266" y="4354"/>
                    </a:lnTo>
                    <a:lnTo>
                      <a:pt x="3270" y="4356"/>
                    </a:lnTo>
                    <a:lnTo>
                      <a:pt x="3270" y="4354"/>
                    </a:lnTo>
                    <a:lnTo>
                      <a:pt x="3266" y="4344"/>
                    </a:lnTo>
                    <a:lnTo>
                      <a:pt x="3264" y="4342"/>
                    </a:lnTo>
                    <a:lnTo>
                      <a:pt x="3266" y="4342"/>
                    </a:lnTo>
                    <a:lnTo>
                      <a:pt x="3268" y="4340"/>
                    </a:lnTo>
                    <a:lnTo>
                      <a:pt x="3270" y="4338"/>
                    </a:lnTo>
                    <a:lnTo>
                      <a:pt x="3268" y="4332"/>
                    </a:lnTo>
                    <a:lnTo>
                      <a:pt x="3266" y="4330"/>
                    </a:lnTo>
                    <a:lnTo>
                      <a:pt x="3266" y="4326"/>
                    </a:lnTo>
                    <a:lnTo>
                      <a:pt x="3264" y="4322"/>
                    </a:lnTo>
                    <a:lnTo>
                      <a:pt x="3260" y="4318"/>
                    </a:lnTo>
                    <a:lnTo>
                      <a:pt x="3260" y="4316"/>
                    </a:lnTo>
                    <a:lnTo>
                      <a:pt x="3258" y="4312"/>
                    </a:lnTo>
                    <a:lnTo>
                      <a:pt x="3258" y="4304"/>
                    </a:lnTo>
                    <a:lnTo>
                      <a:pt x="3258" y="4296"/>
                    </a:lnTo>
                    <a:lnTo>
                      <a:pt x="3258" y="4294"/>
                    </a:lnTo>
                    <a:lnTo>
                      <a:pt x="3256" y="4292"/>
                    </a:lnTo>
                    <a:lnTo>
                      <a:pt x="3254" y="4290"/>
                    </a:lnTo>
                    <a:lnTo>
                      <a:pt x="3256" y="4288"/>
                    </a:lnTo>
                    <a:lnTo>
                      <a:pt x="3256" y="4284"/>
                    </a:lnTo>
                    <a:lnTo>
                      <a:pt x="3252" y="4284"/>
                    </a:lnTo>
                    <a:lnTo>
                      <a:pt x="3248" y="4284"/>
                    </a:lnTo>
                    <a:lnTo>
                      <a:pt x="3246" y="4286"/>
                    </a:lnTo>
                    <a:lnTo>
                      <a:pt x="3244" y="4288"/>
                    </a:lnTo>
                    <a:lnTo>
                      <a:pt x="3240" y="4286"/>
                    </a:lnTo>
                    <a:lnTo>
                      <a:pt x="3234" y="4280"/>
                    </a:lnTo>
                    <a:lnTo>
                      <a:pt x="3230" y="4278"/>
                    </a:lnTo>
                    <a:lnTo>
                      <a:pt x="3228" y="4278"/>
                    </a:lnTo>
                    <a:close/>
                    <a:moveTo>
                      <a:pt x="3292" y="3100"/>
                    </a:moveTo>
                    <a:lnTo>
                      <a:pt x="3292" y="3100"/>
                    </a:lnTo>
                    <a:lnTo>
                      <a:pt x="3294" y="3100"/>
                    </a:lnTo>
                    <a:lnTo>
                      <a:pt x="3296" y="3094"/>
                    </a:lnTo>
                    <a:lnTo>
                      <a:pt x="3296" y="3092"/>
                    </a:lnTo>
                    <a:lnTo>
                      <a:pt x="3294" y="3094"/>
                    </a:lnTo>
                    <a:lnTo>
                      <a:pt x="3292" y="3096"/>
                    </a:lnTo>
                    <a:lnTo>
                      <a:pt x="3292" y="3100"/>
                    </a:lnTo>
                    <a:close/>
                    <a:moveTo>
                      <a:pt x="3208" y="4238"/>
                    </a:moveTo>
                    <a:lnTo>
                      <a:pt x="3208" y="4238"/>
                    </a:lnTo>
                    <a:lnTo>
                      <a:pt x="3210" y="4234"/>
                    </a:lnTo>
                    <a:lnTo>
                      <a:pt x="3208" y="4228"/>
                    </a:lnTo>
                    <a:lnTo>
                      <a:pt x="3204" y="4224"/>
                    </a:lnTo>
                    <a:lnTo>
                      <a:pt x="3202" y="4222"/>
                    </a:lnTo>
                    <a:lnTo>
                      <a:pt x="3200" y="4222"/>
                    </a:lnTo>
                    <a:lnTo>
                      <a:pt x="3200" y="4224"/>
                    </a:lnTo>
                    <a:lnTo>
                      <a:pt x="3204" y="4230"/>
                    </a:lnTo>
                    <a:lnTo>
                      <a:pt x="3208" y="4238"/>
                    </a:lnTo>
                    <a:close/>
                    <a:moveTo>
                      <a:pt x="3164" y="4238"/>
                    </a:moveTo>
                    <a:lnTo>
                      <a:pt x="3164" y="4238"/>
                    </a:lnTo>
                    <a:lnTo>
                      <a:pt x="3164" y="4232"/>
                    </a:lnTo>
                    <a:lnTo>
                      <a:pt x="3162" y="4230"/>
                    </a:lnTo>
                    <a:lnTo>
                      <a:pt x="3158" y="4230"/>
                    </a:lnTo>
                    <a:lnTo>
                      <a:pt x="3154" y="4232"/>
                    </a:lnTo>
                    <a:lnTo>
                      <a:pt x="3152" y="4232"/>
                    </a:lnTo>
                    <a:lnTo>
                      <a:pt x="3154" y="4234"/>
                    </a:lnTo>
                    <a:lnTo>
                      <a:pt x="3156" y="4236"/>
                    </a:lnTo>
                    <a:lnTo>
                      <a:pt x="3160" y="4240"/>
                    </a:lnTo>
                    <a:lnTo>
                      <a:pt x="3162" y="4240"/>
                    </a:lnTo>
                    <a:lnTo>
                      <a:pt x="3164" y="4238"/>
                    </a:lnTo>
                    <a:close/>
                    <a:moveTo>
                      <a:pt x="3196" y="4228"/>
                    </a:moveTo>
                    <a:lnTo>
                      <a:pt x="3196" y="4228"/>
                    </a:lnTo>
                    <a:lnTo>
                      <a:pt x="3192" y="4228"/>
                    </a:lnTo>
                    <a:lnTo>
                      <a:pt x="3190" y="4228"/>
                    </a:lnTo>
                    <a:lnTo>
                      <a:pt x="3188" y="4228"/>
                    </a:lnTo>
                    <a:lnTo>
                      <a:pt x="3186" y="4232"/>
                    </a:lnTo>
                    <a:lnTo>
                      <a:pt x="3188" y="4238"/>
                    </a:lnTo>
                    <a:lnTo>
                      <a:pt x="3186" y="4242"/>
                    </a:lnTo>
                    <a:lnTo>
                      <a:pt x="3182" y="4256"/>
                    </a:lnTo>
                    <a:lnTo>
                      <a:pt x="3182" y="4258"/>
                    </a:lnTo>
                    <a:lnTo>
                      <a:pt x="3184" y="4258"/>
                    </a:lnTo>
                    <a:lnTo>
                      <a:pt x="3186" y="4254"/>
                    </a:lnTo>
                    <a:lnTo>
                      <a:pt x="3196" y="4244"/>
                    </a:lnTo>
                    <a:lnTo>
                      <a:pt x="3198" y="4244"/>
                    </a:lnTo>
                    <a:lnTo>
                      <a:pt x="3200" y="4244"/>
                    </a:lnTo>
                    <a:lnTo>
                      <a:pt x="3202" y="4250"/>
                    </a:lnTo>
                    <a:lnTo>
                      <a:pt x="3204" y="4256"/>
                    </a:lnTo>
                    <a:lnTo>
                      <a:pt x="3206" y="4258"/>
                    </a:lnTo>
                    <a:lnTo>
                      <a:pt x="3208" y="4260"/>
                    </a:lnTo>
                    <a:lnTo>
                      <a:pt x="3212" y="4262"/>
                    </a:lnTo>
                    <a:lnTo>
                      <a:pt x="3218" y="4266"/>
                    </a:lnTo>
                    <a:lnTo>
                      <a:pt x="3222" y="4268"/>
                    </a:lnTo>
                    <a:lnTo>
                      <a:pt x="3220" y="4264"/>
                    </a:lnTo>
                    <a:lnTo>
                      <a:pt x="3218" y="4258"/>
                    </a:lnTo>
                    <a:lnTo>
                      <a:pt x="3216" y="4252"/>
                    </a:lnTo>
                    <a:lnTo>
                      <a:pt x="3214" y="4246"/>
                    </a:lnTo>
                    <a:lnTo>
                      <a:pt x="3210" y="4242"/>
                    </a:lnTo>
                    <a:lnTo>
                      <a:pt x="3206" y="4240"/>
                    </a:lnTo>
                    <a:lnTo>
                      <a:pt x="3202" y="4234"/>
                    </a:lnTo>
                    <a:lnTo>
                      <a:pt x="3198" y="4230"/>
                    </a:lnTo>
                    <a:lnTo>
                      <a:pt x="3196" y="4228"/>
                    </a:lnTo>
                    <a:close/>
                    <a:moveTo>
                      <a:pt x="3152" y="5104"/>
                    </a:moveTo>
                    <a:lnTo>
                      <a:pt x="3152" y="5104"/>
                    </a:lnTo>
                    <a:lnTo>
                      <a:pt x="3160" y="5100"/>
                    </a:lnTo>
                    <a:lnTo>
                      <a:pt x="3162" y="5098"/>
                    </a:lnTo>
                    <a:lnTo>
                      <a:pt x="3162" y="5094"/>
                    </a:lnTo>
                    <a:lnTo>
                      <a:pt x="3160" y="5090"/>
                    </a:lnTo>
                    <a:lnTo>
                      <a:pt x="3162" y="5084"/>
                    </a:lnTo>
                    <a:lnTo>
                      <a:pt x="3164" y="5078"/>
                    </a:lnTo>
                    <a:lnTo>
                      <a:pt x="3166" y="5070"/>
                    </a:lnTo>
                    <a:lnTo>
                      <a:pt x="3164" y="5066"/>
                    </a:lnTo>
                    <a:lnTo>
                      <a:pt x="3164" y="5064"/>
                    </a:lnTo>
                    <a:lnTo>
                      <a:pt x="3160" y="5064"/>
                    </a:lnTo>
                    <a:lnTo>
                      <a:pt x="3158" y="5064"/>
                    </a:lnTo>
                    <a:lnTo>
                      <a:pt x="3152" y="5070"/>
                    </a:lnTo>
                    <a:lnTo>
                      <a:pt x="3150" y="5074"/>
                    </a:lnTo>
                    <a:lnTo>
                      <a:pt x="3150" y="5078"/>
                    </a:lnTo>
                    <a:lnTo>
                      <a:pt x="3150" y="5090"/>
                    </a:lnTo>
                    <a:lnTo>
                      <a:pt x="3148" y="5098"/>
                    </a:lnTo>
                    <a:lnTo>
                      <a:pt x="3148" y="5104"/>
                    </a:lnTo>
                    <a:lnTo>
                      <a:pt x="3148" y="5106"/>
                    </a:lnTo>
                    <a:lnTo>
                      <a:pt x="3152" y="5104"/>
                    </a:lnTo>
                    <a:close/>
                    <a:moveTo>
                      <a:pt x="3192" y="4332"/>
                    </a:moveTo>
                    <a:lnTo>
                      <a:pt x="3192" y="4332"/>
                    </a:lnTo>
                    <a:lnTo>
                      <a:pt x="3198" y="4322"/>
                    </a:lnTo>
                    <a:lnTo>
                      <a:pt x="3198" y="4314"/>
                    </a:lnTo>
                    <a:lnTo>
                      <a:pt x="3196" y="4308"/>
                    </a:lnTo>
                    <a:lnTo>
                      <a:pt x="3196" y="4306"/>
                    </a:lnTo>
                    <a:lnTo>
                      <a:pt x="3192" y="4306"/>
                    </a:lnTo>
                    <a:lnTo>
                      <a:pt x="3190" y="4304"/>
                    </a:lnTo>
                    <a:lnTo>
                      <a:pt x="3186" y="4304"/>
                    </a:lnTo>
                    <a:lnTo>
                      <a:pt x="3184" y="4304"/>
                    </a:lnTo>
                    <a:lnTo>
                      <a:pt x="3178" y="4306"/>
                    </a:lnTo>
                    <a:lnTo>
                      <a:pt x="3176" y="4310"/>
                    </a:lnTo>
                    <a:lnTo>
                      <a:pt x="3174" y="4312"/>
                    </a:lnTo>
                    <a:lnTo>
                      <a:pt x="3174" y="4316"/>
                    </a:lnTo>
                    <a:lnTo>
                      <a:pt x="3176" y="4320"/>
                    </a:lnTo>
                    <a:lnTo>
                      <a:pt x="3174" y="4322"/>
                    </a:lnTo>
                    <a:lnTo>
                      <a:pt x="3172" y="4324"/>
                    </a:lnTo>
                    <a:lnTo>
                      <a:pt x="3170" y="4326"/>
                    </a:lnTo>
                    <a:lnTo>
                      <a:pt x="3170" y="4330"/>
                    </a:lnTo>
                    <a:lnTo>
                      <a:pt x="3172" y="4336"/>
                    </a:lnTo>
                    <a:lnTo>
                      <a:pt x="3172" y="4344"/>
                    </a:lnTo>
                    <a:lnTo>
                      <a:pt x="3172" y="4348"/>
                    </a:lnTo>
                    <a:lnTo>
                      <a:pt x="3168" y="4352"/>
                    </a:lnTo>
                    <a:lnTo>
                      <a:pt x="3164" y="4354"/>
                    </a:lnTo>
                    <a:lnTo>
                      <a:pt x="3162" y="4354"/>
                    </a:lnTo>
                    <a:lnTo>
                      <a:pt x="3158" y="4352"/>
                    </a:lnTo>
                    <a:lnTo>
                      <a:pt x="3154" y="4352"/>
                    </a:lnTo>
                    <a:lnTo>
                      <a:pt x="3152" y="4358"/>
                    </a:lnTo>
                    <a:lnTo>
                      <a:pt x="3152" y="4364"/>
                    </a:lnTo>
                    <a:lnTo>
                      <a:pt x="3156" y="4372"/>
                    </a:lnTo>
                    <a:lnTo>
                      <a:pt x="3162" y="4380"/>
                    </a:lnTo>
                    <a:lnTo>
                      <a:pt x="3166" y="4382"/>
                    </a:lnTo>
                    <a:lnTo>
                      <a:pt x="3170" y="4384"/>
                    </a:lnTo>
                    <a:lnTo>
                      <a:pt x="3172" y="4392"/>
                    </a:lnTo>
                    <a:lnTo>
                      <a:pt x="3176" y="4398"/>
                    </a:lnTo>
                    <a:lnTo>
                      <a:pt x="3178" y="4400"/>
                    </a:lnTo>
                    <a:lnTo>
                      <a:pt x="3180" y="4400"/>
                    </a:lnTo>
                    <a:lnTo>
                      <a:pt x="3184" y="4396"/>
                    </a:lnTo>
                    <a:lnTo>
                      <a:pt x="3188" y="4392"/>
                    </a:lnTo>
                    <a:lnTo>
                      <a:pt x="3190" y="4388"/>
                    </a:lnTo>
                    <a:lnTo>
                      <a:pt x="3190" y="4384"/>
                    </a:lnTo>
                    <a:lnTo>
                      <a:pt x="3186" y="4376"/>
                    </a:lnTo>
                    <a:lnTo>
                      <a:pt x="3182" y="4364"/>
                    </a:lnTo>
                    <a:lnTo>
                      <a:pt x="3182" y="4360"/>
                    </a:lnTo>
                    <a:lnTo>
                      <a:pt x="3184" y="4356"/>
                    </a:lnTo>
                    <a:lnTo>
                      <a:pt x="3188" y="4348"/>
                    </a:lnTo>
                    <a:lnTo>
                      <a:pt x="3188" y="4344"/>
                    </a:lnTo>
                    <a:lnTo>
                      <a:pt x="3190" y="4338"/>
                    </a:lnTo>
                    <a:lnTo>
                      <a:pt x="3192" y="4332"/>
                    </a:lnTo>
                    <a:close/>
                    <a:moveTo>
                      <a:pt x="3202" y="4390"/>
                    </a:moveTo>
                    <a:lnTo>
                      <a:pt x="3202" y="4390"/>
                    </a:lnTo>
                    <a:lnTo>
                      <a:pt x="3200" y="4392"/>
                    </a:lnTo>
                    <a:lnTo>
                      <a:pt x="3196" y="4392"/>
                    </a:lnTo>
                    <a:lnTo>
                      <a:pt x="3198" y="4394"/>
                    </a:lnTo>
                    <a:lnTo>
                      <a:pt x="3202" y="4396"/>
                    </a:lnTo>
                    <a:lnTo>
                      <a:pt x="3204" y="4396"/>
                    </a:lnTo>
                    <a:lnTo>
                      <a:pt x="3206" y="4394"/>
                    </a:lnTo>
                    <a:lnTo>
                      <a:pt x="3204" y="4390"/>
                    </a:lnTo>
                    <a:lnTo>
                      <a:pt x="3202" y="4388"/>
                    </a:lnTo>
                    <a:lnTo>
                      <a:pt x="3202" y="4390"/>
                    </a:lnTo>
                    <a:close/>
                    <a:moveTo>
                      <a:pt x="3218" y="4324"/>
                    </a:moveTo>
                    <a:lnTo>
                      <a:pt x="3218" y="4324"/>
                    </a:lnTo>
                    <a:lnTo>
                      <a:pt x="3218" y="4318"/>
                    </a:lnTo>
                    <a:lnTo>
                      <a:pt x="3220" y="4314"/>
                    </a:lnTo>
                    <a:lnTo>
                      <a:pt x="3222" y="4310"/>
                    </a:lnTo>
                    <a:lnTo>
                      <a:pt x="3222" y="4308"/>
                    </a:lnTo>
                    <a:lnTo>
                      <a:pt x="3220" y="4300"/>
                    </a:lnTo>
                    <a:lnTo>
                      <a:pt x="3220" y="4292"/>
                    </a:lnTo>
                    <a:lnTo>
                      <a:pt x="3218" y="4290"/>
                    </a:lnTo>
                    <a:lnTo>
                      <a:pt x="3216" y="4298"/>
                    </a:lnTo>
                    <a:lnTo>
                      <a:pt x="3210" y="4312"/>
                    </a:lnTo>
                    <a:lnTo>
                      <a:pt x="3208" y="4316"/>
                    </a:lnTo>
                    <a:lnTo>
                      <a:pt x="3206" y="4324"/>
                    </a:lnTo>
                    <a:lnTo>
                      <a:pt x="3204" y="4334"/>
                    </a:lnTo>
                    <a:lnTo>
                      <a:pt x="3198" y="4342"/>
                    </a:lnTo>
                    <a:lnTo>
                      <a:pt x="3194" y="4348"/>
                    </a:lnTo>
                    <a:lnTo>
                      <a:pt x="3192" y="4354"/>
                    </a:lnTo>
                    <a:lnTo>
                      <a:pt x="3192" y="4362"/>
                    </a:lnTo>
                    <a:lnTo>
                      <a:pt x="3190" y="4374"/>
                    </a:lnTo>
                    <a:lnTo>
                      <a:pt x="3190" y="4380"/>
                    </a:lnTo>
                    <a:lnTo>
                      <a:pt x="3192" y="4380"/>
                    </a:lnTo>
                    <a:lnTo>
                      <a:pt x="3194" y="4376"/>
                    </a:lnTo>
                    <a:lnTo>
                      <a:pt x="3198" y="4368"/>
                    </a:lnTo>
                    <a:lnTo>
                      <a:pt x="3200" y="4362"/>
                    </a:lnTo>
                    <a:lnTo>
                      <a:pt x="3202" y="4360"/>
                    </a:lnTo>
                    <a:lnTo>
                      <a:pt x="3204" y="4358"/>
                    </a:lnTo>
                    <a:lnTo>
                      <a:pt x="3204" y="4352"/>
                    </a:lnTo>
                    <a:lnTo>
                      <a:pt x="3204" y="4348"/>
                    </a:lnTo>
                    <a:lnTo>
                      <a:pt x="3206" y="4344"/>
                    </a:lnTo>
                    <a:lnTo>
                      <a:pt x="3212" y="4340"/>
                    </a:lnTo>
                    <a:lnTo>
                      <a:pt x="3218" y="4332"/>
                    </a:lnTo>
                    <a:lnTo>
                      <a:pt x="3220" y="4328"/>
                    </a:lnTo>
                    <a:lnTo>
                      <a:pt x="3218" y="4324"/>
                    </a:lnTo>
                    <a:close/>
                    <a:moveTo>
                      <a:pt x="3226" y="4342"/>
                    </a:moveTo>
                    <a:lnTo>
                      <a:pt x="3226" y="4342"/>
                    </a:lnTo>
                    <a:lnTo>
                      <a:pt x="3222" y="4350"/>
                    </a:lnTo>
                    <a:lnTo>
                      <a:pt x="3216" y="4354"/>
                    </a:lnTo>
                    <a:lnTo>
                      <a:pt x="3214" y="4356"/>
                    </a:lnTo>
                    <a:lnTo>
                      <a:pt x="3210" y="4360"/>
                    </a:lnTo>
                    <a:lnTo>
                      <a:pt x="3210" y="4364"/>
                    </a:lnTo>
                    <a:lnTo>
                      <a:pt x="3212" y="4368"/>
                    </a:lnTo>
                    <a:lnTo>
                      <a:pt x="3214" y="4370"/>
                    </a:lnTo>
                    <a:lnTo>
                      <a:pt x="3216" y="4372"/>
                    </a:lnTo>
                    <a:lnTo>
                      <a:pt x="3224" y="4372"/>
                    </a:lnTo>
                    <a:lnTo>
                      <a:pt x="3230" y="4370"/>
                    </a:lnTo>
                    <a:lnTo>
                      <a:pt x="3234" y="4368"/>
                    </a:lnTo>
                    <a:lnTo>
                      <a:pt x="3236" y="4366"/>
                    </a:lnTo>
                    <a:lnTo>
                      <a:pt x="3240" y="4366"/>
                    </a:lnTo>
                    <a:lnTo>
                      <a:pt x="3240" y="4364"/>
                    </a:lnTo>
                    <a:lnTo>
                      <a:pt x="3240" y="4362"/>
                    </a:lnTo>
                    <a:lnTo>
                      <a:pt x="3240" y="4356"/>
                    </a:lnTo>
                    <a:lnTo>
                      <a:pt x="3242" y="4352"/>
                    </a:lnTo>
                    <a:lnTo>
                      <a:pt x="3242" y="4346"/>
                    </a:lnTo>
                    <a:lnTo>
                      <a:pt x="3242" y="4344"/>
                    </a:lnTo>
                    <a:lnTo>
                      <a:pt x="3240" y="4344"/>
                    </a:lnTo>
                    <a:lnTo>
                      <a:pt x="3238" y="4346"/>
                    </a:lnTo>
                    <a:lnTo>
                      <a:pt x="3238" y="4348"/>
                    </a:lnTo>
                    <a:lnTo>
                      <a:pt x="3234" y="4348"/>
                    </a:lnTo>
                    <a:lnTo>
                      <a:pt x="3232" y="4346"/>
                    </a:lnTo>
                    <a:lnTo>
                      <a:pt x="3228" y="4342"/>
                    </a:lnTo>
                    <a:lnTo>
                      <a:pt x="3228" y="4340"/>
                    </a:lnTo>
                    <a:lnTo>
                      <a:pt x="3226" y="4342"/>
                    </a:lnTo>
                    <a:close/>
                    <a:moveTo>
                      <a:pt x="3240" y="4278"/>
                    </a:moveTo>
                    <a:lnTo>
                      <a:pt x="3240" y="4278"/>
                    </a:lnTo>
                    <a:lnTo>
                      <a:pt x="3242" y="4278"/>
                    </a:lnTo>
                    <a:lnTo>
                      <a:pt x="3242" y="4274"/>
                    </a:lnTo>
                    <a:lnTo>
                      <a:pt x="3240" y="4270"/>
                    </a:lnTo>
                    <a:lnTo>
                      <a:pt x="3236" y="4270"/>
                    </a:lnTo>
                    <a:lnTo>
                      <a:pt x="3234" y="4270"/>
                    </a:lnTo>
                    <a:lnTo>
                      <a:pt x="3234" y="4274"/>
                    </a:lnTo>
                    <a:lnTo>
                      <a:pt x="3236" y="4278"/>
                    </a:lnTo>
                    <a:lnTo>
                      <a:pt x="3240" y="4278"/>
                    </a:lnTo>
                    <a:close/>
                    <a:moveTo>
                      <a:pt x="3164" y="5116"/>
                    </a:moveTo>
                    <a:lnTo>
                      <a:pt x="3164" y="5116"/>
                    </a:lnTo>
                    <a:lnTo>
                      <a:pt x="3166" y="5118"/>
                    </a:lnTo>
                    <a:lnTo>
                      <a:pt x="3168" y="5116"/>
                    </a:lnTo>
                    <a:lnTo>
                      <a:pt x="3172" y="5110"/>
                    </a:lnTo>
                    <a:lnTo>
                      <a:pt x="3174" y="5106"/>
                    </a:lnTo>
                    <a:lnTo>
                      <a:pt x="3176" y="5104"/>
                    </a:lnTo>
                    <a:lnTo>
                      <a:pt x="3182" y="5102"/>
                    </a:lnTo>
                    <a:lnTo>
                      <a:pt x="3184" y="5102"/>
                    </a:lnTo>
                    <a:lnTo>
                      <a:pt x="3186" y="5100"/>
                    </a:lnTo>
                    <a:lnTo>
                      <a:pt x="3180" y="5092"/>
                    </a:lnTo>
                    <a:lnTo>
                      <a:pt x="3176" y="5086"/>
                    </a:lnTo>
                    <a:lnTo>
                      <a:pt x="3176" y="5082"/>
                    </a:lnTo>
                    <a:lnTo>
                      <a:pt x="3176" y="5078"/>
                    </a:lnTo>
                    <a:lnTo>
                      <a:pt x="3178" y="5076"/>
                    </a:lnTo>
                    <a:lnTo>
                      <a:pt x="3184" y="5070"/>
                    </a:lnTo>
                    <a:lnTo>
                      <a:pt x="3184" y="5064"/>
                    </a:lnTo>
                    <a:lnTo>
                      <a:pt x="3182" y="5058"/>
                    </a:lnTo>
                    <a:lnTo>
                      <a:pt x="3180" y="5054"/>
                    </a:lnTo>
                    <a:lnTo>
                      <a:pt x="3178" y="5052"/>
                    </a:lnTo>
                    <a:lnTo>
                      <a:pt x="3174" y="5054"/>
                    </a:lnTo>
                    <a:lnTo>
                      <a:pt x="3172" y="5058"/>
                    </a:lnTo>
                    <a:lnTo>
                      <a:pt x="3170" y="5070"/>
                    </a:lnTo>
                    <a:lnTo>
                      <a:pt x="3168" y="5086"/>
                    </a:lnTo>
                    <a:lnTo>
                      <a:pt x="3166" y="5094"/>
                    </a:lnTo>
                    <a:lnTo>
                      <a:pt x="3164" y="5100"/>
                    </a:lnTo>
                    <a:lnTo>
                      <a:pt x="3160" y="5108"/>
                    </a:lnTo>
                    <a:lnTo>
                      <a:pt x="3158" y="5110"/>
                    </a:lnTo>
                    <a:lnTo>
                      <a:pt x="3158" y="5112"/>
                    </a:lnTo>
                    <a:lnTo>
                      <a:pt x="3164" y="5116"/>
                    </a:lnTo>
                    <a:close/>
                    <a:moveTo>
                      <a:pt x="3346" y="4866"/>
                    </a:moveTo>
                    <a:lnTo>
                      <a:pt x="3346" y="4866"/>
                    </a:lnTo>
                    <a:lnTo>
                      <a:pt x="3348" y="4862"/>
                    </a:lnTo>
                    <a:lnTo>
                      <a:pt x="3348" y="4858"/>
                    </a:lnTo>
                    <a:lnTo>
                      <a:pt x="3348" y="4852"/>
                    </a:lnTo>
                    <a:lnTo>
                      <a:pt x="3346" y="4852"/>
                    </a:lnTo>
                    <a:lnTo>
                      <a:pt x="3344" y="4852"/>
                    </a:lnTo>
                    <a:lnTo>
                      <a:pt x="3342" y="4856"/>
                    </a:lnTo>
                    <a:lnTo>
                      <a:pt x="3342" y="4860"/>
                    </a:lnTo>
                    <a:lnTo>
                      <a:pt x="3342" y="4864"/>
                    </a:lnTo>
                    <a:lnTo>
                      <a:pt x="3344" y="4866"/>
                    </a:lnTo>
                    <a:lnTo>
                      <a:pt x="3346" y="4866"/>
                    </a:lnTo>
                    <a:close/>
                    <a:moveTo>
                      <a:pt x="3342" y="4998"/>
                    </a:moveTo>
                    <a:lnTo>
                      <a:pt x="3342" y="4998"/>
                    </a:lnTo>
                    <a:lnTo>
                      <a:pt x="3336" y="4992"/>
                    </a:lnTo>
                    <a:lnTo>
                      <a:pt x="3330" y="4990"/>
                    </a:lnTo>
                    <a:lnTo>
                      <a:pt x="3324" y="4986"/>
                    </a:lnTo>
                    <a:lnTo>
                      <a:pt x="3316" y="4986"/>
                    </a:lnTo>
                    <a:lnTo>
                      <a:pt x="3310" y="4986"/>
                    </a:lnTo>
                    <a:lnTo>
                      <a:pt x="3304" y="4988"/>
                    </a:lnTo>
                    <a:lnTo>
                      <a:pt x="3300" y="4992"/>
                    </a:lnTo>
                    <a:lnTo>
                      <a:pt x="3298" y="4996"/>
                    </a:lnTo>
                    <a:lnTo>
                      <a:pt x="3298" y="5002"/>
                    </a:lnTo>
                    <a:lnTo>
                      <a:pt x="3304" y="5010"/>
                    </a:lnTo>
                    <a:lnTo>
                      <a:pt x="3312" y="5016"/>
                    </a:lnTo>
                    <a:lnTo>
                      <a:pt x="3320" y="5024"/>
                    </a:lnTo>
                    <a:lnTo>
                      <a:pt x="3326" y="5026"/>
                    </a:lnTo>
                    <a:lnTo>
                      <a:pt x="3332" y="5026"/>
                    </a:lnTo>
                    <a:lnTo>
                      <a:pt x="3336" y="5024"/>
                    </a:lnTo>
                    <a:lnTo>
                      <a:pt x="3342" y="5020"/>
                    </a:lnTo>
                    <a:lnTo>
                      <a:pt x="3344" y="5016"/>
                    </a:lnTo>
                    <a:lnTo>
                      <a:pt x="3346" y="5010"/>
                    </a:lnTo>
                    <a:lnTo>
                      <a:pt x="3344" y="5004"/>
                    </a:lnTo>
                    <a:lnTo>
                      <a:pt x="3342" y="4998"/>
                    </a:lnTo>
                    <a:close/>
                    <a:moveTo>
                      <a:pt x="3330" y="5214"/>
                    </a:moveTo>
                    <a:lnTo>
                      <a:pt x="3330" y="5214"/>
                    </a:lnTo>
                    <a:lnTo>
                      <a:pt x="3328" y="5212"/>
                    </a:lnTo>
                    <a:lnTo>
                      <a:pt x="3326" y="5210"/>
                    </a:lnTo>
                    <a:lnTo>
                      <a:pt x="3314" y="5210"/>
                    </a:lnTo>
                    <a:lnTo>
                      <a:pt x="3302" y="5214"/>
                    </a:lnTo>
                    <a:lnTo>
                      <a:pt x="3296" y="5216"/>
                    </a:lnTo>
                    <a:lnTo>
                      <a:pt x="3290" y="5220"/>
                    </a:lnTo>
                    <a:lnTo>
                      <a:pt x="3290" y="5224"/>
                    </a:lnTo>
                    <a:lnTo>
                      <a:pt x="3292" y="5224"/>
                    </a:lnTo>
                    <a:lnTo>
                      <a:pt x="3306" y="5224"/>
                    </a:lnTo>
                    <a:lnTo>
                      <a:pt x="3322" y="5220"/>
                    </a:lnTo>
                    <a:lnTo>
                      <a:pt x="3328" y="5216"/>
                    </a:lnTo>
                    <a:lnTo>
                      <a:pt x="3330" y="5214"/>
                    </a:lnTo>
                    <a:close/>
                    <a:moveTo>
                      <a:pt x="3294" y="4936"/>
                    </a:moveTo>
                    <a:lnTo>
                      <a:pt x="3294" y="4936"/>
                    </a:lnTo>
                    <a:lnTo>
                      <a:pt x="3292" y="4938"/>
                    </a:lnTo>
                    <a:lnTo>
                      <a:pt x="3292" y="4942"/>
                    </a:lnTo>
                    <a:lnTo>
                      <a:pt x="3296" y="4956"/>
                    </a:lnTo>
                    <a:lnTo>
                      <a:pt x="3298" y="4960"/>
                    </a:lnTo>
                    <a:lnTo>
                      <a:pt x="3300" y="4960"/>
                    </a:lnTo>
                    <a:lnTo>
                      <a:pt x="3300" y="4956"/>
                    </a:lnTo>
                    <a:lnTo>
                      <a:pt x="3298" y="4950"/>
                    </a:lnTo>
                    <a:lnTo>
                      <a:pt x="3298" y="4944"/>
                    </a:lnTo>
                    <a:lnTo>
                      <a:pt x="3296" y="4938"/>
                    </a:lnTo>
                    <a:lnTo>
                      <a:pt x="3296" y="4936"/>
                    </a:lnTo>
                    <a:lnTo>
                      <a:pt x="3294" y="4936"/>
                    </a:lnTo>
                    <a:close/>
                    <a:moveTo>
                      <a:pt x="3344" y="5246"/>
                    </a:moveTo>
                    <a:lnTo>
                      <a:pt x="3344" y="5246"/>
                    </a:lnTo>
                    <a:lnTo>
                      <a:pt x="3340" y="5244"/>
                    </a:lnTo>
                    <a:lnTo>
                      <a:pt x="3336" y="5244"/>
                    </a:lnTo>
                    <a:lnTo>
                      <a:pt x="3330" y="5248"/>
                    </a:lnTo>
                    <a:lnTo>
                      <a:pt x="3322" y="5250"/>
                    </a:lnTo>
                    <a:lnTo>
                      <a:pt x="3316" y="5250"/>
                    </a:lnTo>
                    <a:lnTo>
                      <a:pt x="3312" y="5250"/>
                    </a:lnTo>
                    <a:lnTo>
                      <a:pt x="3306" y="5252"/>
                    </a:lnTo>
                    <a:lnTo>
                      <a:pt x="3300" y="5254"/>
                    </a:lnTo>
                    <a:lnTo>
                      <a:pt x="3296" y="5254"/>
                    </a:lnTo>
                    <a:lnTo>
                      <a:pt x="3292" y="5254"/>
                    </a:lnTo>
                    <a:lnTo>
                      <a:pt x="3286" y="5254"/>
                    </a:lnTo>
                    <a:lnTo>
                      <a:pt x="3268" y="5258"/>
                    </a:lnTo>
                    <a:lnTo>
                      <a:pt x="3260" y="5262"/>
                    </a:lnTo>
                    <a:lnTo>
                      <a:pt x="3258" y="5266"/>
                    </a:lnTo>
                    <a:lnTo>
                      <a:pt x="3256" y="5272"/>
                    </a:lnTo>
                    <a:lnTo>
                      <a:pt x="3248" y="5278"/>
                    </a:lnTo>
                    <a:lnTo>
                      <a:pt x="3240" y="5284"/>
                    </a:lnTo>
                    <a:lnTo>
                      <a:pt x="3234" y="5286"/>
                    </a:lnTo>
                    <a:lnTo>
                      <a:pt x="3226" y="5290"/>
                    </a:lnTo>
                    <a:lnTo>
                      <a:pt x="3216" y="5296"/>
                    </a:lnTo>
                    <a:lnTo>
                      <a:pt x="3206" y="5304"/>
                    </a:lnTo>
                    <a:lnTo>
                      <a:pt x="3202" y="5310"/>
                    </a:lnTo>
                    <a:lnTo>
                      <a:pt x="3200" y="5322"/>
                    </a:lnTo>
                    <a:lnTo>
                      <a:pt x="3198" y="5326"/>
                    </a:lnTo>
                    <a:lnTo>
                      <a:pt x="3200" y="5328"/>
                    </a:lnTo>
                    <a:lnTo>
                      <a:pt x="3202" y="5330"/>
                    </a:lnTo>
                    <a:lnTo>
                      <a:pt x="3204" y="5330"/>
                    </a:lnTo>
                    <a:lnTo>
                      <a:pt x="3202" y="5332"/>
                    </a:lnTo>
                    <a:lnTo>
                      <a:pt x="3198" y="5336"/>
                    </a:lnTo>
                    <a:lnTo>
                      <a:pt x="3194" y="5340"/>
                    </a:lnTo>
                    <a:lnTo>
                      <a:pt x="3194" y="5342"/>
                    </a:lnTo>
                    <a:lnTo>
                      <a:pt x="3194" y="5344"/>
                    </a:lnTo>
                    <a:lnTo>
                      <a:pt x="3202" y="5346"/>
                    </a:lnTo>
                    <a:lnTo>
                      <a:pt x="3206" y="5346"/>
                    </a:lnTo>
                    <a:lnTo>
                      <a:pt x="3210" y="5344"/>
                    </a:lnTo>
                    <a:lnTo>
                      <a:pt x="3216" y="5340"/>
                    </a:lnTo>
                    <a:lnTo>
                      <a:pt x="3220" y="5336"/>
                    </a:lnTo>
                    <a:lnTo>
                      <a:pt x="3222" y="5336"/>
                    </a:lnTo>
                    <a:lnTo>
                      <a:pt x="3226" y="5336"/>
                    </a:lnTo>
                    <a:lnTo>
                      <a:pt x="3230" y="5336"/>
                    </a:lnTo>
                    <a:lnTo>
                      <a:pt x="3234" y="5334"/>
                    </a:lnTo>
                    <a:lnTo>
                      <a:pt x="3244" y="5320"/>
                    </a:lnTo>
                    <a:lnTo>
                      <a:pt x="3252" y="5312"/>
                    </a:lnTo>
                    <a:lnTo>
                      <a:pt x="3256" y="5306"/>
                    </a:lnTo>
                    <a:lnTo>
                      <a:pt x="3260" y="5300"/>
                    </a:lnTo>
                    <a:lnTo>
                      <a:pt x="3268" y="5294"/>
                    </a:lnTo>
                    <a:lnTo>
                      <a:pt x="3280" y="5288"/>
                    </a:lnTo>
                    <a:lnTo>
                      <a:pt x="3288" y="5286"/>
                    </a:lnTo>
                    <a:lnTo>
                      <a:pt x="3294" y="5284"/>
                    </a:lnTo>
                    <a:lnTo>
                      <a:pt x="3300" y="5280"/>
                    </a:lnTo>
                    <a:lnTo>
                      <a:pt x="3304" y="5278"/>
                    </a:lnTo>
                    <a:lnTo>
                      <a:pt x="3308" y="5278"/>
                    </a:lnTo>
                    <a:lnTo>
                      <a:pt x="3314" y="5276"/>
                    </a:lnTo>
                    <a:lnTo>
                      <a:pt x="3318" y="5272"/>
                    </a:lnTo>
                    <a:lnTo>
                      <a:pt x="3324" y="5266"/>
                    </a:lnTo>
                    <a:lnTo>
                      <a:pt x="3328" y="5266"/>
                    </a:lnTo>
                    <a:lnTo>
                      <a:pt x="3334" y="5264"/>
                    </a:lnTo>
                    <a:lnTo>
                      <a:pt x="3340" y="5260"/>
                    </a:lnTo>
                    <a:lnTo>
                      <a:pt x="3348" y="5252"/>
                    </a:lnTo>
                    <a:lnTo>
                      <a:pt x="3348" y="5248"/>
                    </a:lnTo>
                    <a:lnTo>
                      <a:pt x="3344" y="5246"/>
                    </a:lnTo>
                    <a:close/>
                    <a:moveTo>
                      <a:pt x="3328" y="4618"/>
                    </a:moveTo>
                    <a:lnTo>
                      <a:pt x="3328" y="4618"/>
                    </a:lnTo>
                    <a:lnTo>
                      <a:pt x="3326" y="4622"/>
                    </a:lnTo>
                    <a:lnTo>
                      <a:pt x="3326" y="4628"/>
                    </a:lnTo>
                    <a:lnTo>
                      <a:pt x="3326" y="4630"/>
                    </a:lnTo>
                    <a:lnTo>
                      <a:pt x="3328" y="4632"/>
                    </a:lnTo>
                    <a:lnTo>
                      <a:pt x="3328" y="4634"/>
                    </a:lnTo>
                    <a:lnTo>
                      <a:pt x="3326" y="4638"/>
                    </a:lnTo>
                    <a:lnTo>
                      <a:pt x="3324" y="4642"/>
                    </a:lnTo>
                    <a:lnTo>
                      <a:pt x="3326" y="4644"/>
                    </a:lnTo>
                    <a:lnTo>
                      <a:pt x="3330" y="4642"/>
                    </a:lnTo>
                    <a:lnTo>
                      <a:pt x="3330" y="4640"/>
                    </a:lnTo>
                    <a:lnTo>
                      <a:pt x="3332" y="4636"/>
                    </a:lnTo>
                    <a:lnTo>
                      <a:pt x="3332" y="4632"/>
                    </a:lnTo>
                    <a:lnTo>
                      <a:pt x="3334" y="4630"/>
                    </a:lnTo>
                    <a:lnTo>
                      <a:pt x="3334" y="4628"/>
                    </a:lnTo>
                    <a:lnTo>
                      <a:pt x="3332" y="4624"/>
                    </a:lnTo>
                    <a:lnTo>
                      <a:pt x="3332" y="4620"/>
                    </a:lnTo>
                    <a:lnTo>
                      <a:pt x="3332" y="4618"/>
                    </a:lnTo>
                    <a:lnTo>
                      <a:pt x="3328" y="4618"/>
                    </a:lnTo>
                    <a:close/>
                    <a:moveTo>
                      <a:pt x="3302" y="3114"/>
                    </a:moveTo>
                    <a:lnTo>
                      <a:pt x="3302" y="3114"/>
                    </a:lnTo>
                    <a:lnTo>
                      <a:pt x="3304" y="3116"/>
                    </a:lnTo>
                    <a:lnTo>
                      <a:pt x="3308" y="3114"/>
                    </a:lnTo>
                    <a:lnTo>
                      <a:pt x="3310" y="3112"/>
                    </a:lnTo>
                    <a:lnTo>
                      <a:pt x="3310" y="3108"/>
                    </a:lnTo>
                    <a:lnTo>
                      <a:pt x="3306" y="3108"/>
                    </a:lnTo>
                    <a:lnTo>
                      <a:pt x="3302" y="3110"/>
                    </a:lnTo>
                    <a:lnTo>
                      <a:pt x="3300" y="3112"/>
                    </a:lnTo>
                    <a:lnTo>
                      <a:pt x="3302" y="3114"/>
                    </a:lnTo>
                    <a:close/>
                    <a:moveTo>
                      <a:pt x="3298" y="3086"/>
                    </a:moveTo>
                    <a:lnTo>
                      <a:pt x="3298" y="3086"/>
                    </a:lnTo>
                    <a:lnTo>
                      <a:pt x="3296" y="3088"/>
                    </a:lnTo>
                    <a:lnTo>
                      <a:pt x="3298" y="3090"/>
                    </a:lnTo>
                    <a:lnTo>
                      <a:pt x="3302" y="3096"/>
                    </a:lnTo>
                    <a:lnTo>
                      <a:pt x="3302" y="3098"/>
                    </a:lnTo>
                    <a:lnTo>
                      <a:pt x="3304" y="3094"/>
                    </a:lnTo>
                    <a:lnTo>
                      <a:pt x="3302" y="3088"/>
                    </a:lnTo>
                    <a:lnTo>
                      <a:pt x="3300" y="3086"/>
                    </a:lnTo>
                    <a:lnTo>
                      <a:pt x="3298" y="3086"/>
                    </a:lnTo>
                    <a:close/>
                    <a:moveTo>
                      <a:pt x="3298" y="4354"/>
                    </a:moveTo>
                    <a:lnTo>
                      <a:pt x="3298" y="4354"/>
                    </a:lnTo>
                    <a:lnTo>
                      <a:pt x="3296" y="4358"/>
                    </a:lnTo>
                    <a:lnTo>
                      <a:pt x="3296" y="4362"/>
                    </a:lnTo>
                    <a:lnTo>
                      <a:pt x="3298" y="4362"/>
                    </a:lnTo>
                    <a:lnTo>
                      <a:pt x="3300" y="4364"/>
                    </a:lnTo>
                    <a:lnTo>
                      <a:pt x="3304" y="4362"/>
                    </a:lnTo>
                    <a:lnTo>
                      <a:pt x="3304" y="4360"/>
                    </a:lnTo>
                    <a:lnTo>
                      <a:pt x="3302" y="4356"/>
                    </a:lnTo>
                    <a:lnTo>
                      <a:pt x="3300" y="4348"/>
                    </a:lnTo>
                    <a:lnTo>
                      <a:pt x="3298" y="4354"/>
                    </a:lnTo>
                    <a:close/>
                    <a:moveTo>
                      <a:pt x="3274" y="4930"/>
                    </a:moveTo>
                    <a:lnTo>
                      <a:pt x="3274" y="4930"/>
                    </a:lnTo>
                    <a:lnTo>
                      <a:pt x="3274" y="4932"/>
                    </a:lnTo>
                    <a:lnTo>
                      <a:pt x="3278" y="4934"/>
                    </a:lnTo>
                    <a:lnTo>
                      <a:pt x="3288" y="4934"/>
                    </a:lnTo>
                    <a:lnTo>
                      <a:pt x="3310" y="4928"/>
                    </a:lnTo>
                    <a:lnTo>
                      <a:pt x="3312" y="4926"/>
                    </a:lnTo>
                    <a:lnTo>
                      <a:pt x="3310" y="4926"/>
                    </a:lnTo>
                    <a:lnTo>
                      <a:pt x="3296" y="4924"/>
                    </a:lnTo>
                    <a:lnTo>
                      <a:pt x="3282" y="4924"/>
                    </a:lnTo>
                    <a:lnTo>
                      <a:pt x="3276" y="4926"/>
                    </a:lnTo>
                    <a:lnTo>
                      <a:pt x="3274" y="4930"/>
                    </a:lnTo>
                    <a:close/>
                    <a:moveTo>
                      <a:pt x="3132" y="5104"/>
                    </a:moveTo>
                    <a:lnTo>
                      <a:pt x="3132" y="5104"/>
                    </a:lnTo>
                    <a:lnTo>
                      <a:pt x="3136" y="5106"/>
                    </a:lnTo>
                    <a:lnTo>
                      <a:pt x="3138" y="5104"/>
                    </a:lnTo>
                    <a:lnTo>
                      <a:pt x="3136" y="5096"/>
                    </a:lnTo>
                    <a:lnTo>
                      <a:pt x="3134" y="5090"/>
                    </a:lnTo>
                    <a:lnTo>
                      <a:pt x="3132" y="5086"/>
                    </a:lnTo>
                    <a:lnTo>
                      <a:pt x="3130" y="5088"/>
                    </a:lnTo>
                    <a:lnTo>
                      <a:pt x="3130" y="5096"/>
                    </a:lnTo>
                    <a:lnTo>
                      <a:pt x="3132" y="5104"/>
                    </a:lnTo>
                    <a:close/>
                    <a:moveTo>
                      <a:pt x="3196" y="4912"/>
                    </a:moveTo>
                    <a:lnTo>
                      <a:pt x="3196" y="4912"/>
                    </a:lnTo>
                    <a:lnTo>
                      <a:pt x="3198" y="4908"/>
                    </a:lnTo>
                    <a:lnTo>
                      <a:pt x="3198" y="4904"/>
                    </a:lnTo>
                    <a:lnTo>
                      <a:pt x="3196" y="4900"/>
                    </a:lnTo>
                    <a:lnTo>
                      <a:pt x="3192" y="4900"/>
                    </a:lnTo>
                    <a:lnTo>
                      <a:pt x="3190" y="4902"/>
                    </a:lnTo>
                    <a:lnTo>
                      <a:pt x="3188" y="4904"/>
                    </a:lnTo>
                    <a:lnTo>
                      <a:pt x="3188" y="4908"/>
                    </a:lnTo>
                    <a:lnTo>
                      <a:pt x="3192" y="4912"/>
                    </a:lnTo>
                    <a:lnTo>
                      <a:pt x="3194" y="4912"/>
                    </a:lnTo>
                    <a:lnTo>
                      <a:pt x="3196" y="4912"/>
                    </a:lnTo>
                    <a:close/>
                    <a:moveTo>
                      <a:pt x="3180" y="4896"/>
                    </a:moveTo>
                    <a:lnTo>
                      <a:pt x="3180" y="4896"/>
                    </a:lnTo>
                    <a:lnTo>
                      <a:pt x="3176" y="4896"/>
                    </a:lnTo>
                    <a:lnTo>
                      <a:pt x="3172" y="4900"/>
                    </a:lnTo>
                    <a:lnTo>
                      <a:pt x="3170" y="4906"/>
                    </a:lnTo>
                    <a:lnTo>
                      <a:pt x="3172" y="4916"/>
                    </a:lnTo>
                    <a:lnTo>
                      <a:pt x="3174" y="4916"/>
                    </a:lnTo>
                    <a:lnTo>
                      <a:pt x="3180" y="4908"/>
                    </a:lnTo>
                    <a:lnTo>
                      <a:pt x="3184" y="4900"/>
                    </a:lnTo>
                    <a:lnTo>
                      <a:pt x="3182" y="4898"/>
                    </a:lnTo>
                    <a:lnTo>
                      <a:pt x="3180" y="4896"/>
                    </a:lnTo>
                    <a:close/>
                    <a:moveTo>
                      <a:pt x="3184" y="5356"/>
                    </a:moveTo>
                    <a:lnTo>
                      <a:pt x="3184" y="5356"/>
                    </a:lnTo>
                    <a:lnTo>
                      <a:pt x="3180" y="5360"/>
                    </a:lnTo>
                    <a:lnTo>
                      <a:pt x="3174" y="5364"/>
                    </a:lnTo>
                    <a:lnTo>
                      <a:pt x="3170" y="5366"/>
                    </a:lnTo>
                    <a:lnTo>
                      <a:pt x="3168" y="5370"/>
                    </a:lnTo>
                    <a:lnTo>
                      <a:pt x="3168" y="5372"/>
                    </a:lnTo>
                    <a:lnTo>
                      <a:pt x="3170" y="5372"/>
                    </a:lnTo>
                    <a:lnTo>
                      <a:pt x="3178" y="5370"/>
                    </a:lnTo>
                    <a:lnTo>
                      <a:pt x="3190" y="5362"/>
                    </a:lnTo>
                    <a:lnTo>
                      <a:pt x="3194" y="5358"/>
                    </a:lnTo>
                    <a:lnTo>
                      <a:pt x="3192" y="5352"/>
                    </a:lnTo>
                    <a:lnTo>
                      <a:pt x="3192" y="5350"/>
                    </a:lnTo>
                    <a:lnTo>
                      <a:pt x="3190" y="5350"/>
                    </a:lnTo>
                    <a:lnTo>
                      <a:pt x="3188" y="5352"/>
                    </a:lnTo>
                    <a:lnTo>
                      <a:pt x="3184" y="5356"/>
                    </a:lnTo>
                    <a:close/>
                    <a:moveTo>
                      <a:pt x="3074" y="5152"/>
                    </a:moveTo>
                    <a:lnTo>
                      <a:pt x="3074" y="5152"/>
                    </a:lnTo>
                    <a:lnTo>
                      <a:pt x="3076" y="5154"/>
                    </a:lnTo>
                    <a:lnTo>
                      <a:pt x="3078" y="5144"/>
                    </a:lnTo>
                    <a:lnTo>
                      <a:pt x="3076" y="5132"/>
                    </a:lnTo>
                    <a:lnTo>
                      <a:pt x="3076" y="5122"/>
                    </a:lnTo>
                    <a:lnTo>
                      <a:pt x="3074" y="5122"/>
                    </a:lnTo>
                    <a:lnTo>
                      <a:pt x="3074" y="5124"/>
                    </a:lnTo>
                    <a:lnTo>
                      <a:pt x="3072" y="5130"/>
                    </a:lnTo>
                    <a:lnTo>
                      <a:pt x="3072" y="5142"/>
                    </a:lnTo>
                    <a:lnTo>
                      <a:pt x="3074" y="5152"/>
                    </a:lnTo>
                    <a:close/>
                    <a:moveTo>
                      <a:pt x="3070" y="5308"/>
                    </a:moveTo>
                    <a:lnTo>
                      <a:pt x="3070" y="5308"/>
                    </a:lnTo>
                    <a:lnTo>
                      <a:pt x="3066" y="5308"/>
                    </a:lnTo>
                    <a:lnTo>
                      <a:pt x="3066" y="5306"/>
                    </a:lnTo>
                    <a:lnTo>
                      <a:pt x="3064" y="5304"/>
                    </a:lnTo>
                    <a:lnTo>
                      <a:pt x="3060" y="5298"/>
                    </a:lnTo>
                    <a:lnTo>
                      <a:pt x="3054" y="5294"/>
                    </a:lnTo>
                    <a:lnTo>
                      <a:pt x="3048" y="5294"/>
                    </a:lnTo>
                    <a:lnTo>
                      <a:pt x="3046" y="5296"/>
                    </a:lnTo>
                    <a:lnTo>
                      <a:pt x="3042" y="5296"/>
                    </a:lnTo>
                    <a:lnTo>
                      <a:pt x="3036" y="5294"/>
                    </a:lnTo>
                    <a:lnTo>
                      <a:pt x="3026" y="5294"/>
                    </a:lnTo>
                    <a:lnTo>
                      <a:pt x="3020" y="5296"/>
                    </a:lnTo>
                    <a:lnTo>
                      <a:pt x="3016" y="5298"/>
                    </a:lnTo>
                    <a:lnTo>
                      <a:pt x="3014" y="5302"/>
                    </a:lnTo>
                    <a:lnTo>
                      <a:pt x="3012" y="5306"/>
                    </a:lnTo>
                    <a:lnTo>
                      <a:pt x="3014" y="5310"/>
                    </a:lnTo>
                    <a:lnTo>
                      <a:pt x="3016" y="5312"/>
                    </a:lnTo>
                    <a:lnTo>
                      <a:pt x="3026" y="5316"/>
                    </a:lnTo>
                    <a:lnTo>
                      <a:pt x="3036" y="5318"/>
                    </a:lnTo>
                    <a:lnTo>
                      <a:pt x="3046" y="5322"/>
                    </a:lnTo>
                    <a:lnTo>
                      <a:pt x="3054" y="5328"/>
                    </a:lnTo>
                    <a:lnTo>
                      <a:pt x="3058" y="5334"/>
                    </a:lnTo>
                    <a:lnTo>
                      <a:pt x="3060" y="5338"/>
                    </a:lnTo>
                    <a:lnTo>
                      <a:pt x="3064" y="5340"/>
                    </a:lnTo>
                    <a:lnTo>
                      <a:pt x="3068" y="5340"/>
                    </a:lnTo>
                    <a:lnTo>
                      <a:pt x="3070" y="5342"/>
                    </a:lnTo>
                    <a:lnTo>
                      <a:pt x="3074" y="5342"/>
                    </a:lnTo>
                    <a:lnTo>
                      <a:pt x="3076" y="5340"/>
                    </a:lnTo>
                    <a:lnTo>
                      <a:pt x="3078" y="5338"/>
                    </a:lnTo>
                    <a:lnTo>
                      <a:pt x="3080" y="5338"/>
                    </a:lnTo>
                    <a:lnTo>
                      <a:pt x="3082" y="5336"/>
                    </a:lnTo>
                    <a:lnTo>
                      <a:pt x="3086" y="5332"/>
                    </a:lnTo>
                    <a:lnTo>
                      <a:pt x="3086" y="5330"/>
                    </a:lnTo>
                    <a:lnTo>
                      <a:pt x="3086" y="5326"/>
                    </a:lnTo>
                    <a:lnTo>
                      <a:pt x="3082" y="5320"/>
                    </a:lnTo>
                    <a:lnTo>
                      <a:pt x="3076" y="5312"/>
                    </a:lnTo>
                    <a:lnTo>
                      <a:pt x="3070" y="5308"/>
                    </a:lnTo>
                    <a:close/>
                    <a:moveTo>
                      <a:pt x="3176" y="5238"/>
                    </a:moveTo>
                    <a:lnTo>
                      <a:pt x="3176" y="5238"/>
                    </a:lnTo>
                    <a:lnTo>
                      <a:pt x="3174" y="5234"/>
                    </a:lnTo>
                    <a:lnTo>
                      <a:pt x="3172" y="5234"/>
                    </a:lnTo>
                    <a:lnTo>
                      <a:pt x="3168" y="5234"/>
                    </a:lnTo>
                    <a:lnTo>
                      <a:pt x="3166" y="5238"/>
                    </a:lnTo>
                    <a:lnTo>
                      <a:pt x="3166" y="5240"/>
                    </a:lnTo>
                    <a:lnTo>
                      <a:pt x="3168" y="5240"/>
                    </a:lnTo>
                    <a:lnTo>
                      <a:pt x="3170" y="5242"/>
                    </a:lnTo>
                    <a:lnTo>
                      <a:pt x="3168" y="5246"/>
                    </a:lnTo>
                    <a:lnTo>
                      <a:pt x="3160" y="5248"/>
                    </a:lnTo>
                    <a:lnTo>
                      <a:pt x="3156" y="5252"/>
                    </a:lnTo>
                    <a:lnTo>
                      <a:pt x="3156" y="5256"/>
                    </a:lnTo>
                    <a:lnTo>
                      <a:pt x="3156" y="5258"/>
                    </a:lnTo>
                    <a:lnTo>
                      <a:pt x="3152" y="5260"/>
                    </a:lnTo>
                    <a:lnTo>
                      <a:pt x="3148" y="5260"/>
                    </a:lnTo>
                    <a:lnTo>
                      <a:pt x="3146" y="5260"/>
                    </a:lnTo>
                    <a:lnTo>
                      <a:pt x="3142" y="5256"/>
                    </a:lnTo>
                    <a:lnTo>
                      <a:pt x="3136" y="5252"/>
                    </a:lnTo>
                    <a:lnTo>
                      <a:pt x="3134" y="5250"/>
                    </a:lnTo>
                    <a:lnTo>
                      <a:pt x="3132" y="5252"/>
                    </a:lnTo>
                    <a:lnTo>
                      <a:pt x="3128" y="5254"/>
                    </a:lnTo>
                    <a:lnTo>
                      <a:pt x="3124" y="5254"/>
                    </a:lnTo>
                    <a:lnTo>
                      <a:pt x="3120" y="5254"/>
                    </a:lnTo>
                    <a:lnTo>
                      <a:pt x="3116" y="5256"/>
                    </a:lnTo>
                    <a:lnTo>
                      <a:pt x="3114" y="5258"/>
                    </a:lnTo>
                    <a:lnTo>
                      <a:pt x="3112" y="5256"/>
                    </a:lnTo>
                    <a:lnTo>
                      <a:pt x="3106" y="5254"/>
                    </a:lnTo>
                    <a:lnTo>
                      <a:pt x="3100" y="5250"/>
                    </a:lnTo>
                    <a:lnTo>
                      <a:pt x="3092" y="5246"/>
                    </a:lnTo>
                    <a:lnTo>
                      <a:pt x="3076" y="5242"/>
                    </a:lnTo>
                    <a:lnTo>
                      <a:pt x="3068" y="5242"/>
                    </a:lnTo>
                    <a:lnTo>
                      <a:pt x="3064" y="5242"/>
                    </a:lnTo>
                    <a:lnTo>
                      <a:pt x="3060" y="5246"/>
                    </a:lnTo>
                    <a:lnTo>
                      <a:pt x="3056" y="5250"/>
                    </a:lnTo>
                    <a:lnTo>
                      <a:pt x="3050" y="5252"/>
                    </a:lnTo>
                    <a:lnTo>
                      <a:pt x="3048" y="5256"/>
                    </a:lnTo>
                    <a:lnTo>
                      <a:pt x="3048" y="5262"/>
                    </a:lnTo>
                    <a:lnTo>
                      <a:pt x="3050" y="5270"/>
                    </a:lnTo>
                    <a:lnTo>
                      <a:pt x="3050" y="5272"/>
                    </a:lnTo>
                    <a:lnTo>
                      <a:pt x="3052" y="5272"/>
                    </a:lnTo>
                    <a:lnTo>
                      <a:pt x="3056" y="5270"/>
                    </a:lnTo>
                    <a:lnTo>
                      <a:pt x="3062" y="5268"/>
                    </a:lnTo>
                    <a:lnTo>
                      <a:pt x="3078" y="5270"/>
                    </a:lnTo>
                    <a:lnTo>
                      <a:pt x="3086" y="5272"/>
                    </a:lnTo>
                    <a:lnTo>
                      <a:pt x="3092" y="5274"/>
                    </a:lnTo>
                    <a:lnTo>
                      <a:pt x="3096" y="5278"/>
                    </a:lnTo>
                    <a:lnTo>
                      <a:pt x="3098" y="5276"/>
                    </a:lnTo>
                    <a:lnTo>
                      <a:pt x="3102" y="5274"/>
                    </a:lnTo>
                    <a:lnTo>
                      <a:pt x="3106" y="5274"/>
                    </a:lnTo>
                    <a:lnTo>
                      <a:pt x="3108" y="5274"/>
                    </a:lnTo>
                    <a:lnTo>
                      <a:pt x="3110" y="5272"/>
                    </a:lnTo>
                    <a:lnTo>
                      <a:pt x="3112" y="5270"/>
                    </a:lnTo>
                    <a:lnTo>
                      <a:pt x="3120" y="5272"/>
                    </a:lnTo>
                    <a:lnTo>
                      <a:pt x="3124" y="5272"/>
                    </a:lnTo>
                    <a:lnTo>
                      <a:pt x="3128" y="5272"/>
                    </a:lnTo>
                    <a:lnTo>
                      <a:pt x="3134" y="5270"/>
                    </a:lnTo>
                    <a:lnTo>
                      <a:pt x="3138" y="5268"/>
                    </a:lnTo>
                    <a:lnTo>
                      <a:pt x="3142" y="5266"/>
                    </a:lnTo>
                    <a:lnTo>
                      <a:pt x="3150" y="5266"/>
                    </a:lnTo>
                    <a:lnTo>
                      <a:pt x="3158" y="5264"/>
                    </a:lnTo>
                    <a:lnTo>
                      <a:pt x="3166" y="5260"/>
                    </a:lnTo>
                    <a:lnTo>
                      <a:pt x="3168" y="5258"/>
                    </a:lnTo>
                    <a:lnTo>
                      <a:pt x="3170" y="5254"/>
                    </a:lnTo>
                    <a:lnTo>
                      <a:pt x="3170" y="5252"/>
                    </a:lnTo>
                    <a:lnTo>
                      <a:pt x="3174" y="5248"/>
                    </a:lnTo>
                    <a:lnTo>
                      <a:pt x="3176" y="5244"/>
                    </a:lnTo>
                    <a:lnTo>
                      <a:pt x="3176" y="5238"/>
                    </a:lnTo>
                    <a:close/>
                    <a:moveTo>
                      <a:pt x="3042" y="5268"/>
                    </a:moveTo>
                    <a:lnTo>
                      <a:pt x="3042" y="5268"/>
                    </a:lnTo>
                    <a:lnTo>
                      <a:pt x="3044" y="5266"/>
                    </a:lnTo>
                    <a:lnTo>
                      <a:pt x="3046" y="5264"/>
                    </a:lnTo>
                    <a:lnTo>
                      <a:pt x="3044" y="5262"/>
                    </a:lnTo>
                    <a:lnTo>
                      <a:pt x="3042" y="5260"/>
                    </a:lnTo>
                    <a:lnTo>
                      <a:pt x="3040" y="5262"/>
                    </a:lnTo>
                    <a:lnTo>
                      <a:pt x="3040" y="5266"/>
                    </a:lnTo>
                    <a:lnTo>
                      <a:pt x="3040" y="5268"/>
                    </a:lnTo>
                    <a:lnTo>
                      <a:pt x="3042" y="5268"/>
                    </a:lnTo>
                    <a:close/>
                    <a:moveTo>
                      <a:pt x="3038" y="5258"/>
                    </a:moveTo>
                    <a:lnTo>
                      <a:pt x="3038" y="5258"/>
                    </a:lnTo>
                    <a:lnTo>
                      <a:pt x="3040" y="5256"/>
                    </a:lnTo>
                    <a:lnTo>
                      <a:pt x="3040" y="5254"/>
                    </a:lnTo>
                    <a:lnTo>
                      <a:pt x="3038" y="5252"/>
                    </a:lnTo>
                    <a:lnTo>
                      <a:pt x="3034" y="5250"/>
                    </a:lnTo>
                    <a:lnTo>
                      <a:pt x="3032" y="5250"/>
                    </a:lnTo>
                    <a:lnTo>
                      <a:pt x="3032" y="5252"/>
                    </a:lnTo>
                    <a:lnTo>
                      <a:pt x="3032" y="5258"/>
                    </a:lnTo>
                    <a:lnTo>
                      <a:pt x="3030" y="5262"/>
                    </a:lnTo>
                    <a:lnTo>
                      <a:pt x="3032" y="5266"/>
                    </a:lnTo>
                    <a:lnTo>
                      <a:pt x="3032" y="5264"/>
                    </a:lnTo>
                    <a:lnTo>
                      <a:pt x="3034" y="5260"/>
                    </a:lnTo>
                    <a:lnTo>
                      <a:pt x="3038" y="5258"/>
                    </a:lnTo>
                    <a:close/>
                    <a:moveTo>
                      <a:pt x="2740" y="626"/>
                    </a:moveTo>
                    <a:lnTo>
                      <a:pt x="2740" y="626"/>
                    </a:lnTo>
                    <a:lnTo>
                      <a:pt x="2756" y="630"/>
                    </a:lnTo>
                    <a:lnTo>
                      <a:pt x="2768" y="628"/>
                    </a:lnTo>
                    <a:lnTo>
                      <a:pt x="2778" y="624"/>
                    </a:lnTo>
                    <a:lnTo>
                      <a:pt x="2784" y="618"/>
                    </a:lnTo>
                    <a:lnTo>
                      <a:pt x="2786" y="612"/>
                    </a:lnTo>
                    <a:lnTo>
                      <a:pt x="2786" y="608"/>
                    </a:lnTo>
                    <a:lnTo>
                      <a:pt x="2784" y="604"/>
                    </a:lnTo>
                    <a:lnTo>
                      <a:pt x="2782" y="602"/>
                    </a:lnTo>
                    <a:lnTo>
                      <a:pt x="2776" y="600"/>
                    </a:lnTo>
                    <a:lnTo>
                      <a:pt x="2764" y="598"/>
                    </a:lnTo>
                    <a:lnTo>
                      <a:pt x="2748" y="598"/>
                    </a:lnTo>
                    <a:lnTo>
                      <a:pt x="2736" y="598"/>
                    </a:lnTo>
                    <a:lnTo>
                      <a:pt x="2726" y="600"/>
                    </a:lnTo>
                    <a:lnTo>
                      <a:pt x="2720" y="604"/>
                    </a:lnTo>
                    <a:lnTo>
                      <a:pt x="2716" y="608"/>
                    </a:lnTo>
                    <a:lnTo>
                      <a:pt x="2720" y="614"/>
                    </a:lnTo>
                    <a:lnTo>
                      <a:pt x="2726" y="618"/>
                    </a:lnTo>
                    <a:lnTo>
                      <a:pt x="2740" y="626"/>
                    </a:lnTo>
                    <a:close/>
                    <a:moveTo>
                      <a:pt x="162" y="3354"/>
                    </a:moveTo>
                    <a:lnTo>
                      <a:pt x="162" y="3354"/>
                    </a:lnTo>
                    <a:lnTo>
                      <a:pt x="160" y="3358"/>
                    </a:lnTo>
                    <a:lnTo>
                      <a:pt x="162" y="3364"/>
                    </a:lnTo>
                    <a:lnTo>
                      <a:pt x="164" y="3366"/>
                    </a:lnTo>
                    <a:lnTo>
                      <a:pt x="166" y="3368"/>
                    </a:lnTo>
                    <a:lnTo>
                      <a:pt x="168" y="3366"/>
                    </a:lnTo>
                    <a:lnTo>
                      <a:pt x="168" y="3362"/>
                    </a:lnTo>
                    <a:lnTo>
                      <a:pt x="166" y="3356"/>
                    </a:lnTo>
                    <a:lnTo>
                      <a:pt x="164" y="3352"/>
                    </a:lnTo>
                    <a:lnTo>
                      <a:pt x="162" y="3352"/>
                    </a:lnTo>
                    <a:lnTo>
                      <a:pt x="162" y="3354"/>
                    </a:lnTo>
                    <a:close/>
                    <a:moveTo>
                      <a:pt x="3766" y="1952"/>
                    </a:moveTo>
                    <a:lnTo>
                      <a:pt x="3766" y="1952"/>
                    </a:lnTo>
                    <a:lnTo>
                      <a:pt x="3772" y="1954"/>
                    </a:lnTo>
                    <a:lnTo>
                      <a:pt x="3776" y="1954"/>
                    </a:lnTo>
                    <a:lnTo>
                      <a:pt x="3780" y="1950"/>
                    </a:lnTo>
                    <a:lnTo>
                      <a:pt x="3782" y="1944"/>
                    </a:lnTo>
                    <a:lnTo>
                      <a:pt x="3784" y="1940"/>
                    </a:lnTo>
                    <a:lnTo>
                      <a:pt x="3782" y="1934"/>
                    </a:lnTo>
                    <a:lnTo>
                      <a:pt x="3780" y="1930"/>
                    </a:lnTo>
                    <a:lnTo>
                      <a:pt x="3774" y="1928"/>
                    </a:lnTo>
                    <a:lnTo>
                      <a:pt x="3768" y="1928"/>
                    </a:lnTo>
                    <a:lnTo>
                      <a:pt x="3764" y="1930"/>
                    </a:lnTo>
                    <a:lnTo>
                      <a:pt x="3760" y="1932"/>
                    </a:lnTo>
                    <a:lnTo>
                      <a:pt x="3758" y="1936"/>
                    </a:lnTo>
                    <a:lnTo>
                      <a:pt x="3758" y="1938"/>
                    </a:lnTo>
                    <a:lnTo>
                      <a:pt x="3760" y="1944"/>
                    </a:lnTo>
                    <a:lnTo>
                      <a:pt x="3762" y="1948"/>
                    </a:lnTo>
                    <a:lnTo>
                      <a:pt x="3766" y="1952"/>
                    </a:lnTo>
                    <a:close/>
                    <a:moveTo>
                      <a:pt x="3314" y="2942"/>
                    </a:moveTo>
                    <a:lnTo>
                      <a:pt x="3314" y="2942"/>
                    </a:lnTo>
                    <a:lnTo>
                      <a:pt x="3316" y="2940"/>
                    </a:lnTo>
                    <a:lnTo>
                      <a:pt x="3318" y="2936"/>
                    </a:lnTo>
                    <a:lnTo>
                      <a:pt x="3316" y="2932"/>
                    </a:lnTo>
                    <a:lnTo>
                      <a:pt x="3312" y="2930"/>
                    </a:lnTo>
                    <a:lnTo>
                      <a:pt x="3310" y="2930"/>
                    </a:lnTo>
                    <a:lnTo>
                      <a:pt x="3310" y="2932"/>
                    </a:lnTo>
                    <a:lnTo>
                      <a:pt x="3310" y="2936"/>
                    </a:lnTo>
                    <a:lnTo>
                      <a:pt x="3312" y="2940"/>
                    </a:lnTo>
                    <a:lnTo>
                      <a:pt x="3314" y="2942"/>
                    </a:lnTo>
                    <a:close/>
                    <a:moveTo>
                      <a:pt x="3310" y="2998"/>
                    </a:moveTo>
                    <a:lnTo>
                      <a:pt x="3310" y="2998"/>
                    </a:lnTo>
                    <a:lnTo>
                      <a:pt x="3308" y="2998"/>
                    </a:lnTo>
                    <a:lnTo>
                      <a:pt x="3308" y="3002"/>
                    </a:lnTo>
                    <a:lnTo>
                      <a:pt x="3310" y="3004"/>
                    </a:lnTo>
                    <a:lnTo>
                      <a:pt x="3312" y="3006"/>
                    </a:lnTo>
                    <a:lnTo>
                      <a:pt x="3314" y="3006"/>
                    </a:lnTo>
                    <a:lnTo>
                      <a:pt x="3314" y="3002"/>
                    </a:lnTo>
                    <a:lnTo>
                      <a:pt x="3312" y="2998"/>
                    </a:lnTo>
                    <a:lnTo>
                      <a:pt x="3310" y="2998"/>
                    </a:lnTo>
                    <a:close/>
                    <a:moveTo>
                      <a:pt x="468" y="3506"/>
                    </a:moveTo>
                    <a:lnTo>
                      <a:pt x="468" y="3506"/>
                    </a:lnTo>
                    <a:lnTo>
                      <a:pt x="468" y="3508"/>
                    </a:lnTo>
                    <a:lnTo>
                      <a:pt x="466" y="3510"/>
                    </a:lnTo>
                    <a:lnTo>
                      <a:pt x="458" y="3514"/>
                    </a:lnTo>
                    <a:lnTo>
                      <a:pt x="452" y="3518"/>
                    </a:lnTo>
                    <a:lnTo>
                      <a:pt x="450" y="3520"/>
                    </a:lnTo>
                    <a:lnTo>
                      <a:pt x="450" y="3522"/>
                    </a:lnTo>
                    <a:lnTo>
                      <a:pt x="452" y="3524"/>
                    </a:lnTo>
                    <a:lnTo>
                      <a:pt x="456" y="3524"/>
                    </a:lnTo>
                    <a:lnTo>
                      <a:pt x="464" y="3520"/>
                    </a:lnTo>
                    <a:lnTo>
                      <a:pt x="476" y="3514"/>
                    </a:lnTo>
                    <a:lnTo>
                      <a:pt x="484" y="3504"/>
                    </a:lnTo>
                    <a:lnTo>
                      <a:pt x="486" y="3502"/>
                    </a:lnTo>
                    <a:lnTo>
                      <a:pt x="486" y="3500"/>
                    </a:lnTo>
                    <a:lnTo>
                      <a:pt x="480" y="3502"/>
                    </a:lnTo>
                    <a:lnTo>
                      <a:pt x="468" y="3506"/>
                    </a:lnTo>
                    <a:close/>
                    <a:moveTo>
                      <a:pt x="1966" y="4176"/>
                    </a:moveTo>
                    <a:lnTo>
                      <a:pt x="1966" y="4176"/>
                    </a:lnTo>
                    <a:lnTo>
                      <a:pt x="1964" y="4176"/>
                    </a:lnTo>
                    <a:lnTo>
                      <a:pt x="1960" y="4184"/>
                    </a:lnTo>
                    <a:lnTo>
                      <a:pt x="1958" y="4200"/>
                    </a:lnTo>
                    <a:lnTo>
                      <a:pt x="1956" y="4222"/>
                    </a:lnTo>
                    <a:lnTo>
                      <a:pt x="1954" y="4242"/>
                    </a:lnTo>
                    <a:lnTo>
                      <a:pt x="1952" y="4252"/>
                    </a:lnTo>
                    <a:lnTo>
                      <a:pt x="1950" y="4260"/>
                    </a:lnTo>
                    <a:lnTo>
                      <a:pt x="1952" y="4272"/>
                    </a:lnTo>
                    <a:lnTo>
                      <a:pt x="1954" y="4278"/>
                    </a:lnTo>
                    <a:lnTo>
                      <a:pt x="1956" y="4280"/>
                    </a:lnTo>
                    <a:lnTo>
                      <a:pt x="1958" y="4274"/>
                    </a:lnTo>
                    <a:lnTo>
                      <a:pt x="1962" y="4248"/>
                    </a:lnTo>
                    <a:lnTo>
                      <a:pt x="1962" y="4240"/>
                    </a:lnTo>
                    <a:lnTo>
                      <a:pt x="1962" y="4236"/>
                    </a:lnTo>
                    <a:lnTo>
                      <a:pt x="1962" y="4234"/>
                    </a:lnTo>
                    <a:lnTo>
                      <a:pt x="1964" y="4232"/>
                    </a:lnTo>
                    <a:lnTo>
                      <a:pt x="1966" y="4228"/>
                    </a:lnTo>
                    <a:lnTo>
                      <a:pt x="1966" y="4226"/>
                    </a:lnTo>
                    <a:lnTo>
                      <a:pt x="1964" y="4218"/>
                    </a:lnTo>
                    <a:lnTo>
                      <a:pt x="1964" y="4210"/>
                    </a:lnTo>
                    <a:lnTo>
                      <a:pt x="1964" y="4206"/>
                    </a:lnTo>
                    <a:lnTo>
                      <a:pt x="1964" y="4204"/>
                    </a:lnTo>
                    <a:lnTo>
                      <a:pt x="1968" y="4200"/>
                    </a:lnTo>
                    <a:lnTo>
                      <a:pt x="1970" y="4192"/>
                    </a:lnTo>
                    <a:lnTo>
                      <a:pt x="1970" y="4182"/>
                    </a:lnTo>
                    <a:lnTo>
                      <a:pt x="1966" y="4176"/>
                    </a:lnTo>
                    <a:close/>
                    <a:moveTo>
                      <a:pt x="1508" y="4454"/>
                    </a:moveTo>
                    <a:lnTo>
                      <a:pt x="1508" y="4454"/>
                    </a:lnTo>
                    <a:lnTo>
                      <a:pt x="1504" y="4444"/>
                    </a:lnTo>
                    <a:lnTo>
                      <a:pt x="1498" y="4430"/>
                    </a:lnTo>
                    <a:lnTo>
                      <a:pt x="1492" y="4416"/>
                    </a:lnTo>
                    <a:lnTo>
                      <a:pt x="1484" y="4404"/>
                    </a:lnTo>
                    <a:lnTo>
                      <a:pt x="1478" y="4396"/>
                    </a:lnTo>
                    <a:lnTo>
                      <a:pt x="1474" y="4388"/>
                    </a:lnTo>
                    <a:lnTo>
                      <a:pt x="1472" y="4380"/>
                    </a:lnTo>
                    <a:lnTo>
                      <a:pt x="1464" y="4372"/>
                    </a:lnTo>
                    <a:lnTo>
                      <a:pt x="1456" y="4364"/>
                    </a:lnTo>
                    <a:lnTo>
                      <a:pt x="1448" y="4360"/>
                    </a:lnTo>
                    <a:lnTo>
                      <a:pt x="1442" y="4360"/>
                    </a:lnTo>
                    <a:lnTo>
                      <a:pt x="1438" y="4362"/>
                    </a:lnTo>
                    <a:lnTo>
                      <a:pt x="1438" y="4364"/>
                    </a:lnTo>
                    <a:lnTo>
                      <a:pt x="1440" y="4368"/>
                    </a:lnTo>
                    <a:lnTo>
                      <a:pt x="1444" y="4372"/>
                    </a:lnTo>
                    <a:lnTo>
                      <a:pt x="1446" y="4382"/>
                    </a:lnTo>
                    <a:lnTo>
                      <a:pt x="1446" y="4392"/>
                    </a:lnTo>
                    <a:lnTo>
                      <a:pt x="1444" y="4398"/>
                    </a:lnTo>
                    <a:lnTo>
                      <a:pt x="1440" y="4404"/>
                    </a:lnTo>
                    <a:lnTo>
                      <a:pt x="1440" y="4410"/>
                    </a:lnTo>
                    <a:lnTo>
                      <a:pt x="1440" y="4420"/>
                    </a:lnTo>
                    <a:lnTo>
                      <a:pt x="1438" y="4430"/>
                    </a:lnTo>
                    <a:lnTo>
                      <a:pt x="1436" y="4438"/>
                    </a:lnTo>
                    <a:lnTo>
                      <a:pt x="1436" y="4436"/>
                    </a:lnTo>
                    <a:lnTo>
                      <a:pt x="1434" y="4432"/>
                    </a:lnTo>
                    <a:lnTo>
                      <a:pt x="1432" y="4432"/>
                    </a:lnTo>
                    <a:lnTo>
                      <a:pt x="1430" y="4440"/>
                    </a:lnTo>
                    <a:lnTo>
                      <a:pt x="1432" y="4456"/>
                    </a:lnTo>
                    <a:lnTo>
                      <a:pt x="1434" y="4476"/>
                    </a:lnTo>
                    <a:lnTo>
                      <a:pt x="1434" y="4500"/>
                    </a:lnTo>
                    <a:lnTo>
                      <a:pt x="1436" y="4512"/>
                    </a:lnTo>
                    <a:lnTo>
                      <a:pt x="1438" y="4524"/>
                    </a:lnTo>
                    <a:lnTo>
                      <a:pt x="1442" y="4534"/>
                    </a:lnTo>
                    <a:lnTo>
                      <a:pt x="1450" y="4544"/>
                    </a:lnTo>
                    <a:lnTo>
                      <a:pt x="1458" y="4548"/>
                    </a:lnTo>
                    <a:lnTo>
                      <a:pt x="1464" y="4550"/>
                    </a:lnTo>
                    <a:lnTo>
                      <a:pt x="1470" y="4550"/>
                    </a:lnTo>
                    <a:lnTo>
                      <a:pt x="1476" y="4548"/>
                    </a:lnTo>
                    <a:lnTo>
                      <a:pt x="1488" y="4540"/>
                    </a:lnTo>
                    <a:lnTo>
                      <a:pt x="1502" y="4532"/>
                    </a:lnTo>
                    <a:lnTo>
                      <a:pt x="1508" y="4526"/>
                    </a:lnTo>
                    <a:lnTo>
                      <a:pt x="1512" y="4520"/>
                    </a:lnTo>
                    <a:lnTo>
                      <a:pt x="1516" y="4510"/>
                    </a:lnTo>
                    <a:lnTo>
                      <a:pt x="1518" y="4502"/>
                    </a:lnTo>
                    <a:lnTo>
                      <a:pt x="1518" y="4484"/>
                    </a:lnTo>
                    <a:lnTo>
                      <a:pt x="1516" y="4476"/>
                    </a:lnTo>
                    <a:lnTo>
                      <a:pt x="1514" y="4472"/>
                    </a:lnTo>
                    <a:lnTo>
                      <a:pt x="1512" y="4466"/>
                    </a:lnTo>
                    <a:lnTo>
                      <a:pt x="1512" y="4462"/>
                    </a:lnTo>
                    <a:lnTo>
                      <a:pt x="1510" y="4458"/>
                    </a:lnTo>
                    <a:lnTo>
                      <a:pt x="1508" y="4454"/>
                    </a:lnTo>
                    <a:close/>
                    <a:moveTo>
                      <a:pt x="1946" y="4308"/>
                    </a:moveTo>
                    <a:lnTo>
                      <a:pt x="1946" y="4308"/>
                    </a:lnTo>
                    <a:lnTo>
                      <a:pt x="1942" y="4310"/>
                    </a:lnTo>
                    <a:lnTo>
                      <a:pt x="1940" y="4316"/>
                    </a:lnTo>
                    <a:lnTo>
                      <a:pt x="1940" y="4322"/>
                    </a:lnTo>
                    <a:lnTo>
                      <a:pt x="1942" y="4328"/>
                    </a:lnTo>
                    <a:lnTo>
                      <a:pt x="1944" y="4328"/>
                    </a:lnTo>
                    <a:lnTo>
                      <a:pt x="1946" y="4326"/>
                    </a:lnTo>
                    <a:lnTo>
                      <a:pt x="1948" y="4320"/>
                    </a:lnTo>
                    <a:lnTo>
                      <a:pt x="1950" y="4312"/>
                    </a:lnTo>
                    <a:lnTo>
                      <a:pt x="1948" y="4310"/>
                    </a:lnTo>
                    <a:lnTo>
                      <a:pt x="1946" y="4308"/>
                    </a:lnTo>
                    <a:close/>
                    <a:moveTo>
                      <a:pt x="1996" y="4488"/>
                    </a:moveTo>
                    <a:lnTo>
                      <a:pt x="1996" y="4488"/>
                    </a:lnTo>
                    <a:lnTo>
                      <a:pt x="1994" y="4492"/>
                    </a:lnTo>
                    <a:lnTo>
                      <a:pt x="1994" y="4496"/>
                    </a:lnTo>
                    <a:lnTo>
                      <a:pt x="1994" y="4504"/>
                    </a:lnTo>
                    <a:lnTo>
                      <a:pt x="1998" y="4508"/>
                    </a:lnTo>
                    <a:lnTo>
                      <a:pt x="2000" y="4510"/>
                    </a:lnTo>
                    <a:lnTo>
                      <a:pt x="2002" y="4508"/>
                    </a:lnTo>
                    <a:lnTo>
                      <a:pt x="2004" y="4506"/>
                    </a:lnTo>
                    <a:lnTo>
                      <a:pt x="2004" y="4502"/>
                    </a:lnTo>
                    <a:lnTo>
                      <a:pt x="2004" y="4494"/>
                    </a:lnTo>
                    <a:lnTo>
                      <a:pt x="2000" y="4488"/>
                    </a:lnTo>
                    <a:lnTo>
                      <a:pt x="1998" y="4488"/>
                    </a:lnTo>
                    <a:lnTo>
                      <a:pt x="1996" y="4488"/>
                    </a:lnTo>
                    <a:close/>
                    <a:moveTo>
                      <a:pt x="1980" y="4454"/>
                    </a:moveTo>
                    <a:lnTo>
                      <a:pt x="1980" y="4454"/>
                    </a:lnTo>
                    <a:lnTo>
                      <a:pt x="1982" y="4454"/>
                    </a:lnTo>
                    <a:lnTo>
                      <a:pt x="1984" y="4454"/>
                    </a:lnTo>
                    <a:lnTo>
                      <a:pt x="1982" y="4448"/>
                    </a:lnTo>
                    <a:lnTo>
                      <a:pt x="1980" y="4448"/>
                    </a:lnTo>
                    <a:lnTo>
                      <a:pt x="1978" y="4448"/>
                    </a:lnTo>
                    <a:lnTo>
                      <a:pt x="1978" y="4450"/>
                    </a:lnTo>
                    <a:lnTo>
                      <a:pt x="1980" y="4454"/>
                    </a:lnTo>
                    <a:close/>
                    <a:moveTo>
                      <a:pt x="1954" y="4386"/>
                    </a:moveTo>
                    <a:lnTo>
                      <a:pt x="1954" y="4386"/>
                    </a:lnTo>
                    <a:lnTo>
                      <a:pt x="1952" y="4390"/>
                    </a:lnTo>
                    <a:lnTo>
                      <a:pt x="1952" y="4394"/>
                    </a:lnTo>
                    <a:lnTo>
                      <a:pt x="1954" y="4396"/>
                    </a:lnTo>
                    <a:lnTo>
                      <a:pt x="1958" y="4396"/>
                    </a:lnTo>
                    <a:lnTo>
                      <a:pt x="1960" y="4394"/>
                    </a:lnTo>
                    <a:lnTo>
                      <a:pt x="1958" y="4390"/>
                    </a:lnTo>
                    <a:lnTo>
                      <a:pt x="1958" y="4386"/>
                    </a:lnTo>
                    <a:lnTo>
                      <a:pt x="1956" y="4386"/>
                    </a:lnTo>
                    <a:lnTo>
                      <a:pt x="1954" y="4386"/>
                    </a:lnTo>
                    <a:close/>
                    <a:moveTo>
                      <a:pt x="2078" y="4702"/>
                    </a:moveTo>
                    <a:lnTo>
                      <a:pt x="2078" y="4702"/>
                    </a:lnTo>
                    <a:lnTo>
                      <a:pt x="2078" y="4706"/>
                    </a:lnTo>
                    <a:lnTo>
                      <a:pt x="2080" y="4710"/>
                    </a:lnTo>
                    <a:lnTo>
                      <a:pt x="2084" y="4714"/>
                    </a:lnTo>
                    <a:lnTo>
                      <a:pt x="2090" y="4720"/>
                    </a:lnTo>
                    <a:lnTo>
                      <a:pt x="2102" y="4728"/>
                    </a:lnTo>
                    <a:lnTo>
                      <a:pt x="2106" y="4730"/>
                    </a:lnTo>
                    <a:lnTo>
                      <a:pt x="2106" y="4726"/>
                    </a:lnTo>
                    <a:lnTo>
                      <a:pt x="2102" y="4716"/>
                    </a:lnTo>
                    <a:lnTo>
                      <a:pt x="2094" y="4706"/>
                    </a:lnTo>
                    <a:lnTo>
                      <a:pt x="2084" y="4700"/>
                    </a:lnTo>
                    <a:lnTo>
                      <a:pt x="2080" y="4700"/>
                    </a:lnTo>
                    <a:lnTo>
                      <a:pt x="2078" y="4702"/>
                    </a:lnTo>
                    <a:close/>
                    <a:moveTo>
                      <a:pt x="2508" y="4960"/>
                    </a:moveTo>
                    <a:lnTo>
                      <a:pt x="2508" y="4960"/>
                    </a:lnTo>
                    <a:lnTo>
                      <a:pt x="2502" y="4956"/>
                    </a:lnTo>
                    <a:lnTo>
                      <a:pt x="2500" y="4950"/>
                    </a:lnTo>
                    <a:lnTo>
                      <a:pt x="2496" y="4932"/>
                    </a:lnTo>
                    <a:lnTo>
                      <a:pt x="2494" y="4924"/>
                    </a:lnTo>
                    <a:lnTo>
                      <a:pt x="2490" y="4918"/>
                    </a:lnTo>
                    <a:lnTo>
                      <a:pt x="2484" y="4914"/>
                    </a:lnTo>
                    <a:lnTo>
                      <a:pt x="2476" y="4912"/>
                    </a:lnTo>
                    <a:lnTo>
                      <a:pt x="2466" y="4916"/>
                    </a:lnTo>
                    <a:lnTo>
                      <a:pt x="2464" y="4920"/>
                    </a:lnTo>
                    <a:lnTo>
                      <a:pt x="2464" y="4926"/>
                    </a:lnTo>
                    <a:lnTo>
                      <a:pt x="2462" y="4928"/>
                    </a:lnTo>
                    <a:lnTo>
                      <a:pt x="2460" y="4932"/>
                    </a:lnTo>
                    <a:lnTo>
                      <a:pt x="2456" y="4936"/>
                    </a:lnTo>
                    <a:lnTo>
                      <a:pt x="2454" y="4938"/>
                    </a:lnTo>
                    <a:lnTo>
                      <a:pt x="2454" y="4940"/>
                    </a:lnTo>
                    <a:lnTo>
                      <a:pt x="2456" y="4942"/>
                    </a:lnTo>
                    <a:lnTo>
                      <a:pt x="2464" y="4944"/>
                    </a:lnTo>
                    <a:lnTo>
                      <a:pt x="2474" y="4942"/>
                    </a:lnTo>
                    <a:lnTo>
                      <a:pt x="2478" y="4944"/>
                    </a:lnTo>
                    <a:lnTo>
                      <a:pt x="2480" y="4948"/>
                    </a:lnTo>
                    <a:lnTo>
                      <a:pt x="2484" y="4958"/>
                    </a:lnTo>
                    <a:lnTo>
                      <a:pt x="2488" y="4972"/>
                    </a:lnTo>
                    <a:lnTo>
                      <a:pt x="2490" y="4976"/>
                    </a:lnTo>
                    <a:lnTo>
                      <a:pt x="2494" y="4978"/>
                    </a:lnTo>
                    <a:lnTo>
                      <a:pt x="2502" y="4984"/>
                    </a:lnTo>
                    <a:lnTo>
                      <a:pt x="2508" y="4988"/>
                    </a:lnTo>
                    <a:lnTo>
                      <a:pt x="2512" y="4990"/>
                    </a:lnTo>
                    <a:lnTo>
                      <a:pt x="2516" y="4990"/>
                    </a:lnTo>
                    <a:lnTo>
                      <a:pt x="2518" y="4990"/>
                    </a:lnTo>
                    <a:lnTo>
                      <a:pt x="2520" y="4988"/>
                    </a:lnTo>
                    <a:lnTo>
                      <a:pt x="2518" y="4984"/>
                    </a:lnTo>
                    <a:lnTo>
                      <a:pt x="2516" y="4978"/>
                    </a:lnTo>
                    <a:lnTo>
                      <a:pt x="2514" y="4976"/>
                    </a:lnTo>
                    <a:lnTo>
                      <a:pt x="2516" y="4974"/>
                    </a:lnTo>
                    <a:lnTo>
                      <a:pt x="2518" y="4970"/>
                    </a:lnTo>
                    <a:lnTo>
                      <a:pt x="2518" y="4966"/>
                    </a:lnTo>
                    <a:lnTo>
                      <a:pt x="2514" y="4964"/>
                    </a:lnTo>
                    <a:lnTo>
                      <a:pt x="2508" y="4960"/>
                    </a:lnTo>
                    <a:close/>
                    <a:moveTo>
                      <a:pt x="2428" y="4870"/>
                    </a:moveTo>
                    <a:lnTo>
                      <a:pt x="2428" y="4870"/>
                    </a:lnTo>
                    <a:lnTo>
                      <a:pt x="2432" y="4868"/>
                    </a:lnTo>
                    <a:lnTo>
                      <a:pt x="2434" y="4862"/>
                    </a:lnTo>
                    <a:lnTo>
                      <a:pt x="2434" y="4858"/>
                    </a:lnTo>
                    <a:lnTo>
                      <a:pt x="2432" y="4856"/>
                    </a:lnTo>
                    <a:lnTo>
                      <a:pt x="2430" y="4856"/>
                    </a:lnTo>
                    <a:lnTo>
                      <a:pt x="2426" y="4858"/>
                    </a:lnTo>
                    <a:lnTo>
                      <a:pt x="2424" y="4860"/>
                    </a:lnTo>
                    <a:lnTo>
                      <a:pt x="2420" y="4866"/>
                    </a:lnTo>
                    <a:lnTo>
                      <a:pt x="2420" y="4868"/>
                    </a:lnTo>
                    <a:lnTo>
                      <a:pt x="2420" y="4872"/>
                    </a:lnTo>
                    <a:lnTo>
                      <a:pt x="2424" y="4872"/>
                    </a:lnTo>
                    <a:lnTo>
                      <a:pt x="2428" y="4870"/>
                    </a:lnTo>
                    <a:close/>
                    <a:moveTo>
                      <a:pt x="2450" y="4852"/>
                    </a:moveTo>
                    <a:lnTo>
                      <a:pt x="2450" y="4852"/>
                    </a:lnTo>
                    <a:lnTo>
                      <a:pt x="2444" y="4848"/>
                    </a:lnTo>
                    <a:lnTo>
                      <a:pt x="2434" y="4840"/>
                    </a:lnTo>
                    <a:lnTo>
                      <a:pt x="2430" y="4836"/>
                    </a:lnTo>
                    <a:lnTo>
                      <a:pt x="2428" y="4838"/>
                    </a:lnTo>
                    <a:lnTo>
                      <a:pt x="2428" y="4846"/>
                    </a:lnTo>
                    <a:lnTo>
                      <a:pt x="2430" y="4848"/>
                    </a:lnTo>
                    <a:lnTo>
                      <a:pt x="2432" y="4850"/>
                    </a:lnTo>
                    <a:lnTo>
                      <a:pt x="2438" y="4854"/>
                    </a:lnTo>
                    <a:lnTo>
                      <a:pt x="2446" y="4854"/>
                    </a:lnTo>
                    <a:lnTo>
                      <a:pt x="2450" y="4852"/>
                    </a:lnTo>
                    <a:close/>
                    <a:moveTo>
                      <a:pt x="2378" y="4806"/>
                    </a:moveTo>
                    <a:lnTo>
                      <a:pt x="2378" y="4806"/>
                    </a:lnTo>
                    <a:lnTo>
                      <a:pt x="2376" y="4806"/>
                    </a:lnTo>
                    <a:lnTo>
                      <a:pt x="2376" y="4810"/>
                    </a:lnTo>
                    <a:lnTo>
                      <a:pt x="2376" y="4812"/>
                    </a:lnTo>
                    <a:lnTo>
                      <a:pt x="2378" y="4814"/>
                    </a:lnTo>
                    <a:lnTo>
                      <a:pt x="2382" y="4814"/>
                    </a:lnTo>
                    <a:lnTo>
                      <a:pt x="2382" y="4810"/>
                    </a:lnTo>
                    <a:lnTo>
                      <a:pt x="2380" y="4806"/>
                    </a:lnTo>
                    <a:lnTo>
                      <a:pt x="2378" y="4806"/>
                    </a:lnTo>
                    <a:close/>
                    <a:moveTo>
                      <a:pt x="2422" y="4774"/>
                    </a:moveTo>
                    <a:lnTo>
                      <a:pt x="2422" y="4774"/>
                    </a:lnTo>
                    <a:lnTo>
                      <a:pt x="2414" y="4778"/>
                    </a:lnTo>
                    <a:lnTo>
                      <a:pt x="2412" y="4782"/>
                    </a:lnTo>
                    <a:lnTo>
                      <a:pt x="2410" y="4784"/>
                    </a:lnTo>
                    <a:lnTo>
                      <a:pt x="2406" y="4788"/>
                    </a:lnTo>
                    <a:lnTo>
                      <a:pt x="2406" y="4790"/>
                    </a:lnTo>
                    <a:lnTo>
                      <a:pt x="2410" y="4792"/>
                    </a:lnTo>
                    <a:lnTo>
                      <a:pt x="2414" y="4790"/>
                    </a:lnTo>
                    <a:lnTo>
                      <a:pt x="2420" y="4796"/>
                    </a:lnTo>
                    <a:lnTo>
                      <a:pt x="2416" y="4796"/>
                    </a:lnTo>
                    <a:lnTo>
                      <a:pt x="2414" y="4796"/>
                    </a:lnTo>
                    <a:lnTo>
                      <a:pt x="2414" y="4798"/>
                    </a:lnTo>
                    <a:lnTo>
                      <a:pt x="2414" y="4800"/>
                    </a:lnTo>
                    <a:lnTo>
                      <a:pt x="2418" y="4804"/>
                    </a:lnTo>
                    <a:lnTo>
                      <a:pt x="2420" y="4804"/>
                    </a:lnTo>
                    <a:lnTo>
                      <a:pt x="2422" y="4802"/>
                    </a:lnTo>
                    <a:lnTo>
                      <a:pt x="2420" y="4798"/>
                    </a:lnTo>
                    <a:lnTo>
                      <a:pt x="2432" y="4808"/>
                    </a:lnTo>
                    <a:lnTo>
                      <a:pt x="2436" y="4808"/>
                    </a:lnTo>
                    <a:lnTo>
                      <a:pt x="2438" y="4804"/>
                    </a:lnTo>
                    <a:lnTo>
                      <a:pt x="2438" y="4798"/>
                    </a:lnTo>
                    <a:lnTo>
                      <a:pt x="2438" y="4790"/>
                    </a:lnTo>
                    <a:lnTo>
                      <a:pt x="2436" y="4782"/>
                    </a:lnTo>
                    <a:lnTo>
                      <a:pt x="2434" y="4776"/>
                    </a:lnTo>
                    <a:lnTo>
                      <a:pt x="2428" y="4774"/>
                    </a:lnTo>
                    <a:lnTo>
                      <a:pt x="2422" y="4774"/>
                    </a:lnTo>
                    <a:close/>
                    <a:moveTo>
                      <a:pt x="2384" y="4796"/>
                    </a:moveTo>
                    <a:lnTo>
                      <a:pt x="2384" y="4796"/>
                    </a:lnTo>
                    <a:lnTo>
                      <a:pt x="2384" y="4798"/>
                    </a:lnTo>
                    <a:lnTo>
                      <a:pt x="2384" y="4802"/>
                    </a:lnTo>
                    <a:lnTo>
                      <a:pt x="2386" y="4806"/>
                    </a:lnTo>
                    <a:lnTo>
                      <a:pt x="2390" y="4806"/>
                    </a:lnTo>
                    <a:lnTo>
                      <a:pt x="2392" y="4806"/>
                    </a:lnTo>
                    <a:lnTo>
                      <a:pt x="2390" y="4802"/>
                    </a:lnTo>
                    <a:lnTo>
                      <a:pt x="2388" y="4798"/>
                    </a:lnTo>
                    <a:lnTo>
                      <a:pt x="2384" y="4796"/>
                    </a:lnTo>
                    <a:close/>
                    <a:moveTo>
                      <a:pt x="2578" y="4662"/>
                    </a:moveTo>
                    <a:lnTo>
                      <a:pt x="2578" y="4662"/>
                    </a:lnTo>
                    <a:lnTo>
                      <a:pt x="2580" y="4662"/>
                    </a:lnTo>
                    <a:lnTo>
                      <a:pt x="2584" y="4660"/>
                    </a:lnTo>
                    <a:lnTo>
                      <a:pt x="2584" y="4650"/>
                    </a:lnTo>
                    <a:lnTo>
                      <a:pt x="2584" y="4640"/>
                    </a:lnTo>
                    <a:lnTo>
                      <a:pt x="2582" y="4634"/>
                    </a:lnTo>
                    <a:lnTo>
                      <a:pt x="2578" y="4634"/>
                    </a:lnTo>
                    <a:lnTo>
                      <a:pt x="2574" y="4640"/>
                    </a:lnTo>
                    <a:lnTo>
                      <a:pt x="2570" y="4646"/>
                    </a:lnTo>
                    <a:lnTo>
                      <a:pt x="2572" y="4650"/>
                    </a:lnTo>
                    <a:lnTo>
                      <a:pt x="2574" y="4652"/>
                    </a:lnTo>
                    <a:lnTo>
                      <a:pt x="2578" y="4656"/>
                    </a:lnTo>
                    <a:lnTo>
                      <a:pt x="2576" y="4658"/>
                    </a:lnTo>
                    <a:lnTo>
                      <a:pt x="2574" y="4660"/>
                    </a:lnTo>
                    <a:lnTo>
                      <a:pt x="2578" y="4662"/>
                    </a:lnTo>
                    <a:close/>
                    <a:moveTo>
                      <a:pt x="2136" y="4766"/>
                    </a:moveTo>
                    <a:lnTo>
                      <a:pt x="2136" y="4766"/>
                    </a:lnTo>
                    <a:lnTo>
                      <a:pt x="2134" y="4768"/>
                    </a:lnTo>
                    <a:lnTo>
                      <a:pt x="2134" y="4772"/>
                    </a:lnTo>
                    <a:lnTo>
                      <a:pt x="2138" y="4782"/>
                    </a:lnTo>
                    <a:lnTo>
                      <a:pt x="2154" y="4806"/>
                    </a:lnTo>
                    <a:lnTo>
                      <a:pt x="2158" y="4812"/>
                    </a:lnTo>
                    <a:lnTo>
                      <a:pt x="2162" y="4812"/>
                    </a:lnTo>
                    <a:lnTo>
                      <a:pt x="2164" y="4810"/>
                    </a:lnTo>
                    <a:lnTo>
                      <a:pt x="2166" y="4806"/>
                    </a:lnTo>
                    <a:lnTo>
                      <a:pt x="2166" y="4794"/>
                    </a:lnTo>
                    <a:lnTo>
                      <a:pt x="2164" y="4790"/>
                    </a:lnTo>
                    <a:lnTo>
                      <a:pt x="2160" y="4786"/>
                    </a:lnTo>
                    <a:lnTo>
                      <a:pt x="2154" y="4780"/>
                    </a:lnTo>
                    <a:lnTo>
                      <a:pt x="2150" y="4772"/>
                    </a:lnTo>
                    <a:lnTo>
                      <a:pt x="2144" y="4768"/>
                    </a:lnTo>
                    <a:lnTo>
                      <a:pt x="2140" y="4766"/>
                    </a:lnTo>
                    <a:lnTo>
                      <a:pt x="2136" y="4766"/>
                    </a:lnTo>
                    <a:close/>
                    <a:moveTo>
                      <a:pt x="2832" y="5258"/>
                    </a:moveTo>
                    <a:lnTo>
                      <a:pt x="2832" y="5258"/>
                    </a:lnTo>
                    <a:lnTo>
                      <a:pt x="2828" y="5254"/>
                    </a:lnTo>
                    <a:lnTo>
                      <a:pt x="2828" y="5248"/>
                    </a:lnTo>
                    <a:lnTo>
                      <a:pt x="2832" y="5234"/>
                    </a:lnTo>
                    <a:lnTo>
                      <a:pt x="2832" y="5226"/>
                    </a:lnTo>
                    <a:lnTo>
                      <a:pt x="2832" y="5220"/>
                    </a:lnTo>
                    <a:lnTo>
                      <a:pt x="2828" y="5214"/>
                    </a:lnTo>
                    <a:lnTo>
                      <a:pt x="2820" y="5212"/>
                    </a:lnTo>
                    <a:lnTo>
                      <a:pt x="2808" y="5212"/>
                    </a:lnTo>
                    <a:lnTo>
                      <a:pt x="2798" y="5214"/>
                    </a:lnTo>
                    <a:lnTo>
                      <a:pt x="2786" y="5216"/>
                    </a:lnTo>
                    <a:lnTo>
                      <a:pt x="2780" y="5216"/>
                    </a:lnTo>
                    <a:lnTo>
                      <a:pt x="2772" y="5212"/>
                    </a:lnTo>
                    <a:lnTo>
                      <a:pt x="2762" y="5208"/>
                    </a:lnTo>
                    <a:lnTo>
                      <a:pt x="2762" y="5206"/>
                    </a:lnTo>
                    <a:lnTo>
                      <a:pt x="2762" y="5204"/>
                    </a:lnTo>
                    <a:lnTo>
                      <a:pt x="2762" y="5196"/>
                    </a:lnTo>
                    <a:lnTo>
                      <a:pt x="2762" y="5190"/>
                    </a:lnTo>
                    <a:lnTo>
                      <a:pt x="2758" y="5184"/>
                    </a:lnTo>
                    <a:lnTo>
                      <a:pt x="2754" y="5178"/>
                    </a:lnTo>
                    <a:lnTo>
                      <a:pt x="2752" y="5174"/>
                    </a:lnTo>
                    <a:lnTo>
                      <a:pt x="2748" y="5174"/>
                    </a:lnTo>
                    <a:lnTo>
                      <a:pt x="2746" y="5176"/>
                    </a:lnTo>
                    <a:lnTo>
                      <a:pt x="2740" y="5178"/>
                    </a:lnTo>
                    <a:lnTo>
                      <a:pt x="2738" y="5178"/>
                    </a:lnTo>
                    <a:lnTo>
                      <a:pt x="2734" y="5174"/>
                    </a:lnTo>
                    <a:lnTo>
                      <a:pt x="2730" y="5168"/>
                    </a:lnTo>
                    <a:lnTo>
                      <a:pt x="2728" y="5170"/>
                    </a:lnTo>
                    <a:lnTo>
                      <a:pt x="2726" y="5170"/>
                    </a:lnTo>
                    <a:lnTo>
                      <a:pt x="2720" y="5166"/>
                    </a:lnTo>
                    <a:lnTo>
                      <a:pt x="2718" y="5164"/>
                    </a:lnTo>
                    <a:lnTo>
                      <a:pt x="2714" y="5162"/>
                    </a:lnTo>
                    <a:lnTo>
                      <a:pt x="2708" y="5164"/>
                    </a:lnTo>
                    <a:lnTo>
                      <a:pt x="2704" y="5166"/>
                    </a:lnTo>
                    <a:lnTo>
                      <a:pt x="2700" y="5166"/>
                    </a:lnTo>
                    <a:lnTo>
                      <a:pt x="2698" y="5162"/>
                    </a:lnTo>
                    <a:lnTo>
                      <a:pt x="2694" y="5154"/>
                    </a:lnTo>
                    <a:lnTo>
                      <a:pt x="2692" y="5150"/>
                    </a:lnTo>
                    <a:lnTo>
                      <a:pt x="2688" y="5148"/>
                    </a:lnTo>
                    <a:lnTo>
                      <a:pt x="2686" y="5150"/>
                    </a:lnTo>
                    <a:lnTo>
                      <a:pt x="2682" y="5152"/>
                    </a:lnTo>
                    <a:lnTo>
                      <a:pt x="2680" y="5156"/>
                    </a:lnTo>
                    <a:lnTo>
                      <a:pt x="2676" y="5166"/>
                    </a:lnTo>
                    <a:lnTo>
                      <a:pt x="2670" y="5178"/>
                    </a:lnTo>
                    <a:lnTo>
                      <a:pt x="2668" y="5180"/>
                    </a:lnTo>
                    <a:lnTo>
                      <a:pt x="2666" y="5180"/>
                    </a:lnTo>
                    <a:lnTo>
                      <a:pt x="2660" y="5176"/>
                    </a:lnTo>
                    <a:lnTo>
                      <a:pt x="2654" y="5174"/>
                    </a:lnTo>
                    <a:lnTo>
                      <a:pt x="2646" y="5172"/>
                    </a:lnTo>
                    <a:lnTo>
                      <a:pt x="2634" y="5174"/>
                    </a:lnTo>
                    <a:lnTo>
                      <a:pt x="2630" y="5174"/>
                    </a:lnTo>
                    <a:lnTo>
                      <a:pt x="2626" y="5176"/>
                    </a:lnTo>
                    <a:lnTo>
                      <a:pt x="2620" y="5174"/>
                    </a:lnTo>
                    <a:lnTo>
                      <a:pt x="2612" y="5172"/>
                    </a:lnTo>
                    <a:lnTo>
                      <a:pt x="2604" y="5172"/>
                    </a:lnTo>
                    <a:lnTo>
                      <a:pt x="2600" y="5170"/>
                    </a:lnTo>
                    <a:lnTo>
                      <a:pt x="2596" y="5168"/>
                    </a:lnTo>
                    <a:lnTo>
                      <a:pt x="2594" y="5162"/>
                    </a:lnTo>
                    <a:lnTo>
                      <a:pt x="2590" y="5154"/>
                    </a:lnTo>
                    <a:lnTo>
                      <a:pt x="2588" y="5148"/>
                    </a:lnTo>
                    <a:lnTo>
                      <a:pt x="2586" y="5144"/>
                    </a:lnTo>
                    <a:lnTo>
                      <a:pt x="2584" y="5144"/>
                    </a:lnTo>
                    <a:lnTo>
                      <a:pt x="2582" y="5144"/>
                    </a:lnTo>
                    <a:lnTo>
                      <a:pt x="2576" y="5146"/>
                    </a:lnTo>
                    <a:lnTo>
                      <a:pt x="2574" y="5146"/>
                    </a:lnTo>
                    <a:lnTo>
                      <a:pt x="2570" y="5142"/>
                    </a:lnTo>
                    <a:lnTo>
                      <a:pt x="2566" y="5140"/>
                    </a:lnTo>
                    <a:lnTo>
                      <a:pt x="2564" y="5140"/>
                    </a:lnTo>
                    <a:lnTo>
                      <a:pt x="2558" y="5140"/>
                    </a:lnTo>
                    <a:lnTo>
                      <a:pt x="2554" y="5142"/>
                    </a:lnTo>
                    <a:lnTo>
                      <a:pt x="2552" y="5140"/>
                    </a:lnTo>
                    <a:lnTo>
                      <a:pt x="2550" y="5138"/>
                    </a:lnTo>
                    <a:lnTo>
                      <a:pt x="2544" y="5132"/>
                    </a:lnTo>
                    <a:lnTo>
                      <a:pt x="2538" y="5128"/>
                    </a:lnTo>
                    <a:lnTo>
                      <a:pt x="2532" y="5128"/>
                    </a:lnTo>
                    <a:lnTo>
                      <a:pt x="2530" y="5130"/>
                    </a:lnTo>
                    <a:lnTo>
                      <a:pt x="2530" y="5132"/>
                    </a:lnTo>
                    <a:lnTo>
                      <a:pt x="2528" y="5136"/>
                    </a:lnTo>
                    <a:lnTo>
                      <a:pt x="2526" y="5136"/>
                    </a:lnTo>
                    <a:lnTo>
                      <a:pt x="2520" y="5136"/>
                    </a:lnTo>
                    <a:lnTo>
                      <a:pt x="2512" y="5132"/>
                    </a:lnTo>
                    <a:lnTo>
                      <a:pt x="2498" y="5130"/>
                    </a:lnTo>
                    <a:lnTo>
                      <a:pt x="2492" y="5130"/>
                    </a:lnTo>
                    <a:lnTo>
                      <a:pt x="2488" y="5132"/>
                    </a:lnTo>
                    <a:lnTo>
                      <a:pt x="2486" y="5136"/>
                    </a:lnTo>
                    <a:lnTo>
                      <a:pt x="2484" y="5140"/>
                    </a:lnTo>
                    <a:lnTo>
                      <a:pt x="2482" y="5150"/>
                    </a:lnTo>
                    <a:lnTo>
                      <a:pt x="2480" y="5152"/>
                    </a:lnTo>
                    <a:lnTo>
                      <a:pt x="2478" y="5154"/>
                    </a:lnTo>
                    <a:lnTo>
                      <a:pt x="2474" y="5156"/>
                    </a:lnTo>
                    <a:lnTo>
                      <a:pt x="2472" y="5160"/>
                    </a:lnTo>
                    <a:lnTo>
                      <a:pt x="2472" y="5164"/>
                    </a:lnTo>
                    <a:lnTo>
                      <a:pt x="2464" y="5164"/>
                    </a:lnTo>
                    <a:lnTo>
                      <a:pt x="2460" y="5166"/>
                    </a:lnTo>
                    <a:lnTo>
                      <a:pt x="2458" y="5168"/>
                    </a:lnTo>
                    <a:lnTo>
                      <a:pt x="2460" y="5172"/>
                    </a:lnTo>
                    <a:lnTo>
                      <a:pt x="2464" y="5174"/>
                    </a:lnTo>
                    <a:lnTo>
                      <a:pt x="2474" y="5174"/>
                    </a:lnTo>
                    <a:lnTo>
                      <a:pt x="2482" y="5174"/>
                    </a:lnTo>
                    <a:lnTo>
                      <a:pt x="2490" y="5174"/>
                    </a:lnTo>
                    <a:lnTo>
                      <a:pt x="2494" y="5174"/>
                    </a:lnTo>
                    <a:lnTo>
                      <a:pt x="2496" y="5178"/>
                    </a:lnTo>
                    <a:lnTo>
                      <a:pt x="2500" y="5180"/>
                    </a:lnTo>
                    <a:lnTo>
                      <a:pt x="2504" y="5180"/>
                    </a:lnTo>
                    <a:lnTo>
                      <a:pt x="2510" y="5180"/>
                    </a:lnTo>
                    <a:lnTo>
                      <a:pt x="2512" y="5180"/>
                    </a:lnTo>
                    <a:lnTo>
                      <a:pt x="2508" y="5188"/>
                    </a:lnTo>
                    <a:lnTo>
                      <a:pt x="2506" y="5194"/>
                    </a:lnTo>
                    <a:lnTo>
                      <a:pt x="2508" y="5198"/>
                    </a:lnTo>
                    <a:lnTo>
                      <a:pt x="2510" y="5200"/>
                    </a:lnTo>
                    <a:lnTo>
                      <a:pt x="2516" y="5200"/>
                    </a:lnTo>
                    <a:lnTo>
                      <a:pt x="2536" y="5204"/>
                    </a:lnTo>
                    <a:lnTo>
                      <a:pt x="2550" y="5210"/>
                    </a:lnTo>
                    <a:lnTo>
                      <a:pt x="2570" y="5218"/>
                    </a:lnTo>
                    <a:lnTo>
                      <a:pt x="2576" y="5220"/>
                    </a:lnTo>
                    <a:lnTo>
                      <a:pt x="2584" y="5220"/>
                    </a:lnTo>
                    <a:lnTo>
                      <a:pt x="2588" y="5220"/>
                    </a:lnTo>
                    <a:lnTo>
                      <a:pt x="2594" y="5218"/>
                    </a:lnTo>
                    <a:lnTo>
                      <a:pt x="2602" y="5214"/>
                    </a:lnTo>
                    <a:lnTo>
                      <a:pt x="2606" y="5214"/>
                    </a:lnTo>
                    <a:lnTo>
                      <a:pt x="2608" y="5214"/>
                    </a:lnTo>
                    <a:lnTo>
                      <a:pt x="2614" y="5218"/>
                    </a:lnTo>
                    <a:lnTo>
                      <a:pt x="2620" y="5216"/>
                    </a:lnTo>
                    <a:lnTo>
                      <a:pt x="2628" y="5216"/>
                    </a:lnTo>
                    <a:lnTo>
                      <a:pt x="2642" y="5218"/>
                    </a:lnTo>
                    <a:lnTo>
                      <a:pt x="2648" y="5220"/>
                    </a:lnTo>
                    <a:lnTo>
                      <a:pt x="2654" y="5224"/>
                    </a:lnTo>
                    <a:lnTo>
                      <a:pt x="2662" y="5230"/>
                    </a:lnTo>
                    <a:lnTo>
                      <a:pt x="2668" y="5234"/>
                    </a:lnTo>
                    <a:lnTo>
                      <a:pt x="2676" y="5238"/>
                    </a:lnTo>
                    <a:lnTo>
                      <a:pt x="2690" y="5242"/>
                    </a:lnTo>
                    <a:lnTo>
                      <a:pt x="2706" y="5246"/>
                    </a:lnTo>
                    <a:lnTo>
                      <a:pt x="2722" y="5248"/>
                    </a:lnTo>
                    <a:lnTo>
                      <a:pt x="2726" y="5246"/>
                    </a:lnTo>
                    <a:lnTo>
                      <a:pt x="2728" y="5244"/>
                    </a:lnTo>
                    <a:lnTo>
                      <a:pt x="2732" y="5244"/>
                    </a:lnTo>
                    <a:lnTo>
                      <a:pt x="2752" y="5248"/>
                    </a:lnTo>
                    <a:lnTo>
                      <a:pt x="2764" y="5250"/>
                    </a:lnTo>
                    <a:lnTo>
                      <a:pt x="2770" y="5248"/>
                    </a:lnTo>
                    <a:lnTo>
                      <a:pt x="2772" y="5246"/>
                    </a:lnTo>
                    <a:lnTo>
                      <a:pt x="2774" y="5244"/>
                    </a:lnTo>
                    <a:lnTo>
                      <a:pt x="2774" y="5242"/>
                    </a:lnTo>
                    <a:lnTo>
                      <a:pt x="2776" y="5242"/>
                    </a:lnTo>
                    <a:lnTo>
                      <a:pt x="2794" y="5250"/>
                    </a:lnTo>
                    <a:lnTo>
                      <a:pt x="2806" y="5256"/>
                    </a:lnTo>
                    <a:lnTo>
                      <a:pt x="2814" y="5258"/>
                    </a:lnTo>
                    <a:lnTo>
                      <a:pt x="2820" y="5260"/>
                    </a:lnTo>
                    <a:lnTo>
                      <a:pt x="2828" y="5264"/>
                    </a:lnTo>
                    <a:lnTo>
                      <a:pt x="2834" y="5268"/>
                    </a:lnTo>
                    <a:lnTo>
                      <a:pt x="2836" y="5268"/>
                    </a:lnTo>
                    <a:lnTo>
                      <a:pt x="2836" y="5266"/>
                    </a:lnTo>
                    <a:lnTo>
                      <a:pt x="2836" y="5262"/>
                    </a:lnTo>
                    <a:lnTo>
                      <a:pt x="2832" y="5258"/>
                    </a:lnTo>
                    <a:close/>
                    <a:moveTo>
                      <a:pt x="2398" y="4778"/>
                    </a:moveTo>
                    <a:lnTo>
                      <a:pt x="2398" y="4778"/>
                    </a:lnTo>
                    <a:lnTo>
                      <a:pt x="2400" y="4780"/>
                    </a:lnTo>
                    <a:lnTo>
                      <a:pt x="2402" y="4780"/>
                    </a:lnTo>
                    <a:lnTo>
                      <a:pt x="2406" y="4780"/>
                    </a:lnTo>
                    <a:lnTo>
                      <a:pt x="2410" y="4776"/>
                    </a:lnTo>
                    <a:lnTo>
                      <a:pt x="2410" y="4774"/>
                    </a:lnTo>
                    <a:lnTo>
                      <a:pt x="2408" y="4772"/>
                    </a:lnTo>
                    <a:lnTo>
                      <a:pt x="2402" y="4772"/>
                    </a:lnTo>
                    <a:lnTo>
                      <a:pt x="2398" y="4774"/>
                    </a:lnTo>
                    <a:lnTo>
                      <a:pt x="2398" y="4776"/>
                    </a:lnTo>
                    <a:lnTo>
                      <a:pt x="2398" y="4778"/>
                    </a:lnTo>
                    <a:close/>
                    <a:moveTo>
                      <a:pt x="2330" y="4760"/>
                    </a:moveTo>
                    <a:lnTo>
                      <a:pt x="2330" y="4760"/>
                    </a:lnTo>
                    <a:lnTo>
                      <a:pt x="2330" y="4762"/>
                    </a:lnTo>
                    <a:lnTo>
                      <a:pt x="2332" y="4764"/>
                    </a:lnTo>
                    <a:lnTo>
                      <a:pt x="2340" y="4770"/>
                    </a:lnTo>
                    <a:lnTo>
                      <a:pt x="2348" y="4774"/>
                    </a:lnTo>
                    <a:lnTo>
                      <a:pt x="2350" y="4774"/>
                    </a:lnTo>
                    <a:lnTo>
                      <a:pt x="2350" y="4770"/>
                    </a:lnTo>
                    <a:lnTo>
                      <a:pt x="2350" y="4768"/>
                    </a:lnTo>
                    <a:lnTo>
                      <a:pt x="2346" y="4764"/>
                    </a:lnTo>
                    <a:lnTo>
                      <a:pt x="2340" y="4760"/>
                    </a:lnTo>
                    <a:lnTo>
                      <a:pt x="2334" y="4758"/>
                    </a:lnTo>
                    <a:lnTo>
                      <a:pt x="2332" y="4758"/>
                    </a:lnTo>
                    <a:lnTo>
                      <a:pt x="2330" y="4760"/>
                    </a:lnTo>
                    <a:close/>
                    <a:moveTo>
                      <a:pt x="2230" y="4942"/>
                    </a:moveTo>
                    <a:lnTo>
                      <a:pt x="2230" y="4942"/>
                    </a:lnTo>
                    <a:lnTo>
                      <a:pt x="2230" y="4944"/>
                    </a:lnTo>
                    <a:lnTo>
                      <a:pt x="2230" y="4946"/>
                    </a:lnTo>
                    <a:lnTo>
                      <a:pt x="2234" y="4952"/>
                    </a:lnTo>
                    <a:lnTo>
                      <a:pt x="2238" y="4956"/>
                    </a:lnTo>
                    <a:lnTo>
                      <a:pt x="2242" y="4956"/>
                    </a:lnTo>
                    <a:lnTo>
                      <a:pt x="2244" y="4954"/>
                    </a:lnTo>
                    <a:lnTo>
                      <a:pt x="2244" y="4952"/>
                    </a:lnTo>
                    <a:lnTo>
                      <a:pt x="2244" y="4950"/>
                    </a:lnTo>
                    <a:lnTo>
                      <a:pt x="2240" y="4944"/>
                    </a:lnTo>
                    <a:lnTo>
                      <a:pt x="2236" y="4940"/>
                    </a:lnTo>
                    <a:lnTo>
                      <a:pt x="2232" y="4940"/>
                    </a:lnTo>
                    <a:lnTo>
                      <a:pt x="2230" y="4942"/>
                    </a:lnTo>
                    <a:close/>
                    <a:moveTo>
                      <a:pt x="2194" y="4886"/>
                    </a:moveTo>
                    <a:lnTo>
                      <a:pt x="2194" y="4886"/>
                    </a:lnTo>
                    <a:lnTo>
                      <a:pt x="2192" y="4890"/>
                    </a:lnTo>
                    <a:lnTo>
                      <a:pt x="2192" y="4896"/>
                    </a:lnTo>
                    <a:lnTo>
                      <a:pt x="2194" y="4904"/>
                    </a:lnTo>
                    <a:lnTo>
                      <a:pt x="2198" y="4910"/>
                    </a:lnTo>
                    <a:lnTo>
                      <a:pt x="2208" y="4920"/>
                    </a:lnTo>
                    <a:lnTo>
                      <a:pt x="2214" y="4924"/>
                    </a:lnTo>
                    <a:lnTo>
                      <a:pt x="2218" y="4924"/>
                    </a:lnTo>
                    <a:lnTo>
                      <a:pt x="2220" y="4920"/>
                    </a:lnTo>
                    <a:lnTo>
                      <a:pt x="2220" y="4914"/>
                    </a:lnTo>
                    <a:lnTo>
                      <a:pt x="2214" y="4900"/>
                    </a:lnTo>
                    <a:lnTo>
                      <a:pt x="2210" y="4894"/>
                    </a:lnTo>
                    <a:lnTo>
                      <a:pt x="2204" y="4888"/>
                    </a:lnTo>
                    <a:lnTo>
                      <a:pt x="2200" y="4886"/>
                    </a:lnTo>
                    <a:lnTo>
                      <a:pt x="2194" y="4886"/>
                    </a:lnTo>
                    <a:close/>
                    <a:moveTo>
                      <a:pt x="2182" y="4866"/>
                    </a:moveTo>
                    <a:lnTo>
                      <a:pt x="2182" y="4866"/>
                    </a:lnTo>
                    <a:lnTo>
                      <a:pt x="2184" y="4868"/>
                    </a:lnTo>
                    <a:lnTo>
                      <a:pt x="2186" y="4866"/>
                    </a:lnTo>
                    <a:lnTo>
                      <a:pt x="2188" y="4862"/>
                    </a:lnTo>
                    <a:lnTo>
                      <a:pt x="2188" y="4856"/>
                    </a:lnTo>
                    <a:lnTo>
                      <a:pt x="2186" y="4850"/>
                    </a:lnTo>
                    <a:lnTo>
                      <a:pt x="2184" y="4850"/>
                    </a:lnTo>
                    <a:lnTo>
                      <a:pt x="2182" y="4850"/>
                    </a:lnTo>
                    <a:lnTo>
                      <a:pt x="2180" y="4854"/>
                    </a:lnTo>
                    <a:lnTo>
                      <a:pt x="2180" y="4860"/>
                    </a:lnTo>
                    <a:lnTo>
                      <a:pt x="2180" y="4864"/>
                    </a:lnTo>
                    <a:lnTo>
                      <a:pt x="2182" y="4866"/>
                    </a:lnTo>
                    <a:close/>
                    <a:moveTo>
                      <a:pt x="2248" y="4964"/>
                    </a:moveTo>
                    <a:lnTo>
                      <a:pt x="2248" y="4964"/>
                    </a:lnTo>
                    <a:lnTo>
                      <a:pt x="2246" y="4968"/>
                    </a:lnTo>
                    <a:lnTo>
                      <a:pt x="2246" y="4974"/>
                    </a:lnTo>
                    <a:lnTo>
                      <a:pt x="2248" y="4976"/>
                    </a:lnTo>
                    <a:lnTo>
                      <a:pt x="2252" y="4978"/>
                    </a:lnTo>
                    <a:lnTo>
                      <a:pt x="2254" y="4978"/>
                    </a:lnTo>
                    <a:lnTo>
                      <a:pt x="2256" y="4980"/>
                    </a:lnTo>
                    <a:lnTo>
                      <a:pt x="2260" y="4990"/>
                    </a:lnTo>
                    <a:lnTo>
                      <a:pt x="2262" y="4996"/>
                    </a:lnTo>
                    <a:lnTo>
                      <a:pt x="2264" y="4996"/>
                    </a:lnTo>
                    <a:lnTo>
                      <a:pt x="2266" y="4994"/>
                    </a:lnTo>
                    <a:lnTo>
                      <a:pt x="2266" y="4990"/>
                    </a:lnTo>
                    <a:lnTo>
                      <a:pt x="2266" y="4984"/>
                    </a:lnTo>
                    <a:lnTo>
                      <a:pt x="2260" y="4974"/>
                    </a:lnTo>
                    <a:lnTo>
                      <a:pt x="2254" y="4964"/>
                    </a:lnTo>
                    <a:lnTo>
                      <a:pt x="2250" y="4964"/>
                    </a:lnTo>
                    <a:lnTo>
                      <a:pt x="2248" y="4964"/>
                    </a:lnTo>
                    <a:close/>
                    <a:moveTo>
                      <a:pt x="2354" y="4788"/>
                    </a:moveTo>
                    <a:lnTo>
                      <a:pt x="2354" y="4788"/>
                    </a:lnTo>
                    <a:lnTo>
                      <a:pt x="2352" y="4784"/>
                    </a:lnTo>
                    <a:lnTo>
                      <a:pt x="2350" y="4792"/>
                    </a:lnTo>
                    <a:lnTo>
                      <a:pt x="2348" y="4796"/>
                    </a:lnTo>
                    <a:lnTo>
                      <a:pt x="2348" y="4800"/>
                    </a:lnTo>
                    <a:lnTo>
                      <a:pt x="2352" y="4800"/>
                    </a:lnTo>
                    <a:lnTo>
                      <a:pt x="2358" y="4802"/>
                    </a:lnTo>
                    <a:lnTo>
                      <a:pt x="2364" y="4802"/>
                    </a:lnTo>
                    <a:lnTo>
                      <a:pt x="2370" y="4804"/>
                    </a:lnTo>
                    <a:lnTo>
                      <a:pt x="2372" y="4804"/>
                    </a:lnTo>
                    <a:lnTo>
                      <a:pt x="2372" y="4800"/>
                    </a:lnTo>
                    <a:lnTo>
                      <a:pt x="2372" y="4798"/>
                    </a:lnTo>
                    <a:lnTo>
                      <a:pt x="2370" y="4796"/>
                    </a:lnTo>
                    <a:lnTo>
                      <a:pt x="2364" y="4794"/>
                    </a:lnTo>
                    <a:lnTo>
                      <a:pt x="2358" y="4792"/>
                    </a:lnTo>
                    <a:lnTo>
                      <a:pt x="2354" y="4788"/>
                    </a:lnTo>
                    <a:close/>
                    <a:moveTo>
                      <a:pt x="2484" y="5128"/>
                    </a:moveTo>
                    <a:lnTo>
                      <a:pt x="2484" y="5128"/>
                    </a:lnTo>
                    <a:lnTo>
                      <a:pt x="2486" y="5124"/>
                    </a:lnTo>
                    <a:lnTo>
                      <a:pt x="2486" y="5120"/>
                    </a:lnTo>
                    <a:lnTo>
                      <a:pt x="2488" y="5108"/>
                    </a:lnTo>
                    <a:lnTo>
                      <a:pt x="2486" y="5092"/>
                    </a:lnTo>
                    <a:lnTo>
                      <a:pt x="2488" y="5076"/>
                    </a:lnTo>
                    <a:lnTo>
                      <a:pt x="2488" y="5062"/>
                    </a:lnTo>
                    <a:lnTo>
                      <a:pt x="2486" y="5056"/>
                    </a:lnTo>
                    <a:lnTo>
                      <a:pt x="2484" y="5050"/>
                    </a:lnTo>
                    <a:lnTo>
                      <a:pt x="2486" y="5038"/>
                    </a:lnTo>
                    <a:lnTo>
                      <a:pt x="2488" y="5028"/>
                    </a:lnTo>
                    <a:lnTo>
                      <a:pt x="2488" y="5020"/>
                    </a:lnTo>
                    <a:lnTo>
                      <a:pt x="2486" y="5014"/>
                    </a:lnTo>
                    <a:lnTo>
                      <a:pt x="2492" y="5004"/>
                    </a:lnTo>
                    <a:lnTo>
                      <a:pt x="2494" y="4998"/>
                    </a:lnTo>
                    <a:lnTo>
                      <a:pt x="2496" y="4994"/>
                    </a:lnTo>
                    <a:lnTo>
                      <a:pt x="2494" y="4990"/>
                    </a:lnTo>
                    <a:lnTo>
                      <a:pt x="2492" y="4988"/>
                    </a:lnTo>
                    <a:lnTo>
                      <a:pt x="2486" y="4982"/>
                    </a:lnTo>
                    <a:lnTo>
                      <a:pt x="2482" y="4978"/>
                    </a:lnTo>
                    <a:lnTo>
                      <a:pt x="2480" y="4972"/>
                    </a:lnTo>
                    <a:lnTo>
                      <a:pt x="2476" y="4962"/>
                    </a:lnTo>
                    <a:lnTo>
                      <a:pt x="2472" y="4956"/>
                    </a:lnTo>
                    <a:lnTo>
                      <a:pt x="2468" y="4954"/>
                    </a:lnTo>
                    <a:lnTo>
                      <a:pt x="2460" y="4956"/>
                    </a:lnTo>
                    <a:lnTo>
                      <a:pt x="2456" y="4958"/>
                    </a:lnTo>
                    <a:lnTo>
                      <a:pt x="2452" y="4956"/>
                    </a:lnTo>
                    <a:lnTo>
                      <a:pt x="2450" y="4956"/>
                    </a:lnTo>
                    <a:lnTo>
                      <a:pt x="2446" y="4958"/>
                    </a:lnTo>
                    <a:lnTo>
                      <a:pt x="2440" y="4962"/>
                    </a:lnTo>
                    <a:lnTo>
                      <a:pt x="2442" y="4956"/>
                    </a:lnTo>
                    <a:lnTo>
                      <a:pt x="2446" y="4946"/>
                    </a:lnTo>
                    <a:lnTo>
                      <a:pt x="2446" y="4942"/>
                    </a:lnTo>
                    <a:lnTo>
                      <a:pt x="2442" y="4940"/>
                    </a:lnTo>
                    <a:lnTo>
                      <a:pt x="2438" y="4938"/>
                    </a:lnTo>
                    <a:lnTo>
                      <a:pt x="2436" y="4932"/>
                    </a:lnTo>
                    <a:lnTo>
                      <a:pt x="2430" y="4914"/>
                    </a:lnTo>
                    <a:lnTo>
                      <a:pt x="2428" y="4904"/>
                    </a:lnTo>
                    <a:lnTo>
                      <a:pt x="2426" y="4898"/>
                    </a:lnTo>
                    <a:lnTo>
                      <a:pt x="2422" y="4892"/>
                    </a:lnTo>
                    <a:lnTo>
                      <a:pt x="2420" y="4890"/>
                    </a:lnTo>
                    <a:lnTo>
                      <a:pt x="2416" y="4890"/>
                    </a:lnTo>
                    <a:lnTo>
                      <a:pt x="2410" y="4890"/>
                    </a:lnTo>
                    <a:lnTo>
                      <a:pt x="2404" y="4890"/>
                    </a:lnTo>
                    <a:lnTo>
                      <a:pt x="2394" y="4884"/>
                    </a:lnTo>
                    <a:lnTo>
                      <a:pt x="2390" y="4880"/>
                    </a:lnTo>
                    <a:lnTo>
                      <a:pt x="2388" y="4876"/>
                    </a:lnTo>
                    <a:lnTo>
                      <a:pt x="2388" y="4872"/>
                    </a:lnTo>
                    <a:lnTo>
                      <a:pt x="2388" y="4868"/>
                    </a:lnTo>
                    <a:lnTo>
                      <a:pt x="2390" y="4862"/>
                    </a:lnTo>
                    <a:lnTo>
                      <a:pt x="2392" y="4858"/>
                    </a:lnTo>
                    <a:lnTo>
                      <a:pt x="2390" y="4852"/>
                    </a:lnTo>
                    <a:lnTo>
                      <a:pt x="2390" y="4848"/>
                    </a:lnTo>
                    <a:lnTo>
                      <a:pt x="2392" y="4846"/>
                    </a:lnTo>
                    <a:lnTo>
                      <a:pt x="2396" y="4844"/>
                    </a:lnTo>
                    <a:lnTo>
                      <a:pt x="2400" y="4842"/>
                    </a:lnTo>
                    <a:lnTo>
                      <a:pt x="2402" y="4836"/>
                    </a:lnTo>
                    <a:lnTo>
                      <a:pt x="2402" y="4832"/>
                    </a:lnTo>
                    <a:lnTo>
                      <a:pt x="2400" y="4826"/>
                    </a:lnTo>
                    <a:lnTo>
                      <a:pt x="2396" y="4822"/>
                    </a:lnTo>
                    <a:lnTo>
                      <a:pt x="2392" y="4818"/>
                    </a:lnTo>
                    <a:lnTo>
                      <a:pt x="2386" y="4816"/>
                    </a:lnTo>
                    <a:lnTo>
                      <a:pt x="2380" y="4818"/>
                    </a:lnTo>
                    <a:lnTo>
                      <a:pt x="2376" y="4820"/>
                    </a:lnTo>
                    <a:lnTo>
                      <a:pt x="2374" y="4820"/>
                    </a:lnTo>
                    <a:lnTo>
                      <a:pt x="2372" y="4814"/>
                    </a:lnTo>
                    <a:lnTo>
                      <a:pt x="2372" y="4812"/>
                    </a:lnTo>
                    <a:lnTo>
                      <a:pt x="2368" y="4808"/>
                    </a:lnTo>
                    <a:lnTo>
                      <a:pt x="2364" y="4806"/>
                    </a:lnTo>
                    <a:lnTo>
                      <a:pt x="2356" y="4804"/>
                    </a:lnTo>
                    <a:lnTo>
                      <a:pt x="2348" y="4802"/>
                    </a:lnTo>
                    <a:lnTo>
                      <a:pt x="2342" y="4796"/>
                    </a:lnTo>
                    <a:lnTo>
                      <a:pt x="2340" y="4790"/>
                    </a:lnTo>
                    <a:lnTo>
                      <a:pt x="2338" y="4784"/>
                    </a:lnTo>
                    <a:lnTo>
                      <a:pt x="2336" y="4776"/>
                    </a:lnTo>
                    <a:lnTo>
                      <a:pt x="2332" y="4768"/>
                    </a:lnTo>
                    <a:lnTo>
                      <a:pt x="2324" y="4762"/>
                    </a:lnTo>
                    <a:lnTo>
                      <a:pt x="2314" y="4758"/>
                    </a:lnTo>
                    <a:lnTo>
                      <a:pt x="2308" y="4756"/>
                    </a:lnTo>
                    <a:lnTo>
                      <a:pt x="2304" y="4754"/>
                    </a:lnTo>
                    <a:lnTo>
                      <a:pt x="2302" y="4748"/>
                    </a:lnTo>
                    <a:lnTo>
                      <a:pt x="2300" y="4740"/>
                    </a:lnTo>
                    <a:lnTo>
                      <a:pt x="2298" y="4738"/>
                    </a:lnTo>
                    <a:lnTo>
                      <a:pt x="2296" y="4734"/>
                    </a:lnTo>
                    <a:lnTo>
                      <a:pt x="2288" y="4728"/>
                    </a:lnTo>
                    <a:lnTo>
                      <a:pt x="2284" y="4728"/>
                    </a:lnTo>
                    <a:lnTo>
                      <a:pt x="2282" y="4730"/>
                    </a:lnTo>
                    <a:lnTo>
                      <a:pt x="2282" y="4732"/>
                    </a:lnTo>
                    <a:lnTo>
                      <a:pt x="2282" y="4740"/>
                    </a:lnTo>
                    <a:lnTo>
                      <a:pt x="2282" y="4742"/>
                    </a:lnTo>
                    <a:lnTo>
                      <a:pt x="2280" y="4740"/>
                    </a:lnTo>
                    <a:lnTo>
                      <a:pt x="2274" y="4736"/>
                    </a:lnTo>
                    <a:lnTo>
                      <a:pt x="2270" y="4732"/>
                    </a:lnTo>
                    <a:lnTo>
                      <a:pt x="2266" y="4728"/>
                    </a:lnTo>
                    <a:lnTo>
                      <a:pt x="2262" y="4718"/>
                    </a:lnTo>
                    <a:lnTo>
                      <a:pt x="2258" y="4710"/>
                    </a:lnTo>
                    <a:lnTo>
                      <a:pt x="2254" y="4708"/>
                    </a:lnTo>
                    <a:lnTo>
                      <a:pt x="2252" y="4708"/>
                    </a:lnTo>
                    <a:lnTo>
                      <a:pt x="2248" y="4702"/>
                    </a:lnTo>
                    <a:lnTo>
                      <a:pt x="2242" y="4692"/>
                    </a:lnTo>
                    <a:lnTo>
                      <a:pt x="2234" y="4680"/>
                    </a:lnTo>
                    <a:lnTo>
                      <a:pt x="2222" y="4670"/>
                    </a:lnTo>
                    <a:lnTo>
                      <a:pt x="2214" y="4666"/>
                    </a:lnTo>
                    <a:lnTo>
                      <a:pt x="2208" y="4664"/>
                    </a:lnTo>
                    <a:lnTo>
                      <a:pt x="2204" y="4662"/>
                    </a:lnTo>
                    <a:lnTo>
                      <a:pt x="2200" y="4658"/>
                    </a:lnTo>
                    <a:lnTo>
                      <a:pt x="2196" y="4652"/>
                    </a:lnTo>
                    <a:lnTo>
                      <a:pt x="2192" y="4646"/>
                    </a:lnTo>
                    <a:lnTo>
                      <a:pt x="2190" y="4644"/>
                    </a:lnTo>
                    <a:lnTo>
                      <a:pt x="2186" y="4642"/>
                    </a:lnTo>
                    <a:lnTo>
                      <a:pt x="2182" y="4640"/>
                    </a:lnTo>
                    <a:lnTo>
                      <a:pt x="2180" y="4638"/>
                    </a:lnTo>
                    <a:lnTo>
                      <a:pt x="2180" y="4632"/>
                    </a:lnTo>
                    <a:lnTo>
                      <a:pt x="2178" y="4626"/>
                    </a:lnTo>
                    <a:lnTo>
                      <a:pt x="2176" y="4624"/>
                    </a:lnTo>
                    <a:lnTo>
                      <a:pt x="2174" y="4622"/>
                    </a:lnTo>
                    <a:lnTo>
                      <a:pt x="2170" y="4620"/>
                    </a:lnTo>
                    <a:lnTo>
                      <a:pt x="2168" y="4618"/>
                    </a:lnTo>
                    <a:lnTo>
                      <a:pt x="2166" y="4612"/>
                    </a:lnTo>
                    <a:lnTo>
                      <a:pt x="2166" y="4604"/>
                    </a:lnTo>
                    <a:lnTo>
                      <a:pt x="2162" y="4598"/>
                    </a:lnTo>
                    <a:lnTo>
                      <a:pt x="2158" y="4592"/>
                    </a:lnTo>
                    <a:lnTo>
                      <a:pt x="2150" y="4582"/>
                    </a:lnTo>
                    <a:lnTo>
                      <a:pt x="2146" y="4582"/>
                    </a:lnTo>
                    <a:lnTo>
                      <a:pt x="2146" y="4584"/>
                    </a:lnTo>
                    <a:lnTo>
                      <a:pt x="2142" y="4586"/>
                    </a:lnTo>
                    <a:lnTo>
                      <a:pt x="2138" y="4586"/>
                    </a:lnTo>
                    <a:lnTo>
                      <a:pt x="2134" y="4584"/>
                    </a:lnTo>
                    <a:lnTo>
                      <a:pt x="2130" y="4582"/>
                    </a:lnTo>
                    <a:lnTo>
                      <a:pt x="2128" y="4580"/>
                    </a:lnTo>
                    <a:lnTo>
                      <a:pt x="2122" y="4582"/>
                    </a:lnTo>
                    <a:lnTo>
                      <a:pt x="2114" y="4584"/>
                    </a:lnTo>
                    <a:lnTo>
                      <a:pt x="2108" y="4584"/>
                    </a:lnTo>
                    <a:lnTo>
                      <a:pt x="2098" y="4584"/>
                    </a:lnTo>
                    <a:lnTo>
                      <a:pt x="2088" y="4580"/>
                    </a:lnTo>
                    <a:lnTo>
                      <a:pt x="2086" y="4578"/>
                    </a:lnTo>
                    <a:lnTo>
                      <a:pt x="2084" y="4576"/>
                    </a:lnTo>
                    <a:lnTo>
                      <a:pt x="2082" y="4572"/>
                    </a:lnTo>
                    <a:lnTo>
                      <a:pt x="2078" y="4568"/>
                    </a:lnTo>
                    <a:lnTo>
                      <a:pt x="2070" y="4566"/>
                    </a:lnTo>
                    <a:lnTo>
                      <a:pt x="2062" y="4564"/>
                    </a:lnTo>
                    <a:lnTo>
                      <a:pt x="2058" y="4566"/>
                    </a:lnTo>
                    <a:lnTo>
                      <a:pt x="2056" y="4570"/>
                    </a:lnTo>
                    <a:lnTo>
                      <a:pt x="2056" y="4576"/>
                    </a:lnTo>
                    <a:lnTo>
                      <a:pt x="2058" y="4584"/>
                    </a:lnTo>
                    <a:lnTo>
                      <a:pt x="2060" y="4594"/>
                    </a:lnTo>
                    <a:lnTo>
                      <a:pt x="2070" y="4612"/>
                    </a:lnTo>
                    <a:lnTo>
                      <a:pt x="2080" y="4626"/>
                    </a:lnTo>
                    <a:lnTo>
                      <a:pt x="2086" y="4634"/>
                    </a:lnTo>
                    <a:lnTo>
                      <a:pt x="2094" y="4640"/>
                    </a:lnTo>
                    <a:lnTo>
                      <a:pt x="2102" y="4650"/>
                    </a:lnTo>
                    <a:lnTo>
                      <a:pt x="2104" y="4654"/>
                    </a:lnTo>
                    <a:lnTo>
                      <a:pt x="2108" y="4658"/>
                    </a:lnTo>
                    <a:lnTo>
                      <a:pt x="2114" y="4658"/>
                    </a:lnTo>
                    <a:lnTo>
                      <a:pt x="2116" y="4658"/>
                    </a:lnTo>
                    <a:lnTo>
                      <a:pt x="2120" y="4660"/>
                    </a:lnTo>
                    <a:lnTo>
                      <a:pt x="2124" y="4664"/>
                    </a:lnTo>
                    <a:lnTo>
                      <a:pt x="2130" y="4672"/>
                    </a:lnTo>
                    <a:lnTo>
                      <a:pt x="2138" y="4686"/>
                    </a:lnTo>
                    <a:lnTo>
                      <a:pt x="2138" y="4690"/>
                    </a:lnTo>
                    <a:lnTo>
                      <a:pt x="2138" y="4692"/>
                    </a:lnTo>
                    <a:lnTo>
                      <a:pt x="2146" y="4698"/>
                    </a:lnTo>
                    <a:lnTo>
                      <a:pt x="2152" y="4702"/>
                    </a:lnTo>
                    <a:lnTo>
                      <a:pt x="2154" y="4706"/>
                    </a:lnTo>
                    <a:lnTo>
                      <a:pt x="2154" y="4716"/>
                    </a:lnTo>
                    <a:lnTo>
                      <a:pt x="2156" y="4720"/>
                    </a:lnTo>
                    <a:lnTo>
                      <a:pt x="2158" y="4724"/>
                    </a:lnTo>
                    <a:lnTo>
                      <a:pt x="2162" y="4730"/>
                    </a:lnTo>
                    <a:lnTo>
                      <a:pt x="2172" y="4736"/>
                    </a:lnTo>
                    <a:lnTo>
                      <a:pt x="2182" y="4742"/>
                    </a:lnTo>
                    <a:lnTo>
                      <a:pt x="2192" y="4748"/>
                    </a:lnTo>
                    <a:lnTo>
                      <a:pt x="2198" y="4756"/>
                    </a:lnTo>
                    <a:lnTo>
                      <a:pt x="2200" y="4760"/>
                    </a:lnTo>
                    <a:lnTo>
                      <a:pt x="2200" y="4762"/>
                    </a:lnTo>
                    <a:lnTo>
                      <a:pt x="2198" y="4766"/>
                    </a:lnTo>
                    <a:lnTo>
                      <a:pt x="2198" y="4772"/>
                    </a:lnTo>
                    <a:lnTo>
                      <a:pt x="2206" y="4794"/>
                    </a:lnTo>
                    <a:lnTo>
                      <a:pt x="2214" y="4820"/>
                    </a:lnTo>
                    <a:lnTo>
                      <a:pt x="2218" y="4828"/>
                    </a:lnTo>
                    <a:lnTo>
                      <a:pt x="2226" y="4834"/>
                    </a:lnTo>
                    <a:lnTo>
                      <a:pt x="2234" y="4838"/>
                    </a:lnTo>
                    <a:lnTo>
                      <a:pt x="2236" y="4844"/>
                    </a:lnTo>
                    <a:lnTo>
                      <a:pt x="2240" y="4854"/>
                    </a:lnTo>
                    <a:lnTo>
                      <a:pt x="2254" y="4870"/>
                    </a:lnTo>
                    <a:lnTo>
                      <a:pt x="2260" y="4876"/>
                    </a:lnTo>
                    <a:lnTo>
                      <a:pt x="2262" y="4882"/>
                    </a:lnTo>
                    <a:lnTo>
                      <a:pt x="2264" y="4886"/>
                    </a:lnTo>
                    <a:lnTo>
                      <a:pt x="2264" y="4890"/>
                    </a:lnTo>
                    <a:lnTo>
                      <a:pt x="2262" y="4898"/>
                    </a:lnTo>
                    <a:lnTo>
                      <a:pt x="2264" y="4900"/>
                    </a:lnTo>
                    <a:lnTo>
                      <a:pt x="2266" y="4904"/>
                    </a:lnTo>
                    <a:lnTo>
                      <a:pt x="2274" y="4912"/>
                    </a:lnTo>
                    <a:lnTo>
                      <a:pt x="2278" y="4922"/>
                    </a:lnTo>
                    <a:lnTo>
                      <a:pt x="2282" y="4934"/>
                    </a:lnTo>
                    <a:lnTo>
                      <a:pt x="2284" y="4946"/>
                    </a:lnTo>
                    <a:lnTo>
                      <a:pt x="2290" y="4960"/>
                    </a:lnTo>
                    <a:lnTo>
                      <a:pt x="2300" y="4976"/>
                    </a:lnTo>
                    <a:lnTo>
                      <a:pt x="2312" y="4992"/>
                    </a:lnTo>
                    <a:lnTo>
                      <a:pt x="2326" y="5008"/>
                    </a:lnTo>
                    <a:lnTo>
                      <a:pt x="2336" y="5018"/>
                    </a:lnTo>
                    <a:lnTo>
                      <a:pt x="2342" y="5028"/>
                    </a:lnTo>
                    <a:lnTo>
                      <a:pt x="2350" y="5038"/>
                    </a:lnTo>
                    <a:lnTo>
                      <a:pt x="2364" y="5054"/>
                    </a:lnTo>
                    <a:lnTo>
                      <a:pt x="2380" y="5072"/>
                    </a:lnTo>
                    <a:lnTo>
                      <a:pt x="2394" y="5084"/>
                    </a:lnTo>
                    <a:lnTo>
                      <a:pt x="2404" y="5094"/>
                    </a:lnTo>
                    <a:lnTo>
                      <a:pt x="2416" y="5108"/>
                    </a:lnTo>
                    <a:lnTo>
                      <a:pt x="2426" y="5122"/>
                    </a:lnTo>
                    <a:lnTo>
                      <a:pt x="2434" y="5132"/>
                    </a:lnTo>
                    <a:lnTo>
                      <a:pt x="2436" y="5134"/>
                    </a:lnTo>
                    <a:lnTo>
                      <a:pt x="2438" y="5134"/>
                    </a:lnTo>
                    <a:lnTo>
                      <a:pt x="2434" y="5120"/>
                    </a:lnTo>
                    <a:lnTo>
                      <a:pt x="2434" y="5112"/>
                    </a:lnTo>
                    <a:lnTo>
                      <a:pt x="2434" y="5110"/>
                    </a:lnTo>
                    <a:lnTo>
                      <a:pt x="2438" y="5112"/>
                    </a:lnTo>
                    <a:lnTo>
                      <a:pt x="2444" y="5114"/>
                    </a:lnTo>
                    <a:lnTo>
                      <a:pt x="2450" y="5118"/>
                    </a:lnTo>
                    <a:lnTo>
                      <a:pt x="2454" y="5120"/>
                    </a:lnTo>
                    <a:lnTo>
                      <a:pt x="2458" y="5118"/>
                    </a:lnTo>
                    <a:lnTo>
                      <a:pt x="2460" y="5114"/>
                    </a:lnTo>
                    <a:lnTo>
                      <a:pt x="2462" y="5108"/>
                    </a:lnTo>
                    <a:lnTo>
                      <a:pt x="2464" y="5108"/>
                    </a:lnTo>
                    <a:lnTo>
                      <a:pt x="2470" y="5116"/>
                    </a:lnTo>
                    <a:lnTo>
                      <a:pt x="2476" y="5126"/>
                    </a:lnTo>
                    <a:lnTo>
                      <a:pt x="2480" y="5128"/>
                    </a:lnTo>
                    <a:lnTo>
                      <a:pt x="2484" y="5128"/>
                    </a:lnTo>
                    <a:close/>
                    <a:moveTo>
                      <a:pt x="2344" y="4774"/>
                    </a:moveTo>
                    <a:lnTo>
                      <a:pt x="2344" y="4774"/>
                    </a:lnTo>
                    <a:lnTo>
                      <a:pt x="2340" y="4772"/>
                    </a:lnTo>
                    <a:lnTo>
                      <a:pt x="2338" y="4772"/>
                    </a:lnTo>
                    <a:lnTo>
                      <a:pt x="2338" y="4774"/>
                    </a:lnTo>
                    <a:lnTo>
                      <a:pt x="2338" y="4776"/>
                    </a:lnTo>
                    <a:lnTo>
                      <a:pt x="2340" y="4784"/>
                    </a:lnTo>
                    <a:lnTo>
                      <a:pt x="2344" y="4792"/>
                    </a:lnTo>
                    <a:lnTo>
                      <a:pt x="2346" y="4792"/>
                    </a:lnTo>
                    <a:lnTo>
                      <a:pt x="2348" y="4788"/>
                    </a:lnTo>
                    <a:lnTo>
                      <a:pt x="2348" y="4780"/>
                    </a:lnTo>
                    <a:lnTo>
                      <a:pt x="2346" y="4776"/>
                    </a:lnTo>
                    <a:lnTo>
                      <a:pt x="2344" y="4774"/>
                    </a:lnTo>
                    <a:close/>
                    <a:moveTo>
                      <a:pt x="2374" y="4792"/>
                    </a:moveTo>
                    <a:lnTo>
                      <a:pt x="2374" y="4792"/>
                    </a:lnTo>
                    <a:lnTo>
                      <a:pt x="2372" y="4786"/>
                    </a:lnTo>
                    <a:lnTo>
                      <a:pt x="2366" y="4784"/>
                    </a:lnTo>
                    <a:lnTo>
                      <a:pt x="2360" y="4782"/>
                    </a:lnTo>
                    <a:lnTo>
                      <a:pt x="2358" y="4782"/>
                    </a:lnTo>
                    <a:lnTo>
                      <a:pt x="2358" y="4784"/>
                    </a:lnTo>
                    <a:lnTo>
                      <a:pt x="2358" y="4788"/>
                    </a:lnTo>
                    <a:lnTo>
                      <a:pt x="2364" y="4790"/>
                    </a:lnTo>
                    <a:lnTo>
                      <a:pt x="2372" y="4794"/>
                    </a:lnTo>
                    <a:lnTo>
                      <a:pt x="2374" y="4794"/>
                    </a:lnTo>
                    <a:lnTo>
                      <a:pt x="2374" y="4792"/>
                    </a:lnTo>
                    <a:close/>
                    <a:moveTo>
                      <a:pt x="2316" y="4736"/>
                    </a:moveTo>
                    <a:lnTo>
                      <a:pt x="2316" y="4736"/>
                    </a:lnTo>
                    <a:lnTo>
                      <a:pt x="2312" y="4736"/>
                    </a:lnTo>
                    <a:lnTo>
                      <a:pt x="2310" y="4736"/>
                    </a:lnTo>
                    <a:lnTo>
                      <a:pt x="2306" y="4740"/>
                    </a:lnTo>
                    <a:lnTo>
                      <a:pt x="2306" y="4746"/>
                    </a:lnTo>
                    <a:lnTo>
                      <a:pt x="2308" y="4750"/>
                    </a:lnTo>
                    <a:lnTo>
                      <a:pt x="2310" y="4752"/>
                    </a:lnTo>
                    <a:lnTo>
                      <a:pt x="2312" y="4752"/>
                    </a:lnTo>
                    <a:lnTo>
                      <a:pt x="2314" y="4752"/>
                    </a:lnTo>
                    <a:lnTo>
                      <a:pt x="2318" y="4746"/>
                    </a:lnTo>
                    <a:lnTo>
                      <a:pt x="2318" y="4740"/>
                    </a:lnTo>
                    <a:lnTo>
                      <a:pt x="2318" y="4736"/>
                    </a:lnTo>
                    <a:lnTo>
                      <a:pt x="2316" y="4736"/>
                    </a:lnTo>
                    <a:close/>
                    <a:moveTo>
                      <a:pt x="36" y="5458"/>
                    </a:moveTo>
                    <a:lnTo>
                      <a:pt x="36" y="5458"/>
                    </a:lnTo>
                    <a:lnTo>
                      <a:pt x="32" y="5458"/>
                    </a:lnTo>
                    <a:lnTo>
                      <a:pt x="30" y="5460"/>
                    </a:lnTo>
                    <a:lnTo>
                      <a:pt x="32" y="5464"/>
                    </a:lnTo>
                    <a:lnTo>
                      <a:pt x="36" y="5470"/>
                    </a:lnTo>
                    <a:lnTo>
                      <a:pt x="38" y="5472"/>
                    </a:lnTo>
                    <a:lnTo>
                      <a:pt x="40" y="5472"/>
                    </a:lnTo>
                    <a:lnTo>
                      <a:pt x="40" y="5468"/>
                    </a:lnTo>
                    <a:lnTo>
                      <a:pt x="40" y="5462"/>
                    </a:lnTo>
                    <a:lnTo>
                      <a:pt x="36" y="5458"/>
                    </a:lnTo>
                    <a:close/>
                    <a:moveTo>
                      <a:pt x="2554" y="4992"/>
                    </a:moveTo>
                    <a:lnTo>
                      <a:pt x="2554" y="4992"/>
                    </a:lnTo>
                    <a:lnTo>
                      <a:pt x="2558" y="4998"/>
                    </a:lnTo>
                    <a:lnTo>
                      <a:pt x="2560" y="4998"/>
                    </a:lnTo>
                    <a:lnTo>
                      <a:pt x="2562" y="4996"/>
                    </a:lnTo>
                    <a:lnTo>
                      <a:pt x="2564" y="4994"/>
                    </a:lnTo>
                    <a:lnTo>
                      <a:pt x="2566" y="4994"/>
                    </a:lnTo>
                    <a:lnTo>
                      <a:pt x="2570" y="4994"/>
                    </a:lnTo>
                    <a:lnTo>
                      <a:pt x="2574" y="4994"/>
                    </a:lnTo>
                    <a:lnTo>
                      <a:pt x="2578" y="4988"/>
                    </a:lnTo>
                    <a:lnTo>
                      <a:pt x="2582" y="4980"/>
                    </a:lnTo>
                    <a:lnTo>
                      <a:pt x="2582" y="4976"/>
                    </a:lnTo>
                    <a:lnTo>
                      <a:pt x="2580" y="4974"/>
                    </a:lnTo>
                    <a:lnTo>
                      <a:pt x="2576" y="4968"/>
                    </a:lnTo>
                    <a:lnTo>
                      <a:pt x="2568" y="4964"/>
                    </a:lnTo>
                    <a:lnTo>
                      <a:pt x="2562" y="4962"/>
                    </a:lnTo>
                    <a:lnTo>
                      <a:pt x="2558" y="4964"/>
                    </a:lnTo>
                    <a:lnTo>
                      <a:pt x="2556" y="4968"/>
                    </a:lnTo>
                    <a:lnTo>
                      <a:pt x="2554" y="4972"/>
                    </a:lnTo>
                    <a:lnTo>
                      <a:pt x="2552" y="4982"/>
                    </a:lnTo>
                    <a:lnTo>
                      <a:pt x="2552" y="4988"/>
                    </a:lnTo>
                    <a:lnTo>
                      <a:pt x="2554" y="4992"/>
                    </a:lnTo>
                    <a:close/>
                    <a:moveTo>
                      <a:pt x="8" y="5430"/>
                    </a:moveTo>
                    <a:lnTo>
                      <a:pt x="8" y="5430"/>
                    </a:lnTo>
                    <a:lnTo>
                      <a:pt x="6" y="5434"/>
                    </a:lnTo>
                    <a:lnTo>
                      <a:pt x="6" y="5436"/>
                    </a:lnTo>
                    <a:lnTo>
                      <a:pt x="6" y="5440"/>
                    </a:lnTo>
                    <a:lnTo>
                      <a:pt x="10" y="5444"/>
                    </a:lnTo>
                    <a:lnTo>
                      <a:pt x="14" y="5442"/>
                    </a:lnTo>
                    <a:lnTo>
                      <a:pt x="14" y="5438"/>
                    </a:lnTo>
                    <a:lnTo>
                      <a:pt x="14" y="5434"/>
                    </a:lnTo>
                    <a:lnTo>
                      <a:pt x="12" y="5430"/>
                    </a:lnTo>
                    <a:lnTo>
                      <a:pt x="10" y="5430"/>
                    </a:lnTo>
                    <a:lnTo>
                      <a:pt x="8" y="5430"/>
                    </a:lnTo>
                    <a:close/>
                    <a:moveTo>
                      <a:pt x="3222" y="4178"/>
                    </a:moveTo>
                    <a:lnTo>
                      <a:pt x="3222" y="4178"/>
                    </a:lnTo>
                    <a:lnTo>
                      <a:pt x="3224" y="4178"/>
                    </a:lnTo>
                    <a:lnTo>
                      <a:pt x="3228" y="4176"/>
                    </a:lnTo>
                    <a:lnTo>
                      <a:pt x="3232" y="4172"/>
                    </a:lnTo>
                    <a:lnTo>
                      <a:pt x="3234" y="4166"/>
                    </a:lnTo>
                    <a:lnTo>
                      <a:pt x="3232" y="4162"/>
                    </a:lnTo>
                    <a:lnTo>
                      <a:pt x="3232" y="4160"/>
                    </a:lnTo>
                    <a:lnTo>
                      <a:pt x="3230" y="4160"/>
                    </a:lnTo>
                    <a:lnTo>
                      <a:pt x="3228" y="4156"/>
                    </a:lnTo>
                    <a:lnTo>
                      <a:pt x="3226" y="4152"/>
                    </a:lnTo>
                    <a:lnTo>
                      <a:pt x="3224" y="4150"/>
                    </a:lnTo>
                    <a:lnTo>
                      <a:pt x="3222" y="4154"/>
                    </a:lnTo>
                    <a:lnTo>
                      <a:pt x="3222" y="4160"/>
                    </a:lnTo>
                    <a:lnTo>
                      <a:pt x="3222" y="4168"/>
                    </a:lnTo>
                    <a:lnTo>
                      <a:pt x="3220" y="4172"/>
                    </a:lnTo>
                    <a:lnTo>
                      <a:pt x="3218" y="4174"/>
                    </a:lnTo>
                    <a:lnTo>
                      <a:pt x="3222" y="4178"/>
                    </a:lnTo>
                    <a:close/>
                    <a:moveTo>
                      <a:pt x="3526" y="3176"/>
                    </a:moveTo>
                    <a:lnTo>
                      <a:pt x="3526" y="3176"/>
                    </a:lnTo>
                    <a:lnTo>
                      <a:pt x="3522" y="3176"/>
                    </a:lnTo>
                    <a:lnTo>
                      <a:pt x="3520" y="3174"/>
                    </a:lnTo>
                    <a:lnTo>
                      <a:pt x="3522" y="3168"/>
                    </a:lnTo>
                    <a:lnTo>
                      <a:pt x="3526" y="3162"/>
                    </a:lnTo>
                    <a:lnTo>
                      <a:pt x="3526" y="3158"/>
                    </a:lnTo>
                    <a:lnTo>
                      <a:pt x="3526" y="3154"/>
                    </a:lnTo>
                    <a:lnTo>
                      <a:pt x="3522" y="3152"/>
                    </a:lnTo>
                    <a:lnTo>
                      <a:pt x="3518" y="3152"/>
                    </a:lnTo>
                    <a:lnTo>
                      <a:pt x="3510" y="3156"/>
                    </a:lnTo>
                    <a:lnTo>
                      <a:pt x="3506" y="3156"/>
                    </a:lnTo>
                    <a:lnTo>
                      <a:pt x="3504" y="3156"/>
                    </a:lnTo>
                    <a:lnTo>
                      <a:pt x="3500" y="3154"/>
                    </a:lnTo>
                    <a:lnTo>
                      <a:pt x="3500" y="3148"/>
                    </a:lnTo>
                    <a:lnTo>
                      <a:pt x="3498" y="3146"/>
                    </a:lnTo>
                    <a:lnTo>
                      <a:pt x="3496" y="3142"/>
                    </a:lnTo>
                    <a:lnTo>
                      <a:pt x="3490" y="3140"/>
                    </a:lnTo>
                    <a:lnTo>
                      <a:pt x="3486" y="3140"/>
                    </a:lnTo>
                    <a:lnTo>
                      <a:pt x="3482" y="3140"/>
                    </a:lnTo>
                    <a:lnTo>
                      <a:pt x="3478" y="3144"/>
                    </a:lnTo>
                    <a:lnTo>
                      <a:pt x="3476" y="3148"/>
                    </a:lnTo>
                    <a:lnTo>
                      <a:pt x="3474" y="3154"/>
                    </a:lnTo>
                    <a:lnTo>
                      <a:pt x="3470" y="3154"/>
                    </a:lnTo>
                    <a:lnTo>
                      <a:pt x="3466" y="3154"/>
                    </a:lnTo>
                    <a:lnTo>
                      <a:pt x="3464" y="3160"/>
                    </a:lnTo>
                    <a:lnTo>
                      <a:pt x="3462" y="3164"/>
                    </a:lnTo>
                    <a:lnTo>
                      <a:pt x="3460" y="3164"/>
                    </a:lnTo>
                    <a:lnTo>
                      <a:pt x="3456" y="3160"/>
                    </a:lnTo>
                    <a:lnTo>
                      <a:pt x="3454" y="3158"/>
                    </a:lnTo>
                    <a:lnTo>
                      <a:pt x="3452" y="3164"/>
                    </a:lnTo>
                    <a:lnTo>
                      <a:pt x="3452" y="3168"/>
                    </a:lnTo>
                    <a:lnTo>
                      <a:pt x="3448" y="3170"/>
                    </a:lnTo>
                    <a:lnTo>
                      <a:pt x="3444" y="3168"/>
                    </a:lnTo>
                    <a:lnTo>
                      <a:pt x="3440" y="3168"/>
                    </a:lnTo>
                    <a:lnTo>
                      <a:pt x="3442" y="3174"/>
                    </a:lnTo>
                    <a:lnTo>
                      <a:pt x="3444" y="3182"/>
                    </a:lnTo>
                    <a:lnTo>
                      <a:pt x="3444" y="3186"/>
                    </a:lnTo>
                    <a:lnTo>
                      <a:pt x="3444" y="3190"/>
                    </a:lnTo>
                    <a:lnTo>
                      <a:pt x="3446" y="3196"/>
                    </a:lnTo>
                    <a:lnTo>
                      <a:pt x="3448" y="3200"/>
                    </a:lnTo>
                    <a:lnTo>
                      <a:pt x="3450" y="3204"/>
                    </a:lnTo>
                    <a:lnTo>
                      <a:pt x="3450" y="3210"/>
                    </a:lnTo>
                    <a:lnTo>
                      <a:pt x="3456" y="3204"/>
                    </a:lnTo>
                    <a:lnTo>
                      <a:pt x="3460" y="3202"/>
                    </a:lnTo>
                    <a:lnTo>
                      <a:pt x="3464" y="3200"/>
                    </a:lnTo>
                    <a:lnTo>
                      <a:pt x="3464" y="3202"/>
                    </a:lnTo>
                    <a:lnTo>
                      <a:pt x="3464" y="3204"/>
                    </a:lnTo>
                    <a:lnTo>
                      <a:pt x="3466" y="3208"/>
                    </a:lnTo>
                    <a:lnTo>
                      <a:pt x="3468" y="3208"/>
                    </a:lnTo>
                    <a:lnTo>
                      <a:pt x="3472" y="3206"/>
                    </a:lnTo>
                    <a:lnTo>
                      <a:pt x="3474" y="3204"/>
                    </a:lnTo>
                    <a:lnTo>
                      <a:pt x="3474" y="3200"/>
                    </a:lnTo>
                    <a:lnTo>
                      <a:pt x="3472" y="3198"/>
                    </a:lnTo>
                    <a:lnTo>
                      <a:pt x="3468" y="3194"/>
                    </a:lnTo>
                    <a:lnTo>
                      <a:pt x="3466" y="3192"/>
                    </a:lnTo>
                    <a:lnTo>
                      <a:pt x="3464" y="3188"/>
                    </a:lnTo>
                    <a:lnTo>
                      <a:pt x="3466" y="3182"/>
                    </a:lnTo>
                    <a:lnTo>
                      <a:pt x="3466" y="3180"/>
                    </a:lnTo>
                    <a:lnTo>
                      <a:pt x="3468" y="3180"/>
                    </a:lnTo>
                    <a:lnTo>
                      <a:pt x="3470" y="3182"/>
                    </a:lnTo>
                    <a:lnTo>
                      <a:pt x="3474" y="3186"/>
                    </a:lnTo>
                    <a:lnTo>
                      <a:pt x="3480" y="3196"/>
                    </a:lnTo>
                    <a:lnTo>
                      <a:pt x="3482" y="3208"/>
                    </a:lnTo>
                    <a:lnTo>
                      <a:pt x="3480" y="3218"/>
                    </a:lnTo>
                    <a:lnTo>
                      <a:pt x="3474" y="3228"/>
                    </a:lnTo>
                    <a:lnTo>
                      <a:pt x="3468" y="3236"/>
                    </a:lnTo>
                    <a:lnTo>
                      <a:pt x="3466" y="3242"/>
                    </a:lnTo>
                    <a:lnTo>
                      <a:pt x="3470" y="3258"/>
                    </a:lnTo>
                    <a:lnTo>
                      <a:pt x="3470" y="3266"/>
                    </a:lnTo>
                    <a:lnTo>
                      <a:pt x="3468" y="3270"/>
                    </a:lnTo>
                    <a:lnTo>
                      <a:pt x="3466" y="3274"/>
                    </a:lnTo>
                    <a:lnTo>
                      <a:pt x="3466" y="3276"/>
                    </a:lnTo>
                    <a:lnTo>
                      <a:pt x="3476" y="3280"/>
                    </a:lnTo>
                    <a:lnTo>
                      <a:pt x="3482" y="3282"/>
                    </a:lnTo>
                    <a:lnTo>
                      <a:pt x="3486" y="3286"/>
                    </a:lnTo>
                    <a:lnTo>
                      <a:pt x="3486" y="3290"/>
                    </a:lnTo>
                    <a:lnTo>
                      <a:pt x="3486" y="3292"/>
                    </a:lnTo>
                    <a:lnTo>
                      <a:pt x="3488" y="3292"/>
                    </a:lnTo>
                    <a:lnTo>
                      <a:pt x="3496" y="3288"/>
                    </a:lnTo>
                    <a:lnTo>
                      <a:pt x="3500" y="3284"/>
                    </a:lnTo>
                    <a:lnTo>
                      <a:pt x="3502" y="3280"/>
                    </a:lnTo>
                    <a:lnTo>
                      <a:pt x="3502" y="3278"/>
                    </a:lnTo>
                    <a:lnTo>
                      <a:pt x="3502" y="3276"/>
                    </a:lnTo>
                    <a:lnTo>
                      <a:pt x="3500" y="3272"/>
                    </a:lnTo>
                    <a:lnTo>
                      <a:pt x="3502" y="3270"/>
                    </a:lnTo>
                    <a:lnTo>
                      <a:pt x="3506" y="3268"/>
                    </a:lnTo>
                    <a:lnTo>
                      <a:pt x="3508" y="3270"/>
                    </a:lnTo>
                    <a:lnTo>
                      <a:pt x="3510" y="3274"/>
                    </a:lnTo>
                    <a:lnTo>
                      <a:pt x="3514" y="3272"/>
                    </a:lnTo>
                    <a:lnTo>
                      <a:pt x="3516" y="3268"/>
                    </a:lnTo>
                    <a:lnTo>
                      <a:pt x="3518" y="3260"/>
                    </a:lnTo>
                    <a:lnTo>
                      <a:pt x="3522" y="3236"/>
                    </a:lnTo>
                    <a:lnTo>
                      <a:pt x="3528" y="3212"/>
                    </a:lnTo>
                    <a:lnTo>
                      <a:pt x="3532" y="3202"/>
                    </a:lnTo>
                    <a:lnTo>
                      <a:pt x="3534" y="3200"/>
                    </a:lnTo>
                    <a:lnTo>
                      <a:pt x="3538" y="3198"/>
                    </a:lnTo>
                    <a:lnTo>
                      <a:pt x="3540" y="3196"/>
                    </a:lnTo>
                    <a:lnTo>
                      <a:pt x="3542" y="3194"/>
                    </a:lnTo>
                    <a:lnTo>
                      <a:pt x="3540" y="3186"/>
                    </a:lnTo>
                    <a:lnTo>
                      <a:pt x="3534" y="3180"/>
                    </a:lnTo>
                    <a:lnTo>
                      <a:pt x="3530" y="3178"/>
                    </a:lnTo>
                    <a:lnTo>
                      <a:pt x="3526" y="3176"/>
                    </a:lnTo>
                    <a:close/>
                    <a:moveTo>
                      <a:pt x="3432" y="3438"/>
                    </a:moveTo>
                    <a:lnTo>
                      <a:pt x="3432" y="3438"/>
                    </a:lnTo>
                    <a:lnTo>
                      <a:pt x="3432" y="3442"/>
                    </a:lnTo>
                    <a:lnTo>
                      <a:pt x="3434" y="3442"/>
                    </a:lnTo>
                    <a:lnTo>
                      <a:pt x="3440" y="3436"/>
                    </a:lnTo>
                    <a:lnTo>
                      <a:pt x="3446" y="3428"/>
                    </a:lnTo>
                    <a:lnTo>
                      <a:pt x="3448" y="3424"/>
                    </a:lnTo>
                    <a:lnTo>
                      <a:pt x="3448" y="3422"/>
                    </a:lnTo>
                    <a:lnTo>
                      <a:pt x="3444" y="3422"/>
                    </a:lnTo>
                    <a:lnTo>
                      <a:pt x="3438" y="3424"/>
                    </a:lnTo>
                    <a:lnTo>
                      <a:pt x="3434" y="3430"/>
                    </a:lnTo>
                    <a:lnTo>
                      <a:pt x="3432" y="3434"/>
                    </a:lnTo>
                    <a:lnTo>
                      <a:pt x="3432" y="3438"/>
                    </a:lnTo>
                    <a:close/>
                    <a:moveTo>
                      <a:pt x="3434" y="3100"/>
                    </a:moveTo>
                    <a:lnTo>
                      <a:pt x="3434" y="3100"/>
                    </a:lnTo>
                    <a:lnTo>
                      <a:pt x="3432" y="3102"/>
                    </a:lnTo>
                    <a:lnTo>
                      <a:pt x="3430" y="3106"/>
                    </a:lnTo>
                    <a:lnTo>
                      <a:pt x="3430" y="3110"/>
                    </a:lnTo>
                    <a:lnTo>
                      <a:pt x="3428" y="3116"/>
                    </a:lnTo>
                    <a:lnTo>
                      <a:pt x="3426" y="3126"/>
                    </a:lnTo>
                    <a:lnTo>
                      <a:pt x="3426" y="3130"/>
                    </a:lnTo>
                    <a:lnTo>
                      <a:pt x="3428" y="3128"/>
                    </a:lnTo>
                    <a:lnTo>
                      <a:pt x="3430" y="3124"/>
                    </a:lnTo>
                    <a:lnTo>
                      <a:pt x="3432" y="3120"/>
                    </a:lnTo>
                    <a:lnTo>
                      <a:pt x="3434" y="3114"/>
                    </a:lnTo>
                    <a:lnTo>
                      <a:pt x="3436" y="3110"/>
                    </a:lnTo>
                    <a:lnTo>
                      <a:pt x="3438" y="3104"/>
                    </a:lnTo>
                    <a:lnTo>
                      <a:pt x="3438" y="3100"/>
                    </a:lnTo>
                    <a:lnTo>
                      <a:pt x="3436" y="3100"/>
                    </a:lnTo>
                    <a:lnTo>
                      <a:pt x="3434" y="3100"/>
                    </a:lnTo>
                    <a:close/>
                    <a:moveTo>
                      <a:pt x="4106" y="2564"/>
                    </a:moveTo>
                    <a:lnTo>
                      <a:pt x="4106" y="2564"/>
                    </a:lnTo>
                    <a:lnTo>
                      <a:pt x="4098" y="2576"/>
                    </a:lnTo>
                    <a:lnTo>
                      <a:pt x="4088" y="2586"/>
                    </a:lnTo>
                    <a:lnTo>
                      <a:pt x="4084" y="2594"/>
                    </a:lnTo>
                    <a:lnTo>
                      <a:pt x="4082" y="2598"/>
                    </a:lnTo>
                    <a:lnTo>
                      <a:pt x="4084" y="2604"/>
                    </a:lnTo>
                    <a:lnTo>
                      <a:pt x="4086" y="2604"/>
                    </a:lnTo>
                    <a:lnTo>
                      <a:pt x="4088" y="2602"/>
                    </a:lnTo>
                    <a:lnTo>
                      <a:pt x="4094" y="2592"/>
                    </a:lnTo>
                    <a:lnTo>
                      <a:pt x="4098" y="2586"/>
                    </a:lnTo>
                    <a:lnTo>
                      <a:pt x="4104" y="2580"/>
                    </a:lnTo>
                    <a:lnTo>
                      <a:pt x="4112" y="2574"/>
                    </a:lnTo>
                    <a:lnTo>
                      <a:pt x="4122" y="2570"/>
                    </a:lnTo>
                    <a:lnTo>
                      <a:pt x="4126" y="2568"/>
                    </a:lnTo>
                    <a:lnTo>
                      <a:pt x="4126" y="2566"/>
                    </a:lnTo>
                    <a:lnTo>
                      <a:pt x="4120" y="2562"/>
                    </a:lnTo>
                    <a:lnTo>
                      <a:pt x="4112" y="2562"/>
                    </a:lnTo>
                    <a:lnTo>
                      <a:pt x="4108" y="2562"/>
                    </a:lnTo>
                    <a:lnTo>
                      <a:pt x="4106" y="2564"/>
                    </a:lnTo>
                    <a:close/>
                    <a:moveTo>
                      <a:pt x="3472" y="4884"/>
                    </a:moveTo>
                    <a:lnTo>
                      <a:pt x="3472" y="4884"/>
                    </a:lnTo>
                    <a:lnTo>
                      <a:pt x="3474" y="4884"/>
                    </a:lnTo>
                    <a:lnTo>
                      <a:pt x="3476" y="4884"/>
                    </a:lnTo>
                    <a:lnTo>
                      <a:pt x="3484" y="4882"/>
                    </a:lnTo>
                    <a:lnTo>
                      <a:pt x="3488" y="4880"/>
                    </a:lnTo>
                    <a:lnTo>
                      <a:pt x="3490" y="4878"/>
                    </a:lnTo>
                    <a:lnTo>
                      <a:pt x="3488" y="4878"/>
                    </a:lnTo>
                    <a:lnTo>
                      <a:pt x="3478" y="4878"/>
                    </a:lnTo>
                    <a:lnTo>
                      <a:pt x="3472" y="4880"/>
                    </a:lnTo>
                    <a:lnTo>
                      <a:pt x="3472" y="4882"/>
                    </a:lnTo>
                    <a:lnTo>
                      <a:pt x="3472" y="4884"/>
                    </a:lnTo>
                    <a:close/>
                    <a:moveTo>
                      <a:pt x="3468" y="3214"/>
                    </a:moveTo>
                    <a:lnTo>
                      <a:pt x="3468" y="3214"/>
                    </a:lnTo>
                    <a:lnTo>
                      <a:pt x="3468" y="3212"/>
                    </a:lnTo>
                    <a:lnTo>
                      <a:pt x="3466" y="3212"/>
                    </a:lnTo>
                    <a:lnTo>
                      <a:pt x="3462" y="3212"/>
                    </a:lnTo>
                    <a:lnTo>
                      <a:pt x="3460" y="3218"/>
                    </a:lnTo>
                    <a:lnTo>
                      <a:pt x="3460" y="3224"/>
                    </a:lnTo>
                    <a:lnTo>
                      <a:pt x="3460" y="3226"/>
                    </a:lnTo>
                    <a:lnTo>
                      <a:pt x="3462" y="3226"/>
                    </a:lnTo>
                    <a:lnTo>
                      <a:pt x="3464" y="3224"/>
                    </a:lnTo>
                    <a:lnTo>
                      <a:pt x="3468" y="3220"/>
                    </a:lnTo>
                    <a:lnTo>
                      <a:pt x="3468" y="3214"/>
                    </a:lnTo>
                    <a:close/>
                    <a:moveTo>
                      <a:pt x="3482" y="3322"/>
                    </a:moveTo>
                    <a:lnTo>
                      <a:pt x="3482" y="3322"/>
                    </a:lnTo>
                    <a:lnTo>
                      <a:pt x="3478" y="3322"/>
                    </a:lnTo>
                    <a:lnTo>
                      <a:pt x="3476" y="3326"/>
                    </a:lnTo>
                    <a:lnTo>
                      <a:pt x="3478" y="3330"/>
                    </a:lnTo>
                    <a:lnTo>
                      <a:pt x="3482" y="3332"/>
                    </a:lnTo>
                    <a:lnTo>
                      <a:pt x="3486" y="3332"/>
                    </a:lnTo>
                    <a:lnTo>
                      <a:pt x="3486" y="3328"/>
                    </a:lnTo>
                    <a:lnTo>
                      <a:pt x="3484" y="3324"/>
                    </a:lnTo>
                    <a:lnTo>
                      <a:pt x="3482" y="3322"/>
                    </a:lnTo>
                    <a:close/>
                    <a:moveTo>
                      <a:pt x="3652" y="3124"/>
                    </a:moveTo>
                    <a:lnTo>
                      <a:pt x="3652" y="3124"/>
                    </a:lnTo>
                    <a:lnTo>
                      <a:pt x="3654" y="3126"/>
                    </a:lnTo>
                    <a:lnTo>
                      <a:pt x="3656" y="3124"/>
                    </a:lnTo>
                    <a:lnTo>
                      <a:pt x="3658" y="3118"/>
                    </a:lnTo>
                    <a:lnTo>
                      <a:pt x="3662" y="3112"/>
                    </a:lnTo>
                    <a:lnTo>
                      <a:pt x="3662" y="3106"/>
                    </a:lnTo>
                    <a:lnTo>
                      <a:pt x="3662" y="3104"/>
                    </a:lnTo>
                    <a:lnTo>
                      <a:pt x="3660" y="3104"/>
                    </a:lnTo>
                    <a:lnTo>
                      <a:pt x="3656" y="3110"/>
                    </a:lnTo>
                    <a:lnTo>
                      <a:pt x="3652" y="3116"/>
                    </a:lnTo>
                    <a:lnTo>
                      <a:pt x="3652" y="3120"/>
                    </a:lnTo>
                    <a:lnTo>
                      <a:pt x="3652" y="3124"/>
                    </a:lnTo>
                    <a:close/>
                    <a:moveTo>
                      <a:pt x="3482" y="4890"/>
                    </a:moveTo>
                    <a:lnTo>
                      <a:pt x="3482" y="4890"/>
                    </a:lnTo>
                    <a:lnTo>
                      <a:pt x="3486" y="4896"/>
                    </a:lnTo>
                    <a:lnTo>
                      <a:pt x="3492" y="4904"/>
                    </a:lnTo>
                    <a:lnTo>
                      <a:pt x="3494" y="4904"/>
                    </a:lnTo>
                    <a:lnTo>
                      <a:pt x="3498" y="4898"/>
                    </a:lnTo>
                    <a:lnTo>
                      <a:pt x="3498" y="4890"/>
                    </a:lnTo>
                    <a:lnTo>
                      <a:pt x="3498" y="4888"/>
                    </a:lnTo>
                    <a:lnTo>
                      <a:pt x="3496" y="4886"/>
                    </a:lnTo>
                    <a:lnTo>
                      <a:pt x="3492" y="4884"/>
                    </a:lnTo>
                    <a:lnTo>
                      <a:pt x="3486" y="4884"/>
                    </a:lnTo>
                    <a:lnTo>
                      <a:pt x="3482" y="4886"/>
                    </a:lnTo>
                    <a:lnTo>
                      <a:pt x="3482" y="4888"/>
                    </a:lnTo>
                    <a:lnTo>
                      <a:pt x="3482" y="4890"/>
                    </a:lnTo>
                    <a:close/>
                    <a:moveTo>
                      <a:pt x="3640" y="3122"/>
                    </a:moveTo>
                    <a:lnTo>
                      <a:pt x="3640" y="3122"/>
                    </a:lnTo>
                    <a:lnTo>
                      <a:pt x="3634" y="3120"/>
                    </a:lnTo>
                    <a:lnTo>
                      <a:pt x="3628" y="3116"/>
                    </a:lnTo>
                    <a:lnTo>
                      <a:pt x="3620" y="3116"/>
                    </a:lnTo>
                    <a:lnTo>
                      <a:pt x="3612" y="3120"/>
                    </a:lnTo>
                    <a:lnTo>
                      <a:pt x="3608" y="3122"/>
                    </a:lnTo>
                    <a:lnTo>
                      <a:pt x="3604" y="3126"/>
                    </a:lnTo>
                    <a:lnTo>
                      <a:pt x="3602" y="3132"/>
                    </a:lnTo>
                    <a:lnTo>
                      <a:pt x="3600" y="3136"/>
                    </a:lnTo>
                    <a:lnTo>
                      <a:pt x="3598" y="3138"/>
                    </a:lnTo>
                    <a:lnTo>
                      <a:pt x="3596" y="3136"/>
                    </a:lnTo>
                    <a:lnTo>
                      <a:pt x="3592" y="3136"/>
                    </a:lnTo>
                    <a:lnTo>
                      <a:pt x="3590" y="3136"/>
                    </a:lnTo>
                    <a:lnTo>
                      <a:pt x="3586" y="3138"/>
                    </a:lnTo>
                    <a:lnTo>
                      <a:pt x="3582" y="3140"/>
                    </a:lnTo>
                    <a:lnTo>
                      <a:pt x="3580" y="3136"/>
                    </a:lnTo>
                    <a:lnTo>
                      <a:pt x="3580" y="3130"/>
                    </a:lnTo>
                    <a:lnTo>
                      <a:pt x="3578" y="3128"/>
                    </a:lnTo>
                    <a:lnTo>
                      <a:pt x="3576" y="3128"/>
                    </a:lnTo>
                    <a:lnTo>
                      <a:pt x="3574" y="3132"/>
                    </a:lnTo>
                    <a:lnTo>
                      <a:pt x="3568" y="3144"/>
                    </a:lnTo>
                    <a:lnTo>
                      <a:pt x="3564" y="3150"/>
                    </a:lnTo>
                    <a:lnTo>
                      <a:pt x="3560" y="3156"/>
                    </a:lnTo>
                    <a:lnTo>
                      <a:pt x="3550" y="3164"/>
                    </a:lnTo>
                    <a:lnTo>
                      <a:pt x="3544" y="3168"/>
                    </a:lnTo>
                    <a:lnTo>
                      <a:pt x="3548" y="3168"/>
                    </a:lnTo>
                    <a:lnTo>
                      <a:pt x="3554" y="3168"/>
                    </a:lnTo>
                    <a:lnTo>
                      <a:pt x="3556" y="3170"/>
                    </a:lnTo>
                    <a:lnTo>
                      <a:pt x="3558" y="3172"/>
                    </a:lnTo>
                    <a:lnTo>
                      <a:pt x="3558" y="3174"/>
                    </a:lnTo>
                    <a:lnTo>
                      <a:pt x="3558" y="3182"/>
                    </a:lnTo>
                    <a:lnTo>
                      <a:pt x="3558" y="3186"/>
                    </a:lnTo>
                    <a:lnTo>
                      <a:pt x="3562" y="3190"/>
                    </a:lnTo>
                    <a:lnTo>
                      <a:pt x="3564" y="3192"/>
                    </a:lnTo>
                    <a:lnTo>
                      <a:pt x="3564" y="3196"/>
                    </a:lnTo>
                    <a:lnTo>
                      <a:pt x="3564" y="3198"/>
                    </a:lnTo>
                    <a:lnTo>
                      <a:pt x="3562" y="3200"/>
                    </a:lnTo>
                    <a:lnTo>
                      <a:pt x="3564" y="3200"/>
                    </a:lnTo>
                    <a:lnTo>
                      <a:pt x="3574" y="3202"/>
                    </a:lnTo>
                    <a:lnTo>
                      <a:pt x="3578" y="3202"/>
                    </a:lnTo>
                    <a:lnTo>
                      <a:pt x="3580" y="3198"/>
                    </a:lnTo>
                    <a:lnTo>
                      <a:pt x="3584" y="3186"/>
                    </a:lnTo>
                    <a:lnTo>
                      <a:pt x="3588" y="3178"/>
                    </a:lnTo>
                    <a:lnTo>
                      <a:pt x="3590" y="3172"/>
                    </a:lnTo>
                    <a:lnTo>
                      <a:pt x="3594" y="3166"/>
                    </a:lnTo>
                    <a:lnTo>
                      <a:pt x="3602" y="3164"/>
                    </a:lnTo>
                    <a:lnTo>
                      <a:pt x="3608" y="3162"/>
                    </a:lnTo>
                    <a:lnTo>
                      <a:pt x="3614" y="3164"/>
                    </a:lnTo>
                    <a:lnTo>
                      <a:pt x="3620" y="3170"/>
                    </a:lnTo>
                    <a:lnTo>
                      <a:pt x="3624" y="3172"/>
                    </a:lnTo>
                    <a:lnTo>
                      <a:pt x="3626" y="3172"/>
                    </a:lnTo>
                    <a:lnTo>
                      <a:pt x="3628" y="3170"/>
                    </a:lnTo>
                    <a:lnTo>
                      <a:pt x="3630" y="3166"/>
                    </a:lnTo>
                    <a:lnTo>
                      <a:pt x="3632" y="3160"/>
                    </a:lnTo>
                    <a:lnTo>
                      <a:pt x="3636" y="3156"/>
                    </a:lnTo>
                    <a:lnTo>
                      <a:pt x="3642" y="3150"/>
                    </a:lnTo>
                    <a:lnTo>
                      <a:pt x="3646" y="3148"/>
                    </a:lnTo>
                    <a:lnTo>
                      <a:pt x="3648" y="3144"/>
                    </a:lnTo>
                    <a:lnTo>
                      <a:pt x="3646" y="3140"/>
                    </a:lnTo>
                    <a:lnTo>
                      <a:pt x="3644" y="3132"/>
                    </a:lnTo>
                    <a:lnTo>
                      <a:pt x="3644" y="3128"/>
                    </a:lnTo>
                    <a:lnTo>
                      <a:pt x="3644" y="3126"/>
                    </a:lnTo>
                    <a:lnTo>
                      <a:pt x="3640" y="3122"/>
                    </a:lnTo>
                    <a:close/>
                    <a:moveTo>
                      <a:pt x="3450" y="4936"/>
                    </a:moveTo>
                    <a:lnTo>
                      <a:pt x="3450" y="4936"/>
                    </a:lnTo>
                    <a:lnTo>
                      <a:pt x="3456" y="4938"/>
                    </a:lnTo>
                    <a:lnTo>
                      <a:pt x="3462" y="4940"/>
                    </a:lnTo>
                    <a:lnTo>
                      <a:pt x="3468" y="4940"/>
                    </a:lnTo>
                    <a:lnTo>
                      <a:pt x="3470" y="4938"/>
                    </a:lnTo>
                    <a:lnTo>
                      <a:pt x="3472" y="4934"/>
                    </a:lnTo>
                    <a:lnTo>
                      <a:pt x="3474" y="4926"/>
                    </a:lnTo>
                    <a:lnTo>
                      <a:pt x="3472" y="4922"/>
                    </a:lnTo>
                    <a:lnTo>
                      <a:pt x="3466" y="4922"/>
                    </a:lnTo>
                    <a:lnTo>
                      <a:pt x="3458" y="4924"/>
                    </a:lnTo>
                    <a:lnTo>
                      <a:pt x="3448" y="4930"/>
                    </a:lnTo>
                    <a:lnTo>
                      <a:pt x="3448" y="4932"/>
                    </a:lnTo>
                    <a:lnTo>
                      <a:pt x="3450" y="4936"/>
                    </a:lnTo>
                    <a:close/>
                    <a:moveTo>
                      <a:pt x="3012" y="5270"/>
                    </a:moveTo>
                    <a:lnTo>
                      <a:pt x="3012" y="5270"/>
                    </a:lnTo>
                    <a:lnTo>
                      <a:pt x="3008" y="5266"/>
                    </a:lnTo>
                    <a:lnTo>
                      <a:pt x="3006" y="5264"/>
                    </a:lnTo>
                    <a:lnTo>
                      <a:pt x="3008" y="5262"/>
                    </a:lnTo>
                    <a:lnTo>
                      <a:pt x="3012" y="5264"/>
                    </a:lnTo>
                    <a:lnTo>
                      <a:pt x="3020" y="5266"/>
                    </a:lnTo>
                    <a:lnTo>
                      <a:pt x="3022" y="5266"/>
                    </a:lnTo>
                    <a:lnTo>
                      <a:pt x="3022" y="5264"/>
                    </a:lnTo>
                    <a:lnTo>
                      <a:pt x="3022" y="5258"/>
                    </a:lnTo>
                    <a:lnTo>
                      <a:pt x="3020" y="5250"/>
                    </a:lnTo>
                    <a:lnTo>
                      <a:pt x="3014" y="5244"/>
                    </a:lnTo>
                    <a:lnTo>
                      <a:pt x="3010" y="5242"/>
                    </a:lnTo>
                    <a:lnTo>
                      <a:pt x="3008" y="5244"/>
                    </a:lnTo>
                    <a:lnTo>
                      <a:pt x="3006" y="5246"/>
                    </a:lnTo>
                    <a:lnTo>
                      <a:pt x="3004" y="5246"/>
                    </a:lnTo>
                    <a:lnTo>
                      <a:pt x="3000" y="5242"/>
                    </a:lnTo>
                    <a:lnTo>
                      <a:pt x="2998" y="5240"/>
                    </a:lnTo>
                    <a:lnTo>
                      <a:pt x="2994" y="5240"/>
                    </a:lnTo>
                    <a:lnTo>
                      <a:pt x="2992" y="5242"/>
                    </a:lnTo>
                    <a:lnTo>
                      <a:pt x="2988" y="5244"/>
                    </a:lnTo>
                    <a:lnTo>
                      <a:pt x="2986" y="5244"/>
                    </a:lnTo>
                    <a:lnTo>
                      <a:pt x="2982" y="5240"/>
                    </a:lnTo>
                    <a:lnTo>
                      <a:pt x="2978" y="5236"/>
                    </a:lnTo>
                    <a:lnTo>
                      <a:pt x="2974" y="5234"/>
                    </a:lnTo>
                    <a:lnTo>
                      <a:pt x="2970" y="5234"/>
                    </a:lnTo>
                    <a:lnTo>
                      <a:pt x="2966" y="5236"/>
                    </a:lnTo>
                    <a:lnTo>
                      <a:pt x="2964" y="5238"/>
                    </a:lnTo>
                    <a:lnTo>
                      <a:pt x="2964" y="5240"/>
                    </a:lnTo>
                    <a:lnTo>
                      <a:pt x="2966" y="5244"/>
                    </a:lnTo>
                    <a:lnTo>
                      <a:pt x="2970" y="5250"/>
                    </a:lnTo>
                    <a:lnTo>
                      <a:pt x="2974" y="5252"/>
                    </a:lnTo>
                    <a:lnTo>
                      <a:pt x="2978" y="5252"/>
                    </a:lnTo>
                    <a:lnTo>
                      <a:pt x="2984" y="5256"/>
                    </a:lnTo>
                    <a:lnTo>
                      <a:pt x="2986" y="5260"/>
                    </a:lnTo>
                    <a:lnTo>
                      <a:pt x="2984" y="5260"/>
                    </a:lnTo>
                    <a:lnTo>
                      <a:pt x="2982" y="5260"/>
                    </a:lnTo>
                    <a:lnTo>
                      <a:pt x="2976" y="5262"/>
                    </a:lnTo>
                    <a:lnTo>
                      <a:pt x="2972" y="5264"/>
                    </a:lnTo>
                    <a:lnTo>
                      <a:pt x="2970" y="5264"/>
                    </a:lnTo>
                    <a:lnTo>
                      <a:pt x="2966" y="5260"/>
                    </a:lnTo>
                    <a:lnTo>
                      <a:pt x="2960" y="5252"/>
                    </a:lnTo>
                    <a:lnTo>
                      <a:pt x="2956" y="5252"/>
                    </a:lnTo>
                    <a:lnTo>
                      <a:pt x="2954" y="5252"/>
                    </a:lnTo>
                    <a:lnTo>
                      <a:pt x="2948" y="5250"/>
                    </a:lnTo>
                    <a:lnTo>
                      <a:pt x="2944" y="5248"/>
                    </a:lnTo>
                    <a:lnTo>
                      <a:pt x="2940" y="5246"/>
                    </a:lnTo>
                    <a:lnTo>
                      <a:pt x="2938" y="5248"/>
                    </a:lnTo>
                    <a:lnTo>
                      <a:pt x="2936" y="5250"/>
                    </a:lnTo>
                    <a:lnTo>
                      <a:pt x="2932" y="5254"/>
                    </a:lnTo>
                    <a:lnTo>
                      <a:pt x="2928" y="5256"/>
                    </a:lnTo>
                    <a:lnTo>
                      <a:pt x="2926" y="5258"/>
                    </a:lnTo>
                    <a:lnTo>
                      <a:pt x="2926" y="5266"/>
                    </a:lnTo>
                    <a:lnTo>
                      <a:pt x="2926" y="5270"/>
                    </a:lnTo>
                    <a:lnTo>
                      <a:pt x="2926" y="5276"/>
                    </a:lnTo>
                    <a:lnTo>
                      <a:pt x="2926" y="5278"/>
                    </a:lnTo>
                    <a:lnTo>
                      <a:pt x="2928" y="5280"/>
                    </a:lnTo>
                    <a:lnTo>
                      <a:pt x="2938" y="5282"/>
                    </a:lnTo>
                    <a:lnTo>
                      <a:pt x="2948" y="5282"/>
                    </a:lnTo>
                    <a:lnTo>
                      <a:pt x="2960" y="5278"/>
                    </a:lnTo>
                    <a:lnTo>
                      <a:pt x="2970" y="5274"/>
                    </a:lnTo>
                    <a:lnTo>
                      <a:pt x="2978" y="5272"/>
                    </a:lnTo>
                    <a:lnTo>
                      <a:pt x="2984" y="5272"/>
                    </a:lnTo>
                    <a:lnTo>
                      <a:pt x="2986" y="5268"/>
                    </a:lnTo>
                    <a:lnTo>
                      <a:pt x="2988" y="5268"/>
                    </a:lnTo>
                    <a:lnTo>
                      <a:pt x="2990" y="5270"/>
                    </a:lnTo>
                    <a:lnTo>
                      <a:pt x="2992" y="5272"/>
                    </a:lnTo>
                    <a:lnTo>
                      <a:pt x="2994" y="5270"/>
                    </a:lnTo>
                    <a:lnTo>
                      <a:pt x="2998" y="5270"/>
                    </a:lnTo>
                    <a:lnTo>
                      <a:pt x="3004" y="5270"/>
                    </a:lnTo>
                    <a:lnTo>
                      <a:pt x="3014" y="5272"/>
                    </a:lnTo>
                    <a:lnTo>
                      <a:pt x="3016" y="5272"/>
                    </a:lnTo>
                    <a:lnTo>
                      <a:pt x="3012" y="5270"/>
                    </a:lnTo>
                    <a:close/>
                    <a:moveTo>
                      <a:pt x="3240" y="4810"/>
                    </a:moveTo>
                    <a:lnTo>
                      <a:pt x="3240" y="4810"/>
                    </a:lnTo>
                    <a:lnTo>
                      <a:pt x="3258" y="4782"/>
                    </a:lnTo>
                    <a:lnTo>
                      <a:pt x="3262" y="4776"/>
                    </a:lnTo>
                    <a:lnTo>
                      <a:pt x="3264" y="4770"/>
                    </a:lnTo>
                    <a:lnTo>
                      <a:pt x="3264" y="4764"/>
                    </a:lnTo>
                    <a:lnTo>
                      <a:pt x="3262" y="4760"/>
                    </a:lnTo>
                    <a:lnTo>
                      <a:pt x="3258" y="4756"/>
                    </a:lnTo>
                    <a:lnTo>
                      <a:pt x="3254" y="4756"/>
                    </a:lnTo>
                    <a:lnTo>
                      <a:pt x="3250" y="4758"/>
                    </a:lnTo>
                    <a:lnTo>
                      <a:pt x="3246" y="4764"/>
                    </a:lnTo>
                    <a:lnTo>
                      <a:pt x="3236" y="4776"/>
                    </a:lnTo>
                    <a:lnTo>
                      <a:pt x="3228" y="4792"/>
                    </a:lnTo>
                    <a:lnTo>
                      <a:pt x="3222" y="4796"/>
                    </a:lnTo>
                    <a:lnTo>
                      <a:pt x="3216" y="4798"/>
                    </a:lnTo>
                    <a:lnTo>
                      <a:pt x="3208" y="4798"/>
                    </a:lnTo>
                    <a:lnTo>
                      <a:pt x="3198" y="4798"/>
                    </a:lnTo>
                    <a:lnTo>
                      <a:pt x="3182" y="4794"/>
                    </a:lnTo>
                    <a:lnTo>
                      <a:pt x="3176" y="4794"/>
                    </a:lnTo>
                    <a:lnTo>
                      <a:pt x="3174" y="4796"/>
                    </a:lnTo>
                    <a:lnTo>
                      <a:pt x="3170" y="4798"/>
                    </a:lnTo>
                    <a:lnTo>
                      <a:pt x="3168" y="4798"/>
                    </a:lnTo>
                    <a:lnTo>
                      <a:pt x="3158" y="4794"/>
                    </a:lnTo>
                    <a:lnTo>
                      <a:pt x="3146" y="4792"/>
                    </a:lnTo>
                    <a:lnTo>
                      <a:pt x="3138" y="4790"/>
                    </a:lnTo>
                    <a:lnTo>
                      <a:pt x="3130" y="4790"/>
                    </a:lnTo>
                    <a:lnTo>
                      <a:pt x="3122" y="4790"/>
                    </a:lnTo>
                    <a:lnTo>
                      <a:pt x="3118" y="4788"/>
                    </a:lnTo>
                    <a:lnTo>
                      <a:pt x="3116" y="4786"/>
                    </a:lnTo>
                    <a:lnTo>
                      <a:pt x="3114" y="4784"/>
                    </a:lnTo>
                    <a:lnTo>
                      <a:pt x="3114" y="4780"/>
                    </a:lnTo>
                    <a:lnTo>
                      <a:pt x="3114" y="4778"/>
                    </a:lnTo>
                    <a:lnTo>
                      <a:pt x="3112" y="4778"/>
                    </a:lnTo>
                    <a:lnTo>
                      <a:pt x="3104" y="4778"/>
                    </a:lnTo>
                    <a:lnTo>
                      <a:pt x="3098" y="4776"/>
                    </a:lnTo>
                    <a:lnTo>
                      <a:pt x="3092" y="4776"/>
                    </a:lnTo>
                    <a:lnTo>
                      <a:pt x="3090" y="4778"/>
                    </a:lnTo>
                    <a:lnTo>
                      <a:pt x="3088" y="4780"/>
                    </a:lnTo>
                    <a:lnTo>
                      <a:pt x="3084" y="4788"/>
                    </a:lnTo>
                    <a:lnTo>
                      <a:pt x="3080" y="4796"/>
                    </a:lnTo>
                    <a:lnTo>
                      <a:pt x="3078" y="4800"/>
                    </a:lnTo>
                    <a:lnTo>
                      <a:pt x="3074" y="4800"/>
                    </a:lnTo>
                    <a:lnTo>
                      <a:pt x="3072" y="4800"/>
                    </a:lnTo>
                    <a:lnTo>
                      <a:pt x="3068" y="4796"/>
                    </a:lnTo>
                    <a:lnTo>
                      <a:pt x="3066" y="4792"/>
                    </a:lnTo>
                    <a:lnTo>
                      <a:pt x="3064" y="4792"/>
                    </a:lnTo>
                    <a:lnTo>
                      <a:pt x="3060" y="4798"/>
                    </a:lnTo>
                    <a:lnTo>
                      <a:pt x="3056" y="4810"/>
                    </a:lnTo>
                    <a:lnTo>
                      <a:pt x="3052" y="4820"/>
                    </a:lnTo>
                    <a:lnTo>
                      <a:pt x="3048" y="4824"/>
                    </a:lnTo>
                    <a:lnTo>
                      <a:pt x="3048" y="4828"/>
                    </a:lnTo>
                    <a:lnTo>
                      <a:pt x="3048" y="4834"/>
                    </a:lnTo>
                    <a:lnTo>
                      <a:pt x="3048" y="4838"/>
                    </a:lnTo>
                    <a:lnTo>
                      <a:pt x="3046" y="4840"/>
                    </a:lnTo>
                    <a:lnTo>
                      <a:pt x="3044" y="4842"/>
                    </a:lnTo>
                    <a:lnTo>
                      <a:pt x="3040" y="4844"/>
                    </a:lnTo>
                    <a:lnTo>
                      <a:pt x="3040" y="4848"/>
                    </a:lnTo>
                    <a:lnTo>
                      <a:pt x="3042" y="4854"/>
                    </a:lnTo>
                    <a:lnTo>
                      <a:pt x="3044" y="4864"/>
                    </a:lnTo>
                    <a:lnTo>
                      <a:pt x="3040" y="4876"/>
                    </a:lnTo>
                    <a:lnTo>
                      <a:pt x="3034" y="4886"/>
                    </a:lnTo>
                    <a:lnTo>
                      <a:pt x="3030" y="4900"/>
                    </a:lnTo>
                    <a:lnTo>
                      <a:pt x="3030" y="4908"/>
                    </a:lnTo>
                    <a:lnTo>
                      <a:pt x="3030" y="4918"/>
                    </a:lnTo>
                    <a:lnTo>
                      <a:pt x="3030" y="4932"/>
                    </a:lnTo>
                    <a:lnTo>
                      <a:pt x="3028" y="4934"/>
                    </a:lnTo>
                    <a:lnTo>
                      <a:pt x="3026" y="4936"/>
                    </a:lnTo>
                    <a:lnTo>
                      <a:pt x="3024" y="4936"/>
                    </a:lnTo>
                    <a:lnTo>
                      <a:pt x="3024" y="4938"/>
                    </a:lnTo>
                    <a:lnTo>
                      <a:pt x="3022" y="4944"/>
                    </a:lnTo>
                    <a:lnTo>
                      <a:pt x="3020" y="4952"/>
                    </a:lnTo>
                    <a:lnTo>
                      <a:pt x="3020" y="4960"/>
                    </a:lnTo>
                    <a:lnTo>
                      <a:pt x="3016" y="4964"/>
                    </a:lnTo>
                    <a:lnTo>
                      <a:pt x="3014" y="4968"/>
                    </a:lnTo>
                    <a:lnTo>
                      <a:pt x="3010" y="4968"/>
                    </a:lnTo>
                    <a:lnTo>
                      <a:pt x="3006" y="4970"/>
                    </a:lnTo>
                    <a:lnTo>
                      <a:pt x="3006" y="4972"/>
                    </a:lnTo>
                    <a:lnTo>
                      <a:pt x="3008" y="4976"/>
                    </a:lnTo>
                    <a:lnTo>
                      <a:pt x="3010" y="4984"/>
                    </a:lnTo>
                    <a:lnTo>
                      <a:pt x="3008" y="4986"/>
                    </a:lnTo>
                    <a:lnTo>
                      <a:pt x="3006" y="4990"/>
                    </a:lnTo>
                    <a:lnTo>
                      <a:pt x="3008" y="5002"/>
                    </a:lnTo>
                    <a:lnTo>
                      <a:pt x="3012" y="5008"/>
                    </a:lnTo>
                    <a:lnTo>
                      <a:pt x="3014" y="5010"/>
                    </a:lnTo>
                    <a:lnTo>
                      <a:pt x="3018" y="5010"/>
                    </a:lnTo>
                    <a:lnTo>
                      <a:pt x="3020" y="5010"/>
                    </a:lnTo>
                    <a:lnTo>
                      <a:pt x="3024" y="5010"/>
                    </a:lnTo>
                    <a:lnTo>
                      <a:pt x="3028" y="5010"/>
                    </a:lnTo>
                    <a:lnTo>
                      <a:pt x="3032" y="5014"/>
                    </a:lnTo>
                    <a:lnTo>
                      <a:pt x="3036" y="5022"/>
                    </a:lnTo>
                    <a:lnTo>
                      <a:pt x="3040" y="5034"/>
                    </a:lnTo>
                    <a:lnTo>
                      <a:pt x="3040" y="5046"/>
                    </a:lnTo>
                    <a:lnTo>
                      <a:pt x="3038" y="5058"/>
                    </a:lnTo>
                    <a:lnTo>
                      <a:pt x="3036" y="5070"/>
                    </a:lnTo>
                    <a:lnTo>
                      <a:pt x="3032" y="5082"/>
                    </a:lnTo>
                    <a:lnTo>
                      <a:pt x="3030" y="5092"/>
                    </a:lnTo>
                    <a:lnTo>
                      <a:pt x="3030" y="5102"/>
                    </a:lnTo>
                    <a:lnTo>
                      <a:pt x="3034" y="5112"/>
                    </a:lnTo>
                    <a:lnTo>
                      <a:pt x="3038" y="5116"/>
                    </a:lnTo>
                    <a:lnTo>
                      <a:pt x="3042" y="5118"/>
                    </a:lnTo>
                    <a:lnTo>
                      <a:pt x="3046" y="5118"/>
                    </a:lnTo>
                    <a:lnTo>
                      <a:pt x="3050" y="5116"/>
                    </a:lnTo>
                    <a:lnTo>
                      <a:pt x="3058" y="5114"/>
                    </a:lnTo>
                    <a:lnTo>
                      <a:pt x="3068" y="5112"/>
                    </a:lnTo>
                    <a:lnTo>
                      <a:pt x="3072" y="5112"/>
                    </a:lnTo>
                    <a:lnTo>
                      <a:pt x="3072" y="5110"/>
                    </a:lnTo>
                    <a:lnTo>
                      <a:pt x="3070" y="5100"/>
                    </a:lnTo>
                    <a:lnTo>
                      <a:pt x="3068" y="5088"/>
                    </a:lnTo>
                    <a:lnTo>
                      <a:pt x="3068" y="5082"/>
                    </a:lnTo>
                    <a:lnTo>
                      <a:pt x="3070" y="5076"/>
                    </a:lnTo>
                    <a:lnTo>
                      <a:pt x="3072" y="5070"/>
                    </a:lnTo>
                    <a:lnTo>
                      <a:pt x="3074" y="5064"/>
                    </a:lnTo>
                    <a:lnTo>
                      <a:pt x="3072" y="5050"/>
                    </a:lnTo>
                    <a:lnTo>
                      <a:pt x="3072" y="5034"/>
                    </a:lnTo>
                    <a:lnTo>
                      <a:pt x="3072" y="5014"/>
                    </a:lnTo>
                    <a:lnTo>
                      <a:pt x="3074" y="5004"/>
                    </a:lnTo>
                    <a:lnTo>
                      <a:pt x="3072" y="4998"/>
                    </a:lnTo>
                    <a:lnTo>
                      <a:pt x="3068" y="4990"/>
                    </a:lnTo>
                    <a:lnTo>
                      <a:pt x="3068" y="4988"/>
                    </a:lnTo>
                    <a:lnTo>
                      <a:pt x="3068" y="4984"/>
                    </a:lnTo>
                    <a:lnTo>
                      <a:pt x="3076" y="4974"/>
                    </a:lnTo>
                    <a:lnTo>
                      <a:pt x="3084" y="4970"/>
                    </a:lnTo>
                    <a:lnTo>
                      <a:pt x="3090" y="4968"/>
                    </a:lnTo>
                    <a:lnTo>
                      <a:pt x="3094" y="4968"/>
                    </a:lnTo>
                    <a:lnTo>
                      <a:pt x="3098" y="4972"/>
                    </a:lnTo>
                    <a:lnTo>
                      <a:pt x="3100" y="4976"/>
                    </a:lnTo>
                    <a:lnTo>
                      <a:pt x="3100" y="4982"/>
                    </a:lnTo>
                    <a:lnTo>
                      <a:pt x="3098" y="4990"/>
                    </a:lnTo>
                    <a:lnTo>
                      <a:pt x="3094" y="4996"/>
                    </a:lnTo>
                    <a:lnTo>
                      <a:pt x="3092" y="5002"/>
                    </a:lnTo>
                    <a:lnTo>
                      <a:pt x="3090" y="5008"/>
                    </a:lnTo>
                    <a:lnTo>
                      <a:pt x="3092" y="5012"/>
                    </a:lnTo>
                    <a:lnTo>
                      <a:pt x="3094" y="5016"/>
                    </a:lnTo>
                    <a:lnTo>
                      <a:pt x="3102" y="5024"/>
                    </a:lnTo>
                    <a:lnTo>
                      <a:pt x="3112" y="5034"/>
                    </a:lnTo>
                    <a:lnTo>
                      <a:pt x="3116" y="5040"/>
                    </a:lnTo>
                    <a:lnTo>
                      <a:pt x="3116" y="5046"/>
                    </a:lnTo>
                    <a:lnTo>
                      <a:pt x="3114" y="5062"/>
                    </a:lnTo>
                    <a:lnTo>
                      <a:pt x="3114" y="5068"/>
                    </a:lnTo>
                    <a:lnTo>
                      <a:pt x="3116" y="5074"/>
                    </a:lnTo>
                    <a:lnTo>
                      <a:pt x="3120" y="5076"/>
                    </a:lnTo>
                    <a:lnTo>
                      <a:pt x="3130" y="5078"/>
                    </a:lnTo>
                    <a:lnTo>
                      <a:pt x="3136" y="5076"/>
                    </a:lnTo>
                    <a:lnTo>
                      <a:pt x="3138" y="5076"/>
                    </a:lnTo>
                    <a:lnTo>
                      <a:pt x="3140" y="5072"/>
                    </a:lnTo>
                    <a:lnTo>
                      <a:pt x="3140" y="5070"/>
                    </a:lnTo>
                    <a:lnTo>
                      <a:pt x="3140" y="5062"/>
                    </a:lnTo>
                    <a:lnTo>
                      <a:pt x="3142" y="5060"/>
                    </a:lnTo>
                    <a:lnTo>
                      <a:pt x="3148" y="5056"/>
                    </a:lnTo>
                    <a:lnTo>
                      <a:pt x="3152" y="5056"/>
                    </a:lnTo>
                    <a:lnTo>
                      <a:pt x="3156" y="5054"/>
                    </a:lnTo>
                    <a:lnTo>
                      <a:pt x="3164" y="5056"/>
                    </a:lnTo>
                    <a:lnTo>
                      <a:pt x="3166" y="5056"/>
                    </a:lnTo>
                    <a:lnTo>
                      <a:pt x="3168" y="5056"/>
                    </a:lnTo>
                    <a:lnTo>
                      <a:pt x="3172" y="5048"/>
                    </a:lnTo>
                    <a:lnTo>
                      <a:pt x="3172" y="5042"/>
                    </a:lnTo>
                    <a:lnTo>
                      <a:pt x="3170" y="5036"/>
                    </a:lnTo>
                    <a:lnTo>
                      <a:pt x="3164" y="5032"/>
                    </a:lnTo>
                    <a:lnTo>
                      <a:pt x="3158" y="5028"/>
                    </a:lnTo>
                    <a:lnTo>
                      <a:pt x="3152" y="5026"/>
                    </a:lnTo>
                    <a:lnTo>
                      <a:pt x="3148" y="5022"/>
                    </a:lnTo>
                    <a:lnTo>
                      <a:pt x="3146" y="5016"/>
                    </a:lnTo>
                    <a:lnTo>
                      <a:pt x="3148" y="5012"/>
                    </a:lnTo>
                    <a:lnTo>
                      <a:pt x="3152" y="5006"/>
                    </a:lnTo>
                    <a:lnTo>
                      <a:pt x="3152" y="4998"/>
                    </a:lnTo>
                    <a:lnTo>
                      <a:pt x="3150" y="4990"/>
                    </a:lnTo>
                    <a:lnTo>
                      <a:pt x="3148" y="4980"/>
                    </a:lnTo>
                    <a:lnTo>
                      <a:pt x="3136" y="4962"/>
                    </a:lnTo>
                    <a:lnTo>
                      <a:pt x="3122" y="4946"/>
                    </a:lnTo>
                    <a:lnTo>
                      <a:pt x="3118" y="4940"/>
                    </a:lnTo>
                    <a:lnTo>
                      <a:pt x="3118" y="4934"/>
                    </a:lnTo>
                    <a:lnTo>
                      <a:pt x="3122" y="4930"/>
                    </a:lnTo>
                    <a:lnTo>
                      <a:pt x="3128" y="4926"/>
                    </a:lnTo>
                    <a:lnTo>
                      <a:pt x="3146" y="4916"/>
                    </a:lnTo>
                    <a:lnTo>
                      <a:pt x="3154" y="4908"/>
                    </a:lnTo>
                    <a:lnTo>
                      <a:pt x="3162" y="4898"/>
                    </a:lnTo>
                    <a:lnTo>
                      <a:pt x="3168" y="4888"/>
                    </a:lnTo>
                    <a:lnTo>
                      <a:pt x="3172" y="4884"/>
                    </a:lnTo>
                    <a:lnTo>
                      <a:pt x="3176" y="4884"/>
                    </a:lnTo>
                    <a:lnTo>
                      <a:pt x="3180" y="4886"/>
                    </a:lnTo>
                    <a:lnTo>
                      <a:pt x="3186" y="4890"/>
                    </a:lnTo>
                    <a:lnTo>
                      <a:pt x="3190" y="4890"/>
                    </a:lnTo>
                    <a:lnTo>
                      <a:pt x="3192" y="4888"/>
                    </a:lnTo>
                    <a:lnTo>
                      <a:pt x="3196" y="4880"/>
                    </a:lnTo>
                    <a:lnTo>
                      <a:pt x="3196" y="4876"/>
                    </a:lnTo>
                    <a:lnTo>
                      <a:pt x="3194" y="4874"/>
                    </a:lnTo>
                    <a:lnTo>
                      <a:pt x="3192" y="4872"/>
                    </a:lnTo>
                    <a:lnTo>
                      <a:pt x="3188" y="4870"/>
                    </a:lnTo>
                    <a:lnTo>
                      <a:pt x="3170" y="4870"/>
                    </a:lnTo>
                    <a:lnTo>
                      <a:pt x="3160" y="4872"/>
                    </a:lnTo>
                    <a:lnTo>
                      <a:pt x="3152" y="4874"/>
                    </a:lnTo>
                    <a:lnTo>
                      <a:pt x="3144" y="4880"/>
                    </a:lnTo>
                    <a:lnTo>
                      <a:pt x="3136" y="4884"/>
                    </a:lnTo>
                    <a:lnTo>
                      <a:pt x="3130" y="4884"/>
                    </a:lnTo>
                    <a:lnTo>
                      <a:pt x="3124" y="4884"/>
                    </a:lnTo>
                    <a:lnTo>
                      <a:pt x="3116" y="4882"/>
                    </a:lnTo>
                    <a:lnTo>
                      <a:pt x="3112" y="4886"/>
                    </a:lnTo>
                    <a:lnTo>
                      <a:pt x="3108" y="4890"/>
                    </a:lnTo>
                    <a:lnTo>
                      <a:pt x="3106" y="4894"/>
                    </a:lnTo>
                    <a:lnTo>
                      <a:pt x="3104" y="4900"/>
                    </a:lnTo>
                    <a:lnTo>
                      <a:pt x="3100" y="4904"/>
                    </a:lnTo>
                    <a:lnTo>
                      <a:pt x="3096" y="4908"/>
                    </a:lnTo>
                    <a:lnTo>
                      <a:pt x="3088" y="4908"/>
                    </a:lnTo>
                    <a:lnTo>
                      <a:pt x="3082" y="4906"/>
                    </a:lnTo>
                    <a:lnTo>
                      <a:pt x="3078" y="4904"/>
                    </a:lnTo>
                    <a:lnTo>
                      <a:pt x="3078" y="4902"/>
                    </a:lnTo>
                    <a:lnTo>
                      <a:pt x="3078" y="4898"/>
                    </a:lnTo>
                    <a:lnTo>
                      <a:pt x="3076" y="4892"/>
                    </a:lnTo>
                    <a:lnTo>
                      <a:pt x="3074" y="4888"/>
                    </a:lnTo>
                    <a:lnTo>
                      <a:pt x="3068" y="4882"/>
                    </a:lnTo>
                    <a:lnTo>
                      <a:pt x="3064" y="4880"/>
                    </a:lnTo>
                    <a:lnTo>
                      <a:pt x="3062" y="4876"/>
                    </a:lnTo>
                    <a:lnTo>
                      <a:pt x="3058" y="4866"/>
                    </a:lnTo>
                    <a:lnTo>
                      <a:pt x="3058" y="4852"/>
                    </a:lnTo>
                    <a:lnTo>
                      <a:pt x="3060" y="4840"/>
                    </a:lnTo>
                    <a:lnTo>
                      <a:pt x="3066" y="4828"/>
                    </a:lnTo>
                    <a:lnTo>
                      <a:pt x="3072" y="4818"/>
                    </a:lnTo>
                    <a:lnTo>
                      <a:pt x="3074" y="4816"/>
                    </a:lnTo>
                    <a:lnTo>
                      <a:pt x="3078" y="4814"/>
                    </a:lnTo>
                    <a:lnTo>
                      <a:pt x="3082" y="4814"/>
                    </a:lnTo>
                    <a:lnTo>
                      <a:pt x="3086" y="4816"/>
                    </a:lnTo>
                    <a:lnTo>
                      <a:pt x="3092" y="4818"/>
                    </a:lnTo>
                    <a:lnTo>
                      <a:pt x="3096" y="4820"/>
                    </a:lnTo>
                    <a:lnTo>
                      <a:pt x="3106" y="4818"/>
                    </a:lnTo>
                    <a:lnTo>
                      <a:pt x="3116" y="4818"/>
                    </a:lnTo>
                    <a:lnTo>
                      <a:pt x="3122" y="4818"/>
                    </a:lnTo>
                    <a:lnTo>
                      <a:pt x="3126" y="4818"/>
                    </a:lnTo>
                    <a:lnTo>
                      <a:pt x="3132" y="4820"/>
                    </a:lnTo>
                    <a:lnTo>
                      <a:pt x="3140" y="4820"/>
                    </a:lnTo>
                    <a:lnTo>
                      <a:pt x="3156" y="4818"/>
                    </a:lnTo>
                    <a:lnTo>
                      <a:pt x="3172" y="4816"/>
                    </a:lnTo>
                    <a:lnTo>
                      <a:pt x="3178" y="4818"/>
                    </a:lnTo>
                    <a:lnTo>
                      <a:pt x="3182" y="4820"/>
                    </a:lnTo>
                    <a:lnTo>
                      <a:pt x="3186" y="4822"/>
                    </a:lnTo>
                    <a:lnTo>
                      <a:pt x="3192" y="4824"/>
                    </a:lnTo>
                    <a:lnTo>
                      <a:pt x="3200" y="4826"/>
                    </a:lnTo>
                    <a:lnTo>
                      <a:pt x="3208" y="4826"/>
                    </a:lnTo>
                    <a:lnTo>
                      <a:pt x="3218" y="4824"/>
                    </a:lnTo>
                    <a:lnTo>
                      <a:pt x="3226" y="4822"/>
                    </a:lnTo>
                    <a:lnTo>
                      <a:pt x="3234" y="4816"/>
                    </a:lnTo>
                    <a:lnTo>
                      <a:pt x="3240" y="4810"/>
                    </a:lnTo>
                    <a:close/>
                    <a:moveTo>
                      <a:pt x="2954" y="5244"/>
                    </a:moveTo>
                    <a:lnTo>
                      <a:pt x="2954" y="5244"/>
                    </a:lnTo>
                    <a:lnTo>
                      <a:pt x="2954" y="5248"/>
                    </a:lnTo>
                    <a:lnTo>
                      <a:pt x="2956" y="5246"/>
                    </a:lnTo>
                    <a:lnTo>
                      <a:pt x="2960" y="5240"/>
                    </a:lnTo>
                    <a:lnTo>
                      <a:pt x="2962" y="5238"/>
                    </a:lnTo>
                    <a:lnTo>
                      <a:pt x="2960" y="5236"/>
                    </a:lnTo>
                    <a:lnTo>
                      <a:pt x="2958" y="5236"/>
                    </a:lnTo>
                    <a:lnTo>
                      <a:pt x="2954" y="5240"/>
                    </a:lnTo>
                    <a:lnTo>
                      <a:pt x="2954" y="5244"/>
                    </a:lnTo>
                    <a:close/>
                    <a:moveTo>
                      <a:pt x="3346" y="4878"/>
                    </a:moveTo>
                    <a:lnTo>
                      <a:pt x="3346" y="4878"/>
                    </a:lnTo>
                    <a:lnTo>
                      <a:pt x="3350" y="4878"/>
                    </a:lnTo>
                    <a:lnTo>
                      <a:pt x="3352" y="4876"/>
                    </a:lnTo>
                    <a:lnTo>
                      <a:pt x="3350" y="4874"/>
                    </a:lnTo>
                    <a:lnTo>
                      <a:pt x="3348" y="4872"/>
                    </a:lnTo>
                    <a:lnTo>
                      <a:pt x="3346" y="4872"/>
                    </a:lnTo>
                    <a:lnTo>
                      <a:pt x="3344" y="4874"/>
                    </a:lnTo>
                    <a:lnTo>
                      <a:pt x="3344" y="4876"/>
                    </a:lnTo>
                    <a:lnTo>
                      <a:pt x="3346" y="4878"/>
                    </a:lnTo>
                    <a:close/>
                    <a:moveTo>
                      <a:pt x="3352" y="4858"/>
                    </a:moveTo>
                    <a:lnTo>
                      <a:pt x="3352" y="4858"/>
                    </a:lnTo>
                    <a:lnTo>
                      <a:pt x="3350" y="4862"/>
                    </a:lnTo>
                    <a:lnTo>
                      <a:pt x="3354" y="4868"/>
                    </a:lnTo>
                    <a:lnTo>
                      <a:pt x="3358" y="4874"/>
                    </a:lnTo>
                    <a:lnTo>
                      <a:pt x="3360" y="4876"/>
                    </a:lnTo>
                    <a:lnTo>
                      <a:pt x="3364" y="4874"/>
                    </a:lnTo>
                    <a:lnTo>
                      <a:pt x="3364" y="4866"/>
                    </a:lnTo>
                    <a:lnTo>
                      <a:pt x="3362" y="4858"/>
                    </a:lnTo>
                    <a:lnTo>
                      <a:pt x="3360" y="4854"/>
                    </a:lnTo>
                    <a:lnTo>
                      <a:pt x="3356" y="4854"/>
                    </a:lnTo>
                    <a:lnTo>
                      <a:pt x="3352" y="4858"/>
                    </a:lnTo>
                    <a:close/>
                    <a:moveTo>
                      <a:pt x="3452" y="4980"/>
                    </a:moveTo>
                    <a:lnTo>
                      <a:pt x="3452" y="4980"/>
                    </a:lnTo>
                    <a:lnTo>
                      <a:pt x="3440" y="4974"/>
                    </a:lnTo>
                    <a:lnTo>
                      <a:pt x="3438" y="4974"/>
                    </a:lnTo>
                    <a:lnTo>
                      <a:pt x="3436" y="4976"/>
                    </a:lnTo>
                    <a:lnTo>
                      <a:pt x="3428" y="4978"/>
                    </a:lnTo>
                    <a:lnTo>
                      <a:pt x="3422" y="4980"/>
                    </a:lnTo>
                    <a:lnTo>
                      <a:pt x="3414" y="4978"/>
                    </a:lnTo>
                    <a:lnTo>
                      <a:pt x="3404" y="4978"/>
                    </a:lnTo>
                    <a:lnTo>
                      <a:pt x="3396" y="4978"/>
                    </a:lnTo>
                    <a:lnTo>
                      <a:pt x="3390" y="4980"/>
                    </a:lnTo>
                    <a:lnTo>
                      <a:pt x="3384" y="4982"/>
                    </a:lnTo>
                    <a:lnTo>
                      <a:pt x="3378" y="4986"/>
                    </a:lnTo>
                    <a:lnTo>
                      <a:pt x="3376" y="4990"/>
                    </a:lnTo>
                    <a:lnTo>
                      <a:pt x="3374" y="4996"/>
                    </a:lnTo>
                    <a:lnTo>
                      <a:pt x="3374" y="5002"/>
                    </a:lnTo>
                    <a:lnTo>
                      <a:pt x="3376" y="5010"/>
                    </a:lnTo>
                    <a:lnTo>
                      <a:pt x="3378" y="5006"/>
                    </a:lnTo>
                    <a:lnTo>
                      <a:pt x="3380" y="4998"/>
                    </a:lnTo>
                    <a:lnTo>
                      <a:pt x="3382" y="4994"/>
                    </a:lnTo>
                    <a:lnTo>
                      <a:pt x="3384" y="4992"/>
                    </a:lnTo>
                    <a:lnTo>
                      <a:pt x="3386" y="4992"/>
                    </a:lnTo>
                    <a:lnTo>
                      <a:pt x="3388" y="4994"/>
                    </a:lnTo>
                    <a:lnTo>
                      <a:pt x="3392" y="5000"/>
                    </a:lnTo>
                    <a:lnTo>
                      <a:pt x="3396" y="5002"/>
                    </a:lnTo>
                    <a:lnTo>
                      <a:pt x="3400" y="5004"/>
                    </a:lnTo>
                    <a:lnTo>
                      <a:pt x="3404" y="5004"/>
                    </a:lnTo>
                    <a:lnTo>
                      <a:pt x="3408" y="5000"/>
                    </a:lnTo>
                    <a:lnTo>
                      <a:pt x="3414" y="4998"/>
                    </a:lnTo>
                    <a:lnTo>
                      <a:pt x="3418" y="4998"/>
                    </a:lnTo>
                    <a:lnTo>
                      <a:pt x="3428" y="5002"/>
                    </a:lnTo>
                    <a:lnTo>
                      <a:pt x="3436" y="5006"/>
                    </a:lnTo>
                    <a:lnTo>
                      <a:pt x="3438" y="5008"/>
                    </a:lnTo>
                    <a:lnTo>
                      <a:pt x="3440" y="5006"/>
                    </a:lnTo>
                    <a:lnTo>
                      <a:pt x="3442" y="5002"/>
                    </a:lnTo>
                    <a:lnTo>
                      <a:pt x="3446" y="5002"/>
                    </a:lnTo>
                    <a:lnTo>
                      <a:pt x="3456" y="5006"/>
                    </a:lnTo>
                    <a:lnTo>
                      <a:pt x="3468" y="5014"/>
                    </a:lnTo>
                    <a:lnTo>
                      <a:pt x="3482" y="5022"/>
                    </a:lnTo>
                    <a:lnTo>
                      <a:pt x="3488" y="5026"/>
                    </a:lnTo>
                    <a:lnTo>
                      <a:pt x="3492" y="5028"/>
                    </a:lnTo>
                    <a:lnTo>
                      <a:pt x="3494" y="5026"/>
                    </a:lnTo>
                    <a:lnTo>
                      <a:pt x="3496" y="5024"/>
                    </a:lnTo>
                    <a:lnTo>
                      <a:pt x="3494" y="5012"/>
                    </a:lnTo>
                    <a:lnTo>
                      <a:pt x="3484" y="4994"/>
                    </a:lnTo>
                    <a:lnTo>
                      <a:pt x="3478" y="4988"/>
                    </a:lnTo>
                    <a:lnTo>
                      <a:pt x="3476" y="4984"/>
                    </a:lnTo>
                    <a:lnTo>
                      <a:pt x="3472" y="4982"/>
                    </a:lnTo>
                    <a:lnTo>
                      <a:pt x="3470" y="4984"/>
                    </a:lnTo>
                    <a:lnTo>
                      <a:pt x="3464" y="4984"/>
                    </a:lnTo>
                    <a:lnTo>
                      <a:pt x="3458" y="4984"/>
                    </a:lnTo>
                    <a:lnTo>
                      <a:pt x="3452" y="4980"/>
                    </a:lnTo>
                    <a:close/>
                    <a:moveTo>
                      <a:pt x="3092" y="4546"/>
                    </a:moveTo>
                    <a:lnTo>
                      <a:pt x="3092" y="4546"/>
                    </a:lnTo>
                    <a:lnTo>
                      <a:pt x="3090" y="4552"/>
                    </a:lnTo>
                    <a:lnTo>
                      <a:pt x="3092" y="4552"/>
                    </a:lnTo>
                    <a:lnTo>
                      <a:pt x="3094" y="4552"/>
                    </a:lnTo>
                    <a:lnTo>
                      <a:pt x="3098" y="4552"/>
                    </a:lnTo>
                    <a:lnTo>
                      <a:pt x="3104" y="4552"/>
                    </a:lnTo>
                    <a:lnTo>
                      <a:pt x="3108" y="4554"/>
                    </a:lnTo>
                    <a:lnTo>
                      <a:pt x="3112" y="4552"/>
                    </a:lnTo>
                    <a:lnTo>
                      <a:pt x="3112" y="4548"/>
                    </a:lnTo>
                    <a:lnTo>
                      <a:pt x="3110" y="4548"/>
                    </a:lnTo>
                    <a:lnTo>
                      <a:pt x="3106" y="4546"/>
                    </a:lnTo>
                    <a:lnTo>
                      <a:pt x="3102" y="4542"/>
                    </a:lnTo>
                    <a:lnTo>
                      <a:pt x="3100" y="4540"/>
                    </a:lnTo>
                    <a:lnTo>
                      <a:pt x="3098" y="4540"/>
                    </a:lnTo>
                    <a:lnTo>
                      <a:pt x="3096" y="4542"/>
                    </a:lnTo>
                    <a:lnTo>
                      <a:pt x="3092" y="4546"/>
                    </a:lnTo>
                    <a:close/>
                    <a:moveTo>
                      <a:pt x="3058" y="4324"/>
                    </a:moveTo>
                    <a:lnTo>
                      <a:pt x="3058" y="4324"/>
                    </a:lnTo>
                    <a:lnTo>
                      <a:pt x="3056" y="4322"/>
                    </a:lnTo>
                    <a:lnTo>
                      <a:pt x="3052" y="4322"/>
                    </a:lnTo>
                    <a:lnTo>
                      <a:pt x="3048" y="4326"/>
                    </a:lnTo>
                    <a:lnTo>
                      <a:pt x="3048" y="4330"/>
                    </a:lnTo>
                    <a:lnTo>
                      <a:pt x="3050" y="4330"/>
                    </a:lnTo>
                    <a:lnTo>
                      <a:pt x="3058" y="4324"/>
                    </a:lnTo>
                    <a:close/>
                    <a:moveTo>
                      <a:pt x="3358" y="4790"/>
                    </a:moveTo>
                    <a:lnTo>
                      <a:pt x="3358" y="4790"/>
                    </a:lnTo>
                    <a:lnTo>
                      <a:pt x="3360" y="4800"/>
                    </a:lnTo>
                    <a:lnTo>
                      <a:pt x="3358" y="4806"/>
                    </a:lnTo>
                    <a:lnTo>
                      <a:pt x="3358" y="4812"/>
                    </a:lnTo>
                    <a:lnTo>
                      <a:pt x="3358" y="4816"/>
                    </a:lnTo>
                    <a:lnTo>
                      <a:pt x="3362" y="4820"/>
                    </a:lnTo>
                    <a:lnTo>
                      <a:pt x="3364" y="4826"/>
                    </a:lnTo>
                    <a:lnTo>
                      <a:pt x="3364" y="4830"/>
                    </a:lnTo>
                    <a:lnTo>
                      <a:pt x="3364" y="4838"/>
                    </a:lnTo>
                    <a:lnTo>
                      <a:pt x="3364" y="4846"/>
                    </a:lnTo>
                    <a:lnTo>
                      <a:pt x="3364" y="4850"/>
                    </a:lnTo>
                    <a:lnTo>
                      <a:pt x="3368" y="4856"/>
                    </a:lnTo>
                    <a:lnTo>
                      <a:pt x="3382" y="4876"/>
                    </a:lnTo>
                    <a:lnTo>
                      <a:pt x="3388" y="4882"/>
                    </a:lnTo>
                    <a:lnTo>
                      <a:pt x="3390" y="4884"/>
                    </a:lnTo>
                    <a:lnTo>
                      <a:pt x="3394" y="4884"/>
                    </a:lnTo>
                    <a:lnTo>
                      <a:pt x="3394" y="4882"/>
                    </a:lnTo>
                    <a:lnTo>
                      <a:pt x="3394" y="4880"/>
                    </a:lnTo>
                    <a:lnTo>
                      <a:pt x="3390" y="4876"/>
                    </a:lnTo>
                    <a:lnTo>
                      <a:pt x="3384" y="4868"/>
                    </a:lnTo>
                    <a:lnTo>
                      <a:pt x="3380" y="4860"/>
                    </a:lnTo>
                    <a:lnTo>
                      <a:pt x="3376" y="4848"/>
                    </a:lnTo>
                    <a:lnTo>
                      <a:pt x="3374" y="4836"/>
                    </a:lnTo>
                    <a:lnTo>
                      <a:pt x="3374" y="4826"/>
                    </a:lnTo>
                    <a:lnTo>
                      <a:pt x="3376" y="4820"/>
                    </a:lnTo>
                    <a:lnTo>
                      <a:pt x="3380" y="4818"/>
                    </a:lnTo>
                    <a:lnTo>
                      <a:pt x="3382" y="4818"/>
                    </a:lnTo>
                    <a:lnTo>
                      <a:pt x="3390" y="4820"/>
                    </a:lnTo>
                    <a:lnTo>
                      <a:pt x="3402" y="4824"/>
                    </a:lnTo>
                    <a:lnTo>
                      <a:pt x="3406" y="4826"/>
                    </a:lnTo>
                    <a:lnTo>
                      <a:pt x="3410" y="4826"/>
                    </a:lnTo>
                    <a:lnTo>
                      <a:pt x="3410" y="4822"/>
                    </a:lnTo>
                    <a:lnTo>
                      <a:pt x="3406" y="4816"/>
                    </a:lnTo>
                    <a:lnTo>
                      <a:pt x="3400" y="4812"/>
                    </a:lnTo>
                    <a:lnTo>
                      <a:pt x="3394" y="4810"/>
                    </a:lnTo>
                    <a:lnTo>
                      <a:pt x="3390" y="4806"/>
                    </a:lnTo>
                    <a:lnTo>
                      <a:pt x="3386" y="4804"/>
                    </a:lnTo>
                    <a:lnTo>
                      <a:pt x="3386" y="4802"/>
                    </a:lnTo>
                    <a:lnTo>
                      <a:pt x="3388" y="4800"/>
                    </a:lnTo>
                    <a:lnTo>
                      <a:pt x="3394" y="4796"/>
                    </a:lnTo>
                    <a:lnTo>
                      <a:pt x="3400" y="4792"/>
                    </a:lnTo>
                    <a:lnTo>
                      <a:pt x="3404" y="4788"/>
                    </a:lnTo>
                    <a:lnTo>
                      <a:pt x="3406" y="4784"/>
                    </a:lnTo>
                    <a:lnTo>
                      <a:pt x="3408" y="4774"/>
                    </a:lnTo>
                    <a:lnTo>
                      <a:pt x="3406" y="4770"/>
                    </a:lnTo>
                    <a:lnTo>
                      <a:pt x="3404" y="4766"/>
                    </a:lnTo>
                    <a:lnTo>
                      <a:pt x="3400" y="4766"/>
                    </a:lnTo>
                    <a:lnTo>
                      <a:pt x="3396" y="4766"/>
                    </a:lnTo>
                    <a:lnTo>
                      <a:pt x="3390" y="4770"/>
                    </a:lnTo>
                    <a:lnTo>
                      <a:pt x="3386" y="4774"/>
                    </a:lnTo>
                    <a:lnTo>
                      <a:pt x="3378" y="4788"/>
                    </a:lnTo>
                    <a:lnTo>
                      <a:pt x="3372" y="4800"/>
                    </a:lnTo>
                    <a:lnTo>
                      <a:pt x="3370" y="4800"/>
                    </a:lnTo>
                    <a:lnTo>
                      <a:pt x="3368" y="4798"/>
                    </a:lnTo>
                    <a:lnTo>
                      <a:pt x="3366" y="4792"/>
                    </a:lnTo>
                    <a:lnTo>
                      <a:pt x="3368" y="4788"/>
                    </a:lnTo>
                    <a:lnTo>
                      <a:pt x="3372" y="4782"/>
                    </a:lnTo>
                    <a:lnTo>
                      <a:pt x="3378" y="4772"/>
                    </a:lnTo>
                    <a:lnTo>
                      <a:pt x="3378" y="4766"/>
                    </a:lnTo>
                    <a:lnTo>
                      <a:pt x="3378" y="4762"/>
                    </a:lnTo>
                    <a:lnTo>
                      <a:pt x="3376" y="4754"/>
                    </a:lnTo>
                    <a:lnTo>
                      <a:pt x="3374" y="4750"/>
                    </a:lnTo>
                    <a:lnTo>
                      <a:pt x="3374" y="4748"/>
                    </a:lnTo>
                    <a:lnTo>
                      <a:pt x="3374" y="4744"/>
                    </a:lnTo>
                    <a:lnTo>
                      <a:pt x="3378" y="4734"/>
                    </a:lnTo>
                    <a:lnTo>
                      <a:pt x="3378" y="4732"/>
                    </a:lnTo>
                    <a:lnTo>
                      <a:pt x="3376" y="4732"/>
                    </a:lnTo>
                    <a:lnTo>
                      <a:pt x="3370" y="4736"/>
                    </a:lnTo>
                    <a:lnTo>
                      <a:pt x="3366" y="4740"/>
                    </a:lnTo>
                    <a:lnTo>
                      <a:pt x="3362" y="4746"/>
                    </a:lnTo>
                    <a:lnTo>
                      <a:pt x="3356" y="4760"/>
                    </a:lnTo>
                    <a:lnTo>
                      <a:pt x="3356" y="4776"/>
                    </a:lnTo>
                    <a:lnTo>
                      <a:pt x="3356" y="4784"/>
                    </a:lnTo>
                    <a:lnTo>
                      <a:pt x="3358" y="4790"/>
                    </a:lnTo>
                    <a:close/>
                    <a:moveTo>
                      <a:pt x="3086" y="4178"/>
                    </a:moveTo>
                    <a:lnTo>
                      <a:pt x="3086" y="4178"/>
                    </a:lnTo>
                    <a:lnTo>
                      <a:pt x="3076" y="4178"/>
                    </a:lnTo>
                    <a:lnTo>
                      <a:pt x="3070" y="4180"/>
                    </a:lnTo>
                    <a:lnTo>
                      <a:pt x="3068" y="4184"/>
                    </a:lnTo>
                    <a:lnTo>
                      <a:pt x="3072" y="4186"/>
                    </a:lnTo>
                    <a:lnTo>
                      <a:pt x="3076" y="4188"/>
                    </a:lnTo>
                    <a:lnTo>
                      <a:pt x="3076" y="4190"/>
                    </a:lnTo>
                    <a:lnTo>
                      <a:pt x="3078" y="4194"/>
                    </a:lnTo>
                    <a:lnTo>
                      <a:pt x="3080" y="4196"/>
                    </a:lnTo>
                    <a:lnTo>
                      <a:pt x="3084" y="4202"/>
                    </a:lnTo>
                    <a:lnTo>
                      <a:pt x="3088" y="4212"/>
                    </a:lnTo>
                    <a:lnTo>
                      <a:pt x="3092" y="4224"/>
                    </a:lnTo>
                    <a:lnTo>
                      <a:pt x="3098" y="4238"/>
                    </a:lnTo>
                    <a:lnTo>
                      <a:pt x="3102" y="4244"/>
                    </a:lnTo>
                    <a:lnTo>
                      <a:pt x="3104" y="4244"/>
                    </a:lnTo>
                    <a:lnTo>
                      <a:pt x="3106" y="4244"/>
                    </a:lnTo>
                    <a:lnTo>
                      <a:pt x="3112" y="4240"/>
                    </a:lnTo>
                    <a:lnTo>
                      <a:pt x="3116" y="4232"/>
                    </a:lnTo>
                    <a:lnTo>
                      <a:pt x="3118" y="4224"/>
                    </a:lnTo>
                    <a:lnTo>
                      <a:pt x="3118" y="4220"/>
                    </a:lnTo>
                    <a:lnTo>
                      <a:pt x="3116" y="4216"/>
                    </a:lnTo>
                    <a:lnTo>
                      <a:pt x="3116" y="4208"/>
                    </a:lnTo>
                    <a:lnTo>
                      <a:pt x="3118" y="4204"/>
                    </a:lnTo>
                    <a:lnTo>
                      <a:pt x="3116" y="4198"/>
                    </a:lnTo>
                    <a:lnTo>
                      <a:pt x="3114" y="4194"/>
                    </a:lnTo>
                    <a:lnTo>
                      <a:pt x="3110" y="4190"/>
                    </a:lnTo>
                    <a:lnTo>
                      <a:pt x="3100" y="4184"/>
                    </a:lnTo>
                    <a:lnTo>
                      <a:pt x="3086" y="4178"/>
                    </a:lnTo>
                    <a:close/>
                    <a:moveTo>
                      <a:pt x="3138" y="4192"/>
                    </a:moveTo>
                    <a:lnTo>
                      <a:pt x="3138" y="4192"/>
                    </a:lnTo>
                    <a:lnTo>
                      <a:pt x="3140" y="4190"/>
                    </a:lnTo>
                    <a:lnTo>
                      <a:pt x="3142" y="4186"/>
                    </a:lnTo>
                    <a:lnTo>
                      <a:pt x="3140" y="4180"/>
                    </a:lnTo>
                    <a:lnTo>
                      <a:pt x="3138" y="4178"/>
                    </a:lnTo>
                    <a:lnTo>
                      <a:pt x="3134" y="4178"/>
                    </a:lnTo>
                    <a:lnTo>
                      <a:pt x="3132" y="4178"/>
                    </a:lnTo>
                    <a:lnTo>
                      <a:pt x="3130" y="4178"/>
                    </a:lnTo>
                    <a:lnTo>
                      <a:pt x="3130" y="4184"/>
                    </a:lnTo>
                    <a:lnTo>
                      <a:pt x="3130" y="4188"/>
                    </a:lnTo>
                    <a:lnTo>
                      <a:pt x="3132" y="4192"/>
                    </a:lnTo>
                    <a:lnTo>
                      <a:pt x="3134" y="4194"/>
                    </a:lnTo>
                    <a:lnTo>
                      <a:pt x="3138" y="4192"/>
                    </a:lnTo>
                    <a:close/>
                    <a:moveTo>
                      <a:pt x="3386" y="4736"/>
                    </a:moveTo>
                    <a:lnTo>
                      <a:pt x="3386" y="4736"/>
                    </a:lnTo>
                    <a:lnTo>
                      <a:pt x="3388" y="4742"/>
                    </a:lnTo>
                    <a:lnTo>
                      <a:pt x="3392" y="4742"/>
                    </a:lnTo>
                    <a:lnTo>
                      <a:pt x="3396" y="4740"/>
                    </a:lnTo>
                    <a:lnTo>
                      <a:pt x="3398" y="4736"/>
                    </a:lnTo>
                    <a:lnTo>
                      <a:pt x="3402" y="4732"/>
                    </a:lnTo>
                    <a:lnTo>
                      <a:pt x="3404" y="4726"/>
                    </a:lnTo>
                    <a:lnTo>
                      <a:pt x="3404" y="4720"/>
                    </a:lnTo>
                    <a:lnTo>
                      <a:pt x="3404" y="4714"/>
                    </a:lnTo>
                    <a:lnTo>
                      <a:pt x="3400" y="4712"/>
                    </a:lnTo>
                    <a:lnTo>
                      <a:pt x="3398" y="4712"/>
                    </a:lnTo>
                    <a:lnTo>
                      <a:pt x="3394" y="4714"/>
                    </a:lnTo>
                    <a:lnTo>
                      <a:pt x="3392" y="4718"/>
                    </a:lnTo>
                    <a:lnTo>
                      <a:pt x="3388" y="4726"/>
                    </a:lnTo>
                    <a:lnTo>
                      <a:pt x="3386" y="4736"/>
                    </a:lnTo>
                    <a:close/>
                    <a:moveTo>
                      <a:pt x="3378" y="4912"/>
                    </a:moveTo>
                    <a:lnTo>
                      <a:pt x="3378" y="4912"/>
                    </a:lnTo>
                    <a:lnTo>
                      <a:pt x="3374" y="4908"/>
                    </a:lnTo>
                    <a:lnTo>
                      <a:pt x="3370" y="4906"/>
                    </a:lnTo>
                    <a:lnTo>
                      <a:pt x="3364" y="4904"/>
                    </a:lnTo>
                    <a:lnTo>
                      <a:pt x="3362" y="4904"/>
                    </a:lnTo>
                    <a:lnTo>
                      <a:pt x="3358" y="4906"/>
                    </a:lnTo>
                    <a:lnTo>
                      <a:pt x="3356" y="4908"/>
                    </a:lnTo>
                    <a:lnTo>
                      <a:pt x="3354" y="4912"/>
                    </a:lnTo>
                    <a:lnTo>
                      <a:pt x="3354" y="4916"/>
                    </a:lnTo>
                    <a:lnTo>
                      <a:pt x="3354" y="4922"/>
                    </a:lnTo>
                    <a:lnTo>
                      <a:pt x="3358" y="4924"/>
                    </a:lnTo>
                    <a:lnTo>
                      <a:pt x="3366" y="4922"/>
                    </a:lnTo>
                    <a:lnTo>
                      <a:pt x="3382" y="4922"/>
                    </a:lnTo>
                    <a:lnTo>
                      <a:pt x="3384" y="4922"/>
                    </a:lnTo>
                    <a:lnTo>
                      <a:pt x="3384" y="4920"/>
                    </a:lnTo>
                    <a:lnTo>
                      <a:pt x="3378" y="4912"/>
                    </a:lnTo>
                    <a:close/>
                    <a:moveTo>
                      <a:pt x="3378" y="5236"/>
                    </a:moveTo>
                    <a:lnTo>
                      <a:pt x="3378" y="5236"/>
                    </a:lnTo>
                    <a:lnTo>
                      <a:pt x="3374" y="5234"/>
                    </a:lnTo>
                    <a:lnTo>
                      <a:pt x="3370" y="5234"/>
                    </a:lnTo>
                    <a:lnTo>
                      <a:pt x="3368" y="5236"/>
                    </a:lnTo>
                    <a:lnTo>
                      <a:pt x="3372" y="5240"/>
                    </a:lnTo>
                    <a:lnTo>
                      <a:pt x="3376" y="5242"/>
                    </a:lnTo>
                    <a:lnTo>
                      <a:pt x="3380" y="5240"/>
                    </a:lnTo>
                    <a:lnTo>
                      <a:pt x="3380" y="5238"/>
                    </a:lnTo>
                    <a:lnTo>
                      <a:pt x="3378" y="5236"/>
                    </a:lnTo>
                    <a:close/>
                    <a:moveTo>
                      <a:pt x="3444" y="5230"/>
                    </a:moveTo>
                    <a:lnTo>
                      <a:pt x="3444" y="5230"/>
                    </a:lnTo>
                    <a:lnTo>
                      <a:pt x="3448" y="5232"/>
                    </a:lnTo>
                    <a:lnTo>
                      <a:pt x="3450" y="5230"/>
                    </a:lnTo>
                    <a:lnTo>
                      <a:pt x="3452" y="5228"/>
                    </a:lnTo>
                    <a:lnTo>
                      <a:pt x="3452" y="5224"/>
                    </a:lnTo>
                    <a:lnTo>
                      <a:pt x="3448" y="5220"/>
                    </a:lnTo>
                    <a:lnTo>
                      <a:pt x="3442" y="5218"/>
                    </a:lnTo>
                    <a:lnTo>
                      <a:pt x="3440" y="5220"/>
                    </a:lnTo>
                    <a:lnTo>
                      <a:pt x="3442" y="5224"/>
                    </a:lnTo>
                    <a:lnTo>
                      <a:pt x="3444" y="5230"/>
                    </a:lnTo>
                    <a:close/>
                    <a:moveTo>
                      <a:pt x="3364" y="4876"/>
                    </a:moveTo>
                    <a:lnTo>
                      <a:pt x="3364" y="4876"/>
                    </a:lnTo>
                    <a:lnTo>
                      <a:pt x="3364" y="4878"/>
                    </a:lnTo>
                    <a:lnTo>
                      <a:pt x="3366" y="4880"/>
                    </a:lnTo>
                    <a:lnTo>
                      <a:pt x="3370" y="4882"/>
                    </a:lnTo>
                    <a:lnTo>
                      <a:pt x="3372" y="4880"/>
                    </a:lnTo>
                    <a:lnTo>
                      <a:pt x="3374" y="4876"/>
                    </a:lnTo>
                    <a:lnTo>
                      <a:pt x="3372" y="4874"/>
                    </a:lnTo>
                    <a:lnTo>
                      <a:pt x="3368" y="4874"/>
                    </a:lnTo>
                    <a:lnTo>
                      <a:pt x="3364" y="4876"/>
                    </a:lnTo>
                    <a:close/>
                    <a:moveTo>
                      <a:pt x="3374" y="5022"/>
                    </a:moveTo>
                    <a:lnTo>
                      <a:pt x="3374" y="5022"/>
                    </a:lnTo>
                    <a:lnTo>
                      <a:pt x="3378" y="5024"/>
                    </a:lnTo>
                    <a:lnTo>
                      <a:pt x="3384" y="5022"/>
                    </a:lnTo>
                    <a:lnTo>
                      <a:pt x="3388" y="5018"/>
                    </a:lnTo>
                    <a:lnTo>
                      <a:pt x="3390" y="5012"/>
                    </a:lnTo>
                    <a:lnTo>
                      <a:pt x="3390" y="5010"/>
                    </a:lnTo>
                    <a:lnTo>
                      <a:pt x="3388" y="5010"/>
                    </a:lnTo>
                    <a:lnTo>
                      <a:pt x="3382" y="5012"/>
                    </a:lnTo>
                    <a:lnTo>
                      <a:pt x="3376" y="5018"/>
                    </a:lnTo>
                    <a:lnTo>
                      <a:pt x="3374" y="5020"/>
                    </a:lnTo>
                    <a:lnTo>
                      <a:pt x="3374" y="5022"/>
                    </a:lnTo>
                    <a:close/>
                    <a:moveTo>
                      <a:pt x="3412" y="3200"/>
                    </a:moveTo>
                    <a:lnTo>
                      <a:pt x="3412" y="3200"/>
                    </a:lnTo>
                    <a:lnTo>
                      <a:pt x="3408" y="3200"/>
                    </a:lnTo>
                    <a:lnTo>
                      <a:pt x="3406" y="3202"/>
                    </a:lnTo>
                    <a:lnTo>
                      <a:pt x="3404" y="3206"/>
                    </a:lnTo>
                    <a:lnTo>
                      <a:pt x="3406" y="3208"/>
                    </a:lnTo>
                    <a:lnTo>
                      <a:pt x="3408" y="3208"/>
                    </a:lnTo>
                    <a:lnTo>
                      <a:pt x="3414" y="3206"/>
                    </a:lnTo>
                    <a:lnTo>
                      <a:pt x="3416" y="3204"/>
                    </a:lnTo>
                    <a:lnTo>
                      <a:pt x="3416" y="3202"/>
                    </a:lnTo>
                    <a:lnTo>
                      <a:pt x="3412" y="3200"/>
                    </a:lnTo>
                    <a:close/>
                    <a:moveTo>
                      <a:pt x="3402" y="3084"/>
                    </a:moveTo>
                    <a:lnTo>
                      <a:pt x="3402" y="3084"/>
                    </a:lnTo>
                    <a:lnTo>
                      <a:pt x="3400" y="3088"/>
                    </a:lnTo>
                    <a:lnTo>
                      <a:pt x="3398" y="3092"/>
                    </a:lnTo>
                    <a:lnTo>
                      <a:pt x="3400" y="3096"/>
                    </a:lnTo>
                    <a:lnTo>
                      <a:pt x="3402" y="3098"/>
                    </a:lnTo>
                    <a:lnTo>
                      <a:pt x="3404" y="3096"/>
                    </a:lnTo>
                    <a:lnTo>
                      <a:pt x="3406" y="3092"/>
                    </a:lnTo>
                    <a:lnTo>
                      <a:pt x="3406" y="3088"/>
                    </a:lnTo>
                    <a:lnTo>
                      <a:pt x="3406" y="3084"/>
                    </a:lnTo>
                    <a:lnTo>
                      <a:pt x="3404" y="3084"/>
                    </a:lnTo>
                    <a:lnTo>
                      <a:pt x="3402" y="3084"/>
                    </a:lnTo>
                    <a:close/>
                    <a:moveTo>
                      <a:pt x="3416" y="3464"/>
                    </a:moveTo>
                    <a:lnTo>
                      <a:pt x="3416" y="3464"/>
                    </a:lnTo>
                    <a:lnTo>
                      <a:pt x="3420" y="3466"/>
                    </a:lnTo>
                    <a:lnTo>
                      <a:pt x="3422" y="3464"/>
                    </a:lnTo>
                    <a:lnTo>
                      <a:pt x="3422" y="3460"/>
                    </a:lnTo>
                    <a:lnTo>
                      <a:pt x="3420" y="3454"/>
                    </a:lnTo>
                    <a:lnTo>
                      <a:pt x="3418" y="3452"/>
                    </a:lnTo>
                    <a:lnTo>
                      <a:pt x="3416" y="3454"/>
                    </a:lnTo>
                    <a:lnTo>
                      <a:pt x="3414" y="3458"/>
                    </a:lnTo>
                    <a:lnTo>
                      <a:pt x="3416" y="3464"/>
                    </a:lnTo>
                    <a:close/>
                    <a:moveTo>
                      <a:pt x="2806" y="3776"/>
                    </a:moveTo>
                    <a:lnTo>
                      <a:pt x="2806" y="3776"/>
                    </a:lnTo>
                    <a:lnTo>
                      <a:pt x="2810" y="3778"/>
                    </a:lnTo>
                    <a:lnTo>
                      <a:pt x="2814" y="3778"/>
                    </a:lnTo>
                    <a:lnTo>
                      <a:pt x="2816" y="3776"/>
                    </a:lnTo>
                    <a:lnTo>
                      <a:pt x="2818" y="3774"/>
                    </a:lnTo>
                    <a:lnTo>
                      <a:pt x="2820" y="3768"/>
                    </a:lnTo>
                    <a:lnTo>
                      <a:pt x="2818" y="3762"/>
                    </a:lnTo>
                    <a:lnTo>
                      <a:pt x="2820" y="3758"/>
                    </a:lnTo>
                    <a:lnTo>
                      <a:pt x="2820" y="3754"/>
                    </a:lnTo>
                    <a:lnTo>
                      <a:pt x="2820" y="3752"/>
                    </a:lnTo>
                    <a:lnTo>
                      <a:pt x="2818" y="3752"/>
                    </a:lnTo>
                    <a:lnTo>
                      <a:pt x="2814" y="3752"/>
                    </a:lnTo>
                    <a:lnTo>
                      <a:pt x="2812" y="3752"/>
                    </a:lnTo>
                    <a:lnTo>
                      <a:pt x="2814" y="3752"/>
                    </a:lnTo>
                    <a:lnTo>
                      <a:pt x="2814" y="3750"/>
                    </a:lnTo>
                    <a:lnTo>
                      <a:pt x="2812" y="3748"/>
                    </a:lnTo>
                    <a:lnTo>
                      <a:pt x="2810" y="3750"/>
                    </a:lnTo>
                    <a:lnTo>
                      <a:pt x="2808" y="3752"/>
                    </a:lnTo>
                    <a:lnTo>
                      <a:pt x="2808" y="3756"/>
                    </a:lnTo>
                    <a:lnTo>
                      <a:pt x="2806" y="3758"/>
                    </a:lnTo>
                    <a:lnTo>
                      <a:pt x="2802" y="3760"/>
                    </a:lnTo>
                    <a:lnTo>
                      <a:pt x="2802" y="3766"/>
                    </a:lnTo>
                    <a:lnTo>
                      <a:pt x="2802" y="3774"/>
                    </a:lnTo>
                    <a:lnTo>
                      <a:pt x="2800" y="3774"/>
                    </a:lnTo>
                    <a:lnTo>
                      <a:pt x="2802" y="3774"/>
                    </a:lnTo>
                    <a:lnTo>
                      <a:pt x="2804" y="3774"/>
                    </a:lnTo>
                    <a:lnTo>
                      <a:pt x="2806" y="3776"/>
                    </a:lnTo>
                    <a:close/>
                    <a:moveTo>
                      <a:pt x="3380" y="3090"/>
                    </a:moveTo>
                    <a:lnTo>
                      <a:pt x="3380" y="3090"/>
                    </a:lnTo>
                    <a:lnTo>
                      <a:pt x="3378" y="3088"/>
                    </a:lnTo>
                    <a:lnTo>
                      <a:pt x="3376" y="3086"/>
                    </a:lnTo>
                    <a:lnTo>
                      <a:pt x="3372" y="3088"/>
                    </a:lnTo>
                    <a:lnTo>
                      <a:pt x="3370" y="3090"/>
                    </a:lnTo>
                    <a:lnTo>
                      <a:pt x="3370" y="3092"/>
                    </a:lnTo>
                    <a:lnTo>
                      <a:pt x="3376" y="3096"/>
                    </a:lnTo>
                    <a:lnTo>
                      <a:pt x="3378" y="3096"/>
                    </a:lnTo>
                    <a:lnTo>
                      <a:pt x="3380" y="3096"/>
                    </a:lnTo>
                    <a:lnTo>
                      <a:pt x="3380" y="3090"/>
                    </a:lnTo>
                    <a:close/>
                    <a:moveTo>
                      <a:pt x="3918" y="2740"/>
                    </a:moveTo>
                    <a:lnTo>
                      <a:pt x="3918" y="2740"/>
                    </a:lnTo>
                    <a:lnTo>
                      <a:pt x="3918" y="2736"/>
                    </a:lnTo>
                    <a:lnTo>
                      <a:pt x="3918" y="2734"/>
                    </a:lnTo>
                    <a:lnTo>
                      <a:pt x="3914" y="2732"/>
                    </a:lnTo>
                    <a:lnTo>
                      <a:pt x="3908" y="2730"/>
                    </a:lnTo>
                    <a:lnTo>
                      <a:pt x="3902" y="2728"/>
                    </a:lnTo>
                    <a:lnTo>
                      <a:pt x="3900" y="2726"/>
                    </a:lnTo>
                    <a:lnTo>
                      <a:pt x="3898" y="2728"/>
                    </a:lnTo>
                    <a:lnTo>
                      <a:pt x="3894" y="2736"/>
                    </a:lnTo>
                    <a:lnTo>
                      <a:pt x="3894" y="2740"/>
                    </a:lnTo>
                    <a:lnTo>
                      <a:pt x="3894" y="2744"/>
                    </a:lnTo>
                    <a:lnTo>
                      <a:pt x="3898" y="2746"/>
                    </a:lnTo>
                    <a:lnTo>
                      <a:pt x="3902" y="2744"/>
                    </a:lnTo>
                    <a:lnTo>
                      <a:pt x="3906" y="2744"/>
                    </a:lnTo>
                    <a:lnTo>
                      <a:pt x="3910" y="2746"/>
                    </a:lnTo>
                    <a:lnTo>
                      <a:pt x="3910" y="2748"/>
                    </a:lnTo>
                    <a:lnTo>
                      <a:pt x="3912" y="2752"/>
                    </a:lnTo>
                    <a:lnTo>
                      <a:pt x="3908" y="2760"/>
                    </a:lnTo>
                    <a:lnTo>
                      <a:pt x="3906" y="2762"/>
                    </a:lnTo>
                    <a:lnTo>
                      <a:pt x="3904" y="2760"/>
                    </a:lnTo>
                    <a:lnTo>
                      <a:pt x="3900" y="2758"/>
                    </a:lnTo>
                    <a:lnTo>
                      <a:pt x="3898" y="2760"/>
                    </a:lnTo>
                    <a:lnTo>
                      <a:pt x="3894" y="2762"/>
                    </a:lnTo>
                    <a:lnTo>
                      <a:pt x="3890" y="2764"/>
                    </a:lnTo>
                    <a:lnTo>
                      <a:pt x="3888" y="2762"/>
                    </a:lnTo>
                    <a:lnTo>
                      <a:pt x="3888" y="2756"/>
                    </a:lnTo>
                    <a:lnTo>
                      <a:pt x="3886" y="2746"/>
                    </a:lnTo>
                    <a:lnTo>
                      <a:pt x="3884" y="2742"/>
                    </a:lnTo>
                    <a:lnTo>
                      <a:pt x="3880" y="2740"/>
                    </a:lnTo>
                    <a:lnTo>
                      <a:pt x="3878" y="2742"/>
                    </a:lnTo>
                    <a:lnTo>
                      <a:pt x="3876" y="2744"/>
                    </a:lnTo>
                    <a:lnTo>
                      <a:pt x="3874" y="2750"/>
                    </a:lnTo>
                    <a:lnTo>
                      <a:pt x="3874" y="2758"/>
                    </a:lnTo>
                    <a:lnTo>
                      <a:pt x="3872" y="2764"/>
                    </a:lnTo>
                    <a:lnTo>
                      <a:pt x="3870" y="2768"/>
                    </a:lnTo>
                    <a:lnTo>
                      <a:pt x="3866" y="2768"/>
                    </a:lnTo>
                    <a:lnTo>
                      <a:pt x="3862" y="2770"/>
                    </a:lnTo>
                    <a:lnTo>
                      <a:pt x="3858" y="2770"/>
                    </a:lnTo>
                    <a:lnTo>
                      <a:pt x="3856" y="2772"/>
                    </a:lnTo>
                    <a:lnTo>
                      <a:pt x="3856" y="2776"/>
                    </a:lnTo>
                    <a:lnTo>
                      <a:pt x="3856" y="2786"/>
                    </a:lnTo>
                    <a:lnTo>
                      <a:pt x="3858" y="2796"/>
                    </a:lnTo>
                    <a:lnTo>
                      <a:pt x="3860" y="2802"/>
                    </a:lnTo>
                    <a:lnTo>
                      <a:pt x="3858" y="2806"/>
                    </a:lnTo>
                    <a:lnTo>
                      <a:pt x="3856" y="2808"/>
                    </a:lnTo>
                    <a:lnTo>
                      <a:pt x="3852" y="2810"/>
                    </a:lnTo>
                    <a:lnTo>
                      <a:pt x="3850" y="2812"/>
                    </a:lnTo>
                    <a:lnTo>
                      <a:pt x="3850" y="2814"/>
                    </a:lnTo>
                    <a:lnTo>
                      <a:pt x="3850" y="2816"/>
                    </a:lnTo>
                    <a:lnTo>
                      <a:pt x="3852" y="2818"/>
                    </a:lnTo>
                    <a:lnTo>
                      <a:pt x="3854" y="2818"/>
                    </a:lnTo>
                    <a:lnTo>
                      <a:pt x="3858" y="2820"/>
                    </a:lnTo>
                    <a:lnTo>
                      <a:pt x="3860" y="2824"/>
                    </a:lnTo>
                    <a:lnTo>
                      <a:pt x="3860" y="2832"/>
                    </a:lnTo>
                    <a:lnTo>
                      <a:pt x="3858" y="2846"/>
                    </a:lnTo>
                    <a:lnTo>
                      <a:pt x="3854" y="2866"/>
                    </a:lnTo>
                    <a:lnTo>
                      <a:pt x="3850" y="2884"/>
                    </a:lnTo>
                    <a:lnTo>
                      <a:pt x="3844" y="2896"/>
                    </a:lnTo>
                    <a:lnTo>
                      <a:pt x="3840" y="2904"/>
                    </a:lnTo>
                    <a:lnTo>
                      <a:pt x="3834" y="2912"/>
                    </a:lnTo>
                    <a:lnTo>
                      <a:pt x="3822" y="2926"/>
                    </a:lnTo>
                    <a:lnTo>
                      <a:pt x="3808" y="2942"/>
                    </a:lnTo>
                    <a:lnTo>
                      <a:pt x="3802" y="2952"/>
                    </a:lnTo>
                    <a:lnTo>
                      <a:pt x="3794" y="2960"/>
                    </a:lnTo>
                    <a:lnTo>
                      <a:pt x="3788" y="2964"/>
                    </a:lnTo>
                    <a:lnTo>
                      <a:pt x="3782" y="2968"/>
                    </a:lnTo>
                    <a:lnTo>
                      <a:pt x="3768" y="2974"/>
                    </a:lnTo>
                    <a:lnTo>
                      <a:pt x="3760" y="2978"/>
                    </a:lnTo>
                    <a:lnTo>
                      <a:pt x="3752" y="2984"/>
                    </a:lnTo>
                    <a:lnTo>
                      <a:pt x="3742" y="2990"/>
                    </a:lnTo>
                    <a:lnTo>
                      <a:pt x="3742" y="2988"/>
                    </a:lnTo>
                    <a:lnTo>
                      <a:pt x="3742" y="2986"/>
                    </a:lnTo>
                    <a:lnTo>
                      <a:pt x="3744" y="2978"/>
                    </a:lnTo>
                    <a:lnTo>
                      <a:pt x="3744" y="2974"/>
                    </a:lnTo>
                    <a:lnTo>
                      <a:pt x="3740" y="2970"/>
                    </a:lnTo>
                    <a:lnTo>
                      <a:pt x="3740" y="2968"/>
                    </a:lnTo>
                    <a:lnTo>
                      <a:pt x="3740" y="2966"/>
                    </a:lnTo>
                    <a:lnTo>
                      <a:pt x="3748" y="2960"/>
                    </a:lnTo>
                    <a:lnTo>
                      <a:pt x="3754" y="2952"/>
                    </a:lnTo>
                    <a:lnTo>
                      <a:pt x="3756" y="2948"/>
                    </a:lnTo>
                    <a:lnTo>
                      <a:pt x="3754" y="2944"/>
                    </a:lnTo>
                    <a:lnTo>
                      <a:pt x="3752" y="2944"/>
                    </a:lnTo>
                    <a:lnTo>
                      <a:pt x="3748" y="2944"/>
                    </a:lnTo>
                    <a:lnTo>
                      <a:pt x="3738" y="2948"/>
                    </a:lnTo>
                    <a:lnTo>
                      <a:pt x="3734" y="2952"/>
                    </a:lnTo>
                    <a:lnTo>
                      <a:pt x="3730" y="2956"/>
                    </a:lnTo>
                    <a:lnTo>
                      <a:pt x="3728" y="2962"/>
                    </a:lnTo>
                    <a:lnTo>
                      <a:pt x="3730" y="2966"/>
                    </a:lnTo>
                    <a:lnTo>
                      <a:pt x="3730" y="2976"/>
                    </a:lnTo>
                    <a:lnTo>
                      <a:pt x="3728" y="2986"/>
                    </a:lnTo>
                    <a:lnTo>
                      <a:pt x="3722" y="2996"/>
                    </a:lnTo>
                    <a:lnTo>
                      <a:pt x="3716" y="3006"/>
                    </a:lnTo>
                    <a:lnTo>
                      <a:pt x="3704" y="3022"/>
                    </a:lnTo>
                    <a:lnTo>
                      <a:pt x="3700" y="3026"/>
                    </a:lnTo>
                    <a:lnTo>
                      <a:pt x="3698" y="3030"/>
                    </a:lnTo>
                    <a:lnTo>
                      <a:pt x="3700" y="3036"/>
                    </a:lnTo>
                    <a:lnTo>
                      <a:pt x="3700" y="3044"/>
                    </a:lnTo>
                    <a:lnTo>
                      <a:pt x="3698" y="3046"/>
                    </a:lnTo>
                    <a:lnTo>
                      <a:pt x="3694" y="3050"/>
                    </a:lnTo>
                    <a:lnTo>
                      <a:pt x="3690" y="3052"/>
                    </a:lnTo>
                    <a:lnTo>
                      <a:pt x="3682" y="3054"/>
                    </a:lnTo>
                    <a:lnTo>
                      <a:pt x="3676" y="3054"/>
                    </a:lnTo>
                    <a:lnTo>
                      <a:pt x="3672" y="3052"/>
                    </a:lnTo>
                    <a:lnTo>
                      <a:pt x="3672" y="3048"/>
                    </a:lnTo>
                    <a:lnTo>
                      <a:pt x="3674" y="3044"/>
                    </a:lnTo>
                    <a:lnTo>
                      <a:pt x="3672" y="3042"/>
                    </a:lnTo>
                    <a:lnTo>
                      <a:pt x="3668" y="3040"/>
                    </a:lnTo>
                    <a:lnTo>
                      <a:pt x="3662" y="3042"/>
                    </a:lnTo>
                    <a:lnTo>
                      <a:pt x="3652" y="3044"/>
                    </a:lnTo>
                    <a:lnTo>
                      <a:pt x="3626" y="3052"/>
                    </a:lnTo>
                    <a:lnTo>
                      <a:pt x="3614" y="3056"/>
                    </a:lnTo>
                    <a:lnTo>
                      <a:pt x="3602" y="3058"/>
                    </a:lnTo>
                    <a:lnTo>
                      <a:pt x="3594" y="3058"/>
                    </a:lnTo>
                    <a:lnTo>
                      <a:pt x="3592" y="3056"/>
                    </a:lnTo>
                    <a:lnTo>
                      <a:pt x="3590" y="3054"/>
                    </a:lnTo>
                    <a:lnTo>
                      <a:pt x="3588" y="3050"/>
                    </a:lnTo>
                    <a:lnTo>
                      <a:pt x="3584" y="3050"/>
                    </a:lnTo>
                    <a:lnTo>
                      <a:pt x="3580" y="3050"/>
                    </a:lnTo>
                    <a:lnTo>
                      <a:pt x="3574" y="3052"/>
                    </a:lnTo>
                    <a:lnTo>
                      <a:pt x="3562" y="3062"/>
                    </a:lnTo>
                    <a:lnTo>
                      <a:pt x="3548" y="3080"/>
                    </a:lnTo>
                    <a:lnTo>
                      <a:pt x="3542" y="3088"/>
                    </a:lnTo>
                    <a:lnTo>
                      <a:pt x="3536" y="3092"/>
                    </a:lnTo>
                    <a:lnTo>
                      <a:pt x="3530" y="3096"/>
                    </a:lnTo>
                    <a:lnTo>
                      <a:pt x="3524" y="3098"/>
                    </a:lnTo>
                    <a:lnTo>
                      <a:pt x="3518" y="3106"/>
                    </a:lnTo>
                    <a:lnTo>
                      <a:pt x="3514" y="3112"/>
                    </a:lnTo>
                    <a:lnTo>
                      <a:pt x="3510" y="3114"/>
                    </a:lnTo>
                    <a:lnTo>
                      <a:pt x="3502" y="3114"/>
                    </a:lnTo>
                    <a:lnTo>
                      <a:pt x="3500" y="3116"/>
                    </a:lnTo>
                    <a:lnTo>
                      <a:pt x="3498" y="3116"/>
                    </a:lnTo>
                    <a:lnTo>
                      <a:pt x="3496" y="3120"/>
                    </a:lnTo>
                    <a:lnTo>
                      <a:pt x="3496" y="3126"/>
                    </a:lnTo>
                    <a:lnTo>
                      <a:pt x="3496" y="3132"/>
                    </a:lnTo>
                    <a:lnTo>
                      <a:pt x="3500" y="3136"/>
                    </a:lnTo>
                    <a:lnTo>
                      <a:pt x="3504" y="3136"/>
                    </a:lnTo>
                    <a:lnTo>
                      <a:pt x="3508" y="3136"/>
                    </a:lnTo>
                    <a:lnTo>
                      <a:pt x="3522" y="3134"/>
                    </a:lnTo>
                    <a:lnTo>
                      <a:pt x="3528" y="3134"/>
                    </a:lnTo>
                    <a:lnTo>
                      <a:pt x="3536" y="3138"/>
                    </a:lnTo>
                    <a:lnTo>
                      <a:pt x="3542" y="3140"/>
                    </a:lnTo>
                    <a:lnTo>
                      <a:pt x="3544" y="3140"/>
                    </a:lnTo>
                    <a:lnTo>
                      <a:pt x="3546" y="3138"/>
                    </a:lnTo>
                    <a:lnTo>
                      <a:pt x="3546" y="3134"/>
                    </a:lnTo>
                    <a:lnTo>
                      <a:pt x="3546" y="3124"/>
                    </a:lnTo>
                    <a:lnTo>
                      <a:pt x="3548" y="3120"/>
                    </a:lnTo>
                    <a:lnTo>
                      <a:pt x="3550" y="3118"/>
                    </a:lnTo>
                    <a:lnTo>
                      <a:pt x="3556" y="3116"/>
                    </a:lnTo>
                    <a:lnTo>
                      <a:pt x="3558" y="3118"/>
                    </a:lnTo>
                    <a:lnTo>
                      <a:pt x="3562" y="3120"/>
                    </a:lnTo>
                    <a:lnTo>
                      <a:pt x="3570" y="3120"/>
                    </a:lnTo>
                    <a:lnTo>
                      <a:pt x="3596" y="3116"/>
                    </a:lnTo>
                    <a:lnTo>
                      <a:pt x="3620" y="3108"/>
                    </a:lnTo>
                    <a:lnTo>
                      <a:pt x="3626" y="3104"/>
                    </a:lnTo>
                    <a:lnTo>
                      <a:pt x="3630" y="3102"/>
                    </a:lnTo>
                    <a:lnTo>
                      <a:pt x="3632" y="3098"/>
                    </a:lnTo>
                    <a:lnTo>
                      <a:pt x="3632" y="3096"/>
                    </a:lnTo>
                    <a:lnTo>
                      <a:pt x="3636" y="3096"/>
                    </a:lnTo>
                    <a:lnTo>
                      <a:pt x="3648" y="3098"/>
                    </a:lnTo>
                    <a:lnTo>
                      <a:pt x="3656" y="3100"/>
                    </a:lnTo>
                    <a:lnTo>
                      <a:pt x="3662" y="3100"/>
                    </a:lnTo>
                    <a:lnTo>
                      <a:pt x="3670" y="3098"/>
                    </a:lnTo>
                    <a:lnTo>
                      <a:pt x="3674" y="3098"/>
                    </a:lnTo>
                    <a:lnTo>
                      <a:pt x="3676" y="3102"/>
                    </a:lnTo>
                    <a:lnTo>
                      <a:pt x="3678" y="3106"/>
                    </a:lnTo>
                    <a:lnTo>
                      <a:pt x="3676" y="3110"/>
                    </a:lnTo>
                    <a:lnTo>
                      <a:pt x="3672" y="3114"/>
                    </a:lnTo>
                    <a:lnTo>
                      <a:pt x="3666" y="3118"/>
                    </a:lnTo>
                    <a:lnTo>
                      <a:pt x="3666" y="3120"/>
                    </a:lnTo>
                    <a:lnTo>
                      <a:pt x="3666" y="3124"/>
                    </a:lnTo>
                    <a:lnTo>
                      <a:pt x="3666" y="3130"/>
                    </a:lnTo>
                    <a:lnTo>
                      <a:pt x="3664" y="3136"/>
                    </a:lnTo>
                    <a:lnTo>
                      <a:pt x="3664" y="3142"/>
                    </a:lnTo>
                    <a:lnTo>
                      <a:pt x="3664" y="3144"/>
                    </a:lnTo>
                    <a:lnTo>
                      <a:pt x="3668" y="3146"/>
                    </a:lnTo>
                    <a:lnTo>
                      <a:pt x="3674" y="3150"/>
                    </a:lnTo>
                    <a:lnTo>
                      <a:pt x="3674" y="3152"/>
                    </a:lnTo>
                    <a:lnTo>
                      <a:pt x="3676" y="3156"/>
                    </a:lnTo>
                    <a:lnTo>
                      <a:pt x="3684" y="3162"/>
                    </a:lnTo>
                    <a:lnTo>
                      <a:pt x="3684" y="3164"/>
                    </a:lnTo>
                    <a:lnTo>
                      <a:pt x="3688" y="3166"/>
                    </a:lnTo>
                    <a:lnTo>
                      <a:pt x="3692" y="3164"/>
                    </a:lnTo>
                    <a:lnTo>
                      <a:pt x="3696" y="3160"/>
                    </a:lnTo>
                    <a:lnTo>
                      <a:pt x="3700" y="3156"/>
                    </a:lnTo>
                    <a:lnTo>
                      <a:pt x="3716" y="3130"/>
                    </a:lnTo>
                    <a:lnTo>
                      <a:pt x="3720" y="3124"/>
                    </a:lnTo>
                    <a:lnTo>
                      <a:pt x="3724" y="3122"/>
                    </a:lnTo>
                    <a:lnTo>
                      <a:pt x="3734" y="3118"/>
                    </a:lnTo>
                    <a:lnTo>
                      <a:pt x="3738" y="3116"/>
                    </a:lnTo>
                    <a:lnTo>
                      <a:pt x="3738" y="3114"/>
                    </a:lnTo>
                    <a:lnTo>
                      <a:pt x="3736" y="3112"/>
                    </a:lnTo>
                    <a:lnTo>
                      <a:pt x="3730" y="3108"/>
                    </a:lnTo>
                    <a:lnTo>
                      <a:pt x="3724" y="3104"/>
                    </a:lnTo>
                    <a:lnTo>
                      <a:pt x="3722" y="3098"/>
                    </a:lnTo>
                    <a:lnTo>
                      <a:pt x="3722" y="3090"/>
                    </a:lnTo>
                    <a:lnTo>
                      <a:pt x="3724" y="3086"/>
                    </a:lnTo>
                    <a:lnTo>
                      <a:pt x="3728" y="3082"/>
                    </a:lnTo>
                    <a:lnTo>
                      <a:pt x="3732" y="3080"/>
                    </a:lnTo>
                    <a:lnTo>
                      <a:pt x="3734" y="3082"/>
                    </a:lnTo>
                    <a:lnTo>
                      <a:pt x="3734" y="3086"/>
                    </a:lnTo>
                    <a:lnTo>
                      <a:pt x="3736" y="3092"/>
                    </a:lnTo>
                    <a:lnTo>
                      <a:pt x="3738" y="3094"/>
                    </a:lnTo>
                    <a:lnTo>
                      <a:pt x="3742" y="3096"/>
                    </a:lnTo>
                    <a:lnTo>
                      <a:pt x="3746" y="3096"/>
                    </a:lnTo>
                    <a:lnTo>
                      <a:pt x="3750" y="3096"/>
                    </a:lnTo>
                    <a:lnTo>
                      <a:pt x="3746" y="3100"/>
                    </a:lnTo>
                    <a:lnTo>
                      <a:pt x="3742" y="3104"/>
                    </a:lnTo>
                    <a:lnTo>
                      <a:pt x="3750" y="3104"/>
                    </a:lnTo>
                    <a:lnTo>
                      <a:pt x="3762" y="3102"/>
                    </a:lnTo>
                    <a:lnTo>
                      <a:pt x="3774" y="3102"/>
                    </a:lnTo>
                    <a:lnTo>
                      <a:pt x="3782" y="3104"/>
                    </a:lnTo>
                    <a:lnTo>
                      <a:pt x="3786" y="3104"/>
                    </a:lnTo>
                    <a:lnTo>
                      <a:pt x="3788" y="3100"/>
                    </a:lnTo>
                    <a:lnTo>
                      <a:pt x="3792" y="3092"/>
                    </a:lnTo>
                    <a:lnTo>
                      <a:pt x="3800" y="3082"/>
                    </a:lnTo>
                    <a:lnTo>
                      <a:pt x="3806" y="3076"/>
                    </a:lnTo>
                    <a:lnTo>
                      <a:pt x="3810" y="3076"/>
                    </a:lnTo>
                    <a:lnTo>
                      <a:pt x="3810" y="3078"/>
                    </a:lnTo>
                    <a:lnTo>
                      <a:pt x="3812" y="3082"/>
                    </a:lnTo>
                    <a:lnTo>
                      <a:pt x="3810" y="3090"/>
                    </a:lnTo>
                    <a:lnTo>
                      <a:pt x="3810" y="3096"/>
                    </a:lnTo>
                    <a:lnTo>
                      <a:pt x="3810" y="3102"/>
                    </a:lnTo>
                    <a:lnTo>
                      <a:pt x="3812" y="3104"/>
                    </a:lnTo>
                    <a:lnTo>
                      <a:pt x="3814" y="3104"/>
                    </a:lnTo>
                    <a:lnTo>
                      <a:pt x="3820" y="3098"/>
                    </a:lnTo>
                    <a:lnTo>
                      <a:pt x="3824" y="3086"/>
                    </a:lnTo>
                    <a:lnTo>
                      <a:pt x="3826" y="3076"/>
                    </a:lnTo>
                    <a:lnTo>
                      <a:pt x="3828" y="3068"/>
                    </a:lnTo>
                    <a:lnTo>
                      <a:pt x="3830" y="3066"/>
                    </a:lnTo>
                    <a:lnTo>
                      <a:pt x="3834" y="3066"/>
                    </a:lnTo>
                    <a:lnTo>
                      <a:pt x="3842" y="3070"/>
                    </a:lnTo>
                    <a:lnTo>
                      <a:pt x="3848" y="3074"/>
                    </a:lnTo>
                    <a:lnTo>
                      <a:pt x="3848" y="3072"/>
                    </a:lnTo>
                    <a:lnTo>
                      <a:pt x="3848" y="3064"/>
                    </a:lnTo>
                    <a:lnTo>
                      <a:pt x="3848" y="3060"/>
                    </a:lnTo>
                    <a:lnTo>
                      <a:pt x="3850" y="3054"/>
                    </a:lnTo>
                    <a:lnTo>
                      <a:pt x="3852" y="3050"/>
                    </a:lnTo>
                    <a:lnTo>
                      <a:pt x="3856" y="3048"/>
                    </a:lnTo>
                    <a:lnTo>
                      <a:pt x="3862" y="3046"/>
                    </a:lnTo>
                    <a:lnTo>
                      <a:pt x="3864" y="3048"/>
                    </a:lnTo>
                    <a:lnTo>
                      <a:pt x="3864" y="3050"/>
                    </a:lnTo>
                    <a:lnTo>
                      <a:pt x="3864" y="3052"/>
                    </a:lnTo>
                    <a:lnTo>
                      <a:pt x="3862" y="3056"/>
                    </a:lnTo>
                    <a:lnTo>
                      <a:pt x="3858" y="3066"/>
                    </a:lnTo>
                    <a:lnTo>
                      <a:pt x="3854" y="3080"/>
                    </a:lnTo>
                    <a:lnTo>
                      <a:pt x="3854" y="3090"/>
                    </a:lnTo>
                    <a:lnTo>
                      <a:pt x="3856" y="3090"/>
                    </a:lnTo>
                    <a:lnTo>
                      <a:pt x="3860" y="3086"/>
                    </a:lnTo>
                    <a:lnTo>
                      <a:pt x="3864" y="3080"/>
                    </a:lnTo>
                    <a:lnTo>
                      <a:pt x="3866" y="3078"/>
                    </a:lnTo>
                    <a:lnTo>
                      <a:pt x="3872" y="3076"/>
                    </a:lnTo>
                    <a:lnTo>
                      <a:pt x="3874" y="3076"/>
                    </a:lnTo>
                    <a:lnTo>
                      <a:pt x="3876" y="3072"/>
                    </a:lnTo>
                    <a:lnTo>
                      <a:pt x="3878" y="3060"/>
                    </a:lnTo>
                    <a:lnTo>
                      <a:pt x="3880" y="3052"/>
                    </a:lnTo>
                    <a:lnTo>
                      <a:pt x="3886" y="3048"/>
                    </a:lnTo>
                    <a:lnTo>
                      <a:pt x="3890" y="3048"/>
                    </a:lnTo>
                    <a:lnTo>
                      <a:pt x="3894" y="3048"/>
                    </a:lnTo>
                    <a:lnTo>
                      <a:pt x="3898" y="3048"/>
                    </a:lnTo>
                    <a:lnTo>
                      <a:pt x="3900" y="3046"/>
                    </a:lnTo>
                    <a:lnTo>
                      <a:pt x="3898" y="3042"/>
                    </a:lnTo>
                    <a:lnTo>
                      <a:pt x="3892" y="3034"/>
                    </a:lnTo>
                    <a:lnTo>
                      <a:pt x="3888" y="3028"/>
                    </a:lnTo>
                    <a:lnTo>
                      <a:pt x="3886" y="3022"/>
                    </a:lnTo>
                    <a:lnTo>
                      <a:pt x="3884" y="3010"/>
                    </a:lnTo>
                    <a:lnTo>
                      <a:pt x="3886" y="3000"/>
                    </a:lnTo>
                    <a:lnTo>
                      <a:pt x="3892" y="2988"/>
                    </a:lnTo>
                    <a:lnTo>
                      <a:pt x="3896" y="2978"/>
                    </a:lnTo>
                    <a:lnTo>
                      <a:pt x="3902" y="2966"/>
                    </a:lnTo>
                    <a:lnTo>
                      <a:pt x="3902" y="2952"/>
                    </a:lnTo>
                    <a:lnTo>
                      <a:pt x="3900" y="2938"/>
                    </a:lnTo>
                    <a:lnTo>
                      <a:pt x="3898" y="2928"/>
                    </a:lnTo>
                    <a:lnTo>
                      <a:pt x="3898" y="2920"/>
                    </a:lnTo>
                    <a:lnTo>
                      <a:pt x="3898" y="2912"/>
                    </a:lnTo>
                    <a:lnTo>
                      <a:pt x="3900" y="2906"/>
                    </a:lnTo>
                    <a:lnTo>
                      <a:pt x="3904" y="2902"/>
                    </a:lnTo>
                    <a:lnTo>
                      <a:pt x="3908" y="2900"/>
                    </a:lnTo>
                    <a:lnTo>
                      <a:pt x="3912" y="2900"/>
                    </a:lnTo>
                    <a:lnTo>
                      <a:pt x="3918" y="2902"/>
                    </a:lnTo>
                    <a:lnTo>
                      <a:pt x="3922" y="2906"/>
                    </a:lnTo>
                    <a:lnTo>
                      <a:pt x="3924" y="2906"/>
                    </a:lnTo>
                    <a:lnTo>
                      <a:pt x="3924" y="2898"/>
                    </a:lnTo>
                    <a:lnTo>
                      <a:pt x="3924" y="2884"/>
                    </a:lnTo>
                    <a:lnTo>
                      <a:pt x="3926" y="2876"/>
                    </a:lnTo>
                    <a:lnTo>
                      <a:pt x="3930" y="2868"/>
                    </a:lnTo>
                    <a:lnTo>
                      <a:pt x="3936" y="2860"/>
                    </a:lnTo>
                    <a:lnTo>
                      <a:pt x="3940" y="2850"/>
                    </a:lnTo>
                    <a:lnTo>
                      <a:pt x="3942" y="2840"/>
                    </a:lnTo>
                    <a:lnTo>
                      <a:pt x="3944" y="2830"/>
                    </a:lnTo>
                    <a:lnTo>
                      <a:pt x="3942" y="2820"/>
                    </a:lnTo>
                    <a:lnTo>
                      <a:pt x="3940" y="2810"/>
                    </a:lnTo>
                    <a:lnTo>
                      <a:pt x="3936" y="2802"/>
                    </a:lnTo>
                    <a:lnTo>
                      <a:pt x="3932" y="2794"/>
                    </a:lnTo>
                    <a:lnTo>
                      <a:pt x="3926" y="2788"/>
                    </a:lnTo>
                    <a:lnTo>
                      <a:pt x="3922" y="2780"/>
                    </a:lnTo>
                    <a:lnTo>
                      <a:pt x="3918" y="2766"/>
                    </a:lnTo>
                    <a:lnTo>
                      <a:pt x="3918" y="2752"/>
                    </a:lnTo>
                    <a:lnTo>
                      <a:pt x="3918" y="2740"/>
                    </a:lnTo>
                    <a:close/>
                    <a:moveTo>
                      <a:pt x="3276" y="3612"/>
                    </a:moveTo>
                    <a:lnTo>
                      <a:pt x="3276" y="3612"/>
                    </a:lnTo>
                    <a:lnTo>
                      <a:pt x="3274" y="3610"/>
                    </a:lnTo>
                    <a:lnTo>
                      <a:pt x="3270" y="3612"/>
                    </a:lnTo>
                    <a:lnTo>
                      <a:pt x="3268" y="3614"/>
                    </a:lnTo>
                    <a:lnTo>
                      <a:pt x="3268" y="3618"/>
                    </a:lnTo>
                    <a:lnTo>
                      <a:pt x="3272" y="3618"/>
                    </a:lnTo>
                    <a:lnTo>
                      <a:pt x="3274" y="3618"/>
                    </a:lnTo>
                    <a:lnTo>
                      <a:pt x="3276" y="3614"/>
                    </a:lnTo>
                    <a:lnTo>
                      <a:pt x="3276" y="3612"/>
                    </a:lnTo>
                    <a:close/>
                    <a:moveTo>
                      <a:pt x="3322" y="3130"/>
                    </a:moveTo>
                    <a:lnTo>
                      <a:pt x="3322" y="3130"/>
                    </a:lnTo>
                    <a:lnTo>
                      <a:pt x="3324" y="3128"/>
                    </a:lnTo>
                    <a:lnTo>
                      <a:pt x="3322" y="3126"/>
                    </a:lnTo>
                    <a:lnTo>
                      <a:pt x="3318" y="3126"/>
                    </a:lnTo>
                    <a:lnTo>
                      <a:pt x="3316" y="3128"/>
                    </a:lnTo>
                    <a:lnTo>
                      <a:pt x="3318" y="3130"/>
                    </a:lnTo>
                    <a:lnTo>
                      <a:pt x="3320" y="3130"/>
                    </a:lnTo>
                    <a:lnTo>
                      <a:pt x="3322" y="3130"/>
                    </a:lnTo>
                    <a:close/>
                    <a:moveTo>
                      <a:pt x="3302" y="3176"/>
                    </a:moveTo>
                    <a:lnTo>
                      <a:pt x="3302" y="3176"/>
                    </a:lnTo>
                    <a:lnTo>
                      <a:pt x="3304" y="3178"/>
                    </a:lnTo>
                    <a:lnTo>
                      <a:pt x="3310" y="3178"/>
                    </a:lnTo>
                    <a:lnTo>
                      <a:pt x="3320" y="3176"/>
                    </a:lnTo>
                    <a:lnTo>
                      <a:pt x="3330" y="3170"/>
                    </a:lnTo>
                    <a:lnTo>
                      <a:pt x="3334" y="3166"/>
                    </a:lnTo>
                    <a:lnTo>
                      <a:pt x="3334" y="3162"/>
                    </a:lnTo>
                    <a:lnTo>
                      <a:pt x="3332" y="3158"/>
                    </a:lnTo>
                    <a:lnTo>
                      <a:pt x="3326" y="3158"/>
                    </a:lnTo>
                    <a:lnTo>
                      <a:pt x="3322" y="3158"/>
                    </a:lnTo>
                    <a:lnTo>
                      <a:pt x="3314" y="3160"/>
                    </a:lnTo>
                    <a:lnTo>
                      <a:pt x="3310" y="3164"/>
                    </a:lnTo>
                    <a:lnTo>
                      <a:pt x="3304" y="3166"/>
                    </a:lnTo>
                    <a:lnTo>
                      <a:pt x="3302" y="3172"/>
                    </a:lnTo>
                    <a:lnTo>
                      <a:pt x="3302" y="3176"/>
                    </a:lnTo>
                    <a:close/>
                    <a:moveTo>
                      <a:pt x="3372" y="3542"/>
                    </a:moveTo>
                    <a:lnTo>
                      <a:pt x="3372" y="3542"/>
                    </a:lnTo>
                    <a:lnTo>
                      <a:pt x="3374" y="3538"/>
                    </a:lnTo>
                    <a:lnTo>
                      <a:pt x="3376" y="3534"/>
                    </a:lnTo>
                    <a:lnTo>
                      <a:pt x="3386" y="3520"/>
                    </a:lnTo>
                    <a:lnTo>
                      <a:pt x="3392" y="3512"/>
                    </a:lnTo>
                    <a:lnTo>
                      <a:pt x="3394" y="3508"/>
                    </a:lnTo>
                    <a:lnTo>
                      <a:pt x="3390" y="3508"/>
                    </a:lnTo>
                    <a:lnTo>
                      <a:pt x="3384" y="3512"/>
                    </a:lnTo>
                    <a:lnTo>
                      <a:pt x="3374" y="3522"/>
                    </a:lnTo>
                    <a:lnTo>
                      <a:pt x="3370" y="3528"/>
                    </a:lnTo>
                    <a:lnTo>
                      <a:pt x="3366" y="3538"/>
                    </a:lnTo>
                    <a:lnTo>
                      <a:pt x="3366" y="3544"/>
                    </a:lnTo>
                    <a:lnTo>
                      <a:pt x="3368" y="3546"/>
                    </a:lnTo>
                    <a:lnTo>
                      <a:pt x="3372" y="3544"/>
                    </a:lnTo>
                    <a:lnTo>
                      <a:pt x="3372" y="3542"/>
                    </a:lnTo>
                    <a:close/>
                    <a:moveTo>
                      <a:pt x="3932" y="2136"/>
                    </a:moveTo>
                    <a:lnTo>
                      <a:pt x="3932" y="2136"/>
                    </a:lnTo>
                    <a:lnTo>
                      <a:pt x="3930" y="2138"/>
                    </a:lnTo>
                    <a:lnTo>
                      <a:pt x="3932" y="2138"/>
                    </a:lnTo>
                    <a:lnTo>
                      <a:pt x="3936" y="2142"/>
                    </a:lnTo>
                    <a:lnTo>
                      <a:pt x="3942" y="2150"/>
                    </a:lnTo>
                    <a:lnTo>
                      <a:pt x="3950" y="2162"/>
                    </a:lnTo>
                    <a:lnTo>
                      <a:pt x="3952" y="2168"/>
                    </a:lnTo>
                    <a:lnTo>
                      <a:pt x="3952" y="2174"/>
                    </a:lnTo>
                    <a:lnTo>
                      <a:pt x="3948" y="2186"/>
                    </a:lnTo>
                    <a:lnTo>
                      <a:pt x="3944" y="2198"/>
                    </a:lnTo>
                    <a:lnTo>
                      <a:pt x="3944" y="2206"/>
                    </a:lnTo>
                    <a:lnTo>
                      <a:pt x="3946" y="2214"/>
                    </a:lnTo>
                    <a:lnTo>
                      <a:pt x="3948" y="2224"/>
                    </a:lnTo>
                    <a:lnTo>
                      <a:pt x="3948" y="2236"/>
                    </a:lnTo>
                    <a:lnTo>
                      <a:pt x="3948" y="2266"/>
                    </a:lnTo>
                    <a:lnTo>
                      <a:pt x="3944" y="2294"/>
                    </a:lnTo>
                    <a:lnTo>
                      <a:pt x="3940" y="2304"/>
                    </a:lnTo>
                    <a:lnTo>
                      <a:pt x="3938" y="2312"/>
                    </a:lnTo>
                    <a:lnTo>
                      <a:pt x="3936" y="2316"/>
                    </a:lnTo>
                    <a:lnTo>
                      <a:pt x="3938" y="2320"/>
                    </a:lnTo>
                    <a:lnTo>
                      <a:pt x="3944" y="2330"/>
                    </a:lnTo>
                    <a:lnTo>
                      <a:pt x="3946" y="2336"/>
                    </a:lnTo>
                    <a:lnTo>
                      <a:pt x="3948" y="2344"/>
                    </a:lnTo>
                    <a:lnTo>
                      <a:pt x="3946" y="2356"/>
                    </a:lnTo>
                    <a:lnTo>
                      <a:pt x="3942" y="2370"/>
                    </a:lnTo>
                    <a:lnTo>
                      <a:pt x="3940" y="2378"/>
                    </a:lnTo>
                    <a:lnTo>
                      <a:pt x="3940" y="2386"/>
                    </a:lnTo>
                    <a:lnTo>
                      <a:pt x="3942" y="2400"/>
                    </a:lnTo>
                    <a:lnTo>
                      <a:pt x="3944" y="2412"/>
                    </a:lnTo>
                    <a:lnTo>
                      <a:pt x="3944" y="2418"/>
                    </a:lnTo>
                    <a:lnTo>
                      <a:pt x="3940" y="2424"/>
                    </a:lnTo>
                    <a:lnTo>
                      <a:pt x="3936" y="2436"/>
                    </a:lnTo>
                    <a:lnTo>
                      <a:pt x="3934" y="2444"/>
                    </a:lnTo>
                    <a:lnTo>
                      <a:pt x="3936" y="2454"/>
                    </a:lnTo>
                    <a:lnTo>
                      <a:pt x="3938" y="2468"/>
                    </a:lnTo>
                    <a:lnTo>
                      <a:pt x="3942" y="2478"/>
                    </a:lnTo>
                    <a:lnTo>
                      <a:pt x="3944" y="2478"/>
                    </a:lnTo>
                    <a:lnTo>
                      <a:pt x="3946" y="2478"/>
                    </a:lnTo>
                    <a:lnTo>
                      <a:pt x="3950" y="2470"/>
                    </a:lnTo>
                    <a:lnTo>
                      <a:pt x="3954" y="2456"/>
                    </a:lnTo>
                    <a:lnTo>
                      <a:pt x="3958" y="2442"/>
                    </a:lnTo>
                    <a:lnTo>
                      <a:pt x="3962" y="2434"/>
                    </a:lnTo>
                    <a:lnTo>
                      <a:pt x="3966" y="2432"/>
                    </a:lnTo>
                    <a:lnTo>
                      <a:pt x="3968" y="2432"/>
                    </a:lnTo>
                    <a:lnTo>
                      <a:pt x="3972" y="2434"/>
                    </a:lnTo>
                    <a:lnTo>
                      <a:pt x="3976" y="2438"/>
                    </a:lnTo>
                    <a:lnTo>
                      <a:pt x="3980" y="2440"/>
                    </a:lnTo>
                    <a:lnTo>
                      <a:pt x="3984" y="2438"/>
                    </a:lnTo>
                    <a:lnTo>
                      <a:pt x="3990" y="2440"/>
                    </a:lnTo>
                    <a:lnTo>
                      <a:pt x="3994" y="2442"/>
                    </a:lnTo>
                    <a:lnTo>
                      <a:pt x="3996" y="2446"/>
                    </a:lnTo>
                    <a:lnTo>
                      <a:pt x="3998" y="2456"/>
                    </a:lnTo>
                    <a:lnTo>
                      <a:pt x="4000" y="2464"/>
                    </a:lnTo>
                    <a:lnTo>
                      <a:pt x="4000" y="2466"/>
                    </a:lnTo>
                    <a:lnTo>
                      <a:pt x="4002" y="2466"/>
                    </a:lnTo>
                    <a:lnTo>
                      <a:pt x="4006" y="2454"/>
                    </a:lnTo>
                    <a:lnTo>
                      <a:pt x="4006" y="2448"/>
                    </a:lnTo>
                    <a:lnTo>
                      <a:pt x="4004" y="2444"/>
                    </a:lnTo>
                    <a:lnTo>
                      <a:pt x="4002" y="2434"/>
                    </a:lnTo>
                    <a:lnTo>
                      <a:pt x="4002" y="2426"/>
                    </a:lnTo>
                    <a:lnTo>
                      <a:pt x="3998" y="2426"/>
                    </a:lnTo>
                    <a:lnTo>
                      <a:pt x="3992" y="2426"/>
                    </a:lnTo>
                    <a:lnTo>
                      <a:pt x="3990" y="2422"/>
                    </a:lnTo>
                    <a:lnTo>
                      <a:pt x="3986" y="2420"/>
                    </a:lnTo>
                    <a:lnTo>
                      <a:pt x="3984" y="2410"/>
                    </a:lnTo>
                    <a:lnTo>
                      <a:pt x="3980" y="2400"/>
                    </a:lnTo>
                    <a:lnTo>
                      <a:pt x="3976" y="2394"/>
                    </a:lnTo>
                    <a:lnTo>
                      <a:pt x="3972" y="2390"/>
                    </a:lnTo>
                    <a:lnTo>
                      <a:pt x="3966" y="2382"/>
                    </a:lnTo>
                    <a:lnTo>
                      <a:pt x="3964" y="2372"/>
                    </a:lnTo>
                    <a:lnTo>
                      <a:pt x="3964" y="2362"/>
                    </a:lnTo>
                    <a:lnTo>
                      <a:pt x="3964" y="2350"/>
                    </a:lnTo>
                    <a:lnTo>
                      <a:pt x="3970" y="2328"/>
                    </a:lnTo>
                    <a:lnTo>
                      <a:pt x="3978" y="2314"/>
                    </a:lnTo>
                    <a:lnTo>
                      <a:pt x="3980" y="2308"/>
                    </a:lnTo>
                    <a:lnTo>
                      <a:pt x="3982" y="2304"/>
                    </a:lnTo>
                    <a:lnTo>
                      <a:pt x="3982" y="2294"/>
                    </a:lnTo>
                    <a:lnTo>
                      <a:pt x="3984" y="2290"/>
                    </a:lnTo>
                    <a:lnTo>
                      <a:pt x="3984" y="2288"/>
                    </a:lnTo>
                    <a:lnTo>
                      <a:pt x="3988" y="2284"/>
                    </a:lnTo>
                    <a:lnTo>
                      <a:pt x="3994" y="2282"/>
                    </a:lnTo>
                    <a:lnTo>
                      <a:pt x="4004" y="2280"/>
                    </a:lnTo>
                    <a:lnTo>
                      <a:pt x="4014" y="2280"/>
                    </a:lnTo>
                    <a:lnTo>
                      <a:pt x="4026" y="2286"/>
                    </a:lnTo>
                    <a:lnTo>
                      <a:pt x="4036" y="2294"/>
                    </a:lnTo>
                    <a:lnTo>
                      <a:pt x="4048" y="2314"/>
                    </a:lnTo>
                    <a:lnTo>
                      <a:pt x="4052" y="2316"/>
                    </a:lnTo>
                    <a:lnTo>
                      <a:pt x="4052" y="2312"/>
                    </a:lnTo>
                    <a:lnTo>
                      <a:pt x="4048" y="2302"/>
                    </a:lnTo>
                    <a:lnTo>
                      <a:pt x="4040" y="2294"/>
                    </a:lnTo>
                    <a:lnTo>
                      <a:pt x="4034" y="2282"/>
                    </a:lnTo>
                    <a:lnTo>
                      <a:pt x="4032" y="2276"/>
                    </a:lnTo>
                    <a:lnTo>
                      <a:pt x="4030" y="2268"/>
                    </a:lnTo>
                    <a:lnTo>
                      <a:pt x="4026" y="2252"/>
                    </a:lnTo>
                    <a:lnTo>
                      <a:pt x="4020" y="2234"/>
                    </a:lnTo>
                    <a:lnTo>
                      <a:pt x="4012" y="2214"/>
                    </a:lnTo>
                    <a:lnTo>
                      <a:pt x="4010" y="2206"/>
                    </a:lnTo>
                    <a:lnTo>
                      <a:pt x="4010" y="2196"/>
                    </a:lnTo>
                    <a:lnTo>
                      <a:pt x="4008" y="2180"/>
                    </a:lnTo>
                    <a:lnTo>
                      <a:pt x="4004" y="2168"/>
                    </a:lnTo>
                    <a:lnTo>
                      <a:pt x="4002" y="2158"/>
                    </a:lnTo>
                    <a:lnTo>
                      <a:pt x="3998" y="2148"/>
                    </a:lnTo>
                    <a:lnTo>
                      <a:pt x="3998" y="2144"/>
                    </a:lnTo>
                    <a:lnTo>
                      <a:pt x="3994" y="2146"/>
                    </a:lnTo>
                    <a:lnTo>
                      <a:pt x="3992" y="2146"/>
                    </a:lnTo>
                    <a:lnTo>
                      <a:pt x="3992" y="2138"/>
                    </a:lnTo>
                    <a:lnTo>
                      <a:pt x="3994" y="2128"/>
                    </a:lnTo>
                    <a:lnTo>
                      <a:pt x="3992" y="2128"/>
                    </a:lnTo>
                    <a:lnTo>
                      <a:pt x="3990" y="2128"/>
                    </a:lnTo>
                    <a:lnTo>
                      <a:pt x="3988" y="2124"/>
                    </a:lnTo>
                    <a:lnTo>
                      <a:pt x="3988" y="2116"/>
                    </a:lnTo>
                    <a:lnTo>
                      <a:pt x="3988" y="2108"/>
                    </a:lnTo>
                    <a:lnTo>
                      <a:pt x="3992" y="2096"/>
                    </a:lnTo>
                    <a:lnTo>
                      <a:pt x="3994" y="2090"/>
                    </a:lnTo>
                    <a:lnTo>
                      <a:pt x="3996" y="2082"/>
                    </a:lnTo>
                    <a:lnTo>
                      <a:pt x="3996" y="2072"/>
                    </a:lnTo>
                    <a:lnTo>
                      <a:pt x="3994" y="2058"/>
                    </a:lnTo>
                    <a:lnTo>
                      <a:pt x="3990" y="2042"/>
                    </a:lnTo>
                    <a:lnTo>
                      <a:pt x="3988" y="2036"/>
                    </a:lnTo>
                    <a:lnTo>
                      <a:pt x="3986" y="2034"/>
                    </a:lnTo>
                    <a:lnTo>
                      <a:pt x="3988" y="2032"/>
                    </a:lnTo>
                    <a:lnTo>
                      <a:pt x="3988" y="2028"/>
                    </a:lnTo>
                    <a:lnTo>
                      <a:pt x="3986" y="2026"/>
                    </a:lnTo>
                    <a:lnTo>
                      <a:pt x="3984" y="2026"/>
                    </a:lnTo>
                    <a:lnTo>
                      <a:pt x="3982" y="2022"/>
                    </a:lnTo>
                    <a:lnTo>
                      <a:pt x="3982" y="2014"/>
                    </a:lnTo>
                    <a:lnTo>
                      <a:pt x="3978" y="2010"/>
                    </a:lnTo>
                    <a:lnTo>
                      <a:pt x="3978" y="2006"/>
                    </a:lnTo>
                    <a:lnTo>
                      <a:pt x="3980" y="2000"/>
                    </a:lnTo>
                    <a:lnTo>
                      <a:pt x="3984" y="1994"/>
                    </a:lnTo>
                    <a:lnTo>
                      <a:pt x="3982" y="1988"/>
                    </a:lnTo>
                    <a:lnTo>
                      <a:pt x="3978" y="1984"/>
                    </a:lnTo>
                    <a:lnTo>
                      <a:pt x="3974" y="1976"/>
                    </a:lnTo>
                    <a:lnTo>
                      <a:pt x="3970" y="1972"/>
                    </a:lnTo>
                    <a:lnTo>
                      <a:pt x="3970" y="1974"/>
                    </a:lnTo>
                    <a:lnTo>
                      <a:pt x="3966" y="1978"/>
                    </a:lnTo>
                    <a:lnTo>
                      <a:pt x="3962" y="1980"/>
                    </a:lnTo>
                    <a:lnTo>
                      <a:pt x="3958" y="1982"/>
                    </a:lnTo>
                    <a:lnTo>
                      <a:pt x="3954" y="1982"/>
                    </a:lnTo>
                    <a:lnTo>
                      <a:pt x="3954" y="1984"/>
                    </a:lnTo>
                    <a:lnTo>
                      <a:pt x="3960" y="1990"/>
                    </a:lnTo>
                    <a:lnTo>
                      <a:pt x="3966" y="1998"/>
                    </a:lnTo>
                    <a:lnTo>
                      <a:pt x="3968" y="2004"/>
                    </a:lnTo>
                    <a:lnTo>
                      <a:pt x="3970" y="2008"/>
                    </a:lnTo>
                    <a:lnTo>
                      <a:pt x="3966" y="2016"/>
                    </a:lnTo>
                    <a:lnTo>
                      <a:pt x="3964" y="2018"/>
                    </a:lnTo>
                    <a:lnTo>
                      <a:pt x="3962" y="2018"/>
                    </a:lnTo>
                    <a:lnTo>
                      <a:pt x="3960" y="2020"/>
                    </a:lnTo>
                    <a:lnTo>
                      <a:pt x="3960" y="2024"/>
                    </a:lnTo>
                    <a:lnTo>
                      <a:pt x="3962" y="2024"/>
                    </a:lnTo>
                    <a:lnTo>
                      <a:pt x="3964" y="2026"/>
                    </a:lnTo>
                    <a:lnTo>
                      <a:pt x="3966" y="2028"/>
                    </a:lnTo>
                    <a:lnTo>
                      <a:pt x="3966" y="2030"/>
                    </a:lnTo>
                    <a:lnTo>
                      <a:pt x="3962" y="2034"/>
                    </a:lnTo>
                    <a:lnTo>
                      <a:pt x="3958" y="2038"/>
                    </a:lnTo>
                    <a:lnTo>
                      <a:pt x="3954" y="2038"/>
                    </a:lnTo>
                    <a:lnTo>
                      <a:pt x="3954" y="2036"/>
                    </a:lnTo>
                    <a:lnTo>
                      <a:pt x="3952" y="2034"/>
                    </a:lnTo>
                    <a:lnTo>
                      <a:pt x="3952" y="2030"/>
                    </a:lnTo>
                    <a:lnTo>
                      <a:pt x="3950" y="2028"/>
                    </a:lnTo>
                    <a:lnTo>
                      <a:pt x="3946" y="2030"/>
                    </a:lnTo>
                    <a:lnTo>
                      <a:pt x="3940" y="2032"/>
                    </a:lnTo>
                    <a:lnTo>
                      <a:pt x="3936" y="2034"/>
                    </a:lnTo>
                    <a:lnTo>
                      <a:pt x="3932" y="2036"/>
                    </a:lnTo>
                    <a:lnTo>
                      <a:pt x="3934" y="2044"/>
                    </a:lnTo>
                    <a:lnTo>
                      <a:pt x="3936" y="2054"/>
                    </a:lnTo>
                    <a:lnTo>
                      <a:pt x="3938" y="2066"/>
                    </a:lnTo>
                    <a:lnTo>
                      <a:pt x="3936" y="2078"/>
                    </a:lnTo>
                    <a:lnTo>
                      <a:pt x="3930" y="2090"/>
                    </a:lnTo>
                    <a:lnTo>
                      <a:pt x="3928" y="2098"/>
                    </a:lnTo>
                    <a:lnTo>
                      <a:pt x="3928" y="2104"/>
                    </a:lnTo>
                    <a:lnTo>
                      <a:pt x="3930" y="2108"/>
                    </a:lnTo>
                    <a:lnTo>
                      <a:pt x="3928" y="2118"/>
                    </a:lnTo>
                    <a:lnTo>
                      <a:pt x="3926" y="2124"/>
                    </a:lnTo>
                    <a:lnTo>
                      <a:pt x="3928" y="2128"/>
                    </a:lnTo>
                    <a:lnTo>
                      <a:pt x="3930" y="2132"/>
                    </a:lnTo>
                    <a:lnTo>
                      <a:pt x="3934" y="2134"/>
                    </a:lnTo>
                    <a:lnTo>
                      <a:pt x="3934" y="2136"/>
                    </a:lnTo>
                    <a:lnTo>
                      <a:pt x="3932" y="2136"/>
                    </a:lnTo>
                    <a:close/>
                    <a:moveTo>
                      <a:pt x="4070" y="2610"/>
                    </a:moveTo>
                    <a:lnTo>
                      <a:pt x="4070" y="2610"/>
                    </a:lnTo>
                    <a:lnTo>
                      <a:pt x="4068" y="2602"/>
                    </a:lnTo>
                    <a:lnTo>
                      <a:pt x="4068" y="2594"/>
                    </a:lnTo>
                    <a:lnTo>
                      <a:pt x="4070" y="2586"/>
                    </a:lnTo>
                    <a:lnTo>
                      <a:pt x="4072" y="2580"/>
                    </a:lnTo>
                    <a:lnTo>
                      <a:pt x="4078" y="2572"/>
                    </a:lnTo>
                    <a:lnTo>
                      <a:pt x="4078" y="2570"/>
                    </a:lnTo>
                    <a:lnTo>
                      <a:pt x="4076" y="2568"/>
                    </a:lnTo>
                    <a:lnTo>
                      <a:pt x="4072" y="2570"/>
                    </a:lnTo>
                    <a:lnTo>
                      <a:pt x="4068" y="2572"/>
                    </a:lnTo>
                    <a:lnTo>
                      <a:pt x="4062" y="2582"/>
                    </a:lnTo>
                    <a:lnTo>
                      <a:pt x="4054" y="2590"/>
                    </a:lnTo>
                    <a:lnTo>
                      <a:pt x="4050" y="2592"/>
                    </a:lnTo>
                    <a:lnTo>
                      <a:pt x="4044" y="2592"/>
                    </a:lnTo>
                    <a:lnTo>
                      <a:pt x="4040" y="2592"/>
                    </a:lnTo>
                    <a:lnTo>
                      <a:pt x="4038" y="2590"/>
                    </a:lnTo>
                    <a:lnTo>
                      <a:pt x="4036" y="2586"/>
                    </a:lnTo>
                    <a:lnTo>
                      <a:pt x="4034" y="2582"/>
                    </a:lnTo>
                    <a:lnTo>
                      <a:pt x="4032" y="2580"/>
                    </a:lnTo>
                    <a:lnTo>
                      <a:pt x="4028" y="2578"/>
                    </a:lnTo>
                    <a:lnTo>
                      <a:pt x="4022" y="2578"/>
                    </a:lnTo>
                    <a:lnTo>
                      <a:pt x="4012" y="2576"/>
                    </a:lnTo>
                    <a:lnTo>
                      <a:pt x="4004" y="2570"/>
                    </a:lnTo>
                    <a:lnTo>
                      <a:pt x="3994" y="2562"/>
                    </a:lnTo>
                    <a:lnTo>
                      <a:pt x="3984" y="2554"/>
                    </a:lnTo>
                    <a:lnTo>
                      <a:pt x="3966" y="2534"/>
                    </a:lnTo>
                    <a:lnTo>
                      <a:pt x="3952" y="2516"/>
                    </a:lnTo>
                    <a:lnTo>
                      <a:pt x="3946" y="2510"/>
                    </a:lnTo>
                    <a:lnTo>
                      <a:pt x="3940" y="2506"/>
                    </a:lnTo>
                    <a:lnTo>
                      <a:pt x="3934" y="2504"/>
                    </a:lnTo>
                    <a:lnTo>
                      <a:pt x="3930" y="2504"/>
                    </a:lnTo>
                    <a:lnTo>
                      <a:pt x="3926" y="2508"/>
                    </a:lnTo>
                    <a:lnTo>
                      <a:pt x="3924" y="2512"/>
                    </a:lnTo>
                    <a:lnTo>
                      <a:pt x="3924" y="2520"/>
                    </a:lnTo>
                    <a:lnTo>
                      <a:pt x="3928" y="2530"/>
                    </a:lnTo>
                    <a:lnTo>
                      <a:pt x="3932" y="2540"/>
                    </a:lnTo>
                    <a:lnTo>
                      <a:pt x="3932" y="2546"/>
                    </a:lnTo>
                    <a:lnTo>
                      <a:pt x="3932" y="2552"/>
                    </a:lnTo>
                    <a:lnTo>
                      <a:pt x="3930" y="2556"/>
                    </a:lnTo>
                    <a:lnTo>
                      <a:pt x="3928" y="2564"/>
                    </a:lnTo>
                    <a:lnTo>
                      <a:pt x="3926" y="2568"/>
                    </a:lnTo>
                    <a:lnTo>
                      <a:pt x="3928" y="2574"/>
                    </a:lnTo>
                    <a:lnTo>
                      <a:pt x="3928" y="2580"/>
                    </a:lnTo>
                    <a:lnTo>
                      <a:pt x="3928" y="2584"/>
                    </a:lnTo>
                    <a:lnTo>
                      <a:pt x="3922" y="2594"/>
                    </a:lnTo>
                    <a:lnTo>
                      <a:pt x="3918" y="2602"/>
                    </a:lnTo>
                    <a:lnTo>
                      <a:pt x="3916" y="2606"/>
                    </a:lnTo>
                    <a:lnTo>
                      <a:pt x="3916" y="2610"/>
                    </a:lnTo>
                    <a:lnTo>
                      <a:pt x="3918" y="2620"/>
                    </a:lnTo>
                    <a:lnTo>
                      <a:pt x="3918" y="2630"/>
                    </a:lnTo>
                    <a:lnTo>
                      <a:pt x="3914" y="2634"/>
                    </a:lnTo>
                    <a:lnTo>
                      <a:pt x="3912" y="2636"/>
                    </a:lnTo>
                    <a:lnTo>
                      <a:pt x="3906" y="2636"/>
                    </a:lnTo>
                    <a:lnTo>
                      <a:pt x="3900" y="2632"/>
                    </a:lnTo>
                    <a:lnTo>
                      <a:pt x="3886" y="2626"/>
                    </a:lnTo>
                    <a:lnTo>
                      <a:pt x="3876" y="2624"/>
                    </a:lnTo>
                    <a:lnTo>
                      <a:pt x="3874" y="2624"/>
                    </a:lnTo>
                    <a:lnTo>
                      <a:pt x="3872" y="2628"/>
                    </a:lnTo>
                    <a:lnTo>
                      <a:pt x="3874" y="2630"/>
                    </a:lnTo>
                    <a:lnTo>
                      <a:pt x="3878" y="2636"/>
                    </a:lnTo>
                    <a:lnTo>
                      <a:pt x="3880" y="2640"/>
                    </a:lnTo>
                    <a:lnTo>
                      <a:pt x="3880" y="2642"/>
                    </a:lnTo>
                    <a:lnTo>
                      <a:pt x="3878" y="2648"/>
                    </a:lnTo>
                    <a:lnTo>
                      <a:pt x="3872" y="2656"/>
                    </a:lnTo>
                    <a:lnTo>
                      <a:pt x="3866" y="2662"/>
                    </a:lnTo>
                    <a:lnTo>
                      <a:pt x="3858" y="2670"/>
                    </a:lnTo>
                    <a:lnTo>
                      <a:pt x="3854" y="2676"/>
                    </a:lnTo>
                    <a:lnTo>
                      <a:pt x="3852" y="2680"/>
                    </a:lnTo>
                    <a:lnTo>
                      <a:pt x="3852" y="2682"/>
                    </a:lnTo>
                    <a:lnTo>
                      <a:pt x="3854" y="2686"/>
                    </a:lnTo>
                    <a:lnTo>
                      <a:pt x="3856" y="2690"/>
                    </a:lnTo>
                    <a:lnTo>
                      <a:pt x="3862" y="2694"/>
                    </a:lnTo>
                    <a:lnTo>
                      <a:pt x="3866" y="2700"/>
                    </a:lnTo>
                    <a:lnTo>
                      <a:pt x="3866" y="2706"/>
                    </a:lnTo>
                    <a:lnTo>
                      <a:pt x="3864" y="2710"/>
                    </a:lnTo>
                    <a:lnTo>
                      <a:pt x="3860" y="2722"/>
                    </a:lnTo>
                    <a:lnTo>
                      <a:pt x="3862" y="2726"/>
                    </a:lnTo>
                    <a:lnTo>
                      <a:pt x="3864" y="2732"/>
                    </a:lnTo>
                    <a:lnTo>
                      <a:pt x="3866" y="2734"/>
                    </a:lnTo>
                    <a:lnTo>
                      <a:pt x="3870" y="2736"/>
                    </a:lnTo>
                    <a:lnTo>
                      <a:pt x="3874" y="2732"/>
                    </a:lnTo>
                    <a:lnTo>
                      <a:pt x="3880" y="2720"/>
                    </a:lnTo>
                    <a:lnTo>
                      <a:pt x="3884" y="2712"/>
                    </a:lnTo>
                    <a:lnTo>
                      <a:pt x="3888" y="2710"/>
                    </a:lnTo>
                    <a:lnTo>
                      <a:pt x="3890" y="2712"/>
                    </a:lnTo>
                    <a:lnTo>
                      <a:pt x="3896" y="2714"/>
                    </a:lnTo>
                    <a:lnTo>
                      <a:pt x="3900" y="2714"/>
                    </a:lnTo>
                    <a:lnTo>
                      <a:pt x="3908" y="2712"/>
                    </a:lnTo>
                    <a:lnTo>
                      <a:pt x="3912" y="2710"/>
                    </a:lnTo>
                    <a:lnTo>
                      <a:pt x="3910" y="2706"/>
                    </a:lnTo>
                    <a:lnTo>
                      <a:pt x="3894" y="2698"/>
                    </a:lnTo>
                    <a:lnTo>
                      <a:pt x="3886" y="2692"/>
                    </a:lnTo>
                    <a:lnTo>
                      <a:pt x="3878" y="2686"/>
                    </a:lnTo>
                    <a:lnTo>
                      <a:pt x="3874" y="2680"/>
                    </a:lnTo>
                    <a:lnTo>
                      <a:pt x="3874" y="2676"/>
                    </a:lnTo>
                    <a:lnTo>
                      <a:pt x="3876" y="2672"/>
                    </a:lnTo>
                    <a:lnTo>
                      <a:pt x="3882" y="2666"/>
                    </a:lnTo>
                    <a:lnTo>
                      <a:pt x="3886" y="2666"/>
                    </a:lnTo>
                    <a:lnTo>
                      <a:pt x="3888" y="2668"/>
                    </a:lnTo>
                    <a:lnTo>
                      <a:pt x="3892" y="2670"/>
                    </a:lnTo>
                    <a:lnTo>
                      <a:pt x="3896" y="2674"/>
                    </a:lnTo>
                    <a:lnTo>
                      <a:pt x="3900" y="2676"/>
                    </a:lnTo>
                    <a:lnTo>
                      <a:pt x="3906" y="2676"/>
                    </a:lnTo>
                    <a:lnTo>
                      <a:pt x="3912" y="2674"/>
                    </a:lnTo>
                    <a:lnTo>
                      <a:pt x="3918" y="2670"/>
                    </a:lnTo>
                    <a:lnTo>
                      <a:pt x="3924" y="2668"/>
                    </a:lnTo>
                    <a:lnTo>
                      <a:pt x="3930" y="2666"/>
                    </a:lnTo>
                    <a:lnTo>
                      <a:pt x="3936" y="2668"/>
                    </a:lnTo>
                    <a:lnTo>
                      <a:pt x="3954" y="2678"/>
                    </a:lnTo>
                    <a:lnTo>
                      <a:pt x="3984" y="2698"/>
                    </a:lnTo>
                    <a:lnTo>
                      <a:pt x="3992" y="2700"/>
                    </a:lnTo>
                    <a:lnTo>
                      <a:pt x="3996" y="2698"/>
                    </a:lnTo>
                    <a:lnTo>
                      <a:pt x="4000" y="2692"/>
                    </a:lnTo>
                    <a:lnTo>
                      <a:pt x="4002" y="2684"/>
                    </a:lnTo>
                    <a:lnTo>
                      <a:pt x="4008" y="2664"/>
                    </a:lnTo>
                    <a:lnTo>
                      <a:pt x="4012" y="2656"/>
                    </a:lnTo>
                    <a:lnTo>
                      <a:pt x="4018" y="2652"/>
                    </a:lnTo>
                    <a:lnTo>
                      <a:pt x="4030" y="2648"/>
                    </a:lnTo>
                    <a:lnTo>
                      <a:pt x="4042" y="2646"/>
                    </a:lnTo>
                    <a:lnTo>
                      <a:pt x="4054" y="2644"/>
                    </a:lnTo>
                    <a:lnTo>
                      <a:pt x="4068" y="2640"/>
                    </a:lnTo>
                    <a:lnTo>
                      <a:pt x="4090" y="2630"/>
                    </a:lnTo>
                    <a:lnTo>
                      <a:pt x="4096" y="2626"/>
                    </a:lnTo>
                    <a:lnTo>
                      <a:pt x="4096" y="2624"/>
                    </a:lnTo>
                    <a:lnTo>
                      <a:pt x="4094" y="2622"/>
                    </a:lnTo>
                    <a:lnTo>
                      <a:pt x="4092" y="2620"/>
                    </a:lnTo>
                    <a:lnTo>
                      <a:pt x="4090" y="2620"/>
                    </a:lnTo>
                    <a:lnTo>
                      <a:pt x="4084" y="2622"/>
                    </a:lnTo>
                    <a:lnTo>
                      <a:pt x="4082" y="2622"/>
                    </a:lnTo>
                    <a:lnTo>
                      <a:pt x="4078" y="2622"/>
                    </a:lnTo>
                    <a:lnTo>
                      <a:pt x="4074" y="2618"/>
                    </a:lnTo>
                    <a:lnTo>
                      <a:pt x="4070" y="2610"/>
                    </a:lnTo>
                    <a:close/>
                    <a:moveTo>
                      <a:pt x="3802" y="2924"/>
                    </a:moveTo>
                    <a:lnTo>
                      <a:pt x="3802" y="2924"/>
                    </a:lnTo>
                    <a:lnTo>
                      <a:pt x="3806" y="2916"/>
                    </a:lnTo>
                    <a:lnTo>
                      <a:pt x="3806" y="2908"/>
                    </a:lnTo>
                    <a:lnTo>
                      <a:pt x="3804" y="2906"/>
                    </a:lnTo>
                    <a:lnTo>
                      <a:pt x="3802" y="2904"/>
                    </a:lnTo>
                    <a:lnTo>
                      <a:pt x="3800" y="2906"/>
                    </a:lnTo>
                    <a:lnTo>
                      <a:pt x="3796" y="2910"/>
                    </a:lnTo>
                    <a:lnTo>
                      <a:pt x="3792" y="2914"/>
                    </a:lnTo>
                    <a:lnTo>
                      <a:pt x="3792" y="2918"/>
                    </a:lnTo>
                    <a:lnTo>
                      <a:pt x="3792" y="2922"/>
                    </a:lnTo>
                    <a:lnTo>
                      <a:pt x="3792" y="2924"/>
                    </a:lnTo>
                    <a:lnTo>
                      <a:pt x="3794" y="2926"/>
                    </a:lnTo>
                    <a:lnTo>
                      <a:pt x="3798" y="2928"/>
                    </a:lnTo>
                    <a:lnTo>
                      <a:pt x="3800" y="2926"/>
                    </a:lnTo>
                    <a:lnTo>
                      <a:pt x="3802" y="2924"/>
                    </a:lnTo>
                    <a:close/>
                    <a:moveTo>
                      <a:pt x="3594" y="3018"/>
                    </a:moveTo>
                    <a:lnTo>
                      <a:pt x="3594" y="3018"/>
                    </a:lnTo>
                    <a:lnTo>
                      <a:pt x="3596" y="3016"/>
                    </a:lnTo>
                    <a:lnTo>
                      <a:pt x="3596" y="3014"/>
                    </a:lnTo>
                    <a:lnTo>
                      <a:pt x="3594" y="3010"/>
                    </a:lnTo>
                    <a:lnTo>
                      <a:pt x="3592" y="3010"/>
                    </a:lnTo>
                    <a:lnTo>
                      <a:pt x="3590" y="3012"/>
                    </a:lnTo>
                    <a:lnTo>
                      <a:pt x="3588" y="3014"/>
                    </a:lnTo>
                    <a:lnTo>
                      <a:pt x="3590" y="3018"/>
                    </a:lnTo>
                    <a:lnTo>
                      <a:pt x="3594" y="3018"/>
                    </a:lnTo>
                    <a:close/>
                    <a:moveTo>
                      <a:pt x="3048" y="4040"/>
                    </a:moveTo>
                    <a:lnTo>
                      <a:pt x="3048" y="4040"/>
                    </a:lnTo>
                    <a:lnTo>
                      <a:pt x="3046" y="4042"/>
                    </a:lnTo>
                    <a:lnTo>
                      <a:pt x="3044" y="4044"/>
                    </a:lnTo>
                    <a:lnTo>
                      <a:pt x="3042" y="4050"/>
                    </a:lnTo>
                    <a:lnTo>
                      <a:pt x="3044" y="4056"/>
                    </a:lnTo>
                    <a:lnTo>
                      <a:pt x="3046" y="4062"/>
                    </a:lnTo>
                    <a:lnTo>
                      <a:pt x="3048" y="4064"/>
                    </a:lnTo>
                    <a:lnTo>
                      <a:pt x="3050" y="4068"/>
                    </a:lnTo>
                    <a:lnTo>
                      <a:pt x="3052" y="4098"/>
                    </a:lnTo>
                    <a:lnTo>
                      <a:pt x="3054" y="4116"/>
                    </a:lnTo>
                    <a:lnTo>
                      <a:pt x="3056" y="4120"/>
                    </a:lnTo>
                    <a:lnTo>
                      <a:pt x="3058" y="4120"/>
                    </a:lnTo>
                    <a:lnTo>
                      <a:pt x="3062" y="4120"/>
                    </a:lnTo>
                    <a:lnTo>
                      <a:pt x="3064" y="4122"/>
                    </a:lnTo>
                    <a:lnTo>
                      <a:pt x="3066" y="4126"/>
                    </a:lnTo>
                    <a:lnTo>
                      <a:pt x="3070" y="4134"/>
                    </a:lnTo>
                    <a:lnTo>
                      <a:pt x="3074" y="4138"/>
                    </a:lnTo>
                    <a:lnTo>
                      <a:pt x="3076" y="4134"/>
                    </a:lnTo>
                    <a:lnTo>
                      <a:pt x="3076" y="4128"/>
                    </a:lnTo>
                    <a:lnTo>
                      <a:pt x="3078" y="4120"/>
                    </a:lnTo>
                    <a:lnTo>
                      <a:pt x="3078" y="4118"/>
                    </a:lnTo>
                    <a:lnTo>
                      <a:pt x="3082" y="4118"/>
                    </a:lnTo>
                    <a:lnTo>
                      <a:pt x="3086" y="4122"/>
                    </a:lnTo>
                    <a:lnTo>
                      <a:pt x="3090" y="4126"/>
                    </a:lnTo>
                    <a:lnTo>
                      <a:pt x="3092" y="4130"/>
                    </a:lnTo>
                    <a:lnTo>
                      <a:pt x="3090" y="4134"/>
                    </a:lnTo>
                    <a:lnTo>
                      <a:pt x="3086" y="4140"/>
                    </a:lnTo>
                    <a:lnTo>
                      <a:pt x="3080" y="4146"/>
                    </a:lnTo>
                    <a:lnTo>
                      <a:pt x="3076" y="4156"/>
                    </a:lnTo>
                    <a:lnTo>
                      <a:pt x="3078" y="4164"/>
                    </a:lnTo>
                    <a:lnTo>
                      <a:pt x="3078" y="4166"/>
                    </a:lnTo>
                    <a:lnTo>
                      <a:pt x="3082" y="4166"/>
                    </a:lnTo>
                    <a:lnTo>
                      <a:pt x="3084" y="4164"/>
                    </a:lnTo>
                    <a:lnTo>
                      <a:pt x="3088" y="4166"/>
                    </a:lnTo>
                    <a:lnTo>
                      <a:pt x="3092" y="4170"/>
                    </a:lnTo>
                    <a:lnTo>
                      <a:pt x="3096" y="4174"/>
                    </a:lnTo>
                    <a:lnTo>
                      <a:pt x="3100" y="4176"/>
                    </a:lnTo>
                    <a:lnTo>
                      <a:pt x="3104" y="4178"/>
                    </a:lnTo>
                    <a:lnTo>
                      <a:pt x="3112" y="4176"/>
                    </a:lnTo>
                    <a:lnTo>
                      <a:pt x="3112" y="4174"/>
                    </a:lnTo>
                    <a:lnTo>
                      <a:pt x="3112" y="4168"/>
                    </a:lnTo>
                    <a:lnTo>
                      <a:pt x="3112" y="4166"/>
                    </a:lnTo>
                    <a:lnTo>
                      <a:pt x="3116" y="4164"/>
                    </a:lnTo>
                    <a:lnTo>
                      <a:pt x="3120" y="4160"/>
                    </a:lnTo>
                    <a:lnTo>
                      <a:pt x="3124" y="4160"/>
                    </a:lnTo>
                    <a:lnTo>
                      <a:pt x="3138" y="4172"/>
                    </a:lnTo>
                    <a:lnTo>
                      <a:pt x="3144" y="4176"/>
                    </a:lnTo>
                    <a:lnTo>
                      <a:pt x="3148" y="4180"/>
                    </a:lnTo>
                    <a:lnTo>
                      <a:pt x="3152" y="4188"/>
                    </a:lnTo>
                    <a:lnTo>
                      <a:pt x="3154" y="4196"/>
                    </a:lnTo>
                    <a:lnTo>
                      <a:pt x="3156" y="4198"/>
                    </a:lnTo>
                    <a:lnTo>
                      <a:pt x="3158" y="4198"/>
                    </a:lnTo>
                    <a:lnTo>
                      <a:pt x="3162" y="4198"/>
                    </a:lnTo>
                    <a:lnTo>
                      <a:pt x="3162" y="4196"/>
                    </a:lnTo>
                    <a:lnTo>
                      <a:pt x="3162" y="4188"/>
                    </a:lnTo>
                    <a:lnTo>
                      <a:pt x="3154" y="4170"/>
                    </a:lnTo>
                    <a:lnTo>
                      <a:pt x="3154" y="4166"/>
                    </a:lnTo>
                    <a:lnTo>
                      <a:pt x="3154" y="4164"/>
                    </a:lnTo>
                    <a:lnTo>
                      <a:pt x="3160" y="4164"/>
                    </a:lnTo>
                    <a:lnTo>
                      <a:pt x="3164" y="4168"/>
                    </a:lnTo>
                    <a:lnTo>
                      <a:pt x="3168" y="4174"/>
                    </a:lnTo>
                    <a:lnTo>
                      <a:pt x="3172" y="4180"/>
                    </a:lnTo>
                    <a:lnTo>
                      <a:pt x="3176" y="4182"/>
                    </a:lnTo>
                    <a:lnTo>
                      <a:pt x="3180" y="4186"/>
                    </a:lnTo>
                    <a:lnTo>
                      <a:pt x="3184" y="4192"/>
                    </a:lnTo>
                    <a:lnTo>
                      <a:pt x="3186" y="4198"/>
                    </a:lnTo>
                    <a:lnTo>
                      <a:pt x="3186" y="4202"/>
                    </a:lnTo>
                    <a:lnTo>
                      <a:pt x="3188" y="4206"/>
                    </a:lnTo>
                    <a:lnTo>
                      <a:pt x="3196" y="4210"/>
                    </a:lnTo>
                    <a:lnTo>
                      <a:pt x="3206" y="4216"/>
                    </a:lnTo>
                    <a:lnTo>
                      <a:pt x="3210" y="4218"/>
                    </a:lnTo>
                    <a:lnTo>
                      <a:pt x="3212" y="4222"/>
                    </a:lnTo>
                    <a:lnTo>
                      <a:pt x="3212" y="4228"/>
                    </a:lnTo>
                    <a:lnTo>
                      <a:pt x="3216" y="4232"/>
                    </a:lnTo>
                    <a:lnTo>
                      <a:pt x="3218" y="4230"/>
                    </a:lnTo>
                    <a:lnTo>
                      <a:pt x="3220" y="4224"/>
                    </a:lnTo>
                    <a:lnTo>
                      <a:pt x="3222" y="4216"/>
                    </a:lnTo>
                    <a:lnTo>
                      <a:pt x="3222" y="4208"/>
                    </a:lnTo>
                    <a:lnTo>
                      <a:pt x="3220" y="4204"/>
                    </a:lnTo>
                    <a:lnTo>
                      <a:pt x="3218" y="4202"/>
                    </a:lnTo>
                    <a:lnTo>
                      <a:pt x="3210" y="4200"/>
                    </a:lnTo>
                    <a:lnTo>
                      <a:pt x="3206" y="4200"/>
                    </a:lnTo>
                    <a:lnTo>
                      <a:pt x="3206" y="4196"/>
                    </a:lnTo>
                    <a:lnTo>
                      <a:pt x="3206" y="4194"/>
                    </a:lnTo>
                    <a:lnTo>
                      <a:pt x="3206" y="4192"/>
                    </a:lnTo>
                    <a:lnTo>
                      <a:pt x="3204" y="4186"/>
                    </a:lnTo>
                    <a:lnTo>
                      <a:pt x="3198" y="4182"/>
                    </a:lnTo>
                    <a:lnTo>
                      <a:pt x="3196" y="4178"/>
                    </a:lnTo>
                    <a:lnTo>
                      <a:pt x="3194" y="4174"/>
                    </a:lnTo>
                    <a:lnTo>
                      <a:pt x="3196" y="4174"/>
                    </a:lnTo>
                    <a:lnTo>
                      <a:pt x="3198" y="4174"/>
                    </a:lnTo>
                    <a:lnTo>
                      <a:pt x="3206" y="4174"/>
                    </a:lnTo>
                    <a:lnTo>
                      <a:pt x="3210" y="4172"/>
                    </a:lnTo>
                    <a:lnTo>
                      <a:pt x="3212" y="4172"/>
                    </a:lnTo>
                    <a:lnTo>
                      <a:pt x="3214" y="4168"/>
                    </a:lnTo>
                    <a:lnTo>
                      <a:pt x="3210" y="4164"/>
                    </a:lnTo>
                    <a:lnTo>
                      <a:pt x="3194" y="4156"/>
                    </a:lnTo>
                    <a:lnTo>
                      <a:pt x="3190" y="4154"/>
                    </a:lnTo>
                    <a:lnTo>
                      <a:pt x="3186" y="4156"/>
                    </a:lnTo>
                    <a:lnTo>
                      <a:pt x="3186" y="4158"/>
                    </a:lnTo>
                    <a:lnTo>
                      <a:pt x="3184" y="4162"/>
                    </a:lnTo>
                    <a:lnTo>
                      <a:pt x="3184" y="4170"/>
                    </a:lnTo>
                    <a:lnTo>
                      <a:pt x="3182" y="4172"/>
                    </a:lnTo>
                    <a:lnTo>
                      <a:pt x="3180" y="4170"/>
                    </a:lnTo>
                    <a:lnTo>
                      <a:pt x="3178" y="4168"/>
                    </a:lnTo>
                    <a:lnTo>
                      <a:pt x="3176" y="4164"/>
                    </a:lnTo>
                    <a:lnTo>
                      <a:pt x="3176" y="4158"/>
                    </a:lnTo>
                    <a:lnTo>
                      <a:pt x="3176" y="4154"/>
                    </a:lnTo>
                    <a:lnTo>
                      <a:pt x="3174" y="4150"/>
                    </a:lnTo>
                    <a:lnTo>
                      <a:pt x="3170" y="4146"/>
                    </a:lnTo>
                    <a:lnTo>
                      <a:pt x="3164" y="4142"/>
                    </a:lnTo>
                    <a:lnTo>
                      <a:pt x="3158" y="4140"/>
                    </a:lnTo>
                    <a:lnTo>
                      <a:pt x="3154" y="4140"/>
                    </a:lnTo>
                    <a:lnTo>
                      <a:pt x="3152" y="4140"/>
                    </a:lnTo>
                    <a:lnTo>
                      <a:pt x="3150" y="4142"/>
                    </a:lnTo>
                    <a:lnTo>
                      <a:pt x="3148" y="4146"/>
                    </a:lnTo>
                    <a:lnTo>
                      <a:pt x="3144" y="4146"/>
                    </a:lnTo>
                    <a:lnTo>
                      <a:pt x="3142" y="4146"/>
                    </a:lnTo>
                    <a:lnTo>
                      <a:pt x="3140" y="4148"/>
                    </a:lnTo>
                    <a:lnTo>
                      <a:pt x="3140" y="4152"/>
                    </a:lnTo>
                    <a:lnTo>
                      <a:pt x="3140" y="4158"/>
                    </a:lnTo>
                    <a:lnTo>
                      <a:pt x="3138" y="4158"/>
                    </a:lnTo>
                    <a:lnTo>
                      <a:pt x="3136" y="4158"/>
                    </a:lnTo>
                    <a:lnTo>
                      <a:pt x="3130" y="4156"/>
                    </a:lnTo>
                    <a:lnTo>
                      <a:pt x="3126" y="4152"/>
                    </a:lnTo>
                    <a:lnTo>
                      <a:pt x="3122" y="4142"/>
                    </a:lnTo>
                    <a:lnTo>
                      <a:pt x="3120" y="4132"/>
                    </a:lnTo>
                    <a:lnTo>
                      <a:pt x="3120" y="4124"/>
                    </a:lnTo>
                    <a:lnTo>
                      <a:pt x="3120" y="4120"/>
                    </a:lnTo>
                    <a:lnTo>
                      <a:pt x="3120" y="4116"/>
                    </a:lnTo>
                    <a:lnTo>
                      <a:pt x="3116" y="4104"/>
                    </a:lnTo>
                    <a:lnTo>
                      <a:pt x="3112" y="4092"/>
                    </a:lnTo>
                    <a:lnTo>
                      <a:pt x="3112" y="4086"/>
                    </a:lnTo>
                    <a:lnTo>
                      <a:pt x="3116" y="4082"/>
                    </a:lnTo>
                    <a:lnTo>
                      <a:pt x="3120" y="4072"/>
                    </a:lnTo>
                    <a:lnTo>
                      <a:pt x="3120" y="4066"/>
                    </a:lnTo>
                    <a:lnTo>
                      <a:pt x="3120" y="4062"/>
                    </a:lnTo>
                    <a:lnTo>
                      <a:pt x="3124" y="4054"/>
                    </a:lnTo>
                    <a:lnTo>
                      <a:pt x="3128" y="4052"/>
                    </a:lnTo>
                    <a:lnTo>
                      <a:pt x="3130" y="4050"/>
                    </a:lnTo>
                    <a:lnTo>
                      <a:pt x="3132" y="4052"/>
                    </a:lnTo>
                    <a:lnTo>
                      <a:pt x="3134" y="4052"/>
                    </a:lnTo>
                    <a:lnTo>
                      <a:pt x="3136" y="4056"/>
                    </a:lnTo>
                    <a:lnTo>
                      <a:pt x="3138" y="4056"/>
                    </a:lnTo>
                    <a:lnTo>
                      <a:pt x="3144" y="4046"/>
                    </a:lnTo>
                    <a:lnTo>
                      <a:pt x="3148" y="4034"/>
                    </a:lnTo>
                    <a:lnTo>
                      <a:pt x="3154" y="4008"/>
                    </a:lnTo>
                    <a:lnTo>
                      <a:pt x="3154" y="4006"/>
                    </a:lnTo>
                    <a:lnTo>
                      <a:pt x="3152" y="4002"/>
                    </a:lnTo>
                    <a:lnTo>
                      <a:pt x="3146" y="3992"/>
                    </a:lnTo>
                    <a:lnTo>
                      <a:pt x="3144" y="3986"/>
                    </a:lnTo>
                    <a:lnTo>
                      <a:pt x="3142" y="3978"/>
                    </a:lnTo>
                    <a:lnTo>
                      <a:pt x="3142" y="3970"/>
                    </a:lnTo>
                    <a:lnTo>
                      <a:pt x="3144" y="3960"/>
                    </a:lnTo>
                    <a:lnTo>
                      <a:pt x="3148" y="3944"/>
                    </a:lnTo>
                    <a:lnTo>
                      <a:pt x="3146" y="3936"/>
                    </a:lnTo>
                    <a:lnTo>
                      <a:pt x="3146" y="3934"/>
                    </a:lnTo>
                    <a:lnTo>
                      <a:pt x="3142" y="3934"/>
                    </a:lnTo>
                    <a:lnTo>
                      <a:pt x="3140" y="3936"/>
                    </a:lnTo>
                    <a:lnTo>
                      <a:pt x="3136" y="3942"/>
                    </a:lnTo>
                    <a:lnTo>
                      <a:pt x="3132" y="3946"/>
                    </a:lnTo>
                    <a:lnTo>
                      <a:pt x="3126" y="3944"/>
                    </a:lnTo>
                    <a:lnTo>
                      <a:pt x="3122" y="3942"/>
                    </a:lnTo>
                    <a:lnTo>
                      <a:pt x="3114" y="3938"/>
                    </a:lnTo>
                    <a:lnTo>
                      <a:pt x="3100" y="3930"/>
                    </a:lnTo>
                    <a:lnTo>
                      <a:pt x="3094" y="3926"/>
                    </a:lnTo>
                    <a:lnTo>
                      <a:pt x="3086" y="3928"/>
                    </a:lnTo>
                    <a:lnTo>
                      <a:pt x="3076" y="3932"/>
                    </a:lnTo>
                    <a:lnTo>
                      <a:pt x="3076" y="3936"/>
                    </a:lnTo>
                    <a:lnTo>
                      <a:pt x="3074" y="3938"/>
                    </a:lnTo>
                    <a:lnTo>
                      <a:pt x="3074" y="3946"/>
                    </a:lnTo>
                    <a:lnTo>
                      <a:pt x="3074" y="3952"/>
                    </a:lnTo>
                    <a:lnTo>
                      <a:pt x="3072" y="3958"/>
                    </a:lnTo>
                    <a:lnTo>
                      <a:pt x="3068" y="3966"/>
                    </a:lnTo>
                    <a:lnTo>
                      <a:pt x="3068" y="3972"/>
                    </a:lnTo>
                    <a:lnTo>
                      <a:pt x="3068" y="3986"/>
                    </a:lnTo>
                    <a:lnTo>
                      <a:pt x="3070" y="4000"/>
                    </a:lnTo>
                    <a:lnTo>
                      <a:pt x="3068" y="4010"/>
                    </a:lnTo>
                    <a:lnTo>
                      <a:pt x="3066" y="4018"/>
                    </a:lnTo>
                    <a:lnTo>
                      <a:pt x="3064" y="4026"/>
                    </a:lnTo>
                    <a:lnTo>
                      <a:pt x="3062" y="4032"/>
                    </a:lnTo>
                    <a:lnTo>
                      <a:pt x="3064" y="4038"/>
                    </a:lnTo>
                    <a:lnTo>
                      <a:pt x="3066" y="4040"/>
                    </a:lnTo>
                    <a:lnTo>
                      <a:pt x="3068" y="4046"/>
                    </a:lnTo>
                    <a:lnTo>
                      <a:pt x="3070" y="4050"/>
                    </a:lnTo>
                    <a:lnTo>
                      <a:pt x="3068" y="4054"/>
                    </a:lnTo>
                    <a:lnTo>
                      <a:pt x="3066" y="4058"/>
                    </a:lnTo>
                    <a:lnTo>
                      <a:pt x="3062" y="4060"/>
                    </a:lnTo>
                    <a:lnTo>
                      <a:pt x="3060" y="4056"/>
                    </a:lnTo>
                    <a:lnTo>
                      <a:pt x="3058" y="4054"/>
                    </a:lnTo>
                    <a:lnTo>
                      <a:pt x="3052" y="4044"/>
                    </a:lnTo>
                    <a:lnTo>
                      <a:pt x="3050" y="4042"/>
                    </a:lnTo>
                    <a:lnTo>
                      <a:pt x="3048" y="4040"/>
                    </a:lnTo>
                    <a:close/>
                    <a:moveTo>
                      <a:pt x="3012" y="4336"/>
                    </a:moveTo>
                    <a:lnTo>
                      <a:pt x="3012" y="4336"/>
                    </a:lnTo>
                    <a:lnTo>
                      <a:pt x="2996" y="4362"/>
                    </a:lnTo>
                    <a:lnTo>
                      <a:pt x="2978" y="4384"/>
                    </a:lnTo>
                    <a:lnTo>
                      <a:pt x="2960" y="4400"/>
                    </a:lnTo>
                    <a:lnTo>
                      <a:pt x="2950" y="4412"/>
                    </a:lnTo>
                    <a:lnTo>
                      <a:pt x="2948" y="4420"/>
                    </a:lnTo>
                    <a:lnTo>
                      <a:pt x="2944" y="4428"/>
                    </a:lnTo>
                    <a:lnTo>
                      <a:pt x="2944" y="4432"/>
                    </a:lnTo>
                    <a:lnTo>
                      <a:pt x="2946" y="4434"/>
                    </a:lnTo>
                    <a:lnTo>
                      <a:pt x="2950" y="4432"/>
                    </a:lnTo>
                    <a:lnTo>
                      <a:pt x="2954" y="4426"/>
                    </a:lnTo>
                    <a:lnTo>
                      <a:pt x="2960" y="4422"/>
                    </a:lnTo>
                    <a:lnTo>
                      <a:pt x="2968" y="4410"/>
                    </a:lnTo>
                    <a:lnTo>
                      <a:pt x="2994" y="4388"/>
                    </a:lnTo>
                    <a:lnTo>
                      <a:pt x="3002" y="4380"/>
                    </a:lnTo>
                    <a:lnTo>
                      <a:pt x="3006" y="4372"/>
                    </a:lnTo>
                    <a:lnTo>
                      <a:pt x="3008" y="4368"/>
                    </a:lnTo>
                    <a:lnTo>
                      <a:pt x="3008" y="4364"/>
                    </a:lnTo>
                    <a:lnTo>
                      <a:pt x="3010" y="4358"/>
                    </a:lnTo>
                    <a:lnTo>
                      <a:pt x="3012" y="4356"/>
                    </a:lnTo>
                    <a:lnTo>
                      <a:pt x="3016" y="4354"/>
                    </a:lnTo>
                    <a:lnTo>
                      <a:pt x="3022" y="4352"/>
                    </a:lnTo>
                    <a:lnTo>
                      <a:pt x="3024" y="4350"/>
                    </a:lnTo>
                    <a:lnTo>
                      <a:pt x="3028" y="4344"/>
                    </a:lnTo>
                    <a:lnTo>
                      <a:pt x="3030" y="4338"/>
                    </a:lnTo>
                    <a:lnTo>
                      <a:pt x="3030" y="4336"/>
                    </a:lnTo>
                    <a:lnTo>
                      <a:pt x="3034" y="4336"/>
                    </a:lnTo>
                    <a:lnTo>
                      <a:pt x="3038" y="4334"/>
                    </a:lnTo>
                    <a:lnTo>
                      <a:pt x="3042" y="4330"/>
                    </a:lnTo>
                    <a:lnTo>
                      <a:pt x="3044" y="4324"/>
                    </a:lnTo>
                    <a:lnTo>
                      <a:pt x="3042" y="4316"/>
                    </a:lnTo>
                    <a:lnTo>
                      <a:pt x="3040" y="4312"/>
                    </a:lnTo>
                    <a:lnTo>
                      <a:pt x="3040" y="4306"/>
                    </a:lnTo>
                    <a:lnTo>
                      <a:pt x="3040" y="4296"/>
                    </a:lnTo>
                    <a:lnTo>
                      <a:pt x="3040" y="4288"/>
                    </a:lnTo>
                    <a:lnTo>
                      <a:pt x="3038" y="4286"/>
                    </a:lnTo>
                    <a:lnTo>
                      <a:pt x="3036" y="4284"/>
                    </a:lnTo>
                    <a:lnTo>
                      <a:pt x="3034" y="4284"/>
                    </a:lnTo>
                    <a:lnTo>
                      <a:pt x="3032" y="4286"/>
                    </a:lnTo>
                    <a:lnTo>
                      <a:pt x="3032" y="4294"/>
                    </a:lnTo>
                    <a:lnTo>
                      <a:pt x="3030" y="4302"/>
                    </a:lnTo>
                    <a:lnTo>
                      <a:pt x="3028" y="4304"/>
                    </a:lnTo>
                    <a:lnTo>
                      <a:pt x="3026" y="4306"/>
                    </a:lnTo>
                    <a:lnTo>
                      <a:pt x="3024" y="4306"/>
                    </a:lnTo>
                    <a:lnTo>
                      <a:pt x="3024" y="4308"/>
                    </a:lnTo>
                    <a:lnTo>
                      <a:pt x="3026" y="4312"/>
                    </a:lnTo>
                    <a:lnTo>
                      <a:pt x="3028" y="4318"/>
                    </a:lnTo>
                    <a:lnTo>
                      <a:pt x="3028" y="4322"/>
                    </a:lnTo>
                    <a:lnTo>
                      <a:pt x="3026" y="4326"/>
                    </a:lnTo>
                    <a:lnTo>
                      <a:pt x="3022" y="4330"/>
                    </a:lnTo>
                    <a:lnTo>
                      <a:pt x="3020" y="4328"/>
                    </a:lnTo>
                    <a:lnTo>
                      <a:pt x="3018" y="4328"/>
                    </a:lnTo>
                    <a:lnTo>
                      <a:pt x="3012" y="4336"/>
                    </a:lnTo>
                    <a:close/>
                    <a:moveTo>
                      <a:pt x="3126" y="3596"/>
                    </a:moveTo>
                    <a:lnTo>
                      <a:pt x="3126" y="3596"/>
                    </a:lnTo>
                    <a:lnTo>
                      <a:pt x="3122" y="3592"/>
                    </a:lnTo>
                    <a:lnTo>
                      <a:pt x="3118" y="3590"/>
                    </a:lnTo>
                    <a:lnTo>
                      <a:pt x="3116" y="3590"/>
                    </a:lnTo>
                    <a:lnTo>
                      <a:pt x="3114" y="3590"/>
                    </a:lnTo>
                    <a:lnTo>
                      <a:pt x="3110" y="3594"/>
                    </a:lnTo>
                    <a:lnTo>
                      <a:pt x="3104" y="3598"/>
                    </a:lnTo>
                    <a:lnTo>
                      <a:pt x="3098" y="3600"/>
                    </a:lnTo>
                    <a:lnTo>
                      <a:pt x="3092" y="3608"/>
                    </a:lnTo>
                    <a:lnTo>
                      <a:pt x="3072" y="3644"/>
                    </a:lnTo>
                    <a:lnTo>
                      <a:pt x="3062" y="3662"/>
                    </a:lnTo>
                    <a:lnTo>
                      <a:pt x="3060" y="3678"/>
                    </a:lnTo>
                    <a:lnTo>
                      <a:pt x="3060" y="3694"/>
                    </a:lnTo>
                    <a:lnTo>
                      <a:pt x="3062" y="3712"/>
                    </a:lnTo>
                    <a:lnTo>
                      <a:pt x="3066" y="3726"/>
                    </a:lnTo>
                    <a:lnTo>
                      <a:pt x="3070" y="3730"/>
                    </a:lnTo>
                    <a:lnTo>
                      <a:pt x="3074" y="3734"/>
                    </a:lnTo>
                    <a:lnTo>
                      <a:pt x="3078" y="3742"/>
                    </a:lnTo>
                    <a:lnTo>
                      <a:pt x="3082" y="3752"/>
                    </a:lnTo>
                    <a:lnTo>
                      <a:pt x="3086" y="3762"/>
                    </a:lnTo>
                    <a:lnTo>
                      <a:pt x="3088" y="3764"/>
                    </a:lnTo>
                    <a:lnTo>
                      <a:pt x="3090" y="3762"/>
                    </a:lnTo>
                    <a:lnTo>
                      <a:pt x="3090" y="3756"/>
                    </a:lnTo>
                    <a:lnTo>
                      <a:pt x="3090" y="3748"/>
                    </a:lnTo>
                    <a:lnTo>
                      <a:pt x="3092" y="3738"/>
                    </a:lnTo>
                    <a:lnTo>
                      <a:pt x="3094" y="3730"/>
                    </a:lnTo>
                    <a:lnTo>
                      <a:pt x="3096" y="3726"/>
                    </a:lnTo>
                    <a:lnTo>
                      <a:pt x="3098" y="3722"/>
                    </a:lnTo>
                    <a:lnTo>
                      <a:pt x="3102" y="3718"/>
                    </a:lnTo>
                    <a:lnTo>
                      <a:pt x="3106" y="3712"/>
                    </a:lnTo>
                    <a:lnTo>
                      <a:pt x="3110" y="3702"/>
                    </a:lnTo>
                    <a:lnTo>
                      <a:pt x="3114" y="3690"/>
                    </a:lnTo>
                    <a:lnTo>
                      <a:pt x="3120" y="3662"/>
                    </a:lnTo>
                    <a:lnTo>
                      <a:pt x="3126" y="3644"/>
                    </a:lnTo>
                    <a:lnTo>
                      <a:pt x="3130" y="3632"/>
                    </a:lnTo>
                    <a:lnTo>
                      <a:pt x="3130" y="3628"/>
                    </a:lnTo>
                    <a:lnTo>
                      <a:pt x="3128" y="3622"/>
                    </a:lnTo>
                    <a:lnTo>
                      <a:pt x="3128" y="3618"/>
                    </a:lnTo>
                    <a:lnTo>
                      <a:pt x="3128" y="3614"/>
                    </a:lnTo>
                    <a:lnTo>
                      <a:pt x="3130" y="3610"/>
                    </a:lnTo>
                    <a:lnTo>
                      <a:pt x="3132" y="3608"/>
                    </a:lnTo>
                    <a:lnTo>
                      <a:pt x="3132" y="3604"/>
                    </a:lnTo>
                    <a:lnTo>
                      <a:pt x="3130" y="3600"/>
                    </a:lnTo>
                    <a:lnTo>
                      <a:pt x="3126" y="3596"/>
                    </a:lnTo>
                    <a:close/>
                    <a:moveTo>
                      <a:pt x="4186" y="2510"/>
                    </a:moveTo>
                    <a:lnTo>
                      <a:pt x="4186" y="2510"/>
                    </a:lnTo>
                    <a:lnTo>
                      <a:pt x="4182" y="2506"/>
                    </a:lnTo>
                    <a:lnTo>
                      <a:pt x="4182" y="2510"/>
                    </a:lnTo>
                    <a:lnTo>
                      <a:pt x="4180" y="2516"/>
                    </a:lnTo>
                    <a:lnTo>
                      <a:pt x="4180" y="2518"/>
                    </a:lnTo>
                    <a:lnTo>
                      <a:pt x="4176" y="2522"/>
                    </a:lnTo>
                    <a:lnTo>
                      <a:pt x="4166" y="2526"/>
                    </a:lnTo>
                    <a:lnTo>
                      <a:pt x="4156" y="2534"/>
                    </a:lnTo>
                    <a:lnTo>
                      <a:pt x="4148" y="2544"/>
                    </a:lnTo>
                    <a:lnTo>
                      <a:pt x="4140" y="2558"/>
                    </a:lnTo>
                    <a:lnTo>
                      <a:pt x="4140" y="2560"/>
                    </a:lnTo>
                    <a:lnTo>
                      <a:pt x="4140" y="2562"/>
                    </a:lnTo>
                    <a:lnTo>
                      <a:pt x="4142" y="2564"/>
                    </a:lnTo>
                    <a:lnTo>
                      <a:pt x="4144" y="2562"/>
                    </a:lnTo>
                    <a:lnTo>
                      <a:pt x="4152" y="2556"/>
                    </a:lnTo>
                    <a:lnTo>
                      <a:pt x="4162" y="2546"/>
                    </a:lnTo>
                    <a:lnTo>
                      <a:pt x="4170" y="2536"/>
                    </a:lnTo>
                    <a:lnTo>
                      <a:pt x="4176" y="2532"/>
                    </a:lnTo>
                    <a:lnTo>
                      <a:pt x="4182" y="2528"/>
                    </a:lnTo>
                    <a:lnTo>
                      <a:pt x="4192" y="2522"/>
                    </a:lnTo>
                    <a:lnTo>
                      <a:pt x="4196" y="2518"/>
                    </a:lnTo>
                    <a:lnTo>
                      <a:pt x="4202" y="2516"/>
                    </a:lnTo>
                    <a:lnTo>
                      <a:pt x="4212" y="2512"/>
                    </a:lnTo>
                    <a:lnTo>
                      <a:pt x="4216" y="2510"/>
                    </a:lnTo>
                    <a:lnTo>
                      <a:pt x="4218" y="2508"/>
                    </a:lnTo>
                    <a:lnTo>
                      <a:pt x="4218" y="2506"/>
                    </a:lnTo>
                    <a:lnTo>
                      <a:pt x="4216" y="2502"/>
                    </a:lnTo>
                    <a:lnTo>
                      <a:pt x="4214" y="2500"/>
                    </a:lnTo>
                    <a:lnTo>
                      <a:pt x="4210" y="2500"/>
                    </a:lnTo>
                    <a:lnTo>
                      <a:pt x="4204" y="2504"/>
                    </a:lnTo>
                    <a:lnTo>
                      <a:pt x="4194" y="2510"/>
                    </a:lnTo>
                    <a:lnTo>
                      <a:pt x="4190" y="2510"/>
                    </a:lnTo>
                    <a:lnTo>
                      <a:pt x="4186" y="2510"/>
                    </a:lnTo>
                    <a:close/>
                    <a:moveTo>
                      <a:pt x="3264" y="4226"/>
                    </a:moveTo>
                    <a:lnTo>
                      <a:pt x="3264" y="4226"/>
                    </a:lnTo>
                    <a:lnTo>
                      <a:pt x="3258" y="4226"/>
                    </a:lnTo>
                    <a:lnTo>
                      <a:pt x="3250" y="4226"/>
                    </a:lnTo>
                    <a:lnTo>
                      <a:pt x="3242" y="4228"/>
                    </a:lnTo>
                    <a:lnTo>
                      <a:pt x="3234" y="4226"/>
                    </a:lnTo>
                    <a:lnTo>
                      <a:pt x="3230" y="4226"/>
                    </a:lnTo>
                    <a:lnTo>
                      <a:pt x="3228" y="4228"/>
                    </a:lnTo>
                    <a:lnTo>
                      <a:pt x="3228" y="4234"/>
                    </a:lnTo>
                    <a:lnTo>
                      <a:pt x="3234" y="4244"/>
                    </a:lnTo>
                    <a:lnTo>
                      <a:pt x="3242" y="4252"/>
                    </a:lnTo>
                    <a:lnTo>
                      <a:pt x="3246" y="4258"/>
                    </a:lnTo>
                    <a:lnTo>
                      <a:pt x="3248" y="4260"/>
                    </a:lnTo>
                    <a:lnTo>
                      <a:pt x="3250" y="4262"/>
                    </a:lnTo>
                    <a:lnTo>
                      <a:pt x="3254" y="4264"/>
                    </a:lnTo>
                    <a:lnTo>
                      <a:pt x="3258" y="4266"/>
                    </a:lnTo>
                    <a:lnTo>
                      <a:pt x="3258" y="4268"/>
                    </a:lnTo>
                    <a:lnTo>
                      <a:pt x="3256" y="4272"/>
                    </a:lnTo>
                    <a:lnTo>
                      <a:pt x="3254" y="4276"/>
                    </a:lnTo>
                    <a:lnTo>
                      <a:pt x="3252" y="4276"/>
                    </a:lnTo>
                    <a:lnTo>
                      <a:pt x="3252" y="4278"/>
                    </a:lnTo>
                    <a:lnTo>
                      <a:pt x="3256" y="4282"/>
                    </a:lnTo>
                    <a:lnTo>
                      <a:pt x="3260" y="4288"/>
                    </a:lnTo>
                    <a:lnTo>
                      <a:pt x="3264" y="4296"/>
                    </a:lnTo>
                    <a:lnTo>
                      <a:pt x="3266" y="4298"/>
                    </a:lnTo>
                    <a:lnTo>
                      <a:pt x="3268" y="4300"/>
                    </a:lnTo>
                    <a:lnTo>
                      <a:pt x="3272" y="4298"/>
                    </a:lnTo>
                    <a:lnTo>
                      <a:pt x="3276" y="4298"/>
                    </a:lnTo>
                    <a:lnTo>
                      <a:pt x="3280" y="4298"/>
                    </a:lnTo>
                    <a:lnTo>
                      <a:pt x="3282" y="4300"/>
                    </a:lnTo>
                    <a:lnTo>
                      <a:pt x="3286" y="4302"/>
                    </a:lnTo>
                    <a:lnTo>
                      <a:pt x="3288" y="4300"/>
                    </a:lnTo>
                    <a:lnTo>
                      <a:pt x="3286" y="4296"/>
                    </a:lnTo>
                    <a:lnTo>
                      <a:pt x="3282" y="4292"/>
                    </a:lnTo>
                    <a:lnTo>
                      <a:pt x="3282" y="4290"/>
                    </a:lnTo>
                    <a:lnTo>
                      <a:pt x="3282" y="4288"/>
                    </a:lnTo>
                    <a:lnTo>
                      <a:pt x="3282" y="4284"/>
                    </a:lnTo>
                    <a:lnTo>
                      <a:pt x="3278" y="4280"/>
                    </a:lnTo>
                    <a:lnTo>
                      <a:pt x="3276" y="4276"/>
                    </a:lnTo>
                    <a:lnTo>
                      <a:pt x="3276" y="4272"/>
                    </a:lnTo>
                    <a:lnTo>
                      <a:pt x="3276" y="4260"/>
                    </a:lnTo>
                    <a:lnTo>
                      <a:pt x="3276" y="4248"/>
                    </a:lnTo>
                    <a:lnTo>
                      <a:pt x="3276" y="4242"/>
                    </a:lnTo>
                    <a:lnTo>
                      <a:pt x="3274" y="4240"/>
                    </a:lnTo>
                    <a:lnTo>
                      <a:pt x="3270" y="4236"/>
                    </a:lnTo>
                    <a:lnTo>
                      <a:pt x="3270" y="4234"/>
                    </a:lnTo>
                    <a:lnTo>
                      <a:pt x="3268" y="4230"/>
                    </a:lnTo>
                    <a:lnTo>
                      <a:pt x="3264" y="4226"/>
                    </a:lnTo>
                    <a:close/>
                    <a:moveTo>
                      <a:pt x="2906" y="4970"/>
                    </a:moveTo>
                    <a:lnTo>
                      <a:pt x="2906" y="4970"/>
                    </a:lnTo>
                    <a:lnTo>
                      <a:pt x="2908" y="4964"/>
                    </a:lnTo>
                    <a:lnTo>
                      <a:pt x="2910" y="4962"/>
                    </a:lnTo>
                    <a:lnTo>
                      <a:pt x="2914" y="4960"/>
                    </a:lnTo>
                    <a:lnTo>
                      <a:pt x="2918" y="4958"/>
                    </a:lnTo>
                    <a:lnTo>
                      <a:pt x="2918" y="4956"/>
                    </a:lnTo>
                    <a:lnTo>
                      <a:pt x="2918" y="4950"/>
                    </a:lnTo>
                    <a:lnTo>
                      <a:pt x="2916" y="4942"/>
                    </a:lnTo>
                    <a:lnTo>
                      <a:pt x="2914" y="4932"/>
                    </a:lnTo>
                    <a:lnTo>
                      <a:pt x="2914" y="4924"/>
                    </a:lnTo>
                    <a:lnTo>
                      <a:pt x="2916" y="4918"/>
                    </a:lnTo>
                    <a:lnTo>
                      <a:pt x="2920" y="4912"/>
                    </a:lnTo>
                    <a:lnTo>
                      <a:pt x="2930" y="4902"/>
                    </a:lnTo>
                    <a:lnTo>
                      <a:pt x="2934" y="4898"/>
                    </a:lnTo>
                    <a:lnTo>
                      <a:pt x="2938" y="4892"/>
                    </a:lnTo>
                    <a:lnTo>
                      <a:pt x="2940" y="4888"/>
                    </a:lnTo>
                    <a:lnTo>
                      <a:pt x="2944" y="4886"/>
                    </a:lnTo>
                    <a:lnTo>
                      <a:pt x="2952" y="4882"/>
                    </a:lnTo>
                    <a:lnTo>
                      <a:pt x="2954" y="4882"/>
                    </a:lnTo>
                    <a:lnTo>
                      <a:pt x="2958" y="4878"/>
                    </a:lnTo>
                    <a:lnTo>
                      <a:pt x="2958" y="4872"/>
                    </a:lnTo>
                    <a:lnTo>
                      <a:pt x="2958" y="4862"/>
                    </a:lnTo>
                    <a:lnTo>
                      <a:pt x="2956" y="4840"/>
                    </a:lnTo>
                    <a:lnTo>
                      <a:pt x="2958" y="4822"/>
                    </a:lnTo>
                    <a:lnTo>
                      <a:pt x="2962" y="4808"/>
                    </a:lnTo>
                    <a:lnTo>
                      <a:pt x="2964" y="4804"/>
                    </a:lnTo>
                    <a:lnTo>
                      <a:pt x="2968" y="4800"/>
                    </a:lnTo>
                    <a:lnTo>
                      <a:pt x="2972" y="4796"/>
                    </a:lnTo>
                    <a:lnTo>
                      <a:pt x="2974" y="4792"/>
                    </a:lnTo>
                    <a:lnTo>
                      <a:pt x="2978" y="4792"/>
                    </a:lnTo>
                    <a:lnTo>
                      <a:pt x="2982" y="4796"/>
                    </a:lnTo>
                    <a:lnTo>
                      <a:pt x="2988" y="4800"/>
                    </a:lnTo>
                    <a:lnTo>
                      <a:pt x="2992" y="4802"/>
                    </a:lnTo>
                    <a:lnTo>
                      <a:pt x="3002" y="4802"/>
                    </a:lnTo>
                    <a:lnTo>
                      <a:pt x="3010" y="4800"/>
                    </a:lnTo>
                    <a:lnTo>
                      <a:pt x="3012" y="4798"/>
                    </a:lnTo>
                    <a:lnTo>
                      <a:pt x="3014" y="4796"/>
                    </a:lnTo>
                    <a:lnTo>
                      <a:pt x="3012" y="4792"/>
                    </a:lnTo>
                    <a:lnTo>
                      <a:pt x="3006" y="4786"/>
                    </a:lnTo>
                    <a:lnTo>
                      <a:pt x="2988" y="4770"/>
                    </a:lnTo>
                    <a:lnTo>
                      <a:pt x="2980" y="4760"/>
                    </a:lnTo>
                    <a:lnTo>
                      <a:pt x="2972" y="4752"/>
                    </a:lnTo>
                    <a:lnTo>
                      <a:pt x="2970" y="4744"/>
                    </a:lnTo>
                    <a:lnTo>
                      <a:pt x="2970" y="4742"/>
                    </a:lnTo>
                    <a:lnTo>
                      <a:pt x="2970" y="4738"/>
                    </a:lnTo>
                    <a:lnTo>
                      <a:pt x="2974" y="4734"/>
                    </a:lnTo>
                    <a:lnTo>
                      <a:pt x="2976" y="4730"/>
                    </a:lnTo>
                    <a:lnTo>
                      <a:pt x="2974" y="4726"/>
                    </a:lnTo>
                    <a:lnTo>
                      <a:pt x="2972" y="4722"/>
                    </a:lnTo>
                    <a:lnTo>
                      <a:pt x="2966" y="4714"/>
                    </a:lnTo>
                    <a:lnTo>
                      <a:pt x="2964" y="4708"/>
                    </a:lnTo>
                    <a:lnTo>
                      <a:pt x="2962" y="4702"/>
                    </a:lnTo>
                    <a:lnTo>
                      <a:pt x="2960" y="4696"/>
                    </a:lnTo>
                    <a:lnTo>
                      <a:pt x="2958" y="4692"/>
                    </a:lnTo>
                    <a:lnTo>
                      <a:pt x="2954" y="4690"/>
                    </a:lnTo>
                    <a:lnTo>
                      <a:pt x="2950" y="4686"/>
                    </a:lnTo>
                    <a:lnTo>
                      <a:pt x="2948" y="4684"/>
                    </a:lnTo>
                    <a:lnTo>
                      <a:pt x="2950" y="4678"/>
                    </a:lnTo>
                    <a:lnTo>
                      <a:pt x="2950" y="4672"/>
                    </a:lnTo>
                    <a:lnTo>
                      <a:pt x="2952" y="4668"/>
                    </a:lnTo>
                    <a:lnTo>
                      <a:pt x="2956" y="4666"/>
                    </a:lnTo>
                    <a:lnTo>
                      <a:pt x="2958" y="4666"/>
                    </a:lnTo>
                    <a:lnTo>
                      <a:pt x="2964" y="4666"/>
                    </a:lnTo>
                    <a:lnTo>
                      <a:pt x="2966" y="4666"/>
                    </a:lnTo>
                    <a:lnTo>
                      <a:pt x="2966" y="4662"/>
                    </a:lnTo>
                    <a:lnTo>
                      <a:pt x="2964" y="4658"/>
                    </a:lnTo>
                    <a:lnTo>
                      <a:pt x="2956" y="4648"/>
                    </a:lnTo>
                    <a:lnTo>
                      <a:pt x="2954" y="4644"/>
                    </a:lnTo>
                    <a:lnTo>
                      <a:pt x="2954" y="4642"/>
                    </a:lnTo>
                    <a:lnTo>
                      <a:pt x="2954" y="4640"/>
                    </a:lnTo>
                    <a:lnTo>
                      <a:pt x="2956" y="4638"/>
                    </a:lnTo>
                    <a:lnTo>
                      <a:pt x="2958" y="4638"/>
                    </a:lnTo>
                    <a:lnTo>
                      <a:pt x="2960" y="4636"/>
                    </a:lnTo>
                    <a:lnTo>
                      <a:pt x="2958" y="4630"/>
                    </a:lnTo>
                    <a:lnTo>
                      <a:pt x="2958" y="4628"/>
                    </a:lnTo>
                    <a:lnTo>
                      <a:pt x="2966" y="4632"/>
                    </a:lnTo>
                    <a:lnTo>
                      <a:pt x="2972" y="4636"/>
                    </a:lnTo>
                    <a:lnTo>
                      <a:pt x="2976" y="4636"/>
                    </a:lnTo>
                    <a:lnTo>
                      <a:pt x="2980" y="4632"/>
                    </a:lnTo>
                    <a:lnTo>
                      <a:pt x="2986" y="4632"/>
                    </a:lnTo>
                    <a:lnTo>
                      <a:pt x="2992" y="4630"/>
                    </a:lnTo>
                    <a:lnTo>
                      <a:pt x="2998" y="4628"/>
                    </a:lnTo>
                    <a:lnTo>
                      <a:pt x="2998" y="4626"/>
                    </a:lnTo>
                    <a:lnTo>
                      <a:pt x="2998" y="4624"/>
                    </a:lnTo>
                    <a:lnTo>
                      <a:pt x="2990" y="4618"/>
                    </a:lnTo>
                    <a:lnTo>
                      <a:pt x="2982" y="4610"/>
                    </a:lnTo>
                    <a:lnTo>
                      <a:pt x="2980" y="4606"/>
                    </a:lnTo>
                    <a:lnTo>
                      <a:pt x="2982" y="4602"/>
                    </a:lnTo>
                    <a:lnTo>
                      <a:pt x="2986" y="4598"/>
                    </a:lnTo>
                    <a:lnTo>
                      <a:pt x="2988" y="4598"/>
                    </a:lnTo>
                    <a:lnTo>
                      <a:pt x="2990" y="4598"/>
                    </a:lnTo>
                    <a:lnTo>
                      <a:pt x="2994" y="4600"/>
                    </a:lnTo>
                    <a:lnTo>
                      <a:pt x="3002" y="4600"/>
                    </a:lnTo>
                    <a:lnTo>
                      <a:pt x="3014" y="4596"/>
                    </a:lnTo>
                    <a:lnTo>
                      <a:pt x="3020" y="4592"/>
                    </a:lnTo>
                    <a:lnTo>
                      <a:pt x="3024" y="4586"/>
                    </a:lnTo>
                    <a:lnTo>
                      <a:pt x="3024" y="4580"/>
                    </a:lnTo>
                    <a:lnTo>
                      <a:pt x="3022" y="4578"/>
                    </a:lnTo>
                    <a:lnTo>
                      <a:pt x="3022" y="4576"/>
                    </a:lnTo>
                    <a:lnTo>
                      <a:pt x="3018" y="4576"/>
                    </a:lnTo>
                    <a:lnTo>
                      <a:pt x="3014" y="4578"/>
                    </a:lnTo>
                    <a:lnTo>
                      <a:pt x="3012" y="4578"/>
                    </a:lnTo>
                    <a:lnTo>
                      <a:pt x="3010" y="4576"/>
                    </a:lnTo>
                    <a:lnTo>
                      <a:pt x="3006" y="4572"/>
                    </a:lnTo>
                    <a:lnTo>
                      <a:pt x="3004" y="4572"/>
                    </a:lnTo>
                    <a:lnTo>
                      <a:pt x="3000" y="4570"/>
                    </a:lnTo>
                    <a:lnTo>
                      <a:pt x="2998" y="4566"/>
                    </a:lnTo>
                    <a:lnTo>
                      <a:pt x="2994" y="4562"/>
                    </a:lnTo>
                    <a:lnTo>
                      <a:pt x="2988" y="4560"/>
                    </a:lnTo>
                    <a:lnTo>
                      <a:pt x="2984" y="4560"/>
                    </a:lnTo>
                    <a:lnTo>
                      <a:pt x="2982" y="4560"/>
                    </a:lnTo>
                    <a:lnTo>
                      <a:pt x="2976" y="4564"/>
                    </a:lnTo>
                    <a:lnTo>
                      <a:pt x="2974" y="4564"/>
                    </a:lnTo>
                    <a:lnTo>
                      <a:pt x="2972" y="4562"/>
                    </a:lnTo>
                    <a:lnTo>
                      <a:pt x="2972" y="4560"/>
                    </a:lnTo>
                    <a:lnTo>
                      <a:pt x="2974" y="4558"/>
                    </a:lnTo>
                    <a:lnTo>
                      <a:pt x="2976" y="4556"/>
                    </a:lnTo>
                    <a:lnTo>
                      <a:pt x="2976" y="4550"/>
                    </a:lnTo>
                    <a:lnTo>
                      <a:pt x="2974" y="4548"/>
                    </a:lnTo>
                    <a:lnTo>
                      <a:pt x="2972" y="4548"/>
                    </a:lnTo>
                    <a:lnTo>
                      <a:pt x="2968" y="4548"/>
                    </a:lnTo>
                    <a:lnTo>
                      <a:pt x="2964" y="4550"/>
                    </a:lnTo>
                    <a:lnTo>
                      <a:pt x="2962" y="4550"/>
                    </a:lnTo>
                    <a:lnTo>
                      <a:pt x="2960" y="4548"/>
                    </a:lnTo>
                    <a:lnTo>
                      <a:pt x="2960" y="4542"/>
                    </a:lnTo>
                    <a:lnTo>
                      <a:pt x="2960" y="4536"/>
                    </a:lnTo>
                    <a:lnTo>
                      <a:pt x="2962" y="4530"/>
                    </a:lnTo>
                    <a:lnTo>
                      <a:pt x="2958" y="4522"/>
                    </a:lnTo>
                    <a:lnTo>
                      <a:pt x="2954" y="4518"/>
                    </a:lnTo>
                    <a:lnTo>
                      <a:pt x="2952" y="4520"/>
                    </a:lnTo>
                    <a:lnTo>
                      <a:pt x="2948" y="4520"/>
                    </a:lnTo>
                    <a:lnTo>
                      <a:pt x="2946" y="4518"/>
                    </a:lnTo>
                    <a:lnTo>
                      <a:pt x="2944" y="4510"/>
                    </a:lnTo>
                    <a:lnTo>
                      <a:pt x="2942" y="4504"/>
                    </a:lnTo>
                    <a:lnTo>
                      <a:pt x="2940" y="4502"/>
                    </a:lnTo>
                    <a:lnTo>
                      <a:pt x="2938" y="4502"/>
                    </a:lnTo>
                    <a:lnTo>
                      <a:pt x="2936" y="4504"/>
                    </a:lnTo>
                    <a:lnTo>
                      <a:pt x="2934" y="4508"/>
                    </a:lnTo>
                    <a:lnTo>
                      <a:pt x="2932" y="4514"/>
                    </a:lnTo>
                    <a:lnTo>
                      <a:pt x="2928" y="4520"/>
                    </a:lnTo>
                    <a:lnTo>
                      <a:pt x="2926" y="4522"/>
                    </a:lnTo>
                    <a:lnTo>
                      <a:pt x="2924" y="4520"/>
                    </a:lnTo>
                    <a:lnTo>
                      <a:pt x="2926" y="4512"/>
                    </a:lnTo>
                    <a:lnTo>
                      <a:pt x="2928" y="4504"/>
                    </a:lnTo>
                    <a:lnTo>
                      <a:pt x="2926" y="4500"/>
                    </a:lnTo>
                    <a:lnTo>
                      <a:pt x="2924" y="4500"/>
                    </a:lnTo>
                    <a:lnTo>
                      <a:pt x="2920" y="4502"/>
                    </a:lnTo>
                    <a:lnTo>
                      <a:pt x="2918" y="4506"/>
                    </a:lnTo>
                    <a:lnTo>
                      <a:pt x="2916" y="4514"/>
                    </a:lnTo>
                    <a:lnTo>
                      <a:pt x="2910" y="4528"/>
                    </a:lnTo>
                    <a:lnTo>
                      <a:pt x="2904" y="4538"/>
                    </a:lnTo>
                    <a:lnTo>
                      <a:pt x="2900" y="4542"/>
                    </a:lnTo>
                    <a:lnTo>
                      <a:pt x="2896" y="4544"/>
                    </a:lnTo>
                    <a:lnTo>
                      <a:pt x="2896" y="4548"/>
                    </a:lnTo>
                    <a:lnTo>
                      <a:pt x="2894" y="4556"/>
                    </a:lnTo>
                    <a:lnTo>
                      <a:pt x="2892" y="4558"/>
                    </a:lnTo>
                    <a:lnTo>
                      <a:pt x="2890" y="4560"/>
                    </a:lnTo>
                    <a:lnTo>
                      <a:pt x="2890" y="4562"/>
                    </a:lnTo>
                    <a:lnTo>
                      <a:pt x="2888" y="4570"/>
                    </a:lnTo>
                    <a:lnTo>
                      <a:pt x="2884" y="4572"/>
                    </a:lnTo>
                    <a:lnTo>
                      <a:pt x="2882" y="4574"/>
                    </a:lnTo>
                    <a:lnTo>
                      <a:pt x="2880" y="4572"/>
                    </a:lnTo>
                    <a:lnTo>
                      <a:pt x="2876" y="4570"/>
                    </a:lnTo>
                    <a:lnTo>
                      <a:pt x="2874" y="4572"/>
                    </a:lnTo>
                    <a:lnTo>
                      <a:pt x="2868" y="4580"/>
                    </a:lnTo>
                    <a:lnTo>
                      <a:pt x="2868" y="4582"/>
                    </a:lnTo>
                    <a:lnTo>
                      <a:pt x="2868" y="4584"/>
                    </a:lnTo>
                    <a:lnTo>
                      <a:pt x="2872" y="4586"/>
                    </a:lnTo>
                    <a:lnTo>
                      <a:pt x="2876" y="4592"/>
                    </a:lnTo>
                    <a:lnTo>
                      <a:pt x="2874" y="4594"/>
                    </a:lnTo>
                    <a:lnTo>
                      <a:pt x="2872" y="4598"/>
                    </a:lnTo>
                    <a:lnTo>
                      <a:pt x="2868" y="4602"/>
                    </a:lnTo>
                    <a:lnTo>
                      <a:pt x="2864" y="4600"/>
                    </a:lnTo>
                    <a:lnTo>
                      <a:pt x="2862" y="4600"/>
                    </a:lnTo>
                    <a:lnTo>
                      <a:pt x="2858" y="4604"/>
                    </a:lnTo>
                    <a:lnTo>
                      <a:pt x="2854" y="4608"/>
                    </a:lnTo>
                    <a:lnTo>
                      <a:pt x="2854" y="4604"/>
                    </a:lnTo>
                    <a:lnTo>
                      <a:pt x="2856" y="4598"/>
                    </a:lnTo>
                    <a:lnTo>
                      <a:pt x="2856" y="4596"/>
                    </a:lnTo>
                    <a:lnTo>
                      <a:pt x="2854" y="4596"/>
                    </a:lnTo>
                    <a:lnTo>
                      <a:pt x="2850" y="4598"/>
                    </a:lnTo>
                    <a:lnTo>
                      <a:pt x="2844" y="4602"/>
                    </a:lnTo>
                    <a:lnTo>
                      <a:pt x="2836" y="4610"/>
                    </a:lnTo>
                    <a:lnTo>
                      <a:pt x="2828" y="4616"/>
                    </a:lnTo>
                    <a:lnTo>
                      <a:pt x="2822" y="4618"/>
                    </a:lnTo>
                    <a:lnTo>
                      <a:pt x="2816" y="4618"/>
                    </a:lnTo>
                    <a:lnTo>
                      <a:pt x="2814" y="4618"/>
                    </a:lnTo>
                    <a:lnTo>
                      <a:pt x="2812" y="4618"/>
                    </a:lnTo>
                    <a:lnTo>
                      <a:pt x="2812" y="4630"/>
                    </a:lnTo>
                    <a:lnTo>
                      <a:pt x="2810" y="4634"/>
                    </a:lnTo>
                    <a:lnTo>
                      <a:pt x="2806" y="4640"/>
                    </a:lnTo>
                    <a:lnTo>
                      <a:pt x="2798" y="4652"/>
                    </a:lnTo>
                    <a:lnTo>
                      <a:pt x="2786" y="4666"/>
                    </a:lnTo>
                    <a:lnTo>
                      <a:pt x="2780" y="4674"/>
                    </a:lnTo>
                    <a:lnTo>
                      <a:pt x="2778" y="4684"/>
                    </a:lnTo>
                    <a:lnTo>
                      <a:pt x="2774" y="4688"/>
                    </a:lnTo>
                    <a:lnTo>
                      <a:pt x="2766" y="4692"/>
                    </a:lnTo>
                    <a:lnTo>
                      <a:pt x="2746" y="4696"/>
                    </a:lnTo>
                    <a:lnTo>
                      <a:pt x="2724" y="4700"/>
                    </a:lnTo>
                    <a:lnTo>
                      <a:pt x="2716" y="4704"/>
                    </a:lnTo>
                    <a:lnTo>
                      <a:pt x="2712" y="4706"/>
                    </a:lnTo>
                    <a:lnTo>
                      <a:pt x="2710" y="4710"/>
                    </a:lnTo>
                    <a:lnTo>
                      <a:pt x="2708" y="4716"/>
                    </a:lnTo>
                    <a:lnTo>
                      <a:pt x="2710" y="4724"/>
                    </a:lnTo>
                    <a:lnTo>
                      <a:pt x="2708" y="4728"/>
                    </a:lnTo>
                    <a:lnTo>
                      <a:pt x="2704" y="4726"/>
                    </a:lnTo>
                    <a:lnTo>
                      <a:pt x="2702" y="4724"/>
                    </a:lnTo>
                    <a:lnTo>
                      <a:pt x="2700" y="4724"/>
                    </a:lnTo>
                    <a:lnTo>
                      <a:pt x="2698" y="4728"/>
                    </a:lnTo>
                    <a:lnTo>
                      <a:pt x="2698" y="4734"/>
                    </a:lnTo>
                    <a:lnTo>
                      <a:pt x="2700" y="4738"/>
                    </a:lnTo>
                    <a:lnTo>
                      <a:pt x="2702" y="4738"/>
                    </a:lnTo>
                    <a:lnTo>
                      <a:pt x="2702" y="4740"/>
                    </a:lnTo>
                    <a:lnTo>
                      <a:pt x="2700" y="4742"/>
                    </a:lnTo>
                    <a:lnTo>
                      <a:pt x="2698" y="4750"/>
                    </a:lnTo>
                    <a:lnTo>
                      <a:pt x="2696" y="4756"/>
                    </a:lnTo>
                    <a:lnTo>
                      <a:pt x="2692" y="4760"/>
                    </a:lnTo>
                    <a:lnTo>
                      <a:pt x="2692" y="4764"/>
                    </a:lnTo>
                    <a:lnTo>
                      <a:pt x="2696" y="4768"/>
                    </a:lnTo>
                    <a:lnTo>
                      <a:pt x="2698" y="4772"/>
                    </a:lnTo>
                    <a:lnTo>
                      <a:pt x="2698" y="4774"/>
                    </a:lnTo>
                    <a:lnTo>
                      <a:pt x="2690" y="4768"/>
                    </a:lnTo>
                    <a:lnTo>
                      <a:pt x="2684" y="4766"/>
                    </a:lnTo>
                    <a:lnTo>
                      <a:pt x="2678" y="4766"/>
                    </a:lnTo>
                    <a:lnTo>
                      <a:pt x="2672" y="4764"/>
                    </a:lnTo>
                    <a:lnTo>
                      <a:pt x="2672" y="4762"/>
                    </a:lnTo>
                    <a:lnTo>
                      <a:pt x="2672" y="4760"/>
                    </a:lnTo>
                    <a:lnTo>
                      <a:pt x="2674" y="4756"/>
                    </a:lnTo>
                    <a:lnTo>
                      <a:pt x="2672" y="4756"/>
                    </a:lnTo>
                    <a:lnTo>
                      <a:pt x="2670" y="4756"/>
                    </a:lnTo>
                    <a:lnTo>
                      <a:pt x="2666" y="4754"/>
                    </a:lnTo>
                    <a:lnTo>
                      <a:pt x="2664" y="4752"/>
                    </a:lnTo>
                    <a:lnTo>
                      <a:pt x="2664" y="4754"/>
                    </a:lnTo>
                    <a:lnTo>
                      <a:pt x="2662" y="4756"/>
                    </a:lnTo>
                    <a:lnTo>
                      <a:pt x="2656" y="4758"/>
                    </a:lnTo>
                    <a:lnTo>
                      <a:pt x="2650" y="4758"/>
                    </a:lnTo>
                    <a:lnTo>
                      <a:pt x="2644" y="4756"/>
                    </a:lnTo>
                    <a:lnTo>
                      <a:pt x="2640" y="4750"/>
                    </a:lnTo>
                    <a:lnTo>
                      <a:pt x="2638" y="4742"/>
                    </a:lnTo>
                    <a:lnTo>
                      <a:pt x="2632" y="4744"/>
                    </a:lnTo>
                    <a:lnTo>
                      <a:pt x="2628" y="4746"/>
                    </a:lnTo>
                    <a:lnTo>
                      <a:pt x="2622" y="4750"/>
                    </a:lnTo>
                    <a:lnTo>
                      <a:pt x="2620" y="4758"/>
                    </a:lnTo>
                    <a:lnTo>
                      <a:pt x="2618" y="4764"/>
                    </a:lnTo>
                    <a:lnTo>
                      <a:pt x="2614" y="4772"/>
                    </a:lnTo>
                    <a:lnTo>
                      <a:pt x="2610" y="4780"/>
                    </a:lnTo>
                    <a:lnTo>
                      <a:pt x="2606" y="4802"/>
                    </a:lnTo>
                    <a:lnTo>
                      <a:pt x="2606" y="4812"/>
                    </a:lnTo>
                    <a:lnTo>
                      <a:pt x="2608" y="4820"/>
                    </a:lnTo>
                    <a:lnTo>
                      <a:pt x="2610" y="4826"/>
                    </a:lnTo>
                    <a:lnTo>
                      <a:pt x="2616" y="4830"/>
                    </a:lnTo>
                    <a:lnTo>
                      <a:pt x="2620" y="4834"/>
                    </a:lnTo>
                    <a:lnTo>
                      <a:pt x="2620" y="4836"/>
                    </a:lnTo>
                    <a:lnTo>
                      <a:pt x="2616" y="4844"/>
                    </a:lnTo>
                    <a:lnTo>
                      <a:pt x="2614" y="4848"/>
                    </a:lnTo>
                    <a:lnTo>
                      <a:pt x="2614" y="4854"/>
                    </a:lnTo>
                    <a:lnTo>
                      <a:pt x="2614" y="4858"/>
                    </a:lnTo>
                    <a:lnTo>
                      <a:pt x="2618" y="4864"/>
                    </a:lnTo>
                    <a:lnTo>
                      <a:pt x="2622" y="4870"/>
                    </a:lnTo>
                    <a:lnTo>
                      <a:pt x="2624" y="4874"/>
                    </a:lnTo>
                    <a:lnTo>
                      <a:pt x="2624" y="4876"/>
                    </a:lnTo>
                    <a:lnTo>
                      <a:pt x="2622" y="4878"/>
                    </a:lnTo>
                    <a:lnTo>
                      <a:pt x="2620" y="4880"/>
                    </a:lnTo>
                    <a:lnTo>
                      <a:pt x="2626" y="4882"/>
                    </a:lnTo>
                    <a:lnTo>
                      <a:pt x="2630" y="4886"/>
                    </a:lnTo>
                    <a:lnTo>
                      <a:pt x="2632" y="4888"/>
                    </a:lnTo>
                    <a:lnTo>
                      <a:pt x="2632" y="4890"/>
                    </a:lnTo>
                    <a:lnTo>
                      <a:pt x="2630" y="4892"/>
                    </a:lnTo>
                    <a:lnTo>
                      <a:pt x="2628" y="4898"/>
                    </a:lnTo>
                    <a:lnTo>
                      <a:pt x="2626" y="4900"/>
                    </a:lnTo>
                    <a:lnTo>
                      <a:pt x="2628" y="4902"/>
                    </a:lnTo>
                    <a:lnTo>
                      <a:pt x="2632" y="4904"/>
                    </a:lnTo>
                    <a:lnTo>
                      <a:pt x="2634" y="4904"/>
                    </a:lnTo>
                    <a:lnTo>
                      <a:pt x="2640" y="4900"/>
                    </a:lnTo>
                    <a:lnTo>
                      <a:pt x="2646" y="4898"/>
                    </a:lnTo>
                    <a:lnTo>
                      <a:pt x="2650" y="4898"/>
                    </a:lnTo>
                    <a:lnTo>
                      <a:pt x="2652" y="4902"/>
                    </a:lnTo>
                    <a:lnTo>
                      <a:pt x="2652" y="4908"/>
                    </a:lnTo>
                    <a:lnTo>
                      <a:pt x="2652" y="4910"/>
                    </a:lnTo>
                    <a:lnTo>
                      <a:pt x="2650" y="4918"/>
                    </a:lnTo>
                    <a:lnTo>
                      <a:pt x="2648" y="4926"/>
                    </a:lnTo>
                    <a:lnTo>
                      <a:pt x="2648" y="4934"/>
                    </a:lnTo>
                    <a:lnTo>
                      <a:pt x="2652" y="4942"/>
                    </a:lnTo>
                    <a:lnTo>
                      <a:pt x="2658" y="4960"/>
                    </a:lnTo>
                    <a:lnTo>
                      <a:pt x="2660" y="4972"/>
                    </a:lnTo>
                    <a:lnTo>
                      <a:pt x="2660" y="4980"/>
                    </a:lnTo>
                    <a:lnTo>
                      <a:pt x="2660" y="4984"/>
                    </a:lnTo>
                    <a:lnTo>
                      <a:pt x="2660" y="4986"/>
                    </a:lnTo>
                    <a:lnTo>
                      <a:pt x="2666" y="4986"/>
                    </a:lnTo>
                    <a:lnTo>
                      <a:pt x="2678" y="4988"/>
                    </a:lnTo>
                    <a:lnTo>
                      <a:pt x="2684" y="4992"/>
                    </a:lnTo>
                    <a:lnTo>
                      <a:pt x="2692" y="4992"/>
                    </a:lnTo>
                    <a:lnTo>
                      <a:pt x="2698" y="4986"/>
                    </a:lnTo>
                    <a:lnTo>
                      <a:pt x="2702" y="4982"/>
                    </a:lnTo>
                    <a:lnTo>
                      <a:pt x="2706" y="4982"/>
                    </a:lnTo>
                    <a:lnTo>
                      <a:pt x="2712" y="4982"/>
                    </a:lnTo>
                    <a:lnTo>
                      <a:pt x="2716" y="4984"/>
                    </a:lnTo>
                    <a:lnTo>
                      <a:pt x="2720" y="4986"/>
                    </a:lnTo>
                    <a:lnTo>
                      <a:pt x="2722" y="4992"/>
                    </a:lnTo>
                    <a:lnTo>
                      <a:pt x="2724" y="4996"/>
                    </a:lnTo>
                    <a:lnTo>
                      <a:pt x="2724" y="5002"/>
                    </a:lnTo>
                    <a:lnTo>
                      <a:pt x="2724" y="5010"/>
                    </a:lnTo>
                    <a:lnTo>
                      <a:pt x="2726" y="5012"/>
                    </a:lnTo>
                    <a:lnTo>
                      <a:pt x="2728" y="5012"/>
                    </a:lnTo>
                    <a:lnTo>
                      <a:pt x="2734" y="5010"/>
                    </a:lnTo>
                    <a:lnTo>
                      <a:pt x="2740" y="5004"/>
                    </a:lnTo>
                    <a:lnTo>
                      <a:pt x="2742" y="5002"/>
                    </a:lnTo>
                    <a:lnTo>
                      <a:pt x="2746" y="5002"/>
                    </a:lnTo>
                    <a:lnTo>
                      <a:pt x="2754" y="5004"/>
                    </a:lnTo>
                    <a:lnTo>
                      <a:pt x="2756" y="5004"/>
                    </a:lnTo>
                    <a:lnTo>
                      <a:pt x="2760" y="5004"/>
                    </a:lnTo>
                    <a:lnTo>
                      <a:pt x="2764" y="5002"/>
                    </a:lnTo>
                    <a:lnTo>
                      <a:pt x="2768" y="4998"/>
                    </a:lnTo>
                    <a:lnTo>
                      <a:pt x="2770" y="4992"/>
                    </a:lnTo>
                    <a:lnTo>
                      <a:pt x="2774" y="4990"/>
                    </a:lnTo>
                    <a:lnTo>
                      <a:pt x="2776" y="4990"/>
                    </a:lnTo>
                    <a:lnTo>
                      <a:pt x="2778" y="4992"/>
                    </a:lnTo>
                    <a:lnTo>
                      <a:pt x="2784" y="4996"/>
                    </a:lnTo>
                    <a:lnTo>
                      <a:pt x="2788" y="4998"/>
                    </a:lnTo>
                    <a:lnTo>
                      <a:pt x="2792" y="4998"/>
                    </a:lnTo>
                    <a:lnTo>
                      <a:pt x="2794" y="4998"/>
                    </a:lnTo>
                    <a:lnTo>
                      <a:pt x="2796" y="5000"/>
                    </a:lnTo>
                    <a:lnTo>
                      <a:pt x="2796" y="5004"/>
                    </a:lnTo>
                    <a:lnTo>
                      <a:pt x="2796" y="5006"/>
                    </a:lnTo>
                    <a:lnTo>
                      <a:pt x="2798" y="5008"/>
                    </a:lnTo>
                    <a:lnTo>
                      <a:pt x="2800" y="5008"/>
                    </a:lnTo>
                    <a:lnTo>
                      <a:pt x="2806" y="5006"/>
                    </a:lnTo>
                    <a:lnTo>
                      <a:pt x="2814" y="5004"/>
                    </a:lnTo>
                    <a:lnTo>
                      <a:pt x="2820" y="5004"/>
                    </a:lnTo>
                    <a:lnTo>
                      <a:pt x="2826" y="5008"/>
                    </a:lnTo>
                    <a:lnTo>
                      <a:pt x="2830" y="5012"/>
                    </a:lnTo>
                    <a:lnTo>
                      <a:pt x="2834" y="5016"/>
                    </a:lnTo>
                    <a:lnTo>
                      <a:pt x="2836" y="5022"/>
                    </a:lnTo>
                    <a:lnTo>
                      <a:pt x="2836" y="5030"/>
                    </a:lnTo>
                    <a:lnTo>
                      <a:pt x="2836" y="5036"/>
                    </a:lnTo>
                    <a:lnTo>
                      <a:pt x="2836" y="5040"/>
                    </a:lnTo>
                    <a:lnTo>
                      <a:pt x="2840" y="5042"/>
                    </a:lnTo>
                    <a:lnTo>
                      <a:pt x="2846" y="5040"/>
                    </a:lnTo>
                    <a:lnTo>
                      <a:pt x="2852" y="5036"/>
                    </a:lnTo>
                    <a:lnTo>
                      <a:pt x="2868" y="5026"/>
                    </a:lnTo>
                    <a:lnTo>
                      <a:pt x="2876" y="5024"/>
                    </a:lnTo>
                    <a:lnTo>
                      <a:pt x="2882" y="5022"/>
                    </a:lnTo>
                    <a:lnTo>
                      <a:pt x="2886" y="5020"/>
                    </a:lnTo>
                    <a:lnTo>
                      <a:pt x="2890" y="5018"/>
                    </a:lnTo>
                    <a:lnTo>
                      <a:pt x="2894" y="5008"/>
                    </a:lnTo>
                    <a:lnTo>
                      <a:pt x="2896" y="4996"/>
                    </a:lnTo>
                    <a:lnTo>
                      <a:pt x="2898" y="4986"/>
                    </a:lnTo>
                    <a:lnTo>
                      <a:pt x="2898" y="4982"/>
                    </a:lnTo>
                    <a:lnTo>
                      <a:pt x="2902" y="4980"/>
                    </a:lnTo>
                    <a:lnTo>
                      <a:pt x="2904" y="4978"/>
                    </a:lnTo>
                    <a:lnTo>
                      <a:pt x="2906" y="4970"/>
                    </a:lnTo>
                    <a:close/>
                    <a:moveTo>
                      <a:pt x="2606" y="3938"/>
                    </a:moveTo>
                    <a:lnTo>
                      <a:pt x="2606" y="3938"/>
                    </a:lnTo>
                    <a:lnTo>
                      <a:pt x="2616" y="3942"/>
                    </a:lnTo>
                    <a:lnTo>
                      <a:pt x="2622" y="3944"/>
                    </a:lnTo>
                    <a:lnTo>
                      <a:pt x="2624" y="3944"/>
                    </a:lnTo>
                    <a:lnTo>
                      <a:pt x="2626" y="3944"/>
                    </a:lnTo>
                    <a:lnTo>
                      <a:pt x="2630" y="3948"/>
                    </a:lnTo>
                    <a:lnTo>
                      <a:pt x="2634" y="3950"/>
                    </a:lnTo>
                    <a:lnTo>
                      <a:pt x="2638" y="3948"/>
                    </a:lnTo>
                    <a:lnTo>
                      <a:pt x="2640" y="3942"/>
                    </a:lnTo>
                    <a:lnTo>
                      <a:pt x="2640" y="3940"/>
                    </a:lnTo>
                    <a:lnTo>
                      <a:pt x="2642" y="3940"/>
                    </a:lnTo>
                    <a:lnTo>
                      <a:pt x="2646" y="3940"/>
                    </a:lnTo>
                    <a:lnTo>
                      <a:pt x="2652" y="3938"/>
                    </a:lnTo>
                    <a:lnTo>
                      <a:pt x="2654" y="3938"/>
                    </a:lnTo>
                    <a:lnTo>
                      <a:pt x="2654" y="3934"/>
                    </a:lnTo>
                    <a:lnTo>
                      <a:pt x="2656" y="3930"/>
                    </a:lnTo>
                    <a:lnTo>
                      <a:pt x="2658" y="3928"/>
                    </a:lnTo>
                    <a:lnTo>
                      <a:pt x="2664" y="3926"/>
                    </a:lnTo>
                    <a:lnTo>
                      <a:pt x="2666" y="3924"/>
                    </a:lnTo>
                    <a:lnTo>
                      <a:pt x="2670" y="3922"/>
                    </a:lnTo>
                    <a:lnTo>
                      <a:pt x="2670" y="3918"/>
                    </a:lnTo>
                    <a:lnTo>
                      <a:pt x="2672" y="3912"/>
                    </a:lnTo>
                    <a:lnTo>
                      <a:pt x="2674" y="3902"/>
                    </a:lnTo>
                    <a:lnTo>
                      <a:pt x="2678" y="3892"/>
                    </a:lnTo>
                    <a:lnTo>
                      <a:pt x="2684" y="3884"/>
                    </a:lnTo>
                    <a:lnTo>
                      <a:pt x="2690" y="3878"/>
                    </a:lnTo>
                    <a:lnTo>
                      <a:pt x="2692" y="3874"/>
                    </a:lnTo>
                    <a:lnTo>
                      <a:pt x="2692" y="3868"/>
                    </a:lnTo>
                    <a:lnTo>
                      <a:pt x="2690" y="3862"/>
                    </a:lnTo>
                    <a:lnTo>
                      <a:pt x="2686" y="3858"/>
                    </a:lnTo>
                    <a:lnTo>
                      <a:pt x="2682" y="3856"/>
                    </a:lnTo>
                    <a:lnTo>
                      <a:pt x="2680" y="3854"/>
                    </a:lnTo>
                    <a:lnTo>
                      <a:pt x="2676" y="3852"/>
                    </a:lnTo>
                    <a:lnTo>
                      <a:pt x="2674" y="3854"/>
                    </a:lnTo>
                    <a:lnTo>
                      <a:pt x="2670" y="3856"/>
                    </a:lnTo>
                    <a:lnTo>
                      <a:pt x="2666" y="3856"/>
                    </a:lnTo>
                    <a:lnTo>
                      <a:pt x="2660" y="3856"/>
                    </a:lnTo>
                    <a:lnTo>
                      <a:pt x="2654" y="3858"/>
                    </a:lnTo>
                    <a:lnTo>
                      <a:pt x="2652" y="3860"/>
                    </a:lnTo>
                    <a:lnTo>
                      <a:pt x="2648" y="3860"/>
                    </a:lnTo>
                    <a:lnTo>
                      <a:pt x="2642" y="3858"/>
                    </a:lnTo>
                    <a:lnTo>
                      <a:pt x="2636" y="3858"/>
                    </a:lnTo>
                    <a:lnTo>
                      <a:pt x="2634" y="3858"/>
                    </a:lnTo>
                    <a:lnTo>
                      <a:pt x="2632" y="3862"/>
                    </a:lnTo>
                    <a:lnTo>
                      <a:pt x="2630" y="3864"/>
                    </a:lnTo>
                    <a:lnTo>
                      <a:pt x="2626" y="3864"/>
                    </a:lnTo>
                    <a:lnTo>
                      <a:pt x="2622" y="3862"/>
                    </a:lnTo>
                    <a:lnTo>
                      <a:pt x="2620" y="3864"/>
                    </a:lnTo>
                    <a:lnTo>
                      <a:pt x="2618" y="3866"/>
                    </a:lnTo>
                    <a:lnTo>
                      <a:pt x="2616" y="3870"/>
                    </a:lnTo>
                    <a:lnTo>
                      <a:pt x="2616" y="3872"/>
                    </a:lnTo>
                    <a:lnTo>
                      <a:pt x="2614" y="3874"/>
                    </a:lnTo>
                    <a:lnTo>
                      <a:pt x="2608" y="3882"/>
                    </a:lnTo>
                    <a:lnTo>
                      <a:pt x="2604" y="3886"/>
                    </a:lnTo>
                    <a:lnTo>
                      <a:pt x="2598" y="3890"/>
                    </a:lnTo>
                    <a:lnTo>
                      <a:pt x="2596" y="3896"/>
                    </a:lnTo>
                    <a:lnTo>
                      <a:pt x="2596" y="3908"/>
                    </a:lnTo>
                    <a:lnTo>
                      <a:pt x="2596" y="3920"/>
                    </a:lnTo>
                    <a:lnTo>
                      <a:pt x="2596" y="3926"/>
                    </a:lnTo>
                    <a:lnTo>
                      <a:pt x="2600" y="3932"/>
                    </a:lnTo>
                    <a:lnTo>
                      <a:pt x="2606" y="3938"/>
                    </a:lnTo>
                    <a:close/>
                    <a:moveTo>
                      <a:pt x="3234" y="3626"/>
                    </a:moveTo>
                    <a:lnTo>
                      <a:pt x="3234" y="3626"/>
                    </a:lnTo>
                    <a:lnTo>
                      <a:pt x="3234" y="3624"/>
                    </a:lnTo>
                    <a:lnTo>
                      <a:pt x="3232" y="3624"/>
                    </a:lnTo>
                    <a:lnTo>
                      <a:pt x="3226" y="3626"/>
                    </a:lnTo>
                    <a:lnTo>
                      <a:pt x="3222" y="3632"/>
                    </a:lnTo>
                    <a:lnTo>
                      <a:pt x="3222" y="3634"/>
                    </a:lnTo>
                    <a:lnTo>
                      <a:pt x="3224" y="3636"/>
                    </a:lnTo>
                    <a:lnTo>
                      <a:pt x="3226" y="3636"/>
                    </a:lnTo>
                    <a:lnTo>
                      <a:pt x="3230" y="3634"/>
                    </a:lnTo>
                    <a:lnTo>
                      <a:pt x="3234" y="3626"/>
                    </a:lnTo>
                    <a:close/>
                    <a:moveTo>
                      <a:pt x="3140" y="4236"/>
                    </a:moveTo>
                    <a:lnTo>
                      <a:pt x="3140" y="4236"/>
                    </a:lnTo>
                    <a:lnTo>
                      <a:pt x="3142" y="4224"/>
                    </a:lnTo>
                    <a:lnTo>
                      <a:pt x="3142" y="4222"/>
                    </a:lnTo>
                    <a:lnTo>
                      <a:pt x="3138" y="4224"/>
                    </a:lnTo>
                    <a:lnTo>
                      <a:pt x="3136" y="4226"/>
                    </a:lnTo>
                    <a:lnTo>
                      <a:pt x="3136" y="4230"/>
                    </a:lnTo>
                    <a:lnTo>
                      <a:pt x="3134" y="4236"/>
                    </a:lnTo>
                    <a:lnTo>
                      <a:pt x="3134" y="4240"/>
                    </a:lnTo>
                    <a:lnTo>
                      <a:pt x="3136" y="4242"/>
                    </a:lnTo>
                    <a:lnTo>
                      <a:pt x="3138" y="4242"/>
                    </a:lnTo>
                    <a:lnTo>
                      <a:pt x="3140" y="4236"/>
                    </a:lnTo>
                    <a:close/>
                    <a:moveTo>
                      <a:pt x="3216" y="3638"/>
                    </a:moveTo>
                    <a:lnTo>
                      <a:pt x="3216" y="3638"/>
                    </a:lnTo>
                    <a:lnTo>
                      <a:pt x="3216" y="3634"/>
                    </a:lnTo>
                    <a:lnTo>
                      <a:pt x="3212" y="3632"/>
                    </a:lnTo>
                    <a:lnTo>
                      <a:pt x="3208" y="3632"/>
                    </a:lnTo>
                    <a:lnTo>
                      <a:pt x="3206" y="3636"/>
                    </a:lnTo>
                    <a:lnTo>
                      <a:pt x="3208" y="3638"/>
                    </a:lnTo>
                    <a:lnTo>
                      <a:pt x="3210" y="3640"/>
                    </a:lnTo>
                    <a:lnTo>
                      <a:pt x="3214" y="3640"/>
                    </a:lnTo>
                    <a:lnTo>
                      <a:pt x="3216" y="3638"/>
                    </a:lnTo>
                    <a:close/>
                    <a:moveTo>
                      <a:pt x="3130" y="4102"/>
                    </a:moveTo>
                    <a:lnTo>
                      <a:pt x="3130" y="4102"/>
                    </a:lnTo>
                    <a:lnTo>
                      <a:pt x="3128" y="4106"/>
                    </a:lnTo>
                    <a:lnTo>
                      <a:pt x="3128" y="4108"/>
                    </a:lnTo>
                    <a:lnTo>
                      <a:pt x="3132" y="4120"/>
                    </a:lnTo>
                    <a:lnTo>
                      <a:pt x="3134" y="4124"/>
                    </a:lnTo>
                    <a:lnTo>
                      <a:pt x="3136" y="4124"/>
                    </a:lnTo>
                    <a:lnTo>
                      <a:pt x="3136" y="4120"/>
                    </a:lnTo>
                    <a:lnTo>
                      <a:pt x="3136" y="4116"/>
                    </a:lnTo>
                    <a:lnTo>
                      <a:pt x="3134" y="4104"/>
                    </a:lnTo>
                    <a:lnTo>
                      <a:pt x="3132" y="4102"/>
                    </a:lnTo>
                    <a:lnTo>
                      <a:pt x="3130" y="4102"/>
                    </a:lnTo>
                    <a:close/>
                    <a:moveTo>
                      <a:pt x="3462" y="5402"/>
                    </a:moveTo>
                    <a:lnTo>
                      <a:pt x="3462" y="5402"/>
                    </a:lnTo>
                    <a:lnTo>
                      <a:pt x="3462" y="5410"/>
                    </a:lnTo>
                    <a:lnTo>
                      <a:pt x="3462" y="5414"/>
                    </a:lnTo>
                    <a:lnTo>
                      <a:pt x="3466" y="5416"/>
                    </a:lnTo>
                    <a:lnTo>
                      <a:pt x="3472" y="5418"/>
                    </a:lnTo>
                    <a:lnTo>
                      <a:pt x="3476" y="5418"/>
                    </a:lnTo>
                    <a:lnTo>
                      <a:pt x="3478" y="5416"/>
                    </a:lnTo>
                    <a:lnTo>
                      <a:pt x="3478" y="5412"/>
                    </a:lnTo>
                    <a:lnTo>
                      <a:pt x="3474" y="5404"/>
                    </a:lnTo>
                    <a:lnTo>
                      <a:pt x="3468" y="5398"/>
                    </a:lnTo>
                    <a:lnTo>
                      <a:pt x="3464" y="5394"/>
                    </a:lnTo>
                    <a:lnTo>
                      <a:pt x="3462" y="5396"/>
                    </a:lnTo>
                    <a:lnTo>
                      <a:pt x="3462" y="5402"/>
                    </a:lnTo>
                    <a:close/>
                    <a:moveTo>
                      <a:pt x="4244" y="2492"/>
                    </a:moveTo>
                    <a:lnTo>
                      <a:pt x="4244" y="2492"/>
                    </a:lnTo>
                    <a:lnTo>
                      <a:pt x="4244" y="2496"/>
                    </a:lnTo>
                    <a:lnTo>
                      <a:pt x="4248" y="2496"/>
                    </a:lnTo>
                    <a:lnTo>
                      <a:pt x="4256" y="2492"/>
                    </a:lnTo>
                    <a:lnTo>
                      <a:pt x="4264" y="2486"/>
                    </a:lnTo>
                    <a:lnTo>
                      <a:pt x="4280" y="2470"/>
                    </a:lnTo>
                    <a:lnTo>
                      <a:pt x="4284" y="2464"/>
                    </a:lnTo>
                    <a:lnTo>
                      <a:pt x="4284" y="2460"/>
                    </a:lnTo>
                    <a:lnTo>
                      <a:pt x="4282" y="2460"/>
                    </a:lnTo>
                    <a:lnTo>
                      <a:pt x="4276" y="2460"/>
                    </a:lnTo>
                    <a:lnTo>
                      <a:pt x="4266" y="2466"/>
                    </a:lnTo>
                    <a:lnTo>
                      <a:pt x="4254" y="2476"/>
                    </a:lnTo>
                    <a:lnTo>
                      <a:pt x="4248" y="2484"/>
                    </a:lnTo>
                    <a:lnTo>
                      <a:pt x="4244" y="2492"/>
                    </a:lnTo>
                    <a:close/>
                    <a:moveTo>
                      <a:pt x="4364" y="2396"/>
                    </a:moveTo>
                    <a:lnTo>
                      <a:pt x="4364" y="2396"/>
                    </a:lnTo>
                    <a:lnTo>
                      <a:pt x="4368" y="2398"/>
                    </a:lnTo>
                    <a:lnTo>
                      <a:pt x="4370" y="2396"/>
                    </a:lnTo>
                    <a:lnTo>
                      <a:pt x="4370" y="2394"/>
                    </a:lnTo>
                    <a:lnTo>
                      <a:pt x="4368" y="2392"/>
                    </a:lnTo>
                    <a:lnTo>
                      <a:pt x="4366" y="2390"/>
                    </a:lnTo>
                    <a:lnTo>
                      <a:pt x="4364" y="2392"/>
                    </a:lnTo>
                    <a:lnTo>
                      <a:pt x="4364" y="2394"/>
                    </a:lnTo>
                    <a:lnTo>
                      <a:pt x="4364" y="2396"/>
                    </a:lnTo>
                    <a:close/>
                    <a:moveTo>
                      <a:pt x="4388" y="2374"/>
                    </a:moveTo>
                    <a:lnTo>
                      <a:pt x="4388" y="2374"/>
                    </a:lnTo>
                    <a:lnTo>
                      <a:pt x="4392" y="2376"/>
                    </a:lnTo>
                    <a:lnTo>
                      <a:pt x="4392" y="2374"/>
                    </a:lnTo>
                    <a:lnTo>
                      <a:pt x="4394" y="2370"/>
                    </a:lnTo>
                    <a:lnTo>
                      <a:pt x="4392" y="2368"/>
                    </a:lnTo>
                    <a:lnTo>
                      <a:pt x="4390" y="2366"/>
                    </a:lnTo>
                    <a:lnTo>
                      <a:pt x="4388" y="2368"/>
                    </a:lnTo>
                    <a:lnTo>
                      <a:pt x="4388" y="2372"/>
                    </a:lnTo>
                    <a:lnTo>
                      <a:pt x="4388" y="2374"/>
                    </a:lnTo>
                    <a:close/>
                    <a:moveTo>
                      <a:pt x="264" y="3518"/>
                    </a:moveTo>
                    <a:lnTo>
                      <a:pt x="264" y="3518"/>
                    </a:lnTo>
                    <a:lnTo>
                      <a:pt x="266" y="3518"/>
                    </a:lnTo>
                    <a:lnTo>
                      <a:pt x="264" y="3518"/>
                    </a:lnTo>
                    <a:close/>
                    <a:moveTo>
                      <a:pt x="5798" y="1166"/>
                    </a:moveTo>
                    <a:lnTo>
                      <a:pt x="5798" y="1166"/>
                    </a:lnTo>
                    <a:lnTo>
                      <a:pt x="5790" y="1156"/>
                    </a:lnTo>
                    <a:lnTo>
                      <a:pt x="5782" y="1148"/>
                    </a:lnTo>
                    <a:lnTo>
                      <a:pt x="5772" y="1144"/>
                    </a:lnTo>
                    <a:lnTo>
                      <a:pt x="5760" y="1140"/>
                    </a:lnTo>
                    <a:lnTo>
                      <a:pt x="5732" y="1138"/>
                    </a:lnTo>
                    <a:lnTo>
                      <a:pt x="5698" y="1136"/>
                    </a:lnTo>
                    <a:lnTo>
                      <a:pt x="5692" y="1138"/>
                    </a:lnTo>
                    <a:lnTo>
                      <a:pt x="5688" y="1140"/>
                    </a:lnTo>
                    <a:lnTo>
                      <a:pt x="5686" y="1144"/>
                    </a:lnTo>
                    <a:lnTo>
                      <a:pt x="5686" y="1148"/>
                    </a:lnTo>
                    <a:lnTo>
                      <a:pt x="5690" y="1160"/>
                    </a:lnTo>
                    <a:lnTo>
                      <a:pt x="5696" y="1172"/>
                    </a:lnTo>
                    <a:lnTo>
                      <a:pt x="5702" y="1184"/>
                    </a:lnTo>
                    <a:lnTo>
                      <a:pt x="5704" y="1190"/>
                    </a:lnTo>
                    <a:lnTo>
                      <a:pt x="5704" y="1192"/>
                    </a:lnTo>
                    <a:lnTo>
                      <a:pt x="5700" y="1192"/>
                    </a:lnTo>
                    <a:lnTo>
                      <a:pt x="5684" y="1186"/>
                    </a:lnTo>
                    <a:lnTo>
                      <a:pt x="5676" y="1180"/>
                    </a:lnTo>
                    <a:lnTo>
                      <a:pt x="5670" y="1174"/>
                    </a:lnTo>
                    <a:lnTo>
                      <a:pt x="5666" y="1168"/>
                    </a:lnTo>
                    <a:lnTo>
                      <a:pt x="5664" y="1162"/>
                    </a:lnTo>
                    <a:lnTo>
                      <a:pt x="5664" y="1150"/>
                    </a:lnTo>
                    <a:lnTo>
                      <a:pt x="5666" y="1138"/>
                    </a:lnTo>
                    <a:lnTo>
                      <a:pt x="5666" y="1126"/>
                    </a:lnTo>
                    <a:lnTo>
                      <a:pt x="5664" y="1120"/>
                    </a:lnTo>
                    <a:lnTo>
                      <a:pt x="5660" y="1114"/>
                    </a:lnTo>
                    <a:lnTo>
                      <a:pt x="5654" y="1106"/>
                    </a:lnTo>
                    <a:lnTo>
                      <a:pt x="5646" y="1100"/>
                    </a:lnTo>
                    <a:lnTo>
                      <a:pt x="5634" y="1092"/>
                    </a:lnTo>
                    <a:lnTo>
                      <a:pt x="5618" y="1084"/>
                    </a:lnTo>
                    <a:lnTo>
                      <a:pt x="5580" y="1068"/>
                    </a:lnTo>
                    <a:lnTo>
                      <a:pt x="5546" y="1050"/>
                    </a:lnTo>
                    <a:lnTo>
                      <a:pt x="5478" y="1014"/>
                    </a:lnTo>
                    <a:lnTo>
                      <a:pt x="5478" y="1008"/>
                    </a:lnTo>
                    <a:lnTo>
                      <a:pt x="5448" y="994"/>
                    </a:lnTo>
                    <a:lnTo>
                      <a:pt x="5418" y="982"/>
                    </a:lnTo>
                    <a:lnTo>
                      <a:pt x="5386" y="970"/>
                    </a:lnTo>
                    <a:lnTo>
                      <a:pt x="5356" y="962"/>
                    </a:lnTo>
                    <a:lnTo>
                      <a:pt x="5310" y="952"/>
                    </a:lnTo>
                    <a:lnTo>
                      <a:pt x="5294" y="946"/>
                    </a:lnTo>
                    <a:lnTo>
                      <a:pt x="5270" y="944"/>
                    </a:lnTo>
                    <a:lnTo>
                      <a:pt x="5210" y="940"/>
                    </a:lnTo>
                    <a:lnTo>
                      <a:pt x="5170" y="936"/>
                    </a:lnTo>
                    <a:lnTo>
                      <a:pt x="5144" y="930"/>
                    </a:lnTo>
                    <a:lnTo>
                      <a:pt x="5126" y="924"/>
                    </a:lnTo>
                    <a:lnTo>
                      <a:pt x="5116" y="918"/>
                    </a:lnTo>
                    <a:lnTo>
                      <a:pt x="5108" y="916"/>
                    </a:lnTo>
                    <a:lnTo>
                      <a:pt x="5102" y="918"/>
                    </a:lnTo>
                    <a:lnTo>
                      <a:pt x="5096" y="926"/>
                    </a:lnTo>
                    <a:lnTo>
                      <a:pt x="5086" y="942"/>
                    </a:lnTo>
                    <a:lnTo>
                      <a:pt x="5080" y="950"/>
                    </a:lnTo>
                    <a:lnTo>
                      <a:pt x="5078" y="958"/>
                    </a:lnTo>
                    <a:lnTo>
                      <a:pt x="5078" y="964"/>
                    </a:lnTo>
                    <a:lnTo>
                      <a:pt x="5080" y="968"/>
                    </a:lnTo>
                    <a:lnTo>
                      <a:pt x="5084" y="972"/>
                    </a:lnTo>
                    <a:lnTo>
                      <a:pt x="5088" y="974"/>
                    </a:lnTo>
                    <a:lnTo>
                      <a:pt x="5100" y="978"/>
                    </a:lnTo>
                    <a:lnTo>
                      <a:pt x="5110" y="982"/>
                    </a:lnTo>
                    <a:lnTo>
                      <a:pt x="5114" y="986"/>
                    </a:lnTo>
                    <a:lnTo>
                      <a:pt x="5116" y="988"/>
                    </a:lnTo>
                    <a:lnTo>
                      <a:pt x="5116" y="992"/>
                    </a:lnTo>
                    <a:lnTo>
                      <a:pt x="5114" y="998"/>
                    </a:lnTo>
                    <a:lnTo>
                      <a:pt x="5108" y="1004"/>
                    </a:lnTo>
                    <a:lnTo>
                      <a:pt x="5100" y="1012"/>
                    </a:lnTo>
                    <a:lnTo>
                      <a:pt x="5084" y="1024"/>
                    </a:lnTo>
                    <a:lnTo>
                      <a:pt x="5076" y="1028"/>
                    </a:lnTo>
                    <a:lnTo>
                      <a:pt x="5072" y="1030"/>
                    </a:lnTo>
                    <a:lnTo>
                      <a:pt x="5068" y="1028"/>
                    </a:lnTo>
                    <a:lnTo>
                      <a:pt x="5064" y="1026"/>
                    </a:lnTo>
                    <a:lnTo>
                      <a:pt x="5058" y="1020"/>
                    </a:lnTo>
                    <a:lnTo>
                      <a:pt x="5052" y="1012"/>
                    </a:lnTo>
                    <a:lnTo>
                      <a:pt x="5044" y="1004"/>
                    </a:lnTo>
                    <a:lnTo>
                      <a:pt x="5040" y="1000"/>
                    </a:lnTo>
                    <a:lnTo>
                      <a:pt x="5034" y="996"/>
                    </a:lnTo>
                    <a:lnTo>
                      <a:pt x="5028" y="996"/>
                    </a:lnTo>
                    <a:lnTo>
                      <a:pt x="5020" y="994"/>
                    </a:lnTo>
                    <a:lnTo>
                      <a:pt x="5012" y="994"/>
                    </a:lnTo>
                    <a:lnTo>
                      <a:pt x="5006" y="992"/>
                    </a:lnTo>
                    <a:lnTo>
                      <a:pt x="5004" y="990"/>
                    </a:lnTo>
                    <a:lnTo>
                      <a:pt x="5002" y="988"/>
                    </a:lnTo>
                    <a:lnTo>
                      <a:pt x="5000" y="978"/>
                    </a:lnTo>
                    <a:lnTo>
                      <a:pt x="5000" y="970"/>
                    </a:lnTo>
                    <a:lnTo>
                      <a:pt x="5000" y="962"/>
                    </a:lnTo>
                    <a:lnTo>
                      <a:pt x="4998" y="960"/>
                    </a:lnTo>
                    <a:lnTo>
                      <a:pt x="4994" y="958"/>
                    </a:lnTo>
                    <a:lnTo>
                      <a:pt x="4988" y="956"/>
                    </a:lnTo>
                    <a:lnTo>
                      <a:pt x="4980" y="958"/>
                    </a:lnTo>
                    <a:lnTo>
                      <a:pt x="4958" y="964"/>
                    </a:lnTo>
                    <a:lnTo>
                      <a:pt x="4944" y="968"/>
                    </a:lnTo>
                    <a:lnTo>
                      <a:pt x="4930" y="970"/>
                    </a:lnTo>
                    <a:lnTo>
                      <a:pt x="4920" y="972"/>
                    </a:lnTo>
                    <a:lnTo>
                      <a:pt x="4908" y="972"/>
                    </a:lnTo>
                    <a:lnTo>
                      <a:pt x="4890" y="968"/>
                    </a:lnTo>
                    <a:lnTo>
                      <a:pt x="4870" y="964"/>
                    </a:lnTo>
                    <a:lnTo>
                      <a:pt x="4850" y="958"/>
                    </a:lnTo>
                    <a:lnTo>
                      <a:pt x="4828" y="954"/>
                    </a:lnTo>
                    <a:lnTo>
                      <a:pt x="4814" y="954"/>
                    </a:lnTo>
                    <a:lnTo>
                      <a:pt x="4800" y="954"/>
                    </a:lnTo>
                    <a:lnTo>
                      <a:pt x="4784" y="956"/>
                    </a:lnTo>
                    <a:lnTo>
                      <a:pt x="4766" y="958"/>
                    </a:lnTo>
                    <a:lnTo>
                      <a:pt x="4732" y="966"/>
                    </a:lnTo>
                    <a:lnTo>
                      <a:pt x="4706" y="966"/>
                    </a:lnTo>
                    <a:lnTo>
                      <a:pt x="4686" y="964"/>
                    </a:lnTo>
                    <a:lnTo>
                      <a:pt x="4674" y="960"/>
                    </a:lnTo>
                    <a:lnTo>
                      <a:pt x="4668" y="956"/>
                    </a:lnTo>
                    <a:lnTo>
                      <a:pt x="4666" y="952"/>
                    </a:lnTo>
                    <a:lnTo>
                      <a:pt x="4662" y="944"/>
                    </a:lnTo>
                    <a:lnTo>
                      <a:pt x="4664" y="934"/>
                    </a:lnTo>
                    <a:lnTo>
                      <a:pt x="4668" y="924"/>
                    </a:lnTo>
                    <a:lnTo>
                      <a:pt x="4670" y="918"/>
                    </a:lnTo>
                    <a:lnTo>
                      <a:pt x="4670" y="912"/>
                    </a:lnTo>
                    <a:lnTo>
                      <a:pt x="4668" y="906"/>
                    </a:lnTo>
                    <a:lnTo>
                      <a:pt x="4662" y="898"/>
                    </a:lnTo>
                    <a:lnTo>
                      <a:pt x="4656" y="892"/>
                    </a:lnTo>
                    <a:lnTo>
                      <a:pt x="4648" y="884"/>
                    </a:lnTo>
                    <a:lnTo>
                      <a:pt x="4636" y="878"/>
                    </a:lnTo>
                    <a:lnTo>
                      <a:pt x="4624" y="872"/>
                    </a:lnTo>
                    <a:lnTo>
                      <a:pt x="4608" y="868"/>
                    </a:lnTo>
                    <a:lnTo>
                      <a:pt x="4592" y="862"/>
                    </a:lnTo>
                    <a:lnTo>
                      <a:pt x="4572" y="860"/>
                    </a:lnTo>
                    <a:lnTo>
                      <a:pt x="4552" y="856"/>
                    </a:lnTo>
                    <a:lnTo>
                      <a:pt x="4528" y="856"/>
                    </a:lnTo>
                    <a:lnTo>
                      <a:pt x="4504" y="856"/>
                    </a:lnTo>
                    <a:lnTo>
                      <a:pt x="4476" y="860"/>
                    </a:lnTo>
                    <a:lnTo>
                      <a:pt x="4448" y="864"/>
                    </a:lnTo>
                    <a:lnTo>
                      <a:pt x="4420" y="868"/>
                    </a:lnTo>
                    <a:lnTo>
                      <a:pt x="4396" y="870"/>
                    </a:lnTo>
                    <a:lnTo>
                      <a:pt x="4374" y="868"/>
                    </a:lnTo>
                    <a:lnTo>
                      <a:pt x="4358" y="866"/>
                    </a:lnTo>
                    <a:lnTo>
                      <a:pt x="4342" y="860"/>
                    </a:lnTo>
                    <a:lnTo>
                      <a:pt x="4328" y="854"/>
                    </a:lnTo>
                    <a:lnTo>
                      <a:pt x="4318" y="848"/>
                    </a:lnTo>
                    <a:lnTo>
                      <a:pt x="4308" y="840"/>
                    </a:lnTo>
                    <a:lnTo>
                      <a:pt x="4292" y="822"/>
                    </a:lnTo>
                    <a:lnTo>
                      <a:pt x="4278" y="804"/>
                    </a:lnTo>
                    <a:lnTo>
                      <a:pt x="4264" y="788"/>
                    </a:lnTo>
                    <a:lnTo>
                      <a:pt x="4256" y="782"/>
                    </a:lnTo>
                    <a:lnTo>
                      <a:pt x="4246" y="778"/>
                    </a:lnTo>
                    <a:lnTo>
                      <a:pt x="4228" y="772"/>
                    </a:lnTo>
                    <a:lnTo>
                      <a:pt x="4214" y="768"/>
                    </a:lnTo>
                    <a:lnTo>
                      <a:pt x="4186" y="768"/>
                    </a:lnTo>
                    <a:lnTo>
                      <a:pt x="4154" y="764"/>
                    </a:lnTo>
                    <a:lnTo>
                      <a:pt x="4130" y="762"/>
                    </a:lnTo>
                    <a:lnTo>
                      <a:pt x="4100" y="754"/>
                    </a:lnTo>
                    <a:lnTo>
                      <a:pt x="4068" y="748"/>
                    </a:lnTo>
                    <a:lnTo>
                      <a:pt x="4044" y="744"/>
                    </a:lnTo>
                    <a:lnTo>
                      <a:pt x="4002" y="740"/>
                    </a:lnTo>
                    <a:lnTo>
                      <a:pt x="3964" y="738"/>
                    </a:lnTo>
                    <a:lnTo>
                      <a:pt x="3944" y="734"/>
                    </a:lnTo>
                    <a:lnTo>
                      <a:pt x="3922" y="730"/>
                    </a:lnTo>
                    <a:lnTo>
                      <a:pt x="3902" y="724"/>
                    </a:lnTo>
                    <a:lnTo>
                      <a:pt x="3892" y="724"/>
                    </a:lnTo>
                    <a:lnTo>
                      <a:pt x="3892" y="726"/>
                    </a:lnTo>
                    <a:lnTo>
                      <a:pt x="3890" y="728"/>
                    </a:lnTo>
                    <a:lnTo>
                      <a:pt x="3890" y="734"/>
                    </a:lnTo>
                    <a:lnTo>
                      <a:pt x="3892" y="740"/>
                    </a:lnTo>
                    <a:lnTo>
                      <a:pt x="3890" y="744"/>
                    </a:lnTo>
                    <a:lnTo>
                      <a:pt x="3888" y="746"/>
                    </a:lnTo>
                    <a:lnTo>
                      <a:pt x="3882" y="750"/>
                    </a:lnTo>
                    <a:lnTo>
                      <a:pt x="3876" y="752"/>
                    </a:lnTo>
                    <a:lnTo>
                      <a:pt x="3854" y="754"/>
                    </a:lnTo>
                    <a:lnTo>
                      <a:pt x="3842" y="756"/>
                    </a:lnTo>
                    <a:lnTo>
                      <a:pt x="3834" y="758"/>
                    </a:lnTo>
                    <a:lnTo>
                      <a:pt x="3830" y="764"/>
                    </a:lnTo>
                    <a:lnTo>
                      <a:pt x="3830" y="768"/>
                    </a:lnTo>
                    <a:lnTo>
                      <a:pt x="3832" y="776"/>
                    </a:lnTo>
                    <a:lnTo>
                      <a:pt x="3836" y="782"/>
                    </a:lnTo>
                    <a:lnTo>
                      <a:pt x="3846" y="798"/>
                    </a:lnTo>
                    <a:lnTo>
                      <a:pt x="3856" y="812"/>
                    </a:lnTo>
                    <a:lnTo>
                      <a:pt x="3860" y="818"/>
                    </a:lnTo>
                    <a:lnTo>
                      <a:pt x="3862" y="822"/>
                    </a:lnTo>
                    <a:lnTo>
                      <a:pt x="3860" y="826"/>
                    </a:lnTo>
                    <a:lnTo>
                      <a:pt x="3856" y="828"/>
                    </a:lnTo>
                    <a:lnTo>
                      <a:pt x="3848" y="826"/>
                    </a:lnTo>
                    <a:lnTo>
                      <a:pt x="3836" y="824"/>
                    </a:lnTo>
                    <a:lnTo>
                      <a:pt x="3810" y="818"/>
                    </a:lnTo>
                    <a:lnTo>
                      <a:pt x="3792" y="818"/>
                    </a:lnTo>
                    <a:lnTo>
                      <a:pt x="3778" y="818"/>
                    </a:lnTo>
                    <a:lnTo>
                      <a:pt x="3770" y="820"/>
                    </a:lnTo>
                    <a:lnTo>
                      <a:pt x="3760" y="824"/>
                    </a:lnTo>
                    <a:lnTo>
                      <a:pt x="3750" y="824"/>
                    </a:lnTo>
                    <a:lnTo>
                      <a:pt x="3736" y="824"/>
                    </a:lnTo>
                    <a:lnTo>
                      <a:pt x="3716" y="820"/>
                    </a:lnTo>
                    <a:lnTo>
                      <a:pt x="3704" y="818"/>
                    </a:lnTo>
                    <a:lnTo>
                      <a:pt x="3694" y="818"/>
                    </a:lnTo>
                    <a:lnTo>
                      <a:pt x="3686" y="818"/>
                    </a:lnTo>
                    <a:lnTo>
                      <a:pt x="3676" y="820"/>
                    </a:lnTo>
                    <a:lnTo>
                      <a:pt x="3662" y="826"/>
                    </a:lnTo>
                    <a:lnTo>
                      <a:pt x="3650" y="832"/>
                    </a:lnTo>
                    <a:lnTo>
                      <a:pt x="3638" y="836"/>
                    </a:lnTo>
                    <a:lnTo>
                      <a:pt x="3632" y="838"/>
                    </a:lnTo>
                    <a:lnTo>
                      <a:pt x="3624" y="836"/>
                    </a:lnTo>
                    <a:lnTo>
                      <a:pt x="3616" y="836"/>
                    </a:lnTo>
                    <a:lnTo>
                      <a:pt x="3608" y="832"/>
                    </a:lnTo>
                    <a:lnTo>
                      <a:pt x="3598" y="826"/>
                    </a:lnTo>
                    <a:lnTo>
                      <a:pt x="3586" y="818"/>
                    </a:lnTo>
                    <a:lnTo>
                      <a:pt x="3576" y="812"/>
                    </a:lnTo>
                    <a:lnTo>
                      <a:pt x="3566" y="810"/>
                    </a:lnTo>
                    <a:lnTo>
                      <a:pt x="3558" y="810"/>
                    </a:lnTo>
                    <a:lnTo>
                      <a:pt x="3552" y="814"/>
                    </a:lnTo>
                    <a:lnTo>
                      <a:pt x="3546" y="820"/>
                    </a:lnTo>
                    <a:lnTo>
                      <a:pt x="3540" y="828"/>
                    </a:lnTo>
                    <a:lnTo>
                      <a:pt x="3530" y="848"/>
                    </a:lnTo>
                    <a:lnTo>
                      <a:pt x="3520" y="864"/>
                    </a:lnTo>
                    <a:lnTo>
                      <a:pt x="3514" y="872"/>
                    </a:lnTo>
                    <a:lnTo>
                      <a:pt x="3508" y="876"/>
                    </a:lnTo>
                    <a:lnTo>
                      <a:pt x="3500" y="878"/>
                    </a:lnTo>
                    <a:lnTo>
                      <a:pt x="3492" y="878"/>
                    </a:lnTo>
                    <a:lnTo>
                      <a:pt x="3482" y="872"/>
                    </a:lnTo>
                    <a:lnTo>
                      <a:pt x="3470" y="864"/>
                    </a:lnTo>
                    <a:lnTo>
                      <a:pt x="3428" y="824"/>
                    </a:lnTo>
                    <a:lnTo>
                      <a:pt x="3402" y="796"/>
                    </a:lnTo>
                    <a:lnTo>
                      <a:pt x="3390" y="784"/>
                    </a:lnTo>
                    <a:lnTo>
                      <a:pt x="3380" y="776"/>
                    </a:lnTo>
                    <a:lnTo>
                      <a:pt x="3368" y="768"/>
                    </a:lnTo>
                    <a:lnTo>
                      <a:pt x="3352" y="762"/>
                    </a:lnTo>
                    <a:lnTo>
                      <a:pt x="3346" y="760"/>
                    </a:lnTo>
                    <a:lnTo>
                      <a:pt x="3342" y="760"/>
                    </a:lnTo>
                    <a:lnTo>
                      <a:pt x="3338" y="762"/>
                    </a:lnTo>
                    <a:lnTo>
                      <a:pt x="3338" y="764"/>
                    </a:lnTo>
                    <a:lnTo>
                      <a:pt x="3340" y="772"/>
                    </a:lnTo>
                    <a:lnTo>
                      <a:pt x="3344" y="782"/>
                    </a:lnTo>
                    <a:lnTo>
                      <a:pt x="3348" y="792"/>
                    </a:lnTo>
                    <a:lnTo>
                      <a:pt x="3350" y="798"/>
                    </a:lnTo>
                    <a:lnTo>
                      <a:pt x="3348" y="798"/>
                    </a:lnTo>
                    <a:lnTo>
                      <a:pt x="3346" y="798"/>
                    </a:lnTo>
                    <a:lnTo>
                      <a:pt x="3336" y="790"/>
                    </a:lnTo>
                    <a:lnTo>
                      <a:pt x="3318" y="778"/>
                    </a:lnTo>
                    <a:lnTo>
                      <a:pt x="3296" y="766"/>
                    </a:lnTo>
                    <a:lnTo>
                      <a:pt x="3270" y="754"/>
                    </a:lnTo>
                    <a:lnTo>
                      <a:pt x="3242" y="744"/>
                    </a:lnTo>
                    <a:lnTo>
                      <a:pt x="3208" y="734"/>
                    </a:lnTo>
                    <a:lnTo>
                      <a:pt x="3170" y="728"/>
                    </a:lnTo>
                    <a:lnTo>
                      <a:pt x="3128" y="722"/>
                    </a:lnTo>
                    <a:lnTo>
                      <a:pt x="3082" y="716"/>
                    </a:lnTo>
                    <a:lnTo>
                      <a:pt x="3030" y="712"/>
                    </a:lnTo>
                    <a:lnTo>
                      <a:pt x="3012" y="708"/>
                    </a:lnTo>
                    <a:lnTo>
                      <a:pt x="3000" y="704"/>
                    </a:lnTo>
                    <a:lnTo>
                      <a:pt x="2994" y="702"/>
                    </a:lnTo>
                    <a:lnTo>
                      <a:pt x="2992" y="698"/>
                    </a:lnTo>
                    <a:lnTo>
                      <a:pt x="2992" y="694"/>
                    </a:lnTo>
                    <a:lnTo>
                      <a:pt x="2994" y="690"/>
                    </a:lnTo>
                    <a:lnTo>
                      <a:pt x="3002" y="684"/>
                    </a:lnTo>
                    <a:lnTo>
                      <a:pt x="3008" y="678"/>
                    </a:lnTo>
                    <a:lnTo>
                      <a:pt x="3008" y="676"/>
                    </a:lnTo>
                    <a:lnTo>
                      <a:pt x="3006" y="674"/>
                    </a:lnTo>
                    <a:lnTo>
                      <a:pt x="3002" y="672"/>
                    </a:lnTo>
                    <a:lnTo>
                      <a:pt x="2992" y="670"/>
                    </a:lnTo>
                    <a:lnTo>
                      <a:pt x="2946" y="666"/>
                    </a:lnTo>
                    <a:lnTo>
                      <a:pt x="2904" y="664"/>
                    </a:lnTo>
                    <a:lnTo>
                      <a:pt x="2864" y="664"/>
                    </a:lnTo>
                    <a:lnTo>
                      <a:pt x="2844" y="666"/>
                    </a:lnTo>
                    <a:lnTo>
                      <a:pt x="2822" y="670"/>
                    </a:lnTo>
                    <a:lnTo>
                      <a:pt x="2814" y="670"/>
                    </a:lnTo>
                    <a:lnTo>
                      <a:pt x="2806" y="670"/>
                    </a:lnTo>
                    <a:lnTo>
                      <a:pt x="2800" y="670"/>
                    </a:lnTo>
                    <a:lnTo>
                      <a:pt x="2794" y="668"/>
                    </a:lnTo>
                    <a:lnTo>
                      <a:pt x="2790" y="662"/>
                    </a:lnTo>
                    <a:lnTo>
                      <a:pt x="2786" y="654"/>
                    </a:lnTo>
                    <a:lnTo>
                      <a:pt x="2784" y="648"/>
                    </a:lnTo>
                    <a:lnTo>
                      <a:pt x="2780" y="644"/>
                    </a:lnTo>
                    <a:lnTo>
                      <a:pt x="2778" y="642"/>
                    </a:lnTo>
                    <a:lnTo>
                      <a:pt x="2774" y="642"/>
                    </a:lnTo>
                    <a:lnTo>
                      <a:pt x="2762" y="648"/>
                    </a:lnTo>
                    <a:lnTo>
                      <a:pt x="2748" y="654"/>
                    </a:lnTo>
                    <a:lnTo>
                      <a:pt x="2738" y="654"/>
                    </a:lnTo>
                    <a:lnTo>
                      <a:pt x="2730" y="652"/>
                    </a:lnTo>
                    <a:lnTo>
                      <a:pt x="2722" y="648"/>
                    </a:lnTo>
                    <a:lnTo>
                      <a:pt x="2714" y="644"/>
                    </a:lnTo>
                    <a:lnTo>
                      <a:pt x="2704" y="640"/>
                    </a:lnTo>
                    <a:lnTo>
                      <a:pt x="2692" y="638"/>
                    </a:lnTo>
                    <a:lnTo>
                      <a:pt x="2676" y="640"/>
                    </a:lnTo>
                    <a:lnTo>
                      <a:pt x="2660" y="644"/>
                    </a:lnTo>
                    <a:lnTo>
                      <a:pt x="2652" y="650"/>
                    </a:lnTo>
                    <a:lnTo>
                      <a:pt x="2650" y="658"/>
                    </a:lnTo>
                    <a:lnTo>
                      <a:pt x="2648" y="664"/>
                    </a:lnTo>
                    <a:lnTo>
                      <a:pt x="2642" y="672"/>
                    </a:lnTo>
                    <a:lnTo>
                      <a:pt x="2634" y="680"/>
                    </a:lnTo>
                    <a:lnTo>
                      <a:pt x="2614" y="686"/>
                    </a:lnTo>
                    <a:lnTo>
                      <a:pt x="2586" y="692"/>
                    </a:lnTo>
                    <a:lnTo>
                      <a:pt x="2554" y="696"/>
                    </a:lnTo>
                    <a:lnTo>
                      <a:pt x="2530" y="698"/>
                    </a:lnTo>
                    <a:lnTo>
                      <a:pt x="2516" y="696"/>
                    </a:lnTo>
                    <a:lnTo>
                      <a:pt x="2512" y="694"/>
                    </a:lnTo>
                    <a:lnTo>
                      <a:pt x="2512" y="692"/>
                    </a:lnTo>
                    <a:lnTo>
                      <a:pt x="2512" y="690"/>
                    </a:lnTo>
                    <a:lnTo>
                      <a:pt x="2516" y="686"/>
                    </a:lnTo>
                    <a:lnTo>
                      <a:pt x="2528" y="676"/>
                    </a:lnTo>
                    <a:lnTo>
                      <a:pt x="2550" y="666"/>
                    </a:lnTo>
                    <a:lnTo>
                      <a:pt x="2580" y="652"/>
                    </a:lnTo>
                    <a:lnTo>
                      <a:pt x="2610" y="640"/>
                    </a:lnTo>
                    <a:lnTo>
                      <a:pt x="2632" y="628"/>
                    </a:lnTo>
                    <a:lnTo>
                      <a:pt x="2660" y="610"/>
                    </a:lnTo>
                    <a:lnTo>
                      <a:pt x="2672" y="602"/>
                    </a:lnTo>
                    <a:lnTo>
                      <a:pt x="2688" y="594"/>
                    </a:lnTo>
                    <a:lnTo>
                      <a:pt x="2706" y="586"/>
                    </a:lnTo>
                    <a:lnTo>
                      <a:pt x="2734" y="576"/>
                    </a:lnTo>
                    <a:lnTo>
                      <a:pt x="2762" y="566"/>
                    </a:lnTo>
                    <a:lnTo>
                      <a:pt x="2782" y="554"/>
                    </a:lnTo>
                    <a:lnTo>
                      <a:pt x="2788" y="548"/>
                    </a:lnTo>
                    <a:lnTo>
                      <a:pt x="2794" y="542"/>
                    </a:lnTo>
                    <a:lnTo>
                      <a:pt x="2802" y="528"/>
                    </a:lnTo>
                    <a:lnTo>
                      <a:pt x="2806" y="514"/>
                    </a:lnTo>
                    <a:lnTo>
                      <a:pt x="2806" y="502"/>
                    </a:lnTo>
                    <a:lnTo>
                      <a:pt x="2802" y="490"/>
                    </a:lnTo>
                    <a:lnTo>
                      <a:pt x="2798" y="478"/>
                    </a:lnTo>
                    <a:lnTo>
                      <a:pt x="2792" y="470"/>
                    </a:lnTo>
                    <a:lnTo>
                      <a:pt x="2784" y="464"/>
                    </a:lnTo>
                    <a:lnTo>
                      <a:pt x="2776" y="462"/>
                    </a:lnTo>
                    <a:lnTo>
                      <a:pt x="2768" y="460"/>
                    </a:lnTo>
                    <a:lnTo>
                      <a:pt x="2748" y="454"/>
                    </a:lnTo>
                    <a:lnTo>
                      <a:pt x="2738" y="448"/>
                    </a:lnTo>
                    <a:lnTo>
                      <a:pt x="2724" y="438"/>
                    </a:lnTo>
                    <a:lnTo>
                      <a:pt x="2712" y="430"/>
                    </a:lnTo>
                    <a:lnTo>
                      <a:pt x="2700" y="426"/>
                    </a:lnTo>
                    <a:lnTo>
                      <a:pt x="2686" y="424"/>
                    </a:lnTo>
                    <a:lnTo>
                      <a:pt x="2672" y="424"/>
                    </a:lnTo>
                    <a:lnTo>
                      <a:pt x="2644" y="428"/>
                    </a:lnTo>
                    <a:lnTo>
                      <a:pt x="2628" y="428"/>
                    </a:lnTo>
                    <a:lnTo>
                      <a:pt x="2612" y="426"/>
                    </a:lnTo>
                    <a:lnTo>
                      <a:pt x="2598" y="424"/>
                    </a:lnTo>
                    <a:lnTo>
                      <a:pt x="2590" y="424"/>
                    </a:lnTo>
                    <a:lnTo>
                      <a:pt x="2582" y="426"/>
                    </a:lnTo>
                    <a:lnTo>
                      <a:pt x="2578" y="428"/>
                    </a:lnTo>
                    <a:lnTo>
                      <a:pt x="2574" y="432"/>
                    </a:lnTo>
                    <a:lnTo>
                      <a:pt x="2566" y="436"/>
                    </a:lnTo>
                    <a:lnTo>
                      <a:pt x="2554" y="440"/>
                    </a:lnTo>
                    <a:lnTo>
                      <a:pt x="2538" y="444"/>
                    </a:lnTo>
                    <a:lnTo>
                      <a:pt x="2516" y="444"/>
                    </a:lnTo>
                    <a:lnTo>
                      <a:pt x="2512" y="444"/>
                    </a:lnTo>
                    <a:lnTo>
                      <a:pt x="2512" y="442"/>
                    </a:lnTo>
                    <a:lnTo>
                      <a:pt x="2516" y="436"/>
                    </a:lnTo>
                    <a:lnTo>
                      <a:pt x="2528" y="428"/>
                    </a:lnTo>
                    <a:lnTo>
                      <a:pt x="2538" y="420"/>
                    </a:lnTo>
                    <a:lnTo>
                      <a:pt x="2540" y="416"/>
                    </a:lnTo>
                    <a:lnTo>
                      <a:pt x="2542" y="412"/>
                    </a:lnTo>
                    <a:lnTo>
                      <a:pt x="2540" y="410"/>
                    </a:lnTo>
                    <a:lnTo>
                      <a:pt x="2534" y="406"/>
                    </a:lnTo>
                    <a:lnTo>
                      <a:pt x="2524" y="404"/>
                    </a:lnTo>
                    <a:lnTo>
                      <a:pt x="2508" y="402"/>
                    </a:lnTo>
                    <a:lnTo>
                      <a:pt x="2478" y="400"/>
                    </a:lnTo>
                    <a:lnTo>
                      <a:pt x="2458" y="398"/>
                    </a:lnTo>
                    <a:lnTo>
                      <a:pt x="2448" y="394"/>
                    </a:lnTo>
                    <a:lnTo>
                      <a:pt x="2446" y="394"/>
                    </a:lnTo>
                    <a:lnTo>
                      <a:pt x="2446" y="392"/>
                    </a:lnTo>
                    <a:lnTo>
                      <a:pt x="2450" y="388"/>
                    </a:lnTo>
                    <a:lnTo>
                      <a:pt x="2458" y="386"/>
                    </a:lnTo>
                    <a:lnTo>
                      <a:pt x="2486" y="378"/>
                    </a:lnTo>
                    <a:lnTo>
                      <a:pt x="2492" y="376"/>
                    </a:lnTo>
                    <a:lnTo>
                      <a:pt x="2496" y="374"/>
                    </a:lnTo>
                    <a:lnTo>
                      <a:pt x="2496" y="370"/>
                    </a:lnTo>
                    <a:lnTo>
                      <a:pt x="2496" y="366"/>
                    </a:lnTo>
                    <a:lnTo>
                      <a:pt x="2492" y="364"/>
                    </a:lnTo>
                    <a:lnTo>
                      <a:pt x="2486" y="360"/>
                    </a:lnTo>
                    <a:lnTo>
                      <a:pt x="2470" y="352"/>
                    </a:lnTo>
                    <a:lnTo>
                      <a:pt x="2448" y="348"/>
                    </a:lnTo>
                    <a:lnTo>
                      <a:pt x="2422" y="348"/>
                    </a:lnTo>
                    <a:lnTo>
                      <a:pt x="2408" y="348"/>
                    </a:lnTo>
                    <a:lnTo>
                      <a:pt x="2392" y="352"/>
                    </a:lnTo>
                    <a:lnTo>
                      <a:pt x="2378" y="356"/>
                    </a:lnTo>
                    <a:lnTo>
                      <a:pt x="2362" y="362"/>
                    </a:lnTo>
                    <a:lnTo>
                      <a:pt x="2342" y="370"/>
                    </a:lnTo>
                    <a:lnTo>
                      <a:pt x="2326" y="380"/>
                    </a:lnTo>
                    <a:lnTo>
                      <a:pt x="2314" y="388"/>
                    </a:lnTo>
                    <a:lnTo>
                      <a:pt x="2304" y="396"/>
                    </a:lnTo>
                    <a:lnTo>
                      <a:pt x="2296" y="402"/>
                    </a:lnTo>
                    <a:lnTo>
                      <a:pt x="2292" y="408"/>
                    </a:lnTo>
                    <a:lnTo>
                      <a:pt x="2286" y="420"/>
                    </a:lnTo>
                    <a:lnTo>
                      <a:pt x="2284" y="428"/>
                    </a:lnTo>
                    <a:lnTo>
                      <a:pt x="2280" y="434"/>
                    </a:lnTo>
                    <a:lnTo>
                      <a:pt x="2276" y="436"/>
                    </a:lnTo>
                    <a:lnTo>
                      <a:pt x="2272" y="438"/>
                    </a:lnTo>
                    <a:lnTo>
                      <a:pt x="2256" y="440"/>
                    </a:lnTo>
                    <a:lnTo>
                      <a:pt x="2224" y="442"/>
                    </a:lnTo>
                    <a:lnTo>
                      <a:pt x="2208" y="444"/>
                    </a:lnTo>
                    <a:lnTo>
                      <a:pt x="2206" y="444"/>
                    </a:lnTo>
                    <a:lnTo>
                      <a:pt x="2206" y="446"/>
                    </a:lnTo>
                    <a:lnTo>
                      <a:pt x="2206" y="448"/>
                    </a:lnTo>
                    <a:lnTo>
                      <a:pt x="2210" y="452"/>
                    </a:lnTo>
                    <a:lnTo>
                      <a:pt x="2208" y="456"/>
                    </a:lnTo>
                    <a:lnTo>
                      <a:pt x="2206" y="458"/>
                    </a:lnTo>
                    <a:lnTo>
                      <a:pt x="2192" y="464"/>
                    </a:lnTo>
                    <a:lnTo>
                      <a:pt x="2162" y="472"/>
                    </a:lnTo>
                    <a:lnTo>
                      <a:pt x="2132" y="478"/>
                    </a:lnTo>
                    <a:lnTo>
                      <a:pt x="2118" y="478"/>
                    </a:lnTo>
                    <a:lnTo>
                      <a:pt x="2114" y="476"/>
                    </a:lnTo>
                    <a:lnTo>
                      <a:pt x="2112" y="474"/>
                    </a:lnTo>
                    <a:lnTo>
                      <a:pt x="2112" y="470"/>
                    </a:lnTo>
                    <a:lnTo>
                      <a:pt x="2110" y="468"/>
                    </a:lnTo>
                    <a:lnTo>
                      <a:pt x="2108" y="464"/>
                    </a:lnTo>
                    <a:lnTo>
                      <a:pt x="2106" y="462"/>
                    </a:lnTo>
                    <a:lnTo>
                      <a:pt x="2098" y="462"/>
                    </a:lnTo>
                    <a:lnTo>
                      <a:pt x="2076" y="460"/>
                    </a:lnTo>
                    <a:lnTo>
                      <a:pt x="2034" y="464"/>
                    </a:lnTo>
                    <a:lnTo>
                      <a:pt x="1994" y="472"/>
                    </a:lnTo>
                    <a:lnTo>
                      <a:pt x="1982" y="474"/>
                    </a:lnTo>
                    <a:lnTo>
                      <a:pt x="1974" y="478"/>
                    </a:lnTo>
                    <a:lnTo>
                      <a:pt x="1970" y="482"/>
                    </a:lnTo>
                    <a:lnTo>
                      <a:pt x="1968" y="484"/>
                    </a:lnTo>
                    <a:lnTo>
                      <a:pt x="1970" y="490"/>
                    </a:lnTo>
                    <a:lnTo>
                      <a:pt x="1970" y="494"/>
                    </a:lnTo>
                    <a:lnTo>
                      <a:pt x="1970" y="496"/>
                    </a:lnTo>
                    <a:lnTo>
                      <a:pt x="1968" y="500"/>
                    </a:lnTo>
                    <a:lnTo>
                      <a:pt x="1964" y="502"/>
                    </a:lnTo>
                    <a:lnTo>
                      <a:pt x="1954" y="504"/>
                    </a:lnTo>
                    <a:lnTo>
                      <a:pt x="1942" y="506"/>
                    </a:lnTo>
                    <a:lnTo>
                      <a:pt x="1898" y="512"/>
                    </a:lnTo>
                    <a:lnTo>
                      <a:pt x="1850" y="516"/>
                    </a:lnTo>
                    <a:lnTo>
                      <a:pt x="1818" y="522"/>
                    </a:lnTo>
                    <a:lnTo>
                      <a:pt x="1800" y="526"/>
                    </a:lnTo>
                    <a:lnTo>
                      <a:pt x="1790" y="532"/>
                    </a:lnTo>
                    <a:lnTo>
                      <a:pt x="1784" y="538"/>
                    </a:lnTo>
                    <a:lnTo>
                      <a:pt x="1776" y="542"/>
                    </a:lnTo>
                    <a:lnTo>
                      <a:pt x="1764" y="546"/>
                    </a:lnTo>
                    <a:lnTo>
                      <a:pt x="1742" y="550"/>
                    </a:lnTo>
                    <a:lnTo>
                      <a:pt x="1728" y="550"/>
                    </a:lnTo>
                    <a:lnTo>
                      <a:pt x="1718" y="554"/>
                    </a:lnTo>
                    <a:lnTo>
                      <a:pt x="1708" y="558"/>
                    </a:lnTo>
                    <a:lnTo>
                      <a:pt x="1698" y="562"/>
                    </a:lnTo>
                    <a:lnTo>
                      <a:pt x="1692" y="566"/>
                    </a:lnTo>
                    <a:lnTo>
                      <a:pt x="1686" y="572"/>
                    </a:lnTo>
                    <a:lnTo>
                      <a:pt x="1682" y="578"/>
                    </a:lnTo>
                    <a:lnTo>
                      <a:pt x="1680" y="584"/>
                    </a:lnTo>
                    <a:lnTo>
                      <a:pt x="1678" y="590"/>
                    </a:lnTo>
                    <a:lnTo>
                      <a:pt x="1678" y="596"/>
                    </a:lnTo>
                    <a:lnTo>
                      <a:pt x="1680" y="602"/>
                    </a:lnTo>
                    <a:lnTo>
                      <a:pt x="1682" y="608"/>
                    </a:lnTo>
                    <a:lnTo>
                      <a:pt x="1686" y="612"/>
                    </a:lnTo>
                    <a:lnTo>
                      <a:pt x="1690" y="616"/>
                    </a:lnTo>
                    <a:lnTo>
                      <a:pt x="1696" y="618"/>
                    </a:lnTo>
                    <a:lnTo>
                      <a:pt x="1704" y="620"/>
                    </a:lnTo>
                    <a:lnTo>
                      <a:pt x="1716" y="622"/>
                    </a:lnTo>
                    <a:lnTo>
                      <a:pt x="1724" y="624"/>
                    </a:lnTo>
                    <a:lnTo>
                      <a:pt x="1726" y="628"/>
                    </a:lnTo>
                    <a:lnTo>
                      <a:pt x="1724" y="634"/>
                    </a:lnTo>
                    <a:lnTo>
                      <a:pt x="1716" y="638"/>
                    </a:lnTo>
                    <a:lnTo>
                      <a:pt x="1704" y="644"/>
                    </a:lnTo>
                    <a:lnTo>
                      <a:pt x="1690" y="648"/>
                    </a:lnTo>
                    <a:lnTo>
                      <a:pt x="1672" y="652"/>
                    </a:lnTo>
                    <a:lnTo>
                      <a:pt x="1638" y="658"/>
                    </a:lnTo>
                    <a:lnTo>
                      <a:pt x="1604" y="662"/>
                    </a:lnTo>
                    <a:lnTo>
                      <a:pt x="1542" y="662"/>
                    </a:lnTo>
                    <a:lnTo>
                      <a:pt x="1514" y="662"/>
                    </a:lnTo>
                    <a:lnTo>
                      <a:pt x="1490" y="666"/>
                    </a:lnTo>
                    <a:lnTo>
                      <a:pt x="1480" y="668"/>
                    </a:lnTo>
                    <a:lnTo>
                      <a:pt x="1470" y="672"/>
                    </a:lnTo>
                    <a:lnTo>
                      <a:pt x="1462" y="676"/>
                    </a:lnTo>
                    <a:lnTo>
                      <a:pt x="1458" y="682"/>
                    </a:lnTo>
                    <a:lnTo>
                      <a:pt x="1450" y="692"/>
                    </a:lnTo>
                    <a:lnTo>
                      <a:pt x="1450" y="696"/>
                    </a:lnTo>
                    <a:lnTo>
                      <a:pt x="1452" y="698"/>
                    </a:lnTo>
                    <a:lnTo>
                      <a:pt x="1456" y="702"/>
                    </a:lnTo>
                    <a:lnTo>
                      <a:pt x="1462" y="704"/>
                    </a:lnTo>
                    <a:lnTo>
                      <a:pt x="1470" y="706"/>
                    </a:lnTo>
                    <a:lnTo>
                      <a:pt x="1476" y="710"/>
                    </a:lnTo>
                    <a:lnTo>
                      <a:pt x="1476" y="714"/>
                    </a:lnTo>
                    <a:lnTo>
                      <a:pt x="1476" y="718"/>
                    </a:lnTo>
                    <a:lnTo>
                      <a:pt x="1476" y="724"/>
                    </a:lnTo>
                    <a:lnTo>
                      <a:pt x="1472" y="732"/>
                    </a:lnTo>
                    <a:lnTo>
                      <a:pt x="1468" y="738"/>
                    </a:lnTo>
                    <a:lnTo>
                      <a:pt x="1468" y="744"/>
                    </a:lnTo>
                    <a:lnTo>
                      <a:pt x="1468" y="748"/>
                    </a:lnTo>
                    <a:lnTo>
                      <a:pt x="1472" y="752"/>
                    </a:lnTo>
                    <a:lnTo>
                      <a:pt x="1480" y="756"/>
                    </a:lnTo>
                    <a:lnTo>
                      <a:pt x="1492" y="758"/>
                    </a:lnTo>
                    <a:lnTo>
                      <a:pt x="1506" y="760"/>
                    </a:lnTo>
                    <a:lnTo>
                      <a:pt x="1520" y="764"/>
                    </a:lnTo>
                    <a:lnTo>
                      <a:pt x="1524" y="766"/>
                    </a:lnTo>
                    <a:lnTo>
                      <a:pt x="1528" y="770"/>
                    </a:lnTo>
                    <a:lnTo>
                      <a:pt x="1532" y="774"/>
                    </a:lnTo>
                    <a:lnTo>
                      <a:pt x="1532" y="780"/>
                    </a:lnTo>
                    <a:lnTo>
                      <a:pt x="1534" y="786"/>
                    </a:lnTo>
                    <a:lnTo>
                      <a:pt x="1536" y="790"/>
                    </a:lnTo>
                    <a:lnTo>
                      <a:pt x="1540" y="792"/>
                    </a:lnTo>
                    <a:lnTo>
                      <a:pt x="1546" y="794"/>
                    </a:lnTo>
                    <a:lnTo>
                      <a:pt x="1556" y="796"/>
                    </a:lnTo>
                    <a:lnTo>
                      <a:pt x="1568" y="796"/>
                    </a:lnTo>
                    <a:lnTo>
                      <a:pt x="1580" y="798"/>
                    </a:lnTo>
                    <a:lnTo>
                      <a:pt x="1584" y="800"/>
                    </a:lnTo>
                    <a:lnTo>
                      <a:pt x="1586" y="804"/>
                    </a:lnTo>
                    <a:lnTo>
                      <a:pt x="1588" y="806"/>
                    </a:lnTo>
                    <a:lnTo>
                      <a:pt x="1588" y="812"/>
                    </a:lnTo>
                    <a:lnTo>
                      <a:pt x="1586" y="818"/>
                    </a:lnTo>
                    <a:lnTo>
                      <a:pt x="1582" y="828"/>
                    </a:lnTo>
                    <a:lnTo>
                      <a:pt x="1578" y="836"/>
                    </a:lnTo>
                    <a:lnTo>
                      <a:pt x="1576" y="844"/>
                    </a:lnTo>
                    <a:lnTo>
                      <a:pt x="1576" y="852"/>
                    </a:lnTo>
                    <a:lnTo>
                      <a:pt x="1578" y="858"/>
                    </a:lnTo>
                    <a:lnTo>
                      <a:pt x="1582" y="868"/>
                    </a:lnTo>
                    <a:lnTo>
                      <a:pt x="1590" y="876"/>
                    </a:lnTo>
                    <a:lnTo>
                      <a:pt x="1596" y="882"/>
                    </a:lnTo>
                    <a:lnTo>
                      <a:pt x="1598" y="886"/>
                    </a:lnTo>
                    <a:lnTo>
                      <a:pt x="1598" y="890"/>
                    </a:lnTo>
                    <a:lnTo>
                      <a:pt x="1598" y="896"/>
                    </a:lnTo>
                    <a:lnTo>
                      <a:pt x="1596" y="900"/>
                    </a:lnTo>
                    <a:lnTo>
                      <a:pt x="1590" y="906"/>
                    </a:lnTo>
                    <a:lnTo>
                      <a:pt x="1584" y="912"/>
                    </a:lnTo>
                    <a:lnTo>
                      <a:pt x="1570" y="922"/>
                    </a:lnTo>
                    <a:lnTo>
                      <a:pt x="1566" y="924"/>
                    </a:lnTo>
                    <a:lnTo>
                      <a:pt x="1564" y="922"/>
                    </a:lnTo>
                    <a:lnTo>
                      <a:pt x="1566" y="912"/>
                    </a:lnTo>
                    <a:lnTo>
                      <a:pt x="1568" y="898"/>
                    </a:lnTo>
                    <a:lnTo>
                      <a:pt x="1572" y="884"/>
                    </a:lnTo>
                    <a:lnTo>
                      <a:pt x="1572" y="878"/>
                    </a:lnTo>
                    <a:lnTo>
                      <a:pt x="1572" y="872"/>
                    </a:lnTo>
                    <a:lnTo>
                      <a:pt x="1570" y="866"/>
                    </a:lnTo>
                    <a:lnTo>
                      <a:pt x="1566" y="864"/>
                    </a:lnTo>
                    <a:lnTo>
                      <a:pt x="1560" y="864"/>
                    </a:lnTo>
                    <a:lnTo>
                      <a:pt x="1552" y="866"/>
                    </a:lnTo>
                    <a:lnTo>
                      <a:pt x="1542" y="868"/>
                    </a:lnTo>
                    <a:lnTo>
                      <a:pt x="1538" y="868"/>
                    </a:lnTo>
                    <a:lnTo>
                      <a:pt x="1536" y="866"/>
                    </a:lnTo>
                    <a:lnTo>
                      <a:pt x="1536" y="864"/>
                    </a:lnTo>
                    <a:lnTo>
                      <a:pt x="1542" y="856"/>
                    </a:lnTo>
                    <a:lnTo>
                      <a:pt x="1550" y="844"/>
                    </a:lnTo>
                    <a:lnTo>
                      <a:pt x="1560" y="832"/>
                    </a:lnTo>
                    <a:lnTo>
                      <a:pt x="1562" y="826"/>
                    </a:lnTo>
                    <a:lnTo>
                      <a:pt x="1564" y="820"/>
                    </a:lnTo>
                    <a:lnTo>
                      <a:pt x="1562" y="816"/>
                    </a:lnTo>
                    <a:lnTo>
                      <a:pt x="1558" y="812"/>
                    </a:lnTo>
                    <a:lnTo>
                      <a:pt x="1552" y="810"/>
                    </a:lnTo>
                    <a:lnTo>
                      <a:pt x="1540" y="810"/>
                    </a:lnTo>
                    <a:lnTo>
                      <a:pt x="1518" y="810"/>
                    </a:lnTo>
                    <a:lnTo>
                      <a:pt x="1504" y="806"/>
                    </a:lnTo>
                    <a:lnTo>
                      <a:pt x="1492" y="798"/>
                    </a:lnTo>
                    <a:lnTo>
                      <a:pt x="1482" y="792"/>
                    </a:lnTo>
                    <a:lnTo>
                      <a:pt x="1472" y="782"/>
                    </a:lnTo>
                    <a:lnTo>
                      <a:pt x="1460" y="774"/>
                    </a:lnTo>
                    <a:lnTo>
                      <a:pt x="1442" y="768"/>
                    </a:lnTo>
                    <a:lnTo>
                      <a:pt x="1416" y="762"/>
                    </a:lnTo>
                    <a:lnTo>
                      <a:pt x="1400" y="760"/>
                    </a:lnTo>
                    <a:lnTo>
                      <a:pt x="1386" y="760"/>
                    </a:lnTo>
                    <a:lnTo>
                      <a:pt x="1374" y="760"/>
                    </a:lnTo>
                    <a:lnTo>
                      <a:pt x="1364" y="762"/>
                    </a:lnTo>
                    <a:lnTo>
                      <a:pt x="1358" y="764"/>
                    </a:lnTo>
                    <a:lnTo>
                      <a:pt x="1352" y="768"/>
                    </a:lnTo>
                    <a:lnTo>
                      <a:pt x="1346" y="776"/>
                    </a:lnTo>
                    <a:lnTo>
                      <a:pt x="1342" y="784"/>
                    </a:lnTo>
                    <a:lnTo>
                      <a:pt x="1340" y="790"/>
                    </a:lnTo>
                    <a:lnTo>
                      <a:pt x="1336" y="794"/>
                    </a:lnTo>
                    <a:lnTo>
                      <a:pt x="1334" y="794"/>
                    </a:lnTo>
                    <a:lnTo>
                      <a:pt x="1330" y="792"/>
                    </a:lnTo>
                    <a:lnTo>
                      <a:pt x="1316" y="788"/>
                    </a:lnTo>
                    <a:lnTo>
                      <a:pt x="1302" y="788"/>
                    </a:lnTo>
                    <a:lnTo>
                      <a:pt x="1292" y="792"/>
                    </a:lnTo>
                    <a:lnTo>
                      <a:pt x="1284" y="796"/>
                    </a:lnTo>
                    <a:lnTo>
                      <a:pt x="1282" y="800"/>
                    </a:lnTo>
                    <a:lnTo>
                      <a:pt x="1282" y="804"/>
                    </a:lnTo>
                    <a:lnTo>
                      <a:pt x="1282" y="808"/>
                    </a:lnTo>
                    <a:lnTo>
                      <a:pt x="1284" y="812"/>
                    </a:lnTo>
                    <a:lnTo>
                      <a:pt x="1288" y="816"/>
                    </a:lnTo>
                    <a:lnTo>
                      <a:pt x="1294" y="820"/>
                    </a:lnTo>
                    <a:lnTo>
                      <a:pt x="1314" y="828"/>
                    </a:lnTo>
                    <a:lnTo>
                      <a:pt x="1332" y="834"/>
                    </a:lnTo>
                    <a:lnTo>
                      <a:pt x="1342" y="840"/>
                    </a:lnTo>
                    <a:lnTo>
                      <a:pt x="1344" y="842"/>
                    </a:lnTo>
                    <a:lnTo>
                      <a:pt x="1344" y="844"/>
                    </a:lnTo>
                    <a:lnTo>
                      <a:pt x="1340" y="846"/>
                    </a:lnTo>
                    <a:lnTo>
                      <a:pt x="1332" y="848"/>
                    </a:lnTo>
                    <a:lnTo>
                      <a:pt x="1318" y="848"/>
                    </a:lnTo>
                    <a:lnTo>
                      <a:pt x="1280" y="844"/>
                    </a:lnTo>
                    <a:lnTo>
                      <a:pt x="1270" y="842"/>
                    </a:lnTo>
                    <a:lnTo>
                      <a:pt x="1264" y="840"/>
                    </a:lnTo>
                    <a:lnTo>
                      <a:pt x="1260" y="836"/>
                    </a:lnTo>
                    <a:lnTo>
                      <a:pt x="1256" y="830"/>
                    </a:lnTo>
                    <a:lnTo>
                      <a:pt x="1256" y="824"/>
                    </a:lnTo>
                    <a:lnTo>
                      <a:pt x="1256" y="818"/>
                    </a:lnTo>
                    <a:lnTo>
                      <a:pt x="1260" y="804"/>
                    </a:lnTo>
                    <a:lnTo>
                      <a:pt x="1264" y="788"/>
                    </a:lnTo>
                    <a:lnTo>
                      <a:pt x="1268" y="772"/>
                    </a:lnTo>
                    <a:lnTo>
                      <a:pt x="1270" y="758"/>
                    </a:lnTo>
                    <a:lnTo>
                      <a:pt x="1268" y="750"/>
                    </a:lnTo>
                    <a:lnTo>
                      <a:pt x="1266" y="744"/>
                    </a:lnTo>
                    <a:lnTo>
                      <a:pt x="1258" y="734"/>
                    </a:lnTo>
                    <a:lnTo>
                      <a:pt x="1250" y="726"/>
                    </a:lnTo>
                    <a:lnTo>
                      <a:pt x="1244" y="722"/>
                    </a:lnTo>
                    <a:lnTo>
                      <a:pt x="1240" y="722"/>
                    </a:lnTo>
                    <a:lnTo>
                      <a:pt x="1236" y="724"/>
                    </a:lnTo>
                    <a:lnTo>
                      <a:pt x="1234" y="730"/>
                    </a:lnTo>
                    <a:lnTo>
                      <a:pt x="1234" y="738"/>
                    </a:lnTo>
                    <a:lnTo>
                      <a:pt x="1238" y="752"/>
                    </a:lnTo>
                    <a:lnTo>
                      <a:pt x="1240" y="762"/>
                    </a:lnTo>
                    <a:lnTo>
                      <a:pt x="1238" y="772"/>
                    </a:lnTo>
                    <a:lnTo>
                      <a:pt x="1236" y="778"/>
                    </a:lnTo>
                    <a:lnTo>
                      <a:pt x="1230" y="784"/>
                    </a:lnTo>
                    <a:lnTo>
                      <a:pt x="1224" y="788"/>
                    </a:lnTo>
                    <a:lnTo>
                      <a:pt x="1216" y="792"/>
                    </a:lnTo>
                    <a:lnTo>
                      <a:pt x="1198" y="798"/>
                    </a:lnTo>
                    <a:lnTo>
                      <a:pt x="1182" y="804"/>
                    </a:lnTo>
                    <a:lnTo>
                      <a:pt x="1176" y="808"/>
                    </a:lnTo>
                    <a:lnTo>
                      <a:pt x="1170" y="812"/>
                    </a:lnTo>
                    <a:lnTo>
                      <a:pt x="1168" y="818"/>
                    </a:lnTo>
                    <a:lnTo>
                      <a:pt x="1168" y="824"/>
                    </a:lnTo>
                    <a:lnTo>
                      <a:pt x="1172" y="832"/>
                    </a:lnTo>
                    <a:lnTo>
                      <a:pt x="1178" y="842"/>
                    </a:lnTo>
                    <a:lnTo>
                      <a:pt x="1200" y="870"/>
                    </a:lnTo>
                    <a:lnTo>
                      <a:pt x="1208" y="878"/>
                    </a:lnTo>
                    <a:lnTo>
                      <a:pt x="1212" y="886"/>
                    </a:lnTo>
                    <a:lnTo>
                      <a:pt x="1212" y="894"/>
                    </a:lnTo>
                    <a:lnTo>
                      <a:pt x="1210" y="902"/>
                    </a:lnTo>
                    <a:lnTo>
                      <a:pt x="1204" y="912"/>
                    </a:lnTo>
                    <a:lnTo>
                      <a:pt x="1194" y="926"/>
                    </a:lnTo>
                    <a:lnTo>
                      <a:pt x="1184" y="940"/>
                    </a:lnTo>
                    <a:lnTo>
                      <a:pt x="1180" y="950"/>
                    </a:lnTo>
                    <a:lnTo>
                      <a:pt x="1180" y="956"/>
                    </a:lnTo>
                    <a:lnTo>
                      <a:pt x="1182" y="962"/>
                    </a:lnTo>
                    <a:lnTo>
                      <a:pt x="1190" y="974"/>
                    </a:lnTo>
                    <a:lnTo>
                      <a:pt x="1192" y="982"/>
                    </a:lnTo>
                    <a:lnTo>
                      <a:pt x="1194" y="992"/>
                    </a:lnTo>
                    <a:lnTo>
                      <a:pt x="1194" y="996"/>
                    </a:lnTo>
                    <a:lnTo>
                      <a:pt x="1196" y="1000"/>
                    </a:lnTo>
                    <a:lnTo>
                      <a:pt x="1200" y="1002"/>
                    </a:lnTo>
                    <a:lnTo>
                      <a:pt x="1204" y="1002"/>
                    </a:lnTo>
                    <a:lnTo>
                      <a:pt x="1218" y="1000"/>
                    </a:lnTo>
                    <a:lnTo>
                      <a:pt x="1234" y="996"/>
                    </a:lnTo>
                    <a:lnTo>
                      <a:pt x="1254" y="992"/>
                    </a:lnTo>
                    <a:lnTo>
                      <a:pt x="1276" y="992"/>
                    </a:lnTo>
                    <a:lnTo>
                      <a:pt x="1288" y="992"/>
                    </a:lnTo>
                    <a:lnTo>
                      <a:pt x="1298" y="994"/>
                    </a:lnTo>
                    <a:lnTo>
                      <a:pt x="1310" y="998"/>
                    </a:lnTo>
                    <a:lnTo>
                      <a:pt x="1322" y="1004"/>
                    </a:lnTo>
                    <a:lnTo>
                      <a:pt x="1340" y="1016"/>
                    </a:lnTo>
                    <a:lnTo>
                      <a:pt x="1352" y="1028"/>
                    </a:lnTo>
                    <a:lnTo>
                      <a:pt x="1358" y="1036"/>
                    </a:lnTo>
                    <a:lnTo>
                      <a:pt x="1360" y="1044"/>
                    </a:lnTo>
                    <a:lnTo>
                      <a:pt x="1360" y="1050"/>
                    </a:lnTo>
                    <a:lnTo>
                      <a:pt x="1356" y="1054"/>
                    </a:lnTo>
                    <a:lnTo>
                      <a:pt x="1350" y="1066"/>
                    </a:lnTo>
                    <a:lnTo>
                      <a:pt x="1342" y="1078"/>
                    </a:lnTo>
                    <a:lnTo>
                      <a:pt x="1334" y="1092"/>
                    </a:lnTo>
                    <a:lnTo>
                      <a:pt x="1332" y="1096"/>
                    </a:lnTo>
                    <a:lnTo>
                      <a:pt x="1330" y="1098"/>
                    </a:lnTo>
                    <a:lnTo>
                      <a:pt x="1330" y="1092"/>
                    </a:lnTo>
                    <a:lnTo>
                      <a:pt x="1332" y="1082"/>
                    </a:lnTo>
                    <a:lnTo>
                      <a:pt x="1334" y="1066"/>
                    </a:lnTo>
                    <a:lnTo>
                      <a:pt x="1334" y="1052"/>
                    </a:lnTo>
                    <a:lnTo>
                      <a:pt x="1330" y="1038"/>
                    </a:lnTo>
                    <a:lnTo>
                      <a:pt x="1322" y="1026"/>
                    </a:lnTo>
                    <a:lnTo>
                      <a:pt x="1318" y="1020"/>
                    </a:lnTo>
                    <a:lnTo>
                      <a:pt x="1312" y="1016"/>
                    </a:lnTo>
                    <a:lnTo>
                      <a:pt x="1304" y="1014"/>
                    </a:lnTo>
                    <a:lnTo>
                      <a:pt x="1298" y="1012"/>
                    </a:lnTo>
                    <a:lnTo>
                      <a:pt x="1288" y="1010"/>
                    </a:lnTo>
                    <a:lnTo>
                      <a:pt x="1278" y="1010"/>
                    </a:lnTo>
                    <a:lnTo>
                      <a:pt x="1266" y="1012"/>
                    </a:lnTo>
                    <a:lnTo>
                      <a:pt x="1254" y="1016"/>
                    </a:lnTo>
                    <a:lnTo>
                      <a:pt x="1242" y="1020"/>
                    </a:lnTo>
                    <a:lnTo>
                      <a:pt x="1234" y="1026"/>
                    </a:lnTo>
                    <a:lnTo>
                      <a:pt x="1228" y="1032"/>
                    </a:lnTo>
                    <a:lnTo>
                      <a:pt x="1224" y="1036"/>
                    </a:lnTo>
                    <a:lnTo>
                      <a:pt x="1222" y="1044"/>
                    </a:lnTo>
                    <a:lnTo>
                      <a:pt x="1222" y="1050"/>
                    </a:lnTo>
                    <a:lnTo>
                      <a:pt x="1226" y="1062"/>
                    </a:lnTo>
                    <a:lnTo>
                      <a:pt x="1230" y="1076"/>
                    </a:lnTo>
                    <a:lnTo>
                      <a:pt x="1234" y="1088"/>
                    </a:lnTo>
                    <a:lnTo>
                      <a:pt x="1234" y="1092"/>
                    </a:lnTo>
                    <a:lnTo>
                      <a:pt x="1232" y="1098"/>
                    </a:lnTo>
                    <a:lnTo>
                      <a:pt x="1228" y="1102"/>
                    </a:lnTo>
                    <a:lnTo>
                      <a:pt x="1222" y="1106"/>
                    </a:lnTo>
                    <a:lnTo>
                      <a:pt x="1210" y="1112"/>
                    </a:lnTo>
                    <a:lnTo>
                      <a:pt x="1202" y="1120"/>
                    </a:lnTo>
                    <a:lnTo>
                      <a:pt x="1198" y="1128"/>
                    </a:lnTo>
                    <a:lnTo>
                      <a:pt x="1196" y="1136"/>
                    </a:lnTo>
                    <a:lnTo>
                      <a:pt x="1194" y="1144"/>
                    </a:lnTo>
                    <a:lnTo>
                      <a:pt x="1188" y="1152"/>
                    </a:lnTo>
                    <a:lnTo>
                      <a:pt x="1180" y="1160"/>
                    </a:lnTo>
                    <a:lnTo>
                      <a:pt x="1166" y="1168"/>
                    </a:lnTo>
                    <a:lnTo>
                      <a:pt x="1152" y="1176"/>
                    </a:lnTo>
                    <a:lnTo>
                      <a:pt x="1144" y="1184"/>
                    </a:lnTo>
                    <a:lnTo>
                      <a:pt x="1136" y="1196"/>
                    </a:lnTo>
                    <a:lnTo>
                      <a:pt x="1130" y="1200"/>
                    </a:lnTo>
                    <a:lnTo>
                      <a:pt x="1118" y="1202"/>
                    </a:lnTo>
                    <a:lnTo>
                      <a:pt x="1100" y="1200"/>
                    </a:lnTo>
                    <a:lnTo>
                      <a:pt x="1070" y="1196"/>
                    </a:lnTo>
                    <a:lnTo>
                      <a:pt x="1044" y="1190"/>
                    </a:lnTo>
                    <a:lnTo>
                      <a:pt x="1036" y="1186"/>
                    </a:lnTo>
                    <a:lnTo>
                      <a:pt x="1040" y="1184"/>
                    </a:lnTo>
                    <a:lnTo>
                      <a:pt x="1052" y="1180"/>
                    </a:lnTo>
                    <a:lnTo>
                      <a:pt x="1072" y="1176"/>
                    </a:lnTo>
                    <a:lnTo>
                      <a:pt x="1094" y="1168"/>
                    </a:lnTo>
                    <a:lnTo>
                      <a:pt x="1104" y="1162"/>
                    </a:lnTo>
                    <a:lnTo>
                      <a:pt x="1114" y="1156"/>
                    </a:lnTo>
                    <a:lnTo>
                      <a:pt x="1122" y="1148"/>
                    </a:lnTo>
                    <a:lnTo>
                      <a:pt x="1128" y="1138"/>
                    </a:lnTo>
                    <a:lnTo>
                      <a:pt x="1138" y="1122"/>
                    </a:lnTo>
                    <a:lnTo>
                      <a:pt x="1146" y="1112"/>
                    </a:lnTo>
                    <a:lnTo>
                      <a:pt x="1154" y="1106"/>
                    </a:lnTo>
                    <a:lnTo>
                      <a:pt x="1160" y="1104"/>
                    </a:lnTo>
                    <a:lnTo>
                      <a:pt x="1166" y="1100"/>
                    </a:lnTo>
                    <a:lnTo>
                      <a:pt x="1170" y="1096"/>
                    </a:lnTo>
                    <a:lnTo>
                      <a:pt x="1174" y="1088"/>
                    </a:lnTo>
                    <a:lnTo>
                      <a:pt x="1176" y="1072"/>
                    </a:lnTo>
                    <a:lnTo>
                      <a:pt x="1176" y="1058"/>
                    </a:lnTo>
                    <a:lnTo>
                      <a:pt x="1174" y="1044"/>
                    </a:lnTo>
                    <a:lnTo>
                      <a:pt x="1166" y="1034"/>
                    </a:lnTo>
                    <a:lnTo>
                      <a:pt x="1160" y="1026"/>
                    </a:lnTo>
                    <a:lnTo>
                      <a:pt x="1152" y="1016"/>
                    </a:lnTo>
                    <a:lnTo>
                      <a:pt x="1146" y="1004"/>
                    </a:lnTo>
                    <a:lnTo>
                      <a:pt x="1142" y="988"/>
                    </a:lnTo>
                    <a:lnTo>
                      <a:pt x="1142" y="968"/>
                    </a:lnTo>
                    <a:lnTo>
                      <a:pt x="1150" y="928"/>
                    </a:lnTo>
                    <a:lnTo>
                      <a:pt x="1152" y="910"/>
                    </a:lnTo>
                    <a:lnTo>
                      <a:pt x="1154" y="896"/>
                    </a:lnTo>
                    <a:lnTo>
                      <a:pt x="1152" y="882"/>
                    </a:lnTo>
                    <a:lnTo>
                      <a:pt x="1148" y="868"/>
                    </a:lnTo>
                    <a:lnTo>
                      <a:pt x="1140" y="856"/>
                    </a:lnTo>
                    <a:lnTo>
                      <a:pt x="1126" y="844"/>
                    </a:lnTo>
                    <a:lnTo>
                      <a:pt x="1116" y="832"/>
                    </a:lnTo>
                    <a:lnTo>
                      <a:pt x="1114" y="828"/>
                    </a:lnTo>
                    <a:lnTo>
                      <a:pt x="1112" y="824"/>
                    </a:lnTo>
                    <a:lnTo>
                      <a:pt x="1114" y="822"/>
                    </a:lnTo>
                    <a:lnTo>
                      <a:pt x="1118" y="818"/>
                    </a:lnTo>
                    <a:lnTo>
                      <a:pt x="1126" y="812"/>
                    </a:lnTo>
                    <a:lnTo>
                      <a:pt x="1136" y="804"/>
                    </a:lnTo>
                    <a:lnTo>
                      <a:pt x="1146" y="796"/>
                    </a:lnTo>
                    <a:lnTo>
                      <a:pt x="1150" y="790"/>
                    </a:lnTo>
                    <a:lnTo>
                      <a:pt x="1154" y="782"/>
                    </a:lnTo>
                    <a:lnTo>
                      <a:pt x="1156" y="774"/>
                    </a:lnTo>
                    <a:lnTo>
                      <a:pt x="1156" y="764"/>
                    </a:lnTo>
                    <a:lnTo>
                      <a:pt x="1156" y="754"/>
                    </a:lnTo>
                    <a:lnTo>
                      <a:pt x="1152" y="744"/>
                    </a:lnTo>
                    <a:lnTo>
                      <a:pt x="1148" y="738"/>
                    </a:lnTo>
                    <a:lnTo>
                      <a:pt x="1142" y="732"/>
                    </a:lnTo>
                    <a:lnTo>
                      <a:pt x="1134" y="728"/>
                    </a:lnTo>
                    <a:lnTo>
                      <a:pt x="1126" y="724"/>
                    </a:lnTo>
                    <a:lnTo>
                      <a:pt x="1106" y="722"/>
                    </a:lnTo>
                    <a:lnTo>
                      <a:pt x="1086" y="722"/>
                    </a:lnTo>
                    <a:lnTo>
                      <a:pt x="1064" y="724"/>
                    </a:lnTo>
                    <a:lnTo>
                      <a:pt x="1044" y="724"/>
                    </a:lnTo>
                    <a:lnTo>
                      <a:pt x="1028" y="722"/>
                    </a:lnTo>
                    <a:lnTo>
                      <a:pt x="1020" y="722"/>
                    </a:lnTo>
                    <a:lnTo>
                      <a:pt x="1012" y="722"/>
                    </a:lnTo>
                    <a:lnTo>
                      <a:pt x="1006" y="726"/>
                    </a:lnTo>
                    <a:lnTo>
                      <a:pt x="1002" y="732"/>
                    </a:lnTo>
                    <a:lnTo>
                      <a:pt x="994" y="748"/>
                    </a:lnTo>
                    <a:lnTo>
                      <a:pt x="988" y="766"/>
                    </a:lnTo>
                    <a:lnTo>
                      <a:pt x="980" y="788"/>
                    </a:lnTo>
                    <a:lnTo>
                      <a:pt x="970" y="808"/>
                    </a:lnTo>
                    <a:lnTo>
                      <a:pt x="964" y="816"/>
                    </a:lnTo>
                    <a:lnTo>
                      <a:pt x="958" y="824"/>
                    </a:lnTo>
                    <a:lnTo>
                      <a:pt x="948" y="832"/>
                    </a:lnTo>
                    <a:lnTo>
                      <a:pt x="938" y="838"/>
                    </a:lnTo>
                    <a:lnTo>
                      <a:pt x="916" y="848"/>
                    </a:lnTo>
                    <a:lnTo>
                      <a:pt x="908" y="854"/>
                    </a:lnTo>
                    <a:lnTo>
                      <a:pt x="906" y="858"/>
                    </a:lnTo>
                    <a:lnTo>
                      <a:pt x="904" y="862"/>
                    </a:lnTo>
                    <a:lnTo>
                      <a:pt x="906" y="866"/>
                    </a:lnTo>
                    <a:lnTo>
                      <a:pt x="912" y="874"/>
                    </a:lnTo>
                    <a:lnTo>
                      <a:pt x="920" y="884"/>
                    </a:lnTo>
                    <a:lnTo>
                      <a:pt x="922" y="888"/>
                    </a:lnTo>
                    <a:lnTo>
                      <a:pt x="926" y="894"/>
                    </a:lnTo>
                    <a:lnTo>
                      <a:pt x="926" y="902"/>
                    </a:lnTo>
                    <a:lnTo>
                      <a:pt x="926" y="910"/>
                    </a:lnTo>
                    <a:lnTo>
                      <a:pt x="922" y="918"/>
                    </a:lnTo>
                    <a:lnTo>
                      <a:pt x="916" y="928"/>
                    </a:lnTo>
                    <a:lnTo>
                      <a:pt x="912" y="938"/>
                    </a:lnTo>
                    <a:lnTo>
                      <a:pt x="910" y="948"/>
                    </a:lnTo>
                    <a:lnTo>
                      <a:pt x="912" y="954"/>
                    </a:lnTo>
                    <a:lnTo>
                      <a:pt x="916" y="962"/>
                    </a:lnTo>
                    <a:lnTo>
                      <a:pt x="924" y="968"/>
                    </a:lnTo>
                    <a:lnTo>
                      <a:pt x="932" y="974"/>
                    </a:lnTo>
                    <a:lnTo>
                      <a:pt x="952" y="986"/>
                    </a:lnTo>
                    <a:lnTo>
                      <a:pt x="974" y="996"/>
                    </a:lnTo>
                    <a:lnTo>
                      <a:pt x="982" y="1002"/>
                    </a:lnTo>
                    <a:lnTo>
                      <a:pt x="990" y="1008"/>
                    </a:lnTo>
                    <a:lnTo>
                      <a:pt x="996" y="1014"/>
                    </a:lnTo>
                    <a:lnTo>
                      <a:pt x="998" y="1022"/>
                    </a:lnTo>
                    <a:lnTo>
                      <a:pt x="998" y="1030"/>
                    </a:lnTo>
                    <a:lnTo>
                      <a:pt x="992" y="1040"/>
                    </a:lnTo>
                    <a:lnTo>
                      <a:pt x="982" y="1054"/>
                    </a:lnTo>
                    <a:lnTo>
                      <a:pt x="978" y="1058"/>
                    </a:lnTo>
                    <a:lnTo>
                      <a:pt x="974" y="1060"/>
                    </a:lnTo>
                    <a:lnTo>
                      <a:pt x="970" y="1060"/>
                    </a:lnTo>
                    <a:lnTo>
                      <a:pt x="966" y="1060"/>
                    </a:lnTo>
                    <a:lnTo>
                      <a:pt x="956" y="1052"/>
                    </a:lnTo>
                    <a:lnTo>
                      <a:pt x="942" y="1040"/>
                    </a:lnTo>
                    <a:lnTo>
                      <a:pt x="918" y="1024"/>
                    </a:lnTo>
                    <a:lnTo>
                      <a:pt x="884" y="1004"/>
                    </a:lnTo>
                    <a:lnTo>
                      <a:pt x="862" y="994"/>
                    </a:lnTo>
                    <a:lnTo>
                      <a:pt x="838" y="984"/>
                    </a:lnTo>
                    <a:lnTo>
                      <a:pt x="810" y="974"/>
                    </a:lnTo>
                    <a:lnTo>
                      <a:pt x="786" y="966"/>
                    </a:lnTo>
                    <a:lnTo>
                      <a:pt x="762" y="960"/>
                    </a:lnTo>
                    <a:lnTo>
                      <a:pt x="742" y="956"/>
                    </a:lnTo>
                    <a:lnTo>
                      <a:pt x="724" y="954"/>
                    </a:lnTo>
                    <a:lnTo>
                      <a:pt x="706" y="952"/>
                    </a:lnTo>
                    <a:lnTo>
                      <a:pt x="692" y="952"/>
                    </a:lnTo>
                    <a:lnTo>
                      <a:pt x="678" y="954"/>
                    </a:lnTo>
                    <a:lnTo>
                      <a:pt x="668" y="956"/>
                    </a:lnTo>
                    <a:lnTo>
                      <a:pt x="660" y="960"/>
                    </a:lnTo>
                    <a:lnTo>
                      <a:pt x="654" y="964"/>
                    </a:lnTo>
                    <a:lnTo>
                      <a:pt x="650" y="968"/>
                    </a:lnTo>
                    <a:lnTo>
                      <a:pt x="650" y="974"/>
                    </a:lnTo>
                    <a:lnTo>
                      <a:pt x="650" y="980"/>
                    </a:lnTo>
                    <a:lnTo>
                      <a:pt x="654" y="986"/>
                    </a:lnTo>
                    <a:lnTo>
                      <a:pt x="660" y="994"/>
                    </a:lnTo>
                    <a:lnTo>
                      <a:pt x="664" y="998"/>
                    </a:lnTo>
                    <a:lnTo>
                      <a:pt x="664" y="1004"/>
                    </a:lnTo>
                    <a:lnTo>
                      <a:pt x="664" y="1010"/>
                    </a:lnTo>
                    <a:lnTo>
                      <a:pt x="662" y="1016"/>
                    </a:lnTo>
                    <a:lnTo>
                      <a:pt x="654" y="1028"/>
                    </a:lnTo>
                    <a:lnTo>
                      <a:pt x="642" y="1038"/>
                    </a:lnTo>
                    <a:lnTo>
                      <a:pt x="628" y="1044"/>
                    </a:lnTo>
                    <a:lnTo>
                      <a:pt x="622" y="1046"/>
                    </a:lnTo>
                    <a:lnTo>
                      <a:pt x="618" y="1046"/>
                    </a:lnTo>
                    <a:lnTo>
                      <a:pt x="612" y="1046"/>
                    </a:lnTo>
                    <a:lnTo>
                      <a:pt x="608" y="1042"/>
                    </a:lnTo>
                    <a:lnTo>
                      <a:pt x="606" y="1038"/>
                    </a:lnTo>
                    <a:lnTo>
                      <a:pt x="606" y="1030"/>
                    </a:lnTo>
                    <a:lnTo>
                      <a:pt x="604" y="1018"/>
                    </a:lnTo>
                    <a:lnTo>
                      <a:pt x="602" y="1010"/>
                    </a:lnTo>
                    <a:lnTo>
                      <a:pt x="596" y="1006"/>
                    </a:lnTo>
                    <a:lnTo>
                      <a:pt x="590" y="1006"/>
                    </a:lnTo>
                    <a:lnTo>
                      <a:pt x="582" y="1010"/>
                    </a:lnTo>
                    <a:lnTo>
                      <a:pt x="570" y="1016"/>
                    </a:lnTo>
                    <a:lnTo>
                      <a:pt x="542" y="1034"/>
                    </a:lnTo>
                    <a:lnTo>
                      <a:pt x="526" y="1042"/>
                    </a:lnTo>
                    <a:lnTo>
                      <a:pt x="520" y="1042"/>
                    </a:lnTo>
                    <a:lnTo>
                      <a:pt x="516" y="1042"/>
                    </a:lnTo>
                    <a:lnTo>
                      <a:pt x="506" y="1040"/>
                    </a:lnTo>
                    <a:lnTo>
                      <a:pt x="498" y="1036"/>
                    </a:lnTo>
                    <a:lnTo>
                      <a:pt x="488" y="1032"/>
                    </a:lnTo>
                    <a:lnTo>
                      <a:pt x="478" y="1032"/>
                    </a:lnTo>
                    <a:lnTo>
                      <a:pt x="470" y="1032"/>
                    </a:lnTo>
                    <a:lnTo>
                      <a:pt x="462" y="1034"/>
                    </a:lnTo>
                    <a:lnTo>
                      <a:pt x="440" y="1046"/>
                    </a:lnTo>
                    <a:lnTo>
                      <a:pt x="420" y="1056"/>
                    </a:lnTo>
                    <a:lnTo>
                      <a:pt x="412" y="1060"/>
                    </a:lnTo>
                    <a:lnTo>
                      <a:pt x="406" y="1060"/>
                    </a:lnTo>
                    <a:lnTo>
                      <a:pt x="400" y="1060"/>
                    </a:lnTo>
                    <a:lnTo>
                      <a:pt x="396" y="1058"/>
                    </a:lnTo>
                    <a:lnTo>
                      <a:pt x="392" y="1054"/>
                    </a:lnTo>
                    <a:lnTo>
                      <a:pt x="390" y="1052"/>
                    </a:lnTo>
                    <a:lnTo>
                      <a:pt x="388" y="1042"/>
                    </a:lnTo>
                    <a:lnTo>
                      <a:pt x="392" y="1030"/>
                    </a:lnTo>
                    <a:lnTo>
                      <a:pt x="396" y="1020"/>
                    </a:lnTo>
                    <a:lnTo>
                      <a:pt x="406" y="1012"/>
                    </a:lnTo>
                    <a:lnTo>
                      <a:pt x="410" y="1006"/>
                    </a:lnTo>
                    <a:lnTo>
                      <a:pt x="412" y="1004"/>
                    </a:lnTo>
                    <a:lnTo>
                      <a:pt x="410" y="1004"/>
                    </a:lnTo>
                    <a:lnTo>
                      <a:pt x="402" y="1004"/>
                    </a:lnTo>
                    <a:lnTo>
                      <a:pt x="388" y="1008"/>
                    </a:lnTo>
                    <a:lnTo>
                      <a:pt x="368" y="1014"/>
                    </a:lnTo>
                    <a:lnTo>
                      <a:pt x="342" y="1024"/>
                    </a:lnTo>
                    <a:lnTo>
                      <a:pt x="312" y="1038"/>
                    </a:lnTo>
                    <a:lnTo>
                      <a:pt x="276" y="1054"/>
                    </a:lnTo>
                    <a:lnTo>
                      <a:pt x="242" y="1070"/>
                    </a:lnTo>
                    <a:lnTo>
                      <a:pt x="216" y="1078"/>
                    </a:lnTo>
                    <a:lnTo>
                      <a:pt x="196" y="1084"/>
                    </a:lnTo>
                    <a:lnTo>
                      <a:pt x="180" y="1086"/>
                    </a:lnTo>
                    <a:lnTo>
                      <a:pt x="168" y="1088"/>
                    </a:lnTo>
                    <a:lnTo>
                      <a:pt x="158" y="1094"/>
                    </a:lnTo>
                    <a:lnTo>
                      <a:pt x="152" y="1106"/>
                    </a:lnTo>
                    <a:lnTo>
                      <a:pt x="144" y="1124"/>
                    </a:lnTo>
                    <a:lnTo>
                      <a:pt x="138" y="1142"/>
                    </a:lnTo>
                    <a:lnTo>
                      <a:pt x="132" y="1152"/>
                    </a:lnTo>
                    <a:lnTo>
                      <a:pt x="126" y="1158"/>
                    </a:lnTo>
                    <a:lnTo>
                      <a:pt x="120" y="1158"/>
                    </a:lnTo>
                    <a:lnTo>
                      <a:pt x="106" y="1156"/>
                    </a:lnTo>
                    <a:lnTo>
                      <a:pt x="98" y="1156"/>
                    </a:lnTo>
                    <a:lnTo>
                      <a:pt x="86" y="1160"/>
                    </a:lnTo>
                    <a:lnTo>
                      <a:pt x="78" y="1164"/>
                    </a:lnTo>
                    <a:lnTo>
                      <a:pt x="54" y="1230"/>
                    </a:lnTo>
                    <a:lnTo>
                      <a:pt x="44" y="1256"/>
                    </a:lnTo>
                    <a:lnTo>
                      <a:pt x="36" y="1274"/>
                    </a:lnTo>
                    <a:lnTo>
                      <a:pt x="28" y="1292"/>
                    </a:lnTo>
                    <a:lnTo>
                      <a:pt x="20" y="1312"/>
                    </a:lnTo>
                    <a:lnTo>
                      <a:pt x="8" y="1346"/>
                    </a:lnTo>
                    <a:lnTo>
                      <a:pt x="0" y="1382"/>
                    </a:lnTo>
                    <a:lnTo>
                      <a:pt x="0" y="1562"/>
                    </a:lnTo>
                    <a:lnTo>
                      <a:pt x="60" y="1706"/>
                    </a:lnTo>
                    <a:lnTo>
                      <a:pt x="180" y="1898"/>
                    </a:lnTo>
                    <a:lnTo>
                      <a:pt x="236" y="2142"/>
                    </a:lnTo>
                    <a:lnTo>
                      <a:pt x="172" y="2176"/>
                    </a:lnTo>
                    <a:lnTo>
                      <a:pt x="166" y="2200"/>
                    </a:lnTo>
                    <a:lnTo>
                      <a:pt x="124" y="2214"/>
                    </a:lnTo>
                    <a:lnTo>
                      <a:pt x="104" y="2206"/>
                    </a:lnTo>
                    <a:lnTo>
                      <a:pt x="92" y="2204"/>
                    </a:lnTo>
                    <a:lnTo>
                      <a:pt x="86" y="2204"/>
                    </a:lnTo>
                    <a:lnTo>
                      <a:pt x="84" y="2208"/>
                    </a:lnTo>
                    <a:lnTo>
                      <a:pt x="70" y="2258"/>
                    </a:lnTo>
                    <a:lnTo>
                      <a:pt x="60" y="2304"/>
                    </a:lnTo>
                    <a:lnTo>
                      <a:pt x="76" y="2364"/>
                    </a:lnTo>
                    <a:lnTo>
                      <a:pt x="114" y="2388"/>
                    </a:lnTo>
                    <a:lnTo>
                      <a:pt x="142" y="2422"/>
                    </a:lnTo>
                    <a:lnTo>
                      <a:pt x="148" y="2454"/>
                    </a:lnTo>
                    <a:lnTo>
                      <a:pt x="130" y="2486"/>
                    </a:lnTo>
                    <a:lnTo>
                      <a:pt x="98" y="2508"/>
                    </a:lnTo>
                    <a:lnTo>
                      <a:pt x="70" y="2552"/>
                    </a:lnTo>
                    <a:lnTo>
                      <a:pt x="80" y="2588"/>
                    </a:lnTo>
                    <a:lnTo>
                      <a:pt x="132" y="2652"/>
                    </a:lnTo>
                    <a:lnTo>
                      <a:pt x="156" y="2704"/>
                    </a:lnTo>
                    <a:lnTo>
                      <a:pt x="182" y="2744"/>
                    </a:lnTo>
                    <a:lnTo>
                      <a:pt x="180" y="2776"/>
                    </a:lnTo>
                    <a:lnTo>
                      <a:pt x="182" y="2792"/>
                    </a:lnTo>
                    <a:lnTo>
                      <a:pt x="186" y="2844"/>
                    </a:lnTo>
                    <a:lnTo>
                      <a:pt x="190" y="2864"/>
                    </a:lnTo>
                    <a:lnTo>
                      <a:pt x="186" y="2882"/>
                    </a:lnTo>
                    <a:lnTo>
                      <a:pt x="188" y="2896"/>
                    </a:lnTo>
                    <a:lnTo>
                      <a:pt x="182" y="2898"/>
                    </a:lnTo>
                    <a:lnTo>
                      <a:pt x="178" y="2898"/>
                    </a:lnTo>
                    <a:lnTo>
                      <a:pt x="176" y="2896"/>
                    </a:lnTo>
                    <a:lnTo>
                      <a:pt x="176" y="2894"/>
                    </a:lnTo>
                    <a:lnTo>
                      <a:pt x="174" y="2888"/>
                    </a:lnTo>
                    <a:lnTo>
                      <a:pt x="172" y="2886"/>
                    </a:lnTo>
                    <a:lnTo>
                      <a:pt x="170" y="2886"/>
                    </a:lnTo>
                    <a:lnTo>
                      <a:pt x="172" y="2886"/>
                    </a:lnTo>
                    <a:lnTo>
                      <a:pt x="174" y="2888"/>
                    </a:lnTo>
                    <a:lnTo>
                      <a:pt x="176" y="2894"/>
                    </a:lnTo>
                    <a:lnTo>
                      <a:pt x="176" y="2896"/>
                    </a:lnTo>
                    <a:lnTo>
                      <a:pt x="178" y="2898"/>
                    </a:lnTo>
                    <a:lnTo>
                      <a:pt x="182" y="2898"/>
                    </a:lnTo>
                    <a:lnTo>
                      <a:pt x="188" y="2896"/>
                    </a:lnTo>
                    <a:lnTo>
                      <a:pt x="174" y="2986"/>
                    </a:lnTo>
                    <a:lnTo>
                      <a:pt x="174" y="3028"/>
                    </a:lnTo>
                    <a:lnTo>
                      <a:pt x="168" y="3124"/>
                    </a:lnTo>
                    <a:lnTo>
                      <a:pt x="174" y="3168"/>
                    </a:lnTo>
                    <a:lnTo>
                      <a:pt x="210" y="3264"/>
                    </a:lnTo>
                    <a:lnTo>
                      <a:pt x="248" y="3338"/>
                    </a:lnTo>
                    <a:lnTo>
                      <a:pt x="248" y="3362"/>
                    </a:lnTo>
                    <a:lnTo>
                      <a:pt x="254" y="3368"/>
                    </a:lnTo>
                    <a:lnTo>
                      <a:pt x="258" y="3372"/>
                    </a:lnTo>
                    <a:lnTo>
                      <a:pt x="262" y="3384"/>
                    </a:lnTo>
                    <a:lnTo>
                      <a:pt x="264" y="3394"/>
                    </a:lnTo>
                    <a:lnTo>
                      <a:pt x="268" y="3400"/>
                    </a:lnTo>
                    <a:lnTo>
                      <a:pt x="272" y="3406"/>
                    </a:lnTo>
                    <a:lnTo>
                      <a:pt x="276" y="3412"/>
                    </a:lnTo>
                    <a:lnTo>
                      <a:pt x="278" y="3416"/>
                    </a:lnTo>
                    <a:lnTo>
                      <a:pt x="278" y="3424"/>
                    </a:lnTo>
                    <a:lnTo>
                      <a:pt x="280" y="3432"/>
                    </a:lnTo>
                    <a:lnTo>
                      <a:pt x="282" y="3438"/>
                    </a:lnTo>
                    <a:lnTo>
                      <a:pt x="286" y="3444"/>
                    </a:lnTo>
                    <a:lnTo>
                      <a:pt x="294" y="3452"/>
                    </a:lnTo>
                    <a:lnTo>
                      <a:pt x="302" y="3456"/>
                    </a:lnTo>
                    <a:lnTo>
                      <a:pt x="320" y="3464"/>
                    </a:lnTo>
                    <a:lnTo>
                      <a:pt x="334" y="3470"/>
                    </a:lnTo>
                    <a:lnTo>
                      <a:pt x="338" y="3474"/>
                    </a:lnTo>
                    <a:lnTo>
                      <a:pt x="338" y="3478"/>
                    </a:lnTo>
                    <a:lnTo>
                      <a:pt x="338" y="3480"/>
                    </a:lnTo>
                    <a:lnTo>
                      <a:pt x="340" y="3484"/>
                    </a:lnTo>
                    <a:lnTo>
                      <a:pt x="350" y="3490"/>
                    </a:lnTo>
                    <a:lnTo>
                      <a:pt x="360" y="3496"/>
                    </a:lnTo>
                    <a:lnTo>
                      <a:pt x="366" y="3500"/>
                    </a:lnTo>
                    <a:lnTo>
                      <a:pt x="374" y="3508"/>
                    </a:lnTo>
                    <a:lnTo>
                      <a:pt x="382" y="3512"/>
                    </a:lnTo>
                    <a:lnTo>
                      <a:pt x="388" y="3514"/>
                    </a:lnTo>
                    <a:lnTo>
                      <a:pt x="394" y="3514"/>
                    </a:lnTo>
                    <a:lnTo>
                      <a:pt x="404" y="3516"/>
                    </a:lnTo>
                    <a:lnTo>
                      <a:pt x="410" y="3516"/>
                    </a:lnTo>
                    <a:lnTo>
                      <a:pt x="414" y="3522"/>
                    </a:lnTo>
                    <a:lnTo>
                      <a:pt x="420" y="3524"/>
                    </a:lnTo>
                    <a:lnTo>
                      <a:pt x="424" y="3526"/>
                    </a:lnTo>
                    <a:lnTo>
                      <a:pt x="428" y="3524"/>
                    </a:lnTo>
                    <a:lnTo>
                      <a:pt x="432" y="3522"/>
                    </a:lnTo>
                    <a:lnTo>
                      <a:pt x="442" y="3514"/>
                    </a:lnTo>
                    <a:lnTo>
                      <a:pt x="446" y="3512"/>
                    </a:lnTo>
                    <a:lnTo>
                      <a:pt x="450" y="3512"/>
                    </a:lnTo>
                    <a:lnTo>
                      <a:pt x="456" y="3510"/>
                    </a:lnTo>
                    <a:lnTo>
                      <a:pt x="458" y="3508"/>
                    </a:lnTo>
                    <a:lnTo>
                      <a:pt x="462" y="3504"/>
                    </a:lnTo>
                    <a:lnTo>
                      <a:pt x="464" y="3502"/>
                    </a:lnTo>
                    <a:lnTo>
                      <a:pt x="468" y="3502"/>
                    </a:lnTo>
                    <a:lnTo>
                      <a:pt x="472" y="3500"/>
                    </a:lnTo>
                    <a:lnTo>
                      <a:pt x="476" y="3498"/>
                    </a:lnTo>
                    <a:lnTo>
                      <a:pt x="480" y="3494"/>
                    </a:lnTo>
                    <a:lnTo>
                      <a:pt x="482" y="3492"/>
                    </a:lnTo>
                    <a:lnTo>
                      <a:pt x="488" y="3490"/>
                    </a:lnTo>
                    <a:lnTo>
                      <a:pt x="492" y="3490"/>
                    </a:lnTo>
                    <a:lnTo>
                      <a:pt x="500" y="3492"/>
                    </a:lnTo>
                    <a:lnTo>
                      <a:pt x="508" y="3496"/>
                    </a:lnTo>
                    <a:lnTo>
                      <a:pt x="514" y="3502"/>
                    </a:lnTo>
                    <a:lnTo>
                      <a:pt x="518" y="3512"/>
                    </a:lnTo>
                    <a:lnTo>
                      <a:pt x="520" y="3522"/>
                    </a:lnTo>
                    <a:lnTo>
                      <a:pt x="524" y="3542"/>
                    </a:lnTo>
                    <a:lnTo>
                      <a:pt x="526" y="3558"/>
                    </a:lnTo>
                    <a:lnTo>
                      <a:pt x="528" y="3562"/>
                    </a:lnTo>
                    <a:lnTo>
                      <a:pt x="532" y="3564"/>
                    </a:lnTo>
                    <a:lnTo>
                      <a:pt x="542" y="3566"/>
                    </a:lnTo>
                    <a:lnTo>
                      <a:pt x="550" y="3568"/>
                    </a:lnTo>
                    <a:lnTo>
                      <a:pt x="554" y="3570"/>
                    </a:lnTo>
                    <a:lnTo>
                      <a:pt x="558" y="3572"/>
                    </a:lnTo>
                    <a:lnTo>
                      <a:pt x="562" y="3576"/>
                    </a:lnTo>
                    <a:lnTo>
                      <a:pt x="566" y="3574"/>
                    </a:lnTo>
                    <a:lnTo>
                      <a:pt x="570" y="3574"/>
                    </a:lnTo>
                    <a:lnTo>
                      <a:pt x="580" y="3574"/>
                    </a:lnTo>
                    <a:lnTo>
                      <a:pt x="586" y="3574"/>
                    </a:lnTo>
                    <a:lnTo>
                      <a:pt x="590" y="3576"/>
                    </a:lnTo>
                    <a:lnTo>
                      <a:pt x="596" y="3580"/>
                    </a:lnTo>
                    <a:lnTo>
                      <a:pt x="600" y="3584"/>
                    </a:lnTo>
                    <a:lnTo>
                      <a:pt x="604" y="3584"/>
                    </a:lnTo>
                    <a:lnTo>
                      <a:pt x="608" y="3582"/>
                    </a:lnTo>
                    <a:lnTo>
                      <a:pt x="614" y="3580"/>
                    </a:lnTo>
                    <a:lnTo>
                      <a:pt x="620" y="3582"/>
                    </a:lnTo>
                    <a:lnTo>
                      <a:pt x="636" y="3584"/>
                    </a:lnTo>
                    <a:lnTo>
                      <a:pt x="650" y="3588"/>
                    </a:lnTo>
                    <a:lnTo>
                      <a:pt x="652" y="3588"/>
                    </a:lnTo>
                    <a:lnTo>
                      <a:pt x="654" y="3586"/>
                    </a:lnTo>
                    <a:lnTo>
                      <a:pt x="654" y="3582"/>
                    </a:lnTo>
                    <a:lnTo>
                      <a:pt x="656" y="3580"/>
                    </a:lnTo>
                    <a:lnTo>
                      <a:pt x="658" y="3582"/>
                    </a:lnTo>
                    <a:lnTo>
                      <a:pt x="662" y="3586"/>
                    </a:lnTo>
                    <a:lnTo>
                      <a:pt x="664" y="3590"/>
                    </a:lnTo>
                    <a:lnTo>
                      <a:pt x="670" y="3592"/>
                    </a:lnTo>
                    <a:lnTo>
                      <a:pt x="678" y="3594"/>
                    </a:lnTo>
                    <a:lnTo>
                      <a:pt x="688" y="3598"/>
                    </a:lnTo>
                    <a:lnTo>
                      <a:pt x="692" y="3600"/>
                    </a:lnTo>
                    <a:lnTo>
                      <a:pt x="696" y="3600"/>
                    </a:lnTo>
                    <a:lnTo>
                      <a:pt x="696" y="3596"/>
                    </a:lnTo>
                    <a:lnTo>
                      <a:pt x="698" y="3592"/>
                    </a:lnTo>
                    <a:lnTo>
                      <a:pt x="700" y="3592"/>
                    </a:lnTo>
                    <a:lnTo>
                      <a:pt x="702" y="3592"/>
                    </a:lnTo>
                    <a:lnTo>
                      <a:pt x="706" y="3598"/>
                    </a:lnTo>
                    <a:lnTo>
                      <a:pt x="710" y="3600"/>
                    </a:lnTo>
                    <a:lnTo>
                      <a:pt x="712" y="3600"/>
                    </a:lnTo>
                    <a:lnTo>
                      <a:pt x="716" y="3598"/>
                    </a:lnTo>
                    <a:lnTo>
                      <a:pt x="724" y="3594"/>
                    </a:lnTo>
                    <a:lnTo>
                      <a:pt x="726" y="3592"/>
                    </a:lnTo>
                    <a:lnTo>
                      <a:pt x="730" y="3594"/>
                    </a:lnTo>
                    <a:lnTo>
                      <a:pt x="732" y="3594"/>
                    </a:lnTo>
                    <a:lnTo>
                      <a:pt x="734" y="3594"/>
                    </a:lnTo>
                    <a:lnTo>
                      <a:pt x="738" y="3590"/>
                    </a:lnTo>
                    <a:lnTo>
                      <a:pt x="740" y="3588"/>
                    </a:lnTo>
                    <a:lnTo>
                      <a:pt x="746" y="3588"/>
                    </a:lnTo>
                    <a:lnTo>
                      <a:pt x="752" y="3588"/>
                    </a:lnTo>
                    <a:lnTo>
                      <a:pt x="762" y="3590"/>
                    </a:lnTo>
                    <a:lnTo>
                      <a:pt x="770" y="3594"/>
                    </a:lnTo>
                    <a:lnTo>
                      <a:pt x="774" y="3594"/>
                    </a:lnTo>
                    <a:lnTo>
                      <a:pt x="776" y="3592"/>
                    </a:lnTo>
                    <a:lnTo>
                      <a:pt x="778" y="3590"/>
                    </a:lnTo>
                    <a:lnTo>
                      <a:pt x="780" y="3588"/>
                    </a:lnTo>
                    <a:lnTo>
                      <a:pt x="782" y="3586"/>
                    </a:lnTo>
                    <a:lnTo>
                      <a:pt x="786" y="3586"/>
                    </a:lnTo>
                    <a:lnTo>
                      <a:pt x="794" y="3586"/>
                    </a:lnTo>
                    <a:lnTo>
                      <a:pt x="810" y="3590"/>
                    </a:lnTo>
                    <a:lnTo>
                      <a:pt x="820" y="3594"/>
                    </a:lnTo>
                    <a:lnTo>
                      <a:pt x="824" y="3594"/>
                    </a:lnTo>
                    <a:lnTo>
                      <a:pt x="828" y="3590"/>
                    </a:lnTo>
                    <a:lnTo>
                      <a:pt x="832" y="3588"/>
                    </a:lnTo>
                    <a:lnTo>
                      <a:pt x="840" y="3586"/>
                    </a:lnTo>
                    <a:lnTo>
                      <a:pt x="866" y="3582"/>
                    </a:lnTo>
                    <a:lnTo>
                      <a:pt x="892" y="3582"/>
                    </a:lnTo>
                    <a:lnTo>
                      <a:pt x="900" y="3584"/>
                    </a:lnTo>
                    <a:lnTo>
                      <a:pt x="904" y="3586"/>
                    </a:lnTo>
                    <a:lnTo>
                      <a:pt x="904" y="3588"/>
                    </a:lnTo>
                    <a:lnTo>
                      <a:pt x="904" y="3598"/>
                    </a:lnTo>
                    <a:lnTo>
                      <a:pt x="904" y="3606"/>
                    </a:lnTo>
                    <a:lnTo>
                      <a:pt x="904" y="3608"/>
                    </a:lnTo>
                    <a:lnTo>
                      <a:pt x="906" y="3610"/>
                    </a:lnTo>
                    <a:lnTo>
                      <a:pt x="916" y="3612"/>
                    </a:lnTo>
                    <a:lnTo>
                      <a:pt x="920" y="3612"/>
                    </a:lnTo>
                    <a:lnTo>
                      <a:pt x="924" y="3614"/>
                    </a:lnTo>
                    <a:lnTo>
                      <a:pt x="926" y="3616"/>
                    </a:lnTo>
                    <a:lnTo>
                      <a:pt x="926" y="3620"/>
                    </a:lnTo>
                    <a:lnTo>
                      <a:pt x="926" y="3626"/>
                    </a:lnTo>
                    <a:lnTo>
                      <a:pt x="926" y="3630"/>
                    </a:lnTo>
                    <a:lnTo>
                      <a:pt x="928" y="3634"/>
                    </a:lnTo>
                    <a:lnTo>
                      <a:pt x="932" y="3638"/>
                    </a:lnTo>
                    <a:lnTo>
                      <a:pt x="932" y="3642"/>
                    </a:lnTo>
                    <a:lnTo>
                      <a:pt x="932" y="3646"/>
                    </a:lnTo>
                    <a:lnTo>
                      <a:pt x="934" y="3652"/>
                    </a:lnTo>
                    <a:lnTo>
                      <a:pt x="938" y="3654"/>
                    </a:lnTo>
                    <a:lnTo>
                      <a:pt x="936" y="3656"/>
                    </a:lnTo>
                    <a:lnTo>
                      <a:pt x="936" y="3658"/>
                    </a:lnTo>
                    <a:lnTo>
                      <a:pt x="940" y="3662"/>
                    </a:lnTo>
                    <a:lnTo>
                      <a:pt x="944" y="3664"/>
                    </a:lnTo>
                    <a:lnTo>
                      <a:pt x="946" y="3664"/>
                    </a:lnTo>
                    <a:lnTo>
                      <a:pt x="950" y="3664"/>
                    </a:lnTo>
                    <a:lnTo>
                      <a:pt x="952" y="3662"/>
                    </a:lnTo>
                    <a:lnTo>
                      <a:pt x="956" y="3664"/>
                    </a:lnTo>
                    <a:lnTo>
                      <a:pt x="958" y="3666"/>
                    </a:lnTo>
                    <a:lnTo>
                      <a:pt x="962" y="3670"/>
                    </a:lnTo>
                    <a:lnTo>
                      <a:pt x="966" y="3674"/>
                    </a:lnTo>
                    <a:lnTo>
                      <a:pt x="972" y="3676"/>
                    </a:lnTo>
                    <a:lnTo>
                      <a:pt x="976" y="3680"/>
                    </a:lnTo>
                    <a:lnTo>
                      <a:pt x="982" y="3690"/>
                    </a:lnTo>
                    <a:lnTo>
                      <a:pt x="986" y="3696"/>
                    </a:lnTo>
                    <a:lnTo>
                      <a:pt x="992" y="3702"/>
                    </a:lnTo>
                    <a:lnTo>
                      <a:pt x="1000" y="3708"/>
                    </a:lnTo>
                    <a:lnTo>
                      <a:pt x="1008" y="3712"/>
                    </a:lnTo>
                    <a:lnTo>
                      <a:pt x="1016" y="3716"/>
                    </a:lnTo>
                    <a:lnTo>
                      <a:pt x="1024" y="3716"/>
                    </a:lnTo>
                    <a:lnTo>
                      <a:pt x="1032" y="3716"/>
                    </a:lnTo>
                    <a:lnTo>
                      <a:pt x="1038" y="3712"/>
                    </a:lnTo>
                    <a:lnTo>
                      <a:pt x="1044" y="3708"/>
                    </a:lnTo>
                    <a:lnTo>
                      <a:pt x="1048" y="3708"/>
                    </a:lnTo>
                    <a:lnTo>
                      <a:pt x="1052" y="3710"/>
                    </a:lnTo>
                    <a:lnTo>
                      <a:pt x="1052" y="3714"/>
                    </a:lnTo>
                    <a:lnTo>
                      <a:pt x="1050" y="3720"/>
                    </a:lnTo>
                    <a:lnTo>
                      <a:pt x="1046" y="3726"/>
                    </a:lnTo>
                    <a:lnTo>
                      <a:pt x="1040" y="3730"/>
                    </a:lnTo>
                    <a:lnTo>
                      <a:pt x="1028" y="3734"/>
                    </a:lnTo>
                    <a:lnTo>
                      <a:pt x="1016" y="3736"/>
                    </a:lnTo>
                    <a:lnTo>
                      <a:pt x="1006" y="3734"/>
                    </a:lnTo>
                    <a:lnTo>
                      <a:pt x="992" y="3732"/>
                    </a:lnTo>
                    <a:lnTo>
                      <a:pt x="992" y="3734"/>
                    </a:lnTo>
                    <a:lnTo>
                      <a:pt x="994" y="3740"/>
                    </a:lnTo>
                    <a:lnTo>
                      <a:pt x="1018" y="3770"/>
                    </a:lnTo>
                    <a:lnTo>
                      <a:pt x="1048" y="3804"/>
                    </a:lnTo>
                    <a:lnTo>
                      <a:pt x="1060" y="3814"/>
                    </a:lnTo>
                    <a:lnTo>
                      <a:pt x="1070" y="3820"/>
                    </a:lnTo>
                    <a:lnTo>
                      <a:pt x="1078" y="3822"/>
                    </a:lnTo>
                    <a:lnTo>
                      <a:pt x="1090" y="3818"/>
                    </a:lnTo>
                    <a:lnTo>
                      <a:pt x="1102" y="3810"/>
                    </a:lnTo>
                    <a:lnTo>
                      <a:pt x="1116" y="3798"/>
                    </a:lnTo>
                    <a:lnTo>
                      <a:pt x="1124" y="3790"/>
                    </a:lnTo>
                    <a:lnTo>
                      <a:pt x="1128" y="3782"/>
                    </a:lnTo>
                    <a:lnTo>
                      <a:pt x="1128" y="3772"/>
                    </a:lnTo>
                    <a:lnTo>
                      <a:pt x="1128" y="3764"/>
                    </a:lnTo>
                    <a:lnTo>
                      <a:pt x="1128" y="3756"/>
                    </a:lnTo>
                    <a:lnTo>
                      <a:pt x="1128" y="3750"/>
                    </a:lnTo>
                    <a:lnTo>
                      <a:pt x="1132" y="3744"/>
                    </a:lnTo>
                    <a:lnTo>
                      <a:pt x="1138" y="3742"/>
                    </a:lnTo>
                    <a:lnTo>
                      <a:pt x="1144" y="3740"/>
                    </a:lnTo>
                    <a:lnTo>
                      <a:pt x="1148" y="3740"/>
                    </a:lnTo>
                    <a:lnTo>
                      <a:pt x="1148" y="3742"/>
                    </a:lnTo>
                    <a:lnTo>
                      <a:pt x="1146" y="3746"/>
                    </a:lnTo>
                    <a:lnTo>
                      <a:pt x="1142" y="3754"/>
                    </a:lnTo>
                    <a:lnTo>
                      <a:pt x="1142" y="3760"/>
                    </a:lnTo>
                    <a:lnTo>
                      <a:pt x="1144" y="3764"/>
                    </a:lnTo>
                    <a:lnTo>
                      <a:pt x="1146" y="3770"/>
                    </a:lnTo>
                    <a:lnTo>
                      <a:pt x="1146" y="3774"/>
                    </a:lnTo>
                    <a:lnTo>
                      <a:pt x="1144" y="3778"/>
                    </a:lnTo>
                    <a:lnTo>
                      <a:pt x="1144" y="3782"/>
                    </a:lnTo>
                    <a:lnTo>
                      <a:pt x="1144" y="3788"/>
                    </a:lnTo>
                    <a:lnTo>
                      <a:pt x="1146" y="3794"/>
                    </a:lnTo>
                    <a:lnTo>
                      <a:pt x="1150" y="3804"/>
                    </a:lnTo>
                    <a:lnTo>
                      <a:pt x="1154" y="3814"/>
                    </a:lnTo>
                    <a:lnTo>
                      <a:pt x="1154" y="3822"/>
                    </a:lnTo>
                    <a:lnTo>
                      <a:pt x="1150" y="3838"/>
                    </a:lnTo>
                    <a:lnTo>
                      <a:pt x="1148" y="3848"/>
                    </a:lnTo>
                    <a:lnTo>
                      <a:pt x="1148" y="3864"/>
                    </a:lnTo>
                    <a:lnTo>
                      <a:pt x="1148" y="3884"/>
                    </a:lnTo>
                    <a:lnTo>
                      <a:pt x="1152" y="3912"/>
                    </a:lnTo>
                    <a:lnTo>
                      <a:pt x="1170" y="4010"/>
                    </a:lnTo>
                    <a:lnTo>
                      <a:pt x="1176" y="4042"/>
                    </a:lnTo>
                    <a:lnTo>
                      <a:pt x="1184" y="4060"/>
                    </a:lnTo>
                    <a:lnTo>
                      <a:pt x="1194" y="4084"/>
                    </a:lnTo>
                    <a:lnTo>
                      <a:pt x="1210" y="4122"/>
                    </a:lnTo>
                    <a:lnTo>
                      <a:pt x="1224" y="4164"/>
                    </a:lnTo>
                    <a:lnTo>
                      <a:pt x="1230" y="4184"/>
                    </a:lnTo>
                    <a:lnTo>
                      <a:pt x="1232" y="4204"/>
                    </a:lnTo>
                    <a:lnTo>
                      <a:pt x="1236" y="4220"/>
                    </a:lnTo>
                    <a:lnTo>
                      <a:pt x="1240" y="4232"/>
                    </a:lnTo>
                    <a:lnTo>
                      <a:pt x="1254" y="4256"/>
                    </a:lnTo>
                    <a:lnTo>
                      <a:pt x="1262" y="4268"/>
                    </a:lnTo>
                    <a:lnTo>
                      <a:pt x="1268" y="4284"/>
                    </a:lnTo>
                    <a:lnTo>
                      <a:pt x="1276" y="4304"/>
                    </a:lnTo>
                    <a:lnTo>
                      <a:pt x="1282" y="4330"/>
                    </a:lnTo>
                    <a:lnTo>
                      <a:pt x="1290" y="4358"/>
                    </a:lnTo>
                    <a:lnTo>
                      <a:pt x="1296" y="4384"/>
                    </a:lnTo>
                    <a:lnTo>
                      <a:pt x="1306" y="4406"/>
                    </a:lnTo>
                    <a:lnTo>
                      <a:pt x="1314" y="4424"/>
                    </a:lnTo>
                    <a:lnTo>
                      <a:pt x="1324" y="4436"/>
                    </a:lnTo>
                    <a:lnTo>
                      <a:pt x="1328" y="4442"/>
                    </a:lnTo>
                    <a:lnTo>
                      <a:pt x="1334" y="4444"/>
                    </a:lnTo>
                    <a:lnTo>
                      <a:pt x="1338" y="4446"/>
                    </a:lnTo>
                    <a:lnTo>
                      <a:pt x="1344" y="4446"/>
                    </a:lnTo>
                    <a:lnTo>
                      <a:pt x="1348" y="4444"/>
                    </a:lnTo>
                    <a:lnTo>
                      <a:pt x="1354" y="4440"/>
                    </a:lnTo>
                    <a:lnTo>
                      <a:pt x="1362" y="4432"/>
                    </a:lnTo>
                    <a:lnTo>
                      <a:pt x="1366" y="4424"/>
                    </a:lnTo>
                    <a:lnTo>
                      <a:pt x="1368" y="4416"/>
                    </a:lnTo>
                    <a:lnTo>
                      <a:pt x="1368" y="4410"/>
                    </a:lnTo>
                    <a:lnTo>
                      <a:pt x="1368" y="4406"/>
                    </a:lnTo>
                    <a:lnTo>
                      <a:pt x="1372" y="4400"/>
                    </a:lnTo>
                    <a:lnTo>
                      <a:pt x="1376" y="4396"/>
                    </a:lnTo>
                    <a:lnTo>
                      <a:pt x="1384" y="4394"/>
                    </a:lnTo>
                    <a:lnTo>
                      <a:pt x="1402" y="4390"/>
                    </a:lnTo>
                    <a:lnTo>
                      <a:pt x="1412" y="4390"/>
                    </a:lnTo>
                    <a:lnTo>
                      <a:pt x="1418" y="4390"/>
                    </a:lnTo>
                    <a:lnTo>
                      <a:pt x="1420" y="4390"/>
                    </a:lnTo>
                    <a:lnTo>
                      <a:pt x="1420" y="4388"/>
                    </a:lnTo>
                    <a:lnTo>
                      <a:pt x="1420" y="4386"/>
                    </a:lnTo>
                    <a:lnTo>
                      <a:pt x="1416" y="4384"/>
                    </a:lnTo>
                    <a:lnTo>
                      <a:pt x="1408" y="4382"/>
                    </a:lnTo>
                    <a:lnTo>
                      <a:pt x="1404" y="4380"/>
                    </a:lnTo>
                    <a:lnTo>
                      <a:pt x="1400" y="4376"/>
                    </a:lnTo>
                    <a:lnTo>
                      <a:pt x="1402" y="4370"/>
                    </a:lnTo>
                    <a:lnTo>
                      <a:pt x="1406" y="4362"/>
                    </a:lnTo>
                    <a:lnTo>
                      <a:pt x="1410" y="4354"/>
                    </a:lnTo>
                    <a:lnTo>
                      <a:pt x="1412" y="4348"/>
                    </a:lnTo>
                    <a:lnTo>
                      <a:pt x="1412" y="4342"/>
                    </a:lnTo>
                    <a:lnTo>
                      <a:pt x="1414" y="4340"/>
                    </a:lnTo>
                    <a:lnTo>
                      <a:pt x="1428" y="4338"/>
                    </a:lnTo>
                    <a:lnTo>
                      <a:pt x="1434" y="4336"/>
                    </a:lnTo>
                    <a:lnTo>
                      <a:pt x="1436" y="4334"/>
                    </a:lnTo>
                    <a:lnTo>
                      <a:pt x="1438" y="4332"/>
                    </a:lnTo>
                    <a:lnTo>
                      <a:pt x="1438" y="4322"/>
                    </a:lnTo>
                    <a:lnTo>
                      <a:pt x="1436" y="4312"/>
                    </a:lnTo>
                    <a:lnTo>
                      <a:pt x="1434" y="4298"/>
                    </a:lnTo>
                    <a:lnTo>
                      <a:pt x="1432" y="4284"/>
                    </a:lnTo>
                    <a:lnTo>
                      <a:pt x="1434" y="4266"/>
                    </a:lnTo>
                    <a:lnTo>
                      <a:pt x="1440" y="4246"/>
                    </a:lnTo>
                    <a:lnTo>
                      <a:pt x="1448" y="4226"/>
                    </a:lnTo>
                    <a:lnTo>
                      <a:pt x="1454" y="4206"/>
                    </a:lnTo>
                    <a:lnTo>
                      <a:pt x="1456" y="4196"/>
                    </a:lnTo>
                    <a:lnTo>
                      <a:pt x="1454" y="4186"/>
                    </a:lnTo>
                    <a:lnTo>
                      <a:pt x="1452" y="4172"/>
                    </a:lnTo>
                    <a:lnTo>
                      <a:pt x="1448" y="4154"/>
                    </a:lnTo>
                    <a:lnTo>
                      <a:pt x="1448" y="4144"/>
                    </a:lnTo>
                    <a:lnTo>
                      <a:pt x="1450" y="4138"/>
                    </a:lnTo>
                    <a:lnTo>
                      <a:pt x="1450" y="4128"/>
                    </a:lnTo>
                    <a:lnTo>
                      <a:pt x="1446" y="4108"/>
                    </a:lnTo>
                    <a:lnTo>
                      <a:pt x="1444" y="4098"/>
                    </a:lnTo>
                    <a:lnTo>
                      <a:pt x="1442" y="4088"/>
                    </a:lnTo>
                    <a:lnTo>
                      <a:pt x="1444" y="4082"/>
                    </a:lnTo>
                    <a:lnTo>
                      <a:pt x="1444" y="4076"/>
                    </a:lnTo>
                    <a:lnTo>
                      <a:pt x="1448" y="4074"/>
                    </a:lnTo>
                    <a:lnTo>
                      <a:pt x="1452" y="4070"/>
                    </a:lnTo>
                    <a:lnTo>
                      <a:pt x="1460" y="4068"/>
                    </a:lnTo>
                    <a:lnTo>
                      <a:pt x="1470" y="4066"/>
                    </a:lnTo>
                    <a:lnTo>
                      <a:pt x="1480" y="4064"/>
                    </a:lnTo>
                    <a:lnTo>
                      <a:pt x="1488" y="4058"/>
                    </a:lnTo>
                    <a:lnTo>
                      <a:pt x="1490" y="4054"/>
                    </a:lnTo>
                    <a:lnTo>
                      <a:pt x="1492" y="4050"/>
                    </a:lnTo>
                    <a:lnTo>
                      <a:pt x="1494" y="4040"/>
                    </a:lnTo>
                    <a:lnTo>
                      <a:pt x="1496" y="4038"/>
                    </a:lnTo>
                    <a:lnTo>
                      <a:pt x="1498" y="4038"/>
                    </a:lnTo>
                    <a:lnTo>
                      <a:pt x="1502" y="4040"/>
                    </a:lnTo>
                    <a:lnTo>
                      <a:pt x="1506" y="4042"/>
                    </a:lnTo>
                    <a:lnTo>
                      <a:pt x="1512" y="4042"/>
                    </a:lnTo>
                    <a:lnTo>
                      <a:pt x="1520" y="4040"/>
                    </a:lnTo>
                    <a:lnTo>
                      <a:pt x="1530" y="4032"/>
                    </a:lnTo>
                    <a:lnTo>
                      <a:pt x="1536" y="4024"/>
                    </a:lnTo>
                    <a:lnTo>
                      <a:pt x="1538" y="4020"/>
                    </a:lnTo>
                    <a:lnTo>
                      <a:pt x="1538" y="4016"/>
                    </a:lnTo>
                    <a:lnTo>
                      <a:pt x="1538" y="4014"/>
                    </a:lnTo>
                    <a:lnTo>
                      <a:pt x="1538" y="4010"/>
                    </a:lnTo>
                    <a:lnTo>
                      <a:pt x="1542" y="4004"/>
                    </a:lnTo>
                    <a:lnTo>
                      <a:pt x="1550" y="3996"/>
                    </a:lnTo>
                    <a:lnTo>
                      <a:pt x="1566" y="3982"/>
                    </a:lnTo>
                    <a:lnTo>
                      <a:pt x="1584" y="3966"/>
                    </a:lnTo>
                    <a:lnTo>
                      <a:pt x="1600" y="3950"/>
                    </a:lnTo>
                    <a:lnTo>
                      <a:pt x="1624" y="3918"/>
                    </a:lnTo>
                    <a:lnTo>
                      <a:pt x="1644" y="3892"/>
                    </a:lnTo>
                    <a:lnTo>
                      <a:pt x="1654" y="3880"/>
                    </a:lnTo>
                    <a:lnTo>
                      <a:pt x="1666" y="3870"/>
                    </a:lnTo>
                    <a:lnTo>
                      <a:pt x="1674" y="3866"/>
                    </a:lnTo>
                    <a:lnTo>
                      <a:pt x="1680" y="3864"/>
                    </a:lnTo>
                    <a:lnTo>
                      <a:pt x="1688" y="3864"/>
                    </a:lnTo>
                    <a:lnTo>
                      <a:pt x="1692" y="3864"/>
                    </a:lnTo>
                    <a:lnTo>
                      <a:pt x="1696" y="3860"/>
                    </a:lnTo>
                    <a:lnTo>
                      <a:pt x="1704" y="3852"/>
                    </a:lnTo>
                    <a:lnTo>
                      <a:pt x="1714" y="3840"/>
                    </a:lnTo>
                    <a:lnTo>
                      <a:pt x="1722" y="3828"/>
                    </a:lnTo>
                    <a:lnTo>
                      <a:pt x="1724" y="3816"/>
                    </a:lnTo>
                    <a:lnTo>
                      <a:pt x="1724" y="3808"/>
                    </a:lnTo>
                    <a:lnTo>
                      <a:pt x="1722" y="3802"/>
                    </a:lnTo>
                    <a:lnTo>
                      <a:pt x="1720" y="3796"/>
                    </a:lnTo>
                    <a:lnTo>
                      <a:pt x="1720" y="3790"/>
                    </a:lnTo>
                    <a:lnTo>
                      <a:pt x="1724" y="3784"/>
                    </a:lnTo>
                    <a:lnTo>
                      <a:pt x="1736" y="3778"/>
                    </a:lnTo>
                    <a:lnTo>
                      <a:pt x="1748" y="3772"/>
                    </a:lnTo>
                    <a:lnTo>
                      <a:pt x="1756" y="3766"/>
                    </a:lnTo>
                    <a:lnTo>
                      <a:pt x="1768" y="3758"/>
                    </a:lnTo>
                    <a:lnTo>
                      <a:pt x="1770" y="3756"/>
                    </a:lnTo>
                    <a:lnTo>
                      <a:pt x="1772" y="3756"/>
                    </a:lnTo>
                    <a:lnTo>
                      <a:pt x="1774" y="3766"/>
                    </a:lnTo>
                    <a:lnTo>
                      <a:pt x="1774" y="3772"/>
                    </a:lnTo>
                    <a:lnTo>
                      <a:pt x="1778" y="3776"/>
                    </a:lnTo>
                    <a:lnTo>
                      <a:pt x="1780" y="3778"/>
                    </a:lnTo>
                    <a:lnTo>
                      <a:pt x="1784" y="3778"/>
                    </a:lnTo>
                    <a:lnTo>
                      <a:pt x="1790" y="3774"/>
                    </a:lnTo>
                    <a:lnTo>
                      <a:pt x="1794" y="3774"/>
                    </a:lnTo>
                    <a:lnTo>
                      <a:pt x="1798" y="3774"/>
                    </a:lnTo>
                    <a:lnTo>
                      <a:pt x="1804" y="3776"/>
                    </a:lnTo>
                    <a:lnTo>
                      <a:pt x="1808" y="3776"/>
                    </a:lnTo>
                    <a:lnTo>
                      <a:pt x="1810" y="3774"/>
                    </a:lnTo>
                    <a:lnTo>
                      <a:pt x="1808" y="3768"/>
                    </a:lnTo>
                    <a:lnTo>
                      <a:pt x="1806" y="3760"/>
                    </a:lnTo>
                    <a:lnTo>
                      <a:pt x="1806" y="3758"/>
                    </a:lnTo>
                    <a:lnTo>
                      <a:pt x="1810" y="3756"/>
                    </a:lnTo>
                    <a:lnTo>
                      <a:pt x="1812" y="3762"/>
                    </a:lnTo>
                    <a:lnTo>
                      <a:pt x="1816" y="3766"/>
                    </a:lnTo>
                    <a:lnTo>
                      <a:pt x="1818" y="3766"/>
                    </a:lnTo>
                    <a:lnTo>
                      <a:pt x="1820" y="3766"/>
                    </a:lnTo>
                    <a:lnTo>
                      <a:pt x="1824" y="3766"/>
                    </a:lnTo>
                    <a:lnTo>
                      <a:pt x="1826" y="3766"/>
                    </a:lnTo>
                    <a:lnTo>
                      <a:pt x="1828" y="3768"/>
                    </a:lnTo>
                    <a:lnTo>
                      <a:pt x="1830" y="3770"/>
                    </a:lnTo>
                    <a:lnTo>
                      <a:pt x="1832" y="3770"/>
                    </a:lnTo>
                    <a:lnTo>
                      <a:pt x="1836" y="3764"/>
                    </a:lnTo>
                    <a:lnTo>
                      <a:pt x="1842" y="3760"/>
                    </a:lnTo>
                    <a:lnTo>
                      <a:pt x="1844" y="3760"/>
                    </a:lnTo>
                    <a:lnTo>
                      <a:pt x="1848" y="3762"/>
                    </a:lnTo>
                    <a:lnTo>
                      <a:pt x="1852" y="3766"/>
                    </a:lnTo>
                    <a:lnTo>
                      <a:pt x="1856" y="3764"/>
                    </a:lnTo>
                    <a:lnTo>
                      <a:pt x="1860" y="3762"/>
                    </a:lnTo>
                    <a:lnTo>
                      <a:pt x="1864" y="3756"/>
                    </a:lnTo>
                    <a:lnTo>
                      <a:pt x="1866" y="3748"/>
                    </a:lnTo>
                    <a:lnTo>
                      <a:pt x="1868" y="3740"/>
                    </a:lnTo>
                    <a:lnTo>
                      <a:pt x="1868" y="3734"/>
                    </a:lnTo>
                    <a:lnTo>
                      <a:pt x="1866" y="3726"/>
                    </a:lnTo>
                    <a:lnTo>
                      <a:pt x="1864" y="3716"/>
                    </a:lnTo>
                    <a:lnTo>
                      <a:pt x="1866" y="3706"/>
                    </a:lnTo>
                    <a:lnTo>
                      <a:pt x="1866" y="3698"/>
                    </a:lnTo>
                    <a:lnTo>
                      <a:pt x="1866" y="3690"/>
                    </a:lnTo>
                    <a:lnTo>
                      <a:pt x="1864" y="3686"/>
                    </a:lnTo>
                    <a:lnTo>
                      <a:pt x="1866" y="3684"/>
                    </a:lnTo>
                    <a:lnTo>
                      <a:pt x="1868" y="3680"/>
                    </a:lnTo>
                    <a:lnTo>
                      <a:pt x="1870" y="3676"/>
                    </a:lnTo>
                    <a:lnTo>
                      <a:pt x="1872" y="3678"/>
                    </a:lnTo>
                    <a:lnTo>
                      <a:pt x="1872" y="3684"/>
                    </a:lnTo>
                    <a:lnTo>
                      <a:pt x="1876" y="3710"/>
                    </a:lnTo>
                    <a:lnTo>
                      <a:pt x="1880" y="3720"/>
                    </a:lnTo>
                    <a:lnTo>
                      <a:pt x="1882" y="3724"/>
                    </a:lnTo>
                    <a:lnTo>
                      <a:pt x="1884" y="3726"/>
                    </a:lnTo>
                    <a:lnTo>
                      <a:pt x="1888" y="3726"/>
                    </a:lnTo>
                    <a:lnTo>
                      <a:pt x="1890" y="3726"/>
                    </a:lnTo>
                    <a:lnTo>
                      <a:pt x="1898" y="3722"/>
                    </a:lnTo>
                    <a:lnTo>
                      <a:pt x="1900" y="3720"/>
                    </a:lnTo>
                    <a:lnTo>
                      <a:pt x="1904" y="3720"/>
                    </a:lnTo>
                    <a:lnTo>
                      <a:pt x="1906" y="3722"/>
                    </a:lnTo>
                    <a:lnTo>
                      <a:pt x="1910" y="3726"/>
                    </a:lnTo>
                    <a:lnTo>
                      <a:pt x="1916" y="3738"/>
                    </a:lnTo>
                    <a:lnTo>
                      <a:pt x="1922" y="3760"/>
                    </a:lnTo>
                    <a:lnTo>
                      <a:pt x="1926" y="3768"/>
                    </a:lnTo>
                    <a:lnTo>
                      <a:pt x="1928" y="3772"/>
                    </a:lnTo>
                    <a:lnTo>
                      <a:pt x="1928" y="3774"/>
                    </a:lnTo>
                    <a:lnTo>
                      <a:pt x="1928" y="3780"/>
                    </a:lnTo>
                    <a:lnTo>
                      <a:pt x="1926" y="3786"/>
                    </a:lnTo>
                    <a:lnTo>
                      <a:pt x="1926" y="3792"/>
                    </a:lnTo>
                    <a:lnTo>
                      <a:pt x="1930" y="3804"/>
                    </a:lnTo>
                    <a:lnTo>
                      <a:pt x="1934" y="3814"/>
                    </a:lnTo>
                    <a:lnTo>
                      <a:pt x="1936" y="3810"/>
                    </a:lnTo>
                    <a:lnTo>
                      <a:pt x="1936" y="3800"/>
                    </a:lnTo>
                    <a:lnTo>
                      <a:pt x="1938" y="3806"/>
                    </a:lnTo>
                    <a:lnTo>
                      <a:pt x="1942" y="3816"/>
                    </a:lnTo>
                    <a:lnTo>
                      <a:pt x="1946" y="3828"/>
                    </a:lnTo>
                    <a:lnTo>
                      <a:pt x="1952" y="3838"/>
                    </a:lnTo>
                    <a:lnTo>
                      <a:pt x="1968" y="3862"/>
                    </a:lnTo>
                    <a:lnTo>
                      <a:pt x="1972" y="3864"/>
                    </a:lnTo>
                    <a:lnTo>
                      <a:pt x="1974" y="3860"/>
                    </a:lnTo>
                    <a:lnTo>
                      <a:pt x="1976" y="3856"/>
                    </a:lnTo>
                    <a:lnTo>
                      <a:pt x="1978" y="3854"/>
                    </a:lnTo>
                    <a:lnTo>
                      <a:pt x="1980" y="3854"/>
                    </a:lnTo>
                    <a:lnTo>
                      <a:pt x="1982" y="3854"/>
                    </a:lnTo>
                    <a:lnTo>
                      <a:pt x="1990" y="3862"/>
                    </a:lnTo>
                    <a:lnTo>
                      <a:pt x="1994" y="3870"/>
                    </a:lnTo>
                    <a:lnTo>
                      <a:pt x="1998" y="3876"/>
                    </a:lnTo>
                    <a:lnTo>
                      <a:pt x="2004" y="3882"/>
                    </a:lnTo>
                    <a:lnTo>
                      <a:pt x="2008" y="3886"/>
                    </a:lnTo>
                    <a:lnTo>
                      <a:pt x="2008" y="3888"/>
                    </a:lnTo>
                    <a:lnTo>
                      <a:pt x="2006" y="3890"/>
                    </a:lnTo>
                    <a:lnTo>
                      <a:pt x="2002" y="3892"/>
                    </a:lnTo>
                    <a:lnTo>
                      <a:pt x="2000" y="3892"/>
                    </a:lnTo>
                    <a:lnTo>
                      <a:pt x="1996" y="3890"/>
                    </a:lnTo>
                    <a:lnTo>
                      <a:pt x="1992" y="3886"/>
                    </a:lnTo>
                    <a:lnTo>
                      <a:pt x="1990" y="3886"/>
                    </a:lnTo>
                    <a:lnTo>
                      <a:pt x="1988" y="3888"/>
                    </a:lnTo>
                    <a:lnTo>
                      <a:pt x="1986" y="3890"/>
                    </a:lnTo>
                    <a:lnTo>
                      <a:pt x="1986" y="3894"/>
                    </a:lnTo>
                    <a:lnTo>
                      <a:pt x="1992" y="3904"/>
                    </a:lnTo>
                    <a:lnTo>
                      <a:pt x="1998" y="3910"/>
                    </a:lnTo>
                    <a:lnTo>
                      <a:pt x="2000" y="3912"/>
                    </a:lnTo>
                    <a:lnTo>
                      <a:pt x="2000" y="3910"/>
                    </a:lnTo>
                    <a:lnTo>
                      <a:pt x="2002" y="3904"/>
                    </a:lnTo>
                    <a:lnTo>
                      <a:pt x="2004" y="3900"/>
                    </a:lnTo>
                    <a:lnTo>
                      <a:pt x="2006" y="3900"/>
                    </a:lnTo>
                    <a:lnTo>
                      <a:pt x="2010" y="3912"/>
                    </a:lnTo>
                    <a:lnTo>
                      <a:pt x="2016" y="3930"/>
                    </a:lnTo>
                    <a:lnTo>
                      <a:pt x="2024" y="3950"/>
                    </a:lnTo>
                    <a:lnTo>
                      <a:pt x="2028" y="3960"/>
                    </a:lnTo>
                    <a:lnTo>
                      <a:pt x="2032" y="3972"/>
                    </a:lnTo>
                    <a:lnTo>
                      <a:pt x="2032" y="3982"/>
                    </a:lnTo>
                    <a:lnTo>
                      <a:pt x="2030" y="3992"/>
                    </a:lnTo>
                    <a:lnTo>
                      <a:pt x="2016" y="4034"/>
                    </a:lnTo>
                    <a:lnTo>
                      <a:pt x="2014" y="4050"/>
                    </a:lnTo>
                    <a:lnTo>
                      <a:pt x="2014" y="4056"/>
                    </a:lnTo>
                    <a:lnTo>
                      <a:pt x="2016" y="4058"/>
                    </a:lnTo>
                    <a:lnTo>
                      <a:pt x="2020" y="4058"/>
                    </a:lnTo>
                    <a:lnTo>
                      <a:pt x="2022" y="4056"/>
                    </a:lnTo>
                    <a:lnTo>
                      <a:pt x="2026" y="4050"/>
                    </a:lnTo>
                    <a:lnTo>
                      <a:pt x="2028" y="4044"/>
                    </a:lnTo>
                    <a:lnTo>
                      <a:pt x="2030" y="4042"/>
                    </a:lnTo>
                    <a:lnTo>
                      <a:pt x="2034" y="4042"/>
                    </a:lnTo>
                    <a:lnTo>
                      <a:pt x="2036" y="4042"/>
                    </a:lnTo>
                    <a:lnTo>
                      <a:pt x="2036" y="4044"/>
                    </a:lnTo>
                    <a:lnTo>
                      <a:pt x="2032" y="4048"/>
                    </a:lnTo>
                    <a:lnTo>
                      <a:pt x="2032" y="4054"/>
                    </a:lnTo>
                    <a:lnTo>
                      <a:pt x="2032" y="4056"/>
                    </a:lnTo>
                    <a:lnTo>
                      <a:pt x="2036" y="4060"/>
                    </a:lnTo>
                    <a:lnTo>
                      <a:pt x="2040" y="4064"/>
                    </a:lnTo>
                    <a:lnTo>
                      <a:pt x="2042" y="4064"/>
                    </a:lnTo>
                    <a:lnTo>
                      <a:pt x="2046" y="4062"/>
                    </a:lnTo>
                    <a:lnTo>
                      <a:pt x="2048" y="4060"/>
                    </a:lnTo>
                    <a:lnTo>
                      <a:pt x="2050" y="4060"/>
                    </a:lnTo>
                    <a:lnTo>
                      <a:pt x="2052" y="4062"/>
                    </a:lnTo>
                    <a:lnTo>
                      <a:pt x="2056" y="4066"/>
                    </a:lnTo>
                    <a:lnTo>
                      <a:pt x="2062" y="4070"/>
                    </a:lnTo>
                    <a:lnTo>
                      <a:pt x="2066" y="4068"/>
                    </a:lnTo>
                    <a:lnTo>
                      <a:pt x="2068" y="4066"/>
                    </a:lnTo>
                    <a:lnTo>
                      <a:pt x="2072" y="4060"/>
                    </a:lnTo>
                    <a:lnTo>
                      <a:pt x="2080" y="4048"/>
                    </a:lnTo>
                    <a:lnTo>
                      <a:pt x="2086" y="4042"/>
                    </a:lnTo>
                    <a:lnTo>
                      <a:pt x="2092" y="4038"/>
                    </a:lnTo>
                    <a:lnTo>
                      <a:pt x="2106" y="4032"/>
                    </a:lnTo>
                    <a:lnTo>
                      <a:pt x="2112" y="4028"/>
                    </a:lnTo>
                    <a:lnTo>
                      <a:pt x="2118" y="4024"/>
                    </a:lnTo>
                    <a:lnTo>
                      <a:pt x="2122" y="4016"/>
                    </a:lnTo>
                    <a:lnTo>
                      <a:pt x="2124" y="4008"/>
                    </a:lnTo>
                    <a:lnTo>
                      <a:pt x="2126" y="3998"/>
                    </a:lnTo>
                    <a:lnTo>
                      <a:pt x="2122" y="3986"/>
                    </a:lnTo>
                    <a:lnTo>
                      <a:pt x="2128" y="3990"/>
                    </a:lnTo>
                    <a:lnTo>
                      <a:pt x="2130" y="3992"/>
                    </a:lnTo>
                    <a:lnTo>
                      <a:pt x="2132" y="3998"/>
                    </a:lnTo>
                    <a:lnTo>
                      <a:pt x="2132" y="4002"/>
                    </a:lnTo>
                    <a:lnTo>
                      <a:pt x="2136" y="4004"/>
                    </a:lnTo>
                    <a:lnTo>
                      <a:pt x="2138" y="4008"/>
                    </a:lnTo>
                    <a:lnTo>
                      <a:pt x="2140" y="4020"/>
                    </a:lnTo>
                    <a:lnTo>
                      <a:pt x="2144" y="4028"/>
                    </a:lnTo>
                    <a:lnTo>
                      <a:pt x="2146" y="4030"/>
                    </a:lnTo>
                    <a:lnTo>
                      <a:pt x="2148" y="4032"/>
                    </a:lnTo>
                    <a:lnTo>
                      <a:pt x="2152" y="4030"/>
                    </a:lnTo>
                    <a:lnTo>
                      <a:pt x="2156" y="4028"/>
                    </a:lnTo>
                    <a:lnTo>
                      <a:pt x="2158" y="4028"/>
                    </a:lnTo>
                    <a:lnTo>
                      <a:pt x="2156" y="4032"/>
                    </a:lnTo>
                    <a:lnTo>
                      <a:pt x="2152" y="4040"/>
                    </a:lnTo>
                    <a:lnTo>
                      <a:pt x="2150" y="4046"/>
                    </a:lnTo>
                    <a:lnTo>
                      <a:pt x="2150" y="4052"/>
                    </a:lnTo>
                    <a:lnTo>
                      <a:pt x="2154" y="4060"/>
                    </a:lnTo>
                    <a:lnTo>
                      <a:pt x="2156" y="4070"/>
                    </a:lnTo>
                    <a:lnTo>
                      <a:pt x="2158" y="4092"/>
                    </a:lnTo>
                    <a:lnTo>
                      <a:pt x="2160" y="4114"/>
                    </a:lnTo>
                    <a:lnTo>
                      <a:pt x="2164" y="4128"/>
                    </a:lnTo>
                    <a:lnTo>
                      <a:pt x="2168" y="4140"/>
                    </a:lnTo>
                    <a:lnTo>
                      <a:pt x="2172" y="4154"/>
                    </a:lnTo>
                    <a:lnTo>
                      <a:pt x="2172" y="4172"/>
                    </a:lnTo>
                    <a:lnTo>
                      <a:pt x="2174" y="4172"/>
                    </a:lnTo>
                    <a:lnTo>
                      <a:pt x="2176" y="4166"/>
                    </a:lnTo>
                    <a:lnTo>
                      <a:pt x="2178" y="4168"/>
                    </a:lnTo>
                    <a:lnTo>
                      <a:pt x="2180" y="4172"/>
                    </a:lnTo>
                    <a:lnTo>
                      <a:pt x="2184" y="4186"/>
                    </a:lnTo>
                    <a:lnTo>
                      <a:pt x="2188" y="4198"/>
                    </a:lnTo>
                    <a:lnTo>
                      <a:pt x="2190" y="4208"/>
                    </a:lnTo>
                    <a:lnTo>
                      <a:pt x="2192" y="4216"/>
                    </a:lnTo>
                    <a:lnTo>
                      <a:pt x="2194" y="4224"/>
                    </a:lnTo>
                    <a:lnTo>
                      <a:pt x="2192" y="4232"/>
                    </a:lnTo>
                    <a:lnTo>
                      <a:pt x="2192" y="4240"/>
                    </a:lnTo>
                    <a:lnTo>
                      <a:pt x="2192" y="4242"/>
                    </a:lnTo>
                    <a:lnTo>
                      <a:pt x="2194" y="4246"/>
                    </a:lnTo>
                    <a:lnTo>
                      <a:pt x="2194" y="4248"/>
                    </a:lnTo>
                    <a:lnTo>
                      <a:pt x="2194" y="4250"/>
                    </a:lnTo>
                    <a:lnTo>
                      <a:pt x="2192" y="4258"/>
                    </a:lnTo>
                    <a:lnTo>
                      <a:pt x="2190" y="4266"/>
                    </a:lnTo>
                    <a:lnTo>
                      <a:pt x="2192" y="4268"/>
                    </a:lnTo>
                    <a:lnTo>
                      <a:pt x="2196" y="4268"/>
                    </a:lnTo>
                    <a:lnTo>
                      <a:pt x="2198" y="4268"/>
                    </a:lnTo>
                    <a:lnTo>
                      <a:pt x="2200" y="4270"/>
                    </a:lnTo>
                    <a:lnTo>
                      <a:pt x="2200" y="4276"/>
                    </a:lnTo>
                    <a:lnTo>
                      <a:pt x="2196" y="4286"/>
                    </a:lnTo>
                    <a:lnTo>
                      <a:pt x="2196" y="4298"/>
                    </a:lnTo>
                    <a:lnTo>
                      <a:pt x="2194" y="4306"/>
                    </a:lnTo>
                    <a:lnTo>
                      <a:pt x="2192" y="4310"/>
                    </a:lnTo>
                    <a:lnTo>
                      <a:pt x="2190" y="4320"/>
                    </a:lnTo>
                    <a:lnTo>
                      <a:pt x="2188" y="4344"/>
                    </a:lnTo>
                    <a:lnTo>
                      <a:pt x="2188" y="4352"/>
                    </a:lnTo>
                    <a:lnTo>
                      <a:pt x="2190" y="4352"/>
                    </a:lnTo>
                    <a:lnTo>
                      <a:pt x="2198" y="4336"/>
                    </a:lnTo>
                    <a:lnTo>
                      <a:pt x="2198" y="4340"/>
                    </a:lnTo>
                    <a:lnTo>
                      <a:pt x="2198" y="4346"/>
                    </a:lnTo>
                    <a:lnTo>
                      <a:pt x="2190" y="4360"/>
                    </a:lnTo>
                    <a:lnTo>
                      <a:pt x="2186" y="4368"/>
                    </a:lnTo>
                    <a:lnTo>
                      <a:pt x="2188" y="4372"/>
                    </a:lnTo>
                    <a:lnTo>
                      <a:pt x="2188" y="4374"/>
                    </a:lnTo>
                    <a:lnTo>
                      <a:pt x="2186" y="4380"/>
                    </a:lnTo>
                    <a:lnTo>
                      <a:pt x="2182" y="4390"/>
                    </a:lnTo>
                    <a:lnTo>
                      <a:pt x="2182" y="4396"/>
                    </a:lnTo>
                    <a:lnTo>
                      <a:pt x="2182" y="4400"/>
                    </a:lnTo>
                    <a:lnTo>
                      <a:pt x="2180" y="4406"/>
                    </a:lnTo>
                    <a:lnTo>
                      <a:pt x="2178" y="4416"/>
                    </a:lnTo>
                    <a:lnTo>
                      <a:pt x="2176" y="4426"/>
                    </a:lnTo>
                    <a:lnTo>
                      <a:pt x="2178" y="4434"/>
                    </a:lnTo>
                    <a:lnTo>
                      <a:pt x="2180" y="4440"/>
                    </a:lnTo>
                    <a:lnTo>
                      <a:pt x="2182" y="4442"/>
                    </a:lnTo>
                    <a:lnTo>
                      <a:pt x="2184" y="4442"/>
                    </a:lnTo>
                    <a:lnTo>
                      <a:pt x="2186" y="4438"/>
                    </a:lnTo>
                    <a:lnTo>
                      <a:pt x="2190" y="4432"/>
                    </a:lnTo>
                    <a:lnTo>
                      <a:pt x="2190" y="4430"/>
                    </a:lnTo>
                    <a:lnTo>
                      <a:pt x="2192" y="4430"/>
                    </a:lnTo>
                    <a:lnTo>
                      <a:pt x="2198" y="4438"/>
                    </a:lnTo>
                    <a:lnTo>
                      <a:pt x="2204" y="4450"/>
                    </a:lnTo>
                    <a:lnTo>
                      <a:pt x="2210" y="4464"/>
                    </a:lnTo>
                    <a:lnTo>
                      <a:pt x="2220" y="4480"/>
                    </a:lnTo>
                    <a:lnTo>
                      <a:pt x="2224" y="4484"/>
                    </a:lnTo>
                    <a:lnTo>
                      <a:pt x="2228" y="4484"/>
                    </a:lnTo>
                    <a:lnTo>
                      <a:pt x="2232" y="4486"/>
                    </a:lnTo>
                    <a:lnTo>
                      <a:pt x="2234" y="4488"/>
                    </a:lnTo>
                    <a:lnTo>
                      <a:pt x="2234" y="4494"/>
                    </a:lnTo>
                    <a:lnTo>
                      <a:pt x="2234" y="4498"/>
                    </a:lnTo>
                    <a:lnTo>
                      <a:pt x="2236" y="4502"/>
                    </a:lnTo>
                    <a:lnTo>
                      <a:pt x="2238" y="4508"/>
                    </a:lnTo>
                    <a:lnTo>
                      <a:pt x="2248" y="4516"/>
                    </a:lnTo>
                    <a:lnTo>
                      <a:pt x="2254" y="4526"/>
                    </a:lnTo>
                    <a:lnTo>
                      <a:pt x="2258" y="4536"/>
                    </a:lnTo>
                    <a:lnTo>
                      <a:pt x="2262" y="4544"/>
                    </a:lnTo>
                    <a:lnTo>
                      <a:pt x="2266" y="4562"/>
                    </a:lnTo>
                    <a:lnTo>
                      <a:pt x="2266" y="4578"/>
                    </a:lnTo>
                    <a:lnTo>
                      <a:pt x="2266" y="4588"/>
                    </a:lnTo>
                    <a:lnTo>
                      <a:pt x="2264" y="4592"/>
                    </a:lnTo>
                    <a:lnTo>
                      <a:pt x="2264" y="4596"/>
                    </a:lnTo>
                    <a:lnTo>
                      <a:pt x="2268" y="4600"/>
                    </a:lnTo>
                    <a:lnTo>
                      <a:pt x="2270" y="4602"/>
                    </a:lnTo>
                    <a:lnTo>
                      <a:pt x="2272" y="4606"/>
                    </a:lnTo>
                    <a:lnTo>
                      <a:pt x="2274" y="4612"/>
                    </a:lnTo>
                    <a:lnTo>
                      <a:pt x="2272" y="4622"/>
                    </a:lnTo>
                    <a:lnTo>
                      <a:pt x="2272" y="4634"/>
                    </a:lnTo>
                    <a:lnTo>
                      <a:pt x="2276" y="4638"/>
                    </a:lnTo>
                    <a:lnTo>
                      <a:pt x="2278" y="4640"/>
                    </a:lnTo>
                    <a:lnTo>
                      <a:pt x="2278" y="4644"/>
                    </a:lnTo>
                    <a:lnTo>
                      <a:pt x="2278" y="4648"/>
                    </a:lnTo>
                    <a:lnTo>
                      <a:pt x="2282" y="4654"/>
                    </a:lnTo>
                    <a:lnTo>
                      <a:pt x="2292" y="4666"/>
                    </a:lnTo>
                    <a:lnTo>
                      <a:pt x="2296" y="4672"/>
                    </a:lnTo>
                    <a:lnTo>
                      <a:pt x="2300" y="4680"/>
                    </a:lnTo>
                    <a:lnTo>
                      <a:pt x="2302" y="4688"/>
                    </a:lnTo>
                    <a:lnTo>
                      <a:pt x="2302" y="4696"/>
                    </a:lnTo>
                    <a:lnTo>
                      <a:pt x="2302" y="4700"/>
                    </a:lnTo>
                    <a:lnTo>
                      <a:pt x="2302" y="4702"/>
                    </a:lnTo>
                    <a:lnTo>
                      <a:pt x="2308" y="4708"/>
                    </a:lnTo>
                    <a:lnTo>
                      <a:pt x="2320" y="4716"/>
                    </a:lnTo>
                    <a:lnTo>
                      <a:pt x="2330" y="4724"/>
                    </a:lnTo>
                    <a:lnTo>
                      <a:pt x="2344" y="4736"/>
                    </a:lnTo>
                    <a:lnTo>
                      <a:pt x="2354" y="4746"/>
                    </a:lnTo>
                    <a:lnTo>
                      <a:pt x="2364" y="4754"/>
                    </a:lnTo>
                    <a:lnTo>
                      <a:pt x="2376" y="4760"/>
                    </a:lnTo>
                    <a:lnTo>
                      <a:pt x="2382" y="4764"/>
                    </a:lnTo>
                    <a:lnTo>
                      <a:pt x="2384" y="4766"/>
                    </a:lnTo>
                    <a:lnTo>
                      <a:pt x="2386" y="4770"/>
                    </a:lnTo>
                    <a:lnTo>
                      <a:pt x="2390" y="4776"/>
                    </a:lnTo>
                    <a:lnTo>
                      <a:pt x="2392" y="4774"/>
                    </a:lnTo>
                    <a:lnTo>
                      <a:pt x="2396" y="4770"/>
                    </a:lnTo>
                    <a:lnTo>
                      <a:pt x="2400" y="4770"/>
                    </a:lnTo>
                    <a:lnTo>
                      <a:pt x="2404" y="4770"/>
                    </a:lnTo>
                    <a:lnTo>
                      <a:pt x="2408" y="4770"/>
                    </a:lnTo>
                    <a:lnTo>
                      <a:pt x="2410" y="4768"/>
                    </a:lnTo>
                    <a:lnTo>
                      <a:pt x="2410" y="4764"/>
                    </a:lnTo>
                    <a:lnTo>
                      <a:pt x="2414" y="4764"/>
                    </a:lnTo>
                    <a:lnTo>
                      <a:pt x="2416" y="4766"/>
                    </a:lnTo>
                    <a:lnTo>
                      <a:pt x="2414" y="4770"/>
                    </a:lnTo>
                    <a:lnTo>
                      <a:pt x="2414" y="4772"/>
                    </a:lnTo>
                    <a:lnTo>
                      <a:pt x="2418" y="4774"/>
                    </a:lnTo>
                    <a:lnTo>
                      <a:pt x="2420" y="4774"/>
                    </a:lnTo>
                    <a:lnTo>
                      <a:pt x="2422" y="4772"/>
                    </a:lnTo>
                    <a:lnTo>
                      <a:pt x="2422" y="4766"/>
                    </a:lnTo>
                    <a:lnTo>
                      <a:pt x="2420" y="4756"/>
                    </a:lnTo>
                    <a:lnTo>
                      <a:pt x="2416" y="4750"/>
                    </a:lnTo>
                    <a:lnTo>
                      <a:pt x="2414" y="4744"/>
                    </a:lnTo>
                    <a:lnTo>
                      <a:pt x="2412" y="4740"/>
                    </a:lnTo>
                    <a:lnTo>
                      <a:pt x="2410" y="4730"/>
                    </a:lnTo>
                    <a:lnTo>
                      <a:pt x="2406" y="4718"/>
                    </a:lnTo>
                    <a:lnTo>
                      <a:pt x="2402" y="4714"/>
                    </a:lnTo>
                    <a:lnTo>
                      <a:pt x="2398" y="4708"/>
                    </a:lnTo>
                    <a:lnTo>
                      <a:pt x="2392" y="4704"/>
                    </a:lnTo>
                    <a:lnTo>
                      <a:pt x="2388" y="4698"/>
                    </a:lnTo>
                    <a:lnTo>
                      <a:pt x="2388" y="4690"/>
                    </a:lnTo>
                    <a:lnTo>
                      <a:pt x="2388" y="4684"/>
                    </a:lnTo>
                    <a:lnTo>
                      <a:pt x="2390" y="4672"/>
                    </a:lnTo>
                    <a:lnTo>
                      <a:pt x="2390" y="4668"/>
                    </a:lnTo>
                    <a:lnTo>
                      <a:pt x="2386" y="4664"/>
                    </a:lnTo>
                    <a:lnTo>
                      <a:pt x="2384" y="4658"/>
                    </a:lnTo>
                    <a:lnTo>
                      <a:pt x="2386" y="4654"/>
                    </a:lnTo>
                    <a:lnTo>
                      <a:pt x="2386" y="4648"/>
                    </a:lnTo>
                    <a:lnTo>
                      <a:pt x="2388" y="4642"/>
                    </a:lnTo>
                    <a:lnTo>
                      <a:pt x="2388" y="4636"/>
                    </a:lnTo>
                    <a:lnTo>
                      <a:pt x="2388" y="4628"/>
                    </a:lnTo>
                    <a:lnTo>
                      <a:pt x="2390" y="4616"/>
                    </a:lnTo>
                    <a:lnTo>
                      <a:pt x="2386" y="4600"/>
                    </a:lnTo>
                    <a:lnTo>
                      <a:pt x="2384" y="4592"/>
                    </a:lnTo>
                    <a:lnTo>
                      <a:pt x="2378" y="4584"/>
                    </a:lnTo>
                    <a:lnTo>
                      <a:pt x="2366" y="4570"/>
                    </a:lnTo>
                    <a:lnTo>
                      <a:pt x="2354" y="4558"/>
                    </a:lnTo>
                    <a:lnTo>
                      <a:pt x="2350" y="4552"/>
                    </a:lnTo>
                    <a:lnTo>
                      <a:pt x="2348" y="4546"/>
                    </a:lnTo>
                    <a:lnTo>
                      <a:pt x="2344" y="4540"/>
                    </a:lnTo>
                    <a:lnTo>
                      <a:pt x="2342" y="4538"/>
                    </a:lnTo>
                    <a:lnTo>
                      <a:pt x="2334" y="4536"/>
                    </a:lnTo>
                    <a:lnTo>
                      <a:pt x="2324" y="4526"/>
                    </a:lnTo>
                    <a:lnTo>
                      <a:pt x="2310" y="4508"/>
                    </a:lnTo>
                    <a:lnTo>
                      <a:pt x="2306" y="4502"/>
                    </a:lnTo>
                    <a:lnTo>
                      <a:pt x="2304" y="4502"/>
                    </a:lnTo>
                    <a:lnTo>
                      <a:pt x="2300" y="4504"/>
                    </a:lnTo>
                    <a:lnTo>
                      <a:pt x="2296" y="4504"/>
                    </a:lnTo>
                    <a:lnTo>
                      <a:pt x="2292" y="4504"/>
                    </a:lnTo>
                    <a:lnTo>
                      <a:pt x="2286" y="4500"/>
                    </a:lnTo>
                    <a:lnTo>
                      <a:pt x="2276" y="4494"/>
                    </a:lnTo>
                    <a:lnTo>
                      <a:pt x="2272" y="4486"/>
                    </a:lnTo>
                    <a:lnTo>
                      <a:pt x="2270" y="4476"/>
                    </a:lnTo>
                    <a:lnTo>
                      <a:pt x="2264" y="4454"/>
                    </a:lnTo>
                    <a:lnTo>
                      <a:pt x="2262" y="4434"/>
                    </a:lnTo>
                    <a:lnTo>
                      <a:pt x="2260" y="4428"/>
                    </a:lnTo>
                    <a:lnTo>
                      <a:pt x="2258" y="4426"/>
                    </a:lnTo>
                    <a:lnTo>
                      <a:pt x="2254" y="4426"/>
                    </a:lnTo>
                    <a:lnTo>
                      <a:pt x="2252" y="4424"/>
                    </a:lnTo>
                    <a:lnTo>
                      <a:pt x="2248" y="4416"/>
                    </a:lnTo>
                    <a:lnTo>
                      <a:pt x="2244" y="4402"/>
                    </a:lnTo>
                    <a:lnTo>
                      <a:pt x="2244" y="4388"/>
                    </a:lnTo>
                    <a:lnTo>
                      <a:pt x="2242" y="4386"/>
                    </a:lnTo>
                    <a:lnTo>
                      <a:pt x="2240" y="4384"/>
                    </a:lnTo>
                    <a:lnTo>
                      <a:pt x="2230" y="4388"/>
                    </a:lnTo>
                    <a:lnTo>
                      <a:pt x="2226" y="4390"/>
                    </a:lnTo>
                    <a:lnTo>
                      <a:pt x="2222" y="4390"/>
                    </a:lnTo>
                    <a:lnTo>
                      <a:pt x="2220" y="4388"/>
                    </a:lnTo>
                    <a:lnTo>
                      <a:pt x="2220" y="4382"/>
                    </a:lnTo>
                    <a:lnTo>
                      <a:pt x="2218" y="4352"/>
                    </a:lnTo>
                    <a:lnTo>
                      <a:pt x="2218" y="4330"/>
                    </a:lnTo>
                    <a:lnTo>
                      <a:pt x="2220" y="4320"/>
                    </a:lnTo>
                    <a:lnTo>
                      <a:pt x="2224" y="4316"/>
                    </a:lnTo>
                    <a:lnTo>
                      <a:pt x="2226" y="4310"/>
                    </a:lnTo>
                    <a:lnTo>
                      <a:pt x="2228" y="4306"/>
                    </a:lnTo>
                    <a:lnTo>
                      <a:pt x="2232" y="4296"/>
                    </a:lnTo>
                    <a:lnTo>
                      <a:pt x="2234" y="4284"/>
                    </a:lnTo>
                    <a:lnTo>
                      <a:pt x="2236" y="4274"/>
                    </a:lnTo>
                    <a:lnTo>
                      <a:pt x="2242" y="4258"/>
                    </a:lnTo>
                    <a:lnTo>
                      <a:pt x="2248" y="4232"/>
                    </a:lnTo>
                    <a:lnTo>
                      <a:pt x="2252" y="4208"/>
                    </a:lnTo>
                    <a:lnTo>
                      <a:pt x="2252" y="4200"/>
                    </a:lnTo>
                    <a:lnTo>
                      <a:pt x="2252" y="4196"/>
                    </a:lnTo>
                    <a:lnTo>
                      <a:pt x="2248" y="4192"/>
                    </a:lnTo>
                    <a:lnTo>
                      <a:pt x="2248" y="4190"/>
                    </a:lnTo>
                    <a:lnTo>
                      <a:pt x="2248" y="4186"/>
                    </a:lnTo>
                    <a:lnTo>
                      <a:pt x="2250" y="4184"/>
                    </a:lnTo>
                    <a:lnTo>
                      <a:pt x="2252" y="4180"/>
                    </a:lnTo>
                    <a:lnTo>
                      <a:pt x="2256" y="4178"/>
                    </a:lnTo>
                    <a:lnTo>
                      <a:pt x="2272" y="4176"/>
                    </a:lnTo>
                    <a:lnTo>
                      <a:pt x="2278" y="4178"/>
                    </a:lnTo>
                    <a:lnTo>
                      <a:pt x="2282" y="4180"/>
                    </a:lnTo>
                    <a:lnTo>
                      <a:pt x="2286" y="4182"/>
                    </a:lnTo>
                    <a:lnTo>
                      <a:pt x="2286" y="4184"/>
                    </a:lnTo>
                    <a:lnTo>
                      <a:pt x="2284" y="4194"/>
                    </a:lnTo>
                    <a:lnTo>
                      <a:pt x="2282" y="4210"/>
                    </a:lnTo>
                    <a:lnTo>
                      <a:pt x="2282" y="4220"/>
                    </a:lnTo>
                    <a:lnTo>
                      <a:pt x="2284" y="4222"/>
                    </a:lnTo>
                    <a:lnTo>
                      <a:pt x="2286" y="4222"/>
                    </a:lnTo>
                    <a:lnTo>
                      <a:pt x="2292" y="4222"/>
                    </a:lnTo>
                    <a:lnTo>
                      <a:pt x="2296" y="4222"/>
                    </a:lnTo>
                    <a:lnTo>
                      <a:pt x="2300" y="4222"/>
                    </a:lnTo>
                    <a:lnTo>
                      <a:pt x="2304" y="4224"/>
                    </a:lnTo>
                    <a:lnTo>
                      <a:pt x="2306" y="4224"/>
                    </a:lnTo>
                    <a:lnTo>
                      <a:pt x="2310" y="4220"/>
                    </a:lnTo>
                    <a:lnTo>
                      <a:pt x="2316" y="4218"/>
                    </a:lnTo>
                    <a:lnTo>
                      <a:pt x="2318" y="4218"/>
                    </a:lnTo>
                    <a:lnTo>
                      <a:pt x="2322" y="4220"/>
                    </a:lnTo>
                    <a:lnTo>
                      <a:pt x="2330" y="4228"/>
                    </a:lnTo>
                    <a:lnTo>
                      <a:pt x="2336" y="4236"/>
                    </a:lnTo>
                    <a:lnTo>
                      <a:pt x="2342" y="4244"/>
                    </a:lnTo>
                    <a:lnTo>
                      <a:pt x="2346" y="4246"/>
                    </a:lnTo>
                    <a:lnTo>
                      <a:pt x="2350" y="4248"/>
                    </a:lnTo>
                    <a:lnTo>
                      <a:pt x="2354" y="4250"/>
                    </a:lnTo>
                    <a:lnTo>
                      <a:pt x="2356" y="4252"/>
                    </a:lnTo>
                    <a:lnTo>
                      <a:pt x="2360" y="4258"/>
                    </a:lnTo>
                    <a:lnTo>
                      <a:pt x="2362" y="4266"/>
                    </a:lnTo>
                    <a:lnTo>
                      <a:pt x="2364" y="4268"/>
                    </a:lnTo>
                    <a:lnTo>
                      <a:pt x="2368" y="4268"/>
                    </a:lnTo>
                    <a:lnTo>
                      <a:pt x="2362" y="4256"/>
                    </a:lnTo>
                    <a:lnTo>
                      <a:pt x="2362" y="4246"/>
                    </a:lnTo>
                    <a:lnTo>
                      <a:pt x="2362" y="4256"/>
                    </a:lnTo>
                    <a:lnTo>
                      <a:pt x="2368" y="4268"/>
                    </a:lnTo>
                    <a:lnTo>
                      <a:pt x="2374" y="4280"/>
                    </a:lnTo>
                    <a:lnTo>
                      <a:pt x="2376" y="4286"/>
                    </a:lnTo>
                    <a:lnTo>
                      <a:pt x="2374" y="4292"/>
                    </a:lnTo>
                    <a:lnTo>
                      <a:pt x="2374" y="4300"/>
                    </a:lnTo>
                    <a:lnTo>
                      <a:pt x="2376" y="4310"/>
                    </a:lnTo>
                    <a:lnTo>
                      <a:pt x="2378" y="4310"/>
                    </a:lnTo>
                    <a:lnTo>
                      <a:pt x="2380" y="4308"/>
                    </a:lnTo>
                    <a:lnTo>
                      <a:pt x="2386" y="4308"/>
                    </a:lnTo>
                    <a:lnTo>
                      <a:pt x="2388" y="4308"/>
                    </a:lnTo>
                    <a:lnTo>
                      <a:pt x="2388" y="4304"/>
                    </a:lnTo>
                    <a:lnTo>
                      <a:pt x="2388" y="4298"/>
                    </a:lnTo>
                    <a:lnTo>
                      <a:pt x="2388" y="4296"/>
                    </a:lnTo>
                    <a:lnTo>
                      <a:pt x="2390" y="4294"/>
                    </a:lnTo>
                    <a:lnTo>
                      <a:pt x="2392" y="4296"/>
                    </a:lnTo>
                    <a:lnTo>
                      <a:pt x="2396" y="4300"/>
                    </a:lnTo>
                    <a:lnTo>
                      <a:pt x="2398" y="4304"/>
                    </a:lnTo>
                    <a:lnTo>
                      <a:pt x="2398" y="4308"/>
                    </a:lnTo>
                    <a:lnTo>
                      <a:pt x="2394" y="4314"/>
                    </a:lnTo>
                    <a:lnTo>
                      <a:pt x="2390" y="4320"/>
                    </a:lnTo>
                    <a:lnTo>
                      <a:pt x="2390" y="4322"/>
                    </a:lnTo>
                    <a:lnTo>
                      <a:pt x="2392" y="4324"/>
                    </a:lnTo>
                    <a:lnTo>
                      <a:pt x="2396" y="4326"/>
                    </a:lnTo>
                    <a:lnTo>
                      <a:pt x="2398" y="4326"/>
                    </a:lnTo>
                    <a:lnTo>
                      <a:pt x="2402" y="4324"/>
                    </a:lnTo>
                    <a:lnTo>
                      <a:pt x="2404" y="4322"/>
                    </a:lnTo>
                    <a:lnTo>
                      <a:pt x="2406" y="4320"/>
                    </a:lnTo>
                    <a:lnTo>
                      <a:pt x="2406" y="4322"/>
                    </a:lnTo>
                    <a:lnTo>
                      <a:pt x="2412" y="4324"/>
                    </a:lnTo>
                    <a:lnTo>
                      <a:pt x="2416" y="4324"/>
                    </a:lnTo>
                    <a:lnTo>
                      <a:pt x="2422" y="4326"/>
                    </a:lnTo>
                    <a:lnTo>
                      <a:pt x="2424" y="4328"/>
                    </a:lnTo>
                    <a:lnTo>
                      <a:pt x="2428" y="4334"/>
                    </a:lnTo>
                    <a:lnTo>
                      <a:pt x="2430" y="4340"/>
                    </a:lnTo>
                    <a:lnTo>
                      <a:pt x="2434" y="4344"/>
                    </a:lnTo>
                    <a:lnTo>
                      <a:pt x="2436" y="4344"/>
                    </a:lnTo>
                    <a:lnTo>
                      <a:pt x="2438" y="4344"/>
                    </a:lnTo>
                    <a:lnTo>
                      <a:pt x="2444" y="4342"/>
                    </a:lnTo>
                    <a:lnTo>
                      <a:pt x="2446" y="4342"/>
                    </a:lnTo>
                    <a:lnTo>
                      <a:pt x="2450" y="4346"/>
                    </a:lnTo>
                    <a:lnTo>
                      <a:pt x="2452" y="4350"/>
                    </a:lnTo>
                    <a:lnTo>
                      <a:pt x="2452" y="4352"/>
                    </a:lnTo>
                    <a:lnTo>
                      <a:pt x="2448" y="4360"/>
                    </a:lnTo>
                    <a:lnTo>
                      <a:pt x="2444" y="4370"/>
                    </a:lnTo>
                    <a:lnTo>
                      <a:pt x="2442" y="4378"/>
                    </a:lnTo>
                    <a:lnTo>
                      <a:pt x="2440" y="4388"/>
                    </a:lnTo>
                    <a:lnTo>
                      <a:pt x="2440" y="4410"/>
                    </a:lnTo>
                    <a:lnTo>
                      <a:pt x="2442" y="4422"/>
                    </a:lnTo>
                    <a:lnTo>
                      <a:pt x="2444" y="4424"/>
                    </a:lnTo>
                    <a:lnTo>
                      <a:pt x="2446" y="4424"/>
                    </a:lnTo>
                    <a:lnTo>
                      <a:pt x="2450" y="4422"/>
                    </a:lnTo>
                    <a:lnTo>
                      <a:pt x="2456" y="4416"/>
                    </a:lnTo>
                    <a:lnTo>
                      <a:pt x="2478" y="4396"/>
                    </a:lnTo>
                    <a:lnTo>
                      <a:pt x="2488" y="4388"/>
                    </a:lnTo>
                    <a:lnTo>
                      <a:pt x="2496" y="4384"/>
                    </a:lnTo>
                    <a:lnTo>
                      <a:pt x="2500" y="4382"/>
                    </a:lnTo>
                    <a:lnTo>
                      <a:pt x="2502" y="4380"/>
                    </a:lnTo>
                    <a:lnTo>
                      <a:pt x="2502" y="4376"/>
                    </a:lnTo>
                    <a:lnTo>
                      <a:pt x="2502" y="4374"/>
                    </a:lnTo>
                    <a:lnTo>
                      <a:pt x="2508" y="4372"/>
                    </a:lnTo>
                    <a:lnTo>
                      <a:pt x="2512" y="4370"/>
                    </a:lnTo>
                    <a:lnTo>
                      <a:pt x="2516" y="4364"/>
                    </a:lnTo>
                    <a:lnTo>
                      <a:pt x="2520" y="4346"/>
                    </a:lnTo>
                    <a:lnTo>
                      <a:pt x="2524" y="4328"/>
                    </a:lnTo>
                    <a:lnTo>
                      <a:pt x="2526" y="4324"/>
                    </a:lnTo>
                    <a:lnTo>
                      <a:pt x="2526" y="4322"/>
                    </a:lnTo>
                    <a:lnTo>
                      <a:pt x="2528" y="4324"/>
                    </a:lnTo>
                    <a:lnTo>
                      <a:pt x="2534" y="4328"/>
                    </a:lnTo>
                    <a:lnTo>
                      <a:pt x="2536" y="4330"/>
                    </a:lnTo>
                    <a:lnTo>
                      <a:pt x="2538" y="4332"/>
                    </a:lnTo>
                    <a:lnTo>
                      <a:pt x="2544" y="4332"/>
                    </a:lnTo>
                    <a:lnTo>
                      <a:pt x="2548" y="4330"/>
                    </a:lnTo>
                    <a:lnTo>
                      <a:pt x="2556" y="4326"/>
                    </a:lnTo>
                    <a:lnTo>
                      <a:pt x="2566" y="4318"/>
                    </a:lnTo>
                    <a:lnTo>
                      <a:pt x="2576" y="4310"/>
                    </a:lnTo>
                    <a:lnTo>
                      <a:pt x="2584" y="4304"/>
                    </a:lnTo>
                    <a:lnTo>
                      <a:pt x="2598" y="4296"/>
                    </a:lnTo>
                    <a:lnTo>
                      <a:pt x="2604" y="4292"/>
                    </a:lnTo>
                    <a:lnTo>
                      <a:pt x="2610" y="4286"/>
                    </a:lnTo>
                    <a:lnTo>
                      <a:pt x="2614" y="4280"/>
                    </a:lnTo>
                    <a:lnTo>
                      <a:pt x="2618" y="4272"/>
                    </a:lnTo>
                    <a:lnTo>
                      <a:pt x="2622" y="4252"/>
                    </a:lnTo>
                    <a:lnTo>
                      <a:pt x="2622" y="4238"/>
                    </a:lnTo>
                    <a:lnTo>
                      <a:pt x="2624" y="4228"/>
                    </a:lnTo>
                    <a:lnTo>
                      <a:pt x="2624" y="4224"/>
                    </a:lnTo>
                    <a:lnTo>
                      <a:pt x="2626" y="4222"/>
                    </a:lnTo>
                    <a:lnTo>
                      <a:pt x="2628" y="4222"/>
                    </a:lnTo>
                    <a:lnTo>
                      <a:pt x="2630" y="4220"/>
                    </a:lnTo>
                    <a:lnTo>
                      <a:pt x="2630" y="4214"/>
                    </a:lnTo>
                    <a:lnTo>
                      <a:pt x="2628" y="4206"/>
                    </a:lnTo>
                    <a:lnTo>
                      <a:pt x="2624" y="4198"/>
                    </a:lnTo>
                    <a:lnTo>
                      <a:pt x="2622" y="4194"/>
                    </a:lnTo>
                    <a:lnTo>
                      <a:pt x="2622" y="4190"/>
                    </a:lnTo>
                    <a:lnTo>
                      <a:pt x="2624" y="4174"/>
                    </a:lnTo>
                    <a:lnTo>
                      <a:pt x="2624" y="4152"/>
                    </a:lnTo>
                    <a:lnTo>
                      <a:pt x="2622" y="4138"/>
                    </a:lnTo>
                    <a:lnTo>
                      <a:pt x="2616" y="4122"/>
                    </a:lnTo>
                    <a:lnTo>
                      <a:pt x="2606" y="4096"/>
                    </a:lnTo>
                    <a:lnTo>
                      <a:pt x="2598" y="4080"/>
                    </a:lnTo>
                    <a:lnTo>
                      <a:pt x="2590" y="4068"/>
                    </a:lnTo>
                    <a:lnTo>
                      <a:pt x="2584" y="4056"/>
                    </a:lnTo>
                    <a:lnTo>
                      <a:pt x="2580" y="4046"/>
                    </a:lnTo>
                    <a:lnTo>
                      <a:pt x="2572" y="4042"/>
                    </a:lnTo>
                    <a:lnTo>
                      <a:pt x="2562" y="4034"/>
                    </a:lnTo>
                    <a:lnTo>
                      <a:pt x="2548" y="4020"/>
                    </a:lnTo>
                    <a:lnTo>
                      <a:pt x="2534" y="4002"/>
                    </a:lnTo>
                    <a:lnTo>
                      <a:pt x="2522" y="3986"/>
                    </a:lnTo>
                    <a:lnTo>
                      <a:pt x="2514" y="3972"/>
                    </a:lnTo>
                    <a:lnTo>
                      <a:pt x="2510" y="3966"/>
                    </a:lnTo>
                    <a:lnTo>
                      <a:pt x="2510" y="3960"/>
                    </a:lnTo>
                    <a:lnTo>
                      <a:pt x="2508" y="3954"/>
                    </a:lnTo>
                    <a:lnTo>
                      <a:pt x="2506" y="3950"/>
                    </a:lnTo>
                    <a:lnTo>
                      <a:pt x="2500" y="3946"/>
                    </a:lnTo>
                    <a:lnTo>
                      <a:pt x="2492" y="3940"/>
                    </a:lnTo>
                    <a:lnTo>
                      <a:pt x="2486" y="3934"/>
                    </a:lnTo>
                    <a:lnTo>
                      <a:pt x="2482" y="3926"/>
                    </a:lnTo>
                    <a:lnTo>
                      <a:pt x="2478" y="3916"/>
                    </a:lnTo>
                    <a:lnTo>
                      <a:pt x="2478" y="3904"/>
                    </a:lnTo>
                    <a:lnTo>
                      <a:pt x="2480" y="3894"/>
                    </a:lnTo>
                    <a:lnTo>
                      <a:pt x="2482" y="3884"/>
                    </a:lnTo>
                    <a:lnTo>
                      <a:pt x="2486" y="3874"/>
                    </a:lnTo>
                    <a:lnTo>
                      <a:pt x="2492" y="3864"/>
                    </a:lnTo>
                    <a:lnTo>
                      <a:pt x="2498" y="3856"/>
                    </a:lnTo>
                    <a:lnTo>
                      <a:pt x="2506" y="3848"/>
                    </a:lnTo>
                    <a:lnTo>
                      <a:pt x="2512" y="3842"/>
                    </a:lnTo>
                    <a:lnTo>
                      <a:pt x="2516" y="3836"/>
                    </a:lnTo>
                    <a:lnTo>
                      <a:pt x="2518" y="3826"/>
                    </a:lnTo>
                    <a:lnTo>
                      <a:pt x="2520" y="3816"/>
                    </a:lnTo>
                    <a:lnTo>
                      <a:pt x="2522" y="3812"/>
                    </a:lnTo>
                    <a:lnTo>
                      <a:pt x="2526" y="3808"/>
                    </a:lnTo>
                    <a:lnTo>
                      <a:pt x="2532" y="3806"/>
                    </a:lnTo>
                    <a:lnTo>
                      <a:pt x="2534" y="3806"/>
                    </a:lnTo>
                    <a:lnTo>
                      <a:pt x="2536" y="3808"/>
                    </a:lnTo>
                    <a:lnTo>
                      <a:pt x="2540" y="3808"/>
                    </a:lnTo>
                    <a:lnTo>
                      <a:pt x="2544" y="3804"/>
                    </a:lnTo>
                    <a:lnTo>
                      <a:pt x="2546" y="3800"/>
                    </a:lnTo>
                    <a:lnTo>
                      <a:pt x="2548" y="3794"/>
                    </a:lnTo>
                    <a:lnTo>
                      <a:pt x="2554" y="3790"/>
                    </a:lnTo>
                    <a:lnTo>
                      <a:pt x="2562" y="3784"/>
                    </a:lnTo>
                    <a:lnTo>
                      <a:pt x="2568" y="3782"/>
                    </a:lnTo>
                    <a:lnTo>
                      <a:pt x="2572" y="3782"/>
                    </a:lnTo>
                    <a:lnTo>
                      <a:pt x="2574" y="3778"/>
                    </a:lnTo>
                    <a:lnTo>
                      <a:pt x="2576" y="3780"/>
                    </a:lnTo>
                    <a:lnTo>
                      <a:pt x="2578" y="3780"/>
                    </a:lnTo>
                    <a:lnTo>
                      <a:pt x="2582" y="3780"/>
                    </a:lnTo>
                    <a:lnTo>
                      <a:pt x="2584" y="3776"/>
                    </a:lnTo>
                    <a:lnTo>
                      <a:pt x="2584" y="3774"/>
                    </a:lnTo>
                    <a:lnTo>
                      <a:pt x="2586" y="3776"/>
                    </a:lnTo>
                    <a:lnTo>
                      <a:pt x="2590" y="3778"/>
                    </a:lnTo>
                    <a:lnTo>
                      <a:pt x="2592" y="3778"/>
                    </a:lnTo>
                    <a:lnTo>
                      <a:pt x="2594" y="3774"/>
                    </a:lnTo>
                    <a:lnTo>
                      <a:pt x="2592" y="3772"/>
                    </a:lnTo>
                    <a:lnTo>
                      <a:pt x="2592" y="3768"/>
                    </a:lnTo>
                    <a:lnTo>
                      <a:pt x="2592" y="3762"/>
                    </a:lnTo>
                    <a:lnTo>
                      <a:pt x="2592" y="3760"/>
                    </a:lnTo>
                    <a:lnTo>
                      <a:pt x="2594" y="3762"/>
                    </a:lnTo>
                    <a:lnTo>
                      <a:pt x="2596" y="3766"/>
                    </a:lnTo>
                    <a:lnTo>
                      <a:pt x="2602" y="3772"/>
                    </a:lnTo>
                    <a:lnTo>
                      <a:pt x="2604" y="3774"/>
                    </a:lnTo>
                    <a:lnTo>
                      <a:pt x="2610" y="3776"/>
                    </a:lnTo>
                    <a:lnTo>
                      <a:pt x="2614" y="3776"/>
                    </a:lnTo>
                    <a:lnTo>
                      <a:pt x="2616" y="3778"/>
                    </a:lnTo>
                    <a:lnTo>
                      <a:pt x="2614" y="3782"/>
                    </a:lnTo>
                    <a:lnTo>
                      <a:pt x="2614" y="3784"/>
                    </a:lnTo>
                    <a:lnTo>
                      <a:pt x="2616" y="3786"/>
                    </a:lnTo>
                    <a:lnTo>
                      <a:pt x="2620" y="3786"/>
                    </a:lnTo>
                    <a:lnTo>
                      <a:pt x="2630" y="3784"/>
                    </a:lnTo>
                    <a:lnTo>
                      <a:pt x="2632" y="3782"/>
                    </a:lnTo>
                    <a:lnTo>
                      <a:pt x="2634" y="3778"/>
                    </a:lnTo>
                    <a:lnTo>
                      <a:pt x="2632" y="3772"/>
                    </a:lnTo>
                    <a:lnTo>
                      <a:pt x="2634" y="3772"/>
                    </a:lnTo>
                    <a:lnTo>
                      <a:pt x="2636" y="3778"/>
                    </a:lnTo>
                    <a:lnTo>
                      <a:pt x="2640" y="3782"/>
                    </a:lnTo>
                    <a:lnTo>
                      <a:pt x="2642" y="3782"/>
                    </a:lnTo>
                    <a:lnTo>
                      <a:pt x="2644" y="3782"/>
                    </a:lnTo>
                    <a:lnTo>
                      <a:pt x="2648" y="3784"/>
                    </a:lnTo>
                    <a:lnTo>
                      <a:pt x="2648" y="3786"/>
                    </a:lnTo>
                    <a:lnTo>
                      <a:pt x="2646" y="3788"/>
                    </a:lnTo>
                    <a:lnTo>
                      <a:pt x="2642" y="3794"/>
                    </a:lnTo>
                    <a:lnTo>
                      <a:pt x="2640" y="3802"/>
                    </a:lnTo>
                    <a:lnTo>
                      <a:pt x="2638" y="3810"/>
                    </a:lnTo>
                    <a:lnTo>
                      <a:pt x="2640" y="3816"/>
                    </a:lnTo>
                    <a:lnTo>
                      <a:pt x="2642" y="3818"/>
                    </a:lnTo>
                    <a:lnTo>
                      <a:pt x="2642" y="3820"/>
                    </a:lnTo>
                    <a:lnTo>
                      <a:pt x="2642" y="3824"/>
                    </a:lnTo>
                    <a:lnTo>
                      <a:pt x="2644" y="3828"/>
                    </a:lnTo>
                    <a:lnTo>
                      <a:pt x="2646" y="3832"/>
                    </a:lnTo>
                    <a:lnTo>
                      <a:pt x="2648" y="3836"/>
                    </a:lnTo>
                    <a:lnTo>
                      <a:pt x="2648" y="3840"/>
                    </a:lnTo>
                    <a:lnTo>
                      <a:pt x="2648" y="3842"/>
                    </a:lnTo>
                    <a:lnTo>
                      <a:pt x="2652" y="3844"/>
                    </a:lnTo>
                    <a:lnTo>
                      <a:pt x="2664" y="3842"/>
                    </a:lnTo>
                    <a:lnTo>
                      <a:pt x="2672" y="3838"/>
                    </a:lnTo>
                    <a:lnTo>
                      <a:pt x="2674" y="3836"/>
                    </a:lnTo>
                    <a:lnTo>
                      <a:pt x="2674" y="3834"/>
                    </a:lnTo>
                    <a:lnTo>
                      <a:pt x="2670" y="3828"/>
                    </a:lnTo>
                    <a:lnTo>
                      <a:pt x="2668" y="3820"/>
                    </a:lnTo>
                    <a:lnTo>
                      <a:pt x="2666" y="3814"/>
                    </a:lnTo>
                    <a:lnTo>
                      <a:pt x="2662" y="3812"/>
                    </a:lnTo>
                    <a:lnTo>
                      <a:pt x="2660" y="3812"/>
                    </a:lnTo>
                    <a:lnTo>
                      <a:pt x="2658" y="3810"/>
                    </a:lnTo>
                    <a:lnTo>
                      <a:pt x="2660" y="3804"/>
                    </a:lnTo>
                    <a:lnTo>
                      <a:pt x="2666" y="3800"/>
                    </a:lnTo>
                    <a:lnTo>
                      <a:pt x="2684" y="3788"/>
                    </a:lnTo>
                    <a:lnTo>
                      <a:pt x="2692" y="3784"/>
                    </a:lnTo>
                    <a:lnTo>
                      <a:pt x="2698" y="3782"/>
                    </a:lnTo>
                    <a:lnTo>
                      <a:pt x="2704" y="3784"/>
                    </a:lnTo>
                    <a:lnTo>
                      <a:pt x="2716" y="3780"/>
                    </a:lnTo>
                    <a:lnTo>
                      <a:pt x="2722" y="3778"/>
                    </a:lnTo>
                    <a:lnTo>
                      <a:pt x="2726" y="3774"/>
                    </a:lnTo>
                    <a:lnTo>
                      <a:pt x="2730" y="3768"/>
                    </a:lnTo>
                    <a:lnTo>
                      <a:pt x="2730" y="3764"/>
                    </a:lnTo>
                    <a:lnTo>
                      <a:pt x="2736" y="3766"/>
                    </a:lnTo>
                    <a:lnTo>
                      <a:pt x="2740" y="3768"/>
                    </a:lnTo>
                    <a:lnTo>
                      <a:pt x="2742" y="3772"/>
                    </a:lnTo>
                    <a:lnTo>
                      <a:pt x="2746" y="3768"/>
                    </a:lnTo>
                    <a:lnTo>
                      <a:pt x="2750" y="3764"/>
                    </a:lnTo>
                    <a:lnTo>
                      <a:pt x="2752" y="3766"/>
                    </a:lnTo>
                    <a:lnTo>
                      <a:pt x="2754" y="3768"/>
                    </a:lnTo>
                    <a:lnTo>
                      <a:pt x="2758" y="3764"/>
                    </a:lnTo>
                    <a:lnTo>
                      <a:pt x="2762" y="3760"/>
                    </a:lnTo>
                    <a:lnTo>
                      <a:pt x="2764" y="3760"/>
                    </a:lnTo>
                    <a:lnTo>
                      <a:pt x="2768" y="3760"/>
                    </a:lnTo>
                    <a:lnTo>
                      <a:pt x="2772" y="3762"/>
                    </a:lnTo>
                    <a:lnTo>
                      <a:pt x="2774" y="3760"/>
                    </a:lnTo>
                    <a:lnTo>
                      <a:pt x="2774" y="3756"/>
                    </a:lnTo>
                    <a:lnTo>
                      <a:pt x="2776" y="3750"/>
                    </a:lnTo>
                    <a:lnTo>
                      <a:pt x="2778" y="3752"/>
                    </a:lnTo>
                    <a:lnTo>
                      <a:pt x="2780" y="3754"/>
                    </a:lnTo>
                    <a:lnTo>
                      <a:pt x="2782" y="3754"/>
                    </a:lnTo>
                    <a:lnTo>
                      <a:pt x="2784" y="3752"/>
                    </a:lnTo>
                    <a:lnTo>
                      <a:pt x="2788" y="3748"/>
                    </a:lnTo>
                    <a:lnTo>
                      <a:pt x="2790" y="3748"/>
                    </a:lnTo>
                    <a:lnTo>
                      <a:pt x="2792" y="3748"/>
                    </a:lnTo>
                    <a:lnTo>
                      <a:pt x="2796" y="3744"/>
                    </a:lnTo>
                    <a:lnTo>
                      <a:pt x="2798" y="3740"/>
                    </a:lnTo>
                    <a:lnTo>
                      <a:pt x="2798" y="3736"/>
                    </a:lnTo>
                    <a:lnTo>
                      <a:pt x="2794" y="3724"/>
                    </a:lnTo>
                    <a:lnTo>
                      <a:pt x="2792" y="3714"/>
                    </a:lnTo>
                    <a:lnTo>
                      <a:pt x="2790" y="3712"/>
                    </a:lnTo>
                    <a:lnTo>
                      <a:pt x="2792" y="3708"/>
                    </a:lnTo>
                    <a:lnTo>
                      <a:pt x="2794" y="3708"/>
                    </a:lnTo>
                    <a:lnTo>
                      <a:pt x="2796" y="3710"/>
                    </a:lnTo>
                    <a:lnTo>
                      <a:pt x="2804" y="3720"/>
                    </a:lnTo>
                    <a:lnTo>
                      <a:pt x="2808" y="3726"/>
                    </a:lnTo>
                    <a:lnTo>
                      <a:pt x="2812" y="3730"/>
                    </a:lnTo>
                    <a:lnTo>
                      <a:pt x="2810" y="3734"/>
                    </a:lnTo>
                    <a:lnTo>
                      <a:pt x="2810" y="3738"/>
                    </a:lnTo>
                    <a:lnTo>
                      <a:pt x="2812" y="3738"/>
                    </a:lnTo>
                    <a:lnTo>
                      <a:pt x="2818" y="3740"/>
                    </a:lnTo>
                    <a:lnTo>
                      <a:pt x="2820" y="3742"/>
                    </a:lnTo>
                    <a:lnTo>
                      <a:pt x="2824" y="3742"/>
                    </a:lnTo>
                    <a:lnTo>
                      <a:pt x="2826" y="3740"/>
                    </a:lnTo>
                    <a:lnTo>
                      <a:pt x="2828" y="3736"/>
                    </a:lnTo>
                    <a:lnTo>
                      <a:pt x="2828" y="3734"/>
                    </a:lnTo>
                    <a:lnTo>
                      <a:pt x="2826" y="3730"/>
                    </a:lnTo>
                    <a:lnTo>
                      <a:pt x="2826" y="3726"/>
                    </a:lnTo>
                    <a:lnTo>
                      <a:pt x="2826" y="3724"/>
                    </a:lnTo>
                    <a:lnTo>
                      <a:pt x="2828" y="3724"/>
                    </a:lnTo>
                    <a:lnTo>
                      <a:pt x="2830" y="3728"/>
                    </a:lnTo>
                    <a:lnTo>
                      <a:pt x="2834" y="3730"/>
                    </a:lnTo>
                    <a:lnTo>
                      <a:pt x="2836" y="3732"/>
                    </a:lnTo>
                    <a:lnTo>
                      <a:pt x="2838" y="3730"/>
                    </a:lnTo>
                    <a:lnTo>
                      <a:pt x="2840" y="3728"/>
                    </a:lnTo>
                    <a:lnTo>
                      <a:pt x="2838" y="3724"/>
                    </a:lnTo>
                    <a:lnTo>
                      <a:pt x="2836" y="3720"/>
                    </a:lnTo>
                    <a:lnTo>
                      <a:pt x="2838" y="3718"/>
                    </a:lnTo>
                    <a:lnTo>
                      <a:pt x="2840" y="3716"/>
                    </a:lnTo>
                    <a:lnTo>
                      <a:pt x="2842" y="3716"/>
                    </a:lnTo>
                    <a:lnTo>
                      <a:pt x="2844" y="3718"/>
                    </a:lnTo>
                    <a:lnTo>
                      <a:pt x="2846" y="3724"/>
                    </a:lnTo>
                    <a:lnTo>
                      <a:pt x="2846" y="3726"/>
                    </a:lnTo>
                    <a:lnTo>
                      <a:pt x="2848" y="3728"/>
                    </a:lnTo>
                    <a:lnTo>
                      <a:pt x="2850" y="3728"/>
                    </a:lnTo>
                    <a:lnTo>
                      <a:pt x="2854" y="3724"/>
                    </a:lnTo>
                    <a:lnTo>
                      <a:pt x="2860" y="3718"/>
                    </a:lnTo>
                    <a:lnTo>
                      <a:pt x="2864" y="3716"/>
                    </a:lnTo>
                    <a:lnTo>
                      <a:pt x="2874" y="3722"/>
                    </a:lnTo>
                    <a:lnTo>
                      <a:pt x="2876" y="3722"/>
                    </a:lnTo>
                    <a:lnTo>
                      <a:pt x="2878" y="3722"/>
                    </a:lnTo>
                    <a:lnTo>
                      <a:pt x="2878" y="3718"/>
                    </a:lnTo>
                    <a:lnTo>
                      <a:pt x="2878" y="3714"/>
                    </a:lnTo>
                    <a:lnTo>
                      <a:pt x="2878" y="3712"/>
                    </a:lnTo>
                    <a:lnTo>
                      <a:pt x="2880" y="3712"/>
                    </a:lnTo>
                    <a:lnTo>
                      <a:pt x="2882" y="3712"/>
                    </a:lnTo>
                    <a:lnTo>
                      <a:pt x="2884" y="3716"/>
                    </a:lnTo>
                    <a:lnTo>
                      <a:pt x="2886" y="3718"/>
                    </a:lnTo>
                    <a:lnTo>
                      <a:pt x="2894" y="3716"/>
                    </a:lnTo>
                    <a:lnTo>
                      <a:pt x="2902" y="3712"/>
                    </a:lnTo>
                    <a:lnTo>
                      <a:pt x="2910" y="3710"/>
                    </a:lnTo>
                    <a:lnTo>
                      <a:pt x="2914" y="3706"/>
                    </a:lnTo>
                    <a:lnTo>
                      <a:pt x="2916" y="3702"/>
                    </a:lnTo>
                    <a:lnTo>
                      <a:pt x="2918" y="3698"/>
                    </a:lnTo>
                    <a:lnTo>
                      <a:pt x="2918" y="3696"/>
                    </a:lnTo>
                    <a:lnTo>
                      <a:pt x="2922" y="3694"/>
                    </a:lnTo>
                    <a:lnTo>
                      <a:pt x="2926" y="3692"/>
                    </a:lnTo>
                    <a:lnTo>
                      <a:pt x="2924" y="3690"/>
                    </a:lnTo>
                    <a:lnTo>
                      <a:pt x="2922" y="3688"/>
                    </a:lnTo>
                    <a:lnTo>
                      <a:pt x="2924" y="3686"/>
                    </a:lnTo>
                    <a:lnTo>
                      <a:pt x="2926" y="3684"/>
                    </a:lnTo>
                    <a:lnTo>
                      <a:pt x="2930" y="3678"/>
                    </a:lnTo>
                    <a:lnTo>
                      <a:pt x="2932" y="3674"/>
                    </a:lnTo>
                    <a:lnTo>
                      <a:pt x="2936" y="3674"/>
                    </a:lnTo>
                    <a:lnTo>
                      <a:pt x="2940" y="3674"/>
                    </a:lnTo>
                    <a:lnTo>
                      <a:pt x="2944" y="3672"/>
                    </a:lnTo>
                    <a:lnTo>
                      <a:pt x="2948" y="3668"/>
                    </a:lnTo>
                    <a:lnTo>
                      <a:pt x="2954" y="3662"/>
                    </a:lnTo>
                    <a:lnTo>
                      <a:pt x="2956" y="3662"/>
                    </a:lnTo>
                    <a:lnTo>
                      <a:pt x="2956" y="3664"/>
                    </a:lnTo>
                    <a:lnTo>
                      <a:pt x="2958" y="3666"/>
                    </a:lnTo>
                    <a:lnTo>
                      <a:pt x="2960" y="3662"/>
                    </a:lnTo>
                    <a:lnTo>
                      <a:pt x="2974" y="3648"/>
                    </a:lnTo>
                    <a:lnTo>
                      <a:pt x="2980" y="3642"/>
                    </a:lnTo>
                    <a:lnTo>
                      <a:pt x="2980" y="3638"/>
                    </a:lnTo>
                    <a:lnTo>
                      <a:pt x="2978" y="3636"/>
                    </a:lnTo>
                    <a:lnTo>
                      <a:pt x="2976" y="3632"/>
                    </a:lnTo>
                    <a:lnTo>
                      <a:pt x="2978" y="3626"/>
                    </a:lnTo>
                    <a:lnTo>
                      <a:pt x="2980" y="3624"/>
                    </a:lnTo>
                    <a:lnTo>
                      <a:pt x="2982" y="3624"/>
                    </a:lnTo>
                    <a:lnTo>
                      <a:pt x="2984" y="3626"/>
                    </a:lnTo>
                    <a:lnTo>
                      <a:pt x="2986" y="3628"/>
                    </a:lnTo>
                    <a:lnTo>
                      <a:pt x="2988" y="3626"/>
                    </a:lnTo>
                    <a:lnTo>
                      <a:pt x="2990" y="3626"/>
                    </a:lnTo>
                    <a:lnTo>
                      <a:pt x="2994" y="3628"/>
                    </a:lnTo>
                    <a:lnTo>
                      <a:pt x="2998" y="3630"/>
                    </a:lnTo>
                    <a:lnTo>
                      <a:pt x="3000" y="3624"/>
                    </a:lnTo>
                    <a:lnTo>
                      <a:pt x="3004" y="3616"/>
                    </a:lnTo>
                    <a:lnTo>
                      <a:pt x="3008" y="3614"/>
                    </a:lnTo>
                    <a:lnTo>
                      <a:pt x="3012" y="3610"/>
                    </a:lnTo>
                    <a:lnTo>
                      <a:pt x="3016" y="3608"/>
                    </a:lnTo>
                    <a:lnTo>
                      <a:pt x="3016" y="3606"/>
                    </a:lnTo>
                    <a:lnTo>
                      <a:pt x="3012" y="3602"/>
                    </a:lnTo>
                    <a:lnTo>
                      <a:pt x="3010" y="3598"/>
                    </a:lnTo>
                    <a:lnTo>
                      <a:pt x="3010" y="3594"/>
                    </a:lnTo>
                    <a:lnTo>
                      <a:pt x="3012" y="3590"/>
                    </a:lnTo>
                    <a:lnTo>
                      <a:pt x="3014" y="3594"/>
                    </a:lnTo>
                    <a:lnTo>
                      <a:pt x="3018" y="3596"/>
                    </a:lnTo>
                    <a:lnTo>
                      <a:pt x="3022" y="3596"/>
                    </a:lnTo>
                    <a:lnTo>
                      <a:pt x="3026" y="3594"/>
                    </a:lnTo>
                    <a:lnTo>
                      <a:pt x="3030" y="3590"/>
                    </a:lnTo>
                    <a:lnTo>
                      <a:pt x="3030" y="3588"/>
                    </a:lnTo>
                    <a:lnTo>
                      <a:pt x="3028" y="3588"/>
                    </a:lnTo>
                    <a:lnTo>
                      <a:pt x="3024" y="3588"/>
                    </a:lnTo>
                    <a:lnTo>
                      <a:pt x="3020" y="3586"/>
                    </a:lnTo>
                    <a:lnTo>
                      <a:pt x="3020" y="3582"/>
                    </a:lnTo>
                    <a:lnTo>
                      <a:pt x="3022" y="3578"/>
                    </a:lnTo>
                    <a:lnTo>
                      <a:pt x="3024" y="3576"/>
                    </a:lnTo>
                    <a:lnTo>
                      <a:pt x="3026" y="3576"/>
                    </a:lnTo>
                    <a:lnTo>
                      <a:pt x="3030" y="3578"/>
                    </a:lnTo>
                    <a:lnTo>
                      <a:pt x="3032" y="3580"/>
                    </a:lnTo>
                    <a:lnTo>
                      <a:pt x="3038" y="3586"/>
                    </a:lnTo>
                    <a:lnTo>
                      <a:pt x="3040" y="3586"/>
                    </a:lnTo>
                    <a:lnTo>
                      <a:pt x="3042" y="3582"/>
                    </a:lnTo>
                    <a:lnTo>
                      <a:pt x="3038" y="3576"/>
                    </a:lnTo>
                    <a:lnTo>
                      <a:pt x="3036" y="3572"/>
                    </a:lnTo>
                    <a:lnTo>
                      <a:pt x="3038" y="3568"/>
                    </a:lnTo>
                    <a:lnTo>
                      <a:pt x="3042" y="3558"/>
                    </a:lnTo>
                    <a:lnTo>
                      <a:pt x="3044" y="3552"/>
                    </a:lnTo>
                    <a:lnTo>
                      <a:pt x="3040" y="3552"/>
                    </a:lnTo>
                    <a:lnTo>
                      <a:pt x="3038" y="3552"/>
                    </a:lnTo>
                    <a:lnTo>
                      <a:pt x="3036" y="3550"/>
                    </a:lnTo>
                    <a:lnTo>
                      <a:pt x="3038" y="3546"/>
                    </a:lnTo>
                    <a:lnTo>
                      <a:pt x="3042" y="3540"/>
                    </a:lnTo>
                    <a:lnTo>
                      <a:pt x="3048" y="3536"/>
                    </a:lnTo>
                    <a:lnTo>
                      <a:pt x="3052" y="3534"/>
                    </a:lnTo>
                    <a:lnTo>
                      <a:pt x="3052" y="3532"/>
                    </a:lnTo>
                    <a:lnTo>
                      <a:pt x="3050" y="3532"/>
                    </a:lnTo>
                    <a:lnTo>
                      <a:pt x="3046" y="3526"/>
                    </a:lnTo>
                    <a:lnTo>
                      <a:pt x="3042" y="3522"/>
                    </a:lnTo>
                    <a:lnTo>
                      <a:pt x="3040" y="3518"/>
                    </a:lnTo>
                    <a:lnTo>
                      <a:pt x="3038" y="3518"/>
                    </a:lnTo>
                    <a:lnTo>
                      <a:pt x="3042" y="3516"/>
                    </a:lnTo>
                    <a:lnTo>
                      <a:pt x="3046" y="3514"/>
                    </a:lnTo>
                    <a:lnTo>
                      <a:pt x="3046" y="3516"/>
                    </a:lnTo>
                    <a:lnTo>
                      <a:pt x="3048" y="3520"/>
                    </a:lnTo>
                    <a:lnTo>
                      <a:pt x="3050" y="3524"/>
                    </a:lnTo>
                    <a:lnTo>
                      <a:pt x="3054" y="3524"/>
                    </a:lnTo>
                    <a:lnTo>
                      <a:pt x="3058" y="3522"/>
                    </a:lnTo>
                    <a:lnTo>
                      <a:pt x="3060" y="3520"/>
                    </a:lnTo>
                    <a:lnTo>
                      <a:pt x="3062" y="3518"/>
                    </a:lnTo>
                    <a:lnTo>
                      <a:pt x="3062" y="3512"/>
                    </a:lnTo>
                    <a:lnTo>
                      <a:pt x="3060" y="3510"/>
                    </a:lnTo>
                    <a:lnTo>
                      <a:pt x="3060" y="3508"/>
                    </a:lnTo>
                    <a:lnTo>
                      <a:pt x="3062" y="3506"/>
                    </a:lnTo>
                    <a:lnTo>
                      <a:pt x="3068" y="3502"/>
                    </a:lnTo>
                    <a:lnTo>
                      <a:pt x="3074" y="3492"/>
                    </a:lnTo>
                    <a:lnTo>
                      <a:pt x="3080" y="3482"/>
                    </a:lnTo>
                    <a:lnTo>
                      <a:pt x="3080" y="3478"/>
                    </a:lnTo>
                    <a:lnTo>
                      <a:pt x="3080" y="3474"/>
                    </a:lnTo>
                    <a:lnTo>
                      <a:pt x="3080" y="3470"/>
                    </a:lnTo>
                    <a:lnTo>
                      <a:pt x="3080" y="3468"/>
                    </a:lnTo>
                    <a:lnTo>
                      <a:pt x="3084" y="3462"/>
                    </a:lnTo>
                    <a:lnTo>
                      <a:pt x="3090" y="3454"/>
                    </a:lnTo>
                    <a:lnTo>
                      <a:pt x="3098" y="3440"/>
                    </a:lnTo>
                    <a:lnTo>
                      <a:pt x="3100" y="3436"/>
                    </a:lnTo>
                    <a:lnTo>
                      <a:pt x="3102" y="3432"/>
                    </a:lnTo>
                    <a:lnTo>
                      <a:pt x="3104" y="3434"/>
                    </a:lnTo>
                    <a:lnTo>
                      <a:pt x="3106" y="3436"/>
                    </a:lnTo>
                    <a:lnTo>
                      <a:pt x="3108" y="3440"/>
                    </a:lnTo>
                    <a:lnTo>
                      <a:pt x="3110" y="3440"/>
                    </a:lnTo>
                    <a:lnTo>
                      <a:pt x="3112" y="3440"/>
                    </a:lnTo>
                    <a:lnTo>
                      <a:pt x="3116" y="3436"/>
                    </a:lnTo>
                    <a:lnTo>
                      <a:pt x="3120" y="3434"/>
                    </a:lnTo>
                    <a:lnTo>
                      <a:pt x="3122" y="3432"/>
                    </a:lnTo>
                    <a:lnTo>
                      <a:pt x="3118" y="3424"/>
                    </a:lnTo>
                    <a:lnTo>
                      <a:pt x="3116" y="3420"/>
                    </a:lnTo>
                    <a:lnTo>
                      <a:pt x="3116" y="3416"/>
                    </a:lnTo>
                    <a:lnTo>
                      <a:pt x="3118" y="3414"/>
                    </a:lnTo>
                    <a:lnTo>
                      <a:pt x="3122" y="3412"/>
                    </a:lnTo>
                    <a:lnTo>
                      <a:pt x="3122" y="3410"/>
                    </a:lnTo>
                    <a:lnTo>
                      <a:pt x="3122" y="3408"/>
                    </a:lnTo>
                    <a:lnTo>
                      <a:pt x="3122" y="3402"/>
                    </a:lnTo>
                    <a:lnTo>
                      <a:pt x="3122" y="3400"/>
                    </a:lnTo>
                    <a:lnTo>
                      <a:pt x="3124" y="3398"/>
                    </a:lnTo>
                    <a:lnTo>
                      <a:pt x="3120" y="3392"/>
                    </a:lnTo>
                    <a:lnTo>
                      <a:pt x="3118" y="3390"/>
                    </a:lnTo>
                    <a:lnTo>
                      <a:pt x="3124" y="3390"/>
                    </a:lnTo>
                    <a:lnTo>
                      <a:pt x="3128" y="3390"/>
                    </a:lnTo>
                    <a:lnTo>
                      <a:pt x="3132" y="3388"/>
                    </a:lnTo>
                    <a:lnTo>
                      <a:pt x="3134" y="3384"/>
                    </a:lnTo>
                    <a:lnTo>
                      <a:pt x="3134" y="3376"/>
                    </a:lnTo>
                    <a:lnTo>
                      <a:pt x="3134" y="3370"/>
                    </a:lnTo>
                    <a:lnTo>
                      <a:pt x="3132" y="3366"/>
                    </a:lnTo>
                    <a:lnTo>
                      <a:pt x="3128" y="3362"/>
                    </a:lnTo>
                    <a:lnTo>
                      <a:pt x="3136" y="3356"/>
                    </a:lnTo>
                    <a:lnTo>
                      <a:pt x="3140" y="3352"/>
                    </a:lnTo>
                    <a:lnTo>
                      <a:pt x="3136" y="3350"/>
                    </a:lnTo>
                    <a:lnTo>
                      <a:pt x="3128" y="3348"/>
                    </a:lnTo>
                    <a:lnTo>
                      <a:pt x="3122" y="3344"/>
                    </a:lnTo>
                    <a:lnTo>
                      <a:pt x="3118" y="3338"/>
                    </a:lnTo>
                    <a:lnTo>
                      <a:pt x="3112" y="3332"/>
                    </a:lnTo>
                    <a:lnTo>
                      <a:pt x="3108" y="3330"/>
                    </a:lnTo>
                    <a:lnTo>
                      <a:pt x="3102" y="3330"/>
                    </a:lnTo>
                    <a:lnTo>
                      <a:pt x="3096" y="3334"/>
                    </a:lnTo>
                    <a:lnTo>
                      <a:pt x="3086" y="3338"/>
                    </a:lnTo>
                    <a:lnTo>
                      <a:pt x="3082" y="3338"/>
                    </a:lnTo>
                    <a:lnTo>
                      <a:pt x="3078" y="3334"/>
                    </a:lnTo>
                    <a:lnTo>
                      <a:pt x="3076" y="3332"/>
                    </a:lnTo>
                    <a:lnTo>
                      <a:pt x="3074" y="3330"/>
                    </a:lnTo>
                    <a:lnTo>
                      <a:pt x="3070" y="3332"/>
                    </a:lnTo>
                    <a:lnTo>
                      <a:pt x="3070" y="3328"/>
                    </a:lnTo>
                    <a:lnTo>
                      <a:pt x="3072" y="3326"/>
                    </a:lnTo>
                    <a:lnTo>
                      <a:pt x="3074" y="3324"/>
                    </a:lnTo>
                    <a:lnTo>
                      <a:pt x="3082" y="3326"/>
                    </a:lnTo>
                    <a:lnTo>
                      <a:pt x="3088" y="3326"/>
                    </a:lnTo>
                    <a:lnTo>
                      <a:pt x="3090" y="3326"/>
                    </a:lnTo>
                    <a:lnTo>
                      <a:pt x="3092" y="3324"/>
                    </a:lnTo>
                    <a:lnTo>
                      <a:pt x="3098" y="3316"/>
                    </a:lnTo>
                    <a:lnTo>
                      <a:pt x="3106" y="3310"/>
                    </a:lnTo>
                    <a:lnTo>
                      <a:pt x="3116" y="3304"/>
                    </a:lnTo>
                    <a:lnTo>
                      <a:pt x="3124" y="3302"/>
                    </a:lnTo>
                    <a:lnTo>
                      <a:pt x="3128" y="3300"/>
                    </a:lnTo>
                    <a:lnTo>
                      <a:pt x="3132" y="3298"/>
                    </a:lnTo>
                    <a:lnTo>
                      <a:pt x="3132" y="3294"/>
                    </a:lnTo>
                    <a:lnTo>
                      <a:pt x="3130" y="3290"/>
                    </a:lnTo>
                    <a:lnTo>
                      <a:pt x="3122" y="3278"/>
                    </a:lnTo>
                    <a:lnTo>
                      <a:pt x="3110" y="3268"/>
                    </a:lnTo>
                    <a:lnTo>
                      <a:pt x="3100" y="3258"/>
                    </a:lnTo>
                    <a:lnTo>
                      <a:pt x="3090" y="3254"/>
                    </a:lnTo>
                    <a:lnTo>
                      <a:pt x="3086" y="3252"/>
                    </a:lnTo>
                    <a:lnTo>
                      <a:pt x="3086" y="3250"/>
                    </a:lnTo>
                    <a:lnTo>
                      <a:pt x="3086" y="3248"/>
                    </a:lnTo>
                    <a:lnTo>
                      <a:pt x="3086" y="3246"/>
                    </a:lnTo>
                    <a:lnTo>
                      <a:pt x="3086" y="3244"/>
                    </a:lnTo>
                    <a:lnTo>
                      <a:pt x="3082" y="3242"/>
                    </a:lnTo>
                    <a:lnTo>
                      <a:pt x="3078" y="3240"/>
                    </a:lnTo>
                    <a:lnTo>
                      <a:pt x="3074" y="3242"/>
                    </a:lnTo>
                    <a:lnTo>
                      <a:pt x="3068" y="3246"/>
                    </a:lnTo>
                    <a:lnTo>
                      <a:pt x="3062" y="3246"/>
                    </a:lnTo>
                    <a:lnTo>
                      <a:pt x="3056" y="3244"/>
                    </a:lnTo>
                    <a:lnTo>
                      <a:pt x="3050" y="3242"/>
                    </a:lnTo>
                    <a:lnTo>
                      <a:pt x="3046" y="3236"/>
                    </a:lnTo>
                    <a:lnTo>
                      <a:pt x="3044" y="3232"/>
                    </a:lnTo>
                    <a:lnTo>
                      <a:pt x="3042" y="3228"/>
                    </a:lnTo>
                    <a:lnTo>
                      <a:pt x="3044" y="3224"/>
                    </a:lnTo>
                    <a:lnTo>
                      <a:pt x="3046" y="3224"/>
                    </a:lnTo>
                    <a:lnTo>
                      <a:pt x="3048" y="3224"/>
                    </a:lnTo>
                    <a:lnTo>
                      <a:pt x="3052" y="3230"/>
                    </a:lnTo>
                    <a:lnTo>
                      <a:pt x="3056" y="3238"/>
                    </a:lnTo>
                    <a:lnTo>
                      <a:pt x="3060" y="3242"/>
                    </a:lnTo>
                    <a:lnTo>
                      <a:pt x="3062" y="3244"/>
                    </a:lnTo>
                    <a:lnTo>
                      <a:pt x="3066" y="3242"/>
                    </a:lnTo>
                    <a:lnTo>
                      <a:pt x="3072" y="3240"/>
                    </a:lnTo>
                    <a:lnTo>
                      <a:pt x="3078" y="3236"/>
                    </a:lnTo>
                    <a:lnTo>
                      <a:pt x="3080" y="3236"/>
                    </a:lnTo>
                    <a:lnTo>
                      <a:pt x="3084" y="3236"/>
                    </a:lnTo>
                    <a:lnTo>
                      <a:pt x="3088" y="3240"/>
                    </a:lnTo>
                    <a:lnTo>
                      <a:pt x="3090" y="3242"/>
                    </a:lnTo>
                    <a:lnTo>
                      <a:pt x="3092" y="3246"/>
                    </a:lnTo>
                    <a:lnTo>
                      <a:pt x="3094" y="3248"/>
                    </a:lnTo>
                    <a:lnTo>
                      <a:pt x="3098" y="3248"/>
                    </a:lnTo>
                    <a:lnTo>
                      <a:pt x="3104" y="3248"/>
                    </a:lnTo>
                    <a:lnTo>
                      <a:pt x="3110" y="3250"/>
                    </a:lnTo>
                    <a:lnTo>
                      <a:pt x="3122" y="3256"/>
                    </a:lnTo>
                    <a:lnTo>
                      <a:pt x="3128" y="3258"/>
                    </a:lnTo>
                    <a:lnTo>
                      <a:pt x="3130" y="3258"/>
                    </a:lnTo>
                    <a:lnTo>
                      <a:pt x="3132" y="3256"/>
                    </a:lnTo>
                    <a:lnTo>
                      <a:pt x="3132" y="3254"/>
                    </a:lnTo>
                    <a:lnTo>
                      <a:pt x="3128" y="3244"/>
                    </a:lnTo>
                    <a:lnTo>
                      <a:pt x="3120" y="3236"/>
                    </a:lnTo>
                    <a:lnTo>
                      <a:pt x="3114" y="3230"/>
                    </a:lnTo>
                    <a:lnTo>
                      <a:pt x="3112" y="3226"/>
                    </a:lnTo>
                    <a:lnTo>
                      <a:pt x="3108" y="3220"/>
                    </a:lnTo>
                    <a:lnTo>
                      <a:pt x="3100" y="3212"/>
                    </a:lnTo>
                    <a:lnTo>
                      <a:pt x="3092" y="3206"/>
                    </a:lnTo>
                    <a:lnTo>
                      <a:pt x="3090" y="3200"/>
                    </a:lnTo>
                    <a:lnTo>
                      <a:pt x="3090" y="3192"/>
                    </a:lnTo>
                    <a:lnTo>
                      <a:pt x="3088" y="3186"/>
                    </a:lnTo>
                    <a:lnTo>
                      <a:pt x="3086" y="3178"/>
                    </a:lnTo>
                    <a:lnTo>
                      <a:pt x="3082" y="3168"/>
                    </a:lnTo>
                    <a:lnTo>
                      <a:pt x="3078" y="3158"/>
                    </a:lnTo>
                    <a:lnTo>
                      <a:pt x="3072" y="3138"/>
                    </a:lnTo>
                    <a:lnTo>
                      <a:pt x="3070" y="3130"/>
                    </a:lnTo>
                    <a:lnTo>
                      <a:pt x="3066" y="3122"/>
                    </a:lnTo>
                    <a:lnTo>
                      <a:pt x="3060" y="3116"/>
                    </a:lnTo>
                    <a:lnTo>
                      <a:pt x="3052" y="3112"/>
                    </a:lnTo>
                    <a:lnTo>
                      <a:pt x="3044" y="3108"/>
                    </a:lnTo>
                    <a:lnTo>
                      <a:pt x="3040" y="3104"/>
                    </a:lnTo>
                    <a:lnTo>
                      <a:pt x="3036" y="3098"/>
                    </a:lnTo>
                    <a:lnTo>
                      <a:pt x="3034" y="3094"/>
                    </a:lnTo>
                    <a:lnTo>
                      <a:pt x="3032" y="3094"/>
                    </a:lnTo>
                    <a:lnTo>
                      <a:pt x="3026" y="3096"/>
                    </a:lnTo>
                    <a:lnTo>
                      <a:pt x="3022" y="3096"/>
                    </a:lnTo>
                    <a:lnTo>
                      <a:pt x="3022" y="3092"/>
                    </a:lnTo>
                    <a:lnTo>
                      <a:pt x="3024" y="3084"/>
                    </a:lnTo>
                    <a:lnTo>
                      <a:pt x="3026" y="3076"/>
                    </a:lnTo>
                    <a:lnTo>
                      <a:pt x="3038" y="3058"/>
                    </a:lnTo>
                    <a:lnTo>
                      <a:pt x="3044" y="3052"/>
                    </a:lnTo>
                    <a:lnTo>
                      <a:pt x="3048" y="3048"/>
                    </a:lnTo>
                    <a:lnTo>
                      <a:pt x="3054" y="3044"/>
                    </a:lnTo>
                    <a:lnTo>
                      <a:pt x="3056" y="3042"/>
                    </a:lnTo>
                    <a:lnTo>
                      <a:pt x="3058" y="3038"/>
                    </a:lnTo>
                    <a:lnTo>
                      <a:pt x="3062" y="3034"/>
                    </a:lnTo>
                    <a:lnTo>
                      <a:pt x="3064" y="3032"/>
                    </a:lnTo>
                    <a:lnTo>
                      <a:pt x="3064" y="3028"/>
                    </a:lnTo>
                    <a:lnTo>
                      <a:pt x="3062" y="3024"/>
                    </a:lnTo>
                    <a:lnTo>
                      <a:pt x="3060" y="3020"/>
                    </a:lnTo>
                    <a:lnTo>
                      <a:pt x="3060" y="3018"/>
                    </a:lnTo>
                    <a:lnTo>
                      <a:pt x="3062" y="3018"/>
                    </a:lnTo>
                    <a:lnTo>
                      <a:pt x="3064" y="3016"/>
                    </a:lnTo>
                    <a:lnTo>
                      <a:pt x="3066" y="3016"/>
                    </a:lnTo>
                    <a:lnTo>
                      <a:pt x="3066" y="3020"/>
                    </a:lnTo>
                    <a:lnTo>
                      <a:pt x="3068" y="3022"/>
                    </a:lnTo>
                    <a:lnTo>
                      <a:pt x="3070" y="3024"/>
                    </a:lnTo>
                    <a:lnTo>
                      <a:pt x="3072" y="3024"/>
                    </a:lnTo>
                    <a:lnTo>
                      <a:pt x="3076" y="3022"/>
                    </a:lnTo>
                    <a:lnTo>
                      <a:pt x="3080" y="3020"/>
                    </a:lnTo>
                    <a:lnTo>
                      <a:pt x="3082" y="3018"/>
                    </a:lnTo>
                    <a:lnTo>
                      <a:pt x="3084" y="3012"/>
                    </a:lnTo>
                    <a:lnTo>
                      <a:pt x="3086" y="3008"/>
                    </a:lnTo>
                    <a:lnTo>
                      <a:pt x="3088" y="3006"/>
                    </a:lnTo>
                    <a:lnTo>
                      <a:pt x="3090" y="3008"/>
                    </a:lnTo>
                    <a:lnTo>
                      <a:pt x="3092" y="3008"/>
                    </a:lnTo>
                    <a:lnTo>
                      <a:pt x="3094" y="3006"/>
                    </a:lnTo>
                    <a:lnTo>
                      <a:pt x="3096" y="3002"/>
                    </a:lnTo>
                    <a:lnTo>
                      <a:pt x="3100" y="2996"/>
                    </a:lnTo>
                    <a:lnTo>
                      <a:pt x="3106" y="2990"/>
                    </a:lnTo>
                    <a:lnTo>
                      <a:pt x="3114" y="2988"/>
                    </a:lnTo>
                    <a:lnTo>
                      <a:pt x="3118" y="2988"/>
                    </a:lnTo>
                    <a:lnTo>
                      <a:pt x="3122" y="2986"/>
                    </a:lnTo>
                    <a:lnTo>
                      <a:pt x="3128" y="2982"/>
                    </a:lnTo>
                    <a:lnTo>
                      <a:pt x="3134" y="2976"/>
                    </a:lnTo>
                    <a:lnTo>
                      <a:pt x="3136" y="2976"/>
                    </a:lnTo>
                    <a:lnTo>
                      <a:pt x="3138" y="2978"/>
                    </a:lnTo>
                    <a:lnTo>
                      <a:pt x="3140" y="2978"/>
                    </a:lnTo>
                    <a:lnTo>
                      <a:pt x="3142" y="2976"/>
                    </a:lnTo>
                    <a:lnTo>
                      <a:pt x="3142" y="2978"/>
                    </a:lnTo>
                    <a:lnTo>
                      <a:pt x="3144" y="2980"/>
                    </a:lnTo>
                    <a:lnTo>
                      <a:pt x="3144" y="2982"/>
                    </a:lnTo>
                    <a:lnTo>
                      <a:pt x="3148" y="2984"/>
                    </a:lnTo>
                    <a:lnTo>
                      <a:pt x="3152" y="2982"/>
                    </a:lnTo>
                    <a:lnTo>
                      <a:pt x="3156" y="2980"/>
                    </a:lnTo>
                    <a:lnTo>
                      <a:pt x="3158" y="2978"/>
                    </a:lnTo>
                    <a:lnTo>
                      <a:pt x="3156" y="2974"/>
                    </a:lnTo>
                    <a:lnTo>
                      <a:pt x="3156" y="2972"/>
                    </a:lnTo>
                    <a:lnTo>
                      <a:pt x="3156" y="2970"/>
                    </a:lnTo>
                    <a:lnTo>
                      <a:pt x="3158" y="2966"/>
                    </a:lnTo>
                    <a:lnTo>
                      <a:pt x="3162" y="2960"/>
                    </a:lnTo>
                    <a:lnTo>
                      <a:pt x="3164" y="2958"/>
                    </a:lnTo>
                    <a:lnTo>
                      <a:pt x="3164" y="2956"/>
                    </a:lnTo>
                    <a:lnTo>
                      <a:pt x="3158" y="2952"/>
                    </a:lnTo>
                    <a:lnTo>
                      <a:pt x="3150" y="2950"/>
                    </a:lnTo>
                    <a:lnTo>
                      <a:pt x="3144" y="2946"/>
                    </a:lnTo>
                    <a:lnTo>
                      <a:pt x="3140" y="2942"/>
                    </a:lnTo>
                    <a:lnTo>
                      <a:pt x="3138" y="2944"/>
                    </a:lnTo>
                    <a:lnTo>
                      <a:pt x="3134" y="2948"/>
                    </a:lnTo>
                    <a:lnTo>
                      <a:pt x="3132" y="2948"/>
                    </a:lnTo>
                    <a:lnTo>
                      <a:pt x="3126" y="2950"/>
                    </a:lnTo>
                    <a:lnTo>
                      <a:pt x="3116" y="2948"/>
                    </a:lnTo>
                    <a:lnTo>
                      <a:pt x="3114" y="2944"/>
                    </a:lnTo>
                    <a:lnTo>
                      <a:pt x="3112" y="2942"/>
                    </a:lnTo>
                    <a:lnTo>
                      <a:pt x="3108" y="2942"/>
                    </a:lnTo>
                    <a:lnTo>
                      <a:pt x="3102" y="2942"/>
                    </a:lnTo>
                    <a:lnTo>
                      <a:pt x="3100" y="2938"/>
                    </a:lnTo>
                    <a:lnTo>
                      <a:pt x="3096" y="2934"/>
                    </a:lnTo>
                    <a:lnTo>
                      <a:pt x="3094" y="2930"/>
                    </a:lnTo>
                    <a:lnTo>
                      <a:pt x="3090" y="2930"/>
                    </a:lnTo>
                    <a:lnTo>
                      <a:pt x="3080" y="2930"/>
                    </a:lnTo>
                    <a:lnTo>
                      <a:pt x="3072" y="2934"/>
                    </a:lnTo>
                    <a:lnTo>
                      <a:pt x="3066" y="2940"/>
                    </a:lnTo>
                    <a:lnTo>
                      <a:pt x="3062" y="2946"/>
                    </a:lnTo>
                    <a:lnTo>
                      <a:pt x="3056" y="2950"/>
                    </a:lnTo>
                    <a:lnTo>
                      <a:pt x="3052" y="2952"/>
                    </a:lnTo>
                    <a:lnTo>
                      <a:pt x="3050" y="2954"/>
                    </a:lnTo>
                    <a:lnTo>
                      <a:pt x="3050" y="2958"/>
                    </a:lnTo>
                    <a:lnTo>
                      <a:pt x="3052" y="2962"/>
                    </a:lnTo>
                    <a:lnTo>
                      <a:pt x="3050" y="2964"/>
                    </a:lnTo>
                    <a:lnTo>
                      <a:pt x="3044" y="2966"/>
                    </a:lnTo>
                    <a:lnTo>
                      <a:pt x="3032" y="2968"/>
                    </a:lnTo>
                    <a:lnTo>
                      <a:pt x="3026" y="2968"/>
                    </a:lnTo>
                    <a:lnTo>
                      <a:pt x="3020" y="2964"/>
                    </a:lnTo>
                    <a:lnTo>
                      <a:pt x="3018" y="2960"/>
                    </a:lnTo>
                    <a:lnTo>
                      <a:pt x="3014" y="2956"/>
                    </a:lnTo>
                    <a:lnTo>
                      <a:pt x="3014" y="2946"/>
                    </a:lnTo>
                    <a:lnTo>
                      <a:pt x="3014" y="2940"/>
                    </a:lnTo>
                    <a:lnTo>
                      <a:pt x="3016" y="2938"/>
                    </a:lnTo>
                    <a:lnTo>
                      <a:pt x="3018" y="2934"/>
                    </a:lnTo>
                    <a:lnTo>
                      <a:pt x="3018" y="2930"/>
                    </a:lnTo>
                    <a:lnTo>
                      <a:pt x="3014" y="2922"/>
                    </a:lnTo>
                    <a:lnTo>
                      <a:pt x="3008" y="2914"/>
                    </a:lnTo>
                    <a:lnTo>
                      <a:pt x="3004" y="2912"/>
                    </a:lnTo>
                    <a:lnTo>
                      <a:pt x="3002" y="2912"/>
                    </a:lnTo>
                    <a:lnTo>
                      <a:pt x="2996" y="2914"/>
                    </a:lnTo>
                    <a:lnTo>
                      <a:pt x="2988" y="2914"/>
                    </a:lnTo>
                    <a:lnTo>
                      <a:pt x="2980" y="2914"/>
                    </a:lnTo>
                    <a:lnTo>
                      <a:pt x="2976" y="2912"/>
                    </a:lnTo>
                    <a:lnTo>
                      <a:pt x="2974" y="2910"/>
                    </a:lnTo>
                    <a:lnTo>
                      <a:pt x="2970" y="2906"/>
                    </a:lnTo>
                    <a:lnTo>
                      <a:pt x="2966" y="2904"/>
                    </a:lnTo>
                    <a:lnTo>
                      <a:pt x="2962" y="2900"/>
                    </a:lnTo>
                    <a:lnTo>
                      <a:pt x="2958" y="2890"/>
                    </a:lnTo>
                    <a:lnTo>
                      <a:pt x="2958" y="2880"/>
                    </a:lnTo>
                    <a:lnTo>
                      <a:pt x="2960" y="2872"/>
                    </a:lnTo>
                    <a:lnTo>
                      <a:pt x="2962" y="2868"/>
                    </a:lnTo>
                    <a:lnTo>
                      <a:pt x="2964" y="2862"/>
                    </a:lnTo>
                    <a:lnTo>
                      <a:pt x="2966" y="2856"/>
                    </a:lnTo>
                    <a:lnTo>
                      <a:pt x="2970" y="2854"/>
                    </a:lnTo>
                    <a:lnTo>
                      <a:pt x="2976" y="2854"/>
                    </a:lnTo>
                    <a:lnTo>
                      <a:pt x="2982" y="2860"/>
                    </a:lnTo>
                    <a:lnTo>
                      <a:pt x="2986" y="2864"/>
                    </a:lnTo>
                    <a:lnTo>
                      <a:pt x="2988" y="2864"/>
                    </a:lnTo>
                    <a:lnTo>
                      <a:pt x="2992" y="2862"/>
                    </a:lnTo>
                    <a:lnTo>
                      <a:pt x="2996" y="2856"/>
                    </a:lnTo>
                    <a:lnTo>
                      <a:pt x="3000" y="2856"/>
                    </a:lnTo>
                    <a:lnTo>
                      <a:pt x="3002" y="2856"/>
                    </a:lnTo>
                    <a:lnTo>
                      <a:pt x="3010" y="2856"/>
                    </a:lnTo>
                    <a:lnTo>
                      <a:pt x="3018" y="2854"/>
                    </a:lnTo>
                    <a:lnTo>
                      <a:pt x="3024" y="2846"/>
                    </a:lnTo>
                    <a:lnTo>
                      <a:pt x="3026" y="2836"/>
                    </a:lnTo>
                    <a:lnTo>
                      <a:pt x="3026" y="2830"/>
                    </a:lnTo>
                    <a:lnTo>
                      <a:pt x="3032" y="2824"/>
                    </a:lnTo>
                    <a:lnTo>
                      <a:pt x="3044" y="2814"/>
                    </a:lnTo>
                    <a:lnTo>
                      <a:pt x="3058" y="2806"/>
                    </a:lnTo>
                    <a:lnTo>
                      <a:pt x="3070" y="2802"/>
                    </a:lnTo>
                    <a:lnTo>
                      <a:pt x="3076" y="2798"/>
                    </a:lnTo>
                    <a:lnTo>
                      <a:pt x="3078" y="2794"/>
                    </a:lnTo>
                    <a:lnTo>
                      <a:pt x="3080" y="2786"/>
                    </a:lnTo>
                    <a:lnTo>
                      <a:pt x="3088" y="2778"/>
                    </a:lnTo>
                    <a:lnTo>
                      <a:pt x="3094" y="2770"/>
                    </a:lnTo>
                    <a:lnTo>
                      <a:pt x="3094" y="2768"/>
                    </a:lnTo>
                    <a:lnTo>
                      <a:pt x="3096" y="2766"/>
                    </a:lnTo>
                    <a:lnTo>
                      <a:pt x="3100" y="2762"/>
                    </a:lnTo>
                    <a:lnTo>
                      <a:pt x="3104" y="2760"/>
                    </a:lnTo>
                    <a:lnTo>
                      <a:pt x="3108" y="2760"/>
                    </a:lnTo>
                    <a:lnTo>
                      <a:pt x="3114" y="2760"/>
                    </a:lnTo>
                    <a:lnTo>
                      <a:pt x="3120" y="2762"/>
                    </a:lnTo>
                    <a:lnTo>
                      <a:pt x="3122" y="2762"/>
                    </a:lnTo>
                    <a:lnTo>
                      <a:pt x="3124" y="2762"/>
                    </a:lnTo>
                    <a:lnTo>
                      <a:pt x="3128" y="2760"/>
                    </a:lnTo>
                    <a:lnTo>
                      <a:pt x="3130" y="2760"/>
                    </a:lnTo>
                    <a:lnTo>
                      <a:pt x="3132" y="2764"/>
                    </a:lnTo>
                    <a:lnTo>
                      <a:pt x="3138" y="2770"/>
                    </a:lnTo>
                    <a:lnTo>
                      <a:pt x="3144" y="2778"/>
                    </a:lnTo>
                    <a:lnTo>
                      <a:pt x="3146" y="2782"/>
                    </a:lnTo>
                    <a:lnTo>
                      <a:pt x="3144" y="2790"/>
                    </a:lnTo>
                    <a:lnTo>
                      <a:pt x="3138" y="2800"/>
                    </a:lnTo>
                    <a:lnTo>
                      <a:pt x="3132" y="2806"/>
                    </a:lnTo>
                    <a:lnTo>
                      <a:pt x="3128" y="2810"/>
                    </a:lnTo>
                    <a:lnTo>
                      <a:pt x="3120" y="2816"/>
                    </a:lnTo>
                    <a:lnTo>
                      <a:pt x="3114" y="2820"/>
                    </a:lnTo>
                    <a:lnTo>
                      <a:pt x="3114" y="2822"/>
                    </a:lnTo>
                    <a:lnTo>
                      <a:pt x="3114" y="2824"/>
                    </a:lnTo>
                    <a:lnTo>
                      <a:pt x="3116" y="2826"/>
                    </a:lnTo>
                    <a:lnTo>
                      <a:pt x="3114" y="2828"/>
                    </a:lnTo>
                    <a:lnTo>
                      <a:pt x="3110" y="2832"/>
                    </a:lnTo>
                    <a:lnTo>
                      <a:pt x="3104" y="2834"/>
                    </a:lnTo>
                    <a:lnTo>
                      <a:pt x="3104" y="2836"/>
                    </a:lnTo>
                    <a:lnTo>
                      <a:pt x="3106" y="2836"/>
                    </a:lnTo>
                    <a:lnTo>
                      <a:pt x="3110" y="2840"/>
                    </a:lnTo>
                    <a:lnTo>
                      <a:pt x="3116" y="2844"/>
                    </a:lnTo>
                    <a:lnTo>
                      <a:pt x="3120" y="2850"/>
                    </a:lnTo>
                    <a:lnTo>
                      <a:pt x="3122" y="2854"/>
                    </a:lnTo>
                    <a:lnTo>
                      <a:pt x="3122" y="2858"/>
                    </a:lnTo>
                    <a:lnTo>
                      <a:pt x="3120" y="2862"/>
                    </a:lnTo>
                    <a:lnTo>
                      <a:pt x="3118" y="2864"/>
                    </a:lnTo>
                    <a:lnTo>
                      <a:pt x="3116" y="2862"/>
                    </a:lnTo>
                    <a:lnTo>
                      <a:pt x="3112" y="2860"/>
                    </a:lnTo>
                    <a:lnTo>
                      <a:pt x="3110" y="2862"/>
                    </a:lnTo>
                    <a:lnTo>
                      <a:pt x="3108" y="2864"/>
                    </a:lnTo>
                    <a:lnTo>
                      <a:pt x="3106" y="2868"/>
                    </a:lnTo>
                    <a:lnTo>
                      <a:pt x="3102" y="2868"/>
                    </a:lnTo>
                    <a:lnTo>
                      <a:pt x="3100" y="2876"/>
                    </a:lnTo>
                    <a:lnTo>
                      <a:pt x="3100" y="2880"/>
                    </a:lnTo>
                    <a:lnTo>
                      <a:pt x="3102" y="2882"/>
                    </a:lnTo>
                    <a:lnTo>
                      <a:pt x="3104" y="2882"/>
                    </a:lnTo>
                    <a:lnTo>
                      <a:pt x="3106" y="2880"/>
                    </a:lnTo>
                    <a:lnTo>
                      <a:pt x="3112" y="2878"/>
                    </a:lnTo>
                    <a:lnTo>
                      <a:pt x="3120" y="2874"/>
                    </a:lnTo>
                    <a:lnTo>
                      <a:pt x="3124" y="2874"/>
                    </a:lnTo>
                    <a:lnTo>
                      <a:pt x="3124" y="2872"/>
                    </a:lnTo>
                    <a:lnTo>
                      <a:pt x="3124" y="2868"/>
                    </a:lnTo>
                    <a:lnTo>
                      <a:pt x="3124" y="2866"/>
                    </a:lnTo>
                    <a:lnTo>
                      <a:pt x="3128" y="2866"/>
                    </a:lnTo>
                    <a:lnTo>
                      <a:pt x="3132" y="2866"/>
                    </a:lnTo>
                    <a:lnTo>
                      <a:pt x="3136" y="2864"/>
                    </a:lnTo>
                    <a:lnTo>
                      <a:pt x="3142" y="2856"/>
                    </a:lnTo>
                    <a:lnTo>
                      <a:pt x="3148" y="2848"/>
                    </a:lnTo>
                    <a:lnTo>
                      <a:pt x="3152" y="2844"/>
                    </a:lnTo>
                    <a:lnTo>
                      <a:pt x="3156" y="2840"/>
                    </a:lnTo>
                    <a:lnTo>
                      <a:pt x="3162" y="2836"/>
                    </a:lnTo>
                    <a:lnTo>
                      <a:pt x="3164" y="2834"/>
                    </a:lnTo>
                    <a:lnTo>
                      <a:pt x="3168" y="2832"/>
                    </a:lnTo>
                    <a:lnTo>
                      <a:pt x="3176" y="2830"/>
                    </a:lnTo>
                    <a:lnTo>
                      <a:pt x="3182" y="2830"/>
                    </a:lnTo>
                    <a:lnTo>
                      <a:pt x="3186" y="2828"/>
                    </a:lnTo>
                    <a:lnTo>
                      <a:pt x="3188" y="2826"/>
                    </a:lnTo>
                    <a:lnTo>
                      <a:pt x="3190" y="2822"/>
                    </a:lnTo>
                    <a:lnTo>
                      <a:pt x="3194" y="2822"/>
                    </a:lnTo>
                    <a:lnTo>
                      <a:pt x="3196" y="2824"/>
                    </a:lnTo>
                    <a:lnTo>
                      <a:pt x="3200" y="2822"/>
                    </a:lnTo>
                    <a:lnTo>
                      <a:pt x="3202" y="2820"/>
                    </a:lnTo>
                    <a:lnTo>
                      <a:pt x="3206" y="2820"/>
                    </a:lnTo>
                    <a:lnTo>
                      <a:pt x="3212" y="2820"/>
                    </a:lnTo>
                    <a:lnTo>
                      <a:pt x="3220" y="2818"/>
                    </a:lnTo>
                    <a:lnTo>
                      <a:pt x="3226" y="2816"/>
                    </a:lnTo>
                    <a:lnTo>
                      <a:pt x="3230" y="2812"/>
                    </a:lnTo>
                    <a:lnTo>
                      <a:pt x="3232" y="2808"/>
                    </a:lnTo>
                    <a:lnTo>
                      <a:pt x="3230" y="2812"/>
                    </a:lnTo>
                    <a:lnTo>
                      <a:pt x="3232" y="2818"/>
                    </a:lnTo>
                    <a:lnTo>
                      <a:pt x="3236" y="2824"/>
                    </a:lnTo>
                    <a:lnTo>
                      <a:pt x="3242" y="2828"/>
                    </a:lnTo>
                    <a:lnTo>
                      <a:pt x="3244" y="2830"/>
                    </a:lnTo>
                    <a:lnTo>
                      <a:pt x="3246" y="2828"/>
                    </a:lnTo>
                    <a:lnTo>
                      <a:pt x="3250" y="2828"/>
                    </a:lnTo>
                    <a:lnTo>
                      <a:pt x="3254" y="2828"/>
                    </a:lnTo>
                    <a:lnTo>
                      <a:pt x="3264" y="2832"/>
                    </a:lnTo>
                    <a:lnTo>
                      <a:pt x="3268" y="2836"/>
                    </a:lnTo>
                    <a:lnTo>
                      <a:pt x="3272" y="2840"/>
                    </a:lnTo>
                    <a:lnTo>
                      <a:pt x="3274" y="2846"/>
                    </a:lnTo>
                    <a:lnTo>
                      <a:pt x="3272" y="2850"/>
                    </a:lnTo>
                    <a:lnTo>
                      <a:pt x="3264" y="2868"/>
                    </a:lnTo>
                    <a:lnTo>
                      <a:pt x="3262" y="2876"/>
                    </a:lnTo>
                    <a:lnTo>
                      <a:pt x="3262" y="2878"/>
                    </a:lnTo>
                    <a:lnTo>
                      <a:pt x="3264" y="2880"/>
                    </a:lnTo>
                    <a:lnTo>
                      <a:pt x="3266" y="2884"/>
                    </a:lnTo>
                    <a:lnTo>
                      <a:pt x="3262" y="2886"/>
                    </a:lnTo>
                    <a:lnTo>
                      <a:pt x="3258" y="2892"/>
                    </a:lnTo>
                    <a:lnTo>
                      <a:pt x="3254" y="2900"/>
                    </a:lnTo>
                    <a:lnTo>
                      <a:pt x="3250" y="2906"/>
                    </a:lnTo>
                    <a:lnTo>
                      <a:pt x="3248" y="2910"/>
                    </a:lnTo>
                    <a:lnTo>
                      <a:pt x="3244" y="2914"/>
                    </a:lnTo>
                    <a:lnTo>
                      <a:pt x="3242" y="2914"/>
                    </a:lnTo>
                    <a:lnTo>
                      <a:pt x="3252" y="2916"/>
                    </a:lnTo>
                    <a:lnTo>
                      <a:pt x="3258" y="2918"/>
                    </a:lnTo>
                    <a:lnTo>
                      <a:pt x="3260" y="2918"/>
                    </a:lnTo>
                    <a:lnTo>
                      <a:pt x="3258" y="2920"/>
                    </a:lnTo>
                    <a:lnTo>
                      <a:pt x="3258" y="2922"/>
                    </a:lnTo>
                    <a:lnTo>
                      <a:pt x="3254" y="2924"/>
                    </a:lnTo>
                    <a:lnTo>
                      <a:pt x="3256" y="2926"/>
                    </a:lnTo>
                    <a:lnTo>
                      <a:pt x="3262" y="2928"/>
                    </a:lnTo>
                    <a:lnTo>
                      <a:pt x="3268" y="2928"/>
                    </a:lnTo>
                    <a:lnTo>
                      <a:pt x="3270" y="2930"/>
                    </a:lnTo>
                    <a:lnTo>
                      <a:pt x="3270" y="2932"/>
                    </a:lnTo>
                    <a:lnTo>
                      <a:pt x="3270" y="2934"/>
                    </a:lnTo>
                    <a:lnTo>
                      <a:pt x="3270" y="2938"/>
                    </a:lnTo>
                    <a:lnTo>
                      <a:pt x="3274" y="2936"/>
                    </a:lnTo>
                    <a:lnTo>
                      <a:pt x="3278" y="2934"/>
                    </a:lnTo>
                    <a:lnTo>
                      <a:pt x="3280" y="2930"/>
                    </a:lnTo>
                    <a:lnTo>
                      <a:pt x="3282" y="2924"/>
                    </a:lnTo>
                    <a:lnTo>
                      <a:pt x="3284" y="2922"/>
                    </a:lnTo>
                    <a:lnTo>
                      <a:pt x="3292" y="2926"/>
                    </a:lnTo>
                    <a:lnTo>
                      <a:pt x="3300" y="2934"/>
                    </a:lnTo>
                    <a:lnTo>
                      <a:pt x="3302" y="2934"/>
                    </a:lnTo>
                    <a:lnTo>
                      <a:pt x="3304" y="2930"/>
                    </a:lnTo>
                    <a:lnTo>
                      <a:pt x="3304" y="2928"/>
                    </a:lnTo>
                    <a:lnTo>
                      <a:pt x="3306" y="2926"/>
                    </a:lnTo>
                    <a:lnTo>
                      <a:pt x="3312" y="2928"/>
                    </a:lnTo>
                    <a:lnTo>
                      <a:pt x="3318" y="2930"/>
                    </a:lnTo>
                    <a:lnTo>
                      <a:pt x="3324" y="2930"/>
                    </a:lnTo>
                    <a:lnTo>
                      <a:pt x="3324" y="2934"/>
                    </a:lnTo>
                    <a:lnTo>
                      <a:pt x="3322" y="2934"/>
                    </a:lnTo>
                    <a:lnTo>
                      <a:pt x="3320" y="2938"/>
                    </a:lnTo>
                    <a:lnTo>
                      <a:pt x="3320" y="2942"/>
                    </a:lnTo>
                    <a:lnTo>
                      <a:pt x="3324" y="2948"/>
                    </a:lnTo>
                    <a:lnTo>
                      <a:pt x="3326" y="2954"/>
                    </a:lnTo>
                    <a:lnTo>
                      <a:pt x="3326" y="2958"/>
                    </a:lnTo>
                    <a:lnTo>
                      <a:pt x="3324" y="2960"/>
                    </a:lnTo>
                    <a:lnTo>
                      <a:pt x="3324" y="2962"/>
                    </a:lnTo>
                    <a:lnTo>
                      <a:pt x="3324" y="2966"/>
                    </a:lnTo>
                    <a:lnTo>
                      <a:pt x="3328" y="2970"/>
                    </a:lnTo>
                    <a:lnTo>
                      <a:pt x="3332" y="2974"/>
                    </a:lnTo>
                    <a:lnTo>
                      <a:pt x="3334" y="2976"/>
                    </a:lnTo>
                    <a:lnTo>
                      <a:pt x="3334" y="2980"/>
                    </a:lnTo>
                    <a:lnTo>
                      <a:pt x="3332" y="2982"/>
                    </a:lnTo>
                    <a:lnTo>
                      <a:pt x="3330" y="2980"/>
                    </a:lnTo>
                    <a:lnTo>
                      <a:pt x="3328" y="2976"/>
                    </a:lnTo>
                    <a:lnTo>
                      <a:pt x="3326" y="2974"/>
                    </a:lnTo>
                    <a:lnTo>
                      <a:pt x="3322" y="2974"/>
                    </a:lnTo>
                    <a:lnTo>
                      <a:pt x="3312" y="2974"/>
                    </a:lnTo>
                    <a:lnTo>
                      <a:pt x="3310" y="2974"/>
                    </a:lnTo>
                    <a:lnTo>
                      <a:pt x="3312" y="2978"/>
                    </a:lnTo>
                    <a:lnTo>
                      <a:pt x="3312" y="2980"/>
                    </a:lnTo>
                    <a:lnTo>
                      <a:pt x="3312" y="2982"/>
                    </a:lnTo>
                    <a:lnTo>
                      <a:pt x="3310" y="2982"/>
                    </a:lnTo>
                    <a:lnTo>
                      <a:pt x="3308" y="2980"/>
                    </a:lnTo>
                    <a:lnTo>
                      <a:pt x="3306" y="2980"/>
                    </a:lnTo>
                    <a:lnTo>
                      <a:pt x="3302" y="2984"/>
                    </a:lnTo>
                    <a:lnTo>
                      <a:pt x="3302" y="2988"/>
                    </a:lnTo>
                    <a:lnTo>
                      <a:pt x="3304" y="2992"/>
                    </a:lnTo>
                    <a:lnTo>
                      <a:pt x="3308" y="2994"/>
                    </a:lnTo>
                    <a:lnTo>
                      <a:pt x="3312" y="2992"/>
                    </a:lnTo>
                    <a:lnTo>
                      <a:pt x="3314" y="2992"/>
                    </a:lnTo>
                    <a:lnTo>
                      <a:pt x="3316" y="2998"/>
                    </a:lnTo>
                    <a:lnTo>
                      <a:pt x="3318" y="3014"/>
                    </a:lnTo>
                    <a:lnTo>
                      <a:pt x="3318" y="3020"/>
                    </a:lnTo>
                    <a:lnTo>
                      <a:pt x="3320" y="3022"/>
                    </a:lnTo>
                    <a:lnTo>
                      <a:pt x="3324" y="3026"/>
                    </a:lnTo>
                    <a:lnTo>
                      <a:pt x="3324" y="3028"/>
                    </a:lnTo>
                    <a:lnTo>
                      <a:pt x="3322" y="3030"/>
                    </a:lnTo>
                    <a:lnTo>
                      <a:pt x="3324" y="3034"/>
                    </a:lnTo>
                    <a:lnTo>
                      <a:pt x="3326" y="3038"/>
                    </a:lnTo>
                    <a:lnTo>
                      <a:pt x="3324" y="3042"/>
                    </a:lnTo>
                    <a:lnTo>
                      <a:pt x="3320" y="3046"/>
                    </a:lnTo>
                    <a:lnTo>
                      <a:pt x="3316" y="3054"/>
                    </a:lnTo>
                    <a:lnTo>
                      <a:pt x="3308" y="3070"/>
                    </a:lnTo>
                    <a:lnTo>
                      <a:pt x="3308" y="3076"/>
                    </a:lnTo>
                    <a:lnTo>
                      <a:pt x="3308" y="3078"/>
                    </a:lnTo>
                    <a:lnTo>
                      <a:pt x="3310" y="3082"/>
                    </a:lnTo>
                    <a:lnTo>
                      <a:pt x="3310" y="3084"/>
                    </a:lnTo>
                    <a:lnTo>
                      <a:pt x="3312" y="3088"/>
                    </a:lnTo>
                    <a:lnTo>
                      <a:pt x="3312" y="3092"/>
                    </a:lnTo>
                    <a:lnTo>
                      <a:pt x="3314" y="3096"/>
                    </a:lnTo>
                    <a:lnTo>
                      <a:pt x="3312" y="3096"/>
                    </a:lnTo>
                    <a:lnTo>
                      <a:pt x="3308" y="3096"/>
                    </a:lnTo>
                    <a:lnTo>
                      <a:pt x="3308" y="3100"/>
                    </a:lnTo>
                    <a:lnTo>
                      <a:pt x="3310" y="3104"/>
                    </a:lnTo>
                    <a:lnTo>
                      <a:pt x="3312" y="3104"/>
                    </a:lnTo>
                    <a:lnTo>
                      <a:pt x="3316" y="3104"/>
                    </a:lnTo>
                    <a:lnTo>
                      <a:pt x="3316" y="3110"/>
                    </a:lnTo>
                    <a:lnTo>
                      <a:pt x="3316" y="3116"/>
                    </a:lnTo>
                    <a:lnTo>
                      <a:pt x="3318" y="3118"/>
                    </a:lnTo>
                    <a:lnTo>
                      <a:pt x="3322" y="3116"/>
                    </a:lnTo>
                    <a:lnTo>
                      <a:pt x="3326" y="3110"/>
                    </a:lnTo>
                    <a:lnTo>
                      <a:pt x="3330" y="3104"/>
                    </a:lnTo>
                    <a:lnTo>
                      <a:pt x="3330" y="3106"/>
                    </a:lnTo>
                    <a:lnTo>
                      <a:pt x="3330" y="3110"/>
                    </a:lnTo>
                    <a:lnTo>
                      <a:pt x="3330" y="3112"/>
                    </a:lnTo>
                    <a:lnTo>
                      <a:pt x="3334" y="3110"/>
                    </a:lnTo>
                    <a:lnTo>
                      <a:pt x="3334" y="3108"/>
                    </a:lnTo>
                    <a:lnTo>
                      <a:pt x="3338" y="3102"/>
                    </a:lnTo>
                    <a:lnTo>
                      <a:pt x="3342" y="3098"/>
                    </a:lnTo>
                    <a:lnTo>
                      <a:pt x="3346" y="3094"/>
                    </a:lnTo>
                    <a:lnTo>
                      <a:pt x="3348" y="3094"/>
                    </a:lnTo>
                    <a:lnTo>
                      <a:pt x="3348" y="3096"/>
                    </a:lnTo>
                    <a:lnTo>
                      <a:pt x="3346" y="3100"/>
                    </a:lnTo>
                    <a:lnTo>
                      <a:pt x="3344" y="3106"/>
                    </a:lnTo>
                    <a:lnTo>
                      <a:pt x="3346" y="3108"/>
                    </a:lnTo>
                    <a:lnTo>
                      <a:pt x="3350" y="3110"/>
                    </a:lnTo>
                    <a:lnTo>
                      <a:pt x="3354" y="3108"/>
                    </a:lnTo>
                    <a:lnTo>
                      <a:pt x="3356" y="3106"/>
                    </a:lnTo>
                    <a:lnTo>
                      <a:pt x="3356" y="3104"/>
                    </a:lnTo>
                    <a:lnTo>
                      <a:pt x="3354" y="3096"/>
                    </a:lnTo>
                    <a:lnTo>
                      <a:pt x="3354" y="3094"/>
                    </a:lnTo>
                    <a:lnTo>
                      <a:pt x="3356" y="3092"/>
                    </a:lnTo>
                    <a:lnTo>
                      <a:pt x="3358" y="3092"/>
                    </a:lnTo>
                    <a:lnTo>
                      <a:pt x="3358" y="3094"/>
                    </a:lnTo>
                    <a:lnTo>
                      <a:pt x="3360" y="3102"/>
                    </a:lnTo>
                    <a:lnTo>
                      <a:pt x="3362" y="3100"/>
                    </a:lnTo>
                    <a:lnTo>
                      <a:pt x="3366" y="3096"/>
                    </a:lnTo>
                    <a:lnTo>
                      <a:pt x="3368" y="3094"/>
                    </a:lnTo>
                    <a:lnTo>
                      <a:pt x="3368" y="3092"/>
                    </a:lnTo>
                    <a:lnTo>
                      <a:pt x="3364" y="3088"/>
                    </a:lnTo>
                    <a:lnTo>
                      <a:pt x="3362" y="3086"/>
                    </a:lnTo>
                    <a:lnTo>
                      <a:pt x="3366" y="3084"/>
                    </a:lnTo>
                    <a:lnTo>
                      <a:pt x="3376" y="3084"/>
                    </a:lnTo>
                    <a:lnTo>
                      <a:pt x="3384" y="3086"/>
                    </a:lnTo>
                    <a:lnTo>
                      <a:pt x="3390" y="3090"/>
                    </a:lnTo>
                    <a:lnTo>
                      <a:pt x="3394" y="3090"/>
                    </a:lnTo>
                    <a:lnTo>
                      <a:pt x="3396" y="3088"/>
                    </a:lnTo>
                    <a:lnTo>
                      <a:pt x="3396" y="3084"/>
                    </a:lnTo>
                    <a:lnTo>
                      <a:pt x="3396" y="3082"/>
                    </a:lnTo>
                    <a:lnTo>
                      <a:pt x="3400" y="3078"/>
                    </a:lnTo>
                    <a:lnTo>
                      <a:pt x="3406" y="3076"/>
                    </a:lnTo>
                    <a:lnTo>
                      <a:pt x="3412" y="3078"/>
                    </a:lnTo>
                    <a:lnTo>
                      <a:pt x="3418" y="3078"/>
                    </a:lnTo>
                    <a:lnTo>
                      <a:pt x="3422" y="3076"/>
                    </a:lnTo>
                    <a:lnTo>
                      <a:pt x="3428" y="3070"/>
                    </a:lnTo>
                    <a:lnTo>
                      <a:pt x="3434" y="3058"/>
                    </a:lnTo>
                    <a:lnTo>
                      <a:pt x="3438" y="3044"/>
                    </a:lnTo>
                    <a:lnTo>
                      <a:pt x="3440" y="3032"/>
                    </a:lnTo>
                    <a:lnTo>
                      <a:pt x="3440" y="3026"/>
                    </a:lnTo>
                    <a:lnTo>
                      <a:pt x="3436" y="3026"/>
                    </a:lnTo>
                    <a:lnTo>
                      <a:pt x="3434" y="3026"/>
                    </a:lnTo>
                    <a:lnTo>
                      <a:pt x="3432" y="3018"/>
                    </a:lnTo>
                    <a:lnTo>
                      <a:pt x="3434" y="3008"/>
                    </a:lnTo>
                    <a:lnTo>
                      <a:pt x="3436" y="3002"/>
                    </a:lnTo>
                    <a:lnTo>
                      <a:pt x="3436" y="2994"/>
                    </a:lnTo>
                    <a:lnTo>
                      <a:pt x="3436" y="2980"/>
                    </a:lnTo>
                    <a:lnTo>
                      <a:pt x="3432" y="2964"/>
                    </a:lnTo>
                    <a:lnTo>
                      <a:pt x="3426" y="2948"/>
                    </a:lnTo>
                    <a:lnTo>
                      <a:pt x="3418" y="2934"/>
                    </a:lnTo>
                    <a:lnTo>
                      <a:pt x="3410" y="2922"/>
                    </a:lnTo>
                    <a:lnTo>
                      <a:pt x="3402" y="2910"/>
                    </a:lnTo>
                    <a:lnTo>
                      <a:pt x="3398" y="2902"/>
                    </a:lnTo>
                    <a:lnTo>
                      <a:pt x="3392" y="2886"/>
                    </a:lnTo>
                    <a:lnTo>
                      <a:pt x="3388" y="2882"/>
                    </a:lnTo>
                    <a:lnTo>
                      <a:pt x="3386" y="2880"/>
                    </a:lnTo>
                    <a:lnTo>
                      <a:pt x="3380" y="2876"/>
                    </a:lnTo>
                    <a:lnTo>
                      <a:pt x="3374" y="2866"/>
                    </a:lnTo>
                    <a:lnTo>
                      <a:pt x="3370" y="2862"/>
                    </a:lnTo>
                    <a:lnTo>
                      <a:pt x="3366" y="2858"/>
                    </a:lnTo>
                    <a:lnTo>
                      <a:pt x="3360" y="2856"/>
                    </a:lnTo>
                    <a:lnTo>
                      <a:pt x="3354" y="2856"/>
                    </a:lnTo>
                    <a:lnTo>
                      <a:pt x="3352" y="2852"/>
                    </a:lnTo>
                    <a:lnTo>
                      <a:pt x="3352" y="2850"/>
                    </a:lnTo>
                    <a:lnTo>
                      <a:pt x="3354" y="2848"/>
                    </a:lnTo>
                    <a:lnTo>
                      <a:pt x="3356" y="2848"/>
                    </a:lnTo>
                    <a:lnTo>
                      <a:pt x="3358" y="2848"/>
                    </a:lnTo>
                    <a:lnTo>
                      <a:pt x="3360" y="2848"/>
                    </a:lnTo>
                    <a:lnTo>
                      <a:pt x="3360" y="2838"/>
                    </a:lnTo>
                    <a:lnTo>
                      <a:pt x="3358" y="2830"/>
                    </a:lnTo>
                    <a:lnTo>
                      <a:pt x="3358" y="2826"/>
                    </a:lnTo>
                    <a:lnTo>
                      <a:pt x="3360" y="2822"/>
                    </a:lnTo>
                    <a:lnTo>
                      <a:pt x="3362" y="2822"/>
                    </a:lnTo>
                    <a:lnTo>
                      <a:pt x="3368" y="2820"/>
                    </a:lnTo>
                    <a:lnTo>
                      <a:pt x="3372" y="2818"/>
                    </a:lnTo>
                    <a:lnTo>
                      <a:pt x="3374" y="2814"/>
                    </a:lnTo>
                    <a:lnTo>
                      <a:pt x="3376" y="2810"/>
                    </a:lnTo>
                    <a:lnTo>
                      <a:pt x="3378" y="2808"/>
                    </a:lnTo>
                    <a:lnTo>
                      <a:pt x="3384" y="2810"/>
                    </a:lnTo>
                    <a:lnTo>
                      <a:pt x="3386" y="2810"/>
                    </a:lnTo>
                    <a:lnTo>
                      <a:pt x="3390" y="2810"/>
                    </a:lnTo>
                    <a:lnTo>
                      <a:pt x="3396" y="2806"/>
                    </a:lnTo>
                    <a:lnTo>
                      <a:pt x="3402" y="2800"/>
                    </a:lnTo>
                    <a:lnTo>
                      <a:pt x="3426" y="2776"/>
                    </a:lnTo>
                    <a:lnTo>
                      <a:pt x="3434" y="2768"/>
                    </a:lnTo>
                    <a:lnTo>
                      <a:pt x="3442" y="2766"/>
                    </a:lnTo>
                    <a:lnTo>
                      <a:pt x="3444" y="2764"/>
                    </a:lnTo>
                    <a:lnTo>
                      <a:pt x="3446" y="2762"/>
                    </a:lnTo>
                    <a:lnTo>
                      <a:pt x="3448" y="2754"/>
                    </a:lnTo>
                    <a:lnTo>
                      <a:pt x="3448" y="2746"/>
                    </a:lnTo>
                    <a:lnTo>
                      <a:pt x="3448" y="2738"/>
                    </a:lnTo>
                    <a:lnTo>
                      <a:pt x="3448" y="2734"/>
                    </a:lnTo>
                    <a:lnTo>
                      <a:pt x="3448" y="2732"/>
                    </a:lnTo>
                    <a:lnTo>
                      <a:pt x="3446" y="2730"/>
                    </a:lnTo>
                    <a:lnTo>
                      <a:pt x="3444" y="2728"/>
                    </a:lnTo>
                    <a:lnTo>
                      <a:pt x="3444" y="2724"/>
                    </a:lnTo>
                    <a:lnTo>
                      <a:pt x="3450" y="2714"/>
                    </a:lnTo>
                    <a:lnTo>
                      <a:pt x="3464" y="2694"/>
                    </a:lnTo>
                    <a:lnTo>
                      <a:pt x="3474" y="2684"/>
                    </a:lnTo>
                    <a:lnTo>
                      <a:pt x="3478" y="2682"/>
                    </a:lnTo>
                    <a:lnTo>
                      <a:pt x="3480" y="2684"/>
                    </a:lnTo>
                    <a:lnTo>
                      <a:pt x="3482" y="2684"/>
                    </a:lnTo>
                    <a:lnTo>
                      <a:pt x="3488" y="2682"/>
                    </a:lnTo>
                    <a:lnTo>
                      <a:pt x="3492" y="2678"/>
                    </a:lnTo>
                    <a:lnTo>
                      <a:pt x="3492" y="2674"/>
                    </a:lnTo>
                    <a:lnTo>
                      <a:pt x="3492" y="2666"/>
                    </a:lnTo>
                    <a:lnTo>
                      <a:pt x="3492" y="2664"/>
                    </a:lnTo>
                    <a:lnTo>
                      <a:pt x="3498" y="2664"/>
                    </a:lnTo>
                    <a:lnTo>
                      <a:pt x="3506" y="2666"/>
                    </a:lnTo>
                    <a:lnTo>
                      <a:pt x="3510" y="2664"/>
                    </a:lnTo>
                    <a:lnTo>
                      <a:pt x="3514" y="2658"/>
                    </a:lnTo>
                    <a:lnTo>
                      <a:pt x="3518" y="2650"/>
                    </a:lnTo>
                    <a:lnTo>
                      <a:pt x="3524" y="2640"/>
                    </a:lnTo>
                    <a:lnTo>
                      <a:pt x="3524" y="2632"/>
                    </a:lnTo>
                    <a:lnTo>
                      <a:pt x="3526" y="2628"/>
                    </a:lnTo>
                    <a:lnTo>
                      <a:pt x="3528" y="2626"/>
                    </a:lnTo>
                    <a:lnTo>
                      <a:pt x="3532" y="2626"/>
                    </a:lnTo>
                    <a:lnTo>
                      <a:pt x="3536" y="2626"/>
                    </a:lnTo>
                    <a:lnTo>
                      <a:pt x="3536" y="2628"/>
                    </a:lnTo>
                    <a:lnTo>
                      <a:pt x="3536" y="2634"/>
                    </a:lnTo>
                    <a:lnTo>
                      <a:pt x="3534" y="2638"/>
                    </a:lnTo>
                    <a:lnTo>
                      <a:pt x="3536" y="2638"/>
                    </a:lnTo>
                    <a:lnTo>
                      <a:pt x="3538" y="2638"/>
                    </a:lnTo>
                    <a:lnTo>
                      <a:pt x="3542" y="2636"/>
                    </a:lnTo>
                    <a:lnTo>
                      <a:pt x="3548" y="2632"/>
                    </a:lnTo>
                    <a:lnTo>
                      <a:pt x="3550" y="2632"/>
                    </a:lnTo>
                    <a:lnTo>
                      <a:pt x="3552" y="2634"/>
                    </a:lnTo>
                    <a:lnTo>
                      <a:pt x="3552" y="2638"/>
                    </a:lnTo>
                    <a:lnTo>
                      <a:pt x="3552" y="2646"/>
                    </a:lnTo>
                    <a:lnTo>
                      <a:pt x="3554" y="2648"/>
                    </a:lnTo>
                    <a:lnTo>
                      <a:pt x="3556" y="2650"/>
                    </a:lnTo>
                    <a:lnTo>
                      <a:pt x="3570" y="2654"/>
                    </a:lnTo>
                    <a:lnTo>
                      <a:pt x="3580" y="2660"/>
                    </a:lnTo>
                    <a:lnTo>
                      <a:pt x="3584" y="2660"/>
                    </a:lnTo>
                    <a:lnTo>
                      <a:pt x="3590" y="2658"/>
                    </a:lnTo>
                    <a:lnTo>
                      <a:pt x="3598" y="2656"/>
                    </a:lnTo>
                    <a:lnTo>
                      <a:pt x="3608" y="2652"/>
                    </a:lnTo>
                    <a:lnTo>
                      <a:pt x="3616" y="2650"/>
                    </a:lnTo>
                    <a:lnTo>
                      <a:pt x="3622" y="2644"/>
                    </a:lnTo>
                    <a:lnTo>
                      <a:pt x="3632" y="2638"/>
                    </a:lnTo>
                    <a:lnTo>
                      <a:pt x="3648" y="2628"/>
                    </a:lnTo>
                    <a:lnTo>
                      <a:pt x="3658" y="2620"/>
                    </a:lnTo>
                    <a:lnTo>
                      <a:pt x="3666" y="2610"/>
                    </a:lnTo>
                    <a:lnTo>
                      <a:pt x="3686" y="2584"/>
                    </a:lnTo>
                    <a:lnTo>
                      <a:pt x="3712" y="2550"/>
                    </a:lnTo>
                    <a:lnTo>
                      <a:pt x="3728" y="2530"/>
                    </a:lnTo>
                    <a:lnTo>
                      <a:pt x="3748" y="2508"/>
                    </a:lnTo>
                    <a:lnTo>
                      <a:pt x="3768" y="2488"/>
                    </a:lnTo>
                    <a:lnTo>
                      <a:pt x="3780" y="2468"/>
                    </a:lnTo>
                    <a:lnTo>
                      <a:pt x="3790" y="2454"/>
                    </a:lnTo>
                    <a:lnTo>
                      <a:pt x="3796" y="2440"/>
                    </a:lnTo>
                    <a:lnTo>
                      <a:pt x="3804" y="2418"/>
                    </a:lnTo>
                    <a:lnTo>
                      <a:pt x="3808" y="2408"/>
                    </a:lnTo>
                    <a:lnTo>
                      <a:pt x="3816" y="2400"/>
                    </a:lnTo>
                    <a:lnTo>
                      <a:pt x="3824" y="2394"/>
                    </a:lnTo>
                    <a:lnTo>
                      <a:pt x="3828" y="2388"/>
                    </a:lnTo>
                    <a:lnTo>
                      <a:pt x="3832" y="2378"/>
                    </a:lnTo>
                    <a:lnTo>
                      <a:pt x="3834" y="2372"/>
                    </a:lnTo>
                    <a:lnTo>
                      <a:pt x="3838" y="2366"/>
                    </a:lnTo>
                    <a:lnTo>
                      <a:pt x="3844" y="2358"/>
                    </a:lnTo>
                    <a:lnTo>
                      <a:pt x="3854" y="2346"/>
                    </a:lnTo>
                    <a:lnTo>
                      <a:pt x="3860" y="2340"/>
                    </a:lnTo>
                    <a:lnTo>
                      <a:pt x="3866" y="2334"/>
                    </a:lnTo>
                    <a:lnTo>
                      <a:pt x="3874" y="2316"/>
                    </a:lnTo>
                    <a:lnTo>
                      <a:pt x="3880" y="2296"/>
                    </a:lnTo>
                    <a:lnTo>
                      <a:pt x="3882" y="2276"/>
                    </a:lnTo>
                    <a:lnTo>
                      <a:pt x="3884" y="2256"/>
                    </a:lnTo>
                    <a:lnTo>
                      <a:pt x="3884" y="2238"/>
                    </a:lnTo>
                    <a:lnTo>
                      <a:pt x="3882" y="2224"/>
                    </a:lnTo>
                    <a:lnTo>
                      <a:pt x="3880" y="2212"/>
                    </a:lnTo>
                    <a:lnTo>
                      <a:pt x="3878" y="2204"/>
                    </a:lnTo>
                    <a:lnTo>
                      <a:pt x="3878" y="2198"/>
                    </a:lnTo>
                    <a:lnTo>
                      <a:pt x="3880" y="2192"/>
                    </a:lnTo>
                    <a:lnTo>
                      <a:pt x="3882" y="2188"/>
                    </a:lnTo>
                    <a:lnTo>
                      <a:pt x="3888" y="2178"/>
                    </a:lnTo>
                    <a:lnTo>
                      <a:pt x="3892" y="2170"/>
                    </a:lnTo>
                    <a:lnTo>
                      <a:pt x="3896" y="2160"/>
                    </a:lnTo>
                    <a:lnTo>
                      <a:pt x="3898" y="2150"/>
                    </a:lnTo>
                    <a:lnTo>
                      <a:pt x="3904" y="2142"/>
                    </a:lnTo>
                    <a:lnTo>
                      <a:pt x="3914" y="2128"/>
                    </a:lnTo>
                    <a:lnTo>
                      <a:pt x="3920" y="2122"/>
                    </a:lnTo>
                    <a:lnTo>
                      <a:pt x="3922" y="2116"/>
                    </a:lnTo>
                    <a:lnTo>
                      <a:pt x="3920" y="2110"/>
                    </a:lnTo>
                    <a:lnTo>
                      <a:pt x="3916" y="2104"/>
                    </a:lnTo>
                    <a:lnTo>
                      <a:pt x="3910" y="2098"/>
                    </a:lnTo>
                    <a:lnTo>
                      <a:pt x="3908" y="2094"/>
                    </a:lnTo>
                    <a:lnTo>
                      <a:pt x="3908" y="2090"/>
                    </a:lnTo>
                    <a:lnTo>
                      <a:pt x="3910" y="2086"/>
                    </a:lnTo>
                    <a:lnTo>
                      <a:pt x="3910" y="2078"/>
                    </a:lnTo>
                    <a:lnTo>
                      <a:pt x="3910" y="2072"/>
                    </a:lnTo>
                    <a:lnTo>
                      <a:pt x="3906" y="2066"/>
                    </a:lnTo>
                    <a:lnTo>
                      <a:pt x="3904" y="2062"/>
                    </a:lnTo>
                    <a:lnTo>
                      <a:pt x="3906" y="2058"/>
                    </a:lnTo>
                    <a:lnTo>
                      <a:pt x="3914" y="2052"/>
                    </a:lnTo>
                    <a:lnTo>
                      <a:pt x="3918" y="2050"/>
                    </a:lnTo>
                    <a:lnTo>
                      <a:pt x="3920" y="2046"/>
                    </a:lnTo>
                    <a:lnTo>
                      <a:pt x="3918" y="2042"/>
                    </a:lnTo>
                    <a:lnTo>
                      <a:pt x="3910" y="2034"/>
                    </a:lnTo>
                    <a:lnTo>
                      <a:pt x="3892" y="2020"/>
                    </a:lnTo>
                    <a:lnTo>
                      <a:pt x="3880" y="2010"/>
                    </a:lnTo>
                    <a:lnTo>
                      <a:pt x="3864" y="1990"/>
                    </a:lnTo>
                    <a:lnTo>
                      <a:pt x="3858" y="1986"/>
                    </a:lnTo>
                    <a:lnTo>
                      <a:pt x="3854" y="1984"/>
                    </a:lnTo>
                    <a:lnTo>
                      <a:pt x="3842" y="1984"/>
                    </a:lnTo>
                    <a:lnTo>
                      <a:pt x="3832" y="1986"/>
                    </a:lnTo>
                    <a:lnTo>
                      <a:pt x="3826" y="1986"/>
                    </a:lnTo>
                    <a:lnTo>
                      <a:pt x="3820" y="1984"/>
                    </a:lnTo>
                    <a:lnTo>
                      <a:pt x="3814" y="1982"/>
                    </a:lnTo>
                    <a:lnTo>
                      <a:pt x="3812" y="1984"/>
                    </a:lnTo>
                    <a:lnTo>
                      <a:pt x="3808" y="1996"/>
                    </a:lnTo>
                    <a:lnTo>
                      <a:pt x="3804" y="2004"/>
                    </a:lnTo>
                    <a:lnTo>
                      <a:pt x="3800" y="2012"/>
                    </a:lnTo>
                    <a:lnTo>
                      <a:pt x="3792" y="2018"/>
                    </a:lnTo>
                    <a:lnTo>
                      <a:pt x="3780" y="2024"/>
                    </a:lnTo>
                    <a:lnTo>
                      <a:pt x="3772" y="2026"/>
                    </a:lnTo>
                    <a:lnTo>
                      <a:pt x="3766" y="2026"/>
                    </a:lnTo>
                    <a:lnTo>
                      <a:pt x="3764" y="2024"/>
                    </a:lnTo>
                    <a:lnTo>
                      <a:pt x="3762" y="2022"/>
                    </a:lnTo>
                    <a:lnTo>
                      <a:pt x="3760" y="2018"/>
                    </a:lnTo>
                    <a:lnTo>
                      <a:pt x="3762" y="2014"/>
                    </a:lnTo>
                    <a:lnTo>
                      <a:pt x="3764" y="2002"/>
                    </a:lnTo>
                    <a:lnTo>
                      <a:pt x="3768" y="1992"/>
                    </a:lnTo>
                    <a:lnTo>
                      <a:pt x="3772" y="1984"/>
                    </a:lnTo>
                    <a:lnTo>
                      <a:pt x="3770" y="1982"/>
                    </a:lnTo>
                    <a:lnTo>
                      <a:pt x="3768" y="1980"/>
                    </a:lnTo>
                    <a:lnTo>
                      <a:pt x="3766" y="1980"/>
                    </a:lnTo>
                    <a:lnTo>
                      <a:pt x="3760" y="1982"/>
                    </a:lnTo>
                    <a:lnTo>
                      <a:pt x="3750" y="1986"/>
                    </a:lnTo>
                    <a:lnTo>
                      <a:pt x="3746" y="1992"/>
                    </a:lnTo>
                    <a:lnTo>
                      <a:pt x="3746" y="1996"/>
                    </a:lnTo>
                    <a:lnTo>
                      <a:pt x="3748" y="2000"/>
                    </a:lnTo>
                    <a:lnTo>
                      <a:pt x="3750" y="2002"/>
                    </a:lnTo>
                    <a:lnTo>
                      <a:pt x="3750" y="2004"/>
                    </a:lnTo>
                    <a:lnTo>
                      <a:pt x="3746" y="2008"/>
                    </a:lnTo>
                    <a:lnTo>
                      <a:pt x="3738" y="2008"/>
                    </a:lnTo>
                    <a:lnTo>
                      <a:pt x="3732" y="2008"/>
                    </a:lnTo>
                    <a:lnTo>
                      <a:pt x="3730" y="2008"/>
                    </a:lnTo>
                    <a:lnTo>
                      <a:pt x="3728" y="2006"/>
                    </a:lnTo>
                    <a:lnTo>
                      <a:pt x="3728" y="2002"/>
                    </a:lnTo>
                    <a:lnTo>
                      <a:pt x="3730" y="1994"/>
                    </a:lnTo>
                    <a:lnTo>
                      <a:pt x="3734" y="1986"/>
                    </a:lnTo>
                    <a:lnTo>
                      <a:pt x="3736" y="1976"/>
                    </a:lnTo>
                    <a:lnTo>
                      <a:pt x="3736" y="1972"/>
                    </a:lnTo>
                    <a:lnTo>
                      <a:pt x="3734" y="1968"/>
                    </a:lnTo>
                    <a:lnTo>
                      <a:pt x="3732" y="1966"/>
                    </a:lnTo>
                    <a:lnTo>
                      <a:pt x="3728" y="1962"/>
                    </a:lnTo>
                    <a:lnTo>
                      <a:pt x="3722" y="1962"/>
                    </a:lnTo>
                    <a:lnTo>
                      <a:pt x="3714" y="1960"/>
                    </a:lnTo>
                    <a:lnTo>
                      <a:pt x="3696" y="1962"/>
                    </a:lnTo>
                    <a:lnTo>
                      <a:pt x="3682" y="1960"/>
                    </a:lnTo>
                    <a:lnTo>
                      <a:pt x="3672" y="1958"/>
                    </a:lnTo>
                    <a:lnTo>
                      <a:pt x="3666" y="1954"/>
                    </a:lnTo>
                    <a:lnTo>
                      <a:pt x="3666" y="1950"/>
                    </a:lnTo>
                    <a:lnTo>
                      <a:pt x="3666" y="1948"/>
                    </a:lnTo>
                    <a:lnTo>
                      <a:pt x="3674" y="1938"/>
                    </a:lnTo>
                    <a:lnTo>
                      <a:pt x="3686" y="1928"/>
                    </a:lnTo>
                    <a:lnTo>
                      <a:pt x="3706" y="1912"/>
                    </a:lnTo>
                    <a:lnTo>
                      <a:pt x="3746" y="1886"/>
                    </a:lnTo>
                    <a:lnTo>
                      <a:pt x="3768" y="1868"/>
                    </a:lnTo>
                    <a:lnTo>
                      <a:pt x="3776" y="1862"/>
                    </a:lnTo>
                    <a:lnTo>
                      <a:pt x="3782" y="1852"/>
                    </a:lnTo>
                    <a:lnTo>
                      <a:pt x="3788" y="1844"/>
                    </a:lnTo>
                    <a:lnTo>
                      <a:pt x="3794" y="1832"/>
                    </a:lnTo>
                    <a:lnTo>
                      <a:pt x="3802" y="1818"/>
                    </a:lnTo>
                    <a:lnTo>
                      <a:pt x="3812" y="1808"/>
                    </a:lnTo>
                    <a:lnTo>
                      <a:pt x="3824" y="1800"/>
                    </a:lnTo>
                    <a:lnTo>
                      <a:pt x="3838" y="1790"/>
                    </a:lnTo>
                    <a:lnTo>
                      <a:pt x="3852" y="1782"/>
                    </a:lnTo>
                    <a:lnTo>
                      <a:pt x="3866" y="1772"/>
                    </a:lnTo>
                    <a:lnTo>
                      <a:pt x="3878" y="1760"/>
                    </a:lnTo>
                    <a:lnTo>
                      <a:pt x="3882" y="1752"/>
                    </a:lnTo>
                    <a:lnTo>
                      <a:pt x="3886" y="1746"/>
                    </a:lnTo>
                    <a:lnTo>
                      <a:pt x="3894" y="1728"/>
                    </a:lnTo>
                    <a:lnTo>
                      <a:pt x="3908" y="1712"/>
                    </a:lnTo>
                    <a:lnTo>
                      <a:pt x="3926" y="1696"/>
                    </a:lnTo>
                    <a:lnTo>
                      <a:pt x="3944" y="1682"/>
                    </a:lnTo>
                    <a:lnTo>
                      <a:pt x="3966" y="1672"/>
                    </a:lnTo>
                    <a:lnTo>
                      <a:pt x="3986" y="1664"/>
                    </a:lnTo>
                    <a:lnTo>
                      <a:pt x="4006" y="1660"/>
                    </a:lnTo>
                    <a:lnTo>
                      <a:pt x="4014" y="1660"/>
                    </a:lnTo>
                    <a:lnTo>
                      <a:pt x="4022" y="1662"/>
                    </a:lnTo>
                    <a:lnTo>
                      <a:pt x="4036" y="1664"/>
                    </a:lnTo>
                    <a:lnTo>
                      <a:pt x="4048" y="1666"/>
                    </a:lnTo>
                    <a:lnTo>
                      <a:pt x="4068" y="1664"/>
                    </a:lnTo>
                    <a:lnTo>
                      <a:pt x="4082" y="1664"/>
                    </a:lnTo>
                    <a:lnTo>
                      <a:pt x="4090" y="1666"/>
                    </a:lnTo>
                    <a:lnTo>
                      <a:pt x="4098" y="1670"/>
                    </a:lnTo>
                    <a:lnTo>
                      <a:pt x="4104" y="1672"/>
                    </a:lnTo>
                    <a:lnTo>
                      <a:pt x="4108" y="1672"/>
                    </a:lnTo>
                    <a:lnTo>
                      <a:pt x="4110" y="1670"/>
                    </a:lnTo>
                    <a:lnTo>
                      <a:pt x="4112" y="1666"/>
                    </a:lnTo>
                    <a:lnTo>
                      <a:pt x="4116" y="1662"/>
                    </a:lnTo>
                    <a:lnTo>
                      <a:pt x="4124" y="1660"/>
                    </a:lnTo>
                    <a:lnTo>
                      <a:pt x="4136" y="1658"/>
                    </a:lnTo>
                    <a:lnTo>
                      <a:pt x="4154" y="1660"/>
                    </a:lnTo>
                    <a:lnTo>
                      <a:pt x="4188" y="1668"/>
                    </a:lnTo>
                    <a:lnTo>
                      <a:pt x="4200" y="1670"/>
                    </a:lnTo>
                    <a:lnTo>
                      <a:pt x="4208" y="1670"/>
                    </a:lnTo>
                    <a:lnTo>
                      <a:pt x="4214" y="1670"/>
                    </a:lnTo>
                    <a:lnTo>
                      <a:pt x="4220" y="1666"/>
                    </a:lnTo>
                    <a:lnTo>
                      <a:pt x="4224" y="1658"/>
                    </a:lnTo>
                    <a:lnTo>
                      <a:pt x="4228" y="1648"/>
                    </a:lnTo>
                    <a:lnTo>
                      <a:pt x="4230" y="1646"/>
                    </a:lnTo>
                    <a:lnTo>
                      <a:pt x="4236" y="1644"/>
                    </a:lnTo>
                    <a:lnTo>
                      <a:pt x="4250" y="1642"/>
                    </a:lnTo>
                    <a:lnTo>
                      <a:pt x="4272" y="1642"/>
                    </a:lnTo>
                    <a:lnTo>
                      <a:pt x="4294" y="1644"/>
                    </a:lnTo>
                    <a:lnTo>
                      <a:pt x="4314" y="1648"/>
                    </a:lnTo>
                    <a:lnTo>
                      <a:pt x="4322" y="1652"/>
                    </a:lnTo>
                    <a:lnTo>
                      <a:pt x="4328" y="1656"/>
                    </a:lnTo>
                    <a:lnTo>
                      <a:pt x="4330" y="1660"/>
                    </a:lnTo>
                    <a:lnTo>
                      <a:pt x="4330" y="1664"/>
                    </a:lnTo>
                    <a:lnTo>
                      <a:pt x="4328" y="1670"/>
                    </a:lnTo>
                    <a:lnTo>
                      <a:pt x="4320" y="1676"/>
                    </a:lnTo>
                    <a:lnTo>
                      <a:pt x="4314" y="1682"/>
                    </a:lnTo>
                    <a:lnTo>
                      <a:pt x="4312" y="1686"/>
                    </a:lnTo>
                    <a:lnTo>
                      <a:pt x="4312" y="1688"/>
                    </a:lnTo>
                    <a:lnTo>
                      <a:pt x="4314" y="1690"/>
                    </a:lnTo>
                    <a:lnTo>
                      <a:pt x="4324" y="1692"/>
                    </a:lnTo>
                    <a:lnTo>
                      <a:pt x="4340" y="1690"/>
                    </a:lnTo>
                    <a:lnTo>
                      <a:pt x="4358" y="1688"/>
                    </a:lnTo>
                    <a:lnTo>
                      <a:pt x="4374" y="1684"/>
                    </a:lnTo>
                    <a:lnTo>
                      <a:pt x="4386" y="1680"/>
                    </a:lnTo>
                    <a:lnTo>
                      <a:pt x="4394" y="1676"/>
                    </a:lnTo>
                    <a:lnTo>
                      <a:pt x="4398" y="1670"/>
                    </a:lnTo>
                    <a:lnTo>
                      <a:pt x="4404" y="1670"/>
                    </a:lnTo>
                    <a:lnTo>
                      <a:pt x="4410" y="1674"/>
                    </a:lnTo>
                    <a:lnTo>
                      <a:pt x="4418" y="1678"/>
                    </a:lnTo>
                    <a:lnTo>
                      <a:pt x="4426" y="1682"/>
                    </a:lnTo>
                    <a:lnTo>
                      <a:pt x="4436" y="1684"/>
                    </a:lnTo>
                    <a:lnTo>
                      <a:pt x="4448" y="1682"/>
                    </a:lnTo>
                    <a:lnTo>
                      <a:pt x="4454" y="1680"/>
                    </a:lnTo>
                    <a:lnTo>
                      <a:pt x="4462" y="1676"/>
                    </a:lnTo>
                    <a:lnTo>
                      <a:pt x="4466" y="1672"/>
                    </a:lnTo>
                    <a:lnTo>
                      <a:pt x="4468" y="1668"/>
                    </a:lnTo>
                    <a:lnTo>
                      <a:pt x="4468" y="1664"/>
                    </a:lnTo>
                    <a:lnTo>
                      <a:pt x="4466" y="1660"/>
                    </a:lnTo>
                    <a:lnTo>
                      <a:pt x="4458" y="1652"/>
                    </a:lnTo>
                    <a:lnTo>
                      <a:pt x="4448" y="1646"/>
                    </a:lnTo>
                    <a:lnTo>
                      <a:pt x="4442" y="1642"/>
                    </a:lnTo>
                    <a:lnTo>
                      <a:pt x="4440" y="1636"/>
                    </a:lnTo>
                    <a:lnTo>
                      <a:pt x="4438" y="1632"/>
                    </a:lnTo>
                    <a:lnTo>
                      <a:pt x="4438" y="1626"/>
                    </a:lnTo>
                    <a:lnTo>
                      <a:pt x="4440" y="1618"/>
                    </a:lnTo>
                    <a:lnTo>
                      <a:pt x="4446" y="1612"/>
                    </a:lnTo>
                    <a:lnTo>
                      <a:pt x="4456" y="1602"/>
                    </a:lnTo>
                    <a:lnTo>
                      <a:pt x="4468" y="1592"/>
                    </a:lnTo>
                    <a:lnTo>
                      <a:pt x="4496" y="1572"/>
                    </a:lnTo>
                    <a:lnTo>
                      <a:pt x="4514" y="1556"/>
                    </a:lnTo>
                    <a:lnTo>
                      <a:pt x="4536" y="1530"/>
                    </a:lnTo>
                    <a:lnTo>
                      <a:pt x="4546" y="1522"/>
                    </a:lnTo>
                    <a:lnTo>
                      <a:pt x="4562" y="1514"/>
                    </a:lnTo>
                    <a:lnTo>
                      <a:pt x="4584" y="1508"/>
                    </a:lnTo>
                    <a:lnTo>
                      <a:pt x="4616" y="1502"/>
                    </a:lnTo>
                    <a:lnTo>
                      <a:pt x="4630" y="1502"/>
                    </a:lnTo>
                    <a:lnTo>
                      <a:pt x="4642" y="1504"/>
                    </a:lnTo>
                    <a:lnTo>
                      <a:pt x="4650" y="1508"/>
                    </a:lnTo>
                    <a:lnTo>
                      <a:pt x="4656" y="1514"/>
                    </a:lnTo>
                    <a:lnTo>
                      <a:pt x="4660" y="1520"/>
                    </a:lnTo>
                    <a:lnTo>
                      <a:pt x="4664" y="1528"/>
                    </a:lnTo>
                    <a:lnTo>
                      <a:pt x="4664" y="1546"/>
                    </a:lnTo>
                    <a:lnTo>
                      <a:pt x="4666" y="1562"/>
                    </a:lnTo>
                    <a:lnTo>
                      <a:pt x="4666" y="1568"/>
                    </a:lnTo>
                    <a:lnTo>
                      <a:pt x="4668" y="1574"/>
                    </a:lnTo>
                    <a:lnTo>
                      <a:pt x="4672" y="1578"/>
                    </a:lnTo>
                    <a:lnTo>
                      <a:pt x="4676" y="1580"/>
                    </a:lnTo>
                    <a:lnTo>
                      <a:pt x="4684" y="1578"/>
                    </a:lnTo>
                    <a:lnTo>
                      <a:pt x="4694" y="1574"/>
                    </a:lnTo>
                    <a:lnTo>
                      <a:pt x="4714" y="1562"/>
                    </a:lnTo>
                    <a:lnTo>
                      <a:pt x="4728" y="1550"/>
                    </a:lnTo>
                    <a:lnTo>
                      <a:pt x="4738" y="1540"/>
                    </a:lnTo>
                    <a:lnTo>
                      <a:pt x="4746" y="1530"/>
                    </a:lnTo>
                    <a:lnTo>
                      <a:pt x="4752" y="1524"/>
                    </a:lnTo>
                    <a:lnTo>
                      <a:pt x="4758" y="1520"/>
                    </a:lnTo>
                    <a:lnTo>
                      <a:pt x="4766" y="1518"/>
                    </a:lnTo>
                    <a:lnTo>
                      <a:pt x="4778" y="1520"/>
                    </a:lnTo>
                    <a:lnTo>
                      <a:pt x="4784" y="1522"/>
                    </a:lnTo>
                    <a:lnTo>
                      <a:pt x="4788" y="1520"/>
                    </a:lnTo>
                    <a:lnTo>
                      <a:pt x="4790" y="1518"/>
                    </a:lnTo>
                    <a:lnTo>
                      <a:pt x="4792" y="1514"/>
                    </a:lnTo>
                    <a:lnTo>
                      <a:pt x="4790" y="1502"/>
                    </a:lnTo>
                    <a:lnTo>
                      <a:pt x="4788" y="1486"/>
                    </a:lnTo>
                    <a:lnTo>
                      <a:pt x="4788" y="1472"/>
                    </a:lnTo>
                    <a:lnTo>
                      <a:pt x="4790" y="1464"/>
                    </a:lnTo>
                    <a:lnTo>
                      <a:pt x="4792" y="1458"/>
                    </a:lnTo>
                    <a:lnTo>
                      <a:pt x="4796" y="1452"/>
                    </a:lnTo>
                    <a:lnTo>
                      <a:pt x="4802" y="1448"/>
                    </a:lnTo>
                    <a:lnTo>
                      <a:pt x="4812" y="1446"/>
                    </a:lnTo>
                    <a:lnTo>
                      <a:pt x="4824" y="1446"/>
                    </a:lnTo>
                    <a:lnTo>
                      <a:pt x="4854" y="1446"/>
                    </a:lnTo>
                    <a:lnTo>
                      <a:pt x="4856" y="1448"/>
                    </a:lnTo>
                    <a:lnTo>
                      <a:pt x="4858" y="1448"/>
                    </a:lnTo>
                    <a:lnTo>
                      <a:pt x="4854" y="1452"/>
                    </a:lnTo>
                    <a:lnTo>
                      <a:pt x="4848" y="1460"/>
                    </a:lnTo>
                    <a:lnTo>
                      <a:pt x="4838" y="1472"/>
                    </a:lnTo>
                    <a:lnTo>
                      <a:pt x="4830" y="1490"/>
                    </a:lnTo>
                    <a:lnTo>
                      <a:pt x="4828" y="1500"/>
                    </a:lnTo>
                    <a:lnTo>
                      <a:pt x="4824" y="1512"/>
                    </a:lnTo>
                    <a:lnTo>
                      <a:pt x="4822" y="1526"/>
                    </a:lnTo>
                    <a:lnTo>
                      <a:pt x="4818" y="1536"/>
                    </a:lnTo>
                    <a:lnTo>
                      <a:pt x="4814" y="1544"/>
                    </a:lnTo>
                    <a:lnTo>
                      <a:pt x="4810" y="1552"/>
                    </a:lnTo>
                    <a:lnTo>
                      <a:pt x="4798" y="1564"/>
                    </a:lnTo>
                    <a:lnTo>
                      <a:pt x="4784" y="1572"/>
                    </a:lnTo>
                    <a:lnTo>
                      <a:pt x="4766" y="1582"/>
                    </a:lnTo>
                    <a:lnTo>
                      <a:pt x="4748" y="1594"/>
                    </a:lnTo>
                    <a:lnTo>
                      <a:pt x="4726" y="1612"/>
                    </a:lnTo>
                    <a:lnTo>
                      <a:pt x="4716" y="1622"/>
                    </a:lnTo>
                    <a:lnTo>
                      <a:pt x="4704" y="1636"/>
                    </a:lnTo>
                    <a:lnTo>
                      <a:pt x="4664" y="1686"/>
                    </a:lnTo>
                    <a:lnTo>
                      <a:pt x="4646" y="1706"/>
                    </a:lnTo>
                    <a:lnTo>
                      <a:pt x="4630" y="1722"/>
                    </a:lnTo>
                    <a:lnTo>
                      <a:pt x="4614" y="1734"/>
                    </a:lnTo>
                    <a:lnTo>
                      <a:pt x="4600" y="1744"/>
                    </a:lnTo>
                    <a:lnTo>
                      <a:pt x="4584" y="1752"/>
                    </a:lnTo>
                    <a:lnTo>
                      <a:pt x="4568" y="1756"/>
                    </a:lnTo>
                    <a:lnTo>
                      <a:pt x="4554" y="1760"/>
                    </a:lnTo>
                    <a:lnTo>
                      <a:pt x="4546" y="1764"/>
                    </a:lnTo>
                    <a:lnTo>
                      <a:pt x="4544" y="1770"/>
                    </a:lnTo>
                    <a:lnTo>
                      <a:pt x="4542" y="1776"/>
                    </a:lnTo>
                    <a:lnTo>
                      <a:pt x="4542" y="1784"/>
                    </a:lnTo>
                    <a:lnTo>
                      <a:pt x="4540" y="1792"/>
                    </a:lnTo>
                    <a:lnTo>
                      <a:pt x="4532" y="1802"/>
                    </a:lnTo>
                    <a:lnTo>
                      <a:pt x="4520" y="1812"/>
                    </a:lnTo>
                    <a:lnTo>
                      <a:pt x="4514" y="1820"/>
                    </a:lnTo>
                    <a:lnTo>
                      <a:pt x="4508" y="1828"/>
                    </a:lnTo>
                    <a:lnTo>
                      <a:pt x="4502" y="1840"/>
                    </a:lnTo>
                    <a:lnTo>
                      <a:pt x="4498" y="1854"/>
                    </a:lnTo>
                    <a:lnTo>
                      <a:pt x="4496" y="1868"/>
                    </a:lnTo>
                    <a:lnTo>
                      <a:pt x="4494" y="1886"/>
                    </a:lnTo>
                    <a:lnTo>
                      <a:pt x="4494" y="1922"/>
                    </a:lnTo>
                    <a:lnTo>
                      <a:pt x="4496" y="1962"/>
                    </a:lnTo>
                    <a:lnTo>
                      <a:pt x="4502" y="2006"/>
                    </a:lnTo>
                    <a:lnTo>
                      <a:pt x="4508" y="2050"/>
                    </a:lnTo>
                    <a:lnTo>
                      <a:pt x="4518" y="2092"/>
                    </a:lnTo>
                    <a:lnTo>
                      <a:pt x="4520" y="2110"/>
                    </a:lnTo>
                    <a:lnTo>
                      <a:pt x="4522" y="2132"/>
                    </a:lnTo>
                    <a:lnTo>
                      <a:pt x="4526" y="2152"/>
                    </a:lnTo>
                    <a:lnTo>
                      <a:pt x="4530" y="2168"/>
                    </a:lnTo>
                    <a:lnTo>
                      <a:pt x="4532" y="2172"/>
                    </a:lnTo>
                    <a:lnTo>
                      <a:pt x="4536" y="2176"/>
                    </a:lnTo>
                    <a:lnTo>
                      <a:pt x="4542" y="2178"/>
                    </a:lnTo>
                    <a:lnTo>
                      <a:pt x="4548" y="2176"/>
                    </a:lnTo>
                    <a:lnTo>
                      <a:pt x="4556" y="2172"/>
                    </a:lnTo>
                    <a:lnTo>
                      <a:pt x="4564" y="2164"/>
                    </a:lnTo>
                    <a:lnTo>
                      <a:pt x="4574" y="2152"/>
                    </a:lnTo>
                    <a:lnTo>
                      <a:pt x="4588" y="2136"/>
                    </a:lnTo>
                    <a:lnTo>
                      <a:pt x="4594" y="2124"/>
                    </a:lnTo>
                    <a:lnTo>
                      <a:pt x="4600" y="2114"/>
                    </a:lnTo>
                    <a:lnTo>
                      <a:pt x="4608" y="2094"/>
                    </a:lnTo>
                    <a:lnTo>
                      <a:pt x="4610" y="2080"/>
                    </a:lnTo>
                    <a:lnTo>
                      <a:pt x="4612" y="2068"/>
                    </a:lnTo>
                    <a:lnTo>
                      <a:pt x="4612" y="2060"/>
                    </a:lnTo>
                    <a:lnTo>
                      <a:pt x="4614" y="2056"/>
                    </a:lnTo>
                    <a:lnTo>
                      <a:pt x="4618" y="2054"/>
                    </a:lnTo>
                    <a:lnTo>
                      <a:pt x="4626" y="2050"/>
                    </a:lnTo>
                    <a:lnTo>
                      <a:pt x="4644" y="2050"/>
                    </a:lnTo>
                    <a:lnTo>
                      <a:pt x="4654" y="2048"/>
                    </a:lnTo>
                    <a:lnTo>
                      <a:pt x="4660" y="2046"/>
                    </a:lnTo>
                    <a:lnTo>
                      <a:pt x="4664" y="2042"/>
                    </a:lnTo>
                    <a:lnTo>
                      <a:pt x="4668" y="2038"/>
                    </a:lnTo>
                    <a:lnTo>
                      <a:pt x="4670" y="2024"/>
                    </a:lnTo>
                    <a:lnTo>
                      <a:pt x="4670" y="2010"/>
                    </a:lnTo>
                    <a:lnTo>
                      <a:pt x="4670" y="1996"/>
                    </a:lnTo>
                    <a:lnTo>
                      <a:pt x="4672" y="1988"/>
                    </a:lnTo>
                    <a:lnTo>
                      <a:pt x="4676" y="1982"/>
                    </a:lnTo>
                    <a:lnTo>
                      <a:pt x="4680" y="1976"/>
                    </a:lnTo>
                    <a:lnTo>
                      <a:pt x="4686" y="1972"/>
                    </a:lnTo>
                    <a:lnTo>
                      <a:pt x="4694" y="1968"/>
                    </a:lnTo>
                    <a:lnTo>
                      <a:pt x="4704" y="1968"/>
                    </a:lnTo>
                    <a:lnTo>
                      <a:pt x="4730" y="1964"/>
                    </a:lnTo>
                    <a:lnTo>
                      <a:pt x="4740" y="1960"/>
                    </a:lnTo>
                    <a:lnTo>
                      <a:pt x="4744" y="1956"/>
                    </a:lnTo>
                    <a:lnTo>
                      <a:pt x="4748" y="1952"/>
                    </a:lnTo>
                    <a:lnTo>
                      <a:pt x="4750" y="1948"/>
                    </a:lnTo>
                    <a:lnTo>
                      <a:pt x="4750" y="1944"/>
                    </a:lnTo>
                    <a:lnTo>
                      <a:pt x="4748" y="1938"/>
                    </a:lnTo>
                    <a:lnTo>
                      <a:pt x="4744" y="1926"/>
                    </a:lnTo>
                    <a:lnTo>
                      <a:pt x="4740" y="1912"/>
                    </a:lnTo>
                    <a:lnTo>
                      <a:pt x="4738" y="1904"/>
                    </a:lnTo>
                    <a:lnTo>
                      <a:pt x="4738" y="1896"/>
                    </a:lnTo>
                    <a:lnTo>
                      <a:pt x="4740" y="1888"/>
                    </a:lnTo>
                    <a:lnTo>
                      <a:pt x="4744" y="1880"/>
                    </a:lnTo>
                    <a:lnTo>
                      <a:pt x="4748" y="1874"/>
                    </a:lnTo>
                    <a:lnTo>
                      <a:pt x="4752" y="1870"/>
                    </a:lnTo>
                    <a:lnTo>
                      <a:pt x="4756" y="1866"/>
                    </a:lnTo>
                    <a:lnTo>
                      <a:pt x="4760" y="1866"/>
                    </a:lnTo>
                    <a:lnTo>
                      <a:pt x="4770" y="1866"/>
                    </a:lnTo>
                    <a:lnTo>
                      <a:pt x="4778" y="1870"/>
                    </a:lnTo>
                    <a:lnTo>
                      <a:pt x="4784" y="1874"/>
                    </a:lnTo>
                    <a:lnTo>
                      <a:pt x="4792" y="1874"/>
                    </a:lnTo>
                    <a:lnTo>
                      <a:pt x="4794" y="1874"/>
                    </a:lnTo>
                    <a:lnTo>
                      <a:pt x="4796" y="1872"/>
                    </a:lnTo>
                    <a:lnTo>
                      <a:pt x="4800" y="1862"/>
                    </a:lnTo>
                    <a:lnTo>
                      <a:pt x="4800" y="1854"/>
                    </a:lnTo>
                    <a:lnTo>
                      <a:pt x="4800" y="1846"/>
                    </a:lnTo>
                    <a:lnTo>
                      <a:pt x="4798" y="1840"/>
                    </a:lnTo>
                    <a:lnTo>
                      <a:pt x="4796" y="1836"/>
                    </a:lnTo>
                    <a:lnTo>
                      <a:pt x="4788" y="1828"/>
                    </a:lnTo>
                    <a:lnTo>
                      <a:pt x="4782" y="1822"/>
                    </a:lnTo>
                    <a:lnTo>
                      <a:pt x="4774" y="1816"/>
                    </a:lnTo>
                    <a:lnTo>
                      <a:pt x="4772" y="1814"/>
                    </a:lnTo>
                    <a:lnTo>
                      <a:pt x="4772" y="1810"/>
                    </a:lnTo>
                    <a:lnTo>
                      <a:pt x="4772" y="1806"/>
                    </a:lnTo>
                    <a:lnTo>
                      <a:pt x="4774" y="1802"/>
                    </a:lnTo>
                    <a:lnTo>
                      <a:pt x="4782" y="1790"/>
                    </a:lnTo>
                    <a:lnTo>
                      <a:pt x="4790" y="1780"/>
                    </a:lnTo>
                    <a:lnTo>
                      <a:pt x="4794" y="1772"/>
                    </a:lnTo>
                    <a:lnTo>
                      <a:pt x="4794" y="1766"/>
                    </a:lnTo>
                    <a:lnTo>
                      <a:pt x="4792" y="1760"/>
                    </a:lnTo>
                    <a:lnTo>
                      <a:pt x="4788" y="1756"/>
                    </a:lnTo>
                    <a:lnTo>
                      <a:pt x="4782" y="1752"/>
                    </a:lnTo>
                    <a:lnTo>
                      <a:pt x="4768" y="1748"/>
                    </a:lnTo>
                    <a:lnTo>
                      <a:pt x="4756" y="1744"/>
                    </a:lnTo>
                    <a:lnTo>
                      <a:pt x="4750" y="1740"/>
                    </a:lnTo>
                    <a:lnTo>
                      <a:pt x="4746" y="1738"/>
                    </a:lnTo>
                    <a:lnTo>
                      <a:pt x="4746" y="1732"/>
                    </a:lnTo>
                    <a:lnTo>
                      <a:pt x="4748" y="1728"/>
                    </a:lnTo>
                    <a:lnTo>
                      <a:pt x="4752" y="1720"/>
                    </a:lnTo>
                    <a:lnTo>
                      <a:pt x="4762" y="1712"/>
                    </a:lnTo>
                    <a:lnTo>
                      <a:pt x="4782" y="1694"/>
                    </a:lnTo>
                    <a:lnTo>
                      <a:pt x="4794" y="1678"/>
                    </a:lnTo>
                    <a:lnTo>
                      <a:pt x="4800" y="1664"/>
                    </a:lnTo>
                    <a:lnTo>
                      <a:pt x="4804" y="1652"/>
                    </a:lnTo>
                    <a:lnTo>
                      <a:pt x="4806" y="1642"/>
                    </a:lnTo>
                    <a:lnTo>
                      <a:pt x="4810" y="1634"/>
                    </a:lnTo>
                    <a:lnTo>
                      <a:pt x="4816" y="1628"/>
                    </a:lnTo>
                    <a:lnTo>
                      <a:pt x="4828" y="1622"/>
                    </a:lnTo>
                    <a:lnTo>
                      <a:pt x="4840" y="1618"/>
                    </a:lnTo>
                    <a:lnTo>
                      <a:pt x="4848" y="1618"/>
                    </a:lnTo>
                    <a:lnTo>
                      <a:pt x="4852" y="1620"/>
                    </a:lnTo>
                    <a:lnTo>
                      <a:pt x="4854" y="1622"/>
                    </a:lnTo>
                    <a:lnTo>
                      <a:pt x="4856" y="1624"/>
                    </a:lnTo>
                    <a:lnTo>
                      <a:pt x="4862" y="1622"/>
                    </a:lnTo>
                    <a:lnTo>
                      <a:pt x="4872" y="1616"/>
                    </a:lnTo>
                    <a:lnTo>
                      <a:pt x="4888" y="1606"/>
                    </a:lnTo>
                    <a:lnTo>
                      <a:pt x="4900" y="1598"/>
                    </a:lnTo>
                    <a:lnTo>
                      <a:pt x="4908" y="1592"/>
                    </a:lnTo>
                    <a:lnTo>
                      <a:pt x="4914" y="1592"/>
                    </a:lnTo>
                    <a:lnTo>
                      <a:pt x="4916" y="1592"/>
                    </a:lnTo>
                    <a:lnTo>
                      <a:pt x="4918" y="1596"/>
                    </a:lnTo>
                    <a:lnTo>
                      <a:pt x="4918" y="1600"/>
                    </a:lnTo>
                    <a:lnTo>
                      <a:pt x="4914" y="1612"/>
                    </a:lnTo>
                    <a:lnTo>
                      <a:pt x="4910" y="1624"/>
                    </a:lnTo>
                    <a:lnTo>
                      <a:pt x="4910" y="1628"/>
                    </a:lnTo>
                    <a:lnTo>
                      <a:pt x="4910" y="1632"/>
                    </a:lnTo>
                    <a:lnTo>
                      <a:pt x="4912" y="1632"/>
                    </a:lnTo>
                    <a:lnTo>
                      <a:pt x="4916" y="1632"/>
                    </a:lnTo>
                    <a:lnTo>
                      <a:pt x="4934" y="1618"/>
                    </a:lnTo>
                    <a:lnTo>
                      <a:pt x="4958" y="1600"/>
                    </a:lnTo>
                    <a:lnTo>
                      <a:pt x="4980" y="1588"/>
                    </a:lnTo>
                    <a:lnTo>
                      <a:pt x="4990" y="1586"/>
                    </a:lnTo>
                    <a:lnTo>
                      <a:pt x="5000" y="1584"/>
                    </a:lnTo>
                    <a:lnTo>
                      <a:pt x="5016" y="1584"/>
                    </a:lnTo>
                    <a:lnTo>
                      <a:pt x="5032" y="1588"/>
                    </a:lnTo>
                    <a:lnTo>
                      <a:pt x="5048" y="1596"/>
                    </a:lnTo>
                    <a:lnTo>
                      <a:pt x="5060" y="1606"/>
                    </a:lnTo>
                    <a:lnTo>
                      <a:pt x="5072" y="1618"/>
                    </a:lnTo>
                    <a:lnTo>
                      <a:pt x="5080" y="1628"/>
                    </a:lnTo>
                    <a:lnTo>
                      <a:pt x="5082" y="1630"/>
                    </a:lnTo>
                    <a:lnTo>
                      <a:pt x="5084" y="1628"/>
                    </a:lnTo>
                    <a:lnTo>
                      <a:pt x="5086" y="1620"/>
                    </a:lnTo>
                    <a:lnTo>
                      <a:pt x="5094" y="1608"/>
                    </a:lnTo>
                    <a:lnTo>
                      <a:pt x="5108" y="1592"/>
                    </a:lnTo>
                    <a:lnTo>
                      <a:pt x="5118" y="1584"/>
                    </a:lnTo>
                    <a:lnTo>
                      <a:pt x="5132" y="1574"/>
                    </a:lnTo>
                    <a:lnTo>
                      <a:pt x="5148" y="1564"/>
                    </a:lnTo>
                    <a:lnTo>
                      <a:pt x="5168" y="1552"/>
                    </a:lnTo>
                    <a:lnTo>
                      <a:pt x="5186" y="1542"/>
                    </a:lnTo>
                    <a:lnTo>
                      <a:pt x="5202" y="1532"/>
                    </a:lnTo>
                    <a:lnTo>
                      <a:pt x="5236" y="1508"/>
                    </a:lnTo>
                    <a:lnTo>
                      <a:pt x="5252" y="1496"/>
                    </a:lnTo>
                    <a:lnTo>
                      <a:pt x="5272" y="1484"/>
                    </a:lnTo>
                    <a:lnTo>
                      <a:pt x="5290" y="1474"/>
                    </a:lnTo>
                    <a:lnTo>
                      <a:pt x="5312" y="1466"/>
                    </a:lnTo>
                    <a:lnTo>
                      <a:pt x="5330" y="1460"/>
                    </a:lnTo>
                    <a:lnTo>
                      <a:pt x="5348" y="1456"/>
                    </a:lnTo>
                    <a:lnTo>
                      <a:pt x="5362" y="1454"/>
                    </a:lnTo>
                    <a:lnTo>
                      <a:pt x="5374" y="1454"/>
                    </a:lnTo>
                    <a:lnTo>
                      <a:pt x="5396" y="1456"/>
                    </a:lnTo>
                    <a:lnTo>
                      <a:pt x="5410" y="1460"/>
                    </a:lnTo>
                    <a:lnTo>
                      <a:pt x="5422" y="1464"/>
                    </a:lnTo>
                    <a:lnTo>
                      <a:pt x="5430" y="1466"/>
                    </a:lnTo>
                    <a:lnTo>
                      <a:pt x="5434" y="1466"/>
                    </a:lnTo>
                    <a:lnTo>
                      <a:pt x="5438" y="1464"/>
                    </a:lnTo>
                    <a:lnTo>
                      <a:pt x="5448" y="1458"/>
                    </a:lnTo>
                    <a:lnTo>
                      <a:pt x="5454" y="1448"/>
                    </a:lnTo>
                    <a:lnTo>
                      <a:pt x="5458" y="1440"/>
                    </a:lnTo>
                    <a:lnTo>
                      <a:pt x="5456" y="1432"/>
                    </a:lnTo>
                    <a:lnTo>
                      <a:pt x="5450" y="1422"/>
                    </a:lnTo>
                    <a:lnTo>
                      <a:pt x="5436" y="1400"/>
                    </a:lnTo>
                    <a:lnTo>
                      <a:pt x="5428" y="1386"/>
                    </a:lnTo>
                    <a:lnTo>
                      <a:pt x="5420" y="1368"/>
                    </a:lnTo>
                    <a:lnTo>
                      <a:pt x="5412" y="1348"/>
                    </a:lnTo>
                    <a:lnTo>
                      <a:pt x="5404" y="1338"/>
                    </a:lnTo>
                    <a:lnTo>
                      <a:pt x="5400" y="1336"/>
                    </a:lnTo>
                    <a:lnTo>
                      <a:pt x="5396" y="1336"/>
                    </a:lnTo>
                    <a:lnTo>
                      <a:pt x="5390" y="1336"/>
                    </a:lnTo>
                    <a:lnTo>
                      <a:pt x="5384" y="1338"/>
                    </a:lnTo>
                    <a:lnTo>
                      <a:pt x="5378" y="1338"/>
                    </a:lnTo>
                    <a:lnTo>
                      <a:pt x="5376" y="1336"/>
                    </a:lnTo>
                    <a:lnTo>
                      <a:pt x="5374" y="1334"/>
                    </a:lnTo>
                    <a:lnTo>
                      <a:pt x="5368" y="1322"/>
                    </a:lnTo>
                    <a:lnTo>
                      <a:pt x="5368" y="1316"/>
                    </a:lnTo>
                    <a:lnTo>
                      <a:pt x="5368" y="1312"/>
                    </a:lnTo>
                    <a:lnTo>
                      <a:pt x="5372" y="1310"/>
                    </a:lnTo>
                    <a:lnTo>
                      <a:pt x="5374" y="1308"/>
                    </a:lnTo>
                    <a:lnTo>
                      <a:pt x="5384" y="1308"/>
                    </a:lnTo>
                    <a:lnTo>
                      <a:pt x="5398" y="1310"/>
                    </a:lnTo>
                    <a:lnTo>
                      <a:pt x="5414" y="1312"/>
                    </a:lnTo>
                    <a:lnTo>
                      <a:pt x="5432" y="1310"/>
                    </a:lnTo>
                    <a:lnTo>
                      <a:pt x="5440" y="1308"/>
                    </a:lnTo>
                    <a:lnTo>
                      <a:pt x="5448" y="1304"/>
                    </a:lnTo>
                    <a:lnTo>
                      <a:pt x="5454" y="1298"/>
                    </a:lnTo>
                    <a:lnTo>
                      <a:pt x="5462" y="1292"/>
                    </a:lnTo>
                    <a:lnTo>
                      <a:pt x="5478" y="1272"/>
                    </a:lnTo>
                    <a:lnTo>
                      <a:pt x="5478" y="1258"/>
                    </a:lnTo>
                    <a:lnTo>
                      <a:pt x="5486" y="1248"/>
                    </a:lnTo>
                    <a:lnTo>
                      <a:pt x="5490" y="1244"/>
                    </a:lnTo>
                    <a:lnTo>
                      <a:pt x="5490" y="1240"/>
                    </a:lnTo>
                    <a:lnTo>
                      <a:pt x="5490" y="1236"/>
                    </a:lnTo>
                    <a:lnTo>
                      <a:pt x="5488" y="1232"/>
                    </a:lnTo>
                    <a:lnTo>
                      <a:pt x="5480" y="1220"/>
                    </a:lnTo>
                    <a:lnTo>
                      <a:pt x="5478" y="1216"/>
                    </a:lnTo>
                    <a:lnTo>
                      <a:pt x="5478" y="1204"/>
                    </a:lnTo>
                    <a:lnTo>
                      <a:pt x="5480" y="1200"/>
                    </a:lnTo>
                    <a:lnTo>
                      <a:pt x="5484" y="1200"/>
                    </a:lnTo>
                    <a:lnTo>
                      <a:pt x="5490" y="1200"/>
                    </a:lnTo>
                    <a:lnTo>
                      <a:pt x="5496" y="1202"/>
                    </a:lnTo>
                    <a:lnTo>
                      <a:pt x="5502" y="1206"/>
                    </a:lnTo>
                    <a:lnTo>
                      <a:pt x="5510" y="1212"/>
                    </a:lnTo>
                    <a:lnTo>
                      <a:pt x="5516" y="1220"/>
                    </a:lnTo>
                    <a:lnTo>
                      <a:pt x="5520" y="1230"/>
                    </a:lnTo>
                    <a:lnTo>
                      <a:pt x="5524" y="1238"/>
                    </a:lnTo>
                    <a:lnTo>
                      <a:pt x="5530" y="1242"/>
                    </a:lnTo>
                    <a:lnTo>
                      <a:pt x="5536" y="1244"/>
                    </a:lnTo>
                    <a:lnTo>
                      <a:pt x="5542" y="1246"/>
                    </a:lnTo>
                    <a:lnTo>
                      <a:pt x="5556" y="1244"/>
                    </a:lnTo>
                    <a:lnTo>
                      <a:pt x="5572" y="1242"/>
                    </a:lnTo>
                    <a:lnTo>
                      <a:pt x="5588" y="1238"/>
                    </a:lnTo>
                    <a:lnTo>
                      <a:pt x="5596" y="1238"/>
                    </a:lnTo>
                    <a:lnTo>
                      <a:pt x="5604" y="1238"/>
                    </a:lnTo>
                    <a:lnTo>
                      <a:pt x="5610" y="1242"/>
                    </a:lnTo>
                    <a:lnTo>
                      <a:pt x="5618" y="1246"/>
                    </a:lnTo>
                    <a:lnTo>
                      <a:pt x="5624" y="1252"/>
                    </a:lnTo>
                    <a:lnTo>
                      <a:pt x="5628" y="1262"/>
                    </a:lnTo>
                    <a:lnTo>
                      <a:pt x="5638" y="1278"/>
                    </a:lnTo>
                    <a:lnTo>
                      <a:pt x="5648" y="1290"/>
                    </a:lnTo>
                    <a:lnTo>
                      <a:pt x="5656" y="1294"/>
                    </a:lnTo>
                    <a:lnTo>
                      <a:pt x="5664" y="1296"/>
                    </a:lnTo>
                    <a:lnTo>
                      <a:pt x="5674" y="1298"/>
                    </a:lnTo>
                    <a:lnTo>
                      <a:pt x="5682" y="1298"/>
                    </a:lnTo>
                    <a:lnTo>
                      <a:pt x="5690" y="1302"/>
                    </a:lnTo>
                    <a:lnTo>
                      <a:pt x="5696" y="1310"/>
                    </a:lnTo>
                    <a:lnTo>
                      <a:pt x="5700" y="1316"/>
                    </a:lnTo>
                    <a:lnTo>
                      <a:pt x="5706" y="1320"/>
                    </a:lnTo>
                    <a:lnTo>
                      <a:pt x="5710" y="1322"/>
                    </a:lnTo>
                    <a:lnTo>
                      <a:pt x="5716" y="1322"/>
                    </a:lnTo>
                    <a:lnTo>
                      <a:pt x="5726" y="1322"/>
                    </a:lnTo>
                    <a:lnTo>
                      <a:pt x="5738" y="1318"/>
                    </a:lnTo>
                    <a:lnTo>
                      <a:pt x="5748" y="1310"/>
                    </a:lnTo>
                    <a:lnTo>
                      <a:pt x="5756" y="1298"/>
                    </a:lnTo>
                    <a:lnTo>
                      <a:pt x="5764" y="1284"/>
                    </a:lnTo>
                    <a:lnTo>
                      <a:pt x="5766" y="1268"/>
                    </a:lnTo>
                    <a:lnTo>
                      <a:pt x="5768" y="1254"/>
                    </a:lnTo>
                    <a:lnTo>
                      <a:pt x="5770" y="1248"/>
                    </a:lnTo>
                    <a:lnTo>
                      <a:pt x="5774" y="1246"/>
                    </a:lnTo>
                    <a:lnTo>
                      <a:pt x="5782" y="1240"/>
                    </a:lnTo>
                    <a:lnTo>
                      <a:pt x="5792" y="1238"/>
                    </a:lnTo>
                    <a:lnTo>
                      <a:pt x="5802" y="1238"/>
                    </a:lnTo>
                    <a:lnTo>
                      <a:pt x="5816" y="1234"/>
                    </a:lnTo>
                    <a:lnTo>
                      <a:pt x="5830" y="1228"/>
                    </a:lnTo>
                    <a:lnTo>
                      <a:pt x="5836" y="1222"/>
                    </a:lnTo>
                    <a:lnTo>
                      <a:pt x="5844" y="1216"/>
                    </a:lnTo>
                    <a:lnTo>
                      <a:pt x="5854" y="1204"/>
                    </a:lnTo>
                    <a:lnTo>
                      <a:pt x="5856" y="1198"/>
                    </a:lnTo>
                    <a:lnTo>
                      <a:pt x="5856" y="1196"/>
                    </a:lnTo>
                    <a:lnTo>
                      <a:pt x="5854" y="1194"/>
                    </a:lnTo>
                    <a:lnTo>
                      <a:pt x="5846" y="1194"/>
                    </a:lnTo>
                    <a:lnTo>
                      <a:pt x="5836" y="1192"/>
                    </a:lnTo>
                    <a:lnTo>
                      <a:pt x="5824" y="1188"/>
                    </a:lnTo>
                    <a:lnTo>
                      <a:pt x="5816" y="1184"/>
                    </a:lnTo>
                    <a:lnTo>
                      <a:pt x="5810" y="1180"/>
                    </a:lnTo>
                    <a:lnTo>
                      <a:pt x="5804" y="1174"/>
                    </a:lnTo>
                    <a:lnTo>
                      <a:pt x="5798" y="116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b="1" dirty="0"/>
              </a:p>
            </p:txBody>
          </p:sp>
          <p:sp>
            <p:nvSpPr>
              <p:cNvPr id="1715" name="Freeform 6004">
                <a:extLst>
                  <a:ext uri="{FF2B5EF4-FFF2-40B4-BE49-F238E27FC236}">
                    <a16:creationId xmlns:a16="http://schemas.microsoft.com/office/drawing/2014/main" id="{C9748DAF-248C-41AC-BF66-C1BD5A7977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7599" y="3604608"/>
                <a:ext cx="5080" cy="6349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4" y="10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0" y="6"/>
                  </a:cxn>
                </a:cxnLst>
                <a:rect l="0" t="0" r="r" b="b"/>
                <a:pathLst>
                  <a:path w="8" h="10">
                    <a:moveTo>
                      <a:pt x="0" y="6"/>
                    </a:move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grpSp>
            <p:nvGrpSpPr>
              <p:cNvPr id="1716" name="Gruppe 224">
                <a:extLst>
                  <a:ext uri="{FF2B5EF4-FFF2-40B4-BE49-F238E27FC236}">
                    <a16:creationId xmlns:a16="http://schemas.microsoft.com/office/drawing/2014/main" id="{1FC2FDB5-706A-4902-9100-2ACD0A9496B3}"/>
                  </a:ext>
                </a:extLst>
              </p:cNvPr>
              <p:cNvGrpSpPr/>
              <p:nvPr/>
            </p:nvGrpSpPr>
            <p:grpSpPr bwMode="auto">
              <a:xfrm>
                <a:off x="61885" y="752495"/>
                <a:ext cx="3986212" cy="2951162"/>
                <a:chOff x="93979" y="699453"/>
                <a:chExt cx="3986530" cy="2951480"/>
              </a:xfrm>
              <a:grpFill/>
            </p:grpSpPr>
            <p:sp>
              <p:nvSpPr>
                <p:cNvPr id="1772" name="Freeform 6016">
                  <a:extLst>
                    <a:ext uri="{FF2B5EF4-FFF2-40B4-BE49-F238E27FC236}">
                      <a16:creationId xmlns:a16="http://schemas.microsoft.com/office/drawing/2014/main" id="{CE28BDEC-B036-473E-BBF7-44D72CB2C1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2550" y="1099503"/>
                  <a:ext cx="40640" cy="26670"/>
                </a:xfrm>
                <a:custGeom>
                  <a:avLst/>
                  <a:gdLst/>
                  <a:ahLst/>
                  <a:cxnLst>
                    <a:cxn ang="0">
                      <a:pos x="54" y="2"/>
                    </a:cxn>
                    <a:cxn ang="0">
                      <a:pos x="54" y="2"/>
                    </a:cxn>
                    <a:cxn ang="0">
                      <a:pos x="32" y="12"/>
                    </a:cxn>
                    <a:cxn ang="0">
                      <a:pos x="10" y="24"/>
                    </a:cxn>
                    <a:cxn ang="0">
                      <a:pos x="4" y="30"/>
                    </a:cxn>
                    <a:cxn ang="0">
                      <a:pos x="0" y="36"/>
                    </a:cxn>
                    <a:cxn ang="0">
                      <a:pos x="2" y="38"/>
                    </a:cxn>
                    <a:cxn ang="0">
                      <a:pos x="4" y="40"/>
                    </a:cxn>
                    <a:cxn ang="0">
                      <a:pos x="16" y="42"/>
                    </a:cxn>
                    <a:cxn ang="0">
                      <a:pos x="16" y="42"/>
                    </a:cxn>
                    <a:cxn ang="0">
                      <a:pos x="22" y="42"/>
                    </a:cxn>
                    <a:cxn ang="0">
                      <a:pos x="28" y="42"/>
                    </a:cxn>
                    <a:cxn ang="0">
                      <a:pos x="40" y="36"/>
                    </a:cxn>
                    <a:cxn ang="0">
                      <a:pos x="50" y="28"/>
                    </a:cxn>
                    <a:cxn ang="0">
                      <a:pos x="58" y="20"/>
                    </a:cxn>
                    <a:cxn ang="0">
                      <a:pos x="62" y="10"/>
                    </a:cxn>
                    <a:cxn ang="0">
                      <a:pos x="64" y="4"/>
                    </a:cxn>
                    <a:cxn ang="0">
                      <a:pos x="64" y="2"/>
                    </a:cxn>
                    <a:cxn ang="0">
                      <a:pos x="62" y="0"/>
                    </a:cxn>
                    <a:cxn ang="0">
                      <a:pos x="58" y="0"/>
                    </a:cxn>
                    <a:cxn ang="0">
                      <a:pos x="54" y="2"/>
                    </a:cxn>
                    <a:cxn ang="0">
                      <a:pos x="54" y="2"/>
                    </a:cxn>
                  </a:cxnLst>
                  <a:rect l="0" t="0" r="r" b="b"/>
                  <a:pathLst>
                    <a:path w="64" h="42">
                      <a:moveTo>
                        <a:pt x="54" y="2"/>
                      </a:moveTo>
                      <a:lnTo>
                        <a:pt x="54" y="2"/>
                      </a:lnTo>
                      <a:lnTo>
                        <a:pt x="32" y="12"/>
                      </a:lnTo>
                      <a:lnTo>
                        <a:pt x="10" y="24"/>
                      </a:lnTo>
                      <a:lnTo>
                        <a:pt x="4" y="30"/>
                      </a:lnTo>
                      <a:lnTo>
                        <a:pt x="0" y="36"/>
                      </a:lnTo>
                      <a:lnTo>
                        <a:pt x="2" y="38"/>
                      </a:lnTo>
                      <a:lnTo>
                        <a:pt x="4" y="40"/>
                      </a:lnTo>
                      <a:lnTo>
                        <a:pt x="16" y="42"/>
                      </a:lnTo>
                      <a:lnTo>
                        <a:pt x="16" y="42"/>
                      </a:lnTo>
                      <a:lnTo>
                        <a:pt x="22" y="42"/>
                      </a:lnTo>
                      <a:lnTo>
                        <a:pt x="28" y="42"/>
                      </a:lnTo>
                      <a:lnTo>
                        <a:pt x="40" y="36"/>
                      </a:lnTo>
                      <a:lnTo>
                        <a:pt x="50" y="28"/>
                      </a:lnTo>
                      <a:lnTo>
                        <a:pt x="58" y="20"/>
                      </a:lnTo>
                      <a:lnTo>
                        <a:pt x="62" y="10"/>
                      </a:lnTo>
                      <a:lnTo>
                        <a:pt x="64" y="4"/>
                      </a:lnTo>
                      <a:lnTo>
                        <a:pt x="64" y="2"/>
                      </a:lnTo>
                      <a:lnTo>
                        <a:pt x="62" y="0"/>
                      </a:lnTo>
                      <a:lnTo>
                        <a:pt x="58" y="0"/>
                      </a:lnTo>
                      <a:lnTo>
                        <a:pt x="54" y="2"/>
                      </a:lnTo>
                      <a:lnTo>
                        <a:pt x="54" y="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73" name="Freeform 6017">
                  <a:extLst>
                    <a:ext uri="{FF2B5EF4-FFF2-40B4-BE49-F238E27FC236}">
                      <a16:creationId xmlns:a16="http://schemas.microsoft.com/office/drawing/2014/main" id="{FBFCAB41-46E2-468A-998A-235049CA97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4910" y="1173163"/>
                  <a:ext cx="270510" cy="165100"/>
                </a:xfrm>
                <a:custGeom>
                  <a:avLst/>
                  <a:gdLst/>
                  <a:ahLst/>
                  <a:cxnLst>
                    <a:cxn ang="0">
                      <a:pos x="20" y="198"/>
                    </a:cxn>
                    <a:cxn ang="0">
                      <a:pos x="68" y="214"/>
                    </a:cxn>
                    <a:cxn ang="0">
                      <a:pos x="92" y="232"/>
                    </a:cxn>
                    <a:cxn ang="0">
                      <a:pos x="106" y="256"/>
                    </a:cxn>
                    <a:cxn ang="0">
                      <a:pos x="116" y="260"/>
                    </a:cxn>
                    <a:cxn ang="0">
                      <a:pos x="146" y="248"/>
                    </a:cxn>
                    <a:cxn ang="0">
                      <a:pos x="168" y="236"/>
                    </a:cxn>
                    <a:cxn ang="0">
                      <a:pos x="184" y="238"/>
                    </a:cxn>
                    <a:cxn ang="0">
                      <a:pos x="208" y="232"/>
                    </a:cxn>
                    <a:cxn ang="0">
                      <a:pos x="216" y="226"/>
                    </a:cxn>
                    <a:cxn ang="0">
                      <a:pos x="224" y="200"/>
                    </a:cxn>
                    <a:cxn ang="0">
                      <a:pos x="232" y="178"/>
                    </a:cxn>
                    <a:cxn ang="0">
                      <a:pos x="254" y="172"/>
                    </a:cxn>
                    <a:cxn ang="0">
                      <a:pos x="266" y="158"/>
                    </a:cxn>
                    <a:cxn ang="0">
                      <a:pos x="280" y="140"/>
                    </a:cxn>
                    <a:cxn ang="0">
                      <a:pos x="322" y="124"/>
                    </a:cxn>
                    <a:cxn ang="0">
                      <a:pos x="392" y="94"/>
                    </a:cxn>
                    <a:cxn ang="0">
                      <a:pos x="418" y="86"/>
                    </a:cxn>
                    <a:cxn ang="0">
                      <a:pos x="424" y="72"/>
                    </a:cxn>
                    <a:cxn ang="0">
                      <a:pos x="408" y="64"/>
                    </a:cxn>
                    <a:cxn ang="0">
                      <a:pos x="370" y="40"/>
                    </a:cxn>
                    <a:cxn ang="0">
                      <a:pos x="334" y="22"/>
                    </a:cxn>
                    <a:cxn ang="0">
                      <a:pos x="302" y="22"/>
                    </a:cxn>
                    <a:cxn ang="0">
                      <a:pos x="284" y="30"/>
                    </a:cxn>
                    <a:cxn ang="0">
                      <a:pos x="276" y="40"/>
                    </a:cxn>
                    <a:cxn ang="0">
                      <a:pos x="272" y="36"/>
                    </a:cxn>
                    <a:cxn ang="0">
                      <a:pos x="268" y="26"/>
                    </a:cxn>
                    <a:cxn ang="0">
                      <a:pos x="260" y="26"/>
                    </a:cxn>
                    <a:cxn ang="0">
                      <a:pos x="234" y="22"/>
                    </a:cxn>
                    <a:cxn ang="0">
                      <a:pos x="192" y="2"/>
                    </a:cxn>
                    <a:cxn ang="0">
                      <a:pos x="168" y="0"/>
                    </a:cxn>
                    <a:cxn ang="0">
                      <a:pos x="138" y="6"/>
                    </a:cxn>
                    <a:cxn ang="0">
                      <a:pos x="54" y="16"/>
                    </a:cxn>
                    <a:cxn ang="0">
                      <a:pos x="50" y="20"/>
                    </a:cxn>
                    <a:cxn ang="0">
                      <a:pos x="56" y="28"/>
                    </a:cxn>
                    <a:cxn ang="0">
                      <a:pos x="64" y="46"/>
                    </a:cxn>
                    <a:cxn ang="0">
                      <a:pos x="76" y="52"/>
                    </a:cxn>
                    <a:cxn ang="0">
                      <a:pos x="86" y="60"/>
                    </a:cxn>
                    <a:cxn ang="0">
                      <a:pos x="74" y="72"/>
                    </a:cxn>
                    <a:cxn ang="0">
                      <a:pos x="72" y="80"/>
                    </a:cxn>
                    <a:cxn ang="0">
                      <a:pos x="58" y="84"/>
                    </a:cxn>
                    <a:cxn ang="0">
                      <a:pos x="56" y="90"/>
                    </a:cxn>
                    <a:cxn ang="0">
                      <a:pos x="48" y="106"/>
                    </a:cxn>
                    <a:cxn ang="0">
                      <a:pos x="46" y="114"/>
                    </a:cxn>
                    <a:cxn ang="0">
                      <a:pos x="56" y="122"/>
                    </a:cxn>
                    <a:cxn ang="0">
                      <a:pos x="44" y="126"/>
                    </a:cxn>
                    <a:cxn ang="0">
                      <a:pos x="30" y="130"/>
                    </a:cxn>
                    <a:cxn ang="0">
                      <a:pos x="34" y="140"/>
                    </a:cxn>
                    <a:cxn ang="0">
                      <a:pos x="22" y="160"/>
                    </a:cxn>
                    <a:cxn ang="0">
                      <a:pos x="4" y="182"/>
                    </a:cxn>
                    <a:cxn ang="0">
                      <a:pos x="0" y="192"/>
                    </a:cxn>
                    <a:cxn ang="0">
                      <a:pos x="2" y="196"/>
                    </a:cxn>
                  </a:cxnLst>
                  <a:rect l="0" t="0" r="r" b="b"/>
                  <a:pathLst>
                    <a:path w="426" h="260">
                      <a:moveTo>
                        <a:pt x="2" y="196"/>
                      </a:moveTo>
                      <a:lnTo>
                        <a:pt x="2" y="196"/>
                      </a:lnTo>
                      <a:lnTo>
                        <a:pt x="20" y="198"/>
                      </a:lnTo>
                      <a:lnTo>
                        <a:pt x="38" y="204"/>
                      </a:lnTo>
                      <a:lnTo>
                        <a:pt x="68" y="214"/>
                      </a:lnTo>
                      <a:lnTo>
                        <a:pt x="68" y="214"/>
                      </a:lnTo>
                      <a:lnTo>
                        <a:pt x="78" y="220"/>
                      </a:lnTo>
                      <a:lnTo>
                        <a:pt x="86" y="226"/>
                      </a:lnTo>
                      <a:lnTo>
                        <a:pt x="92" y="232"/>
                      </a:lnTo>
                      <a:lnTo>
                        <a:pt x="96" y="240"/>
                      </a:lnTo>
                      <a:lnTo>
                        <a:pt x="102" y="252"/>
                      </a:lnTo>
                      <a:lnTo>
                        <a:pt x="106" y="256"/>
                      </a:lnTo>
                      <a:lnTo>
                        <a:pt x="110" y="260"/>
                      </a:lnTo>
                      <a:lnTo>
                        <a:pt x="110" y="260"/>
                      </a:lnTo>
                      <a:lnTo>
                        <a:pt x="116" y="260"/>
                      </a:lnTo>
                      <a:lnTo>
                        <a:pt x="122" y="260"/>
                      </a:lnTo>
                      <a:lnTo>
                        <a:pt x="134" y="256"/>
                      </a:lnTo>
                      <a:lnTo>
                        <a:pt x="146" y="248"/>
                      </a:lnTo>
                      <a:lnTo>
                        <a:pt x="160" y="240"/>
                      </a:lnTo>
                      <a:lnTo>
                        <a:pt x="160" y="240"/>
                      </a:lnTo>
                      <a:lnTo>
                        <a:pt x="168" y="236"/>
                      </a:lnTo>
                      <a:lnTo>
                        <a:pt x="172" y="234"/>
                      </a:lnTo>
                      <a:lnTo>
                        <a:pt x="180" y="236"/>
                      </a:lnTo>
                      <a:lnTo>
                        <a:pt x="184" y="238"/>
                      </a:lnTo>
                      <a:lnTo>
                        <a:pt x="190" y="238"/>
                      </a:lnTo>
                      <a:lnTo>
                        <a:pt x="198" y="236"/>
                      </a:lnTo>
                      <a:lnTo>
                        <a:pt x="208" y="232"/>
                      </a:lnTo>
                      <a:lnTo>
                        <a:pt x="208" y="232"/>
                      </a:lnTo>
                      <a:lnTo>
                        <a:pt x="212" y="230"/>
                      </a:lnTo>
                      <a:lnTo>
                        <a:pt x="216" y="226"/>
                      </a:lnTo>
                      <a:lnTo>
                        <a:pt x="222" y="218"/>
                      </a:lnTo>
                      <a:lnTo>
                        <a:pt x="224" y="210"/>
                      </a:lnTo>
                      <a:lnTo>
                        <a:pt x="224" y="200"/>
                      </a:lnTo>
                      <a:lnTo>
                        <a:pt x="224" y="192"/>
                      </a:lnTo>
                      <a:lnTo>
                        <a:pt x="226" y="184"/>
                      </a:lnTo>
                      <a:lnTo>
                        <a:pt x="232" y="178"/>
                      </a:lnTo>
                      <a:lnTo>
                        <a:pt x="244" y="174"/>
                      </a:lnTo>
                      <a:lnTo>
                        <a:pt x="244" y="174"/>
                      </a:lnTo>
                      <a:lnTo>
                        <a:pt x="254" y="172"/>
                      </a:lnTo>
                      <a:lnTo>
                        <a:pt x="260" y="170"/>
                      </a:lnTo>
                      <a:lnTo>
                        <a:pt x="264" y="164"/>
                      </a:lnTo>
                      <a:lnTo>
                        <a:pt x="266" y="158"/>
                      </a:lnTo>
                      <a:lnTo>
                        <a:pt x="268" y="152"/>
                      </a:lnTo>
                      <a:lnTo>
                        <a:pt x="272" y="146"/>
                      </a:lnTo>
                      <a:lnTo>
                        <a:pt x="280" y="140"/>
                      </a:lnTo>
                      <a:lnTo>
                        <a:pt x="292" y="136"/>
                      </a:lnTo>
                      <a:lnTo>
                        <a:pt x="292" y="136"/>
                      </a:lnTo>
                      <a:lnTo>
                        <a:pt x="322" y="124"/>
                      </a:lnTo>
                      <a:lnTo>
                        <a:pt x="348" y="112"/>
                      </a:lnTo>
                      <a:lnTo>
                        <a:pt x="370" y="102"/>
                      </a:lnTo>
                      <a:lnTo>
                        <a:pt x="392" y="94"/>
                      </a:lnTo>
                      <a:lnTo>
                        <a:pt x="392" y="94"/>
                      </a:lnTo>
                      <a:lnTo>
                        <a:pt x="408" y="90"/>
                      </a:lnTo>
                      <a:lnTo>
                        <a:pt x="418" y="86"/>
                      </a:lnTo>
                      <a:lnTo>
                        <a:pt x="424" y="82"/>
                      </a:lnTo>
                      <a:lnTo>
                        <a:pt x="426" y="76"/>
                      </a:lnTo>
                      <a:lnTo>
                        <a:pt x="424" y="72"/>
                      </a:lnTo>
                      <a:lnTo>
                        <a:pt x="420" y="70"/>
                      </a:lnTo>
                      <a:lnTo>
                        <a:pt x="408" y="64"/>
                      </a:lnTo>
                      <a:lnTo>
                        <a:pt x="408" y="64"/>
                      </a:lnTo>
                      <a:lnTo>
                        <a:pt x="398" y="60"/>
                      </a:lnTo>
                      <a:lnTo>
                        <a:pt x="390" y="54"/>
                      </a:lnTo>
                      <a:lnTo>
                        <a:pt x="370" y="40"/>
                      </a:lnTo>
                      <a:lnTo>
                        <a:pt x="360" y="32"/>
                      </a:lnTo>
                      <a:lnTo>
                        <a:pt x="348" y="26"/>
                      </a:lnTo>
                      <a:lnTo>
                        <a:pt x="334" y="22"/>
                      </a:lnTo>
                      <a:lnTo>
                        <a:pt x="318" y="22"/>
                      </a:lnTo>
                      <a:lnTo>
                        <a:pt x="318" y="22"/>
                      </a:lnTo>
                      <a:lnTo>
                        <a:pt x="302" y="22"/>
                      </a:lnTo>
                      <a:lnTo>
                        <a:pt x="294" y="24"/>
                      </a:lnTo>
                      <a:lnTo>
                        <a:pt x="288" y="26"/>
                      </a:lnTo>
                      <a:lnTo>
                        <a:pt x="284" y="30"/>
                      </a:lnTo>
                      <a:lnTo>
                        <a:pt x="282" y="36"/>
                      </a:lnTo>
                      <a:lnTo>
                        <a:pt x="280" y="38"/>
                      </a:lnTo>
                      <a:lnTo>
                        <a:pt x="276" y="40"/>
                      </a:lnTo>
                      <a:lnTo>
                        <a:pt x="276" y="40"/>
                      </a:lnTo>
                      <a:lnTo>
                        <a:pt x="272" y="40"/>
                      </a:lnTo>
                      <a:lnTo>
                        <a:pt x="272" y="36"/>
                      </a:lnTo>
                      <a:lnTo>
                        <a:pt x="272" y="32"/>
                      </a:lnTo>
                      <a:lnTo>
                        <a:pt x="272" y="30"/>
                      </a:lnTo>
                      <a:lnTo>
                        <a:pt x="268" y="26"/>
                      </a:lnTo>
                      <a:lnTo>
                        <a:pt x="268" y="26"/>
                      </a:lnTo>
                      <a:lnTo>
                        <a:pt x="266" y="26"/>
                      </a:lnTo>
                      <a:lnTo>
                        <a:pt x="260" y="26"/>
                      </a:lnTo>
                      <a:lnTo>
                        <a:pt x="250" y="24"/>
                      </a:lnTo>
                      <a:lnTo>
                        <a:pt x="234" y="22"/>
                      </a:lnTo>
                      <a:lnTo>
                        <a:pt x="234" y="22"/>
                      </a:lnTo>
                      <a:lnTo>
                        <a:pt x="218" y="16"/>
                      </a:lnTo>
                      <a:lnTo>
                        <a:pt x="208" y="12"/>
                      </a:lnTo>
                      <a:lnTo>
                        <a:pt x="192" y="2"/>
                      </a:lnTo>
                      <a:lnTo>
                        <a:pt x="186" y="0"/>
                      </a:lnTo>
                      <a:lnTo>
                        <a:pt x="178" y="0"/>
                      </a:lnTo>
                      <a:lnTo>
                        <a:pt x="168" y="0"/>
                      </a:lnTo>
                      <a:lnTo>
                        <a:pt x="154" y="2"/>
                      </a:lnTo>
                      <a:lnTo>
                        <a:pt x="154" y="2"/>
                      </a:lnTo>
                      <a:lnTo>
                        <a:pt x="138" y="6"/>
                      </a:lnTo>
                      <a:lnTo>
                        <a:pt x="120" y="8"/>
                      </a:lnTo>
                      <a:lnTo>
                        <a:pt x="82" y="12"/>
                      </a:lnTo>
                      <a:lnTo>
                        <a:pt x="54" y="16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50" y="20"/>
                      </a:lnTo>
                      <a:lnTo>
                        <a:pt x="50" y="20"/>
                      </a:lnTo>
                      <a:lnTo>
                        <a:pt x="54" y="24"/>
                      </a:lnTo>
                      <a:lnTo>
                        <a:pt x="56" y="28"/>
                      </a:lnTo>
                      <a:lnTo>
                        <a:pt x="58" y="36"/>
                      </a:lnTo>
                      <a:lnTo>
                        <a:pt x="60" y="42"/>
                      </a:lnTo>
                      <a:lnTo>
                        <a:pt x="64" y="46"/>
                      </a:lnTo>
                      <a:lnTo>
                        <a:pt x="68" y="48"/>
                      </a:lnTo>
                      <a:lnTo>
                        <a:pt x="76" y="52"/>
                      </a:lnTo>
                      <a:lnTo>
                        <a:pt x="76" y="52"/>
                      </a:lnTo>
                      <a:lnTo>
                        <a:pt x="84" y="56"/>
                      </a:lnTo>
                      <a:lnTo>
                        <a:pt x="86" y="58"/>
                      </a:lnTo>
                      <a:lnTo>
                        <a:pt x="86" y="60"/>
                      </a:lnTo>
                      <a:lnTo>
                        <a:pt x="84" y="64"/>
                      </a:lnTo>
                      <a:lnTo>
                        <a:pt x="76" y="68"/>
                      </a:lnTo>
                      <a:lnTo>
                        <a:pt x="74" y="72"/>
                      </a:lnTo>
                      <a:lnTo>
                        <a:pt x="72" y="76"/>
                      </a:lnTo>
                      <a:lnTo>
                        <a:pt x="72" y="76"/>
                      </a:lnTo>
                      <a:lnTo>
                        <a:pt x="72" y="80"/>
                      </a:lnTo>
                      <a:lnTo>
                        <a:pt x="70" y="82"/>
                      </a:lnTo>
                      <a:lnTo>
                        <a:pt x="64" y="82"/>
                      </a:lnTo>
                      <a:lnTo>
                        <a:pt x="58" y="84"/>
                      </a:lnTo>
                      <a:lnTo>
                        <a:pt x="56" y="86"/>
                      </a:lnTo>
                      <a:lnTo>
                        <a:pt x="56" y="90"/>
                      </a:lnTo>
                      <a:lnTo>
                        <a:pt x="56" y="90"/>
                      </a:lnTo>
                      <a:lnTo>
                        <a:pt x="56" y="94"/>
                      </a:lnTo>
                      <a:lnTo>
                        <a:pt x="54" y="98"/>
                      </a:lnTo>
                      <a:lnTo>
                        <a:pt x="48" y="106"/>
                      </a:lnTo>
                      <a:lnTo>
                        <a:pt x="44" y="110"/>
                      </a:lnTo>
                      <a:lnTo>
                        <a:pt x="44" y="112"/>
                      </a:lnTo>
                      <a:lnTo>
                        <a:pt x="46" y="114"/>
                      </a:lnTo>
                      <a:lnTo>
                        <a:pt x="46" y="114"/>
                      </a:lnTo>
                      <a:lnTo>
                        <a:pt x="54" y="118"/>
                      </a:lnTo>
                      <a:lnTo>
                        <a:pt x="56" y="122"/>
                      </a:lnTo>
                      <a:lnTo>
                        <a:pt x="56" y="124"/>
                      </a:lnTo>
                      <a:lnTo>
                        <a:pt x="54" y="124"/>
                      </a:lnTo>
                      <a:lnTo>
                        <a:pt x="44" y="126"/>
                      </a:lnTo>
                      <a:lnTo>
                        <a:pt x="44" y="126"/>
                      </a:lnTo>
                      <a:lnTo>
                        <a:pt x="34" y="128"/>
                      </a:lnTo>
                      <a:lnTo>
                        <a:pt x="30" y="130"/>
                      </a:lnTo>
                      <a:lnTo>
                        <a:pt x="30" y="134"/>
                      </a:lnTo>
                      <a:lnTo>
                        <a:pt x="34" y="140"/>
                      </a:lnTo>
                      <a:lnTo>
                        <a:pt x="34" y="140"/>
                      </a:lnTo>
                      <a:lnTo>
                        <a:pt x="34" y="144"/>
                      </a:lnTo>
                      <a:lnTo>
                        <a:pt x="32" y="150"/>
                      </a:lnTo>
                      <a:lnTo>
                        <a:pt x="22" y="160"/>
                      </a:lnTo>
                      <a:lnTo>
                        <a:pt x="10" y="172"/>
                      </a:lnTo>
                      <a:lnTo>
                        <a:pt x="6" y="178"/>
                      </a:lnTo>
                      <a:lnTo>
                        <a:pt x="4" y="182"/>
                      </a:lnTo>
                      <a:lnTo>
                        <a:pt x="4" y="182"/>
                      </a:lnTo>
                      <a:lnTo>
                        <a:pt x="2" y="188"/>
                      </a:lnTo>
                      <a:lnTo>
                        <a:pt x="0" y="192"/>
                      </a:lnTo>
                      <a:lnTo>
                        <a:pt x="0" y="194"/>
                      </a:lnTo>
                      <a:lnTo>
                        <a:pt x="2" y="196"/>
                      </a:lnTo>
                      <a:lnTo>
                        <a:pt x="2" y="19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74" name="Freeform 6018">
                  <a:extLst>
                    <a:ext uri="{FF2B5EF4-FFF2-40B4-BE49-F238E27FC236}">
                      <a16:creationId xmlns:a16="http://schemas.microsoft.com/office/drawing/2014/main" id="{6207B583-9A0C-47DC-9248-712894E13F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8570" y="1024573"/>
                  <a:ext cx="190500" cy="87630"/>
                </a:xfrm>
                <a:custGeom>
                  <a:avLst/>
                  <a:gdLst/>
                  <a:ahLst/>
                  <a:cxnLst>
                    <a:cxn ang="0">
                      <a:pos x="12" y="124"/>
                    </a:cxn>
                    <a:cxn ang="0">
                      <a:pos x="16" y="130"/>
                    </a:cxn>
                    <a:cxn ang="0">
                      <a:pos x="36" y="120"/>
                    </a:cxn>
                    <a:cxn ang="0">
                      <a:pos x="50" y="118"/>
                    </a:cxn>
                    <a:cxn ang="0">
                      <a:pos x="66" y="124"/>
                    </a:cxn>
                    <a:cxn ang="0">
                      <a:pos x="76" y="124"/>
                    </a:cxn>
                    <a:cxn ang="0">
                      <a:pos x="88" y="114"/>
                    </a:cxn>
                    <a:cxn ang="0">
                      <a:pos x="94" y="122"/>
                    </a:cxn>
                    <a:cxn ang="0">
                      <a:pos x="112" y="138"/>
                    </a:cxn>
                    <a:cxn ang="0">
                      <a:pos x="132" y="132"/>
                    </a:cxn>
                    <a:cxn ang="0">
                      <a:pos x="138" y="114"/>
                    </a:cxn>
                    <a:cxn ang="0">
                      <a:pos x="146" y="110"/>
                    </a:cxn>
                    <a:cxn ang="0">
                      <a:pos x="156" y="114"/>
                    </a:cxn>
                    <a:cxn ang="0">
                      <a:pos x="174" y="94"/>
                    </a:cxn>
                    <a:cxn ang="0">
                      <a:pos x="182" y="76"/>
                    </a:cxn>
                    <a:cxn ang="0">
                      <a:pos x="186" y="66"/>
                    </a:cxn>
                    <a:cxn ang="0">
                      <a:pos x="206" y="56"/>
                    </a:cxn>
                    <a:cxn ang="0">
                      <a:pos x="208" y="64"/>
                    </a:cxn>
                    <a:cxn ang="0">
                      <a:pos x="206" y="88"/>
                    </a:cxn>
                    <a:cxn ang="0">
                      <a:pos x="214" y="96"/>
                    </a:cxn>
                    <a:cxn ang="0">
                      <a:pos x="236" y="100"/>
                    </a:cxn>
                    <a:cxn ang="0">
                      <a:pos x="244" y="92"/>
                    </a:cxn>
                    <a:cxn ang="0">
                      <a:pos x="246" y="80"/>
                    </a:cxn>
                    <a:cxn ang="0">
                      <a:pos x="274" y="74"/>
                    </a:cxn>
                    <a:cxn ang="0">
                      <a:pos x="294" y="60"/>
                    </a:cxn>
                    <a:cxn ang="0">
                      <a:pos x="280" y="42"/>
                    </a:cxn>
                    <a:cxn ang="0">
                      <a:pos x="272" y="36"/>
                    </a:cxn>
                    <a:cxn ang="0">
                      <a:pos x="278" y="28"/>
                    </a:cxn>
                    <a:cxn ang="0">
                      <a:pos x="300" y="18"/>
                    </a:cxn>
                    <a:cxn ang="0">
                      <a:pos x="288" y="8"/>
                    </a:cxn>
                    <a:cxn ang="0">
                      <a:pos x="258" y="0"/>
                    </a:cxn>
                    <a:cxn ang="0">
                      <a:pos x="244" y="4"/>
                    </a:cxn>
                    <a:cxn ang="0">
                      <a:pos x="234" y="16"/>
                    </a:cxn>
                    <a:cxn ang="0">
                      <a:pos x="202" y="12"/>
                    </a:cxn>
                    <a:cxn ang="0">
                      <a:pos x="160" y="18"/>
                    </a:cxn>
                    <a:cxn ang="0">
                      <a:pos x="128" y="38"/>
                    </a:cxn>
                    <a:cxn ang="0">
                      <a:pos x="102" y="58"/>
                    </a:cxn>
                    <a:cxn ang="0">
                      <a:pos x="82" y="66"/>
                    </a:cxn>
                    <a:cxn ang="0">
                      <a:pos x="66" y="78"/>
                    </a:cxn>
                    <a:cxn ang="0">
                      <a:pos x="44" y="90"/>
                    </a:cxn>
                    <a:cxn ang="0">
                      <a:pos x="28" y="86"/>
                    </a:cxn>
                    <a:cxn ang="0">
                      <a:pos x="12" y="96"/>
                    </a:cxn>
                    <a:cxn ang="0">
                      <a:pos x="2" y="112"/>
                    </a:cxn>
                    <a:cxn ang="0">
                      <a:pos x="14" y="116"/>
                    </a:cxn>
                  </a:cxnLst>
                  <a:rect l="0" t="0" r="r" b="b"/>
                  <a:pathLst>
                    <a:path w="300" h="138">
                      <a:moveTo>
                        <a:pt x="14" y="120"/>
                      </a:moveTo>
                      <a:lnTo>
                        <a:pt x="14" y="120"/>
                      </a:lnTo>
                      <a:lnTo>
                        <a:pt x="12" y="124"/>
                      </a:lnTo>
                      <a:lnTo>
                        <a:pt x="12" y="126"/>
                      </a:lnTo>
                      <a:lnTo>
                        <a:pt x="14" y="128"/>
                      </a:lnTo>
                      <a:lnTo>
                        <a:pt x="16" y="130"/>
                      </a:lnTo>
                      <a:lnTo>
                        <a:pt x="24" y="128"/>
                      </a:lnTo>
                      <a:lnTo>
                        <a:pt x="36" y="120"/>
                      </a:lnTo>
                      <a:lnTo>
                        <a:pt x="36" y="120"/>
                      </a:lnTo>
                      <a:lnTo>
                        <a:pt x="42" y="118"/>
                      </a:lnTo>
                      <a:lnTo>
                        <a:pt x="46" y="116"/>
                      </a:lnTo>
                      <a:lnTo>
                        <a:pt x="50" y="118"/>
                      </a:lnTo>
                      <a:lnTo>
                        <a:pt x="52" y="118"/>
                      </a:lnTo>
                      <a:lnTo>
                        <a:pt x="60" y="124"/>
                      </a:lnTo>
                      <a:lnTo>
                        <a:pt x="66" y="124"/>
                      </a:lnTo>
                      <a:lnTo>
                        <a:pt x="72" y="126"/>
                      </a:lnTo>
                      <a:lnTo>
                        <a:pt x="72" y="126"/>
                      </a:lnTo>
                      <a:lnTo>
                        <a:pt x="76" y="124"/>
                      </a:lnTo>
                      <a:lnTo>
                        <a:pt x="82" y="122"/>
                      </a:lnTo>
                      <a:lnTo>
                        <a:pt x="86" y="116"/>
                      </a:lnTo>
                      <a:lnTo>
                        <a:pt x="88" y="114"/>
                      </a:lnTo>
                      <a:lnTo>
                        <a:pt x="90" y="114"/>
                      </a:lnTo>
                      <a:lnTo>
                        <a:pt x="94" y="122"/>
                      </a:lnTo>
                      <a:lnTo>
                        <a:pt x="94" y="122"/>
                      </a:lnTo>
                      <a:lnTo>
                        <a:pt x="98" y="130"/>
                      </a:lnTo>
                      <a:lnTo>
                        <a:pt x="104" y="134"/>
                      </a:lnTo>
                      <a:lnTo>
                        <a:pt x="112" y="138"/>
                      </a:lnTo>
                      <a:lnTo>
                        <a:pt x="118" y="138"/>
                      </a:lnTo>
                      <a:lnTo>
                        <a:pt x="126" y="136"/>
                      </a:lnTo>
                      <a:lnTo>
                        <a:pt x="132" y="132"/>
                      </a:lnTo>
                      <a:lnTo>
                        <a:pt x="136" y="124"/>
                      </a:lnTo>
                      <a:lnTo>
                        <a:pt x="138" y="114"/>
                      </a:lnTo>
                      <a:lnTo>
                        <a:pt x="138" y="114"/>
                      </a:lnTo>
                      <a:lnTo>
                        <a:pt x="138" y="106"/>
                      </a:lnTo>
                      <a:lnTo>
                        <a:pt x="140" y="104"/>
                      </a:lnTo>
                      <a:lnTo>
                        <a:pt x="146" y="110"/>
                      </a:lnTo>
                      <a:lnTo>
                        <a:pt x="150" y="114"/>
                      </a:lnTo>
                      <a:lnTo>
                        <a:pt x="154" y="114"/>
                      </a:lnTo>
                      <a:lnTo>
                        <a:pt x="156" y="114"/>
                      </a:lnTo>
                      <a:lnTo>
                        <a:pt x="160" y="112"/>
                      </a:lnTo>
                      <a:lnTo>
                        <a:pt x="164" y="108"/>
                      </a:lnTo>
                      <a:lnTo>
                        <a:pt x="174" y="94"/>
                      </a:lnTo>
                      <a:lnTo>
                        <a:pt x="174" y="94"/>
                      </a:lnTo>
                      <a:lnTo>
                        <a:pt x="180" y="82"/>
                      </a:lnTo>
                      <a:lnTo>
                        <a:pt x="182" y="76"/>
                      </a:lnTo>
                      <a:lnTo>
                        <a:pt x="182" y="68"/>
                      </a:lnTo>
                      <a:lnTo>
                        <a:pt x="184" y="66"/>
                      </a:lnTo>
                      <a:lnTo>
                        <a:pt x="186" y="66"/>
                      </a:lnTo>
                      <a:lnTo>
                        <a:pt x="198" y="58"/>
                      </a:lnTo>
                      <a:lnTo>
                        <a:pt x="198" y="58"/>
                      </a:lnTo>
                      <a:lnTo>
                        <a:pt x="206" y="56"/>
                      </a:lnTo>
                      <a:lnTo>
                        <a:pt x="208" y="58"/>
                      </a:lnTo>
                      <a:lnTo>
                        <a:pt x="210" y="58"/>
                      </a:lnTo>
                      <a:lnTo>
                        <a:pt x="208" y="64"/>
                      </a:lnTo>
                      <a:lnTo>
                        <a:pt x="206" y="72"/>
                      </a:lnTo>
                      <a:lnTo>
                        <a:pt x="204" y="80"/>
                      </a:lnTo>
                      <a:lnTo>
                        <a:pt x="206" y="88"/>
                      </a:lnTo>
                      <a:lnTo>
                        <a:pt x="208" y="92"/>
                      </a:lnTo>
                      <a:lnTo>
                        <a:pt x="210" y="94"/>
                      </a:lnTo>
                      <a:lnTo>
                        <a:pt x="214" y="96"/>
                      </a:lnTo>
                      <a:lnTo>
                        <a:pt x="222" y="98"/>
                      </a:lnTo>
                      <a:lnTo>
                        <a:pt x="222" y="98"/>
                      </a:lnTo>
                      <a:lnTo>
                        <a:pt x="236" y="100"/>
                      </a:lnTo>
                      <a:lnTo>
                        <a:pt x="242" y="98"/>
                      </a:lnTo>
                      <a:lnTo>
                        <a:pt x="246" y="96"/>
                      </a:lnTo>
                      <a:lnTo>
                        <a:pt x="244" y="92"/>
                      </a:lnTo>
                      <a:lnTo>
                        <a:pt x="244" y="86"/>
                      </a:lnTo>
                      <a:lnTo>
                        <a:pt x="244" y="82"/>
                      </a:lnTo>
                      <a:lnTo>
                        <a:pt x="246" y="80"/>
                      </a:lnTo>
                      <a:lnTo>
                        <a:pt x="254" y="78"/>
                      </a:lnTo>
                      <a:lnTo>
                        <a:pt x="254" y="78"/>
                      </a:lnTo>
                      <a:lnTo>
                        <a:pt x="274" y="74"/>
                      </a:lnTo>
                      <a:lnTo>
                        <a:pt x="284" y="70"/>
                      </a:lnTo>
                      <a:lnTo>
                        <a:pt x="290" y="66"/>
                      </a:lnTo>
                      <a:lnTo>
                        <a:pt x="294" y="60"/>
                      </a:lnTo>
                      <a:lnTo>
                        <a:pt x="294" y="54"/>
                      </a:lnTo>
                      <a:lnTo>
                        <a:pt x="290" y="48"/>
                      </a:lnTo>
                      <a:lnTo>
                        <a:pt x="280" y="42"/>
                      </a:lnTo>
                      <a:lnTo>
                        <a:pt x="280" y="42"/>
                      </a:lnTo>
                      <a:lnTo>
                        <a:pt x="274" y="38"/>
                      </a:lnTo>
                      <a:lnTo>
                        <a:pt x="272" y="36"/>
                      </a:lnTo>
                      <a:lnTo>
                        <a:pt x="272" y="34"/>
                      </a:lnTo>
                      <a:lnTo>
                        <a:pt x="272" y="32"/>
                      </a:lnTo>
                      <a:lnTo>
                        <a:pt x="278" y="28"/>
                      </a:lnTo>
                      <a:lnTo>
                        <a:pt x="288" y="24"/>
                      </a:lnTo>
                      <a:lnTo>
                        <a:pt x="296" y="22"/>
                      </a:lnTo>
                      <a:lnTo>
                        <a:pt x="300" y="18"/>
                      </a:lnTo>
                      <a:lnTo>
                        <a:pt x="300" y="16"/>
                      </a:lnTo>
                      <a:lnTo>
                        <a:pt x="298" y="14"/>
                      </a:lnTo>
                      <a:lnTo>
                        <a:pt x="288" y="8"/>
                      </a:lnTo>
                      <a:lnTo>
                        <a:pt x="288" y="8"/>
                      </a:lnTo>
                      <a:lnTo>
                        <a:pt x="266" y="0"/>
                      </a:lnTo>
                      <a:lnTo>
                        <a:pt x="258" y="0"/>
                      </a:lnTo>
                      <a:lnTo>
                        <a:pt x="254" y="0"/>
                      </a:lnTo>
                      <a:lnTo>
                        <a:pt x="248" y="2"/>
                      </a:lnTo>
                      <a:lnTo>
                        <a:pt x="244" y="4"/>
                      </a:lnTo>
                      <a:lnTo>
                        <a:pt x="238" y="14"/>
                      </a:lnTo>
                      <a:lnTo>
                        <a:pt x="238" y="14"/>
                      </a:lnTo>
                      <a:lnTo>
                        <a:pt x="234" y="16"/>
                      </a:lnTo>
                      <a:lnTo>
                        <a:pt x="232" y="16"/>
                      </a:lnTo>
                      <a:lnTo>
                        <a:pt x="224" y="16"/>
                      </a:lnTo>
                      <a:lnTo>
                        <a:pt x="202" y="12"/>
                      </a:lnTo>
                      <a:lnTo>
                        <a:pt x="186" y="12"/>
                      </a:lnTo>
                      <a:lnTo>
                        <a:pt x="170" y="14"/>
                      </a:lnTo>
                      <a:lnTo>
                        <a:pt x="160" y="18"/>
                      </a:lnTo>
                      <a:lnTo>
                        <a:pt x="150" y="22"/>
                      </a:lnTo>
                      <a:lnTo>
                        <a:pt x="140" y="28"/>
                      </a:lnTo>
                      <a:lnTo>
                        <a:pt x="128" y="38"/>
                      </a:lnTo>
                      <a:lnTo>
                        <a:pt x="128" y="38"/>
                      </a:lnTo>
                      <a:lnTo>
                        <a:pt x="112" y="50"/>
                      </a:lnTo>
                      <a:lnTo>
                        <a:pt x="102" y="58"/>
                      </a:lnTo>
                      <a:lnTo>
                        <a:pt x="94" y="62"/>
                      </a:lnTo>
                      <a:lnTo>
                        <a:pt x="90" y="62"/>
                      </a:lnTo>
                      <a:lnTo>
                        <a:pt x="82" y="66"/>
                      </a:lnTo>
                      <a:lnTo>
                        <a:pt x="76" y="70"/>
                      </a:lnTo>
                      <a:lnTo>
                        <a:pt x="66" y="78"/>
                      </a:lnTo>
                      <a:lnTo>
                        <a:pt x="66" y="78"/>
                      </a:lnTo>
                      <a:lnTo>
                        <a:pt x="58" y="86"/>
                      </a:lnTo>
                      <a:lnTo>
                        <a:pt x="50" y="88"/>
                      </a:lnTo>
                      <a:lnTo>
                        <a:pt x="44" y="90"/>
                      </a:lnTo>
                      <a:lnTo>
                        <a:pt x="38" y="88"/>
                      </a:lnTo>
                      <a:lnTo>
                        <a:pt x="34" y="86"/>
                      </a:lnTo>
                      <a:lnTo>
                        <a:pt x="28" y="86"/>
                      </a:lnTo>
                      <a:lnTo>
                        <a:pt x="20" y="90"/>
                      </a:lnTo>
                      <a:lnTo>
                        <a:pt x="12" y="96"/>
                      </a:lnTo>
                      <a:lnTo>
                        <a:pt x="12" y="96"/>
                      </a:lnTo>
                      <a:lnTo>
                        <a:pt x="4" y="104"/>
                      </a:lnTo>
                      <a:lnTo>
                        <a:pt x="0" y="108"/>
                      </a:lnTo>
                      <a:lnTo>
                        <a:pt x="2" y="112"/>
                      </a:lnTo>
                      <a:lnTo>
                        <a:pt x="4" y="112"/>
                      </a:lnTo>
                      <a:lnTo>
                        <a:pt x="12" y="114"/>
                      </a:lnTo>
                      <a:lnTo>
                        <a:pt x="14" y="116"/>
                      </a:lnTo>
                      <a:lnTo>
                        <a:pt x="14" y="120"/>
                      </a:lnTo>
                      <a:lnTo>
                        <a:pt x="14" y="12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75" name="Freeform 6019">
                  <a:extLst>
                    <a:ext uri="{FF2B5EF4-FFF2-40B4-BE49-F238E27FC236}">
                      <a16:creationId xmlns:a16="http://schemas.microsoft.com/office/drawing/2014/main" id="{FBAEE268-4C9D-47D8-90E1-751C2DC736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68120" y="1056323"/>
                  <a:ext cx="35560" cy="10160"/>
                </a:xfrm>
                <a:custGeom>
                  <a:avLst/>
                  <a:gdLst/>
                  <a:ahLst/>
                  <a:cxnLst>
                    <a:cxn ang="0">
                      <a:pos x="0" y="8"/>
                    </a:cxn>
                    <a:cxn ang="0">
                      <a:pos x="0" y="8"/>
                    </a:cxn>
                    <a:cxn ang="0">
                      <a:pos x="0" y="12"/>
                    </a:cxn>
                    <a:cxn ang="0">
                      <a:pos x="4" y="14"/>
                    </a:cxn>
                    <a:cxn ang="0">
                      <a:pos x="18" y="16"/>
                    </a:cxn>
                    <a:cxn ang="0">
                      <a:pos x="38" y="16"/>
                    </a:cxn>
                    <a:cxn ang="0">
                      <a:pos x="46" y="14"/>
                    </a:cxn>
                    <a:cxn ang="0">
                      <a:pos x="54" y="12"/>
                    </a:cxn>
                    <a:cxn ang="0">
                      <a:pos x="54" y="12"/>
                    </a:cxn>
                    <a:cxn ang="0">
                      <a:pos x="56" y="10"/>
                    </a:cxn>
                    <a:cxn ang="0">
                      <a:pos x="56" y="8"/>
                    </a:cxn>
                    <a:cxn ang="0">
                      <a:pos x="54" y="6"/>
                    </a:cxn>
                    <a:cxn ang="0">
                      <a:pos x="46" y="2"/>
                    </a:cxn>
                    <a:cxn ang="0">
                      <a:pos x="36" y="2"/>
                    </a:cxn>
                    <a:cxn ang="0">
                      <a:pos x="26" y="0"/>
                    </a:cxn>
                    <a:cxn ang="0">
                      <a:pos x="16" y="2"/>
                    </a:cxn>
                    <a:cxn ang="0">
                      <a:pos x="6" y="4"/>
                    </a:cxn>
                    <a:cxn ang="0">
                      <a:pos x="0" y="8"/>
                    </a:cxn>
                    <a:cxn ang="0">
                      <a:pos x="0" y="8"/>
                    </a:cxn>
                  </a:cxnLst>
                  <a:rect l="0" t="0" r="r" b="b"/>
                  <a:pathLst>
                    <a:path w="56" h="16">
                      <a:moveTo>
                        <a:pt x="0" y="8"/>
                      </a:moveTo>
                      <a:lnTo>
                        <a:pt x="0" y="8"/>
                      </a:lnTo>
                      <a:lnTo>
                        <a:pt x="0" y="12"/>
                      </a:lnTo>
                      <a:lnTo>
                        <a:pt x="4" y="14"/>
                      </a:lnTo>
                      <a:lnTo>
                        <a:pt x="18" y="16"/>
                      </a:lnTo>
                      <a:lnTo>
                        <a:pt x="38" y="16"/>
                      </a:lnTo>
                      <a:lnTo>
                        <a:pt x="46" y="14"/>
                      </a:lnTo>
                      <a:lnTo>
                        <a:pt x="54" y="12"/>
                      </a:lnTo>
                      <a:lnTo>
                        <a:pt x="54" y="12"/>
                      </a:lnTo>
                      <a:lnTo>
                        <a:pt x="56" y="10"/>
                      </a:lnTo>
                      <a:lnTo>
                        <a:pt x="56" y="8"/>
                      </a:lnTo>
                      <a:lnTo>
                        <a:pt x="54" y="6"/>
                      </a:lnTo>
                      <a:lnTo>
                        <a:pt x="46" y="2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16" y="2"/>
                      </a:lnTo>
                      <a:lnTo>
                        <a:pt x="6" y="4"/>
                      </a:lnTo>
                      <a:lnTo>
                        <a:pt x="0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76" name="Freeform 6020">
                  <a:extLst>
                    <a:ext uri="{FF2B5EF4-FFF2-40B4-BE49-F238E27FC236}">
                      <a16:creationId xmlns:a16="http://schemas.microsoft.com/office/drawing/2014/main" id="{233895EB-4ACF-449A-AA72-0A34DE1BAC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64310" y="996633"/>
                  <a:ext cx="34290" cy="19050"/>
                </a:xfrm>
                <a:custGeom>
                  <a:avLst/>
                  <a:gdLst/>
                  <a:ahLst/>
                  <a:cxnLst>
                    <a:cxn ang="0">
                      <a:pos x="42" y="30"/>
                    </a:cxn>
                    <a:cxn ang="0">
                      <a:pos x="42" y="30"/>
                    </a:cxn>
                    <a:cxn ang="0">
                      <a:pos x="52" y="28"/>
                    </a:cxn>
                    <a:cxn ang="0">
                      <a:pos x="54" y="26"/>
                    </a:cxn>
                    <a:cxn ang="0">
                      <a:pos x="54" y="24"/>
                    </a:cxn>
                    <a:cxn ang="0">
                      <a:pos x="50" y="18"/>
                    </a:cxn>
                    <a:cxn ang="0">
                      <a:pos x="40" y="8"/>
                    </a:cxn>
                    <a:cxn ang="0">
                      <a:pos x="40" y="8"/>
                    </a:cxn>
                    <a:cxn ang="0">
                      <a:pos x="34" y="4"/>
                    </a:cxn>
                    <a:cxn ang="0">
                      <a:pos x="26" y="0"/>
                    </a:cxn>
                    <a:cxn ang="0">
                      <a:pos x="22" y="0"/>
                    </a:cxn>
                    <a:cxn ang="0">
                      <a:pos x="16" y="0"/>
                    </a:cxn>
                    <a:cxn ang="0">
                      <a:pos x="6" y="4"/>
                    </a:cxn>
                    <a:cxn ang="0">
                      <a:pos x="0" y="8"/>
                    </a:cxn>
                    <a:cxn ang="0">
                      <a:pos x="0" y="8"/>
                    </a:cxn>
                    <a:cxn ang="0">
                      <a:pos x="0" y="12"/>
                    </a:cxn>
                    <a:cxn ang="0">
                      <a:pos x="0" y="14"/>
                    </a:cxn>
                    <a:cxn ang="0">
                      <a:pos x="8" y="22"/>
                    </a:cxn>
                    <a:cxn ang="0">
                      <a:pos x="24" y="28"/>
                    </a:cxn>
                    <a:cxn ang="0">
                      <a:pos x="32" y="28"/>
                    </a:cxn>
                    <a:cxn ang="0">
                      <a:pos x="42" y="30"/>
                    </a:cxn>
                    <a:cxn ang="0">
                      <a:pos x="42" y="30"/>
                    </a:cxn>
                  </a:cxnLst>
                  <a:rect l="0" t="0" r="r" b="b"/>
                  <a:pathLst>
                    <a:path w="54" h="30">
                      <a:moveTo>
                        <a:pt x="42" y="30"/>
                      </a:moveTo>
                      <a:lnTo>
                        <a:pt x="42" y="30"/>
                      </a:lnTo>
                      <a:lnTo>
                        <a:pt x="52" y="28"/>
                      </a:lnTo>
                      <a:lnTo>
                        <a:pt x="54" y="26"/>
                      </a:lnTo>
                      <a:lnTo>
                        <a:pt x="54" y="24"/>
                      </a:lnTo>
                      <a:lnTo>
                        <a:pt x="50" y="18"/>
                      </a:lnTo>
                      <a:lnTo>
                        <a:pt x="40" y="8"/>
                      </a:lnTo>
                      <a:lnTo>
                        <a:pt x="40" y="8"/>
                      </a:lnTo>
                      <a:lnTo>
                        <a:pt x="34" y="4"/>
                      </a:lnTo>
                      <a:lnTo>
                        <a:pt x="26" y="0"/>
                      </a:lnTo>
                      <a:lnTo>
                        <a:pt x="22" y="0"/>
                      </a:lnTo>
                      <a:lnTo>
                        <a:pt x="16" y="0"/>
                      </a:lnTo>
                      <a:lnTo>
                        <a:pt x="6" y="4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8" y="22"/>
                      </a:lnTo>
                      <a:lnTo>
                        <a:pt x="24" y="28"/>
                      </a:lnTo>
                      <a:lnTo>
                        <a:pt x="32" y="28"/>
                      </a:lnTo>
                      <a:lnTo>
                        <a:pt x="42" y="30"/>
                      </a:lnTo>
                      <a:lnTo>
                        <a:pt x="42" y="3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77" name="Freeform 6021">
                  <a:extLst>
                    <a:ext uri="{FF2B5EF4-FFF2-40B4-BE49-F238E27FC236}">
                      <a16:creationId xmlns:a16="http://schemas.microsoft.com/office/drawing/2014/main" id="{9CEEB670-9A91-4BEF-843C-D1CFC2AFF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4950" y="994093"/>
                  <a:ext cx="97790" cy="39370"/>
                </a:xfrm>
                <a:custGeom>
                  <a:avLst/>
                  <a:gdLst/>
                  <a:ahLst/>
                  <a:cxnLst>
                    <a:cxn ang="0">
                      <a:pos x="106" y="56"/>
                    </a:cxn>
                    <a:cxn ang="0">
                      <a:pos x="106" y="56"/>
                    </a:cxn>
                    <a:cxn ang="0">
                      <a:pos x="120" y="52"/>
                    </a:cxn>
                    <a:cxn ang="0">
                      <a:pos x="130" y="48"/>
                    </a:cxn>
                    <a:cxn ang="0">
                      <a:pos x="136" y="44"/>
                    </a:cxn>
                    <a:cxn ang="0">
                      <a:pos x="138" y="40"/>
                    </a:cxn>
                    <a:cxn ang="0">
                      <a:pos x="138" y="34"/>
                    </a:cxn>
                    <a:cxn ang="0">
                      <a:pos x="132" y="30"/>
                    </a:cxn>
                    <a:cxn ang="0">
                      <a:pos x="124" y="28"/>
                    </a:cxn>
                    <a:cxn ang="0">
                      <a:pos x="114" y="26"/>
                    </a:cxn>
                    <a:cxn ang="0">
                      <a:pos x="114" y="26"/>
                    </a:cxn>
                    <a:cxn ang="0">
                      <a:pos x="104" y="24"/>
                    </a:cxn>
                    <a:cxn ang="0">
                      <a:pos x="104" y="24"/>
                    </a:cxn>
                    <a:cxn ang="0">
                      <a:pos x="118" y="22"/>
                    </a:cxn>
                    <a:cxn ang="0">
                      <a:pos x="138" y="16"/>
                    </a:cxn>
                    <a:cxn ang="0">
                      <a:pos x="148" y="12"/>
                    </a:cxn>
                    <a:cxn ang="0">
                      <a:pos x="152" y="8"/>
                    </a:cxn>
                    <a:cxn ang="0">
                      <a:pos x="152" y="8"/>
                    </a:cxn>
                    <a:cxn ang="0">
                      <a:pos x="154" y="4"/>
                    </a:cxn>
                    <a:cxn ang="0">
                      <a:pos x="152" y="2"/>
                    </a:cxn>
                    <a:cxn ang="0">
                      <a:pos x="148" y="0"/>
                    </a:cxn>
                    <a:cxn ang="0">
                      <a:pos x="138" y="0"/>
                    </a:cxn>
                    <a:cxn ang="0">
                      <a:pos x="124" y="0"/>
                    </a:cxn>
                    <a:cxn ang="0">
                      <a:pos x="90" y="4"/>
                    </a:cxn>
                    <a:cxn ang="0">
                      <a:pos x="50" y="8"/>
                    </a:cxn>
                    <a:cxn ang="0">
                      <a:pos x="50" y="8"/>
                    </a:cxn>
                    <a:cxn ang="0">
                      <a:pos x="18" y="14"/>
                    </a:cxn>
                    <a:cxn ang="0">
                      <a:pos x="8" y="18"/>
                    </a:cxn>
                    <a:cxn ang="0">
                      <a:pos x="4" y="22"/>
                    </a:cxn>
                    <a:cxn ang="0">
                      <a:pos x="0" y="26"/>
                    </a:cxn>
                    <a:cxn ang="0">
                      <a:pos x="0" y="30"/>
                    </a:cxn>
                    <a:cxn ang="0">
                      <a:pos x="8" y="46"/>
                    </a:cxn>
                    <a:cxn ang="0">
                      <a:pos x="8" y="46"/>
                    </a:cxn>
                    <a:cxn ang="0">
                      <a:pos x="14" y="52"/>
                    </a:cxn>
                    <a:cxn ang="0">
                      <a:pos x="22" y="58"/>
                    </a:cxn>
                    <a:cxn ang="0">
                      <a:pos x="32" y="60"/>
                    </a:cxn>
                    <a:cxn ang="0">
                      <a:pos x="46" y="62"/>
                    </a:cxn>
                    <a:cxn ang="0">
                      <a:pos x="74" y="60"/>
                    </a:cxn>
                    <a:cxn ang="0">
                      <a:pos x="106" y="56"/>
                    </a:cxn>
                    <a:cxn ang="0">
                      <a:pos x="106" y="56"/>
                    </a:cxn>
                  </a:cxnLst>
                  <a:rect l="0" t="0" r="r" b="b"/>
                  <a:pathLst>
                    <a:path w="154" h="62">
                      <a:moveTo>
                        <a:pt x="106" y="56"/>
                      </a:moveTo>
                      <a:lnTo>
                        <a:pt x="106" y="56"/>
                      </a:lnTo>
                      <a:lnTo>
                        <a:pt x="120" y="52"/>
                      </a:lnTo>
                      <a:lnTo>
                        <a:pt x="130" y="48"/>
                      </a:lnTo>
                      <a:lnTo>
                        <a:pt x="136" y="44"/>
                      </a:lnTo>
                      <a:lnTo>
                        <a:pt x="138" y="40"/>
                      </a:lnTo>
                      <a:lnTo>
                        <a:pt x="138" y="34"/>
                      </a:lnTo>
                      <a:lnTo>
                        <a:pt x="132" y="30"/>
                      </a:lnTo>
                      <a:lnTo>
                        <a:pt x="124" y="28"/>
                      </a:lnTo>
                      <a:lnTo>
                        <a:pt x="114" y="26"/>
                      </a:lnTo>
                      <a:lnTo>
                        <a:pt x="114" y="26"/>
                      </a:lnTo>
                      <a:lnTo>
                        <a:pt x="104" y="24"/>
                      </a:lnTo>
                      <a:lnTo>
                        <a:pt x="104" y="24"/>
                      </a:lnTo>
                      <a:lnTo>
                        <a:pt x="118" y="22"/>
                      </a:lnTo>
                      <a:lnTo>
                        <a:pt x="138" y="16"/>
                      </a:lnTo>
                      <a:lnTo>
                        <a:pt x="148" y="12"/>
                      </a:lnTo>
                      <a:lnTo>
                        <a:pt x="152" y="8"/>
                      </a:lnTo>
                      <a:lnTo>
                        <a:pt x="152" y="8"/>
                      </a:lnTo>
                      <a:lnTo>
                        <a:pt x="154" y="4"/>
                      </a:lnTo>
                      <a:lnTo>
                        <a:pt x="152" y="2"/>
                      </a:lnTo>
                      <a:lnTo>
                        <a:pt x="148" y="0"/>
                      </a:lnTo>
                      <a:lnTo>
                        <a:pt x="138" y="0"/>
                      </a:lnTo>
                      <a:lnTo>
                        <a:pt x="124" y="0"/>
                      </a:lnTo>
                      <a:lnTo>
                        <a:pt x="90" y="4"/>
                      </a:lnTo>
                      <a:lnTo>
                        <a:pt x="50" y="8"/>
                      </a:lnTo>
                      <a:lnTo>
                        <a:pt x="50" y="8"/>
                      </a:lnTo>
                      <a:lnTo>
                        <a:pt x="18" y="14"/>
                      </a:lnTo>
                      <a:lnTo>
                        <a:pt x="8" y="18"/>
                      </a:lnTo>
                      <a:lnTo>
                        <a:pt x="4" y="22"/>
                      </a:lnTo>
                      <a:lnTo>
                        <a:pt x="0" y="26"/>
                      </a:lnTo>
                      <a:lnTo>
                        <a:pt x="0" y="30"/>
                      </a:lnTo>
                      <a:lnTo>
                        <a:pt x="8" y="46"/>
                      </a:lnTo>
                      <a:lnTo>
                        <a:pt x="8" y="46"/>
                      </a:lnTo>
                      <a:lnTo>
                        <a:pt x="14" y="52"/>
                      </a:lnTo>
                      <a:lnTo>
                        <a:pt x="22" y="58"/>
                      </a:lnTo>
                      <a:lnTo>
                        <a:pt x="32" y="60"/>
                      </a:lnTo>
                      <a:lnTo>
                        <a:pt x="46" y="62"/>
                      </a:lnTo>
                      <a:lnTo>
                        <a:pt x="74" y="60"/>
                      </a:lnTo>
                      <a:lnTo>
                        <a:pt x="106" y="56"/>
                      </a:lnTo>
                      <a:lnTo>
                        <a:pt x="106" y="5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78" name="Freeform 6022">
                  <a:extLst>
                    <a:ext uri="{FF2B5EF4-FFF2-40B4-BE49-F238E27FC236}">
                      <a16:creationId xmlns:a16="http://schemas.microsoft.com/office/drawing/2014/main" id="{53A6F95E-54AB-417A-926E-130AC23FEC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2920" y="1067753"/>
                  <a:ext cx="143510" cy="87630"/>
                </a:xfrm>
                <a:custGeom>
                  <a:avLst/>
                  <a:gdLst/>
                  <a:ahLst/>
                  <a:cxnLst>
                    <a:cxn ang="0">
                      <a:pos x="144" y="12"/>
                    </a:cxn>
                    <a:cxn ang="0">
                      <a:pos x="130" y="4"/>
                    </a:cxn>
                    <a:cxn ang="0">
                      <a:pos x="104" y="4"/>
                    </a:cxn>
                    <a:cxn ang="0">
                      <a:pos x="88" y="8"/>
                    </a:cxn>
                    <a:cxn ang="0">
                      <a:pos x="78" y="14"/>
                    </a:cxn>
                    <a:cxn ang="0">
                      <a:pos x="84" y="22"/>
                    </a:cxn>
                    <a:cxn ang="0">
                      <a:pos x="124" y="62"/>
                    </a:cxn>
                    <a:cxn ang="0">
                      <a:pos x="102" y="50"/>
                    </a:cxn>
                    <a:cxn ang="0">
                      <a:pos x="82" y="34"/>
                    </a:cxn>
                    <a:cxn ang="0">
                      <a:pos x="74" y="24"/>
                    </a:cxn>
                    <a:cxn ang="0">
                      <a:pos x="64" y="20"/>
                    </a:cxn>
                    <a:cxn ang="0">
                      <a:pos x="54" y="18"/>
                    </a:cxn>
                    <a:cxn ang="0">
                      <a:pos x="32" y="20"/>
                    </a:cxn>
                    <a:cxn ang="0">
                      <a:pos x="26" y="26"/>
                    </a:cxn>
                    <a:cxn ang="0">
                      <a:pos x="32" y="36"/>
                    </a:cxn>
                    <a:cxn ang="0">
                      <a:pos x="46" y="52"/>
                    </a:cxn>
                    <a:cxn ang="0">
                      <a:pos x="56" y="64"/>
                    </a:cxn>
                    <a:cxn ang="0">
                      <a:pos x="42" y="60"/>
                    </a:cxn>
                    <a:cxn ang="0">
                      <a:pos x="32" y="62"/>
                    </a:cxn>
                    <a:cxn ang="0">
                      <a:pos x="26" y="66"/>
                    </a:cxn>
                    <a:cxn ang="0">
                      <a:pos x="8" y="74"/>
                    </a:cxn>
                    <a:cxn ang="0">
                      <a:pos x="0" y="78"/>
                    </a:cxn>
                    <a:cxn ang="0">
                      <a:pos x="4" y="86"/>
                    </a:cxn>
                    <a:cxn ang="0">
                      <a:pos x="8" y="88"/>
                    </a:cxn>
                    <a:cxn ang="0">
                      <a:pos x="26" y="90"/>
                    </a:cxn>
                    <a:cxn ang="0">
                      <a:pos x="66" y="86"/>
                    </a:cxn>
                    <a:cxn ang="0">
                      <a:pos x="122" y="76"/>
                    </a:cxn>
                    <a:cxn ang="0">
                      <a:pos x="136" y="76"/>
                    </a:cxn>
                    <a:cxn ang="0">
                      <a:pos x="138" y="80"/>
                    </a:cxn>
                    <a:cxn ang="0">
                      <a:pos x="106" y="90"/>
                    </a:cxn>
                    <a:cxn ang="0">
                      <a:pos x="92" y="98"/>
                    </a:cxn>
                    <a:cxn ang="0">
                      <a:pos x="90" y="104"/>
                    </a:cxn>
                    <a:cxn ang="0">
                      <a:pos x="92" y="106"/>
                    </a:cxn>
                    <a:cxn ang="0">
                      <a:pos x="100" y="120"/>
                    </a:cxn>
                    <a:cxn ang="0">
                      <a:pos x="104" y="136"/>
                    </a:cxn>
                    <a:cxn ang="0">
                      <a:pos x="116" y="136"/>
                    </a:cxn>
                    <a:cxn ang="0">
                      <a:pos x="126" y="134"/>
                    </a:cxn>
                    <a:cxn ang="0">
                      <a:pos x="142" y="128"/>
                    </a:cxn>
                    <a:cxn ang="0">
                      <a:pos x="166" y="132"/>
                    </a:cxn>
                    <a:cxn ang="0">
                      <a:pos x="200" y="128"/>
                    </a:cxn>
                    <a:cxn ang="0">
                      <a:pos x="208" y="122"/>
                    </a:cxn>
                    <a:cxn ang="0">
                      <a:pos x="208" y="112"/>
                    </a:cxn>
                    <a:cxn ang="0">
                      <a:pos x="202" y="100"/>
                    </a:cxn>
                    <a:cxn ang="0">
                      <a:pos x="202" y="88"/>
                    </a:cxn>
                    <a:cxn ang="0">
                      <a:pos x="210" y="88"/>
                    </a:cxn>
                    <a:cxn ang="0">
                      <a:pos x="214" y="92"/>
                    </a:cxn>
                    <a:cxn ang="0">
                      <a:pos x="226" y="98"/>
                    </a:cxn>
                    <a:cxn ang="0">
                      <a:pos x="224" y="90"/>
                    </a:cxn>
                    <a:cxn ang="0">
                      <a:pos x="216" y="76"/>
                    </a:cxn>
                    <a:cxn ang="0">
                      <a:pos x="212" y="60"/>
                    </a:cxn>
                    <a:cxn ang="0">
                      <a:pos x="208" y="30"/>
                    </a:cxn>
                    <a:cxn ang="0">
                      <a:pos x="196" y="10"/>
                    </a:cxn>
                    <a:cxn ang="0">
                      <a:pos x="184" y="4"/>
                    </a:cxn>
                    <a:cxn ang="0">
                      <a:pos x="164" y="0"/>
                    </a:cxn>
                    <a:cxn ang="0">
                      <a:pos x="156" y="6"/>
                    </a:cxn>
                    <a:cxn ang="0">
                      <a:pos x="148" y="14"/>
                    </a:cxn>
                    <a:cxn ang="0">
                      <a:pos x="144" y="12"/>
                    </a:cxn>
                  </a:cxnLst>
                  <a:rect l="0" t="0" r="r" b="b"/>
                  <a:pathLst>
                    <a:path w="226" h="138">
                      <a:moveTo>
                        <a:pt x="144" y="12"/>
                      </a:moveTo>
                      <a:lnTo>
                        <a:pt x="144" y="12"/>
                      </a:lnTo>
                      <a:lnTo>
                        <a:pt x="138" y="6"/>
                      </a:lnTo>
                      <a:lnTo>
                        <a:pt x="130" y="4"/>
                      </a:lnTo>
                      <a:lnTo>
                        <a:pt x="118" y="2"/>
                      </a:lnTo>
                      <a:lnTo>
                        <a:pt x="104" y="4"/>
                      </a:lnTo>
                      <a:lnTo>
                        <a:pt x="88" y="8"/>
                      </a:lnTo>
                      <a:lnTo>
                        <a:pt x="88" y="8"/>
                      </a:lnTo>
                      <a:lnTo>
                        <a:pt x="80" y="10"/>
                      </a:lnTo>
                      <a:lnTo>
                        <a:pt x="78" y="14"/>
                      </a:lnTo>
                      <a:lnTo>
                        <a:pt x="80" y="18"/>
                      </a:lnTo>
                      <a:lnTo>
                        <a:pt x="84" y="22"/>
                      </a:lnTo>
                      <a:lnTo>
                        <a:pt x="102" y="38"/>
                      </a:lnTo>
                      <a:lnTo>
                        <a:pt x="124" y="62"/>
                      </a:lnTo>
                      <a:lnTo>
                        <a:pt x="124" y="62"/>
                      </a:lnTo>
                      <a:lnTo>
                        <a:pt x="102" y="50"/>
                      </a:lnTo>
                      <a:lnTo>
                        <a:pt x="90" y="42"/>
                      </a:lnTo>
                      <a:lnTo>
                        <a:pt x="82" y="34"/>
                      </a:lnTo>
                      <a:lnTo>
                        <a:pt x="78" y="28"/>
                      </a:lnTo>
                      <a:lnTo>
                        <a:pt x="74" y="24"/>
                      </a:lnTo>
                      <a:lnTo>
                        <a:pt x="70" y="22"/>
                      </a:lnTo>
                      <a:lnTo>
                        <a:pt x="64" y="20"/>
                      </a:lnTo>
                      <a:lnTo>
                        <a:pt x="54" y="18"/>
                      </a:lnTo>
                      <a:lnTo>
                        <a:pt x="54" y="18"/>
                      </a:lnTo>
                      <a:lnTo>
                        <a:pt x="40" y="18"/>
                      </a:lnTo>
                      <a:lnTo>
                        <a:pt x="32" y="20"/>
                      </a:lnTo>
                      <a:lnTo>
                        <a:pt x="28" y="22"/>
                      </a:lnTo>
                      <a:lnTo>
                        <a:pt x="26" y="26"/>
                      </a:lnTo>
                      <a:lnTo>
                        <a:pt x="28" y="30"/>
                      </a:lnTo>
                      <a:lnTo>
                        <a:pt x="32" y="36"/>
                      </a:lnTo>
                      <a:lnTo>
                        <a:pt x="46" y="52"/>
                      </a:lnTo>
                      <a:lnTo>
                        <a:pt x="46" y="52"/>
                      </a:lnTo>
                      <a:lnTo>
                        <a:pt x="56" y="64"/>
                      </a:lnTo>
                      <a:lnTo>
                        <a:pt x="56" y="64"/>
                      </a:lnTo>
                      <a:lnTo>
                        <a:pt x="52" y="62"/>
                      </a:lnTo>
                      <a:lnTo>
                        <a:pt x="42" y="60"/>
                      </a:lnTo>
                      <a:lnTo>
                        <a:pt x="36" y="60"/>
                      </a:lnTo>
                      <a:lnTo>
                        <a:pt x="32" y="62"/>
                      </a:lnTo>
                      <a:lnTo>
                        <a:pt x="32" y="62"/>
                      </a:lnTo>
                      <a:lnTo>
                        <a:pt x="26" y="66"/>
                      </a:lnTo>
                      <a:lnTo>
                        <a:pt x="20" y="70"/>
                      </a:lnTo>
                      <a:lnTo>
                        <a:pt x="8" y="74"/>
                      </a:lnTo>
                      <a:lnTo>
                        <a:pt x="4" y="76"/>
                      </a:lnTo>
                      <a:lnTo>
                        <a:pt x="0" y="78"/>
                      </a:lnTo>
                      <a:lnTo>
                        <a:pt x="0" y="82"/>
                      </a:lnTo>
                      <a:lnTo>
                        <a:pt x="4" y="86"/>
                      </a:lnTo>
                      <a:lnTo>
                        <a:pt x="4" y="86"/>
                      </a:lnTo>
                      <a:lnTo>
                        <a:pt x="8" y="88"/>
                      </a:lnTo>
                      <a:lnTo>
                        <a:pt x="12" y="90"/>
                      </a:lnTo>
                      <a:lnTo>
                        <a:pt x="26" y="90"/>
                      </a:lnTo>
                      <a:lnTo>
                        <a:pt x="44" y="88"/>
                      </a:lnTo>
                      <a:lnTo>
                        <a:pt x="66" y="86"/>
                      </a:lnTo>
                      <a:lnTo>
                        <a:pt x="106" y="78"/>
                      </a:lnTo>
                      <a:lnTo>
                        <a:pt x="122" y="76"/>
                      </a:lnTo>
                      <a:lnTo>
                        <a:pt x="136" y="76"/>
                      </a:lnTo>
                      <a:lnTo>
                        <a:pt x="136" y="76"/>
                      </a:lnTo>
                      <a:lnTo>
                        <a:pt x="140" y="78"/>
                      </a:lnTo>
                      <a:lnTo>
                        <a:pt x="138" y="80"/>
                      </a:lnTo>
                      <a:lnTo>
                        <a:pt x="118" y="86"/>
                      </a:lnTo>
                      <a:lnTo>
                        <a:pt x="106" y="90"/>
                      </a:lnTo>
                      <a:lnTo>
                        <a:pt x="96" y="94"/>
                      </a:lnTo>
                      <a:lnTo>
                        <a:pt x="92" y="98"/>
                      </a:lnTo>
                      <a:lnTo>
                        <a:pt x="90" y="100"/>
                      </a:lnTo>
                      <a:lnTo>
                        <a:pt x="90" y="104"/>
                      </a:lnTo>
                      <a:lnTo>
                        <a:pt x="92" y="106"/>
                      </a:lnTo>
                      <a:lnTo>
                        <a:pt x="92" y="106"/>
                      </a:lnTo>
                      <a:lnTo>
                        <a:pt x="98" y="114"/>
                      </a:lnTo>
                      <a:lnTo>
                        <a:pt x="100" y="120"/>
                      </a:lnTo>
                      <a:lnTo>
                        <a:pt x="102" y="132"/>
                      </a:lnTo>
                      <a:lnTo>
                        <a:pt x="104" y="136"/>
                      </a:lnTo>
                      <a:lnTo>
                        <a:pt x="108" y="138"/>
                      </a:lnTo>
                      <a:lnTo>
                        <a:pt x="116" y="136"/>
                      </a:lnTo>
                      <a:lnTo>
                        <a:pt x="126" y="134"/>
                      </a:lnTo>
                      <a:lnTo>
                        <a:pt x="126" y="134"/>
                      </a:lnTo>
                      <a:lnTo>
                        <a:pt x="136" y="130"/>
                      </a:lnTo>
                      <a:lnTo>
                        <a:pt x="142" y="128"/>
                      </a:lnTo>
                      <a:lnTo>
                        <a:pt x="166" y="132"/>
                      </a:lnTo>
                      <a:lnTo>
                        <a:pt x="166" y="132"/>
                      </a:lnTo>
                      <a:lnTo>
                        <a:pt x="184" y="132"/>
                      </a:lnTo>
                      <a:lnTo>
                        <a:pt x="200" y="128"/>
                      </a:lnTo>
                      <a:lnTo>
                        <a:pt x="206" y="126"/>
                      </a:lnTo>
                      <a:lnTo>
                        <a:pt x="208" y="122"/>
                      </a:lnTo>
                      <a:lnTo>
                        <a:pt x="210" y="118"/>
                      </a:lnTo>
                      <a:lnTo>
                        <a:pt x="208" y="112"/>
                      </a:lnTo>
                      <a:lnTo>
                        <a:pt x="208" y="112"/>
                      </a:lnTo>
                      <a:lnTo>
                        <a:pt x="202" y="100"/>
                      </a:lnTo>
                      <a:lnTo>
                        <a:pt x="202" y="92"/>
                      </a:lnTo>
                      <a:lnTo>
                        <a:pt x="202" y="88"/>
                      </a:lnTo>
                      <a:lnTo>
                        <a:pt x="206" y="88"/>
                      </a:lnTo>
                      <a:lnTo>
                        <a:pt x="210" y="88"/>
                      </a:lnTo>
                      <a:lnTo>
                        <a:pt x="214" y="92"/>
                      </a:lnTo>
                      <a:lnTo>
                        <a:pt x="214" y="92"/>
                      </a:lnTo>
                      <a:lnTo>
                        <a:pt x="224" y="98"/>
                      </a:lnTo>
                      <a:lnTo>
                        <a:pt x="226" y="98"/>
                      </a:lnTo>
                      <a:lnTo>
                        <a:pt x="226" y="98"/>
                      </a:lnTo>
                      <a:lnTo>
                        <a:pt x="224" y="90"/>
                      </a:lnTo>
                      <a:lnTo>
                        <a:pt x="216" y="76"/>
                      </a:lnTo>
                      <a:lnTo>
                        <a:pt x="216" y="76"/>
                      </a:lnTo>
                      <a:lnTo>
                        <a:pt x="214" y="68"/>
                      </a:lnTo>
                      <a:lnTo>
                        <a:pt x="212" y="60"/>
                      </a:lnTo>
                      <a:lnTo>
                        <a:pt x="210" y="40"/>
                      </a:lnTo>
                      <a:lnTo>
                        <a:pt x="208" y="30"/>
                      </a:lnTo>
                      <a:lnTo>
                        <a:pt x="204" y="20"/>
                      </a:lnTo>
                      <a:lnTo>
                        <a:pt x="196" y="10"/>
                      </a:lnTo>
                      <a:lnTo>
                        <a:pt x="184" y="4"/>
                      </a:lnTo>
                      <a:lnTo>
                        <a:pt x="184" y="4"/>
                      </a:lnTo>
                      <a:lnTo>
                        <a:pt x="172" y="0"/>
                      </a:lnTo>
                      <a:lnTo>
                        <a:pt x="164" y="0"/>
                      </a:lnTo>
                      <a:lnTo>
                        <a:pt x="160" y="2"/>
                      </a:lnTo>
                      <a:lnTo>
                        <a:pt x="156" y="6"/>
                      </a:lnTo>
                      <a:lnTo>
                        <a:pt x="152" y="14"/>
                      </a:lnTo>
                      <a:lnTo>
                        <a:pt x="148" y="14"/>
                      </a:lnTo>
                      <a:lnTo>
                        <a:pt x="144" y="12"/>
                      </a:lnTo>
                      <a:lnTo>
                        <a:pt x="144" y="1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79" name="Freeform 6023">
                  <a:extLst>
                    <a:ext uri="{FF2B5EF4-FFF2-40B4-BE49-F238E27FC236}">
                      <a16:creationId xmlns:a16="http://schemas.microsoft.com/office/drawing/2014/main" id="{0AD324FF-0780-4B89-BEC9-7C076FF615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2770" y="887413"/>
                  <a:ext cx="36830" cy="25400"/>
                </a:xfrm>
                <a:custGeom>
                  <a:avLst/>
                  <a:gdLst/>
                  <a:ahLst/>
                  <a:cxnLst>
                    <a:cxn ang="0">
                      <a:pos x="30" y="32"/>
                    </a:cxn>
                    <a:cxn ang="0">
                      <a:pos x="30" y="32"/>
                    </a:cxn>
                    <a:cxn ang="0">
                      <a:pos x="40" y="38"/>
                    </a:cxn>
                    <a:cxn ang="0">
                      <a:pos x="46" y="40"/>
                    </a:cxn>
                    <a:cxn ang="0">
                      <a:pos x="50" y="40"/>
                    </a:cxn>
                    <a:cxn ang="0">
                      <a:pos x="54" y="38"/>
                    </a:cxn>
                    <a:cxn ang="0">
                      <a:pos x="56" y="34"/>
                    </a:cxn>
                    <a:cxn ang="0">
                      <a:pos x="58" y="28"/>
                    </a:cxn>
                    <a:cxn ang="0">
                      <a:pos x="56" y="20"/>
                    </a:cxn>
                    <a:cxn ang="0">
                      <a:pos x="56" y="20"/>
                    </a:cxn>
                    <a:cxn ang="0">
                      <a:pos x="52" y="12"/>
                    </a:cxn>
                    <a:cxn ang="0">
                      <a:pos x="46" y="6"/>
                    </a:cxn>
                    <a:cxn ang="0">
                      <a:pos x="36" y="2"/>
                    </a:cxn>
                    <a:cxn ang="0">
                      <a:pos x="26" y="0"/>
                    </a:cxn>
                    <a:cxn ang="0">
                      <a:pos x="16" y="0"/>
                    </a:cxn>
                    <a:cxn ang="0">
                      <a:pos x="6" y="2"/>
                    </a:cxn>
                    <a:cxn ang="0">
                      <a:pos x="2" y="6"/>
                    </a:cxn>
                    <a:cxn ang="0">
                      <a:pos x="0" y="10"/>
                    </a:cxn>
                    <a:cxn ang="0">
                      <a:pos x="0" y="14"/>
                    </a:cxn>
                    <a:cxn ang="0">
                      <a:pos x="0" y="14"/>
                    </a:cxn>
                    <a:cxn ang="0">
                      <a:pos x="0" y="18"/>
                    </a:cxn>
                    <a:cxn ang="0">
                      <a:pos x="4" y="22"/>
                    </a:cxn>
                    <a:cxn ang="0">
                      <a:pos x="10" y="24"/>
                    </a:cxn>
                    <a:cxn ang="0">
                      <a:pos x="18" y="26"/>
                    </a:cxn>
                    <a:cxn ang="0">
                      <a:pos x="24" y="28"/>
                    </a:cxn>
                    <a:cxn ang="0">
                      <a:pos x="30" y="32"/>
                    </a:cxn>
                    <a:cxn ang="0">
                      <a:pos x="30" y="32"/>
                    </a:cxn>
                  </a:cxnLst>
                  <a:rect l="0" t="0" r="r" b="b"/>
                  <a:pathLst>
                    <a:path w="58" h="40">
                      <a:moveTo>
                        <a:pt x="30" y="32"/>
                      </a:moveTo>
                      <a:lnTo>
                        <a:pt x="30" y="32"/>
                      </a:lnTo>
                      <a:lnTo>
                        <a:pt x="40" y="38"/>
                      </a:lnTo>
                      <a:lnTo>
                        <a:pt x="46" y="40"/>
                      </a:lnTo>
                      <a:lnTo>
                        <a:pt x="50" y="40"/>
                      </a:lnTo>
                      <a:lnTo>
                        <a:pt x="54" y="38"/>
                      </a:lnTo>
                      <a:lnTo>
                        <a:pt x="56" y="34"/>
                      </a:lnTo>
                      <a:lnTo>
                        <a:pt x="58" y="28"/>
                      </a:lnTo>
                      <a:lnTo>
                        <a:pt x="56" y="20"/>
                      </a:lnTo>
                      <a:lnTo>
                        <a:pt x="56" y="20"/>
                      </a:lnTo>
                      <a:lnTo>
                        <a:pt x="52" y="12"/>
                      </a:lnTo>
                      <a:lnTo>
                        <a:pt x="46" y="6"/>
                      </a:lnTo>
                      <a:lnTo>
                        <a:pt x="36" y="2"/>
                      </a:lnTo>
                      <a:lnTo>
                        <a:pt x="26" y="0"/>
                      </a:lnTo>
                      <a:lnTo>
                        <a:pt x="16" y="0"/>
                      </a:lnTo>
                      <a:lnTo>
                        <a:pt x="6" y="2"/>
                      </a:lnTo>
                      <a:lnTo>
                        <a:pt x="2" y="6"/>
                      </a:lnTo>
                      <a:lnTo>
                        <a:pt x="0" y="10"/>
                      </a:lnTo>
                      <a:lnTo>
                        <a:pt x="0" y="14"/>
                      </a:lnTo>
                      <a:lnTo>
                        <a:pt x="0" y="14"/>
                      </a:lnTo>
                      <a:lnTo>
                        <a:pt x="0" y="18"/>
                      </a:lnTo>
                      <a:lnTo>
                        <a:pt x="4" y="22"/>
                      </a:lnTo>
                      <a:lnTo>
                        <a:pt x="10" y="24"/>
                      </a:lnTo>
                      <a:lnTo>
                        <a:pt x="18" y="26"/>
                      </a:lnTo>
                      <a:lnTo>
                        <a:pt x="24" y="28"/>
                      </a:lnTo>
                      <a:lnTo>
                        <a:pt x="30" y="32"/>
                      </a:lnTo>
                      <a:lnTo>
                        <a:pt x="30" y="3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80" name="Freeform 6024">
                  <a:extLst>
                    <a:ext uri="{FF2B5EF4-FFF2-40B4-BE49-F238E27FC236}">
                      <a16:creationId xmlns:a16="http://schemas.microsoft.com/office/drawing/2014/main" id="{409E0CD3-6B0C-4AF8-814B-C90ACBF368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7490" y="963613"/>
                  <a:ext cx="102870" cy="24130"/>
                </a:xfrm>
                <a:custGeom>
                  <a:avLst/>
                  <a:gdLst/>
                  <a:ahLst/>
                  <a:cxnLst>
                    <a:cxn ang="0">
                      <a:pos x="20" y="34"/>
                    </a:cxn>
                    <a:cxn ang="0">
                      <a:pos x="20" y="34"/>
                    </a:cxn>
                    <a:cxn ang="0">
                      <a:pos x="26" y="32"/>
                    </a:cxn>
                    <a:cxn ang="0">
                      <a:pos x="34" y="32"/>
                    </a:cxn>
                    <a:cxn ang="0">
                      <a:pos x="60" y="36"/>
                    </a:cxn>
                    <a:cxn ang="0">
                      <a:pos x="60" y="36"/>
                    </a:cxn>
                    <a:cxn ang="0">
                      <a:pos x="72" y="38"/>
                    </a:cxn>
                    <a:cxn ang="0">
                      <a:pos x="76" y="36"/>
                    </a:cxn>
                    <a:cxn ang="0">
                      <a:pos x="84" y="34"/>
                    </a:cxn>
                    <a:cxn ang="0">
                      <a:pos x="108" y="34"/>
                    </a:cxn>
                    <a:cxn ang="0">
                      <a:pos x="108" y="34"/>
                    </a:cxn>
                    <a:cxn ang="0">
                      <a:pos x="124" y="36"/>
                    </a:cxn>
                    <a:cxn ang="0">
                      <a:pos x="138" y="34"/>
                    </a:cxn>
                    <a:cxn ang="0">
                      <a:pos x="150" y="32"/>
                    </a:cxn>
                    <a:cxn ang="0">
                      <a:pos x="158" y="28"/>
                    </a:cxn>
                    <a:cxn ang="0">
                      <a:pos x="162" y="24"/>
                    </a:cxn>
                    <a:cxn ang="0">
                      <a:pos x="162" y="22"/>
                    </a:cxn>
                    <a:cxn ang="0">
                      <a:pos x="160" y="18"/>
                    </a:cxn>
                    <a:cxn ang="0">
                      <a:pos x="152" y="12"/>
                    </a:cxn>
                    <a:cxn ang="0">
                      <a:pos x="138" y="6"/>
                    </a:cxn>
                    <a:cxn ang="0">
                      <a:pos x="138" y="6"/>
                    </a:cxn>
                    <a:cxn ang="0">
                      <a:pos x="122" y="0"/>
                    </a:cxn>
                    <a:cxn ang="0">
                      <a:pos x="108" y="0"/>
                    </a:cxn>
                    <a:cxn ang="0">
                      <a:pos x="96" y="0"/>
                    </a:cxn>
                    <a:cxn ang="0">
                      <a:pos x="86" y="2"/>
                    </a:cxn>
                    <a:cxn ang="0">
                      <a:pos x="64" y="10"/>
                    </a:cxn>
                    <a:cxn ang="0">
                      <a:pos x="52" y="14"/>
                    </a:cxn>
                    <a:cxn ang="0">
                      <a:pos x="36" y="16"/>
                    </a:cxn>
                    <a:cxn ang="0">
                      <a:pos x="36" y="16"/>
                    </a:cxn>
                    <a:cxn ang="0">
                      <a:pos x="22" y="20"/>
                    </a:cxn>
                    <a:cxn ang="0">
                      <a:pos x="10" y="24"/>
                    </a:cxn>
                    <a:cxn ang="0">
                      <a:pos x="4" y="28"/>
                    </a:cxn>
                    <a:cxn ang="0">
                      <a:pos x="0" y="30"/>
                    </a:cxn>
                    <a:cxn ang="0">
                      <a:pos x="0" y="34"/>
                    </a:cxn>
                    <a:cxn ang="0">
                      <a:pos x="4" y="36"/>
                    </a:cxn>
                    <a:cxn ang="0">
                      <a:pos x="10" y="36"/>
                    </a:cxn>
                    <a:cxn ang="0">
                      <a:pos x="20" y="34"/>
                    </a:cxn>
                    <a:cxn ang="0">
                      <a:pos x="20" y="34"/>
                    </a:cxn>
                  </a:cxnLst>
                  <a:rect l="0" t="0" r="r" b="b"/>
                  <a:pathLst>
                    <a:path w="162" h="38">
                      <a:moveTo>
                        <a:pt x="20" y="34"/>
                      </a:moveTo>
                      <a:lnTo>
                        <a:pt x="20" y="34"/>
                      </a:lnTo>
                      <a:lnTo>
                        <a:pt x="26" y="32"/>
                      </a:lnTo>
                      <a:lnTo>
                        <a:pt x="34" y="32"/>
                      </a:lnTo>
                      <a:lnTo>
                        <a:pt x="60" y="36"/>
                      </a:lnTo>
                      <a:lnTo>
                        <a:pt x="60" y="36"/>
                      </a:lnTo>
                      <a:lnTo>
                        <a:pt x="72" y="38"/>
                      </a:lnTo>
                      <a:lnTo>
                        <a:pt x="76" y="36"/>
                      </a:lnTo>
                      <a:lnTo>
                        <a:pt x="84" y="34"/>
                      </a:lnTo>
                      <a:lnTo>
                        <a:pt x="108" y="34"/>
                      </a:lnTo>
                      <a:lnTo>
                        <a:pt x="108" y="34"/>
                      </a:lnTo>
                      <a:lnTo>
                        <a:pt x="124" y="36"/>
                      </a:lnTo>
                      <a:lnTo>
                        <a:pt x="138" y="34"/>
                      </a:lnTo>
                      <a:lnTo>
                        <a:pt x="150" y="32"/>
                      </a:lnTo>
                      <a:lnTo>
                        <a:pt x="158" y="28"/>
                      </a:lnTo>
                      <a:lnTo>
                        <a:pt x="162" y="24"/>
                      </a:lnTo>
                      <a:lnTo>
                        <a:pt x="162" y="22"/>
                      </a:lnTo>
                      <a:lnTo>
                        <a:pt x="160" y="18"/>
                      </a:lnTo>
                      <a:lnTo>
                        <a:pt x="152" y="12"/>
                      </a:lnTo>
                      <a:lnTo>
                        <a:pt x="138" y="6"/>
                      </a:lnTo>
                      <a:lnTo>
                        <a:pt x="138" y="6"/>
                      </a:lnTo>
                      <a:lnTo>
                        <a:pt x="122" y="0"/>
                      </a:lnTo>
                      <a:lnTo>
                        <a:pt x="108" y="0"/>
                      </a:lnTo>
                      <a:lnTo>
                        <a:pt x="96" y="0"/>
                      </a:lnTo>
                      <a:lnTo>
                        <a:pt x="86" y="2"/>
                      </a:lnTo>
                      <a:lnTo>
                        <a:pt x="64" y="10"/>
                      </a:lnTo>
                      <a:lnTo>
                        <a:pt x="52" y="14"/>
                      </a:lnTo>
                      <a:lnTo>
                        <a:pt x="36" y="16"/>
                      </a:lnTo>
                      <a:lnTo>
                        <a:pt x="36" y="16"/>
                      </a:lnTo>
                      <a:lnTo>
                        <a:pt x="22" y="20"/>
                      </a:lnTo>
                      <a:lnTo>
                        <a:pt x="10" y="24"/>
                      </a:lnTo>
                      <a:lnTo>
                        <a:pt x="4" y="28"/>
                      </a:lnTo>
                      <a:lnTo>
                        <a:pt x="0" y="30"/>
                      </a:lnTo>
                      <a:lnTo>
                        <a:pt x="0" y="34"/>
                      </a:lnTo>
                      <a:lnTo>
                        <a:pt x="4" y="36"/>
                      </a:lnTo>
                      <a:lnTo>
                        <a:pt x="10" y="36"/>
                      </a:lnTo>
                      <a:lnTo>
                        <a:pt x="20" y="34"/>
                      </a:lnTo>
                      <a:lnTo>
                        <a:pt x="20" y="3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81" name="Freeform 6025">
                  <a:extLst>
                    <a:ext uri="{FF2B5EF4-FFF2-40B4-BE49-F238E27FC236}">
                      <a16:creationId xmlns:a16="http://schemas.microsoft.com/office/drawing/2014/main" id="{6ACAB093-701D-44F0-806A-F19DC1D867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3070" y="928053"/>
                  <a:ext cx="168910" cy="82550"/>
                </a:xfrm>
                <a:custGeom>
                  <a:avLst/>
                  <a:gdLst/>
                  <a:ahLst/>
                  <a:cxnLst>
                    <a:cxn ang="0">
                      <a:pos x="30" y="40"/>
                    </a:cxn>
                    <a:cxn ang="0">
                      <a:pos x="32" y="50"/>
                    </a:cxn>
                    <a:cxn ang="0">
                      <a:pos x="40" y="46"/>
                    </a:cxn>
                    <a:cxn ang="0">
                      <a:pos x="52" y="44"/>
                    </a:cxn>
                    <a:cxn ang="0">
                      <a:pos x="66" y="54"/>
                    </a:cxn>
                    <a:cxn ang="0">
                      <a:pos x="72" y="62"/>
                    </a:cxn>
                    <a:cxn ang="0">
                      <a:pos x="68" y="70"/>
                    </a:cxn>
                    <a:cxn ang="0">
                      <a:pos x="44" y="68"/>
                    </a:cxn>
                    <a:cxn ang="0">
                      <a:pos x="26" y="70"/>
                    </a:cxn>
                    <a:cxn ang="0">
                      <a:pos x="24" y="74"/>
                    </a:cxn>
                    <a:cxn ang="0">
                      <a:pos x="24" y="82"/>
                    </a:cxn>
                    <a:cxn ang="0">
                      <a:pos x="36" y="90"/>
                    </a:cxn>
                    <a:cxn ang="0">
                      <a:pos x="60" y="92"/>
                    </a:cxn>
                    <a:cxn ang="0">
                      <a:pos x="78" y="88"/>
                    </a:cxn>
                    <a:cxn ang="0">
                      <a:pos x="108" y="82"/>
                    </a:cxn>
                    <a:cxn ang="0">
                      <a:pos x="114" y="86"/>
                    </a:cxn>
                    <a:cxn ang="0">
                      <a:pos x="120" y="92"/>
                    </a:cxn>
                    <a:cxn ang="0">
                      <a:pos x="146" y="90"/>
                    </a:cxn>
                    <a:cxn ang="0">
                      <a:pos x="156" y="90"/>
                    </a:cxn>
                    <a:cxn ang="0">
                      <a:pos x="170" y="92"/>
                    </a:cxn>
                    <a:cxn ang="0">
                      <a:pos x="182" y="102"/>
                    </a:cxn>
                    <a:cxn ang="0">
                      <a:pos x="194" y="120"/>
                    </a:cxn>
                    <a:cxn ang="0">
                      <a:pos x="204" y="126"/>
                    </a:cxn>
                    <a:cxn ang="0">
                      <a:pos x="220" y="130"/>
                    </a:cxn>
                    <a:cxn ang="0">
                      <a:pos x="244" y="128"/>
                    </a:cxn>
                    <a:cxn ang="0">
                      <a:pos x="254" y="126"/>
                    </a:cxn>
                    <a:cxn ang="0">
                      <a:pos x="266" y="122"/>
                    </a:cxn>
                    <a:cxn ang="0">
                      <a:pos x="266" y="114"/>
                    </a:cxn>
                    <a:cxn ang="0">
                      <a:pos x="258" y="102"/>
                    </a:cxn>
                    <a:cxn ang="0">
                      <a:pos x="234" y="82"/>
                    </a:cxn>
                    <a:cxn ang="0">
                      <a:pos x="238" y="78"/>
                    </a:cxn>
                    <a:cxn ang="0">
                      <a:pos x="242" y="76"/>
                    </a:cxn>
                    <a:cxn ang="0">
                      <a:pos x="248" y="68"/>
                    </a:cxn>
                    <a:cxn ang="0">
                      <a:pos x="242" y="58"/>
                    </a:cxn>
                    <a:cxn ang="0">
                      <a:pos x="224" y="50"/>
                    </a:cxn>
                    <a:cxn ang="0">
                      <a:pos x="210" y="48"/>
                    </a:cxn>
                    <a:cxn ang="0">
                      <a:pos x="186" y="44"/>
                    </a:cxn>
                    <a:cxn ang="0">
                      <a:pos x="184" y="40"/>
                    </a:cxn>
                    <a:cxn ang="0">
                      <a:pos x="176" y="32"/>
                    </a:cxn>
                    <a:cxn ang="0">
                      <a:pos x="164" y="28"/>
                    </a:cxn>
                    <a:cxn ang="0">
                      <a:pos x="140" y="26"/>
                    </a:cxn>
                    <a:cxn ang="0">
                      <a:pos x="130" y="32"/>
                    </a:cxn>
                    <a:cxn ang="0">
                      <a:pos x="124" y="36"/>
                    </a:cxn>
                    <a:cxn ang="0">
                      <a:pos x="118" y="28"/>
                    </a:cxn>
                    <a:cxn ang="0">
                      <a:pos x="114" y="24"/>
                    </a:cxn>
                    <a:cxn ang="0">
                      <a:pos x="96" y="10"/>
                    </a:cxn>
                    <a:cxn ang="0">
                      <a:pos x="58" y="0"/>
                    </a:cxn>
                    <a:cxn ang="0">
                      <a:pos x="22" y="2"/>
                    </a:cxn>
                    <a:cxn ang="0">
                      <a:pos x="10" y="8"/>
                    </a:cxn>
                    <a:cxn ang="0">
                      <a:pos x="2" y="18"/>
                    </a:cxn>
                    <a:cxn ang="0">
                      <a:pos x="0" y="28"/>
                    </a:cxn>
                    <a:cxn ang="0">
                      <a:pos x="8" y="34"/>
                    </a:cxn>
                    <a:cxn ang="0">
                      <a:pos x="20" y="30"/>
                    </a:cxn>
                    <a:cxn ang="0">
                      <a:pos x="28" y="34"/>
                    </a:cxn>
                    <a:cxn ang="0">
                      <a:pos x="30" y="40"/>
                    </a:cxn>
                  </a:cxnLst>
                  <a:rect l="0" t="0" r="r" b="b"/>
                  <a:pathLst>
                    <a:path w="266" h="130">
                      <a:moveTo>
                        <a:pt x="30" y="40"/>
                      </a:moveTo>
                      <a:lnTo>
                        <a:pt x="30" y="40"/>
                      </a:lnTo>
                      <a:lnTo>
                        <a:pt x="30" y="48"/>
                      </a:lnTo>
                      <a:lnTo>
                        <a:pt x="32" y="50"/>
                      </a:lnTo>
                      <a:lnTo>
                        <a:pt x="36" y="50"/>
                      </a:lnTo>
                      <a:lnTo>
                        <a:pt x="40" y="46"/>
                      </a:lnTo>
                      <a:lnTo>
                        <a:pt x="46" y="44"/>
                      </a:lnTo>
                      <a:lnTo>
                        <a:pt x="52" y="44"/>
                      </a:lnTo>
                      <a:lnTo>
                        <a:pt x="58" y="46"/>
                      </a:lnTo>
                      <a:lnTo>
                        <a:pt x="66" y="54"/>
                      </a:lnTo>
                      <a:lnTo>
                        <a:pt x="66" y="54"/>
                      </a:lnTo>
                      <a:lnTo>
                        <a:pt x="72" y="62"/>
                      </a:lnTo>
                      <a:lnTo>
                        <a:pt x="72" y="66"/>
                      </a:lnTo>
                      <a:lnTo>
                        <a:pt x="68" y="70"/>
                      </a:lnTo>
                      <a:lnTo>
                        <a:pt x="60" y="70"/>
                      </a:lnTo>
                      <a:lnTo>
                        <a:pt x="44" y="68"/>
                      </a:lnTo>
                      <a:lnTo>
                        <a:pt x="34" y="68"/>
                      </a:lnTo>
                      <a:lnTo>
                        <a:pt x="26" y="70"/>
                      </a:lnTo>
                      <a:lnTo>
                        <a:pt x="26" y="70"/>
                      </a:lnTo>
                      <a:lnTo>
                        <a:pt x="24" y="74"/>
                      </a:lnTo>
                      <a:lnTo>
                        <a:pt x="22" y="78"/>
                      </a:lnTo>
                      <a:lnTo>
                        <a:pt x="24" y="82"/>
                      </a:lnTo>
                      <a:lnTo>
                        <a:pt x="28" y="86"/>
                      </a:lnTo>
                      <a:lnTo>
                        <a:pt x="36" y="90"/>
                      </a:lnTo>
                      <a:lnTo>
                        <a:pt x="46" y="92"/>
                      </a:lnTo>
                      <a:lnTo>
                        <a:pt x="60" y="92"/>
                      </a:lnTo>
                      <a:lnTo>
                        <a:pt x="78" y="88"/>
                      </a:lnTo>
                      <a:lnTo>
                        <a:pt x="78" y="88"/>
                      </a:lnTo>
                      <a:lnTo>
                        <a:pt x="98" y="82"/>
                      </a:lnTo>
                      <a:lnTo>
                        <a:pt x="108" y="82"/>
                      </a:lnTo>
                      <a:lnTo>
                        <a:pt x="112" y="82"/>
                      </a:lnTo>
                      <a:lnTo>
                        <a:pt x="114" y="86"/>
                      </a:lnTo>
                      <a:lnTo>
                        <a:pt x="116" y="88"/>
                      </a:lnTo>
                      <a:lnTo>
                        <a:pt x="120" y="92"/>
                      </a:lnTo>
                      <a:lnTo>
                        <a:pt x="130" y="92"/>
                      </a:lnTo>
                      <a:lnTo>
                        <a:pt x="146" y="90"/>
                      </a:lnTo>
                      <a:lnTo>
                        <a:pt x="146" y="90"/>
                      </a:lnTo>
                      <a:lnTo>
                        <a:pt x="156" y="90"/>
                      </a:lnTo>
                      <a:lnTo>
                        <a:pt x="164" y="90"/>
                      </a:lnTo>
                      <a:lnTo>
                        <a:pt x="170" y="92"/>
                      </a:lnTo>
                      <a:lnTo>
                        <a:pt x="174" y="94"/>
                      </a:lnTo>
                      <a:lnTo>
                        <a:pt x="182" y="102"/>
                      </a:lnTo>
                      <a:lnTo>
                        <a:pt x="186" y="110"/>
                      </a:lnTo>
                      <a:lnTo>
                        <a:pt x="194" y="120"/>
                      </a:lnTo>
                      <a:lnTo>
                        <a:pt x="198" y="124"/>
                      </a:lnTo>
                      <a:lnTo>
                        <a:pt x="204" y="126"/>
                      </a:lnTo>
                      <a:lnTo>
                        <a:pt x="210" y="128"/>
                      </a:lnTo>
                      <a:lnTo>
                        <a:pt x="220" y="130"/>
                      </a:lnTo>
                      <a:lnTo>
                        <a:pt x="230" y="130"/>
                      </a:lnTo>
                      <a:lnTo>
                        <a:pt x="244" y="128"/>
                      </a:lnTo>
                      <a:lnTo>
                        <a:pt x="244" y="128"/>
                      </a:lnTo>
                      <a:lnTo>
                        <a:pt x="254" y="126"/>
                      </a:lnTo>
                      <a:lnTo>
                        <a:pt x="262" y="124"/>
                      </a:lnTo>
                      <a:lnTo>
                        <a:pt x="266" y="122"/>
                      </a:lnTo>
                      <a:lnTo>
                        <a:pt x="266" y="118"/>
                      </a:lnTo>
                      <a:lnTo>
                        <a:pt x="266" y="114"/>
                      </a:lnTo>
                      <a:lnTo>
                        <a:pt x="264" y="110"/>
                      </a:lnTo>
                      <a:lnTo>
                        <a:pt x="258" y="102"/>
                      </a:lnTo>
                      <a:lnTo>
                        <a:pt x="240" y="88"/>
                      </a:lnTo>
                      <a:lnTo>
                        <a:pt x="234" y="82"/>
                      </a:lnTo>
                      <a:lnTo>
                        <a:pt x="234" y="80"/>
                      </a:lnTo>
                      <a:lnTo>
                        <a:pt x="238" y="78"/>
                      </a:lnTo>
                      <a:lnTo>
                        <a:pt x="238" y="78"/>
                      </a:lnTo>
                      <a:lnTo>
                        <a:pt x="242" y="76"/>
                      </a:lnTo>
                      <a:lnTo>
                        <a:pt x="246" y="72"/>
                      </a:lnTo>
                      <a:lnTo>
                        <a:pt x="248" y="68"/>
                      </a:lnTo>
                      <a:lnTo>
                        <a:pt x="246" y="64"/>
                      </a:lnTo>
                      <a:lnTo>
                        <a:pt x="242" y="58"/>
                      </a:lnTo>
                      <a:lnTo>
                        <a:pt x="236" y="54"/>
                      </a:lnTo>
                      <a:lnTo>
                        <a:pt x="224" y="50"/>
                      </a:lnTo>
                      <a:lnTo>
                        <a:pt x="210" y="48"/>
                      </a:lnTo>
                      <a:lnTo>
                        <a:pt x="210" y="48"/>
                      </a:lnTo>
                      <a:lnTo>
                        <a:pt x="190" y="46"/>
                      </a:lnTo>
                      <a:lnTo>
                        <a:pt x="186" y="44"/>
                      </a:lnTo>
                      <a:lnTo>
                        <a:pt x="186" y="42"/>
                      </a:lnTo>
                      <a:lnTo>
                        <a:pt x="184" y="40"/>
                      </a:lnTo>
                      <a:lnTo>
                        <a:pt x="182" y="36"/>
                      </a:lnTo>
                      <a:lnTo>
                        <a:pt x="176" y="32"/>
                      </a:lnTo>
                      <a:lnTo>
                        <a:pt x="164" y="28"/>
                      </a:lnTo>
                      <a:lnTo>
                        <a:pt x="164" y="28"/>
                      </a:lnTo>
                      <a:lnTo>
                        <a:pt x="150" y="26"/>
                      </a:lnTo>
                      <a:lnTo>
                        <a:pt x="140" y="26"/>
                      </a:lnTo>
                      <a:lnTo>
                        <a:pt x="134" y="28"/>
                      </a:lnTo>
                      <a:lnTo>
                        <a:pt x="130" y="32"/>
                      </a:lnTo>
                      <a:lnTo>
                        <a:pt x="126" y="34"/>
                      </a:lnTo>
                      <a:lnTo>
                        <a:pt x="124" y="36"/>
                      </a:lnTo>
                      <a:lnTo>
                        <a:pt x="122" y="34"/>
                      </a:lnTo>
                      <a:lnTo>
                        <a:pt x="118" y="28"/>
                      </a:lnTo>
                      <a:lnTo>
                        <a:pt x="118" y="28"/>
                      </a:lnTo>
                      <a:lnTo>
                        <a:pt x="114" y="24"/>
                      </a:lnTo>
                      <a:lnTo>
                        <a:pt x="110" y="18"/>
                      </a:lnTo>
                      <a:lnTo>
                        <a:pt x="96" y="10"/>
                      </a:lnTo>
                      <a:lnTo>
                        <a:pt x="78" y="4"/>
                      </a:lnTo>
                      <a:lnTo>
                        <a:pt x="58" y="0"/>
                      </a:lnTo>
                      <a:lnTo>
                        <a:pt x="40" y="0"/>
                      </a:lnTo>
                      <a:lnTo>
                        <a:pt x="22" y="2"/>
                      </a:lnTo>
                      <a:lnTo>
                        <a:pt x="14" y="4"/>
                      </a:lnTo>
                      <a:lnTo>
                        <a:pt x="10" y="8"/>
                      </a:lnTo>
                      <a:lnTo>
                        <a:pt x="4" y="12"/>
                      </a:lnTo>
                      <a:lnTo>
                        <a:pt x="2" y="18"/>
                      </a:lnTo>
                      <a:lnTo>
                        <a:pt x="2" y="18"/>
                      </a:lnTo>
                      <a:lnTo>
                        <a:pt x="0" y="28"/>
                      </a:lnTo>
                      <a:lnTo>
                        <a:pt x="2" y="32"/>
                      </a:lnTo>
                      <a:lnTo>
                        <a:pt x="8" y="34"/>
                      </a:lnTo>
                      <a:lnTo>
                        <a:pt x="14" y="32"/>
                      </a:lnTo>
                      <a:lnTo>
                        <a:pt x="20" y="30"/>
                      </a:lnTo>
                      <a:lnTo>
                        <a:pt x="24" y="30"/>
                      </a:lnTo>
                      <a:lnTo>
                        <a:pt x="28" y="34"/>
                      </a:lnTo>
                      <a:lnTo>
                        <a:pt x="30" y="40"/>
                      </a:lnTo>
                      <a:lnTo>
                        <a:pt x="30" y="4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82" name="Freeform 6026">
                  <a:extLst>
                    <a:ext uri="{FF2B5EF4-FFF2-40B4-BE49-F238E27FC236}">
                      <a16:creationId xmlns:a16="http://schemas.microsoft.com/office/drawing/2014/main" id="{E812177C-25E0-4C08-8E2C-5D6AF53DCA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94180" y="1013143"/>
                  <a:ext cx="44450" cy="33020"/>
                </a:xfrm>
                <a:custGeom>
                  <a:avLst/>
                  <a:gdLst/>
                  <a:ahLst/>
                  <a:cxnLst>
                    <a:cxn ang="0">
                      <a:pos x="56" y="52"/>
                    </a:cxn>
                    <a:cxn ang="0">
                      <a:pos x="56" y="52"/>
                    </a:cxn>
                    <a:cxn ang="0">
                      <a:pos x="66" y="50"/>
                    </a:cxn>
                    <a:cxn ang="0">
                      <a:pos x="68" y="48"/>
                    </a:cxn>
                    <a:cxn ang="0">
                      <a:pos x="70" y="46"/>
                    </a:cxn>
                    <a:cxn ang="0">
                      <a:pos x="70" y="44"/>
                    </a:cxn>
                    <a:cxn ang="0">
                      <a:pos x="68" y="40"/>
                    </a:cxn>
                    <a:cxn ang="0">
                      <a:pos x="56" y="26"/>
                    </a:cxn>
                    <a:cxn ang="0">
                      <a:pos x="56" y="26"/>
                    </a:cxn>
                    <a:cxn ang="0">
                      <a:pos x="46" y="18"/>
                    </a:cxn>
                    <a:cxn ang="0">
                      <a:pos x="36" y="12"/>
                    </a:cxn>
                    <a:cxn ang="0">
                      <a:pos x="26" y="6"/>
                    </a:cxn>
                    <a:cxn ang="0">
                      <a:pos x="16" y="2"/>
                    </a:cxn>
                    <a:cxn ang="0">
                      <a:pos x="8" y="0"/>
                    </a:cxn>
                    <a:cxn ang="0">
                      <a:pos x="2" y="0"/>
                    </a:cxn>
                    <a:cxn ang="0">
                      <a:pos x="0" y="2"/>
                    </a:cxn>
                    <a:cxn ang="0">
                      <a:pos x="0" y="8"/>
                    </a:cxn>
                    <a:cxn ang="0">
                      <a:pos x="0" y="8"/>
                    </a:cxn>
                    <a:cxn ang="0">
                      <a:pos x="8" y="22"/>
                    </a:cxn>
                    <a:cxn ang="0">
                      <a:pos x="18" y="36"/>
                    </a:cxn>
                    <a:cxn ang="0">
                      <a:pos x="24" y="44"/>
                    </a:cxn>
                    <a:cxn ang="0">
                      <a:pos x="32" y="48"/>
                    </a:cxn>
                    <a:cxn ang="0">
                      <a:pos x="42" y="52"/>
                    </a:cxn>
                    <a:cxn ang="0">
                      <a:pos x="56" y="52"/>
                    </a:cxn>
                    <a:cxn ang="0">
                      <a:pos x="56" y="52"/>
                    </a:cxn>
                  </a:cxnLst>
                  <a:rect l="0" t="0" r="r" b="b"/>
                  <a:pathLst>
                    <a:path w="70" h="52">
                      <a:moveTo>
                        <a:pt x="56" y="52"/>
                      </a:moveTo>
                      <a:lnTo>
                        <a:pt x="56" y="52"/>
                      </a:lnTo>
                      <a:lnTo>
                        <a:pt x="66" y="50"/>
                      </a:lnTo>
                      <a:lnTo>
                        <a:pt x="68" y="48"/>
                      </a:lnTo>
                      <a:lnTo>
                        <a:pt x="70" y="46"/>
                      </a:lnTo>
                      <a:lnTo>
                        <a:pt x="70" y="44"/>
                      </a:lnTo>
                      <a:lnTo>
                        <a:pt x="68" y="40"/>
                      </a:lnTo>
                      <a:lnTo>
                        <a:pt x="56" y="26"/>
                      </a:lnTo>
                      <a:lnTo>
                        <a:pt x="56" y="26"/>
                      </a:lnTo>
                      <a:lnTo>
                        <a:pt x="46" y="18"/>
                      </a:lnTo>
                      <a:lnTo>
                        <a:pt x="36" y="12"/>
                      </a:lnTo>
                      <a:lnTo>
                        <a:pt x="26" y="6"/>
                      </a:lnTo>
                      <a:lnTo>
                        <a:pt x="16" y="2"/>
                      </a:lnTo>
                      <a:lnTo>
                        <a:pt x="8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8" y="22"/>
                      </a:lnTo>
                      <a:lnTo>
                        <a:pt x="18" y="36"/>
                      </a:lnTo>
                      <a:lnTo>
                        <a:pt x="24" y="44"/>
                      </a:lnTo>
                      <a:lnTo>
                        <a:pt x="32" y="48"/>
                      </a:lnTo>
                      <a:lnTo>
                        <a:pt x="42" y="52"/>
                      </a:lnTo>
                      <a:lnTo>
                        <a:pt x="56" y="52"/>
                      </a:lnTo>
                      <a:lnTo>
                        <a:pt x="56" y="5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83" name="Freeform 6027">
                  <a:extLst>
                    <a:ext uri="{FF2B5EF4-FFF2-40B4-BE49-F238E27FC236}">
                      <a16:creationId xmlns:a16="http://schemas.microsoft.com/office/drawing/2014/main" id="{E1F93719-929D-490E-A84E-460EBAB673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3410" y="957263"/>
                  <a:ext cx="95250" cy="54610"/>
                </a:xfrm>
                <a:custGeom>
                  <a:avLst/>
                  <a:gdLst/>
                  <a:ahLst/>
                  <a:cxnLst>
                    <a:cxn ang="0">
                      <a:pos x="14" y="38"/>
                    </a:cxn>
                    <a:cxn ang="0">
                      <a:pos x="22" y="44"/>
                    </a:cxn>
                    <a:cxn ang="0">
                      <a:pos x="44" y="54"/>
                    </a:cxn>
                    <a:cxn ang="0">
                      <a:pos x="50" y="56"/>
                    </a:cxn>
                    <a:cxn ang="0">
                      <a:pos x="52" y="58"/>
                    </a:cxn>
                    <a:cxn ang="0">
                      <a:pos x="42" y="64"/>
                    </a:cxn>
                    <a:cxn ang="0">
                      <a:pos x="32" y="68"/>
                    </a:cxn>
                    <a:cxn ang="0">
                      <a:pos x="40" y="68"/>
                    </a:cxn>
                    <a:cxn ang="0">
                      <a:pos x="50" y="70"/>
                    </a:cxn>
                    <a:cxn ang="0">
                      <a:pos x="56" y="76"/>
                    </a:cxn>
                    <a:cxn ang="0">
                      <a:pos x="60" y="84"/>
                    </a:cxn>
                    <a:cxn ang="0">
                      <a:pos x="66" y="86"/>
                    </a:cxn>
                    <a:cxn ang="0">
                      <a:pos x="74" y="82"/>
                    </a:cxn>
                    <a:cxn ang="0">
                      <a:pos x="98" y="76"/>
                    </a:cxn>
                    <a:cxn ang="0">
                      <a:pos x="132" y="70"/>
                    </a:cxn>
                    <a:cxn ang="0">
                      <a:pos x="142" y="64"/>
                    </a:cxn>
                    <a:cxn ang="0">
                      <a:pos x="140" y="60"/>
                    </a:cxn>
                    <a:cxn ang="0">
                      <a:pos x="140" y="52"/>
                    </a:cxn>
                    <a:cxn ang="0">
                      <a:pos x="150" y="42"/>
                    </a:cxn>
                    <a:cxn ang="0">
                      <a:pos x="148" y="36"/>
                    </a:cxn>
                    <a:cxn ang="0">
                      <a:pos x="140" y="32"/>
                    </a:cxn>
                    <a:cxn ang="0">
                      <a:pos x="122" y="24"/>
                    </a:cxn>
                    <a:cxn ang="0">
                      <a:pos x="100" y="22"/>
                    </a:cxn>
                    <a:cxn ang="0">
                      <a:pos x="82" y="14"/>
                    </a:cxn>
                    <a:cxn ang="0">
                      <a:pos x="68" y="8"/>
                    </a:cxn>
                    <a:cxn ang="0">
                      <a:pos x="42" y="0"/>
                    </a:cxn>
                    <a:cxn ang="0">
                      <a:pos x="18" y="0"/>
                    </a:cxn>
                    <a:cxn ang="0">
                      <a:pos x="8" y="8"/>
                    </a:cxn>
                    <a:cxn ang="0">
                      <a:pos x="8" y="14"/>
                    </a:cxn>
                    <a:cxn ang="0">
                      <a:pos x="10" y="20"/>
                    </a:cxn>
                    <a:cxn ang="0">
                      <a:pos x="6" y="28"/>
                    </a:cxn>
                    <a:cxn ang="0">
                      <a:pos x="0" y="30"/>
                    </a:cxn>
                    <a:cxn ang="0">
                      <a:pos x="14" y="38"/>
                    </a:cxn>
                  </a:cxnLst>
                  <a:rect l="0" t="0" r="r" b="b"/>
                  <a:pathLst>
                    <a:path w="150" h="86">
                      <a:moveTo>
                        <a:pt x="14" y="38"/>
                      </a:moveTo>
                      <a:lnTo>
                        <a:pt x="14" y="38"/>
                      </a:lnTo>
                      <a:lnTo>
                        <a:pt x="20" y="42"/>
                      </a:lnTo>
                      <a:lnTo>
                        <a:pt x="22" y="44"/>
                      </a:lnTo>
                      <a:lnTo>
                        <a:pt x="28" y="48"/>
                      </a:lnTo>
                      <a:lnTo>
                        <a:pt x="44" y="54"/>
                      </a:lnTo>
                      <a:lnTo>
                        <a:pt x="44" y="54"/>
                      </a:lnTo>
                      <a:lnTo>
                        <a:pt x="50" y="56"/>
                      </a:lnTo>
                      <a:lnTo>
                        <a:pt x="52" y="58"/>
                      </a:lnTo>
                      <a:lnTo>
                        <a:pt x="52" y="58"/>
                      </a:lnTo>
                      <a:lnTo>
                        <a:pt x="48" y="62"/>
                      </a:lnTo>
                      <a:lnTo>
                        <a:pt x="42" y="64"/>
                      </a:lnTo>
                      <a:lnTo>
                        <a:pt x="32" y="66"/>
                      </a:lnTo>
                      <a:lnTo>
                        <a:pt x="32" y="68"/>
                      </a:lnTo>
                      <a:lnTo>
                        <a:pt x="34" y="68"/>
                      </a:lnTo>
                      <a:lnTo>
                        <a:pt x="40" y="68"/>
                      </a:lnTo>
                      <a:lnTo>
                        <a:pt x="40" y="68"/>
                      </a:lnTo>
                      <a:lnTo>
                        <a:pt x="50" y="70"/>
                      </a:lnTo>
                      <a:lnTo>
                        <a:pt x="54" y="74"/>
                      </a:lnTo>
                      <a:lnTo>
                        <a:pt x="56" y="76"/>
                      </a:lnTo>
                      <a:lnTo>
                        <a:pt x="58" y="80"/>
                      </a:lnTo>
                      <a:lnTo>
                        <a:pt x="60" y="84"/>
                      </a:lnTo>
                      <a:lnTo>
                        <a:pt x="62" y="86"/>
                      </a:lnTo>
                      <a:lnTo>
                        <a:pt x="66" y="86"/>
                      </a:lnTo>
                      <a:lnTo>
                        <a:pt x="74" y="82"/>
                      </a:lnTo>
                      <a:lnTo>
                        <a:pt x="74" y="82"/>
                      </a:lnTo>
                      <a:lnTo>
                        <a:pt x="86" y="78"/>
                      </a:lnTo>
                      <a:lnTo>
                        <a:pt x="98" y="76"/>
                      </a:lnTo>
                      <a:lnTo>
                        <a:pt x="122" y="72"/>
                      </a:lnTo>
                      <a:lnTo>
                        <a:pt x="132" y="70"/>
                      </a:lnTo>
                      <a:lnTo>
                        <a:pt x="138" y="68"/>
                      </a:lnTo>
                      <a:lnTo>
                        <a:pt x="142" y="64"/>
                      </a:lnTo>
                      <a:lnTo>
                        <a:pt x="140" y="60"/>
                      </a:lnTo>
                      <a:lnTo>
                        <a:pt x="140" y="60"/>
                      </a:lnTo>
                      <a:lnTo>
                        <a:pt x="138" y="54"/>
                      </a:lnTo>
                      <a:lnTo>
                        <a:pt x="140" y="52"/>
                      </a:lnTo>
                      <a:lnTo>
                        <a:pt x="146" y="46"/>
                      </a:lnTo>
                      <a:lnTo>
                        <a:pt x="150" y="42"/>
                      </a:lnTo>
                      <a:lnTo>
                        <a:pt x="150" y="40"/>
                      </a:lnTo>
                      <a:lnTo>
                        <a:pt x="148" y="36"/>
                      </a:lnTo>
                      <a:lnTo>
                        <a:pt x="140" y="32"/>
                      </a:lnTo>
                      <a:lnTo>
                        <a:pt x="140" y="32"/>
                      </a:lnTo>
                      <a:lnTo>
                        <a:pt x="128" y="26"/>
                      </a:lnTo>
                      <a:lnTo>
                        <a:pt x="122" y="24"/>
                      </a:lnTo>
                      <a:lnTo>
                        <a:pt x="110" y="24"/>
                      </a:lnTo>
                      <a:lnTo>
                        <a:pt x="100" y="22"/>
                      </a:lnTo>
                      <a:lnTo>
                        <a:pt x="92" y="20"/>
                      </a:lnTo>
                      <a:lnTo>
                        <a:pt x="82" y="14"/>
                      </a:lnTo>
                      <a:lnTo>
                        <a:pt x="82" y="14"/>
                      </a:lnTo>
                      <a:lnTo>
                        <a:pt x="68" y="8"/>
                      </a:lnTo>
                      <a:lnTo>
                        <a:pt x="56" y="2"/>
                      </a:lnTo>
                      <a:lnTo>
                        <a:pt x="42" y="0"/>
                      </a:lnTo>
                      <a:lnTo>
                        <a:pt x="30" y="0"/>
                      </a:lnTo>
                      <a:lnTo>
                        <a:pt x="18" y="0"/>
                      </a:lnTo>
                      <a:lnTo>
                        <a:pt x="10" y="4"/>
                      </a:lnTo>
                      <a:lnTo>
                        <a:pt x="8" y="8"/>
                      </a:lnTo>
                      <a:lnTo>
                        <a:pt x="8" y="12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10" y="20"/>
                      </a:lnTo>
                      <a:lnTo>
                        <a:pt x="10" y="24"/>
                      </a:lnTo>
                      <a:lnTo>
                        <a:pt x="6" y="28"/>
                      </a:lnTo>
                      <a:lnTo>
                        <a:pt x="2" y="30"/>
                      </a:lnTo>
                      <a:lnTo>
                        <a:pt x="0" y="30"/>
                      </a:lnTo>
                      <a:lnTo>
                        <a:pt x="0" y="32"/>
                      </a:lnTo>
                      <a:lnTo>
                        <a:pt x="14" y="38"/>
                      </a:lnTo>
                      <a:lnTo>
                        <a:pt x="14" y="3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84" name="Freeform 6033">
                  <a:extLst>
                    <a:ext uri="{FF2B5EF4-FFF2-40B4-BE49-F238E27FC236}">
                      <a16:creationId xmlns:a16="http://schemas.microsoft.com/office/drawing/2014/main" id="{05D7C847-8C69-44FA-82C8-3738C81773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6430" y="1806893"/>
                  <a:ext cx="15240" cy="8890"/>
                </a:xfrm>
                <a:custGeom>
                  <a:avLst/>
                  <a:gdLst/>
                  <a:ahLst/>
                  <a:cxnLst>
                    <a:cxn ang="0">
                      <a:pos x="14" y="0"/>
                    </a:cxn>
                    <a:cxn ang="0">
                      <a:pos x="14" y="0"/>
                    </a:cxn>
                    <a:cxn ang="0">
                      <a:pos x="6" y="0"/>
                    </a:cxn>
                    <a:cxn ang="0">
                      <a:pos x="2" y="2"/>
                    </a:cxn>
                    <a:cxn ang="0">
                      <a:pos x="0" y="6"/>
                    </a:cxn>
                    <a:cxn ang="0">
                      <a:pos x="2" y="12"/>
                    </a:cxn>
                    <a:cxn ang="0">
                      <a:pos x="2" y="12"/>
                    </a:cxn>
                    <a:cxn ang="0">
                      <a:pos x="4" y="14"/>
                    </a:cxn>
                    <a:cxn ang="0">
                      <a:pos x="8" y="14"/>
                    </a:cxn>
                    <a:cxn ang="0">
                      <a:pos x="20" y="8"/>
                    </a:cxn>
                    <a:cxn ang="0">
                      <a:pos x="20" y="8"/>
                    </a:cxn>
                    <a:cxn ang="0">
                      <a:pos x="24" y="6"/>
                    </a:cxn>
                    <a:cxn ang="0">
                      <a:pos x="24" y="4"/>
                    </a:cxn>
                    <a:cxn ang="0">
                      <a:pos x="20" y="2"/>
                    </a:cxn>
                    <a:cxn ang="0">
                      <a:pos x="14" y="0"/>
                    </a:cxn>
                    <a:cxn ang="0">
                      <a:pos x="14" y="0"/>
                    </a:cxn>
                  </a:cxnLst>
                  <a:rect l="0" t="0" r="r" b="b"/>
                  <a:pathLst>
                    <a:path w="24" h="14">
                      <a:moveTo>
                        <a:pt x="14" y="0"/>
                      </a:moveTo>
                      <a:lnTo>
                        <a:pt x="14" y="0"/>
                      </a:lnTo>
                      <a:lnTo>
                        <a:pt x="6" y="0"/>
                      </a:lnTo>
                      <a:lnTo>
                        <a:pt x="2" y="2"/>
                      </a:lnTo>
                      <a:lnTo>
                        <a:pt x="0" y="6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4" y="14"/>
                      </a:lnTo>
                      <a:lnTo>
                        <a:pt x="8" y="14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4" y="6"/>
                      </a:lnTo>
                      <a:lnTo>
                        <a:pt x="24" y="4"/>
                      </a:lnTo>
                      <a:lnTo>
                        <a:pt x="20" y="2"/>
                      </a:lnTo>
                      <a:lnTo>
                        <a:pt x="14" y="0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85" name="Freeform 6037">
                  <a:extLst>
                    <a:ext uri="{FF2B5EF4-FFF2-40B4-BE49-F238E27FC236}">
                      <a16:creationId xmlns:a16="http://schemas.microsoft.com/office/drawing/2014/main" id="{44F1077B-858D-47E0-9B05-047E1748A6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5950" y="1811973"/>
                  <a:ext cx="24130" cy="22860"/>
                </a:xfrm>
                <a:custGeom>
                  <a:avLst/>
                  <a:gdLst/>
                  <a:ahLst/>
                  <a:cxnLst>
                    <a:cxn ang="0">
                      <a:pos x="28" y="2"/>
                    </a:cxn>
                    <a:cxn ang="0">
                      <a:pos x="28" y="2"/>
                    </a:cxn>
                    <a:cxn ang="0">
                      <a:pos x="18" y="16"/>
                    </a:cxn>
                    <a:cxn ang="0">
                      <a:pos x="0" y="34"/>
                    </a:cxn>
                    <a:cxn ang="0">
                      <a:pos x="0" y="34"/>
                    </a:cxn>
                    <a:cxn ang="0">
                      <a:pos x="0" y="36"/>
                    </a:cxn>
                    <a:cxn ang="0">
                      <a:pos x="4" y="36"/>
                    </a:cxn>
                    <a:cxn ang="0">
                      <a:pos x="16" y="32"/>
                    </a:cxn>
                    <a:cxn ang="0">
                      <a:pos x="16" y="32"/>
                    </a:cxn>
                    <a:cxn ang="0">
                      <a:pos x="20" y="30"/>
                    </a:cxn>
                    <a:cxn ang="0">
                      <a:pos x="22" y="26"/>
                    </a:cxn>
                    <a:cxn ang="0">
                      <a:pos x="26" y="20"/>
                    </a:cxn>
                    <a:cxn ang="0">
                      <a:pos x="32" y="12"/>
                    </a:cxn>
                    <a:cxn ang="0">
                      <a:pos x="32" y="12"/>
                    </a:cxn>
                    <a:cxn ang="0">
                      <a:pos x="36" y="4"/>
                    </a:cxn>
                    <a:cxn ang="0">
                      <a:pos x="38" y="2"/>
                    </a:cxn>
                    <a:cxn ang="0">
                      <a:pos x="36" y="0"/>
                    </a:cxn>
                    <a:cxn ang="0">
                      <a:pos x="32" y="0"/>
                    </a:cxn>
                    <a:cxn ang="0">
                      <a:pos x="28" y="2"/>
                    </a:cxn>
                    <a:cxn ang="0">
                      <a:pos x="28" y="2"/>
                    </a:cxn>
                  </a:cxnLst>
                  <a:rect l="0" t="0" r="r" b="b"/>
                  <a:pathLst>
                    <a:path w="38" h="36">
                      <a:moveTo>
                        <a:pt x="28" y="2"/>
                      </a:moveTo>
                      <a:lnTo>
                        <a:pt x="28" y="2"/>
                      </a:lnTo>
                      <a:lnTo>
                        <a:pt x="18" y="16"/>
                      </a:lnTo>
                      <a:lnTo>
                        <a:pt x="0" y="34"/>
                      </a:lnTo>
                      <a:lnTo>
                        <a:pt x="0" y="34"/>
                      </a:lnTo>
                      <a:lnTo>
                        <a:pt x="0" y="36"/>
                      </a:lnTo>
                      <a:lnTo>
                        <a:pt x="4" y="36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20" y="30"/>
                      </a:lnTo>
                      <a:lnTo>
                        <a:pt x="22" y="26"/>
                      </a:lnTo>
                      <a:lnTo>
                        <a:pt x="26" y="20"/>
                      </a:lnTo>
                      <a:lnTo>
                        <a:pt x="32" y="12"/>
                      </a:lnTo>
                      <a:lnTo>
                        <a:pt x="32" y="12"/>
                      </a:lnTo>
                      <a:lnTo>
                        <a:pt x="36" y="4"/>
                      </a:lnTo>
                      <a:lnTo>
                        <a:pt x="38" y="2"/>
                      </a:lnTo>
                      <a:lnTo>
                        <a:pt x="36" y="0"/>
                      </a:lnTo>
                      <a:lnTo>
                        <a:pt x="32" y="0"/>
                      </a:lnTo>
                      <a:lnTo>
                        <a:pt x="28" y="2"/>
                      </a:lnTo>
                      <a:lnTo>
                        <a:pt x="28" y="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86" name="Freeform 6054">
                  <a:extLst>
                    <a:ext uri="{FF2B5EF4-FFF2-40B4-BE49-F238E27FC236}">
                      <a16:creationId xmlns:a16="http://schemas.microsoft.com/office/drawing/2014/main" id="{4BB69463-1948-4678-AB90-C267865E43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5730" y="1058863"/>
                  <a:ext cx="317500" cy="121920"/>
                </a:xfrm>
                <a:custGeom>
                  <a:avLst/>
                  <a:gdLst/>
                  <a:ahLst/>
                  <a:cxnLst>
                    <a:cxn ang="0">
                      <a:pos x="314" y="78"/>
                    </a:cxn>
                    <a:cxn ang="0">
                      <a:pos x="338" y="86"/>
                    </a:cxn>
                    <a:cxn ang="0">
                      <a:pos x="354" y="100"/>
                    </a:cxn>
                    <a:cxn ang="0">
                      <a:pos x="340" y="106"/>
                    </a:cxn>
                    <a:cxn ang="0">
                      <a:pos x="280" y="102"/>
                    </a:cxn>
                    <a:cxn ang="0">
                      <a:pos x="258" y="102"/>
                    </a:cxn>
                    <a:cxn ang="0">
                      <a:pos x="236" y="72"/>
                    </a:cxn>
                    <a:cxn ang="0">
                      <a:pos x="186" y="46"/>
                    </a:cxn>
                    <a:cxn ang="0">
                      <a:pos x="154" y="54"/>
                    </a:cxn>
                    <a:cxn ang="0">
                      <a:pos x="138" y="36"/>
                    </a:cxn>
                    <a:cxn ang="0">
                      <a:pos x="102" y="32"/>
                    </a:cxn>
                    <a:cxn ang="0">
                      <a:pos x="42" y="58"/>
                    </a:cxn>
                    <a:cxn ang="0">
                      <a:pos x="46" y="66"/>
                    </a:cxn>
                    <a:cxn ang="0">
                      <a:pos x="22" y="88"/>
                    </a:cxn>
                    <a:cxn ang="0">
                      <a:pos x="24" y="98"/>
                    </a:cxn>
                    <a:cxn ang="0">
                      <a:pos x="14" y="110"/>
                    </a:cxn>
                    <a:cxn ang="0">
                      <a:pos x="6" y="132"/>
                    </a:cxn>
                    <a:cxn ang="0">
                      <a:pos x="66" y="146"/>
                    </a:cxn>
                    <a:cxn ang="0">
                      <a:pos x="94" y="138"/>
                    </a:cxn>
                    <a:cxn ang="0">
                      <a:pos x="106" y="146"/>
                    </a:cxn>
                    <a:cxn ang="0">
                      <a:pos x="124" y="148"/>
                    </a:cxn>
                    <a:cxn ang="0">
                      <a:pos x="144" y="126"/>
                    </a:cxn>
                    <a:cxn ang="0">
                      <a:pos x="152" y="130"/>
                    </a:cxn>
                    <a:cxn ang="0">
                      <a:pos x="158" y="140"/>
                    </a:cxn>
                    <a:cxn ang="0">
                      <a:pos x="232" y="132"/>
                    </a:cxn>
                    <a:cxn ang="0">
                      <a:pos x="264" y="134"/>
                    </a:cxn>
                    <a:cxn ang="0">
                      <a:pos x="212" y="148"/>
                    </a:cxn>
                    <a:cxn ang="0">
                      <a:pos x="144" y="160"/>
                    </a:cxn>
                    <a:cxn ang="0">
                      <a:pos x="134" y="176"/>
                    </a:cxn>
                    <a:cxn ang="0">
                      <a:pos x="166" y="190"/>
                    </a:cxn>
                    <a:cxn ang="0">
                      <a:pos x="234" y="184"/>
                    </a:cxn>
                    <a:cxn ang="0">
                      <a:pos x="296" y="164"/>
                    </a:cxn>
                    <a:cxn ang="0">
                      <a:pos x="350" y="146"/>
                    </a:cxn>
                    <a:cxn ang="0">
                      <a:pos x="378" y="152"/>
                    </a:cxn>
                    <a:cxn ang="0">
                      <a:pos x="394" y="144"/>
                    </a:cxn>
                    <a:cxn ang="0">
                      <a:pos x="420" y="150"/>
                    </a:cxn>
                    <a:cxn ang="0">
                      <a:pos x="460" y="138"/>
                    </a:cxn>
                    <a:cxn ang="0">
                      <a:pos x="492" y="106"/>
                    </a:cxn>
                    <a:cxn ang="0">
                      <a:pos x="498" y="84"/>
                    </a:cxn>
                    <a:cxn ang="0">
                      <a:pos x="470" y="68"/>
                    </a:cxn>
                    <a:cxn ang="0">
                      <a:pos x="436" y="70"/>
                    </a:cxn>
                    <a:cxn ang="0">
                      <a:pos x="398" y="80"/>
                    </a:cxn>
                    <a:cxn ang="0">
                      <a:pos x="400" y="68"/>
                    </a:cxn>
                    <a:cxn ang="0">
                      <a:pos x="384" y="60"/>
                    </a:cxn>
                    <a:cxn ang="0">
                      <a:pos x="384" y="52"/>
                    </a:cxn>
                    <a:cxn ang="0">
                      <a:pos x="382" y="40"/>
                    </a:cxn>
                    <a:cxn ang="0">
                      <a:pos x="370" y="18"/>
                    </a:cxn>
                    <a:cxn ang="0">
                      <a:pos x="358" y="0"/>
                    </a:cxn>
                    <a:cxn ang="0">
                      <a:pos x="300" y="28"/>
                    </a:cxn>
                    <a:cxn ang="0">
                      <a:pos x="290" y="40"/>
                    </a:cxn>
                    <a:cxn ang="0">
                      <a:pos x="318" y="54"/>
                    </a:cxn>
                    <a:cxn ang="0">
                      <a:pos x="328" y="66"/>
                    </a:cxn>
                  </a:cxnLst>
                  <a:rect l="0" t="0" r="r" b="b"/>
                  <a:pathLst>
                    <a:path w="500" h="192">
                      <a:moveTo>
                        <a:pt x="322" y="70"/>
                      </a:moveTo>
                      <a:lnTo>
                        <a:pt x="322" y="70"/>
                      </a:lnTo>
                      <a:lnTo>
                        <a:pt x="316" y="76"/>
                      </a:lnTo>
                      <a:lnTo>
                        <a:pt x="314" y="78"/>
                      </a:lnTo>
                      <a:lnTo>
                        <a:pt x="316" y="80"/>
                      </a:lnTo>
                      <a:lnTo>
                        <a:pt x="320" y="82"/>
                      </a:lnTo>
                      <a:lnTo>
                        <a:pt x="330" y="84"/>
                      </a:lnTo>
                      <a:lnTo>
                        <a:pt x="338" y="86"/>
                      </a:lnTo>
                      <a:lnTo>
                        <a:pt x="348" y="90"/>
                      </a:lnTo>
                      <a:lnTo>
                        <a:pt x="354" y="94"/>
                      </a:lnTo>
                      <a:lnTo>
                        <a:pt x="356" y="96"/>
                      </a:lnTo>
                      <a:lnTo>
                        <a:pt x="354" y="100"/>
                      </a:lnTo>
                      <a:lnTo>
                        <a:pt x="354" y="100"/>
                      </a:lnTo>
                      <a:lnTo>
                        <a:pt x="352" y="104"/>
                      </a:lnTo>
                      <a:lnTo>
                        <a:pt x="346" y="108"/>
                      </a:lnTo>
                      <a:lnTo>
                        <a:pt x="340" y="106"/>
                      </a:lnTo>
                      <a:lnTo>
                        <a:pt x="332" y="106"/>
                      </a:lnTo>
                      <a:lnTo>
                        <a:pt x="310" y="102"/>
                      </a:lnTo>
                      <a:lnTo>
                        <a:pt x="296" y="100"/>
                      </a:lnTo>
                      <a:lnTo>
                        <a:pt x="280" y="102"/>
                      </a:lnTo>
                      <a:lnTo>
                        <a:pt x="280" y="102"/>
                      </a:lnTo>
                      <a:lnTo>
                        <a:pt x="268" y="104"/>
                      </a:lnTo>
                      <a:lnTo>
                        <a:pt x="260" y="104"/>
                      </a:lnTo>
                      <a:lnTo>
                        <a:pt x="258" y="102"/>
                      </a:lnTo>
                      <a:lnTo>
                        <a:pt x="256" y="98"/>
                      </a:lnTo>
                      <a:lnTo>
                        <a:pt x="252" y="90"/>
                      </a:lnTo>
                      <a:lnTo>
                        <a:pt x="246" y="82"/>
                      </a:lnTo>
                      <a:lnTo>
                        <a:pt x="236" y="72"/>
                      </a:lnTo>
                      <a:lnTo>
                        <a:pt x="220" y="60"/>
                      </a:lnTo>
                      <a:lnTo>
                        <a:pt x="220" y="60"/>
                      </a:lnTo>
                      <a:lnTo>
                        <a:pt x="200" y="50"/>
                      </a:lnTo>
                      <a:lnTo>
                        <a:pt x="186" y="46"/>
                      </a:lnTo>
                      <a:lnTo>
                        <a:pt x="174" y="46"/>
                      </a:lnTo>
                      <a:lnTo>
                        <a:pt x="166" y="50"/>
                      </a:lnTo>
                      <a:lnTo>
                        <a:pt x="160" y="52"/>
                      </a:lnTo>
                      <a:lnTo>
                        <a:pt x="154" y="54"/>
                      </a:lnTo>
                      <a:lnTo>
                        <a:pt x="150" y="52"/>
                      </a:lnTo>
                      <a:lnTo>
                        <a:pt x="144" y="44"/>
                      </a:lnTo>
                      <a:lnTo>
                        <a:pt x="144" y="44"/>
                      </a:lnTo>
                      <a:lnTo>
                        <a:pt x="138" y="36"/>
                      </a:lnTo>
                      <a:lnTo>
                        <a:pt x="130" y="30"/>
                      </a:lnTo>
                      <a:lnTo>
                        <a:pt x="122" y="30"/>
                      </a:lnTo>
                      <a:lnTo>
                        <a:pt x="112" y="30"/>
                      </a:lnTo>
                      <a:lnTo>
                        <a:pt x="102" y="32"/>
                      </a:lnTo>
                      <a:lnTo>
                        <a:pt x="88" y="38"/>
                      </a:lnTo>
                      <a:lnTo>
                        <a:pt x="60" y="50"/>
                      </a:lnTo>
                      <a:lnTo>
                        <a:pt x="60" y="50"/>
                      </a:lnTo>
                      <a:lnTo>
                        <a:pt x="42" y="58"/>
                      </a:lnTo>
                      <a:lnTo>
                        <a:pt x="40" y="60"/>
                      </a:lnTo>
                      <a:lnTo>
                        <a:pt x="42" y="60"/>
                      </a:lnTo>
                      <a:lnTo>
                        <a:pt x="44" y="64"/>
                      </a:lnTo>
                      <a:lnTo>
                        <a:pt x="46" y="66"/>
                      </a:lnTo>
                      <a:lnTo>
                        <a:pt x="42" y="72"/>
                      </a:lnTo>
                      <a:lnTo>
                        <a:pt x="32" y="80"/>
                      </a:lnTo>
                      <a:lnTo>
                        <a:pt x="32" y="80"/>
                      </a:lnTo>
                      <a:lnTo>
                        <a:pt x="22" y="88"/>
                      </a:lnTo>
                      <a:lnTo>
                        <a:pt x="20" y="94"/>
                      </a:lnTo>
                      <a:lnTo>
                        <a:pt x="20" y="96"/>
                      </a:lnTo>
                      <a:lnTo>
                        <a:pt x="22" y="98"/>
                      </a:lnTo>
                      <a:lnTo>
                        <a:pt x="24" y="98"/>
                      </a:lnTo>
                      <a:lnTo>
                        <a:pt x="26" y="100"/>
                      </a:lnTo>
                      <a:lnTo>
                        <a:pt x="22" y="104"/>
                      </a:lnTo>
                      <a:lnTo>
                        <a:pt x="14" y="110"/>
                      </a:lnTo>
                      <a:lnTo>
                        <a:pt x="14" y="110"/>
                      </a:lnTo>
                      <a:lnTo>
                        <a:pt x="4" y="118"/>
                      </a:lnTo>
                      <a:lnTo>
                        <a:pt x="0" y="124"/>
                      </a:lnTo>
                      <a:lnTo>
                        <a:pt x="2" y="128"/>
                      </a:lnTo>
                      <a:lnTo>
                        <a:pt x="6" y="132"/>
                      </a:lnTo>
                      <a:lnTo>
                        <a:pt x="26" y="138"/>
                      </a:lnTo>
                      <a:lnTo>
                        <a:pt x="54" y="144"/>
                      </a:lnTo>
                      <a:lnTo>
                        <a:pt x="54" y="144"/>
                      </a:lnTo>
                      <a:lnTo>
                        <a:pt x="66" y="146"/>
                      </a:lnTo>
                      <a:lnTo>
                        <a:pt x="76" y="146"/>
                      </a:lnTo>
                      <a:lnTo>
                        <a:pt x="84" y="144"/>
                      </a:lnTo>
                      <a:lnTo>
                        <a:pt x="88" y="142"/>
                      </a:lnTo>
                      <a:lnTo>
                        <a:pt x="94" y="138"/>
                      </a:lnTo>
                      <a:lnTo>
                        <a:pt x="96" y="136"/>
                      </a:lnTo>
                      <a:lnTo>
                        <a:pt x="98" y="140"/>
                      </a:lnTo>
                      <a:lnTo>
                        <a:pt x="98" y="140"/>
                      </a:lnTo>
                      <a:lnTo>
                        <a:pt x="106" y="146"/>
                      </a:lnTo>
                      <a:lnTo>
                        <a:pt x="110" y="148"/>
                      </a:lnTo>
                      <a:lnTo>
                        <a:pt x="114" y="150"/>
                      </a:lnTo>
                      <a:lnTo>
                        <a:pt x="118" y="150"/>
                      </a:lnTo>
                      <a:lnTo>
                        <a:pt x="124" y="148"/>
                      </a:lnTo>
                      <a:lnTo>
                        <a:pt x="128" y="144"/>
                      </a:lnTo>
                      <a:lnTo>
                        <a:pt x="134" y="138"/>
                      </a:lnTo>
                      <a:lnTo>
                        <a:pt x="134" y="138"/>
                      </a:lnTo>
                      <a:lnTo>
                        <a:pt x="144" y="126"/>
                      </a:lnTo>
                      <a:lnTo>
                        <a:pt x="150" y="122"/>
                      </a:lnTo>
                      <a:lnTo>
                        <a:pt x="152" y="122"/>
                      </a:lnTo>
                      <a:lnTo>
                        <a:pt x="154" y="124"/>
                      </a:lnTo>
                      <a:lnTo>
                        <a:pt x="152" y="130"/>
                      </a:lnTo>
                      <a:lnTo>
                        <a:pt x="152" y="130"/>
                      </a:lnTo>
                      <a:lnTo>
                        <a:pt x="150" y="134"/>
                      </a:lnTo>
                      <a:lnTo>
                        <a:pt x="154" y="138"/>
                      </a:lnTo>
                      <a:lnTo>
                        <a:pt x="158" y="140"/>
                      </a:lnTo>
                      <a:lnTo>
                        <a:pt x="166" y="142"/>
                      </a:lnTo>
                      <a:lnTo>
                        <a:pt x="192" y="140"/>
                      </a:lnTo>
                      <a:lnTo>
                        <a:pt x="232" y="132"/>
                      </a:lnTo>
                      <a:lnTo>
                        <a:pt x="232" y="132"/>
                      </a:lnTo>
                      <a:lnTo>
                        <a:pt x="252" y="130"/>
                      </a:lnTo>
                      <a:lnTo>
                        <a:pt x="262" y="130"/>
                      </a:lnTo>
                      <a:lnTo>
                        <a:pt x="266" y="130"/>
                      </a:lnTo>
                      <a:lnTo>
                        <a:pt x="264" y="134"/>
                      </a:lnTo>
                      <a:lnTo>
                        <a:pt x="256" y="138"/>
                      </a:lnTo>
                      <a:lnTo>
                        <a:pt x="244" y="142"/>
                      </a:lnTo>
                      <a:lnTo>
                        <a:pt x="228" y="144"/>
                      </a:lnTo>
                      <a:lnTo>
                        <a:pt x="212" y="148"/>
                      </a:lnTo>
                      <a:lnTo>
                        <a:pt x="212" y="148"/>
                      </a:lnTo>
                      <a:lnTo>
                        <a:pt x="176" y="152"/>
                      </a:lnTo>
                      <a:lnTo>
                        <a:pt x="158" y="156"/>
                      </a:lnTo>
                      <a:lnTo>
                        <a:pt x="144" y="160"/>
                      </a:lnTo>
                      <a:lnTo>
                        <a:pt x="136" y="166"/>
                      </a:lnTo>
                      <a:lnTo>
                        <a:pt x="134" y="168"/>
                      </a:lnTo>
                      <a:lnTo>
                        <a:pt x="134" y="172"/>
                      </a:lnTo>
                      <a:lnTo>
                        <a:pt x="134" y="176"/>
                      </a:lnTo>
                      <a:lnTo>
                        <a:pt x="138" y="178"/>
                      </a:lnTo>
                      <a:lnTo>
                        <a:pt x="152" y="186"/>
                      </a:lnTo>
                      <a:lnTo>
                        <a:pt x="152" y="186"/>
                      </a:lnTo>
                      <a:lnTo>
                        <a:pt x="166" y="190"/>
                      </a:lnTo>
                      <a:lnTo>
                        <a:pt x="178" y="192"/>
                      </a:lnTo>
                      <a:lnTo>
                        <a:pt x="192" y="192"/>
                      </a:lnTo>
                      <a:lnTo>
                        <a:pt x="206" y="190"/>
                      </a:lnTo>
                      <a:lnTo>
                        <a:pt x="234" y="184"/>
                      </a:lnTo>
                      <a:lnTo>
                        <a:pt x="266" y="174"/>
                      </a:lnTo>
                      <a:lnTo>
                        <a:pt x="266" y="174"/>
                      </a:lnTo>
                      <a:lnTo>
                        <a:pt x="282" y="170"/>
                      </a:lnTo>
                      <a:lnTo>
                        <a:pt x="296" y="164"/>
                      </a:lnTo>
                      <a:lnTo>
                        <a:pt x="318" y="154"/>
                      </a:lnTo>
                      <a:lnTo>
                        <a:pt x="328" y="150"/>
                      </a:lnTo>
                      <a:lnTo>
                        <a:pt x="338" y="146"/>
                      </a:lnTo>
                      <a:lnTo>
                        <a:pt x="350" y="146"/>
                      </a:lnTo>
                      <a:lnTo>
                        <a:pt x="360" y="148"/>
                      </a:lnTo>
                      <a:lnTo>
                        <a:pt x="360" y="148"/>
                      </a:lnTo>
                      <a:lnTo>
                        <a:pt x="370" y="150"/>
                      </a:lnTo>
                      <a:lnTo>
                        <a:pt x="378" y="152"/>
                      </a:lnTo>
                      <a:lnTo>
                        <a:pt x="382" y="150"/>
                      </a:lnTo>
                      <a:lnTo>
                        <a:pt x="386" y="148"/>
                      </a:lnTo>
                      <a:lnTo>
                        <a:pt x="388" y="146"/>
                      </a:lnTo>
                      <a:lnTo>
                        <a:pt x="394" y="144"/>
                      </a:lnTo>
                      <a:lnTo>
                        <a:pt x="400" y="144"/>
                      </a:lnTo>
                      <a:lnTo>
                        <a:pt x="410" y="146"/>
                      </a:lnTo>
                      <a:lnTo>
                        <a:pt x="410" y="146"/>
                      </a:lnTo>
                      <a:lnTo>
                        <a:pt x="420" y="150"/>
                      </a:lnTo>
                      <a:lnTo>
                        <a:pt x="430" y="150"/>
                      </a:lnTo>
                      <a:lnTo>
                        <a:pt x="440" y="148"/>
                      </a:lnTo>
                      <a:lnTo>
                        <a:pt x="450" y="144"/>
                      </a:lnTo>
                      <a:lnTo>
                        <a:pt x="460" y="138"/>
                      </a:lnTo>
                      <a:lnTo>
                        <a:pt x="470" y="130"/>
                      </a:lnTo>
                      <a:lnTo>
                        <a:pt x="482" y="120"/>
                      </a:lnTo>
                      <a:lnTo>
                        <a:pt x="492" y="106"/>
                      </a:lnTo>
                      <a:lnTo>
                        <a:pt x="492" y="106"/>
                      </a:lnTo>
                      <a:lnTo>
                        <a:pt x="496" y="100"/>
                      </a:lnTo>
                      <a:lnTo>
                        <a:pt x="500" y="94"/>
                      </a:lnTo>
                      <a:lnTo>
                        <a:pt x="500" y="88"/>
                      </a:lnTo>
                      <a:lnTo>
                        <a:pt x="498" y="84"/>
                      </a:lnTo>
                      <a:lnTo>
                        <a:pt x="496" y="80"/>
                      </a:lnTo>
                      <a:lnTo>
                        <a:pt x="492" y="76"/>
                      </a:lnTo>
                      <a:lnTo>
                        <a:pt x="482" y="70"/>
                      </a:lnTo>
                      <a:lnTo>
                        <a:pt x="470" y="68"/>
                      </a:lnTo>
                      <a:lnTo>
                        <a:pt x="456" y="66"/>
                      </a:lnTo>
                      <a:lnTo>
                        <a:pt x="444" y="68"/>
                      </a:lnTo>
                      <a:lnTo>
                        <a:pt x="436" y="70"/>
                      </a:lnTo>
                      <a:lnTo>
                        <a:pt x="436" y="70"/>
                      </a:lnTo>
                      <a:lnTo>
                        <a:pt x="420" y="76"/>
                      </a:lnTo>
                      <a:lnTo>
                        <a:pt x="406" y="80"/>
                      </a:lnTo>
                      <a:lnTo>
                        <a:pt x="402" y="82"/>
                      </a:lnTo>
                      <a:lnTo>
                        <a:pt x="398" y="80"/>
                      </a:lnTo>
                      <a:lnTo>
                        <a:pt x="398" y="78"/>
                      </a:lnTo>
                      <a:lnTo>
                        <a:pt x="400" y="72"/>
                      </a:lnTo>
                      <a:lnTo>
                        <a:pt x="400" y="72"/>
                      </a:lnTo>
                      <a:lnTo>
                        <a:pt x="400" y="68"/>
                      </a:lnTo>
                      <a:lnTo>
                        <a:pt x="398" y="64"/>
                      </a:lnTo>
                      <a:lnTo>
                        <a:pt x="394" y="62"/>
                      </a:lnTo>
                      <a:lnTo>
                        <a:pt x="390" y="62"/>
                      </a:lnTo>
                      <a:lnTo>
                        <a:pt x="384" y="60"/>
                      </a:lnTo>
                      <a:lnTo>
                        <a:pt x="380" y="60"/>
                      </a:lnTo>
                      <a:lnTo>
                        <a:pt x="380" y="56"/>
                      </a:lnTo>
                      <a:lnTo>
                        <a:pt x="384" y="52"/>
                      </a:lnTo>
                      <a:lnTo>
                        <a:pt x="384" y="52"/>
                      </a:lnTo>
                      <a:lnTo>
                        <a:pt x="388" y="46"/>
                      </a:lnTo>
                      <a:lnTo>
                        <a:pt x="388" y="44"/>
                      </a:lnTo>
                      <a:lnTo>
                        <a:pt x="386" y="42"/>
                      </a:lnTo>
                      <a:lnTo>
                        <a:pt x="382" y="40"/>
                      </a:lnTo>
                      <a:lnTo>
                        <a:pt x="378" y="38"/>
                      </a:lnTo>
                      <a:lnTo>
                        <a:pt x="374" y="34"/>
                      </a:lnTo>
                      <a:lnTo>
                        <a:pt x="372" y="28"/>
                      </a:lnTo>
                      <a:lnTo>
                        <a:pt x="370" y="18"/>
                      </a:lnTo>
                      <a:lnTo>
                        <a:pt x="370" y="18"/>
                      </a:lnTo>
                      <a:lnTo>
                        <a:pt x="368" y="8"/>
                      </a:lnTo>
                      <a:lnTo>
                        <a:pt x="364" y="2"/>
                      </a:lnTo>
                      <a:lnTo>
                        <a:pt x="358" y="0"/>
                      </a:lnTo>
                      <a:lnTo>
                        <a:pt x="350" y="2"/>
                      </a:lnTo>
                      <a:lnTo>
                        <a:pt x="340" y="6"/>
                      </a:lnTo>
                      <a:lnTo>
                        <a:pt x="328" y="12"/>
                      </a:lnTo>
                      <a:lnTo>
                        <a:pt x="300" y="28"/>
                      </a:lnTo>
                      <a:lnTo>
                        <a:pt x="300" y="28"/>
                      </a:lnTo>
                      <a:lnTo>
                        <a:pt x="294" y="32"/>
                      </a:lnTo>
                      <a:lnTo>
                        <a:pt x="292" y="36"/>
                      </a:lnTo>
                      <a:lnTo>
                        <a:pt x="290" y="40"/>
                      </a:lnTo>
                      <a:lnTo>
                        <a:pt x="292" y="42"/>
                      </a:lnTo>
                      <a:lnTo>
                        <a:pt x="298" y="46"/>
                      </a:lnTo>
                      <a:lnTo>
                        <a:pt x="308" y="50"/>
                      </a:lnTo>
                      <a:lnTo>
                        <a:pt x="318" y="54"/>
                      </a:lnTo>
                      <a:lnTo>
                        <a:pt x="326" y="58"/>
                      </a:lnTo>
                      <a:lnTo>
                        <a:pt x="328" y="60"/>
                      </a:lnTo>
                      <a:lnTo>
                        <a:pt x="328" y="64"/>
                      </a:lnTo>
                      <a:lnTo>
                        <a:pt x="328" y="66"/>
                      </a:lnTo>
                      <a:lnTo>
                        <a:pt x="322" y="70"/>
                      </a:lnTo>
                      <a:lnTo>
                        <a:pt x="322" y="7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87" name="Freeform 6074">
                  <a:extLst>
                    <a:ext uri="{FF2B5EF4-FFF2-40B4-BE49-F238E27FC236}">
                      <a16:creationId xmlns:a16="http://schemas.microsoft.com/office/drawing/2014/main" id="{81EE3B47-46B5-42B3-A009-5E25E4A4CA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3930" y="3139123"/>
                  <a:ext cx="278130" cy="109220"/>
                </a:xfrm>
                <a:custGeom>
                  <a:avLst/>
                  <a:gdLst/>
                  <a:ahLst/>
                  <a:cxnLst>
                    <a:cxn ang="0">
                      <a:pos x="416" y="160"/>
                    </a:cxn>
                    <a:cxn ang="0">
                      <a:pos x="436" y="156"/>
                    </a:cxn>
                    <a:cxn ang="0">
                      <a:pos x="428" y="148"/>
                    </a:cxn>
                    <a:cxn ang="0">
                      <a:pos x="414" y="136"/>
                    </a:cxn>
                    <a:cxn ang="0">
                      <a:pos x="384" y="126"/>
                    </a:cxn>
                    <a:cxn ang="0">
                      <a:pos x="374" y="120"/>
                    </a:cxn>
                    <a:cxn ang="0">
                      <a:pos x="376" y="108"/>
                    </a:cxn>
                    <a:cxn ang="0">
                      <a:pos x="358" y="106"/>
                    </a:cxn>
                    <a:cxn ang="0">
                      <a:pos x="350" y="100"/>
                    </a:cxn>
                    <a:cxn ang="0">
                      <a:pos x="338" y="100"/>
                    </a:cxn>
                    <a:cxn ang="0">
                      <a:pos x="326" y="92"/>
                    </a:cxn>
                    <a:cxn ang="0">
                      <a:pos x="300" y="68"/>
                    </a:cxn>
                    <a:cxn ang="0">
                      <a:pos x="300" y="76"/>
                    </a:cxn>
                    <a:cxn ang="0">
                      <a:pos x="292" y="64"/>
                    </a:cxn>
                    <a:cxn ang="0">
                      <a:pos x="286" y="60"/>
                    </a:cxn>
                    <a:cxn ang="0">
                      <a:pos x="260" y="48"/>
                    </a:cxn>
                    <a:cxn ang="0">
                      <a:pos x="230" y="40"/>
                    </a:cxn>
                    <a:cxn ang="0">
                      <a:pos x="216" y="28"/>
                    </a:cxn>
                    <a:cxn ang="0">
                      <a:pos x="194" y="14"/>
                    </a:cxn>
                    <a:cxn ang="0">
                      <a:pos x="180" y="8"/>
                    </a:cxn>
                    <a:cxn ang="0">
                      <a:pos x="164" y="8"/>
                    </a:cxn>
                    <a:cxn ang="0">
                      <a:pos x="150" y="0"/>
                    </a:cxn>
                    <a:cxn ang="0">
                      <a:pos x="136" y="4"/>
                    </a:cxn>
                    <a:cxn ang="0">
                      <a:pos x="112" y="0"/>
                    </a:cxn>
                    <a:cxn ang="0">
                      <a:pos x="92" y="10"/>
                    </a:cxn>
                    <a:cxn ang="0">
                      <a:pos x="56" y="18"/>
                    </a:cxn>
                    <a:cxn ang="0">
                      <a:pos x="24" y="42"/>
                    </a:cxn>
                    <a:cxn ang="0">
                      <a:pos x="24" y="58"/>
                    </a:cxn>
                    <a:cxn ang="0">
                      <a:pos x="2" y="66"/>
                    </a:cxn>
                    <a:cxn ang="0">
                      <a:pos x="4" y="72"/>
                    </a:cxn>
                    <a:cxn ang="0">
                      <a:pos x="18" y="72"/>
                    </a:cxn>
                    <a:cxn ang="0">
                      <a:pos x="24" y="72"/>
                    </a:cxn>
                    <a:cxn ang="0">
                      <a:pos x="40" y="62"/>
                    </a:cxn>
                    <a:cxn ang="0">
                      <a:pos x="70" y="44"/>
                    </a:cxn>
                    <a:cxn ang="0">
                      <a:pos x="92" y="30"/>
                    </a:cxn>
                    <a:cxn ang="0">
                      <a:pos x="132" y="32"/>
                    </a:cxn>
                    <a:cxn ang="0">
                      <a:pos x="124" y="38"/>
                    </a:cxn>
                    <a:cxn ang="0">
                      <a:pos x="118" y="46"/>
                    </a:cxn>
                    <a:cxn ang="0">
                      <a:pos x="164" y="58"/>
                    </a:cxn>
                    <a:cxn ang="0">
                      <a:pos x="186" y="62"/>
                    </a:cxn>
                    <a:cxn ang="0">
                      <a:pos x="214" y="80"/>
                    </a:cxn>
                    <a:cxn ang="0">
                      <a:pos x="242" y="84"/>
                    </a:cxn>
                    <a:cxn ang="0">
                      <a:pos x="256" y="94"/>
                    </a:cxn>
                    <a:cxn ang="0">
                      <a:pos x="268" y="120"/>
                    </a:cxn>
                    <a:cxn ang="0">
                      <a:pos x="288" y="128"/>
                    </a:cxn>
                    <a:cxn ang="0">
                      <a:pos x="318" y="136"/>
                    </a:cxn>
                    <a:cxn ang="0">
                      <a:pos x="310" y="150"/>
                    </a:cxn>
                    <a:cxn ang="0">
                      <a:pos x="290" y="168"/>
                    </a:cxn>
                    <a:cxn ang="0">
                      <a:pos x="348" y="164"/>
                    </a:cxn>
                    <a:cxn ang="0">
                      <a:pos x="382" y="170"/>
                    </a:cxn>
                    <a:cxn ang="0">
                      <a:pos x="400" y="166"/>
                    </a:cxn>
                  </a:cxnLst>
                  <a:rect l="0" t="0" r="r" b="b"/>
                  <a:pathLst>
                    <a:path w="438" h="172">
                      <a:moveTo>
                        <a:pt x="400" y="166"/>
                      </a:moveTo>
                      <a:lnTo>
                        <a:pt x="400" y="166"/>
                      </a:lnTo>
                      <a:lnTo>
                        <a:pt x="410" y="162"/>
                      </a:lnTo>
                      <a:lnTo>
                        <a:pt x="416" y="160"/>
                      </a:lnTo>
                      <a:lnTo>
                        <a:pt x="426" y="160"/>
                      </a:lnTo>
                      <a:lnTo>
                        <a:pt x="432" y="162"/>
                      </a:lnTo>
                      <a:lnTo>
                        <a:pt x="436" y="156"/>
                      </a:lnTo>
                      <a:lnTo>
                        <a:pt x="436" y="156"/>
                      </a:lnTo>
                      <a:lnTo>
                        <a:pt x="438" y="152"/>
                      </a:lnTo>
                      <a:lnTo>
                        <a:pt x="438" y="150"/>
                      </a:lnTo>
                      <a:lnTo>
                        <a:pt x="434" y="150"/>
                      </a:lnTo>
                      <a:lnTo>
                        <a:pt x="428" y="148"/>
                      </a:lnTo>
                      <a:lnTo>
                        <a:pt x="424" y="146"/>
                      </a:lnTo>
                      <a:lnTo>
                        <a:pt x="420" y="144"/>
                      </a:lnTo>
                      <a:lnTo>
                        <a:pt x="420" y="144"/>
                      </a:lnTo>
                      <a:lnTo>
                        <a:pt x="414" y="136"/>
                      </a:lnTo>
                      <a:lnTo>
                        <a:pt x="410" y="132"/>
                      </a:lnTo>
                      <a:lnTo>
                        <a:pt x="400" y="128"/>
                      </a:lnTo>
                      <a:lnTo>
                        <a:pt x="384" y="126"/>
                      </a:lnTo>
                      <a:lnTo>
                        <a:pt x="384" y="126"/>
                      </a:lnTo>
                      <a:lnTo>
                        <a:pt x="372" y="124"/>
                      </a:lnTo>
                      <a:lnTo>
                        <a:pt x="370" y="124"/>
                      </a:lnTo>
                      <a:lnTo>
                        <a:pt x="372" y="122"/>
                      </a:lnTo>
                      <a:lnTo>
                        <a:pt x="374" y="120"/>
                      </a:lnTo>
                      <a:lnTo>
                        <a:pt x="376" y="116"/>
                      </a:lnTo>
                      <a:lnTo>
                        <a:pt x="376" y="112"/>
                      </a:lnTo>
                      <a:lnTo>
                        <a:pt x="376" y="112"/>
                      </a:lnTo>
                      <a:lnTo>
                        <a:pt x="376" y="108"/>
                      </a:lnTo>
                      <a:lnTo>
                        <a:pt x="374" y="108"/>
                      </a:lnTo>
                      <a:lnTo>
                        <a:pt x="368" y="106"/>
                      </a:lnTo>
                      <a:lnTo>
                        <a:pt x="362" y="106"/>
                      </a:lnTo>
                      <a:lnTo>
                        <a:pt x="358" y="106"/>
                      </a:lnTo>
                      <a:lnTo>
                        <a:pt x="356" y="104"/>
                      </a:lnTo>
                      <a:lnTo>
                        <a:pt x="356" y="104"/>
                      </a:lnTo>
                      <a:lnTo>
                        <a:pt x="352" y="102"/>
                      </a:lnTo>
                      <a:lnTo>
                        <a:pt x="350" y="100"/>
                      </a:lnTo>
                      <a:lnTo>
                        <a:pt x="344" y="102"/>
                      </a:lnTo>
                      <a:lnTo>
                        <a:pt x="340" y="102"/>
                      </a:lnTo>
                      <a:lnTo>
                        <a:pt x="338" y="102"/>
                      </a:lnTo>
                      <a:lnTo>
                        <a:pt x="338" y="100"/>
                      </a:lnTo>
                      <a:lnTo>
                        <a:pt x="338" y="100"/>
                      </a:lnTo>
                      <a:lnTo>
                        <a:pt x="334" y="96"/>
                      </a:lnTo>
                      <a:lnTo>
                        <a:pt x="332" y="94"/>
                      </a:lnTo>
                      <a:lnTo>
                        <a:pt x="326" y="92"/>
                      </a:lnTo>
                      <a:lnTo>
                        <a:pt x="320" y="86"/>
                      </a:lnTo>
                      <a:lnTo>
                        <a:pt x="320" y="86"/>
                      </a:lnTo>
                      <a:lnTo>
                        <a:pt x="304" y="70"/>
                      </a:lnTo>
                      <a:lnTo>
                        <a:pt x="300" y="68"/>
                      </a:lnTo>
                      <a:lnTo>
                        <a:pt x="300" y="70"/>
                      </a:lnTo>
                      <a:lnTo>
                        <a:pt x="300" y="72"/>
                      </a:lnTo>
                      <a:lnTo>
                        <a:pt x="300" y="72"/>
                      </a:lnTo>
                      <a:lnTo>
                        <a:pt x="300" y="76"/>
                      </a:lnTo>
                      <a:lnTo>
                        <a:pt x="300" y="76"/>
                      </a:lnTo>
                      <a:lnTo>
                        <a:pt x="296" y="76"/>
                      </a:lnTo>
                      <a:lnTo>
                        <a:pt x="294" y="70"/>
                      </a:lnTo>
                      <a:lnTo>
                        <a:pt x="292" y="64"/>
                      </a:lnTo>
                      <a:lnTo>
                        <a:pt x="292" y="64"/>
                      </a:lnTo>
                      <a:lnTo>
                        <a:pt x="292" y="62"/>
                      </a:lnTo>
                      <a:lnTo>
                        <a:pt x="292" y="60"/>
                      </a:lnTo>
                      <a:lnTo>
                        <a:pt x="286" y="60"/>
                      </a:lnTo>
                      <a:lnTo>
                        <a:pt x="276" y="56"/>
                      </a:lnTo>
                      <a:lnTo>
                        <a:pt x="268" y="54"/>
                      </a:lnTo>
                      <a:lnTo>
                        <a:pt x="260" y="48"/>
                      </a:lnTo>
                      <a:lnTo>
                        <a:pt x="260" y="48"/>
                      </a:lnTo>
                      <a:lnTo>
                        <a:pt x="252" y="42"/>
                      </a:lnTo>
                      <a:lnTo>
                        <a:pt x="244" y="40"/>
                      </a:lnTo>
                      <a:lnTo>
                        <a:pt x="234" y="40"/>
                      </a:lnTo>
                      <a:lnTo>
                        <a:pt x="230" y="40"/>
                      </a:lnTo>
                      <a:lnTo>
                        <a:pt x="226" y="38"/>
                      </a:lnTo>
                      <a:lnTo>
                        <a:pt x="220" y="34"/>
                      </a:lnTo>
                      <a:lnTo>
                        <a:pt x="216" y="28"/>
                      </a:lnTo>
                      <a:lnTo>
                        <a:pt x="216" y="28"/>
                      </a:lnTo>
                      <a:lnTo>
                        <a:pt x="210" y="20"/>
                      </a:lnTo>
                      <a:lnTo>
                        <a:pt x="204" y="16"/>
                      </a:lnTo>
                      <a:lnTo>
                        <a:pt x="200" y="14"/>
                      </a:lnTo>
                      <a:lnTo>
                        <a:pt x="194" y="14"/>
                      </a:lnTo>
                      <a:lnTo>
                        <a:pt x="186" y="14"/>
                      </a:lnTo>
                      <a:lnTo>
                        <a:pt x="182" y="12"/>
                      </a:lnTo>
                      <a:lnTo>
                        <a:pt x="180" y="8"/>
                      </a:lnTo>
                      <a:lnTo>
                        <a:pt x="180" y="8"/>
                      </a:lnTo>
                      <a:lnTo>
                        <a:pt x="176" y="6"/>
                      </a:lnTo>
                      <a:lnTo>
                        <a:pt x="174" y="4"/>
                      </a:lnTo>
                      <a:lnTo>
                        <a:pt x="168" y="6"/>
                      </a:lnTo>
                      <a:lnTo>
                        <a:pt x="164" y="8"/>
                      </a:lnTo>
                      <a:lnTo>
                        <a:pt x="160" y="6"/>
                      </a:lnTo>
                      <a:lnTo>
                        <a:pt x="156" y="4"/>
                      </a:lnTo>
                      <a:lnTo>
                        <a:pt x="156" y="4"/>
                      </a:lnTo>
                      <a:lnTo>
                        <a:pt x="150" y="0"/>
                      </a:lnTo>
                      <a:lnTo>
                        <a:pt x="148" y="2"/>
                      </a:lnTo>
                      <a:lnTo>
                        <a:pt x="146" y="2"/>
                      </a:lnTo>
                      <a:lnTo>
                        <a:pt x="142" y="4"/>
                      </a:lnTo>
                      <a:lnTo>
                        <a:pt x="136" y="4"/>
                      </a:lnTo>
                      <a:lnTo>
                        <a:pt x="126" y="2"/>
                      </a:lnTo>
                      <a:lnTo>
                        <a:pt x="126" y="2"/>
                      </a:lnTo>
                      <a:lnTo>
                        <a:pt x="118" y="0"/>
                      </a:lnTo>
                      <a:lnTo>
                        <a:pt x="112" y="0"/>
                      </a:lnTo>
                      <a:lnTo>
                        <a:pt x="108" y="2"/>
                      </a:lnTo>
                      <a:lnTo>
                        <a:pt x="104" y="4"/>
                      </a:lnTo>
                      <a:lnTo>
                        <a:pt x="98" y="8"/>
                      </a:lnTo>
                      <a:lnTo>
                        <a:pt x="92" y="10"/>
                      </a:lnTo>
                      <a:lnTo>
                        <a:pt x="86" y="10"/>
                      </a:lnTo>
                      <a:lnTo>
                        <a:pt x="86" y="10"/>
                      </a:lnTo>
                      <a:lnTo>
                        <a:pt x="68" y="14"/>
                      </a:lnTo>
                      <a:lnTo>
                        <a:pt x="56" y="18"/>
                      </a:lnTo>
                      <a:lnTo>
                        <a:pt x="44" y="22"/>
                      </a:lnTo>
                      <a:lnTo>
                        <a:pt x="36" y="28"/>
                      </a:lnTo>
                      <a:lnTo>
                        <a:pt x="28" y="34"/>
                      </a:lnTo>
                      <a:lnTo>
                        <a:pt x="24" y="42"/>
                      </a:lnTo>
                      <a:lnTo>
                        <a:pt x="22" y="48"/>
                      </a:lnTo>
                      <a:lnTo>
                        <a:pt x="24" y="54"/>
                      </a:lnTo>
                      <a:lnTo>
                        <a:pt x="24" y="54"/>
                      </a:lnTo>
                      <a:lnTo>
                        <a:pt x="24" y="58"/>
                      </a:lnTo>
                      <a:lnTo>
                        <a:pt x="22" y="60"/>
                      </a:lnTo>
                      <a:lnTo>
                        <a:pt x="14" y="62"/>
                      </a:lnTo>
                      <a:lnTo>
                        <a:pt x="4" y="64"/>
                      </a:lnTo>
                      <a:lnTo>
                        <a:pt x="2" y="66"/>
                      </a:lnTo>
                      <a:lnTo>
                        <a:pt x="0" y="68"/>
                      </a:lnTo>
                      <a:lnTo>
                        <a:pt x="0" y="68"/>
                      </a:lnTo>
                      <a:lnTo>
                        <a:pt x="2" y="70"/>
                      </a:lnTo>
                      <a:lnTo>
                        <a:pt x="4" y="72"/>
                      </a:lnTo>
                      <a:lnTo>
                        <a:pt x="8" y="72"/>
                      </a:lnTo>
                      <a:lnTo>
                        <a:pt x="14" y="72"/>
                      </a:lnTo>
                      <a:lnTo>
                        <a:pt x="16" y="72"/>
                      </a:lnTo>
                      <a:lnTo>
                        <a:pt x="18" y="72"/>
                      </a:lnTo>
                      <a:lnTo>
                        <a:pt x="18" y="72"/>
                      </a:lnTo>
                      <a:lnTo>
                        <a:pt x="18" y="74"/>
                      </a:lnTo>
                      <a:lnTo>
                        <a:pt x="20" y="74"/>
                      </a:lnTo>
                      <a:lnTo>
                        <a:pt x="24" y="72"/>
                      </a:lnTo>
                      <a:lnTo>
                        <a:pt x="30" y="68"/>
                      </a:lnTo>
                      <a:lnTo>
                        <a:pt x="38" y="68"/>
                      </a:lnTo>
                      <a:lnTo>
                        <a:pt x="38" y="68"/>
                      </a:lnTo>
                      <a:lnTo>
                        <a:pt x="40" y="62"/>
                      </a:lnTo>
                      <a:lnTo>
                        <a:pt x="42" y="58"/>
                      </a:lnTo>
                      <a:lnTo>
                        <a:pt x="52" y="54"/>
                      </a:lnTo>
                      <a:lnTo>
                        <a:pt x="62" y="48"/>
                      </a:lnTo>
                      <a:lnTo>
                        <a:pt x="70" y="44"/>
                      </a:lnTo>
                      <a:lnTo>
                        <a:pt x="76" y="40"/>
                      </a:lnTo>
                      <a:lnTo>
                        <a:pt x="76" y="40"/>
                      </a:lnTo>
                      <a:lnTo>
                        <a:pt x="84" y="34"/>
                      </a:lnTo>
                      <a:lnTo>
                        <a:pt x="92" y="30"/>
                      </a:lnTo>
                      <a:lnTo>
                        <a:pt x="100" y="28"/>
                      </a:lnTo>
                      <a:lnTo>
                        <a:pt x="108" y="28"/>
                      </a:lnTo>
                      <a:lnTo>
                        <a:pt x="124" y="28"/>
                      </a:lnTo>
                      <a:lnTo>
                        <a:pt x="132" y="32"/>
                      </a:lnTo>
                      <a:lnTo>
                        <a:pt x="132" y="32"/>
                      </a:lnTo>
                      <a:lnTo>
                        <a:pt x="134" y="34"/>
                      </a:lnTo>
                      <a:lnTo>
                        <a:pt x="132" y="36"/>
                      </a:lnTo>
                      <a:lnTo>
                        <a:pt x="124" y="38"/>
                      </a:lnTo>
                      <a:lnTo>
                        <a:pt x="116" y="42"/>
                      </a:lnTo>
                      <a:lnTo>
                        <a:pt x="116" y="44"/>
                      </a:lnTo>
                      <a:lnTo>
                        <a:pt x="118" y="46"/>
                      </a:lnTo>
                      <a:lnTo>
                        <a:pt x="118" y="46"/>
                      </a:lnTo>
                      <a:lnTo>
                        <a:pt x="126" y="52"/>
                      </a:lnTo>
                      <a:lnTo>
                        <a:pt x="134" y="56"/>
                      </a:lnTo>
                      <a:lnTo>
                        <a:pt x="146" y="58"/>
                      </a:lnTo>
                      <a:lnTo>
                        <a:pt x="164" y="58"/>
                      </a:lnTo>
                      <a:lnTo>
                        <a:pt x="164" y="58"/>
                      </a:lnTo>
                      <a:lnTo>
                        <a:pt x="174" y="58"/>
                      </a:lnTo>
                      <a:lnTo>
                        <a:pt x="180" y="60"/>
                      </a:lnTo>
                      <a:lnTo>
                        <a:pt x="186" y="62"/>
                      </a:lnTo>
                      <a:lnTo>
                        <a:pt x="190" y="66"/>
                      </a:lnTo>
                      <a:lnTo>
                        <a:pt x="200" y="74"/>
                      </a:lnTo>
                      <a:lnTo>
                        <a:pt x="206" y="78"/>
                      </a:lnTo>
                      <a:lnTo>
                        <a:pt x="214" y="80"/>
                      </a:lnTo>
                      <a:lnTo>
                        <a:pt x="214" y="80"/>
                      </a:lnTo>
                      <a:lnTo>
                        <a:pt x="222" y="84"/>
                      </a:lnTo>
                      <a:lnTo>
                        <a:pt x="230" y="84"/>
                      </a:lnTo>
                      <a:lnTo>
                        <a:pt x="242" y="84"/>
                      </a:lnTo>
                      <a:lnTo>
                        <a:pt x="246" y="84"/>
                      </a:lnTo>
                      <a:lnTo>
                        <a:pt x="250" y="86"/>
                      </a:lnTo>
                      <a:lnTo>
                        <a:pt x="252" y="88"/>
                      </a:lnTo>
                      <a:lnTo>
                        <a:pt x="256" y="94"/>
                      </a:lnTo>
                      <a:lnTo>
                        <a:pt x="256" y="94"/>
                      </a:lnTo>
                      <a:lnTo>
                        <a:pt x="260" y="106"/>
                      </a:lnTo>
                      <a:lnTo>
                        <a:pt x="266" y="116"/>
                      </a:lnTo>
                      <a:lnTo>
                        <a:pt x="268" y="120"/>
                      </a:lnTo>
                      <a:lnTo>
                        <a:pt x="274" y="124"/>
                      </a:lnTo>
                      <a:lnTo>
                        <a:pt x="280" y="126"/>
                      </a:lnTo>
                      <a:lnTo>
                        <a:pt x="288" y="128"/>
                      </a:lnTo>
                      <a:lnTo>
                        <a:pt x="288" y="128"/>
                      </a:lnTo>
                      <a:lnTo>
                        <a:pt x="304" y="128"/>
                      </a:lnTo>
                      <a:lnTo>
                        <a:pt x="310" y="130"/>
                      </a:lnTo>
                      <a:lnTo>
                        <a:pt x="316" y="134"/>
                      </a:lnTo>
                      <a:lnTo>
                        <a:pt x="318" y="136"/>
                      </a:lnTo>
                      <a:lnTo>
                        <a:pt x="318" y="140"/>
                      </a:lnTo>
                      <a:lnTo>
                        <a:pt x="316" y="144"/>
                      </a:lnTo>
                      <a:lnTo>
                        <a:pt x="310" y="150"/>
                      </a:lnTo>
                      <a:lnTo>
                        <a:pt x="310" y="150"/>
                      </a:lnTo>
                      <a:lnTo>
                        <a:pt x="298" y="158"/>
                      </a:lnTo>
                      <a:lnTo>
                        <a:pt x="292" y="162"/>
                      </a:lnTo>
                      <a:lnTo>
                        <a:pt x="290" y="166"/>
                      </a:lnTo>
                      <a:lnTo>
                        <a:pt x="290" y="168"/>
                      </a:lnTo>
                      <a:lnTo>
                        <a:pt x="296" y="170"/>
                      </a:lnTo>
                      <a:lnTo>
                        <a:pt x="328" y="166"/>
                      </a:lnTo>
                      <a:lnTo>
                        <a:pt x="328" y="166"/>
                      </a:lnTo>
                      <a:lnTo>
                        <a:pt x="348" y="164"/>
                      </a:lnTo>
                      <a:lnTo>
                        <a:pt x="360" y="166"/>
                      </a:lnTo>
                      <a:lnTo>
                        <a:pt x="370" y="166"/>
                      </a:lnTo>
                      <a:lnTo>
                        <a:pt x="376" y="168"/>
                      </a:lnTo>
                      <a:lnTo>
                        <a:pt x="382" y="170"/>
                      </a:lnTo>
                      <a:lnTo>
                        <a:pt x="386" y="172"/>
                      </a:lnTo>
                      <a:lnTo>
                        <a:pt x="392" y="170"/>
                      </a:lnTo>
                      <a:lnTo>
                        <a:pt x="400" y="166"/>
                      </a:lnTo>
                      <a:lnTo>
                        <a:pt x="400" y="16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88" name="Freeform 6084">
                  <a:extLst>
                    <a:ext uri="{FF2B5EF4-FFF2-40B4-BE49-F238E27FC236}">
                      <a16:creationId xmlns:a16="http://schemas.microsoft.com/office/drawing/2014/main" id="{803F4F92-B060-4E2A-93AD-C3090FDA76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91460" y="3296603"/>
                  <a:ext cx="5080" cy="5080"/>
                </a:xfrm>
                <a:custGeom>
                  <a:avLst/>
                  <a:gdLst/>
                  <a:ahLst/>
                  <a:cxnLst>
                    <a:cxn ang="0">
                      <a:pos x="0" y="6"/>
                    </a:cxn>
                    <a:cxn ang="0">
                      <a:pos x="0" y="6"/>
                    </a:cxn>
                    <a:cxn ang="0">
                      <a:pos x="0" y="8"/>
                    </a:cxn>
                    <a:cxn ang="0">
                      <a:pos x="4" y="6"/>
                    </a:cxn>
                    <a:cxn ang="0">
                      <a:pos x="6" y="4"/>
                    </a:cxn>
                    <a:cxn ang="0">
                      <a:pos x="8" y="2"/>
                    </a:cxn>
                    <a:cxn ang="0">
                      <a:pos x="8" y="2"/>
                    </a:cxn>
                    <a:cxn ang="0">
                      <a:pos x="6" y="0"/>
                    </a:cxn>
                    <a:cxn ang="0">
                      <a:pos x="2" y="2"/>
                    </a:cxn>
                    <a:cxn ang="0">
                      <a:pos x="0" y="4"/>
                    </a:cxn>
                    <a:cxn ang="0">
                      <a:pos x="0" y="6"/>
                    </a:cxn>
                    <a:cxn ang="0">
                      <a:pos x="0" y="6"/>
                    </a:cxn>
                  </a:cxnLst>
                  <a:rect l="0" t="0" r="r" b="b"/>
                  <a:pathLst>
                    <a:path w="8" h="8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4" y="6"/>
                      </a:lnTo>
                      <a:lnTo>
                        <a:pt x="6" y="4"/>
                      </a:lnTo>
                      <a:lnTo>
                        <a:pt x="8" y="2"/>
                      </a:lnTo>
                      <a:lnTo>
                        <a:pt x="8" y="2"/>
                      </a:lnTo>
                      <a:lnTo>
                        <a:pt x="6" y="0"/>
                      </a:ln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89" name="Freeform 6086">
                  <a:extLst>
                    <a:ext uri="{FF2B5EF4-FFF2-40B4-BE49-F238E27FC236}">
                      <a16:creationId xmlns:a16="http://schemas.microsoft.com/office/drawing/2014/main" id="{B6A3CD48-8E2C-4D4B-A6B3-A370634D318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979" y="1296353"/>
                  <a:ext cx="2874010" cy="2354580"/>
                </a:xfrm>
                <a:custGeom>
                  <a:avLst/>
                  <a:gdLst/>
                  <a:ahLst/>
                  <a:cxnLst>
                    <a:cxn ang="0">
                      <a:pos x="3400" y="3516"/>
                    </a:cxn>
                    <a:cxn ang="0">
                      <a:pos x="3292" y="3276"/>
                    </a:cxn>
                    <a:cxn ang="0">
                      <a:pos x="3246" y="3102"/>
                    </a:cxn>
                    <a:cxn ang="0">
                      <a:pos x="3116" y="3080"/>
                    </a:cxn>
                    <a:cxn ang="0">
                      <a:pos x="2830" y="2916"/>
                    </a:cxn>
                    <a:cxn ang="0">
                      <a:pos x="3078" y="2572"/>
                    </a:cxn>
                    <a:cxn ang="0">
                      <a:pos x="3134" y="2554"/>
                    </a:cxn>
                    <a:cxn ang="0">
                      <a:pos x="3436" y="2646"/>
                    </a:cxn>
                    <a:cxn ang="0">
                      <a:pos x="3526" y="2642"/>
                    </a:cxn>
                    <a:cxn ang="0">
                      <a:pos x="3686" y="2282"/>
                    </a:cxn>
                    <a:cxn ang="0">
                      <a:pos x="3698" y="2162"/>
                    </a:cxn>
                    <a:cxn ang="0">
                      <a:pos x="3748" y="2092"/>
                    </a:cxn>
                    <a:cxn ang="0">
                      <a:pos x="3924" y="1928"/>
                    </a:cxn>
                    <a:cxn ang="0">
                      <a:pos x="4006" y="1782"/>
                    </a:cxn>
                    <a:cxn ang="0">
                      <a:pos x="4138" y="1824"/>
                    </a:cxn>
                    <a:cxn ang="0">
                      <a:pos x="4150" y="1496"/>
                    </a:cxn>
                    <a:cxn ang="0">
                      <a:pos x="4522" y="1296"/>
                    </a:cxn>
                    <a:cxn ang="0">
                      <a:pos x="4314" y="1090"/>
                    </a:cxn>
                    <a:cxn ang="0">
                      <a:pos x="4060" y="934"/>
                    </a:cxn>
                    <a:cxn ang="0">
                      <a:pos x="3720" y="680"/>
                    </a:cxn>
                    <a:cxn ang="0">
                      <a:pos x="3570" y="1166"/>
                    </a:cxn>
                    <a:cxn ang="0">
                      <a:pos x="3346" y="1132"/>
                    </a:cxn>
                    <a:cxn ang="0">
                      <a:pos x="3060" y="648"/>
                    </a:cxn>
                    <a:cxn ang="0">
                      <a:pos x="3304" y="420"/>
                    </a:cxn>
                    <a:cxn ang="0">
                      <a:pos x="3452" y="258"/>
                    </a:cxn>
                    <a:cxn ang="0">
                      <a:pos x="3282" y="322"/>
                    </a:cxn>
                    <a:cxn ang="0">
                      <a:pos x="3048" y="164"/>
                    </a:cxn>
                    <a:cxn ang="0">
                      <a:pos x="2954" y="232"/>
                    </a:cxn>
                    <a:cxn ang="0">
                      <a:pos x="2726" y="298"/>
                    </a:cxn>
                    <a:cxn ang="0">
                      <a:pos x="2330" y="286"/>
                    </a:cxn>
                    <a:cxn ang="0">
                      <a:pos x="1732" y="136"/>
                    </a:cxn>
                    <a:cxn ang="0">
                      <a:pos x="1406" y="178"/>
                    </a:cxn>
                    <a:cxn ang="0">
                      <a:pos x="636" y="94"/>
                    </a:cxn>
                    <a:cxn ang="0">
                      <a:pos x="54" y="266"/>
                    </a:cxn>
                    <a:cxn ang="0">
                      <a:pos x="28" y="440"/>
                    </a:cxn>
                    <a:cxn ang="0">
                      <a:pos x="270" y="598"/>
                    </a:cxn>
                    <a:cxn ang="0">
                      <a:pos x="246" y="900"/>
                    </a:cxn>
                    <a:cxn ang="0">
                      <a:pos x="218" y="1124"/>
                    </a:cxn>
                    <a:cxn ang="0">
                      <a:pos x="548" y="956"/>
                    </a:cxn>
                    <a:cxn ang="0">
                      <a:pos x="648" y="882"/>
                    </a:cxn>
                    <a:cxn ang="0">
                      <a:pos x="1136" y="842"/>
                    </a:cxn>
                    <a:cxn ang="0">
                      <a:pos x="1412" y="1020"/>
                    </a:cxn>
                    <a:cxn ang="0">
                      <a:pos x="1524" y="1162"/>
                    </a:cxn>
                    <a:cxn ang="0">
                      <a:pos x="1646" y="1306"/>
                    </a:cxn>
                    <a:cxn ang="0">
                      <a:pos x="1750" y="1434"/>
                    </a:cxn>
                    <a:cxn ang="0">
                      <a:pos x="1840" y="1570"/>
                    </a:cxn>
                    <a:cxn ang="0">
                      <a:pos x="1838" y="2170"/>
                    </a:cxn>
                    <a:cxn ang="0">
                      <a:pos x="2146" y="2682"/>
                    </a:cxn>
                    <a:cxn ang="0">
                      <a:pos x="2168" y="2564"/>
                    </a:cxn>
                    <a:cxn ang="0">
                      <a:pos x="2530" y="2998"/>
                    </a:cxn>
                    <a:cxn ang="0">
                      <a:pos x="3202" y="3400"/>
                    </a:cxn>
                    <a:cxn ang="0">
                      <a:pos x="3330" y="3570"/>
                    </a:cxn>
                    <a:cxn ang="0">
                      <a:pos x="3432" y="3656"/>
                    </a:cxn>
                    <a:cxn ang="0">
                      <a:pos x="3562" y="3616"/>
                    </a:cxn>
                    <a:cxn ang="0">
                      <a:pos x="3408" y="1922"/>
                    </a:cxn>
                    <a:cxn ang="0">
                      <a:pos x="3590" y="1870"/>
                    </a:cxn>
                    <a:cxn ang="0">
                      <a:pos x="3578" y="1812"/>
                    </a:cxn>
                    <a:cxn ang="0">
                      <a:pos x="3344" y="1588"/>
                    </a:cxn>
                    <a:cxn ang="0">
                      <a:pos x="3548" y="1750"/>
                    </a:cxn>
                    <a:cxn ang="0">
                      <a:pos x="3418" y="1798"/>
                    </a:cxn>
                    <a:cxn ang="0">
                      <a:pos x="3294" y="1766"/>
                    </a:cxn>
                    <a:cxn ang="0">
                      <a:pos x="3244" y="1726"/>
                    </a:cxn>
                    <a:cxn ang="0">
                      <a:pos x="3258" y="1654"/>
                    </a:cxn>
                  </a:cxnLst>
                  <a:rect l="0" t="0" r="r" b="b"/>
                  <a:pathLst>
                    <a:path w="4526" h="3708">
                      <a:moveTo>
                        <a:pt x="3654" y="3626"/>
                      </a:moveTo>
                      <a:lnTo>
                        <a:pt x="3654" y="3626"/>
                      </a:lnTo>
                      <a:lnTo>
                        <a:pt x="3654" y="3626"/>
                      </a:lnTo>
                      <a:lnTo>
                        <a:pt x="3654" y="3626"/>
                      </a:lnTo>
                      <a:lnTo>
                        <a:pt x="3642" y="3614"/>
                      </a:lnTo>
                      <a:lnTo>
                        <a:pt x="3628" y="3600"/>
                      </a:lnTo>
                      <a:lnTo>
                        <a:pt x="3622" y="3596"/>
                      </a:lnTo>
                      <a:lnTo>
                        <a:pt x="3614" y="3592"/>
                      </a:lnTo>
                      <a:lnTo>
                        <a:pt x="3606" y="3590"/>
                      </a:lnTo>
                      <a:lnTo>
                        <a:pt x="3598" y="3588"/>
                      </a:lnTo>
                      <a:lnTo>
                        <a:pt x="3598" y="3588"/>
                      </a:lnTo>
                      <a:lnTo>
                        <a:pt x="3588" y="3590"/>
                      </a:lnTo>
                      <a:lnTo>
                        <a:pt x="3588" y="3588"/>
                      </a:lnTo>
                      <a:lnTo>
                        <a:pt x="3588" y="3588"/>
                      </a:lnTo>
                      <a:lnTo>
                        <a:pt x="3588" y="3586"/>
                      </a:lnTo>
                      <a:lnTo>
                        <a:pt x="3586" y="3584"/>
                      </a:lnTo>
                      <a:lnTo>
                        <a:pt x="3574" y="3582"/>
                      </a:lnTo>
                      <a:lnTo>
                        <a:pt x="3574" y="3582"/>
                      </a:lnTo>
                      <a:lnTo>
                        <a:pt x="3562" y="3582"/>
                      </a:lnTo>
                      <a:lnTo>
                        <a:pt x="3560" y="3582"/>
                      </a:lnTo>
                      <a:lnTo>
                        <a:pt x="3560" y="3584"/>
                      </a:lnTo>
                      <a:lnTo>
                        <a:pt x="3556" y="3590"/>
                      </a:lnTo>
                      <a:lnTo>
                        <a:pt x="3552" y="3594"/>
                      </a:lnTo>
                      <a:lnTo>
                        <a:pt x="3546" y="3598"/>
                      </a:lnTo>
                      <a:lnTo>
                        <a:pt x="3546" y="3598"/>
                      </a:lnTo>
                      <a:lnTo>
                        <a:pt x="3524" y="3608"/>
                      </a:lnTo>
                      <a:lnTo>
                        <a:pt x="3518" y="3612"/>
                      </a:lnTo>
                      <a:lnTo>
                        <a:pt x="3514" y="3616"/>
                      </a:lnTo>
                      <a:lnTo>
                        <a:pt x="3496" y="3622"/>
                      </a:lnTo>
                      <a:lnTo>
                        <a:pt x="3496" y="3622"/>
                      </a:lnTo>
                      <a:lnTo>
                        <a:pt x="3492" y="3622"/>
                      </a:lnTo>
                      <a:lnTo>
                        <a:pt x="3488" y="3620"/>
                      </a:lnTo>
                      <a:lnTo>
                        <a:pt x="3480" y="3612"/>
                      </a:lnTo>
                      <a:lnTo>
                        <a:pt x="3480" y="3612"/>
                      </a:lnTo>
                      <a:lnTo>
                        <a:pt x="3476" y="3608"/>
                      </a:lnTo>
                      <a:lnTo>
                        <a:pt x="3474" y="3604"/>
                      </a:lnTo>
                      <a:lnTo>
                        <a:pt x="3474" y="3604"/>
                      </a:lnTo>
                      <a:lnTo>
                        <a:pt x="3472" y="3602"/>
                      </a:lnTo>
                      <a:lnTo>
                        <a:pt x="3470" y="3602"/>
                      </a:lnTo>
                      <a:lnTo>
                        <a:pt x="3468" y="3604"/>
                      </a:lnTo>
                      <a:lnTo>
                        <a:pt x="3470" y="3610"/>
                      </a:lnTo>
                      <a:lnTo>
                        <a:pt x="3470" y="3610"/>
                      </a:lnTo>
                      <a:lnTo>
                        <a:pt x="3470" y="3610"/>
                      </a:lnTo>
                      <a:lnTo>
                        <a:pt x="3468" y="3612"/>
                      </a:lnTo>
                      <a:lnTo>
                        <a:pt x="3464" y="3612"/>
                      </a:lnTo>
                      <a:lnTo>
                        <a:pt x="3460" y="3610"/>
                      </a:lnTo>
                      <a:lnTo>
                        <a:pt x="3456" y="3608"/>
                      </a:lnTo>
                      <a:lnTo>
                        <a:pt x="3456" y="3608"/>
                      </a:lnTo>
                      <a:lnTo>
                        <a:pt x="3458" y="3604"/>
                      </a:lnTo>
                      <a:lnTo>
                        <a:pt x="3460" y="3604"/>
                      </a:lnTo>
                      <a:lnTo>
                        <a:pt x="3460" y="3602"/>
                      </a:lnTo>
                      <a:lnTo>
                        <a:pt x="3460" y="3600"/>
                      </a:lnTo>
                      <a:lnTo>
                        <a:pt x="3460" y="3600"/>
                      </a:lnTo>
                      <a:lnTo>
                        <a:pt x="3458" y="3600"/>
                      </a:lnTo>
                      <a:lnTo>
                        <a:pt x="3454" y="3600"/>
                      </a:lnTo>
                      <a:lnTo>
                        <a:pt x="3452" y="3600"/>
                      </a:lnTo>
                      <a:lnTo>
                        <a:pt x="3452" y="3596"/>
                      </a:lnTo>
                      <a:lnTo>
                        <a:pt x="3452" y="3596"/>
                      </a:lnTo>
                      <a:lnTo>
                        <a:pt x="3452" y="3590"/>
                      </a:lnTo>
                      <a:lnTo>
                        <a:pt x="3450" y="3588"/>
                      </a:lnTo>
                      <a:lnTo>
                        <a:pt x="3444" y="3584"/>
                      </a:lnTo>
                      <a:lnTo>
                        <a:pt x="3444" y="3584"/>
                      </a:lnTo>
                      <a:lnTo>
                        <a:pt x="3440" y="3578"/>
                      </a:lnTo>
                      <a:lnTo>
                        <a:pt x="3432" y="3568"/>
                      </a:lnTo>
                      <a:lnTo>
                        <a:pt x="3422" y="3558"/>
                      </a:lnTo>
                      <a:lnTo>
                        <a:pt x="3412" y="3544"/>
                      </a:lnTo>
                      <a:lnTo>
                        <a:pt x="3412" y="3544"/>
                      </a:lnTo>
                      <a:lnTo>
                        <a:pt x="3406" y="3534"/>
                      </a:lnTo>
                      <a:lnTo>
                        <a:pt x="3404" y="3528"/>
                      </a:lnTo>
                      <a:lnTo>
                        <a:pt x="3404" y="3522"/>
                      </a:lnTo>
                      <a:lnTo>
                        <a:pt x="3400" y="3516"/>
                      </a:lnTo>
                      <a:lnTo>
                        <a:pt x="3400" y="3516"/>
                      </a:lnTo>
                      <a:lnTo>
                        <a:pt x="3396" y="3512"/>
                      </a:lnTo>
                      <a:lnTo>
                        <a:pt x="3392" y="3504"/>
                      </a:lnTo>
                      <a:lnTo>
                        <a:pt x="3392" y="3504"/>
                      </a:lnTo>
                      <a:lnTo>
                        <a:pt x="3392" y="3498"/>
                      </a:lnTo>
                      <a:lnTo>
                        <a:pt x="3392" y="3492"/>
                      </a:lnTo>
                      <a:lnTo>
                        <a:pt x="3396" y="3486"/>
                      </a:lnTo>
                      <a:lnTo>
                        <a:pt x="3398" y="3484"/>
                      </a:lnTo>
                      <a:lnTo>
                        <a:pt x="3398" y="3484"/>
                      </a:lnTo>
                      <a:lnTo>
                        <a:pt x="3400" y="3482"/>
                      </a:lnTo>
                      <a:lnTo>
                        <a:pt x="3400" y="3478"/>
                      </a:lnTo>
                      <a:lnTo>
                        <a:pt x="3398" y="3474"/>
                      </a:lnTo>
                      <a:lnTo>
                        <a:pt x="3396" y="3472"/>
                      </a:lnTo>
                      <a:lnTo>
                        <a:pt x="3396" y="3472"/>
                      </a:lnTo>
                      <a:lnTo>
                        <a:pt x="3396" y="3470"/>
                      </a:lnTo>
                      <a:lnTo>
                        <a:pt x="3394" y="3470"/>
                      </a:lnTo>
                      <a:lnTo>
                        <a:pt x="3396" y="3464"/>
                      </a:lnTo>
                      <a:lnTo>
                        <a:pt x="3400" y="3452"/>
                      </a:lnTo>
                      <a:lnTo>
                        <a:pt x="3400" y="3452"/>
                      </a:lnTo>
                      <a:lnTo>
                        <a:pt x="3400" y="3446"/>
                      </a:lnTo>
                      <a:lnTo>
                        <a:pt x="3402" y="3444"/>
                      </a:lnTo>
                      <a:lnTo>
                        <a:pt x="3404" y="3444"/>
                      </a:lnTo>
                      <a:lnTo>
                        <a:pt x="3404" y="3444"/>
                      </a:lnTo>
                      <a:lnTo>
                        <a:pt x="3408" y="3444"/>
                      </a:lnTo>
                      <a:lnTo>
                        <a:pt x="3406" y="3438"/>
                      </a:lnTo>
                      <a:lnTo>
                        <a:pt x="3406" y="3438"/>
                      </a:lnTo>
                      <a:lnTo>
                        <a:pt x="3406" y="3424"/>
                      </a:lnTo>
                      <a:lnTo>
                        <a:pt x="3404" y="3404"/>
                      </a:lnTo>
                      <a:lnTo>
                        <a:pt x="3404" y="3404"/>
                      </a:lnTo>
                      <a:lnTo>
                        <a:pt x="3402" y="3396"/>
                      </a:lnTo>
                      <a:lnTo>
                        <a:pt x="3404" y="3392"/>
                      </a:lnTo>
                      <a:lnTo>
                        <a:pt x="3406" y="3386"/>
                      </a:lnTo>
                      <a:lnTo>
                        <a:pt x="3408" y="3378"/>
                      </a:lnTo>
                      <a:lnTo>
                        <a:pt x="3408" y="3378"/>
                      </a:lnTo>
                      <a:lnTo>
                        <a:pt x="3410" y="3368"/>
                      </a:lnTo>
                      <a:lnTo>
                        <a:pt x="3414" y="3358"/>
                      </a:lnTo>
                      <a:lnTo>
                        <a:pt x="3418" y="3350"/>
                      </a:lnTo>
                      <a:lnTo>
                        <a:pt x="3418" y="3346"/>
                      </a:lnTo>
                      <a:lnTo>
                        <a:pt x="3418" y="3342"/>
                      </a:lnTo>
                      <a:lnTo>
                        <a:pt x="3418" y="3342"/>
                      </a:lnTo>
                      <a:lnTo>
                        <a:pt x="3416" y="3334"/>
                      </a:lnTo>
                      <a:lnTo>
                        <a:pt x="3416" y="3328"/>
                      </a:lnTo>
                      <a:lnTo>
                        <a:pt x="3418" y="3324"/>
                      </a:lnTo>
                      <a:lnTo>
                        <a:pt x="3420" y="3318"/>
                      </a:lnTo>
                      <a:lnTo>
                        <a:pt x="3420" y="3318"/>
                      </a:lnTo>
                      <a:lnTo>
                        <a:pt x="3420" y="3314"/>
                      </a:lnTo>
                      <a:lnTo>
                        <a:pt x="3418" y="3310"/>
                      </a:lnTo>
                      <a:lnTo>
                        <a:pt x="3412" y="3304"/>
                      </a:lnTo>
                      <a:lnTo>
                        <a:pt x="3406" y="3300"/>
                      </a:lnTo>
                      <a:lnTo>
                        <a:pt x="3406" y="3300"/>
                      </a:lnTo>
                      <a:lnTo>
                        <a:pt x="3388" y="3290"/>
                      </a:lnTo>
                      <a:lnTo>
                        <a:pt x="3380" y="3280"/>
                      </a:lnTo>
                      <a:lnTo>
                        <a:pt x="3380" y="3280"/>
                      </a:lnTo>
                      <a:lnTo>
                        <a:pt x="3372" y="3274"/>
                      </a:lnTo>
                      <a:lnTo>
                        <a:pt x="3360" y="3270"/>
                      </a:lnTo>
                      <a:lnTo>
                        <a:pt x="3350" y="3268"/>
                      </a:lnTo>
                      <a:lnTo>
                        <a:pt x="3344" y="3268"/>
                      </a:lnTo>
                      <a:lnTo>
                        <a:pt x="3344" y="3268"/>
                      </a:lnTo>
                      <a:lnTo>
                        <a:pt x="3340" y="3270"/>
                      </a:lnTo>
                      <a:lnTo>
                        <a:pt x="3334" y="3270"/>
                      </a:lnTo>
                      <a:lnTo>
                        <a:pt x="3326" y="3270"/>
                      </a:lnTo>
                      <a:lnTo>
                        <a:pt x="3320" y="3268"/>
                      </a:lnTo>
                      <a:lnTo>
                        <a:pt x="3320" y="3268"/>
                      </a:lnTo>
                      <a:lnTo>
                        <a:pt x="3308" y="3264"/>
                      </a:lnTo>
                      <a:lnTo>
                        <a:pt x="3306" y="3264"/>
                      </a:lnTo>
                      <a:lnTo>
                        <a:pt x="3308" y="3266"/>
                      </a:lnTo>
                      <a:lnTo>
                        <a:pt x="3308" y="3266"/>
                      </a:lnTo>
                      <a:lnTo>
                        <a:pt x="3308" y="3268"/>
                      </a:lnTo>
                      <a:lnTo>
                        <a:pt x="3308" y="3270"/>
                      </a:lnTo>
                      <a:lnTo>
                        <a:pt x="3304" y="3272"/>
                      </a:lnTo>
                      <a:lnTo>
                        <a:pt x="3292" y="3276"/>
                      </a:lnTo>
                      <a:lnTo>
                        <a:pt x="3292" y="3276"/>
                      </a:lnTo>
                      <a:lnTo>
                        <a:pt x="3278" y="3278"/>
                      </a:lnTo>
                      <a:lnTo>
                        <a:pt x="3266" y="3276"/>
                      </a:lnTo>
                      <a:lnTo>
                        <a:pt x="3258" y="3274"/>
                      </a:lnTo>
                      <a:lnTo>
                        <a:pt x="3248" y="3274"/>
                      </a:lnTo>
                      <a:lnTo>
                        <a:pt x="3248" y="3274"/>
                      </a:lnTo>
                      <a:lnTo>
                        <a:pt x="3244" y="3276"/>
                      </a:lnTo>
                      <a:lnTo>
                        <a:pt x="3242" y="3274"/>
                      </a:lnTo>
                      <a:lnTo>
                        <a:pt x="3240" y="3272"/>
                      </a:lnTo>
                      <a:lnTo>
                        <a:pt x="3238" y="3270"/>
                      </a:lnTo>
                      <a:lnTo>
                        <a:pt x="3238" y="3270"/>
                      </a:lnTo>
                      <a:lnTo>
                        <a:pt x="3236" y="3270"/>
                      </a:lnTo>
                      <a:lnTo>
                        <a:pt x="3232" y="3272"/>
                      </a:lnTo>
                      <a:lnTo>
                        <a:pt x="3226" y="3276"/>
                      </a:lnTo>
                      <a:lnTo>
                        <a:pt x="3222" y="3282"/>
                      </a:lnTo>
                      <a:lnTo>
                        <a:pt x="3218" y="3282"/>
                      </a:lnTo>
                      <a:lnTo>
                        <a:pt x="3216" y="3280"/>
                      </a:lnTo>
                      <a:lnTo>
                        <a:pt x="3216" y="3280"/>
                      </a:lnTo>
                      <a:lnTo>
                        <a:pt x="3206" y="3272"/>
                      </a:lnTo>
                      <a:lnTo>
                        <a:pt x="3202" y="3268"/>
                      </a:lnTo>
                      <a:lnTo>
                        <a:pt x="3200" y="3268"/>
                      </a:lnTo>
                      <a:lnTo>
                        <a:pt x="3202" y="3270"/>
                      </a:lnTo>
                      <a:lnTo>
                        <a:pt x="3202" y="3270"/>
                      </a:lnTo>
                      <a:lnTo>
                        <a:pt x="3204" y="3274"/>
                      </a:lnTo>
                      <a:lnTo>
                        <a:pt x="3202" y="3280"/>
                      </a:lnTo>
                      <a:lnTo>
                        <a:pt x="3202" y="3280"/>
                      </a:lnTo>
                      <a:lnTo>
                        <a:pt x="3200" y="3282"/>
                      </a:lnTo>
                      <a:lnTo>
                        <a:pt x="3198" y="3280"/>
                      </a:lnTo>
                      <a:lnTo>
                        <a:pt x="3194" y="3274"/>
                      </a:lnTo>
                      <a:lnTo>
                        <a:pt x="3188" y="3270"/>
                      </a:lnTo>
                      <a:lnTo>
                        <a:pt x="3188" y="3270"/>
                      </a:lnTo>
                      <a:lnTo>
                        <a:pt x="3188" y="3268"/>
                      </a:lnTo>
                      <a:lnTo>
                        <a:pt x="3190" y="3264"/>
                      </a:lnTo>
                      <a:lnTo>
                        <a:pt x="3196" y="3256"/>
                      </a:lnTo>
                      <a:lnTo>
                        <a:pt x="3202" y="3250"/>
                      </a:lnTo>
                      <a:lnTo>
                        <a:pt x="3208" y="3242"/>
                      </a:lnTo>
                      <a:lnTo>
                        <a:pt x="3208" y="3242"/>
                      </a:lnTo>
                      <a:lnTo>
                        <a:pt x="3212" y="3236"/>
                      </a:lnTo>
                      <a:lnTo>
                        <a:pt x="3214" y="3228"/>
                      </a:lnTo>
                      <a:lnTo>
                        <a:pt x="3216" y="3206"/>
                      </a:lnTo>
                      <a:lnTo>
                        <a:pt x="3218" y="3182"/>
                      </a:lnTo>
                      <a:lnTo>
                        <a:pt x="3222" y="3160"/>
                      </a:lnTo>
                      <a:lnTo>
                        <a:pt x="3222" y="3160"/>
                      </a:lnTo>
                      <a:lnTo>
                        <a:pt x="3222" y="3154"/>
                      </a:lnTo>
                      <a:lnTo>
                        <a:pt x="3220" y="3150"/>
                      </a:lnTo>
                      <a:lnTo>
                        <a:pt x="3218" y="3148"/>
                      </a:lnTo>
                      <a:lnTo>
                        <a:pt x="3216" y="3148"/>
                      </a:lnTo>
                      <a:lnTo>
                        <a:pt x="3216" y="3148"/>
                      </a:lnTo>
                      <a:lnTo>
                        <a:pt x="3214" y="3150"/>
                      </a:lnTo>
                      <a:lnTo>
                        <a:pt x="3212" y="3150"/>
                      </a:lnTo>
                      <a:lnTo>
                        <a:pt x="3212" y="3144"/>
                      </a:lnTo>
                      <a:lnTo>
                        <a:pt x="3212" y="3144"/>
                      </a:lnTo>
                      <a:lnTo>
                        <a:pt x="3220" y="3128"/>
                      </a:lnTo>
                      <a:lnTo>
                        <a:pt x="3220" y="3128"/>
                      </a:lnTo>
                      <a:lnTo>
                        <a:pt x="3222" y="3124"/>
                      </a:lnTo>
                      <a:lnTo>
                        <a:pt x="3224" y="3124"/>
                      </a:lnTo>
                      <a:lnTo>
                        <a:pt x="3224" y="3128"/>
                      </a:lnTo>
                      <a:lnTo>
                        <a:pt x="3222" y="3134"/>
                      </a:lnTo>
                      <a:lnTo>
                        <a:pt x="3222" y="3134"/>
                      </a:lnTo>
                      <a:lnTo>
                        <a:pt x="3222" y="3140"/>
                      </a:lnTo>
                      <a:lnTo>
                        <a:pt x="3224" y="3144"/>
                      </a:lnTo>
                      <a:lnTo>
                        <a:pt x="3226" y="3148"/>
                      </a:lnTo>
                      <a:lnTo>
                        <a:pt x="3230" y="3154"/>
                      </a:lnTo>
                      <a:lnTo>
                        <a:pt x="3230" y="3154"/>
                      </a:lnTo>
                      <a:lnTo>
                        <a:pt x="3232" y="3156"/>
                      </a:lnTo>
                      <a:lnTo>
                        <a:pt x="3232" y="3152"/>
                      </a:lnTo>
                      <a:lnTo>
                        <a:pt x="3236" y="3138"/>
                      </a:lnTo>
                      <a:lnTo>
                        <a:pt x="3242" y="3118"/>
                      </a:lnTo>
                      <a:lnTo>
                        <a:pt x="3244" y="3104"/>
                      </a:lnTo>
                      <a:lnTo>
                        <a:pt x="3244" y="3104"/>
                      </a:lnTo>
                      <a:lnTo>
                        <a:pt x="3246" y="3102"/>
                      </a:lnTo>
                      <a:lnTo>
                        <a:pt x="3244" y="3102"/>
                      </a:lnTo>
                      <a:lnTo>
                        <a:pt x="3240" y="3102"/>
                      </a:lnTo>
                      <a:lnTo>
                        <a:pt x="3238" y="3102"/>
                      </a:lnTo>
                      <a:lnTo>
                        <a:pt x="3242" y="3098"/>
                      </a:lnTo>
                      <a:lnTo>
                        <a:pt x="3242" y="3098"/>
                      </a:lnTo>
                      <a:lnTo>
                        <a:pt x="3250" y="3088"/>
                      </a:lnTo>
                      <a:lnTo>
                        <a:pt x="3248" y="3086"/>
                      </a:lnTo>
                      <a:lnTo>
                        <a:pt x="3244" y="3088"/>
                      </a:lnTo>
                      <a:lnTo>
                        <a:pt x="3244" y="3088"/>
                      </a:lnTo>
                      <a:lnTo>
                        <a:pt x="3238" y="3090"/>
                      </a:lnTo>
                      <a:lnTo>
                        <a:pt x="3236" y="3088"/>
                      </a:lnTo>
                      <a:lnTo>
                        <a:pt x="3236" y="3084"/>
                      </a:lnTo>
                      <a:lnTo>
                        <a:pt x="3242" y="3078"/>
                      </a:lnTo>
                      <a:lnTo>
                        <a:pt x="3242" y="3078"/>
                      </a:lnTo>
                      <a:lnTo>
                        <a:pt x="3246" y="3076"/>
                      </a:lnTo>
                      <a:lnTo>
                        <a:pt x="3248" y="3072"/>
                      </a:lnTo>
                      <a:lnTo>
                        <a:pt x="3248" y="3064"/>
                      </a:lnTo>
                      <a:lnTo>
                        <a:pt x="3252" y="3050"/>
                      </a:lnTo>
                      <a:lnTo>
                        <a:pt x="3256" y="3040"/>
                      </a:lnTo>
                      <a:lnTo>
                        <a:pt x="3264" y="3030"/>
                      </a:lnTo>
                      <a:lnTo>
                        <a:pt x="3264" y="3030"/>
                      </a:lnTo>
                      <a:lnTo>
                        <a:pt x="3274" y="3016"/>
                      </a:lnTo>
                      <a:lnTo>
                        <a:pt x="3276" y="3010"/>
                      </a:lnTo>
                      <a:lnTo>
                        <a:pt x="3274" y="3006"/>
                      </a:lnTo>
                      <a:lnTo>
                        <a:pt x="3272" y="3002"/>
                      </a:lnTo>
                      <a:lnTo>
                        <a:pt x="3272" y="3002"/>
                      </a:lnTo>
                      <a:lnTo>
                        <a:pt x="3272" y="2996"/>
                      </a:lnTo>
                      <a:lnTo>
                        <a:pt x="3272" y="2994"/>
                      </a:lnTo>
                      <a:lnTo>
                        <a:pt x="3268" y="2992"/>
                      </a:lnTo>
                      <a:lnTo>
                        <a:pt x="3266" y="2988"/>
                      </a:lnTo>
                      <a:lnTo>
                        <a:pt x="3266" y="2988"/>
                      </a:lnTo>
                      <a:lnTo>
                        <a:pt x="3264" y="2986"/>
                      </a:lnTo>
                      <a:lnTo>
                        <a:pt x="3260" y="2986"/>
                      </a:lnTo>
                      <a:lnTo>
                        <a:pt x="3256" y="2986"/>
                      </a:lnTo>
                      <a:lnTo>
                        <a:pt x="3252" y="2988"/>
                      </a:lnTo>
                      <a:lnTo>
                        <a:pt x="3252" y="2988"/>
                      </a:lnTo>
                      <a:lnTo>
                        <a:pt x="3254" y="2990"/>
                      </a:lnTo>
                      <a:lnTo>
                        <a:pt x="3254" y="2990"/>
                      </a:lnTo>
                      <a:lnTo>
                        <a:pt x="3260" y="2990"/>
                      </a:lnTo>
                      <a:lnTo>
                        <a:pt x="3260" y="2992"/>
                      </a:lnTo>
                      <a:lnTo>
                        <a:pt x="3256" y="2994"/>
                      </a:lnTo>
                      <a:lnTo>
                        <a:pt x="3256" y="2994"/>
                      </a:lnTo>
                      <a:lnTo>
                        <a:pt x="3254" y="2994"/>
                      </a:lnTo>
                      <a:lnTo>
                        <a:pt x="3250" y="2994"/>
                      </a:lnTo>
                      <a:lnTo>
                        <a:pt x="3242" y="2990"/>
                      </a:lnTo>
                      <a:lnTo>
                        <a:pt x="3230" y="2988"/>
                      </a:lnTo>
                      <a:lnTo>
                        <a:pt x="3222" y="2986"/>
                      </a:lnTo>
                      <a:lnTo>
                        <a:pt x="3214" y="2986"/>
                      </a:lnTo>
                      <a:lnTo>
                        <a:pt x="3214" y="2986"/>
                      </a:lnTo>
                      <a:lnTo>
                        <a:pt x="3202" y="2990"/>
                      </a:lnTo>
                      <a:lnTo>
                        <a:pt x="3196" y="2992"/>
                      </a:lnTo>
                      <a:lnTo>
                        <a:pt x="3190" y="2996"/>
                      </a:lnTo>
                      <a:lnTo>
                        <a:pt x="3180" y="2998"/>
                      </a:lnTo>
                      <a:lnTo>
                        <a:pt x="3180" y="2998"/>
                      </a:lnTo>
                      <a:lnTo>
                        <a:pt x="3162" y="3000"/>
                      </a:lnTo>
                      <a:lnTo>
                        <a:pt x="3146" y="3004"/>
                      </a:lnTo>
                      <a:lnTo>
                        <a:pt x="3140" y="3008"/>
                      </a:lnTo>
                      <a:lnTo>
                        <a:pt x="3134" y="3012"/>
                      </a:lnTo>
                      <a:lnTo>
                        <a:pt x="3130" y="3016"/>
                      </a:lnTo>
                      <a:lnTo>
                        <a:pt x="3130" y="3020"/>
                      </a:lnTo>
                      <a:lnTo>
                        <a:pt x="3130" y="3020"/>
                      </a:lnTo>
                      <a:lnTo>
                        <a:pt x="3128" y="3028"/>
                      </a:lnTo>
                      <a:lnTo>
                        <a:pt x="3126" y="3034"/>
                      </a:lnTo>
                      <a:lnTo>
                        <a:pt x="3124" y="3040"/>
                      </a:lnTo>
                      <a:lnTo>
                        <a:pt x="3124" y="3056"/>
                      </a:lnTo>
                      <a:lnTo>
                        <a:pt x="3124" y="3056"/>
                      </a:lnTo>
                      <a:lnTo>
                        <a:pt x="3126" y="3068"/>
                      </a:lnTo>
                      <a:lnTo>
                        <a:pt x="3124" y="3070"/>
                      </a:lnTo>
                      <a:lnTo>
                        <a:pt x="3122" y="3072"/>
                      </a:lnTo>
                      <a:lnTo>
                        <a:pt x="3118" y="3076"/>
                      </a:lnTo>
                      <a:lnTo>
                        <a:pt x="3116" y="3080"/>
                      </a:lnTo>
                      <a:lnTo>
                        <a:pt x="3116" y="3088"/>
                      </a:lnTo>
                      <a:lnTo>
                        <a:pt x="3116" y="3088"/>
                      </a:lnTo>
                      <a:lnTo>
                        <a:pt x="3114" y="3096"/>
                      </a:lnTo>
                      <a:lnTo>
                        <a:pt x="3112" y="3102"/>
                      </a:lnTo>
                      <a:lnTo>
                        <a:pt x="3108" y="3108"/>
                      </a:lnTo>
                      <a:lnTo>
                        <a:pt x="3104" y="3112"/>
                      </a:lnTo>
                      <a:lnTo>
                        <a:pt x="3094" y="3118"/>
                      </a:lnTo>
                      <a:lnTo>
                        <a:pt x="3086" y="3122"/>
                      </a:lnTo>
                      <a:lnTo>
                        <a:pt x="3086" y="3122"/>
                      </a:lnTo>
                      <a:lnTo>
                        <a:pt x="3084" y="3126"/>
                      </a:lnTo>
                      <a:lnTo>
                        <a:pt x="3084" y="3126"/>
                      </a:lnTo>
                      <a:lnTo>
                        <a:pt x="3088" y="3128"/>
                      </a:lnTo>
                      <a:lnTo>
                        <a:pt x="3092" y="3132"/>
                      </a:lnTo>
                      <a:lnTo>
                        <a:pt x="3092" y="3134"/>
                      </a:lnTo>
                      <a:lnTo>
                        <a:pt x="3090" y="3138"/>
                      </a:lnTo>
                      <a:lnTo>
                        <a:pt x="3090" y="3138"/>
                      </a:lnTo>
                      <a:lnTo>
                        <a:pt x="3086" y="3142"/>
                      </a:lnTo>
                      <a:lnTo>
                        <a:pt x="3078" y="3144"/>
                      </a:lnTo>
                      <a:lnTo>
                        <a:pt x="3072" y="3144"/>
                      </a:lnTo>
                      <a:lnTo>
                        <a:pt x="3070" y="3142"/>
                      </a:lnTo>
                      <a:lnTo>
                        <a:pt x="3070" y="3140"/>
                      </a:lnTo>
                      <a:lnTo>
                        <a:pt x="3070" y="3140"/>
                      </a:lnTo>
                      <a:lnTo>
                        <a:pt x="3068" y="3134"/>
                      </a:lnTo>
                      <a:lnTo>
                        <a:pt x="3066" y="3132"/>
                      </a:lnTo>
                      <a:lnTo>
                        <a:pt x="3058" y="3132"/>
                      </a:lnTo>
                      <a:lnTo>
                        <a:pt x="3046" y="3132"/>
                      </a:lnTo>
                      <a:lnTo>
                        <a:pt x="3046" y="3132"/>
                      </a:lnTo>
                      <a:lnTo>
                        <a:pt x="3038" y="3134"/>
                      </a:lnTo>
                      <a:lnTo>
                        <a:pt x="3034" y="3138"/>
                      </a:lnTo>
                      <a:lnTo>
                        <a:pt x="3028" y="3142"/>
                      </a:lnTo>
                      <a:lnTo>
                        <a:pt x="3010" y="3144"/>
                      </a:lnTo>
                      <a:lnTo>
                        <a:pt x="3010" y="3144"/>
                      </a:lnTo>
                      <a:lnTo>
                        <a:pt x="2996" y="3146"/>
                      </a:lnTo>
                      <a:lnTo>
                        <a:pt x="2986" y="3152"/>
                      </a:lnTo>
                      <a:lnTo>
                        <a:pt x="2978" y="3156"/>
                      </a:lnTo>
                      <a:lnTo>
                        <a:pt x="2968" y="3160"/>
                      </a:lnTo>
                      <a:lnTo>
                        <a:pt x="2968" y="3160"/>
                      </a:lnTo>
                      <a:lnTo>
                        <a:pt x="2964" y="3160"/>
                      </a:lnTo>
                      <a:lnTo>
                        <a:pt x="2960" y="3158"/>
                      </a:lnTo>
                      <a:lnTo>
                        <a:pt x="2956" y="3148"/>
                      </a:lnTo>
                      <a:lnTo>
                        <a:pt x="2952" y="3144"/>
                      </a:lnTo>
                      <a:lnTo>
                        <a:pt x="2946" y="3138"/>
                      </a:lnTo>
                      <a:lnTo>
                        <a:pt x="2938" y="3134"/>
                      </a:lnTo>
                      <a:lnTo>
                        <a:pt x="2924" y="3130"/>
                      </a:lnTo>
                      <a:lnTo>
                        <a:pt x="2924" y="3130"/>
                      </a:lnTo>
                      <a:lnTo>
                        <a:pt x="2912" y="3126"/>
                      </a:lnTo>
                      <a:lnTo>
                        <a:pt x="2904" y="3120"/>
                      </a:lnTo>
                      <a:lnTo>
                        <a:pt x="2898" y="3112"/>
                      </a:lnTo>
                      <a:lnTo>
                        <a:pt x="2894" y="3102"/>
                      </a:lnTo>
                      <a:lnTo>
                        <a:pt x="2884" y="3076"/>
                      </a:lnTo>
                      <a:lnTo>
                        <a:pt x="2876" y="3062"/>
                      </a:lnTo>
                      <a:lnTo>
                        <a:pt x="2864" y="3046"/>
                      </a:lnTo>
                      <a:lnTo>
                        <a:pt x="2864" y="3046"/>
                      </a:lnTo>
                      <a:lnTo>
                        <a:pt x="2858" y="3036"/>
                      </a:lnTo>
                      <a:lnTo>
                        <a:pt x="2852" y="3028"/>
                      </a:lnTo>
                      <a:lnTo>
                        <a:pt x="2848" y="3010"/>
                      </a:lnTo>
                      <a:lnTo>
                        <a:pt x="2844" y="2998"/>
                      </a:lnTo>
                      <a:lnTo>
                        <a:pt x="2844" y="2994"/>
                      </a:lnTo>
                      <a:lnTo>
                        <a:pt x="2842" y="2992"/>
                      </a:lnTo>
                      <a:lnTo>
                        <a:pt x="2842" y="2992"/>
                      </a:lnTo>
                      <a:lnTo>
                        <a:pt x="2838" y="2990"/>
                      </a:lnTo>
                      <a:lnTo>
                        <a:pt x="2836" y="2988"/>
                      </a:lnTo>
                      <a:lnTo>
                        <a:pt x="2834" y="2976"/>
                      </a:lnTo>
                      <a:lnTo>
                        <a:pt x="2830" y="2948"/>
                      </a:lnTo>
                      <a:lnTo>
                        <a:pt x="2830" y="2948"/>
                      </a:lnTo>
                      <a:lnTo>
                        <a:pt x="2830" y="2938"/>
                      </a:lnTo>
                      <a:lnTo>
                        <a:pt x="2828" y="2934"/>
                      </a:lnTo>
                      <a:lnTo>
                        <a:pt x="2828" y="2932"/>
                      </a:lnTo>
                      <a:lnTo>
                        <a:pt x="2830" y="2926"/>
                      </a:lnTo>
                      <a:lnTo>
                        <a:pt x="2830" y="2926"/>
                      </a:lnTo>
                      <a:lnTo>
                        <a:pt x="2830" y="2916"/>
                      </a:lnTo>
                      <a:lnTo>
                        <a:pt x="2830" y="2906"/>
                      </a:lnTo>
                      <a:lnTo>
                        <a:pt x="2830" y="2886"/>
                      </a:lnTo>
                      <a:lnTo>
                        <a:pt x="2834" y="2854"/>
                      </a:lnTo>
                      <a:lnTo>
                        <a:pt x="2834" y="2854"/>
                      </a:lnTo>
                      <a:lnTo>
                        <a:pt x="2840" y="2820"/>
                      </a:lnTo>
                      <a:lnTo>
                        <a:pt x="2846" y="2800"/>
                      </a:lnTo>
                      <a:lnTo>
                        <a:pt x="2852" y="2784"/>
                      </a:lnTo>
                      <a:lnTo>
                        <a:pt x="2856" y="2766"/>
                      </a:lnTo>
                      <a:lnTo>
                        <a:pt x="2856" y="2766"/>
                      </a:lnTo>
                      <a:lnTo>
                        <a:pt x="2854" y="2748"/>
                      </a:lnTo>
                      <a:lnTo>
                        <a:pt x="2850" y="2728"/>
                      </a:lnTo>
                      <a:lnTo>
                        <a:pt x="2846" y="2710"/>
                      </a:lnTo>
                      <a:lnTo>
                        <a:pt x="2846" y="2696"/>
                      </a:lnTo>
                      <a:lnTo>
                        <a:pt x="2846" y="2696"/>
                      </a:lnTo>
                      <a:lnTo>
                        <a:pt x="2850" y="2686"/>
                      </a:lnTo>
                      <a:lnTo>
                        <a:pt x="2854" y="2678"/>
                      </a:lnTo>
                      <a:lnTo>
                        <a:pt x="2858" y="2672"/>
                      </a:lnTo>
                      <a:lnTo>
                        <a:pt x="2864" y="2662"/>
                      </a:lnTo>
                      <a:lnTo>
                        <a:pt x="2864" y="2662"/>
                      </a:lnTo>
                      <a:lnTo>
                        <a:pt x="2866" y="2658"/>
                      </a:lnTo>
                      <a:lnTo>
                        <a:pt x="2870" y="2654"/>
                      </a:lnTo>
                      <a:lnTo>
                        <a:pt x="2880" y="2646"/>
                      </a:lnTo>
                      <a:lnTo>
                        <a:pt x="2886" y="2642"/>
                      </a:lnTo>
                      <a:lnTo>
                        <a:pt x="2888" y="2640"/>
                      </a:lnTo>
                      <a:lnTo>
                        <a:pt x="2886" y="2638"/>
                      </a:lnTo>
                      <a:lnTo>
                        <a:pt x="2886" y="2638"/>
                      </a:lnTo>
                      <a:lnTo>
                        <a:pt x="2880" y="2628"/>
                      </a:lnTo>
                      <a:lnTo>
                        <a:pt x="2878" y="2626"/>
                      </a:lnTo>
                      <a:lnTo>
                        <a:pt x="2882" y="2628"/>
                      </a:lnTo>
                      <a:lnTo>
                        <a:pt x="2882" y="2628"/>
                      </a:lnTo>
                      <a:lnTo>
                        <a:pt x="2886" y="2628"/>
                      </a:lnTo>
                      <a:lnTo>
                        <a:pt x="2890" y="2628"/>
                      </a:lnTo>
                      <a:lnTo>
                        <a:pt x="2892" y="2626"/>
                      </a:lnTo>
                      <a:lnTo>
                        <a:pt x="2894" y="2628"/>
                      </a:lnTo>
                      <a:lnTo>
                        <a:pt x="2894" y="2628"/>
                      </a:lnTo>
                      <a:lnTo>
                        <a:pt x="2896" y="2628"/>
                      </a:lnTo>
                      <a:lnTo>
                        <a:pt x="2902" y="2628"/>
                      </a:lnTo>
                      <a:lnTo>
                        <a:pt x="2912" y="2624"/>
                      </a:lnTo>
                      <a:lnTo>
                        <a:pt x="2926" y="2616"/>
                      </a:lnTo>
                      <a:lnTo>
                        <a:pt x="2936" y="2606"/>
                      </a:lnTo>
                      <a:lnTo>
                        <a:pt x="2936" y="2606"/>
                      </a:lnTo>
                      <a:lnTo>
                        <a:pt x="2942" y="2600"/>
                      </a:lnTo>
                      <a:lnTo>
                        <a:pt x="2948" y="2594"/>
                      </a:lnTo>
                      <a:lnTo>
                        <a:pt x="2964" y="2584"/>
                      </a:lnTo>
                      <a:lnTo>
                        <a:pt x="2964" y="2584"/>
                      </a:lnTo>
                      <a:lnTo>
                        <a:pt x="2980" y="2572"/>
                      </a:lnTo>
                      <a:lnTo>
                        <a:pt x="2990" y="2570"/>
                      </a:lnTo>
                      <a:lnTo>
                        <a:pt x="3006" y="2568"/>
                      </a:lnTo>
                      <a:lnTo>
                        <a:pt x="3006" y="2568"/>
                      </a:lnTo>
                      <a:lnTo>
                        <a:pt x="3014" y="2568"/>
                      </a:lnTo>
                      <a:lnTo>
                        <a:pt x="3020" y="2570"/>
                      </a:lnTo>
                      <a:lnTo>
                        <a:pt x="3032" y="2574"/>
                      </a:lnTo>
                      <a:lnTo>
                        <a:pt x="3040" y="2580"/>
                      </a:lnTo>
                      <a:lnTo>
                        <a:pt x="3046" y="2580"/>
                      </a:lnTo>
                      <a:lnTo>
                        <a:pt x="3050" y="2580"/>
                      </a:lnTo>
                      <a:lnTo>
                        <a:pt x="3050" y="2580"/>
                      </a:lnTo>
                      <a:lnTo>
                        <a:pt x="3060" y="2578"/>
                      </a:lnTo>
                      <a:lnTo>
                        <a:pt x="3064" y="2580"/>
                      </a:lnTo>
                      <a:lnTo>
                        <a:pt x="3068" y="2582"/>
                      </a:lnTo>
                      <a:lnTo>
                        <a:pt x="3072" y="2580"/>
                      </a:lnTo>
                      <a:lnTo>
                        <a:pt x="3072" y="2580"/>
                      </a:lnTo>
                      <a:lnTo>
                        <a:pt x="3074" y="2578"/>
                      </a:lnTo>
                      <a:lnTo>
                        <a:pt x="3072" y="2578"/>
                      </a:lnTo>
                      <a:lnTo>
                        <a:pt x="3066" y="2576"/>
                      </a:lnTo>
                      <a:lnTo>
                        <a:pt x="3058" y="2572"/>
                      </a:lnTo>
                      <a:lnTo>
                        <a:pt x="3058" y="2572"/>
                      </a:lnTo>
                      <a:lnTo>
                        <a:pt x="3060" y="2568"/>
                      </a:lnTo>
                      <a:lnTo>
                        <a:pt x="3060" y="2568"/>
                      </a:lnTo>
                      <a:lnTo>
                        <a:pt x="3068" y="2566"/>
                      </a:lnTo>
                      <a:lnTo>
                        <a:pt x="3074" y="2568"/>
                      </a:lnTo>
                      <a:lnTo>
                        <a:pt x="3078" y="2572"/>
                      </a:lnTo>
                      <a:lnTo>
                        <a:pt x="3082" y="2578"/>
                      </a:lnTo>
                      <a:lnTo>
                        <a:pt x="3082" y="2578"/>
                      </a:lnTo>
                      <a:lnTo>
                        <a:pt x="3084" y="2580"/>
                      </a:lnTo>
                      <a:lnTo>
                        <a:pt x="3086" y="2582"/>
                      </a:lnTo>
                      <a:lnTo>
                        <a:pt x="3092" y="2584"/>
                      </a:lnTo>
                      <a:lnTo>
                        <a:pt x="3096" y="2586"/>
                      </a:lnTo>
                      <a:lnTo>
                        <a:pt x="3094" y="2588"/>
                      </a:lnTo>
                      <a:lnTo>
                        <a:pt x="3092" y="2590"/>
                      </a:lnTo>
                      <a:lnTo>
                        <a:pt x="3092" y="2590"/>
                      </a:lnTo>
                      <a:lnTo>
                        <a:pt x="3092" y="2594"/>
                      </a:lnTo>
                      <a:lnTo>
                        <a:pt x="3094" y="2596"/>
                      </a:lnTo>
                      <a:lnTo>
                        <a:pt x="3102" y="2600"/>
                      </a:lnTo>
                      <a:lnTo>
                        <a:pt x="3112" y="2600"/>
                      </a:lnTo>
                      <a:lnTo>
                        <a:pt x="3118" y="2600"/>
                      </a:lnTo>
                      <a:lnTo>
                        <a:pt x="3118" y="2600"/>
                      </a:lnTo>
                      <a:lnTo>
                        <a:pt x="3120" y="2596"/>
                      </a:lnTo>
                      <a:lnTo>
                        <a:pt x="3126" y="2594"/>
                      </a:lnTo>
                      <a:lnTo>
                        <a:pt x="3130" y="2594"/>
                      </a:lnTo>
                      <a:lnTo>
                        <a:pt x="3134" y="2600"/>
                      </a:lnTo>
                      <a:lnTo>
                        <a:pt x="3134" y="2600"/>
                      </a:lnTo>
                      <a:lnTo>
                        <a:pt x="3136" y="2602"/>
                      </a:lnTo>
                      <a:lnTo>
                        <a:pt x="3138" y="2604"/>
                      </a:lnTo>
                      <a:lnTo>
                        <a:pt x="3142" y="2602"/>
                      </a:lnTo>
                      <a:lnTo>
                        <a:pt x="3144" y="2596"/>
                      </a:lnTo>
                      <a:lnTo>
                        <a:pt x="3144" y="2592"/>
                      </a:lnTo>
                      <a:lnTo>
                        <a:pt x="3142" y="2588"/>
                      </a:lnTo>
                      <a:lnTo>
                        <a:pt x="3142" y="2588"/>
                      </a:lnTo>
                      <a:lnTo>
                        <a:pt x="3142" y="2584"/>
                      </a:lnTo>
                      <a:lnTo>
                        <a:pt x="3146" y="2584"/>
                      </a:lnTo>
                      <a:lnTo>
                        <a:pt x="3152" y="2586"/>
                      </a:lnTo>
                      <a:lnTo>
                        <a:pt x="3160" y="2594"/>
                      </a:lnTo>
                      <a:lnTo>
                        <a:pt x="3160" y="2594"/>
                      </a:lnTo>
                      <a:lnTo>
                        <a:pt x="3166" y="2602"/>
                      </a:lnTo>
                      <a:lnTo>
                        <a:pt x="3168" y="2608"/>
                      </a:lnTo>
                      <a:lnTo>
                        <a:pt x="3168" y="2610"/>
                      </a:lnTo>
                      <a:lnTo>
                        <a:pt x="3170" y="2610"/>
                      </a:lnTo>
                      <a:lnTo>
                        <a:pt x="3176" y="2606"/>
                      </a:lnTo>
                      <a:lnTo>
                        <a:pt x="3176" y="2606"/>
                      </a:lnTo>
                      <a:lnTo>
                        <a:pt x="3180" y="2602"/>
                      </a:lnTo>
                      <a:lnTo>
                        <a:pt x="3182" y="2600"/>
                      </a:lnTo>
                      <a:lnTo>
                        <a:pt x="3182" y="2596"/>
                      </a:lnTo>
                      <a:lnTo>
                        <a:pt x="3180" y="2594"/>
                      </a:lnTo>
                      <a:lnTo>
                        <a:pt x="3174" y="2590"/>
                      </a:lnTo>
                      <a:lnTo>
                        <a:pt x="3162" y="2584"/>
                      </a:lnTo>
                      <a:lnTo>
                        <a:pt x="3162" y="2584"/>
                      </a:lnTo>
                      <a:lnTo>
                        <a:pt x="3158" y="2580"/>
                      </a:lnTo>
                      <a:lnTo>
                        <a:pt x="3158" y="2578"/>
                      </a:lnTo>
                      <a:lnTo>
                        <a:pt x="3160" y="2576"/>
                      </a:lnTo>
                      <a:lnTo>
                        <a:pt x="3164" y="2574"/>
                      </a:lnTo>
                      <a:lnTo>
                        <a:pt x="3170" y="2568"/>
                      </a:lnTo>
                      <a:lnTo>
                        <a:pt x="3172" y="2564"/>
                      </a:lnTo>
                      <a:lnTo>
                        <a:pt x="3172" y="2560"/>
                      </a:lnTo>
                      <a:lnTo>
                        <a:pt x="3172" y="2560"/>
                      </a:lnTo>
                      <a:lnTo>
                        <a:pt x="3170" y="2556"/>
                      </a:lnTo>
                      <a:lnTo>
                        <a:pt x="3168" y="2556"/>
                      </a:lnTo>
                      <a:lnTo>
                        <a:pt x="3164" y="2558"/>
                      </a:lnTo>
                      <a:lnTo>
                        <a:pt x="3160" y="2562"/>
                      </a:lnTo>
                      <a:lnTo>
                        <a:pt x="3158" y="2562"/>
                      </a:lnTo>
                      <a:lnTo>
                        <a:pt x="3156" y="2562"/>
                      </a:lnTo>
                      <a:lnTo>
                        <a:pt x="3156" y="2562"/>
                      </a:lnTo>
                      <a:lnTo>
                        <a:pt x="3154" y="2560"/>
                      </a:lnTo>
                      <a:lnTo>
                        <a:pt x="3154" y="2558"/>
                      </a:lnTo>
                      <a:lnTo>
                        <a:pt x="3156" y="2556"/>
                      </a:lnTo>
                      <a:lnTo>
                        <a:pt x="3158" y="2552"/>
                      </a:lnTo>
                      <a:lnTo>
                        <a:pt x="3154" y="2550"/>
                      </a:lnTo>
                      <a:lnTo>
                        <a:pt x="3154" y="2550"/>
                      </a:lnTo>
                      <a:lnTo>
                        <a:pt x="3148" y="2550"/>
                      </a:lnTo>
                      <a:lnTo>
                        <a:pt x="3144" y="2554"/>
                      </a:lnTo>
                      <a:lnTo>
                        <a:pt x="3142" y="2556"/>
                      </a:lnTo>
                      <a:lnTo>
                        <a:pt x="3134" y="2554"/>
                      </a:lnTo>
                      <a:lnTo>
                        <a:pt x="3134" y="2554"/>
                      </a:lnTo>
                      <a:lnTo>
                        <a:pt x="3130" y="2550"/>
                      </a:lnTo>
                      <a:lnTo>
                        <a:pt x="3128" y="2548"/>
                      </a:lnTo>
                      <a:lnTo>
                        <a:pt x="3128" y="2544"/>
                      </a:lnTo>
                      <a:lnTo>
                        <a:pt x="3130" y="2540"/>
                      </a:lnTo>
                      <a:lnTo>
                        <a:pt x="3132" y="2538"/>
                      </a:lnTo>
                      <a:lnTo>
                        <a:pt x="3136" y="2536"/>
                      </a:lnTo>
                      <a:lnTo>
                        <a:pt x="3142" y="2536"/>
                      </a:lnTo>
                      <a:lnTo>
                        <a:pt x="3148" y="2538"/>
                      </a:lnTo>
                      <a:lnTo>
                        <a:pt x="3148" y="2538"/>
                      </a:lnTo>
                      <a:lnTo>
                        <a:pt x="3156" y="2544"/>
                      </a:lnTo>
                      <a:lnTo>
                        <a:pt x="3164" y="2546"/>
                      </a:lnTo>
                      <a:lnTo>
                        <a:pt x="3170" y="2544"/>
                      </a:lnTo>
                      <a:lnTo>
                        <a:pt x="3178" y="2538"/>
                      </a:lnTo>
                      <a:lnTo>
                        <a:pt x="3178" y="2538"/>
                      </a:lnTo>
                      <a:lnTo>
                        <a:pt x="3182" y="2536"/>
                      </a:lnTo>
                      <a:lnTo>
                        <a:pt x="3190" y="2536"/>
                      </a:lnTo>
                      <a:lnTo>
                        <a:pt x="3202" y="2536"/>
                      </a:lnTo>
                      <a:lnTo>
                        <a:pt x="3214" y="2538"/>
                      </a:lnTo>
                      <a:lnTo>
                        <a:pt x="3218" y="2538"/>
                      </a:lnTo>
                      <a:lnTo>
                        <a:pt x="3220" y="2536"/>
                      </a:lnTo>
                      <a:lnTo>
                        <a:pt x="3220" y="2536"/>
                      </a:lnTo>
                      <a:lnTo>
                        <a:pt x="3222" y="2522"/>
                      </a:lnTo>
                      <a:lnTo>
                        <a:pt x="3224" y="2520"/>
                      </a:lnTo>
                      <a:lnTo>
                        <a:pt x="3226" y="2522"/>
                      </a:lnTo>
                      <a:lnTo>
                        <a:pt x="3232" y="2534"/>
                      </a:lnTo>
                      <a:lnTo>
                        <a:pt x="3232" y="2534"/>
                      </a:lnTo>
                      <a:lnTo>
                        <a:pt x="3232" y="2538"/>
                      </a:lnTo>
                      <a:lnTo>
                        <a:pt x="3230" y="2540"/>
                      </a:lnTo>
                      <a:lnTo>
                        <a:pt x="3226" y="2544"/>
                      </a:lnTo>
                      <a:lnTo>
                        <a:pt x="3224" y="2546"/>
                      </a:lnTo>
                      <a:lnTo>
                        <a:pt x="3234" y="2544"/>
                      </a:lnTo>
                      <a:lnTo>
                        <a:pt x="3234" y="2544"/>
                      </a:lnTo>
                      <a:lnTo>
                        <a:pt x="3268" y="2536"/>
                      </a:lnTo>
                      <a:lnTo>
                        <a:pt x="3282" y="2536"/>
                      </a:lnTo>
                      <a:lnTo>
                        <a:pt x="3296" y="2538"/>
                      </a:lnTo>
                      <a:lnTo>
                        <a:pt x="3296" y="2538"/>
                      </a:lnTo>
                      <a:lnTo>
                        <a:pt x="3312" y="2544"/>
                      </a:lnTo>
                      <a:lnTo>
                        <a:pt x="3318" y="2546"/>
                      </a:lnTo>
                      <a:lnTo>
                        <a:pt x="3320" y="2552"/>
                      </a:lnTo>
                      <a:lnTo>
                        <a:pt x="3320" y="2552"/>
                      </a:lnTo>
                      <a:lnTo>
                        <a:pt x="3324" y="2556"/>
                      </a:lnTo>
                      <a:lnTo>
                        <a:pt x="3326" y="2556"/>
                      </a:lnTo>
                      <a:lnTo>
                        <a:pt x="3330" y="2560"/>
                      </a:lnTo>
                      <a:lnTo>
                        <a:pt x="3330" y="2566"/>
                      </a:lnTo>
                      <a:lnTo>
                        <a:pt x="3330" y="2566"/>
                      </a:lnTo>
                      <a:lnTo>
                        <a:pt x="3332" y="2570"/>
                      </a:lnTo>
                      <a:lnTo>
                        <a:pt x="3336" y="2572"/>
                      </a:lnTo>
                      <a:lnTo>
                        <a:pt x="3340" y="2570"/>
                      </a:lnTo>
                      <a:lnTo>
                        <a:pt x="3346" y="2570"/>
                      </a:lnTo>
                      <a:lnTo>
                        <a:pt x="3360" y="2564"/>
                      </a:lnTo>
                      <a:lnTo>
                        <a:pt x="3368" y="2562"/>
                      </a:lnTo>
                      <a:lnTo>
                        <a:pt x="3368" y="2562"/>
                      </a:lnTo>
                      <a:lnTo>
                        <a:pt x="3370" y="2560"/>
                      </a:lnTo>
                      <a:lnTo>
                        <a:pt x="3372" y="2560"/>
                      </a:lnTo>
                      <a:lnTo>
                        <a:pt x="3372" y="2556"/>
                      </a:lnTo>
                      <a:lnTo>
                        <a:pt x="3376" y="2552"/>
                      </a:lnTo>
                      <a:lnTo>
                        <a:pt x="3382" y="2552"/>
                      </a:lnTo>
                      <a:lnTo>
                        <a:pt x="3382" y="2552"/>
                      </a:lnTo>
                      <a:lnTo>
                        <a:pt x="3388" y="2554"/>
                      </a:lnTo>
                      <a:lnTo>
                        <a:pt x="3394" y="2558"/>
                      </a:lnTo>
                      <a:lnTo>
                        <a:pt x="3406" y="2574"/>
                      </a:lnTo>
                      <a:lnTo>
                        <a:pt x="3418" y="2592"/>
                      </a:lnTo>
                      <a:lnTo>
                        <a:pt x="3424" y="2596"/>
                      </a:lnTo>
                      <a:lnTo>
                        <a:pt x="3428" y="2598"/>
                      </a:lnTo>
                      <a:lnTo>
                        <a:pt x="3428" y="2598"/>
                      </a:lnTo>
                      <a:lnTo>
                        <a:pt x="3432" y="2600"/>
                      </a:lnTo>
                      <a:lnTo>
                        <a:pt x="3434" y="2604"/>
                      </a:lnTo>
                      <a:lnTo>
                        <a:pt x="3438" y="2616"/>
                      </a:lnTo>
                      <a:lnTo>
                        <a:pt x="3440" y="2630"/>
                      </a:lnTo>
                      <a:lnTo>
                        <a:pt x="3436" y="2646"/>
                      </a:lnTo>
                      <a:lnTo>
                        <a:pt x="3436" y="2646"/>
                      </a:lnTo>
                      <a:lnTo>
                        <a:pt x="3434" y="2658"/>
                      </a:lnTo>
                      <a:lnTo>
                        <a:pt x="3434" y="2670"/>
                      </a:lnTo>
                      <a:lnTo>
                        <a:pt x="3436" y="2676"/>
                      </a:lnTo>
                      <a:lnTo>
                        <a:pt x="3438" y="2678"/>
                      </a:lnTo>
                      <a:lnTo>
                        <a:pt x="3440" y="2676"/>
                      </a:lnTo>
                      <a:lnTo>
                        <a:pt x="3440" y="2676"/>
                      </a:lnTo>
                      <a:lnTo>
                        <a:pt x="3446" y="2672"/>
                      </a:lnTo>
                      <a:lnTo>
                        <a:pt x="3450" y="2670"/>
                      </a:lnTo>
                      <a:lnTo>
                        <a:pt x="3450" y="2670"/>
                      </a:lnTo>
                      <a:lnTo>
                        <a:pt x="3452" y="2672"/>
                      </a:lnTo>
                      <a:lnTo>
                        <a:pt x="3448" y="2678"/>
                      </a:lnTo>
                      <a:lnTo>
                        <a:pt x="3448" y="2678"/>
                      </a:lnTo>
                      <a:lnTo>
                        <a:pt x="3444" y="2682"/>
                      </a:lnTo>
                      <a:lnTo>
                        <a:pt x="3444" y="2688"/>
                      </a:lnTo>
                      <a:lnTo>
                        <a:pt x="3446" y="2698"/>
                      </a:lnTo>
                      <a:lnTo>
                        <a:pt x="3450" y="2710"/>
                      </a:lnTo>
                      <a:lnTo>
                        <a:pt x="3456" y="2718"/>
                      </a:lnTo>
                      <a:lnTo>
                        <a:pt x="3456" y="2718"/>
                      </a:lnTo>
                      <a:lnTo>
                        <a:pt x="3458" y="2720"/>
                      </a:lnTo>
                      <a:lnTo>
                        <a:pt x="3460" y="2720"/>
                      </a:lnTo>
                      <a:lnTo>
                        <a:pt x="3462" y="2720"/>
                      </a:lnTo>
                      <a:lnTo>
                        <a:pt x="3462" y="2718"/>
                      </a:lnTo>
                      <a:lnTo>
                        <a:pt x="3462" y="2720"/>
                      </a:lnTo>
                      <a:lnTo>
                        <a:pt x="3464" y="2726"/>
                      </a:lnTo>
                      <a:lnTo>
                        <a:pt x="3464" y="2726"/>
                      </a:lnTo>
                      <a:lnTo>
                        <a:pt x="3466" y="2734"/>
                      </a:lnTo>
                      <a:lnTo>
                        <a:pt x="3470" y="2738"/>
                      </a:lnTo>
                      <a:lnTo>
                        <a:pt x="3474" y="2742"/>
                      </a:lnTo>
                      <a:lnTo>
                        <a:pt x="3476" y="2754"/>
                      </a:lnTo>
                      <a:lnTo>
                        <a:pt x="3476" y="2754"/>
                      </a:lnTo>
                      <a:lnTo>
                        <a:pt x="3478" y="2760"/>
                      </a:lnTo>
                      <a:lnTo>
                        <a:pt x="3480" y="2764"/>
                      </a:lnTo>
                      <a:lnTo>
                        <a:pt x="3484" y="2768"/>
                      </a:lnTo>
                      <a:lnTo>
                        <a:pt x="3486" y="2768"/>
                      </a:lnTo>
                      <a:lnTo>
                        <a:pt x="3492" y="2772"/>
                      </a:lnTo>
                      <a:lnTo>
                        <a:pt x="3496" y="2776"/>
                      </a:lnTo>
                      <a:lnTo>
                        <a:pt x="3498" y="2782"/>
                      </a:lnTo>
                      <a:lnTo>
                        <a:pt x="3498" y="2782"/>
                      </a:lnTo>
                      <a:lnTo>
                        <a:pt x="3500" y="2792"/>
                      </a:lnTo>
                      <a:lnTo>
                        <a:pt x="3504" y="2796"/>
                      </a:lnTo>
                      <a:lnTo>
                        <a:pt x="3506" y="2796"/>
                      </a:lnTo>
                      <a:lnTo>
                        <a:pt x="3504" y="2798"/>
                      </a:lnTo>
                      <a:lnTo>
                        <a:pt x="3504" y="2798"/>
                      </a:lnTo>
                      <a:lnTo>
                        <a:pt x="3502" y="2804"/>
                      </a:lnTo>
                      <a:lnTo>
                        <a:pt x="3504" y="2808"/>
                      </a:lnTo>
                      <a:lnTo>
                        <a:pt x="3508" y="2808"/>
                      </a:lnTo>
                      <a:lnTo>
                        <a:pt x="3518" y="2806"/>
                      </a:lnTo>
                      <a:lnTo>
                        <a:pt x="3518" y="2806"/>
                      </a:lnTo>
                      <a:lnTo>
                        <a:pt x="3522" y="2806"/>
                      </a:lnTo>
                      <a:lnTo>
                        <a:pt x="3524" y="2806"/>
                      </a:lnTo>
                      <a:lnTo>
                        <a:pt x="3526" y="2810"/>
                      </a:lnTo>
                      <a:lnTo>
                        <a:pt x="3526" y="2810"/>
                      </a:lnTo>
                      <a:lnTo>
                        <a:pt x="3530" y="2804"/>
                      </a:lnTo>
                      <a:lnTo>
                        <a:pt x="3530" y="2804"/>
                      </a:lnTo>
                      <a:lnTo>
                        <a:pt x="3534" y="2796"/>
                      </a:lnTo>
                      <a:lnTo>
                        <a:pt x="3536" y="2790"/>
                      </a:lnTo>
                      <a:lnTo>
                        <a:pt x="3536" y="2786"/>
                      </a:lnTo>
                      <a:lnTo>
                        <a:pt x="3540" y="2778"/>
                      </a:lnTo>
                      <a:lnTo>
                        <a:pt x="3540" y="2778"/>
                      </a:lnTo>
                      <a:lnTo>
                        <a:pt x="3544" y="2768"/>
                      </a:lnTo>
                      <a:lnTo>
                        <a:pt x="3544" y="2758"/>
                      </a:lnTo>
                      <a:lnTo>
                        <a:pt x="3544" y="2746"/>
                      </a:lnTo>
                      <a:lnTo>
                        <a:pt x="3546" y="2732"/>
                      </a:lnTo>
                      <a:lnTo>
                        <a:pt x="3546" y="2732"/>
                      </a:lnTo>
                      <a:lnTo>
                        <a:pt x="3546" y="2722"/>
                      </a:lnTo>
                      <a:lnTo>
                        <a:pt x="3544" y="2712"/>
                      </a:lnTo>
                      <a:lnTo>
                        <a:pt x="3536" y="2686"/>
                      </a:lnTo>
                      <a:lnTo>
                        <a:pt x="3526" y="2662"/>
                      </a:lnTo>
                      <a:lnTo>
                        <a:pt x="3526" y="2650"/>
                      </a:lnTo>
                      <a:lnTo>
                        <a:pt x="3526" y="2642"/>
                      </a:lnTo>
                      <a:lnTo>
                        <a:pt x="3526" y="2642"/>
                      </a:lnTo>
                      <a:lnTo>
                        <a:pt x="3526" y="2636"/>
                      </a:lnTo>
                      <a:lnTo>
                        <a:pt x="3524" y="2630"/>
                      </a:lnTo>
                      <a:lnTo>
                        <a:pt x="3514" y="2610"/>
                      </a:lnTo>
                      <a:lnTo>
                        <a:pt x="3506" y="2598"/>
                      </a:lnTo>
                      <a:lnTo>
                        <a:pt x="3500" y="2582"/>
                      </a:lnTo>
                      <a:lnTo>
                        <a:pt x="3496" y="2564"/>
                      </a:lnTo>
                      <a:lnTo>
                        <a:pt x="3492" y="2542"/>
                      </a:lnTo>
                      <a:lnTo>
                        <a:pt x="3492" y="2542"/>
                      </a:lnTo>
                      <a:lnTo>
                        <a:pt x="3490" y="2520"/>
                      </a:lnTo>
                      <a:lnTo>
                        <a:pt x="3492" y="2500"/>
                      </a:lnTo>
                      <a:lnTo>
                        <a:pt x="3496" y="2484"/>
                      </a:lnTo>
                      <a:lnTo>
                        <a:pt x="3502" y="2470"/>
                      </a:lnTo>
                      <a:lnTo>
                        <a:pt x="3508" y="2458"/>
                      </a:lnTo>
                      <a:lnTo>
                        <a:pt x="3514" y="2448"/>
                      </a:lnTo>
                      <a:lnTo>
                        <a:pt x="3524" y="2438"/>
                      </a:lnTo>
                      <a:lnTo>
                        <a:pt x="3524" y="2438"/>
                      </a:lnTo>
                      <a:lnTo>
                        <a:pt x="3528" y="2434"/>
                      </a:lnTo>
                      <a:lnTo>
                        <a:pt x="3528" y="2432"/>
                      </a:lnTo>
                      <a:lnTo>
                        <a:pt x="3528" y="2428"/>
                      </a:lnTo>
                      <a:lnTo>
                        <a:pt x="3528" y="2426"/>
                      </a:lnTo>
                      <a:lnTo>
                        <a:pt x="3528" y="2426"/>
                      </a:lnTo>
                      <a:lnTo>
                        <a:pt x="3536" y="2424"/>
                      </a:lnTo>
                      <a:lnTo>
                        <a:pt x="3536" y="2424"/>
                      </a:lnTo>
                      <a:lnTo>
                        <a:pt x="3542" y="2424"/>
                      </a:lnTo>
                      <a:lnTo>
                        <a:pt x="3548" y="2420"/>
                      </a:lnTo>
                      <a:lnTo>
                        <a:pt x="3556" y="2412"/>
                      </a:lnTo>
                      <a:lnTo>
                        <a:pt x="3564" y="2402"/>
                      </a:lnTo>
                      <a:lnTo>
                        <a:pt x="3568" y="2400"/>
                      </a:lnTo>
                      <a:lnTo>
                        <a:pt x="3570" y="2398"/>
                      </a:lnTo>
                      <a:lnTo>
                        <a:pt x="3570" y="2398"/>
                      </a:lnTo>
                      <a:lnTo>
                        <a:pt x="3574" y="2398"/>
                      </a:lnTo>
                      <a:lnTo>
                        <a:pt x="3576" y="2394"/>
                      </a:lnTo>
                      <a:lnTo>
                        <a:pt x="3580" y="2384"/>
                      </a:lnTo>
                      <a:lnTo>
                        <a:pt x="3588" y="2370"/>
                      </a:lnTo>
                      <a:lnTo>
                        <a:pt x="3592" y="2362"/>
                      </a:lnTo>
                      <a:lnTo>
                        <a:pt x="3600" y="2356"/>
                      </a:lnTo>
                      <a:lnTo>
                        <a:pt x="3600" y="2356"/>
                      </a:lnTo>
                      <a:lnTo>
                        <a:pt x="3606" y="2352"/>
                      </a:lnTo>
                      <a:lnTo>
                        <a:pt x="3612" y="2350"/>
                      </a:lnTo>
                      <a:lnTo>
                        <a:pt x="3624" y="2350"/>
                      </a:lnTo>
                      <a:lnTo>
                        <a:pt x="3628" y="2350"/>
                      </a:lnTo>
                      <a:lnTo>
                        <a:pt x="3630" y="2350"/>
                      </a:lnTo>
                      <a:lnTo>
                        <a:pt x="3634" y="2346"/>
                      </a:lnTo>
                      <a:lnTo>
                        <a:pt x="3636" y="2342"/>
                      </a:lnTo>
                      <a:lnTo>
                        <a:pt x="3636" y="2342"/>
                      </a:lnTo>
                      <a:lnTo>
                        <a:pt x="3638" y="2334"/>
                      </a:lnTo>
                      <a:lnTo>
                        <a:pt x="3642" y="2328"/>
                      </a:lnTo>
                      <a:lnTo>
                        <a:pt x="3654" y="2318"/>
                      </a:lnTo>
                      <a:lnTo>
                        <a:pt x="3666" y="2310"/>
                      </a:lnTo>
                      <a:lnTo>
                        <a:pt x="3680" y="2306"/>
                      </a:lnTo>
                      <a:lnTo>
                        <a:pt x="3680" y="2306"/>
                      </a:lnTo>
                      <a:lnTo>
                        <a:pt x="3690" y="2304"/>
                      </a:lnTo>
                      <a:lnTo>
                        <a:pt x="3696" y="2300"/>
                      </a:lnTo>
                      <a:lnTo>
                        <a:pt x="3698" y="2294"/>
                      </a:lnTo>
                      <a:lnTo>
                        <a:pt x="3698" y="2292"/>
                      </a:lnTo>
                      <a:lnTo>
                        <a:pt x="3696" y="2290"/>
                      </a:lnTo>
                      <a:lnTo>
                        <a:pt x="3696" y="2290"/>
                      </a:lnTo>
                      <a:lnTo>
                        <a:pt x="3694" y="2290"/>
                      </a:lnTo>
                      <a:lnTo>
                        <a:pt x="3690" y="2290"/>
                      </a:lnTo>
                      <a:lnTo>
                        <a:pt x="3686" y="2294"/>
                      </a:lnTo>
                      <a:lnTo>
                        <a:pt x="3680" y="2296"/>
                      </a:lnTo>
                      <a:lnTo>
                        <a:pt x="3676" y="2298"/>
                      </a:lnTo>
                      <a:lnTo>
                        <a:pt x="3674" y="2296"/>
                      </a:lnTo>
                      <a:lnTo>
                        <a:pt x="3674" y="2296"/>
                      </a:lnTo>
                      <a:lnTo>
                        <a:pt x="3672" y="2294"/>
                      </a:lnTo>
                      <a:lnTo>
                        <a:pt x="3674" y="2292"/>
                      </a:lnTo>
                      <a:lnTo>
                        <a:pt x="3680" y="2290"/>
                      </a:lnTo>
                      <a:lnTo>
                        <a:pt x="3682" y="2288"/>
                      </a:lnTo>
                      <a:lnTo>
                        <a:pt x="3684" y="2286"/>
                      </a:lnTo>
                      <a:lnTo>
                        <a:pt x="3684" y="2286"/>
                      </a:lnTo>
                      <a:lnTo>
                        <a:pt x="3686" y="2282"/>
                      </a:lnTo>
                      <a:lnTo>
                        <a:pt x="3684" y="2278"/>
                      </a:lnTo>
                      <a:lnTo>
                        <a:pt x="3678" y="2272"/>
                      </a:lnTo>
                      <a:lnTo>
                        <a:pt x="3676" y="2268"/>
                      </a:lnTo>
                      <a:lnTo>
                        <a:pt x="3682" y="2268"/>
                      </a:lnTo>
                      <a:lnTo>
                        <a:pt x="3682" y="2268"/>
                      </a:lnTo>
                      <a:lnTo>
                        <a:pt x="3692" y="2272"/>
                      </a:lnTo>
                      <a:lnTo>
                        <a:pt x="3696" y="2274"/>
                      </a:lnTo>
                      <a:lnTo>
                        <a:pt x="3698" y="2276"/>
                      </a:lnTo>
                      <a:lnTo>
                        <a:pt x="3700" y="2274"/>
                      </a:lnTo>
                      <a:lnTo>
                        <a:pt x="3706" y="2270"/>
                      </a:lnTo>
                      <a:lnTo>
                        <a:pt x="3706" y="2270"/>
                      </a:lnTo>
                      <a:lnTo>
                        <a:pt x="3710" y="2264"/>
                      </a:lnTo>
                      <a:lnTo>
                        <a:pt x="3714" y="2262"/>
                      </a:lnTo>
                      <a:lnTo>
                        <a:pt x="3716" y="2260"/>
                      </a:lnTo>
                      <a:lnTo>
                        <a:pt x="3718" y="2254"/>
                      </a:lnTo>
                      <a:lnTo>
                        <a:pt x="3718" y="2254"/>
                      </a:lnTo>
                      <a:lnTo>
                        <a:pt x="3720" y="2246"/>
                      </a:lnTo>
                      <a:lnTo>
                        <a:pt x="3718" y="2242"/>
                      </a:lnTo>
                      <a:lnTo>
                        <a:pt x="3714" y="2240"/>
                      </a:lnTo>
                      <a:lnTo>
                        <a:pt x="3710" y="2244"/>
                      </a:lnTo>
                      <a:lnTo>
                        <a:pt x="3710" y="2244"/>
                      </a:lnTo>
                      <a:lnTo>
                        <a:pt x="3708" y="2244"/>
                      </a:lnTo>
                      <a:lnTo>
                        <a:pt x="3708" y="2242"/>
                      </a:lnTo>
                      <a:lnTo>
                        <a:pt x="3704" y="2240"/>
                      </a:lnTo>
                      <a:lnTo>
                        <a:pt x="3694" y="2240"/>
                      </a:lnTo>
                      <a:lnTo>
                        <a:pt x="3694" y="2240"/>
                      </a:lnTo>
                      <a:lnTo>
                        <a:pt x="3684" y="2242"/>
                      </a:lnTo>
                      <a:lnTo>
                        <a:pt x="3678" y="2240"/>
                      </a:lnTo>
                      <a:lnTo>
                        <a:pt x="3678" y="2236"/>
                      </a:lnTo>
                      <a:lnTo>
                        <a:pt x="3678" y="2230"/>
                      </a:lnTo>
                      <a:lnTo>
                        <a:pt x="3678" y="2230"/>
                      </a:lnTo>
                      <a:lnTo>
                        <a:pt x="3678" y="2228"/>
                      </a:lnTo>
                      <a:lnTo>
                        <a:pt x="3678" y="2228"/>
                      </a:lnTo>
                      <a:lnTo>
                        <a:pt x="3680" y="2232"/>
                      </a:lnTo>
                      <a:lnTo>
                        <a:pt x="3684" y="2236"/>
                      </a:lnTo>
                      <a:lnTo>
                        <a:pt x="3686" y="2236"/>
                      </a:lnTo>
                      <a:lnTo>
                        <a:pt x="3690" y="2236"/>
                      </a:lnTo>
                      <a:lnTo>
                        <a:pt x="3696" y="2234"/>
                      </a:lnTo>
                      <a:lnTo>
                        <a:pt x="3696" y="2234"/>
                      </a:lnTo>
                      <a:lnTo>
                        <a:pt x="3704" y="2230"/>
                      </a:lnTo>
                      <a:lnTo>
                        <a:pt x="3708" y="2230"/>
                      </a:lnTo>
                      <a:lnTo>
                        <a:pt x="3714" y="2232"/>
                      </a:lnTo>
                      <a:lnTo>
                        <a:pt x="3718" y="2236"/>
                      </a:lnTo>
                      <a:lnTo>
                        <a:pt x="3724" y="2244"/>
                      </a:lnTo>
                      <a:lnTo>
                        <a:pt x="3726" y="2248"/>
                      </a:lnTo>
                      <a:lnTo>
                        <a:pt x="3728" y="2248"/>
                      </a:lnTo>
                      <a:lnTo>
                        <a:pt x="3728" y="2248"/>
                      </a:lnTo>
                      <a:lnTo>
                        <a:pt x="3728" y="2246"/>
                      </a:lnTo>
                      <a:lnTo>
                        <a:pt x="3728" y="2244"/>
                      </a:lnTo>
                      <a:lnTo>
                        <a:pt x="3724" y="2236"/>
                      </a:lnTo>
                      <a:lnTo>
                        <a:pt x="3718" y="2222"/>
                      </a:lnTo>
                      <a:lnTo>
                        <a:pt x="3712" y="2198"/>
                      </a:lnTo>
                      <a:lnTo>
                        <a:pt x="3712" y="2198"/>
                      </a:lnTo>
                      <a:lnTo>
                        <a:pt x="3708" y="2188"/>
                      </a:lnTo>
                      <a:lnTo>
                        <a:pt x="3706" y="2186"/>
                      </a:lnTo>
                      <a:lnTo>
                        <a:pt x="3704" y="2186"/>
                      </a:lnTo>
                      <a:lnTo>
                        <a:pt x="3700" y="2188"/>
                      </a:lnTo>
                      <a:lnTo>
                        <a:pt x="3694" y="2190"/>
                      </a:lnTo>
                      <a:lnTo>
                        <a:pt x="3694" y="2190"/>
                      </a:lnTo>
                      <a:lnTo>
                        <a:pt x="3692" y="2190"/>
                      </a:lnTo>
                      <a:lnTo>
                        <a:pt x="3692" y="2190"/>
                      </a:lnTo>
                      <a:lnTo>
                        <a:pt x="3696" y="2186"/>
                      </a:lnTo>
                      <a:lnTo>
                        <a:pt x="3698" y="2180"/>
                      </a:lnTo>
                      <a:lnTo>
                        <a:pt x="3698" y="2176"/>
                      </a:lnTo>
                      <a:lnTo>
                        <a:pt x="3694" y="2174"/>
                      </a:lnTo>
                      <a:lnTo>
                        <a:pt x="3694" y="2174"/>
                      </a:lnTo>
                      <a:lnTo>
                        <a:pt x="3690" y="2170"/>
                      </a:lnTo>
                      <a:lnTo>
                        <a:pt x="3692" y="2170"/>
                      </a:lnTo>
                      <a:lnTo>
                        <a:pt x="3696" y="2168"/>
                      </a:lnTo>
                      <a:lnTo>
                        <a:pt x="3698" y="2166"/>
                      </a:lnTo>
                      <a:lnTo>
                        <a:pt x="3698" y="2162"/>
                      </a:lnTo>
                      <a:lnTo>
                        <a:pt x="3698" y="2156"/>
                      </a:lnTo>
                      <a:lnTo>
                        <a:pt x="3698" y="2156"/>
                      </a:lnTo>
                      <a:lnTo>
                        <a:pt x="3696" y="2144"/>
                      </a:lnTo>
                      <a:lnTo>
                        <a:pt x="3696" y="2140"/>
                      </a:lnTo>
                      <a:lnTo>
                        <a:pt x="3696" y="2136"/>
                      </a:lnTo>
                      <a:lnTo>
                        <a:pt x="3690" y="2130"/>
                      </a:lnTo>
                      <a:lnTo>
                        <a:pt x="3690" y="2130"/>
                      </a:lnTo>
                      <a:lnTo>
                        <a:pt x="3678" y="2118"/>
                      </a:lnTo>
                      <a:lnTo>
                        <a:pt x="3678" y="2118"/>
                      </a:lnTo>
                      <a:lnTo>
                        <a:pt x="3678" y="2118"/>
                      </a:lnTo>
                      <a:lnTo>
                        <a:pt x="3686" y="2122"/>
                      </a:lnTo>
                      <a:lnTo>
                        <a:pt x="3686" y="2122"/>
                      </a:lnTo>
                      <a:lnTo>
                        <a:pt x="3694" y="2126"/>
                      </a:lnTo>
                      <a:lnTo>
                        <a:pt x="3696" y="2124"/>
                      </a:lnTo>
                      <a:lnTo>
                        <a:pt x="3696" y="2124"/>
                      </a:lnTo>
                      <a:lnTo>
                        <a:pt x="3692" y="2108"/>
                      </a:lnTo>
                      <a:lnTo>
                        <a:pt x="3692" y="2108"/>
                      </a:lnTo>
                      <a:lnTo>
                        <a:pt x="3688" y="2092"/>
                      </a:lnTo>
                      <a:lnTo>
                        <a:pt x="3690" y="2076"/>
                      </a:lnTo>
                      <a:lnTo>
                        <a:pt x="3690" y="2076"/>
                      </a:lnTo>
                      <a:lnTo>
                        <a:pt x="3692" y="2064"/>
                      </a:lnTo>
                      <a:lnTo>
                        <a:pt x="3696" y="2058"/>
                      </a:lnTo>
                      <a:lnTo>
                        <a:pt x="3702" y="2054"/>
                      </a:lnTo>
                      <a:lnTo>
                        <a:pt x="3702" y="2054"/>
                      </a:lnTo>
                      <a:lnTo>
                        <a:pt x="3704" y="2050"/>
                      </a:lnTo>
                      <a:lnTo>
                        <a:pt x="3704" y="2052"/>
                      </a:lnTo>
                      <a:lnTo>
                        <a:pt x="3700" y="2058"/>
                      </a:lnTo>
                      <a:lnTo>
                        <a:pt x="3698" y="2064"/>
                      </a:lnTo>
                      <a:lnTo>
                        <a:pt x="3698" y="2064"/>
                      </a:lnTo>
                      <a:lnTo>
                        <a:pt x="3694" y="2076"/>
                      </a:lnTo>
                      <a:lnTo>
                        <a:pt x="3694" y="2082"/>
                      </a:lnTo>
                      <a:lnTo>
                        <a:pt x="3696" y="2086"/>
                      </a:lnTo>
                      <a:lnTo>
                        <a:pt x="3696" y="2086"/>
                      </a:lnTo>
                      <a:lnTo>
                        <a:pt x="3696" y="2088"/>
                      </a:lnTo>
                      <a:lnTo>
                        <a:pt x="3696" y="2090"/>
                      </a:lnTo>
                      <a:lnTo>
                        <a:pt x="3694" y="2094"/>
                      </a:lnTo>
                      <a:lnTo>
                        <a:pt x="3696" y="2098"/>
                      </a:lnTo>
                      <a:lnTo>
                        <a:pt x="3696" y="2098"/>
                      </a:lnTo>
                      <a:lnTo>
                        <a:pt x="3698" y="2104"/>
                      </a:lnTo>
                      <a:lnTo>
                        <a:pt x="3696" y="2106"/>
                      </a:lnTo>
                      <a:lnTo>
                        <a:pt x="3696" y="2110"/>
                      </a:lnTo>
                      <a:lnTo>
                        <a:pt x="3700" y="2114"/>
                      </a:lnTo>
                      <a:lnTo>
                        <a:pt x="3700" y="2114"/>
                      </a:lnTo>
                      <a:lnTo>
                        <a:pt x="3706" y="2116"/>
                      </a:lnTo>
                      <a:lnTo>
                        <a:pt x="3708" y="2116"/>
                      </a:lnTo>
                      <a:lnTo>
                        <a:pt x="3710" y="2116"/>
                      </a:lnTo>
                      <a:lnTo>
                        <a:pt x="3712" y="2120"/>
                      </a:lnTo>
                      <a:lnTo>
                        <a:pt x="3712" y="2120"/>
                      </a:lnTo>
                      <a:lnTo>
                        <a:pt x="3712" y="2126"/>
                      </a:lnTo>
                      <a:lnTo>
                        <a:pt x="3712" y="2130"/>
                      </a:lnTo>
                      <a:lnTo>
                        <a:pt x="3712" y="2134"/>
                      </a:lnTo>
                      <a:lnTo>
                        <a:pt x="3716" y="2136"/>
                      </a:lnTo>
                      <a:lnTo>
                        <a:pt x="3716" y="2136"/>
                      </a:lnTo>
                      <a:lnTo>
                        <a:pt x="3718" y="2138"/>
                      </a:lnTo>
                      <a:lnTo>
                        <a:pt x="3716" y="2142"/>
                      </a:lnTo>
                      <a:lnTo>
                        <a:pt x="3710" y="2154"/>
                      </a:lnTo>
                      <a:lnTo>
                        <a:pt x="3706" y="2166"/>
                      </a:lnTo>
                      <a:lnTo>
                        <a:pt x="3706" y="2172"/>
                      </a:lnTo>
                      <a:lnTo>
                        <a:pt x="3710" y="2176"/>
                      </a:lnTo>
                      <a:lnTo>
                        <a:pt x="3710" y="2176"/>
                      </a:lnTo>
                      <a:lnTo>
                        <a:pt x="3712" y="2176"/>
                      </a:lnTo>
                      <a:lnTo>
                        <a:pt x="3714" y="2172"/>
                      </a:lnTo>
                      <a:lnTo>
                        <a:pt x="3720" y="2158"/>
                      </a:lnTo>
                      <a:lnTo>
                        <a:pt x="3728" y="2138"/>
                      </a:lnTo>
                      <a:lnTo>
                        <a:pt x="3738" y="2122"/>
                      </a:lnTo>
                      <a:lnTo>
                        <a:pt x="3738" y="2122"/>
                      </a:lnTo>
                      <a:lnTo>
                        <a:pt x="3744" y="2114"/>
                      </a:lnTo>
                      <a:lnTo>
                        <a:pt x="3746" y="2108"/>
                      </a:lnTo>
                      <a:lnTo>
                        <a:pt x="3748" y="2102"/>
                      </a:lnTo>
                      <a:lnTo>
                        <a:pt x="3748" y="2096"/>
                      </a:lnTo>
                      <a:lnTo>
                        <a:pt x="3748" y="2092"/>
                      </a:lnTo>
                      <a:lnTo>
                        <a:pt x="3746" y="2088"/>
                      </a:lnTo>
                      <a:lnTo>
                        <a:pt x="3744" y="2086"/>
                      </a:lnTo>
                      <a:lnTo>
                        <a:pt x="3740" y="2086"/>
                      </a:lnTo>
                      <a:lnTo>
                        <a:pt x="3740" y="2086"/>
                      </a:lnTo>
                      <a:lnTo>
                        <a:pt x="3738" y="2084"/>
                      </a:lnTo>
                      <a:lnTo>
                        <a:pt x="3736" y="2082"/>
                      </a:lnTo>
                      <a:lnTo>
                        <a:pt x="3732" y="2074"/>
                      </a:lnTo>
                      <a:lnTo>
                        <a:pt x="3726" y="2054"/>
                      </a:lnTo>
                      <a:lnTo>
                        <a:pt x="3726" y="2054"/>
                      </a:lnTo>
                      <a:lnTo>
                        <a:pt x="3724" y="2044"/>
                      </a:lnTo>
                      <a:lnTo>
                        <a:pt x="3726" y="2036"/>
                      </a:lnTo>
                      <a:lnTo>
                        <a:pt x="3730" y="2030"/>
                      </a:lnTo>
                      <a:lnTo>
                        <a:pt x="3738" y="2024"/>
                      </a:lnTo>
                      <a:lnTo>
                        <a:pt x="3738" y="2024"/>
                      </a:lnTo>
                      <a:lnTo>
                        <a:pt x="3742" y="2024"/>
                      </a:lnTo>
                      <a:lnTo>
                        <a:pt x="3736" y="2030"/>
                      </a:lnTo>
                      <a:lnTo>
                        <a:pt x="3732" y="2034"/>
                      </a:lnTo>
                      <a:lnTo>
                        <a:pt x="3730" y="2040"/>
                      </a:lnTo>
                      <a:lnTo>
                        <a:pt x="3730" y="2046"/>
                      </a:lnTo>
                      <a:lnTo>
                        <a:pt x="3732" y="2054"/>
                      </a:lnTo>
                      <a:lnTo>
                        <a:pt x="3732" y="2054"/>
                      </a:lnTo>
                      <a:lnTo>
                        <a:pt x="3738" y="2060"/>
                      </a:lnTo>
                      <a:lnTo>
                        <a:pt x="3742" y="2062"/>
                      </a:lnTo>
                      <a:lnTo>
                        <a:pt x="3748" y="2064"/>
                      </a:lnTo>
                      <a:lnTo>
                        <a:pt x="3750" y="2066"/>
                      </a:lnTo>
                      <a:lnTo>
                        <a:pt x="3750" y="2072"/>
                      </a:lnTo>
                      <a:lnTo>
                        <a:pt x="3750" y="2072"/>
                      </a:lnTo>
                      <a:lnTo>
                        <a:pt x="3750" y="2078"/>
                      </a:lnTo>
                      <a:lnTo>
                        <a:pt x="3752" y="2078"/>
                      </a:lnTo>
                      <a:lnTo>
                        <a:pt x="3754" y="2078"/>
                      </a:lnTo>
                      <a:lnTo>
                        <a:pt x="3758" y="2074"/>
                      </a:lnTo>
                      <a:lnTo>
                        <a:pt x="3766" y="2062"/>
                      </a:lnTo>
                      <a:lnTo>
                        <a:pt x="3774" y="2048"/>
                      </a:lnTo>
                      <a:lnTo>
                        <a:pt x="3774" y="2048"/>
                      </a:lnTo>
                      <a:lnTo>
                        <a:pt x="3784" y="2030"/>
                      </a:lnTo>
                      <a:lnTo>
                        <a:pt x="3790" y="2014"/>
                      </a:lnTo>
                      <a:lnTo>
                        <a:pt x="3790" y="2008"/>
                      </a:lnTo>
                      <a:lnTo>
                        <a:pt x="3790" y="2002"/>
                      </a:lnTo>
                      <a:lnTo>
                        <a:pt x="3790" y="2000"/>
                      </a:lnTo>
                      <a:lnTo>
                        <a:pt x="3786" y="1998"/>
                      </a:lnTo>
                      <a:lnTo>
                        <a:pt x="3786" y="1998"/>
                      </a:lnTo>
                      <a:lnTo>
                        <a:pt x="3778" y="1996"/>
                      </a:lnTo>
                      <a:lnTo>
                        <a:pt x="3776" y="1996"/>
                      </a:lnTo>
                      <a:lnTo>
                        <a:pt x="3776" y="1994"/>
                      </a:lnTo>
                      <a:lnTo>
                        <a:pt x="3778" y="1988"/>
                      </a:lnTo>
                      <a:lnTo>
                        <a:pt x="3784" y="1980"/>
                      </a:lnTo>
                      <a:lnTo>
                        <a:pt x="3784" y="1980"/>
                      </a:lnTo>
                      <a:lnTo>
                        <a:pt x="3796" y="1972"/>
                      </a:lnTo>
                      <a:lnTo>
                        <a:pt x="3808" y="1962"/>
                      </a:lnTo>
                      <a:lnTo>
                        <a:pt x="3824" y="1956"/>
                      </a:lnTo>
                      <a:lnTo>
                        <a:pt x="3838" y="1950"/>
                      </a:lnTo>
                      <a:lnTo>
                        <a:pt x="3838" y="1950"/>
                      </a:lnTo>
                      <a:lnTo>
                        <a:pt x="3854" y="1948"/>
                      </a:lnTo>
                      <a:lnTo>
                        <a:pt x="3870" y="1946"/>
                      </a:lnTo>
                      <a:lnTo>
                        <a:pt x="3886" y="1944"/>
                      </a:lnTo>
                      <a:lnTo>
                        <a:pt x="3890" y="1944"/>
                      </a:lnTo>
                      <a:lnTo>
                        <a:pt x="3892" y="1940"/>
                      </a:lnTo>
                      <a:lnTo>
                        <a:pt x="3892" y="1940"/>
                      </a:lnTo>
                      <a:lnTo>
                        <a:pt x="3894" y="1926"/>
                      </a:lnTo>
                      <a:lnTo>
                        <a:pt x="3896" y="1924"/>
                      </a:lnTo>
                      <a:lnTo>
                        <a:pt x="3898" y="1928"/>
                      </a:lnTo>
                      <a:lnTo>
                        <a:pt x="3898" y="1928"/>
                      </a:lnTo>
                      <a:lnTo>
                        <a:pt x="3900" y="1936"/>
                      </a:lnTo>
                      <a:lnTo>
                        <a:pt x="3904" y="1940"/>
                      </a:lnTo>
                      <a:lnTo>
                        <a:pt x="3906" y="1940"/>
                      </a:lnTo>
                      <a:lnTo>
                        <a:pt x="3908" y="1940"/>
                      </a:lnTo>
                      <a:lnTo>
                        <a:pt x="3914" y="1932"/>
                      </a:lnTo>
                      <a:lnTo>
                        <a:pt x="3914" y="1932"/>
                      </a:lnTo>
                      <a:lnTo>
                        <a:pt x="3920" y="1928"/>
                      </a:lnTo>
                      <a:lnTo>
                        <a:pt x="3922" y="1926"/>
                      </a:lnTo>
                      <a:lnTo>
                        <a:pt x="3924" y="1928"/>
                      </a:lnTo>
                      <a:lnTo>
                        <a:pt x="3924" y="1930"/>
                      </a:lnTo>
                      <a:lnTo>
                        <a:pt x="3924" y="1936"/>
                      </a:lnTo>
                      <a:lnTo>
                        <a:pt x="3926" y="1936"/>
                      </a:lnTo>
                      <a:lnTo>
                        <a:pt x="3928" y="1934"/>
                      </a:lnTo>
                      <a:lnTo>
                        <a:pt x="3928" y="1934"/>
                      </a:lnTo>
                      <a:lnTo>
                        <a:pt x="3932" y="1932"/>
                      </a:lnTo>
                      <a:lnTo>
                        <a:pt x="3936" y="1930"/>
                      </a:lnTo>
                      <a:lnTo>
                        <a:pt x="3946" y="1930"/>
                      </a:lnTo>
                      <a:lnTo>
                        <a:pt x="3952" y="1928"/>
                      </a:lnTo>
                      <a:lnTo>
                        <a:pt x="3952" y="1924"/>
                      </a:lnTo>
                      <a:lnTo>
                        <a:pt x="3952" y="1920"/>
                      </a:lnTo>
                      <a:lnTo>
                        <a:pt x="3952" y="1920"/>
                      </a:lnTo>
                      <a:lnTo>
                        <a:pt x="3948" y="1906"/>
                      </a:lnTo>
                      <a:lnTo>
                        <a:pt x="3946" y="1904"/>
                      </a:lnTo>
                      <a:lnTo>
                        <a:pt x="3942" y="1904"/>
                      </a:lnTo>
                      <a:lnTo>
                        <a:pt x="3942" y="1904"/>
                      </a:lnTo>
                      <a:lnTo>
                        <a:pt x="3940" y="1904"/>
                      </a:lnTo>
                      <a:lnTo>
                        <a:pt x="3942" y="1906"/>
                      </a:lnTo>
                      <a:lnTo>
                        <a:pt x="3946" y="1908"/>
                      </a:lnTo>
                      <a:lnTo>
                        <a:pt x="3948" y="1914"/>
                      </a:lnTo>
                      <a:lnTo>
                        <a:pt x="3948" y="1914"/>
                      </a:lnTo>
                      <a:lnTo>
                        <a:pt x="3944" y="1920"/>
                      </a:lnTo>
                      <a:lnTo>
                        <a:pt x="3940" y="1924"/>
                      </a:lnTo>
                      <a:lnTo>
                        <a:pt x="3936" y="1926"/>
                      </a:lnTo>
                      <a:lnTo>
                        <a:pt x="3932" y="1926"/>
                      </a:lnTo>
                      <a:lnTo>
                        <a:pt x="3930" y="1922"/>
                      </a:lnTo>
                      <a:lnTo>
                        <a:pt x="3928" y="1918"/>
                      </a:lnTo>
                      <a:lnTo>
                        <a:pt x="3928" y="1918"/>
                      </a:lnTo>
                      <a:lnTo>
                        <a:pt x="3924" y="1908"/>
                      </a:lnTo>
                      <a:lnTo>
                        <a:pt x="3924" y="1902"/>
                      </a:lnTo>
                      <a:lnTo>
                        <a:pt x="3920" y="1896"/>
                      </a:lnTo>
                      <a:lnTo>
                        <a:pt x="3912" y="1894"/>
                      </a:lnTo>
                      <a:lnTo>
                        <a:pt x="3912" y="1894"/>
                      </a:lnTo>
                      <a:lnTo>
                        <a:pt x="3910" y="1894"/>
                      </a:lnTo>
                      <a:lnTo>
                        <a:pt x="3910" y="1892"/>
                      </a:lnTo>
                      <a:lnTo>
                        <a:pt x="3918" y="1884"/>
                      </a:lnTo>
                      <a:lnTo>
                        <a:pt x="3926" y="1876"/>
                      </a:lnTo>
                      <a:lnTo>
                        <a:pt x="3926" y="1874"/>
                      </a:lnTo>
                      <a:lnTo>
                        <a:pt x="3924" y="1872"/>
                      </a:lnTo>
                      <a:lnTo>
                        <a:pt x="3924" y="1872"/>
                      </a:lnTo>
                      <a:lnTo>
                        <a:pt x="3922" y="1868"/>
                      </a:lnTo>
                      <a:lnTo>
                        <a:pt x="3920" y="1864"/>
                      </a:lnTo>
                      <a:lnTo>
                        <a:pt x="3922" y="1850"/>
                      </a:lnTo>
                      <a:lnTo>
                        <a:pt x="3928" y="1836"/>
                      </a:lnTo>
                      <a:lnTo>
                        <a:pt x="3936" y="1826"/>
                      </a:lnTo>
                      <a:lnTo>
                        <a:pt x="3936" y="1826"/>
                      </a:lnTo>
                      <a:lnTo>
                        <a:pt x="3940" y="1820"/>
                      </a:lnTo>
                      <a:lnTo>
                        <a:pt x="3940" y="1816"/>
                      </a:lnTo>
                      <a:lnTo>
                        <a:pt x="3940" y="1814"/>
                      </a:lnTo>
                      <a:lnTo>
                        <a:pt x="3942" y="1810"/>
                      </a:lnTo>
                      <a:lnTo>
                        <a:pt x="3942" y="1810"/>
                      </a:lnTo>
                      <a:lnTo>
                        <a:pt x="3944" y="1808"/>
                      </a:lnTo>
                      <a:lnTo>
                        <a:pt x="3946" y="1808"/>
                      </a:lnTo>
                      <a:lnTo>
                        <a:pt x="3948" y="1812"/>
                      </a:lnTo>
                      <a:lnTo>
                        <a:pt x="3952" y="1814"/>
                      </a:lnTo>
                      <a:lnTo>
                        <a:pt x="3954" y="1814"/>
                      </a:lnTo>
                      <a:lnTo>
                        <a:pt x="3958" y="1812"/>
                      </a:lnTo>
                      <a:lnTo>
                        <a:pt x="3958" y="1812"/>
                      </a:lnTo>
                      <a:lnTo>
                        <a:pt x="3966" y="1806"/>
                      </a:lnTo>
                      <a:lnTo>
                        <a:pt x="3970" y="1802"/>
                      </a:lnTo>
                      <a:lnTo>
                        <a:pt x="3974" y="1800"/>
                      </a:lnTo>
                      <a:lnTo>
                        <a:pt x="3976" y="1800"/>
                      </a:lnTo>
                      <a:lnTo>
                        <a:pt x="3976" y="1800"/>
                      </a:lnTo>
                      <a:lnTo>
                        <a:pt x="3982" y="1798"/>
                      </a:lnTo>
                      <a:lnTo>
                        <a:pt x="3984" y="1796"/>
                      </a:lnTo>
                      <a:lnTo>
                        <a:pt x="3988" y="1786"/>
                      </a:lnTo>
                      <a:lnTo>
                        <a:pt x="3992" y="1778"/>
                      </a:lnTo>
                      <a:lnTo>
                        <a:pt x="3996" y="1776"/>
                      </a:lnTo>
                      <a:lnTo>
                        <a:pt x="4000" y="1778"/>
                      </a:lnTo>
                      <a:lnTo>
                        <a:pt x="4000" y="1778"/>
                      </a:lnTo>
                      <a:lnTo>
                        <a:pt x="4006" y="1782"/>
                      </a:lnTo>
                      <a:lnTo>
                        <a:pt x="4008" y="1780"/>
                      </a:lnTo>
                      <a:lnTo>
                        <a:pt x="4010" y="1780"/>
                      </a:lnTo>
                      <a:lnTo>
                        <a:pt x="4012" y="1776"/>
                      </a:lnTo>
                      <a:lnTo>
                        <a:pt x="4016" y="1772"/>
                      </a:lnTo>
                      <a:lnTo>
                        <a:pt x="4016" y="1772"/>
                      </a:lnTo>
                      <a:lnTo>
                        <a:pt x="4022" y="1772"/>
                      </a:lnTo>
                      <a:lnTo>
                        <a:pt x="4024" y="1774"/>
                      </a:lnTo>
                      <a:lnTo>
                        <a:pt x="4028" y="1776"/>
                      </a:lnTo>
                      <a:lnTo>
                        <a:pt x="4036" y="1772"/>
                      </a:lnTo>
                      <a:lnTo>
                        <a:pt x="4036" y="1772"/>
                      </a:lnTo>
                      <a:lnTo>
                        <a:pt x="4044" y="1766"/>
                      </a:lnTo>
                      <a:lnTo>
                        <a:pt x="4052" y="1764"/>
                      </a:lnTo>
                      <a:lnTo>
                        <a:pt x="4060" y="1762"/>
                      </a:lnTo>
                      <a:lnTo>
                        <a:pt x="4066" y="1756"/>
                      </a:lnTo>
                      <a:lnTo>
                        <a:pt x="4066" y="1756"/>
                      </a:lnTo>
                      <a:lnTo>
                        <a:pt x="4070" y="1752"/>
                      </a:lnTo>
                      <a:lnTo>
                        <a:pt x="4070" y="1748"/>
                      </a:lnTo>
                      <a:lnTo>
                        <a:pt x="4068" y="1746"/>
                      </a:lnTo>
                      <a:lnTo>
                        <a:pt x="4066" y="1742"/>
                      </a:lnTo>
                      <a:lnTo>
                        <a:pt x="4066" y="1742"/>
                      </a:lnTo>
                      <a:lnTo>
                        <a:pt x="4064" y="1736"/>
                      </a:lnTo>
                      <a:lnTo>
                        <a:pt x="4062" y="1734"/>
                      </a:lnTo>
                      <a:lnTo>
                        <a:pt x="4054" y="1730"/>
                      </a:lnTo>
                      <a:lnTo>
                        <a:pt x="4054" y="1730"/>
                      </a:lnTo>
                      <a:lnTo>
                        <a:pt x="4052" y="1726"/>
                      </a:lnTo>
                      <a:lnTo>
                        <a:pt x="4050" y="1718"/>
                      </a:lnTo>
                      <a:lnTo>
                        <a:pt x="4050" y="1704"/>
                      </a:lnTo>
                      <a:lnTo>
                        <a:pt x="4050" y="1704"/>
                      </a:lnTo>
                      <a:lnTo>
                        <a:pt x="4052" y="1706"/>
                      </a:lnTo>
                      <a:lnTo>
                        <a:pt x="4054" y="1708"/>
                      </a:lnTo>
                      <a:lnTo>
                        <a:pt x="4054" y="1716"/>
                      </a:lnTo>
                      <a:lnTo>
                        <a:pt x="4054" y="1716"/>
                      </a:lnTo>
                      <a:lnTo>
                        <a:pt x="4054" y="1720"/>
                      </a:lnTo>
                      <a:lnTo>
                        <a:pt x="4056" y="1724"/>
                      </a:lnTo>
                      <a:lnTo>
                        <a:pt x="4060" y="1728"/>
                      </a:lnTo>
                      <a:lnTo>
                        <a:pt x="4066" y="1730"/>
                      </a:lnTo>
                      <a:lnTo>
                        <a:pt x="4066" y="1730"/>
                      </a:lnTo>
                      <a:lnTo>
                        <a:pt x="4078" y="1734"/>
                      </a:lnTo>
                      <a:lnTo>
                        <a:pt x="4088" y="1734"/>
                      </a:lnTo>
                      <a:lnTo>
                        <a:pt x="4096" y="1734"/>
                      </a:lnTo>
                      <a:lnTo>
                        <a:pt x="4106" y="1732"/>
                      </a:lnTo>
                      <a:lnTo>
                        <a:pt x="4122" y="1724"/>
                      </a:lnTo>
                      <a:lnTo>
                        <a:pt x="4144" y="1714"/>
                      </a:lnTo>
                      <a:lnTo>
                        <a:pt x="4144" y="1714"/>
                      </a:lnTo>
                      <a:lnTo>
                        <a:pt x="4152" y="1708"/>
                      </a:lnTo>
                      <a:lnTo>
                        <a:pt x="4156" y="1708"/>
                      </a:lnTo>
                      <a:lnTo>
                        <a:pt x="4156" y="1708"/>
                      </a:lnTo>
                      <a:lnTo>
                        <a:pt x="4158" y="1712"/>
                      </a:lnTo>
                      <a:lnTo>
                        <a:pt x="4160" y="1714"/>
                      </a:lnTo>
                      <a:lnTo>
                        <a:pt x="4164" y="1718"/>
                      </a:lnTo>
                      <a:lnTo>
                        <a:pt x="4172" y="1718"/>
                      </a:lnTo>
                      <a:lnTo>
                        <a:pt x="4188" y="1716"/>
                      </a:lnTo>
                      <a:lnTo>
                        <a:pt x="4188" y="1716"/>
                      </a:lnTo>
                      <a:lnTo>
                        <a:pt x="4202" y="1716"/>
                      </a:lnTo>
                      <a:lnTo>
                        <a:pt x="4194" y="1720"/>
                      </a:lnTo>
                      <a:lnTo>
                        <a:pt x="4172" y="1728"/>
                      </a:lnTo>
                      <a:lnTo>
                        <a:pt x="4148" y="1740"/>
                      </a:lnTo>
                      <a:lnTo>
                        <a:pt x="4148" y="1740"/>
                      </a:lnTo>
                      <a:lnTo>
                        <a:pt x="4136" y="1746"/>
                      </a:lnTo>
                      <a:lnTo>
                        <a:pt x="4126" y="1754"/>
                      </a:lnTo>
                      <a:lnTo>
                        <a:pt x="4118" y="1762"/>
                      </a:lnTo>
                      <a:lnTo>
                        <a:pt x="4110" y="1770"/>
                      </a:lnTo>
                      <a:lnTo>
                        <a:pt x="4106" y="1780"/>
                      </a:lnTo>
                      <a:lnTo>
                        <a:pt x="4104" y="1790"/>
                      </a:lnTo>
                      <a:lnTo>
                        <a:pt x="4106" y="1802"/>
                      </a:lnTo>
                      <a:lnTo>
                        <a:pt x="4110" y="1812"/>
                      </a:lnTo>
                      <a:lnTo>
                        <a:pt x="4110" y="1812"/>
                      </a:lnTo>
                      <a:lnTo>
                        <a:pt x="4116" y="1822"/>
                      </a:lnTo>
                      <a:lnTo>
                        <a:pt x="4124" y="1826"/>
                      </a:lnTo>
                      <a:lnTo>
                        <a:pt x="4130" y="1828"/>
                      </a:lnTo>
                      <a:lnTo>
                        <a:pt x="4138" y="1824"/>
                      </a:lnTo>
                      <a:lnTo>
                        <a:pt x="4146" y="1818"/>
                      </a:lnTo>
                      <a:lnTo>
                        <a:pt x="4154" y="1810"/>
                      </a:lnTo>
                      <a:lnTo>
                        <a:pt x="4174" y="1786"/>
                      </a:lnTo>
                      <a:lnTo>
                        <a:pt x="4174" y="1786"/>
                      </a:lnTo>
                      <a:lnTo>
                        <a:pt x="4182" y="1776"/>
                      </a:lnTo>
                      <a:lnTo>
                        <a:pt x="4190" y="1770"/>
                      </a:lnTo>
                      <a:lnTo>
                        <a:pt x="4196" y="1768"/>
                      </a:lnTo>
                      <a:lnTo>
                        <a:pt x="4202" y="1768"/>
                      </a:lnTo>
                      <a:lnTo>
                        <a:pt x="4208" y="1768"/>
                      </a:lnTo>
                      <a:lnTo>
                        <a:pt x="4216" y="1766"/>
                      </a:lnTo>
                      <a:lnTo>
                        <a:pt x="4224" y="1764"/>
                      </a:lnTo>
                      <a:lnTo>
                        <a:pt x="4238" y="1756"/>
                      </a:lnTo>
                      <a:lnTo>
                        <a:pt x="4238" y="1756"/>
                      </a:lnTo>
                      <a:lnTo>
                        <a:pt x="4252" y="1748"/>
                      </a:lnTo>
                      <a:lnTo>
                        <a:pt x="4266" y="1742"/>
                      </a:lnTo>
                      <a:lnTo>
                        <a:pt x="4290" y="1734"/>
                      </a:lnTo>
                      <a:lnTo>
                        <a:pt x="4300" y="1730"/>
                      </a:lnTo>
                      <a:lnTo>
                        <a:pt x="4306" y="1728"/>
                      </a:lnTo>
                      <a:lnTo>
                        <a:pt x="4308" y="1724"/>
                      </a:lnTo>
                      <a:lnTo>
                        <a:pt x="4304" y="1720"/>
                      </a:lnTo>
                      <a:lnTo>
                        <a:pt x="4304" y="1720"/>
                      </a:lnTo>
                      <a:lnTo>
                        <a:pt x="4284" y="1700"/>
                      </a:lnTo>
                      <a:lnTo>
                        <a:pt x="4280" y="1698"/>
                      </a:lnTo>
                      <a:lnTo>
                        <a:pt x="4276" y="1696"/>
                      </a:lnTo>
                      <a:lnTo>
                        <a:pt x="4270" y="1696"/>
                      </a:lnTo>
                      <a:lnTo>
                        <a:pt x="4264" y="1698"/>
                      </a:lnTo>
                      <a:lnTo>
                        <a:pt x="4264" y="1698"/>
                      </a:lnTo>
                      <a:lnTo>
                        <a:pt x="4258" y="1700"/>
                      </a:lnTo>
                      <a:lnTo>
                        <a:pt x="4246" y="1700"/>
                      </a:lnTo>
                      <a:lnTo>
                        <a:pt x="4236" y="1700"/>
                      </a:lnTo>
                      <a:lnTo>
                        <a:pt x="4224" y="1696"/>
                      </a:lnTo>
                      <a:lnTo>
                        <a:pt x="4212" y="1694"/>
                      </a:lnTo>
                      <a:lnTo>
                        <a:pt x="4204" y="1690"/>
                      </a:lnTo>
                      <a:lnTo>
                        <a:pt x="4198" y="1684"/>
                      </a:lnTo>
                      <a:lnTo>
                        <a:pt x="4196" y="1682"/>
                      </a:lnTo>
                      <a:lnTo>
                        <a:pt x="4196" y="1680"/>
                      </a:lnTo>
                      <a:lnTo>
                        <a:pt x="4196" y="1680"/>
                      </a:lnTo>
                      <a:lnTo>
                        <a:pt x="4196" y="1676"/>
                      </a:lnTo>
                      <a:lnTo>
                        <a:pt x="4194" y="1674"/>
                      </a:lnTo>
                      <a:lnTo>
                        <a:pt x="4186" y="1672"/>
                      </a:lnTo>
                      <a:lnTo>
                        <a:pt x="4178" y="1668"/>
                      </a:lnTo>
                      <a:lnTo>
                        <a:pt x="4172" y="1664"/>
                      </a:lnTo>
                      <a:lnTo>
                        <a:pt x="4166" y="1654"/>
                      </a:lnTo>
                      <a:lnTo>
                        <a:pt x="4160" y="1640"/>
                      </a:lnTo>
                      <a:lnTo>
                        <a:pt x="4160" y="1640"/>
                      </a:lnTo>
                      <a:lnTo>
                        <a:pt x="4156" y="1624"/>
                      </a:lnTo>
                      <a:lnTo>
                        <a:pt x="4156" y="1610"/>
                      </a:lnTo>
                      <a:lnTo>
                        <a:pt x="4158" y="1598"/>
                      </a:lnTo>
                      <a:lnTo>
                        <a:pt x="4160" y="1588"/>
                      </a:lnTo>
                      <a:lnTo>
                        <a:pt x="4162" y="1580"/>
                      </a:lnTo>
                      <a:lnTo>
                        <a:pt x="4162" y="1576"/>
                      </a:lnTo>
                      <a:lnTo>
                        <a:pt x="4158" y="1574"/>
                      </a:lnTo>
                      <a:lnTo>
                        <a:pt x="4148" y="1576"/>
                      </a:lnTo>
                      <a:lnTo>
                        <a:pt x="4148" y="1576"/>
                      </a:lnTo>
                      <a:lnTo>
                        <a:pt x="4134" y="1578"/>
                      </a:lnTo>
                      <a:lnTo>
                        <a:pt x="4126" y="1580"/>
                      </a:lnTo>
                      <a:lnTo>
                        <a:pt x="4124" y="1578"/>
                      </a:lnTo>
                      <a:lnTo>
                        <a:pt x="4126" y="1574"/>
                      </a:lnTo>
                      <a:lnTo>
                        <a:pt x="4140" y="1564"/>
                      </a:lnTo>
                      <a:lnTo>
                        <a:pt x="4164" y="1550"/>
                      </a:lnTo>
                      <a:lnTo>
                        <a:pt x="4164" y="1550"/>
                      </a:lnTo>
                      <a:lnTo>
                        <a:pt x="4178" y="1538"/>
                      </a:lnTo>
                      <a:lnTo>
                        <a:pt x="4182" y="1532"/>
                      </a:lnTo>
                      <a:lnTo>
                        <a:pt x="4184" y="1528"/>
                      </a:lnTo>
                      <a:lnTo>
                        <a:pt x="4184" y="1522"/>
                      </a:lnTo>
                      <a:lnTo>
                        <a:pt x="4180" y="1516"/>
                      </a:lnTo>
                      <a:lnTo>
                        <a:pt x="4174" y="1508"/>
                      </a:lnTo>
                      <a:lnTo>
                        <a:pt x="4166" y="1502"/>
                      </a:lnTo>
                      <a:lnTo>
                        <a:pt x="4166" y="1502"/>
                      </a:lnTo>
                      <a:lnTo>
                        <a:pt x="4160" y="1498"/>
                      </a:lnTo>
                      <a:lnTo>
                        <a:pt x="4150" y="1496"/>
                      </a:lnTo>
                      <a:lnTo>
                        <a:pt x="4140" y="1496"/>
                      </a:lnTo>
                      <a:lnTo>
                        <a:pt x="4130" y="1496"/>
                      </a:lnTo>
                      <a:lnTo>
                        <a:pt x="4102" y="1500"/>
                      </a:lnTo>
                      <a:lnTo>
                        <a:pt x="4074" y="1508"/>
                      </a:lnTo>
                      <a:lnTo>
                        <a:pt x="4044" y="1518"/>
                      </a:lnTo>
                      <a:lnTo>
                        <a:pt x="4018" y="1532"/>
                      </a:lnTo>
                      <a:lnTo>
                        <a:pt x="3996" y="1546"/>
                      </a:lnTo>
                      <a:lnTo>
                        <a:pt x="3988" y="1554"/>
                      </a:lnTo>
                      <a:lnTo>
                        <a:pt x="3982" y="1560"/>
                      </a:lnTo>
                      <a:lnTo>
                        <a:pt x="3982" y="1560"/>
                      </a:lnTo>
                      <a:lnTo>
                        <a:pt x="3964" y="1584"/>
                      </a:lnTo>
                      <a:lnTo>
                        <a:pt x="3948" y="1602"/>
                      </a:lnTo>
                      <a:lnTo>
                        <a:pt x="3934" y="1616"/>
                      </a:lnTo>
                      <a:lnTo>
                        <a:pt x="3922" y="1626"/>
                      </a:lnTo>
                      <a:lnTo>
                        <a:pt x="3914" y="1634"/>
                      </a:lnTo>
                      <a:lnTo>
                        <a:pt x="3908" y="1636"/>
                      </a:lnTo>
                      <a:lnTo>
                        <a:pt x="3908" y="1636"/>
                      </a:lnTo>
                      <a:lnTo>
                        <a:pt x="3908" y="1634"/>
                      </a:lnTo>
                      <a:lnTo>
                        <a:pt x="3914" y="1628"/>
                      </a:lnTo>
                      <a:lnTo>
                        <a:pt x="3914" y="1628"/>
                      </a:lnTo>
                      <a:lnTo>
                        <a:pt x="3924" y="1616"/>
                      </a:lnTo>
                      <a:lnTo>
                        <a:pt x="3936" y="1600"/>
                      </a:lnTo>
                      <a:lnTo>
                        <a:pt x="3964" y="1560"/>
                      </a:lnTo>
                      <a:lnTo>
                        <a:pt x="3978" y="1542"/>
                      </a:lnTo>
                      <a:lnTo>
                        <a:pt x="3994" y="1524"/>
                      </a:lnTo>
                      <a:lnTo>
                        <a:pt x="4010" y="1510"/>
                      </a:lnTo>
                      <a:lnTo>
                        <a:pt x="4020" y="1504"/>
                      </a:lnTo>
                      <a:lnTo>
                        <a:pt x="4030" y="1500"/>
                      </a:lnTo>
                      <a:lnTo>
                        <a:pt x="4030" y="1500"/>
                      </a:lnTo>
                      <a:lnTo>
                        <a:pt x="4040" y="1496"/>
                      </a:lnTo>
                      <a:lnTo>
                        <a:pt x="4050" y="1490"/>
                      </a:lnTo>
                      <a:lnTo>
                        <a:pt x="4056" y="1486"/>
                      </a:lnTo>
                      <a:lnTo>
                        <a:pt x="4060" y="1482"/>
                      </a:lnTo>
                      <a:lnTo>
                        <a:pt x="4066" y="1472"/>
                      </a:lnTo>
                      <a:lnTo>
                        <a:pt x="4068" y="1464"/>
                      </a:lnTo>
                      <a:lnTo>
                        <a:pt x="4072" y="1456"/>
                      </a:lnTo>
                      <a:lnTo>
                        <a:pt x="4076" y="1452"/>
                      </a:lnTo>
                      <a:lnTo>
                        <a:pt x="4082" y="1448"/>
                      </a:lnTo>
                      <a:lnTo>
                        <a:pt x="4090" y="1444"/>
                      </a:lnTo>
                      <a:lnTo>
                        <a:pt x="4102" y="1440"/>
                      </a:lnTo>
                      <a:lnTo>
                        <a:pt x="4136" y="1432"/>
                      </a:lnTo>
                      <a:lnTo>
                        <a:pt x="4136" y="1432"/>
                      </a:lnTo>
                      <a:lnTo>
                        <a:pt x="4160" y="1430"/>
                      </a:lnTo>
                      <a:lnTo>
                        <a:pt x="4182" y="1428"/>
                      </a:lnTo>
                      <a:lnTo>
                        <a:pt x="4202" y="1430"/>
                      </a:lnTo>
                      <a:lnTo>
                        <a:pt x="4220" y="1432"/>
                      </a:lnTo>
                      <a:lnTo>
                        <a:pt x="4252" y="1436"/>
                      </a:lnTo>
                      <a:lnTo>
                        <a:pt x="4278" y="1442"/>
                      </a:lnTo>
                      <a:lnTo>
                        <a:pt x="4304" y="1446"/>
                      </a:lnTo>
                      <a:lnTo>
                        <a:pt x="4316" y="1444"/>
                      </a:lnTo>
                      <a:lnTo>
                        <a:pt x="4330" y="1442"/>
                      </a:lnTo>
                      <a:lnTo>
                        <a:pt x="4342" y="1438"/>
                      </a:lnTo>
                      <a:lnTo>
                        <a:pt x="4356" y="1430"/>
                      </a:lnTo>
                      <a:lnTo>
                        <a:pt x="4370" y="1420"/>
                      </a:lnTo>
                      <a:lnTo>
                        <a:pt x="4386" y="1406"/>
                      </a:lnTo>
                      <a:lnTo>
                        <a:pt x="4386" y="1406"/>
                      </a:lnTo>
                      <a:lnTo>
                        <a:pt x="4414" y="1382"/>
                      </a:lnTo>
                      <a:lnTo>
                        <a:pt x="4434" y="1368"/>
                      </a:lnTo>
                      <a:lnTo>
                        <a:pt x="4448" y="1362"/>
                      </a:lnTo>
                      <a:lnTo>
                        <a:pt x="4458" y="1362"/>
                      </a:lnTo>
                      <a:lnTo>
                        <a:pt x="4470" y="1366"/>
                      </a:lnTo>
                      <a:lnTo>
                        <a:pt x="4474" y="1366"/>
                      </a:lnTo>
                      <a:lnTo>
                        <a:pt x="4482" y="1358"/>
                      </a:lnTo>
                      <a:lnTo>
                        <a:pt x="4482" y="1358"/>
                      </a:lnTo>
                      <a:lnTo>
                        <a:pt x="4492" y="1348"/>
                      </a:lnTo>
                      <a:lnTo>
                        <a:pt x="4502" y="1342"/>
                      </a:lnTo>
                      <a:lnTo>
                        <a:pt x="4518" y="1330"/>
                      </a:lnTo>
                      <a:lnTo>
                        <a:pt x="4524" y="1324"/>
                      </a:lnTo>
                      <a:lnTo>
                        <a:pt x="4526" y="1316"/>
                      </a:lnTo>
                      <a:lnTo>
                        <a:pt x="4526" y="1308"/>
                      </a:lnTo>
                      <a:lnTo>
                        <a:pt x="4522" y="1296"/>
                      </a:lnTo>
                      <a:lnTo>
                        <a:pt x="4522" y="1296"/>
                      </a:lnTo>
                      <a:lnTo>
                        <a:pt x="4518" y="1284"/>
                      </a:lnTo>
                      <a:lnTo>
                        <a:pt x="4518" y="1278"/>
                      </a:lnTo>
                      <a:lnTo>
                        <a:pt x="4518" y="1274"/>
                      </a:lnTo>
                      <a:lnTo>
                        <a:pt x="4522" y="1270"/>
                      </a:lnTo>
                      <a:lnTo>
                        <a:pt x="4524" y="1268"/>
                      </a:lnTo>
                      <a:lnTo>
                        <a:pt x="4526" y="1264"/>
                      </a:lnTo>
                      <a:lnTo>
                        <a:pt x="4524" y="1258"/>
                      </a:lnTo>
                      <a:lnTo>
                        <a:pt x="4522" y="1248"/>
                      </a:lnTo>
                      <a:lnTo>
                        <a:pt x="4522" y="1248"/>
                      </a:lnTo>
                      <a:lnTo>
                        <a:pt x="4516" y="1238"/>
                      </a:lnTo>
                      <a:lnTo>
                        <a:pt x="4510" y="1234"/>
                      </a:lnTo>
                      <a:lnTo>
                        <a:pt x="4502" y="1232"/>
                      </a:lnTo>
                      <a:lnTo>
                        <a:pt x="4496" y="1230"/>
                      </a:lnTo>
                      <a:lnTo>
                        <a:pt x="4488" y="1230"/>
                      </a:lnTo>
                      <a:lnTo>
                        <a:pt x="4480" y="1228"/>
                      </a:lnTo>
                      <a:lnTo>
                        <a:pt x="4472" y="1222"/>
                      </a:lnTo>
                      <a:lnTo>
                        <a:pt x="4464" y="1214"/>
                      </a:lnTo>
                      <a:lnTo>
                        <a:pt x="4464" y="1214"/>
                      </a:lnTo>
                      <a:lnTo>
                        <a:pt x="4454" y="1204"/>
                      </a:lnTo>
                      <a:lnTo>
                        <a:pt x="4446" y="1198"/>
                      </a:lnTo>
                      <a:lnTo>
                        <a:pt x="4436" y="1198"/>
                      </a:lnTo>
                      <a:lnTo>
                        <a:pt x="4428" y="1200"/>
                      </a:lnTo>
                      <a:lnTo>
                        <a:pt x="4416" y="1204"/>
                      </a:lnTo>
                      <a:lnTo>
                        <a:pt x="4406" y="1212"/>
                      </a:lnTo>
                      <a:lnTo>
                        <a:pt x="4376" y="1234"/>
                      </a:lnTo>
                      <a:lnTo>
                        <a:pt x="4376" y="1234"/>
                      </a:lnTo>
                      <a:lnTo>
                        <a:pt x="4362" y="1242"/>
                      </a:lnTo>
                      <a:lnTo>
                        <a:pt x="4352" y="1246"/>
                      </a:lnTo>
                      <a:lnTo>
                        <a:pt x="4344" y="1246"/>
                      </a:lnTo>
                      <a:lnTo>
                        <a:pt x="4342" y="1242"/>
                      </a:lnTo>
                      <a:lnTo>
                        <a:pt x="4342" y="1238"/>
                      </a:lnTo>
                      <a:lnTo>
                        <a:pt x="4346" y="1230"/>
                      </a:lnTo>
                      <a:lnTo>
                        <a:pt x="4354" y="1226"/>
                      </a:lnTo>
                      <a:lnTo>
                        <a:pt x="4364" y="1220"/>
                      </a:lnTo>
                      <a:lnTo>
                        <a:pt x="4364" y="1220"/>
                      </a:lnTo>
                      <a:lnTo>
                        <a:pt x="4376" y="1218"/>
                      </a:lnTo>
                      <a:lnTo>
                        <a:pt x="4386" y="1214"/>
                      </a:lnTo>
                      <a:lnTo>
                        <a:pt x="4400" y="1204"/>
                      </a:lnTo>
                      <a:lnTo>
                        <a:pt x="4414" y="1196"/>
                      </a:lnTo>
                      <a:lnTo>
                        <a:pt x="4424" y="1192"/>
                      </a:lnTo>
                      <a:lnTo>
                        <a:pt x="4438" y="1190"/>
                      </a:lnTo>
                      <a:lnTo>
                        <a:pt x="4438" y="1190"/>
                      </a:lnTo>
                      <a:lnTo>
                        <a:pt x="4450" y="1186"/>
                      </a:lnTo>
                      <a:lnTo>
                        <a:pt x="4456" y="1184"/>
                      </a:lnTo>
                      <a:lnTo>
                        <a:pt x="4458" y="1178"/>
                      </a:lnTo>
                      <a:lnTo>
                        <a:pt x="4456" y="1174"/>
                      </a:lnTo>
                      <a:lnTo>
                        <a:pt x="4450" y="1170"/>
                      </a:lnTo>
                      <a:lnTo>
                        <a:pt x="4442" y="1166"/>
                      </a:lnTo>
                      <a:lnTo>
                        <a:pt x="4432" y="1162"/>
                      </a:lnTo>
                      <a:lnTo>
                        <a:pt x="4418" y="1160"/>
                      </a:lnTo>
                      <a:lnTo>
                        <a:pt x="4418" y="1160"/>
                      </a:lnTo>
                      <a:lnTo>
                        <a:pt x="4406" y="1158"/>
                      </a:lnTo>
                      <a:lnTo>
                        <a:pt x="4400" y="1154"/>
                      </a:lnTo>
                      <a:lnTo>
                        <a:pt x="4396" y="1150"/>
                      </a:lnTo>
                      <a:lnTo>
                        <a:pt x="4394" y="1146"/>
                      </a:lnTo>
                      <a:lnTo>
                        <a:pt x="4392" y="1142"/>
                      </a:lnTo>
                      <a:lnTo>
                        <a:pt x="4388" y="1138"/>
                      </a:lnTo>
                      <a:lnTo>
                        <a:pt x="4378" y="1136"/>
                      </a:lnTo>
                      <a:lnTo>
                        <a:pt x="4364" y="1132"/>
                      </a:lnTo>
                      <a:lnTo>
                        <a:pt x="4364" y="1132"/>
                      </a:lnTo>
                      <a:lnTo>
                        <a:pt x="4350" y="1130"/>
                      </a:lnTo>
                      <a:lnTo>
                        <a:pt x="4342" y="1126"/>
                      </a:lnTo>
                      <a:lnTo>
                        <a:pt x="4340" y="1122"/>
                      </a:lnTo>
                      <a:lnTo>
                        <a:pt x="4338" y="1116"/>
                      </a:lnTo>
                      <a:lnTo>
                        <a:pt x="4340" y="1112"/>
                      </a:lnTo>
                      <a:lnTo>
                        <a:pt x="4338" y="1106"/>
                      </a:lnTo>
                      <a:lnTo>
                        <a:pt x="4334" y="1102"/>
                      </a:lnTo>
                      <a:lnTo>
                        <a:pt x="4324" y="1096"/>
                      </a:lnTo>
                      <a:lnTo>
                        <a:pt x="4324" y="1096"/>
                      </a:lnTo>
                      <a:lnTo>
                        <a:pt x="4314" y="1090"/>
                      </a:lnTo>
                      <a:lnTo>
                        <a:pt x="4304" y="1084"/>
                      </a:lnTo>
                      <a:lnTo>
                        <a:pt x="4296" y="1078"/>
                      </a:lnTo>
                      <a:lnTo>
                        <a:pt x="4290" y="1070"/>
                      </a:lnTo>
                      <a:lnTo>
                        <a:pt x="4286" y="1062"/>
                      </a:lnTo>
                      <a:lnTo>
                        <a:pt x="4286" y="1052"/>
                      </a:lnTo>
                      <a:lnTo>
                        <a:pt x="4288" y="1042"/>
                      </a:lnTo>
                      <a:lnTo>
                        <a:pt x="4294" y="1030"/>
                      </a:lnTo>
                      <a:lnTo>
                        <a:pt x="4294" y="1030"/>
                      </a:lnTo>
                      <a:lnTo>
                        <a:pt x="4298" y="1024"/>
                      </a:lnTo>
                      <a:lnTo>
                        <a:pt x="4298" y="1020"/>
                      </a:lnTo>
                      <a:lnTo>
                        <a:pt x="4298" y="1016"/>
                      </a:lnTo>
                      <a:lnTo>
                        <a:pt x="4296" y="1012"/>
                      </a:lnTo>
                      <a:lnTo>
                        <a:pt x="4290" y="1008"/>
                      </a:lnTo>
                      <a:lnTo>
                        <a:pt x="4282" y="1004"/>
                      </a:lnTo>
                      <a:lnTo>
                        <a:pt x="4274" y="1002"/>
                      </a:lnTo>
                      <a:lnTo>
                        <a:pt x="4268" y="998"/>
                      </a:lnTo>
                      <a:lnTo>
                        <a:pt x="4266" y="996"/>
                      </a:lnTo>
                      <a:lnTo>
                        <a:pt x="4266" y="994"/>
                      </a:lnTo>
                      <a:lnTo>
                        <a:pt x="4266" y="990"/>
                      </a:lnTo>
                      <a:lnTo>
                        <a:pt x="4270" y="986"/>
                      </a:lnTo>
                      <a:lnTo>
                        <a:pt x="4270" y="986"/>
                      </a:lnTo>
                      <a:lnTo>
                        <a:pt x="4274" y="978"/>
                      </a:lnTo>
                      <a:lnTo>
                        <a:pt x="4274" y="970"/>
                      </a:lnTo>
                      <a:lnTo>
                        <a:pt x="4270" y="966"/>
                      </a:lnTo>
                      <a:lnTo>
                        <a:pt x="4264" y="960"/>
                      </a:lnTo>
                      <a:lnTo>
                        <a:pt x="4258" y="954"/>
                      </a:lnTo>
                      <a:lnTo>
                        <a:pt x="4252" y="948"/>
                      </a:lnTo>
                      <a:lnTo>
                        <a:pt x="4246" y="940"/>
                      </a:lnTo>
                      <a:lnTo>
                        <a:pt x="4244" y="928"/>
                      </a:lnTo>
                      <a:lnTo>
                        <a:pt x="4244" y="928"/>
                      </a:lnTo>
                      <a:lnTo>
                        <a:pt x="4240" y="912"/>
                      </a:lnTo>
                      <a:lnTo>
                        <a:pt x="4238" y="908"/>
                      </a:lnTo>
                      <a:lnTo>
                        <a:pt x="4236" y="906"/>
                      </a:lnTo>
                      <a:lnTo>
                        <a:pt x="4230" y="902"/>
                      </a:lnTo>
                      <a:lnTo>
                        <a:pt x="4228" y="898"/>
                      </a:lnTo>
                      <a:lnTo>
                        <a:pt x="4226" y="890"/>
                      </a:lnTo>
                      <a:lnTo>
                        <a:pt x="4226" y="890"/>
                      </a:lnTo>
                      <a:lnTo>
                        <a:pt x="4222" y="882"/>
                      </a:lnTo>
                      <a:lnTo>
                        <a:pt x="4218" y="878"/>
                      </a:lnTo>
                      <a:lnTo>
                        <a:pt x="4210" y="872"/>
                      </a:lnTo>
                      <a:lnTo>
                        <a:pt x="4206" y="868"/>
                      </a:lnTo>
                      <a:lnTo>
                        <a:pt x="4200" y="862"/>
                      </a:lnTo>
                      <a:lnTo>
                        <a:pt x="4194" y="852"/>
                      </a:lnTo>
                      <a:lnTo>
                        <a:pt x="4186" y="838"/>
                      </a:lnTo>
                      <a:lnTo>
                        <a:pt x="4186" y="838"/>
                      </a:lnTo>
                      <a:lnTo>
                        <a:pt x="4180" y="824"/>
                      </a:lnTo>
                      <a:lnTo>
                        <a:pt x="4174" y="816"/>
                      </a:lnTo>
                      <a:lnTo>
                        <a:pt x="4168" y="812"/>
                      </a:lnTo>
                      <a:lnTo>
                        <a:pt x="4164" y="812"/>
                      </a:lnTo>
                      <a:lnTo>
                        <a:pt x="4158" y="814"/>
                      </a:lnTo>
                      <a:lnTo>
                        <a:pt x="4154" y="820"/>
                      </a:lnTo>
                      <a:lnTo>
                        <a:pt x="4140" y="836"/>
                      </a:lnTo>
                      <a:lnTo>
                        <a:pt x="4140" y="836"/>
                      </a:lnTo>
                      <a:lnTo>
                        <a:pt x="4132" y="848"/>
                      </a:lnTo>
                      <a:lnTo>
                        <a:pt x="4128" y="860"/>
                      </a:lnTo>
                      <a:lnTo>
                        <a:pt x="4124" y="884"/>
                      </a:lnTo>
                      <a:lnTo>
                        <a:pt x="4120" y="896"/>
                      </a:lnTo>
                      <a:lnTo>
                        <a:pt x="4116" y="904"/>
                      </a:lnTo>
                      <a:lnTo>
                        <a:pt x="4114" y="906"/>
                      </a:lnTo>
                      <a:lnTo>
                        <a:pt x="4110" y="908"/>
                      </a:lnTo>
                      <a:lnTo>
                        <a:pt x="4106" y="908"/>
                      </a:lnTo>
                      <a:lnTo>
                        <a:pt x="4100" y="906"/>
                      </a:lnTo>
                      <a:lnTo>
                        <a:pt x="4100" y="906"/>
                      </a:lnTo>
                      <a:lnTo>
                        <a:pt x="4090" y="904"/>
                      </a:lnTo>
                      <a:lnTo>
                        <a:pt x="4086" y="906"/>
                      </a:lnTo>
                      <a:lnTo>
                        <a:pt x="4084" y="908"/>
                      </a:lnTo>
                      <a:lnTo>
                        <a:pt x="4084" y="912"/>
                      </a:lnTo>
                      <a:lnTo>
                        <a:pt x="4082" y="916"/>
                      </a:lnTo>
                      <a:lnTo>
                        <a:pt x="4080" y="922"/>
                      </a:lnTo>
                      <a:lnTo>
                        <a:pt x="4074" y="928"/>
                      </a:lnTo>
                      <a:lnTo>
                        <a:pt x="4060" y="934"/>
                      </a:lnTo>
                      <a:lnTo>
                        <a:pt x="4060" y="934"/>
                      </a:lnTo>
                      <a:lnTo>
                        <a:pt x="4048" y="936"/>
                      </a:lnTo>
                      <a:lnTo>
                        <a:pt x="4038" y="934"/>
                      </a:lnTo>
                      <a:lnTo>
                        <a:pt x="4030" y="930"/>
                      </a:lnTo>
                      <a:lnTo>
                        <a:pt x="4024" y="922"/>
                      </a:lnTo>
                      <a:lnTo>
                        <a:pt x="4018" y="914"/>
                      </a:lnTo>
                      <a:lnTo>
                        <a:pt x="4010" y="908"/>
                      </a:lnTo>
                      <a:lnTo>
                        <a:pt x="4002" y="902"/>
                      </a:lnTo>
                      <a:lnTo>
                        <a:pt x="3988" y="900"/>
                      </a:lnTo>
                      <a:lnTo>
                        <a:pt x="3988" y="900"/>
                      </a:lnTo>
                      <a:lnTo>
                        <a:pt x="3976" y="900"/>
                      </a:lnTo>
                      <a:lnTo>
                        <a:pt x="3972" y="900"/>
                      </a:lnTo>
                      <a:lnTo>
                        <a:pt x="3970" y="896"/>
                      </a:lnTo>
                      <a:lnTo>
                        <a:pt x="3972" y="892"/>
                      </a:lnTo>
                      <a:lnTo>
                        <a:pt x="3974" y="888"/>
                      </a:lnTo>
                      <a:lnTo>
                        <a:pt x="3976" y="884"/>
                      </a:lnTo>
                      <a:lnTo>
                        <a:pt x="3974" y="880"/>
                      </a:lnTo>
                      <a:lnTo>
                        <a:pt x="3968" y="874"/>
                      </a:lnTo>
                      <a:lnTo>
                        <a:pt x="3968" y="874"/>
                      </a:lnTo>
                      <a:lnTo>
                        <a:pt x="3962" y="870"/>
                      </a:lnTo>
                      <a:lnTo>
                        <a:pt x="3960" y="866"/>
                      </a:lnTo>
                      <a:lnTo>
                        <a:pt x="3962" y="864"/>
                      </a:lnTo>
                      <a:lnTo>
                        <a:pt x="3964" y="860"/>
                      </a:lnTo>
                      <a:lnTo>
                        <a:pt x="3966" y="856"/>
                      </a:lnTo>
                      <a:lnTo>
                        <a:pt x="3968" y="850"/>
                      </a:lnTo>
                      <a:lnTo>
                        <a:pt x="3968" y="844"/>
                      </a:lnTo>
                      <a:lnTo>
                        <a:pt x="3964" y="836"/>
                      </a:lnTo>
                      <a:lnTo>
                        <a:pt x="3964" y="836"/>
                      </a:lnTo>
                      <a:lnTo>
                        <a:pt x="3960" y="824"/>
                      </a:lnTo>
                      <a:lnTo>
                        <a:pt x="3958" y="814"/>
                      </a:lnTo>
                      <a:lnTo>
                        <a:pt x="3962" y="802"/>
                      </a:lnTo>
                      <a:lnTo>
                        <a:pt x="3966" y="794"/>
                      </a:lnTo>
                      <a:lnTo>
                        <a:pt x="3974" y="776"/>
                      </a:lnTo>
                      <a:lnTo>
                        <a:pt x="3974" y="770"/>
                      </a:lnTo>
                      <a:lnTo>
                        <a:pt x="3972" y="764"/>
                      </a:lnTo>
                      <a:lnTo>
                        <a:pt x="3972" y="764"/>
                      </a:lnTo>
                      <a:lnTo>
                        <a:pt x="3968" y="758"/>
                      </a:lnTo>
                      <a:lnTo>
                        <a:pt x="3964" y="758"/>
                      </a:lnTo>
                      <a:lnTo>
                        <a:pt x="3960" y="760"/>
                      </a:lnTo>
                      <a:lnTo>
                        <a:pt x="3958" y="764"/>
                      </a:lnTo>
                      <a:lnTo>
                        <a:pt x="3954" y="770"/>
                      </a:lnTo>
                      <a:lnTo>
                        <a:pt x="3952" y="772"/>
                      </a:lnTo>
                      <a:lnTo>
                        <a:pt x="3950" y="770"/>
                      </a:lnTo>
                      <a:lnTo>
                        <a:pt x="3950" y="770"/>
                      </a:lnTo>
                      <a:lnTo>
                        <a:pt x="3944" y="766"/>
                      </a:lnTo>
                      <a:lnTo>
                        <a:pt x="3936" y="762"/>
                      </a:lnTo>
                      <a:lnTo>
                        <a:pt x="3914" y="756"/>
                      </a:lnTo>
                      <a:lnTo>
                        <a:pt x="3902" y="752"/>
                      </a:lnTo>
                      <a:lnTo>
                        <a:pt x="3894" y="748"/>
                      </a:lnTo>
                      <a:lnTo>
                        <a:pt x="3888" y="742"/>
                      </a:lnTo>
                      <a:lnTo>
                        <a:pt x="3886" y="740"/>
                      </a:lnTo>
                      <a:lnTo>
                        <a:pt x="3886" y="736"/>
                      </a:lnTo>
                      <a:lnTo>
                        <a:pt x="3886" y="736"/>
                      </a:lnTo>
                      <a:lnTo>
                        <a:pt x="3886" y="728"/>
                      </a:lnTo>
                      <a:lnTo>
                        <a:pt x="3882" y="722"/>
                      </a:lnTo>
                      <a:lnTo>
                        <a:pt x="3878" y="716"/>
                      </a:lnTo>
                      <a:lnTo>
                        <a:pt x="3870" y="710"/>
                      </a:lnTo>
                      <a:lnTo>
                        <a:pt x="3826" y="680"/>
                      </a:lnTo>
                      <a:lnTo>
                        <a:pt x="3826" y="680"/>
                      </a:lnTo>
                      <a:lnTo>
                        <a:pt x="3806" y="668"/>
                      </a:lnTo>
                      <a:lnTo>
                        <a:pt x="3800" y="668"/>
                      </a:lnTo>
                      <a:lnTo>
                        <a:pt x="3796" y="666"/>
                      </a:lnTo>
                      <a:lnTo>
                        <a:pt x="3790" y="668"/>
                      </a:lnTo>
                      <a:lnTo>
                        <a:pt x="3788" y="670"/>
                      </a:lnTo>
                      <a:lnTo>
                        <a:pt x="3780" y="678"/>
                      </a:lnTo>
                      <a:lnTo>
                        <a:pt x="3774" y="680"/>
                      </a:lnTo>
                      <a:lnTo>
                        <a:pt x="3768" y="684"/>
                      </a:lnTo>
                      <a:lnTo>
                        <a:pt x="3760" y="684"/>
                      </a:lnTo>
                      <a:lnTo>
                        <a:pt x="3750" y="686"/>
                      </a:lnTo>
                      <a:lnTo>
                        <a:pt x="3736" y="684"/>
                      </a:lnTo>
                      <a:lnTo>
                        <a:pt x="3720" y="680"/>
                      </a:lnTo>
                      <a:lnTo>
                        <a:pt x="3700" y="674"/>
                      </a:lnTo>
                      <a:lnTo>
                        <a:pt x="3676" y="664"/>
                      </a:lnTo>
                      <a:lnTo>
                        <a:pt x="3676" y="664"/>
                      </a:lnTo>
                      <a:lnTo>
                        <a:pt x="3666" y="662"/>
                      </a:lnTo>
                      <a:lnTo>
                        <a:pt x="3656" y="660"/>
                      </a:lnTo>
                      <a:lnTo>
                        <a:pt x="3648" y="660"/>
                      </a:lnTo>
                      <a:lnTo>
                        <a:pt x="3642" y="662"/>
                      </a:lnTo>
                      <a:lnTo>
                        <a:pt x="3636" y="664"/>
                      </a:lnTo>
                      <a:lnTo>
                        <a:pt x="3632" y="668"/>
                      </a:lnTo>
                      <a:lnTo>
                        <a:pt x="3626" y="678"/>
                      </a:lnTo>
                      <a:lnTo>
                        <a:pt x="3622" y="690"/>
                      </a:lnTo>
                      <a:lnTo>
                        <a:pt x="3622" y="702"/>
                      </a:lnTo>
                      <a:lnTo>
                        <a:pt x="3626" y="712"/>
                      </a:lnTo>
                      <a:lnTo>
                        <a:pt x="3630" y="720"/>
                      </a:lnTo>
                      <a:lnTo>
                        <a:pt x="3630" y="720"/>
                      </a:lnTo>
                      <a:lnTo>
                        <a:pt x="3634" y="726"/>
                      </a:lnTo>
                      <a:lnTo>
                        <a:pt x="3636" y="732"/>
                      </a:lnTo>
                      <a:lnTo>
                        <a:pt x="3638" y="738"/>
                      </a:lnTo>
                      <a:lnTo>
                        <a:pt x="3638" y="746"/>
                      </a:lnTo>
                      <a:lnTo>
                        <a:pt x="3634" y="760"/>
                      </a:lnTo>
                      <a:lnTo>
                        <a:pt x="3626" y="772"/>
                      </a:lnTo>
                      <a:lnTo>
                        <a:pt x="3626" y="772"/>
                      </a:lnTo>
                      <a:lnTo>
                        <a:pt x="3622" y="776"/>
                      </a:lnTo>
                      <a:lnTo>
                        <a:pt x="3622" y="780"/>
                      </a:lnTo>
                      <a:lnTo>
                        <a:pt x="3624" y="782"/>
                      </a:lnTo>
                      <a:lnTo>
                        <a:pt x="3626" y="786"/>
                      </a:lnTo>
                      <a:lnTo>
                        <a:pt x="3634" y="794"/>
                      </a:lnTo>
                      <a:lnTo>
                        <a:pt x="3640" y="802"/>
                      </a:lnTo>
                      <a:lnTo>
                        <a:pt x="3644" y="814"/>
                      </a:lnTo>
                      <a:lnTo>
                        <a:pt x="3644" y="814"/>
                      </a:lnTo>
                      <a:lnTo>
                        <a:pt x="3648" y="824"/>
                      </a:lnTo>
                      <a:lnTo>
                        <a:pt x="3650" y="832"/>
                      </a:lnTo>
                      <a:lnTo>
                        <a:pt x="3650" y="840"/>
                      </a:lnTo>
                      <a:lnTo>
                        <a:pt x="3648" y="844"/>
                      </a:lnTo>
                      <a:lnTo>
                        <a:pt x="3642" y="854"/>
                      </a:lnTo>
                      <a:lnTo>
                        <a:pt x="3636" y="870"/>
                      </a:lnTo>
                      <a:lnTo>
                        <a:pt x="3636" y="870"/>
                      </a:lnTo>
                      <a:lnTo>
                        <a:pt x="3634" y="878"/>
                      </a:lnTo>
                      <a:lnTo>
                        <a:pt x="3630" y="882"/>
                      </a:lnTo>
                      <a:lnTo>
                        <a:pt x="3620" y="888"/>
                      </a:lnTo>
                      <a:lnTo>
                        <a:pt x="3616" y="890"/>
                      </a:lnTo>
                      <a:lnTo>
                        <a:pt x="3612" y="894"/>
                      </a:lnTo>
                      <a:lnTo>
                        <a:pt x="3610" y="900"/>
                      </a:lnTo>
                      <a:lnTo>
                        <a:pt x="3606" y="910"/>
                      </a:lnTo>
                      <a:lnTo>
                        <a:pt x="3606" y="910"/>
                      </a:lnTo>
                      <a:lnTo>
                        <a:pt x="3606" y="916"/>
                      </a:lnTo>
                      <a:lnTo>
                        <a:pt x="3608" y="920"/>
                      </a:lnTo>
                      <a:lnTo>
                        <a:pt x="3614" y="926"/>
                      </a:lnTo>
                      <a:lnTo>
                        <a:pt x="3622" y="932"/>
                      </a:lnTo>
                      <a:lnTo>
                        <a:pt x="3634" y="940"/>
                      </a:lnTo>
                      <a:lnTo>
                        <a:pt x="3648" y="950"/>
                      </a:lnTo>
                      <a:lnTo>
                        <a:pt x="3660" y="964"/>
                      </a:lnTo>
                      <a:lnTo>
                        <a:pt x="3666" y="972"/>
                      </a:lnTo>
                      <a:lnTo>
                        <a:pt x="3672" y="984"/>
                      </a:lnTo>
                      <a:lnTo>
                        <a:pt x="3678" y="996"/>
                      </a:lnTo>
                      <a:lnTo>
                        <a:pt x="3684" y="1010"/>
                      </a:lnTo>
                      <a:lnTo>
                        <a:pt x="3684" y="1010"/>
                      </a:lnTo>
                      <a:lnTo>
                        <a:pt x="3686" y="1026"/>
                      </a:lnTo>
                      <a:lnTo>
                        <a:pt x="3688" y="1040"/>
                      </a:lnTo>
                      <a:lnTo>
                        <a:pt x="3688" y="1052"/>
                      </a:lnTo>
                      <a:lnTo>
                        <a:pt x="3684" y="1066"/>
                      </a:lnTo>
                      <a:lnTo>
                        <a:pt x="3680" y="1078"/>
                      </a:lnTo>
                      <a:lnTo>
                        <a:pt x="3674" y="1088"/>
                      </a:lnTo>
                      <a:lnTo>
                        <a:pt x="3668" y="1100"/>
                      </a:lnTo>
                      <a:lnTo>
                        <a:pt x="3660" y="1108"/>
                      </a:lnTo>
                      <a:lnTo>
                        <a:pt x="3642" y="1126"/>
                      </a:lnTo>
                      <a:lnTo>
                        <a:pt x="3624" y="1140"/>
                      </a:lnTo>
                      <a:lnTo>
                        <a:pt x="3604" y="1150"/>
                      </a:lnTo>
                      <a:lnTo>
                        <a:pt x="3584" y="1158"/>
                      </a:lnTo>
                      <a:lnTo>
                        <a:pt x="3584" y="1158"/>
                      </a:lnTo>
                      <a:lnTo>
                        <a:pt x="3570" y="1166"/>
                      </a:lnTo>
                      <a:lnTo>
                        <a:pt x="3562" y="1172"/>
                      </a:lnTo>
                      <a:lnTo>
                        <a:pt x="3562" y="1174"/>
                      </a:lnTo>
                      <a:lnTo>
                        <a:pt x="3562" y="1176"/>
                      </a:lnTo>
                      <a:lnTo>
                        <a:pt x="3566" y="1184"/>
                      </a:lnTo>
                      <a:lnTo>
                        <a:pt x="3572" y="1190"/>
                      </a:lnTo>
                      <a:lnTo>
                        <a:pt x="3578" y="1200"/>
                      </a:lnTo>
                      <a:lnTo>
                        <a:pt x="3582" y="1212"/>
                      </a:lnTo>
                      <a:lnTo>
                        <a:pt x="3584" y="1220"/>
                      </a:lnTo>
                      <a:lnTo>
                        <a:pt x="3584" y="1228"/>
                      </a:lnTo>
                      <a:lnTo>
                        <a:pt x="3584" y="1228"/>
                      </a:lnTo>
                      <a:lnTo>
                        <a:pt x="3586" y="1244"/>
                      </a:lnTo>
                      <a:lnTo>
                        <a:pt x="3588" y="1260"/>
                      </a:lnTo>
                      <a:lnTo>
                        <a:pt x="3598" y="1290"/>
                      </a:lnTo>
                      <a:lnTo>
                        <a:pt x="3602" y="1302"/>
                      </a:lnTo>
                      <a:lnTo>
                        <a:pt x="3604" y="1314"/>
                      </a:lnTo>
                      <a:lnTo>
                        <a:pt x="3604" y="1324"/>
                      </a:lnTo>
                      <a:lnTo>
                        <a:pt x="3600" y="1328"/>
                      </a:lnTo>
                      <a:lnTo>
                        <a:pt x="3598" y="1330"/>
                      </a:lnTo>
                      <a:lnTo>
                        <a:pt x="3598" y="1330"/>
                      </a:lnTo>
                      <a:lnTo>
                        <a:pt x="3594" y="1334"/>
                      </a:lnTo>
                      <a:lnTo>
                        <a:pt x="3592" y="1336"/>
                      </a:lnTo>
                      <a:lnTo>
                        <a:pt x="3590" y="1344"/>
                      </a:lnTo>
                      <a:lnTo>
                        <a:pt x="3592" y="1352"/>
                      </a:lnTo>
                      <a:lnTo>
                        <a:pt x="3594" y="1358"/>
                      </a:lnTo>
                      <a:lnTo>
                        <a:pt x="3596" y="1362"/>
                      </a:lnTo>
                      <a:lnTo>
                        <a:pt x="3594" y="1366"/>
                      </a:lnTo>
                      <a:lnTo>
                        <a:pt x="3590" y="1364"/>
                      </a:lnTo>
                      <a:lnTo>
                        <a:pt x="3580" y="1358"/>
                      </a:lnTo>
                      <a:lnTo>
                        <a:pt x="3580" y="1358"/>
                      </a:lnTo>
                      <a:lnTo>
                        <a:pt x="3570" y="1354"/>
                      </a:lnTo>
                      <a:lnTo>
                        <a:pt x="3568" y="1354"/>
                      </a:lnTo>
                      <a:lnTo>
                        <a:pt x="3566" y="1356"/>
                      </a:lnTo>
                      <a:lnTo>
                        <a:pt x="3562" y="1362"/>
                      </a:lnTo>
                      <a:lnTo>
                        <a:pt x="3562" y="1370"/>
                      </a:lnTo>
                      <a:lnTo>
                        <a:pt x="3562" y="1376"/>
                      </a:lnTo>
                      <a:lnTo>
                        <a:pt x="3560" y="1382"/>
                      </a:lnTo>
                      <a:lnTo>
                        <a:pt x="3558" y="1384"/>
                      </a:lnTo>
                      <a:lnTo>
                        <a:pt x="3554" y="1384"/>
                      </a:lnTo>
                      <a:lnTo>
                        <a:pt x="3546" y="1380"/>
                      </a:lnTo>
                      <a:lnTo>
                        <a:pt x="3546" y="1380"/>
                      </a:lnTo>
                      <a:lnTo>
                        <a:pt x="3536" y="1372"/>
                      </a:lnTo>
                      <a:lnTo>
                        <a:pt x="3530" y="1366"/>
                      </a:lnTo>
                      <a:lnTo>
                        <a:pt x="3522" y="1352"/>
                      </a:lnTo>
                      <a:lnTo>
                        <a:pt x="3516" y="1342"/>
                      </a:lnTo>
                      <a:lnTo>
                        <a:pt x="3508" y="1332"/>
                      </a:lnTo>
                      <a:lnTo>
                        <a:pt x="3494" y="1316"/>
                      </a:lnTo>
                      <a:lnTo>
                        <a:pt x="3474" y="1298"/>
                      </a:lnTo>
                      <a:lnTo>
                        <a:pt x="3474" y="1298"/>
                      </a:lnTo>
                      <a:lnTo>
                        <a:pt x="3464" y="1286"/>
                      </a:lnTo>
                      <a:lnTo>
                        <a:pt x="3458" y="1276"/>
                      </a:lnTo>
                      <a:lnTo>
                        <a:pt x="3456" y="1266"/>
                      </a:lnTo>
                      <a:lnTo>
                        <a:pt x="3456" y="1254"/>
                      </a:lnTo>
                      <a:lnTo>
                        <a:pt x="3456" y="1234"/>
                      </a:lnTo>
                      <a:lnTo>
                        <a:pt x="3456" y="1222"/>
                      </a:lnTo>
                      <a:lnTo>
                        <a:pt x="3454" y="1210"/>
                      </a:lnTo>
                      <a:lnTo>
                        <a:pt x="3454" y="1210"/>
                      </a:lnTo>
                      <a:lnTo>
                        <a:pt x="3450" y="1194"/>
                      </a:lnTo>
                      <a:lnTo>
                        <a:pt x="3450" y="1182"/>
                      </a:lnTo>
                      <a:lnTo>
                        <a:pt x="3454" y="1172"/>
                      </a:lnTo>
                      <a:lnTo>
                        <a:pt x="3456" y="1162"/>
                      </a:lnTo>
                      <a:lnTo>
                        <a:pt x="3458" y="1154"/>
                      </a:lnTo>
                      <a:lnTo>
                        <a:pt x="3456" y="1148"/>
                      </a:lnTo>
                      <a:lnTo>
                        <a:pt x="3452" y="1142"/>
                      </a:lnTo>
                      <a:lnTo>
                        <a:pt x="3440" y="1138"/>
                      </a:lnTo>
                      <a:lnTo>
                        <a:pt x="3440" y="1138"/>
                      </a:lnTo>
                      <a:lnTo>
                        <a:pt x="3414" y="1134"/>
                      </a:lnTo>
                      <a:lnTo>
                        <a:pt x="3394" y="1130"/>
                      </a:lnTo>
                      <a:lnTo>
                        <a:pt x="3378" y="1130"/>
                      </a:lnTo>
                      <a:lnTo>
                        <a:pt x="3368" y="1130"/>
                      </a:lnTo>
                      <a:lnTo>
                        <a:pt x="3354" y="1132"/>
                      </a:lnTo>
                      <a:lnTo>
                        <a:pt x="3346" y="1132"/>
                      </a:lnTo>
                      <a:lnTo>
                        <a:pt x="3340" y="1130"/>
                      </a:lnTo>
                      <a:lnTo>
                        <a:pt x="3340" y="1130"/>
                      </a:lnTo>
                      <a:lnTo>
                        <a:pt x="3334" y="1128"/>
                      </a:lnTo>
                      <a:lnTo>
                        <a:pt x="3330" y="1124"/>
                      </a:lnTo>
                      <a:lnTo>
                        <a:pt x="3322" y="1116"/>
                      </a:lnTo>
                      <a:lnTo>
                        <a:pt x="3316" y="1110"/>
                      </a:lnTo>
                      <a:lnTo>
                        <a:pt x="3306" y="1104"/>
                      </a:lnTo>
                      <a:lnTo>
                        <a:pt x="3290" y="1098"/>
                      </a:lnTo>
                      <a:lnTo>
                        <a:pt x="3268" y="1092"/>
                      </a:lnTo>
                      <a:lnTo>
                        <a:pt x="3268" y="1092"/>
                      </a:lnTo>
                      <a:lnTo>
                        <a:pt x="3246" y="1084"/>
                      </a:lnTo>
                      <a:lnTo>
                        <a:pt x="3236" y="1078"/>
                      </a:lnTo>
                      <a:lnTo>
                        <a:pt x="3232" y="1072"/>
                      </a:lnTo>
                      <a:lnTo>
                        <a:pt x="3230" y="1066"/>
                      </a:lnTo>
                      <a:lnTo>
                        <a:pt x="3226" y="1058"/>
                      </a:lnTo>
                      <a:lnTo>
                        <a:pt x="3216" y="1048"/>
                      </a:lnTo>
                      <a:lnTo>
                        <a:pt x="3198" y="1036"/>
                      </a:lnTo>
                      <a:lnTo>
                        <a:pt x="3166" y="1022"/>
                      </a:lnTo>
                      <a:lnTo>
                        <a:pt x="3166" y="1022"/>
                      </a:lnTo>
                      <a:lnTo>
                        <a:pt x="3146" y="1016"/>
                      </a:lnTo>
                      <a:lnTo>
                        <a:pt x="3130" y="1012"/>
                      </a:lnTo>
                      <a:lnTo>
                        <a:pt x="3114" y="1010"/>
                      </a:lnTo>
                      <a:lnTo>
                        <a:pt x="3102" y="1010"/>
                      </a:lnTo>
                      <a:lnTo>
                        <a:pt x="3090" y="1012"/>
                      </a:lnTo>
                      <a:lnTo>
                        <a:pt x="3080" y="1014"/>
                      </a:lnTo>
                      <a:lnTo>
                        <a:pt x="3064" y="1020"/>
                      </a:lnTo>
                      <a:lnTo>
                        <a:pt x="3052" y="1026"/>
                      </a:lnTo>
                      <a:lnTo>
                        <a:pt x="3046" y="1028"/>
                      </a:lnTo>
                      <a:lnTo>
                        <a:pt x="3044" y="1026"/>
                      </a:lnTo>
                      <a:lnTo>
                        <a:pt x="3042" y="1022"/>
                      </a:lnTo>
                      <a:lnTo>
                        <a:pt x="3040" y="1008"/>
                      </a:lnTo>
                      <a:lnTo>
                        <a:pt x="3040" y="1008"/>
                      </a:lnTo>
                      <a:lnTo>
                        <a:pt x="3040" y="992"/>
                      </a:lnTo>
                      <a:lnTo>
                        <a:pt x="3038" y="978"/>
                      </a:lnTo>
                      <a:lnTo>
                        <a:pt x="3032" y="962"/>
                      </a:lnTo>
                      <a:lnTo>
                        <a:pt x="3026" y="948"/>
                      </a:lnTo>
                      <a:lnTo>
                        <a:pt x="3024" y="938"/>
                      </a:lnTo>
                      <a:lnTo>
                        <a:pt x="3020" y="928"/>
                      </a:lnTo>
                      <a:lnTo>
                        <a:pt x="3020" y="928"/>
                      </a:lnTo>
                      <a:lnTo>
                        <a:pt x="3018" y="922"/>
                      </a:lnTo>
                      <a:lnTo>
                        <a:pt x="3016" y="918"/>
                      </a:lnTo>
                      <a:lnTo>
                        <a:pt x="3012" y="914"/>
                      </a:lnTo>
                      <a:lnTo>
                        <a:pt x="3008" y="914"/>
                      </a:lnTo>
                      <a:lnTo>
                        <a:pt x="2998" y="912"/>
                      </a:lnTo>
                      <a:lnTo>
                        <a:pt x="2986" y="912"/>
                      </a:lnTo>
                      <a:lnTo>
                        <a:pt x="2974" y="910"/>
                      </a:lnTo>
                      <a:lnTo>
                        <a:pt x="2968" y="908"/>
                      </a:lnTo>
                      <a:lnTo>
                        <a:pt x="2962" y="904"/>
                      </a:lnTo>
                      <a:lnTo>
                        <a:pt x="2958" y="898"/>
                      </a:lnTo>
                      <a:lnTo>
                        <a:pt x="2954" y="890"/>
                      </a:lnTo>
                      <a:lnTo>
                        <a:pt x="2950" y="882"/>
                      </a:lnTo>
                      <a:lnTo>
                        <a:pt x="2948" y="868"/>
                      </a:lnTo>
                      <a:lnTo>
                        <a:pt x="2948" y="868"/>
                      </a:lnTo>
                      <a:lnTo>
                        <a:pt x="2948" y="854"/>
                      </a:lnTo>
                      <a:lnTo>
                        <a:pt x="2948" y="840"/>
                      </a:lnTo>
                      <a:lnTo>
                        <a:pt x="2952" y="824"/>
                      </a:lnTo>
                      <a:lnTo>
                        <a:pt x="2956" y="808"/>
                      </a:lnTo>
                      <a:lnTo>
                        <a:pt x="2968" y="778"/>
                      </a:lnTo>
                      <a:lnTo>
                        <a:pt x="2982" y="750"/>
                      </a:lnTo>
                      <a:lnTo>
                        <a:pt x="2998" y="724"/>
                      </a:lnTo>
                      <a:lnTo>
                        <a:pt x="3014" y="706"/>
                      </a:lnTo>
                      <a:lnTo>
                        <a:pt x="3026" y="692"/>
                      </a:lnTo>
                      <a:lnTo>
                        <a:pt x="3030" y="690"/>
                      </a:lnTo>
                      <a:lnTo>
                        <a:pt x="3034" y="690"/>
                      </a:lnTo>
                      <a:lnTo>
                        <a:pt x="3034" y="690"/>
                      </a:lnTo>
                      <a:lnTo>
                        <a:pt x="3038" y="688"/>
                      </a:lnTo>
                      <a:lnTo>
                        <a:pt x="3042" y="684"/>
                      </a:lnTo>
                      <a:lnTo>
                        <a:pt x="3044" y="670"/>
                      </a:lnTo>
                      <a:lnTo>
                        <a:pt x="3048" y="662"/>
                      </a:lnTo>
                      <a:lnTo>
                        <a:pt x="3052" y="654"/>
                      </a:lnTo>
                      <a:lnTo>
                        <a:pt x="3060" y="648"/>
                      </a:lnTo>
                      <a:lnTo>
                        <a:pt x="3070" y="646"/>
                      </a:lnTo>
                      <a:lnTo>
                        <a:pt x="3070" y="646"/>
                      </a:lnTo>
                      <a:lnTo>
                        <a:pt x="3096" y="644"/>
                      </a:lnTo>
                      <a:lnTo>
                        <a:pt x="3106" y="640"/>
                      </a:lnTo>
                      <a:lnTo>
                        <a:pt x="3116" y="636"/>
                      </a:lnTo>
                      <a:lnTo>
                        <a:pt x="3120" y="630"/>
                      </a:lnTo>
                      <a:lnTo>
                        <a:pt x="3120" y="624"/>
                      </a:lnTo>
                      <a:lnTo>
                        <a:pt x="3116" y="614"/>
                      </a:lnTo>
                      <a:lnTo>
                        <a:pt x="3106" y="604"/>
                      </a:lnTo>
                      <a:lnTo>
                        <a:pt x="3106" y="604"/>
                      </a:lnTo>
                      <a:lnTo>
                        <a:pt x="3098" y="596"/>
                      </a:lnTo>
                      <a:lnTo>
                        <a:pt x="3098" y="594"/>
                      </a:lnTo>
                      <a:lnTo>
                        <a:pt x="3098" y="592"/>
                      </a:lnTo>
                      <a:lnTo>
                        <a:pt x="3104" y="590"/>
                      </a:lnTo>
                      <a:lnTo>
                        <a:pt x="3112" y="590"/>
                      </a:lnTo>
                      <a:lnTo>
                        <a:pt x="3124" y="590"/>
                      </a:lnTo>
                      <a:lnTo>
                        <a:pt x="3136" y="586"/>
                      </a:lnTo>
                      <a:lnTo>
                        <a:pt x="3140" y="584"/>
                      </a:lnTo>
                      <a:lnTo>
                        <a:pt x="3144" y="580"/>
                      </a:lnTo>
                      <a:lnTo>
                        <a:pt x="3148" y="576"/>
                      </a:lnTo>
                      <a:lnTo>
                        <a:pt x="3150" y="568"/>
                      </a:lnTo>
                      <a:lnTo>
                        <a:pt x="3150" y="568"/>
                      </a:lnTo>
                      <a:lnTo>
                        <a:pt x="3152" y="562"/>
                      </a:lnTo>
                      <a:lnTo>
                        <a:pt x="3154" y="558"/>
                      </a:lnTo>
                      <a:lnTo>
                        <a:pt x="3156" y="556"/>
                      </a:lnTo>
                      <a:lnTo>
                        <a:pt x="3158" y="556"/>
                      </a:lnTo>
                      <a:lnTo>
                        <a:pt x="3166" y="560"/>
                      </a:lnTo>
                      <a:lnTo>
                        <a:pt x="3176" y="566"/>
                      </a:lnTo>
                      <a:lnTo>
                        <a:pt x="3188" y="570"/>
                      </a:lnTo>
                      <a:lnTo>
                        <a:pt x="3194" y="572"/>
                      </a:lnTo>
                      <a:lnTo>
                        <a:pt x="3200" y="570"/>
                      </a:lnTo>
                      <a:lnTo>
                        <a:pt x="3206" y="568"/>
                      </a:lnTo>
                      <a:lnTo>
                        <a:pt x="3214" y="562"/>
                      </a:lnTo>
                      <a:lnTo>
                        <a:pt x="3220" y="554"/>
                      </a:lnTo>
                      <a:lnTo>
                        <a:pt x="3228" y="542"/>
                      </a:lnTo>
                      <a:lnTo>
                        <a:pt x="3228" y="542"/>
                      </a:lnTo>
                      <a:lnTo>
                        <a:pt x="3242" y="520"/>
                      </a:lnTo>
                      <a:lnTo>
                        <a:pt x="3252" y="506"/>
                      </a:lnTo>
                      <a:lnTo>
                        <a:pt x="3258" y="496"/>
                      </a:lnTo>
                      <a:lnTo>
                        <a:pt x="3260" y="492"/>
                      </a:lnTo>
                      <a:lnTo>
                        <a:pt x="3258" y="490"/>
                      </a:lnTo>
                      <a:lnTo>
                        <a:pt x="3256" y="488"/>
                      </a:lnTo>
                      <a:lnTo>
                        <a:pt x="3244" y="486"/>
                      </a:lnTo>
                      <a:lnTo>
                        <a:pt x="3228" y="484"/>
                      </a:lnTo>
                      <a:lnTo>
                        <a:pt x="3204" y="478"/>
                      </a:lnTo>
                      <a:lnTo>
                        <a:pt x="3204" y="478"/>
                      </a:lnTo>
                      <a:lnTo>
                        <a:pt x="3186" y="474"/>
                      </a:lnTo>
                      <a:lnTo>
                        <a:pt x="3176" y="470"/>
                      </a:lnTo>
                      <a:lnTo>
                        <a:pt x="3170" y="464"/>
                      </a:lnTo>
                      <a:lnTo>
                        <a:pt x="3164" y="460"/>
                      </a:lnTo>
                      <a:lnTo>
                        <a:pt x="3154" y="450"/>
                      </a:lnTo>
                      <a:lnTo>
                        <a:pt x="3144" y="444"/>
                      </a:lnTo>
                      <a:lnTo>
                        <a:pt x="3132" y="438"/>
                      </a:lnTo>
                      <a:lnTo>
                        <a:pt x="3132" y="438"/>
                      </a:lnTo>
                      <a:lnTo>
                        <a:pt x="3140" y="438"/>
                      </a:lnTo>
                      <a:lnTo>
                        <a:pt x="3148" y="438"/>
                      </a:lnTo>
                      <a:lnTo>
                        <a:pt x="3158" y="440"/>
                      </a:lnTo>
                      <a:lnTo>
                        <a:pt x="3166" y="442"/>
                      </a:lnTo>
                      <a:lnTo>
                        <a:pt x="3184" y="452"/>
                      </a:lnTo>
                      <a:lnTo>
                        <a:pt x="3202" y="462"/>
                      </a:lnTo>
                      <a:lnTo>
                        <a:pt x="3220" y="470"/>
                      </a:lnTo>
                      <a:lnTo>
                        <a:pt x="3230" y="472"/>
                      </a:lnTo>
                      <a:lnTo>
                        <a:pt x="3238" y="474"/>
                      </a:lnTo>
                      <a:lnTo>
                        <a:pt x="3246" y="474"/>
                      </a:lnTo>
                      <a:lnTo>
                        <a:pt x="3254" y="472"/>
                      </a:lnTo>
                      <a:lnTo>
                        <a:pt x="3262" y="466"/>
                      </a:lnTo>
                      <a:lnTo>
                        <a:pt x="3270" y="460"/>
                      </a:lnTo>
                      <a:lnTo>
                        <a:pt x="3270" y="460"/>
                      </a:lnTo>
                      <a:lnTo>
                        <a:pt x="3296" y="434"/>
                      </a:lnTo>
                      <a:lnTo>
                        <a:pt x="3302" y="426"/>
                      </a:lnTo>
                      <a:lnTo>
                        <a:pt x="3304" y="420"/>
                      </a:lnTo>
                      <a:lnTo>
                        <a:pt x="3304" y="416"/>
                      </a:lnTo>
                      <a:lnTo>
                        <a:pt x="3298" y="412"/>
                      </a:lnTo>
                      <a:lnTo>
                        <a:pt x="3278" y="402"/>
                      </a:lnTo>
                      <a:lnTo>
                        <a:pt x="3278" y="402"/>
                      </a:lnTo>
                      <a:lnTo>
                        <a:pt x="3270" y="394"/>
                      </a:lnTo>
                      <a:lnTo>
                        <a:pt x="3270" y="392"/>
                      </a:lnTo>
                      <a:lnTo>
                        <a:pt x="3270" y="390"/>
                      </a:lnTo>
                      <a:lnTo>
                        <a:pt x="3278" y="388"/>
                      </a:lnTo>
                      <a:lnTo>
                        <a:pt x="3288" y="388"/>
                      </a:lnTo>
                      <a:lnTo>
                        <a:pt x="3302" y="388"/>
                      </a:lnTo>
                      <a:lnTo>
                        <a:pt x="3316" y="390"/>
                      </a:lnTo>
                      <a:lnTo>
                        <a:pt x="3328" y="394"/>
                      </a:lnTo>
                      <a:lnTo>
                        <a:pt x="3336" y="400"/>
                      </a:lnTo>
                      <a:lnTo>
                        <a:pt x="3336" y="400"/>
                      </a:lnTo>
                      <a:lnTo>
                        <a:pt x="3346" y="410"/>
                      </a:lnTo>
                      <a:lnTo>
                        <a:pt x="3356" y="418"/>
                      </a:lnTo>
                      <a:lnTo>
                        <a:pt x="3366" y="426"/>
                      </a:lnTo>
                      <a:lnTo>
                        <a:pt x="3374" y="438"/>
                      </a:lnTo>
                      <a:lnTo>
                        <a:pt x="3374" y="438"/>
                      </a:lnTo>
                      <a:lnTo>
                        <a:pt x="3380" y="448"/>
                      </a:lnTo>
                      <a:lnTo>
                        <a:pt x="3388" y="452"/>
                      </a:lnTo>
                      <a:lnTo>
                        <a:pt x="3398" y="454"/>
                      </a:lnTo>
                      <a:lnTo>
                        <a:pt x="3410" y="452"/>
                      </a:lnTo>
                      <a:lnTo>
                        <a:pt x="3410" y="452"/>
                      </a:lnTo>
                      <a:lnTo>
                        <a:pt x="3412" y="450"/>
                      </a:lnTo>
                      <a:lnTo>
                        <a:pt x="3414" y="448"/>
                      </a:lnTo>
                      <a:lnTo>
                        <a:pt x="3412" y="444"/>
                      </a:lnTo>
                      <a:lnTo>
                        <a:pt x="3398" y="436"/>
                      </a:lnTo>
                      <a:lnTo>
                        <a:pt x="3392" y="432"/>
                      </a:lnTo>
                      <a:lnTo>
                        <a:pt x="3386" y="426"/>
                      </a:lnTo>
                      <a:lnTo>
                        <a:pt x="3384" y="424"/>
                      </a:lnTo>
                      <a:lnTo>
                        <a:pt x="3384" y="422"/>
                      </a:lnTo>
                      <a:lnTo>
                        <a:pt x="3386" y="418"/>
                      </a:lnTo>
                      <a:lnTo>
                        <a:pt x="3390" y="416"/>
                      </a:lnTo>
                      <a:lnTo>
                        <a:pt x="3390" y="416"/>
                      </a:lnTo>
                      <a:lnTo>
                        <a:pt x="3398" y="412"/>
                      </a:lnTo>
                      <a:lnTo>
                        <a:pt x="3404" y="406"/>
                      </a:lnTo>
                      <a:lnTo>
                        <a:pt x="3414" y="396"/>
                      </a:lnTo>
                      <a:lnTo>
                        <a:pt x="3426" y="388"/>
                      </a:lnTo>
                      <a:lnTo>
                        <a:pt x="3432" y="386"/>
                      </a:lnTo>
                      <a:lnTo>
                        <a:pt x="3438" y="386"/>
                      </a:lnTo>
                      <a:lnTo>
                        <a:pt x="3438" y="386"/>
                      </a:lnTo>
                      <a:lnTo>
                        <a:pt x="3444" y="386"/>
                      </a:lnTo>
                      <a:lnTo>
                        <a:pt x="3450" y="384"/>
                      </a:lnTo>
                      <a:lnTo>
                        <a:pt x="3456" y="380"/>
                      </a:lnTo>
                      <a:lnTo>
                        <a:pt x="3460" y="374"/>
                      </a:lnTo>
                      <a:lnTo>
                        <a:pt x="3468" y="364"/>
                      </a:lnTo>
                      <a:lnTo>
                        <a:pt x="3474" y="360"/>
                      </a:lnTo>
                      <a:lnTo>
                        <a:pt x="3478" y="360"/>
                      </a:lnTo>
                      <a:lnTo>
                        <a:pt x="3478" y="360"/>
                      </a:lnTo>
                      <a:lnTo>
                        <a:pt x="3484" y="358"/>
                      </a:lnTo>
                      <a:lnTo>
                        <a:pt x="3490" y="354"/>
                      </a:lnTo>
                      <a:lnTo>
                        <a:pt x="3492" y="348"/>
                      </a:lnTo>
                      <a:lnTo>
                        <a:pt x="3494" y="342"/>
                      </a:lnTo>
                      <a:lnTo>
                        <a:pt x="3492" y="334"/>
                      </a:lnTo>
                      <a:lnTo>
                        <a:pt x="3488" y="324"/>
                      </a:lnTo>
                      <a:lnTo>
                        <a:pt x="3482" y="316"/>
                      </a:lnTo>
                      <a:lnTo>
                        <a:pt x="3472" y="306"/>
                      </a:lnTo>
                      <a:lnTo>
                        <a:pt x="3472" y="306"/>
                      </a:lnTo>
                      <a:lnTo>
                        <a:pt x="3464" y="298"/>
                      </a:lnTo>
                      <a:lnTo>
                        <a:pt x="3460" y="292"/>
                      </a:lnTo>
                      <a:lnTo>
                        <a:pt x="3460" y="288"/>
                      </a:lnTo>
                      <a:lnTo>
                        <a:pt x="3462" y="284"/>
                      </a:lnTo>
                      <a:lnTo>
                        <a:pt x="3464" y="282"/>
                      </a:lnTo>
                      <a:lnTo>
                        <a:pt x="3466" y="278"/>
                      </a:lnTo>
                      <a:lnTo>
                        <a:pt x="3464" y="272"/>
                      </a:lnTo>
                      <a:lnTo>
                        <a:pt x="3458" y="266"/>
                      </a:lnTo>
                      <a:lnTo>
                        <a:pt x="3458" y="266"/>
                      </a:lnTo>
                      <a:lnTo>
                        <a:pt x="3452" y="260"/>
                      </a:lnTo>
                      <a:lnTo>
                        <a:pt x="3452" y="258"/>
                      </a:lnTo>
                      <a:lnTo>
                        <a:pt x="3452" y="258"/>
                      </a:lnTo>
                      <a:lnTo>
                        <a:pt x="3458" y="256"/>
                      </a:lnTo>
                      <a:lnTo>
                        <a:pt x="3466" y="256"/>
                      </a:lnTo>
                      <a:lnTo>
                        <a:pt x="3476" y="256"/>
                      </a:lnTo>
                      <a:lnTo>
                        <a:pt x="3484" y="254"/>
                      </a:lnTo>
                      <a:lnTo>
                        <a:pt x="3492" y="250"/>
                      </a:lnTo>
                      <a:lnTo>
                        <a:pt x="3494" y="248"/>
                      </a:lnTo>
                      <a:lnTo>
                        <a:pt x="3496" y="242"/>
                      </a:lnTo>
                      <a:lnTo>
                        <a:pt x="3496" y="242"/>
                      </a:lnTo>
                      <a:lnTo>
                        <a:pt x="3498" y="234"/>
                      </a:lnTo>
                      <a:lnTo>
                        <a:pt x="3496" y="230"/>
                      </a:lnTo>
                      <a:lnTo>
                        <a:pt x="3492" y="228"/>
                      </a:lnTo>
                      <a:lnTo>
                        <a:pt x="3488" y="226"/>
                      </a:lnTo>
                      <a:lnTo>
                        <a:pt x="3486" y="224"/>
                      </a:lnTo>
                      <a:lnTo>
                        <a:pt x="3484" y="222"/>
                      </a:lnTo>
                      <a:lnTo>
                        <a:pt x="3484" y="220"/>
                      </a:lnTo>
                      <a:lnTo>
                        <a:pt x="3490" y="214"/>
                      </a:lnTo>
                      <a:lnTo>
                        <a:pt x="3490" y="214"/>
                      </a:lnTo>
                      <a:lnTo>
                        <a:pt x="3492" y="206"/>
                      </a:lnTo>
                      <a:lnTo>
                        <a:pt x="3492" y="204"/>
                      </a:lnTo>
                      <a:lnTo>
                        <a:pt x="3486" y="202"/>
                      </a:lnTo>
                      <a:lnTo>
                        <a:pt x="3480" y="200"/>
                      </a:lnTo>
                      <a:lnTo>
                        <a:pt x="3472" y="198"/>
                      </a:lnTo>
                      <a:lnTo>
                        <a:pt x="3464" y="196"/>
                      </a:lnTo>
                      <a:lnTo>
                        <a:pt x="3458" y="192"/>
                      </a:lnTo>
                      <a:lnTo>
                        <a:pt x="3454" y="182"/>
                      </a:lnTo>
                      <a:lnTo>
                        <a:pt x="3454" y="182"/>
                      </a:lnTo>
                      <a:lnTo>
                        <a:pt x="3452" y="174"/>
                      </a:lnTo>
                      <a:lnTo>
                        <a:pt x="3446" y="170"/>
                      </a:lnTo>
                      <a:lnTo>
                        <a:pt x="3438" y="168"/>
                      </a:lnTo>
                      <a:lnTo>
                        <a:pt x="3428" y="168"/>
                      </a:lnTo>
                      <a:lnTo>
                        <a:pt x="3404" y="166"/>
                      </a:lnTo>
                      <a:lnTo>
                        <a:pt x="3392" y="164"/>
                      </a:lnTo>
                      <a:lnTo>
                        <a:pt x="3378" y="160"/>
                      </a:lnTo>
                      <a:lnTo>
                        <a:pt x="3378" y="160"/>
                      </a:lnTo>
                      <a:lnTo>
                        <a:pt x="3360" y="152"/>
                      </a:lnTo>
                      <a:lnTo>
                        <a:pt x="3356" y="152"/>
                      </a:lnTo>
                      <a:lnTo>
                        <a:pt x="3354" y="152"/>
                      </a:lnTo>
                      <a:lnTo>
                        <a:pt x="3348" y="156"/>
                      </a:lnTo>
                      <a:lnTo>
                        <a:pt x="3344" y="158"/>
                      </a:lnTo>
                      <a:lnTo>
                        <a:pt x="3334" y="158"/>
                      </a:lnTo>
                      <a:lnTo>
                        <a:pt x="3334" y="158"/>
                      </a:lnTo>
                      <a:lnTo>
                        <a:pt x="3326" y="160"/>
                      </a:lnTo>
                      <a:lnTo>
                        <a:pt x="3320" y="164"/>
                      </a:lnTo>
                      <a:lnTo>
                        <a:pt x="3318" y="172"/>
                      </a:lnTo>
                      <a:lnTo>
                        <a:pt x="3318" y="180"/>
                      </a:lnTo>
                      <a:lnTo>
                        <a:pt x="3322" y="190"/>
                      </a:lnTo>
                      <a:lnTo>
                        <a:pt x="3326" y="198"/>
                      </a:lnTo>
                      <a:lnTo>
                        <a:pt x="3330" y="206"/>
                      </a:lnTo>
                      <a:lnTo>
                        <a:pt x="3338" y="210"/>
                      </a:lnTo>
                      <a:lnTo>
                        <a:pt x="3338" y="210"/>
                      </a:lnTo>
                      <a:lnTo>
                        <a:pt x="3342" y="212"/>
                      </a:lnTo>
                      <a:lnTo>
                        <a:pt x="3346" y="216"/>
                      </a:lnTo>
                      <a:lnTo>
                        <a:pt x="3346" y="222"/>
                      </a:lnTo>
                      <a:lnTo>
                        <a:pt x="3344" y="226"/>
                      </a:lnTo>
                      <a:lnTo>
                        <a:pt x="3342" y="230"/>
                      </a:lnTo>
                      <a:lnTo>
                        <a:pt x="3338" y="232"/>
                      </a:lnTo>
                      <a:lnTo>
                        <a:pt x="3332" y="234"/>
                      </a:lnTo>
                      <a:lnTo>
                        <a:pt x="3326" y="234"/>
                      </a:lnTo>
                      <a:lnTo>
                        <a:pt x="3326" y="234"/>
                      </a:lnTo>
                      <a:lnTo>
                        <a:pt x="3322" y="236"/>
                      </a:lnTo>
                      <a:lnTo>
                        <a:pt x="3320" y="240"/>
                      </a:lnTo>
                      <a:lnTo>
                        <a:pt x="3318" y="256"/>
                      </a:lnTo>
                      <a:lnTo>
                        <a:pt x="3318" y="266"/>
                      </a:lnTo>
                      <a:lnTo>
                        <a:pt x="3316" y="278"/>
                      </a:lnTo>
                      <a:lnTo>
                        <a:pt x="3310" y="288"/>
                      </a:lnTo>
                      <a:lnTo>
                        <a:pt x="3300" y="296"/>
                      </a:lnTo>
                      <a:lnTo>
                        <a:pt x="3300" y="296"/>
                      </a:lnTo>
                      <a:lnTo>
                        <a:pt x="3292" y="302"/>
                      </a:lnTo>
                      <a:lnTo>
                        <a:pt x="3286" y="310"/>
                      </a:lnTo>
                      <a:lnTo>
                        <a:pt x="3284" y="316"/>
                      </a:lnTo>
                      <a:lnTo>
                        <a:pt x="3282" y="322"/>
                      </a:lnTo>
                      <a:lnTo>
                        <a:pt x="3280" y="328"/>
                      </a:lnTo>
                      <a:lnTo>
                        <a:pt x="3278" y="332"/>
                      </a:lnTo>
                      <a:lnTo>
                        <a:pt x="3274" y="338"/>
                      </a:lnTo>
                      <a:lnTo>
                        <a:pt x="3264" y="342"/>
                      </a:lnTo>
                      <a:lnTo>
                        <a:pt x="3264" y="342"/>
                      </a:lnTo>
                      <a:lnTo>
                        <a:pt x="3250" y="344"/>
                      </a:lnTo>
                      <a:lnTo>
                        <a:pt x="3246" y="344"/>
                      </a:lnTo>
                      <a:lnTo>
                        <a:pt x="3244" y="340"/>
                      </a:lnTo>
                      <a:lnTo>
                        <a:pt x="3238" y="330"/>
                      </a:lnTo>
                      <a:lnTo>
                        <a:pt x="3232" y="322"/>
                      </a:lnTo>
                      <a:lnTo>
                        <a:pt x="3222" y="312"/>
                      </a:lnTo>
                      <a:lnTo>
                        <a:pt x="3222" y="312"/>
                      </a:lnTo>
                      <a:lnTo>
                        <a:pt x="3214" y="304"/>
                      </a:lnTo>
                      <a:lnTo>
                        <a:pt x="3210" y="298"/>
                      </a:lnTo>
                      <a:lnTo>
                        <a:pt x="3212" y="292"/>
                      </a:lnTo>
                      <a:lnTo>
                        <a:pt x="3216" y="288"/>
                      </a:lnTo>
                      <a:lnTo>
                        <a:pt x="3226" y="280"/>
                      </a:lnTo>
                      <a:lnTo>
                        <a:pt x="3232" y="276"/>
                      </a:lnTo>
                      <a:lnTo>
                        <a:pt x="3234" y="270"/>
                      </a:lnTo>
                      <a:lnTo>
                        <a:pt x="3234" y="270"/>
                      </a:lnTo>
                      <a:lnTo>
                        <a:pt x="3232" y="260"/>
                      </a:lnTo>
                      <a:lnTo>
                        <a:pt x="3228" y="248"/>
                      </a:lnTo>
                      <a:lnTo>
                        <a:pt x="3220" y="234"/>
                      </a:lnTo>
                      <a:lnTo>
                        <a:pt x="3212" y="220"/>
                      </a:lnTo>
                      <a:lnTo>
                        <a:pt x="3200" y="210"/>
                      </a:lnTo>
                      <a:lnTo>
                        <a:pt x="3190" y="202"/>
                      </a:lnTo>
                      <a:lnTo>
                        <a:pt x="3184" y="200"/>
                      </a:lnTo>
                      <a:lnTo>
                        <a:pt x="3178" y="200"/>
                      </a:lnTo>
                      <a:lnTo>
                        <a:pt x="3172" y="202"/>
                      </a:lnTo>
                      <a:lnTo>
                        <a:pt x="3168" y="206"/>
                      </a:lnTo>
                      <a:lnTo>
                        <a:pt x="3168" y="206"/>
                      </a:lnTo>
                      <a:lnTo>
                        <a:pt x="3158" y="216"/>
                      </a:lnTo>
                      <a:lnTo>
                        <a:pt x="3154" y="230"/>
                      </a:lnTo>
                      <a:lnTo>
                        <a:pt x="3148" y="254"/>
                      </a:lnTo>
                      <a:lnTo>
                        <a:pt x="3146" y="262"/>
                      </a:lnTo>
                      <a:lnTo>
                        <a:pt x="3142" y="268"/>
                      </a:lnTo>
                      <a:lnTo>
                        <a:pt x="3140" y="268"/>
                      </a:lnTo>
                      <a:lnTo>
                        <a:pt x="3138" y="268"/>
                      </a:lnTo>
                      <a:lnTo>
                        <a:pt x="3130" y="260"/>
                      </a:lnTo>
                      <a:lnTo>
                        <a:pt x="3130" y="260"/>
                      </a:lnTo>
                      <a:lnTo>
                        <a:pt x="3124" y="252"/>
                      </a:lnTo>
                      <a:lnTo>
                        <a:pt x="3122" y="246"/>
                      </a:lnTo>
                      <a:lnTo>
                        <a:pt x="3122" y="242"/>
                      </a:lnTo>
                      <a:lnTo>
                        <a:pt x="3124" y="238"/>
                      </a:lnTo>
                      <a:lnTo>
                        <a:pt x="3126" y="236"/>
                      </a:lnTo>
                      <a:lnTo>
                        <a:pt x="3128" y="232"/>
                      </a:lnTo>
                      <a:lnTo>
                        <a:pt x="3124" y="226"/>
                      </a:lnTo>
                      <a:lnTo>
                        <a:pt x="3118" y="216"/>
                      </a:lnTo>
                      <a:lnTo>
                        <a:pt x="3118" y="216"/>
                      </a:lnTo>
                      <a:lnTo>
                        <a:pt x="3112" y="208"/>
                      </a:lnTo>
                      <a:lnTo>
                        <a:pt x="3110" y="204"/>
                      </a:lnTo>
                      <a:lnTo>
                        <a:pt x="3110" y="202"/>
                      </a:lnTo>
                      <a:lnTo>
                        <a:pt x="3114" y="198"/>
                      </a:lnTo>
                      <a:lnTo>
                        <a:pt x="3120" y="194"/>
                      </a:lnTo>
                      <a:lnTo>
                        <a:pt x="3126" y="192"/>
                      </a:lnTo>
                      <a:lnTo>
                        <a:pt x="3128" y="190"/>
                      </a:lnTo>
                      <a:lnTo>
                        <a:pt x="3126" y="186"/>
                      </a:lnTo>
                      <a:lnTo>
                        <a:pt x="3116" y="180"/>
                      </a:lnTo>
                      <a:lnTo>
                        <a:pt x="3116" y="180"/>
                      </a:lnTo>
                      <a:lnTo>
                        <a:pt x="3104" y="174"/>
                      </a:lnTo>
                      <a:lnTo>
                        <a:pt x="3094" y="172"/>
                      </a:lnTo>
                      <a:lnTo>
                        <a:pt x="3088" y="172"/>
                      </a:lnTo>
                      <a:lnTo>
                        <a:pt x="3082" y="174"/>
                      </a:lnTo>
                      <a:lnTo>
                        <a:pt x="3076" y="176"/>
                      </a:lnTo>
                      <a:lnTo>
                        <a:pt x="3070" y="178"/>
                      </a:lnTo>
                      <a:lnTo>
                        <a:pt x="3064" y="176"/>
                      </a:lnTo>
                      <a:lnTo>
                        <a:pt x="3054" y="172"/>
                      </a:lnTo>
                      <a:lnTo>
                        <a:pt x="3054" y="172"/>
                      </a:lnTo>
                      <a:lnTo>
                        <a:pt x="3050" y="170"/>
                      </a:lnTo>
                      <a:lnTo>
                        <a:pt x="3048" y="168"/>
                      </a:lnTo>
                      <a:lnTo>
                        <a:pt x="3048" y="164"/>
                      </a:lnTo>
                      <a:lnTo>
                        <a:pt x="3048" y="162"/>
                      </a:lnTo>
                      <a:lnTo>
                        <a:pt x="3054" y="154"/>
                      </a:lnTo>
                      <a:lnTo>
                        <a:pt x="3062" y="148"/>
                      </a:lnTo>
                      <a:lnTo>
                        <a:pt x="3076" y="134"/>
                      </a:lnTo>
                      <a:lnTo>
                        <a:pt x="3080" y="130"/>
                      </a:lnTo>
                      <a:lnTo>
                        <a:pt x="3080" y="126"/>
                      </a:lnTo>
                      <a:lnTo>
                        <a:pt x="3078" y="124"/>
                      </a:lnTo>
                      <a:lnTo>
                        <a:pt x="3078" y="124"/>
                      </a:lnTo>
                      <a:lnTo>
                        <a:pt x="3064" y="114"/>
                      </a:lnTo>
                      <a:lnTo>
                        <a:pt x="3046" y="102"/>
                      </a:lnTo>
                      <a:lnTo>
                        <a:pt x="3038" y="94"/>
                      </a:lnTo>
                      <a:lnTo>
                        <a:pt x="3032" y="86"/>
                      </a:lnTo>
                      <a:lnTo>
                        <a:pt x="3028" y="78"/>
                      </a:lnTo>
                      <a:lnTo>
                        <a:pt x="3026" y="66"/>
                      </a:lnTo>
                      <a:lnTo>
                        <a:pt x="3026" y="66"/>
                      </a:lnTo>
                      <a:lnTo>
                        <a:pt x="3026" y="62"/>
                      </a:lnTo>
                      <a:lnTo>
                        <a:pt x="3026" y="56"/>
                      </a:lnTo>
                      <a:lnTo>
                        <a:pt x="3020" y="44"/>
                      </a:lnTo>
                      <a:lnTo>
                        <a:pt x="3010" y="34"/>
                      </a:lnTo>
                      <a:lnTo>
                        <a:pt x="2998" y="24"/>
                      </a:lnTo>
                      <a:lnTo>
                        <a:pt x="2986" y="14"/>
                      </a:lnTo>
                      <a:lnTo>
                        <a:pt x="2972" y="8"/>
                      </a:lnTo>
                      <a:lnTo>
                        <a:pt x="2960" y="2"/>
                      </a:lnTo>
                      <a:lnTo>
                        <a:pt x="2948" y="0"/>
                      </a:lnTo>
                      <a:lnTo>
                        <a:pt x="2948" y="0"/>
                      </a:lnTo>
                      <a:lnTo>
                        <a:pt x="2940" y="0"/>
                      </a:lnTo>
                      <a:lnTo>
                        <a:pt x="2936" y="2"/>
                      </a:lnTo>
                      <a:lnTo>
                        <a:pt x="2934" y="4"/>
                      </a:lnTo>
                      <a:lnTo>
                        <a:pt x="2932" y="8"/>
                      </a:lnTo>
                      <a:lnTo>
                        <a:pt x="2932" y="12"/>
                      </a:lnTo>
                      <a:lnTo>
                        <a:pt x="2928" y="16"/>
                      </a:lnTo>
                      <a:lnTo>
                        <a:pt x="2924" y="20"/>
                      </a:lnTo>
                      <a:lnTo>
                        <a:pt x="2916" y="22"/>
                      </a:lnTo>
                      <a:lnTo>
                        <a:pt x="2916" y="22"/>
                      </a:lnTo>
                      <a:lnTo>
                        <a:pt x="2908" y="26"/>
                      </a:lnTo>
                      <a:lnTo>
                        <a:pt x="2904" y="28"/>
                      </a:lnTo>
                      <a:lnTo>
                        <a:pt x="2902" y="30"/>
                      </a:lnTo>
                      <a:lnTo>
                        <a:pt x="2902" y="34"/>
                      </a:lnTo>
                      <a:lnTo>
                        <a:pt x="2902" y="38"/>
                      </a:lnTo>
                      <a:lnTo>
                        <a:pt x="2900" y="42"/>
                      </a:lnTo>
                      <a:lnTo>
                        <a:pt x="2894" y="46"/>
                      </a:lnTo>
                      <a:lnTo>
                        <a:pt x="2886" y="50"/>
                      </a:lnTo>
                      <a:lnTo>
                        <a:pt x="2886" y="50"/>
                      </a:lnTo>
                      <a:lnTo>
                        <a:pt x="2878" y="56"/>
                      </a:lnTo>
                      <a:lnTo>
                        <a:pt x="2876" y="62"/>
                      </a:lnTo>
                      <a:lnTo>
                        <a:pt x="2876" y="70"/>
                      </a:lnTo>
                      <a:lnTo>
                        <a:pt x="2878" y="80"/>
                      </a:lnTo>
                      <a:lnTo>
                        <a:pt x="2886" y="98"/>
                      </a:lnTo>
                      <a:lnTo>
                        <a:pt x="2888" y="106"/>
                      </a:lnTo>
                      <a:lnTo>
                        <a:pt x="2886" y="114"/>
                      </a:lnTo>
                      <a:lnTo>
                        <a:pt x="2886" y="114"/>
                      </a:lnTo>
                      <a:lnTo>
                        <a:pt x="2884" y="128"/>
                      </a:lnTo>
                      <a:lnTo>
                        <a:pt x="2884" y="136"/>
                      </a:lnTo>
                      <a:lnTo>
                        <a:pt x="2886" y="142"/>
                      </a:lnTo>
                      <a:lnTo>
                        <a:pt x="2890" y="150"/>
                      </a:lnTo>
                      <a:lnTo>
                        <a:pt x="2898" y="156"/>
                      </a:lnTo>
                      <a:lnTo>
                        <a:pt x="2910" y="162"/>
                      </a:lnTo>
                      <a:lnTo>
                        <a:pt x="2924" y="168"/>
                      </a:lnTo>
                      <a:lnTo>
                        <a:pt x="2924" y="168"/>
                      </a:lnTo>
                      <a:lnTo>
                        <a:pt x="2940" y="172"/>
                      </a:lnTo>
                      <a:lnTo>
                        <a:pt x="2954" y="180"/>
                      </a:lnTo>
                      <a:lnTo>
                        <a:pt x="2964" y="186"/>
                      </a:lnTo>
                      <a:lnTo>
                        <a:pt x="2970" y="194"/>
                      </a:lnTo>
                      <a:lnTo>
                        <a:pt x="2974" y="202"/>
                      </a:lnTo>
                      <a:lnTo>
                        <a:pt x="2974" y="208"/>
                      </a:lnTo>
                      <a:lnTo>
                        <a:pt x="2972" y="214"/>
                      </a:lnTo>
                      <a:lnTo>
                        <a:pt x="2966" y="218"/>
                      </a:lnTo>
                      <a:lnTo>
                        <a:pt x="2966" y="218"/>
                      </a:lnTo>
                      <a:lnTo>
                        <a:pt x="2958" y="222"/>
                      </a:lnTo>
                      <a:lnTo>
                        <a:pt x="2954" y="226"/>
                      </a:lnTo>
                      <a:lnTo>
                        <a:pt x="2954" y="232"/>
                      </a:lnTo>
                      <a:lnTo>
                        <a:pt x="2956" y="234"/>
                      </a:lnTo>
                      <a:lnTo>
                        <a:pt x="2960" y="238"/>
                      </a:lnTo>
                      <a:lnTo>
                        <a:pt x="2966" y="238"/>
                      </a:lnTo>
                      <a:lnTo>
                        <a:pt x="2972" y="236"/>
                      </a:lnTo>
                      <a:lnTo>
                        <a:pt x="2980" y="234"/>
                      </a:lnTo>
                      <a:lnTo>
                        <a:pt x="2980" y="234"/>
                      </a:lnTo>
                      <a:lnTo>
                        <a:pt x="2986" y="230"/>
                      </a:lnTo>
                      <a:lnTo>
                        <a:pt x="2992" y="230"/>
                      </a:lnTo>
                      <a:lnTo>
                        <a:pt x="2996" y="232"/>
                      </a:lnTo>
                      <a:lnTo>
                        <a:pt x="2996" y="238"/>
                      </a:lnTo>
                      <a:lnTo>
                        <a:pt x="2994" y="246"/>
                      </a:lnTo>
                      <a:lnTo>
                        <a:pt x="2988" y="254"/>
                      </a:lnTo>
                      <a:lnTo>
                        <a:pt x="2980" y="262"/>
                      </a:lnTo>
                      <a:lnTo>
                        <a:pt x="2968" y="272"/>
                      </a:lnTo>
                      <a:lnTo>
                        <a:pt x="2968" y="272"/>
                      </a:lnTo>
                      <a:lnTo>
                        <a:pt x="2956" y="280"/>
                      </a:lnTo>
                      <a:lnTo>
                        <a:pt x="2946" y="282"/>
                      </a:lnTo>
                      <a:lnTo>
                        <a:pt x="2940" y="284"/>
                      </a:lnTo>
                      <a:lnTo>
                        <a:pt x="2934" y="282"/>
                      </a:lnTo>
                      <a:lnTo>
                        <a:pt x="2930" y="280"/>
                      </a:lnTo>
                      <a:lnTo>
                        <a:pt x="2928" y="282"/>
                      </a:lnTo>
                      <a:lnTo>
                        <a:pt x="2926" y="284"/>
                      </a:lnTo>
                      <a:lnTo>
                        <a:pt x="2922" y="290"/>
                      </a:lnTo>
                      <a:lnTo>
                        <a:pt x="2922" y="290"/>
                      </a:lnTo>
                      <a:lnTo>
                        <a:pt x="2920" y="300"/>
                      </a:lnTo>
                      <a:lnTo>
                        <a:pt x="2924" y="312"/>
                      </a:lnTo>
                      <a:lnTo>
                        <a:pt x="2930" y="334"/>
                      </a:lnTo>
                      <a:lnTo>
                        <a:pt x="2934" y="342"/>
                      </a:lnTo>
                      <a:lnTo>
                        <a:pt x="2934" y="348"/>
                      </a:lnTo>
                      <a:lnTo>
                        <a:pt x="2934" y="350"/>
                      </a:lnTo>
                      <a:lnTo>
                        <a:pt x="2930" y="348"/>
                      </a:lnTo>
                      <a:lnTo>
                        <a:pt x="2922" y="344"/>
                      </a:lnTo>
                      <a:lnTo>
                        <a:pt x="2922" y="344"/>
                      </a:lnTo>
                      <a:lnTo>
                        <a:pt x="2902" y="330"/>
                      </a:lnTo>
                      <a:lnTo>
                        <a:pt x="2896" y="326"/>
                      </a:lnTo>
                      <a:lnTo>
                        <a:pt x="2892" y="320"/>
                      </a:lnTo>
                      <a:lnTo>
                        <a:pt x="2892" y="316"/>
                      </a:lnTo>
                      <a:lnTo>
                        <a:pt x="2892" y="312"/>
                      </a:lnTo>
                      <a:lnTo>
                        <a:pt x="2896" y="298"/>
                      </a:lnTo>
                      <a:lnTo>
                        <a:pt x="2896" y="298"/>
                      </a:lnTo>
                      <a:lnTo>
                        <a:pt x="2900" y="286"/>
                      </a:lnTo>
                      <a:lnTo>
                        <a:pt x="2902" y="280"/>
                      </a:lnTo>
                      <a:lnTo>
                        <a:pt x="2900" y="276"/>
                      </a:lnTo>
                      <a:lnTo>
                        <a:pt x="2898" y="272"/>
                      </a:lnTo>
                      <a:lnTo>
                        <a:pt x="2892" y="270"/>
                      </a:lnTo>
                      <a:lnTo>
                        <a:pt x="2886" y="270"/>
                      </a:lnTo>
                      <a:lnTo>
                        <a:pt x="2876" y="270"/>
                      </a:lnTo>
                      <a:lnTo>
                        <a:pt x="2876" y="270"/>
                      </a:lnTo>
                      <a:lnTo>
                        <a:pt x="2866" y="270"/>
                      </a:lnTo>
                      <a:lnTo>
                        <a:pt x="2858" y="268"/>
                      </a:lnTo>
                      <a:lnTo>
                        <a:pt x="2844" y="260"/>
                      </a:lnTo>
                      <a:lnTo>
                        <a:pt x="2838" y="256"/>
                      </a:lnTo>
                      <a:lnTo>
                        <a:pt x="2830" y="254"/>
                      </a:lnTo>
                      <a:lnTo>
                        <a:pt x="2820" y="254"/>
                      </a:lnTo>
                      <a:lnTo>
                        <a:pt x="2810" y="258"/>
                      </a:lnTo>
                      <a:lnTo>
                        <a:pt x="2810" y="258"/>
                      </a:lnTo>
                      <a:lnTo>
                        <a:pt x="2800" y="264"/>
                      </a:lnTo>
                      <a:lnTo>
                        <a:pt x="2796" y="272"/>
                      </a:lnTo>
                      <a:lnTo>
                        <a:pt x="2796" y="278"/>
                      </a:lnTo>
                      <a:lnTo>
                        <a:pt x="2796" y="286"/>
                      </a:lnTo>
                      <a:lnTo>
                        <a:pt x="2798" y="292"/>
                      </a:lnTo>
                      <a:lnTo>
                        <a:pt x="2798" y="298"/>
                      </a:lnTo>
                      <a:lnTo>
                        <a:pt x="2794" y="304"/>
                      </a:lnTo>
                      <a:lnTo>
                        <a:pt x="2786" y="308"/>
                      </a:lnTo>
                      <a:lnTo>
                        <a:pt x="2786" y="308"/>
                      </a:lnTo>
                      <a:lnTo>
                        <a:pt x="2778" y="310"/>
                      </a:lnTo>
                      <a:lnTo>
                        <a:pt x="2772" y="308"/>
                      </a:lnTo>
                      <a:lnTo>
                        <a:pt x="2760" y="302"/>
                      </a:lnTo>
                      <a:lnTo>
                        <a:pt x="2752" y="300"/>
                      </a:lnTo>
                      <a:lnTo>
                        <a:pt x="2742" y="298"/>
                      </a:lnTo>
                      <a:lnTo>
                        <a:pt x="2726" y="298"/>
                      </a:lnTo>
                      <a:lnTo>
                        <a:pt x="2708" y="302"/>
                      </a:lnTo>
                      <a:lnTo>
                        <a:pt x="2708" y="302"/>
                      </a:lnTo>
                      <a:lnTo>
                        <a:pt x="2680" y="306"/>
                      </a:lnTo>
                      <a:lnTo>
                        <a:pt x="2658" y="306"/>
                      </a:lnTo>
                      <a:lnTo>
                        <a:pt x="2640" y="302"/>
                      </a:lnTo>
                      <a:lnTo>
                        <a:pt x="2626" y="298"/>
                      </a:lnTo>
                      <a:lnTo>
                        <a:pt x="2606" y="286"/>
                      </a:lnTo>
                      <a:lnTo>
                        <a:pt x="2598" y="284"/>
                      </a:lnTo>
                      <a:lnTo>
                        <a:pt x="2590" y="286"/>
                      </a:lnTo>
                      <a:lnTo>
                        <a:pt x="2590" y="286"/>
                      </a:lnTo>
                      <a:lnTo>
                        <a:pt x="2580" y="288"/>
                      </a:lnTo>
                      <a:lnTo>
                        <a:pt x="2572" y="288"/>
                      </a:lnTo>
                      <a:lnTo>
                        <a:pt x="2564" y="286"/>
                      </a:lnTo>
                      <a:lnTo>
                        <a:pt x="2556" y="282"/>
                      </a:lnTo>
                      <a:lnTo>
                        <a:pt x="2544" y="272"/>
                      </a:lnTo>
                      <a:lnTo>
                        <a:pt x="2532" y="260"/>
                      </a:lnTo>
                      <a:lnTo>
                        <a:pt x="2520" y="246"/>
                      </a:lnTo>
                      <a:lnTo>
                        <a:pt x="2510" y="234"/>
                      </a:lnTo>
                      <a:lnTo>
                        <a:pt x="2504" y="230"/>
                      </a:lnTo>
                      <a:lnTo>
                        <a:pt x="2498" y="226"/>
                      </a:lnTo>
                      <a:lnTo>
                        <a:pt x="2492" y="224"/>
                      </a:lnTo>
                      <a:lnTo>
                        <a:pt x="2486" y="224"/>
                      </a:lnTo>
                      <a:lnTo>
                        <a:pt x="2486" y="224"/>
                      </a:lnTo>
                      <a:lnTo>
                        <a:pt x="2456" y="230"/>
                      </a:lnTo>
                      <a:lnTo>
                        <a:pt x="2438" y="234"/>
                      </a:lnTo>
                      <a:lnTo>
                        <a:pt x="2422" y="240"/>
                      </a:lnTo>
                      <a:lnTo>
                        <a:pt x="2408" y="246"/>
                      </a:lnTo>
                      <a:lnTo>
                        <a:pt x="2398" y="252"/>
                      </a:lnTo>
                      <a:lnTo>
                        <a:pt x="2394" y="256"/>
                      </a:lnTo>
                      <a:lnTo>
                        <a:pt x="2392" y="262"/>
                      </a:lnTo>
                      <a:lnTo>
                        <a:pt x="2392" y="266"/>
                      </a:lnTo>
                      <a:lnTo>
                        <a:pt x="2394" y="270"/>
                      </a:lnTo>
                      <a:lnTo>
                        <a:pt x="2394" y="270"/>
                      </a:lnTo>
                      <a:lnTo>
                        <a:pt x="2398" y="274"/>
                      </a:lnTo>
                      <a:lnTo>
                        <a:pt x="2400" y="278"/>
                      </a:lnTo>
                      <a:lnTo>
                        <a:pt x="2406" y="280"/>
                      </a:lnTo>
                      <a:lnTo>
                        <a:pt x="2410" y="280"/>
                      </a:lnTo>
                      <a:lnTo>
                        <a:pt x="2420" y="278"/>
                      </a:lnTo>
                      <a:lnTo>
                        <a:pt x="2432" y="274"/>
                      </a:lnTo>
                      <a:lnTo>
                        <a:pt x="2456" y="264"/>
                      </a:lnTo>
                      <a:lnTo>
                        <a:pt x="2464" y="262"/>
                      </a:lnTo>
                      <a:lnTo>
                        <a:pt x="2468" y="262"/>
                      </a:lnTo>
                      <a:lnTo>
                        <a:pt x="2472" y="264"/>
                      </a:lnTo>
                      <a:lnTo>
                        <a:pt x="2472" y="264"/>
                      </a:lnTo>
                      <a:lnTo>
                        <a:pt x="2474" y="266"/>
                      </a:lnTo>
                      <a:lnTo>
                        <a:pt x="2476" y="268"/>
                      </a:lnTo>
                      <a:lnTo>
                        <a:pt x="2472" y="272"/>
                      </a:lnTo>
                      <a:lnTo>
                        <a:pt x="2456" y="278"/>
                      </a:lnTo>
                      <a:lnTo>
                        <a:pt x="2436" y="286"/>
                      </a:lnTo>
                      <a:lnTo>
                        <a:pt x="2428" y="292"/>
                      </a:lnTo>
                      <a:lnTo>
                        <a:pt x="2422" y="298"/>
                      </a:lnTo>
                      <a:lnTo>
                        <a:pt x="2422" y="298"/>
                      </a:lnTo>
                      <a:lnTo>
                        <a:pt x="2422" y="304"/>
                      </a:lnTo>
                      <a:lnTo>
                        <a:pt x="2424" y="308"/>
                      </a:lnTo>
                      <a:lnTo>
                        <a:pt x="2428" y="320"/>
                      </a:lnTo>
                      <a:lnTo>
                        <a:pt x="2440" y="342"/>
                      </a:lnTo>
                      <a:lnTo>
                        <a:pt x="2444" y="350"/>
                      </a:lnTo>
                      <a:lnTo>
                        <a:pt x="2444" y="352"/>
                      </a:lnTo>
                      <a:lnTo>
                        <a:pt x="2444" y="354"/>
                      </a:lnTo>
                      <a:lnTo>
                        <a:pt x="2436" y="350"/>
                      </a:lnTo>
                      <a:lnTo>
                        <a:pt x="2418" y="340"/>
                      </a:lnTo>
                      <a:lnTo>
                        <a:pt x="2418" y="340"/>
                      </a:lnTo>
                      <a:lnTo>
                        <a:pt x="2398" y="326"/>
                      </a:lnTo>
                      <a:lnTo>
                        <a:pt x="2382" y="318"/>
                      </a:lnTo>
                      <a:lnTo>
                        <a:pt x="2364" y="310"/>
                      </a:lnTo>
                      <a:lnTo>
                        <a:pt x="2354" y="306"/>
                      </a:lnTo>
                      <a:lnTo>
                        <a:pt x="2348" y="302"/>
                      </a:lnTo>
                      <a:lnTo>
                        <a:pt x="2340" y="294"/>
                      </a:lnTo>
                      <a:lnTo>
                        <a:pt x="2340" y="294"/>
                      </a:lnTo>
                      <a:lnTo>
                        <a:pt x="2334" y="288"/>
                      </a:lnTo>
                      <a:lnTo>
                        <a:pt x="2330" y="286"/>
                      </a:lnTo>
                      <a:lnTo>
                        <a:pt x="2326" y="288"/>
                      </a:lnTo>
                      <a:lnTo>
                        <a:pt x="2320" y="290"/>
                      </a:lnTo>
                      <a:lnTo>
                        <a:pt x="2314" y="296"/>
                      </a:lnTo>
                      <a:lnTo>
                        <a:pt x="2304" y="300"/>
                      </a:lnTo>
                      <a:lnTo>
                        <a:pt x="2286" y="304"/>
                      </a:lnTo>
                      <a:lnTo>
                        <a:pt x="2262" y="308"/>
                      </a:lnTo>
                      <a:lnTo>
                        <a:pt x="2262" y="308"/>
                      </a:lnTo>
                      <a:lnTo>
                        <a:pt x="2206" y="308"/>
                      </a:lnTo>
                      <a:lnTo>
                        <a:pt x="2180" y="308"/>
                      </a:lnTo>
                      <a:lnTo>
                        <a:pt x="2156" y="306"/>
                      </a:lnTo>
                      <a:lnTo>
                        <a:pt x="2140" y="302"/>
                      </a:lnTo>
                      <a:lnTo>
                        <a:pt x="2128" y="298"/>
                      </a:lnTo>
                      <a:lnTo>
                        <a:pt x="2124" y="296"/>
                      </a:lnTo>
                      <a:lnTo>
                        <a:pt x="2124" y="292"/>
                      </a:lnTo>
                      <a:lnTo>
                        <a:pt x="2126" y="288"/>
                      </a:lnTo>
                      <a:lnTo>
                        <a:pt x="2130" y="284"/>
                      </a:lnTo>
                      <a:lnTo>
                        <a:pt x="2130" y="284"/>
                      </a:lnTo>
                      <a:lnTo>
                        <a:pt x="2142" y="278"/>
                      </a:lnTo>
                      <a:lnTo>
                        <a:pt x="2154" y="274"/>
                      </a:lnTo>
                      <a:lnTo>
                        <a:pt x="2172" y="272"/>
                      </a:lnTo>
                      <a:lnTo>
                        <a:pt x="2178" y="270"/>
                      </a:lnTo>
                      <a:lnTo>
                        <a:pt x="2180" y="268"/>
                      </a:lnTo>
                      <a:lnTo>
                        <a:pt x="2178" y="264"/>
                      </a:lnTo>
                      <a:lnTo>
                        <a:pt x="2170" y="256"/>
                      </a:lnTo>
                      <a:lnTo>
                        <a:pt x="2170" y="256"/>
                      </a:lnTo>
                      <a:lnTo>
                        <a:pt x="2154" y="240"/>
                      </a:lnTo>
                      <a:lnTo>
                        <a:pt x="2144" y="232"/>
                      </a:lnTo>
                      <a:lnTo>
                        <a:pt x="2134" y="228"/>
                      </a:lnTo>
                      <a:lnTo>
                        <a:pt x="2124" y="222"/>
                      </a:lnTo>
                      <a:lnTo>
                        <a:pt x="2110" y="220"/>
                      </a:lnTo>
                      <a:lnTo>
                        <a:pt x="2096" y="220"/>
                      </a:lnTo>
                      <a:lnTo>
                        <a:pt x="2080" y="220"/>
                      </a:lnTo>
                      <a:lnTo>
                        <a:pt x="2080" y="220"/>
                      </a:lnTo>
                      <a:lnTo>
                        <a:pt x="2064" y="222"/>
                      </a:lnTo>
                      <a:lnTo>
                        <a:pt x="2046" y="220"/>
                      </a:lnTo>
                      <a:lnTo>
                        <a:pt x="2030" y="218"/>
                      </a:lnTo>
                      <a:lnTo>
                        <a:pt x="2014" y="212"/>
                      </a:lnTo>
                      <a:lnTo>
                        <a:pt x="1982" y="202"/>
                      </a:lnTo>
                      <a:lnTo>
                        <a:pt x="1948" y="194"/>
                      </a:lnTo>
                      <a:lnTo>
                        <a:pt x="1948" y="194"/>
                      </a:lnTo>
                      <a:lnTo>
                        <a:pt x="1932" y="190"/>
                      </a:lnTo>
                      <a:lnTo>
                        <a:pt x="1918" y="184"/>
                      </a:lnTo>
                      <a:lnTo>
                        <a:pt x="1890" y="172"/>
                      </a:lnTo>
                      <a:lnTo>
                        <a:pt x="1876" y="166"/>
                      </a:lnTo>
                      <a:lnTo>
                        <a:pt x="1862" y="160"/>
                      </a:lnTo>
                      <a:lnTo>
                        <a:pt x="1848" y="158"/>
                      </a:lnTo>
                      <a:lnTo>
                        <a:pt x="1832" y="158"/>
                      </a:lnTo>
                      <a:lnTo>
                        <a:pt x="1832" y="158"/>
                      </a:lnTo>
                      <a:lnTo>
                        <a:pt x="1820" y="160"/>
                      </a:lnTo>
                      <a:lnTo>
                        <a:pt x="1812" y="164"/>
                      </a:lnTo>
                      <a:lnTo>
                        <a:pt x="1808" y="170"/>
                      </a:lnTo>
                      <a:lnTo>
                        <a:pt x="1806" y="176"/>
                      </a:lnTo>
                      <a:lnTo>
                        <a:pt x="1804" y="182"/>
                      </a:lnTo>
                      <a:lnTo>
                        <a:pt x="1800" y="186"/>
                      </a:lnTo>
                      <a:lnTo>
                        <a:pt x="1792" y="188"/>
                      </a:lnTo>
                      <a:lnTo>
                        <a:pt x="1780" y="188"/>
                      </a:lnTo>
                      <a:lnTo>
                        <a:pt x="1780" y="188"/>
                      </a:lnTo>
                      <a:lnTo>
                        <a:pt x="1774" y="186"/>
                      </a:lnTo>
                      <a:lnTo>
                        <a:pt x="1768" y="184"/>
                      </a:lnTo>
                      <a:lnTo>
                        <a:pt x="1764" y="180"/>
                      </a:lnTo>
                      <a:lnTo>
                        <a:pt x="1762" y="176"/>
                      </a:lnTo>
                      <a:lnTo>
                        <a:pt x="1760" y="166"/>
                      </a:lnTo>
                      <a:lnTo>
                        <a:pt x="1760" y="156"/>
                      </a:lnTo>
                      <a:lnTo>
                        <a:pt x="1760" y="146"/>
                      </a:lnTo>
                      <a:lnTo>
                        <a:pt x="1758" y="138"/>
                      </a:lnTo>
                      <a:lnTo>
                        <a:pt x="1756" y="136"/>
                      </a:lnTo>
                      <a:lnTo>
                        <a:pt x="1750" y="134"/>
                      </a:lnTo>
                      <a:lnTo>
                        <a:pt x="1744" y="134"/>
                      </a:lnTo>
                      <a:lnTo>
                        <a:pt x="1736" y="134"/>
                      </a:lnTo>
                      <a:lnTo>
                        <a:pt x="1736" y="134"/>
                      </a:lnTo>
                      <a:lnTo>
                        <a:pt x="1732" y="136"/>
                      </a:lnTo>
                      <a:lnTo>
                        <a:pt x="1730" y="140"/>
                      </a:lnTo>
                      <a:lnTo>
                        <a:pt x="1726" y="148"/>
                      </a:lnTo>
                      <a:lnTo>
                        <a:pt x="1724" y="172"/>
                      </a:lnTo>
                      <a:lnTo>
                        <a:pt x="1720" y="182"/>
                      </a:lnTo>
                      <a:lnTo>
                        <a:pt x="1718" y="186"/>
                      </a:lnTo>
                      <a:lnTo>
                        <a:pt x="1716" y="190"/>
                      </a:lnTo>
                      <a:lnTo>
                        <a:pt x="1712" y="190"/>
                      </a:lnTo>
                      <a:lnTo>
                        <a:pt x="1706" y="190"/>
                      </a:lnTo>
                      <a:lnTo>
                        <a:pt x="1698" y="188"/>
                      </a:lnTo>
                      <a:lnTo>
                        <a:pt x="1688" y="184"/>
                      </a:lnTo>
                      <a:lnTo>
                        <a:pt x="1688" y="184"/>
                      </a:lnTo>
                      <a:lnTo>
                        <a:pt x="1684" y="182"/>
                      </a:lnTo>
                      <a:lnTo>
                        <a:pt x="1678" y="176"/>
                      </a:lnTo>
                      <a:lnTo>
                        <a:pt x="1668" y="162"/>
                      </a:lnTo>
                      <a:lnTo>
                        <a:pt x="1650" y="132"/>
                      </a:lnTo>
                      <a:lnTo>
                        <a:pt x="1640" y="116"/>
                      </a:lnTo>
                      <a:lnTo>
                        <a:pt x="1630" y="106"/>
                      </a:lnTo>
                      <a:lnTo>
                        <a:pt x="1624" y="104"/>
                      </a:lnTo>
                      <a:lnTo>
                        <a:pt x="1620" y="102"/>
                      </a:lnTo>
                      <a:lnTo>
                        <a:pt x="1614" y="102"/>
                      </a:lnTo>
                      <a:lnTo>
                        <a:pt x="1608" y="106"/>
                      </a:lnTo>
                      <a:lnTo>
                        <a:pt x="1608" y="106"/>
                      </a:lnTo>
                      <a:lnTo>
                        <a:pt x="1600" y="114"/>
                      </a:lnTo>
                      <a:lnTo>
                        <a:pt x="1598" y="116"/>
                      </a:lnTo>
                      <a:lnTo>
                        <a:pt x="1600" y="118"/>
                      </a:lnTo>
                      <a:lnTo>
                        <a:pt x="1604" y="120"/>
                      </a:lnTo>
                      <a:lnTo>
                        <a:pt x="1610" y="122"/>
                      </a:lnTo>
                      <a:lnTo>
                        <a:pt x="1616" y="124"/>
                      </a:lnTo>
                      <a:lnTo>
                        <a:pt x="1616" y="126"/>
                      </a:lnTo>
                      <a:lnTo>
                        <a:pt x="1616" y="130"/>
                      </a:lnTo>
                      <a:lnTo>
                        <a:pt x="1610" y="138"/>
                      </a:lnTo>
                      <a:lnTo>
                        <a:pt x="1592" y="150"/>
                      </a:lnTo>
                      <a:lnTo>
                        <a:pt x="1592" y="150"/>
                      </a:lnTo>
                      <a:lnTo>
                        <a:pt x="1574" y="160"/>
                      </a:lnTo>
                      <a:lnTo>
                        <a:pt x="1572" y="160"/>
                      </a:lnTo>
                      <a:lnTo>
                        <a:pt x="1570" y="158"/>
                      </a:lnTo>
                      <a:lnTo>
                        <a:pt x="1568" y="156"/>
                      </a:lnTo>
                      <a:lnTo>
                        <a:pt x="1560" y="156"/>
                      </a:lnTo>
                      <a:lnTo>
                        <a:pt x="1546" y="160"/>
                      </a:lnTo>
                      <a:lnTo>
                        <a:pt x="1522" y="168"/>
                      </a:lnTo>
                      <a:lnTo>
                        <a:pt x="1522" y="168"/>
                      </a:lnTo>
                      <a:lnTo>
                        <a:pt x="1482" y="180"/>
                      </a:lnTo>
                      <a:lnTo>
                        <a:pt x="1476" y="182"/>
                      </a:lnTo>
                      <a:lnTo>
                        <a:pt x="1476" y="180"/>
                      </a:lnTo>
                      <a:lnTo>
                        <a:pt x="1476" y="180"/>
                      </a:lnTo>
                      <a:lnTo>
                        <a:pt x="1494" y="168"/>
                      </a:lnTo>
                      <a:lnTo>
                        <a:pt x="1526" y="152"/>
                      </a:lnTo>
                      <a:lnTo>
                        <a:pt x="1526" y="152"/>
                      </a:lnTo>
                      <a:lnTo>
                        <a:pt x="1552" y="140"/>
                      </a:lnTo>
                      <a:lnTo>
                        <a:pt x="1558" y="136"/>
                      </a:lnTo>
                      <a:lnTo>
                        <a:pt x="1560" y="132"/>
                      </a:lnTo>
                      <a:lnTo>
                        <a:pt x="1560" y="132"/>
                      </a:lnTo>
                      <a:lnTo>
                        <a:pt x="1556" y="132"/>
                      </a:lnTo>
                      <a:lnTo>
                        <a:pt x="1538" y="134"/>
                      </a:lnTo>
                      <a:lnTo>
                        <a:pt x="1538" y="134"/>
                      </a:lnTo>
                      <a:lnTo>
                        <a:pt x="1530" y="136"/>
                      </a:lnTo>
                      <a:lnTo>
                        <a:pt x="1522" y="134"/>
                      </a:lnTo>
                      <a:lnTo>
                        <a:pt x="1510" y="134"/>
                      </a:lnTo>
                      <a:lnTo>
                        <a:pt x="1506" y="134"/>
                      </a:lnTo>
                      <a:lnTo>
                        <a:pt x="1498" y="136"/>
                      </a:lnTo>
                      <a:lnTo>
                        <a:pt x="1488" y="140"/>
                      </a:lnTo>
                      <a:lnTo>
                        <a:pt x="1474" y="148"/>
                      </a:lnTo>
                      <a:lnTo>
                        <a:pt x="1474" y="148"/>
                      </a:lnTo>
                      <a:lnTo>
                        <a:pt x="1462" y="156"/>
                      </a:lnTo>
                      <a:lnTo>
                        <a:pt x="1454" y="160"/>
                      </a:lnTo>
                      <a:lnTo>
                        <a:pt x="1448" y="160"/>
                      </a:lnTo>
                      <a:lnTo>
                        <a:pt x="1442" y="162"/>
                      </a:lnTo>
                      <a:lnTo>
                        <a:pt x="1438" y="162"/>
                      </a:lnTo>
                      <a:lnTo>
                        <a:pt x="1432" y="164"/>
                      </a:lnTo>
                      <a:lnTo>
                        <a:pt x="1422" y="168"/>
                      </a:lnTo>
                      <a:lnTo>
                        <a:pt x="1406" y="178"/>
                      </a:lnTo>
                      <a:lnTo>
                        <a:pt x="1406" y="178"/>
                      </a:lnTo>
                      <a:lnTo>
                        <a:pt x="1378" y="198"/>
                      </a:lnTo>
                      <a:lnTo>
                        <a:pt x="1358" y="210"/>
                      </a:lnTo>
                      <a:lnTo>
                        <a:pt x="1352" y="214"/>
                      </a:lnTo>
                      <a:lnTo>
                        <a:pt x="1350" y="218"/>
                      </a:lnTo>
                      <a:lnTo>
                        <a:pt x="1350" y="224"/>
                      </a:lnTo>
                      <a:lnTo>
                        <a:pt x="1352" y="230"/>
                      </a:lnTo>
                      <a:lnTo>
                        <a:pt x="1352" y="230"/>
                      </a:lnTo>
                      <a:lnTo>
                        <a:pt x="1352" y="234"/>
                      </a:lnTo>
                      <a:lnTo>
                        <a:pt x="1352" y="236"/>
                      </a:lnTo>
                      <a:lnTo>
                        <a:pt x="1340" y="232"/>
                      </a:lnTo>
                      <a:lnTo>
                        <a:pt x="1332" y="230"/>
                      </a:lnTo>
                      <a:lnTo>
                        <a:pt x="1324" y="228"/>
                      </a:lnTo>
                      <a:lnTo>
                        <a:pt x="1316" y="230"/>
                      </a:lnTo>
                      <a:lnTo>
                        <a:pt x="1308" y="232"/>
                      </a:lnTo>
                      <a:lnTo>
                        <a:pt x="1308" y="232"/>
                      </a:lnTo>
                      <a:lnTo>
                        <a:pt x="1300" y="236"/>
                      </a:lnTo>
                      <a:lnTo>
                        <a:pt x="1296" y="236"/>
                      </a:lnTo>
                      <a:lnTo>
                        <a:pt x="1294" y="236"/>
                      </a:lnTo>
                      <a:lnTo>
                        <a:pt x="1290" y="232"/>
                      </a:lnTo>
                      <a:lnTo>
                        <a:pt x="1286" y="228"/>
                      </a:lnTo>
                      <a:lnTo>
                        <a:pt x="1280" y="226"/>
                      </a:lnTo>
                      <a:lnTo>
                        <a:pt x="1270" y="224"/>
                      </a:lnTo>
                      <a:lnTo>
                        <a:pt x="1258" y="222"/>
                      </a:lnTo>
                      <a:lnTo>
                        <a:pt x="1258" y="222"/>
                      </a:lnTo>
                      <a:lnTo>
                        <a:pt x="1236" y="220"/>
                      </a:lnTo>
                      <a:lnTo>
                        <a:pt x="1216" y="214"/>
                      </a:lnTo>
                      <a:lnTo>
                        <a:pt x="1198" y="206"/>
                      </a:lnTo>
                      <a:lnTo>
                        <a:pt x="1178" y="196"/>
                      </a:lnTo>
                      <a:lnTo>
                        <a:pt x="1160" y="186"/>
                      </a:lnTo>
                      <a:lnTo>
                        <a:pt x="1138" y="178"/>
                      </a:lnTo>
                      <a:lnTo>
                        <a:pt x="1114" y="172"/>
                      </a:lnTo>
                      <a:lnTo>
                        <a:pt x="1102" y="172"/>
                      </a:lnTo>
                      <a:lnTo>
                        <a:pt x="1088" y="172"/>
                      </a:lnTo>
                      <a:lnTo>
                        <a:pt x="1088" y="172"/>
                      </a:lnTo>
                      <a:lnTo>
                        <a:pt x="1074" y="170"/>
                      </a:lnTo>
                      <a:lnTo>
                        <a:pt x="1062" y="168"/>
                      </a:lnTo>
                      <a:lnTo>
                        <a:pt x="1052" y="162"/>
                      </a:lnTo>
                      <a:lnTo>
                        <a:pt x="1044" y="158"/>
                      </a:lnTo>
                      <a:lnTo>
                        <a:pt x="1036" y="152"/>
                      </a:lnTo>
                      <a:lnTo>
                        <a:pt x="1026" y="146"/>
                      </a:lnTo>
                      <a:lnTo>
                        <a:pt x="1014" y="142"/>
                      </a:lnTo>
                      <a:lnTo>
                        <a:pt x="998" y="140"/>
                      </a:lnTo>
                      <a:lnTo>
                        <a:pt x="998" y="140"/>
                      </a:lnTo>
                      <a:lnTo>
                        <a:pt x="982" y="138"/>
                      </a:lnTo>
                      <a:lnTo>
                        <a:pt x="970" y="140"/>
                      </a:lnTo>
                      <a:lnTo>
                        <a:pt x="950" y="144"/>
                      </a:lnTo>
                      <a:lnTo>
                        <a:pt x="940" y="146"/>
                      </a:lnTo>
                      <a:lnTo>
                        <a:pt x="932" y="146"/>
                      </a:lnTo>
                      <a:lnTo>
                        <a:pt x="922" y="146"/>
                      </a:lnTo>
                      <a:lnTo>
                        <a:pt x="912" y="142"/>
                      </a:lnTo>
                      <a:lnTo>
                        <a:pt x="912" y="142"/>
                      </a:lnTo>
                      <a:lnTo>
                        <a:pt x="898" y="138"/>
                      </a:lnTo>
                      <a:lnTo>
                        <a:pt x="884" y="134"/>
                      </a:lnTo>
                      <a:lnTo>
                        <a:pt x="852" y="132"/>
                      </a:lnTo>
                      <a:lnTo>
                        <a:pt x="816" y="128"/>
                      </a:lnTo>
                      <a:lnTo>
                        <a:pt x="798" y="122"/>
                      </a:lnTo>
                      <a:lnTo>
                        <a:pt x="778" y="116"/>
                      </a:lnTo>
                      <a:lnTo>
                        <a:pt x="778" y="116"/>
                      </a:lnTo>
                      <a:lnTo>
                        <a:pt x="758" y="110"/>
                      </a:lnTo>
                      <a:lnTo>
                        <a:pt x="744" y="108"/>
                      </a:lnTo>
                      <a:lnTo>
                        <a:pt x="732" y="108"/>
                      </a:lnTo>
                      <a:lnTo>
                        <a:pt x="722" y="110"/>
                      </a:lnTo>
                      <a:lnTo>
                        <a:pt x="710" y="114"/>
                      </a:lnTo>
                      <a:lnTo>
                        <a:pt x="698" y="116"/>
                      </a:lnTo>
                      <a:lnTo>
                        <a:pt x="682" y="114"/>
                      </a:lnTo>
                      <a:lnTo>
                        <a:pt x="664" y="110"/>
                      </a:lnTo>
                      <a:lnTo>
                        <a:pt x="664" y="110"/>
                      </a:lnTo>
                      <a:lnTo>
                        <a:pt x="648" y="104"/>
                      </a:lnTo>
                      <a:lnTo>
                        <a:pt x="640" y="98"/>
                      </a:lnTo>
                      <a:lnTo>
                        <a:pt x="636" y="94"/>
                      </a:lnTo>
                      <a:lnTo>
                        <a:pt x="636" y="90"/>
                      </a:lnTo>
                      <a:lnTo>
                        <a:pt x="634" y="86"/>
                      </a:lnTo>
                      <a:lnTo>
                        <a:pt x="630" y="82"/>
                      </a:lnTo>
                      <a:lnTo>
                        <a:pt x="622" y="82"/>
                      </a:lnTo>
                      <a:lnTo>
                        <a:pt x="604" y="80"/>
                      </a:lnTo>
                      <a:lnTo>
                        <a:pt x="604" y="80"/>
                      </a:lnTo>
                      <a:lnTo>
                        <a:pt x="572" y="82"/>
                      </a:lnTo>
                      <a:lnTo>
                        <a:pt x="556" y="82"/>
                      </a:lnTo>
                      <a:lnTo>
                        <a:pt x="552" y="82"/>
                      </a:lnTo>
                      <a:lnTo>
                        <a:pt x="548" y="80"/>
                      </a:lnTo>
                      <a:lnTo>
                        <a:pt x="540" y="72"/>
                      </a:lnTo>
                      <a:lnTo>
                        <a:pt x="540" y="72"/>
                      </a:lnTo>
                      <a:lnTo>
                        <a:pt x="534" y="66"/>
                      </a:lnTo>
                      <a:lnTo>
                        <a:pt x="528" y="66"/>
                      </a:lnTo>
                      <a:lnTo>
                        <a:pt x="524" y="66"/>
                      </a:lnTo>
                      <a:lnTo>
                        <a:pt x="518" y="68"/>
                      </a:lnTo>
                      <a:lnTo>
                        <a:pt x="510" y="70"/>
                      </a:lnTo>
                      <a:lnTo>
                        <a:pt x="506" y="70"/>
                      </a:lnTo>
                      <a:lnTo>
                        <a:pt x="500" y="66"/>
                      </a:lnTo>
                      <a:lnTo>
                        <a:pt x="500" y="66"/>
                      </a:lnTo>
                      <a:lnTo>
                        <a:pt x="488" y="56"/>
                      </a:lnTo>
                      <a:lnTo>
                        <a:pt x="482" y="52"/>
                      </a:lnTo>
                      <a:lnTo>
                        <a:pt x="474" y="50"/>
                      </a:lnTo>
                      <a:lnTo>
                        <a:pt x="466" y="50"/>
                      </a:lnTo>
                      <a:lnTo>
                        <a:pt x="456" y="52"/>
                      </a:lnTo>
                      <a:lnTo>
                        <a:pt x="444" y="58"/>
                      </a:lnTo>
                      <a:lnTo>
                        <a:pt x="432" y="68"/>
                      </a:lnTo>
                      <a:lnTo>
                        <a:pt x="432" y="68"/>
                      </a:lnTo>
                      <a:lnTo>
                        <a:pt x="418" y="78"/>
                      </a:lnTo>
                      <a:lnTo>
                        <a:pt x="404" y="82"/>
                      </a:lnTo>
                      <a:lnTo>
                        <a:pt x="392" y="84"/>
                      </a:lnTo>
                      <a:lnTo>
                        <a:pt x="378" y="84"/>
                      </a:lnTo>
                      <a:lnTo>
                        <a:pt x="364" y="84"/>
                      </a:lnTo>
                      <a:lnTo>
                        <a:pt x="348" y="86"/>
                      </a:lnTo>
                      <a:lnTo>
                        <a:pt x="330" y="94"/>
                      </a:lnTo>
                      <a:lnTo>
                        <a:pt x="310" y="106"/>
                      </a:lnTo>
                      <a:lnTo>
                        <a:pt x="310" y="106"/>
                      </a:lnTo>
                      <a:lnTo>
                        <a:pt x="300" y="114"/>
                      </a:lnTo>
                      <a:lnTo>
                        <a:pt x="290" y="120"/>
                      </a:lnTo>
                      <a:lnTo>
                        <a:pt x="282" y="122"/>
                      </a:lnTo>
                      <a:lnTo>
                        <a:pt x="274" y="124"/>
                      </a:lnTo>
                      <a:lnTo>
                        <a:pt x="260" y="126"/>
                      </a:lnTo>
                      <a:lnTo>
                        <a:pt x="250" y="124"/>
                      </a:lnTo>
                      <a:lnTo>
                        <a:pt x="240" y="124"/>
                      </a:lnTo>
                      <a:lnTo>
                        <a:pt x="236" y="124"/>
                      </a:lnTo>
                      <a:lnTo>
                        <a:pt x="230" y="126"/>
                      </a:lnTo>
                      <a:lnTo>
                        <a:pt x="226" y="130"/>
                      </a:lnTo>
                      <a:lnTo>
                        <a:pt x="222" y="134"/>
                      </a:lnTo>
                      <a:lnTo>
                        <a:pt x="212" y="152"/>
                      </a:lnTo>
                      <a:lnTo>
                        <a:pt x="212" y="152"/>
                      </a:lnTo>
                      <a:lnTo>
                        <a:pt x="202" y="172"/>
                      </a:lnTo>
                      <a:lnTo>
                        <a:pt x="192" y="188"/>
                      </a:lnTo>
                      <a:lnTo>
                        <a:pt x="182" y="202"/>
                      </a:lnTo>
                      <a:lnTo>
                        <a:pt x="172" y="212"/>
                      </a:lnTo>
                      <a:lnTo>
                        <a:pt x="158" y="220"/>
                      </a:lnTo>
                      <a:lnTo>
                        <a:pt x="142" y="224"/>
                      </a:lnTo>
                      <a:lnTo>
                        <a:pt x="122" y="228"/>
                      </a:lnTo>
                      <a:lnTo>
                        <a:pt x="96" y="228"/>
                      </a:lnTo>
                      <a:lnTo>
                        <a:pt x="96" y="228"/>
                      </a:lnTo>
                      <a:lnTo>
                        <a:pt x="84" y="230"/>
                      </a:lnTo>
                      <a:lnTo>
                        <a:pt x="78" y="232"/>
                      </a:lnTo>
                      <a:lnTo>
                        <a:pt x="74" y="236"/>
                      </a:lnTo>
                      <a:lnTo>
                        <a:pt x="74" y="240"/>
                      </a:lnTo>
                      <a:lnTo>
                        <a:pt x="74" y="244"/>
                      </a:lnTo>
                      <a:lnTo>
                        <a:pt x="72" y="250"/>
                      </a:lnTo>
                      <a:lnTo>
                        <a:pt x="66" y="254"/>
                      </a:lnTo>
                      <a:lnTo>
                        <a:pt x="58" y="258"/>
                      </a:lnTo>
                      <a:lnTo>
                        <a:pt x="58" y="258"/>
                      </a:lnTo>
                      <a:lnTo>
                        <a:pt x="54" y="260"/>
                      </a:lnTo>
                      <a:lnTo>
                        <a:pt x="52" y="262"/>
                      </a:lnTo>
                      <a:lnTo>
                        <a:pt x="54" y="266"/>
                      </a:lnTo>
                      <a:lnTo>
                        <a:pt x="58" y="268"/>
                      </a:lnTo>
                      <a:lnTo>
                        <a:pt x="72" y="274"/>
                      </a:lnTo>
                      <a:lnTo>
                        <a:pt x="92" y="282"/>
                      </a:lnTo>
                      <a:lnTo>
                        <a:pt x="114" y="292"/>
                      </a:lnTo>
                      <a:lnTo>
                        <a:pt x="136" y="304"/>
                      </a:lnTo>
                      <a:lnTo>
                        <a:pt x="156" y="318"/>
                      </a:lnTo>
                      <a:lnTo>
                        <a:pt x="162" y="326"/>
                      </a:lnTo>
                      <a:lnTo>
                        <a:pt x="168" y="334"/>
                      </a:lnTo>
                      <a:lnTo>
                        <a:pt x="168" y="334"/>
                      </a:lnTo>
                      <a:lnTo>
                        <a:pt x="172" y="342"/>
                      </a:lnTo>
                      <a:lnTo>
                        <a:pt x="176" y="346"/>
                      </a:lnTo>
                      <a:lnTo>
                        <a:pt x="186" y="354"/>
                      </a:lnTo>
                      <a:lnTo>
                        <a:pt x="196" y="356"/>
                      </a:lnTo>
                      <a:lnTo>
                        <a:pt x="206" y="356"/>
                      </a:lnTo>
                      <a:lnTo>
                        <a:pt x="212" y="356"/>
                      </a:lnTo>
                      <a:lnTo>
                        <a:pt x="218" y="356"/>
                      </a:lnTo>
                      <a:lnTo>
                        <a:pt x="220" y="356"/>
                      </a:lnTo>
                      <a:lnTo>
                        <a:pt x="222" y="358"/>
                      </a:lnTo>
                      <a:lnTo>
                        <a:pt x="220" y="364"/>
                      </a:lnTo>
                      <a:lnTo>
                        <a:pt x="220" y="364"/>
                      </a:lnTo>
                      <a:lnTo>
                        <a:pt x="220" y="372"/>
                      </a:lnTo>
                      <a:lnTo>
                        <a:pt x="220" y="376"/>
                      </a:lnTo>
                      <a:lnTo>
                        <a:pt x="224" y="378"/>
                      </a:lnTo>
                      <a:lnTo>
                        <a:pt x="228" y="380"/>
                      </a:lnTo>
                      <a:lnTo>
                        <a:pt x="232" y="380"/>
                      </a:lnTo>
                      <a:lnTo>
                        <a:pt x="236" y="382"/>
                      </a:lnTo>
                      <a:lnTo>
                        <a:pt x="240" y="386"/>
                      </a:lnTo>
                      <a:lnTo>
                        <a:pt x="242" y="392"/>
                      </a:lnTo>
                      <a:lnTo>
                        <a:pt x="242" y="392"/>
                      </a:lnTo>
                      <a:lnTo>
                        <a:pt x="244" y="400"/>
                      </a:lnTo>
                      <a:lnTo>
                        <a:pt x="248" y="402"/>
                      </a:lnTo>
                      <a:lnTo>
                        <a:pt x="254" y="404"/>
                      </a:lnTo>
                      <a:lnTo>
                        <a:pt x="260" y="402"/>
                      </a:lnTo>
                      <a:lnTo>
                        <a:pt x="266" y="402"/>
                      </a:lnTo>
                      <a:lnTo>
                        <a:pt x="270" y="402"/>
                      </a:lnTo>
                      <a:lnTo>
                        <a:pt x="274" y="404"/>
                      </a:lnTo>
                      <a:lnTo>
                        <a:pt x="276" y="410"/>
                      </a:lnTo>
                      <a:lnTo>
                        <a:pt x="276" y="410"/>
                      </a:lnTo>
                      <a:lnTo>
                        <a:pt x="274" y="418"/>
                      </a:lnTo>
                      <a:lnTo>
                        <a:pt x="272" y="418"/>
                      </a:lnTo>
                      <a:lnTo>
                        <a:pt x="270" y="418"/>
                      </a:lnTo>
                      <a:lnTo>
                        <a:pt x="266" y="416"/>
                      </a:lnTo>
                      <a:lnTo>
                        <a:pt x="262" y="416"/>
                      </a:lnTo>
                      <a:lnTo>
                        <a:pt x="258" y="418"/>
                      </a:lnTo>
                      <a:lnTo>
                        <a:pt x="252" y="424"/>
                      </a:lnTo>
                      <a:lnTo>
                        <a:pt x="252" y="424"/>
                      </a:lnTo>
                      <a:lnTo>
                        <a:pt x="250" y="426"/>
                      </a:lnTo>
                      <a:lnTo>
                        <a:pt x="248" y="426"/>
                      </a:lnTo>
                      <a:lnTo>
                        <a:pt x="240" y="422"/>
                      </a:lnTo>
                      <a:lnTo>
                        <a:pt x="234" y="420"/>
                      </a:lnTo>
                      <a:lnTo>
                        <a:pt x="224" y="420"/>
                      </a:lnTo>
                      <a:lnTo>
                        <a:pt x="212" y="420"/>
                      </a:lnTo>
                      <a:lnTo>
                        <a:pt x="194" y="422"/>
                      </a:lnTo>
                      <a:lnTo>
                        <a:pt x="194" y="422"/>
                      </a:lnTo>
                      <a:lnTo>
                        <a:pt x="186" y="422"/>
                      </a:lnTo>
                      <a:lnTo>
                        <a:pt x="180" y="420"/>
                      </a:lnTo>
                      <a:lnTo>
                        <a:pt x="176" y="418"/>
                      </a:lnTo>
                      <a:lnTo>
                        <a:pt x="174" y="416"/>
                      </a:lnTo>
                      <a:lnTo>
                        <a:pt x="174" y="408"/>
                      </a:lnTo>
                      <a:lnTo>
                        <a:pt x="176" y="398"/>
                      </a:lnTo>
                      <a:lnTo>
                        <a:pt x="176" y="390"/>
                      </a:lnTo>
                      <a:lnTo>
                        <a:pt x="174" y="388"/>
                      </a:lnTo>
                      <a:lnTo>
                        <a:pt x="172" y="384"/>
                      </a:lnTo>
                      <a:lnTo>
                        <a:pt x="168" y="384"/>
                      </a:lnTo>
                      <a:lnTo>
                        <a:pt x="162" y="384"/>
                      </a:lnTo>
                      <a:lnTo>
                        <a:pt x="140" y="388"/>
                      </a:lnTo>
                      <a:lnTo>
                        <a:pt x="140" y="388"/>
                      </a:lnTo>
                      <a:lnTo>
                        <a:pt x="116" y="396"/>
                      </a:lnTo>
                      <a:lnTo>
                        <a:pt x="92" y="406"/>
                      </a:lnTo>
                      <a:lnTo>
                        <a:pt x="56" y="424"/>
                      </a:lnTo>
                      <a:lnTo>
                        <a:pt x="28" y="440"/>
                      </a:lnTo>
                      <a:lnTo>
                        <a:pt x="18" y="444"/>
                      </a:lnTo>
                      <a:lnTo>
                        <a:pt x="10" y="446"/>
                      </a:lnTo>
                      <a:lnTo>
                        <a:pt x="10" y="446"/>
                      </a:lnTo>
                      <a:lnTo>
                        <a:pt x="4" y="448"/>
                      </a:lnTo>
                      <a:lnTo>
                        <a:pt x="0" y="452"/>
                      </a:lnTo>
                      <a:lnTo>
                        <a:pt x="0" y="456"/>
                      </a:lnTo>
                      <a:lnTo>
                        <a:pt x="2" y="460"/>
                      </a:lnTo>
                      <a:lnTo>
                        <a:pt x="8" y="466"/>
                      </a:lnTo>
                      <a:lnTo>
                        <a:pt x="16" y="470"/>
                      </a:lnTo>
                      <a:lnTo>
                        <a:pt x="28" y="472"/>
                      </a:lnTo>
                      <a:lnTo>
                        <a:pt x="42" y="474"/>
                      </a:lnTo>
                      <a:lnTo>
                        <a:pt x="42" y="474"/>
                      </a:lnTo>
                      <a:lnTo>
                        <a:pt x="54" y="474"/>
                      </a:lnTo>
                      <a:lnTo>
                        <a:pt x="60" y="478"/>
                      </a:lnTo>
                      <a:lnTo>
                        <a:pt x="58" y="480"/>
                      </a:lnTo>
                      <a:lnTo>
                        <a:pt x="56" y="484"/>
                      </a:lnTo>
                      <a:lnTo>
                        <a:pt x="52" y="488"/>
                      </a:lnTo>
                      <a:lnTo>
                        <a:pt x="50" y="492"/>
                      </a:lnTo>
                      <a:lnTo>
                        <a:pt x="50" y="498"/>
                      </a:lnTo>
                      <a:lnTo>
                        <a:pt x="56" y="502"/>
                      </a:lnTo>
                      <a:lnTo>
                        <a:pt x="56" y="502"/>
                      </a:lnTo>
                      <a:lnTo>
                        <a:pt x="64" y="506"/>
                      </a:lnTo>
                      <a:lnTo>
                        <a:pt x="66" y="512"/>
                      </a:lnTo>
                      <a:lnTo>
                        <a:pt x="68" y="520"/>
                      </a:lnTo>
                      <a:lnTo>
                        <a:pt x="70" y="524"/>
                      </a:lnTo>
                      <a:lnTo>
                        <a:pt x="74" y="528"/>
                      </a:lnTo>
                      <a:lnTo>
                        <a:pt x="82" y="532"/>
                      </a:lnTo>
                      <a:lnTo>
                        <a:pt x="94" y="534"/>
                      </a:lnTo>
                      <a:lnTo>
                        <a:pt x="94" y="534"/>
                      </a:lnTo>
                      <a:lnTo>
                        <a:pt x="110" y="534"/>
                      </a:lnTo>
                      <a:lnTo>
                        <a:pt x="122" y="534"/>
                      </a:lnTo>
                      <a:lnTo>
                        <a:pt x="144" y="528"/>
                      </a:lnTo>
                      <a:lnTo>
                        <a:pt x="154" y="526"/>
                      </a:lnTo>
                      <a:lnTo>
                        <a:pt x="166" y="526"/>
                      </a:lnTo>
                      <a:lnTo>
                        <a:pt x="176" y="528"/>
                      </a:lnTo>
                      <a:lnTo>
                        <a:pt x="190" y="534"/>
                      </a:lnTo>
                      <a:lnTo>
                        <a:pt x="190" y="534"/>
                      </a:lnTo>
                      <a:lnTo>
                        <a:pt x="198" y="536"/>
                      </a:lnTo>
                      <a:lnTo>
                        <a:pt x="204" y="538"/>
                      </a:lnTo>
                      <a:lnTo>
                        <a:pt x="210" y="538"/>
                      </a:lnTo>
                      <a:lnTo>
                        <a:pt x="218" y="536"/>
                      </a:lnTo>
                      <a:lnTo>
                        <a:pt x="230" y="530"/>
                      </a:lnTo>
                      <a:lnTo>
                        <a:pt x="242" y="522"/>
                      </a:lnTo>
                      <a:lnTo>
                        <a:pt x="254" y="512"/>
                      </a:lnTo>
                      <a:lnTo>
                        <a:pt x="266" y="506"/>
                      </a:lnTo>
                      <a:lnTo>
                        <a:pt x="270" y="506"/>
                      </a:lnTo>
                      <a:lnTo>
                        <a:pt x="276" y="506"/>
                      </a:lnTo>
                      <a:lnTo>
                        <a:pt x="280" y="508"/>
                      </a:lnTo>
                      <a:lnTo>
                        <a:pt x="286" y="510"/>
                      </a:lnTo>
                      <a:lnTo>
                        <a:pt x="286" y="510"/>
                      </a:lnTo>
                      <a:lnTo>
                        <a:pt x="290" y="516"/>
                      </a:lnTo>
                      <a:lnTo>
                        <a:pt x="290" y="518"/>
                      </a:lnTo>
                      <a:lnTo>
                        <a:pt x="290" y="522"/>
                      </a:lnTo>
                      <a:lnTo>
                        <a:pt x="288" y="524"/>
                      </a:lnTo>
                      <a:lnTo>
                        <a:pt x="282" y="526"/>
                      </a:lnTo>
                      <a:lnTo>
                        <a:pt x="272" y="528"/>
                      </a:lnTo>
                      <a:lnTo>
                        <a:pt x="264" y="530"/>
                      </a:lnTo>
                      <a:lnTo>
                        <a:pt x="260" y="534"/>
                      </a:lnTo>
                      <a:lnTo>
                        <a:pt x="260" y="536"/>
                      </a:lnTo>
                      <a:lnTo>
                        <a:pt x="262" y="538"/>
                      </a:lnTo>
                      <a:lnTo>
                        <a:pt x="274" y="544"/>
                      </a:lnTo>
                      <a:lnTo>
                        <a:pt x="274" y="544"/>
                      </a:lnTo>
                      <a:lnTo>
                        <a:pt x="280" y="550"/>
                      </a:lnTo>
                      <a:lnTo>
                        <a:pt x="286" y="554"/>
                      </a:lnTo>
                      <a:lnTo>
                        <a:pt x="290" y="558"/>
                      </a:lnTo>
                      <a:lnTo>
                        <a:pt x="292" y="564"/>
                      </a:lnTo>
                      <a:lnTo>
                        <a:pt x="292" y="570"/>
                      </a:lnTo>
                      <a:lnTo>
                        <a:pt x="292" y="574"/>
                      </a:lnTo>
                      <a:lnTo>
                        <a:pt x="288" y="584"/>
                      </a:lnTo>
                      <a:lnTo>
                        <a:pt x="280" y="592"/>
                      </a:lnTo>
                      <a:lnTo>
                        <a:pt x="270" y="598"/>
                      </a:lnTo>
                      <a:lnTo>
                        <a:pt x="258" y="600"/>
                      </a:lnTo>
                      <a:lnTo>
                        <a:pt x="244" y="598"/>
                      </a:lnTo>
                      <a:lnTo>
                        <a:pt x="244" y="598"/>
                      </a:lnTo>
                      <a:lnTo>
                        <a:pt x="240" y="598"/>
                      </a:lnTo>
                      <a:lnTo>
                        <a:pt x="234" y="598"/>
                      </a:lnTo>
                      <a:lnTo>
                        <a:pt x="226" y="602"/>
                      </a:lnTo>
                      <a:lnTo>
                        <a:pt x="220" y="610"/>
                      </a:lnTo>
                      <a:lnTo>
                        <a:pt x="214" y="618"/>
                      </a:lnTo>
                      <a:lnTo>
                        <a:pt x="210" y="624"/>
                      </a:lnTo>
                      <a:lnTo>
                        <a:pt x="202" y="630"/>
                      </a:lnTo>
                      <a:lnTo>
                        <a:pt x="198" y="630"/>
                      </a:lnTo>
                      <a:lnTo>
                        <a:pt x="192" y="630"/>
                      </a:lnTo>
                      <a:lnTo>
                        <a:pt x="186" y="628"/>
                      </a:lnTo>
                      <a:lnTo>
                        <a:pt x="180" y="624"/>
                      </a:lnTo>
                      <a:lnTo>
                        <a:pt x="180" y="624"/>
                      </a:lnTo>
                      <a:lnTo>
                        <a:pt x="172" y="620"/>
                      </a:lnTo>
                      <a:lnTo>
                        <a:pt x="166" y="618"/>
                      </a:lnTo>
                      <a:lnTo>
                        <a:pt x="160" y="618"/>
                      </a:lnTo>
                      <a:lnTo>
                        <a:pt x="154" y="620"/>
                      </a:lnTo>
                      <a:lnTo>
                        <a:pt x="144" y="626"/>
                      </a:lnTo>
                      <a:lnTo>
                        <a:pt x="136" y="636"/>
                      </a:lnTo>
                      <a:lnTo>
                        <a:pt x="124" y="658"/>
                      </a:lnTo>
                      <a:lnTo>
                        <a:pt x="118" y="666"/>
                      </a:lnTo>
                      <a:lnTo>
                        <a:pt x="112" y="672"/>
                      </a:lnTo>
                      <a:lnTo>
                        <a:pt x="112" y="672"/>
                      </a:lnTo>
                      <a:lnTo>
                        <a:pt x="106" y="674"/>
                      </a:lnTo>
                      <a:lnTo>
                        <a:pt x="102" y="678"/>
                      </a:lnTo>
                      <a:lnTo>
                        <a:pt x="96" y="690"/>
                      </a:lnTo>
                      <a:lnTo>
                        <a:pt x="92" y="702"/>
                      </a:lnTo>
                      <a:lnTo>
                        <a:pt x="88" y="708"/>
                      </a:lnTo>
                      <a:lnTo>
                        <a:pt x="82" y="712"/>
                      </a:lnTo>
                      <a:lnTo>
                        <a:pt x="82" y="712"/>
                      </a:lnTo>
                      <a:lnTo>
                        <a:pt x="76" y="716"/>
                      </a:lnTo>
                      <a:lnTo>
                        <a:pt x="74" y="720"/>
                      </a:lnTo>
                      <a:lnTo>
                        <a:pt x="74" y="726"/>
                      </a:lnTo>
                      <a:lnTo>
                        <a:pt x="76" y="730"/>
                      </a:lnTo>
                      <a:lnTo>
                        <a:pt x="88" y="740"/>
                      </a:lnTo>
                      <a:lnTo>
                        <a:pt x="108" y="756"/>
                      </a:lnTo>
                      <a:lnTo>
                        <a:pt x="108" y="756"/>
                      </a:lnTo>
                      <a:lnTo>
                        <a:pt x="116" y="764"/>
                      </a:lnTo>
                      <a:lnTo>
                        <a:pt x="118" y="772"/>
                      </a:lnTo>
                      <a:lnTo>
                        <a:pt x="118" y="778"/>
                      </a:lnTo>
                      <a:lnTo>
                        <a:pt x="116" y="784"/>
                      </a:lnTo>
                      <a:lnTo>
                        <a:pt x="114" y="790"/>
                      </a:lnTo>
                      <a:lnTo>
                        <a:pt x="112" y="794"/>
                      </a:lnTo>
                      <a:lnTo>
                        <a:pt x="112" y="800"/>
                      </a:lnTo>
                      <a:lnTo>
                        <a:pt x="116" y="804"/>
                      </a:lnTo>
                      <a:lnTo>
                        <a:pt x="116" y="804"/>
                      </a:lnTo>
                      <a:lnTo>
                        <a:pt x="132" y="818"/>
                      </a:lnTo>
                      <a:lnTo>
                        <a:pt x="148" y="834"/>
                      </a:lnTo>
                      <a:lnTo>
                        <a:pt x="158" y="840"/>
                      </a:lnTo>
                      <a:lnTo>
                        <a:pt x="168" y="844"/>
                      </a:lnTo>
                      <a:lnTo>
                        <a:pt x="180" y="844"/>
                      </a:lnTo>
                      <a:lnTo>
                        <a:pt x="194" y="840"/>
                      </a:lnTo>
                      <a:lnTo>
                        <a:pt x="194" y="840"/>
                      </a:lnTo>
                      <a:lnTo>
                        <a:pt x="208" y="836"/>
                      </a:lnTo>
                      <a:lnTo>
                        <a:pt x="218" y="834"/>
                      </a:lnTo>
                      <a:lnTo>
                        <a:pt x="228" y="836"/>
                      </a:lnTo>
                      <a:lnTo>
                        <a:pt x="234" y="838"/>
                      </a:lnTo>
                      <a:lnTo>
                        <a:pt x="240" y="842"/>
                      </a:lnTo>
                      <a:lnTo>
                        <a:pt x="242" y="848"/>
                      </a:lnTo>
                      <a:lnTo>
                        <a:pt x="242" y="858"/>
                      </a:lnTo>
                      <a:lnTo>
                        <a:pt x="238" y="868"/>
                      </a:lnTo>
                      <a:lnTo>
                        <a:pt x="238" y="868"/>
                      </a:lnTo>
                      <a:lnTo>
                        <a:pt x="236" y="878"/>
                      </a:lnTo>
                      <a:lnTo>
                        <a:pt x="236" y="884"/>
                      </a:lnTo>
                      <a:lnTo>
                        <a:pt x="238" y="888"/>
                      </a:lnTo>
                      <a:lnTo>
                        <a:pt x="242" y="890"/>
                      </a:lnTo>
                      <a:lnTo>
                        <a:pt x="244" y="892"/>
                      </a:lnTo>
                      <a:lnTo>
                        <a:pt x="246" y="896"/>
                      </a:lnTo>
                      <a:lnTo>
                        <a:pt x="246" y="900"/>
                      </a:lnTo>
                      <a:lnTo>
                        <a:pt x="244" y="908"/>
                      </a:lnTo>
                      <a:lnTo>
                        <a:pt x="244" y="908"/>
                      </a:lnTo>
                      <a:lnTo>
                        <a:pt x="242" y="918"/>
                      </a:lnTo>
                      <a:lnTo>
                        <a:pt x="244" y="922"/>
                      </a:lnTo>
                      <a:lnTo>
                        <a:pt x="248" y="924"/>
                      </a:lnTo>
                      <a:lnTo>
                        <a:pt x="254" y="924"/>
                      </a:lnTo>
                      <a:lnTo>
                        <a:pt x="262" y="920"/>
                      </a:lnTo>
                      <a:lnTo>
                        <a:pt x="270" y="916"/>
                      </a:lnTo>
                      <a:lnTo>
                        <a:pt x="284" y="904"/>
                      </a:lnTo>
                      <a:lnTo>
                        <a:pt x="284" y="904"/>
                      </a:lnTo>
                      <a:lnTo>
                        <a:pt x="292" y="900"/>
                      </a:lnTo>
                      <a:lnTo>
                        <a:pt x="300" y="898"/>
                      </a:lnTo>
                      <a:lnTo>
                        <a:pt x="308" y="898"/>
                      </a:lnTo>
                      <a:lnTo>
                        <a:pt x="316" y="902"/>
                      </a:lnTo>
                      <a:lnTo>
                        <a:pt x="326" y="906"/>
                      </a:lnTo>
                      <a:lnTo>
                        <a:pt x="336" y="912"/>
                      </a:lnTo>
                      <a:lnTo>
                        <a:pt x="352" y="926"/>
                      </a:lnTo>
                      <a:lnTo>
                        <a:pt x="352" y="926"/>
                      </a:lnTo>
                      <a:lnTo>
                        <a:pt x="358" y="930"/>
                      </a:lnTo>
                      <a:lnTo>
                        <a:pt x="362" y="932"/>
                      </a:lnTo>
                      <a:lnTo>
                        <a:pt x="366" y="930"/>
                      </a:lnTo>
                      <a:lnTo>
                        <a:pt x="370" y="926"/>
                      </a:lnTo>
                      <a:lnTo>
                        <a:pt x="376" y="918"/>
                      </a:lnTo>
                      <a:lnTo>
                        <a:pt x="380" y="916"/>
                      </a:lnTo>
                      <a:lnTo>
                        <a:pt x="386" y="918"/>
                      </a:lnTo>
                      <a:lnTo>
                        <a:pt x="386" y="918"/>
                      </a:lnTo>
                      <a:lnTo>
                        <a:pt x="392" y="920"/>
                      </a:lnTo>
                      <a:lnTo>
                        <a:pt x="402" y="918"/>
                      </a:lnTo>
                      <a:lnTo>
                        <a:pt x="420" y="912"/>
                      </a:lnTo>
                      <a:lnTo>
                        <a:pt x="432" y="908"/>
                      </a:lnTo>
                      <a:lnTo>
                        <a:pt x="432" y="908"/>
                      </a:lnTo>
                      <a:lnTo>
                        <a:pt x="432" y="910"/>
                      </a:lnTo>
                      <a:lnTo>
                        <a:pt x="430" y="916"/>
                      </a:lnTo>
                      <a:lnTo>
                        <a:pt x="430" y="916"/>
                      </a:lnTo>
                      <a:lnTo>
                        <a:pt x="418" y="932"/>
                      </a:lnTo>
                      <a:lnTo>
                        <a:pt x="412" y="946"/>
                      </a:lnTo>
                      <a:lnTo>
                        <a:pt x="410" y="962"/>
                      </a:lnTo>
                      <a:lnTo>
                        <a:pt x="410" y="978"/>
                      </a:lnTo>
                      <a:lnTo>
                        <a:pt x="410" y="978"/>
                      </a:lnTo>
                      <a:lnTo>
                        <a:pt x="408" y="986"/>
                      </a:lnTo>
                      <a:lnTo>
                        <a:pt x="406" y="990"/>
                      </a:lnTo>
                      <a:lnTo>
                        <a:pt x="402" y="992"/>
                      </a:lnTo>
                      <a:lnTo>
                        <a:pt x="396" y="994"/>
                      </a:lnTo>
                      <a:lnTo>
                        <a:pt x="392" y="998"/>
                      </a:lnTo>
                      <a:lnTo>
                        <a:pt x="386" y="1000"/>
                      </a:lnTo>
                      <a:lnTo>
                        <a:pt x="380" y="1008"/>
                      </a:lnTo>
                      <a:lnTo>
                        <a:pt x="374" y="1018"/>
                      </a:lnTo>
                      <a:lnTo>
                        <a:pt x="374" y="1018"/>
                      </a:lnTo>
                      <a:lnTo>
                        <a:pt x="368" y="1028"/>
                      </a:lnTo>
                      <a:lnTo>
                        <a:pt x="360" y="1036"/>
                      </a:lnTo>
                      <a:lnTo>
                        <a:pt x="352" y="1040"/>
                      </a:lnTo>
                      <a:lnTo>
                        <a:pt x="342" y="1044"/>
                      </a:lnTo>
                      <a:lnTo>
                        <a:pt x="332" y="1048"/>
                      </a:lnTo>
                      <a:lnTo>
                        <a:pt x="324" y="1054"/>
                      </a:lnTo>
                      <a:lnTo>
                        <a:pt x="314" y="1060"/>
                      </a:lnTo>
                      <a:lnTo>
                        <a:pt x="306" y="1072"/>
                      </a:lnTo>
                      <a:lnTo>
                        <a:pt x="306" y="1072"/>
                      </a:lnTo>
                      <a:lnTo>
                        <a:pt x="300" y="1082"/>
                      </a:lnTo>
                      <a:lnTo>
                        <a:pt x="296" y="1088"/>
                      </a:lnTo>
                      <a:lnTo>
                        <a:pt x="292" y="1090"/>
                      </a:lnTo>
                      <a:lnTo>
                        <a:pt x="288" y="1088"/>
                      </a:lnTo>
                      <a:lnTo>
                        <a:pt x="276" y="1086"/>
                      </a:lnTo>
                      <a:lnTo>
                        <a:pt x="268" y="1088"/>
                      </a:lnTo>
                      <a:lnTo>
                        <a:pt x="254" y="1090"/>
                      </a:lnTo>
                      <a:lnTo>
                        <a:pt x="254" y="1090"/>
                      </a:lnTo>
                      <a:lnTo>
                        <a:pt x="244" y="1096"/>
                      </a:lnTo>
                      <a:lnTo>
                        <a:pt x="236" y="1100"/>
                      </a:lnTo>
                      <a:lnTo>
                        <a:pt x="232" y="1104"/>
                      </a:lnTo>
                      <a:lnTo>
                        <a:pt x="228" y="1110"/>
                      </a:lnTo>
                      <a:lnTo>
                        <a:pt x="222" y="1118"/>
                      </a:lnTo>
                      <a:lnTo>
                        <a:pt x="218" y="1124"/>
                      </a:lnTo>
                      <a:lnTo>
                        <a:pt x="210" y="1128"/>
                      </a:lnTo>
                      <a:lnTo>
                        <a:pt x="210" y="1128"/>
                      </a:lnTo>
                      <a:lnTo>
                        <a:pt x="200" y="1132"/>
                      </a:lnTo>
                      <a:lnTo>
                        <a:pt x="194" y="1138"/>
                      </a:lnTo>
                      <a:lnTo>
                        <a:pt x="188" y="1144"/>
                      </a:lnTo>
                      <a:lnTo>
                        <a:pt x="186" y="1148"/>
                      </a:lnTo>
                      <a:lnTo>
                        <a:pt x="188" y="1152"/>
                      </a:lnTo>
                      <a:lnTo>
                        <a:pt x="192" y="1154"/>
                      </a:lnTo>
                      <a:lnTo>
                        <a:pt x="200" y="1154"/>
                      </a:lnTo>
                      <a:lnTo>
                        <a:pt x="212" y="1150"/>
                      </a:lnTo>
                      <a:lnTo>
                        <a:pt x="212" y="1150"/>
                      </a:lnTo>
                      <a:lnTo>
                        <a:pt x="224" y="1144"/>
                      </a:lnTo>
                      <a:lnTo>
                        <a:pt x="234" y="1138"/>
                      </a:lnTo>
                      <a:lnTo>
                        <a:pt x="248" y="1124"/>
                      </a:lnTo>
                      <a:lnTo>
                        <a:pt x="256" y="1116"/>
                      </a:lnTo>
                      <a:lnTo>
                        <a:pt x="258" y="1116"/>
                      </a:lnTo>
                      <a:lnTo>
                        <a:pt x="262" y="1120"/>
                      </a:lnTo>
                      <a:lnTo>
                        <a:pt x="262" y="1120"/>
                      </a:lnTo>
                      <a:lnTo>
                        <a:pt x="266" y="1124"/>
                      </a:lnTo>
                      <a:lnTo>
                        <a:pt x="270" y="1124"/>
                      </a:lnTo>
                      <a:lnTo>
                        <a:pt x="278" y="1122"/>
                      </a:lnTo>
                      <a:lnTo>
                        <a:pt x="282" y="1120"/>
                      </a:lnTo>
                      <a:lnTo>
                        <a:pt x="284" y="1120"/>
                      </a:lnTo>
                      <a:lnTo>
                        <a:pt x="288" y="1124"/>
                      </a:lnTo>
                      <a:lnTo>
                        <a:pt x="290" y="1128"/>
                      </a:lnTo>
                      <a:lnTo>
                        <a:pt x="290" y="1128"/>
                      </a:lnTo>
                      <a:lnTo>
                        <a:pt x="292" y="1136"/>
                      </a:lnTo>
                      <a:lnTo>
                        <a:pt x="296" y="1138"/>
                      </a:lnTo>
                      <a:lnTo>
                        <a:pt x="298" y="1140"/>
                      </a:lnTo>
                      <a:lnTo>
                        <a:pt x="302" y="1138"/>
                      </a:lnTo>
                      <a:lnTo>
                        <a:pt x="306" y="1136"/>
                      </a:lnTo>
                      <a:lnTo>
                        <a:pt x="308" y="1130"/>
                      </a:lnTo>
                      <a:lnTo>
                        <a:pt x="308" y="1126"/>
                      </a:lnTo>
                      <a:lnTo>
                        <a:pt x="306" y="1120"/>
                      </a:lnTo>
                      <a:lnTo>
                        <a:pt x="306" y="1120"/>
                      </a:lnTo>
                      <a:lnTo>
                        <a:pt x="306" y="1114"/>
                      </a:lnTo>
                      <a:lnTo>
                        <a:pt x="308" y="1110"/>
                      </a:lnTo>
                      <a:lnTo>
                        <a:pt x="312" y="1106"/>
                      </a:lnTo>
                      <a:lnTo>
                        <a:pt x="316" y="1102"/>
                      </a:lnTo>
                      <a:lnTo>
                        <a:pt x="322" y="1100"/>
                      </a:lnTo>
                      <a:lnTo>
                        <a:pt x="328" y="1100"/>
                      </a:lnTo>
                      <a:lnTo>
                        <a:pt x="332" y="1102"/>
                      </a:lnTo>
                      <a:lnTo>
                        <a:pt x="334" y="1108"/>
                      </a:lnTo>
                      <a:lnTo>
                        <a:pt x="334" y="1108"/>
                      </a:lnTo>
                      <a:lnTo>
                        <a:pt x="334" y="1110"/>
                      </a:lnTo>
                      <a:lnTo>
                        <a:pt x="336" y="1110"/>
                      </a:lnTo>
                      <a:lnTo>
                        <a:pt x="340" y="1110"/>
                      </a:lnTo>
                      <a:lnTo>
                        <a:pt x="354" y="1100"/>
                      </a:lnTo>
                      <a:lnTo>
                        <a:pt x="372" y="1088"/>
                      </a:lnTo>
                      <a:lnTo>
                        <a:pt x="380" y="1084"/>
                      </a:lnTo>
                      <a:lnTo>
                        <a:pt x="388" y="1082"/>
                      </a:lnTo>
                      <a:lnTo>
                        <a:pt x="388" y="1082"/>
                      </a:lnTo>
                      <a:lnTo>
                        <a:pt x="394" y="1082"/>
                      </a:lnTo>
                      <a:lnTo>
                        <a:pt x="396" y="1080"/>
                      </a:lnTo>
                      <a:lnTo>
                        <a:pt x="394" y="1074"/>
                      </a:lnTo>
                      <a:lnTo>
                        <a:pt x="394" y="1068"/>
                      </a:lnTo>
                      <a:lnTo>
                        <a:pt x="398" y="1062"/>
                      </a:lnTo>
                      <a:lnTo>
                        <a:pt x="408" y="1052"/>
                      </a:lnTo>
                      <a:lnTo>
                        <a:pt x="424" y="1042"/>
                      </a:lnTo>
                      <a:lnTo>
                        <a:pt x="424" y="1042"/>
                      </a:lnTo>
                      <a:lnTo>
                        <a:pt x="440" y="1032"/>
                      </a:lnTo>
                      <a:lnTo>
                        <a:pt x="452" y="1024"/>
                      </a:lnTo>
                      <a:lnTo>
                        <a:pt x="462" y="1016"/>
                      </a:lnTo>
                      <a:lnTo>
                        <a:pt x="468" y="1010"/>
                      </a:lnTo>
                      <a:lnTo>
                        <a:pt x="478" y="998"/>
                      </a:lnTo>
                      <a:lnTo>
                        <a:pt x="484" y="994"/>
                      </a:lnTo>
                      <a:lnTo>
                        <a:pt x="492" y="988"/>
                      </a:lnTo>
                      <a:lnTo>
                        <a:pt x="492" y="988"/>
                      </a:lnTo>
                      <a:lnTo>
                        <a:pt x="516" y="976"/>
                      </a:lnTo>
                      <a:lnTo>
                        <a:pt x="538" y="964"/>
                      </a:lnTo>
                      <a:lnTo>
                        <a:pt x="548" y="956"/>
                      </a:lnTo>
                      <a:lnTo>
                        <a:pt x="556" y="950"/>
                      </a:lnTo>
                      <a:lnTo>
                        <a:pt x="562" y="942"/>
                      </a:lnTo>
                      <a:lnTo>
                        <a:pt x="566" y="934"/>
                      </a:lnTo>
                      <a:lnTo>
                        <a:pt x="566" y="934"/>
                      </a:lnTo>
                      <a:lnTo>
                        <a:pt x="568" y="928"/>
                      </a:lnTo>
                      <a:lnTo>
                        <a:pt x="572" y="922"/>
                      </a:lnTo>
                      <a:lnTo>
                        <a:pt x="580" y="916"/>
                      </a:lnTo>
                      <a:lnTo>
                        <a:pt x="588" y="912"/>
                      </a:lnTo>
                      <a:lnTo>
                        <a:pt x="592" y="906"/>
                      </a:lnTo>
                      <a:lnTo>
                        <a:pt x="592" y="900"/>
                      </a:lnTo>
                      <a:lnTo>
                        <a:pt x="592" y="900"/>
                      </a:lnTo>
                      <a:lnTo>
                        <a:pt x="592" y="898"/>
                      </a:lnTo>
                      <a:lnTo>
                        <a:pt x="590" y="896"/>
                      </a:lnTo>
                      <a:lnTo>
                        <a:pt x="582" y="892"/>
                      </a:lnTo>
                      <a:lnTo>
                        <a:pt x="564" y="892"/>
                      </a:lnTo>
                      <a:lnTo>
                        <a:pt x="556" y="890"/>
                      </a:lnTo>
                      <a:lnTo>
                        <a:pt x="554" y="890"/>
                      </a:lnTo>
                      <a:lnTo>
                        <a:pt x="554" y="888"/>
                      </a:lnTo>
                      <a:lnTo>
                        <a:pt x="554" y="886"/>
                      </a:lnTo>
                      <a:lnTo>
                        <a:pt x="556" y="882"/>
                      </a:lnTo>
                      <a:lnTo>
                        <a:pt x="570" y="870"/>
                      </a:lnTo>
                      <a:lnTo>
                        <a:pt x="570" y="870"/>
                      </a:lnTo>
                      <a:lnTo>
                        <a:pt x="598" y="846"/>
                      </a:lnTo>
                      <a:lnTo>
                        <a:pt x="616" y="828"/>
                      </a:lnTo>
                      <a:lnTo>
                        <a:pt x="630" y="810"/>
                      </a:lnTo>
                      <a:lnTo>
                        <a:pt x="644" y="786"/>
                      </a:lnTo>
                      <a:lnTo>
                        <a:pt x="644" y="786"/>
                      </a:lnTo>
                      <a:lnTo>
                        <a:pt x="654" y="774"/>
                      </a:lnTo>
                      <a:lnTo>
                        <a:pt x="666" y="764"/>
                      </a:lnTo>
                      <a:lnTo>
                        <a:pt x="680" y="756"/>
                      </a:lnTo>
                      <a:lnTo>
                        <a:pt x="694" y="750"/>
                      </a:lnTo>
                      <a:lnTo>
                        <a:pt x="710" y="750"/>
                      </a:lnTo>
                      <a:lnTo>
                        <a:pt x="726" y="752"/>
                      </a:lnTo>
                      <a:lnTo>
                        <a:pt x="742" y="758"/>
                      </a:lnTo>
                      <a:lnTo>
                        <a:pt x="750" y="764"/>
                      </a:lnTo>
                      <a:lnTo>
                        <a:pt x="758" y="770"/>
                      </a:lnTo>
                      <a:lnTo>
                        <a:pt x="758" y="770"/>
                      </a:lnTo>
                      <a:lnTo>
                        <a:pt x="768" y="782"/>
                      </a:lnTo>
                      <a:lnTo>
                        <a:pt x="770" y="784"/>
                      </a:lnTo>
                      <a:lnTo>
                        <a:pt x="770" y="784"/>
                      </a:lnTo>
                      <a:lnTo>
                        <a:pt x="752" y="776"/>
                      </a:lnTo>
                      <a:lnTo>
                        <a:pt x="738" y="768"/>
                      </a:lnTo>
                      <a:lnTo>
                        <a:pt x="720" y="764"/>
                      </a:lnTo>
                      <a:lnTo>
                        <a:pt x="712" y="762"/>
                      </a:lnTo>
                      <a:lnTo>
                        <a:pt x="704" y="762"/>
                      </a:lnTo>
                      <a:lnTo>
                        <a:pt x="696" y="764"/>
                      </a:lnTo>
                      <a:lnTo>
                        <a:pt x="690" y="768"/>
                      </a:lnTo>
                      <a:lnTo>
                        <a:pt x="690" y="768"/>
                      </a:lnTo>
                      <a:lnTo>
                        <a:pt x="680" y="776"/>
                      </a:lnTo>
                      <a:lnTo>
                        <a:pt x="674" y="784"/>
                      </a:lnTo>
                      <a:lnTo>
                        <a:pt x="672" y="790"/>
                      </a:lnTo>
                      <a:lnTo>
                        <a:pt x="672" y="796"/>
                      </a:lnTo>
                      <a:lnTo>
                        <a:pt x="672" y="802"/>
                      </a:lnTo>
                      <a:lnTo>
                        <a:pt x="670" y="810"/>
                      </a:lnTo>
                      <a:lnTo>
                        <a:pt x="666" y="818"/>
                      </a:lnTo>
                      <a:lnTo>
                        <a:pt x="658" y="828"/>
                      </a:lnTo>
                      <a:lnTo>
                        <a:pt x="658" y="828"/>
                      </a:lnTo>
                      <a:lnTo>
                        <a:pt x="652" y="836"/>
                      </a:lnTo>
                      <a:lnTo>
                        <a:pt x="650" y="844"/>
                      </a:lnTo>
                      <a:lnTo>
                        <a:pt x="652" y="848"/>
                      </a:lnTo>
                      <a:lnTo>
                        <a:pt x="656" y="852"/>
                      </a:lnTo>
                      <a:lnTo>
                        <a:pt x="660" y="856"/>
                      </a:lnTo>
                      <a:lnTo>
                        <a:pt x="662" y="858"/>
                      </a:lnTo>
                      <a:lnTo>
                        <a:pt x="662" y="862"/>
                      </a:lnTo>
                      <a:lnTo>
                        <a:pt x="656" y="866"/>
                      </a:lnTo>
                      <a:lnTo>
                        <a:pt x="656" y="866"/>
                      </a:lnTo>
                      <a:lnTo>
                        <a:pt x="646" y="874"/>
                      </a:lnTo>
                      <a:lnTo>
                        <a:pt x="644" y="876"/>
                      </a:lnTo>
                      <a:lnTo>
                        <a:pt x="644" y="878"/>
                      </a:lnTo>
                      <a:lnTo>
                        <a:pt x="646" y="880"/>
                      </a:lnTo>
                      <a:lnTo>
                        <a:pt x="648" y="882"/>
                      </a:lnTo>
                      <a:lnTo>
                        <a:pt x="658" y="884"/>
                      </a:lnTo>
                      <a:lnTo>
                        <a:pt x="670" y="884"/>
                      </a:lnTo>
                      <a:lnTo>
                        <a:pt x="684" y="882"/>
                      </a:lnTo>
                      <a:lnTo>
                        <a:pt x="698" y="876"/>
                      </a:lnTo>
                      <a:lnTo>
                        <a:pt x="712" y="866"/>
                      </a:lnTo>
                      <a:lnTo>
                        <a:pt x="712" y="866"/>
                      </a:lnTo>
                      <a:lnTo>
                        <a:pt x="732" y="850"/>
                      </a:lnTo>
                      <a:lnTo>
                        <a:pt x="748" y="840"/>
                      </a:lnTo>
                      <a:lnTo>
                        <a:pt x="762" y="834"/>
                      </a:lnTo>
                      <a:lnTo>
                        <a:pt x="778" y="834"/>
                      </a:lnTo>
                      <a:lnTo>
                        <a:pt x="778" y="834"/>
                      </a:lnTo>
                      <a:lnTo>
                        <a:pt x="786" y="832"/>
                      </a:lnTo>
                      <a:lnTo>
                        <a:pt x="790" y="830"/>
                      </a:lnTo>
                      <a:lnTo>
                        <a:pt x="790" y="828"/>
                      </a:lnTo>
                      <a:lnTo>
                        <a:pt x="790" y="824"/>
                      </a:lnTo>
                      <a:lnTo>
                        <a:pt x="790" y="820"/>
                      </a:lnTo>
                      <a:lnTo>
                        <a:pt x="790" y="818"/>
                      </a:lnTo>
                      <a:lnTo>
                        <a:pt x="794" y="814"/>
                      </a:lnTo>
                      <a:lnTo>
                        <a:pt x="800" y="810"/>
                      </a:lnTo>
                      <a:lnTo>
                        <a:pt x="800" y="810"/>
                      </a:lnTo>
                      <a:lnTo>
                        <a:pt x="804" y="806"/>
                      </a:lnTo>
                      <a:lnTo>
                        <a:pt x="806" y="802"/>
                      </a:lnTo>
                      <a:lnTo>
                        <a:pt x="804" y="796"/>
                      </a:lnTo>
                      <a:lnTo>
                        <a:pt x="802" y="790"/>
                      </a:lnTo>
                      <a:lnTo>
                        <a:pt x="800" y="784"/>
                      </a:lnTo>
                      <a:lnTo>
                        <a:pt x="800" y="780"/>
                      </a:lnTo>
                      <a:lnTo>
                        <a:pt x="804" y="776"/>
                      </a:lnTo>
                      <a:lnTo>
                        <a:pt x="812" y="774"/>
                      </a:lnTo>
                      <a:lnTo>
                        <a:pt x="812" y="774"/>
                      </a:lnTo>
                      <a:lnTo>
                        <a:pt x="824" y="772"/>
                      </a:lnTo>
                      <a:lnTo>
                        <a:pt x="834" y="770"/>
                      </a:lnTo>
                      <a:lnTo>
                        <a:pt x="850" y="764"/>
                      </a:lnTo>
                      <a:lnTo>
                        <a:pt x="856" y="764"/>
                      </a:lnTo>
                      <a:lnTo>
                        <a:pt x="860" y="764"/>
                      </a:lnTo>
                      <a:lnTo>
                        <a:pt x="862" y="768"/>
                      </a:lnTo>
                      <a:lnTo>
                        <a:pt x="862" y="774"/>
                      </a:lnTo>
                      <a:lnTo>
                        <a:pt x="862" y="774"/>
                      </a:lnTo>
                      <a:lnTo>
                        <a:pt x="862" y="780"/>
                      </a:lnTo>
                      <a:lnTo>
                        <a:pt x="866" y="784"/>
                      </a:lnTo>
                      <a:lnTo>
                        <a:pt x="870" y="788"/>
                      </a:lnTo>
                      <a:lnTo>
                        <a:pt x="874" y="790"/>
                      </a:lnTo>
                      <a:lnTo>
                        <a:pt x="888" y="794"/>
                      </a:lnTo>
                      <a:lnTo>
                        <a:pt x="896" y="798"/>
                      </a:lnTo>
                      <a:lnTo>
                        <a:pt x="906" y="802"/>
                      </a:lnTo>
                      <a:lnTo>
                        <a:pt x="906" y="802"/>
                      </a:lnTo>
                      <a:lnTo>
                        <a:pt x="912" y="806"/>
                      </a:lnTo>
                      <a:lnTo>
                        <a:pt x="918" y="806"/>
                      </a:lnTo>
                      <a:lnTo>
                        <a:pt x="922" y="804"/>
                      </a:lnTo>
                      <a:lnTo>
                        <a:pt x="924" y="802"/>
                      </a:lnTo>
                      <a:lnTo>
                        <a:pt x="926" y="800"/>
                      </a:lnTo>
                      <a:lnTo>
                        <a:pt x="930" y="800"/>
                      </a:lnTo>
                      <a:lnTo>
                        <a:pt x="934" y="804"/>
                      </a:lnTo>
                      <a:lnTo>
                        <a:pt x="940" y="810"/>
                      </a:lnTo>
                      <a:lnTo>
                        <a:pt x="940" y="810"/>
                      </a:lnTo>
                      <a:lnTo>
                        <a:pt x="948" y="820"/>
                      </a:lnTo>
                      <a:lnTo>
                        <a:pt x="958" y="824"/>
                      </a:lnTo>
                      <a:lnTo>
                        <a:pt x="968" y="828"/>
                      </a:lnTo>
                      <a:lnTo>
                        <a:pt x="978" y="828"/>
                      </a:lnTo>
                      <a:lnTo>
                        <a:pt x="1002" y="826"/>
                      </a:lnTo>
                      <a:lnTo>
                        <a:pt x="1024" y="824"/>
                      </a:lnTo>
                      <a:lnTo>
                        <a:pt x="1024" y="824"/>
                      </a:lnTo>
                      <a:lnTo>
                        <a:pt x="1036" y="826"/>
                      </a:lnTo>
                      <a:lnTo>
                        <a:pt x="1050" y="830"/>
                      </a:lnTo>
                      <a:lnTo>
                        <a:pt x="1076" y="842"/>
                      </a:lnTo>
                      <a:lnTo>
                        <a:pt x="1090" y="846"/>
                      </a:lnTo>
                      <a:lnTo>
                        <a:pt x="1104" y="850"/>
                      </a:lnTo>
                      <a:lnTo>
                        <a:pt x="1116" y="850"/>
                      </a:lnTo>
                      <a:lnTo>
                        <a:pt x="1122" y="848"/>
                      </a:lnTo>
                      <a:lnTo>
                        <a:pt x="1126" y="846"/>
                      </a:lnTo>
                      <a:lnTo>
                        <a:pt x="1126" y="846"/>
                      </a:lnTo>
                      <a:lnTo>
                        <a:pt x="1136" y="842"/>
                      </a:lnTo>
                      <a:lnTo>
                        <a:pt x="1142" y="840"/>
                      </a:lnTo>
                      <a:lnTo>
                        <a:pt x="1146" y="840"/>
                      </a:lnTo>
                      <a:lnTo>
                        <a:pt x="1150" y="842"/>
                      </a:lnTo>
                      <a:lnTo>
                        <a:pt x="1150" y="846"/>
                      </a:lnTo>
                      <a:lnTo>
                        <a:pt x="1150" y="850"/>
                      </a:lnTo>
                      <a:lnTo>
                        <a:pt x="1146" y="854"/>
                      </a:lnTo>
                      <a:lnTo>
                        <a:pt x="1142" y="858"/>
                      </a:lnTo>
                      <a:lnTo>
                        <a:pt x="1142" y="858"/>
                      </a:lnTo>
                      <a:lnTo>
                        <a:pt x="1138" y="860"/>
                      </a:lnTo>
                      <a:lnTo>
                        <a:pt x="1140" y="864"/>
                      </a:lnTo>
                      <a:lnTo>
                        <a:pt x="1146" y="868"/>
                      </a:lnTo>
                      <a:lnTo>
                        <a:pt x="1154" y="874"/>
                      </a:lnTo>
                      <a:lnTo>
                        <a:pt x="1174" y="882"/>
                      </a:lnTo>
                      <a:lnTo>
                        <a:pt x="1192" y="892"/>
                      </a:lnTo>
                      <a:lnTo>
                        <a:pt x="1192" y="892"/>
                      </a:lnTo>
                      <a:lnTo>
                        <a:pt x="1206" y="900"/>
                      </a:lnTo>
                      <a:lnTo>
                        <a:pt x="1216" y="912"/>
                      </a:lnTo>
                      <a:lnTo>
                        <a:pt x="1228" y="924"/>
                      </a:lnTo>
                      <a:lnTo>
                        <a:pt x="1244" y="934"/>
                      </a:lnTo>
                      <a:lnTo>
                        <a:pt x="1244" y="934"/>
                      </a:lnTo>
                      <a:lnTo>
                        <a:pt x="1254" y="938"/>
                      </a:lnTo>
                      <a:lnTo>
                        <a:pt x="1264" y="940"/>
                      </a:lnTo>
                      <a:lnTo>
                        <a:pt x="1272" y="940"/>
                      </a:lnTo>
                      <a:lnTo>
                        <a:pt x="1278" y="940"/>
                      </a:lnTo>
                      <a:lnTo>
                        <a:pt x="1282" y="938"/>
                      </a:lnTo>
                      <a:lnTo>
                        <a:pt x="1284" y="934"/>
                      </a:lnTo>
                      <a:lnTo>
                        <a:pt x="1284" y="930"/>
                      </a:lnTo>
                      <a:lnTo>
                        <a:pt x="1280" y="924"/>
                      </a:lnTo>
                      <a:lnTo>
                        <a:pt x="1280" y="924"/>
                      </a:lnTo>
                      <a:lnTo>
                        <a:pt x="1272" y="912"/>
                      </a:lnTo>
                      <a:lnTo>
                        <a:pt x="1268" y="904"/>
                      </a:lnTo>
                      <a:lnTo>
                        <a:pt x="1268" y="902"/>
                      </a:lnTo>
                      <a:lnTo>
                        <a:pt x="1270" y="902"/>
                      </a:lnTo>
                      <a:lnTo>
                        <a:pt x="1282" y="912"/>
                      </a:lnTo>
                      <a:lnTo>
                        <a:pt x="1282" y="912"/>
                      </a:lnTo>
                      <a:lnTo>
                        <a:pt x="1298" y="928"/>
                      </a:lnTo>
                      <a:lnTo>
                        <a:pt x="1314" y="938"/>
                      </a:lnTo>
                      <a:lnTo>
                        <a:pt x="1320" y="940"/>
                      </a:lnTo>
                      <a:lnTo>
                        <a:pt x="1324" y="940"/>
                      </a:lnTo>
                      <a:lnTo>
                        <a:pt x="1326" y="938"/>
                      </a:lnTo>
                      <a:lnTo>
                        <a:pt x="1326" y="930"/>
                      </a:lnTo>
                      <a:lnTo>
                        <a:pt x="1326" y="930"/>
                      </a:lnTo>
                      <a:lnTo>
                        <a:pt x="1322" y="916"/>
                      </a:lnTo>
                      <a:lnTo>
                        <a:pt x="1322" y="908"/>
                      </a:lnTo>
                      <a:lnTo>
                        <a:pt x="1322" y="906"/>
                      </a:lnTo>
                      <a:lnTo>
                        <a:pt x="1324" y="908"/>
                      </a:lnTo>
                      <a:lnTo>
                        <a:pt x="1332" y="922"/>
                      </a:lnTo>
                      <a:lnTo>
                        <a:pt x="1332" y="922"/>
                      </a:lnTo>
                      <a:lnTo>
                        <a:pt x="1338" y="930"/>
                      </a:lnTo>
                      <a:lnTo>
                        <a:pt x="1344" y="934"/>
                      </a:lnTo>
                      <a:lnTo>
                        <a:pt x="1348" y="936"/>
                      </a:lnTo>
                      <a:lnTo>
                        <a:pt x="1354" y="938"/>
                      </a:lnTo>
                      <a:lnTo>
                        <a:pt x="1358" y="938"/>
                      </a:lnTo>
                      <a:lnTo>
                        <a:pt x="1362" y="940"/>
                      </a:lnTo>
                      <a:lnTo>
                        <a:pt x="1368" y="942"/>
                      </a:lnTo>
                      <a:lnTo>
                        <a:pt x="1372" y="950"/>
                      </a:lnTo>
                      <a:lnTo>
                        <a:pt x="1372" y="950"/>
                      </a:lnTo>
                      <a:lnTo>
                        <a:pt x="1378" y="966"/>
                      </a:lnTo>
                      <a:lnTo>
                        <a:pt x="1382" y="976"/>
                      </a:lnTo>
                      <a:lnTo>
                        <a:pt x="1384" y="982"/>
                      </a:lnTo>
                      <a:lnTo>
                        <a:pt x="1390" y="988"/>
                      </a:lnTo>
                      <a:lnTo>
                        <a:pt x="1390" y="988"/>
                      </a:lnTo>
                      <a:lnTo>
                        <a:pt x="1394" y="992"/>
                      </a:lnTo>
                      <a:lnTo>
                        <a:pt x="1394" y="996"/>
                      </a:lnTo>
                      <a:lnTo>
                        <a:pt x="1390" y="1002"/>
                      </a:lnTo>
                      <a:lnTo>
                        <a:pt x="1388" y="1006"/>
                      </a:lnTo>
                      <a:lnTo>
                        <a:pt x="1388" y="1008"/>
                      </a:lnTo>
                      <a:lnTo>
                        <a:pt x="1392" y="1012"/>
                      </a:lnTo>
                      <a:lnTo>
                        <a:pt x="1398" y="1014"/>
                      </a:lnTo>
                      <a:lnTo>
                        <a:pt x="1398" y="1014"/>
                      </a:lnTo>
                      <a:lnTo>
                        <a:pt x="1412" y="1020"/>
                      </a:lnTo>
                      <a:lnTo>
                        <a:pt x="1414" y="1024"/>
                      </a:lnTo>
                      <a:lnTo>
                        <a:pt x="1416" y="1026"/>
                      </a:lnTo>
                      <a:lnTo>
                        <a:pt x="1422" y="1036"/>
                      </a:lnTo>
                      <a:lnTo>
                        <a:pt x="1426" y="1042"/>
                      </a:lnTo>
                      <a:lnTo>
                        <a:pt x="1434" y="1052"/>
                      </a:lnTo>
                      <a:lnTo>
                        <a:pt x="1434" y="1052"/>
                      </a:lnTo>
                      <a:lnTo>
                        <a:pt x="1452" y="1064"/>
                      </a:lnTo>
                      <a:lnTo>
                        <a:pt x="1464" y="1070"/>
                      </a:lnTo>
                      <a:lnTo>
                        <a:pt x="1466" y="1074"/>
                      </a:lnTo>
                      <a:lnTo>
                        <a:pt x="1460" y="1076"/>
                      </a:lnTo>
                      <a:lnTo>
                        <a:pt x="1460" y="1076"/>
                      </a:lnTo>
                      <a:lnTo>
                        <a:pt x="1452" y="1080"/>
                      </a:lnTo>
                      <a:lnTo>
                        <a:pt x="1450" y="1086"/>
                      </a:lnTo>
                      <a:lnTo>
                        <a:pt x="1448" y="1092"/>
                      </a:lnTo>
                      <a:lnTo>
                        <a:pt x="1442" y="1100"/>
                      </a:lnTo>
                      <a:lnTo>
                        <a:pt x="1442" y="1100"/>
                      </a:lnTo>
                      <a:lnTo>
                        <a:pt x="1440" y="1104"/>
                      </a:lnTo>
                      <a:lnTo>
                        <a:pt x="1440" y="1108"/>
                      </a:lnTo>
                      <a:lnTo>
                        <a:pt x="1440" y="1112"/>
                      </a:lnTo>
                      <a:lnTo>
                        <a:pt x="1442" y="1114"/>
                      </a:lnTo>
                      <a:lnTo>
                        <a:pt x="1446" y="1116"/>
                      </a:lnTo>
                      <a:lnTo>
                        <a:pt x="1450" y="1114"/>
                      </a:lnTo>
                      <a:lnTo>
                        <a:pt x="1452" y="1112"/>
                      </a:lnTo>
                      <a:lnTo>
                        <a:pt x="1456" y="1106"/>
                      </a:lnTo>
                      <a:lnTo>
                        <a:pt x="1456" y="1106"/>
                      </a:lnTo>
                      <a:lnTo>
                        <a:pt x="1462" y="1092"/>
                      </a:lnTo>
                      <a:lnTo>
                        <a:pt x="1466" y="1088"/>
                      </a:lnTo>
                      <a:lnTo>
                        <a:pt x="1470" y="1084"/>
                      </a:lnTo>
                      <a:lnTo>
                        <a:pt x="1474" y="1082"/>
                      </a:lnTo>
                      <a:lnTo>
                        <a:pt x="1478" y="1084"/>
                      </a:lnTo>
                      <a:lnTo>
                        <a:pt x="1484" y="1088"/>
                      </a:lnTo>
                      <a:lnTo>
                        <a:pt x="1488" y="1094"/>
                      </a:lnTo>
                      <a:lnTo>
                        <a:pt x="1488" y="1094"/>
                      </a:lnTo>
                      <a:lnTo>
                        <a:pt x="1492" y="1104"/>
                      </a:lnTo>
                      <a:lnTo>
                        <a:pt x="1494" y="1112"/>
                      </a:lnTo>
                      <a:lnTo>
                        <a:pt x="1494" y="1118"/>
                      </a:lnTo>
                      <a:lnTo>
                        <a:pt x="1492" y="1124"/>
                      </a:lnTo>
                      <a:lnTo>
                        <a:pt x="1488" y="1134"/>
                      </a:lnTo>
                      <a:lnTo>
                        <a:pt x="1488" y="1138"/>
                      </a:lnTo>
                      <a:lnTo>
                        <a:pt x="1488" y="1144"/>
                      </a:lnTo>
                      <a:lnTo>
                        <a:pt x="1488" y="1144"/>
                      </a:lnTo>
                      <a:lnTo>
                        <a:pt x="1492" y="1152"/>
                      </a:lnTo>
                      <a:lnTo>
                        <a:pt x="1494" y="1160"/>
                      </a:lnTo>
                      <a:lnTo>
                        <a:pt x="1496" y="1164"/>
                      </a:lnTo>
                      <a:lnTo>
                        <a:pt x="1498" y="1164"/>
                      </a:lnTo>
                      <a:lnTo>
                        <a:pt x="1502" y="1162"/>
                      </a:lnTo>
                      <a:lnTo>
                        <a:pt x="1508" y="1158"/>
                      </a:lnTo>
                      <a:lnTo>
                        <a:pt x="1508" y="1158"/>
                      </a:lnTo>
                      <a:lnTo>
                        <a:pt x="1516" y="1150"/>
                      </a:lnTo>
                      <a:lnTo>
                        <a:pt x="1524" y="1142"/>
                      </a:lnTo>
                      <a:lnTo>
                        <a:pt x="1526" y="1138"/>
                      </a:lnTo>
                      <a:lnTo>
                        <a:pt x="1526" y="1132"/>
                      </a:lnTo>
                      <a:lnTo>
                        <a:pt x="1524" y="1118"/>
                      </a:lnTo>
                      <a:lnTo>
                        <a:pt x="1524" y="1118"/>
                      </a:lnTo>
                      <a:lnTo>
                        <a:pt x="1522" y="1106"/>
                      </a:lnTo>
                      <a:lnTo>
                        <a:pt x="1524" y="1098"/>
                      </a:lnTo>
                      <a:lnTo>
                        <a:pt x="1528" y="1094"/>
                      </a:lnTo>
                      <a:lnTo>
                        <a:pt x="1530" y="1090"/>
                      </a:lnTo>
                      <a:lnTo>
                        <a:pt x="1530" y="1090"/>
                      </a:lnTo>
                      <a:lnTo>
                        <a:pt x="1528" y="1098"/>
                      </a:lnTo>
                      <a:lnTo>
                        <a:pt x="1530" y="1106"/>
                      </a:lnTo>
                      <a:lnTo>
                        <a:pt x="1532" y="1118"/>
                      </a:lnTo>
                      <a:lnTo>
                        <a:pt x="1534" y="1130"/>
                      </a:lnTo>
                      <a:lnTo>
                        <a:pt x="1532" y="1136"/>
                      </a:lnTo>
                      <a:lnTo>
                        <a:pt x="1530" y="1140"/>
                      </a:lnTo>
                      <a:lnTo>
                        <a:pt x="1530" y="1140"/>
                      </a:lnTo>
                      <a:lnTo>
                        <a:pt x="1526" y="1142"/>
                      </a:lnTo>
                      <a:lnTo>
                        <a:pt x="1526" y="1146"/>
                      </a:lnTo>
                      <a:lnTo>
                        <a:pt x="1526" y="1152"/>
                      </a:lnTo>
                      <a:lnTo>
                        <a:pt x="1526" y="1160"/>
                      </a:lnTo>
                      <a:lnTo>
                        <a:pt x="1524" y="1162"/>
                      </a:lnTo>
                      <a:lnTo>
                        <a:pt x="1522" y="1166"/>
                      </a:lnTo>
                      <a:lnTo>
                        <a:pt x="1522" y="1166"/>
                      </a:lnTo>
                      <a:lnTo>
                        <a:pt x="1516" y="1172"/>
                      </a:lnTo>
                      <a:lnTo>
                        <a:pt x="1512" y="1178"/>
                      </a:lnTo>
                      <a:lnTo>
                        <a:pt x="1512" y="1182"/>
                      </a:lnTo>
                      <a:lnTo>
                        <a:pt x="1512" y="1186"/>
                      </a:lnTo>
                      <a:lnTo>
                        <a:pt x="1518" y="1192"/>
                      </a:lnTo>
                      <a:lnTo>
                        <a:pt x="1520" y="1194"/>
                      </a:lnTo>
                      <a:lnTo>
                        <a:pt x="1524" y="1198"/>
                      </a:lnTo>
                      <a:lnTo>
                        <a:pt x="1524" y="1198"/>
                      </a:lnTo>
                      <a:lnTo>
                        <a:pt x="1528" y="1210"/>
                      </a:lnTo>
                      <a:lnTo>
                        <a:pt x="1534" y="1222"/>
                      </a:lnTo>
                      <a:lnTo>
                        <a:pt x="1542" y="1232"/>
                      </a:lnTo>
                      <a:lnTo>
                        <a:pt x="1554" y="1244"/>
                      </a:lnTo>
                      <a:lnTo>
                        <a:pt x="1554" y="1244"/>
                      </a:lnTo>
                      <a:lnTo>
                        <a:pt x="1558" y="1246"/>
                      </a:lnTo>
                      <a:lnTo>
                        <a:pt x="1560" y="1244"/>
                      </a:lnTo>
                      <a:lnTo>
                        <a:pt x="1562" y="1236"/>
                      </a:lnTo>
                      <a:lnTo>
                        <a:pt x="1564" y="1230"/>
                      </a:lnTo>
                      <a:lnTo>
                        <a:pt x="1566" y="1224"/>
                      </a:lnTo>
                      <a:lnTo>
                        <a:pt x="1574" y="1218"/>
                      </a:lnTo>
                      <a:lnTo>
                        <a:pt x="1584" y="1216"/>
                      </a:lnTo>
                      <a:lnTo>
                        <a:pt x="1584" y="1216"/>
                      </a:lnTo>
                      <a:lnTo>
                        <a:pt x="1592" y="1216"/>
                      </a:lnTo>
                      <a:lnTo>
                        <a:pt x="1594" y="1216"/>
                      </a:lnTo>
                      <a:lnTo>
                        <a:pt x="1586" y="1222"/>
                      </a:lnTo>
                      <a:lnTo>
                        <a:pt x="1582" y="1228"/>
                      </a:lnTo>
                      <a:lnTo>
                        <a:pt x="1578" y="1234"/>
                      </a:lnTo>
                      <a:lnTo>
                        <a:pt x="1574" y="1240"/>
                      </a:lnTo>
                      <a:lnTo>
                        <a:pt x="1576" y="1248"/>
                      </a:lnTo>
                      <a:lnTo>
                        <a:pt x="1576" y="1248"/>
                      </a:lnTo>
                      <a:lnTo>
                        <a:pt x="1582" y="1258"/>
                      </a:lnTo>
                      <a:lnTo>
                        <a:pt x="1586" y="1260"/>
                      </a:lnTo>
                      <a:lnTo>
                        <a:pt x="1588" y="1262"/>
                      </a:lnTo>
                      <a:lnTo>
                        <a:pt x="1590" y="1274"/>
                      </a:lnTo>
                      <a:lnTo>
                        <a:pt x="1590" y="1274"/>
                      </a:lnTo>
                      <a:lnTo>
                        <a:pt x="1592" y="1280"/>
                      </a:lnTo>
                      <a:lnTo>
                        <a:pt x="1596" y="1280"/>
                      </a:lnTo>
                      <a:lnTo>
                        <a:pt x="1600" y="1280"/>
                      </a:lnTo>
                      <a:lnTo>
                        <a:pt x="1604" y="1278"/>
                      </a:lnTo>
                      <a:lnTo>
                        <a:pt x="1608" y="1278"/>
                      </a:lnTo>
                      <a:lnTo>
                        <a:pt x="1610" y="1278"/>
                      </a:lnTo>
                      <a:lnTo>
                        <a:pt x="1610" y="1280"/>
                      </a:lnTo>
                      <a:lnTo>
                        <a:pt x="1606" y="1290"/>
                      </a:lnTo>
                      <a:lnTo>
                        <a:pt x="1606" y="1290"/>
                      </a:lnTo>
                      <a:lnTo>
                        <a:pt x="1598" y="1306"/>
                      </a:lnTo>
                      <a:lnTo>
                        <a:pt x="1596" y="1318"/>
                      </a:lnTo>
                      <a:lnTo>
                        <a:pt x="1598" y="1322"/>
                      </a:lnTo>
                      <a:lnTo>
                        <a:pt x="1600" y="1322"/>
                      </a:lnTo>
                      <a:lnTo>
                        <a:pt x="1600" y="1322"/>
                      </a:lnTo>
                      <a:lnTo>
                        <a:pt x="1602" y="1322"/>
                      </a:lnTo>
                      <a:lnTo>
                        <a:pt x="1602" y="1324"/>
                      </a:lnTo>
                      <a:lnTo>
                        <a:pt x="1602" y="1330"/>
                      </a:lnTo>
                      <a:lnTo>
                        <a:pt x="1602" y="1336"/>
                      </a:lnTo>
                      <a:lnTo>
                        <a:pt x="1604" y="1340"/>
                      </a:lnTo>
                      <a:lnTo>
                        <a:pt x="1608" y="1342"/>
                      </a:lnTo>
                      <a:lnTo>
                        <a:pt x="1608" y="1342"/>
                      </a:lnTo>
                      <a:lnTo>
                        <a:pt x="1610" y="1342"/>
                      </a:lnTo>
                      <a:lnTo>
                        <a:pt x="1612" y="1340"/>
                      </a:lnTo>
                      <a:lnTo>
                        <a:pt x="1614" y="1330"/>
                      </a:lnTo>
                      <a:lnTo>
                        <a:pt x="1616" y="1320"/>
                      </a:lnTo>
                      <a:lnTo>
                        <a:pt x="1618" y="1316"/>
                      </a:lnTo>
                      <a:lnTo>
                        <a:pt x="1622" y="1314"/>
                      </a:lnTo>
                      <a:lnTo>
                        <a:pt x="1622" y="1314"/>
                      </a:lnTo>
                      <a:lnTo>
                        <a:pt x="1630" y="1310"/>
                      </a:lnTo>
                      <a:lnTo>
                        <a:pt x="1636" y="1304"/>
                      </a:lnTo>
                      <a:lnTo>
                        <a:pt x="1642" y="1300"/>
                      </a:lnTo>
                      <a:lnTo>
                        <a:pt x="1642" y="1300"/>
                      </a:lnTo>
                      <a:lnTo>
                        <a:pt x="1644" y="1304"/>
                      </a:lnTo>
                      <a:lnTo>
                        <a:pt x="1644" y="1304"/>
                      </a:lnTo>
                      <a:lnTo>
                        <a:pt x="1646" y="1306"/>
                      </a:lnTo>
                      <a:lnTo>
                        <a:pt x="1648" y="1308"/>
                      </a:lnTo>
                      <a:lnTo>
                        <a:pt x="1654" y="1308"/>
                      </a:lnTo>
                      <a:lnTo>
                        <a:pt x="1660" y="1308"/>
                      </a:lnTo>
                      <a:lnTo>
                        <a:pt x="1660" y="1310"/>
                      </a:lnTo>
                      <a:lnTo>
                        <a:pt x="1660" y="1314"/>
                      </a:lnTo>
                      <a:lnTo>
                        <a:pt x="1660" y="1314"/>
                      </a:lnTo>
                      <a:lnTo>
                        <a:pt x="1660" y="1318"/>
                      </a:lnTo>
                      <a:lnTo>
                        <a:pt x="1658" y="1318"/>
                      </a:lnTo>
                      <a:lnTo>
                        <a:pt x="1656" y="1316"/>
                      </a:lnTo>
                      <a:lnTo>
                        <a:pt x="1652" y="1314"/>
                      </a:lnTo>
                      <a:lnTo>
                        <a:pt x="1648" y="1312"/>
                      </a:lnTo>
                      <a:lnTo>
                        <a:pt x="1642" y="1314"/>
                      </a:lnTo>
                      <a:lnTo>
                        <a:pt x="1634" y="1318"/>
                      </a:lnTo>
                      <a:lnTo>
                        <a:pt x="1634" y="1318"/>
                      </a:lnTo>
                      <a:lnTo>
                        <a:pt x="1622" y="1330"/>
                      </a:lnTo>
                      <a:lnTo>
                        <a:pt x="1618" y="1336"/>
                      </a:lnTo>
                      <a:lnTo>
                        <a:pt x="1618" y="1342"/>
                      </a:lnTo>
                      <a:lnTo>
                        <a:pt x="1618" y="1350"/>
                      </a:lnTo>
                      <a:lnTo>
                        <a:pt x="1618" y="1350"/>
                      </a:lnTo>
                      <a:lnTo>
                        <a:pt x="1620" y="1356"/>
                      </a:lnTo>
                      <a:lnTo>
                        <a:pt x="1622" y="1358"/>
                      </a:lnTo>
                      <a:lnTo>
                        <a:pt x="1626" y="1360"/>
                      </a:lnTo>
                      <a:lnTo>
                        <a:pt x="1628" y="1362"/>
                      </a:lnTo>
                      <a:lnTo>
                        <a:pt x="1624" y="1366"/>
                      </a:lnTo>
                      <a:lnTo>
                        <a:pt x="1624" y="1366"/>
                      </a:lnTo>
                      <a:lnTo>
                        <a:pt x="1622" y="1368"/>
                      </a:lnTo>
                      <a:lnTo>
                        <a:pt x="1622" y="1370"/>
                      </a:lnTo>
                      <a:lnTo>
                        <a:pt x="1624" y="1372"/>
                      </a:lnTo>
                      <a:lnTo>
                        <a:pt x="1626" y="1374"/>
                      </a:lnTo>
                      <a:lnTo>
                        <a:pt x="1624" y="1376"/>
                      </a:lnTo>
                      <a:lnTo>
                        <a:pt x="1624" y="1376"/>
                      </a:lnTo>
                      <a:lnTo>
                        <a:pt x="1620" y="1378"/>
                      </a:lnTo>
                      <a:lnTo>
                        <a:pt x="1620" y="1382"/>
                      </a:lnTo>
                      <a:lnTo>
                        <a:pt x="1620" y="1384"/>
                      </a:lnTo>
                      <a:lnTo>
                        <a:pt x="1622" y="1386"/>
                      </a:lnTo>
                      <a:lnTo>
                        <a:pt x="1630" y="1392"/>
                      </a:lnTo>
                      <a:lnTo>
                        <a:pt x="1642" y="1396"/>
                      </a:lnTo>
                      <a:lnTo>
                        <a:pt x="1642" y="1396"/>
                      </a:lnTo>
                      <a:lnTo>
                        <a:pt x="1650" y="1398"/>
                      </a:lnTo>
                      <a:lnTo>
                        <a:pt x="1656" y="1396"/>
                      </a:lnTo>
                      <a:lnTo>
                        <a:pt x="1662" y="1394"/>
                      </a:lnTo>
                      <a:lnTo>
                        <a:pt x="1670" y="1394"/>
                      </a:lnTo>
                      <a:lnTo>
                        <a:pt x="1670" y="1394"/>
                      </a:lnTo>
                      <a:lnTo>
                        <a:pt x="1676" y="1396"/>
                      </a:lnTo>
                      <a:lnTo>
                        <a:pt x="1676" y="1398"/>
                      </a:lnTo>
                      <a:lnTo>
                        <a:pt x="1676" y="1400"/>
                      </a:lnTo>
                      <a:lnTo>
                        <a:pt x="1682" y="1400"/>
                      </a:lnTo>
                      <a:lnTo>
                        <a:pt x="1682" y="1400"/>
                      </a:lnTo>
                      <a:lnTo>
                        <a:pt x="1688" y="1402"/>
                      </a:lnTo>
                      <a:lnTo>
                        <a:pt x="1688" y="1404"/>
                      </a:lnTo>
                      <a:lnTo>
                        <a:pt x="1686" y="1412"/>
                      </a:lnTo>
                      <a:lnTo>
                        <a:pt x="1686" y="1416"/>
                      </a:lnTo>
                      <a:lnTo>
                        <a:pt x="1686" y="1420"/>
                      </a:lnTo>
                      <a:lnTo>
                        <a:pt x="1688" y="1422"/>
                      </a:lnTo>
                      <a:lnTo>
                        <a:pt x="1694" y="1420"/>
                      </a:lnTo>
                      <a:lnTo>
                        <a:pt x="1694" y="1420"/>
                      </a:lnTo>
                      <a:lnTo>
                        <a:pt x="1700" y="1420"/>
                      </a:lnTo>
                      <a:lnTo>
                        <a:pt x="1702" y="1422"/>
                      </a:lnTo>
                      <a:lnTo>
                        <a:pt x="1706" y="1424"/>
                      </a:lnTo>
                      <a:lnTo>
                        <a:pt x="1714" y="1422"/>
                      </a:lnTo>
                      <a:lnTo>
                        <a:pt x="1714" y="1422"/>
                      </a:lnTo>
                      <a:lnTo>
                        <a:pt x="1718" y="1422"/>
                      </a:lnTo>
                      <a:lnTo>
                        <a:pt x="1722" y="1422"/>
                      </a:lnTo>
                      <a:lnTo>
                        <a:pt x="1730" y="1426"/>
                      </a:lnTo>
                      <a:lnTo>
                        <a:pt x="1736" y="1430"/>
                      </a:lnTo>
                      <a:lnTo>
                        <a:pt x="1738" y="1430"/>
                      </a:lnTo>
                      <a:lnTo>
                        <a:pt x="1742" y="1428"/>
                      </a:lnTo>
                      <a:lnTo>
                        <a:pt x="1742" y="1428"/>
                      </a:lnTo>
                      <a:lnTo>
                        <a:pt x="1744" y="1428"/>
                      </a:lnTo>
                      <a:lnTo>
                        <a:pt x="1748" y="1430"/>
                      </a:lnTo>
                      <a:lnTo>
                        <a:pt x="1750" y="1434"/>
                      </a:lnTo>
                      <a:lnTo>
                        <a:pt x="1750" y="1442"/>
                      </a:lnTo>
                      <a:lnTo>
                        <a:pt x="1748" y="1444"/>
                      </a:lnTo>
                      <a:lnTo>
                        <a:pt x="1744" y="1446"/>
                      </a:lnTo>
                      <a:lnTo>
                        <a:pt x="1744" y="1446"/>
                      </a:lnTo>
                      <a:lnTo>
                        <a:pt x="1742" y="1448"/>
                      </a:lnTo>
                      <a:lnTo>
                        <a:pt x="1742" y="1450"/>
                      </a:lnTo>
                      <a:lnTo>
                        <a:pt x="1748" y="1458"/>
                      </a:lnTo>
                      <a:lnTo>
                        <a:pt x="1758" y="1464"/>
                      </a:lnTo>
                      <a:lnTo>
                        <a:pt x="1764" y="1464"/>
                      </a:lnTo>
                      <a:lnTo>
                        <a:pt x="1768" y="1464"/>
                      </a:lnTo>
                      <a:lnTo>
                        <a:pt x="1768" y="1464"/>
                      </a:lnTo>
                      <a:lnTo>
                        <a:pt x="1774" y="1458"/>
                      </a:lnTo>
                      <a:lnTo>
                        <a:pt x="1778" y="1454"/>
                      </a:lnTo>
                      <a:lnTo>
                        <a:pt x="1778" y="1452"/>
                      </a:lnTo>
                      <a:lnTo>
                        <a:pt x="1778" y="1454"/>
                      </a:lnTo>
                      <a:lnTo>
                        <a:pt x="1780" y="1460"/>
                      </a:lnTo>
                      <a:lnTo>
                        <a:pt x="1780" y="1460"/>
                      </a:lnTo>
                      <a:lnTo>
                        <a:pt x="1780" y="1468"/>
                      </a:lnTo>
                      <a:lnTo>
                        <a:pt x="1784" y="1470"/>
                      </a:lnTo>
                      <a:lnTo>
                        <a:pt x="1786" y="1470"/>
                      </a:lnTo>
                      <a:lnTo>
                        <a:pt x="1786" y="1474"/>
                      </a:lnTo>
                      <a:lnTo>
                        <a:pt x="1786" y="1474"/>
                      </a:lnTo>
                      <a:lnTo>
                        <a:pt x="1784" y="1476"/>
                      </a:lnTo>
                      <a:lnTo>
                        <a:pt x="1782" y="1476"/>
                      </a:lnTo>
                      <a:lnTo>
                        <a:pt x="1780" y="1472"/>
                      </a:lnTo>
                      <a:lnTo>
                        <a:pt x="1776" y="1468"/>
                      </a:lnTo>
                      <a:lnTo>
                        <a:pt x="1774" y="1468"/>
                      </a:lnTo>
                      <a:lnTo>
                        <a:pt x="1772" y="1470"/>
                      </a:lnTo>
                      <a:lnTo>
                        <a:pt x="1772" y="1470"/>
                      </a:lnTo>
                      <a:lnTo>
                        <a:pt x="1770" y="1472"/>
                      </a:lnTo>
                      <a:lnTo>
                        <a:pt x="1772" y="1476"/>
                      </a:lnTo>
                      <a:lnTo>
                        <a:pt x="1780" y="1484"/>
                      </a:lnTo>
                      <a:lnTo>
                        <a:pt x="1790" y="1486"/>
                      </a:lnTo>
                      <a:lnTo>
                        <a:pt x="1794" y="1486"/>
                      </a:lnTo>
                      <a:lnTo>
                        <a:pt x="1794" y="1484"/>
                      </a:lnTo>
                      <a:lnTo>
                        <a:pt x="1794" y="1484"/>
                      </a:lnTo>
                      <a:lnTo>
                        <a:pt x="1796" y="1478"/>
                      </a:lnTo>
                      <a:lnTo>
                        <a:pt x="1800" y="1474"/>
                      </a:lnTo>
                      <a:lnTo>
                        <a:pt x="1804" y="1474"/>
                      </a:lnTo>
                      <a:lnTo>
                        <a:pt x="1804" y="1478"/>
                      </a:lnTo>
                      <a:lnTo>
                        <a:pt x="1804" y="1478"/>
                      </a:lnTo>
                      <a:lnTo>
                        <a:pt x="1804" y="1486"/>
                      </a:lnTo>
                      <a:lnTo>
                        <a:pt x="1806" y="1492"/>
                      </a:lnTo>
                      <a:lnTo>
                        <a:pt x="1808" y="1498"/>
                      </a:lnTo>
                      <a:lnTo>
                        <a:pt x="1808" y="1504"/>
                      </a:lnTo>
                      <a:lnTo>
                        <a:pt x="1808" y="1504"/>
                      </a:lnTo>
                      <a:lnTo>
                        <a:pt x="1808" y="1510"/>
                      </a:lnTo>
                      <a:lnTo>
                        <a:pt x="1810" y="1512"/>
                      </a:lnTo>
                      <a:lnTo>
                        <a:pt x="1812" y="1510"/>
                      </a:lnTo>
                      <a:lnTo>
                        <a:pt x="1816" y="1506"/>
                      </a:lnTo>
                      <a:lnTo>
                        <a:pt x="1816" y="1506"/>
                      </a:lnTo>
                      <a:lnTo>
                        <a:pt x="1818" y="1504"/>
                      </a:lnTo>
                      <a:lnTo>
                        <a:pt x="1820" y="1506"/>
                      </a:lnTo>
                      <a:lnTo>
                        <a:pt x="1822" y="1508"/>
                      </a:lnTo>
                      <a:lnTo>
                        <a:pt x="1822" y="1508"/>
                      </a:lnTo>
                      <a:lnTo>
                        <a:pt x="1822" y="1516"/>
                      </a:lnTo>
                      <a:lnTo>
                        <a:pt x="1824" y="1520"/>
                      </a:lnTo>
                      <a:lnTo>
                        <a:pt x="1828" y="1526"/>
                      </a:lnTo>
                      <a:lnTo>
                        <a:pt x="1832" y="1528"/>
                      </a:lnTo>
                      <a:lnTo>
                        <a:pt x="1832" y="1530"/>
                      </a:lnTo>
                      <a:lnTo>
                        <a:pt x="1832" y="1534"/>
                      </a:lnTo>
                      <a:lnTo>
                        <a:pt x="1832" y="1534"/>
                      </a:lnTo>
                      <a:lnTo>
                        <a:pt x="1832" y="1538"/>
                      </a:lnTo>
                      <a:lnTo>
                        <a:pt x="1830" y="1538"/>
                      </a:lnTo>
                      <a:lnTo>
                        <a:pt x="1826" y="1540"/>
                      </a:lnTo>
                      <a:lnTo>
                        <a:pt x="1824" y="1540"/>
                      </a:lnTo>
                      <a:lnTo>
                        <a:pt x="1824" y="1542"/>
                      </a:lnTo>
                      <a:lnTo>
                        <a:pt x="1830" y="1550"/>
                      </a:lnTo>
                      <a:lnTo>
                        <a:pt x="1830" y="1550"/>
                      </a:lnTo>
                      <a:lnTo>
                        <a:pt x="1836" y="1562"/>
                      </a:lnTo>
                      <a:lnTo>
                        <a:pt x="1840" y="1570"/>
                      </a:lnTo>
                      <a:lnTo>
                        <a:pt x="1840" y="1582"/>
                      </a:lnTo>
                      <a:lnTo>
                        <a:pt x="1840" y="1600"/>
                      </a:lnTo>
                      <a:lnTo>
                        <a:pt x="1840" y="1600"/>
                      </a:lnTo>
                      <a:lnTo>
                        <a:pt x="1838" y="1608"/>
                      </a:lnTo>
                      <a:lnTo>
                        <a:pt x="1836" y="1610"/>
                      </a:lnTo>
                      <a:lnTo>
                        <a:pt x="1834" y="1608"/>
                      </a:lnTo>
                      <a:lnTo>
                        <a:pt x="1834" y="1604"/>
                      </a:lnTo>
                      <a:lnTo>
                        <a:pt x="1828" y="1570"/>
                      </a:lnTo>
                      <a:lnTo>
                        <a:pt x="1828" y="1570"/>
                      </a:lnTo>
                      <a:lnTo>
                        <a:pt x="1824" y="1564"/>
                      </a:lnTo>
                      <a:lnTo>
                        <a:pt x="1816" y="1560"/>
                      </a:lnTo>
                      <a:lnTo>
                        <a:pt x="1808" y="1558"/>
                      </a:lnTo>
                      <a:lnTo>
                        <a:pt x="1798" y="1556"/>
                      </a:lnTo>
                      <a:lnTo>
                        <a:pt x="1776" y="1554"/>
                      </a:lnTo>
                      <a:lnTo>
                        <a:pt x="1766" y="1552"/>
                      </a:lnTo>
                      <a:lnTo>
                        <a:pt x="1758" y="1548"/>
                      </a:lnTo>
                      <a:lnTo>
                        <a:pt x="1758" y="1548"/>
                      </a:lnTo>
                      <a:lnTo>
                        <a:pt x="1752" y="1546"/>
                      </a:lnTo>
                      <a:lnTo>
                        <a:pt x="1746" y="1546"/>
                      </a:lnTo>
                      <a:lnTo>
                        <a:pt x="1744" y="1548"/>
                      </a:lnTo>
                      <a:lnTo>
                        <a:pt x="1742" y="1552"/>
                      </a:lnTo>
                      <a:lnTo>
                        <a:pt x="1744" y="1556"/>
                      </a:lnTo>
                      <a:lnTo>
                        <a:pt x="1746" y="1564"/>
                      </a:lnTo>
                      <a:lnTo>
                        <a:pt x="1754" y="1578"/>
                      </a:lnTo>
                      <a:lnTo>
                        <a:pt x="1754" y="1578"/>
                      </a:lnTo>
                      <a:lnTo>
                        <a:pt x="1758" y="1586"/>
                      </a:lnTo>
                      <a:lnTo>
                        <a:pt x="1764" y="1598"/>
                      </a:lnTo>
                      <a:lnTo>
                        <a:pt x="1770" y="1626"/>
                      </a:lnTo>
                      <a:lnTo>
                        <a:pt x="1774" y="1658"/>
                      </a:lnTo>
                      <a:lnTo>
                        <a:pt x="1774" y="1690"/>
                      </a:lnTo>
                      <a:lnTo>
                        <a:pt x="1774" y="1690"/>
                      </a:lnTo>
                      <a:lnTo>
                        <a:pt x="1774" y="1726"/>
                      </a:lnTo>
                      <a:lnTo>
                        <a:pt x="1770" y="1768"/>
                      </a:lnTo>
                      <a:lnTo>
                        <a:pt x="1766" y="1810"/>
                      </a:lnTo>
                      <a:lnTo>
                        <a:pt x="1762" y="1828"/>
                      </a:lnTo>
                      <a:lnTo>
                        <a:pt x="1756" y="1842"/>
                      </a:lnTo>
                      <a:lnTo>
                        <a:pt x="1756" y="1842"/>
                      </a:lnTo>
                      <a:lnTo>
                        <a:pt x="1754" y="1854"/>
                      </a:lnTo>
                      <a:lnTo>
                        <a:pt x="1754" y="1870"/>
                      </a:lnTo>
                      <a:lnTo>
                        <a:pt x="1756" y="1886"/>
                      </a:lnTo>
                      <a:lnTo>
                        <a:pt x="1760" y="1904"/>
                      </a:lnTo>
                      <a:lnTo>
                        <a:pt x="1764" y="1920"/>
                      </a:lnTo>
                      <a:lnTo>
                        <a:pt x="1766" y="1938"/>
                      </a:lnTo>
                      <a:lnTo>
                        <a:pt x="1766" y="1956"/>
                      </a:lnTo>
                      <a:lnTo>
                        <a:pt x="1762" y="1972"/>
                      </a:lnTo>
                      <a:lnTo>
                        <a:pt x="1762" y="1972"/>
                      </a:lnTo>
                      <a:lnTo>
                        <a:pt x="1760" y="1986"/>
                      </a:lnTo>
                      <a:lnTo>
                        <a:pt x="1758" y="1996"/>
                      </a:lnTo>
                      <a:lnTo>
                        <a:pt x="1762" y="2006"/>
                      </a:lnTo>
                      <a:lnTo>
                        <a:pt x="1766" y="2012"/>
                      </a:lnTo>
                      <a:lnTo>
                        <a:pt x="1774" y="2030"/>
                      </a:lnTo>
                      <a:lnTo>
                        <a:pt x="1778" y="2042"/>
                      </a:lnTo>
                      <a:lnTo>
                        <a:pt x="1780" y="2056"/>
                      </a:lnTo>
                      <a:lnTo>
                        <a:pt x="1780" y="2056"/>
                      </a:lnTo>
                      <a:lnTo>
                        <a:pt x="1784" y="2072"/>
                      </a:lnTo>
                      <a:lnTo>
                        <a:pt x="1786" y="2082"/>
                      </a:lnTo>
                      <a:lnTo>
                        <a:pt x="1792" y="2090"/>
                      </a:lnTo>
                      <a:lnTo>
                        <a:pt x="1798" y="2096"/>
                      </a:lnTo>
                      <a:lnTo>
                        <a:pt x="1808" y="2104"/>
                      </a:lnTo>
                      <a:lnTo>
                        <a:pt x="1812" y="2110"/>
                      </a:lnTo>
                      <a:lnTo>
                        <a:pt x="1814" y="2118"/>
                      </a:lnTo>
                      <a:lnTo>
                        <a:pt x="1814" y="2118"/>
                      </a:lnTo>
                      <a:lnTo>
                        <a:pt x="1816" y="2124"/>
                      </a:lnTo>
                      <a:lnTo>
                        <a:pt x="1818" y="2128"/>
                      </a:lnTo>
                      <a:lnTo>
                        <a:pt x="1824" y="2132"/>
                      </a:lnTo>
                      <a:lnTo>
                        <a:pt x="1828" y="2136"/>
                      </a:lnTo>
                      <a:lnTo>
                        <a:pt x="1832" y="2140"/>
                      </a:lnTo>
                      <a:lnTo>
                        <a:pt x="1834" y="2146"/>
                      </a:lnTo>
                      <a:lnTo>
                        <a:pt x="1836" y="2158"/>
                      </a:lnTo>
                      <a:lnTo>
                        <a:pt x="1836" y="2158"/>
                      </a:lnTo>
                      <a:lnTo>
                        <a:pt x="1838" y="2170"/>
                      </a:lnTo>
                      <a:lnTo>
                        <a:pt x="1842" y="2178"/>
                      </a:lnTo>
                      <a:lnTo>
                        <a:pt x="1846" y="2182"/>
                      </a:lnTo>
                      <a:lnTo>
                        <a:pt x="1852" y="2186"/>
                      </a:lnTo>
                      <a:lnTo>
                        <a:pt x="1856" y="2188"/>
                      </a:lnTo>
                      <a:lnTo>
                        <a:pt x="1860" y="2190"/>
                      </a:lnTo>
                      <a:lnTo>
                        <a:pt x="1862" y="2194"/>
                      </a:lnTo>
                      <a:lnTo>
                        <a:pt x="1860" y="2200"/>
                      </a:lnTo>
                      <a:lnTo>
                        <a:pt x="1860" y="2200"/>
                      </a:lnTo>
                      <a:lnTo>
                        <a:pt x="1858" y="2208"/>
                      </a:lnTo>
                      <a:lnTo>
                        <a:pt x="1858" y="2214"/>
                      </a:lnTo>
                      <a:lnTo>
                        <a:pt x="1860" y="2218"/>
                      </a:lnTo>
                      <a:lnTo>
                        <a:pt x="1862" y="2224"/>
                      </a:lnTo>
                      <a:lnTo>
                        <a:pt x="1872" y="2238"/>
                      </a:lnTo>
                      <a:lnTo>
                        <a:pt x="1890" y="2260"/>
                      </a:lnTo>
                      <a:lnTo>
                        <a:pt x="1890" y="2260"/>
                      </a:lnTo>
                      <a:lnTo>
                        <a:pt x="1900" y="2272"/>
                      </a:lnTo>
                      <a:lnTo>
                        <a:pt x="1904" y="2282"/>
                      </a:lnTo>
                      <a:lnTo>
                        <a:pt x="1908" y="2292"/>
                      </a:lnTo>
                      <a:lnTo>
                        <a:pt x="1908" y="2298"/>
                      </a:lnTo>
                      <a:lnTo>
                        <a:pt x="1910" y="2310"/>
                      </a:lnTo>
                      <a:lnTo>
                        <a:pt x="1912" y="2314"/>
                      </a:lnTo>
                      <a:lnTo>
                        <a:pt x="1916" y="2318"/>
                      </a:lnTo>
                      <a:lnTo>
                        <a:pt x="1916" y="2318"/>
                      </a:lnTo>
                      <a:lnTo>
                        <a:pt x="1920" y="2322"/>
                      </a:lnTo>
                      <a:lnTo>
                        <a:pt x="1926" y="2324"/>
                      </a:lnTo>
                      <a:lnTo>
                        <a:pt x="1940" y="2326"/>
                      </a:lnTo>
                      <a:lnTo>
                        <a:pt x="1948" y="2328"/>
                      </a:lnTo>
                      <a:lnTo>
                        <a:pt x="1958" y="2332"/>
                      </a:lnTo>
                      <a:lnTo>
                        <a:pt x="1968" y="2336"/>
                      </a:lnTo>
                      <a:lnTo>
                        <a:pt x="1978" y="2344"/>
                      </a:lnTo>
                      <a:lnTo>
                        <a:pt x="1978" y="2344"/>
                      </a:lnTo>
                      <a:lnTo>
                        <a:pt x="1986" y="2352"/>
                      </a:lnTo>
                      <a:lnTo>
                        <a:pt x="1994" y="2358"/>
                      </a:lnTo>
                      <a:lnTo>
                        <a:pt x="2006" y="2360"/>
                      </a:lnTo>
                      <a:lnTo>
                        <a:pt x="2016" y="2364"/>
                      </a:lnTo>
                      <a:lnTo>
                        <a:pt x="2022" y="2368"/>
                      </a:lnTo>
                      <a:lnTo>
                        <a:pt x="2030" y="2374"/>
                      </a:lnTo>
                      <a:lnTo>
                        <a:pt x="2030" y="2374"/>
                      </a:lnTo>
                      <a:lnTo>
                        <a:pt x="2036" y="2382"/>
                      </a:lnTo>
                      <a:lnTo>
                        <a:pt x="2040" y="2388"/>
                      </a:lnTo>
                      <a:lnTo>
                        <a:pt x="2046" y="2400"/>
                      </a:lnTo>
                      <a:lnTo>
                        <a:pt x="2048" y="2410"/>
                      </a:lnTo>
                      <a:lnTo>
                        <a:pt x="2052" y="2424"/>
                      </a:lnTo>
                      <a:lnTo>
                        <a:pt x="2052" y="2424"/>
                      </a:lnTo>
                      <a:lnTo>
                        <a:pt x="2052" y="2424"/>
                      </a:lnTo>
                      <a:lnTo>
                        <a:pt x="2052" y="2424"/>
                      </a:lnTo>
                      <a:lnTo>
                        <a:pt x="2066" y="2454"/>
                      </a:lnTo>
                      <a:lnTo>
                        <a:pt x="2078" y="2480"/>
                      </a:lnTo>
                      <a:lnTo>
                        <a:pt x="2092" y="2520"/>
                      </a:lnTo>
                      <a:lnTo>
                        <a:pt x="2100" y="2548"/>
                      </a:lnTo>
                      <a:lnTo>
                        <a:pt x="2106" y="2560"/>
                      </a:lnTo>
                      <a:lnTo>
                        <a:pt x="2112" y="2568"/>
                      </a:lnTo>
                      <a:lnTo>
                        <a:pt x="2112" y="2568"/>
                      </a:lnTo>
                      <a:lnTo>
                        <a:pt x="2120" y="2578"/>
                      </a:lnTo>
                      <a:lnTo>
                        <a:pt x="2130" y="2586"/>
                      </a:lnTo>
                      <a:lnTo>
                        <a:pt x="2150" y="2604"/>
                      </a:lnTo>
                      <a:lnTo>
                        <a:pt x="2160" y="2614"/>
                      </a:lnTo>
                      <a:lnTo>
                        <a:pt x="2166" y="2624"/>
                      </a:lnTo>
                      <a:lnTo>
                        <a:pt x="2170" y="2636"/>
                      </a:lnTo>
                      <a:lnTo>
                        <a:pt x="2170" y="2650"/>
                      </a:lnTo>
                      <a:lnTo>
                        <a:pt x="2170" y="2650"/>
                      </a:lnTo>
                      <a:lnTo>
                        <a:pt x="2170" y="2656"/>
                      </a:lnTo>
                      <a:lnTo>
                        <a:pt x="2168" y="2662"/>
                      </a:lnTo>
                      <a:lnTo>
                        <a:pt x="2164" y="2664"/>
                      </a:lnTo>
                      <a:lnTo>
                        <a:pt x="2162" y="2668"/>
                      </a:lnTo>
                      <a:lnTo>
                        <a:pt x="2154" y="2668"/>
                      </a:lnTo>
                      <a:lnTo>
                        <a:pt x="2148" y="2668"/>
                      </a:lnTo>
                      <a:lnTo>
                        <a:pt x="2142" y="2668"/>
                      </a:lnTo>
                      <a:lnTo>
                        <a:pt x="2138" y="2668"/>
                      </a:lnTo>
                      <a:lnTo>
                        <a:pt x="2140" y="2672"/>
                      </a:lnTo>
                      <a:lnTo>
                        <a:pt x="2146" y="2682"/>
                      </a:lnTo>
                      <a:lnTo>
                        <a:pt x="2146" y="2682"/>
                      </a:lnTo>
                      <a:lnTo>
                        <a:pt x="2156" y="2692"/>
                      </a:lnTo>
                      <a:lnTo>
                        <a:pt x="2166" y="2700"/>
                      </a:lnTo>
                      <a:lnTo>
                        <a:pt x="2188" y="2716"/>
                      </a:lnTo>
                      <a:lnTo>
                        <a:pt x="2212" y="2730"/>
                      </a:lnTo>
                      <a:lnTo>
                        <a:pt x="2226" y="2738"/>
                      </a:lnTo>
                      <a:lnTo>
                        <a:pt x="2238" y="2748"/>
                      </a:lnTo>
                      <a:lnTo>
                        <a:pt x="2238" y="2748"/>
                      </a:lnTo>
                      <a:lnTo>
                        <a:pt x="2244" y="2754"/>
                      </a:lnTo>
                      <a:lnTo>
                        <a:pt x="2248" y="2758"/>
                      </a:lnTo>
                      <a:lnTo>
                        <a:pt x="2250" y="2764"/>
                      </a:lnTo>
                      <a:lnTo>
                        <a:pt x="2252" y="2770"/>
                      </a:lnTo>
                      <a:lnTo>
                        <a:pt x="2250" y="2782"/>
                      </a:lnTo>
                      <a:lnTo>
                        <a:pt x="2250" y="2794"/>
                      </a:lnTo>
                      <a:lnTo>
                        <a:pt x="2248" y="2808"/>
                      </a:lnTo>
                      <a:lnTo>
                        <a:pt x="2250" y="2814"/>
                      </a:lnTo>
                      <a:lnTo>
                        <a:pt x="2252" y="2820"/>
                      </a:lnTo>
                      <a:lnTo>
                        <a:pt x="2256" y="2828"/>
                      </a:lnTo>
                      <a:lnTo>
                        <a:pt x="2262" y="2834"/>
                      </a:lnTo>
                      <a:lnTo>
                        <a:pt x="2270" y="2842"/>
                      </a:lnTo>
                      <a:lnTo>
                        <a:pt x="2280" y="2850"/>
                      </a:lnTo>
                      <a:lnTo>
                        <a:pt x="2280" y="2850"/>
                      </a:lnTo>
                      <a:lnTo>
                        <a:pt x="2300" y="2866"/>
                      </a:lnTo>
                      <a:lnTo>
                        <a:pt x="2316" y="2882"/>
                      </a:lnTo>
                      <a:lnTo>
                        <a:pt x="2326" y="2894"/>
                      </a:lnTo>
                      <a:lnTo>
                        <a:pt x="2332" y="2906"/>
                      </a:lnTo>
                      <a:lnTo>
                        <a:pt x="2336" y="2914"/>
                      </a:lnTo>
                      <a:lnTo>
                        <a:pt x="2340" y="2918"/>
                      </a:lnTo>
                      <a:lnTo>
                        <a:pt x="2344" y="2920"/>
                      </a:lnTo>
                      <a:lnTo>
                        <a:pt x="2350" y="2916"/>
                      </a:lnTo>
                      <a:lnTo>
                        <a:pt x="2350" y="2916"/>
                      </a:lnTo>
                      <a:lnTo>
                        <a:pt x="2358" y="2910"/>
                      </a:lnTo>
                      <a:lnTo>
                        <a:pt x="2362" y="2906"/>
                      </a:lnTo>
                      <a:lnTo>
                        <a:pt x="2364" y="2900"/>
                      </a:lnTo>
                      <a:lnTo>
                        <a:pt x="2364" y="2896"/>
                      </a:lnTo>
                      <a:lnTo>
                        <a:pt x="2358" y="2884"/>
                      </a:lnTo>
                      <a:lnTo>
                        <a:pt x="2346" y="2864"/>
                      </a:lnTo>
                      <a:lnTo>
                        <a:pt x="2346" y="2864"/>
                      </a:lnTo>
                      <a:lnTo>
                        <a:pt x="2340" y="2856"/>
                      </a:lnTo>
                      <a:lnTo>
                        <a:pt x="2336" y="2850"/>
                      </a:lnTo>
                      <a:lnTo>
                        <a:pt x="2332" y="2850"/>
                      </a:lnTo>
                      <a:lnTo>
                        <a:pt x="2330" y="2850"/>
                      </a:lnTo>
                      <a:lnTo>
                        <a:pt x="2324" y="2854"/>
                      </a:lnTo>
                      <a:lnTo>
                        <a:pt x="2320" y="2854"/>
                      </a:lnTo>
                      <a:lnTo>
                        <a:pt x="2316" y="2850"/>
                      </a:lnTo>
                      <a:lnTo>
                        <a:pt x="2316" y="2850"/>
                      </a:lnTo>
                      <a:lnTo>
                        <a:pt x="2312" y="2846"/>
                      </a:lnTo>
                      <a:lnTo>
                        <a:pt x="2310" y="2842"/>
                      </a:lnTo>
                      <a:lnTo>
                        <a:pt x="2310" y="2832"/>
                      </a:lnTo>
                      <a:lnTo>
                        <a:pt x="2310" y="2826"/>
                      </a:lnTo>
                      <a:lnTo>
                        <a:pt x="2310" y="2820"/>
                      </a:lnTo>
                      <a:lnTo>
                        <a:pt x="2306" y="2810"/>
                      </a:lnTo>
                      <a:lnTo>
                        <a:pt x="2300" y="2798"/>
                      </a:lnTo>
                      <a:lnTo>
                        <a:pt x="2300" y="2798"/>
                      </a:lnTo>
                      <a:lnTo>
                        <a:pt x="2290" y="2776"/>
                      </a:lnTo>
                      <a:lnTo>
                        <a:pt x="2286" y="2762"/>
                      </a:lnTo>
                      <a:lnTo>
                        <a:pt x="2282" y="2748"/>
                      </a:lnTo>
                      <a:lnTo>
                        <a:pt x="2276" y="2730"/>
                      </a:lnTo>
                      <a:lnTo>
                        <a:pt x="2276" y="2730"/>
                      </a:lnTo>
                      <a:lnTo>
                        <a:pt x="2270" y="2718"/>
                      </a:lnTo>
                      <a:lnTo>
                        <a:pt x="2264" y="2708"/>
                      </a:lnTo>
                      <a:lnTo>
                        <a:pt x="2250" y="2690"/>
                      </a:lnTo>
                      <a:lnTo>
                        <a:pt x="2236" y="2672"/>
                      </a:lnTo>
                      <a:lnTo>
                        <a:pt x="2230" y="2662"/>
                      </a:lnTo>
                      <a:lnTo>
                        <a:pt x="2224" y="2648"/>
                      </a:lnTo>
                      <a:lnTo>
                        <a:pt x="2224" y="2648"/>
                      </a:lnTo>
                      <a:lnTo>
                        <a:pt x="2220" y="2636"/>
                      </a:lnTo>
                      <a:lnTo>
                        <a:pt x="2214" y="2624"/>
                      </a:lnTo>
                      <a:lnTo>
                        <a:pt x="2198" y="2604"/>
                      </a:lnTo>
                      <a:lnTo>
                        <a:pt x="2182" y="2584"/>
                      </a:lnTo>
                      <a:lnTo>
                        <a:pt x="2168" y="2564"/>
                      </a:lnTo>
                      <a:lnTo>
                        <a:pt x="2168" y="2564"/>
                      </a:lnTo>
                      <a:lnTo>
                        <a:pt x="2160" y="2550"/>
                      </a:lnTo>
                      <a:lnTo>
                        <a:pt x="2154" y="2534"/>
                      </a:lnTo>
                      <a:lnTo>
                        <a:pt x="2148" y="2516"/>
                      </a:lnTo>
                      <a:lnTo>
                        <a:pt x="2144" y="2498"/>
                      </a:lnTo>
                      <a:lnTo>
                        <a:pt x="2142" y="2482"/>
                      </a:lnTo>
                      <a:lnTo>
                        <a:pt x="2142" y="2470"/>
                      </a:lnTo>
                      <a:lnTo>
                        <a:pt x="2144" y="2466"/>
                      </a:lnTo>
                      <a:lnTo>
                        <a:pt x="2146" y="2464"/>
                      </a:lnTo>
                      <a:lnTo>
                        <a:pt x="2148" y="2464"/>
                      </a:lnTo>
                      <a:lnTo>
                        <a:pt x="2154" y="2466"/>
                      </a:lnTo>
                      <a:lnTo>
                        <a:pt x="2154" y="2466"/>
                      </a:lnTo>
                      <a:lnTo>
                        <a:pt x="2168" y="2474"/>
                      </a:lnTo>
                      <a:lnTo>
                        <a:pt x="2172" y="2476"/>
                      </a:lnTo>
                      <a:lnTo>
                        <a:pt x="2178" y="2474"/>
                      </a:lnTo>
                      <a:lnTo>
                        <a:pt x="2186" y="2478"/>
                      </a:lnTo>
                      <a:lnTo>
                        <a:pt x="2186" y="2478"/>
                      </a:lnTo>
                      <a:lnTo>
                        <a:pt x="2198" y="2484"/>
                      </a:lnTo>
                      <a:lnTo>
                        <a:pt x="2202" y="2488"/>
                      </a:lnTo>
                      <a:lnTo>
                        <a:pt x="2206" y="2492"/>
                      </a:lnTo>
                      <a:lnTo>
                        <a:pt x="2214" y="2508"/>
                      </a:lnTo>
                      <a:lnTo>
                        <a:pt x="2222" y="2536"/>
                      </a:lnTo>
                      <a:lnTo>
                        <a:pt x="2222" y="2536"/>
                      </a:lnTo>
                      <a:lnTo>
                        <a:pt x="2228" y="2556"/>
                      </a:lnTo>
                      <a:lnTo>
                        <a:pt x="2236" y="2574"/>
                      </a:lnTo>
                      <a:lnTo>
                        <a:pt x="2244" y="2594"/>
                      </a:lnTo>
                      <a:lnTo>
                        <a:pt x="2254" y="2612"/>
                      </a:lnTo>
                      <a:lnTo>
                        <a:pt x="2264" y="2628"/>
                      </a:lnTo>
                      <a:lnTo>
                        <a:pt x="2276" y="2642"/>
                      </a:lnTo>
                      <a:lnTo>
                        <a:pt x="2288" y="2654"/>
                      </a:lnTo>
                      <a:lnTo>
                        <a:pt x="2300" y="2664"/>
                      </a:lnTo>
                      <a:lnTo>
                        <a:pt x="2300" y="2664"/>
                      </a:lnTo>
                      <a:lnTo>
                        <a:pt x="2308" y="2672"/>
                      </a:lnTo>
                      <a:lnTo>
                        <a:pt x="2314" y="2678"/>
                      </a:lnTo>
                      <a:lnTo>
                        <a:pt x="2320" y="2694"/>
                      </a:lnTo>
                      <a:lnTo>
                        <a:pt x="2324" y="2700"/>
                      </a:lnTo>
                      <a:lnTo>
                        <a:pt x="2328" y="2706"/>
                      </a:lnTo>
                      <a:lnTo>
                        <a:pt x="2338" y="2714"/>
                      </a:lnTo>
                      <a:lnTo>
                        <a:pt x="2352" y="2722"/>
                      </a:lnTo>
                      <a:lnTo>
                        <a:pt x="2352" y="2722"/>
                      </a:lnTo>
                      <a:lnTo>
                        <a:pt x="2360" y="2724"/>
                      </a:lnTo>
                      <a:lnTo>
                        <a:pt x="2364" y="2728"/>
                      </a:lnTo>
                      <a:lnTo>
                        <a:pt x="2368" y="2732"/>
                      </a:lnTo>
                      <a:lnTo>
                        <a:pt x="2370" y="2736"/>
                      </a:lnTo>
                      <a:lnTo>
                        <a:pt x="2368" y="2746"/>
                      </a:lnTo>
                      <a:lnTo>
                        <a:pt x="2366" y="2754"/>
                      </a:lnTo>
                      <a:lnTo>
                        <a:pt x="2364" y="2764"/>
                      </a:lnTo>
                      <a:lnTo>
                        <a:pt x="2362" y="2772"/>
                      </a:lnTo>
                      <a:lnTo>
                        <a:pt x="2364" y="2776"/>
                      </a:lnTo>
                      <a:lnTo>
                        <a:pt x="2368" y="2782"/>
                      </a:lnTo>
                      <a:lnTo>
                        <a:pt x="2372" y="2786"/>
                      </a:lnTo>
                      <a:lnTo>
                        <a:pt x="2380" y="2790"/>
                      </a:lnTo>
                      <a:lnTo>
                        <a:pt x="2380" y="2790"/>
                      </a:lnTo>
                      <a:lnTo>
                        <a:pt x="2394" y="2798"/>
                      </a:lnTo>
                      <a:lnTo>
                        <a:pt x="2402" y="2804"/>
                      </a:lnTo>
                      <a:lnTo>
                        <a:pt x="2408" y="2810"/>
                      </a:lnTo>
                      <a:lnTo>
                        <a:pt x="2410" y="2816"/>
                      </a:lnTo>
                      <a:lnTo>
                        <a:pt x="2422" y="2834"/>
                      </a:lnTo>
                      <a:lnTo>
                        <a:pt x="2432" y="2848"/>
                      </a:lnTo>
                      <a:lnTo>
                        <a:pt x="2450" y="2864"/>
                      </a:lnTo>
                      <a:lnTo>
                        <a:pt x="2450" y="2864"/>
                      </a:lnTo>
                      <a:lnTo>
                        <a:pt x="2476" y="2890"/>
                      </a:lnTo>
                      <a:lnTo>
                        <a:pt x="2494" y="2912"/>
                      </a:lnTo>
                      <a:lnTo>
                        <a:pt x="2504" y="2928"/>
                      </a:lnTo>
                      <a:lnTo>
                        <a:pt x="2512" y="2942"/>
                      </a:lnTo>
                      <a:lnTo>
                        <a:pt x="2516" y="2954"/>
                      </a:lnTo>
                      <a:lnTo>
                        <a:pt x="2518" y="2964"/>
                      </a:lnTo>
                      <a:lnTo>
                        <a:pt x="2522" y="2976"/>
                      </a:lnTo>
                      <a:lnTo>
                        <a:pt x="2526" y="2988"/>
                      </a:lnTo>
                      <a:lnTo>
                        <a:pt x="2526" y="2988"/>
                      </a:lnTo>
                      <a:lnTo>
                        <a:pt x="2530" y="2998"/>
                      </a:lnTo>
                      <a:lnTo>
                        <a:pt x="2530" y="3010"/>
                      </a:lnTo>
                      <a:lnTo>
                        <a:pt x="2528" y="3020"/>
                      </a:lnTo>
                      <a:lnTo>
                        <a:pt x="2524" y="3028"/>
                      </a:lnTo>
                      <a:lnTo>
                        <a:pt x="2518" y="3038"/>
                      </a:lnTo>
                      <a:lnTo>
                        <a:pt x="2516" y="3050"/>
                      </a:lnTo>
                      <a:lnTo>
                        <a:pt x="2516" y="3060"/>
                      </a:lnTo>
                      <a:lnTo>
                        <a:pt x="2520" y="3072"/>
                      </a:lnTo>
                      <a:lnTo>
                        <a:pt x="2520" y="3072"/>
                      </a:lnTo>
                      <a:lnTo>
                        <a:pt x="2528" y="3084"/>
                      </a:lnTo>
                      <a:lnTo>
                        <a:pt x="2534" y="3094"/>
                      </a:lnTo>
                      <a:lnTo>
                        <a:pt x="2550" y="3106"/>
                      </a:lnTo>
                      <a:lnTo>
                        <a:pt x="2570" y="3120"/>
                      </a:lnTo>
                      <a:lnTo>
                        <a:pt x="2580" y="3130"/>
                      </a:lnTo>
                      <a:lnTo>
                        <a:pt x="2594" y="3140"/>
                      </a:lnTo>
                      <a:lnTo>
                        <a:pt x="2594" y="3140"/>
                      </a:lnTo>
                      <a:lnTo>
                        <a:pt x="2606" y="3152"/>
                      </a:lnTo>
                      <a:lnTo>
                        <a:pt x="2618" y="3158"/>
                      </a:lnTo>
                      <a:lnTo>
                        <a:pt x="2628" y="3162"/>
                      </a:lnTo>
                      <a:lnTo>
                        <a:pt x="2638" y="3164"/>
                      </a:lnTo>
                      <a:lnTo>
                        <a:pt x="2648" y="3168"/>
                      </a:lnTo>
                      <a:lnTo>
                        <a:pt x="2658" y="3170"/>
                      </a:lnTo>
                      <a:lnTo>
                        <a:pt x="2668" y="3176"/>
                      </a:lnTo>
                      <a:lnTo>
                        <a:pt x="2680" y="3186"/>
                      </a:lnTo>
                      <a:lnTo>
                        <a:pt x="2680" y="3186"/>
                      </a:lnTo>
                      <a:lnTo>
                        <a:pt x="2694" y="3198"/>
                      </a:lnTo>
                      <a:lnTo>
                        <a:pt x="2714" y="3210"/>
                      </a:lnTo>
                      <a:lnTo>
                        <a:pt x="2736" y="3224"/>
                      </a:lnTo>
                      <a:lnTo>
                        <a:pt x="2762" y="3236"/>
                      </a:lnTo>
                      <a:lnTo>
                        <a:pt x="2814" y="3260"/>
                      </a:lnTo>
                      <a:lnTo>
                        <a:pt x="2862" y="3278"/>
                      </a:lnTo>
                      <a:lnTo>
                        <a:pt x="2862" y="3278"/>
                      </a:lnTo>
                      <a:lnTo>
                        <a:pt x="2880" y="3282"/>
                      </a:lnTo>
                      <a:lnTo>
                        <a:pt x="2894" y="3282"/>
                      </a:lnTo>
                      <a:lnTo>
                        <a:pt x="2906" y="3278"/>
                      </a:lnTo>
                      <a:lnTo>
                        <a:pt x="2916" y="3272"/>
                      </a:lnTo>
                      <a:lnTo>
                        <a:pt x="2926" y="3266"/>
                      </a:lnTo>
                      <a:lnTo>
                        <a:pt x="2938" y="3260"/>
                      </a:lnTo>
                      <a:lnTo>
                        <a:pt x="2950" y="3258"/>
                      </a:lnTo>
                      <a:lnTo>
                        <a:pt x="2968" y="3260"/>
                      </a:lnTo>
                      <a:lnTo>
                        <a:pt x="2968" y="3260"/>
                      </a:lnTo>
                      <a:lnTo>
                        <a:pt x="2984" y="3264"/>
                      </a:lnTo>
                      <a:lnTo>
                        <a:pt x="2996" y="3272"/>
                      </a:lnTo>
                      <a:lnTo>
                        <a:pt x="3006" y="3280"/>
                      </a:lnTo>
                      <a:lnTo>
                        <a:pt x="3014" y="3290"/>
                      </a:lnTo>
                      <a:lnTo>
                        <a:pt x="3032" y="3314"/>
                      </a:lnTo>
                      <a:lnTo>
                        <a:pt x="3042" y="3326"/>
                      </a:lnTo>
                      <a:lnTo>
                        <a:pt x="3054" y="3338"/>
                      </a:lnTo>
                      <a:lnTo>
                        <a:pt x="3054" y="3338"/>
                      </a:lnTo>
                      <a:lnTo>
                        <a:pt x="3072" y="3356"/>
                      </a:lnTo>
                      <a:lnTo>
                        <a:pt x="3086" y="3364"/>
                      </a:lnTo>
                      <a:lnTo>
                        <a:pt x="3094" y="3368"/>
                      </a:lnTo>
                      <a:lnTo>
                        <a:pt x="3104" y="3368"/>
                      </a:lnTo>
                      <a:lnTo>
                        <a:pt x="3104" y="3368"/>
                      </a:lnTo>
                      <a:lnTo>
                        <a:pt x="3116" y="3368"/>
                      </a:lnTo>
                      <a:lnTo>
                        <a:pt x="3124" y="3370"/>
                      </a:lnTo>
                      <a:lnTo>
                        <a:pt x="3140" y="3376"/>
                      </a:lnTo>
                      <a:lnTo>
                        <a:pt x="3140" y="3376"/>
                      </a:lnTo>
                      <a:lnTo>
                        <a:pt x="3146" y="3382"/>
                      </a:lnTo>
                      <a:lnTo>
                        <a:pt x="3150" y="3386"/>
                      </a:lnTo>
                      <a:lnTo>
                        <a:pt x="3152" y="3388"/>
                      </a:lnTo>
                      <a:lnTo>
                        <a:pt x="3160" y="3390"/>
                      </a:lnTo>
                      <a:lnTo>
                        <a:pt x="3160" y="3390"/>
                      </a:lnTo>
                      <a:lnTo>
                        <a:pt x="3174" y="3392"/>
                      </a:lnTo>
                      <a:lnTo>
                        <a:pt x="3186" y="3398"/>
                      </a:lnTo>
                      <a:lnTo>
                        <a:pt x="3196" y="3404"/>
                      </a:lnTo>
                      <a:lnTo>
                        <a:pt x="3204" y="3406"/>
                      </a:lnTo>
                      <a:lnTo>
                        <a:pt x="3204" y="3406"/>
                      </a:lnTo>
                      <a:lnTo>
                        <a:pt x="3204" y="3406"/>
                      </a:lnTo>
                      <a:lnTo>
                        <a:pt x="3204" y="3404"/>
                      </a:lnTo>
                      <a:lnTo>
                        <a:pt x="3202" y="3402"/>
                      </a:lnTo>
                      <a:lnTo>
                        <a:pt x="3202" y="3400"/>
                      </a:lnTo>
                      <a:lnTo>
                        <a:pt x="3210" y="3404"/>
                      </a:lnTo>
                      <a:lnTo>
                        <a:pt x="3210" y="3404"/>
                      </a:lnTo>
                      <a:lnTo>
                        <a:pt x="3212" y="3406"/>
                      </a:lnTo>
                      <a:lnTo>
                        <a:pt x="3218" y="3406"/>
                      </a:lnTo>
                      <a:lnTo>
                        <a:pt x="3226" y="3406"/>
                      </a:lnTo>
                      <a:lnTo>
                        <a:pt x="3234" y="3404"/>
                      </a:lnTo>
                      <a:lnTo>
                        <a:pt x="3236" y="3402"/>
                      </a:lnTo>
                      <a:lnTo>
                        <a:pt x="3234" y="3400"/>
                      </a:lnTo>
                      <a:lnTo>
                        <a:pt x="3234" y="3400"/>
                      </a:lnTo>
                      <a:lnTo>
                        <a:pt x="3230" y="3398"/>
                      </a:lnTo>
                      <a:lnTo>
                        <a:pt x="3230" y="3396"/>
                      </a:lnTo>
                      <a:lnTo>
                        <a:pt x="3230" y="3394"/>
                      </a:lnTo>
                      <a:lnTo>
                        <a:pt x="3232" y="3394"/>
                      </a:lnTo>
                      <a:lnTo>
                        <a:pt x="3232" y="3394"/>
                      </a:lnTo>
                      <a:lnTo>
                        <a:pt x="3236" y="3396"/>
                      </a:lnTo>
                      <a:lnTo>
                        <a:pt x="3238" y="3396"/>
                      </a:lnTo>
                      <a:lnTo>
                        <a:pt x="3240" y="3392"/>
                      </a:lnTo>
                      <a:lnTo>
                        <a:pt x="3240" y="3392"/>
                      </a:lnTo>
                      <a:lnTo>
                        <a:pt x="3242" y="3398"/>
                      </a:lnTo>
                      <a:lnTo>
                        <a:pt x="3242" y="3398"/>
                      </a:lnTo>
                      <a:lnTo>
                        <a:pt x="3248" y="3406"/>
                      </a:lnTo>
                      <a:lnTo>
                        <a:pt x="3252" y="3410"/>
                      </a:lnTo>
                      <a:lnTo>
                        <a:pt x="3254" y="3412"/>
                      </a:lnTo>
                      <a:lnTo>
                        <a:pt x="3252" y="3416"/>
                      </a:lnTo>
                      <a:lnTo>
                        <a:pt x="3252" y="3416"/>
                      </a:lnTo>
                      <a:lnTo>
                        <a:pt x="3250" y="3418"/>
                      </a:lnTo>
                      <a:lnTo>
                        <a:pt x="3250" y="3418"/>
                      </a:lnTo>
                      <a:lnTo>
                        <a:pt x="3246" y="3416"/>
                      </a:lnTo>
                      <a:lnTo>
                        <a:pt x="3244" y="3412"/>
                      </a:lnTo>
                      <a:lnTo>
                        <a:pt x="3242" y="3412"/>
                      </a:lnTo>
                      <a:lnTo>
                        <a:pt x="3240" y="3414"/>
                      </a:lnTo>
                      <a:lnTo>
                        <a:pt x="3240" y="3414"/>
                      </a:lnTo>
                      <a:lnTo>
                        <a:pt x="3238" y="3418"/>
                      </a:lnTo>
                      <a:lnTo>
                        <a:pt x="3242" y="3422"/>
                      </a:lnTo>
                      <a:lnTo>
                        <a:pt x="3246" y="3426"/>
                      </a:lnTo>
                      <a:lnTo>
                        <a:pt x="3252" y="3434"/>
                      </a:lnTo>
                      <a:lnTo>
                        <a:pt x="3252" y="3434"/>
                      </a:lnTo>
                      <a:lnTo>
                        <a:pt x="3258" y="3442"/>
                      </a:lnTo>
                      <a:lnTo>
                        <a:pt x="3266" y="3448"/>
                      </a:lnTo>
                      <a:lnTo>
                        <a:pt x="3274" y="3454"/>
                      </a:lnTo>
                      <a:lnTo>
                        <a:pt x="3278" y="3460"/>
                      </a:lnTo>
                      <a:lnTo>
                        <a:pt x="3282" y="3466"/>
                      </a:lnTo>
                      <a:lnTo>
                        <a:pt x="3282" y="3466"/>
                      </a:lnTo>
                      <a:lnTo>
                        <a:pt x="3288" y="3478"/>
                      </a:lnTo>
                      <a:lnTo>
                        <a:pt x="3294" y="3486"/>
                      </a:lnTo>
                      <a:lnTo>
                        <a:pt x="3304" y="3494"/>
                      </a:lnTo>
                      <a:lnTo>
                        <a:pt x="3316" y="3506"/>
                      </a:lnTo>
                      <a:lnTo>
                        <a:pt x="3316" y="3506"/>
                      </a:lnTo>
                      <a:lnTo>
                        <a:pt x="3318" y="3510"/>
                      </a:lnTo>
                      <a:lnTo>
                        <a:pt x="3318" y="3512"/>
                      </a:lnTo>
                      <a:lnTo>
                        <a:pt x="3314" y="3514"/>
                      </a:lnTo>
                      <a:lnTo>
                        <a:pt x="3310" y="3518"/>
                      </a:lnTo>
                      <a:lnTo>
                        <a:pt x="3310" y="3518"/>
                      </a:lnTo>
                      <a:lnTo>
                        <a:pt x="3310" y="3520"/>
                      </a:lnTo>
                      <a:lnTo>
                        <a:pt x="3310" y="3520"/>
                      </a:lnTo>
                      <a:lnTo>
                        <a:pt x="3316" y="3522"/>
                      </a:lnTo>
                      <a:lnTo>
                        <a:pt x="3318" y="3522"/>
                      </a:lnTo>
                      <a:lnTo>
                        <a:pt x="3318" y="3522"/>
                      </a:lnTo>
                      <a:lnTo>
                        <a:pt x="3318" y="3528"/>
                      </a:lnTo>
                      <a:lnTo>
                        <a:pt x="3318" y="3528"/>
                      </a:lnTo>
                      <a:lnTo>
                        <a:pt x="3318" y="3534"/>
                      </a:lnTo>
                      <a:lnTo>
                        <a:pt x="3316" y="3534"/>
                      </a:lnTo>
                      <a:lnTo>
                        <a:pt x="3314" y="3536"/>
                      </a:lnTo>
                      <a:lnTo>
                        <a:pt x="3312" y="3540"/>
                      </a:lnTo>
                      <a:lnTo>
                        <a:pt x="3312" y="3540"/>
                      </a:lnTo>
                      <a:lnTo>
                        <a:pt x="3312" y="3550"/>
                      </a:lnTo>
                      <a:lnTo>
                        <a:pt x="3314" y="3558"/>
                      </a:lnTo>
                      <a:lnTo>
                        <a:pt x="3318" y="3564"/>
                      </a:lnTo>
                      <a:lnTo>
                        <a:pt x="3322" y="3566"/>
                      </a:lnTo>
                      <a:lnTo>
                        <a:pt x="3322" y="3566"/>
                      </a:lnTo>
                      <a:lnTo>
                        <a:pt x="3330" y="3570"/>
                      </a:lnTo>
                      <a:lnTo>
                        <a:pt x="3334" y="3574"/>
                      </a:lnTo>
                      <a:lnTo>
                        <a:pt x="3338" y="3578"/>
                      </a:lnTo>
                      <a:lnTo>
                        <a:pt x="3338" y="3578"/>
                      </a:lnTo>
                      <a:lnTo>
                        <a:pt x="3340" y="3582"/>
                      </a:lnTo>
                      <a:lnTo>
                        <a:pt x="3342" y="3580"/>
                      </a:lnTo>
                      <a:lnTo>
                        <a:pt x="3348" y="3574"/>
                      </a:lnTo>
                      <a:lnTo>
                        <a:pt x="3348" y="3574"/>
                      </a:lnTo>
                      <a:lnTo>
                        <a:pt x="3350" y="3572"/>
                      </a:lnTo>
                      <a:lnTo>
                        <a:pt x="3350" y="3570"/>
                      </a:lnTo>
                      <a:lnTo>
                        <a:pt x="3348" y="3566"/>
                      </a:lnTo>
                      <a:lnTo>
                        <a:pt x="3338" y="3558"/>
                      </a:lnTo>
                      <a:lnTo>
                        <a:pt x="3338" y="3558"/>
                      </a:lnTo>
                      <a:lnTo>
                        <a:pt x="3336" y="3554"/>
                      </a:lnTo>
                      <a:lnTo>
                        <a:pt x="3336" y="3552"/>
                      </a:lnTo>
                      <a:lnTo>
                        <a:pt x="3336" y="3550"/>
                      </a:lnTo>
                      <a:lnTo>
                        <a:pt x="3338" y="3552"/>
                      </a:lnTo>
                      <a:lnTo>
                        <a:pt x="3338" y="3552"/>
                      </a:lnTo>
                      <a:lnTo>
                        <a:pt x="3342" y="3554"/>
                      </a:lnTo>
                      <a:lnTo>
                        <a:pt x="3348" y="3558"/>
                      </a:lnTo>
                      <a:lnTo>
                        <a:pt x="3354" y="3562"/>
                      </a:lnTo>
                      <a:lnTo>
                        <a:pt x="3358" y="3566"/>
                      </a:lnTo>
                      <a:lnTo>
                        <a:pt x="3358" y="3566"/>
                      </a:lnTo>
                      <a:lnTo>
                        <a:pt x="3358" y="3576"/>
                      </a:lnTo>
                      <a:lnTo>
                        <a:pt x="3360" y="3578"/>
                      </a:lnTo>
                      <a:lnTo>
                        <a:pt x="3362" y="3582"/>
                      </a:lnTo>
                      <a:lnTo>
                        <a:pt x="3362" y="3582"/>
                      </a:lnTo>
                      <a:lnTo>
                        <a:pt x="3366" y="3584"/>
                      </a:lnTo>
                      <a:lnTo>
                        <a:pt x="3368" y="3586"/>
                      </a:lnTo>
                      <a:lnTo>
                        <a:pt x="3374" y="3586"/>
                      </a:lnTo>
                      <a:lnTo>
                        <a:pt x="3384" y="3592"/>
                      </a:lnTo>
                      <a:lnTo>
                        <a:pt x="3384" y="3592"/>
                      </a:lnTo>
                      <a:lnTo>
                        <a:pt x="3398" y="3604"/>
                      </a:lnTo>
                      <a:lnTo>
                        <a:pt x="3402" y="3608"/>
                      </a:lnTo>
                      <a:lnTo>
                        <a:pt x="3402" y="3612"/>
                      </a:lnTo>
                      <a:lnTo>
                        <a:pt x="3402" y="3612"/>
                      </a:lnTo>
                      <a:lnTo>
                        <a:pt x="3402" y="3620"/>
                      </a:lnTo>
                      <a:lnTo>
                        <a:pt x="3400" y="3624"/>
                      </a:lnTo>
                      <a:lnTo>
                        <a:pt x="3398" y="3626"/>
                      </a:lnTo>
                      <a:lnTo>
                        <a:pt x="3398" y="3626"/>
                      </a:lnTo>
                      <a:lnTo>
                        <a:pt x="3398" y="3628"/>
                      </a:lnTo>
                      <a:lnTo>
                        <a:pt x="3396" y="3630"/>
                      </a:lnTo>
                      <a:lnTo>
                        <a:pt x="3400" y="3634"/>
                      </a:lnTo>
                      <a:lnTo>
                        <a:pt x="3404" y="3636"/>
                      </a:lnTo>
                      <a:lnTo>
                        <a:pt x="3408" y="3638"/>
                      </a:lnTo>
                      <a:lnTo>
                        <a:pt x="3408" y="3638"/>
                      </a:lnTo>
                      <a:lnTo>
                        <a:pt x="3410" y="3640"/>
                      </a:lnTo>
                      <a:lnTo>
                        <a:pt x="3414" y="3640"/>
                      </a:lnTo>
                      <a:lnTo>
                        <a:pt x="3414" y="3642"/>
                      </a:lnTo>
                      <a:lnTo>
                        <a:pt x="3416" y="3640"/>
                      </a:lnTo>
                      <a:lnTo>
                        <a:pt x="3416" y="3640"/>
                      </a:lnTo>
                      <a:lnTo>
                        <a:pt x="3416" y="3636"/>
                      </a:lnTo>
                      <a:lnTo>
                        <a:pt x="3414" y="3634"/>
                      </a:lnTo>
                      <a:lnTo>
                        <a:pt x="3410" y="3630"/>
                      </a:lnTo>
                      <a:lnTo>
                        <a:pt x="3406" y="3626"/>
                      </a:lnTo>
                      <a:lnTo>
                        <a:pt x="3408" y="3626"/>
                      </a:lnTo>
                      <a:lnTo>
                        <a:pt x="3410" y="3624"/>
                      </a:lnTo>
                      <a:lnTo>
                        <a:pt x="3410" y="3624"/>
                      </a:lnTo>
                      <a:lnTo>
                        <a:pt x="3414" y="3622"/>
                      </a:lnTo>
                      <a:lnTo>
                        <a:pt x="3414" y="3624"/>
                      </a:lnTo>
                      <a:lnTo>
                        <a:pt x="3416" y="3628"/>
                      </a:lnTo>
                      <a:lnTo>
                        <a:pt x="3418" y="3630"/>
                      </a:lnTo>
                      <a:lnTo>
                        <a:pt x="3418" y="3630"/>
                      </a:lnTo>
                      <a:lnTo>
                        <a:pt x="3420" y="3630"/>
                      </a:lnTo>
                      <a:lnTo>
                        <a:pt x="3422" y="3632"/>
                      </a:lnTo>
                      <a:lnTo>
                        <a:pt x="3422" y="3636"/>
                      </a:lnTo>
                      <a:lnTo>
                        <a:pt x="3422" y="3642"/>
                      </a:lnTo>
                      <a:lnTo>
                        <a:pt x="3422" y="3646"/>
                      </a:lnTo>
                      <a:lnTo>
                        <a:pt x="3422" y="3646"/>
                      </a:lnTo>
                      <a:lnTo>
                        <a:pt x="3428" y="3654"/>
                      </a:lnTo>
                      <a:lnTo>
                        <a:pt x="3430" y="3656"/>
                      </a:lnTo>
                      <a:lnTo>
                        <a:pt x="3432" y="3656"/>
                      </a:lnTo>
                      <a:lnTo>
                        <a:pt x="3432" y="3656"/>
                      </a:lnTo>
                      <a:lnTo>
                        <a:pt x="3434" y="3648"/>
                      </a:lnTo>
                      <a:lnTo>
                        <a:pt x="3436" y="3646"/>
                      </a:lnTo>
                      <a:lnTo>
                        <a:pt x="3440" y="3644"/>
                      </a:lnTo>
                      <a:lnTo>
                        <a:pt x="3440" y="3644"/>
                      </a:lnTo>
                      <a:lnTo>
                        <a:pt x="3452" y="3646"/>
                      </a:lnTo>
                      <a:lnTo>
                        <a:pt x="3464" y="3650"/>
                      </a:lnTo>
                      <a:lnTo>
                        <a:pt x="3472" y="3652"/>
                      </a:lnTo>
                      <a:lnTo>
                        <a:pt x="3476" y="3654"/>
                      </a:lnTo>
                      <a:lnTo>
                        <a:pt x="3476" y="3654"/>
                      </a:lnTo>
                      <a:lnTo>
                        <a:pt x="3478" y="3652"/>
                      </a:lnTo>
                      <a:lnTo>
                        <a:pt x="3480" y="3654"/>
                      </a:lnTo>
                      <a:lnTo>
                        <a:pt x="3482" y="3662"/>
                      </a:lnTo>
                      <a:lnTo>
                        <a:pt x="3482" y="3662"/>
                      </a:lnTo>
                      <a:lnTo>
                        <a:pt x="3484" y="3666"/>
                      </a:lnTo>
                      <a:lnTo>
                        <a:pt x="3484" y="3670"/>
                      </a:lnTo>
                      <a:lnTo>
                        <a:pt x="3486" y="3672"/>
                      </a:lnTo>
                      <a:lnTo>
                        <a:pt x="3490" y="3676"/>
                      </a:lnTo>
                      <a:lnTo>
                        <a:pt x="3490" y="3676"/>
                      </a:lnTo>
                      <a:lnTo>
                        <a:pt x="3496" y="3678"/>
                      </a:lnTo>
                      <a:lnTo>
                        <a:pt x="3498" y="3678"/>
                      </a:lnTo>
                      <a:lnTo>
                        <a:pt x="3498" y="3674"/>
                      </a:lnTo>
                      <a:lnTo>
                        <a:pt x="3498" y="3674"/>
                      </a:lnTo>
                      <a:lnTo>
                        <a:pt x="3500" y="3668"/>
                      </a:lnTo>
                      <a:lnTo>
                        <a:pt x="3502" y="3666"/>
                      </a:lnTo>
                      <a:lnTo>
                        <a:pt x="3504" y="3666"/>
                      </a:lnTo>
                      <a:lnTo>
                        <a:pt x="3504" y="3668"/>
                      </a:lnTo>
                      <a:lnTo>
                        <a:pt x="3504" y="3668"/>
                      </a:lnTo>
                      <a:lnTo>
                        <a:pt x="3504" y="3672"/>
                      </a:lnTo>
                      <a:lnTo>
                        <a:pt x="3508" y="3680"/>
                      </a:lnTo>
                      <a:lnTo>
                        <a:pt x="3510" y="3686"/>
                      </a:lnTo>
                      <a:lnTo>
                        <a:pt x="3510" y="3694"/>
                      </a:lnTo>
                      <a:lnTo>
                        <a:pt x="3510" y="3694"/>
                      </a:lnTo>
                      <a:lnTo>
                        <a:pt x="3510" y="3696"/>
                      </a:lnTo>
                      <a:lnTo>
                        <a:pt x="3510" y="3698"/>
                      </a:lnTo>
                      <a:lnTo>
                        <a:pt x="3516" y="3698"/>
                      </a:lnTo>
                      <a:lnTo>
                        <a:pt x="3528" y="3696"/>
                      </a:lnTo>
                      <a:lnTo>
                        <a:pt x="3528" y="3696"/>
                      </a:lnTo>
                      <a:lnTo>
                        <a:pt x="3530" y="3696"/>
                      </a:lnTo>
                      <a:lnTo>
                        <a:pt x="3532" y="3696"/>
                      </a:lnTo>
                      <a:lnTo>
                        <a:pt x="3532" y="3692"/>
                      </a:lnTo>
                      <a:lnTo>
                        <a:pt x="3532" y="3690"/>
                      </a:lnTo>
                      <a:lnTo>
                        <a:pt x="3538" y="3688"/>
                      </a:lnTo>
                      <a:lnTo>
                        <a:pt x="3538" y="3688"/>
                      </a:lnTo>
                      <a:lnTo>
                        <a:pt x="3544" y="3688"/>
                      </a:lnTo>
                      <a:lnTo>
                        <a:pt x="3546" y="3686"/>
                      </a:lnTo>
                      <a:lnTo>
                        <a:pt x="3548" y="3684"/>
                      </a:lnTo>
                      <a:lnTo>
                        <a:pt x="3546" y="3680"/>
                      </a:lnTo>
                      <a:lnTo>
                        <a:pt x="3542" y="3672"/>
                      </a:lnTo>
                      <a:lnTo>
                        <a:pt x="3542" y="3672"/>
                      </a:lnTo>
                      <a:lnTo>
                        <a:pt x="3536" y="3664"/>
                      </a:lnTo>
                      <a:lnTo>
                        <a:pt x="3534" y="3660"/>
                      </a:lnTo>
                      <a:lnTo>
                        <a:pt x="3534" y="3658"/>
                      </a:lnTo>
                      <a:lnTo>
                        <a:pt x="3532" y="3658"/>
                      </a:lnTo>
                      <a:lnTo>
                        <a:pt x="3532" y="3658"/>
                      </a:lnTo>
                      <a:lnTo>
                        <a:pt x="3530" y="3658"/>
                      </a:lnTo>
                      <a:lnTo>
                        <a:pt x="3528" y="3656"/>
                      </a:lnTo>
                      <a:lnTo>
                        <a:pt x="3526" y="3652"/>
                      </a:lnTo>
                      <a:lnTo>
                        <a:pt x="3528" y="3648"/>
                      </a:lnTo>
                      <a:lnTo>
                        <a:pt x="3530" y="3646"/>
                      </a:lnTo>
                      <a:lnTo>
                        <a:pt x="3532" y="3646"/>
                      </a:lnTo>
                      <a:lnTo>
                        <a:pt x="3532" y="3646"/>
                      </a:lnTo>
                      <a:lnTo>
                        <a:pt x="3538" y="3644"/>
                      </a:lnTo>
                      <a:lnTo>
                        <a:pt x="3544" y="3642"/>
                      </a:lnTo>
                      <a:lnTo>
                        <a:pt x="3550" y="3636"/>
                      </a:lnTo>
                      <a:lnTo>
                        <a:pt x="3556" y="3628"/>
                      </a:lnTo>
                      <a:lnTo>
                        <a:pt x="3556" y="3628"/>
                      </a:lnTo>
                      <a:lnTo>
                        <a:pt x="3558" y="3624"/>
                      </a:lnTo>
                      <a:lnTo>
                        <a:pt x="3558" y="3622"/>
                      </a:lnTo>
                      <a:lnTo>
                        <a:pt x="3558" y="3618"/>
                      </a:lnTo>
                      <a:lnTo>
                        <a:pt x="3562" y="3616"/>
                      </a:lnTo>
                      <a:lnTo>
                        <a:pt x="3562" y="3616"/>
                      </a:lnTo>
                      <a:lnTo>
                        <a:pt x="3566" y="3614"/>
                      </a:lnTo>
                      <a:lnTo>
                        <a:pt x="3568" y="3612"/>
                      </a:lnTo>
                      <a:lnTo>
                        <a:pt x="3570" y="3610"/>
                      </a:lnTo>
                      <a:lnTo>
                        <a:pt x="3576" y="3610"/>
                      </a:lnTo>
                      <a:lnTo>
                        <a:pt x="3576" y="3610"/>
                      </a:lnTo>
                      <a:lnTo>
                        <a:pt x="3586" y="3612"/>
                      </a:lnTo>
                      <a:lnTo>
                        <a:pt x="3598" y="3620"/>
                      </a:lnTo>
                      <a:lnTo>
                        <a:pt x="3606" y="3626"/>
                      </a:lnTo>
                      <a:lnTo>
                        <a:pt x="3608" y="3630"/>
                      </a:lnTo>
                      <a:lnTo>
                        <a:pt x="3608" y="3632"/>
                      </a:lnTo>
                      <a:lnTo>
                        <a:pt x="3608" y="3632"/>
                      </a:lnTo>
                      <a:lnTo>
                        <a:pt x="3606" y="3636"/>
                      </a:lnTo>
                      <a:lnTo>
                        <a:pt x="3608" y="3638"/>
                      </a:lnTo>
                      <a:lnTo>
                        <a:pt x="3610" y="3640"/>
                      </a:lnTo>
                      <a:lnTo>
                        <a:pt x="3612" y="3640"/>
                      </a:lnTo>
                      <a:lnTo>
                        <a:pt x="3612" y="3640"/>
                      </a:lnTo>
                      <a:lnTo>
                        <a:pt x="3616" y="3638"/>
                      </a:lnTo>
                      <a:lnTo>
                        <a:pt x="3616" y="3638"/>
                      </a:lnTo>
                      <a:lnTo>
                        <a:pt x="3618" y="3638"/>
                      </a:lnTo>
                      <a:lnTo>
                        <a:pt x="3620" y="3638"/>
                      </a:lnTo>
                      <a:lnTo>
                        <a:pt x="3620" y="3638"/>
                      </a:lnTo>
                      <a:lnTo>
                        <a:pt x="3622" y="3638"/>
                      </a:lnTo>
                      <a:lnTo>
                        <a:pt x="3620" y="3640"/>
                      </a:lnTo>
                      <a:lnTo>
                        <a:pt x="3618" y="3648"/>
                      </a:lnTo>
                      <a:lnTo>
                        <a:pt x="3614" y="3658"/>
                      </a:lnTo>
                      <a:lnTo>
                        <a:pt x="3612" y="3662"/>
                      </a:lnTo>
                      <a:lnTo>
                        <a:pt x="3614" y="3666"/>
                      </a:lnTo>
                      <a:lnTo>
                        <a:pt x="3614" y="3666"/>
                      </a:lnTo>
                      <a:lnTo>
                        <a:pt x="3622" y="3682"/>
                      </a:lnTo>
                      <a:lnTo>
                        <a:pt x="3626" y="3690"/>
                      </a:lnTo>
                      <a:lnTo>
                        <a:pt x="3632" y="3696"/>
                      </a:lnTo>
                      <a:lnTo>
                        <a:pt x="3632" y="3696"/>
                      </a:lnTo>
                      <a:lnTo>
                        <a:pt x="3636" y="3700"/>
                      </a:lnTo>
                      <a:lnTo>
                        <a:pt x="3638" y="3702"/>
                      </a:lnTo>
                      <a:lnTo>
                        <a:pt x="3640" y="3704"/>
                      </a:lnTo>
                      <a:lnTo>
                        <a:pt x="3640" y="3708"/>
                      </a:lnTo>
                      <a:lnTo>
                        <a:pt x="3672" y="3654"/>
                      </a:lnTo>
                      <a:lnTo>
                        <a:pt x="3672" y="3654"/>
                      </a:lnTo>
                      <a:lnTo>
                        <a:pt x="3654" y="3626"/>
                      </a:lnTo>
                      <a:lnTo>
                        <a:pt x="3654" y="3626"/>
                      </a:lnTo>
                      <a:close/>
                      <a:moveTo>
                        <a:pt x="3590" y="1870"/>
                      </a:moveTo>
                      <a:lnTo>
                        <a:pt x="3590" y="1870"/>
                      </a:lnTo>
                      <a:lnTo>
                        <a:pt x="3570" y="1886"/>
                      </a:lnTo>
                      <a:lnTo>
                        <a:pt x="3558" y="1894"/>
                      </a:lnTo>
                      <a:lnTo>
                        <a:pt x="3546" y="1900"/>
                      </a:lnTo>
                      <a:lnTo>
                        <a:pt x="3546" y="1900"/>
                      </a:lnTo>
                      <a:lnTo>
                        <a:pt x="3536" y="1904"/>
                      </a:lnTo>
                      <a:lnTo>
                        <a:pt x="3524" y="1910"/>
                      </a:lnTo>
                      <a:lnTo>
                        <a:pt x="3508" y="1920"/>
                      </a:lnTo>
                      <a:lnTo>
                        <a:pt x="3488" y="1932"/>
                      </a:lnTo>
                      <a:lnTo>
                        <a:pt x="3488" y="1932"/>
                      </a:lnTo>
                      <a:lnTo>
                        <a:pt x="3466" y="1938"/>
                      </a:lnTo>
                      <a:lnTo>
                        <a:pt x="3448" y="1942"/>
                      </a:lnTo>
                      <a:lnTo>
                        <a:pt x="3434" y="1942"/>
                      </a:lnTo>
                      <a:lnTo>
                        <a:pt x="3426" y="1940"/>
                      </a:lnTo>
                      <a:lnTo>
                        <a:pt x="3426" y="1940"/>
                      </a:lnTo>
                      <a:lnTo>
                        <a:pt x="3424" y="1938"/>
                      </a:lnTo>
                      <a:lnTo>
                        <a:pt x="3424" y="1938"/>
                      </a:lnTo>
                      <a:lnTo>
                        <a:pt x="3430" y="1936"/>
                      </a:lnTo>
                      <a:lnTo>
                        <a:pt x="3434" y="1936"/>
                      </a:lnTo>
                      <a:lnTo>
                        <a:pt x="3434" y="1934"/>
                      </a:lnTo>
                      <a:lnTo>
                        <a:pt x="3434" y="1934"/>
                      </a:lnTo>
                      <a:lnTo>
                        <a:pt x="3434" y="1934"/>
                      </a:lnTo>
                      <a:lnTo>
                        <a:pt x="3426" y="1932"/>
                      </a:lnTo>
                      <a:lnTo>
                        <a:pt x="3418" y="1930"/>
                      </a:lnTo>
                      <a:lnTo>
                        <a:pt x="3410" y="1930"/>
                      </a:lnTo>
                      <a:lnTo>
                        <a:pt x="3408" y="1928"/>
                      </a:lnTo>
                      <a:lnTo>
                        <a:pt x="3406" y="1926"/>
                      </a:lnTo>
                      <a:lnTo>
                        <a:pt x="3406" y="1926"/>
                      </a:lnTo>
                      <a:lnTo>
                        <a:pt x="3408" y="1922"/>
                      </a:lnTo>
                      <a:lnTo>
                        <a:pt x="3410" y="1916"/>
                      </a:lnTo>
                      <a:lnTo>
                        <a:pt x="3414" y="1910"/>
                      </a:lnTo>
                      <a:lnTo>
                        <a:pt x="3416" y="1900"/>
                      </a:lnTo>
                      <a:lnTo>
                        <a:pt x="3416" y="1900"/>
                      </a:lnTo>
                      <a:lnTo>
                        <a:pt x="3420" y="1892"/>
                      </a:lnTo>
                      <a:lnTo>
                        <a:pt x="3422" y="1890"/>
                      </a:lnTo>
                      <a:lnTo>
                        <a:pt x="3426" y="1886"/>
                      </a:lnTo>
                      <a:lnTo>
                        <a:pt x="3430" y="1880"/>
                      </a:lnTo>
                      <a:lnTo>
                        <a:pt x="3430" y="1880"/>
                      </a:lnTo>
                      <a:lnTo>
                        <a:pt x="3434" y="1872"/>
                      </a:lnTo>
                      <a:lnTo>
                        <a:pt x="3436" y="1870"/>
                      </a:lnTo>
                      <a:lnTo>
                        <a:pt x="3438" y="1872"/>
                      </a:lnTo>
                      <a:lnTo>
                        <a:pt x="3440" y="1880"/>
                      </a:lnTo>
                      <a:lnTo>
                        <a:pt x="3440" y="1880"/>
                      </a:lnTo>
                      <a:lnTo>
                        <a:pt x="3446" y="1882"/>
                      </a:lnTo>
                      <a:lnTo>
                        <a:pt x="3448" y="1884"/>
                      </a:lnTo>
                      <a:lnTo>
                        <a:pt x="3450" y="1886"/>
                      </a:lnTo>
                      <a:lnTo>
                        <a:pt x="3448" y="1888"/>
                      </a:lnTo>
                      <a:lnTo>
                        <a:pt x="3442" y="1892"/>
                      </a:lnTo>
                      <a:lnTo>
                        <a:pt x="3432" y="1894"/>
                      </a:lnTo>
                      <a:lnTo>
                        <a:pt x="3432" y="1894"/>
                      </a:lnTo>
                      <a:lnTo>
                        <a:pt x="3426" y="1894"/>
                      </a:lnTo>
                      <a:lnTo>
                        <a:pt x="3424" y="1896"/>
                      </a:lnTo>
                      <a:lnTo>
                        <a:pt x="3422" y="1898"/>
                      </a:lnTo>
                      <a:lnTo>
                        <a:pt x="3422" y="1902"/>
                      </a:lnTo>
                      <a:lnTo>
                        <a:pt x="3422" y="1904"/>
                      </a:lnTo>
                      <a:lnTo>
                        <a:pt x="3424" y="1906"/>
                      </a:lnTo>
                      <a:lnTo>
                        <a:pt x="3428" y="1908"/>
                      </a:lnTo>
                      <a:lnTo>
                        <a:pt x="3432" y="1908"/>
                      </a:lnTo>
                      <a:lnTo>
                        <a:pt x="3432" y="1908"/>
                      </a:lnTo>
                      <a:lnTo>
                        <a:pt x="3438" y="1908"/>
                      </a:lnTo>
                      <a:lnTo>
                        <a:pt x="3442" y="1910"/>
                      </a:lnTo>
                      <a:lnTo>
                        <a:pt x="3444" y="1912"/>
                      </a:lnTo>
                      <a:lnTo>
                        <a:pt x="3446" y="1910"/>
                      </a:lnTo>
                      <a:lnTo>
                        <a:pt x="3446" y="1910"/>
                      </a:lnTo>
                      <a:lnTo>
                        <a:pt x="3450" y="1904"/>
                      </a:lnTo>
                      <a:lnTo>
                        <a:pt x="3456" y="1900"/>
                      </a:lnTo>
                      <a:lnTo>
                        <a:pt x="3466" y="1896"/>
                      </a:lnTo>
                      <a:lnTo>
                        <a:pt x="3466" y="1896"/>
                      </a:lnTo>
                      <a:lnTo>
                        <a:pt x="3470" y="1892"/>
                      </a:lnTo>
                      <a:lnTo>
                        <a:pt x="3474" y="1888"/>
                      </a:lnTo>
                      <a:lnTo>
                        <a:pt x="3482" y="1880"/>
                      </a:lnTo>
                      <a:lnTo>
                        <a:pt x="3488" y="1876"/>
                      </a:lnTo>
                      <a:lnTo>
                        <a:pt x="3496" y="1874"/>
                      </a:lnTo>
                      <a:lnTo>
                        <a:pt x="3504" y="1874"/>
                      </a:lnTo>
                      <a:lnTo>
                        <a:pt x="3518" y="1876"/>
                      </a:lnTo>
                      <a:lnTo>
                        <a:pt x="3518" y="1876"/>
                      </a:lnTo>
                      <a:lnTo>
                        <a:pt x="3534" y="1880"/>
                      </a:lnTo>
                      <a:lnTo>
                        <a:pt x="3538" y="1880"/>
                      </a:lnTo>
                      <a:lnTo>
                        <a:pt x="3536" y="1878"/>
                      </a:lnTo>
                      <a:lnTo>
                        <a:pt x="3532" y="1876"/>
                      </a:lnTo>
                      <a:lnTo>
                        <a:pt x="3532" y="1872"/>
                      </a:lnTo>
                      <a:lnTo>
                        <a:pt x="3532" y="1870"/>
                      </a:lnTo>
                      <a:lnTo>
                        <a:pt x="3532" y="1870"/>
                      </a:lnTo>
                      <a:lnTo>
                        <a:pt x="3536" y="1866"/>
                      </a:lnTo>
                      <a:lnTo>
                        <a:pt x="3540" y="1864"/>
                      </a:lnTo>
                      <a:lnTo>
                        <a:pt x="3560" y="1862"/>
                      </a:lnTo>
                      <a:lnTo>
                        <a:pt x="3560" y="1862"/>
                      </a:lnTo>
                      <a:lnTo>
                        <a:pt x="3580" y="1860"/>
                      </a:lnTo>
                      <a:lnTo>
                        <a:pt x="3584" y="1860"/>
                      </a:lnTo>
                      <a:lnTo>
                        <a:pt x="3586" y="1858"/>
                      </a:lnTo>
                      <a:lnTo>
                        <a:pt x="3586" y="1858"/>
                      </a:lnTo>
                      <a:lnTo>
                        <a:pt x="3586" y="1854"/>
                      </a:lnTo>
                      <a:lnTo>
                        <a:pt x="3586" y="1852"/>
                      </a:lnTo>
                      <a:lnTo>
                        <a:pt x="3588" y="1850"/>
                      </a:lnTo>
                      <a:lnTo>
                        <a:pt x="3588" y="1850"/>
                      </a:lnTo>
                      <a:lnTo>
                        <a:pt x="3590" y="1850"/>
                      </a:lnTo>
                      <a:lnTo>
                        <a:pt x="3592" y="1852"/>
                      </a:lnTo>
                      <a:lnTo>
                        <a:pt x="3594" y="1858"/>
                      </a:lnTo>
                      <a:lnTo>
                        <a:pt x="3592" y="1864"/>
                      </a:lnTo>
                      <a:lnTo>
                        <a:pt x="3590" y="1870"/>
                      </a:lnTo>
                      <a:lnTo>
                        <a:pt x="3590" y="1870"/>
                      </a:lnTo>
                      <a:close/>
                      <a:moveTo>
                        <a:pt x="3578" y="1812"/>
                      </a:moveTo>
                      <a:lnTo>
                        <a:pt x="3578" y="1812"/>
                      </a:lnTo>
                      <a:lnTo>
                        <a:pt x="3586" y="1806"/>
                      </a:lnTo>
                      <a:lnTo>
                        <a:pt x="3596" y="1804"/>
                      </a:lnTo>
                      <a:lnTo>
                        <a:pt x="3624" y="1798"/>
                      </a:lnTo>
                      <a:lnTo>
                        <a:pt x="3624" y="1798"/>
                      </a:lnTo>
                      <a:lnTo>
                        <a:pt x="3636" y="1796"/>
                      </a:lnTo>
                      <a:lnTo>
                        <a:pt x="3642" y="1794"/>
                      </a:lnTo>
                      <a:lnTo>
                        <a:pt x="3656" y="1802"/>
                      </a:lnTo>
                      <a:lnTo>
                        <a:pt x="3656" y="1802"/>
                      </a:lnTo>
                      <a:lnTo>
                        <a:pt x="3662" y="1804"/>
                      </a:lnTo>
                      <a:lnTo>
                        <a:pt x="3664" y="1804"/>
                      </a:lnTo>
                      <a:lnTo>
                        <a:pt x="3668" y="1804"/>
                      </a:lnTo>
                      <a:lnTo>
                        <a:pt x="3668" y="1802"/>
                      </a:lnTo>
                      <a:lnTo>
                        <a:pt x="3672" y="1794"/>
                      </a:lnTo>
                      <a:lnTo>
                        <a:pt x="3674" y="1790"/>
                      </a:lnTo>
                      <a:lnTo>
                        <a:pt x="3678" y="1788"/>
                      </a:lnTo>
                      <a:lnTo>
                        <a:pt x="3678" y="1788"/>
                      </a:lnTo>
                      <a:lnTo>
                        <a:pt x="3686" y="1782"/>
                      </a:lnTo>
                      <a:lnTo>
                        <a:pt x="3696" y="1778"/>
                      </a:lnTo>
                      <a:lnTo>
                        <a:pt x="3706" y="1776"/>
                      </a:lnTo>
                      <a:lnTo>
                        <a:pt x="3716" y="1770"/>
                      </a:lnTo>
                      <a:lnTo>
                        <a:pt x="3716" y="1770"/>
                      </a:lnTo>
                      <a:lnTo>
                        <a:pt x="3714" y="1774"/>
                      </a:lnTo>
                      <a:lnTo>
                        <a:pt x="3712" y="1778"/>
                      </a:lnTo>
                      <a:lnTo>
                        <a:pt x="3708" y="1782"/>
                      </a:lnTo>
                      <a:lnTo>
                        <a:pt x="3702" y="1784"/>
                      </a:lnTo>
                      <a:lnTo>
                        <a:pt x="3702" y="1784"/>
                      </a:lnTo>
                      <a:lnTo>
                        <a:pt x="3698" y="1786"/>
                      </a:lnTo>
                      <a:lnTo>
                        <a:pt x="3694" y="1790"/>
                      </a:lnTo>
                      <a:lnTo>
                        <a:pt x="3696" y="1794"/>
                      </a:lnTo>
                      <a:lnTo>
                        <a:pt x="3698" y="1798"/>
                      </a:lnTo>
                      <a:lnTo>
                        <a:pt x="3698" y="1798"/>
                      </a:lnTo>
                      <a:lnTo>
                        <a:pt x="3702" y="1800"/>
                      </a:lnTo>
                      <a:lnTo>
                        <a:pt x="3702" y="1802"/>
                      </a:lnTo>
                      <a:lnTo>
                        <a:pt x="3700" y="1806"/>
                      </a:lnTo>
                      <a:lnTo>
                        <a:pt x="3700" y="1814"/>
                      </a:lnTo>
                      <a:lnTo>
                        <a:pt x="3700" y="1814"/>
                      </a:lnTo>
                      <a:lnTo>
                        <a:pt x="3700" y="1820"/>
                      </a:lnTo>
                      <a:lnTo>
                        <a:pt x="3696" y="1822"/>
                      </a:lnTo>
                      <a:lnTo>
                        <a:pt x="3690" y="1826"/>
                      </a:lnTo>
                      <a:lnTo>
                        <a:pt x="3684" y="1830"/>
                      </a:lnTo>
                      <a:lnTo>
                        <a:pt x="3684" y="1830"/>
                      </a:lnTo>
                      <a:lnTo>
                        <a:pt x="3680" y="1834"/>
                      </a:lnTo>
                      <a:lnTo>
                        <a:pt x="3676" y="1836"/>
                      </a:lnTo>
                      <a:lnTo>
                        <a:pt x="3662" y="1838"/>
                      </a:lnTo>
                      <a:lnTo>
                        <a:pt x="3648" y="1838"/>
                      </a:lnTo>
                      <a:lnTo>
                        <a:pt x="3638" y="1834"/>
                      </a:lnTo>
                      <a:lnTo>
                        <a:pt x="3638" y="1834"/>
                      </a:lnTo>
                      <a:lnTo>
                        <a:pt x="3628" y="1832"/>
                      </a:lnTo>
                      <a:lnTo>
                        <a:pt x="3616" y="1830"/>
                      </a:lnTo>
                      <a:lnTo>
                        <a:pt x="3604" y="1832"/>
                      </a:lnTo>
                      <a:lnTo>
                        <a:pt x="3594" y="1834"/>
                      </a:lnTo>
                      <a:lnTo>
                        <a:pt x="3594" y="1834"/>
                      </a:lnTo>
                      <a:lnTo>
                        <a:pt x="3588" y="1838"/>
                      </a:lnTo>
                      <a:lnTo>
                        <a:pt x="3582" y="1840"/>
                      </a:lnTo>
                      <a:lnTo>
                        <a:pt x="3574" y="1842"/>
                      </a:lnTo>
                      <a:lnTo>
                        <a:pt x="3574" y="1842"/>
                      </a:lnTo>
                      <a:lnTo>
                        <a:pt x="3568" y="1842"/>
                      </a:lnTo>
                      <a:lnTo>
                        <a:pt x="3562" y="1842"/>
                      </a:lnTo>
                      <a:lnTo>
                        <a:pt x="3560" y="1840"/>
                      </a:lnTo>
                      <a:lnTo>
                        <a:pt x="3558" y="1838"/>
                      </a:lnTo>
                      <a:lnTo>
                        <a:pt x="3558" y="1834"/>
                      </a:lnTo>
                      <a:lnTo>
                        <a:pt x="3560" y="1828"/>
                      </a:lnTo>
                      <a:lnTo>
                        <a:pt x="3560" y="1828"/>
                      </a:lnTo>
                      <a:lnTo>
                        <a:pt x="3564" y="1820"/>
                      </a:lnTo>
                      <a:lnTo>
                        <a:pt x="3570" y="1818"/>
                      </a:lnTo>
                      <a:lnTo>
                        <a:pt x="3574" y="1816"/>
                      </a:lnTo>
                      <a:lnTo>
                        <a:pt x="3578" y="1812"/>
                      </a:lnTo>
                      <a:lnTo>
                        <a:pt x="3578" y="1812"/>
                      </a:lnTo>
                      <a:close/>
                      <a:moveTo>
                        <a:pt x="3092" y="1606"/>
                      </a:moveTo>
                      <a:lnTo>
                        <a:pt x="3092" y="1606"/>
                      </a:lnTo>
                      <a:lnTo>
                        <a:pt x="3104" y="1594"/>
                      </a:lnTo>
                      <a:lnTo>
                        <a:pt x="3118" y="1586"/>
                      </a:lnTo>
                      <a:lnTo>
                        <a:pt x="3158" y="1566"/>
                      </a:lnTo>
                      <a:lnTo>
                        <a:pt x="3158" y="1566"/>
                      </a:lnTo>
                      <a:lnTo>
                        <a:pt x="3164" y="1564"/>
                      </a:lnTo>
                      <a:lnTo>
                        <a:pt x="3164" y="1564"/>
                      </a:lnTo>
                      <a:lnTo>
                        <a:pt x="3168" y="1560"/>
                      </a:lnTo>
                      <a:lnTo>
                        <a:pt x="3172" y="1556"/>
                      </a:lnTo>
                      <a:lnTo>
                        <a:pt x="3176" y="1544"/>
                      </a:lnTo>
                      <a:lnTo>
                        <a:pt x="3176" y="1544"/>
                      </a:lnTo>
                      <a:lnTo>
                        <a:pt x="3180" y="1538"/>
                      </a:lnTo>
                      <a:lnTo>
                        <a:pt x="3184" y="1534"/>
                      </a:lnTo>
                      <a:lnTo>
                        <a:pt x="3188" y="1534"/>
                      </a:lnTo>
                      <a:lnTo>
                        <a:pt x="3190" y="1536"/>
                      </a:lnTo>
                      <a:lnTo>
                        <a:pt x="3190" y="1538"/>
                      </a:lnTo>
                      <a:lnTo>
                        <a:pt x="3190" y="1542"/>
                      </a:lnTo>
                      <a:lnTo>
                        <a:pt x="3190" y="1542"/>
                      </a:lnTo>
                      <a:lnTo>
                        <a:pt x="3188" y="1548"/>
                      </a:lnTo>
                      <a:lnTo>
                        <a:pt x="3192" y="1544"/>
                      </a:lnTo>
                      <a:lnTo>
                        <a:pt x="3196" y="1536"/>
                      </a:lnTo>
                      <a:lnTo>
                        <a:pt x="3200" y="1524"/>
                      </a:lnTo>
                      <a:lnTo>
                        <a:pt x="3200" y="1524"/>
                      </a:lnTo>
                      <a:lnTo>
                        <a:pt x="3204" y="1516"/>
                      </a:lnTo>
                      <a:lnTo>
                        <a:pt x="3206" y="1516"/>
                      </a:lnTo>
                      <a:lnTo>
                        <a:pt x="3208" y="1516"/>
                      </a:lnTo>
                      <a:lnTo>
                        <a:pt x="3208" y="1522"/>
                      </a:lnTo>
                      <a:lnTo>
                        <a:pt x="3206" y="1532"/>
                      </a:lnTo>
                      <a:lnTo>
                        <a:pt x="3206" y="1532"/>
                      </a:lnTo>
                      <a:lnTo>
                        <a:pt x="3204" y="1538"/>
                      </a:lnTo>
                      <a:lnTo>
                        <a:pt x="3204" y="1540"/>
                      </a:lnTo>
                      <a:lnTo>
                        <a:pt x="3204" y="1540"/>
                      </a:lnTo>
                      <a:lnTo>
                        <a:pt x="3216" y="1532"/>
                      </a:lnTo>
                      <a:lnTo>
                        <a:pt x="3216" y="1532"/>
                      </a:lnTo>
                      <a:lnTo>
                        <a:pt x="3218" y="1530"/>
                      </a:lnTo>
                      <a:lnTo>
                        <a:pt x="3220" y="1526"/>
                      </a:lnTo>
                      <a:lnTo>
                        <a:pt x="3218" y="1520"/>
                      </a:lnTo>
                      <a:lnTo>
                        <a:pt x="3216" y="1514"/>
                      </a:lnTo>
                      <a:lnTo>
                        <a:pt x="3216" y="1512"/>
                      </a:lnTo>
                      <a:lnTo>
                        <a:pt x="3216" y="1510"/>
                      </a:lnTo>
                      <a:lnTo>
                        <a:pt x="3216" y="1510"/>
                      </a:lnTo>
                      <a:lnTo>
                        <a:pt x="3220" y="1508"/>
                      </a:lnTo>
                      <a:lnTo>
                        <a:pt x="3224" y="1510"/>
                      </a:lnTo>
                      <a:lnTo>
                        <a:pt x="3236" y="1514"/>
                      </a:lnTo>
                      <a:lnTo>
                        <a:pt x="3248" y="1520"/>
                      </a:lnTo>
                      <a:lnTo>
                        <a:pt x="3254" y="1522"/>
                      </a:lnTo>
                      <a:lnTo>
                        <a:pt x="3260" y="1522"/>
                      </a:lnTo>
                      <a:lnTo>
                        <a:pt x="3260" y="1522"/>
                      </a:lnTo>
                      <a:lnTo>
                        <a:pt x="3268" y="1522"/>
                      </a:lnTo>
                      <a:lnTo>
                        <a:pt x="3272" y="1522"/>
                      </a:lnTo>
                      <a:lnTo>
                        <a:pt x="3276" y="1522"/>
                      </a:lnTo>
                      <a:lnTo>
                        <a:pt x="3284" y="1522"/>
                      </a:lnTo>
                      <a:lnTo>
                        <a:pt x="3284" y="1522"/>
                      </a:lnTo>
                      <a:lnTo>
                        <a:pt x="3288" y="1524"/>
                      </a:lnTo>
                      <a:lnTo>
                        <a:pt x="3292" y="1528"/>
                      </a:lnTo>
                      <a:lnTo>
                        <a:pt x="3296" y="1542"/>
                      </a:lnTo>
                      <a:lnTo>
                        <a:pt x="3298" y="1550"/>
                      </a:lnTo>
                      <a:lnTo>
                        <a:pt x="3302" y="1558"/>
                      </a:lnTo>
                      <a:lnTo>
                        <a:pt x="3308" y="1566"/>
                      </a:lnTo>
                      <a:lnTo>
                        <a:pt x="3314" y="1570"/>
                      </a:lnTo>
                      <a:lnTo>
                        <a:pt x="3314" y="1570"/>
                      </a:lnTo>
                      <a:lnTo>
                        <a:pt x="3320" y="1572"/>
                      </a:lnTo>
                      <a:lnTo>
                        <a:pt x="3328" y="1572"/>
                      </a:lnTo>
                      <a:lnTo>
                        <a:pt x="3340" y="1570"/>
                      </a:lnTo>
                      <a:lnTo>
                        <a:pt x="3344" y="1570"/>
                      </a:lnTo>
                      <a:lnTo>
                        <a:pt x="3348" y="1570"/>
                      </a:lnTo>
                      <a:lnTo>
                        <a:pt x="3348" y="1574"/>
                      </a:lnTo>
                      <a:lnTo>
                        <a:pt x="3346" y="1580"/>
                      </a:lnTo>
                      <a:lnTo>
                        <a:pt x="3346" y="1580"/>
                      </a:lnTo>
                      <a:lnTo>
                        <a:pt x="3344" y="1588"/>
                      </a:lnTo>
                      <a:lnTo>
                        <a:pt x="3346" y="1594"/>
                      </a:lnTo>
                      <a:lnTo>
                        <a:pt x="3358" y="1604"/>
                      </a:lnTo>
                      <a:lnTo>
                        <a:pt x="3358" y="1604"/>
                      </a:lnTo>
                      <a:lnTo>
                        <a:pt x="3360" y="1606"/>
                      </a:lnTo>
                      <a:lnTo>
                        <a:pt x="3360" y="1610"/>
                      </a:lnTo>
                      <a:lnTo>
                        <a:pt x="3358" y="1618"/>
                      </a:lnTo>
                      <a:lnTo>
                        <a:pt x="3354" y="1624"/>
                      </a:lnTo>
                      <a:lnTo>
                        <a:pt x="3354" y="1626"/>
                      </a:lnTo>
                      <a:lnTo>
                        <a:pt x="3356" y="1630"/>
                      </a:lnTo>
                      <a:lnTo>
                        <a:pt x="3356" y="1630"/>
                      </a:lnTo>
                      <a:lnTo>
                        <a:pt x="3362" y="1630"/>
                      </a:lnTo>
                      <a:lnTo>
                        <a:pt x="3364" y="1630"/>
                      </a:lnTo>
                      <a:lnTo>
                        <a:pt x="3366" y="1630"/>
                      </a:lnTo>
                      <a:lnTo>
                        <a:pt x="3368" y="1632"/>
                      </a:lnTo>
                      <a:lnTo>
                        <a:pt x="3368" y="1632"/>
                      </a:lnTo>
                      <a:lnTo>
                        <a:pt x="3370" y="1634"/>
                      </a:lnTo>
                      <a:lnTo>
                        <a:pt x="3368" y="1636"/>
                      </a:lnTo>
                      <a:lnTo>
                        <a:pt x="3364" y="1640"/>
                      </a:lnTo>
                      <a:lnTo>
                        <a:pt x="3362" y="1642"/>
                      </a:lnTo>
                      <a:lnTo>
                        <a:pt x="3362" y="1648"/>
                      </a:lnTo>
                      <a:lnTo>
                        <a:pt x="3362" y="1648"/>
                      </a:lnTo>
                      <a:lnTo>
                        <a:pt x="3362" y="1652"/>
                      </a:lnTo>
                      <a:lnTo>
                        <a:pt x="3364" y="1654"/>
                      </a:lnTo>
                      <a:lnTo>
                        <a:pt x="3372" y="1652"/>
                      </a:lnTo>
                      <a:lnTo>
                        <a:pt x="3380" y="1652"/>
                      </a:lnTo>
                      <a:lnTo>
                        <a:pt x="3382" y="1652"/>
                      </a:lnTo>
                      <a:lnTo>
                        <a:pt x="3382" y="1656"/>
                      </a:lnTo>
                      <a:lnTo>
                        <a:pt x="3382" y="1656"/>
                      </a:lnTo>
                      <a:lnTo>
                        <a:pt x="3382" y="1662"/>
                      </a:lnTo>
                      <a:lnTo>
                        <a:pt x="3386" y="1664"/>
                      </a:lnTo>
                      <a:lnTo>
                        <a:pt x="3392" y="1666"/>
                      </a:lnTo>
                      <a:lnTo>
                        <a:pt x="3402" y="1668"/>
                      </a:lnTo>
                      <a:lnTo>
                        <a:pt x="3402" y="1668"/>
                      </a:lnTo>
                      <a:lnTo>
                        <a:pt x="3416" y="1672"/>
                      </a:lnTo>
                      <a:lnTo>
                        <a:pt x="3430" y="1674"/>
                      </a:lnTo>
                      <a:lnTo>
                        <a:pt x="3446" y="1674"/>
                      </a:lnTo>
                      <a:lnTo>
                        <a:pt x="3460" y="1676"/>
                      </a:lnTo>
                      <a:lnTo>
                        <a:pt x="3460" y="1676"/>
                      </a:lnTo>
                      <a:lnTo>
                        <a:pt x="3470" y="1676"/>
                      </a:lnTo>
                      <a:lnTo>
                        <a:pt x="3478" y="1676"/>
                      </a:lnTo>
                      <a:lnTo>
                        <a:pt x="3484" y="1678"/>
                      </a:lnTo>
                      <a:lnTo>
                        <a:pt x="3484" y="1678"/>
                      </a:lnTo>
                      <a:lnTo>
                        <a:pt x="3484" y="1680"/>
                      </a:lnTo>
                      <a:lnTo>
                        <a:pt x="3484" y="1680"/>
                      </a:lnTo>
                      <a:lnTo>
                        <a:pt x="3484" y="1682"/>
                      </a:lnTo>
                      <a:lnTo>
                        <a:pt x="3484" y="1684"/>
                      </a:lnTo>
                      <a:lnTo>
                        <a:pt x="3490" y="1686"/>
                      </a:lnTo>
                      <a:lnTo>
                        <a:pt x="3508" y="1686"/>
                      </a:lnTo>
                      <a:lnTo>
                        <a:pt x="3508" y="1686"/>
                      </a:lnTo>
                      <a:lnTo>
                        <a:pt x="3514" y="1688"/>
                      </a:lnTo>
                      <a:lnTo>
                        <a:pt x="3518" y="1692"/>
                      </a:lnTo>
                      <a:lnTo>
                        <a:pt x="3526" y="1704"/>
                      </a:lnTo>
                      <a:lnTo>
                        <a:pt x="3532" y="1716"/>
                      </a:lnTo>
                      <a:lnTo>
                        <a:pt x="3534" y="1718"/>
                      </a:lnTo>
                      <a:lnTo>
                        <a:pt x="3536" y="1718"/>
                      </a:lnTo>
                      <a:lnTo>
                        <a:pt x="3536" y="1718"/>
                      </a:lnTo>
                      <a:lnTo>
                        <a:pt x="3540" y="1716"/>
                      </a:lnTo>
                      <a:lnTo>
                        <a:pt x="3542" y="1716"/>
                      </a:lnTo>
                      <a:lnTo>
                        <a:pt x="3544" y="1720"/>
                      </a:lnTo>
                      <a:lnTo>
                        <a:pt x="3544" y="1726"/>
                      </a:lnTo>
                      <a:lnTo>
                        <a:pt x="3544" y="1726"/>
                      </a:lnTo>
                      <a:lnTo>
                        <a:pt x="3544" y="1730"/>
                      </a:lnTo>
                      <a:lnTo>
                        <a:pt x="3546" y="1734"/>
                      </a:lnTo>
                      <a:lnTo>
                        <a:pt x="3552" y="1742"/>
                      </a:lnTo>
                      <a:lnTo>
                        <a:pt x="3556" y="1748"/>
                      </a:lnTo>
                      <a:lnTo>
                        <a:pt x="3560" y="1756"/>
                      </a:lnTo>
                      <a:lnTo>
                        <a:pt x="3560" y="1756"/>
                      </a:lnTo>
                      <a:lnTo>
                        <a:pt x="3558" y="1758"/>
                      </a:lnTo>
                      <a:lnTo>
                        <a:pt x="3558" y="1758"/>
                      </a:lnTo>
                      <a:lnTo>
                        <a:pt x="3554" y="1754"/>
                      </a:lnTo>
                      <a:lnTo>
                        <a:pt x="3548" y="1750"/>
                      </a:lnTo>
                      <a:lnTo>
                        <a:pt x="3546" y="1750"/>
                      </a:lnTo>
                      <a:lnTo>
                        <a:pt x="3544" y="1750"/>
                      </a:lnTo>
                      <a:lnTo>
                        <a:pt x="3544" y="1750"/>
                      </a:lnTo>
                      <a:lnTo>
                        <a:pt x="3542" y="1752"/>
                      </a:lnTo>
                      <a:lnTo>
                        <a:pt x="3542" y="1754"/>
                      </a:lnTo>
                      <a:lnTo>
                        <a:pt x="3546" y="1760"/>
                      </a:lnTo>
                      <a:lnTo>
                        <a:pt x="3548" y="1766"/>
                      </a:lnTo>
                      <a:lnTo>
                        <a:pt x="3546" y="1768"/>
                      </a:lnTo>
                      <a:lnTo>
                        <a:pt x="3544" y="1770"/>
                      </a:lnTo>
                      <a:lnTo>
                        <a:pt x="3544" y="1770"/>
                      </a:lnTo>
                      <a:lnTo>
                        <a:pt x="3542" y="1772"/>
                      </a:lnTo>
                      <a:lnTo>
                        <a:pt x="3538" y="1770"/>
                      </a:lnTo>
                      <a:lnTo>
                        <a:pt x="3530" y="1764"/>
                      </a:lnTo>
                      <a:lnTo>
                        <a:pt x="3520" y="1760"/>
                      </a:lnTo>
                      <a:lnTo>
                        <a:pt x="3516" y="1758"/>
                      </a:lnTo>
                      <a:lnTo>
                        <a:pt x="3512" y="1760"/>
                      </a:lnTo>
                      <a:lnTo>
                        <a:pt x="3512" y="1760"/>
                      </a:lnTo>
                      <a:lnTo>
                        <a:pt x="3508" y="1762"/>
                      </a:lnTo>
                      <a:lnTo>
                        <a:pt x="3508" y="1758"/>
                      </a:lnTo>
                      <a:lnTo>
                        <a:pt x="3508" y="1754"/>
                      </a:lnTo>
                      <a:lnTo>
                        <a:pt x="3508" y="1754"/>
                      </a:lnTo>
                      <a:lnTo>
                        <a:pt x="3504" y="1754"/>
                      </a:lnTo>
                      <a:lnTo>
                        <a:pt x="3504" y="1754"/>
                      </a:lnTo>
                      <a:lnTo>
                        <a:pt x="3502" y="1754"/>
                      </a:lnTo>
                      <a:lnTo>
                        <a:pt x="3502" y="1754"/>
                      </a:lnTo>
                      <a:lnTo>
                        <a:pt x="3504" y="1750"/>
                      </a:lnTo>
                      <a:lnTo>
                        <a:pt x="3506" y="1746"/>
                      </a:lnTo>
                      <a:lnTo>
                        <a:pt x="3504" y="1744"/>
                      </a:lnTo>
                      <a:lnTo>
                        <a:pt x="3502" y="1742"/>
                      </a:lnTo>
                      <a:lnTo>
                        <a:pt x="3502" y="1742"/>
                      </a:lnTo>
                      <a:lnTo>
                        <a:pt x="3498" y="1742"/>
                      </a:lnTo>
                      <a:lnTo>
                        <a:pt x="3496" y="1740"/>
                      </a:lnTo>
                      <a:lnTo>
                        <a:pt x="3494" y="1734"/>
                      </a:lnTo>
                      <a:lnTo>
                        <a:pt x="3494" y="1728"/>
                      </a:lnTo>
                      <a:lnTo>
                        <a:pt x="3492" y="1728"/>
                      </a:lnTo>
                      <a:lnTo>
                        <a:pt x="3490" y="1726"/>
                      </a:lnTo>
                      <a:lnTo>
                        <a:pt x="3490" y="1726"/>
                      </a:lnTo>
                      <a:lnTo>
                        <a:pt x="3486" y="1726"/>
                      </a:lnTo>
                      <a:lnTo>
                        <a:pt x="3482" y="1726"/>
                      </a:lnTo>
                      <a:lnTo>
                        <a:pt x="3480" y="1724"/>
                      </a:lnTo>
                      <a:lnTo>
                        <a:pt x="3478" y="1726"/>
                      </a:lnTo>
                      <a:lnTo>
                        <a:pt x="3478" y="1726"/>
                      </a:lnTo>
                      <a:lnTo>
                        <a:pt x="3480" y="1730"/>
                      </a:lnTo>
                      <a:lnTo>
                        <a:pt x="3484" y="1736"/>
                      </a:lnTo>
                      <a:lnTo>
                        <a:pt x="3490" y="1744"/>
                      </a:lnTo>
                      <a:lnTo>
                        <a:pt x="3496" y="1756"/>
                      </a:lnTo>
                      <a:lnTo>
                        <a:pt x="3496" y="1756"/>
                      </a:lnTo>
                      <a:lnTo>
                        <a:pt x="3496" y="1762"/>
                      </a:lnTo>
                      <a:lnTo>
                        <a:pt x="3494" y="1766"/>
                      </a:lnTo>
                      <a:lnTo>
                        <a:pt x="3486" y="1776"/>
                      </a:lnTo>
                      <a:lnTo>
                        <a:pt x="3482" y="1782"/>
                      </a:lnTo>
                      <a:lnTo>
                        <a:pt x="3480" y="1788"/>
                      </a:lnTo>
                      <a:lnTo>
                        <a:pt x="3476" y="1796"/>
                      </a:lnTo>
                      <a:lnTo>
                        <a:pt x="3476" y="1806"/>
                      </a:lnTo>
                      <a:lnTo>
                        <a:pt x="3476" y="1806"/>
                      </a:lnTo>
                      <a:lnTo>
                        <a:pt x="3476" y="1826"/>
                      </a:lnTo>
                      <a:lnTo>
                        <a:pt x="3476" y="1832"/>
                      </a:lnTo>
                      <a:lnTo>
                        <a:pt x="3472" y="1838"/>
                      </a:lnTo>
                      <a:lnTo>
                        <a:pt x="3468" y="1842"/>
                      </a:lnTo>
                      <a:lnTo>
                        <a:pt x="3464" y="1844"/>
                      </a:lnTo>
                      <a:lnTo>
                        <a:pt x="3448" y="1852"/>
                      </a:lnTo>
                      <a:lnTo>
                        <a:pt x="3448" y="1852"/>
                      </a:lnTo>
                      <a:lnTo>
                        <a:pt x="3446" y="1846"/>
                      </a:lnTo>
                      <a:lnTo>
                        <a:pt x="3444" y="1838"/>
                      </a:lnTo>
                      <a:lnTo>
                        <a:pt x="3440" y="1818"/>
                      </a:lnTo>
                      <a:lnTo>
                        <a:pt x="3438" y="1808"/>
                      </a:lnTo>
                      <a:lnTo>
                        <a:pt x="3434" y="1802"/>
                      </a:lnTo>
                      <a:lnTo>
                        <a:pt x="3428" y="1796"/>
                      </a:lnTo>
                      <a:lnTo>
                        <a:pt x="3424" y="1796"/>
                      </a:lnTo>
                      <a:lnTo>
                        <a:pt x="3424" y="1796"/>
                      </a:lnTo>
                      <a:lnTo>
                        <a:pt x="3418" y="1798"/>
                      </a:lnTo>
                      <a:lnTo>
                        <a:pt x="3414" y="1800"/>
                      </a:lnTo>
                      <a:lnTo>
                        <a:pt x="3408" y="1808"/>
                      </a:lnTo>
                      <a:lnTo>
                        <a:pt x="3404" y="1816"/>
                      </a:lnTo>
                      <a:lnTo>
                        <a:pt x="3400" y="1818"/>
                      </a:lnTo>
                      <a:lnTo>
                        <a:pt x="3398" y="1820"/>
                      </a:lnTo>
                      <a:lnTo>
                        <a:pt x="3398" y="1820"/>
                      </a:lnTo>
                      <a:lnTo>
                        <a:pt x="3394" y="1818"/>
                      </a:lnTo>
                      <a:lnTo>
                        <a:pt x="3392" y="1816"/>
                      </a:lnTo>
                      <a:lnTo>
                        <a:pt x="3388" y="1810"/>
                      </a:lnTo>
                      <a:lnTo>
                        <a:pt x="3390" y="1802"/>
                      </a:lnTo>
                      <a:lnTo>
                        <a:pt x="3392" y="1798"/>
                      </a:lnTo>
                      <a:lnTo>
                        <a:pt x="3394" y="1796"/>
                      </a:lnTo>
                      <a:lnTo>
                        <a:pt x="3394" y="1796"/>
                      </a:lnTo>
                      <a:lnTo>
                        <a:pt x="3400" y="1790"/>
                      </a:lnTo>
                      <a:lnTo>
                        <a:pt x="3406" y="1784"/>
                      </a:lnTo>
                      <a:lnTo>
                        <a:pt x="3410" y="1776"/>
                      </a:lnTo>
                      <a:lnTo>
                        <a:pt x="3412" y="1764"/>
                      </a:lnTo>
                      <a:lnTo>
                        <a:pt x="3412" y="1764"/>
                      </a:lnTo>
                      <a:lnTo>
                        <a:pt x="3412" y="1758"/>
                      </a:lnTo>
                      <a:lnTo>
                        <a:pt x="3412" y="1754"/>
                      </a:lnTo>
                      <a:lnTo>
                        <a:pt x="3410" y="1746"/>
                      </a:lnTo>
                      <a:lnTo>
                        <a:pt x="3408" y="1740"/>
                      </a:lnTo>
                      <a:lnTo>
                        <a:pt x="3408" y="1738"/>
                      </a:lnTo>
                      <a:lnTo>
                        <a:pt x="3410" y="1738"/>
                      </a:lnTo>
                      <a:lnTo>
                        <a:pt x="3410" y="1738"/>
                      </a:lnTo>
                      <a:lnTo>
                        <a:pt x="3414" y="1736"/>
                      </a:lnTo>
                      <a:lnTo>
                        <a:pt x="3414" y="1734"/>
                      </a:lnTo>
                      <a:lnTo>
                        <a:pt x="3410" y="1728"/>
                      </a:lnTo>
                      <a:lnTo>
                        <a:pt x="3402" y="1722"/>
                      </a:lnTo>
                      <a:lnTo>
                        <a:pt x="3392" y="1716"/>
                      </a:lnTo>
                      <a:lnTo>
                        <a:pt x="3392" y="1716"/>
                      </a:lnTo>
                      <a:lnTo>
                        <a:pt x="3382" y="1712"/>
                      </a:lnTo>
                      <a:lnTo>
                        <a:pt x="3380" y="1708"/>
                      </a:lnTo>
                      <a:lnTo>
                        <a:pt x="3378" y="1706"/>
                      </a:lnTo>
                      <a:lnTo>
                        <a:pt x="3372" y="1704"/>
                      </a:lnTo>
                      <a:lnTo>
                        <a:pt x="3372" y="1704"/>
                      </a:lnTo>
                      <a:lnTo>
                        <a:pt x="3366" y="1702"/>
                      </a:lnTo>
                      <a:lnTo>
                        <a:pt x="3362" y="1698"/>
                      </a:lnTo>
                      <a:lnTo>
                        <a:pt x="3358" y="1696"/>
                      </a:lnTo>
                      <a:lnTo>
                        <a:pt x="3356" y="1696"/>
                      </a:lnTo>
                      <a:lnTo>
                        <a:pt x="3352" y="1698"/>
                      </a:lnTo>
                      <a:lnTo>
                        <a:pt x="3346" y="1702"/>
                      </a:lnTo>
                      <a:lnTo>
                        <a:pt x="3346" y="1702"/>
                      </a:lnTo>
                      <a:lnTo>
                        <a:pt x="3342" y="1706"/>
                      </a:lnTo>
                      <a:lnTo>
                        <a:pt x="3340" y="1710"/>
                      </a:lnTo>
                      <a:lnTo>
                        <a:pt x="3342" y="1712"/>
                      </a:lnTo>
                      <a:lnTo>
                        <a:pt x="3344" y="1714"/>
                      </a:lnTo>
                      <a:lnTo>
                        <a:pt x="3346" y="1718"/>
                      </a:lnTo>
                      <a:lnTo>
                        <a:pt x="3340" y="1720"/>
                      </a:lnTo>
                      <a:lnTo>
                        <a:pt x="3340" y="1720"/>
                      </a:lnTo>
                      <a:lnTo>
                        <a:pt x="3334" y="1722"/>
                      </a:lnTo>
                      <a:lnTo>
                        <a:pt x="3330" y="1726"/>
                      </a:lnTo>
                      <a:lnTo>
                        <a:pt x="3328" y="1732"/>
                      </a:lnTo>
                      <a:lnTo>
                        <a:pt x="3328" y="1738"/>
                      </a:lnTo>
                      <a:lnTo>
                        <a:pt x="3326" y="1748"/>
                      </a:lnTo>
                      <a:lnTo>
                        <a:pt x="3324" y="1752"/>
                      </a:lnTo>
                      <a:lnTo>
                        <a:pt x="3322" y="1752"/>
                      </a:lnTo>
                      <a:lnTo>
                        <a:pt x="3322" y="1752"/>
                      </a:lnTo>
                      <a:lnTo>
                        <a:pt x="3320" y="1752"/>
                      </a:lnTo>
                      <a:lnTo>
                        <a:pt x="3318" y="1748"/>
                      </a:lnTo>
                      <a:lnTo>
                        <a:pt x="3318" y="1738"/>
                      </a:lnTo>
                      <a:lnTo>
                        <a:pt x="3318" y="1734"/>
                      </a:lnTo>
                      <a:lnTo>
                        <a:pt x="3316" y="1734"/>
                      </a:lnTo>
                      <a:lnTo>
                        <a:pt x="3314" y="1736"/>
                      </a:lnTo>
                      <a:lnTo>
                        <a:pt x="3308" y="1744"/>
                      </a:lnTo>
                      <a:lnTo>
                        <a:pt x="3308" y="1744"/>
                      </a:lnTo>
                      <a:lnTo>
                        <a:pt x="3300" y="1752"/>
                      </a:lnTo>
                      <a:lnTo>
                        <a:pt x="3296" y="1754"/>
                      </a:lnTo>
                      <a:lnTo>
                        <a:pt x="3294" y="1756"/>
                      </a:lnTo>
                      <a:lnTo>
                        <a:pt x="3294" y="1766"/>
                      </a:lnTo>
                      <a:lnTo>
                        <a:pt x="3294" y="1766"/>
                      </a:lnTo>
                      <a:lnTo>
                        <a:pt x="3296" y="1772"/>
                      </a:lnTo>
                      <a:lnTo>
                        <a:pt x="3294" y="1778"/>
                      </a:lnTo>
                      <a:lnTo>
                        <a:pt x="3290" y="1786"/>
                      </a:lnTo>
                      <a:lnTo>
                        <a:pt x="3286" y="1792"/>
                      </a:lnTo>
                      <a:lnTo>
                        <a:pt x="3286" y="1796"/>
                      </a:lnTo>
                      <a:lnTo>
                        <a:pt x="3286" y="1800"/>
                      </a:lnTo>
                      <a:lnTo>
                        <a:pt x="3286" y="1800"/>
                      </a:lnTo>
                      <a:lnTo>
                        <a:pt x="3288" y="1808"/>
                      </a:lnTo>
                      <a:lnTo>
                        <a:pt x="3286" y="1812"/>
                      </a:lnTo>
                      <a:lnTo>
                        <a:pt x="3284" y="1818"/>
                      </a:lnTo>
                      <a:lnTo>
                        <a:pt x="3286" y="1828"/>
                      </a:lnTo>
                      <a:lnTo>
                        <a:pt x="3286" y="1828"/>
                      </a:lnTo>
                      <a:lnTo>
                        <a:pt x="3292" y="1840"/>
                      </a:lnTo>
                      <a:lnTo>
                        <a:pt x="3294" y="1852"/>
                      </a:lnTo>
                      <a:lnTo>
                        <a:pt x="3296" y="1862"/>
                      </a:lnTo>
                      <a:lnTo>
                        <a:pt x="3294" y="1872"/>
                      </a:lnTo>
                      <a:lnTo>
                        <a:pt x="3294" y="1880"/>
                      </a:lnTo>
                      <a:lnTo>
                        <a:pt x="3290" y="1890"/>
                      </a:lnTo>
                      <a:lnTo>
                        <a:pt x="3282" y="1908"/>
                      </a:lnTo>
                      <a:lnTo>
                        <a:pt x="3282" y="1908"/>
                      </a:lnTo>
                      <a:lnTo>
                        <a:pt x="3276" y="1916"/>
                      </a:lnTo>
                      <a:lnTo>
                        <a:pt x="3270" y="1922"/>
                      </a:lnTo>
                      <a:lnTo>
                        <a:pt x="3264" y="1928"/>
                      </a:lnTo>
                      <a:lnTo>
                        <a:pt x="3258" y="1930"/>
                      </a:lnTo>
                      <a:lnTo>
                        <a:pt x="3252" y="1930"/>
                      </a:lnTo>
                      <a:lnTo>
                        <a:pt x="3246" y="1926"/>
                      </a:lnTo>
                      <a:lnTo>
                        <a:pt x="3242" y="1922"/>
                      </a:lnTo>
                      <a:lnTo>
                        <a:pt x="3236" y="1914"/>
                      </a:lnTo>
                      <a:lnTo>
                        <a:pt x="3236" y="1914"/>
                      </a:lnTo>
                      <a:lnTo>
                        <a:pt x="3232" y="1904"/>
                      </a:lnTo>
                      <a:lnTo>
                        <a:pt x="3230" y="1898"/>
                      </a:lnTo>
                      <a:lnTo>
                        <a:pt x="3230" y="1884"/>
                      </a:lnTo>
                      <a:lnTo>
                        <a:pt x="3230" y="1872"/>
                      </a:lnTo>
                      <a:lnTo>
                        <a:pt x="3230" y="1864"/>
                      </a:lnTo>
                      <a:lnTo>
                        <a:pt x="3230" y="1856"/>
                      </a:lnTo>
                      <a:lnTo>
                        <a:pt x="3230" y="1856"/>
                      </a:lnTo>
                      <a:lnTo>
                        <a:pt x="3228" y="1842"/>
                      </a:lnTo>
                      <a:lnTo>
                        <a:pt x="3228" y="1834"/>
                      </a:lnTo>
                      <a:lnTo>
                        <a:pt x="3232" y="1824"/>
                      </a:lnTo>
                      <a:lnTo>
                        <a:pt x="3234" y="1810"/>
                      </a:lnTo>
                      <a:lnTo>
                        <a:pt x="3234" y="1810"/>
                      </a:lnTo>
                      <a:lnTo>
                        <a:pt x="3234" y="1802"/>
                      </a:lnTo>
                      <a:lnTo>
                        <a:pt x="3236" y="1796"/>
                      </a:lnTo>
                      <a:lnTo>
                        <a:pt x="3238" y="1792"/>
                      </a:lnTo>
                      <a:lnTo>
                        <a:pt x="3240" y="1792"/>
                      </a:lnTo>
                      <a:lnTo>
                        <a:pt x="3242" y="1790"/>
                      </a:lnTo>
                      <a:lnTo>
                        <a:pt x="3242" y="1784"/>
                      </a:lnTo>
                      <a:lnTo>
                        <a:pt x="3242" y="1784"/>
                      </a:lnTo>
                      <a:lnTo>
                        <a:pt x="3240" y="1780"/>
                      </a:lnTo>
                      <a:lnTo>
                        <a:pt x="3242" y="1776"/>
                      </a:lnTo>
                      <a:lnTo>
                        <a:pt x="3246" y="1764"/>
                      </a:lnTo>
                      <a:lnTo>
                        <a:pt x="3248" y="1754"/>
                      </a:lnTo>
                      <a:lnTo>
                        <a:pt x="3248" y="1752"/>
                      </a:lnTo>
                      <a:lnTo>
                        <a:pt x="3246" y="1748"/>
                      </a:lnTo>
                      <a:lnTo>
                        <a:pt x="3246" y="1748"/>
                      </a:lnTo>
                      <a:lnTo>
                        <a:pt x="3240" y="1748"/>
                      </a:lnTo>
                      <a:lnTo>
                        <a:pt x="3238" y="1752"/>
                      </a:lnTo>
                      <a:lnTo>
                        <a:pt x="3234" y="1758"/>
                      </a:lnTo>
                      <a:lnTo>
                        <a:pt x="3228" y="1764"/>
                      </a:lnTo>
                      <a:lnTo>
                        <a:pt x="3228" y="1764"/>
                      </a:lnTo>
                      <a:lnTo>
                        <a:pt x="3226" y="1766"/>
                      </a:lnTo>
                      <a:lnTo>
                        <a:pt x="3224" y="1766"/>
                      </a:lnTo>
                      <a:lnTo>
                        <a:pt x="3224" y="1758"/>
                      </a:lnTo>
                      <a:lnTo>
                        <a:pt x="3226" y="1750"/>
                      </a:lnTo>
                      <a:lnTo>
                        <a:pt x="3230" y="1746"/>
                      </a:lnTo>
                      <a:lnTo>
                        <a:pt x="3232" y="1742"/>
                      </a:lnTo>
                      <a:lnTo>
                        <a:pt x="3232" y="1742"/>
                      </a:lnTo>
                      <a:lnTo>
                        <a:pt x="3236" y="1740"/>
                      </a:lnTo>
                      <a:lnTo>
                        <a:pt x="3238" y="1736"/>
                      </a:lnTo>
                      <a:lnTo>
                        <a:pt x="3240" y="1732"/>
                      </a:lnTo>
                      <a:lnTo>
                        <a:pt x="3244" y="1726"/>
                      </a:lnTo>
                      <a:lnTo>
                        <a:pt x="3244" y="1726"/>
                      </a:lnTo>
                      <a:lnTo>
                        <a:pt x="3252" y="1714"/>
                      </a:lnTo>
                      <a:lnTo>
                        <a:pt x="3258" y="1700"/>
                      </a:lnTo>
                      <a:lnTo>
                        <a:pt x="3264" y="1692"/>
                      </a:lnTo>
                      <a:lnTo>
                        <a:pt x="3266" y="1690"/>
                      </a:lnTo>
                      <a:lnTo>
                        <a:pt x="3266" y="1692"/>
                      </a:lnTo>
                      <a:lnTo>
                        <a:pt x="3266" y="1692"/>
                      </a:lnTo>
                      <a:lnTo>
                        <a:pt x="3268" y="1696"/>
                      </a:lnTo>
                      <a:lnTo>
                        <a:pt x="3270" y="1696"/>
                      </a:lnTo>
                      <a:lnTo>
                        <a:pt x="3274" y="1694"/>
                      </a:lnTo>
                      <a:lnTo>
                        <a:pt x="3278" y="1692"/>
                      </a:lnTo>
                      <a:lnTo>
                        <a:pt x="3280" y="1692"/>
                      </a:lnTo>
                      <a:lnTo>
                        <a:pt x="3278" y="1698"/>
                      </a:lnTo>
                      <a:lnTo>
                        <a:pt x="3278" y="1698"/>
                      </a:lnTo>
                      <a:lnTo>
                        <a:pt x="3278" y="1702"/>
                      </a:lnTo>
                      <a:lnTo>
                        <a:pt x="3278" y="1702"/>
                      </a:lnTo>
                      <a:lnTo>
                        <a:pt x="3284" y="1696"/>
                      </a:lnTo>
                      <a:lnTo>
                        <a:pt x="3292" y="1688"/>
                      </a:lnTo>
                      <a:lnTo>
                        <a:pt x="3296" y="1686"/>
                      </a:lnTo>
                      <a:lnTo>
                        <a:pt x="3300" y="1684"/>
                      </a:lnTo>
                      <a:lnTo>
                        <a:pt x="3300" y="1684"/>
                      </a:lnTo>
                      <a:lnTo>
                        <a:pt x="3310" y="1684"/>
                      </a:lnTo>
                      <a:lnTo>
                        <a:pt x="3314" y="1684"/>
                      </a:lnTo>
                      <a:lnTo>
                        <a:pt x="3320" y="1678"/>
                      </a:lnTo>
                      <a:lnTo>
                        <a:pt x="3324" y="1676"/>
                      </a:lnTo>
                      <a:lnTo>
                        <a:pt x="3328" y="1678"/>
                      </a:lnTo>
                      <a:lnTo>
                        <a:pt x="3336" y="1680"/>
                      </a:lnTo>
                      <a:lnTo>
                        <a:pt x="3346" y="1686"/>
                      </a:lnTo>
                      <a:lnTo>
                        <a:pt x="3346" y="1686"/>
                      </a:lnTo>
                      <a:lnTo>
                        <a:pt x="3352" y="1690"/>
                      </a:lnTo>
                      <a:lnTo>
                        <a:pt x="3354" y="1690"/>
                      </a:lnTo>
                      <a:lnTo>
                        <a:pt x="3356" y="1688"/>
                      </a:lnTo>
                      <a:lnTo>
                        <a:pt x="3358" y="1686"/>
                      </a:lnTo>
                      <a:lnTo>
                        <a:pt x="3358" y="1682"/>
                      </a:lnTo>
                      <a:lnTo>
                        <a:pt x="3360" y="1680"/>
                      </a:lnTo>
                      <a:lnTo>
                        <a:pt x="3362" y="1680"/>
                      </a:lnTo>
                      <a:lnTo>
                        <a:pt x="3362" y="1680"/>
                      </a:lnTo>
                      <a:lnTo>
                        <a:pt x="3370" y="1684"/>
                      </a:lnTo>
                      <a:lnTo>
                        <a:pt x="3380" y="1686"/>
                      </a:lnTo>
                      <a:lnTo>
                        <a:pt x="3386" y="1684"/>
                      </a:lnTo>
                      <a:lnTo>
                        <a:pt x="3388" y="1682"/>
                      </a:lnTo>
                      <a:lnTo>
                        <a:pt x="3388" y="1678"/>
                      </a:lnTo>
                      <a:lnTo>
                        <a:pt x="3388" y="1678"/>
                      </a:lnTo>
                      <a:lnTo>
                        <a:pt x="3384" y="1674"/>
                      </a:lnTo>
                      <a:lnTo>
                        <a:pt x="3380" y="1672"/>
                      </a:lnTo>
                      <a:lnTo>
                        <a:pt x="3376" y="1670"/>
                      </a:lnTo>
                      <a:lnTo>
                        <a:pt x="3374" y="1662"/>
                      </a:lnTo>
                      <a:lnTo>
                        <a:pt x="3374" y="1662"/>
                      </a:lnTo>
                      <a:lnTo>
                        <a:pt x="3374" y="1658"/>
                      </a:lnTo>
                      <a:lnTo>
                        <a:pt x="3372" y="1658"/>
                      </a:lnTo>
                      <a:lnTo>
                        <a:pt x="3368" y="1658"/>
                      </a:lnTo>
                      <a:lnTo>
                        <a:pt x="3360" y="1658"/>
                      </a:lnTo>
                      <a:lnTo>
                        <a:pt x="3348" y="1654"/>
                      </a:lnTo>
                      <a:lnTo>
                        <a:pt x="3348" y="1654"/>
                      </a:lnTo>
                      <a:lnTo>
                        <a:pt x="3346" y="1652"/>
                      </a:lnTo>
                      <a:lnTo>
                        <a:pt x="3344" y="1650"/>
                      </a:lnTo>
                      <a:lnTo>
                        <a:pt x="3344" y="1644"/>
                      </a:lnTo>
                      <a:lnTo>
                        <a:pt x="3346" y="1638"/>
                      </a:lnTo>
                      <a:lnTo>
                        <a:pt x="3344" y="1638"/>
                      </a:lnTo>
                      <a:lnTo>
                        <a:pt x="3340" y="1640"/>
                      </a:lnTo>
                      <a:lnTo>
                        <a:pt x="3340" y="1640"/>
                      </a:lnTo>
                      <a:lnTo>
                        <a:pt x="3330" y="1642"/>
                      </a:lnTo>
                      <a:lnTo>
                        <a:pt x="3314" y="1644"/>
                      </a:lnTo>
                      <a:lnTo>
                        <a:pt x="3300" y="1646"/>
                      </a:lnTo>
                      <a:lnTo>
                        <a:pt x="3294" y="1648"/>
                      </a:lnTo>
                      <a:lnTo>
                        <a:pt x="3288" y="1652"/>
                      </a:lnTo>
                      <a:lnTo>
                        <a:pt x="3288" y="1652"/>
                      </a:lnTo>
                      <a:lnTo>
                        <a:pt x="3280" y="1656"/>
                      </a:lnTo>
                      <a:lnTo>
                        <a:pt x="3274" y="1656"/>
                      </a:lnTo>
                      <a:lnTo>
                        <a:pt x="3268" y="1656"/>
                      </a:lnTo>
                      <a:lnTo>
                        <a:pt x="3258" y="1654"/>
                      </a:lnTo>
                      <a:lnTo>
                        <a:pt x="3258" y="1654"/>
                      </a:lnTo>
                      <a:lnTo>
                        <a:pt x="3252" y="1654"/>
                      </a:lnTo>
                      <a:lnTo>
                        <a:pt x="3250" y="1652"/>
                      </a:lnTo>
                      <a:lnTo>
                        <a:pt x="3244" y="1646"/>
                      </a:lnTo>
                      <a:lnTo>
                        <a:pt x="3238" y="1636"/>
                      </a:lnTo>
                      <a:lnTo>
                        <a:pt x="3234" y="1632"/>
                      </a:lnTo>
                      <a:lnTo>
                        <a:pt x="3228" y="1630"/>
                      </a:lnTo>
                      <a:lnTo>
                        <a:pt x="3228" y="1630"/>
                      </a:lnTo>
                      <a:lnTo>
                        <a:pt x="3222" y="1628"/>
                      </a:lnTo>
                      <a:lnTo>
                        <a:pt x="3218" y="1628"/>
                      </a:lnTo>
                      <a:lnTo>
                        <a:pt x="3210" y="1632"/>
                      </a:lnTo>
                      <a:lnTo>
                        <a:pt x="3208" y="1634"/>
                      </a:lnTo>
                      <a:lnTo>
                        <a:pt x="3206" y="1634"/>
                      </a:lnTo>
                      <a:lnTo>
                        <a:pt x="3206" y="1632"/>
                      </a:lnTo>
                      <a:lnTo>
                        <a:pt x="3204" y="1628"/>
                      </a:lnTo>
                      <a:lnTo>
                        <a:pt x="3204" y="1628"/>
                      </a:lnTo>
                      <a:lnTo>
                        <a:pt x="3202" y="1618"/>
                      </a:lnTo>
                      <a:lnTo>
                        <a:pt x="3200" y="1616"/>
                      </a:lnTo>
                      <a:lnTo>
                        <a:pt x="3198" y="1614"/>
                      </a:lnTo>
                      <a:lnTo>
                        <a:pt x="3190" y="1618"/>
                      </a:lnTo>
                      <a:lnTo>
                        <a:pt x="3180" y="1628"/>
                      </a:lnTo>
                      <a:lnTo>
                        <a:pt x="3180" y="1628"/>
                      </a:lnTo>
                      <a:lnTo>
                        <a:pt x="3176" y="1632"/>
                      </a:lnTo>
                      <a:lnTo>
                        <a:pt x="3170" y="1634"/>
                      </a:lnTo>
                      <a:lnTo>
                        <a:pt x="3164" y="1636"/>
                      </a:lnTo>
                      <a:lnTo>
                        <a:pt x="3156" y="1636"/>
                      </a:lnTo>
                      <a:lnTo>
                        <a:pt x="3150" y="1638"/>
                      </a:lnTo>
                      <a:lnTo>
                        <a:pt x="3144" y="1642"/>
                      </a:lnTo>
                      <a:lnTo>
                        <a:pt x="3144" y="1642"/>
                      </a:lnTo>
                      <a:lnTo>
                        <a:pt x="3134" y="1648"/>
                      </a:lnTo>
                      <a:lnTo>
                        <a:pt x="3126" y="1650"/>
                      </a:lnTo>
                      <a:lnTo>
                        <a:pt x="3118" y="1648"/>
                      </a:lnTo>
                      <a:lnTo>
                        <a:pt x="3110" y="1648"/>
                      </a:lnTo>
                      <a:lnTo>
                        <a:pt x="3110" y="1648"/>
                      </a:lnTo>
                      <a:lnTo>
                        <a:pt x="3106" y="1650"/>
                      </a:lnTo>
                      <a:lnTo>
                        <a:pt x="3104" y="1648"/>
                      </a:lnTo>
                      <a:lnTo>
                        <a:pt x="3108" y="1640"/>
                      </a:lnTo>
                      <a:lnTo>
                        <a:pt x="3112" y="1632"/>
                      </a:lnTo>
                      <a:lnTo>
                        <a:pt x="3110" y="1630"/>
                      </a:lnTo>
                      <a:lnTo>
                        <a:pt x="3108" y="1628"/>
                      </a:lnTo>
                      <a:lnTo>
                        <a:pt x="3108" y="1628"/>
                      </a:lnTo>
                      <a:lnTo>
                        <a:pt x="3104" y="1628"/>
                      </a:lnTo>
                      <a:lnTo>
                        <a:pt x="3098" y="1630"/>
                      </a:lnTo>
                      <a:lnTo>
                        <a:pt x="3086" y="1636"/>
                      </a:lnTo>
                      <a:lnTo>
                        <a:pt x="3074" y="1642"/>
                      </a:lnTo>
                      <a:lnTo>
                        <a:pt x="3068" y="1642"/>
                      </a:lnTo>
                      <a:lnTo>
                        <a:pt x="3062" y="1642"/>
                      </a:lnTo>
                      <a:lnTo>
                        <a:pt x="3062" y="1642"/>
                      </a:lnTo>
                      <a:lnTo>
                        <a:pt x="3058" y="1640"/>
                      </a:lnTo>
                      <a:lnTo>
                        <a:pt x="3058" y="1638"/>
                      </a:lnTo>
                      <a:lnTo>
                        <a:pt x="3060" y="1636"/>
                      </a:lnTo>
                      <a:lnTo>
                        <a:pt x="3064" y="1632"/>
                      </a:lnTo>
                      <a:lnTo>
                        <a:pt x="3076" y="1620"/>
                      </a:lnTo>
                      <a:lnTo>
                        <a:pt x="3092" y="1606"/>
                      </a:lnTo>
                      <a:lnTo>
                        <a:pt x="3092" y="160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90" name="Freeform 6087">
                  <a:extLst>
                    <a:ext uri="{FF2B5EF4-FFF2-40B4-BE49-F238E27FC236}">
                      <a16:creationId xmlns:a16="http://schemas.microsoft.com/office/drawing/2014/main" id="{EA866892-CC02-4F50-8AC8-C5EBAE075A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7860" y="823913"/>
                  <a:ext cx="304800" cy="171450"/>
                </a:xfrm>
                <a:custGeom>
                  <a:avLst/>
                  <a:gdLst/>
                  <a:ahLst/>
                  <a:cxnLst>
                    <a:cxn ang="0">
                      <a:pos x="78" y="174"/>
                    </a:cxn>
                    <a:cxn ang="0">
                      <a:pos x="110" y="166"/>
                    </a:cxn>
                    <a:cxn ang="0">
                      <a:pos x="110" y="174"/>
                    </a:cxn>
                    <a:cxn ang="0">
                      <a:pos x="176" y="164"/>
                    </a:cxn>
                    <a:cxn ang="0">
                      <a:pos x="174" y="172"/>
                    </a:cxn>
                    <a:cxn ang="0">
                      <a:pos x="118" y="192"/>
                    </a:cxn>
                    <a:cxn ang="0">
                      <a:pos x="108" y="204"/>
                    </a:cxn>
                    <a:cxn ang="0">
                      <a:pos x="148" y="238"/>
                    </a:cxn>
                    <a:cxn ang="0">
                      <a:pos x="224" y="268"/>
                    </a:cxn>
                    <a:cxn ang="0">
                      <a:pos x="260" y="262"/>
                    </a:cxn>
                    <a:cxn ang="0">
                      <a:pos x="268" y="252"/>
                    </a:cxn>
                    <a:cxn ang="0">
                      <a:pos x="288" y="260"/>
                    </a:cxn>
                    <a:cxn ang="0">
                      <a:pos x="282" y="242"/>
                    </a:cxn>
                    <a:cxn ang="0">
                      <a:pos x="296" y="246"/>
                    </a:cxn>
                    <a:cxn ang="0">
                      <a:pos x="322" y="266"/>
                    </a:cxn>
                    <a:cxn ang="0">
                      <a:pos x="328" y="246"/>
                    </a:cxn>
                    <a:cxn ang="0">
                      <a:pos x="340" y="234"/>
                    </a:cxn>
                    <a:cxn ang="0">
                      <a:pos x="364" y="230"/>
                    </a:cxn>
                    <a:cxn ang="0">
                      <a:pos x="426" y="192"/>
                    </a:cxn>
                    <a:cxn ang="0">
                      <a:pos x="480" y="174"/>
                    </a:cxn>
                    <a:cxn ang="0">
                      <a:pos x="472" y="166"/>
                    </a:cxn>
                    <a:cxn ang="0">
                      <a:pos x="438" y="146"/>
                    </a:cxn>
                    <a:cxn ang="0">
                      <a:pos x="400" y="146"/>
                    </a:cxn>
                    <a:cxn ang="0">
                      <a:pos x="390" y="142"/>
                    </a:cxn>
                    <a:cxn ang="0">
                      <a:pos x="400" y="122"/>
                    </a:cxn>
                    <a:cxn ang="0">
                      <a:pos x="382" y="108"/>
                    </a:cxn>
                    <a:cxn ang="0">
                      <a:pos x="376" y="86"/>
                    </a:cxn>
                    <a:cxn ang="0">
                      <a:pos x="352" y="78"/>
                    </a:cxn>
                    <a:cxn ang="0">
                      <a:pos x="328" y="90"/>
                    </a:cxn>
                    <a:cxn ang="0">
                      <a:pos x="326" y="102"/>
                    </a:cxn>
                    <a:cxn ang="0">
                      <a:pos x="306" y="92"/>
                    </a:cxn>
                    <a:cxn ang="0">
                      <a:pos x="306" y="74"/>
                    </a:cxn>
                    <a:cxn ang="0">
                      <a:pos x="274" y="68"/>
                    </a:cxn>
                    <a:cxn ang="0">
                      <a:pos x="192" y="20"/>
                    </a:cxn>
                    <a:cxn ang="0">
                      <a:pos x="134" y="0"/>
                    </a:cxn>
                    <a:cxn ang="0">
                      <a:pos x="100" y="4"/>
                    </a:cxn>
                    <a:cxn ang="0">
                      <a:pos x="112" y="20"/>
                    </a:cxn>
                    <a:cxn ang="0">
                      <a:pos x="98" y="28"/>
                    </a:cxn>
                    <a:cxn ang="0">
                      <a:pos x="66" y="32"/>
                    </a:cxn>
                    <a:cxn ang="0">
                      <a:pos x="54" y="54"/>
                    </a:cxn>
                    <a:cxn ang="0">
                      <a:pos x="26" y="76"/>
                    </a:cxn>
                    <a:cxn ang="0">
                      <a:pos x="18" y="92"/>
                    </a:cxn>
                    <a:cxn ang="0">
                      <a:pos x="50" y="100"/>
                    </a:cxn>
                    <a:cxn ang="0">
                      <a:pos x="90" y="104"/>
                    </a:cxn>
                    <a:cxn ang="0">
                      <a:pos x="72" y="112"/>
                    </a:cxn>
                    <a:cxn ang="0">
                      <a:pos x="4" y="106"/>
                    </a:cxn>
                    <a:cxn ang="0">
                      <a:pos x="2" y="116"/>
                    </a:cxn>
                    <a:cxn ang="0">
                      <a:pos x="32" y="148"/>
                    </a:cxn>
                  </a:cxnLst>
                  <a:rect l="0" t="0" r="r" b="b"/>
                  <a:pathLst>
                    <a:path w="480" h="270">
                      <a:moveTo>
                        <a:pt x="54" y="164"/>
                      </a:moveTo>
                      <a:lnTo>
                        <a:pt x="54" y="164"/>
                      </a:lnTo>
                      <a:lnTo>
                        <a:pt x="66" y="172"/>
                      </a:lnTo>
                      <a:lnTo>
                        <a:pt x="78" y="174"/>
                      </a:lnTo>
                      <a:lnTo>
                        <a:pt x="88" y="172"/>
                      </a:lnTo>
                      <a:lnTo>
                        <a:pt x="98" y="170"/>
                      </a:lnTo>
                      <a:lnTo>
                        <a:pt x="108" y="164"/>
                      </a:lnTo>
                      <a:lnTo>
                        <a:pt x="110" y="166"/>
                      </a:lnTo>
                      <a:lnTo>
                        <a:pt x="108" y="170"/>
                      </a:lnTo>
                      <a:lnTo>
                        <a:pt x="108" y="170"/>
                      </a:lnTo>
                      <a:lnTo>
                        <a:pt x="108" y="172"/>
                      </a:lnTo>
                      <a:lnTo>
                        <a:pt x="110" y="174"/>
                      </a:lnTo>
                      <a:lnTo>
                        <a:pt x="116" y="176"/>
                      </a:lnTo>
                      <a:lnTo>
                        <a:pt x="142" y="168"/>
                      </a:lnTo>
                      <a:lnTo>
                        <a:pt x="168" y="162"/>
                      </a:lnTo>
                      <a:lnTo>
                        <a:pt x="176" y="164"/>
                      </a:lnTo>
                      <a:lnTo>
                        <a:pt x="176" y="164"/>
                      </a:lnTo>
                      <a:lnTo>
                        <a:pt x="176" y="168"/>
                      </a:lnTo>
                      <a:lnTo>
                        <a:pt x="176" y="168"/>
                      </a:lnTo>
                      <a:lnTo>
                        <a:pt x="174" y="172"/>
                      </a:lnTo>
                      <a:lnTo>
                        <a:pt x="170" y="174"/>
                      </a:lnTo>
                      <a:lnTo>
                        <a:pt x="158" y="180"/>
                      </a:lnTo>
                      <a:lnTo>
                        <a:pt x="130" y="188"/>
                      </a:lnTo>
                      <a:lnTo>
                        <a:pt x="118" y="192"/>
                      </a:lnTo>
                      <a:lnTo>
                        <a:pt x="108" y="196"/>
                      </a:lnTo>
                      <a:lnTo>
                        <a:pt x="104" y="200"/>
                      </a:lnTo>
                      <a:lnTo>
                        <a:pt x="106" y="202"/>
                      </a:lnTo>
                      <a:lnTo>
                        <a:pt x="108" y="204"/>
                      </a:lnTo>
                      <a:lnTo>
                        <a:pt x="108" y="204"/>
                      </a:lnTo>
                      <a:lnTo>
                        <a:pt x="122" y="214"/>
                      </a:lnTo>
                      <a:lnTo>
                        <a:pt x="134" y="226"/>
                      </a:lnTo>
                      <a:lnTo>
                        <a:pt x="148" y="238"/>
                      </a:lnTo>
                      <a:lnTo>
                        <a:pt x="166" y="250"/>
                      </a:lnTo>
                      <a:lnTo>
                        <a:pt x="166" y="250"/>
                      </a:lnTo>
                      <a:lnTo>
                        <a:pt x="194" y="260"/>
                      </a:lnTo>
                      <a:lnTo>
                        <a:pt x="224" y="268"/>
                      </a:lnTo>
                      <a:lnTo>
                        <a:pt x="238" y="270"/>
                      </a:lnTo>
                      <a:lnTo>
                        <a:pt x="250" y="270"/>
                      </a:lnTo>
                      <a:lnTo>
                        <a:pt x="258" y="266"/>
                      </a:lnTo>
                      <a:lnTo>
                        <a:pt x="260" y="262"/>
                      </a:lnTo>
                      <a:lnTo>
                        <a:pt x="262" y="260"/>
                      </a:lnTo>
                      <a:lnTo>
                        <a:pt x="262" y="260"/>
                      </a:lnTo>
                      <a:lnTo>
                        <a:pt x="262" y="254"/>
                      </a:lnTo>
                      <a:lnTo>
                        <a:pt x="268" y="252"/>
                      </a:lnTo>
                      <a:lnTo>
                        <a:pt x="274" y="254"/>
                      </a:lnTo>
                      <a:lnTo>
                        <a:pt x="280" y="256"/>
                      </a:lnTo>
                      <a:lnTo>
                        <a:pt x="284" y="258"/>
                      </a:lnTo>
                      <a:lnTo>
                        <a:pt x="288" y="260"/>
                      </a:lnTo>
                      <a:lnTo>
                        <a:pt x="290" y="258"/>
                      </a:lnTo>
                      <a:lnTo>
                        <a:pt x="286" y="250"/>
                      </a:lnTo>
                      <a:lnTo>
                        <a:pt x="286" y="250"/>
                      </a:lnTo>
                      <a:lnTo>
                        <a:pt x="282" y="242"/>
                      </a:lnTo>
                      <a:lnTo>
                        <a:pt x="280" y="236"/>
                      </a:lnTo>
                      <a:lnTo>
                        <a:pt x="282" y="236"/>
                      </a:lnTo>
                      <a:lnTo>
                        <a:pt x="284" y="236"/>
                      </a:lnTo>
                      <a:lnTo>
                        <a:pt x="296" y="246"/>
                      </a:lnTo>
                      <a:lnTo>
                        <a:pt x="314" y="260"/>
                      </a:lnTo>
                      <a:lnTo>
                        <a:pt x="314" y="260"/>
                      </a:lnTo>
                      <a:lnTo>
                        <a:pt x="320" y="266"/>
                      </a:lnTo>
                      <a:lnTo>
                        <a:pt x="322" y="266"/>
                      </a:lnTo>
                      <a:lnTo>
                        <a:pt x="324" y="266"/>
                      </a:lnTo>
                      <a:lnTo>
                        <a:pt x="326" y="262"/>
                      </a:lnTo>
                      <a:lnTo>
                        <a:pt x="328" y="254"/>
                      </a:lnTo>
                      <a:lnTo>
                        <a:pt x="328" y="246"/>
                      </a:lnTo>
                      <a:lnTo>
                        <a:pt x="330" y="240"/>
                      </a:lnTo>
                      <a:lnTo>
                        <a:pt x="334" y="236"/>
                      </a:lnTo>
                      <a:lnTo>
                        <a:pt x="336" y="234"/>
                      </a:lnTo>
                      <a:lnTo>
                        <a:pt x="340" y="234"/>
                      </a:lnTo>
                      <a:lnTo>
                        <a:pt x="340" y="234"/>
                      </a:lnTo>
                      <a:lnTo>
                        <a:pt x="348" y="236"/>
                      </a:lnTo>
                      <a:lnTo>
                        <a:pt x="356" y="234"/>
                      </a:lnTo>
                      <a:lnTo>
                        <a:pt x="364" y="230"/>
                      </a:lnTo>
                      <a:lnTo>
                        <a:pt x="374" y="226"/>
                      </a:lnTo>
                      <a:lnTo>
                        <a:pt x="414" y="198"/>
                      </a:lnTo>
                      <a:lnTo>
                        <a:pt x="414" y="198"/>
                      </a:lnTo>
                      <a:lnTo>
                        <a:pt x="426" y="192"/>
                      </a:lnTo>
                      <a:lnTo>
                        <a:pt x="440" y="186"/>
                      </a:lnTo>
                      <a:lnTo>
                        <a:pt x="466" y="180"/>
                      </a:lnTo>
                      <a:lnTo>
                        <a:pt x="474" y="176"/>
                      </a:lnTo>
                      <a:lnTo>
                        <a:pt x="480" y="174"/>
                      </a:lnTo>
                      <a:lnTo>
                        <a:pt x="480" y="172"/>
                      </a:lnTo>
                      <a:lnTo>
                        <a:pt x="480" y="170"/>
                      </a:lnTo>
                      <a:lnTo>
                        <a:pt x="472" y="166"/>
                      </a:lnTo>
                      <a:lnTo>
                        <a:pt x="472" y="166"/>
                      </a:lnTo>
                      <a:lnTo>
                        <a:pt x="464" y="162"/>
                      </a:lnTo>
                      <a:lnTo>
                        <a:pt x="456" y="156"/>
                      </a:lnTo>
                      <a:lnTo>
                        <a:pt x="444" y="148"/>
                      </a:lnTo>
                      <a:lnTo>
                        <a:pt x="438" y="146"/>
                      </a:lnTo>
                      <a:lnTo>
                        <a:pt x="430" y="144"/>
                      </a:lnTo>
                      <a:lnTo>
                        <a:pt x="418" y="144"/>
                      </a:lnTo>
                      <a:lnTo>
                        <a:pt x="400" y="146"/>
                      </a:lnTo>
                      <a:lnTo>
                        <a:pt x="400" y="146"/>
                      </a:lnTo>
                      <a:lnTo>
                        <a:pt x="388" y="148"/>
                      </a:lnTo>
                      <a:lnTo>
                        <a:pt x="384" y="148"/>
                      </a:lnTo>
                      <a:lnTo>
                        <a:pt x="386" y="146"/>
                      </a:lnTo>
                      <a:lnTo>
                        <a:pt x="390" y="142"/>
                      </a:lnTo>
                      <a:lnTo>
                        <a:pt x="396" y="136"/>
                      </a:lnTo>
                      <a:lnTo>
                        <a:pt x="400" y="130"/>
                      </a:lnTo>
                      <a:lnTo>
                        <a:pt x="400" y="126"/>
                      </a:lnTo>
                      <a:lnTo>
                        <a:pt x="400" y="122"/>
                      </a:lnTo>
                      <a:lnTo>
                        <a:pt x="396" y="118"/>
                      </a:lnTo>
                      <a:lnTo>
                        <a:pt x="392" y="114"/>
                      </a:lnTo>
                      <a:lnTo>
                        <a:pt x="392" y="114"/>
                      </a:lnTo>
                      <a:lnTo>
                        <a:pt x="382" y="108"/>
                      </a:lnTo>
                      <a:lnTo>
                        <a:pt x="376" y="100"/>
                      </a:lnTo>
                      <a:lnTo>
                        <a:pt x="376" y="96"/>
                      </a:lnTo>
                      <a:lnTo>
                        <a:pt x="376" y="90"/>
                      </a:lnTo>
                      <a:lnTo>
                        <a:pt x="376" y="86"/>
                      </a:lnTo>
                      <a:lnTo>
                        <a:pt x="372" y="82"/>
                      </a:lnTo>
                      <a:lnTo>
                        <a:pt x="366" y="80"/>
                      </a:lnTo>
                      <a:lnTo>
                        <a:pt x="352" y="78"/>
                      </a:lnTo>
                      <a:lnTo>
                        <a:pt x="352" y="78"/>
                      </a:lnTo>
                      <a:lnTo>
                        <a:pt x="338" y="76"/>
                      </a:lnTo>
                      <a:lnTo>
                        <a:pt x="330" y="80"/>
                      </a:lnTo>
                      <a:lnTo>
                        <a:pt x="328" y="84"/>
                      </a:lnTo>
                      <a:lnTo>
                        <a:pt x="328" y="90"/>
                      </a:lnTo>
                      <a:lnTo>
                        <a:pt x="330" y="96"/>
                      </a:lnTo>
                      <a:lnTo>
                        <a:pt x="328" y="100"/>
                      </a:lnTo>
                      <a:lnTo>
                        <a:pt x="328" y="102"/>
                      </a:lnTo>
                      <a:lnTo>
                        <a:pt x="326" y="102"/>
                      </a:lnTo>
                      <a:lnTo>
                        <a:pt x="318" y="100"/>
                      </a:lnTo>
                      <a:lnTo>
                        <a:pt x="318" y="100"/>
                      </a:lnTo>
                      <a:lnTo>
                        <a:pt x="310" y="96"/>
                      </a:lnTo>
                      <a:lnTo>
                        <a:pt x="306" y="92"/>
                      </a:lnTo>
                      <a:lnTo>
                        <a:pt x="306" y="86"/>
                      </a:lnTo>
                      <a:lnTo>
                        <a:pt x="308" y="82"/>
                      </a:lnTo>
                      <a:lnTo>
                        <a:pt x="308" y="78"/>
                      </a:lnTo>
                      <a:lnTo>
                        <a:pt x="306" y="74"/>
                      </a:lnTo>
                      <a:lnTo>
                        <a:pt x="298" y="70"/>
                      </a:lnTo>
                      <a:lnTo>
                        <a:pt x="284" y="70"/>
                      </a:lnTo>
                      <a:lnTo>
                        <a:pt x="284" y="70"/>
                      </a:lnTo>
                      <a:lnTo>
                        <a:pt x="274" y="68"/>
                      </a:lnTo>
                      <a:lnTo>
                        <a:pt x="266" y="66"/>
                      </a:lnTo>
                      <a:lnTo>
                        <a:pt x="248" y="56"/>
                      </a:lnTo>
                      <a:lnTo>
                        <a:pt x="212" y="32"/>
                      </a:lnTo>
                      <a:lnTo>
                        <a:pt x="192" y="20"/>
                      </a:lnTo>
                      <a:lnTo>
                        <a:pt x="170" y="10"/>
                      </a:lnTo>
                      <a:lnTo>
                        <a:pt x="158" y="6"/>
                      </a:lnTo>
                      <a:lnTo>
                        <a:pt x="146" y="2"/>
                      </a:lnTo>
                      <a:lnTo>
                        <a:pt x="134" y="0"/>
                      </a:lnTo>
                      <a:lnTo>
                        <a:pt x="118" y="0"/>
                      </a:lnTo>
                      <a:lnTo>
                        <a:pt x="118" y="0"/>
                      </a:lnTo>
                      <a:lnTo>
                        <a:pt x="104" y="2"/>
                      </a:lnTo>
                      <a:lnTo>
                        <a:pt x="100" y="4"/>
                      </a:lnTo>
                      <a:lnTo>
                        <a:pt x="100" y="6"/>
                      </a:lnTo>
                      <a:lnTo>
                        <a:pt x="102" y="10"/>
                      </a:lnTo>
                      <a:lnTo>
                        <a:pt x="108" y="14"/>
                      </a:lnTo>
                      <a:lnTo>
                        <a:pt x="112" y="20"/>
                      </a:lnTo>
                      <a:lnTo>
                        <a:pt x="114" y="24"/>
                      </a:lnTo>
                      <a:lnTo>
                        <a:pt x="114" y="24"/>
                      </a:lnTo>
                      <a:lnTo>
                        <a:pt x="110" y="26"/>
                      </a:lnTo>
                      <a:lnTo>
                        <a:pt x="98" y="28"/>
                      </a:lnTo>
                      <a:lnTo>
                        <a:pt x="98" y="28"/>
                      </a:lnTo>
                      <a:lnTo>
                        <a:pt x="82" y="28"/>
                      </a:lnTo>
                      <a:lnTo>
                        <a:pt x="70" y="30"/>
                      </a:lnTo>
                      <a:lnTo>
                        <a:pt x="66" y="32"/>
                      </a:lnTo>
                      <a:lnTo>
                        <a:pt x="64" y="36"/>
                      </a:lnTo>
                      <a:lnTo>
                        <a:pt x="58" y="48"/>
                      </a:lnTo>
                      <a:lnTo>
                        <a:pt x="58" y="48"/>
                      </a:lnTo>
                      <a:lnTo>
                        <a:pt x="54" y="54"/>
                      </a:lnTo>
                      <a:lnTo>
                        <a:pt x="52" y="58"/>
                      </a:lnTo>
                      <a:lnTo>
                        <a:pt x="42" y="64"/>
                      </a:lnTo>
                      <a:lnTo>
                        <a:pt x="32" y="72"/>
                      </a:lnTo>
                      <a:lnTo>
                        <a:pt x="26" y="76"/>
                      </a:lnTo>
                      <a:lnTo>
                        <a:pt x="20" y="84"/>
                      </a:lnTo>
                      <a:lnTo>
                        <a:pt x="20" y="84"/>
                      </a:lnTo>
                      <a:lnTo>
                        <a:pt x="18" y="88"/>
                      </a:lnTo>
                      <a:lnTo>
                        <a:pt x="18" y="92"/>
                      </a:lnTo>
                      <a:lnTo>
                        <a:pt x="20" y="94"/>
                      </a:lnTo>
                      <a:lnTo>
                        <a:pt x="24" y="96"/>
                      </a:lnTo>
                      <a:lnTo>
                        <a:pt x="34" y="98"/>
                      </a:lnTo>
                      <a:lnTo>
                        <a:pt x="50" y="100"/>
                      </a:lnTo>
                      <a:lnTo>
                        <a:pt x="78" y="102"/>
                      </a:lnTo>
                      <a:lnTo>
                        <a:pt x="86" y="102"/>
                      </a:lnTo>
                      <a:lnTo>
                        <a:pt x="88" y="102"/>
                      </a:lnTo>
                      <a:lnTo>
                        <a:pt x="90" y="104"/>
                      </a:lnTo>
                      <a:lnTo>
                        <a:pt x="90" y="104"/>
                      </a:lnTo>
                      <a:lnTo>
                        <a:pt x="86" y="108"/>
                      </a:lnTo>
                      <a:lnTo>
                        <a:pt x="82" y="110"/>
                      </a:lnTo>
                      <a:lnTo>
                        <a:pt x="72" y="112"/>
                      </a:lnTo>
                      <a:lnTo>
                        <a:pt x="58" y="112"/>
                      </a:lnTo>
                      <a:lnTo>
                        <a:pt x="42" y="110"/>
                      </a:lnTo>
                      <a:lnTo>
                        <a:pt x="14" y="106"/>
                      </a:lnTo>
                      <a:lnTo>
                        <a:pt x="4" y="106"/>
                      </a:lnTo>
                      <a:lnTo>
                        <a:pt x="2" y="108"/>
                      </a:lnTo>
                      <a:lnTo>
                        <a:pt x="0" y="110"/>
                      </a:lnTo>
                      <a:lnTo>
                        <a:pt x="0" y="110"/>
                      </a:lnTo>
                      <a:lnTo>
                        <a:pt x="2" y="116"/>
                      </a:lnTo>
                      <a:lnTo>
                        <a:pt x="4" y="122"/>
                      </a:lnTo>
                      <a:lnTo>
                        <a:pt x="8" y="128"/>
                      </a:lnTo>
                      <a:lnTo>
                        <a:pt x="14" y="134"/>
                      </a:lnTo>
                      <a:lnTo>
                        <a:pt x="32" y="148"/>
                      </a:lnTo>
                      <a:lnTo>
                        <a:pt x="54" y="164"/>
                      </a:lnTo>
                      <a:lnTo>
                        <a:pt x="54" y="16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91" name="Freeform 6088">
                  <a:extLst>
                    <a:ext uri="{FF2B5EF4-FFF2-40B4-BE49-F238E27FC236}">
                      <a16:creationId xmlns:a16="http://schemas.microsoft.com/office/drawing/2014/main" id="{FB289C77-B529-4B94-BE3C-8D4AF37BE1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0580" y="1206183"/>
                  <a:ext cx="734060" cy="539750"/>
                </a:xfrm>
                <a:custGeom>
                  <a:avLst/>
                  <a:gdLst/>
                  <a:ahLst/>
                  <a:cxnLst>
                    <a:cxn ang="0">
                      <a:pos x="1088" y="504"/>
                    </a:cxn>
                    <a:cxn ang="0">
                      <a:pos x="1060" y="480"/>
                    </a:cxn>
                    <a:cxn ang="0">
                      <a:pos x="960" y="426"/>
                    </a:cxn>
                    <a:cxn ang="0">
                      <a:pos x="890" y="396"/>
                    </a:cxn>
                    <a:cxn ang="0">
                      <a:pos x="890" y="348"/>
                    </a:cxn>
                    <a:cxn ang="0">
                      <a:pos x="926" y="328"/>
                    </a:cxn>
                    <a:cxn ang="0">
                      <a:pos x="926" y="298"/>
                    </a:cxn>
                    <a:cxn ang="0">
                      <a:pos x="846" y="276"/>
                    </a:cxn>
                    <a:cxn ang="0">
                      <a:pos x="844" y="232"/>
                    </a:cxn>
                    <a:cxn ang="0">
                      <a:pos x="782" y="204"/>
                    </a:cxn>
                    <a:cxn ang="0">
                      <a:pos x="706" y="174"/>
                    </a:cxn>
                    <a:cxn ang="0">
                      <a:pos x="642" y="134"/>
                    </a:cxn>
                    <a:cxn ang="0">
                      <a:pos x="560" y="98"/>
                    </a:cxn>
                    <a:cxn ang="0">
                      <a:pos x="462" y="112"/>
                    </a:cxn>
                    <a:cxn ang="0">
                      <a:pos x="404" y="110"/>
                    </a:cxn>
                    <a:cxn ang="0">
                      <a:pos x="388" y="90"/>
                    </a:cxn>
                    <a:cxn ang="0">
                      <a:pos x="352" y="18"/>
                    </a:cxn>
                    <a:cxn ang="0">
                      <a:pos x="200" y="50"/>
                    </a:cxn>
                    <a:cxn ang="0">
                      <a:pos x="174" y="84"/>
                    </a:cxn>
                    <a:cxn ang="0">
                      <a:pos x="168" y="138"/>
                    </a:cxn>
                    <a:cxn ang="0">
                      <a:pos x="222" y="180"/>
                    </a:cxn>
                    <a:cxn ang="0">
                      <a:pos x="150" y="122"/>
                    </a:cxn>
                    <a:cxn ang="0">
                      <a:pos x="188" y="26"/>
                    </a:cxn>
                    <a:cxn ang="0">
                      <a:pos x="116" y="8"/>
                    </a:cxn>
                    <a:cxn ang="0">
                      <a:pos x="18" y="90"/>
                    </a:cxn>
                    <a:cxn ang="0">
                      <a:pos x="58" y="196"/>
                    </a:cxn>
                    <a:cxn ang="0">
                      <a:pos x="40" y="216"/>
                    </a:cxn>
                    <a:cxn ang="0">
                      <a:pos x="118" y="270"/>
                    </a:cxn>
                    <a:cxn ang="0">
                      <a:pos x="234" y="288"/>
                    </a:cxn>
                    <a:cxn ang="0">
                      <a:pos x="336" y="290"/>
                    </a:cxn>
                    <a:cxn ang="0">
                      <a:pos x="358" y="284"/>
                    </a:cxn>
                    <a:cxn ang="0">
                      <a:pos x="462" y="284"/>
                    </a:cxn>
                    <a:cxn ang="0">
                      <a:pos x="498" y="274"/>
                    </a:cxn>
                    <a:cxn ang="0">
                      <a:pos x="580" y="338"/>
                    </a:cxn>
                    <a:cxn ang="0">
                      <a:pos x="538" y="376"/>
                    </a:cxn>
                    <a:cxn ang="0">
                      <a:pos x="654" y="402"/>
                    </a:cxn>
                    <a:cxn ang="0">
                      <a:pos x="712" y="474"/>
                    </a:cxn>
                    <a:cxn ang="0">
                      <a:pos x="640" y="558"/>
                    </a:cxn>
                    <a:cxn ang="0">
                      <a:pos x="628" y="608"/>
                    </a:cxn>
                    <a:cxn ang="0">
                      <a:pos x="510" y="624"/>
                    </a:cxn>
                    <a:cxn ang="0">
                      <a:pos x="514" y="688"/>
                    </a:cxn>
                    <a:cxn ang="0">
                      <a:pos x="616" y="688"/>
                    </a:cxn>
                    <a:cxn ang="0">
                      <a:pos x="656" y="674"/>
                    </a:cxn>
                    <a:cxn ang="0">
                      <a:pos x="736" y="724"/>
                    </a:cxn>
                    <a:cxn ang="0">
                      <a:pos x="732" y="752"/>
                    </a:cxn>
                    <a:cxn ang="0">
                      <a:pos x="854" y="818"/>
                    </a:cxn>
                    <a:cxn ang="0">
                      <a:pos x="966" y="822"/>
                    </a:cxn>
                    <a:cxn ang="0">
                      <a:pos x="854" y="724"/>
                    </a:cxn>
                    <a:cxn ang="0">
                      <a:pos x="908" y="744"/>
                    </a:cxn>
                    <a:cxn ang="0">
                      <a:pos x="1012" y="814"/>
                    </a:cxn>
                    <a:cxn ang="0">
                      <a:pos x="1018" y="766"/>
                    </a:cxn>
                    <a:cxn ang="0">
                      <a:pos x="1022" y="724"/>
                    </a:cxn>
                    <a:cxn ang="0">
                      <a:pos x="1000" y="694"/>
                    </a:cxn>
                    <a:cxn ang="0">
                      <a:pos x="942" y="632"/>
                    </a:cxn>
                    <a:cxn ang="0">
                      <a:pos x="890" y="586"/>
                    </a:cxn>
                    <a:cxn ang="0">
                      <a:pos x="902" y="544"/>
                    </a:cxn>
                    <a:cxn ang="0">
                      <a:pos x="942" y="544"/>
                    </a:cxn>
                    <a:cxn ang="0">
                      <a:pos x="990" y="580"/>
                    </a:cxn>
                    <a:cxn ang="0">
                      <a:pos x="1070" y="648"/>
                    </a:cxn>
                    <a:cxn ang="0">
                      <a:pos x="1102" y="596"/>
                    </a:cxn>
                    <a:cxn ang="0">
                      <a:pos x="1128" y="568"/>
                    </a:cxn>
                    <a:cxn ang="0">
                      <a:pos x="1148" y="514"/>
                    </a:cxn>
                  </a:cxnLst>
                  <a:rect l="0" t="0" r="r" b="b"/>
                  <a:pathLst>
                    <a:path w="1156" h="850">
                      <a:moveTo>
                        <a:pt x="1148" y="514"/>
                      </a:moveTo>
                      <a:lnTo>
                        <a:pt x="1148" y="514"/>
                      </a:lnTo>
                      <a:lnTo>
                        <a:pt x="1144" y="506"/>
                      </a:lnTo>
                      <a:lnTo>
                        <a:pt x="1138" y="502"/>
                      </a:lnTo>
                      <a:lnTo>
                        <a:pt x="1134" y="500"/>
                      </a:lnTo>
                      <a:lnTo>
                        <a:pt x="1128" y="498"/>
                      </a:lnTo>
                      <a:lnTo>
                        <a:pt x="1116" y="498"/>
                      </a:lnTo>
                      <a:lnTo>
                        <a:pt x="1106" y="502"/>
                      </a:lnTo>
                      <a:lnTo>
                        <a:pt x="1096" y="506"/>
                      </a:lnTo>
                      <a:lnTo>
                        <a:pt x="1090" y="508"/>
                      </a:lnTo>
                      <a:lnTo>
                        <a:pt x="1088" y="506"/>
                      </a:lnTo>
                      <a:lnTo>
                        <a:pt x="1088" y="504"/>
                      </a:lnTo>
                      <a:lnTo>
                        <a:pt x="1090" y="496"/>
                      </a:lnTo>
                      <a:lnTo>
                        <a:pt x="1090" y="496"/>
                      </a:lnTo>
                      <a:lnTo>
                        <a:pt x="1092" y="486"/>
                      </a:lnTo>
                      <a:lnTo>
                        <a:pt x="1090" y="482"/>
                      </a:lnTo>
                      <a:lnTo>
                        <a:pt x="1088" y="480"/>
                      </a:lnTo>
                      <a:lnTo>
                        <a:pt x="1084" y="480"/>
                      </a:lnTo>
                      <a:lnTo>
                        <a:pt x="1076" y="482"/>
                      </a:lnTo>
                      <a:lnTo>
                        <a:pt x="1062" y="486"/>
                      </a:lnTo>
                      <a:lnTo>
                        <a:pt x="1060" y="486"/>
                      </a:lnTo>
                      <a:lnTo>
                        <a:pt x="1058" y="486"/>
                      </a:lnTo>
                      <a:lnTo>
                        <a:pt x="1060" y="480"/>
                      </a:lnTo>
                      <a:lnTo>
                        <a:pt x="1060" y="480"/>
                      </a:lnTo>
                      <a:lnTo>
                        <a:pt x="1062" y="472"/>
                      </a:lnTo>
                      <a:lnTo>
                        <a:pt x="1062" y="466"/>
                      </a:lnTo>
                      <a:lnTo>
                        <a:pt x="1060" y="462"/>
                      </a:lnTo>
                      <a:lnTo>
                        <a:pt x="1056" y="458"/>
                      </a:lnTo>
                      <a:lnTo>
                        <a:pt x="1042" y="450"/>
                      </a:lnTo>
                      <a:lnTo>
                        <a:pt x="1022" y="436"/>
                      </a:lnTo>
                      <a:lnTo>
                        <a:pt x="1022" y="436"/>
                      </a:lnTo>
                      <a:lnTo>
                        <a:pt x="1010" y="430"/>
                      </a:lnTo>
                      <a:lnTo>
                        <a:pt x="996" y="428"/>
                      </a:lnTo>
                      <a:lnTo>
                        <a:pt x="984" y="426"/>
                      </a:lnTo>
                      <a:lnTo>
                        <a:pt x="970" y="426"/>
                      </a:lnTo>
                      <a:lnTo>
                        <a:pt x="960" y="426"/>
                      </a:lnTo>
                      <a:lnTo>
                        <a:pt x="950" y="424"/>
                      </a:lnTo>
                      <a:lnTo>
                        <a:pt x="944" y="420"/>
                      </a:lnTo>
                      <a:lnTo>
                        <a:pt x="942" y="416"/>
                      </a:lnTo>
                      <a:lnTo>
                        <a:pt x="940" y="410"/>
                      </a:lnTo>
                      <a:lnTo>
                        <a:pt x="940" y="410"/>
                      </a:lnTo>
                      <a:lnTo>
                        <a:pt x="938" y="406"/>
                      </a:lnTo>
                      <a:lnTo>
                        <a:pt x="936" y="402"/>
                      </a:lnTo>
                      <a:lnTo>
                        <a:pt x="930" y="400"/>
                      </a:lnTo>
                      <a:lnTo>
                        <a:pt x="926" y="398"/>
                      </a:lnTo>
                      <a:lnTo>
                        <a:pt x="914" y="396"/>
                      </a:lnTo>
                      <a:lnTo>
                        <a:pt x="900" y="396"/>
                      </a:lnTo>
                      <a:lnTo>
                        <a:pt x="890" y="396"/>
                      </a:lnTo>
                      <a:lnTo>
                        <a:pt x="882" y="394"/>
                      </a:lnTo>
                      <a:lnTo>
                        <a:pt x="882" y="394"/>
                      </a:lnTo>
                      <a:lnTo>
                        <a:pt x="882" y="392"/>
                      </a:lnTo>
                      <a:lnTo>
                        <a:pt x="890" y="384"/>
                      </a:lnTo>
                      <a:lnTo>
                        <a:pt x="890" y="384"/>
                      </a:lnTo>
                      <a:lnTo>
                        <a:pt x="896" y="380"/>
                      </a:lnTo>
                      <a:lnTo>
                        <a:pt x="900" y="376"/>
                      </a:lnTo>
                      <a:lnTo>
                        <a:pt x="902" y="372"/>
                      </a:lnTo>
                      <a:lnTo>
                        <a:pt x="902" y="366"/>
                      </a:lnTo>
                      <a:lnTo>
                        <a:pt x="900" y="360"/>
                      </a:lnTo>
                      <a:lnTo>
                        <a:pt x="894" y="352"/>
                      </a:lnTo>
                      <a:lnTo>
                        <a:pt x="890" y="348"/>
                      </a:lnTo>
                      <a:lnTo>
                        <a:pt x="888" y="344"/>
                      </a:lnTo>
                      <a:lnTo>
                        <a:pt x="890" y="344"/>
                      </a:lnTo>
                      <a:lnTo>
                        <a:pt x="902" y="346"/>
                      </a:lnTo>
                      <a:lnTo>
                        <a:pt x="902" y="346"/>
                      </a:lnTo>
                      <a:lnTo>
                        <a:pt x="916" y="348"/>
                      </a:lnTo>
                      <a:lnTo>
                        <a:pt x="928" y="348"/>
                      </a:lnTo>
                      <a:lnTo>
                        <a:pt x="938" y="346"/>
                      </a:lnTo>
                      <a:lnTo>
                        <a:pt x="942" y="342"/>
                      </a:lnTo>
                      <a:lnTo>
                        <a:pt x="944" y="340"/>
                      </a:lnTo>
                      <a:lnTo>
                        <a:pt x="944" y="338"/>
                      </a:lnTo>
                      <a:lnTo>
                        <a:pt x="938" y="334"/>
                      </a:lnTo>
                      <a:lnTo>
                        <a:pt x="926" y="328"/>
                      </a:lnTo>
                      <a:lnTo>
                        <a:pt x="906" y="324"/>
                      </a:lnTo>
                      <a:lnTo>
                        <a:pt x="906" y="324"/>
                      </a:lnTo>
                      <a:lnTo>
                        <a:pt x="876" y="318"/>
                      </a:lnTo>
                      <a:lnTo>
                        <a:pt x="876" y="318"/>
                      </a:lnTo>
                      <a:lnTo>
                        <a:pt x="876" y="318"/>
                      </a:lnTo>
                      <a:lnTo>
                        <a:pt x="880" y="316"/>
                      </a:lnTo>
                      <a:lnTo>
                        <a:pt x="900" y="312"/>
                      </a:lnTo>
                      <a:lnTo>
                        <a:pt x="910" y="308"/>
                      </a:lnTo>
                      <a:lnTo>
                        <a:pt x="920" y="304"/>
                      </a:lnTo>
                      <a:lnTo>
                        <a:pt x="920" y="304"/>
                      </a:lnTo>
                      <a:lnTo>
                        <a:pt x="924" y="300"/>
                      </a:lnTo>
                      <a:lnTo>
                        <a:pt x="926" y="298"/>
                      </a:lnTo>
                      <a:lnTo>
                        <a:pt x="926" y="294"/>
                      </a:lnTo>
                      <a:lnTo>
                        <a:pt x="926" y="290"/>
                      </a:lnTo>
                      <a:lnTo>
                        <a:pt x="922" y="284"/>
                      </a:lnTo>
                      <a:lnTo>
                        <a:pt x="914" y="278"/>
                      </a:lnTo>
                      <a:lnTo>
                        <a:pt x="904" y="272"/>
                      </a:lnTo>
                      <a:lnTo>
                        <a:pt x="894" y="268"/>
                      </a:lnTo>
                      <a:lnTo>
                        <a:pt x="886" y="268"/>
                      </a:lnTo>
                      <a:lnTo>
                        <a:pt x="880" y="270"/>
                      </a:lnTo>
                      <a:lnTo>
                        <a:pt x="880" y="270"/>
                      </a:lnTo>
                      <a:lnTo>
                        <a:pt x="872" y="274"/>
                      </a:lnTo>
                      <a:lnTo>
                        <a:pt x="864" y="276"/>
                      </a:lnTo>
                      <a:lnTo>
                        <a:pt x="846" y="276"/>
                      </a:lnTo>
                      <a:lnTo>
                        <a:pt x="842" y="276"/>
                      </a:lnTo>
                      <a:lnTo>
                        <a:pt x="840" y="274"/>
                      </a:lnTo>
                      <a:lnTo>
                        <a:pt x="842" y="270"/>
                      </a:lnTo>
                      <a:lnTo>
                        <a:pt x="852" y="266"/>
                      </a:lnTo>
                      <a:lnTo>
                        <a:pt x="852" y="266"/>
                      </a:lnTo>
                      <a:lnTo>
                        <a:pt x="874" y="258"/>
                      </a:lnTo>
                      <a:lnTo>
                        <a:pt x="880" y="254"/>
                      </a:lnTo>
                      <a:lnTo>
                        <a:pt x="882" y="252"/>
                      </a:lnTo>
                      <a:lnTo>
                        <a:pt x="878" y="248"/>
                      </a:lnTo>
                      <a:lnTo>
                        <a:pt x="872" y="244"/>
                      </a:lnTo>
                      <a:lnTo>
                        <a:pt x="844" y="232"/>
                      </a:lnTo>
                      <a:lnTo>
                        <a:pt x="844" y="232"/>
                      </a:lnTo>
                      <a:lnTo>
                        <a:pt x="826" y="226"/>
                      </a:lnTo>
                      <a:lnTo>
                        <a:pt x="812" y="226"/>
                      </a:lnTo>
                      <a:lnTo>
                        <a:pt x="802" y="228"/>
                      </a:lnTo>
                      <a:lnTo>
                        <a:pt x="794" y="230"/>
                      </a:lnTo>
                      <a:lnTo>
                        <a:pt x="790" y="232"/>
                      </a:lnTo>
                      <a:lnTo>
                        <a:pt x="786" y="232"/>
                      </a:lnTo>
                      <a:lnTo>
                        <a:pt x="786" y="230"/>
                      </a:lnTo>
                      <a:lnTo>
                        <a:pt x="786" y="220"/>
                      </a:lnTo>
                      <a:lnTo>
                        <a:pt x="786" y="220"/>
                      </a:lnTo>
                      <a:lnTo>
                        <a:pt x="788" y="210"/>
                      </a:lnTo>
                      <a:lnTo>
                        <a:pt x="784" y="206"/>
                      </a:lnTo>
                      <a:lnTo>
                        <a:pt x="782" y="204"/>
                      </a:lnTo>
                      <a:lnTo>
                        <a:pt x="776" y="204"/>
                      </a:lnTo>
                      <a:lnTo>
                        <a:pt x="768" y="206"/>
                      </a:lnTo>
                      <a:lnTo>
                        <a:pt x="764" y="204"/>
                      </a:lnTo>
                      <a:lnTo>
                        <a:pt x="762" y="198"/>
                      </a:lnTo>
                      <a:lnTo>
                        <a:pt x="762" y="198"/>
                      </a:lnTo>
                      <a:lnTo>
                        <a:pt x="762" y="190"/>
                      </a:lnTo>
                      <a:lnTo>
                        <a:pt x="756" y="184"/>
                      </a:lnTo>
                      <a:lnTo>
                        <a:pt x="748" y="178"/>
                      </a:lnTo>
                      <a:lnTo>
                        <a:pt x="738" y="174"/>
                      </a:lnTo>
                      <a:lnTo>
                        <a:pt x="728" y="170"/>
                      </a:lnTo>
                      <a:lnTo>
                        <a:pt x="716" y="170"/>
                      </a:lnTo>
                      <a:lnTo>
                        <a:pt x="706" y="174"/>
                      </a:lnTo>
                      <a:lnTo>
                        <a:pt x="696" y="182"/>
                      </a:lnTo>
                      <a:lnTo>
                        <a:pt x="696" y="182"/>
                      </a:lnTo>
                      <a:lnTo>
                        <a:pt x="686" y="190"/>
                      </a:lnTo>
                      <a:lnTo>
                        <a:pt x="680" y="192"/>
                      </a:lnTo>
                      <a:lnTo>
                        <a:pt x="674" y="190"/>
                      </a:lnTo>
                      <a:lnTo>
                        <a:pt x="670" y="186"/>
                      </a:lnTo>
                      <a:lnTo>
                        <a:pt x="666" y="178"/>
                      </a:lnTo>
                      <a:lnTo>
                        <a:pt x="662" y="168"/>
                      </a:lnTo>
                      <a:lnTo>
                        <a:pt x="652" y="148"/>
                      </a:lnTo>
                      <a:lnTo>
                        <a:pt x="652" y="148"/>
                      </a:lnTo>
                      <a:lnTo>
                        <a:pt x="648" y="138"/>
                      </a:lnTo>
                      <a:lnTo>
                        <a:pt x="642" y="134"/>
                      </a:lnTo>
                      <a:lnTo>
                        <a:pt x="638" y="134"/>
                      </a:lnTo>
                      <a:lnTo>
                        <a:pt x="632" y="134"/>
                      </a:lnTo>
                      <a:lnTo>
                        <a:pt x="628" y="134"/>
                      </a:lnTo>
                      <a:lnTo>
                        <a:pt x="622" y="134"/>
                      </a:lnTo>
                      <a:lnTo>
                        <a:pt x="616" y="128"/>
                      </a:lnTo>
                      <a:lnTo>
                        <a:pt x="610" y="120"/>
                      </a:lnTo>
                      <a:lnTo>
                        <a:pt x="610" y="120"/>
                      </a:lnTo>
                      <a:lnTo>
                        <a:pt x="602" y="110"/>
                      </a:lnTo>
                      <a:lnTo>
                        <a:pt x="594" y="104"/>
                      </a:lnTo>
                      <a:lnTo>
                        <a:pt x="586" y="100"/>
                      </a:lnTo>
                      <a:lnTo>
                        <a:pt x="578" y="100"/>
                      </a:lnTo>
                      <a:lnTo>
                        <a:pt x="560" y="98"/>
                      </a:lnTo>
                      <a:lnTo>
                        <a:pt x="552" y="98"/>
                      </a:lnTo>
                      <a:lnTo>
                        <a:pt x="546" y="94"/>
                      </a:lnTo>
                      <a:lnTo>
                        <a:pt x="546" y="94"/>
                      </a:lnTo>
                      <a:lnTo>
                        <a:pt x="528" y="88"/>
                      </a:lnTo>
                      <a:lnTo>
                        <a:pt x="518" y="84"/>
                      </a:lnTo>
                      <a:lnTo>
                        <a:pt x="506" y="82"/>
                      </a:lnTo>
                      <a:lnTo>
                        <a:pt x="494" y="84"/>
                      </a:lnTo>
                      <a:lnTo>
                        <a:pt x="484" y="88"/>
                      </a:lnTo>
                      <a:lnTo>
                        <a:pt x="474" y="94"/>
                      </a:lnTo>
                      <a:lnTo>
                        <a:pt x="466" y="106"/>
                      </a:lnTo>
                      <a:lnTo>
                        <a:pt x="466" y="106"/>
                      </a:lnTo>
                      <a:lnTo>
                        <a:pt x="462" y="112"/>
                      </a:lnTo>
                      <a:lnTo>
                        <a:pt x="460" y="116"/>
                      </a:lnTo>
                      <a:lnTo>
                        <a:pt x="456" y="118"/>
                      </a:lnTo>
                      <a:lnTo>
                        <a:pt x="452" y="118"/>
                      </a:lnTo>
                      <a:lnTo>
                        <a:pt x="444" y="116"/>
                      </a:lnTo>
                      <a:lnTo>
                        <a:pt x="436" y="112"/>
                      </a:lnTo>
                      <a:lnTo>
                        <a:pt x="428" y="106"/>
                      </a:lnTo>
                      <a:lnTo>
                        <a:pt x="420" y="104"/>
                      </a:lnTo>
                      <a:lnTo>
                        <a:pt x="416" y="102"/>
                      </a:lnTo>
                      <a:lnTo>
                        <a:pt x="412" y="104"/>
                      </a:lnTo>
                      <a:lnTo>
                        <a:pt x="408" y="106"/>
                      </a:lnTo>
                      <a:lnTo>
                        <a:pt x="404" y="110"/>
                      </a:lnTo>
                      <a:lnTo>
                        <a:pt x="404" y="110"/>
                      </a:lnTo>
                      <a:lnTo>
                        <a:pt x="396" y="118"/>
                      </a:lnTo>
                      <a:lnTo>
                        <a:pt x="388" y="124"/>
                      </a:lnTo>
                      <a:lnTo>
                        <a:pt x="380" y="130"/>
                      </a:lnTo>
                      <a:lnTo>
                        <a:pt x="376" y="132"/>
                      </a:lnTo>
                      <a:lnTo>
                        <a:pt x="372" y="132"/>
                      </a:lnTo>
                      <a:lnTo>
                        <a:pt x="370" y="130"/>
                      </a:lnTo>
                      <a:lnTo>
                        <a:pt x="372" y="126"/>
                      </a:lnTo>
                      <a:lnTo>
                        <a:pt x="376" y="118"/>
                      </a:lnTo>
                      <a:lnTo>
                        <a:pt x="376" y="118"/>
                      </a:lnTo>
                      <a:lnTo>
                        <a:pt x="382" y="110"/>
                      </a:lnTo>
                      <a:lnTo>
                        <a:pt x="386" y="100"/>
                      </a:lnTo>
                      <a:lnTo>
                        <a:pt x="388" y="90"/>
                      </a:lnTo>
                      <a:lnTo>
                        <a:pt x="388" y="82"/>
                      </a:lnTo>
                      <a:lnTo>
                        <a:pt x="386" y="72"/>
                      </a:lnTo>
                      <a:lnTo>
                        <a:pt x="382" y="64"/>
                      </a:lnTo>
                      <a:lnTo>
                        <a:pt x="376" y="58"/>
                      </a:lnTo>
                      <a:lnTo>
                        <a:pt x="368" y="54"/>
                      </a:lnTo>
                      <a:lnTo>
                        <a:pt x="368" y="54"/>
                      </a:lnTo>
                      <a:lnTo>
                        <a:pt x="360" y="50"/>
                      </a:lnTo>
                      <a:lnTo>
                        <a:pt x="356" y="44"/>
                      </a:lnTo>
                      <a:lnTo>
                        <a:pt x="356" y="38"/>
                      </a:lnTo>
                      <a:lnTo>
                        <a:pt x="354" y="32"/>
                      </a:lnTo>
                      <a:lnTo>
                        <a:pt x="354" y="24"/>
                      </a:lnTo>
                      <a:lnTo>
                        <a:pt x="352" y="18"/>
                      </a:lnTo>
                      <a:lnTo>
                        <a:pt x="346" y="14"/>
                      </a:lnTo>
                      <a:lnTo>
                        <a:pt x="338" y="12"/>
                      </a:lnTo>
                      <a:lnTo>
                        <a:pt x="338" y="12"/>
                      </a:lnTo>
                      <a:lnTo>
                        <a:pt x="326" y="10"/>
                      </a:lnTo>
                      <a:lnTo>
                        <a:pt x="306" y="12"/>
                      </a:lnTo>
                      <a:lnTo>
                        <a:pt x="282" y="14"/>
                      </a:lnTo>
                      <a:lnTo>
                        <a:pt x="260" y="18"/>
                      </a:lnTo>
                      <a:lnTo>
                        <a:pt x="236" y="24"/>
                      </a:lnTo>
                      <a:lnTo>
                        <a:pt x="218" y="32"/>
                      </a:lnTo>
                      <a:lnTo>
                        <a:pt x="210" y="38"/>
                      </a:lnTo>
                      <a:lnTo>
                        <a:pt x="204" y="44"/>
                      </a:lnTo>
                      <a:lnTo>
                        <a:pt x="200" y="50"/>
                      </a:lnTo>
                      <a:lnTo>
                        <a:pt x="198" y="56"/>
                      </a:lnTo>
                      <a:lnTo>
                        <a:pt x="198" y="56"/>
                      </a:lnTo>
                      <a:lnTo>
                        <a:pt x="198" y="62"/>
                      </a:lnTo>
                      <a:lnTo>
                        <a:pt x="196" y="66"/>
                      </a:lnTo>
                      <a:lnTo>
                        <a:pt x="194" y="68"/>
                      </a:lnTo>
                      <a:lnTo>
                        <a:pt x="192" y="70"/>
                      </a:lnTo>
                      <a:lnTo>
                        <a:pt x="186" y="72"/>
                      </a:lnTo>
                      <a:lnTo>
                        <a:pt x="178" y="70"/>
                      </a:lnTo>
                      <a:lnTo>
                        <a:pt x="174" y="72"/>
                      </a:lnTo>
                      <a:lnTo>
                        <a:pt x="172" y="72"/>
                      </a:lnTo>
                      <a:lnTo>
                        <a:pt x="172" y="74"/>
                      </a:lnTo>
                      <a:lnTo>
                        <a:pt x="174" y="84"/>
                      </a:lnTo>
                      <a:lnTo>
                        <a:pt x="182" y="100"/>
                      </a:lnTo>
                      <a:lnTo>
                        <a:pt x="182" y="100"/>
                      </a:lnTo>
                      <a:lnTo>
                        <a:pt x="188" y="116"/>
                      </a:lnTo>
                      <a:lnTo>
                        <a:pt x="188" y="122"/>
                      </a:lnTo>
                      <a:lnTo>
                        <a:pt x="188" y="126"/>
                      </a:lnTo>
                      <a:lnTo>
                        <a:pt x="188" y="130"/>
                      </a:lnTo>
                      <a:lnTo>
                        <a:pt x="184" y="130"/>
                      </a:lnTo>
                      <a:lnTo>
                        <a:pt x="180" y="132"/>
                      </a:lnTo>
                      <a:lnTo>
                        <a:pt x="174" y="132"/>
                      </a:lnTo>
                      <a:lnTo>
                        <a:pt x="168" y="134"/>
                      </a:lnTo>
                      <a:lnTo>
                        <a:pt x="168" y="136"/>
                      </a:lnTo>
                      <a:lnTo>
                        <a:pt x="168" y="138"/>
                      </a:lnTo>
                      <a:lnTo>
                        <a:pt x="174" y="148"/>
                      </a:lnTo>
                      <a:lnTo>
                        <a:pt x="174" y="148"/>
                      </a:lnTo>
                      <a:lnTo>
                        <a:pt x="184" y="158"/>
                      </a:lnTo>
                      <a:lnTo>
                        <a:pt x="192" y="164"/>
                      </a:lnTo>
                      <a:lnTo>
                        <a:pt x="200" y="166"/>
                      </a:lnTo>
                      <a:lnTo>
                        <a:pt x="208" y="166"/>
                      </a:lnTo>
                      <a:lnTo>
                        <a:pt x="212" y="164"/>
                      </a:lnTo>
                      <a:lnTo>
                        <a:pt x="218" y="166"/>
                      </a:lnTo>
                      <a:lnTo>
                        <a:pt x="220" y="168"/>
                      </a:lnTo>
                      <a:lnTo>
                        <a:pt x="222" y="176"/>
                      </a:lnTo>
                      <a:lnTo>
                        <a:pt x="222" y="176"/>
                      </a:lnTo>
                      <a:lnTo>
                        <a:pt x="222" y="180"/>
                      </a:lnTo>
                      <a:lnTo>
                        <a:pt x="220" y="182"/>
                      </a:lnTo>
                      <a:lnTo>
                        <a:pt x="216" y="184"/>
                      </a:lnTo>
                      <a:lnTo>
                        <a:pt x="210" y="184"/>
                      </a:lnTo>
                      <a:lnTo>
                        <a:pt x="196" y="180"/>
                      </a:lnTo>
                      <a:lnTo>
                        <a:pt x="180" y="174"/>
                      </a:lnTo>
                      <a:lnTo>
                        <a:pt x="164" y="164"/>
                      </a:lnTo>
                      <a:lnTo>
                        <a:pt x="152" y="150"/>
                      </a:lnTo>
                      <a:lnTo>
                        <a:pt x="148" y="144"/>
                      </a:lnTo>
                      <a:lnTo>
                        <a:pt x="146" y="136"/>
                      </a:lnTo>
                      <a:lnTo>
                        <a:pt x="146" y="130"/>
                      </a:lnTo>
                      <a:lnTo>
                        <a:pt x="150" y="122"/>
                      </a:lnTo>
                      <a:lnTo>
                        <a:pt x="150" y="122"/>
                      </a:lnTo>
                      <a:lnTo>
                        <a:pt x="154" y="110"/>
                      </a:lnTo>
                      <a:lnTo>
                        <a:pt x="152" y="102"/>
                      </a:lnTo>
                      <a:lnTo>
                        <a:pt x="150" y="98"/>
                      </a:lnTo>
                      <a:lnTo>
                        <a:pt x="144" y="94"/>
                      </a:lnTo>
                      <a:lnTo>
                        <a:pt x="142" y="90"/>
                      </a:lnTo>
                      <a:lnTo>
                        <a:pt x="140" y="84"/>
                      </a:lnTo>
                      <a:lnTo>
                        <a:pt x="144" y="74"/>
                      </a:lnTo>
                      <a:lnTo>
                        <a:pt x="154" y="60"/>
                      </a:lnTo>
                      <a:lnTo>
                        <a:pt x="154" y="60"/>
                      </a:lnTo>
                      <a:lnTo>
                        <a:pt x="168" y="44"/>
                      </a:lnTo>
                      <a:lnTo>
                        <a:pt x="180" y="34"/>
                      </a:lnTo>
                      <a:lnTo>
                        <a:pt x="188" y="26"/>
                      </a:lnTo>
                      <a:lnTo>
                        <a:pt x="198" y="22"/>
                      </a:lnTo>
                      <a:lnTo>
                        <a:pt x="208" y="16"/>
                      </a:lnTo>
                      <a:lnTo>
                        <a:pt x="212" y="14"/>
                      </a:lnTo>
                      <a:lnTo>
                        <a:pt x="212" y="10"/>
                      </a:lnTo>
                      <a:lnTo>
                        <a:pt x="212" y="10"/>
                      </a:lnTo>
                      <a:lnTo>
                        <a:pt x="212" y="8"/>
                      </a:lnTo>
                      <a:lnTo>
                        <a:pt x="210" y="6"/>
                      </a:lnTo>
                      <a:lnTo>
                        <a:pt x="200" y="2"/>
                      </a:lnTo>
                      <a:lnTo>
                        <a:pt x="184" y="0"/>
                      </a:lnTo>
                      <a:lnTo>
                        <a:pt x="164" y="0"/>
                      </a:lnTo>
                      <a:lnTo>
                        <a:pt x="140" y="2"/>
                      </a:lnTo>
                      <a:lnTo>
                        <a:pt x="116" y="8"/>
                      </a:lnTo>
                      <a:lnTo>
                        <a:pt x="92" y="16"/>
                      </a:lnTo>
                      <a:lnTo>
                        <a:pt x="70" y="26"/>
                      </a:lnTo>
                      <a:lnTo>
                        <a:pt x="70" y="26"/>
                      </a:lnTo>
                      <a:lnTo>
                        <a:pt x="52" y="38"/>
                      </a:lnTo>
                      <a:lnTo>
                        <a:pt x="40" y="48"/>
                      </a:lnTo>
                      <a:lnTo>
                        <a:pt x="34" y="56"/>
                      </a:lnTo>
                      <a:lnTo>
                        <a:pt x="32" y="62"/>
                      </a:lnTo>
                      <a:lnTo>
                        <a:pt x="30" y="72"/>
                      </a:lnTo>
                      <a:lnTo>
                        <a:pt x="28" y="76"/>
                      </a:lnTo>
                      <a:lnTo>
                        <a:pt x="24" y="82"/>
                      </a:lnTo>
                      <a:lnTo>
                        <a:pt x="24" y="82"/>
                      </a:lnTo>
                      <a:lnTo>
                        <a:pt x="18" y="90"/>
                      </a:lnTo>
                      <a:lnTo>
                        <a:pt x="14" y="96"/>
                      </a:lnTo>
                      <a:lnTo>
                        <a:pt x="8" y="112"/>
                      </a:lnTo>
                      <a:lnTo>
                        <a:pt x="4" y="132"/>
                      </a:lnTo>
                      <a:lnTo>
                        <a:pt x="2" y="156"/>
                      </a:lnTo>
                      <a:lnTo>
                        <a:pt x="2" y="156"/>
                      </a:lnTo>
                      <a:lnTo>
                        <a:pt x="0" y="168"/>
                      </a:lnTo>
                      <a:lnTo>
                        <a:pt x="0" y="178"/>
                      </a:lnTo>
                      <a:lnTo>
                        <a:pt x="2" y="184"/>
                      </a:lnTo>
                      <a:lnTo>
                        <a:pt x="8" y="188"/>
                      </a:lnTo>
                      <a:lnTo>
                        <a:pt x="14" y="192"/>
                      </a:lnTo>
                      <a:lnTo>
                        <a:pt x="26" y="194"/>
                      </a:lnTo>
                      <a:lnTo>
                        <a:pt x="58" y="196"/>
                      </a:lnTo>
                      <a:lnTo>
                        <a:pt x="58" y="196"/>
                      </a:lnTo>
                      <a:lnTo>
                        <a:pt x="76" y="200"/>
                      </a:lnTo>
                      <a:lnTo>
                        <a:pt x="90" y="202"/>
                      </a:lnTo>
                      <a:lnTo>
                        <a:pt x="100" y="208"/>
                      </a:lnTo>
                      <a:lnTo>
                        <a:pt x="106" y="212"/>
                      </a:lnTo>
                      <a:lnTo>
                        <a:pt x="106" y="216"/>
                      </a:lnTo>
                      <a:lnTo>
                        <a:pt x="102" y="218"/>
                      </a:lnTo>
                      <a:lnTo>
                        <a:pt x="94" y="220"/>
                      </a:lnTo>
                      <a:lnTo>
                        <a:pt x="78" y="218"/>
                      </a:lnTo>
                      <a:lnTo>
                        <a:pt x="78" y="218"/>
                      </a:lnTo>
                      <a:lnTo>
                        <a:pt x="50" y="216"/>
                      </a:lnTo>
                      <a:lnTo>
                        <a:pt x="40" y="216"/>
                      </a:lnTo>
                      <a:lnTo>
                        <a:pt x="32" y="218"/>
                      </a:lnTo>
                      <a:lnTo>
                        <a:pt x="32" y="220"/>
                      </a:lnTo>
                      <a:lnTo>
                        <a:pt x="30" y="222"/>
                      </a:lnTo>
                      <a:lnTo>
                        <a:pt x="32" y="228"/>
                      </a:lnTo>
                      <a:lnTo>
                        <a:pt x="40" y="238"/>
                      </a:lnTo>
                      <a:lnTo>
                        <a:pt x="52" y="250"/>
                      </a:lnTo>
                      <a:lnTo>
                        <a:pt x="52" y="250"/>
                      </a:lnTo>
                      <a:lnTo>
                        <a:pt x="68" y="262"/>
                      </a:lnTo>
                      <a:lnTo>
                        <a:pt x="82" y="268"/>
                      </a:lnTo>
                      <a:lnTo>
                        <a:pt x="94" y="270"/>
                      </a:lnTo>
                      <a:lnTo>
                        <a:pt x="106" y="270"/>
                      </a:lnTo>
                      <a:lnTo>
                        <a:pt x="118" y="270"/>
                      </a:lnTo>
                      <a:lnTo>
                        <a:pt x="130" y="270"/>
                      </a:lnTo>
                      <a:lnTo>
                        <a:pt x="142" y="272"/>
                      </a:lnTo>
                      <a:lnTo>
                        <a:pt x="152" y="278"/>
                      </a:lnTo>
                      <a:lnTo>
                        <a:pt x="152" y="278"/>
                      </a:lnTo>
                      <a:lnTo>
                        <a:pt x="162" y="284"/>
                      </a:lnTo>
                      <a:lnTo>
                        <a:pt x="174" y="288"/>
                      </a:lnTo>
                      <a:lnTo>
                        <a:pt x="184" y="290"/>
                      </a:lnTo>
                      <a:lnTo>
                        <a:pt x="194" y="288"/>
                      </a:lnTo>
                      <a:lnTo>
                        <a:pt x="208" y="286"/>
                      </a:lnTo>
                      <a:lnTo>
                        <a:pt x="218" y="286"/>
                      </a:lnTo>
                      <a:lnTo>
                        <a:pt x="218" y="286"/>
                      </a:lnTo>
                      <a:lnTo>
                        <a:pt x="234" y="288"/>
                      </a:lnTo>
                      <a:lnTo>
                        <a:pt x="244" y="290"/>
                      </a:lnTo>
                      <a:lnTo>
                        <a:pt x="260" y="290"/>
                      </a:lnTo>
                      <a:lnTo>
                        <a:pt x="268" y="290"/>
                      </a:lnTo>
                      <a:lnTo>
                        <a:pt x="276" y="290"/>
                      </a:lnTo>
                      <a:lnTo>
                        <a:pt x="288" y="292"/>
                      </a:lnTo>
                      <a:lnTo>
                        <a:pt x="304" y="296"/>
                      </a:lnTo>
                      <a:lnTo>
                        <a:pt x="304" y="296"/>
                      </a:lnTo>
                      <a:lnTo>
                        <a:pt x="316" y="300"/>
                      </a:lnTo>
                      <a:lnTo>
                        <a:pt x="324" y="298"/>
                      </a:lnTo>
                      <a:lnTo>
                        <a:pt x="328" y="296"/>
                      </a:lnTo>
                      <a:lnTo>
                        <a:pt x="332" y="292"/>
                      </a:lnTo>
                      <a:lnTo>
                        <a:pt x="336" y="290"/>
                      </a:lnTo>
                      <a:lnTo>
                        <a:pt x="340" y="290"/>
                      </a:lnTo>
                      <a:lnTo>
                        <a:pt x="346" y="292"/>
                      </a:lnTo>
                      <a:lnTo>
                        <a:pt x="356" y="298"/>
                      </a:lnTo>
                      <a:lnTo>
                        <a:pt x="356" y="298"/>
                      </a:lnTo>
                      <a:lnTo>
                        <a:pt x="374" y="312"/>
                      </a:lnTo>
                      <a:lnTo>
                        <a:pt x="378" y="314"/>
                      </a:lnTo>
                      <a:lnTo>
                        <a:pt x="380" y="312"/>
                      </a:lnTo>
                      <a:lnTo>
                        <a:pt x="378" y="310"/>
                      </a:lnTo>
                      <a:lnTo>
                        <a:pt x="376" y="306"/>
                      </a:lnTo>
                      <a:lnTo>
                        <a:pt x="362" y="292"/>
                      </a:lnTo>
                      <a:lnTo>
                        <a:pt x="362" y="292"/>
                      </a:lnTo>
                      <a:lnTo>
                        <a:pt x="358" y="284"/>
                      </a:lnTo>
                      <a:lnTo>
                        <a:pt x="358" y="282"/>
                      </a:lnTo>
                      <a:lnTo>
                        <a:pt x="360" y="282"/>
                      </a:lnTo>
                      <a:lnTo>
                        <a:pt x="368" y="282"/>
                      </a:lnTo>
                      <a:lnTo>
                        <a:pt x="380" y="284"/>
                      </a:lnTo>
                      <a:lnTo>
                        <a:pt x="410" y="290"/>
                      </a:lnTo>
                      <a:lnTo>
                        <a:pt x="444" y="296"/>
                      </a:lnTo>
                      <a:lnTo>
                        <a:pt x="444" y="296"/>
                      </a:lnTo>
                      <a:lnTo>
                        <a:pt x="450" y="296"/>
                      </a:lnTo>
                      <a:lnTo>
                        <a:pt x="454" y="296"/>
                      </a:lnTo>
                      <a:lnTo>
                        <a:pt x="458" y="294"/>
                      </a:lnTo>
                      <a:lnTo>
                        <a:pt x="460" y="290"/>
                      </a:lnTo>
                      <a:lnTo>
                        <a:pt x="462" y="284"/>
                      </a:lnTo>
                      <a:lnTo>
                        <a:pt x="460" y="274"/>
                      </a:lnTo>
                      <a:lnTo>
                        <a:pt x="456" y="260"/>
                      </a:lnTo>
                      <a:lnTo>
                        <a:pt x="456" y="260"/>
                      </a:lnTo>
                      <a:lnTo>
                        <a:pt x="458" y="260"/>
                      </a:lnTo>
                      <a:lnTo>
                        <a:pt x="464" y="264"/>
                      </a:lnTo>
                      <a:lnTo>
                        <a:pt x="464" y="264"/>
                      </a:lnTo>
                      <a:lnTo>
                        <a:pt x="472" y="270"/>
                      </a:lnTo>
                      <a:lnTo>
                        <a:pt x="478" y="272"/>
                      </a:lnTo>
                      <a:lnTo>
                        <a:pt x="484" y="272"/>
                      </a:lnTo>
                      <a:lnTo>
                        <a:pt x="490" y="272"/>
                      </a:lnTo>
                      <a:lnTo>
                        <a:pt x="494" y="272"/>
                      </a:lnTo>
                      <a:lnTo>
                        <a:pt x="498" y="274"/>
                      </a:lnTo>
                      <a:lnTo>
                        <a:pt x="500" y="278"/>
                      </a:lnTo>
                      <a:lnTo>
                        <a:pt x="502" y="286"/>
                      </a:lnTo>
                      <a:lnTo>
                        <a:pt x="502" y="286"/>
                      </a:lnTo>
                      <a:lnTo>
                        <a:pt x="502" y="294"/>
                      </a:lnTo>
                      <a:lnTo>
                        <a:pt x="504" y="302"/>
                      </a:lnTo>
                      <a:lnTo>
                        <a:pt x="508" y="306"/>
                      </a:lnTo>
                      <a:lnTo>
                        <a:pt x="512" y="310"/>
                      </a:lnTo>
                      <a:lnTo>
                        <a:pt x="528" y="318"/>
                      </a:lnTo>
                      <a:lnTo>
                        <a:pt x="556" y="326"/>
                      </a:lnTo>
                      <a:lnTo>
                        <a:pt x="556" y="326"/>
                      </a:lnTo>
                      <a:lnTo>
                        <a:pt x="570" y="332"/>
                      </a:lnTo>
                      <a:lnTo>
                        <a:pt x="580" y="338"/>
                      </a:lnTo>
                      <a:lnTo>
                        <a:pt x="584" y="344"/>
                      </a:lnTo>
                      <a:lnTo>
                        <a:pt x="584" y="348"/>
                      </a:lnTo>
                      <a:lnTo>
                        <a:pt x="580" y="352"/>
                      </a:lnTo>
                      <a:lnTo>
                        <a:pt x="574" y="356"/>
                      </a:lnTo>
                      <a:lnTo>
                        <a:pt x="568" y="356"/>
                      </a:lnTo>
                      <a:lnTo>
                        <a:pt x="558" y="356"/>
                      </a:lnTo>
                      <a:lnTo>
                        <a:pt x="558" y="356"/>
                      </a:lnTo>
                      <a:lnTo>
                        <a:pt x="550" y="358"/>
                      </a:lnTo>
                      <a:lnTo>
                        <a:pt x="542" y="360"/>
                      </a:lnTo>
                      <a:lnTo>
                        <a:pt x="538" y="366"/>
                      </a:lnTo>
                      <a:lnTo>
                        <a:pt x="538" y="370"/>
                      </a:lnTo>
                      <a:lnTo>
                        <a:pt x="538" y="376"/>
                      </a:lnTo>
                      <a:lnTo>
                        <a:pt x="544" y="378"/>
                      </a:lnTo>
                      <a:lnTo>
                        <a:pt x="550" y="380"/>
                      </a:lnTo>
                      <a:lnTo>
                        <a:pt x="562" y="378"/>
                      </a:lnTo>
                      <a:lnTo>
                        <a:pt x="562" y="378"/>
                      </a:lnTo>
                      <a:lnTo>
                        <a:pt x="576" y="374"/>
                      </a:lnTo>
                      <a:lnTo>
                        <a:pt x="590" y="374"/>
                      </a:lnTo>
                      <a:lnTo>
                        <a:pt x="606" y="376"/>
                      </a:lnTo>
                      <a:lnTo>
                        <a:pt x="618" y="380"/>
                      </a:lnTo>
                      <a:lnTo>
                        <a:pt x="630" y="384"/>
                      </a:lnTo>
                      <a:lnTo>
                        <a:pt x="640" y="390"/>
                      </a:lnTo>
                      <a:lnTo>
                        <a:pt x="648" y="396"/>
                      </a:lnTo>
                      <a:lnTo>
                        <a:pt x="654" y="402"/>
                      </a:lnTo>
                      <a:lnTo>
                        <a:pt x="654" y="402"/>
                      </a:lnTo>
                      <a:lnTo>
                        <a:pt x="656" y="406"/>
                      </a:lnTo>
                      <a:lnTo>
                        <a:pt x="662" y="408"/>
                      </a:lnTo>
                      <a:lnTo>
                        <a:pt x="674" y="414"/>
                      </a:lnTo>
                      <a:lnTo>
                        <a:pt x="682" y="416"/>
                      </a:lnTo>
                      <a:lnTo>
                        <a:pt x="688" y="420"/>
                      </a:lnTo>
                      <a:lnTo>
                        <a:pt x="692" y="428"/>
                      </a:lnTo>
                      <a:lnTo>
                        <a:pt x="696" y="438"/>
                      </a:lnTo>
                      <a:lnTo>
                        <a:pt x="696" y="438"/>
                      </a:lnTo>
                      <a:lnTo>
                        <a:pt x="698" y="450"/>
                      </a:lnTo>
                      <a:lnTo>
                        <a:pt x="704" y="460"/>
                      </a:lnTo>
                      <a:lnTo>
                        <a:pt x="712" y="474"/>
                      </a:lnTo>
                      <a:lnTo>
                        <a:pt x="716" y="480"/>
                      </a:lnTo>
                      <a:lnTo>
                        <a:pt x="718" y="486"/>
                      </a:lnTo>
                      <a:lnTo>
                        <a:pt x="716" y="490"/>
                      </a:lnTo>
                      <a:lnTo>
                        <a:pt x="710" y="494"/>
                      </a:lnTo>
                      <a:lnTo>
                        <a:pt x="710" y="494"/>
                      </a:lnTo>
                      <a:lnTo>
                        <a:pt x="696" y="504"/>
                      </a:lnTo>
                      <a:lnTo>
                        <a:pt x="682" y="518"/>
                      </a:lnTo>
                      <a:lnTo>
                        <a:pt x="668" y="532"/>
                      </a:lnTo>
                      <a:lnTo>
                        <a:pt x="648" y="548"/>
                      </a:lnTo>
                      <a:lnTo>
                        <a:pt x="648" y="548"/>
                      </a:lnTo>
                      <a:lnTo>
                        <a:pt x="644" y="554"/>
                      </a:lnTo>
                      <a:lnTo>
                        <a:pt x="640" y="558"/>
                      </a:lnTo>
                      <a:lnTo>
                        <a:pt x="640" y="564"/>
                      </a:lnTo>
                      <a:lnTo>
                        <a:pt x="642" y="570"/>
                      </a:lnTo>
                      <a:lnTo>
                        <a:pt x="646" y="580"/>
                      </a:lnTo>
                      <a:lnTo>
                        <a:pt x="654" y="590"/>
                      </a:lnTo>
                      <a:lnTo>
                        <a:pt x="666" y="604"/>
                      </a:lnTo>
                      <a:lnTo>
                        <a:pt x="666" y="606"/>
                      </a:lnTo>
                      <a:lnTo>
                        <a:pt x="666" y="608"/>
                      </a:lnTo>
                      <a:lnTo>
                        <a:pt x="656" y="606"/>
                      </a:lnTo>
                      <a:lnTo>
                        <a:pt x="656" y="606"/>
                      </a:lnTo>
                      <a:lnTo>
                        <a:pt x="646" y="602"/>
                      </a:lnTo>
                      <a:lnTo>
                        <a:pt x="636" y="604"/>
                      </a:lnTo>
                      <a:lnTo>
                        <a:pt x="628" y="608"/>
                      </a:lnTo>
                      <a:lnTo>
                        <a:pt x="620" y="612"/>
                      </a:lnTo>
                      <a:lnTo>
                        <a:pt x="608" y="616"/>
                      </a:lnTo>
                      <a:lnTo>
                        <a:pt x="594" y="620"/>
                      </a:lnTo>
                      <a:lnTo>
                        <a:pt x="576" y="620"/>
                      </a:lnTo>
                      <a:lnTo>
                        <a:pt x="552" y="614"/>
                      </a:lnTo>
                      <a:lnTo>
                        <a:pt x="552" y="614"/>
                      </a:lnTo>
                      <a:lnTo>
                        <a:pt x="528" y="610"/>
                      </a:lnTo>
                      <a:lnTo>
                        <a:pt x="516" y="608"/>
                      </a:lnTo>
                      <a:lnTo>
                        <a:pt x="510" y="608"/>
                      </a:lnTo>
                      <a:lnTo>
                        <a:pt x="510" y="612"/>
                      </a:lnTo>
                      <a:lnTo>
                        <a:pt x="510" y="616"/>
                      </a:lnTo>
                      <a:lnTo>
                        <a:pt x="510" y="624"/>
                      </a:lnTo>
                      <a:lnTo>
                        <a:pt x="504" y="630"/>
                      </a:lnTo>
                      <a:lnTo>
                        <a:pt x="494" y="638"/>
                      </a:lnTo>
                      <a:lnTo>
                        <a:pt x="494" y="638"/>
                      </a:lnTo>
                      <a:lnTo>
                        <a:pt x="488" y="642"/>
                      </a:lnTo>
                      <a:lnTo>
                        <a:pt x="484" y="648"/>
                      </a:lnTo>
                      <a:lnTo>
                        <a:pt x="482" y="652"/>
                      </a:lnTo>
                      <a:lnTo>
                        <a:pt x="480" y="658"/>
                      </a:lnTo>
                      <a:lnTo>
                        <a:pt x="482" y="664"/>
                      </a:lnTo>
                      <a:lnTo>
                        <a:pt x="484" y="668"/>
                      </a:lnTo>
                      <a:lnTo>
                        <a:pt x="494" y="678"/>
                      </a:lnTo>
                      <a:lnTo>
                        <a:pt x="506" y="686"/>
                      </a:lnTo>
                      <a:lnTo>
                        <a:pt x="514" y="688"/>
                      </a:lnTo>
                      <a:lnTo>
                        <a:pt x="522" y="690"/>
                      </a:lnTo>
                      <a:lnTo>
                        <a:pt x="532" y="690"/>
                      </a:lnTo>
                      <a:lnTo>
                        <a:pt x="542" y="690"/>
                      </a:lnTo>
                      <a:lnTo>
                        <a:pt x="552" y="686"/>
                      </a:lnTo>
                      <a:lnTo>
                        <a:pt x="562" y="682"/>
                      </a:lnTo>
                      <a:lnTo>
                        <a:pt x="562" y="682"/>
                      </a:lnTo>
                      <a:lnTo>
                        <a:pt x="580" y="676"/>
                      </a:lnTo>
                      <a:lnTo>
                        <a:pt x="592" y="674"/>
                      </a:lnTo>
                      <a:lnTo>
                        <a:pt x="602" y="676"/>
                      </a:lnTo>
                      <a:lnTo>
                        <a:pt x="608" y="680"/>
                      </a:lnTo>
                      <a:lnTo>
                        <a:pt x="612" y="684"/>
                      </a:lnTo>
                      <a:lnTo>
                        <a:pt x="616" y="688"/>
                      </a:lnTo>
                      <a:lnTo>
                        <a:pt x="622" y="686"/>
                      </a:lnTo>
                      <a:lnTo>
                        <a:pt x="628" y="680"/>
                      </a:lnTo>
                      <a:lnTo>
                        <a:pt x="628" y="680"/>
                      </a:lnTo>
                      <a:lnTo>
                        <a:pt x="634" y="674"/>
                      </a:lnTo>
                      <a:lnTo>
                        <a:pt x="640" y="674"/>
                      </a:lnTo>
                      <a:lnTo>
                        <a:pt x="642" y="676"/>
                      </a:lnTo>
                      <a:lnTo>
                        <a:pt x="644" y="680"/>
                      </a:lnTo>
                      <a:lnTo>
                        <a:pt x="646" y="688"/>
                      </a:lnTo>
                      <a:lnTo>
                        <a:pt x="648" y="690"/>
                      </a:lnTo>
                      <a:lnTo>
                        <a:pt x="650" y="686"/>
                      </a:lnTo>
                      <a:lnTo>
                        <a:pt x="650" y="686"/>
                      </a:lnTo>
                      <a:lnTo>
                        <a:pt x="656" y="674"/>
                      </a:lnTo>
                      <a:lnTo>
                        <a:pt x="658" y="672"/>
                      </a:lnTo>
                      <a:lnTo>
                        <a:pt x="662" y="672"/>
                      </a:lnTo>
                      <a:lnTo>
                        <a:pt x="666" y="674"/>
                      </a:lnTo>
                      <a:lnTo>
                        <a:pt x="672" y="680"/>
                      </a:lnTo>
                      <a:lnTo>
                        <a:pt x="696" y="706"/>
                      </a:lnTo>
                      <a:lnTo>
                        <a:pt x="696" y="706"/>
                      </a:lnTo>
                      <a:lnTo>
                        <a:pt x="708" y="720"/>
                      </a:lnTo>
                      <a:lnTo>
                        <a:pt x="718" y="726"/>
                      </a:lnTo>
                      <a:lnTo>
                        <a:pt x="724" y="728"/>
                      </a:lnTo>
                      <a:lnTo>
                        <a:pt x="728" y="728"/>
                      </a:lnTo>
                      <a:lnTo>
                        <a:pt x="732" y="726"/>
                      </a:lnTo>
                      <a:lnTo>
                        <a:pt x="736" y="724"/>
                      </a:lnTo>
                      <a:lnTo>
                        <a:pt x="742" y="726"/>
                      </a:lnTo>
                      <a:lnTo>
                        <a:pt x="750" y="732"/>
                      </a:lnTo>
                      <a:lnTo>
                        <a:pt x="750" y="732"/>
                      </a:lnTo>
                      <a:lnTo>
                        <a:pt x="756" y="738"/>
                      </a:lnTo>
                      <a:lnTo>
                        <a:pt x="756" y="740"/>
                      </a:lnTo>
                      <a:lnTo>
                        <a:pt x="754" y="742"/>
                      </a:lnTo>
                      <a:lnTo>
                        <a:pt x="750" y="744"/>
                      </a:lnTo>
                      <a:lnTo>
                        <a:pt x="742" y="744"/>
                      </a:lnTo>
                      <a:lnTo>
                        <a:pt x="734" y="746"/>
                      </a:lnTo>
                      <a:lnTo>
                        <a:pt x="732" y="748"/>
                      </a:lnTo>
                      <a:lnTo>
                        <a:pt x="732" y="750"/>
                      </a:lnTo>
                      <a:lnTo>
                        <a:pt x="732" y="752"/>
                      </a:lnTo>
                      <a:lnTo>
                        <a:pt x="734" y="756"/>
                      </a:lnTo>
                      <a:lnTo>
                        <a:pt x="744" y="768"/>
                      </a:lnTo>
                      <a:lnTo>
                        <a:pt x="744" y="768"/>
                      </a:lnTo>
                      <a:lnTo>
                        <a:pt x="754" y="776"/>
                      </a:lnTo>
                      <a:lnTo>
                        <a:pt x="766" y="780"/>
                      </a:lnTo>
                      <a:lnTo>
                        <a:pt x="792" y="788"/>
                      </a:lnTo>
                      <a:lnTo>
                        <a:pt x="816" y="794"/>
                      </a:lnTo>
                      <a:lnTo>
                        <a:pt x="826" y="798"/>
                      </a:lnTo>
                      <a:lnTo>
                        <a:pt x="834" y="804"/>
                      </a:lnTo>
                      <a:lnTo>
                        <a:pt x="834" y="804"/>
                      </a:lnTo>
                      <a:lnTo>
                        <a:pt x="842" y="812"/>
                      </a:lnTo>
                      <a:lnTo>
                        <a:pt x="854" y="818"/>
                      </a:lnTo>
                      <a:lnTo>
                        <a:pt x="868" y="824"/>
                      </a:lnTo>
                      <a:lnTo>
                        <a:pt x="882" y="828"/>
                      </a:lnTo>
                      <a:lnTo>
                        <a:pt x="916" y="836"/>
                      </a:lnTo>
                      <a:lnTo>
                        <a:pt x="948" y="846"/>
                      </a:lnTo>
                      <a:lnTo>
                        <a:pt x="948" y="846"/>
                      </a:lnTo>
                      <a:lnTo>
                        <a:pt x="962" y="850"/>
                      </a:lnTo>
                      <a:lnTo>
                        <a:pt x="970" y="850"/>
                      </a:lnTo>
                      <a:lnTo>
                        <a:pt x="972" y="848"/>
                      </a:lnTo>
                      <a:lnTo>
                        <a:pt x="974" y="846"/>
                      </a:lnTo>
                      <a:lnTo>
                        <a:pt x="974" y="840"/>
                      </a:lnTo>
                      <a:lnTo>
                        <a:pt x="972" y="832"/>
                      </a:lnTo>
                      <a:lnTo>
                        <a:pt x="966" y="822"/>
                      </a:lnTo>
                      <a:lnTo>
                        <a:pt x="958" y="812"/>
                      </a:lnTo>
                      <a:lnTo>
                        <a:pt x="948" y="802"/>
                      </a:lnTo>
                      <a:lnTo>
                        <a:pt x="948" y="802"/>
                      </a:lnTo>
                      <a:lnTo>
                        <a:pt x="936" y="792"/>
                      </a:lnTo>
                      <a:lnTo>
                        <a:pt x="920" y="780"/>
                      </a:lnTo>
                      <a:lnTo>
                        <a:pt x="888" y="758"/>
                      </a:lnTo>
                      <a:lnTo>
                        <a:pt x="872" y="748"/>
                      </a:lnTo>
                      <a:lnTo>
                        <a:pt x="862" y="738"/>
                      </a:lnTo>
                      <a:lnTo>
                        <a:pt x="854" y="732"/>
                      </a:lnTo>
                      <a:lnTo>
                        <a:pt x="854" y="728"/>
                      </a:lnTo>
                      <a:lnTo>
                        <a:pt x="854" y="724"/>
                      </a:lnTo>
                      <a:lnTo>
                        <a:pt x="854" y="724"/>
                      </a:lnTo>
                      <a:lnTo>
                        <a:pt x="854" y="724"/>
                      </a:lnTo>
                      <a:lnTo>
                        <a:pt x="858" y="722"/>
                      </a:lnTo>
                      <a:lnTo>
                        <a:pt x="864" y="724"/>
                      </a:lnTo>
                      <a:lnTo>
                        <a:pt x="880" y="736"/>
                      </a:lnTo>
                      <a:lnTo>
                        <a:pt x="894" y="748"/>
                      </a:lnTo>
                      <a:lnTo>
                        <a:pt x="900" y="748"/>
                      </a:lnTo>
                      <a:lnTo>
                        <a:pt x="902" y="748"/>
                      </a:lnTo>
                      <a:lnTo>
                        <a:pt x="902" y="746"/>
                      </a:lnTo>
                      <a:lnTo>
                        <a:pt x="902" y="746"/>
                      </a:lnTo>
                      <a:lnTo>
                        <a:pt x="902" y="742"/>
                      </a:lnTo>
                      <a:lnTo>
                        <a:pt x="904" y="742"/>
                      </a:lnTo>
                      <a:lnTo>
                        <a:pt x="908" y="744"/>
                      </a:lnTo>
                      <a:lnTo>
                        <a:pt x="924" y="754"/>
                      </a:lnTo>
                      <a:lnTo>
                        <a:pt x="932" y="762"/>
                      </a:lnTo>
                      <a:lnTo>
                        <a:pt x="944" y="770"/>
                      </a:lnTo>
                      <a:lnTo>
                        <a:pt x="956" y="776"/>
                      </a:lnTo>
                      <a:lnTo>
                        <a:pt x="968" y="778"/>
                      </a:lnTo>
                      <a:lnTo>
                        <a:pt x="968" y="778"/>
                      </a:lnTo>
                      <a:lnTo>
                        <a:pt x="980" y="782"/>
                      </a:lnTo>
                      <a:lnTo>
                        <a:pt x="990" y="788"/>
                      </a:lnTo>
                      <a:lnTo>
                        <a:pt x="998" y="798"/>
                      </a:lnTo>
                      <a:lnTo>
                        <a:pt x="1004" y="806"/>
                      </a:lnTo>
                      <a:lnTo>
                        <a:pt x="1010" y="812"/>
                      </a:lnTo>
                      <a:lnTo>
                        <a:pt x="1012" y="814"/>
                      </a:lnTo>
                      <a:lnTo>
                        <a:pt x="1014" y="812"/>
                      </a:lnTo>
                      <a:lnTo>
                        <a:pt x="1012" y="802"/>
                      </a:lnTo>
                      <a:lnTo>
                        <a:pt x="1012" y="802"/>
                      </a:lnTo>
                      <a:lnTo>
                        <a:pt x="1012" y="792"/>
                      </a:lnTo>
                      <a:lnTo>
                        <a:pt x="1012" y="788"/>
                      </a:lnTo>
                      <a:lnTo>
                        <a:pt x="1014" y="788"/>
                      </a:lnTo>
                      <a:lnTo>
                        <a:pt x="1016" y="788"/>
                      </a:lnTo>
                      <a:lnTo>
                        <a:pt x="1018" y="788"/>
                      </a:lnTo>
                      <a:lnTo>
                        <a:pt x="1020" y="786"/>
                      </a:lnTo>
                      <a:lnTo>
                        <a:pt x="1020" y="780"/>
                      </a:lnTo>
                      <a:lnTo>
                        <a:pt x="1018" y="766"/>
                      </a:lnTo>
                      <a:lnTo>
                        <a:pt x="1018" y="766"/>
                      </a:lnTo>
                      <a:lnTo>
                        <a:pt x="1016" y="750"/>
                      </a:lnTo>
                      <a:lnTo>
                        <a:pt x="1018" y="752"/>
                      </a:lnTo>
                      <a:lnTo>
                        <a:pt x="1020" y="754"/>
                      </a:lnTo>
                      <a:lnTo>
                        <a:pt x="1022" y="758"/>
                      </a:lnTo>
                      <a:lnTo>
                        <a:pt x="1026" y="760"/>
                      </a:lnTo>
                      <a:lnTo>
                        <a:pt x="1028" y="756"/>
                      </a:lnTo>
                      <a:lnTo>
                        <a:pt x="1032" y="746"/>
                      </a:lnTo>
                      <a:lnTo>
                        <a:pt x="1032" y="746"/>
                      </a:lnTo>
                      <a:lnTo>
                        <a:pt x="1032" y="734"/>
                      </a:lnTo>
                      <a:lnTo>
                        <a:pt x="1030" y="728"/>
                      </a:lnTo>
                      <a:lnTo>
                        <a:pt x="1026" y="724"/>
                      </a:lnTo>
                      <a:lnTo>
                        <a:pt x="1022" y="724"/>
                      </a:lnTo>
                      <a:lnTo>
                        <a:pt x="1018" y="722"/>
                      </a:lnTo>
                      <a:lnTo>
                        <a:pt x="1014" y="722"/>
                      </a:lnTo>
                      <a:lnTo>
                        <a:pt x="1014" y="720"/>
                      </a:lnTo>
                      <a:lnTo>
                        <a:pt x="1018" y="714"/>
                      </a:lnTo>
                      <a:lnTo>
                        <a:pt x="1018" y="714"/>
                      </a:lnTo>
                      <a:lnTo>
                        <a:pt x="1022" y="708"/>
                      </a:lnTo>
                      <a:lnTo>
                        <a:pt x="1020" y="704"/>
                      </a:lnTo>
                      <a:lnTo>
                        <a:pt x="1016" y="702"/>
                      </a:lnTo>
                      <a:lnTo>
                        <a:pt x="1012" y="700"/>
                      </a:lnTo>
                      <a:lnTo>
                        <a:pt x="1006" y="700"/>
                      </a:lnTo>
                      <a:lnTo>
                        <a:pt x="1000" y="698"/>
                      </a:lnTo>
                      <a:lnTo>
                        <a:pt x="1000" y="694"/>
                      </a:lnTo>
                      <a:lnTo>
                        <a:pt x="1002" y="688"/>
                      </a:lnTo>
                      <a:lnTo>
                        <a:pt x="1002" y="688"/>
                      </a:lnTo>
                      <a:lnTo>
                        <a:pt x="1006" y="682"/>
                      </a:lnTo>
                      <a:lnTo>
                        <a:pt x="1010" y="676"/>
                      </a:lnTo>
                      <a:lnTo>
                        <a:pt x="1008" y="672"/>
                      </a:lnTo>
                      <a:lnTo>
                        <a:pt x="1006" y="668"/>
                      </a:lnTo>
                      <a:lnTo>
                        <a:pt x="1000" y="664"/>
                      </a:lnTo>
                      <a:lnTo>
                        <a:pt x="992" y="660"/>
                      </a:lnTo>
                      <a:lnTo>
                        <a:pt x="966" y="648"/>
                      </a:lnTo>
                      <a:lnTo>
                        <a:pt x="966" y="648"/>
                      </a:lnTo>
                      <a:lnTo>
                        <a:pt x="952" y="642"/>
                      </a:lnTo>
                      <a:lnTo>
                        <a:pt x="942" y="632"/>
                      </a:lnTo>
                      <a:lnTo>
                        <a:pt x="936" y="622"/>
                      </a:lnTo>
                      <a:lnTo>
                        <a:pt x="930" y="612"/>
                      </a:lnTo>
                      <a:lnTo>
                        <a:pt x="928" y="602"/>
                      </a:lnTo>
                      <a:lnTo>
                        <a:pt x="924" y="596"/>
                      </a:lnTo>
                      <a:lnTo>
                        <a:pt x="918" y="592"/>
                      </a:lnTo>
                      <a:lnTo>
                        <a:pt x="912" y="592"/>
                      </a:lnTo>
                      <a:lnTo>
                        <a:pt x="912" y="592"/>
                      </a:lnTo>
                      <a:lnTo>
                        <a:pt x="904" y="594"/>
                      </a:lnTo>
                      <a:lnTo>
                        <a:pt x="896" y="594"/>
                      </a:lnTo>
                      <a:lnTo>
                        <a:pt x="892" y="592"/>
                      </a:lnTo>
                      <a:lnTo>
                        <a:pt x="890" y="590"/>
                      </a:lnTo>
                      <a:lnTo>
                        <a:pt x="890" y="586"/>
                      </a:lnTo>
                      <a:lnTo>
                        <a:pt x="894" y="584"/>
                      </a:lnTo>
                      <a:lnTo>
                        <a:pt x="900" y="580"/>
                      </a:lnTo>
                      <a:lnTo>
                        <a:pt x="908" y="578"/>
                      </a:lnTo>
                      <a:lnTo>
                        <a:pt x="908" y="578"/>
                      </a:lnTo>
                      <a:lnTo>
                        <a:pt x="912" y="576"/>
                      </a:lnTo>
                      <a:lnTo>
                        <a:pt x="916" y="576"/>
                      </a:lnTo>
                      <a:lnTo>
                        <a:pt x="916" y="572"/>
                      </a:lnTo>
                      <a:lnTo>
                        <a:pt x="916" y="570"/>
                      </a:lnTo>
                      <a:lnTo>
                        <a:pt x="914" y="564"/>
                      </a:lnTo>
                      <a:lnTo>
                        <a:pt x="910" y="556"/>
                      </a:lnTo>
                      <a:lnTo>
                        <a:pt x="902" y="546"/>
                      </a:lnTo>
                      <a:lnTo>
                        <a:pt x="902" y="544"/>
                      </a:lnTo>
                      <a:lnTo>
                        <a:pt x="904" y="544"/>
                      </a:lnTo>
                      <a:lnTo>
                        <a:pt x="910" y="546"/>
                      </a:lnTo>
                      <a:lnTo>
                        <a:pt x="910" y="546"/>
                      </a:lnTo>
                      <a:lnTo>
                        <a:pt x="918" y="548"/>
                      </a:lnTo>
                      <a:lnTo>
                        <a:pt x="924" y="546"/>
                      </a:lnTo>
                      <a:lnTo>
                        <a:pt x="928" y="542"/>
                      </a:lnTo>
                      <a:lnTo>
                        <a:pt x="930" y="538"/>
                      </a:lnTo>
                      <a:lnTo>
                        <a:pt x="932" y="536"/>
                      </a:lnTo>
                      <a:lnTo>
                        <a:pt x="934" y="534"/>
                      </a:lnTo>
                      <a:lnTo>
                        <a:pt x="938" y="536"/>
                      </a:lnTo>
                      <a:lnTo>
                        <a:pt x="942" y="544"/>
                      </a:lnTo>
                      <a:lnTo>
                        <a:pt x="942" y="544"/>
                      </a:lnTo>
                      <a:lnTo>
                        <a:pt x="950" y="552"/>
                      </a:lnTo>
                      <a:lnTo>
                        <a:pt x="954" y="556"/>
                      </a:lnTo>
                      <a:lnTo>
                        <a:pt x="958" y="558"/>
                      </a:lnTo>
                      <a:lnTo>
                        <a:pt x="962" y="558"/>
                      </a:lnTo>
                      <a:lnTo>
                        <a:pt x="968" y="560"/>
                      </a:lnTo>
                      <a:lnTo>
                        <a:pt x="972" y="562"/>
                      </a:lnTo>
                      <a:lnTo>
                        <a:pt x="974" y="568"/>
                      </a:lnTo>
                      <a:lnTo>
                        <a:pt x="974" y="568"/>
                      </a:lnTo>
                      <a:lnTo>
                        <a:pt x="976" y="574"/>
                      </a:lnTo>
                      <a:lnTo>
                        <a:pt x="980" y="576"/>
                      </a:lnTo>
                      <a:lnTo>
                        <a:pt x="986" y="580"/>
                      </a:lnTo>
                      <a:lnTo>
                        <a:pt x="990" y="580"/>
                      </a:lnTo>
                      <a:lnTo>
                        <a:pt x="992" y="582"/>
                      </a:lnTo>
                      <a:lnTo>
                        <a:pt x="994" y="586"/>
                      </a:lnTo>
                      <a:lnTo>
                        <a:pt x="994" y="592"/>
                      </a:lnTo>
                      <a:lnTo>
                        <a:pt x="994" y="592"/>
                      </a:lnTo>
                      <a:lnTo>
                        <a:pt x="994" y="596"/>
                      </a:lnTo>
                      <a:lnTo>
                        <a:pt x="996" y="600"/>
                      </a:lnTo>
                      <a:lnTo>
                        <a:pt x="1008" y="614"/>
                      </a:lnTo>
                      <a:lnTo>
                        <a:pt x="1022" y="626"/>
                      </a:lnTo>
                      <a:lnTo>
                        <a:pt x="1040" y="638"/>
                      </a:lnTo>
                      <a:lnTo>
                        <a:pt x="1056" y="646"/>
                      </a:lnTo>
                      <a:lnTo>
                        <a:pt x="1064" y="648"/>
                      </a:lnTo>
                      <a:lnTo>
                        <a:pt x="1070" y="648"/>
                      </a:lnTo>
                      <a:lnTo>
                        <a:pt x="1074" y="646"/>
                      </a:lnTo>
                      <a:lnTo>
                        <a:pt x="1078" y="642"/>
                      </a:lnTo>
                      <a:lnTo>
                        <a:pt x="1080" y="636"/>
                      </a:lnTo>
                      <a:lnTo>
                        <a:pt x="1078" y="628"/>
                      </a:lnTo>
                      <a:lnTo>
                        <a:pt x="1078" y="628"/>
                      </a:lnTo>
                      <a:lnTo>
                        <a:pt x="1078" y="618"/>
                      </a:lnTo>
                      <a:lnTo>
                        <a:pt x="1078" y="612"/>
                      </a:lnTo>
                      <a:lnTo>
                        <a:pt x="1080" y="606"/>
                      </a:lnTo>
                      <a:lnTo>
                        <a:pt x="1082" y="602"/>
                      </a:lnTo>
                      <a:lnTo>
                        <a:pt x="1086" y="600"/>
                      </a:lnTo>
                      <a:lnTo>
                        <a:pt x="1092" y="598"/>
                      </a:lnTo>
                      <a:lnTo>
                        <a:pt x="1102" y="596"/>
                      </a:lnTo>
                      <a:lnTo>
                        <a:pt x="1118" y="598"/>
                      </a:lnTo>
                      <a:lnTo>
                        <a:pt x="1122" y="596"/>
                      </a:lnTo>
                      <a:lnTo>
                        <a:pt x="1122" y="596"/>
                      </a:lnTo>
                      <a:lnTo>
                        <a:pt x="1122" y="592"/>
                      </a:lnTo>
                      <a:lnTo>
                        <a:pt x="1122" y="588"/>
                      </a:lnTo>
                      <a:lnTo>
                        <a:pt x="1122" y="588"/>
                      </a:lnTo>
                      <a:lnTo>
                        <a:pt x="1118" y="582"/>
                      </a:lnTo>
                      <a:lnTo>
                        <a:pt x="1118" y="576"/>
                      </a:lnTo>
                      <a:lnTo>
                        <a:pt x="1120" y="574"/>
                      </a:lnTo>
                      <a:lnTo>
                        <a:pt x="1122" y="574"/>
                      </a:lnTo>
                      <a:lnTo>
                        <a:pt x="1128" y="570"/>
                      </a:lnTo>
                      <a:lnTo>
                        <a:pt x="1128" y="568"/>
                      </a:lnTo>
                      <a:lnTo>
                        <a:pt x="1126" y="564"/>
                      </a:lnTo>
                      <a:lnTo>
                        <a:pt x="1126" y="564"/>
                      </a:lnTo>
                      <a:lnTo>
                        <a:pt x="1126" y="560"/>
                      </a:lnTo>
                      <a:lnTo>
                        <a:pt x="1126" y="558"/>
                      </a:lnTo>
                      <a:lnTo>
                        <a:pt x="1130" y="554"/>
                      </a:lnTo>
                      <a:lnTo>
                        <a:pt x="1144" y="548"/>
                      </a:lnTo>
                      <a:lnTo>
                        <a:pt x="1150" y="544"/>
                      </a:lnTo>
                      <a:lnTo>
                        <a:pt x="1154" y="536"/>
                      </a:lnTo>
                      <a:lnTo>
                        <a:pt x="1156" y="532"/>
                      </a:lnTo>
                      <a:lnTo>
                        <a:pt x="1154" y="528"/>
                      </a:lnTo>
                      <a:lnTo>
                        <a:pt x="1148" y="514"/>
                      </a:lnTo>
                      <a:lnTo>
                        <a:pt x="1148" y="51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92" name="Freeform 6089">
                  <a:extLst>
                    <a:ext uri="{FF2B5EF4-FFF2-40B4-BE49-F238E27FC236}">
                      <a16:creationId xmlns:a16="http://schemas.microsoft.com/office/drawing/2014/main" id="{0AB2796D-E419-41CB-937E-82E63F0158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31770" y="1751013"/>
                  <a:ext cx="20320" cy="15240"/>
                </a:xfrm>
                <a:custGeom>
                  <a:avLst/>
                  <a:gdLst/>
                  <a:ahLst/>
                  <a:cxnLst>
                    <a:cxn ang="0">
                      <a:pos x="6" y="0"/>
                    </a:cxn>
                    <a:cxn ang="0">
                      <a:pos x="6" y="0"/>
                    </a:cxn>
                    <a:cxn ang="0">
                      <a:pos x="2" y="4"/>
                    </a:cxn>
                    <a:cxn ang="0">
                      <a:pos x="0" y="8"/>
                    </a:cxn>
                    <a:cxn ang="0">
                      <a:pos x="2" y="12"/>
                    </a:cxn>
                    <a:cxn ang="0">
                      <a:pos x="8" y="18"/>
                    </a:cxn>
                    <a:cxn ang="0">
                      <a:pos x="14" y="22"/>
                    </a:cxn>
                    <a:cxn ang="0">
                      <a:pos x="20" y="24"/>
                    </a:cxn>
                    <a:cxn ang="0">
                      <a:pos x="26" y="24"/>
                    </a:cxn>
                    <a:cxn ang="0">
                      <a:pos x="30" y="22"/>
                    </a:cxn>
                    <a:cxn ang="0">
                      <a:pos x="30" y="22"/>
                    </a:cxn>
                    <a:cxn ang="0">
                      <a:pos x="32" y="16"/>
                    </a:cxn>
                    <a:cxn ang="0">
                      <a:pos x="32" y="12"/>
                    </a:cxn>
                    <a:cxn ang="0">
                      <a:pos x="32" y="8"/>
                    </a:cxn>
                    <a:cxn ang="0">
                      <a:pos x="28" y="4"/>
                    </a:cxn>
                    <a:cxn ang="0">
                      <a:pos x="24" y="2"/>
                    </a:cxn>
                    <a:cxn ang="0">
                      <a:pos x="20" y="0"/>
                    </a:cxn>
                    <a:cxn ang="0">
                      <a:pos x="14" y="0"/>
                    </a:cxn>
                    <a:cxn ang="0">
                      <a:pos x="6" y="0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32" h="24"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2" y="4"/>
                      </a:lnTo>
                      <a:lnTo>
                        <a:pt x="0" y="8"/>
                      </a:lnTo>
                      <a:lnTo>
                        <a:pt x="2" y="12"/>
                      </a:lnTo>
                      <a:lnTo>
                        <a:pt x="8" y="18"/>
                      </a:lnTo>
                      <a:lnTo>
                        <a:pt x="14" y="22"/>
                      </a:lnTo>
                      <a:lnTo>
                        <a:pt x="20" y="24"/>
                      </a:lnTo>
                      <a:lnTo>
                        <a:pt x="26" y="24"/>
                      </a:lnTo>
                      <a:lnTo>
                        <a:pt x="30" y="22"/>
                      </a:lnTo>
                      <a:lnTo>
                        <a:pt x="30" y="22"/>
                      </a:lnTo>
                      <a:lnTo>
                        <a:pt x="32" y="16"/>
                      </a:lnTo>
                      <a:lnTo>
                        <a:pt x="32" y="12"/>
                      </a:lnTo>
                      <a:lnTo>
                        <a:pt x="32" y="8"/>
                      </a:lnTo>
                      <a:lnTo>
                        <a:pt x="28" y="4"/>
                      </a:lnTo>
                      <a:lnTo>
                        <a:pt x="24" y="2"/>
                      </a:lnTo>
                      <a:lnTo>
                        <a:pt x="20" y="0"/>
                      </a:lnTo>
                      <a:lnTo>
                        <a:pt x="14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93" name="Freeform 6091">
                  <a:extLst>
                    <a:ext uri="{FF2B5EF4-FFF2-40B4-BE49-F238E27FC236}">
                      <a16:creationId xmlns:a16="http://schemas.microsoft.com/office/drawing/2014/main" id="{51158AD2-BE8F-4A0D-B1A1-F43B7AE6B2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56840" y="1799273"/>
                  <a:ext cx="13970" cy="15240"/>
                </a:xfrm>
                <a:custGeom>
                  <a:avLst/>
                  <a:gdLst/>
                  <a:ahLst/>
                  <a:cxnLst>
                    <a:cxn ang="0">
                      <a:pos x="4" y="24"/>
                    </a:cxn>
                    <a:cxn ang="0">
                      <a:pos x="4" y="24"/>
                    </a:cxn>
                    <a:cxn ang="0">
                      <a:pos x="12" y="22"/>
                    </a:cxn>
                    <a:cxn ang="0">
                      <a:pos x="20" y="16"/>
                    </a:cxn>
                    <a:cxn ang="0">
                      <a:pos x="22" y="12"/>
                    </a:cxn>
                    <a:cxn ang="0">
                      <a:pos x="22" y="10"/>
                    </a:cxn>
                    <a:cxn ang="0">
                      <a:pos x="22" y="6"/>
                    </a:cxn>
                    <a:cxn ang="0">
                      <a:pos x="18" y="2"/>
                    </a:cxn>
                    <a:cxn ang="0">
                      <a:pos x="18" y="2"/>
                    </a:cxn>
                    <a:cxn ang="0">
                      <a:pos x="14" y="0"/>
                    </a:cxn>
                    <a:cxn ang="0">
                      <a:pos x="10" y="2"/>
                    </a:cxn>
                    <a:cxn ang="0">
                      <a:pos x="6" y="4"/>
                    </a:cxn>
                    <a:cxn ang="0">
                      <a:pos x="2" y="10"/>
                    </a:cxn>
                    <a:cxn ang="0">
                      <a:pos x="0" y="14"/>
                    </a:cxn>
                    <a:cxn ang="0">
                      <a:pos x="0" y="18"/>
                    </a:cxn>
                    <a:cxn ang="0">
                      <a:pos x="2" y="22"/>
                    </a:cxn>
                    <a:cxn ang="0">
                      <a:pos x="4" y="24"/>
                    </a:cxn>
                    <a:cxn ang="0">
                      <a:pos x="4" y="24"/>
                    </a:cxn>
                  </a:cxnLst>
                  <a:rect l="0" t="0" r="r" b="b"/>
                  <a:pathLst>
                    <a:path w="22" h="24">
                      <a:moveTo>
                        <a:pt x="4" y="24"/>
                      </a:moveTo>
                      <a:lnTo>
                        <a:pt x="4" y="24"/>
                      </a:lnTo>
                      <a:lnTo>
                        <a:pt x="12" y="22"/>
                      </a:lnTo>
                      <a:lnTo>
                        <a:pt x="20" y="16"/>
                      </a:lnTo>
                      <a:lnTo>
                        <a:pt x="22" y="12"/>
                      </a:lnTo>
                      <a:lnTo>
                        <a:pt x="22" y="10"/>
                      </a:lnTo>
                      <a:lnTo>
                        <a:pt x="22" y="6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4" y="0"/>
                      </a:lnTo>
                      <a:lnTo>
                        <a:pt x="10" y="2"/>
                      </a:lnTo>
                      <a:lnTo>
                        <a:pt x="6" y="4"/>
                      </a:lnTo>
                      <a:lnTo>
                        <a:pt x="2" y="10"/>
                      </a:lnTo>
                      <a:lnTo>
                        <a:pt x="0" y="14"/>
                      </a:lnTo>
                      <a:lnTo>
                        <a:pt x="0" y="18"/>
                      </a:lnTo>
                      <a:lnTo>
                        <a:pt x="2" y="22"/>
                      </a:lnTo>
                      <a:lnTo>
                        <a:pt x="4" y="24"/>
                      </a:lnTo>
                      <a:lnTo>
                        <a:pt x="4" y="2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94" name="Freeform 6092">
                  <a:extLst>
                    <a:ext uri="{FF2B5EF4-FFF2-40B4-BE49-F238E27FC236}">
                      <a16:creationId xmlns:a16="http://schemas.microsoft.com/office/drawing/2014/main" id="{130B5E09-8BF5-4DC9-B7DF-3C74FC50FC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52040" y="1724343"/>
                  <a:ext cx="22860" cy="34290"/>
                </a:xfrm>
                <a:custGeom>
                  <a:avLst/>
                  <a:gdLst/>
                  <a:ahLst/>
                  <a:cxnLst>
                    <a:cxn ang="0">
                      <a:pos x="20" y="54"/>
                    </a:cxn>
                    <a:cxn ang="0">
                      <a:pos x="20" y="54"/>
                    </a:cxn>
                    <a:cxn ang="0">
                      <a:pos x="26" y="50"/>
                    </a:cxn>
                    <a:cxn ang="0">
                      <a:pos x="30" y="42"/>
                    </a:cxn>
                    <a:cxn ang="0">
                      <a:pos x="34" y="32"/>
                    </a:cxn>
                    <a:cxn ang="0">
                      <a:pos x="36" y="22"/>
                    </a:cxn>
                    <a:cxn ang="0">
                      <a:pos x="36" y="12"/>
                    </a:cxn>
                    <a:cxn ang="0">
                      <a:pos x="34" y="4"/>
                    </a:cxn>
                    <a:cxn ang="0">
                      <a:pos x="32" y="2"/>
                    </a:cxn>
                    <a:cxn ang="0">
                      <a:pos x="28" y="0"/>
                    </a:cxn>
                    <a:cxn ang="0">
                      <a:pos x="24" y="0"/>
                    </a:cxn>
                    <a:cxn ang="0">
                      <a:pos x="18" y="0"/>
                    </a:cxn>
                    <a:cxn ang="0">
                      <a:pos x="18" y="0"/>
                    </a:cxn>
                    <a:cxn ang="0">
                      <a:pos x="14" y="2"/>
                    </a:cxn>
                    <a:cxn ang="0">
                      <a:pos x="8" y="6"/>
                    </a:cxn>
                    <a:cxn ang="0">
                      <a:pos x="4" y="12"/>
                    </a:cxn>
                    <a:cxn ang="0">
                      <a:pos x="0" y="22"/>
                    </a:cxn>
                    <a:cxn ang="0">
                      <a:pos x="2" y="32"/>
                    </a:cxn>
                    <a:cxn ang="0">
                      <a:pos x="4" y="40"/>
                    </a:cxn>
                    <a:cxn ang="0">
                      <a:pos x="8" y="48"/>
                    </a:cxn>
                    <a:cxn ang="0">
                      <a:pos x="14" y="52"/>
                    </a:cxn>
                    <a:cxn ang="0">
                      <a:pos x="20" y="54"/>
                    </a:cxn>
                    <a:cxn ang="0">
                      <a:pos x="20" y="54"/>
                    </a:cxn>
                  </a:cxnLst>
                  <a:rect l="0" t="0" r="r" b="b"/>
                  <a:pathLst>
                    <a:path w="36" h="54">
                      <a:moveTo>
                        <a:pt x="20" y="54"/>
                      </a:moveTo>
                      <a:lnTo>
                        <a:pt x="20" y="54"/>
                      </a:lnTo>
                      <a:lnTo>
                        <a:pt x="26" y="50"/>
                      </a:lnTo>
                      <a:lnTo>
                        <a:pt x="30" y="42"/>
                      </a:lnTo>
                      <a:lnTo>
                        <a:pt x="34" y="32"/>
                      </a:lnTo>
                      <a:lnTo>
                        <a:pt x="36" y="22"/>
                      </a:lnTo>
                      <a:lnTo>
                        <a:pt x="36" y="12"/>
                      </a:lnTo>
                      <a:lnTo>
                        <a:pt x="34" y="4"/>
                      </a:lnTo>
                      <a:lnTo>
                        <a:pt x="32" y="2"/>
                      </a:lnTo>
                      <a:lnTo>
                        <a:pt x="28" y="0"/>
                      </a:lnTo>
                      <a:lnTo>
                        <a:pt x="24" y="0"/>
                      </a:lnTo>
                      <a:lnTo>
                        <a:pt x="18" y="0"/>
                      </a:lnTo>
                      <a:lnTo>
                        <a:pt x="18" y="0"/>
                      </a:lnTo>
                      <a:lnTo>
                        <a:pt x="14" y="2"/>
                      </a:lnTo>
                      <a:lnTo>
                        <a:pt x="8" y="6"/>
                      </a:lnTo>
                      <a:lnTo>
                        <a:pt x="4" y="12"/>
                      </a:lnTo>
                      <a:lnTo>
                        <a:pt x="0" y="22"/>
                      </a:lnTo>
                      <a:lnTo>
                        <a:pt x="2" y="32"/>
                      </a:lnTo>
                      <a:lnTo>
                        <a:pt x="4" y="40"/>
                      </a:lnTo>
                      <a:lnTo>
                        <a:pt x="8" y="48"/>
                      </a:lnTo>
                      <a:lnTo>
                        <a:pt x="14" y="52"/>
                      </a:lnTo>
                      <a:lnTo>
                        <a:pt x="20" y="54"/>
                      </a:lnTo>
                      <a:lnTo>
                        <a:pt x="20" y="5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95" name="Freeform 6094">
                  <a:extLst>
                    <a:ext uri="{FF2B5EF4-FFF2-40B4-BE49-F238E27FC236}">
                      <a16:creationId xmlns:a16="http://schemas.microsoft.com/office/drawing/2014/main" id="{B834F687-AACB-465B-945B-E6A61E0322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8240" y="1463993"/>
                  <a:ext cx="59690" cy="48260"/>
                </a:xfrm>
                <a:custGeom>
                  <a:avLst/>
                  <a:gdLst/>
                  <a:ahLst/>
                  <a:cxnLst>
                    <a:cxn ang="0">
                      <a:pos x="8" y="26"/>
                    </a:cxn>
                    <a:cxn ang="0">
                      <a:pos x="8" y="26"/>
                    </a:cxn>
                    <a:cxn ang="0">
                      <a:pos x="4" y="36"/>
                    </a:cxn>
                    <a:cxn ang="0">
                      <a:pos x="0" y="46"/>
                    </a:cxn>
                    <a:cxn ang="0">
                      <a:pos x="0" y="56"/>
                    </a:cxn>
                    <a:cxn ang="0">
                      <a:pos x="2" y="64"/>
                    </a:cxn>
                    <a:cxn ang="0">
                      <a:pos x="8" y="70"/>
                    </a:cxn>
                    <a:cxn ang="0">
                      <a:pos x="18" y="74"/>
                    </a:cxn>
                    <a:cxn ang="0">
                      <a:pos x="34" y="76"/>
                    </a:cxn>
                    <a:cxn ang="0">
                      <a:pos x="54" y="76"/>
                    </a:cxn>
                    <a:cxn ang="0">
                      <a:pos x="54" y="76"/>
                    </a:cxn>
                    <a:cxn ang="0">
                      <a:pos x="72" y="74"/>
                    </a:cxn>
                    <a:cxn ang="0">
                      <a:pos x="84" y="70"/>
                    </a:cxn>
                    <a:cxn ang="0">
                      <a:pos x="90" y="64"/>
                    </a:cxn>
                    <a:cxn ang="0">
                      <a:pos x="94" y="58"/>
                    </a:cxn>
                    <a:cxn ang="0">
                      <a:pos x="92" y="50"/>
                    </a:cxn>
                    <a:cxn ang="0">
                      <a:pos x="92" y="40"/>
                    </a:cxn>
                    <a:cxn ang="0">
                      <a:pos x="90" y="32"/>
                    </a:cxn>
                    <a:cxn ang="0">
                      <a:pos x="92" y="22"/>
                    </a:cxn>
                    <a:cxn ang="0">
                      <a:pos x="92" y="22"/>
                    </a:cxn>
                    <a:cxn ang="0">
                      <a:pos x="92" y="18"/>
                    </a:cxn>
                    <a:cxn ang="0">
                      <a:pos x="90" y="14"/>
                    </a:cxn>
                    <a:cxn ang="0">
                      <a:pos x="88" y="10"/>
                    </a:cxn>
                    <a:cxn ang="0">
                      <a:pos x="84" y="6"/>
                    </a:cxn>
                    <a:cxn ang="0">
                      <a:pos x="74" y="2"/>
                    </a:cxn>
                    <a:cxn ang="0">
                      <a:pos x="60" y="0"/>
                    </a:cxn>
                    <a:cxn ang="0">
                      <a:pos x="46" y="2"/>
                    </a:cxn>
                    <a:cxn ang="0">
                      <a:pos x="32" y="6"/>
                    </a:cxn>
                    <a:cxn ang="0">
                      <a:pos x="18" y="14"/>
                    </a:cxn>
                    <a:cxn ang="0">
                      <a:pos x="14" y="20"/>
                    </a:cxn>
                    <a:cxn ang="0">
                      <a:pos x="8" y="26"/>
                    </a:cxn>
                    <a:cxn ang="0">
                      <a:pos x="8" y="26"/>
                    </a:cxn>
                  </a:cxnLst>
                  <a:rect l="0" t="0" r="r" b="b"/>
                  <a:pathLst>
                    <a:path w="94" h="76">
                      <a:moveTo>
                        <a:pt x="8" y="26"/>
                      </a:moveTo>
                      <a:lnTo>
                        <a:pt x="8" y="26"/>
                      </a:lnTo>
                      <a:lnTo>
                        <a:pt x="4" y="36"/>
                      </a:lnTo>
                      <a:lnTo>
                        <a:pt x="0" y="46"/>
                      </a:lnTo>
                      <a:lnTo>
                        <a:pt x="0" y="56"/>
                      </a:lnTo>
                      <a:lnTo>
                        <a:pt x="2" y="64"/>
                      </a:lnTo>
                      <a:lnTo>
                        <a:pt x="8" y="70"/>
                      </a:lnTo>
                      <a:lnTo>
                        <a:pt x="18" y="74"/>
                      </a:lnTo>
                      <a:lnTo>
                        <a:pt x="34" y="76"/>
                      </a:lnTo>
                      <a:lnTo>
                        <a:pt x="54" y="76"/>
                      </a:lnTo>
                      <a:lnTo>
                        <a:pt x="54" y="76"/>
                      </a:lnTo>
                      <a:lnTo>
                        <a:pt x="72" y="74"/>
                      </a:lnTo>
                      <a:lnTo>
                        <a:pt x="84" y="70"/>
                      </a:lnTo>
                      <a:lnTo>
                        <a:pt x="90" y="64"/>
                      </a:lnTo>
                      <a:lnTo>
                        <a:pt x="94" y="58"/>
                      </a:lnTo>
                      <a:lnTo>
                        <a:pt x="92" y="50"/>
                      </a:lnTo>
                      <a:lnTo>
                        <a:pt x="92" y="40"/>
                      </a:lnTo>
                      <a:lnTo>
                        <a:pt x="90" y="32"/>
                      </a:lnTo>
                      <a:lnTo>
                        <a:pt x="92" y="22"/>
                      </a:lnTo>
                      <a:lnTo>
                        <a:pt x="92" y="22"/>
                      </a:lnTo>
                      <a:lnTo>
                        <a:pt x="92" y="18"/>
                      </a:lnTo>
                      <a:lnTo>
                        <a:pt x="90" y="14"/>
                      </a:lnTo>
                      <a:lnTo>
                        <a:pt x="88" y="10"/>
                      </a:lnTo>
                      <a:lnTo>
                        <a:pt x="84" y="6"/>
                      </a:lnTo>
                      <a:lnTo>
                        <a:pt x="74" y="2"/>
                      </a:lnTo>
                      <a:lnTo>
                        <a:pt x="60" y="0"/>
                      </a:lnTo>
                      <a:lnTo>
                        <a:pt x="46" y="2"/>
                      </a:lnTo>
                      <a:lnTo>
                        <a:pt x="32" y="6"/>
                      </a:lnTo>
                      <a:lnTo>
                        <a:pt x="18" y="14"/>
                      </a:lnTo>
                      <a:lnTo>
                        <a:pt x="14" y="20"/>
                      </a:lnTo>
                      <a:lnTo>
                        <a:pt x="8" y="26"/>
                      </a:lnTo>
                      <a:lnTo>
                        <a:pt x="8" y="2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96" name="Freeform 6098">
                  <a:extLst>
                    <a:ext uri="{FF2B5EF4-FFF2-40B4-BE49-F238E27FC236}">
                      <a16:creationId xmlns:a16="http://schemas.microsoft.com/office/drawing/2014/main" id="{45A3B51A-7AEE-4ACE-AE8D-D48CD094A8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8780" y="1211263"/>
                  <a:ext cx="63500" cy="43180"/>
                </a:xfrm>
                <a:custGeom>
                  <a:avLst/>
                  <a:gdLst/>
                  <a:ahLst/>
                  <a:cxnLst>
                    <a:cxn ang="0">
                      <a:pos x="46" y="2"/>
                    </a:cxn>
                    <a:cxn ang="0">
                      <a:pos x="46" y="2"/>
                    </a:cxn>
                    <a:cxn ang="0">
                      <a:pos x="32" y="4"/>
                    </a:cxn>
                    <a:cxn ang="0">
                      <a:pos x="20" y="6"/>
                    </a:cxn>
                    <a:cxn ang="0">
                      <a:pos x="10" y="10"/>
                    </a:cxn>
                    <a:cxn ang="0">
                      <a:pos x="4" y="12"/>
                    </a:cxn>
                    <a:cxn ang="0">
                      <a:pos x="0" y="16"/>
                    </a:cxn>
                    <a:cxn ang="0">
                      <a:pos x="0" y="20"/>
                    </a:cxn>
                    <a:cxn ang="0">
                      <a:pos x="2" y="22"/>
                    </a:cxn>
                    <a:cxn ang="0">
                      <a:pos x="8" y="24"/>
                    </a:cxn>
                    <a:cxn ang="0">
                      <a:pos x="8" y="24"/>
                    </a:cxn>
                    <a:cxn ang="0">
                      <a:pos x="20" y="28"/>
                    </a:cxn>
                    <a:cxn ang="0">
                      <a:pos x="28" y="32"/>
                    </a:cxn>
                    <a:cxn ang="0">
                      <a:pos x="32" y="36"/>
                    </a:cxn>
                    <a:cxn ang="0">
                      <a:pos x="34" y="40"/>
                    </a:cxn>
                    <a:cxn ang="0">
                      <a:pos x="34" y="40"/>
                    </a:cxn>
                    <a:cxn ang="0">
                      <a:pos x="38" y="46"/>
                    </a:cxn>
                    <a:cxn ang="0">
                      <a:pos x="44" y="50"/>
                    </a:cxn>
                    <a:cxn ang="0">
                      <a:pos x="54" y="56"/>
                    </a:cxn>
                    <a:cxn ang="0">
                      <a:pos x="64" y="66"/>
                    </a:cxn>
                    <a:cxn ang="0">
                      <a:pos x="64" y="66"/>
                    </a:cxn>
                    <a:cxn ang="0">
                      <a:pos x="68" y="68"/>
                    </a:cxn>
                    <a:cxn ang="0">
                      <a:pos x="70" y="68"/>
                    </a:cxn>
                    <a:cxn ang="0">
                      <a:pos x="70" y="66"/>
                    </a:cxn>
                    <a:cxn ang="0">
                      <a:pos x="70" y="66"/>
                    </a:cxn>
                    <a:cxn ang="0">
                      <a:pos x="70" y="62"/>
                    </a:cxn>
                    <a:cxn ang="0">
                      <a:pos x="74" y="60"/>
                    </a:cxn>
                    <a:cxn ang="0">
                      <a:pos x="80" y="56"/>
                    </a:cxn>
                    <a:cxn ang="0">
                      <a:pos x="86" y="48"/>
                    </a:cxn>
                    <a:cxn ang="0">
                      <a:pos x="86" y="48"/>
                    </a:cxn>
                    <a:cxn ang="0">
                      <a:pos x="100" y="26"/>
                    </a:cxn>
                    <a:cxn ang="0">
                      <a:pos x="100" y="20"/>
                    </a:cxn>
                    <a:cxn ang="0">
                      <a:pos x="100" y="16"/>
                    </a:cxn>
                    <a:cxn ang="0">
                      <a:pos x="98" y="14"/>
                    </a:cxn>
                    <a:cxn ang="0">
                      <a:pos x="94" y="10"/>
                    </a:cxn>
                    <a:cxn ang="0">
                      <a:pos x="94" y="10"/>
                    </a:cxn>
                    <a:cxn ang="0">
                      <a:pos x="86" y="6"/>
                    </a:cxn>
                    <a:cxn ang="0">
                      <a:pos x="80" y="2"/>
                    </a:cxn>
                    <a:cxn ang="0">
                      <a:pos x="70" y="0"/>
                    </a:cxn>
                    <a:cxn ang="0">
                      <a:pos x="46" y="2"/>
                    </a:cxn>
                    <a:cxn ang="0">
                      <a:pos x="46" y="2"/>
                    </a:cxn>
                  </a:cxnLst>
                  <a:rect l="0" t="0" r="r" b="b"/>
                  <a:pathLst>
                    <a:path w="100" h="68">
                      <a:moveTo>
                        <a:pt x="46" y="2"/>
                      </a:moveTo>
                      <a:lnTo>
                        <a:pt x="46" y="2"/>
                      </a:lnTo>
                      <a:lnTo>
                        <a:pt x="32" y="4"/>
                      </a:lnTo>
                      <a:lnTo>
                        <a:pt x="20" y="6"/>
                      </a:lnTo>
                      <a:lnTo>
                        <a:pt x="10" y="10"/>
                      </a:lnTo>
                      <a:lnTo>
                        <a:pt x="4" y="12"/>
                      </a:lnTo>
                      <a:lnTo>
                        <a:pt x="0" y="16"/>
                      </a:lnTo>
                      <a:lnTo>
                        <a:pt x="0" y="20"/>
                      </a:lnTo>
                      <a:lnTo>
                        <a:pt x="2" y="22"/>
                      </a:lnTo>
                      <a:lnTo>
                        <a:pt x="8" y="24"/>
                      </a:lnTo>
                      <a:lnTo>
                        <a:pt x="8" y="24"/>
                      </a:lnTo>
                      <a:lnTo>
                        <a:pt x="20" y="28"/>
                      </a:lnTo>
                      <a:lnTo>
                        <a:pt x="28" y="32"/>
                      </a:lnTo>
                      <a:lnTo>
                        <a:pt x="32" y="36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38" y="46"/>
                      </a:lnTo>
                      <a:lnTo>
                        <a:pt x="44" y="50"/>
                      </a:lnTo>
                      <a:lnTo>
                        <a:pt x="54" y="56"/>
                      </a:lnTo>
                      <a:lnTo>
                        <a:pt x="64" y="66"/>
                      </a:lnTo>
                      <a:lnTo>
                        <a:pt x="64" y="66"/>
                      </a:lnTo>
                      <a:lnTo>
                        <a:pt x="68" y="68"/>
                      </a:lnTo>
                      <a:lnTo>
                        <a:pt x="70" y="68"/>
                      </a:lnTo>
                      <a:lnTo>
                        <a:pt x="70" y="66"/>
                      </a:lnTo>
                      <a:lnTo>
                        <a:pt x="70" y="66"/>
                      </a:lnTo>
                      <a:lnTo>
                        <a:pt x="70" y="62"/>
                      </a:lnTo>
                      <a:lnTo>
                        <a:pt x="74" y="60"/>
                      </a:lnTo>
                      <a:lnTo>
                        <a:pt x="80" y="56"/>
                      </a:lnTo>
                      <a:lnTo>
                        <a:pt x="86" y="48"/>
                      </a:lnTo>
                      <a:lnTo>
                        <a:pt x="86" y="48"/>
                      </a:lnTo>
                      <a:lnTo>
                        <a:pt x="100" y="26"/>
                      </a:lnTo>
                      <a:lnTo>
                        <a:pt x="100" y="20"/>
                      </a:lnTo>
                      <a:lnTo>
                        <a:pt x="100" y="16"/>
                      </a:lnTo>
                      <a:lnTo>
                        <a:pt x="98" y="14"/>
                      </a:lnTo>
                      <a:lnTo>
                        <a:pt x="94" y="10"/>
                      </a:lnTo>
                      <a:lnTo>
                        <a:pt x="94" y="10"/>
                      </a:lnTo>
                      <a:lnTo>
                        <a:pt x="86" y="6"/>
                      </a:lnTo>
                      <a:lnTo>
                        <a:pt x="80" y="2"/>
                      </a:lnTo>
                      <a:lnTo>
                        <a:pt x="70" y="0"/>
                      </a:lnTo>
                      <a:lnTo>
                        <a:pt x="46" y="2"/>
                      </a:lnTo>
                      <a:lnTo>
                        <a:pt x="46" y="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97" name="Freeform 6099">
                  <a:extLst>
                    <a:ext uri="{FF2B5EF4-FFF2-40B4-BE49-F238E27FC236}">
                      <a16:creationId xmlns:a16="http://schemas.microsoft.com/office/drawing/2014/main" id="{C59C846F-5767-43B9-88F7-C979EEFAA1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3550" y="1088073"/>
                  <a:ext cx="48260" cy="10160"/>
                </a:xfrm>
                <a:custGeom>
                  <a:avLst/>
                  <a:gdLst/>
                  <a:ahLst/>
                  <a:cxnLst>
                    <a:cxn ang="0">
                      <a:pos x="76" y="2"/>
                    </a:cxn>
                    <a:cxn ang="0">
                      <a:pos x="76" y="2"/>
                    </a:cxn>
                    <a:cxn ang="0">
                      <a:pos x="68" y="0"/>
                    </a:cxn>
                    <a:cxn ang="0">
                      <a:pos x="56" y="0"/>
                    </a:cxn>
                    <a:cxn ang="0">
                      <a:pos x="30" y="2"/>
                    </a:cxn>
                    <a:cxn ang="0">
                      <a:pos x="16" y="6"/>
                    </a:cxn>
                    <a:cxn ang="0">
                      <a:pos x="6" y="8"/>
                    </a:cxn>
                    <a:cxn ang="0">
                      <a:pos x="0" y="12"/>
                    </a:cxn>
                    <a:cxn ang="0">
                      <a:pos x="0" y="14"/>
                    </a:cxn>
                    <a:cxn ang="0">
                      <a:pos x="2" y="16"/>
                    </a:cxn>
                    <a:cxn ang="0">
                      <a:pos x="2" y="16"/>
                    </a:cxn>
                    <a:cxn ang="0">
                      <a:pos x="8" y="16"/>
                    </a:cxn>
                    <a:cxn ang="0">
                      <a:pos x="20" y="16"/>
                    </a:cxn>
                    <a:cxn ang="0">
                      <a:pos x="48" y="14"/>
                    </a:cxn>
                    <a:cxn ang="0">
                      <a:pos x="70" y="8"/>
                    </a:cxn>
                    <a:cxn ang="0">
                      <a:pos x="76" y="4"/>
                    </a:cxn>
                    <a:cxn ang="0">
                      <a:pos x="76" y="2"/>
                    </a:cxn>
                    <a:cxn ang="0">
                      <a:pos x="76" y="2"/>
                    </a:cxn>
                    <a:cxn ang="0">
                      <a:pos x="76" y="2"/>
                    </a:cxn>
                  </a:cxnLst>
                  <a:rect l="0" t="0" r="r" b="b"/>
                  <a:pathLst>
                    <a:path w="76" h="16">
                      <a:moveTo>
                        <a:pt x="76" y="2"/>
                      </a:moveTo>
                      <a:lnTo>
                        <a:pt x="76" y="2"/>
                      </a:lnTo>
                      <a:lnTo>
                        <a:pt x="68" y="0"/>
                      </a:lnTo>
                      <a:lnTo>
                        <a:pt x="56" y="0"/>
                      </a:lnTo>
                      <a:lnTo>
                        <a:pt x="30" y="2"/>
                      </a:lnTo>
                      <a:lnTo>
                        <a:pt x="16" y="6"/>
                      </a:lnTo>
                      <a:lnTo>
                        <a:pt x="6" y="8"/>
                      </a:lnTo>
                      <a:lnTo>
                        <a:pt x="0" y="12"/>
                      </a:lnTo>
                      <a:lnTo>
                        <a:pt x="0" y="14"/>
                      </a:lnTo>
                      <a:lnTo>
                        <a:pt x="2" y="16"/>
                      </a:lnTo>
                      <a:lnTo>
                        <a:pt x="2" y="16"/>
                      </a:lnTo>
                      <a:lnTo>
                        <a:pt x="8" y="16"/>
                      </a:lnTo>
                      <a:lnTo>
                        <a:pt x="20" y="16"/>
                      </a:lnTo>
                      <a:lnTo>
                        <a:pt x="48" y="14"/>
                      </a:lnTo>
                      <a:lnTo>
                        <a:pt x="70" y="8"/>
                      </a:lnTo>
                      <a:lnTo>
                        <a:pt x="76" y="4"/>
                      </a:lnTo>
                      <a:lnTo>
                        <a:pt x="76" y="2"/>
                      </a:lnTo>
                      <a:lnTo>
                        <a:pt x="76" y="2"/>
                      </a:lnTo>
                      <a:lnTo>
                        <a:pt x="76" y="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98" name="Freeform 6100">
                  <a:extLst>
                    <a:ext uri="{FF2B5EF4-FFF2-40B4-BE49-F238E27FC236}">
                      <a16:creationId xmlns:a16="http://schemas.microsoft.com/office/drawing/2014/main" id="{8F472E63-4CCA-44A1-A412-CC73286376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23390" y="1129983"/>
                  <a:ext cx="30480" cy="20320"/>
                </a:xfrm>
                <a:custGeom>
                  <a:avLst/>
                  <a:gdLst/>
                  <a:ahLst/>
                  <a:cxnLst>
                    <a:cxn ang="0">
                      <a:pos x="0" y="20"/>
                    </a:cxn>
                    <a:cxn ang="0">
                      <a:pos x="0" y="20"/>
                    </a:cxn>
                    <a:cxn ang="0">
                      <a:pos x="0" y="22"/>
                    </a:cxn>
                    <a:cxn ang="0">
                      <a:pos x="2" y="26"/>
                    </a:cxn>
                    <a:cxn ang="0">
                      <a:pos x="8" y="30"/>
                    </a:cxn>
                    <a:cxn ang="0">
                      <a:pos x="16" y="32"/>
                    </a:cxn>
                    <a:cxn ang="0">
                      <a:pos x="26" y="32"/>
                    </a:cxn>
                    <a:cxn ang="0">
                      <a:pos x="34" y="30"/>
                    </a:cxn>
                    <a:cxn ang="0">
                      <a:pos x="42" y="28"/>
                    </a:cxn>
                    <a:cxn ang="0">
                      <a:pos x="46" y="22"/>
                    </a:cxn>
                    <a:cxn ang="0">
                      <a:pos x="48" y="20"/>
                    </a:cxn>
                    <a:cxn ang="0">
                      <a:pos x="48" y="18"/>
                    </a:cxn>
                    <a:cxn ang="0">
                      <a:pos x="48" y="18"/>
                    </a:cxn>
                    <a:cxn ang="0">
                      <a:pos x="44" y="12"/>
                    </a:cxn>
                    <a:cxn ang="0">
                      <a:pos x="38" y="6"/>
                    </a:cxn>
                    <a:cxn ang="0">
                      <a:pos x="30" y="2"/>
                    </a:cxn>
                    <a:cxn ang="0">
                      <a:pos x="22" y="0"/>
                    </a:cxn>
                    <a:cxn ang="0">
                      <a:pos x="14" y="0"/>
                    </a:cxn>
                    <a:cxn ang="0">
                      <a:pos x="6" y="2"/>
                    </a:cxn>
                    <a:cxn ang="0">
                      <a:pos x="2" y="8"/>
                    </a:cxn>
                    <a:cxn ang="0">
                      <a:pos x="0" y="20"/>
                    </a:cxn>
                    <a:cxn ang="0">
                      <a:pos x="0" y="20"/>
                    </a:cxn>
                  </a:cxnLst>
                  <a:rect l="0" t="0" r="r" b="b"/>
                  <a:pathLst>
                    <a:path w="48" h="32">
                      <a:moveTo>
                        <a:pt x="0" y="20"/>
                      </a:moveTo>
                      <a:lnTo>
                        <a:pt x="0" y="20"/>
                      </a:lnTo>
                      <a:lnTo>
                        <a:pt x="0" y="22"/>
                      </a:lnTo>
                      <a:lnTo>
                        <a:pt x="2" y="26"/>
                      </a:lnTo>
                      <a:lnTo>
                        <a:pt x="8" y="30"/>
                      </a:lnTo>
                      <a:lnTo>
                        <a:pt x="16" y="32"/>
                      </a:lnTo>
                      <a:lnTo>
                        <a:pt x="26" y="32"/>
                      </a:lnTo>
                      <a:lnTo>
                        <a:pt x="34" y="30"/>
                      </a:lnTo>
                      <a:lnTo>
                        <a:pt x="42" y="28"/>
                      </a:lnTo>
                      <a:lnTo>
                        <a:pt x="46" y="22"/>
                      </a:lnTo>
                      <a:lnTo>
                        <a:pt x="48" y="20"/>
                      </a:lnTo>
                      <a:lnTo>
                        <a:pt x="48" y="18"/>
                      </a:lnTo>
                      <a:lnTo>
                        <a:pt x="48" y="18"/>
                      </a:lnTo>
                      <a:lnTo>
                        <a:pt x="44" y="12"/>
                      </a:lnTo>
                      <a:lnTo>
                        <a:pt x="38" y="6"/>
                      </a:lnTo>
                      <a:lnTo>
                        <a:pt x="30" y="2"/>
                      </a:lnTo>
                      <a:lnTo>
                        <a:pt x="22" y="0"/>
                      </a:lnTo>
                      <a:lnTo>
                        <a:pt x="14" y="0"/>
                      </a:lnTo>
                      <a:lnTo>
                        <a:pt x="6" y="2"/>
                      </a:lnTo>
                      <a:lnTo>
                        <a:pt x="2" y="8"/>
                      </a:lnTo>
                      <a:lnTo>
                        <a:pt x="0" y="20"/>
                      </a:lnTo>
                      <a:lnTo>
                        <a:pt x="0" y="2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799" name="Freeform 6101">
                  <a:extLst>
                    <a:ext uri="{FF2B5EF4-FFF2-40B4-BE49-F238E27FC236}">
                      <a16:creationId xmlns:a16="http://schemas.microsoft.com/office/drawing/2014/main" id="{2631A532-627E-403C-AA1E-D6D2D12237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28470" y="1065213"/>
                  <a:ext cx="44450" cy="21590"/>
                </a:xfrm>
                <a:custGeom>
                  <a:avLst/>
                  <a:gdLst/>
                  <a:ahLst/>
                  <a:cxnLst>
                    <a:cxn ang="0">
                      <a:pos x="62" y="18"/>
                    </a:cxn>
                    <a:cxn ang="0">
                      <a:pos x="62" y="18"/>
                    </a:cxn>
                    <a:cxn ang="0">
                      <a:pos x="52" y="16"/>
                    </a:cxn>
                    <a:cxn ang="0">
                      <a:pos x="44" y="14"/>
                    </a:cxn>
                    <a:cxn ang="0">
                      <a:pos x="34" y="6"/>
                    </a:cxn>
                    <a:cxn ang="0">
                      <a:pos x="30" y="2"/>
                    </a:cxn>
                    <a:cxn ang="0">
                      <a:pos x="24" y="0"/>
                    </a:cxn>
                    <a:cxn ang="0">
                      <a:pos x="18" y="2"/>
                    </a:cxn>
                    <a:cxn ang="0">
                      <a:pos x="8" y="6"/>
                    </a:cxn>
                    <a:cxn ang="0">
                      <a:pos x="8" y="6"/>
                    </a:cxn>
                    <a:cxn ang="0">
                      <a:pos x="2" y="8"/>
                    </a:cxn>
                    <a:cxn ang="0">
                      <a:pos x="0" y="12"/>
                    </a:cxn>
                    <a:cxn ang="0">
                      <a:pos x="2" y="18"/>
                    </a:cxn>
                    <a:cxn ang="0">
                      <a:pos x="8" y="28"/>
                    </a:cxn>
                    <a:cxn ang="0">
                      <a:pos x="8" y="28"/>
                    </a:cxn>
                    <a:cxn ang="0">
                      <a:pos x="12" y="30"/>
                    </a:cxn>
                    <a:cxn ang="0">
                      <a:pos x="16" y="32"/>
                    </a:cxn>
                    <a:cxn ang="0">
                      <a:pos x="26" y="34"/>
                    </a:cxn>
                    <a:cxn ang="0">
                      <a:pos x="40" y="32"/>
                    </a:cxn>
                    <a:cxn ang="0">
                      <a:pos x="52" y="30"/>
                    </a:cxn>
                    <a:cxn ang="0">
                      <a:pos x="62" y="28"/>
                    </a:cxn>
                    <a:cxn ang="0">
                      <a:pos x="68" y="24"/>
                    </a:cxn>
                    <a:cxn ang="0">
                      <a:pos x="70" y="22"/>
                    </a:cxn>
                    <a:cxn ang="0">
                      <a:pos x="70" y="20"/>
                    </a:cxn>
                    <a:cxn ang="0">
                      <a:pos x="62" y="18"/>
                    </a:cxn>
                    <a:cxn ang="0">
                      <a:pos x="62" y="18"/>
                    </a:cxn>
                  </a:cxnLst>
                  <a:rect l="0" t="0" r="r" b="b"/>
                  <a:pathLst>
                    <a:path w="70" h="34">
                      <a:moveTo>
                        <a:pt x="62" y="18"/>
                      </a:moveTo>
                      <a:lnTo>
                        <a:pt x="62" y="18"/>
                      </a:lnTo>
                      <a:lnTo>
                        <a:pt x="52" y="16"/>
                      </a:lnTo>
                      <a:lnTo>
                        <a:pt x="44" y="14"/>
                      </a:lnTo>
                      <a:lnTo>
                        <a:pt x="34" y="6"/>
                      </a:lnTo>
                      <a:lnTo>
                        <a:pt x="30" y="2"/>
                      </a:lnTo>
                      <a:lnTo>
                        <a:pt x="24" y="0"/>
                      </a:lnTo>
                      <a:lnTo>
                        <a:pt x="18" y="2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2" y="8"/>
                      </a:lnTo>
                      <a:lnTo>
                        <a:pt x="0" y="12"/>
                      </a:lnTo>
                      <a:lnTo>
                        <a:pt x="2" y="18"/>
                      </a:lnTo>
                      <a:lnTo>
                        <a:pt x="8" y="28"/>
                      </a:lnTo>
                      <a:lnTo>
                        <a:pt x="8" y="28"/>
                      </a:lnTo>
                      <a:lnTo>
                        <a:pt x="12" y="30"/>
                      </a:lnTo>
                      <a:lnTo>
                        <a:pt x="16" y="32"/>
                      </a:lnTo>
                      <a:lnTo>
                        <a:pt x="26" y="34"/>
                      </a:lnTo>
                      <a:lnTo>
                        <a:pt x="40" y="32"/>
                      </a:lnTo>
                      <a:lnTo>
                        <a:pt x="52" y="30"/>
                      </a:lnTo>
                      <a:lnTo>
                        <a:pt x="62" y="28"/>
                      </a:lnTo>
                      <a:lnTo>
                        <a:pt x="68" y="24"/>
                      </a:lnTo>
                      <a:lnTo>
                        <a:pt x="70" y="22"/>
                      </a:lnTo>
                      <a:lnTo>
                        <a:pt x="70" y="20"/>
                      </a:lnTo>
                      <a:lnTo>
                        <a:pt x="62" y="18"/>
                      </a:lnTo>
                      <a:lnTo>
                        <a:pt x="62" y="1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800" name="Freeform 6102">
                  <a:extLst>
                    <a:ext uri="{FF2B5EF4-FFF2-40B4-BE49-F238E27FC236}">
                      <a16:creationId xmlns:a16="http://schemas.microsoft.com/office/drawing/2014/main" id="{DD6B9A47-61D0-48CF-85B3-2CC5C69991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2780" y="1048703"/>
                  <a:ext cx="449580" cy="129540"/>
                </a:xfrm>
                <a:custGeom>
                  <a:avLst/>
                  <a:gdLst/>
                  <a:ahLst/>
                  <a:cxnLst>
                    <a:cxn ang="0">
                      <a:pos x="342" y="198"/>
                    </a:cxn>
                    <a:cxn ang="0">
                      <a:pos x="406" y="202"/>
                    </a:cxn>
                    <a:cxn ang="0">
                      <a:pos x="530" y="198"/>
                    </a:cxn>
                    <a:cxn ang="0">
                      <a:pos x="560" y="176"/>
                    </a:cxn>
                    <a:cxn ang="0">
                      <a:pos x="566" y="188"/>
                    </a:cxn>
                    <a:cxn ang="0">
                      <a:pos x="624" y="200"/>
                    </a:cxn>
                    <a:cxn ang="0">
                      <a:pos x="680" y="190"/>
                    </a:cxn>
                    <a:cxn ang="0">
                      <a:pos x="688" y="174"/>
                    </a:cxn>
                    <a:cxn ang="0">
                      <a:pos x="708" y="168"/>
                    </a:cxn>
                    <a:cxn ang="0">
                      <a:pos x="694" y="158"/>
                    </a:cxn>
                    <a:cxn ang="0">
                      <a:pos x="700" y="144"/>
                    </a:cxn>
                    <a:cxn ang="0">
                      <a:pos x="700" y="126"/>
                    </a:cxn>
                    <a:cxn ang="0">
                      <a:pos x="672" y="110"/>
                    </a:cxn>
                    <a:cxn ang="0">
                      <a:pos x="642" y="104"/>
                    </a:cxn>
                    <a:cxn ang="0">
                      <a:pos x="600" y="96"/>
                    </a:cxn>
                    <a:cxn ang="0">
                      <a:pos x="480" y="110"/>
                    </a:cxn>
                    <a:cxn ang="0">
                      <a:pos x="442" y="126"/>
                    </a:cxn>
                    <a:cxn ang="0">
                      <a:pos x="416" y="122"/>
                    </a:cxn>
                    <a:cxn ang="0">
                      <a:pos x="374" y="120"/>
                    </a:cxn>
                    <a:cxn ang="0">
                      <a:pos x="346" y="114"/>
                    </a:cxn>
                    <a:cxn ang="0">
                      <a:pos x="330" y="110"/>
                    </a:cxn>
                    <a:cxn ang="0">
                      <a:pos x="324" y="124"/>
                    </a:cxn>
                    <a:cxn ang="0">
                      <a:pos x="310" y="116"/>
                    </a:cxn>
                    <a:cxn ang="0">
                      <a:pos x="310" y="102"/>
                    </a:cxn>
                    <a:cxn ang="0">
                      <a:pos x="294" y="84"/>
                    </a:cxn>
                    <a:cxn ang="0">
                      <a:pos x="268" y="84"/>
                    </a:cxn>
                    <a:cxn ang="0">
                      <a:pos x="262" y="76"/>
                    </a:cxn>
                    <a:cxn ang="0">
                      <a:pos x="308" y="74"/>
                    </a:cxn>
                    <a:cxn ang="0">
                      <a:pos x="316" y="66"/>
                    </a:cxn>
                    <a:cxn ang="0">
                      <a:pos x="278" y="52"/>
                    </a:cxn>
                    <a:cxn ang="0">
                      <a:pos x="240" y="34"/>
                    </a:cxn>
                    <a:cxn ang="0">
                      <a:pos x="182" y="36"/>
                    </a:cxn>
                    <a:cxn ang="0">
                      <a:pos x="154" y="30"/>
                    </a:cxn>
                    <a:cxn ang="0">
                      <a:pos x="124" y="10"/>
                    </a:cxn>
                    <a:cxn ang="0">
                      <a:pos x="78" y="6"/>
                    </a:cxn>
                    <a:cxn ang="0">
                      <a:pos x="10" y="0"/>
                    </a:cxn>
                    <a:cxn ang="0">
                      <a:pos x="2" y="12"/>
                    </a:cxn>
                    <a:cxn ang="0">
                      <a:pos x="18" y="32"/>
                    </a:cxn>
                    <a:cxn ang="0">
                      <a:pos x="58" y="52"/>
                    </a:cxn>
                    <a:cxn ang="0">
                      <a:pos x="66" y="66"/>
                    </a:cxn>
                    <a:cxn ang="0">
                      <a:pos x="112" y="66"/>
                    </a:cxn>
                    <a:cxn ang="0">
                      <a:pos x="160" y="60"/>
                    </a:cxn>
                    <a:cxn ang="0">
                      <a:pos x="186" y="84"/>
                    </a:cxn>
                    <a:cxn ang="0">
                      <a:pos x="202" y="98"/>
                    </a:cxn>
                    <a:cxn ang="0">
                      <a:pos x="194" y="120"/>
                    </a:cxn>
                    <a:cxn ang="0">
                      <a:pos x="186" y="142"/>
                    </a:cxn>
                    <a:cxn ang="0">
                      <a:pos x="198" y="154"/>
                    </a:cxn>
                    <a:cxn ang="0">
                      <a:pos x="206" y="182"/>
                    </a:cxn>
                    <a:cxn ang="0">
                      <a:pos x="232" y="190"/>
                    </a:cxn>
                    <a:cxn ang="0">
                      <a:pos x="250" y="186"/>
                    </a:cxn>
                    <a:cxn ang="0">
                      <a:pos x="282" y="198"/>
                    </a:cxn>
                    <a:cxn ang="0">
                      <a:pos x="326" y="188"/>
                    </a:cxn>
                    <a:cxn ang="0">
                      <a:pos x="342" y="188"/>
                    </a:cxn>
                  </a:cxnLst>
                  <a:rect l="0" t="0" r="r" b="b"/>
                  <a:pathLst>
                    <a:path w="708" h="204">
                      <a:moveTo>
                        <a:pt x="342" y="188"/>
                      </a:moveTo>
                      <a:lnTo>
                        <a:pt x="342" y="188"/>
                      </a:lnTo>
                      <a:lnTo>
                        <a:pt x="342" y="196"/>
                      </a:lnTo>
                      <a:lnTo>
                        <a:pt x="342" y="198"/>
                      </a:lnTo>
                      <a:lnTo>
                        <a:pt x="344" y="200"/>
                      </a:lnTo>
                      <a:lnTo>
                        <a:pt x="352" y="202"/>
                      </a:lnTo>
                      <a:lnTo>
                        <a:pt x="364" y="204"/>
                      </a:lnTo>
                      <a:lnTo>
                        <a:pt x="406" y="202"/>
                      </a:lnTo>
                      <a:lnTo>
                        <a:pt x="472" y="202"/>
                      </a:lnTo>
                      <a:lnTo>
                        <a:pt x="472" y="202"/>
                      </a:lnTo>
                      <a:lnTo>
                        <a:pt x="506" y="202"/>
                      </a:lnTo>
                      <a:lnTo>
                        <a:pt x="530" y="198"/>
                      </a:lnTo>
                      <a:lnTo>
                        <a:pt x="546" y="192"/>
                      </a:lnTo>
                      <a:lnTo>
                        <a:pt x="554" y="186"/>
                      </a:lnTo>
                      <a:lnTo>
                        <a:pt x="558" y="180"/>
                      </a:lnTo>
                      <a:lnTo>
                        <a:pt x="560" y="176"/>
                      </a:lnTo>
                      <a:lnTo>
                        <a:pt x="562" y="178"/>
                      </a:lnTo>
                      <a:lnTo>
                        <a:pt x="562" y="184"/>
                      </a:lnTo>
                      <a:lnTo>
                        <a:pt x="562" y="184"/>
                      </a:lnTo>
                      <a:lnTo>
                        <a:pt x="566" y="188"/>
                      </a:lnTo>
                      <a:lnTo>
                        <a:pt x="570" y="190"/>
                      </a:lnTo>
                      <a:lnTo>
                        <a:pt x="584" y="196"/>
                      </a:lnTo>
                      <a:lnTo>
                        <a:pt x="604" y="200"/>
                      </a:lnTo>
                      <a:lnTo>
                        <a:pt x="624" y="200"/>
                      </a:lnTo>
                      <a:lnTo>
                        <a:pt x="646" y="200"/>
                      </a:lnTo>
                      <a:lnTo>
                        <a:pt x="664" y="198"/>
                      </a:lnTo>
                      <a:lnTo>
                        <a:pt x="676" y="192"/>
                      </a:lnTo>
                      <a:lnTo>
                        <a:pt x="680" y="190"/>
                      </a:lnTo>
                      <a:lnTo>
                        <a:pt x="682" y="186"/>
                      </a:lnTo>
                      <a:lnTo>
                        <a:pt x="682" y="186"/>
                      </a:lnTo>
                      <a:lnTo>
                        <a:pt x="684" y="178"/>
                      </a:lnTo>
                      <a:lnTo>
                        <a:pt x="688" y="174"/>
                      </a:lnTo>
                      <a:lnTo>
                        <a:pt x="694" y="172"/>
                      </a:lnTo>
                      <a:lnTo>
                        <a:pt x="700" y="170"/>
                      </a:lnTo>
                      <a:lnTo>
                        <a:pt x="706" y="168"/>
                      </a:lnTo>
                      <a:lnTo>
                        <a:pt x="708" y="168"/>
                      </a:lnTo>
                      <a:lnTo>
                        <a:pt x="708" y="166"/>
                      </a:lnTo>
                      <a:lnTo>
                        <a:pt x="700" y="162"/>
                      </a:lnTo>
                      <a:lnTo>
                        <a:pt x="700" y="162"/>
                      </a:lnTo>
                      <a:lnTo>
                        <a:pt x="694" y="158"/>
                      </a:lnTo>
                      <a:lnTo>
                        <a:pt x="690" y="154"/>
                      </a:lnTo>
                      <a:lnTo>
                        <a:pt x="692" y="152"/>
                      </a:lnTo>
                      <a:lnTo>
                        <a:pt x="696" y="148"/>
                      </a:lnTo>
                      <a:lnTo>
                        <a:pt x="700" y="144"/>
                      </a:lnTo>
                      <a:lnTo>
                        <a:pt x="702" y="140"/>
                      </a:lnTo>
                      <a:lnTo>
                        <a:pt x="704" y="134"/>
                      </a:lnTo>
                      <a:lnTo>
                        <a:pt x="700" y="126"/>
                      </a:lnTo>
                      <a:lnTo>
                        <a:pt x="700" y="126"/>
                      </a:lnTo>
                      <a:lnTo>
                        <a:pt x="694" y="118"/>
                      </a:lnTo>
                      <a:lnTo>
                        <a:pt x="688" y="114"/>
                      </a:lnTo>
                      <a:lnTo>
                        <a:pt x="680" y="112"/>
                      </a:lnTo>
                      <a:lnTo>
                        <a:pt x="672" y="110"/>
                      </a:lnTo>
                      <a:lnTo>
                        <a:pt x="654" y="110"/>
                      </a:lnTo>
                      <a:lnTo>
                        <a:pt x="648" y="108"/>
                      </a:lnTo>
                      <a:lnTo>
                        <a:pt x="642" y="104"/>
                      </a:lnTo>
                      <a:lnTo>
                        <a:pt x="642" y="104"/>
                      </a:lnTo>
                      <a:lnTo>
                        <a:pt x="636" y="98"/>
                      </a:lnTo>
                      <a:lnTo>
                        <a:pt x="626" y="96"/>
                      </a:lnTo>
                      <a:lnTo>
                        <a:pt x="614" y="94"/>
                      </a:lnTo>
                      <a:lnTo>
                        <a:pt x="600" y="96"/>
                      </a:lnTo>
                      <a:lnTo>
                        <a:pt x="560" y="98"/>
                      </a:lnTo>
                      <a:lnTo>
                        <a:pt x="506" y="106"/>
                      </a:lnTo>
                      <a:lnTo>
                        <a:pt x="506" y="106"/>
                      </a:lnTo>
                      <a:lnTo>
                        <a:pt x="480" y="110"/>
                      </a:lnTo>
                      <a:lnTo>
                        <a:pt x="464" y="114"/>
                      </a:lnTo>
                      <a:lnTo>
                        <a:pt x="454" y="120"/>
                      </a:lnTo>
                      <a:lnTo>
                        <a:pt x="446" y="124"/>
                      </a:lnTo>
                      <a:lnTo>
                        <a:pt x="442" y="126"/>
                      </a:lnTo>
                      <a:lnTo>
                        <a:pt x="438" y="128"/>
                      </a:lnTo>
                      <a:lnTo>
                        <a:pt x="430" y="126"/>
                      </a:lnTo>
                      <a:lnTo>
                        <a:pt x="416" y="122"/>
                      </a:lnTo>
                      <a:lnTo>
                        <a:pt x="416" y="122"/>
                      </a:lnTo>
                      <a:lnTo>
                        <a:pt x="402" y="118"/>
                      </a:lnTo>
                      <a:lnTo>
                        <a:pt x="390" y="118"/>
                      </a:lnTo>
                      <a:lnTo>
                        <a:pt x="382" y="118"/>
                      </a:lnTo>
                      <a:lnTo>
                        <a:pt x="374" y="120"/>
                      </a:lnTo>
                      <a:lnTo>
                        <a:pt x="368" y="122"/>
                      </a:lnTo>
                      <a:lnTo>
                        <a:pt x="362" y="122"/>
                      </a:lnTo>
                      <a:lnTo>
                        <a:pt x="354" y="120"/>
                      </a:lnTo>
                      <a:lnTo>
                        <a:pt x="346" y="114"/>
                      </a:lnTo>
                      <a:lnTo>
                        <a:pt x="346" y="114"/>
                      </a:lnTo>
                      <a:lnTo>
                        <a:pt x="338" y="110"/>
                      </a:lnTo>
                      <a:lnTo>
                        <a:pt x="332" y="108"/>
                      </a:lnTo>
                      <a:lnTo>
                        <a:pt x="330" y="110"/>
                      </a:lnTo>
                      <a:lnTo>
                        <a:pt x="328" y="114"/>
                      </a:lnTo>
                      <a:lnTo>
                        <a:pt x="328" y="118"/>
                      </a:lnTo>
                      <a:lnTo>
                        <a:pt x="326" y="122"/>
                      </a:lnTo>
                      <a:lnTo>
                        <a:pt x="324" y="124"/>
                      </a:lnTo>
                      <a:lnTo>
                        <a:pt x="318" y="122"/>
                      </a:lnTo>
                      <a:lnTo>
                        <a:pt x="318" y="122"/>
                      </a:lnTo>
                      <a:lnTo>
                        <a:pt x="312" y="118"/>
                      </a:lnTo>
                      <a:lnTo>
                        <a:pt x="310" y="116"/>
                      </a:lnTo>
                      <a:lnTo>
                        <a:pt x="310" y="112"/>
                      </a:lnTo>
                      <a:lnTo>
                        <a:pt x="310" y="110"/>
                      </a:lnTo>
                      <a:lnTo>
                        <a:pt x="312" y="106"/>
                      </a:lnTo>
                      <a:lnTo>
                        <a:pt x="310" y="102"/>
                      </a:lnTo>
                      <a:lnTo>
                        <a:pt x="308" y="96"/>
                      </a:lnTo>
                      <a:lnTo>
                        <a:pt x="300" y="90"/>
                      </a:lnTo>
                      <a:lnTo>
                        <a:pt x="300" y="90"/>
                      </a:lnTo>
                      <a:lnTo>
                        <a:pt x="294" y="84"/>
                      </a:lnTo>
                      <a:lnTo>
                        <a:pt x="286" y="82"/>
                      </a:lnTo>
                      <a:lnTo>
                        <a:pt x="280" y="82"/>
                      </a:lnTo>
                      <a:lnTo>
                        <a:pt x="276" y="82"/>
                      </a:lnTo>
                      <a:lnTo>
                        <a:pt x="268" y="84"/>
                      </a:lnTo>
                      <a:lnTo>
                        <a:pt x="266" y="82"/>
                      </a:lnTo>
                      <a:lnTo>
                        <a:pt x="264" y="78"/>
                      </a:lnTo>
                      <a:lnTo>
                        <a:pt x="264" y="78"/>
                      </a:lnTo>
                      <a:lnTo>
                        <a:pt x="262" y="76"/>
                      </a:lnTo>
                      <a:lnTo>
                        <a:pt x="264" y="74"/>
                      </a:lnTo>
                      <a:lnTo>
                        <a:pt x="270" y="72"/>
                      </a:lnTo>
                      <a:lnTo>
                        <a:pt x="290" y="72"/>
                      </a:lnTo>
                      <a:lnTo>
                        <a:pt x="308" y="74"/>
                      </a:lnTo>
                      <a:lnTo>
                        <a:pt x="314" y="72"/>
                      </a:lnTo>
                      <a:lnTo>
                        <a:pt x="316" y="70"/>
                      </a:lnTo>
                      <a:lnTo>
                        <a:pt x="316" y="66"/>
                      </a:lnTo>
                      <a:lnTo>
                        <a:pt x="316" y="66"/>
                      </a:lnTo>
                      <a:lnTo>
                        <a:pt x="314" y="62"/>
                      </a:lnTo>
                      <a:lnTo>
                        <a:pt x="308" y="58"/>
                      </a:lnTo>
                      <a:lnTo>
                        <a:pt x="296" y="56"/>
                      </a:lnTo>
                      <a:lnTo>
                        <a:pt x="278" y="52"/>
                      </a:lnTo>
                      <a:lnTo>
                        <a:pt x="268" y="48"/>
                      </a:lnTo>
                      <a:lnTo>
                        <a:pt x="258" y="44"/>
                      </a:lnTo>
                      <a:lnTo>
                        <a:pt x="258" y="44"/>
                      </a:lnTo>
                      <a:lnTo>
                        <a:pt x="240" y="34"/>
                      </a:lnTo>
                      <a:lnTo>
                        <a:pt x="232" y="32"/>
                      </a:lnTo>
                      <a:lnTo>
                        <a:pt x="224" y="30"/>
                      </a:lnTo>
                      <a:lnTo>
                        <a:pt x="204" y="32"/>
                      </a:lnTo>
                      <a:lnTo>
                        <a:pt x="182" y="36"/>
                      </a:lnTo>
                      <a:lnTo>
                        <a:pt x="182" y="36"/>
                      </a:lnTo>
                      <a:lnTo>
                        <a:pt x="170" y="36"/>
                      </a:lnTo>
                      <a:lnTo>
                        <a:pt x="162" y="34"/>
                      </a:lnTo>
                      <a:lnTo>
                        <a:pt x="154" y="30"/>
                      </a:lnTo>
                      <a:lnTo>
                        <a:pt x="148" y="24"/>
                      </a:lnTo>
                      <a:lnTo>
                        <a:pt x="136" y="14"/>
                      </a:lnTo>
                      <a:lnTo>
                        <a:pt x="130" y="10"/>
                      </a:lnTo>
                      <a:lnTo>
                        <a:pt x="124" y="10"/>
                      </a:lnTo>
                      <a:lnTo>
                        <a:pt x="124" y="10"/>
                      </a:lnTo>
                      <a:lnTo>
                        <a:pt x="114" y="10"/>
                      </a:lnTo>
                      <a:lnTo>
                        <a:pt x="104" y="10"/>
                      </a:lnTo>
                      <a:lnTo>
                        <a:pt x="78" y="6"/>
                      </a:lnTo>
                      <a:lnTo>
                        <a:pt x="48" y="2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0" y="0"/>
                      </a:lnTo>
                      <a:lnTo>
                        <a:pt x="4" y="2"/>
                      </a:lnTo>
                      <a:lnTo>
                        <a:pt x="2" y="4"/>
                      </a:lnTo>
                      <a:lnTo>
                        <a:pt x="0" y="8"/>
                      </a:lnTo>
                      <a:lnTo>
                        <a:pt x="2" y="12"/>
                      </a:lnTo>
                      <a:lnTo>
                        <a:pt x="4" y="18"/>
                      </a:lnTo>
                      <a:lnTo>
                        <a:pt x="10" y="24"/>
                      </a:lnTo>
                      <a:lnTo>
                        <a:pt x="18" y="32"/>
                      </a:lnTo>
                      <a:lnTo>
                        <a:pt x="18" y="32"/>
                      </a:lnTo>
                      <a:lnTo>
                        <a:pt x="26" y="38"/>
                      </a:lnTo>
                      <a:lnTo>
                        <a:pt x="36" y="42"/>
                      </a:lnTo>
                      <a:lnTo>
                        <a:pt x="50" y="48"/>
                      </a:lnTo>
                      <a:lnTo>
                        <a:pt x="58" y="52"/>
                      </a:lnTo>
                      <a:lnTo>
                        <a:pt x="62" y="56"/>
                      </a:lnTo>
                      <a:lnTo>
                        <a:pt x="62" y="60"/>
                      </a:lnTo>
                      <a:lnTo>
                        <a:pt x="62" y="60"/>
                      </a:lnTo>
                      <a:lnTo>
                        <a:pt x="66" y="66"/>
                      </a:lnTo>
                      <a:lnTo>
                        <a:pt x="70" y="68"/>
                      </a:lnTo>
                      <a:lnTo>
                        <a:pt x="78" y="70"/>
                      </a:lnTo>
                      <a:lnTo>
                        <a:pt x="88" y="70"/>
                      </a:lnTo>
                      <a:lnTo>
                        <a:pt x="112" y="66"/>
                      </a:lnTo>
                      <a:lnTo>
                        <a:pt x="138" y="60"/>
                      </a:lnTo>
                      <a:lnTo>
                        <a:pt x="138" y="60"/>
                      </a:lnTo>
                      <a:lnTo>
                        <a:pt x="150" y="60"/>
                      </a:lnTo>
                      <a:lnTo>
                        <a:pt x="160" y="60"/>
                      </a:lnTo>
                      <a:lnTo>
                        <a:pt x="166" y="62"/>
                      </a:lnTo>
                      <a:lnTo>
                        <a:pt x="170" y="66"/>
                      </a:lnTo>
                      <a:lnTo>
                        <a:pt x="180" y="78"/>
                      </a:lnTo>
                      <a:lnTo>
                        <a:pt x="186" y="84"/>
                      </a:lnTo>
                      <a:lnTo>
                        <a:pt x="194" y="90"/>
                      </a:lnTo>
                      <a:lnTo>
                        <a:pt x="194" y="90"/>
                      </a:lnTo>
                      <a:lnTo>
                        <a:pt x="198" y="94"/>
                      </a:lnTo>
                      <a:lnTo>
                        <a:pt x="202" y="98"/>
                      </a:lnTo>
                      <a:lnTo>
                        <a:pt x="202" y="102"/>
                      </a:lnTo>
                      <a:lnTo>
                        <a:pt x="202" y="106"/>
                      </a:lnTo>
                      <a:lnTo>
                        <a:pt x="200" y="114"/>
                      </a:lnTo>
                      <a:lnTo>
                        <a:pt x="194" y="120"/>
                      </a:lnTo>
                      <a:lnTo>
                        <a:pt x="190" y="128"/>
                      </a:lnTo>
                      <a:lnTo>
                        <a:pt x="186" y="134"/>
                      </a:lnTo>
                      <a:lnTo>
                        <a:pt x="184" y="140"/>
                      </a:lnTo>
                      <a:lnTo>
                        <a:pt x="186" y="142"/>
                      </a:lnTo>
                      <a:lnTo>
                        <a:pt x="190" y="144"/>
                      </a:lnTo>
                      <a:lnTo>
                        <a:pt x="190" y="144"/>
                      </a:lnTo>
                      <a:lnTo>
                        <a:pt x="196" y="150"/>
                      </a:lnTo>
                      <a:lnTo>
                        <a:pt x="198" y="154"/>
                      </a:lnTo>
                      <a:lnTo>
                        <a:pt x="200" y="164"/>
                      </a:lnTo>
                      <a:lnTo>
                        <a:pt x="200" y="170"/>
                      </a:lnTo>
                      <a:lnTo>
                        <a:pt x="202" y="176"/>
                      </a:lnTo>
                      <a:lnTo>
                        <a:pt x="206" y="182"/>
                      </a:lnTo>
                      <a:lnTo>
                        <a:pt x="216" y="186"/>
                      </a:lnTo>
                      <a:lnTo>
                        <a:pt x="216" y="186"/>
                      </a:lnTo>
                      <a:lnTo>
                        <a:pt x="224" y="190"/>
                      </a:lnTo>
                      <a:lnTo>
                        <a:pt x="232" y="190"/>
                      </a:lnTo>
                      <a:lnTo>
                        <a:pt x="236" y="190"/>
                      </a:lnTo>
                      <a:lnTo>
                        <a:pt x="240" y="188"/>
                      </a:lnTo>
                      <a:lnTo>
                        <a:pt x="244" y="186"/>
                      </a:lnTo>
                      <a:lnTo>
                        <a:pt x="250" y="186"/>
                      </a:lnTo>
                      <a:lnTo>
                        <a:pt x="260" y="188"/>
                      </a:lnTo>
                      <a:lnTo>
                        <a:pt x="274" y="194"/>
                      </a:lnTo>
                      <a:lnTo>
                        <a:pt x="274" y="194"/>
                      </a:lnTo>
                      <a:lnTo>
                        <a:pt x="282" y="198"/>
                      </a:lnTo>
                      <a:lnTo>
                        <a:pt x="290" y="198"/>
                      </a:lnTo>
                      <a:lnTo>
                        <a:pt x="304" y="198"/>
                      </a:lnTo>
                      <a:lnTo>
                        <a:pt x="316" y="194"/>
                      </a:lnTo>
                      <a:lnTo>
                        <a:pt x="326" y="188"/>
                      </a:lnTo>
                      <a:lnTo>
                        <a:pt x="340" y="180"/>
                      </a:lnTo>
                      <a:lnTo>
                        <a:pt x="342" y="180"/>
                      </a:lnTo>
                      <a:lnTo>
                        <a:pt x="342" y="180"/>
                      </a:lnTo>
                      <a:lnTo>
                        <a:pt x="342" y="188"/>
                      </a:lnTo>
                      <a:lnTo>
                        <a:pt x="342" y="18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801" name="Freeform 6103">
                  <a:extLst>
                    <a:ext uri="{FF2B5EF4-FFF2-40B4-BE49-F238E27FC236}">
                      <a16:creationId xmlns:a16="http://schemas.microsoft.com/office/drawing/2014/main" id="{F4623CB0-7CC3-4906-B9F5-DC1CADEDCE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36750" y="1119823"/>
                  <a:ext cx="81280" cy="49530"/>
                </a:xfrm>
                <a:custGeom>
                  <a:avLst/>
                  <a:gdLst/>
                  <a:ahLst/>
                  <a:cxnLst>
                    <a:cxn ang="0">
                      <a:pos x="94" y="78"/>
                    </a:cxn>
                    <a:cxn ang="0">
                      <a:pos x="94" y="78"/>
                    </a:cxn>
                    <a:cxn ang="0">
                      <a:pos x="110" y="76"/>
                    </a:cxn>
                    <a:cxn ang="0">
                      <a:pos x="120" y="72"/>
                    </a:cxn>
                    <a:cxn ang="0">
                      <a:pos x="126" y="66"/>
                    </a:cxn>
                    <a:cxn ang="0">
                      <a:pos x="128" y="58"/>
                    </a:cxn>
                    <a:cxn ang="0">
                      <a:pos x="126" y="48"/>
                    </a:cxn>
                    <a:cxn ang="0">
                      <a:pos x="120" y="38"/>
                    </a:cxn>
                    <a:cxn ang="0">
                      <a:pos x="114" y="28"/>
                    </a:cxn>
                    <a:cxn ang="0">
                      <a:pos x="104" y="16"/>
                    </a:cxn>
                    <a:cxn ang="0">
                      <a:pos x="104" y="16"/>
                    </a:cxn>
                    <a:cxn ang="0">
                      <a:pos x="92" y="8"/>
                    </a:cxn>
                    <a:cxn ang="0">
                      <a:pos x="80" y="2"/>
                    </a:cxn>
                    <a:cxn ang="0">
                      <a:pos x="68" y="0"/>
                    </a:cxn>
                    <a:cxn ang="0">
                      <a:pos x="58" y="0"/>
                    </a:cxn>
                    <a:cxn ang="0">
                      <a:pos x="46" y="2"/>
                    </a:cxn>
                    <a:cxn ang="0">
                      <a:pos x="34" y="8"/>
                    </a:cxn>
                    <a:cxn ang="0">
                      <a:pos x="24" y="14"/>
                    </a:cxn>
                    <a:cxn ang="0">
                      <a:pos x="16" y="24"/>
                    </a:cxn>
                    <a:cxn ang="0">
                      <a:pos x="16" y="24"/>
                    </a:cxn>
                    <a:cxn ang="0">
                      <a:pos x="6" y="36"/>
                    </a:cxn>
                    <a:cxn ang="0">
                      <a:pos x="2" y="42"/>
                    </a:cxn>
                    <a:cxn ang="0">
                      <a:pos x="0" y="48"/>
                    </a:cxn>
                    <a:cxn ang="0">
                      <a:pos x="0" y="52"/>
                    </a:cxn>
                    <a:cxn ang="0">
                      <a:pos x="4" y="56"/>
                    </a:cxn>
                    <a:cxn ang="0">
                      <a:pos x="10" y="58"/>
                    </a:cxn>
                    <a:cxn ang="0">
                      <a:pos x="22" y="60"/>
                    </a:cxn>
                    <a:cxn ang="0">
                      <a:pos x="22" y="60"/>
                    </a:cxn>
                    <a:cxn ang="0">
                      <a:pos x="32" y="62"/>
                    </a:cxn>
                    <a:cxn ang="0">
                      <a:pos x="40" y="64"/>
                    </a:cxn>
                    <a:cxn ang="0">
                      <a:pos x="54" y="70"/>
                    </a:cxn>
                    <a:cxn ang="0">
                      <a:pos x="68" y="76"/>
                    </a:cxn>
                    <a:cxn ang="0">
                      <a:pos x="80" y="76"/>
                    </a:cxn>
                    <a:cxn ang="0">
                      <a:pos x="94" y="78"/>
                    </a:cxn>
                    <a:cxn ang="0">
                      <a:pos x="94" y="78"/>
                    </a:cxn>
                  </a:cxnLst>
                  <a:rect l="0" t="0" r="r" b="b"/>
                  <a:pathLst>
                    <a:path w="128" h="78">
                      <a:moveTo>
                        <a:pt x="94" y="78"/>
                      </a:moveTo>
                      <a:lnTo>
                        <a:pt x="94" y="78"/>
                      </a:lnTo>
                      <a:lnTo>
                        <a:pt x="110" y="76"/>
                      </a:lnTo>
                      <a:lnTo>
                        <a:pt x="120" y="72"/>
                      </a:lnTo>
                      <a:lnTo>
                        <a:pt x="126" y="66"/>
                      </a:lnTo>
                      <a:lnTo>
                        <a:pt x="128" y="58"/>
                      </a:lnTo>
                      <a:lnTo>
                        <a:pt x="126" y="48"/>
                      </a:lnTo>
                      <a:lnTo>
                        <a:pt x="120" y="38"/>
                      </a:lnTo>
                      <a:lnTo>
                        <a:pt x="114" y="28"/>
                      </a:lnTo>
                      <a:lnTo>
                        <a:pt x="104" y="16"/>
                      </a:lnTo>
                      <a:lnTo>
                        <a:pt x="104" y="16"/>
                      </a:lnTo>
                      <a:lnTo>
                        <a:pt x="92" y="8"/>
                      </a:lnTo>
                      <a:lnTo>
                        <a:pt x="80" y="2"/>
                      </a:lnTo>
                      <a:lnTo>
                        <a:pt x="68" y="0"/>
                      </a:lnTo>
                      <a:lnTo>
                        <a:pt x="58" y="0"/>
                      </a:lnTo>
                      <a:lnTo>
                        <a:pt x="46" y="2"/>
                      </a:lnTo>
                      <a:lnTo>
                        <a:pt x="34" y="8"/>
                      </a:lnTo>
                      <a:lnTo>
                        <a:pt x="24" y="14"/>
                      </a:lnTo>
                      <a:lnTo>
                        <a:pt x="16" y="24"/>
                      </a:lnTo>
                      <a:lnTo>
                        <a:pt x="16" y="24"/>
                      </a:lnTo>
                      <a:lnTo>
                        <a:pt x="6" y="36"/>
                      </a:lnTo>
                      <a:lnTo>
                        <a:pt x="2" y="42"/>
                      </a:lnTo>
                      <a:lnTo>
                        <a:pt x="0" y="48"/>
                      </a:lnTo>
                      <a:lnTo>
                        <a:pt x="0" y="52"/>
                      </a:lnTo>
                      <a:lnTo>
                        <a:pt x="4" y="56"/>
                      </a:lnTo>
                      <a:lnTo>
                        <a:pt x="10" y="58"/>
                      </a:lnTo>
                      <a:lnTo>
                        <a:pt x="22" y="60"/>
                      </a:lnTo>
                      <a:lnTo>
                        <a:pt x="22" y="60"/>
                      </a:lnTo>
                      <a:lnTo>
                        <a:pt x="32" y="62"/>
                      </a:lnTo>
                      <a:lnTo>
                        <a:pt x="40" y="64"/>
                      </a:lnTo>
                      <a:lnTo>
                        <a:pt x="54" y="70"/>
                      </a:lnTo>
                      <a:lnTo>
                        <a:pt x="68" y="76"/>
                      </a:lnTo>
                      <a:lnTo>
                        <a:pt x="80" y="76"/>
                      </a:lnTo>
                      <a:lnTo>
                        <a:pt x="94" y="78"/>
                      </a:lnTo>
                      <a:lnTo>
                        <a:pt x="94" y="7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802" name="Freeform 6104">
                  <a:extLst>
                    <a:ext uri="{FF2B5EF4-FFF2-40B4-BE49-F238E27FC236}">
                      <a16:creationId xmlns:a16="http://schemas.microsoft.com/office/drawing/2014/main" id="{22020347-E58F-4C3A-AB50-FF996C8EF5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40560" y="1010603"/>
                  <a:ext cx="80010" cy="19050"/>
                </a:xfrm>
                <a:custGeom>
                  <a:avLst/>
                  <a:gdLst/>
                  <a:ahLst/>
                  <a:cxnLst>
                    <a:cxn ang="0">
                      <a:pos x="92" y="28"/>
                    </a:cxn>
                    <a:cxn ang="0">
                      <a:pos x="92" y="28"/>
                    </a:cxn>
                    <a:cxn ang="0">
                      <a:pos x="108" y="28"/>
                    </a:cxn>
                    <a:cxn ang="0">
                      <a:pos x="120" y="26"/>
                    </a:cxn>
                    <a:cxn ang="0">
                      <a:pos x="124" y="22"/>
                    </a:cxn>
                    <a:cxn ang="0">
                      <a:pos x="126" y="20"/>
                    </a:cxn>
                    <a:cxn ang="0">
                      <a:pos x="126" y="16"/>
                    </a:cxn>
                    <a:cxn ang="0">
                      <a:pos x="122" y="12"/>
                    </a:cxn>
                    <a:cxn ang="0">
                      <a:pos x="112" y="8"/>
                    </a:cxn>
                    <a:cxn ang="0">
                      <a:pos x="100" y="4"/>
                    </a:cxn>
                    <a:cxn ang="0">
                      <a:pos x="82" y="2"/>
                    </a:cxn>
                    <a:cxn ang="0">
                      <a:pos x="82" y="2"/>
                    </a:cxn>
                    <a:cxn ang="0">
                      <a:pos x="48" y="0"/>
                    </a:cxn>
                    <a:cxn ang="0">
                      <a:pos x="22" y="4"/>
                    </a:cxn>
                    <a:cxn ang="0">
                      <a:pos x="14" y="6"/>
                    </a:cxn>
                    <a:cxn ang="0">
                      <a:pos x="6" y="8"/>
                    </a:cxn>
                    <a:cxn ang="0">
                      <a:pos x="2" y="12"/>
                    </a:cxn>
                    <a:cxn ang="0">
                      <a:pos x="0" y="18"/>
                    </a:cxn>
                    <a:cxn ang="0">
                      <a:pos x="0" y="18"/>
                    </a:cxn>
                    <a:cxn ang="0">
                      <a:pos x="2" y="24"/>
                    </a:cxn>
                    <a:cxn ang="0">
                      <a:pos x="6" y="26"/>
                    </a:cxn>
                    <a:cxn ang="0">
                      <a:pos x="16" y="28"/>
                    </a:cxn>
                    <a:cxn ang="0">
                      <a:pos x="26" y="30"/>
                    </a:cxn>
                    <a:cxn ang="0">
                      <a:pos x="56" y="28"/>
                    </a:cxn>
                    <a:cxn ang="0">
                      <a:pos x="92" y="28"/>
                    </a:cxn>
                    <a:cxn ang="0">
                      <a:pos x="92" y="28"/>
                    </a:cxn>
                  </a:cxnLst>
                  <a:rect l="0" t="0" r="r" b="b"/>
                  <a:pathLst>
                    <a:path w="126" h="30">
                      <a:moveTo>
                        <a:pt x="92" y="28"/>
                      </a:moveTo>
                      <a:lnTo>
                        <a:pt x="92" y="28"/>
                      </a:lnTo>
                      <a:lnTo>
                        <a:pt x="108" y="28"/>
                      </a:lnTo>
                      <a:lnTo>
                        <a:pt x="120" y="26"/>
                      </a:lnTo>
                      <a:lnTo>
                        <a:pt x="124" y="22"/>
                      </a:lnTo>
                      <a:lnTo>
                        <a:pt x="126" y="20"/>
                      </a:lnTo>
                      <a:lnTo>
                        <a:pt x="126" y="16"/>
                      </a:lnTo>
                      <a:lnTo>
                        <a:pt x="122" y="12"/>
                      </a:lnTo>
                      <a:lnTo>
                        <a:pt x="112" y="8"/>
                      </a:lnTo>
                      <a:lnTo>
                        <a:pt x="100" y="4"/>
                      </a:lnTo>
                      <a:lnTo>
                        <a:pt x="82" y="2"/>
                      </a:lnTo>
                      <a:lnTo>
                        <a:pt x="82" y="2"/>
                      </a:lnTo>
                      <a:lnTo>
                        <a:pt x="48" y="0"/>
                      </a:lnTo>
                      <a:lnTo>
                        <a:pt x="22" y="4"/>
                      </a:lnTo>
                      <a:lnTo>
                        <a:pt x="14" y="6"/>
                      </a:lnTo>
                      <a:lnTo>
                        <a:pt x="6" y="8"/>
                      </a:lnTo>
                      <a:lnTo>
                        <a:pt x="2" y="12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2" y="24"/>
                      </a:lnTo>
                      <a:lnTo>
                        <a:pt x="6" y="26"/>
                      </a:lnTo>
                      <a:lnTo>
                        <a:pt x="16" y="28"/>
                      </a:lnTo>
                      <a:lnTo>
                        <a:pt x="26" y="30"/>
                      </a:lnTo>
                      <a:lnTo>
                        <a:pt x="56" y="28"/>
                      </a:lnTo>
                      <a:lnTo>
                        <a:pt x="92" y="28"/>
                      </a:lnTo>
                      <a:lnTo>
                        <a:pt x="92" y="2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803" name="Freeform 6105">
                  <a:extLst>
                    <a:ext uri="{FF2B5EF4-FFF2-40B4-BE49-F238E27FC236}">
                      <a16:creationId xmlns:a16="http://schemas.microsoft.com/office/drawing/2014/main" id="{44B1F971-D9C2-4998-AD9C-6DB0CD7163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94560" y="944563"/>
                  <a:ext cx="34290" cy="12700"/>
                </a:xfrm>
                <a:custGeom>
                  <a:avLst/>
                  <a:gdLst/>
                  <a:ahLst/>
                  <a:cxnLst>
                    <a:cxn ang="0">
                      <a:pos x="54" y="4"/>
                    </a:cxn>
                    <a:cxn ang="0">
                      <a:pos x="54" y="4"/>
                    </a:cxn>
                    <a:cxn ang="0">
                      <a:pos x="54" y="2"/>
                    </a:cxn>
                    <a:cxn ang="0">
                      <a:pos x="50" y="0"/>
                    </a:cxn>
                    <a:cxn ang="0">
                      <a:pos x="36" y="0"/>
                    </a:cxn>
                    <a:cxn ang="0">
                      <a:pos x="18" y="6"/>
                    </a:cxn>
                    <a:cxn ang="0">
                      <a:pos x="8" y="10"/>
                    </a:cxn>
                    <a:cxn ang="0">
                      <a:pos x="2" y="14"/>
                    </a:cxn>
                    <a:cxn ang="0">
                      <a:pos x="2" y="14"/>
                    </a:cxn>
                    <a:cxn ang="0">
                      <a:pos x="0" y="18"/>
                    </a:cxn>
                    <a:cxn ang="0">
                      <a:pos x="4" y="20"/>
                    </a:cxn>
                    <a:cxn ang="0">
                      <a:pos x="20" y="18"/>
                    </a:cxn>
                    <a:cxn ang="0">
                      <a:pos x="42" y="12"/>
                    </a:cxn>
                    <a:cxn ang="0">
                      <a:pos x="50" y="8"/>
                    </a:cxn>
                    <a:cxn ang="0">
                      <a:pos x="54" y="4"/>
                    </a:cxn>
                    <a:cxn ang="0">
                      <a:pos x="54" y="4"/>
                    </a:cxn>
                  </a:cxnLst>
                  <a:rect l="0" t="0" r="r" b="b"/>
                  <a:pathLst>
                    <a:path w="54" h="20">
                      <a:moveTo>
                        <a:pt x="54" y="4"/>
                      </a:moveTo>
                      <a:lnTo>
                        <a:pt x="54" y="4"/>
                      </a:lnTo>
                      <a:lnTo>
                        <a:pt x="54" y="2"/>
                      </a:lnTo>
                      <a:lnTo>
                        <a:pt x="50" y="0"/>
                      </a:lnTo>
                      <a:lnTo>
                        <a:pt x="36" y="0"/>
                      </a:lnTo>
                      <a:lnTo>
                        <a:pt x="18" y="6"/>
                      </a:lnTo>
                      <a:lnTo>
                        <a:pt x="8" y="10"/>
                      </a:lnTo>
                      <a:lnTo>
                        <a:pt x="2" y="14"/>
                      </a:lnTo>
                      <a:lnTo>
                        <a:pt x="2" y="14"/>
                      </a:lnTo>
                      <a:lnTo>
                        <a:pt x="0" y="18"/>
                      </a:lnTo>
                      <a:lnTo>
                        <a:pt x="4" y="20"/>
                      </a:lnTo>
                      <a:lnTo>
                        <a:pt x="20" y="18"/>
                      </a:lnTo>
                      <a:lnTo>
                        <a:pt x="42" y="12"/>
                      </a:lnTo>
                      <a:lnTo>
                        <a:pt x="50" y="8"/>
                      </a:lnTo>
                      <a:lnTo>
                        <a:pt x="54" y="4"/>
                      </a:lnTo>
                      <a:lnTo>
                        <a:pt x="54" y="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804" name="Freeform 6106">
                  <a:extLst>
                    <a:ext uri="{FF2B5EF4-FFF2-40B4-BE49-F238E27FC236}">
                      <a16:creationId xmlns:a16="http://schemas.microsoft.com/office/drawing/2014/main" id="{DA38925C-968C-4E0C-A58A-B8192C8C88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57400" y="727393"/>
                  <a:ext cx="784860" cy="367030"/>
                </a:xfrm>
                <a:custGeom>
                  <a:avLst/>
                  <a:gdLst/>
                  <a:ahLst/>
                  <a:cxnLst>
                    <a:cxn ang="0">
                      <a:pos x="68" y="162"/>
                    </a:cxn>
                    <a:cxn ang="0">
                      <a:pos x="122" y="204"/>
                    </a:cxn>
                    <a:cxn ang="0">
                      <a:pos x="246" y="182"/>
                    </a:cxn>
                    <a:cxn ang="0">
                      <a:pos x="202" y="210"/>
                    </a:cxn>
                    <a:cxn ang="0">
                      <a:pos x="334" y="210"/>
                    </a:cxn>
                    <a:cxn ang="0">
                      <a:pos x="494" y="186"/>
                    </a:cxn>
                    <a:cxn ang="0">
                      <a:pos x="540" y="190"/>
                    </a:cxn>
                    <a:cxn ang="0">
                      <a:pos x="450" y="222"/>
                    </a:cxn>
                    <a:cxn ang="0">
                      <a:pos x="402" y="274"/>
                    </a:cxn>
                    <a:cxn ang="0">
                      <a:pos x="402" y="298"/>
                    </a:cxn>
                    <a:cxn ang="0">
                      <a:pos x="246" y="240"/>
                    </a:cxn>
                    <a:cxn ang="0">
                      <a:pos x="226" y="284"/>
                    </a:cxn>
                    <a:cxn ang="0">
                      <a:pos x="296" y="336"/>
                    </a:cxn>
                    <a:cxn ang="0">
                      <a:pos x="336" y="356"/>
                    </a:cxn>
                    <a:cxn ang="0">
                      <a:pos x="298" y="364"/>
                    </a:cxn>
                    <a:cxn ang="0">
                      <a:pos x="168" y="410"/>
                    </a:cxn>
                    <a:cxn ang="0">
                      <a:pos x="226" y="422"/>
                    </a:cxn>
                    <a:cxn ang="0">
                      <a:pos x="256" y="440"/>
                    </a:cxn>
                    <a:cxn ang="0">
                      <a:pos x="330" y="460"/>
                    </a:cxn>
                    <a:cxn ang="0">
                      <a:pos x="342" y="464"/>
                    </a:cxn>
                    <a:cxn ang="0">
                      <a:pos x="238" y="460"/>
                    </a:cxn>
                    <a:cxn ang="0">
                      <a:pos x="140" y="450"/>
                    </a:cxn>
                    <a:cxn ang="0">
                      <a:pos x="160" y="502"/>
                    </a:cxn>
                    <a:cxn ang="0">
                      <a:pos x="92" y="546"/>
                    </a:cxn>
                    <a:cxn ang="0">
                      <a:pos x="146" y="562"/>
                    </a:cxn>
                    <a:cxn ang="0">
                      <a:pos x="244" y="562"/>
                    </a:cxn>
                    <a:cxn ang="0">
                      <a:pos x="322" y="552"/>
                    </a:cxn>
                    <a:cxn ang="0">
                      <a:pos x="438" y="548"/>
                    </a:cxn>
                    <a:cxn ang="0">
                      <a:pos x="462" y="578"/>
                    </a:cxn>
                    <a:cxn ang="0">
                      <a:pos x="560" y="538"/>
                    </a:cxn>
                    <a:cxn ang="0">
                      <a:pos x="518" y="514"/>
                    </a:cxn>
                    <a:cxn ang="0">
                      <a:pos x="550" y="472"/>
                    </a:cxn>
                    <a:cxn ang="0">
                      <a:pos x="550" y="432"/>
                    </a:cxn>
                    <a:cxn ang="0">
                      <a:pos x="668" y="402"/>
                    </a:cxn>
                    <a:cxn ang="0">
                      <a:pos x="684" y="372"/>
                    </a:cxn>
                    <a:cxn ang="0">
                      <a:pos x="686" y="348"/>
                    </a:cxn>
                    <a:cxn ang="0">
                      <a:pos x="658" y="326"/>
                    </a:cxn>
                    <a:cxn ang="0">
                      <a:pos x="588" y="318"/>
                    </a:cxn>
                    <a:cxn ang="0">
                      <a:pos x="752" y="284"/>
                    </a:cxn>
                    <a:cxn ang="0">
                      <a:pos x="832" y="278"/>
                    </a:cxn>
                    <a:cxn ang="0">
                      <a:pos x="1076" y="154"/>
                    </a:cxn>
                    <a:cxn ang="0">
                      <a:pos x="1000" y="142"/>
                    </a:cxn>
                    <a:cxn ang="0">
                      <a:pos x="1232" y="76"/>
                    </a:cxn>
                    <a:cxn ang="0">
                      <a:pos x="1168" y="54"/>
                    </a:cxn>
                    <a:cxn ang="0">
                      <a:pos x="1094" y="20"/>
                    </a:cxn>
                    <a:cxn ang="0">
                      <a:pos x="962" y="40"/>
                    </a:cxn>
                    <a:cxn ang="0">
                      <a:pos x="1006" y="20"/>
                    </a:cxn>
                    <a:cxn ang="0">
                      <a:pos x="858" y="2"/>
                    </a:cxn>
                    <a:cxn ang="0">
                      <a:pos x="690" y="10"/>
                    </a:cxn>
                    <a:cxn ang="0">
                      <a:pos x="500" y="14"/>
                    </a:cxn>
                    <a:cxn ang="0">
                      <a:pos x="412" y="24"/>
                    </a:cxn>
                    <a:cxn ang="0">
                      <a:pos x="392" y="42"/>
                    </a:cxn>
                    <a:cxn ang="0">
                      <a:pos x="340" y="70"/>
                    </a:cxn>
                    <a:cxn ang="0">
                      <a:pos x="264" y="52"/>
                    </a:cxn>
                    <a:cxn ang="0">
                      <a:pos x="224" y="76"/>
                    </a:cxn>
                    <a:cxn ang="0">
                      <a:pos x="248" y="98"/>
                    </a:cxn>
                    <a:cxn ang="0">
                      <a:pos x="130" y="92"/>
                    </a:cxn>
                    <a:cxn ang="0">
                      <a:pos x="50" y="104"/>
                    </a:cxn>
                    <a:cxn ang="0">
                      <a:pos x="12" y="144"/>
                    </a:cxn>
                  </a:cxnLst>
                  <a:rect l="0" t="0" r="r" b="b"/>
                  <a:pathLst>
                    <a:path w="1236" h="578">
                      <a:moveTo>
                        <a:pt x="44" y="148"/>
                      </a:moveTo>
                      <a:lnTo>
                        <a:pt x="44" y="148"/>
                      </a:lnTo>
                      <a:lnTo>
                        <a:pt x="50" y="150"/>
                      </a:lnTo>
                      <a:lnTo>
                        <a:pt x="58" y="152"/>
                      </a:lnTo>
                      <a:lnTo>
                        <a:pt x="74" y="150"/>
                      </a:lnTo>
                      <a:lnTo>
                        <a:pt x="80" y="150"/>
                      </a:lnTo>
                      <a:lnTo>
                        <a:pt x="80" y="152"/>
                      </a:lnTo>
                      <a:lnTo>
                        <a:pt x="74" y="156"/>
                      </a:lnTo>
                      <a:lnTo>
                        <a:pt x="74" y="156"/>
                      </a:lnTo>
                      <a:lnTo>
                        <a:pt x="68" y="162"/>
                      </a:lnTo>
                      <a:lnTo>
                        <a:pt x="62" y="168"/>
                      </a:lnTo>
                      <a:lnTo>
                        <a:pt x="62" y="172"/>
                      </a:lnTo>
                      <a:lnTo>
                        <a:pt x="62" y="178"/>
                      </a:lnTo>
                      <a:lnTo>
                        <a:pt x="66" y="182"/>
                      </a:lnTo>
                      <a:lnTo>
                        <a:pt x="72" y="186"/>
                      </a:lnTo>
                      <a:lnTo>
                        <a:pt x="82" y="190"/>
                      </a:lnTo>
                      <a:lnTo>
                        <a:pt x="94" y="194"/>
                      </a:lnTo>
                      <a:lnTo>
                        <a:pt x="94" y="194"/>
                      </a:lnTo>
                      <a:lnTo>
                        <a:pt x="108" y="200"/>
                      </a:lnTo>
                      <a:lnTo>
                        <a:pt x="122" y="204"/>
                      </a:lnTo>
                      <a:lnTo>
                        <a:pt x="144" y="212"/>
                      </a:lnTo>
                      <a:lnTo>
                        <a:pt x="156" y="216"/>
                      </a:lnTo>
                      <a:lnTo>
                        <a:pt x="166" y="214"/>
                      </a:lnTo>
                      <a:lnTo>
                        <a:pt x="178" y="212"/>
                      </a:lnTo>
                      <a:lnTo>
                        <a:pt x="192" y="204"/>
                      </a:lnTo>
                      <a:lnTo>
                        <a:pt x="192" y="204"/>
                      </a:lnTo>
                      <a:lnTo>
                        <a:pt x="206" y="194"/>
                      </a:lnTo>
                      <a:lnTo>
                        <a:pt x="222" y="188"/>
                      </a:lnTo>
                      <a:lnTo>
                        <a:pt x="234" y="184"/>
                      </a:lnTo>
                      <a:lnTo>
                        <a:pt x="246" y="182"/>
                      </a:lnTo>
                      <a:lnTo>
                        <a:pt x="254" y="182"/>
                      </a:lnTo>
                      <a:lnTo>
                        <a:pt x="258" y="182"/>
                      </a:lnTo>
                      <a:lnTo>
                        <a:pt x="256" y="184"/>
                      </a:lnTo>
                      <a:lnTo>
                        <a:pt x="250" y="186"/>
                      </a:lnTo>
                      <a:lnTo>
                        <a:pt x="250" y="186"/>
                      </a:lnTo>
                      <a:lnTo>
                        <a:pt x="224" y="194"/>
                      </a:lnTo>
                      <a:lnTo>
                        <a:pt x="212" y="200"/>
                      </a:lnTo>
                      <a:lnTo>
                        <a:pt x="204" y="206"/>
                      </a:lnTo>
                      <a:lnTo>
                        <a:pt x="202" y="208"/>
                      </a:lnTo>
                      <a:lnTo>
                        <a:pt x="202" y="210"/>
                      </a:lnTo>
                      <a:lnTo>
                        <a:pt x="204" y="214"/>
                      </a:lnTo>
                      <a:lnTo>
                        <a:pt x="208" y="216"/>
                      </a:lnTo>
                      <a:lnTo>
                        <a:pt x="224" y="220"/>
                      </a:lnTo>
                      <a:lnTo>
                        <a:pt x="254" y="224"/>
                      </a:lnTo>
                      <a:lnTo>
                        <a:pt x="254" y="224"/>
                      </a:lnTo>
                      <a:lnTo>
                        <a:pt x="284" y="224"/>
                      </a:lnTo>
                      <a:lnTo>
                        <a:pt x="304" y="224"/>
                      </a:lnTo>
                      <a:lnTo>
                        <a:pt x="318" y="220"/>
                      </a:lnTo>
                      <a:lnTo>
                        <a:pt x="326" y="216"/>
                      </a:lnTo>
                      <a:lnTo>
                        <a:pt x="334" y="210"/>
                      </a:lnTo>
                      <a:lnTo>
                        <a:pt x="338" y="210"/>
                      </a:lnTo>
                      <a:lnTo>
                        <a:pt x="346" y="214"/>
                      </a:lnTo>
                      <a:lnTo>
                        <a:pt x="346" y="214"/>
                      </a:lnTo>
                      <a:lnTo>
                        <a:pt x="358" y="218"/>
                      </a:lnTo>
                      <a:lnTo>
                        <a:pt x="374" y="218"/>
                      </a:lnTo>
                      <a:lnTo>
                        <a:pt x="394" y="216"/>
                      </a:lnTo>
                      <a:lnTo>
                        <a:pt x="418" y="212"/>
                      </a:lnTo>
                      <a:lnTo>
                        <a:pt x="442" y="206"/>
                      </a:lnTo>
                      <a:lnTo>
                        <a:pt x="468" y="196"/>
                      </a:lnTo>
                      <a:lnTo>
                        <a:pt x="494" y="186"/>
                      </a:lnTo>
                      <a:lnTo>
                        <a:pt x="520" y="174"/>
                      </a:lnTo>
                      <a:lnTo>
                        <a:pt x="520" y="174"/>
                      </a:lnTo>
                      <a:lnTo>
                        <a:pt x="546" y="160"/>
                      </a:lnTo>
                      <a:lnTo>
                        <a:pt x="544" y="162"/>
                      </a:lnTo>
                      <a:lnTo>
                        <a:pt x="540" y="168"/>
                      </a:lnTo>
                      <a:lnTo>
                        <a:pt x="536" y="176"/>
                      </a:lnTo>
                      <a:lnTo>
                        <a:pt x="534" y="180"/>
                      </a:lnTo>
                      <a:lnTo>
                        <a:pt x="534" y="184"/>
                      </a:lnTo>
                      <a:lnTo>
                        <a:pt x="536" y="186"/>
                      </a:lnTo>
                      <a:lnTo>
                        <a:pt x="540" y="190"/>
                      </a:lnTo>
                      <a:lnTo>
                        <a:pt x="548" y="192"/>
                      </a:lnTo>
                      <a:lnTo>
                        <a:pt x="558" y="192"/>
                      </a:lnTo>
                      <a:lnTo>
                        <a:pt x="558" y="192"/>
                      </a:lnTo>
                      <a:lnTo>
                        <a:pt x="576" y="194"/>
                      </a:lnTo>
                      <a:lnTo>
                        <a:pt x="584" y="196"/>
                      </a:lnTo>
                      <a:lnTo>
                        <a:pt x="584" y="196"/>
                      </a:lnTo>
                      <a:lnTo>
                        <a:pt x="580" y="198"/>
                      </a:lnTo>
                      <a:lnTo>
                        <a:pt x="570" y="200"/>
                      </a:lnTo>
                      <a:lnTo>
                        <a:pt x="524" y="208"/>
                      </a:lnTo>
                      <a:lnTo>
                        <a:pt x="450" y="222"/>
                      </a:lnTo>
                      <a:lnTo>
                        <a:pt x="450" y="222"/>
                      </a:lnTo>
                      <a:lnTo>
                        <a:pt x="388" y="236"/>
                      </a:lnTo>
                      <a:lnTo>
                        <a:pt x="370" y="238"/>
                      </a:lnTo>
                      <a:lnTo>
                        <a:pt x="360" y="242"/>
                      </a:lnTo>
                      <a:lnTo>
                        <a:pt x="358" y="242"/>
                      </a:lnTo>
                      <a:lnTo>
                        <a:pt x="358" y="244"/>
                      </a:lnTo>
                      <a:lnTo>
                        <a:pt x="362" y="248"/>
                      </a:lnTo>
                      <a:lnTo>
                        <a:pt x="386" y="264"/>
                      </a:lnTo>
                      <a:lnTo>
                        <a:pt x="386" y="264"/>
                      </a:lnTo>
                      <a:lnTo>
                        <a:pt x="402" y="274"/>
                      </a:lnTo>
                      <a:lnTo>
                        <a:pt x="418" y="282"/>
                      </a:lnTo>
                      <a:lnTo>
                        <a:pt x="442" y="292"/>
                      </a:lnTo>
                      <a:lnTo>
                        <a:pt x="450" y="296"/>
                      </a:lnTo>
                      <a:lnTo>
                        <a:pt x="452" y="298"/>
                      </a:lnTo>
                      <a:lnTo>
                        <a:pt x="448" y="302"/>
                      </a:lnTo>
                      <a:lnTo>
                        <a:pt x="436" y="304"/>
                      </a:lnTo>
                      <a:lnTo>
                        <a:pt x="436" y="304"/>
                      </a:lnTo>
                      <a:lnTo>
                        <a:pt x="422" y="304"/>
                      </a:lnTo>
                      <a:lnTo>
                        <a:pt x="410" y="302"/>
                      </a:lnTo>
                      <a:lnTo>
                        <a:pt x="402" y="298"/>
                      </a:lnTo>
                      <a:lnTo>
                        <a:pt x="394" y="292"/>
                      </a:lnTo>
                      <a:lnTo>
                        <a:pt x="378" y="276"/>
                      </a:lnTo>
                      <a:lnTo>
                        <a:pt x="368" y="268"/>
                      </a:lnTo>
                      <a:lnTo>
                        <a:pt x="356" y="260"/>
                      </a:lnTo>
                      <a:lnTo>
                        <a:pt x="356" y="260"/>
                      </a:lnTo>
                      <a:lnTo>
                        <a:pt x="338" y="254"/>
                      </a:lnTo>
                      <a:lnTo>
                        <a:pt x="316" y="248"/>
                      </a:lnTo>
                      <a:lnTo>
                        <a:pt x="292" y="244"/>
                      </a:lnTo>
                      <a:lnTo>
                        <a:pt x="268" y="242"/>
                      </a:lnTo>
                      <a:lnTo>
                        <a:pt x="246" y="240"/>
                      </a:lnTo>
                      <a:lnTo>
                        <a:pt x="228" y="242"/>
                      </a:lnTo>
                      <a:lnTo>
                        <a:pt x="220" y="244"/>
                      </a:lnTo>
                      <a:lnTo>
                        <a:pt x="216" y="246"/>
                      </a:lnTo>
                      <a:lnTo>
                        <a:pt x="212" y="250"/>
                      </a:lnTo>
                      <a:lnTo>
                        <a:pt x="210" y="254"/>
                      </a:lnTo>
                      <a:lnTo>
                        <a:pt x="210" y="254"/>
                      </a:lnTo>
                      <a:lnTo>
                        <a:pt x="210" y="270"/>
                      </a:lnTo>
                      <a:lnTo>
                        <a:pt x="212" y="274"/>
                      </a:lnTo>
                      <a:lnTo>
                        <a:pt x="214" y="278"/>
                      </a:lnTo>
                      <a:lnTo>
                        <a:pt x="226" y="284"/>
                      </a:lnTo>
                      <a:lnTo>
                        <a:pt x="250" y="292"/>
                      </a:lnTo>
                      <a:lnTo>
                        <a:pt x="250" y="292"/>
                      </a:lnTo>
                      <a:lnTo>
                        <a:pt x="262" y="298"/>
                      </a:lnTo>
                      <a:lnTo>
                        <a:pt x="276" y="304"/>
                      </a:lnTo>
                      <a:lnTo>
                        <a:pt x="294" y="318"/>
                      </a:lnTo>
                      <a:lnTo>
                        <a:pt x="300" y="326"/>
                      </a:lnTo>
                      <a:lnTo>
                        <a:pt x="302" y="330"/>
                      </a:lnTo>
                      <a:lnTo>
                        <a:pt x="302" y="334"/>
                      </a:lnTo>
                      <a:lnTo>
                        <a:pt x="296" y="336"/>
                      </a:lnTo>
                      <a:lnTo>
                        <a:pt x="296" y="336"/>
                      </a:lnTo>
                      <a:lnTo>
                        <a:pt x="290" y="338"/>
                      </a:lnTo>
                      <a:lnTo>
                        <a:pt x="286" y="340"/>
                      </a:lnTo>
                      <a:lnTo>
                        <a:pt x="284" y="344"/>
                      </a:lnTo>
                      <a:lnTo>
                        <a:pt x="286" y="346"/>
                      </a:lnTo>
                      <a:lnTo>
                        <a:pt x="290" y="348"/>
                      </a:lnTo>
                      <a:lnTo>
                        <a:pt x="296" y="352"/>
                      </a:lnTo>
                      <a:lnTo>
                        <a:pt x="308" y="354"/>
                      </a:lnTo>
                      <a:lnTo>
                        <a:pt x="320" y="356"/>
                      </a:lnTo>
                      <a:lnTo>
                        <a:pt x="320" y="356"/>
                      </a:lnTo>
                      <a:lnTo>
                        <a:pt x="336" y="356"/>
                      </a:lnTo>
                      <a:lnTo>
                        <a:pt x="348" y="360"/>
                      </a:lnTo>
                      <a:lnTo>
                        <a:pt x="356" y="362"/>
                      </a:lnTo>
                      <a:lnTo>
                        <a:pt x="362" y="366"/>
                      </a:lnTo>
                      <a:lnTo>
                        <a:pt x="364" y="368"/>
                      </a:lnTo>
                      <a:lnTo>
                        <a:pt x="360" y="368"/>
                      </a:lnTo>
                      <a:lnTo>
                        <a:pt x="352" y="368"/>
                      </a:lnTo>
                      <a:lnTo>
                        <a:pt x="340" y="368"/>
                      </a:lnTo>
                      <a:lnTo>
                        <a:pt x="340" y="368"/>
                      </a:lnTo>
                      <a:lnTo>
                        <a:pt x="320" y="366"/>
                      </a:lnTo>
                      <a:lnTo>
                        <a:pt x="298" y="364"/>
                      </a:lnTo>
                      <a:lnTo>
                        <a:pt x="250" y="366"/>
                      </a:lnTo>
                      <a:lnTo>
                        <a:pt x="228" y="368"/>
                      </a:lnTo>
                      <a:lnTo>
                        <a:pt x="208" y="372"/>
                      </a:lnTo>
                      <a:lnTo>
                        <a:pt x="192" y="376"/>
                      </a:lnTo>
                      <a:lnTo>
                        <a:pt x="182" y="382"/>
                      </a:lnTo>
                      <a:lnTo>
                        <a:pt x="182" y="382"/>
                      </a:lnTo>
                      <a:lnTo>
                        <a:pt x="176" y="388"/>
                      </a:lnTo>
                      <a:lnTo>
                        <a:pt x="172" y="394"/>
                      </a:lnTo>
                      <a:lnTo>
                        <a:pt x="170" y="402"/>
                      </a:lnTo>
                      <a:lnTo>
                        <a:pt x="168" y="410"/>
                      </a:lnTo>
                      <a:lnTo>
                        <a:pt x="170" y="416"/>
                      </a:lnTo>
                      <a:lnTo>
                        <a:pt x="176" y="420"/>
                      </a:lnTo>
                      <a:lnTo>
                        <a:pt x="184" y="422"/>
                      </a:lnTo>
                      <a:lnTo>
                        <a:pt x="196" y="420"/>
                      </a:lnTo>
                      <a:lnTo>
                        <a:pt x="196" y="420"/>
                      </a:lnTo>
                      <a:lnTo>
                        <a:pt x="208" y="418"/>
                      </a:lnTo>
                      <a:lnTo>
                        <a:pt x="216" y="418"/>
                      </a:lnTo>
                      <a:lnTo>
                        <a:pt x="220" y="418"/>
                      </a:lnTo>
                      <a:lnTo>
                        <a:pt x="224" y="420"/>
                      </a:lnTo>
                      <a:lnTo>
                        <a:pt x="226" y="422"/>
                      </a:lnTo>
                      <a:lnTo>
                        <a:pt x="230" y="424"/>
                      </a:lnTo>
                      <a:lnTo>
                        <a:pt x="236" y="424"/>
                      </a:lnTo>
                      <a:lnTo>
                        <a:pt x="246" y="424"/>
                      </a:lnTo>
                      <a:lnTo>
                        <a:pt x="246" y="424"/>
                      </a:lnTo>
                      <a:lnTo>
                        <a:pt x="256" y="422"/>
                      </a:lnTo>
                      <a:lnTo>
                        <a:pt x="260" y="422"/>
                      </a:lnTo>
                      <a:lnTo>
                        <a:pt x="260" y="424"/>
                      </a:lnTo>
                      <a:lnTo>
                        <a:pt x="260" y="428"/>
                      </a:lnTo>
                      <a:lnTo>
                        <a:pt x="258" y="434"/>
                      </a:lnTo>
                      <a:lnTo>
                        <a:pt x="256" y="440"/>
                      </a:lnTo>
                      <a:lnTo>
                        <a:pt x="258" y="450"/>
                      </a:lnTo>
                      <a:lnTo>
                        <a:pt x="266" y="460"/>
                      </a:lnTo>
                      <a:lnTo>
                        <a:pt x="266" y="460"/>
                      </a:lnTo>
                      <a:lnTo>
                        <a:pt x="270" y="464"/>
                      </a:lnTo>
                      <a:lnTo>
                        <a:pt x="276" y="468"/>
                      </a:lnTo>
                      <a:lnTo>
                        <a:pt x="282" y="470"/>
                      </a:lnTo>
                      <a:lnTo>
                        <a:pt x="288" y="472"/>
                      </a:lnTo>
                      <a:lnTo>
                        <a:pt x="302" y="470"/>
                      </a:lnTo>
                      <a:lnTo>
                        <a:pt x="316" y="466"/>
                      </a:lnTo>
                      <a:lnTo>
                        <a:pt x="330" y="460"/>
                      </a:lnTo>
                      <a:lnTo>
                        <a:pt x="342" y="450"/>
                      </a:lnTo>
                      <a:lnTo>
                        <a:pt x="354" y="442"/>
                      </a:lnTo>
                      <a:lnTo>
                        <a:pt x="366" y="432"/>
                      </a:lnTo>
                      <a:lnTo>
                        <a:pt x="366" y="432"/>
                      </a:lnTo>
                      <a:lnTo>
                        <a:pt x="372" y="426"/>
                      </a:lnTo>
                      <a:lnTo>
                        <a:pt x="372" y="428"/>
                      </a:lnTo>
                      <a:lnTo>
                        <a:pt x="372" y="430"/>
                      </a:lnTo>
                      <a:lnTo>
                        <a:pt x="366" y="440"/>
                      </a:lnTo>
                      <a:lnTo>
                        <a:pt x="356" y="452"/>
                      </a:lnTo>
                      <a:lnTo>
                        <a:pt x="342" y="464"/>
                      </a:lnTo>
                      <a:lnTo>
                        <a:pt x="326" y="476"/>
                      </a:lnTo>
                      <a:lnTo>
                        <a:pt x="316" y="482"/>
                      </a:lnTo>
                      <a:lnTo>
                        <a:pt x="306" y="484"/>
                      </a:lnTo>
                      <a:lnTo>
                        <a:pt x="296" y="486"/>
                      </a:lnTo>
                      <a:lnTo>
                        <a:pt x="286" y="486"/>
                      </a:lnTo>
                      <a:lnTo>
                        <a:pt x="286" y="486"/>
                      </a:lnTo>
                      <a:lnTo>
                        <a:pt x="270" y="482"/>
                      </a:lnTo>
                      <a:lnTo>
                        <a:pt x="256" y="476"/>
                      </a:lnTo>
                      <a:lnTo>
                        <a:pt x="246" y="468"/>
                      </a:lnTo>
                      <a:lnTo>
                        <a:pt x="238" y="460"/>
                      </a:lnTo>
                      <a:lnTo>
                        <a:pt x="228" y="452"/>
                      </a:lnTo>
                      <a:lnTo>
                        <a:pt x="218" y="446"/>
                      </a:lnTo>
                      <a:lnTo>
                        <a:pt x="206" y="440"/>
                      </a:lnTo>
                      <a:lnTo>
                        <a:pt x="190" y="438"/>
                      </a:lnTo>
                      <a:lnTo>
                        <a:pt x="190" y="438"/>
                      </a:lnTo>
                      <a:lnTo>
                        <a:pt x="160" y="440"/>
                      </a:lnTo>
                      <a:lnTo>
                        <a:pt x="150" y="440"/>
                      </a:lnTo>
                      <a:lnTo>
                        <a:pt x="144" y="444"/>
                      </a:lnTo>
                      <a:lnTo>
                        <a:pt x="140" y="446"/>
                      </a:lnTo>
                      <a:lnTo>
                        <a:pt x="140" y="450"/>
                      </a:lnTo>
                      <a:lnTo>
                        <a:pt x="144" y="456"/>
                      </a:lnTo>
                      <a:lnTo>
                        <a:pt x="150" y="462"/>
                      </a:lnTo>
                      <a:lnTo>
                        <a:pt x="150" y="462"/>
                      </a:lnTo>
                      <a:lnTo>
                        <a:pt x="166" y="476"/>
                      </a:lnTo>
                      <a:lnTo>
                        <a:pt x="182" y="490"/>
                      </a:lnTo>
                      <a:lnTo>
                        <a:pt x="184" y="494"/>
                      </a:lnTo>
                      <a:lnTo>
                        <a:pt x="184" y="496"/>
                      </a:lnTo>
                      <a:lnTo>
                        <a:pt x="182" y="498"/>
                      </a:lnTo>
                      <a:lnTo>
                        <a:pt x="174" y="500"/>
                      </a:lnTo>
                      <a:lnTo>
                        <a:pt x="160" y="502"/>
                      </a:lnTo>
                      <a:lnTo>
                        <a:pt x="160" y="502"/>
                      </a:lnTo>
                      <a:lnTo>
                        <a:pt x="142" y="502"/>
                      </a:lnTo>
                      <a:lnTo>
                        <a:pt x="124" y="506"/>
                      </a:lnTo>
                      <a:lnTo>
                        <a:pt x="110" y="512"/>
                      </a:lnTo>
                      <a:lnTo>
                        <a:pt x="98" y="518"/>
                      </a:lnTo>
                      <a:lnTo>
                        <a:pt x="90" y="526"/>
                      </a:lnTo>
                      <a:lnTo>
                        <a:pt x="88" y="534"/>
                      </a:lnTo>
                      <a:lnTo>
                        <a:pt x="88" y="538"/>
                      </a:lnTo>
                      <a:lnTo>
                        <a:pt x="88" y="542"/>
                      </a:lnTo>
                      <a:lnTo>
                        <a:pt x="92" y="546"/>
                      </a:lnTo>
                      <a:lnTo>
                        <a:pt x="96" y="550"/>
                      </a:lnTo>
                      <a:lnTo>
                        <a:pt x="96" y="550"/>
                      </a:lnTo>
                      <a:lnTo>
                        <a:pt x="100" y="552"/>
                      </a:lnTo>
                      <a:lnTo>
                        <a:pt x="104" y="552"/>
                      </a:lnTo>
                      <a:lnTo>
                        <a:pt x="114" y="552"/>
                      </a:lnTo>
                      <a:lnTo>
                        <a:pt x="124" y="552"/>
                      </a:lnTo>
                      <a:lnTo>
                        <a:pt x="130" y="554"/>
                      </a:lnTo>
                      <a:lnTo>
                        <a:pt x="138" y="558"/>
                      </a:lnTo>
                      <a:lnTo>
                        <a:pt x="138" y="558"/>
                      </a:lnTo>
                      <a:lnTo>
                        <a:pt x="146" y="562"/>
                      </a:lnTo>
                      <a:lnTo>
                        <a:pt x="154" y="566"/>
                      </a:lnTo>
                      <a:lnTo>
                        <a:pt x="162" y="566"/>
                      </a:lnTo>
                      <a:lnTo>
                        <a:pt x="170" y="564"/>
                      </a:lnTo>
                      <a:lnTo>
                        <a:pt x="186" y="560"/>
                      </a:lnTo>
                      <a:lnTo>
                        <a:pt x="200" y="552"/>
                      </a:lnTo>
                      <a:lnTo>
                        <a:pt x="200" y="552"/>
                      </a:lnTo>
                      <a:lnTo>
                        <a:pt x="206" y="552"/>
                      </a:lnTo>
                      <a:lnTo>
                        <a:pt x="212" y="552"/>
                      </a:lnTo>
                      <a:lnTo>
                        <a:pt x="226" y="556"/>
                      </a:lnTo>
                      <a:lnTo>
                        <a:pt x="244" y="562"/>
                      </a:lnTo>
                      <a:lnTo>
                        <a:pt x="256" y="566"/>
                      </a:lnTo>
                      <a:lnTo>
                        <a:pt x="272" y="566"/>
                      </a:lnTo>
                      <a:lnTo>
                        <a:pt x="272" y="566"/>
                      </a:lnTo>
                      <a:lnTo>
                        <a:pt x="286" y="566"/>
                      </a:lnTo>
                      <a:lnTo>
                        <a:pt x="294" y="564"/>
                      </a:lnTo>
                      <a:lnTo>
                        <a:pt x="298" y="560"/>
                      </a:lnTo>
                      <a:lnTo>
                        <a:pt x="302" y="556"/>
                      </a:lnTo>
                      <a:lnTo>
                        <a:pt x="306" y="554"/>
                      </a:lnTo>
                      <a:lnTo>
                        <a:pt x="312" y="552"/>
                      </a:lnTo>
                      <a:lnTo>
                        <a:pt x="322" y="552"/>
                      </a:lnTo>
                      <a:lnTo>
                        <a:pt x="336" y="558"/>
                      </a:lnTo>
                      <a:lnTo>
                        <a:pt x="336" y="558"/>
                      </a:lnTo>
                      <a:lnTo>
                        <a:pt x="346" y="560"/>
                      </a:lnTo>
                      <a:lnTo>
                        <a:pt x="356" y="560"/>
                      </a:lnTo>
                      <a:lnTo>
                        <a:pt x="376" y="560"/>
                      </a:lnTo>
                      <a:lnTo>
                        <a:pt x="394" y="556"/>
                      </a:lnTo>
                      <a:lnTo>
                        <a:pt x="412" y="552"/>
                      </a:lnTo>
                      <a:lnTo>
                        <a:pt x="426" y="548"/>
                      </a:lnTo>
                      <a:lnTo>
                        <a:pt x="436" y="548"/>
                      </a:lnTo>
                      <a:lnTo>
                        <a:pt x="438" y="548"/>
                      </a:lnTo>
                      <a:lnTo>
                        <a:pt x="440" y="550"/>
                      </a:lnTo>
                      <a:lnTo>
                        <a:pt x="442" y="554"/>
                      </a:lnTo>
                      <a:lnTo>
                        <a:pt x="440" y="560"/>
                      </a:lnTo>
                      <a:lnTo>
                        <a:pt x="440" y="560"/>
                      </a:lnTo>
                      <a:lnTo>
                        <a:pt x="438" y="564"/>
                      </a:lnTo>
                      <a:lnTo>
                        <a:pt x="438" y="570"/>
                      </a:lnTo>
                      <a:lnTo>
                        <a:pt x="440" y="572"/>
                      </a:lnTo>
                      <a:lnTo>
                        <a:pt x="442" y="576"/>
                      </a:lnTo>
                      <a:lnTo>
                        <a:pt x="450" y="578"/>
                      </a:lnTo>
                      <a:lnTo>
                        <a:pt x="462" y="578"/>
                      </a:lnTo>
                      <a:lnTo>
                        <a:pt x="474" y="574"/>
                      </a:lnTo>
                      <a:lnTo>
                        <a:pt x="486" y="570"/>
                      </a:lnTo>
                      <a:lnTo>
                        <a:pt x="510" y="558"/>
                      </a:lnTo>
                      <a:lnTo>
                        <a:pt x="510" y="558"/>
                      </a:lnTo>
                      <a:lnTo>
                        <a:pt x="518" y="552"/>
                      </a:lnTo>
                      <a:lnTo>
                        <a:pt x="528" y="552"/>
                      </a:lnTo>
                      <a:lnTo>
                        <a:pt x="544" y="550"/>
                      </a:lnTo>
                      <a:lnTo>
                        <a:pt x="550" y="550"/>
                      </a:lnTo>
                      <a:lnTo>
                        <a:pt x="556" y="546"/>
                      </a:lnTo>
                      <a:lnTo>
                        <a:pt x="560" y="538"/>
                      </a:lnTo>
                      <a:lnTo>
                        <a:pt x="562" y="526"/>
                      </a:lnTo>
                      <a:lnTo>
                        <a:pt x="562" y="526"/>
                      </a:lnTo>
                      <a:lnTo>
                        <a:pt x="562" y="520"/>
                      </a:lnTo>
                      <a:lnTo>
                        <a:pt x="560" y="518"/>
                      </a:lnTo>
                      <a:lnTo>
                        <a:pt x="558" y="514"/>
                      </a:lnTo>
                      <a:lnTo>
                        <a:pt x="556" y="514"/>
                      </a:lnTo>
                      <a:lnTo>
                        <a:pt x="546" y="512"/>
                      </a:lnTo>
                      <a:lnTo>
                        <a:pt x="536" y="512"/>
                      </a:lnTo>
                      <a:lnTo>
                        <a:pt x="526" y="514"/>
                      </a:lnTo>
                      <a:lnTo>
                        <a:pt x="518" y="514"/>
                      </a:lnTo>
                      <a:lnTo>
                        <a:pt x="512" y="512"/>
                      </a:lnTo>
                      <a:lnTo>
                        <a:pt x="510" y="510"/>
                      </a:lnTo>
                      <a:lnTo>
                        <a:pt x="508" y="506"/>
                      </a:lnTo>
                      <a:lnTo>
                        <a:pt x="508" y="506"/>
                      </a:lnTo>
                      <a:lnTo>
                        <a:pt x="510" y="500"/>
                      </a:lnTo>
                      <a:lnTo>
                        <a:pt x="512" y="494"/>
                      </a:lnTo>
                      <a:lnTo>
                        <a:pt x="514" y="490"/>
                      </a:lnTo>
                      <a:lnTo>
                        <a:pt x="520" y="488"/>
                      </a:lnTo>
                      <a:lnTo>
                        <a:pt x="532" y="482"/>
                      </a:lnTo>
                      <a:lnTo>
                        <a:pt x="550" y="472"/>
                      </a:lnTo>
                      <a:lnTo>
                        <a:pt x="550" y="472"/>
                      </a:lnTo>
                      <a:lnTo>
                        <a:pt x="554" y="468"/>
                      </a:lnTo>
                      <a:lnTo>
                        <a:pt x="556" y="464"/>
                      </a:lnTo>
                      <a:lnTo>
                        <a:pt x="556" y="460"/>
                      </a:lnTo>
                      <a:lnTo>
                        <a:pt x="556" y="456"/>
                      </a:lnTo>
                      <a:lnTo>
                        <a:pt x="552" y="448"/>
                      </a:lnTo>
                      <a:lnTo>
                        <a:pt x="548" y="442"/>
                      </a:lnTo>
                      <a:lnTo>
                        <a:pt x="546" y="436"/>
                      </a:lnTo>
                      <a:lnTo>
                        <a:pt x="548" y="434"/>
                      </a:lnTo>
                      <a:lnTo>
                        <a:pt x="550" y="432"/>
                      </a:lnTo>
                      <a:lnTo>
                        <a:pt x="560" y="430"/>
                      </a:lnTo>
                      <a:lnTo>
                        <a:pt x="582" y="434"/>
                      </a:lnTo>
                      <a:lnTo>
                        <a:pt x="582" y="434"/>
                      </a:lnTo>
                      <a:lnTo>
                        <a:pt x="602" y="436"/>
                      </a:lnTo>
                      <a:lnTo>
                        <a:pt x="620" y="434"/>
                      </a:lnTo>
                      <a:lnTo>
                        <a:pt x="636" y="430"/>
                      </a:lnTo>
                      <a:lnTo>
                        <a:pt x="650" y="424"/>
                      </a:lnTo>
                      <a:lnTo>
                        <a:pt x="660" y="418"/>
                      </a:lnTo>
                      <a:lnTo>
                        <a:pt x="666" y="410"/>
                      </a:lnTo>
                      <a:lnTo>
                        <a:pt x="668" y="402"/>
                      </a:lnTo>
                      <a:lnTo>
                        <a:pt x="668" y="400"/>
                      </a:lnTo>
                      <a:lnTo>
                        <a:pt x="666" y="396"/>
                      </a:lnTo>
                      <a:lnTo>
                        <a:pt x="666" y="396"/>
                      </a:lnTo>
                      <a:lnTo>
                        <a:pt x="664" y="394"/>
                      </a:lnTo>
                      <a:lnTo>
                        <a:pt x="664" y="392"/>
                      </a:lnTo>
                      <a:lnTo>
                        <a:pt x="666" y="388"/>
                      </a:lnTo>
                      <a:lnTo>
                        <a:pt x="680" y="382"/>
                      </a:lnTo>
                      <a:lnTo>
                        <a:pt x="684" y="378"/>
                      </a:lnTo>
                      <a:lnTo>
                        <a:pt x="684" y="376"/>
                      </a:lnTo>
                      <a:lnTo>
                        <a:pt x="684" y="372"/>
                      </a:lnTo>
                      <a:lnTo>
                        <a:pt x="678" y="366"/>
                      </a:lnTo>
                      <a:lnTo>
                        <a:pt x="662" y="356"/>
                      </a:lnTo>
                      <a:lnTo>
                        <a:pt x="662" y="356"/>
                      </a:lnTo>
                      <a:lnTo>
                        <a:pt x="648" y="350"/>
                      </a:lnTo>
                      <a:lnTo>
                        <a:pt x="644" y="348"/>
                      </a:lnTo>
                      <a:lnTo>
                        <a:pt x="644" y="346"/>
                      </a:lnTo>
                      <a:lnTo>
                        <a:pt x="650" y="346"/>
                      </a:lnTo>
                      <a:lnTo>
                        <a:pt x="662" y="348"/>
                      </a:lnTo>
                      <a:lnTo>
                        <a:pt x="674" y="348"/>
                      </a:lnTo>
                      <a:lnTo>
                        <a:pt x="686" y="348"/>
                      </a:lnTo>
                      <a:lnTo>
                        <a:pt x="690" y="348"/>
                      </a:lnTo>
                      <a:lnTo>
                        <a:pt x="694" y="346"/>
                      </a:lnTo>
                      <a:lnTo>
                        <a:pt x="696" y="344"/>
                      </a:lnTo>
                      <a:lnTo>
                        <a:pt x="694" y="340"/>
                      </a:lnTo>
                      <a:lnTo>
                        <a:pt x="694" y="340"/>
                      </a:lnTo>
                      <a:lnTo>
                        <a:pt x="690" y="332"/>
                      </a:lnTo>
                      <a:lnTo>
                        <a:pt x="684" y="328"/>
                      </a:lnTo>
                      <a:lnTo>
                        <a:pt x="680" y="324"/>
                      </a:lnTo>
                      <a:lnTo>
                        <a:pt x="674" y="324"/>
                      </a:lnTo>
                      <a:lnTo>
                        <a:pt x="658" y="326"/>
                      </a:lnTo>
                      <a:lnTo>
                        <a:pt x="638" y="328"/>
                      </a:lnTo>
                      <a:lnTo>
                        <a:pt x="638" y="328"/>
                      </a:lnTo>
                      <a:lnTo>
                        <a:pt x="614" y="328"/>
                      </a:lnTo>
                      <a:lnTo>
                        <a:pt x="592" y="328"/>
                      </a:lnTo>
                      <a:lnTo>
                        <a:pt x="584" y="328"/>
                      </a:lnTo>
                      <a:lnTo>
                        <a:pt x="578" y="326"/>
                      </a:lnTo>
                      <a:lnTo>
                        <a:pt x="576" y="324"/>
                      </a:lnTo>
                      <a:lnTo>
                        <a:pt x="580" y="320"/>
                      </a:lnTo>
                      <a:lnTo>
                        <a:pt x="580" y="320"/>
                      </a:lnTo>
                      <a:lnTo>
                        <a:pt x="588" y="318"/>
                      </a:lnTo>
                      <a:lnTo>
                        <a:pt x="602" y="314"/>
                      </a:lnTo>
                      <a:lnTo>
                        <a:pt x="644" y="312"/>
                      </a:lnTo>
                      <a:lnTo>
                        <a:pt x="692" y="310"/>
                      </a:lnTo>
                      <a:lnTo>
                        <a:pt x="730" y="306"/>
                      </a:lnTo>
                      <a:lnTo>
                        <a:pt x="730" y="306"/>
                      </a:lnTo>
                      <a:lnTo>
                        <a:pt x="742" y="304"/>
                      </a:lnTo>
                      <a:lnTo>
                        <a:pt x="750" y="300"/>
                      </a:lnTo>
                      <a:lnTo>
                        <a:pt x="752" y="296"/>
                      </a:lnTo>
                      <a:lnTo>
                        <a:pt x="752" y="290"/>
                      </a:lnTo>
                      <a:lnTo>
                        <a:pt x="752" y="284"/>
                      </a:lnTo>
                      <a:lnTo>
                        <a:pt x="754" y="284"/>
                      </a:lnTo>
                      <a:lnTo>
                        <a:pt x="762" y="286"/>
                      </a:lnTo>
                      <a:lnTo>
                        <a:pt x="762" y="286"/>
                      </a:lnTo>
                      <a:lnTo>
                        <a:pt x="770" y="290"/>
                      </a:lnTo>
                      <a:lnTo>
                        <a:pt x="780" y="292"/>
                      </a:lnTo>
                      <a:lnTo>
                        <a:pt x="790" y="294"/>
                      </a:lnTo>
                      <a:lnTo>
                        <a:pt x="800" y="292"/>
                      </a:lnTo>
                      <a:lnTo>
                        <a:pt x="812" y="290"/>
                      </a:lnTo>
                      <a:lnTo>
                        <a:pt x="822" y="286"/>
                      </a:lnTo>
                      <a:lnTo>
                        <a:pt x="832" y="278"/>
                      </a:lnTo>
                      <a:lnTo>
                        <a:pt x="842" y="270"/>
                      </a:lnTo>
                      <a:lnTo>
                        <a:pt x="842" y="270"/>
                      </a:lnTo>
                      <a:lnTo>
                        <a:pt x="852" y="260"/>
                      </a:lnTo>
                      <a:lnTo>
                        <a:pt x="866" y="248"/>
                      </a:lnTo>
                      <a:lnTo>
                        <a:pt x="882" y="238"/>
                      </a:lnTo>
                      <a:lnTo>
                        <a:pt x="902" y="228"/>
                      </a:lnTo>
                      <a:lnTo>
                        <a:pt x="954" y="204"/>
                      </a:lnTo>
                      <a:lnTo>
                        <a:pt x="1020" y="178"/>
                      </a:lnTo>
                      <a:lnTo>
                        <a:pt x="1020" y="178"/>
                      </a:lnTo>
                      <a:lnTo>
                        <a:pt x="1076" y="154"/>
                      </a:lnTo>
                      <a:lnTo>
                        <a:pt x="1092" y="146"/>
                      </a:lnTo>
                      <a:lnTo>
                        <a:pt x="1098" y="142"/>
                      </a:lnTo>
                      <a:lnTo>
                        <a:pt x="1098" y="140"/>
                      </a:lnTo>
                      <a:lnTo>
                        <a:pt x="1094" y="140"/>
                      </a:lnTo>
                      <a:lnTo>
                        <a:pt x="1084" y="140"/>
                      </a:lnTo>
                      <a:lnTo>
                        <a:pt x="1038" y="142"/>
                      </a:lnTo>
                      <a:lnTo>
                        <a:pt x="1038" y="142"/>
                      </a:lnTo>
                      <a:lnTo>
                        <a:pt x="1014" y="144"/>
                      </a:lnTo>
                      <a:lnTo>
                        <a:pt x="1002" y="144"/>
                      </a:lnTo>
                      <a:lnTo>
                        <a:pt x="1000" y="142"/>
                      </a:lnTo>
                      <a:lnTo>
                        <a:pt x="1000" y="142"/>
                      </a:lnTo>
                      <a:lnTo>
                        <a:pt x="1006" y="138"/>
                      </a:lnTo>
                      <a:lnTo>
                        <a:pt x="1034" y="130"/>
                      </a:lnTo>
                      <a:lnTo>
                        <a:pt x="1072" y="122"/>
                      </a:lnTo>
                      <a:lnTo>
                        <a:pt x="1072" y="122"/>
                      </a:lnTo>
                      <a:lnTo>
                        <a:pt x="1118" y="112"/>
                      </a:lnTo>
                      <a:lnTo>
                        <a:pt x="1172" y="100"/>
                      </a:lnTo>
                      <a:lnTo>
                        <a:pt x="1198" y="92"/>
                      </a:lnTo>
                      <a:lnTo>
                        <a:pt x="1218" y="84"/>
                      </a:lnTo>
                      <a:lnTo>
                        <a:pt x="1232" y="76"/>
                      </a:lnTo>
                      <a:lnTo>
                        <a:pt x="1236" y="72"/>
                      </a:lnTo>
                      <a:lnTo>
                        <a:pt x="1236" y="68"/>
                      </a:lnTo>
                      <a:lnTo>
                        <a:pt x="1236" y="68"/>
                      </a:lnTo>
                      <a:lnTo>
                        <a:pt x="1236" y="64"/>
                      </a:lnTo>
                      <a:lnTo>
                        <a:pt x="1234" y="62"/>
                      </a:lnTo>
                      <a:lnTo>
                        <a:pt x="1224" y="58"/>
                      </a:lnTo>
                      <a:lnTo>
                        <a:pt x="1210" y="58"/>
                      </a:lnTo>
                      <a:lnTo>
                        <a:pt x="1196" y="56"/>
                      </a:lnTo>
                      <a:lnTo>
                        <a:pt x="1182" y="56"/>
                      </a:lnTo>
                      <a:lnTo>
                        <a:pt x="1168" y="54"/>
                      </a:lnTo>
                      <a:lnTo>
                        <a:pt x="1160" y="50"/>
                      </a:lnTo>
                      <a:lnTo>
                        <a:pt x="1158" y="48"/>
                      </a:lnTo>
                      <a:lnTo>
                        <a:pt x="1156" y="44"/>
                      </a:lnTo>
                      <a:lnTo>
                        <a:pt x="1156" y="44"/>
                      </a:lnTo>
                      <a:lnTo>
                        <a:pt x="1156" y="40"/>
                      </a:lnTo>
                      <a:lnTo>
                        <a:pt x="1154" y="36"/>
                      </a:lnTo>
                      <a:lnTo>
                        <a:pt x="1146" y="30"/>
                      </a:lnTo>
                      <a:lnTo>
                        <a:pt x="1136" y="26"/>
                      </a:lnTo>
                      <a:lnTo>
                        <a:pt x="1122" y="24"/>
                      </a:lnTo>
                      <a:lnTo>
                        <a:pt x="1094" y="20"/>
                      </a:lnTo>
                      <a:lnTo>
                        <a:pt x="1078" y="20"/>
                      </a:lnTo>
                      <a:lnTo>
                        <a:pt x="1078" y="20"/>
                      </a:lnTo>
                      <a:lnTo>
                        <a:pt x="1062" y="22"/>
                      </a:lnTo>
                      <a:lnTo>
                        <a:pt x="1050" y="22"/>
                      </a:lnTo>
                      <a:lnTo>
                        <a:pt x="1038" y="22"/>
                      </a:lnTo>
                      <a:lnTo>
                        <a:pt x="1018" y="30"/>
                      </a:lnTo>
                      <a:lnTo>
                        <a:pt x="1018" y="30"/>
                      </a:lnTo>
                      <a:lnTo>
                        <a:pt x="1004" y="34"/>
                      </a:lnTo>
                      <a:lnTo>
                        <a:pt x="990" y="38"/>
                      </a:lnTo>
                      <a:lnTo>
                        <a:pt x="962" y="40"/>
                      </a:lnTo>
                      <a:lnTo>
                        <a:pt x="948" y="40"/>
                      </a:lnTo>
                      <a:lnTo>
                        <a:pt x="948" y="40"/>
                      </a:lnTo>
                      <a:lnTo>
                        <a:pt x="948" y="38"/>
                      </a:lnTo>
                      <a:lnTo>
                        <a:pt x="958" y="36"/>
                      </a:lnTo>
                      <a:lnTo>
                        <a:pt x="958" y="36"/>
                      </a:lnTo>
                      <a:lnTo>
                        <a:pt x="986" y="30"/>
                      </a:lnTo>
                      <a:lnTo>
                        <a:pt x="1004" y="24"/>
                      </a:lnTo>
                      <a:lnTo>
                        <a:pt x="1008" y="22"/>
                      </a:lnTo>
                      <a:lnTo>
                        <a:pt x="1008" y="20"/>
                      </a:lnTo>
                      <a:lnTo>
                        <a:pt x="1006" y="20"/>
                      </a:lnTo>
                      <a:lnTo>
                        <a:pt x="998" y="18"/>
                      </a:lnTo>
                      <a:lnTo>
                        <a:pt x="980" y="16"/>
                      </a:lnTo>
                      <a:lnTo>
                        <a:pt x="980" y="16"/>
                      </a:lnTo>
                      <a:lnTo>
                        <a:pt x="958" y="16"/>
                      </a:lnTo>
                      <a:lnTo>
                        <a:pt x="942" y="14"/>
                      </a:lnTo>
                      <a:lnTo>
                        <a:pt x="912" y="6"/>
                      </a:lnTo>
                      <a:lnTo>
                        <a:pt x="900" y="2"/>
                      </a:lnTo>
                      <a:lnTo>
                        <a:pt x="888" y="0"/>
                      </a:lnTo>
                      <a:lnTo>
                        <a:pt x="874" y="0"/>
                      </a:lnTo>
                      <a:lnTo>
                        <a:pt x="858" y="2"/>
                      </a:lnTo>
                      <a:lnTo>
                        <a:pt x="858" y="2"/>
                      </a:lnTo>
                      <a:lnTo>
                        <a:pt x="830" y="4"/>
                      </a:lnTo>
                      <a:lnTo>
                        <a:pt x="808" y="4"/>
                      </a:lnTo>
                      <a:lnTo>
                        <a:pt x="788" y="4"/>
                      </a:lnTo>
                      <a:lnTo>
                        <a:pt x="776" y="6"/>
                      </a:lnTo>
                      <a:lnTo>
                        <a:pt x="762" y="10"/>
                      </a:lnTo>
                      <a:lnTo>
                        <a:pt x="762" y="10"/>
                      </a:lnTo>
                      <a:lnTo>
                        <a:pt x="746" y="14"/>
                      </a:lnTo>
                      <a:lnTo>
                        <a:pt x="728" y="14"/>
                      </a:lnTo>
                      <a:lnTo>
                        <a:pt x="690" y="10"/>
                      </a:lnTo>
                      <a:lnTo>
                        <a:pt x="666" y="10"/>
                      </a:lnTo>
                      <a:lnTo>
                        <a:pt x="640" y="10"/>
                      </a:lnTo>
                      <a:lnTo>
                        <a:pt x="608" y="12"/>
                      </a:lnTo>
                      <a:lnTo>
                        <a:pt x="574" y="20"/>
                      </a:lnTo>
                      <a:lnTo>
                        <a:pt x="574" y="20"/>
                      </a:lnTo>
                      <a:lnTo>
                        <a:pt x="556" y="22"/>
                      </a:lnTo>
                      <a:lnTo>
                        <a:pt x="540" y="22"/>
                      </a:lnTo>
                      <a:lnTo>
                        <a:pt x="526" y="20"/>
                      </a:lnTo>
                      <a:lnTo>
                        <a:pt x="514" y="16"/>
                      </a:lnTo>
                      <a:lnTo>
                        <a:pt x="500" y="14"/>
                      </a:lnTo>
                      <a:lnTo>
                        <a:pt x="490" y="12"/>
                      </a:lnTo>
                      <a:lnTo>
                        <a:pt x="478" y="14"/>
                      </a:lnTo>
                      <a:lnTo>
                        <a:pt x="466" y="18"/>
                      </a:lnTo>
                      <a:lnTo>
                        <a:pt x="466" y="18"/>
                      </a:lnTo>
                      <a:lnTo>
                        <a:pt x="454" y="22"/>
                      </a:lnTo>
                      <a:lnTo>
                        <a:pt x="442" y="24"/>
                      </a:lnTo>
                      <a:lnTo>
                        <a:pt x="432" y="24"/>
                      </a:lnTo>
                      <a:lnTo>
                        <a:pt x="422" y="24"/>
                      </a:lnTo>
                      <a:lnTo>
                        <a:pt x="416" y="22"/>
                      </a:lnTo>
                      <a:lnTo>
                        <a:pt x="412" y="24"/>
                      </a:lnTo>
                      <a:lnTo>
                        <a:pt x="416" y="28"/>
                      </a:lnTo>
                      <a:lnTo>
                        <a:pt x="424" y="36"/>
                      </a:lnTo>
                      <a:lnTo>
                        <a:pt x="424" y="36"/>
                      </a:lnTo>
                      <a:lnTo>
                        <a:pt x="430" y="44"/>
                      </a:lnTo>
                      <a:lnTo>
                        <a:pt x="430" y="46"/>
                      </a:lnTo>
                      <a:lnTo>
                        <a:pt x="430" y="48"/>
                      </a:lnTo>
                      <a:lnTo>
                        <a:pt x="424" y="48"/>
                      </a:lnTo>
                      <a:lnTo>
                        <a:pt x="414" y="46"/>
                      </a:lnTo>
                      <a:lnTo>
                        <a:pt x="404" y="44"/>
                      </a:lnTo>
                      <a:lnTo>
                        <a:pt x="392" y="42"/>
                      </a:lnTo>
                      <a:lnTo>
                        <a:pt x="384" y="44"/>
                      </a:lnTo>
                      <a:lnTo>
                        <a:pt x="380" y="46"/>
                      </a:lnTo>
                      <a:lnTo>
                        <a:pt x="378" y="50"/>
                      </a:lnTo>
                      <a:lnTo>
                        <a:pt x="378" y="50"/>
                      </a:lnTo>
                      <a:lnTo>
                        <a:pt x="376" y="58"/>
                      </a:lnTo>
                      <a:lnTo>
                        <a:pt x="372" y="62"/>
                      </a:lnTo>
                      <a:lnTo>
                        <a:pt x="366" y="66"/>
                      </a:lnTo>
                      <a:lnTo>
                        <a:pt x="360" y="68"/>
                      </a:lnTo>
                      <a:lnTo>
                        <a:pt x="352" y="70"/>
                      </a:lnTo>
                      <a:lnTo>
                        <a:pt x="340" y="70"/>
                      </a:lnTo>
                      <a:lnTo>
                        <a:pt x="312" y="68"/>
                      </a:lnTo>
                      <a:lnTo>
                        <a:pt x="312" y="68"/>
                      </a:lnTo>
                      <a:lnTo>
                        <a:pt x="300" y="66"/>
                      </a:lnTo>
                      <a:lnTo>
                        <a:pt x="292" y="64"/>
                      </a:lnTo>
                      <a:lnTo>
                        <a:pt x="290" y="60"/>
                      </a:lnTo>
                      <a:lnTo>
                        <a:pt x="290" y="58"/>
                      </a:lnTo>
                      <a:lnTo>
                        <a:pt x="290" y="56"/>
                      </a:lnTo>
                      <a:lnTo>
                        <a:pt x="288" y="54"/>
                      </a:lnTo>
                      <a:lnTo>
                        <a:pt x="280" y="52"/>
                      </a:lnTo>
                      <a:lnTo>
                        <a:pt x="264" y="52"/>
                      </a:lnTo>
                      <a:lnTo>
                        <a:pt x="264" y="52"/>
                      </a:lnTo>
                      <a:lnTo>
                        <a:pt x="250" y="52"/>
                      </a:lnTo>
                      <a:lnTo>
                        <a:pt x="244" y="52"/>
                      </a:lnTo>
                      <a:lnTo>
                        <a:pt x="244" y="56"/>
                      </a:lnTo>
                      <a:lnTo>
                        <a:pt x="246" y="60"/>
                      </a:lnTo>
                      <a:lnTo>
                        <a:pt x="248" y="64"/>
                      </a:lnTo>
                      <a:lnTo>
                        <a:pt x="248" y="66"/>
                      </a:lnTo>
                      <a:lnTo>
                        <a:pt x="248" y="68"/>
                      </a:lnTo>
                      <a:lnTo>
                        <a:pt x="240" y="72"/>
                      </a:lnTo>
                      <a:lnTo>
                        <a:pt x="224" y="76"/>
                      </a:lnTo>
                      <a:lnTo>
                        <a:pt x="224" y="76"/>
                      </a:lnTo>
                      <a:lnTo>
                        <a:pt x="208" y="78"/>
                      </a:lnTo>
                      <a:lnTo>
                        <a:pt x="206" y="78"/>
                      </a:lnTo>
                      <a:lnTo>
                        <a:pt x="206" y="80"/>
                      </a:lnTo>
                      <a:lnTo>
                        <a:pt x="212" y="82"/>
                      </a:lnTo>
                      <a:lnTo>
                        <a:pt x="224" y="86"/>
                      </a:lnTo>
                      <a:lnTo>
                        <a:pt x="248" y="92"/>
                      </a:lnTo>
                      <a:lnTo>
                        <a:pt x="254" y="94"/>
                      </a:lnTo>
                      <a:lnTo>
                        <a:pt x="252" y="96"/>
                      </a:lnTo>
                      <a:lnTo>
                        <a:pt x="248" y="98"/>
                      </a:lnTo>
                      <a:lnTo>
                        <a:pt x="248" y="98"/>
                      </a:lnTo>
                      <a:lnTo>
                        <a:pt x="238" y="98"/>
                      </a:lnTo>
                      <a:lnTo>
                        <a:pt x="228" y="98"/>
                      </a:lnTo>
                      <a:lnTo>
                        <a:pt x="206" y="92"/>
                      </a:lnTo>
                      <a:lnTo>
                        <a:pt x="194" y="90"/>
                      </a:lnTo>
                      <a:lnTo>
                        <a:pt x="180" y="88"/>
                      </a:lnTo>
                      <a:lnTo>
                        <a:pt x="166" y="86"/>
                      </a:lnTo>
                      <a:lnTo>
                        <a:pt x="146" y="88"/>
                      </a:lnTo>
                      <a:lnTo>
                        <a:pt x="146" y="88"/>
                      </a:lnTo>
                      <a:lnTo>
                        <a:pt x="130" y="92"/>
                      </a:lnTo>
                      <a:lnTo>
                        <a:pt x="120" y="94"/>
                      </a:lnTo>
                      <a:lnTo>
                        <a:pt x="112" y="98"/>
                      </a:lnTo>
                      <a:lnTo>
                        <a:pt x="108" y="102"/>
                      </a:lnTo>
                      <a:lnTo>
                        <a:pt x="104" y="106"/>
                      </a:lnTo>
                      <a:lnTo>
                        <a:pt x="100" y="106"/>
                      </a:lnTo>
                      <a:lnTo>
                        <a:pt x="92" y="108"/>
                      </a:lnTo>
                      <a:lnTo>
                        <a:pt x="80" y="106"/>
                      </a:lnTo>
                      <a:lnTo>
                        <a:pt x="80" y="106"/>
                      </a:lnTo>
                      <a:lnTo>
                        <a:pt x="66" y="104"/>
                      </a:lnTo>
                      <a:lnTo>
                        <a:pt x="50" y="104"/>
                      </a:lnTo>
                      <a:lnTo>
                        <a:pt x="36" y="108"/>
                      </a:lnTo>
                      <a:lnTo>
                        <a:pt x="22" y="112"/>
                      </a:lnTo>
                      <a:lnTo>
                        <a:pt x="12" y="118"/>
                      </a:lnTo>
                      <a:lnTo>
                        <a:pt x="4" y="124"/>
                      </a:lnTo>
                      <a:lnTo>
                        <a:pt x="0" y="130"/>
                      </a:lnTo>
                      <a:lnTo>
                        <a:pt x="2" y="134"/>
                      </a:lnTo>
                      <a:lnTo>
                        <a:pt x="4" y="138"/>
                      </a:lnTo>
                      <a:lnTo>
                        <a:pt x="4" y="138"/>
                      </a:lnTo>
                      <a:lnTo>
                        <a:pt x="8" y="142"/>
                      </a:lnTo>
                      <a:lnTo>
                        <a:pt x="12" y="144"/>
                      </a:lnTo>
                      <a:lnTo>
                        <a:pt x="16" y="144"/>
                      </a:lnTo>
                      <a:lnTo>
                        <a:pt x="22" y="144"/>
                      </a:lnTo>
                      <a:lnTo>
                        <a:pt x="32" y="144"/>
                      </a:lnTo>
                      <a:lnTo>
                        <a:pt x="36" y="144"/>
                      </a:lnTo>
                      <a:lnTo>
                        <a:pt x="44" y="148"/>
                      </a:lnTo>
                      <a:lnTo>
                        <a:pt x="44" y="14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805" name="Freeform 6107">
                  <a:extLst>
                    <a:ext uri="{FF2B5EF4-FFF2-40B4-BE49-F238E27FC236}">
                      <a16:creationId xmlns:a16="http://schemas.microsoft.com/office/drawing/2014/main" id="{2ABAC5FB-33C4-4655-8DFF-B965AB8EEC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5530" y="1211263"/>
                  <a:ext cx="121920" cy="48260"/>
                </a:xfrm>
                <a:custGeom>
                  <a:avLst/>
                  <a:gdLst/>
                  <a:ahLst/>
                  <a:cxnLst>
                    <a:cxn ang="0">
                      <a:pos x="2" y="16"/>
                    </a:cxn>
                    <a:cxn ang="0">
                      <a:pos x="2" y="16"/>
                    </a:cxn>
                    <a:cxn ang="0">
                      <a:pos x="0" y="24"/>
                    </a:cxn>
                    <a:cxn ang="0">
                      <a:pos x="2" y="30"/>
                    </a:cxn>
                    <a:cxn ang="0">
                      <a:pos x="6" y="34"/>
                    </a:cxn>
                    <a:cxn ang="0">
                      <a:pos x="18" y="38"/>
                    </a:cxn>
                    <a:cxn ang="0">
                      <a:pos x="18" y="38"/>
                    </a:cxn>
                    <a:cxn ang="0">
                      <a:pos x="22" y="42"/>
                    </a:cxn>
                    <a:cxn ang="0">
                      <a:pos x="26" y="46"/>
                    </a:cxn>
                    <a:cxn ang="0">
                      <a:pos x="26" y="52"/>
                    </a:cxn>
                    <a:cxn ang="0">
                      <a:pos x="28" y="56"/>
                    </a:cxn>
                    <a:cxn ang="0">
                      <a:pos x="30" y="62"/>
                    </a:cxn>
                    <a:cxn ang="0">
                      <a:pos x="36" y="66"/>
                    </a:cxn>
                    <a:cxn ang="0">
                      <a:pos x="46" y="72"/>
                    </a:cxn>
                    <a:cxn ang="0">
                      <a:pos x="46" y="72"/>
                    </a:cxn>
                    <a:cxn ang="0">
                      <a:pos x="56" y="76"/>
                    </a:cxn>
                    <a:cxn ang="0">
                      <a:pos x="66" y="76"/>
                    </a:cxn>
                    <a:cxn ang="0">
                      <a:pos x="72" y="76"/>
                    </a:cxn>
                    <a:cxn ang="0">
                      <a:pos x="80" y="74"/>
                    </a:cxn>
                    <a:cxn ang="0">
                      <a:pos x="94" y="68"/>
                    </a:cxn>
                    <a:cxn ang="0">
                      <a:pos x="104" y="66"/>
                    </a:cxn>
                    <a:cxn ang="0">
                      <a:pos x="118" y="68"/>
                    </a:cxn>
                    <a:cxn ang="0">
                      <a:pos x="118" y="68"/>
                    </a:cxn>
                    <a:cxn ang="0">
                      <a:pos x="148" y="70"/>
                    </a:cxn>
                    <a:cxn ang="0">
                      <a:pos x="176" y="72"/>
                    </a:cxn>
                    <a:cxn ang="0">
                      <a:pos x="184" y="70"/>
                    </a:cxn>
                    <a:cxn ang="0">
                      <a:pos x="192" y="68"/>
                    </a:cxn>
                    <a:cxn ang="0">
                      <a:pos x="192" y="66"/>
                    </a:cxn>
                    <a:cxn ang="0">
                      <a:pos x="192" y="62"/>
                    </a:cxn>
                    <a:cxn ang="0">
                      <a:pos x="188" y="58"/>
                    </a:cxn>
                    <a:cxn ang="0">
                      <a:pos x="188" y="58"/>
                    </a:cxn>
                    <a:cxn ang="0">
                      <a:pos x="174" y="42"/>
                    </a:cxn>
                    <a:cxn ang="0">
                      <a:pos x="166" y="34"/>
                    </a:cxn>
                    <a:cxn ang="0">
                      <a:pos x="156" y="26"/>
                    </a:cxn>
                    <a:cxn ang="0">
                      <a:pos x="144" y="18"/>
                    </a:cxn>
                    <a:cxn ang="0">
                      <a:pos x="130" y="12"/>
                    </a:cxn>
                    <a:cxn ang="0">
                      <a:pos x="114" y="10"/>
                    </a:cxn>
                    <a:cxn ang="0">
                      <a:pos x="96" y="10"/>
                    </a:cxn>
                    <a:cxn ang="0">
                      <a:pos x="96" y="10"/>
                    </a:cxn>
                    <a:cxn ang="0">
                      <a:pos x="76" y="8"/>
                    </a:cxn>
                    <a:cxn ang="0">
                      <a:pos x="58" y="6"/>
                    </a:cxn>
                    <a:cxn ang="0">
                      <a:pos x="30" y="2"/>
                    </a:cxn>
                    <a:cxn ang="0">
                      <a:pos x="18" y="0"/>
                    </a:cxn>
                    <a:cxn ang="0">
                      <a:pos x="10" y="2"/>
                    </a:cxn>
                    <a:cxn ang="0">
                      <a:pos x="8" y="4"/>
                    </a:cxn>
                    <a:cxn ang="0">
                      <a:pos x="4" y="6"/>
                    </a:cxn>
                    <a:cxn ang="0">
                      <a:pos x="2" y="16"/>
                    </a:cxn>
                    <a:cxn ang="0">
                      <a:pos x="2" y="16"/>
                    </a:cxn>
                  </a:cxnLst>
                  <a:rect l="0" t="0" r="r" b="b"/>
                  <a:pathLst>
                    <a:path w="192" h="76">
                      <a:moveTo>
                        <a:pt x="2" y="16"/>
                      </a:moveTo>
                      <a:lnTo>
                        <a:pt x="2" y="16"/>
                      </a:lnTo>
                      <a:lnTo>
                        <a:pt x="0" y="24"/>
                      </a:lnTo>
                      <a:lnTo>
                        <a:pt x="2" y="30"/>
                      </a:lnTo>
                      <a:lnTo>
                        <a:pt x="6" y="34"/>
                      </a:lnTo>
                      <a:lnTo>
                        <a:pt x="18" y="38"/>
                      </a:lnTo>
                      <a:lnTo>
                        <a:pt x="18" y="38"/>
                      </a:lnTo>
                      <a:lnTo>
                        <a:pt x="22" y="42"/>
                      </a:lnTo>
                      <a:lnTo>
                        <a:pt x="26" y="46"/>
                      </a:lnTo>
                      <a:lnTo>
                        <a:pt x="26" y="52"/>
                      </a:lnTo>
                      <a:lnTo>
                        <a:pt x="28" y="56"/>
                      </a:lnTo>
                      <a:lnTo>
                        <a:pt x="30" y="62"/>
                      </a:lnTo>
                      <a:lnTo>
                        <a:pt x="36" y="66"/>
                      </a:lnTo>
                      <a:lnTo>
                        <a:pt x="46" y="72"/>
                      </a:lnTo>
                      <a:lnTo>
                        <a:pt x="46" y="72"/>
                      </a:lnTo>
                      <a:lnTo>
                        <a:pt x="56" y="76"/>
                      </a:lnTo>
                      <a:lnTo>
                        <a:pt x="66" y="76"/>
                      </a:lnTo>
                      <a:lnTo>
                        <a:pt x="72" y="76"/>
                      </a:lnTo>
                      <a:lnTo>
                        <a:pt x="80" y="74"/>
                      </a:lnTo>
                      <a:lnTo>
                        <a:pt x="94" y="68"/>
                      </a:lnTo>
                      <a:lnTo>
                        <a:pt x="104" y="66"/>
                      </a:lnTo>
                      <a:lnTo>
                        <a:pt x="118" y="68"/>
                      </a:lnTo>
                      <a:lnTo>
                        <a:pt x="118" y="68"/>
                      </a:lnTo>
                      <a:lnTo>
                        <a:pt x="148" y="70"/>
                      </a:lnTo>
                      <a:lnTo>
                        <a:pt x="176" y="72"/>
                      </a:lnTo>
                      <a:lnTo>
                        <a:pt x="184" y="70"/>
                      </a:lnTo>
                      <a:lnTo>
                        <a:pt x="192" y="68"/>
                      </a:lnTo>
                      <a:lnTo>
                        <a:pt x="192" y="66"/>
                      </a:lnTo>
                      <a:lnTo>
                        <a:pt x="192" y="62"/>
                      </a:lnTo>
                      <a:lnTo>
                        <a:pt x="188" y="58"/>
                      </a:lnTo>
                      <a:lnTo>
                        <a:pt x="188" y="58"/>
                      </a:lnTo>
                      <a:lnTo>
                        <a:pt x="174" y="42"/>
                      </a:lnTo>
                      <a:lnTo>
                        <a:pt x="166" y="34"/>
                      </a:lnTo>
                      <a:lnTo>
                        <a:pt x="156" y="26"/>
                      </a:lnTo>
                      <a:lnTo>
                        <a:pt x="144" y="18"/>
                      </a:lnTo>
                      <a:lnTo>
                        <a:pt x="130" y="12"/>
                      </a:lnTo>
                      <a:lnTo>
                        <a:pt x="114" y="10"/>
                      </a:lnTo>
                      <a:lnTo>
                        <a:pt x="96" y="10"/>
                      </a:lnTo>
                      <a:lnTo>
                        <a:pt x="96" y="10"/>
                      </a:lnTo>
                      <a:lnTo>
                        <a:pt x="76" y="8"/>
                      </a:lnTo>
                      <a:lnTo>
                        <a:pt x="58" y="6"/>
                      </a:lnTo>
                      <a:lnTo>
                        <a:pt x="30" y="2"/>
                      </a:lnTo>
                      <a:lnTo>
                        <a:pt x="18" y="0"/>
                      </a:lnTo>
                      <a:lnTo>
                        <a:pt x="10" y="2"/>
                      </a:lnTo>
                      <a:lnTo>
                        <a:pt x="8" y="4"/>
                      </a:lnTo>
                      <a:lnTo>
                        <a:pt x="4" y="6"/>
                      </a:lnTo>
                      <a:lnTo>
                        <a:pt x="2" y="16"/>
                      </a:lnTo>
                      <a:lnTo>
                        <a:pt x="2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806" name="Freeform 6108">
                  <a:extLst>
                    <a:ext uri="{FF2B5EF4-FFF2-40B4-BE49-F238E27FC236}">
                      <a16:creationId xmlns:a16="http://schemas.microsoft.com/office/drawing/2014/main" id="{FB1D45F1-2D7D-414B-A592-A53B58BD11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62760" y="1103313"/>
                  <a:ext cx="29210" cy="11430"/>
                </a:xfrm>
                <a:custGeom>
                  <a:avLst/>
                  <a:gdLst/>
                  <a:ahLst/>
                  <a:cxnLst>
                    <a:cxn ang="0">
                      <a:pos x="2" y="18"/>
                    </a:cxn>
                    <a:cxn ang="0">
                      <a:pos x="2" y="18"/>
                    </a:cxn>
                    <a:cxn ang="0">
                      <a:pos x="8" y="18"/>
                    </a:cxn>
                    <a:cxn ang="0">
                      <a:pos x="14" y="18"/>
                    </a:cxn>
                    <a:cxn ang="0">
                      <a:pos x="30" y="12"/>
                    </a:cxn>
                    <a:cxn ang="0">
                      <a:pos x="42" y="4"/>
                    </a:cxn>
                    <a:cxn ang="0">
                      <a:pos x="46" y="2"/>
                    </a:cxn>
                    <a:cxn ang="0">
                      <a:pos x="44" y="0"/>
                    </a:cxn>
                    <a:cxn ang="0">
                      <a:pos x="44" y="0"/>
                    </a:cxn>
                    <a:cxn ang="0">
                      <a:pos x="32" y="2"/>
                    </a:cxn>
                    <a:cxn ang="0">
                      <a:pos x="16" y="6"/>
                    </a:cxn>
                    <a:cxn ang="0">
                      <a:pos x="2" y="14"/>
                    </a:cxn>
                    <a:cxn ang="0">
                      <a:pos x="0" y="16"/>
                    </a:cxn>
                    <a:cxn ang="0">
                      <a:pos x="2" y="18"/>
                    </a:cxn>
                    <a:cxn ang="0">
                      <a:pos x="2" y="18"/>
                    </a:cxn>
                  </a:cxnLst>
                  <a:rect l="0" t="0" r="r" b="b"/>
                  <a:pathLst>
                    <a:path w="46" h="18">
                      <a:moveTo>
                        <a:pt x="2" y="18"/>
                      </a:moveTo>
                      <a:lnTo>
                        <a:pt x="2" y="18"/>
                      </a:lnTo>
                      <a:lnTo>
                        <a:pt x="8" y="18"/>
                      </a:lnTo>
                      <a:lnTo>
                        <a:pt x="14" y="18"/>
                      </a:lnTo>
                      <a:lnTo>
                        <a:pt x="30" y="12"/>
                      </a:lnTo>
                      <a:lnTo>
                        <a:pt x="42" y="4"/>
                      </a:lnTo>
                      <a:lnTo>
                        <a:pt x="46" y="2"/>
                      </a:lnTo>
                      <a:lnTo>
                        <a:pt x="44" y="0"/>
                      </a:lnTo>
                      <a:lnTo>
                        <a:pt x="44" y="0"/>
                      </a:lnTo>
                      <a:lnTo>
                        <a:pt x="32" y="2"/>
                      </a:lnTo>
                      <a:lnTo>
                        <a:pt x="16" y="6"/>
                      </a:lnTo>
                      <a:lnTo>
                        <a:pt x="2" y="14"/>
                      </a:lnTo>
                      <a:lnTo>
                        <a:pt x="0" y="16"/>
                      </a:lnTo>
                      <a:lnTo>
                        <a:pt x="2" y="18"/>
                      </a:lnTo>
                      <a:lnTo>
                        <a:pt x="2" y="1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807" name="Freeform 6109">
                  <a:extLst>
                    <a:ext uri="{FF2B5EF4-FFF2-40B4-BE49-F238E27FC236}">
                      <a16:creationId xmlns:a16="http://schemas.microsoft.com/office/drawing/2014/main" id="{4C107E4B-2550-4612-BDED-8BAF032C92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4530" y="1190943"/>
                  <a:ext cx="138430" cy="102870"/>
                </a:xfrm>
                <a:custGeom>
                  <a:avLst/>
                  <a:gdLst/>
                  <a:ahLst/>
                  <a:cxnLst>
                    <a:cxn ang="0">
                      <a:pos x="166" y="92"/>
                    </a:cxn>
                    <a:cxn ang="0">
                      <a:pos x="186" y="66"/>
                    </a:cxn>
                    <a:cxn ang="0">
                      <a:pos x="216" y="36"/>
                    </a:cxn>
                    <a:cxn ang="0">
                      <a:pos x="218" y="28"/>
                    </a:cxn>
                    <a:cxn ang="0">
                      <a:pos x="216" y="22"/>
                    </a:cxn>
                    <a:cxn ang="0">
                      <a:pos x="204" y="16"/>
                    </a:cxn>
                    <a:cxn ang="0">
                      <a:pos x="190" y="12"/>
                    </a:cxn>
                    <a:cxn ang="0">
                      <a:pos x="172" y="12"/>
                    </a:cxn>
                    <a:cxn ang="0">
                      <a:pos x="156" y="16"/>
                    </a:cxn>
                    <a:cxn ang="0">
                      <a:pos x="140" y="12"/>
                    </a:cxn>
                    <a:cxn ang="0">
                      <a:pos x="122" y="4"/>
                    </a:cxn>
                    <a:cxn ang="0">
                      <a:pos x="106" y="0"/>
                    </a:cxn>
                    <a:cxn ang="0">
                      <a:pos x="84" y="0"/>
                    </a:cxn>
                    <a:cxn ang="0">
                      <a:pos x="48" y="6"/>
                    </a:cxn>
                    <a:cxn ang="0">
                      <a:pos x="20" y="16"/>
                    </a:cxn>
                    <a:cxn ang="0">
                      <a:pos x="16" y="24"/>
                    </a:cxn>
                    <a:cxn ang="0">
                      <a:pos x="22" y="30"/>
                    </a:cxn>
                    <a:cxn ang="0">
                      <a:pos x="18" y="32"/>
                    </a:cxn>
                    <a:cxn ang="0">
                      <a:pos x="6" y="32"/>
                    </a:cxn>
                    <a:cxn ang="0">
                      <a:pos x="0" y="48"/>
                    </a:cxn>
                    <a:cxn ang="0">
                      <a:pos x="0" y="74"/>
                    </a:cxn>
                    <a:cxn ang="0">
                      <a:pos x="2" y="98"/>
                    </a:cxn>
                    <a:cxn ang="0">
                      <a:pos x="10" y="114"/>
                    </a:cxn>
                    <a:cxn ang="0">
                      <a:pos x="20" y="134"/>
                    </a:cxn>
                    <a:cxn ang="0">
                      <a:pos x="20" y="142"/>
                    </a:cxn>
                    <a:cxn ang="0">
                      <a:pos x="22" y="154"/>
                    </a:cxn>
                    <a:cxn ang="0">
                      <a:pos x="30" y="156"/>
                    </a:cxn>
                    <a:cxn ang="0">
                      <a:pos x="54" y="156"/>
                    </a:cxn>
                    <a:cxn ang="0">
                      <a:pos x="62" y="160"/>
                    </a:cxn>
                    <a:cxn ang="0">
                      <a:pos x="70" y="160"/>
                    </a:cxn>
                    <a:cxn ang="0">
                      <a:pos x="76" y="146"/>
                    </a:cxn>
                    <a:cxn ang="0">
                      <a:pos x="82" y="138"/>
                    </a:cxn>
                    <a:cxn ang="0">
                      <a:pos x="90" y="132"/>
                    </a:cxn>
                    <a:cxn ang="0">
                      <a:pos x="90" y="122"/>
                    </a:cxn>
                    <a:cxn ang="0">
                      <a:pos x="86" y="114"/>
                    </a:cxn>
                    <a:cxn ang="0">
                      <a:pos x="84" y="106"/>
                    </a:cxn>
                    <a:cxn ang="0">
                      <a:pos x="88" y="104"/>
                    </a:cxn>
                    <a:cxn ang="0">
                      <a:pos x="112" y="106"/>
                    </a:cxn>
                    <a:cxn ang="0">
                      <a:pos x="142" y="106"/>
                    </a:cxn>
                    <a:cxn ang="0">
                      <a:pos x="156" y="102"/>
                    </a:cxn>
                    <a:cxn ang="0">
                      <a:pos x="166" y="92"/>
                    </a:cxn>
                  </a:cxnLst>
                  <a:rect l="0" t="0" r="r" b="b"/>
                  <a:pathLst>
                    <a:path w="218" h="162">
                      <a:moveTo>
                        <a:pt x="166" y="92"/>
                      </a:moveTo>
                      <a:lnTo>
                        <a:pt x="166" y="92"/>
                      </a:lnTo>
                      <a:lnTo>
                        <a:pt x="176" y="80"/>
                      </a:lnTo>
                      <a:lnTo>
                        <a:pt x="186" y="66"/>
                      </a:lnTo>
                      <a:lnTo>
                        <a:pt x="208" y="46"/>
                      </a:lnTo>
                      <a:lnTo>
                        <a:pt x="216" y="36"/>
                      </a:lnTo>
                      <a:lnTo>
                        <a:pt x="218" y="32"/>
                      </a:lnTo>
                      <a:lnTo>
                        <a:pt x="218" y="28"/>
                      </a:lnTo>
                      <a:lnTo>
                        <a:pt x="218" y="24"/>
                      </a:lnTo>
                      <a:lnTo>
                        <a:pt x="216" y="22"/>
                      </a:lnTo>
                      <a:lnTo>
                        <a:pt x="210" y="18"/>
                      </a:lnTo>
                      <a:lnTo>
                        <a:pt x="204" y="16"/>
                      </a:lnTo>
                      <a:lnTo>
                        <a:pt x="204" y="16"/>
                      </a:lnTo>
                      <a:lnTo>
                        <a:pt x="190" y="12"/>
                      </a:lnTo>
                      <a:lnTo>
                        <a:pt x="180" y="12"/>
                      </a:lnTo>
                      <a:lnTo>
                        <a:pt x="172" y="12"/>
                      </a:lnTo>
                      <a:lnTo>
                        <a:pt x="166" y="14"/>
                      </a:lnTo>
                      <a:lnTo>
                        <a:pt x="156" y="16"/>
                      </a:lnTo>
                      <a:lnTo>
                        <a:pt x="148" y="16"/>
                      </a:lnTo>
                      <a:lnTo>
                        <a:pt x="140" y="12"/>
                      </a:lnTo>
                      <a:lnTo>
                        <a:pt x="140" y="12"/>
                      </a:lnTo>
                      <a:lnTo>
                        <a:pt x="122" y="4"/>
                      </a:lnTo>
                      <a:lnTo>
                        <a:pt x="114" y="2"/>
                      </a:lnTo>
                      <a:lnTo>
                        <a:pt x="106" y="0"/>
                      </a:lnTo>
                      <a:lnTo>
                        <a:pt x="96" y="0"/>
                      </a:lnTo>
                      <a:lnTo>
                        <a:pt x="84" y="0"/>
                      </a:lnTo>
                      <a:lnTo>
                        <a:pt x="48" y="6"/>
                      </a:lnTo>
                      <a:lnTo>
                        <a:pt x="48" y="6"/>
                      </a:lnTo>
                      <a:lnTo>
                        <a:pt x="30" y="10"/>
                      </a:lnTo>
                      <a:lnTo>
                        <a:pt x="20" y="16"/>
                      </a:lnTo>
                      <a:lnTo>
                        <a:pt x="16" y="20"/>
                      </a:lnTo>
                      <a:lnTo>
                        <a:pt x="16" y="24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18" y="32"/>
                      </a:lnTo>
                      <a:lnTo>
                        <a:pt x="18" y="32"/>
                      </a:lnTo>
                      <a:lnTo>
                        <a:pt x="8" y="30"/>
                      </a:lnTo>
                      <a:lnTo>
                        <a:pt x="6" y="32"/>
                      </a:lnTo>
                      <a:lnTo>
                        <a:pt x="4" y="36"/>
                      </a:lnTo>
                      <a:lnTo>
                        <a:pt x="0" y="48"/>
                      </a:lnTo>
                      <a:lnTo>
                        <a:pt x="0" y="74"/>
                      </a:lnTo>
                      <a:lnTo>
                        <a:pt x="0" y="74"/>
                      </a:lnTo>
                      <a:lnTo>
                        <a:pt x="0" y="88"/>
                      </a:lnTo>
                      <a:lnTo>
                        <a:pt x="2" y="98"/>
                      </a:lnTo>
                      <a:lnTo>
                        <a:pt x="6" y="108"/>
                      </a:lnTo>
                      <a:lnTo>
                        <a:pt x="10" y="114"/>
                      </a:lnTo>
                      <a:lnTo>
                        <a:pt x="18" y="126"/>
                      </a:lnTo>
                      <a:lnTo>
                        <a:pt x="20" y="134"/>
                      </a:lnTo>
                      <a:lnTo>
                        <a:pt x="20" y="142"/>
                      </a:lnTo>
                      <a:lnTo>
                        <a:pt x="20" y="142"/>
                      </a:lnTo>
                      <a:lnTo>
                        <a:pt x="20" y="150"/>
                      </a:lnTo>
                      <a:lnTo>
                        <a:pt x="22" y="154"/>
                      </a:lnTo>
                      <a:lnTo>
                        <a:pt x="26" y="156"/>
                      </a:lnTo>
                      <a:lnTo>
                        <a:pt x="30" y="156"/>
                      </a:lnTo>
                      <a:lnTo>
                        <a:pt x="46" y="156"/>
                      </a:lnTo>
                      <a:lnTo>
                        <a:pt x="54" y="156"/>
                      </a:lnTo>
                      <a:lnTo>
                        <a:pt x="62" y="160"/>
                      </a:lnTo>
                      <a:lnTo>
                        <a:pt x="62" y="160"/>
                      </a:lnTo>
                      <a:lnTo>
                        <a:pt x="68" y="162"/>
                      </a:lnTo>
                      <a:lnTo>
                        <a:pt x="70" y="160"/>
                      </a:lnTo>
                      <a:lnTo>
                        <a:pt x="76" y="146"/>
                      </a:lnTo>
                      <a:lnTo>
                        <a:pt x="76" y="146"/>
                      </a:lnTo>
                      <a:lnTo>
                        <a:pt x="78" y="140"/>
                      </a:lnTo>
                      <a:lnTo>
                        <a:pt x="82" y="138"/>
                      </a:lnTo>
                      <a:lnTo>
                        <a:pt x="88" y="134"/>
                      </a:lnTo>
                      <a:lnTo>
                        <a:pt x="90" y="132"/>
                      </a:lnTo>
                      <a:lnTo>
                        <a:pt x="90" y="128"/>
                      </a:lnTo>
                      <a:lnTo>
                        <a:pt x="90" y="122"/>
                      </a:lnTo>
                      <a:lnTo>
                        <a:pt x="86" y="114"/>
                      </a:lnTo>
                      <a:lnTo>
                        <a:pt x="86" y="114"/>
                      </a:lnTo>
                      <a:lnTo>
                        <a:pt x="84" y="110"/>
                      </a:lnTo>
                      <a:lnTo>
                        <a:pt x="84" y="106"/>
                      </a:lnTo>
                      <a:lnTo>
                        <a:pt x="86" y="104"/>
                      </a:lnTo>
                      <a:lnTo>
                        <a:pt x="88" y="104"/>
                      </a:lnTo>
                      <a:lnTo>
                        <a:pt x="98" y="104"/>
                      </a:lnTo>
                      <a:lnTo>
                        <a:pt x="112" y="106"/>
                      </a:lnTo>
                      <a:lnTo>
                        <a:pt x="128" y="108"/>
                      </a:lnTo>
                      <a:lnTo>
                        <a:pt x="142" y="106"/>
                      </a:lnTo>
                      <a:lnTo>
                        <a:pt x="150" y="106"/>
                      </a:lnTo>
                      <a:lnTo>
                        <a:pt x="156" y="102"/>
                      </a:lnTo>
                      <a:lnTo>
                        <a:pt x="162" y="98"/>
                      </a:lnTo>
                      <a:lnTo>
                        <a:pt x="166" y="92"/>
                      </a:lnTo>
                      <a:lnTo>
                        <a:pt x="166" y="9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808" name="Freeform 6110">
                  <a:extLst>
                    <a:ext uri="{FF2B5EF4-FFF2-40B4-BE49-F238E27FC236}">
                      <a16:creationId xmlns:a16="http://schemas.microsoft.com/office/drawing/2014/main" id="{03049B19-1652-4520-8907-6F46647140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2970" y="1573213"/>
                  <a:ext cx="176530" cy="121920"/>
                </a:xfrm>
                <a:custGeom>
                  <a:avLst/>
                  <a:gdLst/>
                  <a:ahLst/>
                  <a:cxnLst>
                    <a:cxn ang="0">
                      <a:pos x="272" y="132"/>
                    </a:cxn>
                    <a:cxn ang="0">
                      <a:pos x="258" y="122"/>
                    </a:cxn>
                    <a:cxn ang="0">
                      <a:pos x="250" y="126"/>
                    </a:cxn>
                    <a:cxn ang="0">
                      <a:pos x="236" y="124"/>
                    </a:cxn>
                    <a:cxn ang="0">
                      <a:pos x="228" y="120"/>
                    </a:cxn>
                    <a:cxn ang="0">
                      <a:pos x="220" y="102"/>
                    </a:cxn>
                    <a:cxn ang="0">
                      <a:pos x="212" y="88"/>
                    </a:cxn>
                    <a:cxn ang="0">
                      <a:pos x="192" y="78"/>
                    </a:cxn>
                    <a:cxn ang="0">
                      <a:pos x="178" y="72"/>
                    </a:cxn>
                    <a:cxn ang="0">
                      <a:pos x="140" y="46"/>
                    </a:cxn>
                    <a:cxn ang="0">
                      <a:pos x="122" y="34"/>
                    </a:cxn>
                    <a:cxn ang="0">
                      <a:pos x="110" y="34"/>
                    </a:cxn>
                    <a:cxn ang="0">
                      <a:pos x="106" y="36"/>
                    </a:cxn>
                    <a:cxn ang="0">
                      <a:pos x="100" y="40"/>
                    </a:cxn>
                    <a:cxn ang="0">
                      <a:pos x="96" y="38"/>
                    </a:cxn>
                    <a:cxn ang="0">
                      <a:pos x="86" y="24"/>
                    </a:cxn>
                    <a:cxn ang="0">
                      <a:pos x="76" y="8"/>
                    </a:cxn>
                    <a:cxn ang="0">
                      <a:pos x="66" y="0"/>
                    </a:cxn>
                    <a:cxn ang="0">
                      <a:pos x="62" y="2"/>
                    </a:cxn>
                    <a:cxn ang="0">
                      <a:pos x="54" y="6"/>
                    </a:cxn>
                    <a:cxn ang="0">
                      <a:pos x="42" y="26"/>
                    </a:cxn>
                    <a:cxn ang="0">
                      <a:pos x="36" y="58"/>
                    </a:cxn>
                    <a:cxn ang="0">
                      <a:pos x="34" y="90"/>
                    </a:cxn>
                    <a:cxn ang="0">
                      <a:pos x="38" y="106"/>
                    </a:cxn>
                    <a:cxn ang="0">
                      <a:pos x="38" y="116"/>
                    </a:cxn>
                    <a:cxn ang="0">
                      <a:pos x="34" y="124"/>
                    </a:cxn>
                    <a:cxn ang="0">
                      <a:pos x="18" y="134"/>
                    </a:cxn>
                    <a:cxn ang="0">
                      <a:pos x="4" y="142"/>
                    </a:cxn>
                    <a:cxn ang="0">
                      <a:pos x="0" y="150"/>
                    </a:cxn>
                    <a:cxn ang="0">
                      <a:pos x="4" y="158"/>
                    </a:cxn>
                    <a:cxn ang="0">
                      <a:pos x="4" y="160"/>
                    </a:cxn>
                    <a:cxn ang="0">
                      <a:pos x="16" y="162"/>
                    </a:cxn>
                    <a:cxn ang="0">
                      <a:pos x="50" y="156"/>
                    </a:cxn>
                    <a:cxn ang="0">
                      <a:pos x="64" y="156"/>
                    </a:cxn>
                    <a:cxn ang="0">
                      <a:pos x="66" y="162"/>
                    </a:cxn>
                    <a:cxn ang="0">
                      <a:pos x="66" y="166"/>
                    </a:cxn>
                    <a:cxn ang="0">
                      <a:pos x="70" y="182"/>
                    </a:cxn>
                    <a:cxn ang="0">
                      <a:pos x="82" y="190"/>
                    </a:cxn>
                    <a:cxn ang="0">
                      <a:pos x="96" y="190"/>
                    </a:cxn>
                    <a:cxn ang="0">
                      <a:pos x="110" y="176"/>
                    </a:cxn>
                    <a:cxn ang="0">
                      <a:pos x="114" y="166"/>
                    </a:cxn>
                    <a:cxn ang="0">
                      <a:pos x="124" y="160"/>
                    </a:cxn>
                    <a:cxn ang="0">
                      <a:pos x="134" y="158"/>
                    </a:cxn>
                    <a:cxn ang="0">
                      <a:pos x="142" y="150"/>
                    </a:cxn>
                    <a:cxn ang="0">
                      <a:pos x="144" y="142"/>
                    </a:cxn>
                    <a:cxn ang="0">
                      <a:pos x="154" y="128"/>
                    </a:cxn>
                    <a:cxn ang="0">
                      <a:pos x="170" y="124"/>
                    </a:cxn>
                    <a:cxn ang="0">
                      <a:pos x="184" y="130"/>
                    </a:cxn>
                    <a:cxn ang="0">
                      <a:pos x="192" y="142"/>
                    </a:cxn>
                    <a:cxn ang="0">
                      <a:pos x="194" y="148"/>
                    </a:cxn>
                    <a:cxn ang="0">
                      <a:pos x="198" y="154"/>
                    </a:cxn>
                    <a:cxn ang="0">
                      <a:pos x="214" y="156"/>
                    </a:cxn>
                    <a:cxn ang="0">
                      <a:pos x="232" y="160"/>
                    </a:cxn>
                    <a:cxn ang="0">
                      <a:pos x="254" y="162"/>
                    </a:cxn>
                    <a:cxn ang="0">
                      <a:pos x="272" y="158"/>
                    </a:cxn>
                    <a:cxn ang="0">
                      <a:pos x="278" y="148"/>
                    </a:cxn>
                    <a:cxn ang="0">
                      <a:pos x="272" y="132"/>
                    </a:cxn>
                  </a:cxnLst>
                  <a:rect l="0" t="0" r="r" b="b"/>
                  <a:pathLst>
                    <a:path w="278" h="192">
                      <a:moveTo>
                        <a:pt x="272" y="132"/>
                      </a:moveTo>
                      <a:lnTo>
                        <a:pt x="272" y="132"/>
                      </a:lnTo>
                      <a:lnTo>
                        <a:pt x="262" y="122"/>
                      </a:lnTo>
                      <a:lnTo>
                        <a:pt x="258" y="122"/>
                      </a:lnTo>
                      <a:lnTo>
                        <a:pt x="256" y="122"/>
                      </a:lnTo>
                      <a:lnTo>
                        <a:pt x="250" y="126"/>
                      </a:lnTo>
                      <a:lnTo>
                        <a:pt x="244" y="126"/>
                      </a:lnTo>
                      <a:lnTo>
                        <a:pt x="236" y="124"/>
                      </a:lnTo>
                      <a:lnTo>
                        <a:pt x="236" y="124"/>
                      </a:lnTo>
                      <a:lnTo>
                        <a:pt x="228" y="120"/>
                      </a:lnTo>
                      <a:lnTo>
                        <a:pt x="224" y="114"/>
                      </a:lnTo>
                      <a:lnTo>
                        <a:pt x="220" y="102"/>
                      </a:lnTo>
                      <a:lnTo>
                        <a:pt x="218" y="96"/>
                      </a:lnTo>
                      <a:lnTo>
                        <a:pt x="212" y="88"/>
                      </a:lnTo>
                      <a:lnTo>
                        <a:pt x="204" y="82"/>
                      </a:lnTo>
                      <a:lnTo>
                        <a:pt x="192" y="78"/>
                      </a:lnTo>
                      <a:lnTo>
                        <a:pt x="192" y="78"/>
                      </a:lnTo>
                      <a:lnTo>
                        <a:pt x="178" y="72"/>
                      </a:lnTo>
                      <a:lnTo>
                        <a:pt x="164" y="64"/>
                      </a:lnTo>
                      <a:lnTo>
                        <a:pt x="140" y="46"/>
                      </a:lnTo>
                      <a:lnTo>
                        <a:pt x="130" y="38"/>
                      </a:lnTo>
                      <a:lnTo>
                        <a:pt x="122" y="34"/>
                      </a:lnTo>
                      <a:lnTo>
                        <a:pt x="114" y="32"/>
                      </a:lnTo>
                      <a:lnTo>
                        <a:pt x="110" y="34"/>
                      </a:lnTo>
                      <a:lnTo>
                        <a:pt x="106" y="36"/>
                      </a:lnTo>
                      <a:lnTo>
                        <a:pt x="106" y="36"/>
                      </a:lnTo>
                      <a:lnTo>
                        <a:pt x="104" y="38"/>
                      </a:lnTo>
                      <a:lnTo>
                        <a:pt x="100" y="40"/>
                      </a:lnTo>
                      <a:lnTo>
                        <a:pt x="98" y="40"/>
                      </a:lnTo>
                      <a:lnTo>
                        <a:pt x="96" y="38"/>
                      </a:lnTo>
                      <a:lnTo>
                        <a:pt x="90" y="32"/>
                      </a:lnTo>
                      <a:lnTo>
                        <a:pt x="86" y="24"/>
                      </a:lnTo>
                      <a:lnTo>
                        <a:pt x="82" y="14"/>
                      </a:lnTo>
                      <a:lnTo>
                        <a:pt x="76" y="8"/>
                      </a:lnTo>
                      <a:lnTo>
                        <a:pt x="70" y="2"/>
                      </a:lnTo>
                      <a:lnTo>
                        <a:pt x="66" y="0"/>
                      </a:lnTo>
                      <a:lnTo>
                        <a:pt x="62" y="2"/>
                      </a:lnTo>
                      <a:lnTo>
                        <a:pt x="62" y="2"/>
                      </a:lnTo>
                      <a:lnTo>
                        <a:pt x="58" y="2"/>
                      </a:lnTo>
                      <a:lnTo>
                        <a:pt x="54" y="6"/>
                      </a:lnTo>
                      <a:lnTo>
                        <a:pt x="48" y="14"/>
                      </a:lnTo>
                      <a:lnTo>
                        <a:pt x="42" y="26"/>
                      </a:lnTo>
                      <a:lnTo>
                        <a:pt x="38" y="42"/>
                      </a:lnTo>
                      <a:lnTo>
                        <a:pt x="36" y="58"/>
                      </a:lnTo>
                      <a:lnTo>
                        <a:pt x="34" y="74"/>
                      </a:lnTo>
                      <a:lnTo>
                        <a:pt x="34" y="90"/>
                      </a:lnTo>
                      <a:lnTo>
                        <a:pt x="38" y="106"/>
                      </a:lnTo>
                      <a:lnTo>
                        <a:pt x="38" y="106"/>
                      </a:lnTo>
                      <a:lnTo>
                        <a:pt x="38" y="112"/>
                      </a:lnTo>
                      <a:lnTo>
                        <a:pt x="38" y="116"/>
                      </a:lnTo>
                      <a:lnTo>
                        <a:pt x="36" y="122"/>
                      </a:lnTo>
                      <a:lnTo>
                        <a:pt x="34" y="124"/>
                      </a:lnTo>
                      <a:lnTo>
                        <a:pt x="26" y="130"/>
                      </a:lnTo>
                      <a:lnTo>
                        <a:pt x="18" y="134"/>
                      </a:lnTo>
                      <a:lnTo>
                        <a:pt x="10" y="138"/>
                      </a:lnTo>
                      <a:lnTo>
                        <a:pt x="4" y="142"/>
                      </a:lnTo>
                      <a:lnTo>
                        <a:pt x="2" y="146"/>
                      </a:lnTo>
                      <a:lnTo>
                        <a:pt x="0" y="150"/>
                      </a:lnTo>
                      <a:lnTo>
                        <a:pt x="2" y="154"/>
                      </a:lnTo>
                      <a:lnTo>
                        <a:pt x="4" y="158"/>
                      </a:lnTo>
                      <a:lnTo>
                        <a:pt x="4" y="158"/>
                      </a:lnTo>
                      <a:lnTo>
                        <a:pt x="4" y="160"/>
                      </a:lnTo>
                      <a:lnTo>
                        <a:pt x="8" y="162"/>
                      </a:lnTo>
                      <a:lnTo>
                        <a:pt x="16" y="162"/>
                      </a:lnTo>
                      <a:lnTo>
                        <a:pt x="38" y="158"/>
                      </a:lnTo>
                      <a:lnTo>
                        <a:pt x="50" y="156"/>
                      </a:lnTo>
                      <a:lnTo>
                        <a:pt x="60" y="156"/>
                      </a:lnTo>
                      <a:lnTo>
                        <a:pt x="64" y="156"/>
                      </a:lnTo>
                      <a:lnTo>
                        <a:pt x="66" y="158"/>
                      </a:lnTo>
                      <a:lnTo>
                        <a:pt x="66" y="162"/>
                      </a:lnTo>
                      <a:lnTo>
                        <a:pt x="66" y="166"/>
                      </a:lnTo>
                      <a:lnTo>
                        <a:pt x="66" y="166"/>
                      </a:lnTo>
                      <a:lnTo>
                        <a:pt x="66" y="174"/>
                      </a:lnTo>
                      <a:lnTo>
                        <a:pt x="70" y="182"/>
                      </a:lnTo>
                      <a:lnTo>
                        <a:pt x="74" y="188"/>
                      </a:lnTo>
                      <a:lnTo>
                        <a:pt x="82" y="190"/>
                      </a:lnTo>
                      <a:lnTo>
                        <a:pt x="88" y="192"/>
                      </a:lnTo>
                      <a:lnTo>
                        <a:pt x="96" y="190"/>
                      </a:lnTo>
                      <a:lnTo>
                        <a:pt x="104" y="184"/>
                      </a:lnTo>
                      <a:lnTo>
                        <a:pt x="110" y="176"/>
                      </a:lnTo>
                      <a:lnTo>
                        <a:pt x="110" y="176"/>
                      </a:lnTo>
                      <a:lnTo>
                        <a:pt x="114" y="166"/>
                      </a:lnTo>
                      <a:lnTo>
                        <a:pt x="120" y="162"/>
                      </a:lnTo>
                      <a:lnTo>
                        <a:pt x="124" y="160"/>
                      </a:lnTo>
                      <a:lnTo>
                        <a:pt x="130" y="158"/>
                      </a:lnTo>
                      <a:lnTo>
                        <a:pt x="134" y="158"/>
                      </a:lnTo>
                      <a:lnTo>
                        <a:pt x="138" y="156"/>
                      </a:lnTo>
                      <a:lnTo>
                        <a:pt x="142" y="150"/>
                      </a:lnTo>
                      <a:lnTo>
                        <a:pt x="144" y="142"/>
                      </a:lnTo>
                      <a:lnTo>
                        <a:pt x="144" y="142"/>
                      </a:lnTo>
                      <a:lnTo>
                        <a:pt x="148" y="134"/>
                      </a:lnTo>
                      <a:lnTo>
                        <a:pt x="154" y="128"/>
                      </a:lnTo>
                      <a:lnTo>
                        <a:pt x="162" y="124"/>
                      </a:lnTo>
                      <a:lnTo>
                        <a:pt x="170" y="124"/>
                      </a:lnTo>
                      <a:lnTo>
                        <a:pt x="178" y="126"/>
                      </a:lnTo>
                      <a:lnTo>
                        <a:pt x="184" y="130"/>
                      </a:lnTo>
                      <a:lnTo>
                        <a:pt x="190" y="136"/>
                      </a:lnTo>
                      <a:lnTo>
                        <a:pt x="192" y="142"/>
                      </a:lnTo>
                      <a:lnTo>
                        <a:pt x="192" y="142"/>
                      </a:lnTo>
                      <a:lnTo>
                        <a:pt x="194" y="148"/>
                      </a:lnTo>
                      <a:lnTo>
                        <a:pt x="196" y="152"/>
                      </a:lnTo>
                      <a:lnTo>
                        <a:pt x="198" y="154"/>
                      </a:lnTo>
                      <a:lnTo>
                        <a:pt x="202" y="156"/>
                      </a:lnTo>
                      <a:lnTo>
                        <a:pt x="214" y="156"/>
                      </a:lnTo>
                      <a:lnTo>
                        <a:pt x="232" y="160"/>
                      </a:lnTo>
                      <a:lnTo>
                        <a:pt x="232" y="160"/>
                      </a:lnTo>
                      <a:lnTo>
                        <a:pt x="244" y="162"/>
                      </a:lnTo>
                      <a:lnTo>
                        <a:pt x="254" y="162"/>
                      </a:lnTo>
                      <a:lnTo>
                        <a:pt x="264" y="160"/>
                      </a:lnTo>
                      <a:lnTo>
                        <a:pt x="272" y="158"/>
                      </a:lnTo>
                      <a:lnTo>
                        <a:pt x="276" y="154"/>
                      </a:lnTo>
                      <a:lnTo>
                        <a:pt x="278" y="148"/>
                      </a:lnTo>
                      <a:lnTo>
                        <a:pt x="278" y="140"/>
                      </a:lnTo>
                      <a:lnTo>
                        <a:pt x="272" y="132"/>
                      </a:lnTo>
                      <a:lnTo>
                        <a:pt x="272" y="13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809" name="Freeform 6111">
                  <a:extLst>
                    <a:ext uri="{FF2B5EF4-FFF2-40B4-BE49-F238E27FC236}">
                      <a16:creationId xmlns:a16="http://schemas.microsoft.com/office/drawing/2014/main" id="{73A6963B-0694-4F7A-8CC3-C62460638C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050" y="1465263"/>
                  <a:ext cx="15240" cy="24130"/>
                </a:xfrm>
                <a:custGeom>
                  <a:avLst/>
                  <a:gdLst/>
                  <a:ahLst/>
                  <a:cxnLst>
                    <a:cxn ang="0">
                      <a:pos x="4" y="28"/>
                    </a:cxn>
                    <a:cxn ang="0">
                      <a:pos x="4" y="28"/>
                    </a:cxn>
                    <a:cxn ang="0">
                      <a:pos x="12" y="36"/>
                    </a:cxn>
                    <a:cxn ang="0">
                      <a:pos x="16" y="38"/>
                    </a:cxn>
                    <a:cxn ang="0">
                      <a:pos x="18" y="38"/>
                    </a:cxn>
                    <a:cxn ang="0">
                      <a:pos x="22" y="36"/>
                    </a:cxn>
                    <a:cxn ang="0">
                      <a:pos x="24" y="30"/>
                    </a:cxn>
                    <a:cxn ang="0">
                      <a:pos x="24" y="12"/>
                    </a:cxn>
                    <a:cxn ang="0">
                      <a:pos x="20" y="0"/>
                    </a:cxn>
                    <a:cxn ang="0">
                      <a:pos x="20" y="0"/>
                    </a:cxn>
                    <a:cxn ang="0">
                      <a:pos x="18" y="0"/>
                    </a:cxn>
                    <a:cxn ang="0">
                      <a:pos x="14" y="0"/>
                    </a:cxn>
                    <a:cxn ang="0">
                      <a:pos x="10" y="2"/>
                    </a:cxn>
                    <a:cxn ang="0">
                      <a:pos x="6" y="6"/>
                    </a:cxn>
                    <a:cxn ang="0">
                      <a:pos x="2" y="10"/>
                    </a:cxn>
                    <a:cxn ang="0">
                      <a:pos x="0" y="16"/>
                    </a:cxn>
                    <a:cxn ang="0">
                      <a:pos x="0" y="22"/>
                    </a:cxn>
                    <a:cxn ang="0">
                      <a:pos x="4" y="28"/>
                    </a:cxn>
                    <a:cxn ang="0">
                      <a:pos x="4" y="28"/>
                    </a:cxn>
                  </a:cxnLst>
                  <a:rect l="0" t="0" r="r" b="b"/>
                  <a:pathLst>
                    <a:path w="24" h="38">
                      <a:moveTo>
                        <a:pt x="4" y="28"/>
                      </a:moveTo>
                      <a:lnTo>
                        <a:pt x="4" y="28"/>
                      </a:lnTo>
                      <a:lnTo>
                        <a:pt x="12" y="36"/>
                      </a:lnTo>
                      <a:lnTo>
                        <a:pt x="16" y="38"/>
                      </a:lnTo>
                      <a:lnTo>
                        <a:pt x="18" y="38"/>
                      </a:lnTo>
                      <a:lnTo>
                        <a:pt x="22" y="36"/>
                      </a:lnTo>
                      <a:lnTo>
                        <a:pt x="24" y="30"/>
                      </a:lnTo>
                      <a:lnTo>
                        <a:pt x="24" y="12"/>
                      </a:lnTo>
                      <a:lnTo>
                        <a:pt x="20" y="0"/>
                      </a:lnTo>
                      <a:lnTo>
                        <a:pt x="20" y="0"/>
                      </a:lnTo>
                      <a:lnTo>
                        <a:pt x="18" y="0"/>
                      </a:lnTo>
                      <a:lnTo>
                        <a:pt x="14" y="0"/>
                      </a:lnTo>
                      <a:lnTo>
                        <a:pt x="10" y="2"/>
                      </a:lnTo>
                      <a:lnTo>
                        <a:pt x="6" y="6"/>
                      </a:lnTo>
                      <a:lnTo>
                        <a:pt x="2" y="10"/>
                      </a:lnTo>
                      <a:lnTo>
                        <a:pt x="0" y="16"/>
                      </a:lnTo>
                      <a:lnTo>
                        <a:pt x="0" y="22"/>
                      </a:lnTo>
                      <a:lnTo>
                        <a:pt x="4" y="28"/>
                      </a:lnTo>
                      <a:lnTo>
                        <a:pt x="4" y="2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810" name="Freeform 6112">
                  <a:extLst>
                    <a:ext uri="{FF2B5EF4-FFF2-40B4-BE49-F238E27FC236}">
                      <a16:creationId xmlns:a16="http://schemas.microsoft.com/office/drawing/2014/main" id="{5CBA4976-4C42-4D22-9BE3-9C59842BD2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58060" y="1697673"/>
                  <a:ext cx="52070" cy="36830"/>
                </a:xfrm>
                <a:custGeom>
                  <a:avLst/>
                  <a:gdLst/>
                  <a:ahLst/>
                  <a:cxnLst>
                    <a:cxn ang="0">
                      <a:pos x="78" y="4"/>
                    </a:cxn>
                    <a:cxn ang="0">
                      <a:pos x="78" y="4"/>
                    </a:cxn>
                    <a:cxn ang="0">
                      <a:pos x="72" y="2"/>
                    </a:cxn>
                    <a:cxn ang="0">
                      <a:pos x="68" y="0"/>
                    </a:cxn>
                    <a:cxn ang="0">
                      <a:pos x="54" y="2"/>
                    </a:cxn>
                    <a:cxn ang="0">
                      <a:pos x="38" y="6"/>
                    </a:cxn>
                    <a:cxn ang="0">
                      <a:pos x="24" y="14"/>
                    </a:cxn>
                    <a:cxn ang="0">
                      <a:pos x="12" y="22"/>
                    </a:cxn>
                    <a:cxn ang="0">
                      <a:pos x="4" y="32"/>
                    </a:cxn>
                    <a:cxn ang="0">
                      <a:pos x="0" y="38"/>
                    </a:cxn>
                    <a:cxn ang="0">
                      <a:pos x="0" y="42"/>
                    </a:cxn>
                    <a:cxn ang="0">
                      <a:pos x="2" y="48"/>
                    </a:cxn>
                    <a:cxn ang="0">
                      <a:pos x="6" y="52"/>
                    </a:cxn>
                    <a:cxn ang="0">
                      <a:pos x="6" y="52"/>
                    </a:cxn>
                    <a:cxn ang="0">
                      <a:pos x="10" y="56"/>
                    </a:cxn>
                    <a:cxn ang="0">
                      <a:pos x="16" y="58"/>
                    </a:cxn>
                    <a:cxn ang="0">
                      <a:pos x="22" y="58"/>
                    </a:cxn>
                    <a:cxn ang="0">
                      <a:pos x="28" y="56"/>
                    </a:cxn>
                    <a:cxn ang="0">
                      <a:pos x="42" y="50"/>
                    </a:cxn>
                    <a:cxn ang="0">
                      <a:pos x="58" y="42"/>
                    </a:cxn>
                    <a:cxn ang="0">
                      <a:pos x="70" y="32"/>
                    </a:cxn>
                    <a:cxn ang="0">
                      <a:pos x="78" y="20"/>
                    </a:cxn>
                    <a:cxn ang="0">
                      <a:pos x="80" y="16"/>
                    </a:cxn>
                    <a:cxn ang="0">
                      <a:pos x="82" y="10"/>
                    </a:cxn>
                    <a:cxn ang="0">
                      <a:pos x="80" y="6"/>
                    </a:cxn>
                    <a:cxn ang="0">
                      <a:pos x="78" y="4"/>
                    </a:cxn>
                    <a:cxn ang="0">
                      <a:pos x="78" y="4"/>
                    </a:cxn>
                  </a:cxnLst>
                  <a:rect l="0" t="0" r="r" b="b"/>
                  <a:pathLst>
                    <a:path w="82" h="58">
                      <a:moveTo>
                        <a:pt x="78" y="4"/>
                      </a:moveTo>
                      <a:lnTo>
                        <a:pt x="78" y="4"/>
                      </a:lnTo>
                      <a:lnTo>
                        <a:pt x="72" y="2"/>
                      </a:lnTo>
                      <a:lnTo>
                        <a:pt x="68" y="0"/>
                      </a:lnTo>
                      <a:lnTo>
                        <a:pt x="54" y="2"/>
                      </a:lnTo>
                      <a:lnTo>
                        <a:pt x="38" y="6"/>
                      </a:lnTo>
                      <a:lnTo>
                        <a:pt x="24" y="14"/>
                      </a:lnTo>
                      <a:lnTo>
                        <a:pt x="12" y="22"/>
                      </a:lnTo>
                      <a:lnTo>
                        <a:pt x="4" y="32"/>
                      </a:lnTo>
                      <a:lnTo>
                        <a:pt x="0" y="38"/>
                      </a:lnTo>
                      <a:lnTo>
                        <a:pt x="0" y="42"/>
                      </a:lnTo>
                      <a:lnTo>
                        <a:pt x="2" y="48"/>
                      </a:lnTo>
                      <a:lnTo>
                        <a:pt x="6" y="52"/>
                      </a:lnTo>
                      <a:lnTo>
                        <a:pt x="6" y="52"/>
                      </a:lnTo>
                      <a:lnTo>
                        <a:pt x="10" y="56"/>
                      </a:lnTo>
                      <a:lnTo>
                        <a:pt x="16" y="58"/>
                      </a:lnTo>
                      <a:lnTo>
                        <a:pt x="22" y="58"/>
                      </a:lnTo>
                      <a:lnTo>
                        <a:pt x="28" y="56"/>
                      </a:lnTo>
                      <a:lnTo>
                        <a:pt x="42" y="50"/>
                      </a:lnTo>
                      <a:lnTo>
                        <a:pt x="58" y="42"/>
                      </a:lnTo>
                      <a:lnTo>
                        <a:pt x="70" y="32"/>
                      </a:lnTo>
                      <a:lnTo>
                        <a:pt x="78" y="20"/>
                      </a:lnTo>
                      <a:lnTo>
                        <a:pt x="80" y="16"/>
                      </a:lnTo>
                      <a:lnTo>
                        <a:pt x="82" y="10"/>
                      </a:lnTo>
                      <a:lnTo>
                        <a:pt x="80" y="6"/>
                      </a:lnTo>
                      <a:lnTo>
                        <a:pt x="78" y="4"/>
                      </a:lnTo>
                      <a:lnTo>
                        <a:pt x="78" y="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811" name="Freeform 6113">
                  <a:extLst>
                    <a:ext uri="{FF2B5EF4-FFF2-40B4-BE49-F238E27FC236}">
                      <a16:creationId xmlns:a16="http://schemas.microsoft.com/office/drawing/2014/main" id="{979CA5FF-BE24-4882-A473-760287E9A1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7630" y="1230313"/>
                  <a:ext cx="467360" cy="227330"/>
                </a:xfrm>
                <a:custGeom>
                  <a:avLst/>
                  <a:gdLst/>
                  <a:ahLst/>
                  <a:cxnLst>
                    <a:cxn ang="0">
                      <a:pos x="700" y="272"/>
                    </a:cxn>
                    <a:cxn ang="0">
                      <a:pos x="720" y="274"/>
                    </a:cxn>
                    <a:cxn ang="0">
                      <a:pos x="736" y="254"/>
                    </a:cxn>
                    <a:cxn ang="0">
                      <a:pos x="708" y="238"/>
                    </a:cxn>
                    <a:cxn ang="0">
                      <a:pos x="684" y="224"/>
                    </a:cxn>
                    <a:cxn ang="0">
                      <a:pos x="646" y="206"/>
                    </a:cxn>
                    <a:cxn ang="0">
                      <a:pos x="608" y="190"/>
                    </a:cxn>
                    <a:cxn ang="0">
                      <a:pos x="586" y="166"/>
                    </a:cxn>
                    <a:cxn ang="0">
                      <a:pos x="592" y="128"/>
                    </a:cxn>
                    <a:cxn ang="0">
                      <a:pos x="560" y="58"/>
                    </a:cxn>
                    <a:cxn ang="0">
                      <a:pos x="506" y="10"/>
                    </a:cxn>
                    <a:cxn ang="0">
                      <a:pos x="482" y="10"/>
                    </a:cxn>
                    <a:cxn ang="0">
                      <a:pos x="438" y="8"/>
                    </a:cxn>
                    <a:cxn ang="0">
                      <a:pos x="450" y="68"/>
                    </a:cxn>
                    <a:cxn ang="0">
                      <a:pos x="478" y="114"/>
                    </a:cxn>
                    <a:cxn ang="0">
                      <a:pos x="456" y="132"/>
                    </a:cxn>
                    <a:cxn ang="0">
                      <a:pos x="420" y="68"/>
                    </a:cxn>
                    <a:cxn ang="0">
                      <a:pos x="382" y="40"/>
                    </a:cxn>
                    <a:cxn ang="0">
                      <a:pos x="354" y="26"/>
                    </a:cxn>
                    <a:cxn ang="0">
                      <a:pos x="352" y="40"/>
                    </a:cxn>
                    <a:cxn ang="0">
                      <a:pos x="372" y="58"/>
                    </a:cxn>
                    <a:cxn ang="0">
                      <a:pos x="336" y="62"/>
                    </a:cxn>
                    <a:cxn ang="0">
                      <a:pos x="318" y="74"/>
                    </a:cxn>
                    <a:cxn ang="0">
                      <a:pos x="296" y="40"/>
                    </a:cxn>
                    <a:cxn ang="0">
                      <a:pos x="224" y="38"/>
                    </a:cxn>
                    <a:cxn ang="0">
                      <a:pos x="190" y="60"/>
                    </a:cxn>
                    <a:cxn ang="0">
                      <a:pos x="206" y="32"/>
                    </a:cxn>
                    <a:cxn ang="0">
                      <a:pos x="196" y="2"/>
                    </a:cxn>
                    <a:cxn ang="0">
                      <a:pos x="100" y="26"/>
                    </a:cxn>
                    <a:cxn ang="0">
                      <a:pos x="22" y="72"/>
                    </a:cxn>
                    <a:cxn ang="0">
                      <a:pos x="40" y="86"/>
                    </a:cxn>
                    <a:cxn ang="0">
                      <a:pos x="2" y="116"/>
                    </a:cxn>
                    <a:cxn ang="0">
                      <a:pos x="14" y="130"/>
                    </a:cxn>
                    <a:cxn ang="0">
                      <a:pos x="34" y="146"/>
                    </a:cxn>
                    <a:cxn ang="0">
                      <a:pos x="116" y="140"/>
                    </a:cxn>
                    <a:cxn ang="0">
                      <a:pos x="76" y="160"/>
                    </a:cxn>
                    <a:cxn ang="0">
                      <a:pos x="44" y="192"/>
                    </a:cxn>
                    <a:cxn ang="0">
                      <a:pos x="110" y="204"/>
                    </a:cxn>
                    <a:cxn ang="0">
                      <a:pos x="210" y="202"/>
                    </a:cxn>
                    <a:cxn ang="0">
                      <a:pos x="276" y="214"/>
                    </a:cxn>
                    <a:cxn ang="0">
                      <a:pos x="294" y="230"/>
                    </a:cxn>
                    <a:cxn ang="0">
                      <a:pos x="168" y="230"/>
                    </a:cxn>
                    <a:cxn ang="0">
                      <a:pos x="70" y="254"/>
                    </a:cxn>
                    <a:cxn ang="0">
                      <a:pos x="122" y="300"/>
                    </a:cxn>
                    <a:cxn ang="0">
                      <a:pos x="222" y="308"/>
                    </a:cxn>
                    <a:cxn ang="0">
                      <a:pos x="232" y="350"/>
                    </a:cxn>
                    <a:cxn ang="0">
                      <a:pos x="314" y="358"/>
                    </a:cxn>
                    <a:cxn ang="0">
                      <a:pos x="420" y="332"/>
                    </a:cxn>
                    <a:cxn ang="0">
                      <a:pos x="478" y="318"/>
                    </a:cxn>
                    <a:cxn ang="0">
                      <a:pos x="490" y="296"/>
                    </a:cxn>
                    <a:cxn ang="0">
                      <a:pos x="516" y="294"/>
                    </a:cxn>
                    <a:cxn ang="0">
                      <a:pos x="540" y="312"/>
                    </a:cxn>
                    <a:cxn ang="0">
                      <a:pos x="560" y="324"/>
                    </a:cxn>
                    <a:cxn ang="0">
                      <a:pos x="592" y="328"/>
                    </a:cxn>
                    <a:cxn ang="0">
                      <a:pos x="640" y="334"/>
                    </a:cxn>
                    <a:cxn ang="0">
                      <a:pos x="680" y="324"/>
                    </a:cxn>
                    <a:cxn ang="0">
                      <a:pos x="700" y="306"/>
                    </a:cxn>
                    <a:cxn ang="0">
                      <a:pos x="692" y="288"/>
                    </a:cxn>
                    <a:cxn ang="0">
                      <a:pos x="648" y="300"/>
                    </a:cxn>
                    <a:cxn ang="0">
                      <a:pos x="632" y="278"/>
                    </a:cxn>
                    <a:cxn ang="0">
                      <a:pos x="660" y="282"/>
                    </a:cxn>
                    <a:cxn ang="0">
                      <a:pos x="668" y="272"/>
                    </a:cxn>
                  </a:cxnLst>
                  <a:rect l="0" t="0" r="r" b="b"/>
                  <a:pathLst>
                    <a:path w="736" h="358">
                      <a:moveTo>
                        <a:pt x="674" y="264"/>
                      </a:moveTo>
                      <a:lnTo>
                        <a:pt x="674" y="264"/>
                      </a:lnTo>
                      <a:lnTo>
                        <a:pt x="682" y="262"/>
                      </a:lnTo>
                      <a:lnTo>
                        <a:pt x="686" y="262"/>
                      </a:lnTo>
                      <a:lnTo>
                        <a:pt x="690" y="264"/>
                      </a:lnTo>
                      <a:lnTo>
                        <a:pt x="694" y="268"/>
                      </a:lnTo>
                      <a:lnTo>
                        <a:pt x="700" y="272"/>
                      </a:lnTo>
                      <a:lnTo>
                        <a:pt x="702" y="274"/>
                      </a:lnTo>
                      <a:lnTo>
                        <a:pt x="704" y="272"/>
                      </a:lnTo>
                      <a:lnTo>
                        <a:pt x="704" y="272"/>
                      </a:lnTo>
                      <a:lnTo>
                        <a:pt x="710" y="268"/>
                      </a:lnTo>
                      <a:lnTo>
                        <a:pt x="714" y="268"/>
                      </a:lnTo>
                      <a:lnTo>
                        <a:pt x="718" y="272"/>
                      </a:lnTo>
                      <a:lnTo>
                        <a:pt x="720" y="274"/>
                      </a:lnTo>
                      <a:lnTo>
                        <a:pt x="726" y="274"/>
                      </a:lnTo>
                      <a:lnTo>
                        <a:pt x="726" y="274"/>
                      </a:lnTo>
                      <a:lnTo>
                        <a:pt x="730" y="274"/>
                      </a:lnTo>
                      <a:lnTo>
                        <a:pt x="734" y="272"/>
                      </a:lnTo>
                      <a:lnTo>
                        <a:pt x="736" y="268"/>
                      </a:lnTo>
                      <a:lnTo>
                        <a:pt x="736" y="264"/>
                      </a:lnTo>
                      <a:lnTo>
                        <a:pt x="736" y="254"/>
                      </a:lnTo>
                      <a:lnTo>
                        <a:pt x="734" y="244"/>
                      </a:lnTo>
                      <a:lnTo>
                        <a:pt x="734" y="244"/>
                      </a:lnTo>
                      <a:lnTo>
                        <a:pt x="732" y="240"/>
                      </a:lnTo>
                      <a:lnTo>
                        <a:pt x="728" y="238"/>
                      </a:lnTo>
                      <a:lnTo>
                        <a:pt x="720" y="238"/>
                      </a:lnTo>
                      <a:lnTo>
                        <a:pt x="712" y="238"/>
                      </a:lnTo>
                      <a:lnTo>
                        <a:pt x="708" y="238"/>
                      </a:lnTo>
                      <a:lnTo>
                        <a:pt x="708" y="234"/>
                      </a:lnTo>
                      <a:lnTo>
                        <a:pt x="708" y="234"/>
                      </a:lnTo>
                      <a:lnTo>
                        <a:pt x="706" y="230"/>
                      </a:lnTo>
                      <a:lnTo>
                        <a:pt x="704" y="230"/>
                      </a:lnTo>
                      <a:lnTo>
                        <a:pt x="698" y="228"/>
                      </a:lnTo>
                      <a:lnTo>
                        <a:pt x="692" y="228"/>
                      </a:lnTo>
                      <a:lnTo>
                        <a:pt x="684" y="224"/>
                      </a:lnTo>
                      <a:lnTo>
                        <a:pt x="674" y="218"/>
                      </a:lnTo>
                      <a:lnTo>
                        <a:pt x="660" y="210"/>
                      </a:lnTo>
                      <a:lnTo>
                        <a:pt x="660" y="210"/>
                      </a:lnTo>
                      <a:lnTo>
                        <a:pt x="652" y="204"/>
                      </a:lnTo>
                      <a:lnTo>
                        <a:pt x="648" y="200"/>
                      </a:lnTo>
                      <a:lnTo>
                        <a:pt x="644" y="202"/>
                      </a:lnTo>
                      <a:lnTo>
                        <a:pt x="646" y="206"/>
                      </a:lnTo>
                      <a:lnTo>
                        <a:pt x="646" y="206"/>
                      </a:lnTo>
                      <a:lnTo>
                        <a:pt x="646" y="208"/>
                      </a:lnTo>
                      <a:lnTo>
                        <a:pt x="642" y="210"/>
                      </a:lnTo>
                      <a:lnTo>
                        <a:pt x="632" y="208"/>
                      </a:lnTo>
                      <a:lnTo>
                        <a:pt x="618" y="200"/>
                      </a:lnTo>
                      <a:lnTo>
                        <a:pt x="612" y="196"/>
                      </a:lnTo>
                      <a:lnTo>
                        <a:pt x="608" y="190"/>
                      </a:lnTo>
                      <a:lnTo>
                        <a:pt x="608" y="190"/>
                      </a:lnTo>
                      <a:lnTo>
                        <a:pt x="602" y="184"/>
                      </a:lnTo>
                      <a:lnTo>
                        <a:pt x="598" y="180"/>
                      </a:lnTo>
                      <a:lnTo>
                        <a:pt x="590" y="174"/>
                      </a:lnTo>
                      <a:lnTo>
                        <a:pt x="586" y="172"/>
                      </a:lnTo>
                      <a:lnTo>
                        <a:pt x="584" y="168"/>
                      </a:lnTo>
                      <a:lnTo>
                        <a:pt x="586" y="166"/>
                      </a:lnTo>
                      <a:lnTo>
                        <a:pt x="588" y="162"/>
                      </a:lnTo>
                      <a:lnTo>
                        <a:pt x="588" y="162"/>
                      </a:lnTo>
                      <a:lnTo>
                        <a:pt x="594" y="152"/>
                      </a:lnTo>
                      <a:lnTo>
                        <a:pt x="596" y="146"/>
                      </a:lnTo>
                      <a:lnTo>
                        <a:pt x="596" y="140"/>
                      </a:lnTo>
                      <a:lnTo>
                        <a:pt x="594" y="134"/>
                      </a:lnTo>
                      <a:lnTo>
                        <a:pt x="592" y="128"/>
                      </a:lnTo>
                      <a:lnTo>
                        <a:pt x="588" y="124"/>
                      </a:lnTo>
                      <a:lnTo>
                        <a:pt x="582" y="118"/>
                      </a:lnTo>
                      <a:lnTo>
                        <a:pt x="582" y="118"/>
                      </a:lnTo>
                      <a:lnTo>
                        <a:pt x="576" y="112"/>
                      </a:lnTo>
                      <a:lnTo>
                        <a:pt x="572" y="102"/>
                      </a:lnTo>
                      <a:lnTo>
                        <a:pt x="566" y="82"/>
                      </a:lnTo>
                      <a:lnTo>
                        <a:pt x="560" y="58"/>
                      </a:lnTo>
                      <a:lnTo>
                        <a:pt x="554" y="48"/>
                      </a:lnTo>
                      <a:lnTo>
                        <a:pt x="548" y="38"/>
                      </a:lnTo>
                      <a:lnTo>
                        <a:pt x="548" y="38"/>
                      </a:lnTo>
                      <a:lnTo>
                        <a:pt x="540" y="28"/>
                      </a:lnTo>
                      <a:lnTo>
                        <a:pt x="532" y="24"/>
                      </a:lnTo>
                      <a:lnTo>
                        <a:pt x="522" y="20"/>
                      </a:lnTo>
                      <a:lnTo>
                        <a:pt x="506" y="10"/>
                      </a:lnTo>
                      <a:lnTo>
                        <a:pt x="506" y="10"/>
                      </a:lnTo>
                      <a:lnTo>
                        <a:pt x="498" y="6"/>
                      </a:lnTo>
                      <a:lnTo>
                        <a:pt x="492" y="4"/>
                      </a:lnTo>
                      <a:lnTo>
                        <a:pt x="490" y="4"/>
                      </a:lnTo>
                      <a:lnTo>
                        <a:pt x="488" y="6"/>
                      </a:lnTo>
                      <a:lnTo>
                        <a:pt x="486" y="8"/>
                      </a:lnTo>
                      <a:lnTo>
                        <a:pt x="482" y="10"/>
                      </a:lnTo>
                      <a:lnTo>
                        <a:pt x="476" y="10"/>
                      </a:lnTo>
                      <a:lnTo>
                        <a:pt x="464" y="6"/>
                      </a:lnTo>
                      <a:lnTo>
                        <a:pt x="464" y="6"/>
                      </a:lnTo>
                      <a:lnTo>
                        <a:pt x="450" y="2"/>
                      </a:lnTo>
                      <a:lnTo>
                        <a:pt x="446" y="2"/>
                      </a:lnTo>
                      <a:lnTo>
                        <a:pt x="440" y="4"/>
                      </a:lnTo>
                      <a:lnTo>
                        <a:pt x="438" y="8"/>
                      </a:lnTo>
                      <a:lnTo>
                        <a:pt x="436" y="12"/>
                      </a:lnTo>
                      <a:lnTo>
                        <a:pt x="436" y="20"/>
                      </a:lnTo>
                      <a:lnTo>
                        <a:pt x="440" y="28"/>
                      </a:lnTo>
                      <a:lnTo>
                        <a:pt x="440" y="28"/>
                      </a:lnTo>
                      <a:lnTo>
                        <a:pt x="444" y="38"/>
                      </a:lnTo>
                      <a:lnTo>
                        <a:pt x="446" y="48"/>
                      </a:lnTo>
                      <a:lnTo>
                        <a:pt x="450" y="68"/>
                      </a:lnTo>
                      <a:lnTo>
                        <a:pt x="454" y="78"/>
                      </a:lnTo>
                      <a:lnTo>
                        <a:pt x="458" y="88"/>
                      </a:lnTo>
                      <a:lnTo>
                        <a:pt x="464" y="98"/>
                      </a:lnTo>
                      <a:lnTo>
                        <a:pt x="472" y="106"/>
                      </a:lnTo>
                      <a:lnTo>
                        <a:pt x="472" y="106"/>
                      </a:lnTo>
                      <a:lnTo>
                        <a:pt x="476" y="110"/>
                      </a:lnTo>
                      <a:lnTo>
                        <a:pt x="478" y="114"/>
                      </a:lnTo>
                      <a:lnTo>
                        <a:pt x="478" y="116"/>
                      </a:lnTo>
                      <a:lnTo>
                        <a:pt x="474" y="118"/>
                      </a:lnTo>
                      <a:lnTo>
                        <a:pt x="468" y="122"/>
                      </a:lnTo>
                      <a:lnTo>
                        <a:pt x="462" y="128"/>
                      </a:lnTo>
                      <a:lnTo>
                        <a:pt x="462" y="128"/>
                      </a:lnTo>
                      <a:lnTo>
                        <a:pt x="458" y="130"/>
                      </a:lnTo>
                      <a:lnTo>
                        <a:pt x="456" y="132"/>
                      </a:lnTo>
                      <a:lnTo>
                        <a:pt x="452" y="130"/>
                      </a:lnTo>
                      <a:lnTo>
                        <a:pt x="446" y="122"/>
                      </a:lnTo>
                      <a:lnTo>
                        <a:pt x="434" y="104"/>
                      </a:lnTo>
                      <a:lnTo>
                        <a:pt x="434" y="104"/>
                      </a:lnTo>
                      <a:lnTo>
                        <a:pt x="430" y="94"/>
                      </a:lnTo>
                      <a:lnTo>
                        <a:pt x="426" y="84"/>
                      </a:lnTo>
                      <a:lnTo>
                        <a:pt x="420" y="68"/>
                      </a:lnTo>
                      <a:lnTo>
                        <a:pt x="418" y="62"/>
                      </a:lnTo>
                      <a:lnTo>
                        <a:pt x="412" y="56"/>
                      </a:lnTo>
                      <a:lnTo>
                        <a:pt x="406" y="50"/>
                      </a:lnTo>
                      <a:lnTo>
                        <a:pt x="396" y="46"/>
                      </a:lnTo>
                      <a:lnTo>
                        <a:pt x="396" y="46"/>
                      </a:lnTo>
                      <a:lnTo>
                        <a:pt x="384" y="42"/>
                      </a:lnTo>
                      <a:lnTo>
                        <a:pt x="382" y="40"/>
                      </a:lnTo>
                      <a:lnTo>
                        <a:pt x="384" y="38"/>
                      </a:lnTo>
                      <a:lnTo>
                        <a:pt x="384" y="36"/>
                      </a:lnTo>
                      <a:lnTo>
                        <a:pt x="384" y="34"/>
                      </a:lnTo>
                      <a:lnTo>
                        <a:pt x="380" y="32"/>
                      </a:lnTo>
                      <a:lnTo>
                        <a:pt x="372" y="30"/>
                      </a:lnTo>
                      <a:lnTo>
                        <a:pt x="372" y="30"/>
                      </a:lnTo>
                      <a:lnTo>
                        <a:pt x="354" y="26"/>
                      </a:lnTo>
                      <a:lnTo>
                        <a:pt x="340" y="26"/>
                      </a:lnTo>
                      <a:lnTo>
                        <a:pt x="338" y="28"/>
                      </a:lnTo>
                      <a:lnTo>
                        <a:pt x="338" y="30"/>
                      </a:lnTo>
                      <a:lnTo>
                        <a:pt x="340" y="32"/>
                      </a:lnTo>
                      <a:lnTo>
                        <a:pt x="346" y="36"/>
                      </a:lnTo>
                      <a:lnTo>
                        <a:pt x="346" y="36"/>
                      </a:lnTo>
                      <a:lnTo>
                        <a:pt x="352" y="40"/>
                      </a:lnTo>
                      <a:lnTo>
                        <a:pt x="356" y="44"/>
                      </a:lnTo>
                      <a:lnTo>
                        <a:pt x="358" y="46"/>
                      </a:lnTo>
                      <a:lnTo>
                        <a:pt x="356" y="48"/>
                      </a:lnTo>
                      <a:lnTo>
                        <a:pt x="356" y="52"/>
                      </a:lnTo>
                      <a:lnTo>
                        <a:pt x="362" y="54"/>
                      </a:lnTo>
                      <a:lnTo>
                        <a:pt x="362" y="54"/>
                      </a:lnTo>
                      <a:lnTo>
                        <a:pt x="372" y="58"/>
                      </a:lnTo>
                      <a:lnTo>
                        <a:pt x="376" y="62"/>
                      </a:lnTo>
                      <a:lnTo>
                        <a:pt x="376" y="64"/>
                      </a:lnTo>
                      <a:lnTo>
                        <a:pt x="372" y="64"/>
                      </a:lnTo>
                      <a:lnTo>
                        <a:pt x="354" y="60"/>
                      </a:lnTo>
                      <a:lnTo>
                        <a:pt x="354" y="60"/>
                      </a:lnTo>
                      <a:lnTo>
                        <a:pt x="344" y="60"/>
                      </a:lnTo>
                      <a:lnTo>
                        <a:pt x="336" y="62"/>
                      </a:lnTo>
                      <a:lnTo>
                        <a:pt x="332" y="66"/>
                      </a:lnTo>
                      <a:lnTo>
                        <a:pt x="330" y="70"/>
                      </a:lnTo>
                      <a:lnTo>
                        <a:pt x="328" y="76"/>
                      </a:lnTo>
                      <a:lnTo>
                        <a:pt x="326" y="78"/>
                      </a:lnTo>
                      <a:lnTo>
                        <a:pt x="322" y="78"/>
                      </a:lnTo>
                      <a:lnTo>
                        <a:pt x="318" y="74"/>
                      </a:lnTo>
                      <a:lnTo>
                        <a:pt x="318" y="74"/>
                      </a:lnTo>
                      <a:lnTo>
                        <a:pt x="314" y="68"/>
                      </a:lnTo>
                      <a:lnTo>
                        <a:pt x="314" y="64"/>
                      </a:lnTo>
                      <a:lnTo>
                        <a:pt x="318" y="56"/>
                      </a:lnTo>
                      <a:lnTo>
                        <a:pt x="318" y="52"/>
                      </a:lnTo>
                      <a:lnTo>
                        <a:pt x="316" y="48"/>
                      </a:lnTo>
                      <a:lnTo>
                        <a:pt x="310" y="44"/>
                      </a:lnTo>
                      <a:lnTo>
                        <a:pt x="296" y="40"/>
                      </a:lnTo>
                      <a:lnTo>
                        <a:pt x="296" y="40"/>
                      </a:lnTo>
                      <a:lnTo>
                        <a:pt x="268" y="34"/>
                      </a:lnTo>
                      <a:lnTo>
                        <a:pt x="250" y="30"/>
                      </a:lnTo>
                      <a:lnTo>
                        <a:pt x="238" y="32"/>
                      </a:lnTo>
                      <a:lnTo>
                        <a:pt x="230" y="36"/>
                      </a:lnTo>
                      <a:lnTo>
                        <a:pt x="230" y="36"/>
                      </a:lnTo>
                      <a:lnTo>
                        <a:pt x="224" y="38"/>
                      </a:lnTo>
                      <a:lnTo>
                        <a:pt x="224" y="42"/>
                      </a:lnTo>
                      <a:lnTo>
                        <a:pt x="226" y="46"/>
                      </a:lnTo>
                      <a:lnTo>
                        <a:pt x="224" y="48"/>
                      </a:lnTo>
                      <a:lnTo>
                        <a:pt x="220" y="50"/>
                      </a:lnTo>
                      <a:lnTo>
                        <a:pt x="198" y="58"/>
                      </a:lnTo>
                      <a:lnTo>
                        <a:pt x="198" y="58"/>
                      </a:lnTo>
                      <a:lnTo>
                        <a:pt x="190" y="60"/>
                      </a:lnTo>
                      <a:lnTo>
                        <a:pt x="186" y="60"/>
                      </a:lnTo>
                      <a:lnTo>
                        <a:pt x="192" y="54"/>
                      </a:lnTo>
                      <a:lnTo>
                        <a:pt x="204" y="44"/>
                      </a:lnTo>
                      <a:lnTo>
                        <a:pt x="206" y="40"/>
                      </a:lnTo>
                      <a:lnTo>
                        <a:pt x="206" y="36"/>
                      </a:lnTo>
                      <a:lnTo>
                        <a:pt x="206" y="36"/>
                      </a:lnTo>
                      <a:lnTo>
                        <a:pt x="206" y="32"/>
                      </a:lnTo>
                      <a:lnTo>
                        <a:pt x="206" y="28"/>
                      </a:lnTo>
                      <a:lnTo>
                        <a:pt x="208" y="20"/>
                      </a:lnTo>
                      <a:lnTo>
                        <a:pt x="208" y="16"/>
                      </a:lnTo>
                      <a:lnTo>
                        <a:pt x="208" y="12"/>
                      </a:lnTo>
                      <a:lnTo>
                        <a:pt x="204" y="8"/>
                      </a:lnTo>
                      <a:lnTo>
                        <a:pt x="196" y="2"/>
                      </a:lnTo>
                      <a:lnTo>
                        <a:pt x="196" y="2"/>
                      </a:lnTo>
                      <a:lnTo>
                        <a:pt x="186" y="0"/>
                      </a:lnTo>
                      <a:lnTo>
                        <a:pt x="176" y="0"/>
                      </a:lnTo>
                      <a:lnTo>
                        <a:pt x="162" y="4"/>
                      </a:lnTo>
                      <a:lnTo>
                        <a:pt x="150" y="8"/>
                      </a:lnTo>
                      <a:lnTo>
                        <a:pt x="122" y="18"/>
                      </a:lnTo>
                      <a:lnTo>
                        <a:pt x="100" y="26"/>
                      </a:lnTo>
                      <a:lnTo>
                        <a:pt x="100" y="26"/>
                      </a:lnTo>
                      <a:lnTo>
                        <a:pt x="82" y="32"/>
                      </a:lnTo>
                      <a:lnTo>
                        <a:pt x="66" y="40"/>
                      </a:lnTo>
                      <a:lnTo>
                        <a:pt x="32" y="60"/>
                      </a:lnTo>
                      <a:lnTo>
                        <a:pt x="32" y="60"/>
                      </a:lnTo>
                      <a:lnTo>
                        <a:pt x="24" y="66"/>
                      </a:lnTo>
                      <a:lnTo>
                        <a:pt x="22" y="70"/>
                      </a:lnTo>
                      <a:lnTo>
                        <a:pt x="22" y="72"/>
                      </a:lnTo>
                      <a:lnTo>
                        <a:pt x="26" y="74"/>
                      </a:lnTo>
                      <a:lnTo>
                        <a:pt x="36" y="78"/>
                      </a:lnTo>
                      <a:lnTo>
                        <a:pt x="40" y="80"/>
                      </a:lnTo>
                      <a:lnTo>
                        <a:pt x="42" y="82"/>
                      </a:lnTo>
                      <a:lnTo>
                        <a:pt x="42" y="82"/>
                      </a:lnTo>
                      <a:lnTo>
                        <a:pt x="42" y="86"/>
                      </a:lnTo>
                      <a:lnTo>
                        <a:pt x="40" y="86"/>
                      </a:lnTo>
                      <a:lnTo>
                        <a:pt x="32" y="90"/>
                      </a:lnTo>
                      <a:lnTo>
                        <a:pt x="20" y="94"/>
                      </a:lnTo>
                      <a:lnTo>
                        <a:pt x="16" y="98"/>
                      </a:lnTo>
                      <a:lnTo>
                        <a:pt x="10" y="104"/>
                      </a:lnTo>
                      <a:lnTo>
                        <a:pt x="10" y="104"/>
                      </a:lnTo>
                      <a:lnTo>
                        <a:pt x="4" y="110"/>
                      </a:lnTo>
                      <a:lnTo>
                        <a:pt x="2" y="116"/>
                      </a:lnTo>
                      <a:lnTo>
                        <a:pt x="0" y="122"/>
                      </a:lnTo>
                      <a:lnTo>
                        <a:pt x="0" y="126"/>
                      </a:lnTo>
                      <a:lnTo>
                        <a:pt x="2" y="130"/>
                      </a:lnTo>
                      <a:lnTo>
                        <a:pt x="6" y="132"/>
                      </a:lnTo>
                      <a:lnTo>
                        <a:pt x="10" y="132"/>
                      </a:lnTo>
                      <a:lnTo>
                        <a:pt x="14" y="130"/>
                      </a:lnTo>
                      <a:lnTo>
                        <a:pt x="14" y="130"/>
                      </a:lnTo>
                      <a:lnTo>
                        <a:pt x="20" y="128"/>
                      </a:lnTo>
                      <a:lnTo>
                        <a:pt x="24" y="126"/>
                      </a:lnTo>
                      <a:lnTo>
                        <a:pt x="26" y="128"/>
                      </a:lnTo>
                      <a:lnTo>
                        <a:pt x="28" y="130"/>
                      </a:lnTo>
                      <a:lnTo>
                        <a:pt x="30" y="138"/>
                      </a:lnTo>
                      <a:lnTo>
                        <a:pt x="34" y="146"/>
                      </a:lnTo>
                      <a:lnTo>
                        <a:pt x="34" y="146"/>
                      </a:lnTo>
                      <a:lnTo>
                        <a:pt x="38" y="150"/>
                      </a:lnTo>
                      <a:lnTo>
                        <a:pt x="44" y="150"/>
                      </a:lnTo>
                      <a:lnTo>
                        <a:pt x="64" y="150"/>
                      </a:lnTo>
                      <a:lnTo>
                        <a:pt x="88" y="144"/>
                      </a:lnTo>
                      <a:lnTo>
                        <a:pt x="104" y="140"/>
                      </a:lnTo>
                      <a:lnTo>
                        <a:pt x="104" y="140"/>
                      </a:lnTo>
                      <a:lnTo>
                        <a:pt x="116" y="140"/>
                      </a:lnTo>
                      <a:lnTo>
                        <a:pt x="120" y="142"/>
                      </a:lnTo>
                      <a:lnTo>
                        <a:pt x="122" y="144"/>
                      </a:lnTo>
                      <a:lnTo>
                        <a:pt x="120" y="146"/>
                      </a:lnTo>
                      <a:lnTo>
                        <a:pt x="114" y="150"/>
                      </a:lnTo>
                      <a:lnTo>
                        <a:pt x="98" y="156"/>
                      </a:lnTo>
                      <a:lnTo>
                        <a:pt x="76" y="160"/>
                      </a:lnTo>
                      <a:lnTo>
                        <a:pt x="76" y="160"/>
                      </a:lnTo>
                      <a:lnTo>
                        <a:pt x="46" y="168"/>
                      </a:lnTo>
                      <a:lnTo>
                        <a:pt x="38" y="170"/>
                      </a:lnTo>
                      <a:lnTo>
                        <a:pt x="34" y="174"/>
                      </a:lnTo>
                      <a:lnTo>
                        <a:pt x="32" y="178"/>
                      </a:lnTo>
                      <a:lnTo>
                        <a:pt x="34" y="182"/>
                      </a:lnTo>
                      <a:lnTo>
                        <a:pt x="38" y="188"/>
                      </a:lnTo>
                      <a:lnTo>
                        <a:pt x="44" y="192"/>
                      </a:lnTo>
                      <a:lnTo>
                        <a:pt x="44" y="192"/>
                      </a:lnTo>
                      <a:lnTo>
                        <a:pt x="56" y="202"/>
                      </a:lnTo>
                      <a:lnTo>
                        <a:pt x="66" y="206"/>
                      </a:lnTo>
                      <a:lnTo>
                        <a:pt x="76" y="206"/>
                      </a:lnTo>
                      <a:lnTo>
                        <a:pt x="94" y="204"/>
                      </a:lnTo>
                      <a:lnTo>
                        <a:pt x="94" y="204"/>
                      </a:lnTo>
                      <a:lnTo>
                        <a:pt x="110" y="204"/>
                      </a:lnTo>
                      <a:lnTo>
                        <a:pt x="120" y="206"/>
                      </a:lnTo>
                      <a:lnTo>
                        <a:pt x="132" y="208"/>
                      </a:lnTo>
                      <a:lnTo>
                        <a:pt x="152" y="208"/>
                      </a:lnTo>
                      <a:lnTo>
                        <a:pt x="152" y="208"/>
                      </a:lnTo>
                      <a:lnTo>
                        <a:pt x="176" y="206"/>
                      </a:lnTo>
                      <a:lnTo>
                        <a:pt x="194" y="202"/>
                      </a:lnTo>
                      <a:lnTo>
                        <a:pt x="210" y="202"/>
                      </a:lnTo>
                      <a:lnTo>
                        <a:pt x="220" y="202"/>
                      </a:lnTo>
                      <a:lnTo>
                        <a:pt x="232" y="204"/>
                      </a:lnTo>
                      <a:lnTo>
                        <a:pt x="232" y="204"/>
                      </a:lnTo>
                      <a:lnTo>
                        <a:pt x="250" y="208"/>
                      </a:lnTo>
                      <a:lnTo>
                        <a:pt x="262" y="210"/>
                      </a:lnTo>
                      <a:lnTo>
                        <a:pt x="268" y="210"/>
                      </a:lnTo>
                      <a:lnTo>
                        <a:pt x="276" y="214"/>
                      </a:lnTo>
                      <a:lnTo>
                        <a:pt x="276" y="214"/>
                      </a:lnTo>
                      <a:lnTo>
                        <a:pt x="290" y="220"/>
                      </a:lnTo>
                      <a:lnTo>
                        <a:pt x="302" y="226"/>
                      </a:lnTo>
                      <a:lnTo>
                        <a:pt x="306" y="228"/>
                      </a:lnTo>
                      <a:lnTo>
                        <a:pt x="306" y="230"/>
                      </a:lnTo>
                      <a:lnTo>
                        <a:pt x="294" y="230"/>
                      </a:lnTo>
                      <a:lnTo>
                        <a:pt x="294" y="230"/>
                      </a:lnTo>
                      <a:lnTo>
                        <a:pt x="280" y="230"/>
                      </a:lnTo>
                      <a:lnTo>
                        <a:pt x="276" y="232"/>
                      </a:lnTo>
                      <a:lnTo>
                        <a:pt x="268" y="232"/>
                      </a:lnTo>
                      <a:lnTo>
                        <a:pt x="246" y="230"/>
                      </a:lnTo>
                      <a:lnTo>
                        <a:pt x="246" y="230"/>
                      </a:lnTo>
                      <a:lnTo>
                        <a:pt x="210" y="228"/>
                      </a:lnTo>
                      <a:lnTo>
                        <a:pt x="168" y="230"/>
                      </a:lnTo>
                      <a:lnTo>
                        <a:pt x="126" y="234"/>
                      </a:lnTo>
                      <a:lnTo>
                        <a:pt x="90" y="240"/>
                      </a:lnTo>
                      <a:lnTo>
                        <a:pt x="90" y="240"/>
                      </a:lnTo>
                      <a:lnTo>
                        <a:pt x="76" y="244"/>
                      </a:lnTo>
                      <a:lnTo>
                        <a:pt x="70" y="250"/>
                      </a:lnTo>
                      <a:lnTo>
                        <a:pt x="70" y="252"/>
                      </a:lnTo>
                      <a:lnTo>
                        <a:pt x="70" y="254"/>
                      </a:lnTo>
                      <a:lnTo>
                        <a:pt x="72" y="262"/>
                      </a:lnTo>
                      <a:lnTo>
                        <a:pt x="78" y="268"/>
                      </a:lnTo>
                      <a:lnTo>
                        <a:pt x="86" y="274"/>
                      </a:lnTo>
                      <a:lnTo>
                        <a:pt x="100" y="290"/>
                      </a:lnTo>
                      <a:lnTo>
                        <a:pt x="100" y="290"/>
                      </a:lnTo>
                      <a:lnTo>
                        <a:pt x="110" y="296"/>
                      </a:lnTo>
                      <a:lnTo>
                        <a:pt x="122" y="300"/>
                      </a:lnTo>
                      <a:lnTo>
                        <a:pt x="138" y="302"/>
                      </a:lnTo>
                      <a:lnTo>
                        <a:pt x="156" y="304"/>
                      </a:lnTo>
                      <a:lnTo>
                        <a:pt x="190" y="304"/>
                      </a:lnTo>
                      <a:lnTo>
                        <a:pt x="214" y="304"/>
                      </a:lnTo>
                      <a:lnTo>
                        <a:pt x="214" y="304"/>
                      </a:lnTo>
                      <a:lnTo>
                        <a:pt x="220" y="306"/>
                      </a:lnTo>
                      <a:lnTo>
                        <a:pt x="222" y="308"/>
                      </a:lnTo>
                      <a:lnTo>
                        <a:pt x="224" y="314"/>
                      </a:lnTo>
                      <a:lnTo>
                        <a:pt x="224" y="320"/>
                      </a:lnTo>
                      <a:lnTo>
                        <a:pt x="222" y="332"/>
                      </a:lnTo>
                      <a:lnTo>
                        <a:pt x="222" y="338"/>
                      </a:lnTo>
                      <a:lnTo>
                        <a:pt x="224" y="342"/>
                      </a:lnTo>
                      <a:lnTo>
                        <a:pt x="224" y="342"/>
                      </a:lnTo>
                      <a:lnTo>
                        <a:pt x="232" y="350"/>
                      </a:lnTo>
                      <a:lnTo>
                        <a:pt x="238" y="356"/>
                      </a:lnTo>
                      <a:lnTo>
                        <a:pt x="246" y="358"/>
                      </a:lnTo>
                      <a:lnTo>
                        <a:pt x="260" y="358"/>
                      </a:lnTo>
                      <a:lnTo>
                        <a:pt x="260" y="358"/>
                      </a:lnTo>
                      <a:lnTo>
                        <a:pt x="282" y="358"/>
                      </a:lnTo>
                      <a:lnTo>
                        <a:pt x="300" y="358"/>
                      </a:lnTo>
                      <a:lnTo>
                        <a:pt x="314" y="358"/>
                      </a:lnTo>
                      <a:lnTo>
                        <a:pt x="324" y="356"/>
                      </a:lnTo>
                      <a:lnTo>
                        <a:pt x="324" y="356"/>
                      </a:lnTo>
                      <a:lnTo>
                        <a:pt x="342" y="352"/>
                      </a:lnTo>
                      <a:lnTo>
                        <a:pt x="370" y="348"/>
                      </a:lnTo>
                      <a:lnTo>
                        <a:pt x="398" y="342"/>
                      </a:lnTo>
                      <a:lnTo>
                        <a:pt x="412" y="338"/>
                      </a:lnTo>
                      <a:lnTo>
                        <a:pt x="420" y="332"/>
                      </a:lnTo>
                      <a:lnTo>
                        <a:pt x="420" y="332"/>
                      </a:lnTo>
                      <a:lnTo>
                        <a:pt x="428" y="328"/>
                      </a:lnTo>
                      <a:lnTo>
                        <a:pt x="436" y="326"/>
                      </a:lnTo>
                      <a:lnTo>
                        <a:pt x="450" y="326"/>
                      </a:lnTo>
                      <a:lnTo>
                        <a:pt x="462" y="324"/>
                      </a:lnTo>
                      <a:lnTo>
                        <a:pt x="470" y="322"/>
                      </a:lnTo>
                      <a:lnTo>
                        <a:pt x="478" y="318"/>
                      </a:lnTo>
                      <a:lnTo>
                        <a:pt x="478" y="318"/>
                      </a:lnTo>
                      <a:lnTo>
                        <a:pt x="486" y="312"/>
                      </a:lnTo>
                      <a:lnTo>
                        <a:pt x="488" y="308"/>
                      </a:lnTo>
                      <a:lnTo>
                        <a:pt x="490" y="304"/>
                      </a:lnTo>
                      <a:lnTo>
                        <a:pt x="490" y="302"/>
                      </a:lnTo>
                      <a:lnTo>
                        <a:pt x="490" y="300"/>
                      </a:lnTo>
                      <a:lnTo>
                        <a:pt x="490" y="296"/>
                      </a:lnTo>
                      <a:lnTo>
                        <a:pt x="494" y="294"/>
                      </a:lnTo>
                      <a:lnTo>
                        <a:pt x="500" y="290"/>
                      </a:lnTo>
                      <a:lnTo>
                        <a:pt x="500" y="290"/>
                      </a:lnTo>
                      <a:lnTo>
                        <a:pt x="506" y="288"/>
                      </a:lnTo>
                      <a:lnTo>
                        <a:pt x="512" y="290"/>
                      </a:lnTo>
                      <a:lnTo>
                        <a:pt x="514" y="292"/>
                      </a:lnTo>
                      <a:lnTo>
                        <a:pt x="516" y="294"/>
                      </a:lnTo>
                      <a:lnTo>
                        <a:pt x="514" y="304"/>
                      </a:lnTo>
                      <a:lnTo>
                        <a:pt x="514" y="304"/>
                      </a:lnTo>
                      <a:lnTo>
                        <a:pt x="514" y="312"/>
                      </a:lnTo>
                      <a:lnTo>
                        <a:pt x="514" y="312"/>
                      </a:lnTo>
                      <a:lnTo>
                        <a:pt x="518" y="312"/>
                      </a:lnTo>
                      <a:lnTo>
                        <a:pt x="530" y="310"/>
                      </a:lnTo>
                      <a:lnTo>
                        <a:pt x="540" y="312"/>
                      </a:lnTo>
                      <a:lnTo>
                        <a:pt x="554" y="314"/>
                      </a:lnTo>
                      <a:lnTo>
                        <a:pt x="554" y="314"/>
                      </a:lnTo>
                      <a:lnTo>
                        <a:pt x="564" y="318"/>
                      </a:lnTo>
                      <a:lnTo>
                        <a:pt x="568" y="320"/>
                      </a:lnTo>
                      <a:lnTo>
                        <a:pt x="568" y="322"/>
                      </a:lnTo>
                      <a:lnTo>
                        <a:pt x="566" y="322"/>
                      </a:lnTo>
                      <a:lnTo>
                        <a:pt x="560" y="324"/>
                      </a:lnTo>
                      <a:lnTo>
                        <a:pt x="562" y="326"/>
                      </a:lnTo>
                      <a:lnTo>
                        <a:pt x="568" y="330"/>
                      </a:lnTo>
                      <a:lnTo>
                        <a:pt x="568" y="330"/>
                      </a:lnTo>
                      <a:lnTo>
                        <a:pt x="576" y="332"/>
                      </a:lnTo>
                      <a:lnTo>
                        <a:pt x="582" y="332"/>
                      </a:lnTo>
                      <a:lnTo>
                        <a:pt x="588" y="330"/>
                      </a:lnTo>
                      <a:lnTo>
                        <a:pt x="592" y="328"/>
                      </a:lnTo>
                      <a:lnTo>
                        <a:pt x="596" y="328"/>
                      </a:lnTo>
                      <a:lnTo>
                        <a:pt x="602" y="328"/>
                      </a:lnTo>
                      <a:lnTo>
                        <a:pt x="612" y="332"/>
                      </a:lnTo>
                      <a:lnTo>
                        <a:pt x="612" y="332"/>
                      </a:lnTo>
                      <a:lnTo>
                        <a:pt x="628" y="336"/>
                      </a:lnTo>
                      <a:lnTo>
                        <a:pt x="636" y="336"/>
                      </a:lnTo>
                      <a:lnTo>
                        <a:pt x="640" y="334"/>
                      </a:lnTo>
                      <a:lnTo>
                        <a:pt x="648" y="336"/>
                      </a:lnTo>
                      <a:lnTo>
                        <a:pt x="648" y="336"/>
                      </a:lnTo>
                      <a:lnTo>
                        <a:pt x="654" y="336"/>
                      </a:lnTo>
                      <a:lnTo>
                        <a:pt x="658" y="336"/>
                      </a:lnTo>
                      <a:lnTo>
                        <a:pt x="668" y="332"/>
                      </a:lnTo>
                      <a:lnTo>
                        <a:pt x="676" y="326"/>
                      </a:lnTo>
                      <a:lnTo>
                        <a:pt x="680" y="324"/>
                      </a:lnTo>
                      <a:lnTo>
                        <a:pt x="686" y="324"/>
                      </a:lnTo>
                      <a:lnTo>
                        <a:pt x="686" y="324"/>
                      </a:lnTo>
                      <a:lnTo>
                        <a:pt x="694" y="322"/>
                      </a:lnTo>
                      <a:lnTo>
                        <a:pt x="700" y="316"/>
                      </a:lnTo>
                      <a:lnTo>
                        <a:pt x="702" y="314"/>
                      </a:lnTo>
                      <a:lnTo>
                        <a:pt x="702" y="310"/>
                      </a:lnTo>
                      <a:lnTo>
                        <a:pt x="700" y="306"/>
                      </a:lnTo>
                      <a:lnTo>
                        <a:pt x="696" y="304"/>
                      </a:lnTo>
                      <a:lnTo>
                        <a:pt x="696" y="304"/>
                      </a:lnTo>
                      <a:lnTo>
                        <a:pt x="692" y="300"/>
                      </a:lnTo>
                      <a:lnTo>
                        <a:pt x="690" y="298"/>
                      </a:lnTo>
                      <a:lnTo>
                        <a:pt x="692" y="294"/>
                      </a:lnTo>
                      <a:lnTo>
                        <a:pt x="694" y="290"/>
                      </a:lnTo>
                      <a:lnTo>
                        <a:pt x="692" y="288"/>
                      </a:lnTo>
                      <a:lnTo>
                        <a:pt x="688" y="286"/>
                      </a:lnTo>
                      <a:lnTo>
                        <a:pt x="688" y="286"/>
                      </a:lnTo>
                      <a:lnTo>
                        <a:pt x="682" y="286"/>
                      </a:lnTo>
                      <a:lnTo>
                        <a:pt x="674" y="288"/>
                      </a:lnTo>
                      <a:lnTo>
                        <a:pt x="660" y="296"/>
                      </a:lnTo>
                      <a:lnTo>
                        <a:pt x="648" y="300"/>
                      </a:lnTo>
                      <a:lnTo>
                        <a:pt x="648" y="300"/>
                      </a:lnTo>
                      <a:lnTo>
                        <a:pt x="650" y="296"/>
                      </a:lnTo>
                      <a:lnTo>
                        <a:pt x="650" y="296"/>
                      </a:lnTo>
                      <a:lnTo>
                        <a:pt x="652" y="290"/>
                      </a:lnTo>
                      <a:lnTo>
                        <a:pt x="650" y="286"/>
                      </a:lnTo>
                      <a:lnTo>
                        <a:pt x="646" y="284"/>
                      </a:lnTo>
                      <a:lnTo>
                        <a:pt x="642" y="280"/>
                      </a:lnTo>
                      <a:lnTo>
                        <a:pt x="632" y="278"/>
                      </a:lnTo>
                      <a:lnTo>
                        <a:pt x="630" y="276"/>
                      </a:lnTo>
                      <a:lnTo>
                        <a:pt x="632" y="274"/>
                      </a:lnTo>
                      <a:lnTo>
                        <a:pt x="632" y="274"/>
                      </a:lnTo>
                      <a:lnTo>
                        <a:pt x="634" y="272"/>
                      </a:lnTo>
                      <a:lnTo>
                        <a:pt x="638" y="272"/>
                      </a:lnTo>
                      <a:lnTo>
                        <a:pt x="650" y="278"/>
                      </a:lnTo>
                      <a:lnTo>
                        <a:pt x="660" y="282"/>
                      </a:lnTo>
                      <a:lnTo>
                        <a:pt x="666" y="282"/>
                      </a:lnTo>
                      <a:lnTo>
                        <a:pt x="670" y="280"/>
                      </a:lnTo>
                      <a:lnTo>
                        <a:pt x="670" y="280"/>
                      </a:lnTo>
                      <a:lnTo>
                        <a:pt x="672" y="278"/>
                      </a:lnTo>
                      <a:lnTo>
                        <a:pt x="672" y="276"/>
                      </a:lnTo>
                      <a:lnTo>
                        <a:pt x="670" y="272"/>
                      </a:lnTo>
                      <a:lnTo>
                        <a:pt x="668" y="272"/>
                      </a:lnTo>
                      <a:lnTo>
                        <a:pt x="668" y="270"/>
                      </a:lnTo>
                      <a:lnTo>
                        <a:pt x="670" y="266"/>
                      </a:lnTo>
                      <a:lnTo>
                        <a:pt x="674" y="264"/>
                      </a:lnTo>
                      <a:lnTo>
                        <a:pt x="674" y="26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812" name="Freeform 6115">
                  <a:extLst>
                    <a:ext uri="{FF2B5EF4-FFF2-40B4-BE49-F238E27FC236}">
                      <a16:creationId xmlns:a16="http://schemas.microsoft.com/office/drawing/2014/main" id="{8777B465-4277-4078-BE3B-CD814D1E13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6730" y="1203643"/>
                  <a:ext cx="165100" cy="125730"/>
                </a:xfrm>
                <a:custGeom>
                  <a:avLst/>
                  <a:gdLst/>
                  <a:ahLst/>
                  <a:cxnLst>
                    <a:cxn ang="0">
                      <a:pos x="256" y="98"/>
                    </a:cxn>
                    <a:cxn ang="0">
                      <a:pos x="250" y="90"/>
                    </a:cxn>
                    <a:cxn ang="0">
                      <a:pos x="242" y="92"/>
                    </a:cxn>
                    <a:cxn ang="0">
                      <a:pos x="234" y="94"/>
                    </a:cxn>
                    <a:cxn ang="0">
                      <a:pos x="222" y="84"/>
                    </a:cxn>
                    <a:cxn ang="0">
                      <a:pos x="216" y="74"/>
                    </a:cxn>
                    <a:cxn ang="0">
                      <a:pos x="192" y="60"/>
                    </a:cxn>
                    <a:cxn ang="0">
                      <a:pos x="188" y="56"/>
                    </a:cxn>
                    <a:cxn ang="0">
                      <a:pos x="196" y="52"/>
                    </a:cxn>
                    <a:cxn ang="0">
                      <a:pos x="208" y="48"/>
                    </a:cxn>
                    <a:cxn ang="0">
                      <a:pos x="226" y="42"/>
                    </a:cxn>
                    <a:cxn ang="0">
                      <a:pos x="222" y="38"/>
                    </a:cxn>
                    <a:cxn ang="0">
                      <a:pos x="216" y="32"/>
                    </a:cxn>
                    <a:cxn ang="0">
                      <a:pos x="222" y="24"/>
                    </a:cxn>
                    <a:cxn ang="0">
                      <a:pos x="230" y="20"/>
                    </a:cxn>
                    <a:cxn ang="0">
                      <a:pos x="230" y="10"/>
                    </a:cxn>
                    <a:cxn ang="0">
                      <a:pos x="218" y="4"/>
                    </a:cxn>
                    <a:cxn ang="0">
                      <a:pos x="194" y="4"/>
                    </a:cxn>
                    <a:cxn ang="0">
                      <a:pos x="180" y="8"/>
                    </a:cxn>
                    <a:cxn ang="0">
                      <a:pos x="152" y="12"/>
                    </a:cxn>
                    <a:cxn ang="0">
                      <a:pos x="130" y="6"/>
                    </a:cxn>
                    <a:cxn ang="0">
                      <a:pos x="110" y="0"/>
                    </a:cxn>
                    <a:cxn ang="0">
                      <a:pos x="86" y="4"/>
                    </a:cxn>
                    <a:cxn ang="0">
                      <a:pos x="64" y="14"/>
                    </a:cxn>
                    <a:cxn ang="0">
                      <a:pos x="50" y="24"/>
                    </a:cxn>
                    <a:cxn ang="0">
                      <a:pos x="48" y="34"/>
                    </a:cxn>
                    <a:cxn ang="0">
                      <a:pos x="62" y="44"/>
                    </a:cxn>
                    <a:cxn ang="0">
                      <a:pos x="70" y="48"/>
                    </a:cxn>
                    <a:cxn ang="0">
                      <a:pos x="88" y="58"/>
                    </a:cxn>
                    <a:cxn ang="0">
                      <a:pos x="96" y="68"/>
                    </a:cxn>
                    <a:cxn ang="0">
                      <a:pos x="92" y="78"/>
                    </a:cxn>
                    <a:cxn ang="0">
                      <a:pos x="78" y="88"/>
                    </a:cxn>
                    <a:cxn ang="0">
                      <a:pos x="74" y="88"/>
                    </a:cxn>
                    <a:cxn ang="0">
                      <a:pos x="58" y="86"/>
                    </a:cxn>
                    <a:cxn ang="0">
                      <a:pos x="38" y="74"/>
                    </a:cxn>
                    <a:cxn ang="0">
                      <a:pos x="20" y="64"/>
                    </a:cxn>
                    <a:cxn ang="0">
                      <a:pos x="10" y="64"/>
                    </a:cxn>
                    <a:cxn ang="0">
                      <a:pos x="2" y="72"/>
                    </a:cxn>
                    <a:cxn ang="0">
                      <a:pos x="0" y="78"/>
                    </a:cxn>
                    <a:cxn ang="0">
                      <a:pos x="6" y="94"/>
                    </a:cxn>
                    <a:cxn ang="0">
                      <a:pos x="26" y="110"/>
                    </a:cxn>
                    <a:cxn ang="0">
                      <a:pos x="56" y="124"/>
                    </a:cxn>
                    <a:cxn ang="0">
                      <a:pos x="74" y="132"/>
                    </a:cxn>
                    <a:cxn ang="0">
                      <a:pos x="104" y="148"/>
                    </a:cxn>
                    <a:cxn ang="0">
                      <a:pos x="124" y="168"/>
                    </a:cxn>
                    <a:cxn ang="0">
                      <a:pos x="150" y="194"/>
                    </a:cxn>
                    <a:cxn ang="0">
                      <a:pos x="162" y="198"/>
                    </a:cxn>
                    <a:cxn ang="0">
                      <a:pos x="176" y="194"/>
                    </a:cxn>
                    <a:cxn ang="0">
                      <a:pos x="180" y="184"/>
                    </a:cxn>
                    <a:cxn ang="0">
                      <a:pos x="182" y="174"/>
                    </a:cxn>
                    <a:cxn ang="0">
                      <a:pos x="192" y="170"/>
                    </a:cxn>
                    <a:cxn ang="0">
                      <a:pos x="200" y="172"/>
                    </a:cxn>
                    <a:cxn ang="0">
                      <a:pos x="220" y="170"/>
                    </a:cxn>
                    <a:cxn ang="0">
                      <a:pos x="238" y="162"/>
                    </a:cxn>
                    <a:cxn ang="0">
                      <a:pos x="250" y="148"/>
                    </a:cxn>
                    <a:cxn ang="0">
                      <a:pos x="252" y="138"/>
                    </a:cxn>
                    <a:cxn ang="0">
                      <a:pos x="252" y="124"/>
                    </a:cxn>
                    <a:cxn ang="0">
                      <a:pos x="258" y="114"/>
                    </a:cxn>
                    <a:cxn ang="0">
                      <a:pos x="258" y="106"/>
                    </a:cxn>
                    <a:cxn ang="0">
                      <a:pos x="256" y="98"/>
                    </a:cxn>
                  </a:cxnLst>
                  <a:rect l="0" t="0" r="r" b="b"/>
                  <a:pathLst>
                    <a:path w="260" h="198">
                      <a:moveTo>
                        <a:pt x="256" y="98"/>
                      </a:moveTo>
                      <a:lnTo>
                        <a:pt x="256" y="98"/>
                      </a:lnTo>
                      <a:lnTo>
                        <a:pt x="254" y="92"/>
                      </a:lnTo>
                      <a:lnTo>
                        <a:pt x="250" y="90"/>
                      </a:lnTo>
                      <a:lnTo>
                        <a:pt x="246" y="90"/>
                      </a:lnTo>
                      <a:lnTo>
                        <a:pt x="242" y="92"/>
                      </a:lnTo>
                      <a:lnTo>
                        <a:pt x="238" y="94"/>
                      </a:lnTo>
                      <a:lnTo>
                        <a:pt x="234" y="94"/>
                      </a:lnTo>
                      <a:lnTo>
                        <a:pt x="228" y="90"/>
                      </a:lnTo>
                      <a:lnTo>
                        <a:pt x="222" y="84"/>
                      </a:lnTo>
                      <a:lnTo>
                        <a:pt x="222" y="84"/>
                      </a:lnTo>
                      <a:lnTo>
                        <a:pt x="216" y="74"/>
                      </a:lnTo>
                      <a:lnTo>
                        <a:pt x="208" y="68"/>
                      </a:lnTo>
                      <a:lnTo>
                        <a:pt x="192" y="60"/>
                      </a:lnTo>
                      <a:lnTo>
                        <a:pt x="190" y="58"/>
                      </a:lnTo>
                      <a:lnTo>
                        <a:pt x="188" y="56"/>
                      </a:lnTo>
                      <a:lnTo>
                        <a:pt x="190" y="54"/>
                      </a:lnTo>
                      <a:lnTo>
                        <a:pt x="196" y="52"/>
                      </a:lnTo>
                      <a:lnTo>
                        <a:pt x="208" y="48"/>
                      </a:lnTo>
                      <a:lnTo>
                        <a:pt x="208" y="48"/>
                      </a:lnTo>
                      <a:lnTo>
                        <a:pt x="220" y="46"/>
                      </a:lnTo>
                      <a:lnTo>
                        <a:pt x="226" y="42"/>
                      </a:lnTo>
                      <a:lnTo>
                        <a:pt x="226" y="40"/>
                      </a:lnTo>
                      <a:lnTo>
                        <a:pt x="222" y="38"/>
                      </a:lnTo>
                      <a:lnTo>
                        <a:pt x="218" y="34"/>
                      </a:lnTo>
                      <a:lnTo>
                        <a:pt x="216" y="32"/>
                      </a:lnTo>
                      <a:lnTo>
                        <a:pt x="216" y="28"/>
                      </a:lnTo>
                      <a:lnTo>
                        <a:pt x="222" y="24"/>
                      </a:lnTo>
                      <a:lnTo>
                        <a:pt x="222" y="24"/>
                      </a:lnTo>
                      <a:lnTo>
                        <a:pt x="230" y="20"/>
                      </a:lnTo>
                      <a:lnTo>
                        <a:pt x="232" y="16"/>
                      </a:lnTo>
                      <a:lnTo>
                        <a:pt x="230" y="10"/>
                      </a:lnTo>
                      <a:lnTo>
                        <a:pt x="226" y="6"/>
                      </a:lnTo>
                      <a:lnTo>
                        <a:pt x="218" y="4"/>
                      </a:lnTo>
                      <a:lnTo>
                        <a:pt x="208" y="4"/>
                      </a:lnTo>
                      <a:lnTo>
                        <a:pt x="194" y="4"/>
                      </a:lnTo>
                      <a:lnTo>
                        <a:pt x="180" y="8"/>
                      </a:lnTo>
                      <a:lnTo>
                        <a:pt x="180" y="8"/>
                      </a:lnTo>
                      <a:lnTo>
                        <a:pt x="164" y="12"/>
                      </a:lnTo>
                      <a:lnTo>
                        <a:pt x="152" y="12"/>
                      </a:lnTo>
                      <a:lnTo>
                        <a:pt x="140" y="10"/>
                      </a:lnTo>
                      <a:lnTo>
                        <a:pt x="130" y="6"/>
                      </a:lnTo>
                      <a:lnTo>
                        <a:pt x="120" y="4"/>
                      </a:lnTo>
                      <a:lnTo>
                        <a:pt x="110" y="0"/>
                      </a:lnTo>
                      <a:lnTo>
                        <a:pt x="98" y="0"/>
                      </a:lnTo>
                      <a:lnTo>
                        <a:pt x="86" y="4"/>
                      </a:lnTo>
                      <a:lnTo>
                        <a:pt x="86" y="4"/>
                      </a:lnTo>
                      <a:lnTo>
                        <a:pt x="64" y="14"/>
                      </a:lnTo>
                      <a:lnTo>
                        <a:pt x="56" y="20"/>
                      </a:lnTo>
                      <a:lnTo>
                        <a:pt x="50" y="24"/>
                      </a:lnTo>
                      <a:lnTo>
                        <a:pt x="46" y="28"/>
                      </a:lnTo>
                      <a:lnTo>
                        <a:pt x="48" y="34"/>
                      </a:lnTo>
                      <a:lnTo>
                        <a:pt x="52" y="38"/>
                      </a:lnTo>
                      <a:lnTo>
                        <a:pt x="62" y="44"/>
                      </a:lnTo>
                      <a:lnTo>
                        <a:pt x="70" y="48"/>
                      </a:lnTo>
                      <a:lnTo>
                        <a:pt x="70" y="48"/>
                      </a:lnTo>
                      <a:lnTo>
                        <a:pt x="82" y="52"/>
                      </a:lnTo>
                      <a:lnTo>
                        <a:pt x="88" y="58"/>
                      </a:lnTo>
                      <a:lnTo>
                        <a:pt x="94" y="62"/>
                      </a:lnTo>
                      <a:lnTo>
                        <a:pt x="96" y="68"/>
                      </a:lnTo>
                      <a:lnTo>
                        <a:pt x="94" y="74"/>
                      </a:lnTo>
                      <a:lnTo>
                        <a:pt x="92" y="78"/>
                      </a:lnTo>
                      <a:lnTo>
                        <a:pt x="86" y="84"/>
                      </a:lnTo>
                      <a:lnTo>
                        <a:pt x="78" y="88"/>
                      </a:lnTo>
                      <a:lnTo>
                        <a:pt x="78" y="88"/>
                      </a:lnTo>
                      <a:lnTo>
                        <a:pt x="74" y="88"/>
                      </a:lnTo>
                      <a:lnTo>
                        <a:pt x="68" y="90"/>
                      </a:lnTo>
                      <a:lnTo>
                        <a:pt x="58" y="86"/>
                      </a:lnTo>
                      <a:lnTo>
                        <a:pt x="48" y="80"/>
                      </a:lnTo>
                      <a:lnTo>
                        <a:pt x="38" y="74"/>
                      </a:lnTo>
                      <a:lnTo>
                        <a:pt x="28" y="68"/>
                      </a:lnTo>
                      <a:lnTo>
                        <a:pt x="20" y="64"/>
                      </a:lnTo>
                      <a:lnTo>
                        <a:pt x="16" y="64"/>
                      </a:lnTo>
                      <a:lnTo>
                        <a:pt x="10" y="64"/>
                      </a:lnTo>
                      <a:lnTo>
                        <a:pt x="6" y="66"/>
                      </a:lnTo>
                      <a:lnTo>
                        <a:pt x="2" y="72"/>
                      </a:lnTo>
                      <a:lnTo>
                        <a:pt x="2" y="72"/>
                      </a:lnTo>
                      <a:lnTo>
                        <a:pt x="0" y="78"/>
                      </a:lnTo>
                      <a:lnTo>
                        <a:pt x="0" y="86"/>
                      </a:lnTo>
                      <a:lnTo>
                        <a:pt x="6" y="94"/>
                      </a:lnTo>
                      <a:lnTo>
                        <a:pt x="14" y="102"/>
                      </a:lnTo>
                      <a:lnTo>
                        <a:pt x="26" y="110"/>
                      </a:lnTo>
                      <a:lnTo>
                        <a:pt x="40" y="118"/>
                      </a:lnTo>
                      <a:lnTo>
                        <a:pt x="56" y="124"/>
                      </a:lnTo>
                      <a:lnTo>
                        <a:pt x="74" y="132"/>
                      </a:lnTo>
                      <a:lnTo>
                        <a:pt x="74" y="132"/>
                      </a:lnTo>
                      <a:lnTo>
                        <a:pt x="90" y="138"/>
                      </a:lnTo>
                      <a:lnTo>
                        <a:pt x="104" y="148"/>
                      </a:lnTo>
                      <a:lnTo>
                        <a:pt x="116" y="158"/>
                      </a:lnTo>
                      <a:lnTo>
                        <a:pt x="124" y="168"/>
                      </a:lnTo>
                      <a:lnTo>
                        <a:pt x="142" y="188"/>
                      </a:lnTo>
                      <a:lnTo>
                        <a:pt x="150" y="194"/>
                      </a:lnTo>
                      <a:lnTo>
                        <a:pt x="162" y="198"/>
                      </a:lnTo>
                      <a:lnTo>
                        <a:pt x="162" y="198"/>
                      </a:lnTo>
                      <a:lnTo>
                        <a:pt x="170" y="198"/>
                      </a:lnTo>
                      <a:lnTo>
                        <a:pt x="176" y="194"/>
                      </a:lnTo>
                      <a:lnTo>
                        <a:pt x="178" y="190"/>
                      </a:lnTo>
                      <a:lnTo>
                        <a:pt x="180" y="184"/>
                      </a:lnTo>
                      <a:lnTo>
                        <a:pt x="182" y="178"/>
                      </a:lnTo>
                      <a:lnTo>
                        <a:pt x="182" y="174"/>
                      </a:lnTo>
                      <a:lnTo>
                        <a:pt x="186" y="170"/>
                      </a:lnTo>
                      <a:lnTo>
                        <a:pt x="192" y="170"/>
                      </a:lnTo>
                      <a:lnTo>
                        <a:pt x="192" y="170"/>
                      </a:lnTo>
                      <a:lnTo>
                        <a:pt x="200" y="172"/>
                      </a:lnTo>
                      <a:lnTo>
                        <a:pt x="210" y="172"/>
                      </a:lnTo>
                      <a:lnTo>
                        <a:pt x="220" y="170"/>
                      </a:lnTo>
                      <a:lnTo>
                        <a:pt x="230" y="166"/>
                      </a:lnTo>
                      <a:lnTo>
                        <a:pt x="238" y="162"/>
                      </a:lnTo>
                      <a:lnTo>
                        <a:pt x="246" y="156"/>
                      </a:lnTo>
                      <a:lnTo>
                        <a:pt x="250" y="148"/>
                      </a:lnTo>
                      <a:lnTo>
                        <a:pt x="252" y="138"/>
                      </a:lnTo>
                      <a:lnTo>
                        <a:pt x="252" y="138"/>
                      </a:lnTo>
                      <a:lnTo>
                        <a:pt x="252" y="130"/>
                      </a:lnTo>
                      <a:lnTo>
                        <a:pt x="252" y="124"/>
                      </a:lnTo>
                      <a:lnTo>
                        <a:pt x="256" y="118"/>
                      </a:lnTo>
                      <a:lnTo>
                        <a:pt x="258" y="114"/>
                      </a:lnTo>
                      <a:lnTo>
                        <a:pt x="260" y="112"/>
                      </a:lnTo>
                      <a:lnTo>
                        <a:pt x="258" y="106"/>
                      </a:lnTo>
                      <a:lnTo>
                        <a:pt x="256" y="98"/>
                      </a:lnTo>
                      <a:lnTo>
                        <a:pt x="256" y="9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813" name="Freeform 6116">
                  <a:extLst>
                    <a:ext uri="{FF2B5EF4-FFF2-40B4-BE49-F238E27FC236}">
                      <a16:creationId xmlns:a16="http://schemas.microsoft.com/office/drawing/2014/main" id="{8E86972D-17F2-46E0-9B7C-9B9641A8BF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0060" y="1098233"/>
                  <a:ext cx="34290" cy="8890"/>
                </a:xfrm>
                <a:custGeom>
                  <a:avLst/>
                  <a:gdLst/>
                  <a:ahLst/>
                  <a:cxnLst>
                    <a:cxn ang="0">
                      <a:pos x="2" y="14"/>
                    </a:cxn>
                    <a:cxn ang="0">
                      <a:pos x="2" y="14"/>
                    </a:cxn>
                    <a:cxn ang="0">
                      <a:pos x="8" y="14"/>
                    </a:cxn>
                    <a:cxn ang="0">
                      <a:pos x="16" y="14"/>
                    </a:cxn>
                    <a:cxn ang="0">
                      <a:pos x="36" y="10"/>
                    </a:cxn>
                    <a:cxn ang="0">
                      <a:pos x="50" y="4"/>
                    </a:cxn>
                    <a:cxn ang="0">
                      <a:pos x="54" y="2"/>
                    </a:cxn>
                    <a:cxn ang="0">
                      <a:pos x="54" y="2"/>
                    </a:cxn>
                    <a:cxn ang="0">
                      <a:pos x="54" y="0"/>
                    </a:cxn>
                    <a:cxn ang="0">
                      <a:pos x="54" y="0"/>
                    </a:cxn>
                    <a:cxn ang="0">
                      <a:pos x="48" y="0"/>
                    </a:cxn>
                    <a:cxn ang="0">
                      <a:pos x="38" y="0"/>
                    </a:cxn>
                    <a:cxn ang="0">
                      <a:pos x="18" y="4"/>
                    </a:cxn>
                    <a:cxn ang="0">
                      <a:pos x="2" y="10"/>
                    </a:cxn>
                    <a:cxn ang="0">
                      <a:pos x="0" y="12"/>
                    </a:cxn>
                    <a:cxn ang="0">
                      <a:pos x="2" y="14"/>
                    </a:cxn>
                    <a:cxn ang="0">
                      <a:pos x="2" y="14"/>
                    </a:cxn>
                  </a:cxnLst>
                  <a:rect l="0" t="0" r="r" b="b"/>
                  <a:pathLst>
                    <a:path w="54" h="14">
                      <a:moveTo>
                        <a:pt x="2" y="14"/>
                      </a:moveTo>
                      <a:lnTo>
                        <a:pt x="2" y="14"/>
                      </a:lnTo>
                      <a:lnTo>
                        <a:pt x="8" y="14"/>
                      </a:lnTo>
                      <a:lnTo>
                        <a:pt x="16" y="14"/>
                      </a:lnTo>
                      <a:lnTo>
                        <a:pt x="36" y="10"/>
                      </a:lnTo>
                      <a:lnTo>
                        <a:pt x="50" y="4"/>
                      </a:lnTo>
                      <a:lnTo>
                        <a:pt x="54" y="2"/>
                      </a:lnTo>
                      <a:lnTo>
                        <a:pt x="54" y="2"/>
                      </a:lnTo>
                      <a:lnTo>
                        <a:pt x="54" y="0"/>
                      </a:lnTo>
                      <a:lnTo>
                        <a:pt x="54" y="0"/>
                      </a:lnTo>
                      <a:lnTo>
                        <a:pt x="48" y="0"/>
                      </a:lnTo>
                      <a:lnTo>
                        <a:pt x="38" y="0"/>
                      </a:lnTo>
                      <a:lnTo>
                        <a:pt x="18" y="4"/>
                      </a:lnTo>
                      <a:lnTo>
                        <a:pt x="2" y="10"/>
                      </a:lnTo>
                      <a:lnTo>
                        <a:pt x="0" y="12"/>
                      </a:lnTo>
                      <a:lnTo>
                        <a:pt x="2" y="14"/>
                      </a:lnTo>
                      <a:lnTo>
                        <a:pt x="2" y="1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814" name="Freeform 6117">
                  <a:extLst>
                    <a:ext uri="{FF2B5EF4-FFF2-40B4-BE49-F238E27FC236}">
                      <a16:creationId xmlns:a16="http://schemas.microsoft.com/office/drawing/2014/main" id="{B6C68B60-A92E-4D09-8671-2A09EBBCC8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4200" y="1394143"/>
                  <a:ext cx="114300" cy="66040"/>
                </a:xfrm>
                <a:custGeom>
                  <a:avLst/>
                  <a:gdLst/>
                  <a:ahLst/>
                  <a:cxnLst>
                    <a:cxn ang="0">
                      <a:pos x="42" y="32"/>
                    </a:cxn>
                    <a:cxn ang="0">
                      <a:pos x="42" y="32"/>
                    </a:cxn>
                    <a:cxn ang="0">
                      <a:pos x="32" y="42"/>
                    </a:cxn>
                    <a:cxn ang="0">
                      <a:pos x="24" y="50"/>
                    </a:cxn>
                    <a:cxn ang="0">
                      <a:pos x="14" y="52"/>
                    </a:cxn>
                    <a:cxn ang="0">
                      <a:pos x="8" y="54"/>
                    </a:cxn>
                    <a:cxn ang="0">
                      <a:pos x="2" y="56"/>
                    </a:cxn>
                    <a:cxn ang="0">
                      <a:pos x="0" y="58"/>
                    </a:cxn>
                    <a:cxn ang="0">
                      <a:pos x="2" y="62"/>
                    </a:cxn>
                    <a:cxn ang="0">
                      <a:pos x="10" y="68"/>
                    </a:cxn>
                    <a:cxn ang="0">
                      <a:pos x="10" y="68"/>
                    </a:cxn>
                    <a:cxn ang="0">
                      <a:pos x="20" y="74"/>
                    </a:cxn>
                    <a:cxn ang="0">
                      <a:pos x="34" y="78"/>
                    </a:cxn>
                    <a:cxn ang="0">
                      <a:pos x="72" y="86"/>
                    </a:cxn>
                    <a:cxn ang="0">
                      <a:pos x="72" y="86"/>
                    </a:cxn>
                    <a:cxn ang="0">
                      <a:pos x="84" y="88"/>
                    </a:cxn>
                    <a:cxn ang="0">
                      <a:pos x="94" y="92"/>
                    </a:cxn>
                    <a:cxn ang="0">
                      <a:pos x="112" y="100"/>
                    </a:cxn>
                    <a:cxn ang="0">
                      <a:pos x="120" y="102"/>
                    </a:cxn>
                    <a:cxn ang="0">
                      <a:pos x="128" y="104"/>
                    </a:cxn>
                    <a:cxn ang="0">
                      <a:pos x="136" y="102"/>
                    </a:cxn>
                    <a:cxn ang="0">
                      <a:pos x="142" y="96"/>
                    </a:cxn>
                    <a:cxn ang="0">
                      <a:pos x="142" y="96"/>
                    </a:cxn>
                    <a:cxn ang="0">
                      <a:pos x="150" y="90"/>
                    </a:cxn>
                    <a:cxn ang="0">
                      <a:pos x="156" y="88"/>
                    </a:cxn>
                    <a:cxn ang="0">
                      <a:pos x="164" y="86"/>
                    </a:cxn>
                    <a:cxn ang="0">
                      <a:pos x="170" y="86"/>
                    </a:cxn>
                    <a:cxn ang="0">
                      <a:pos x="174" y="84"/>
                    </a:cxn>
                    <a:cxn ang="0">
                      <a:pos x="178" y="78"/>
                    </a:cxn>
                    <a:cxn ang="0">
                      <a:pos x="178" y="78"/>
                    </a:cxn>
                    <a:cxn ang="0">
                      <a:pos x="180" y="74"/>
                    </a:cxn>
                    <a:cxn ang="0">
                      <a:pos x="180" y="72"/>
                    </a:cxn>
                    <a:cxn ang="0">
                      <a:pos x="174" y="72"/>
                    </a:cxn>
                    <a:cxn ang="0">
                      <a:pos x="170" y="72"/>
                    </a:cxn>
                    <a:cxn ang="0">
                      <a:pos x="164" y="70"/>
                    </a:cxn>
                    <a:cxn ang="0">
                      <a:pos x="158" y="66"/>
                    </a:cxn>
                    <a:cxn ang="0">
                      <a:pos x="152" y="58"/>
                    </a:cxn>
                    <a:cxn ang="0">
                      <a:pos x="152" y="58"/>
                    </a:cxn>
                    <a:cxn ang="0">
                      <a:pos x="148" y="50"/>
                    </a:cxn>
                    <a:cxn ang="0">
                      <a:pos x="144" y="44"/>
                    </a:cxn>
                    <a:cxn ang="0">
                      <a:pos x="140" y="42"/>
                    </a:cxn>
                    <a:cxn ang="0">
                      <a:pos x="136" y="42"/>
                    </a:cxn>
                    <a:cxn ang="0">
                      <a:pos x="124" y="36"/>
                    </a:cxn>
                    <a:cxn ang="0">
                      <a:pos x="116" y="30"/>
                    </a:cxn>
                    <a:cxn ang="0">
                      <a:pos x="106" y="20"/>
                    </a:cxn>
                    <a:cxn ang="0">
                      <a:pos x="106" y="20"/>
                    </a:cxn>
                    <a:cxn ang="0">
                      <a:pos x="94" y="10"/>
                    </a:cxn>
                    <a:cxn ang="0">
                      <a:pos x="86" y="2"/>
                    </a:cxn>
                    <a:cxn ang="0">
                      <a:pos x="78" y="0"/>
                    </a:cxn>
                    <a:cxn ang="0">
                      <a:pos x="70" y="0"/>
                    </a:cxn>
                    <a:cxn ang="0">
                      <a:pos x="64" y="4"/>
                    </a:cxn>
                    <a:cxn ang="0">
                      <a:pos x="56" y="10"/>
                    </a:cxn>
                    <a:cxn ang="0">
                      <a:pos x="42" y="32"/>
                    </a:cxn>
                    <a:cxn ang="0">
                      <a:pos x="42" y="32"/>
                    </a:cxn>
                  </a:cxnLst>
                  <a:rect l="0" t="0" r="r" b="b"/>
                  <a:pathLst>
                    <a:path w="180" h="104">
                      <a:moveTo>
                        <a:pt x="42" y="32"/>
                      </a:moveTo>
                      <a:lnTo>
                        <a:pt x="42" y="32"/>
                      </a:lnTo>
                      <a:lnTo>
                        <a:pt x="32" y="42"/>
                      </a:lnTo>
                      <a:lnTo>
                        <a:pt x="24" y="50"/>
                      </a:lnTo>
                      <a:lnTo>
                        <a:pt x="14" y="52"/>
                      </a:lnTo>
                      <a:lnTo>
                        <a:pt x="8" y="54"/>
                      </a:lnTo>
                      <a:lnTo>
                        <a:pt x="2" y="56"/>
                      </a:lnTo>
                      <a:lnTo>
                        <a:pt x="0" y="58"/>
                      </a:lnTo>
                      <a:lnTo>
                        <a:pt x="2" y="62"/>
                      </a:lnTo>
                      <a:lnTo>
                        <a:pt x="10" y="68"/>
                      </a:lnTo>
                      <a:lnTo>
                        <a:pt x="10" y="68"/>
                      </a:lnTo>
                      <a:lnTo>
                        <a:pt x="20" y="74"/>
                      </a:lnTo>
                      <a:lnTo>
                        <a:pt x="34" y="78"/>
                      </a:lnTo>
                      <a:lnTo>
                        <a:pt x="72" y="86"/>
                      </a:lnTo>
                      <a:lnTo>
                        <a:pt x="72" y="86"/>
                      </a:lnTo>
                      <a:lnTo>
                        <a:pt x="84" y="88"/>
                      </a:lnTo>
                      <a:lnTo>
                        <a:pt x="94" y="92"/>
                      </a:lnTo>
                      <a:lnTo>
                        <a:pt x="112" y="100"/>
                      </a:lnTo>
                      <a:lnTo>
                        <a:pt x="120" y="102"/>
                      </a:lnTo>
                      <a:lnTo>
                        <a:pt x="128" y="104"/>
                      </a:lnTo>
                      <a:lnTo>
                        <a:pt x="136" y="102"/>
                      </a:lnTo>
                      <a:lnTo>
                        <a:pt x="142" y="96"/>
                      </a:lnTo>
                      <a:lnTo>
                        <a:pt x="142" y="96"/>
                      </a:lnTo>
                      <a:lnTo>
                        <a:pt x="150" y="90"/>
                      </a:lnTo>
                      <a:lnTo>
                        <a:pt x="156" y="88"/>
                      </a:lnTo>
                      <a:lnTo>
                        <a:pt x="164" y="86"/>
                      </a:lnTo>
                      <a:lnTo>
                        <a:pt x="170" y="86"/>
                      </a:lnTo>
                      <a:lnTo>
                        <a:pt x="174" y="84"/>
                      </a:lnTo>
                      <a:lnTo>
                        <a:pt x="178" y="78"/>
                      </a:lnTo>
                      <a:lnTo>
                        <a:pt x="178" y="78"/>
                      </a:lnTo>
                      <a:lnTo>
                        <a:pt x="180" y="74"/>
                      </a:lnTo>
                      <a:lnTo>
                        <a:pt x="180" y="72"/>
                      </a:lnTo>
                      <a:lnTo>
                        <a:pt x="174" y="72"/>
                      </a:lnTo>
                      <a:lnTo>
                        <a:pt x="170" y="72"/>
                      </a:lnTo>
                      <a:lnTo>
                        <a:pt x="164" y="70"/>
                      </a:lnTo>
                      <a:lnTo>
                        <a:pt x="158" y="66"/>
                      </a:lnTo>
                      <a:lnTo>
                        <a:pt x="152" y="58"/>
                      </a:lnTo>
                      <a:lnTo>
                        <a:pt x="152" y="58"/>
                      </a:lnTo>
                      <a:lnTo>
                        <a:pt x="148" y="50"/>
                      </a:lnTo>
                      <a:lnTo>
                        <a:pt x="144" y="44"/>
                      </a:lnTo>
                      <a:lnTo>
                        <a:pt x="140" y="42"/>
                      </a:lnTo>
                      <a:lnTo>
                        <a:pt x="136" y="42"/>
                      </a:lnTo>
                      <a:lnTo>
                        <a:pt x="124" y="36"/>
                      </a:lnTo>
                      <a:lnTo>
                        <a:pt x="116" y="30"/>
                      </a:lnTo>
                      <a:lnTo>
                        <a:pt x="106" y="20"/>
                      </a:lnTo>
                      <a:lnTo>
                        <a:pt x="106" y="20"/>
                      </a:lnTo>
                      <a:lnTo>
                        <a:pt x="94" y="10"/>
                      </a:lnTo>
                      <a:lnTo>
                        <a:pt x="86" y="2"/>
                      </a:lnTo>
                      <a:lnTo>
                        <a:pt x="78" y="0"/>
                      </a:lnTo>
                      <a:lnTo>
                        <a:pt x="70" y="0"/>
                      </a:lnTo>
                      <a:lnTo>
                        <a:pt x="64" y="4"/>
                      </a:lnTo>
                      <a:lnTo>
                        <a:pt x="56" y="10"/>
                      </a:lnTo>
                      <a:lnTo>
                        <a:pt x="42" y="32"/>
                      </a:lnTo>
                      <a:lnTo>
                        <a:pt x="42" y="3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  <p:sp>
              <p:nvSpPr>
                <p:cNvPr id="1815" name="Freeform 6118">
                  <a:extLst>
                    <a:ext uri="{FF2B5EF4-FFF2-40B4-BE49-F238E27FC236}">
                      <a16:creationId xmlns:a16="http://schemas.microsoft.com/office/drawing/2014/main" id="{634964C8-5727-48F5-831A-B19551BF04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29839" y="699453"/>
                  <a:ext cx="1550670" cy="1127760"/>
                </a:xfrm>
                <a:custGeom>
                  <a:avLst/>
                  <a:gdLst/>
                  <a:ahLst/>
                  <a:cxnLst>
                    <a:cxn ang="0">
                      <a:pos x="220" y="296"/>
                    </a:cxn>
                    <a:cxn ang="0">
                      <a:pos x="150" y="400"/>
                    </a:cxn>
                    <a:cxn ang="0">
                      <a:pos x="96" y="502"/>
                    </a:cxn>
                    <a:cxn ang="0">
                      <a:pos x="62" y="558"/>
                    </a:cxn>
                    <a:cxn ang="0">
                      <a:pos x="228" y="618"/>
                    </a:cxn>
                    <a:cxn ang="0">
                      <a:pos x="350" y="620"/>
                    </a:cxn>
                    <a:cxn ang="0">
                      <a:pos x="584" y="666"/>
                    </a:cxn>
                    <a:cxn ang="0">
                      <a:pos x="674" y="786"/>
                    </a:cxn>
                    <a:cxn ang="0">
                      <a:pos x="706" y="902"/>
                    </a:cxn>
                    <a:cxn ang="0">
                      <a:pos x="744" y="990"/>
                    </a:cxn>
                    <a:cxn ang="0">
                      <a:pos x="836" y="1010"/>
                    </a:cxn>
                    <a:cxn ang="0">
                      <a:pos x="750" y="1050"/>
                    </a:cxn>
                    <a:cxn ang="0">
                      <a:pos x="890" y="1110"/>
                    </a:cxn>
                    <a:cxn ang="0">
                      <a:pos x="788" y="1212"/>
                    </a:cxn>
                    <a:cxn ang="0">
                      <a:pos x="782" y="1328"/>
                    </a:cxn>
                    <a:cxn ang="0">
                      <a:pos x="834" y="1452"/>
                    </a:cxn>
                    <a:cxn ang="0">
                      <a:pos x="922" y="1474"/>
                    </a:cxn>
                    <a:cxn ang="0">
                      <a:pos x="860" y="1502"/>
                    </a:cxn>
                    <a:cxn ang="0">
                      <a:pos x="908" y="1598"/>
                    </a:cxn>
                    <a:cxn ang="0">
                      <a:pos x="966" y="1678"/>
                    </a:cxn>
                    <a:cxn ang="0">
                      <a:pos x="1032" y="1712"/>
                    </a:cxn>
                    <a:cxn ang="0">
                      <a:pos x="1090" y="1738"/>
                    </a:cxn>
                    <a:cxn ang="0">
                      <a:pos x="1196" y="1768"/>
                    </a:cxn>
                    <a:cxn ang="0">
                      <a:pos x="1232" y="1622"/>
                    </a:cxn>
                    <a:cxn ang="0">
                      <a:pos x="1262" y="1566"/>
                    </a:cxn>
                    <a:cxn ang="0">
                      <a:pos x="1262" y="1486"/>
                    </a:cxn>
                    <a:cxn ang="0">
                      <a:pos x="1332" y="1420"/>
                    </a:cxn>
                    <a:cxn ang="0">
                      <a:pos x="1402" y="1376"/>
                    </a:cxn>
                    <a:cxn ang="0">
                      <a:pos x="1412" y="1372"/>
                    </a:cxn>
                    <a:cxn ang="0">
                      <a:pos x="1468" y="1372"/>
                    </a:cxn>
                    <a:cxn ang="0">
                      <a:pos x="1628" y="1238"/>
                    </a:cxn>
                    <a:cxn ang="0">
                      <a:pos x="1748" y="1208"/>
                    </a:cxn>
                    <a:cxn ang="0">
                      <a:pos x="2012" y="1102"/>
                    </a:cxn>
                    <a:cxn ang="0">
                      <a:pos x="1846" y="1076"/>
                    </a:cxn>
                    <a:cxn ang="0">
                      <a:pos x="1800" y="1058"/>
                    </a:cxn>
                    <a:cxn ang="0">
                      <a:pos x="1842" y="970"/>
                    </a:cxn>
                    <a:cxn ang="0">
                      <a:pos x="2060" y="1056"/>
                    </a:cxn>
                    <a:cxn ang="0">
                      <a:pos x="2054" y="956"/>
                    </a:cxn>
                    <a:cxn ang="0">
                      <a:pos x="1916" y="858"/>
                    </a:cxn>
                    <a:cxn ang="0">
                      <a:pos x="2100" y="830"/>
                    </a:cxn>
                    <a:cxn ang="0">
                      <a:pos x="2142" y="768"/>
                    </a:cxn>
                    <a:cxn ang="0">
                      <a:pos x="2154" y="698"/>
                    </a:cxn>
                    <a:cxn ang="0">
                      <a:pos x="2066" y="608"/>
                    </a:cxn>
                    <a:cxn ang="0">
                      <a:pos x="2144" y="562"/>
                    </a:cxn>
                    <a:cxn ang="0">
                      <a:pos x="2144" y="504"/>
                    </a:cxn>
                    <a:cxn ang="0">
                      <a:pos x="2096" y="408"/>
                    </a:cxn>
                    <a:cxn ang="0">
                      <a:pos x="2228" y="310"/>
                    </a:cxn>
                    <a:cxn ang="0">
                      <a:pos x="2278" y="276"/>
                    </a:cxn>
                    <a:cxn ang="0">
                      <a:pos x="2298" y="244"/>
                    </a:cxn>
                    <a:cxn ang="0">
                      <a:pos x="2322" y="150"/>
                    </a:cxn>
                    <a:cxn ang="0">
                      <a:pos x="2050" y="210"/>
                    </a:cxn>
                    <a:cxn ang="0">
                      <a:pos x="1962" y="152"/>
                    </a:cxn>
                    <a:cxn ang="0">
                      <a:pos x="1616" y="174"/>
                    </a:cxn>
                    <a:cxn ang="0">
                      <a:pos x="2034" y="78"/>
                    </a:cxn>
                    <a:cxn ang="0">
                      <a:pos x="1724" y="52"/>
                    </a:cxn>
                    <a:cxn ang="0">
                      <a:pos x="1618" y="2"/>
                    </a:cxn>
                    <a:cxn ang="0">
                      <a:pos x="1402" y="44"/>
                    </a:cxn>
                    <a:cxn ang="0">
                      <a:pos x="1048" y="56"/>
                    </a:cxn>
                    <a:cxn ang="0">
                      <a:pos x="1110" y="74"/>
                    </a:cxn>
                    <a:cxn ang="0">
                      <a:pos x="1108" y="158"/>
                    </a:cxn>
                    <a:cxn ang="0">
                      <a:pos x="900" y="148"/>
                    </a:cxn>
                    <a:cxn ang="0">
                      <a:pos x="756" y="114"/>
                    </a:cxn>
                  </a:cxnLst>
                  <a:rect l="0" t="0" r="r" b="b"/>
                  <a:pathLst>
                    <a:path w="2442" h="1776">
                      <a:moveTo>
                        <a:pt x="470" y="176"/>
                      </a:moveTo>
                      <a:lnTo>
                        <a:pt x="470" y="176"/>
                      </a:lnTo>
                      <a:lnTo>
                        <a:pt x="476" y="186"/>
                      </a:lnTo>
                      <a:lnTo>
                        <a:pt x="478" y="194"/>
                      </a:lnTo>
                      <a:lnTo>
                        <a:pt x="480" y="202"/>
                      </a:lnTo>
                      <a:lnTo>
                        <a:pt x="478" y="210"/>
                      </a:lnTo>
                      <a:lnTo>
                        <a:pt x="474" y="216"/>
                      </a:lnTo>
                      <a:lnTo>
                        <a:pt x="466" y="218"/>
                      </a:lnTo>
                      <a:lnTo>
                        <a:pt x="458" y="220"/>
                      </a:lnTo>
                      <a:lnTo>
                        <a:pt x="446" y="218"/>
                      </a:lnTo>
                      <a:lnTo>
                        <a:pt x="446" y="218"/>
                      </a:lnTo>
                      <a:lnTo>
                        <a:pt x="426" y="212"/>
                      </a:lnTo>
                      <a:lnTo>
                        <a:pt x="406" y="210"/>
                      </a:lnTo>
                      <a:lnTo>
                        <a:pt x="386" y="210"/>
                      </a:lnTo>
                      <a:lnTo>
                        <a:pt x="368" y="212"/>
                      </a:lnTo>
                      <a:lnTo>
                        <a:pt x="350" y="216"/>
                      </a:lnTo>
                      <a:lnTo>
                        <a:pt x="334" y="222"/>
                      </a:lnTo>
                      <a:lnTo>
                        <a:pt x="318" y="230"/>
                      </a:lnTo>
                      <a:lnTo>
                        <a:pt x="304" y="238"/>
                      </a:lnTo>
                      <a:lnTo>
                        <a:pt x="304" y="238"/>
                      </a:lnTo>
                      <a:lnTo>
                        <a:pt x="272" y="256"/>
                      </a:lnTo>
                      <a:lnTo>
                        <a:pt x="244" y="270"/>
                      </a:lnTo>
                      <a:lnTo>
                        <a:pt x="232" y="276"/>
                      </a:lnTo>
                      <a:lnTo>
                        <a:pt x="222" y="284"/>
                      </a:lnTo>
                      <a:lnTo>
                        <a:pt x="218" y="290"/>
                      </a:lnTo>
                      <a:lnTo>
                        <a:pt x="218" y="292"/>
                      </a:lnTo>
                      <a:lnTo>
                        <a:pt x="220" y="296"/>
                      </a:lnTo>
                      <a:lnTo>
                        <a:pt x="220" y="296"/>
                      </a:lnTo>
                      <a:lnTo>
                        <a:pt x="226" y="300"/>
                      </a:lnTo>
                      <a:lnTo>
                        <a:pt x="234" y="304"/>
                      </a:lnTo>
                      <a:lnTo>
                        <a:pt x="244" y="308"/>
                      </a:lnTo>
                      <a:lnTo>
                        <a:pt x="256" y="308"/>
                      </a:lnTo>
                      <a:lnTo>
                        <a:pt x="280" y="308"/>
                      </a:lnTo>
                      <a:lnTo>
                        <a:pt x="302" y="306"/>
                      </a:lnTo>
                      <a:lnTo>
                        <a:pt x="302" y="306"/>
                      </a:lnTo>
                      <a:lnTo>
                        <a:pt x="310" y="306"/>
                      </a:lnTo>
                      <a:lnTo>
                        <a:pt x="316" y="310"/>
                      </a:lnTo>
                      <a:lnTo>
                        <a:pt x="318" y="318"/>
                      </a:lnTo>
                      <a:lnTo>
                        <a:pt x="320" y="326"/>
                      </a:lnTo>
                      <a:lnTo>
                        <a:pt x="318" y="338"/>
                      </a:lnTo>
                      <a:lnTo>
                        <a:pt x="314" y="348"/>
                      </a:lnTo>
                      <a:lnTo>
                        <a:pt x="308" y="360"/>
                      </a:lnTo>
                      <a:lnTo>
                        <a:pt x="300" y="370"/>
                      </a:lnTo>
                      <a:lnTo>
                        <a:pt x="300" y="370"/>
                      </a:lnTo>
                      <a:lnTo>
                        <a:pt x="290" y="380"/>
                      </a:lnTo>
                      <a:lnTo>
                        <a:pt x="280" y="384"/>
                      </a:lnTo>
                      <a:lnTo>
                        <a:pt x="268" y="386"/>
                      </a:lnTo>
                      <a:lnTo>
                        <a:pt x="254" y="386"/>
                      </a:lnTo>
                      <a:lnTo>
                        <a:pt x="224" y="382"/>
                      </a:lnTo>
                      <a:lnTo>
                        <a:pt x="206" y="382"/>
                      </a:lnTo>
                      <a:lnTo>
                        <a:pt x="188" y="384"/>
                      </a:lnTo>
                      <a:lnTo>
                        <a:pt x="188" y="384"/>
                      </a:lnTo>
                      <a:lnTo>
                        <a:pt x="172" y="388"/>
                      </a:lnTo>
                      <a:lnTo>
                        <a:pt x="162" y="392"/>
                      </a:lnTo>
                      <a:lnTo>
                        <a:pt x="154" y="396"/>
                      </a:lnTo>
                      <a:lnTo>
                        <a:pt x="150" y="400"/>
                      </a:lnTo>
                      <a:lnTo>
                        <a:pt x="142" y="404"/>
                      </a:lnTo>
                      <a:lnTo>
                        <a:pt x="130" y="408"/>
                      </a:lnTo>
                      <a:lnTo>
                        <a:pt x="112" y="412"/>
                      </a:lnTo>
                      <a:lnTo>
                        <a:pt x="84" y="418"/>
                      </a:lnTo>
                      <a:lnTo>
                        <a:pt x="84" y="418"/>
                      </a:lnTo>
                      <a:lnTo>
                        <a:pt x="54" y="422"/>
                      </a:lnTo>
                      <a:lnTo>
                        <a:pt x="32" y="428"/>
                      </a:lnTo>
                      <a:lnTo>
                        <a:pt x="16" y="434"/>
                      </a:lnTo>
                      <a:lnTo>
                        <a:pt x="4" y="440"/>
                      </a:lnTo>
                      <a:lnTo>
                        <a:pt x="0" y="448"/>
                      </a:lnTo>
                      <a:lnTo>
                        <a:pt x="0" y="456"/>
                      </a:lnTo>
                      <a:lnTo>
                        <a:pt x="4" y="464"/>
                      </a:lnTo>
                      <a:lnTo>
                        <a:pt x="12" y="472"/>
                      </a:lnTo>
                      <a:lnTo>
                        <a:pt x="12" y="472"/>
                      </a:lnTo>
                      <a:lnTo>
                        <a:pt x="20" y="478"/>
                      </a:lnTo>
                      <a:lnTo>
                        <a:pt x="28" y="482"/>
                      </a:lnTo>
                      <a:lnTo>
                        <a:pt x="38" y="484"/>
                      </a:lnTo>
                      <a:lnTo>
                        <a:pt x="48" y="484"/>
                      </a:lnTo>
                      <a:lnTo>
                        <a:pt x="52" y="486"/>
                      </a:lnTo>
                      <a:lnTo>
                        <a:pt x="56" y="490"/>
                      </a:lnTo>
                      <a:lnTo>
                        <a:pt x="56" y="490"/>
                      </a:lnTo>
                      <a:lnTo>
                        <a:pt x="62" y="494"/>
                      </a:lnTo>
                      <a:lnTo>
                        <a:pt x="68" y="496"/>
                      </a:lnTo>
                      <a:lnTo>
                        <a:pt x="78" y="496"/>
                      </a:lnTo>
                      <a:lnTo>
                        <a:pt x="88" y="496"/>
                      </a:lnTo>
                      <a:lnTo>
                        <a:pt x="92" y="498"/>
                      </a:lnTo>
                      <a:lnTo>
                        <a:pt x="96" y="502"/>
                      </a:lnTo>
                      <a:lnTo>
                        <a:pt x="96" y="502"/>
                      </a:lnTo>
                      <a:lnTo>
                        <a:pt x="102" y="506"/>
                      </a:lnTo>
                      <a:lnTo>
                        <a:pt x="108" y="510"/>
                      </a:lnTo>
                      <a:lnTo>
                        <a:pt x="116" y="514"/>
                      </a:lnTo>
                      <a:lnTo>
                        <a:pt x="124" y="514"/>
                      </a:lnTo>
                      <a:lnTo>
                        <a:pt x="144" y="516"/>
                      </a:lnTo>
                      <a:lnTo>
                        <a:pt x="174" y="516"/>
                      </a:lnTo>
                      <a:lnTo>
                        <a:pt x="174" y="516"/>
                      </a:lnTo>
                      <a:lnTo>
                        <a:pt x="192" y="516"/>
                      </a:lnTo>
                      <a:lnTo>
                        <a:pt x="208" y="514"/>
                      </a:lnTo>
                      <a:lnTo>
                        <a:pt x="238" y="508"/>
                      </a:lnTo>
                      <a:lnTo>
                        <a:pt x="250" y="506"/>
                      </a:lnTo>
                      <a:lnTo>
                        <a:pt x="260" y="506"/>
                      </a:lnTo>
                      <a:lnTo>
                        <a:pt x="268" y="506"/>
                      </a:lnTo>
                      <a:lnTo>
                        <a:pt x="272" y="512"/>
                      </a:lnTo>
                      <a:lnTo>
                        <a:pt x="272" y="512"/>
                      </a:lnTo>
                      <a:lnTo>
                        <a:pt x="272" y="516"/>
                      </a:lnTo>
                      <a:lnTo>
                        <a:pt x="268" y="520"/>
                      </a:lnTo>
                      <a:lnTo>
                        <a:pt x="260" y="524"/>
                      </a:lnTo>
                      <a:lnTo>
                        <a:pt x="248" y="524"/>
                      </a:lnTo>
                      <a:lnTo>
                        <a:pt x="174" y="528"/>
                      </a:lnTo>
                      <a:lnTo>
                        <a:pt x="174" y="528"/>
                      </a:lnTo>
                      <a:lnTo>
                        <a:pt x="128" y="534"/>
                      </a:lnTo>
                      <a:lnTo>
                        <a:pt x="106" y="538"/>
                      </a:lnTo>
                      <a:lnTo>
                        <a:pt x="86" y="542"/>
                      </a:lnTo>
                      <a:lnTo>
                        <a:pt x="72" y="546"/>
                      </a:lnTo>
                      <a:lnTo>
                        <a:pt x="62" y="552"/>
                      </a:lnTo>
                      <a:lnTo>
                        <a:pt x="60" y="554"/>
                      </a:lnTo>
                      <a:lnTo>
                        <a:pt x="62" y="558"/>
                      </a:lnTo>
                      <a:lnTo>
                        <a:pt x="64" y="562"/>
                      </a:lnTo>
                      <a:lnTo>
                        <a:pt x="68" y="564"/>
                      </a:lnTo>
                      <a:lnTo>
                        <a:pt x="68" y="564"/>
                      </a:lnTo>
                      <a:lnTo>
                        <a:pt x="84" y="570"/>
                      </a:lnTo>
                      <a:lnTo>
                        <a:pt x="102" y="574"/>
                      </a:lnTo>
                      <a:lnTo>
                        <a:pt x="140" y="580"/>
                      </a:lnTo>
                      <a:lnTo>
                        <a:pt x="154" y="584"/>
                      </a:lnTo>
                      <a:lnTo>
                        <a:pt x="162" y="586"/>
                      </a:lnTo>
                      <a:lnTo>
                        <a:pt x="162" y="588"/>
                      </a:lnTo>
                      <a:lnTo>
                        <a:pt x="160" y="590"/>
                      </a:lnTo>
                      <a:lnTo>
                        <a:pt x="148" y="594"/>
                      </a:lnTo>
                      <a:lnTo>
                        <a:pt x="148" y="594"/>
                      </a:lnTo>
                      <a:lnTo>
                        <a:pt x="136" y="598"/>
                      </a:lnTo>
                      <a:lnTo>
                        <a:pt x="132" y="602"/>
                      </a:lnTo>
                      <a:lnTo>
                        <a:pt x="132" y="604"/>
                      </a:lnTo>
                      <a:lnTo>
                        <a:pt x="132" y="606"/>
                      </a:lnTo>
                      <a:lnTo>
                        <a:pt x="136" y="608"/>
                      </a:lnTo>
                      <a:lnTo>
                        <a:pt x="146" y="614"/>
                      </a:lnTo>
                      <a:lnTo>
                        <a:pt x="182" y="624"/>
                      </a:lnTo>
                      <a:lnTo>
                        <a:pt x="224" y="636"/>
                      </a:lnTo>
                      <a:lnTo>
                        <a:pt x="224" y="636"/>
                      </a:lnTo>
                      <a:lnTo>
                        <a:pt x="242" y="642"/>
                      </a:lnTo>
                      <a:lnTo>
                        <a:pt x="248" y="642"/>
                      </a:lnTo>
                      <a:lnTo>
                        <a:pt x="248" y="642"/>
                      </a:lnTo>
                      <a:lnTo>
                        <a:pt x="248" y="640"/>
                      </a:lnTo>
                      <a:lnTo>
                        <a:pt x="242" y="634"/>
                      </a:lnTo>
                      <a:lnTo>
                        <a:pt x="230" y="622"/>
                      </a:lnTo>
                      <a:lnTo>
                        <a:pt x="228" y="618"/>
                      </a:lnTo>
                      <a:lnTo>
                        <a:pt x="228" y="616"/>
                      </a:lnTo>
                      <a:lnTo>
                        <a:pt x="232" y="614"/>
                      </a:lnTo>
                      <a:lnTo>
                        <a:pt x="232" y="614"/>
                      </a:lnTo>
                      <a:lnTo>
                        <a:pt x="238" y="612"/>
                      </a:lnTo>
                      <a:lnTo>
                        <a:pt x="242" y="614"/>
                      </a:lnTo>
                      <a:lnTo>
                        <a:pt x="246" y="620"/>
                      </a:lnTo>
                      <a:lnTo>
                        <a:pt x="250" y="622"/>
                      </a:lnTo>
                      <a:lnTo>
                        <a:pt x="254" y="622"/>
                      </a:lnTo>
                      <a:lnTo>
                        <a:pt x="262" y="622"/>
                      </a:lnTo>
                      <a:lnTo>
                        <a:pt x="272" y="618"/>
                      </a:lnTo>
                      <a:lnTo>
                        <a:pt x="272" y="618"/>
                      </a:lnTo>
                      <a:lnTo>
                        <a:pt x="282" y="614"/>
                      </a:lnTo>
                      <a:lnTo>
                        <a:pt x="286" y="614"/>
                      </a:lnTo>
                      <a:lnTo>
                        <a:pt x="286" y="616"/>
                      </a:lnTo>
                      <a:lnTo>
                        <a:pt x="286" y="618"/>
                      </a:lnTo>
                      <a:lnTo>
                        <a:pt x="284" y="622"/>
                      </a:lnTo>
                      <a:lnTo>
                        <a:pt x="286" y="626"/>
                      </a:lnTo>
                      <a:lnTo>
                        <a:pt x="290" y="630"/>
                      </a:lnTo>
                      <a:lnTo>
                        <a:pt x="300" y="630"/>
                      </a:lnTo>
                      <a:lnTo>
                        <a:pt x="300" y="630"/>
                      </a:lnTo>
                      <a:lnTo>
                        <a:pt x="312" y="630"/>
                      </a:lnTo>
                      <a:lnTo>
                        <a:pt x="320" y="626"/>
                      </a:lnTo>
                      <a:lnTo>
                        <a:pt x="326" y="622"/>
                      </a:lnTo>
                      <a:lnTo>
                        <a:pt x="330" y="618"/>
                      </a:lnTo>
                      <a:lnTo>
                        <a:pt x="334" y="616"/>
                      </a:lnTo>
                      <a:lnTo>
                        <a:pt x="338" y="614"/>
                      </a:lnTo>
                      <a:lnTo>
                        <a:pt x="344" y="614"/>
                      </a:lnTo>
                      <a:lnTo>
                        <a:pt x="350" y="620"/>
                      </a:lnTo>
                      <a:lnTo>
                        <a:pt x="350" y="620"/>
                      </a:lnTo>
                      <a:lnTo>
                        <a:pt x="358" y="624"/>
                      </a:lnTo>
                      <a:lnTo>
                        <a:pt x="364" y="624"/>
                      </a:lnTo>
                      <a:lnTo>
                        <a:pt x="368" y="622"/>
                      </a:lnTo>
                      <a:lnTo>
                        <a:pt x="370" y="618"/>
                      </a:lnTo>
                      <a:lnTo>
                        <a:pt x="374" y="614"/>
                      </a:lnTo>
                      <a:lnTo>
                        <a:pt x="380" y="610"/>
                      </a:lnTo>
                      <a:lnTo>
                        <a:pt x="386" y="610"/>
                      </a:lnTo>
                      <a:lnTo>
                        <a:pt x="396" y="612"/>
                      </a:lnTo>
                      <a:lnTo>
                        <a:pt x="396" y="612"/>
                      </a:lnTo>
                      <a:lnTo>
                        <a:pt x="408" y="616"/>
                      </a:lnTo>
                      <a:lnTo>
                        <a:pt x="420" y="618"/>
                      </a:lnTo>
                      <a:lnTo>
                        <a:pt x="446" y="618"/>
                      </a:lnTo>
                      <a:lnTo>
                        <a:pt x="468" y="620"/>
                      </a:lnTo>
                      <a:lnTo>
                        <a:pt x="476" y="622"/>
                      </a:lnTo>
                      <a:lnTo>
                        <a:pt x="484" y="628"/>
                      </a:lnTo>
                      <a:lnTo>
                        <a:pt x="484" y="628"/>
                      </a:lnTo>
                      <a:lnTo>
                        <a:pt x="488" y="632"/>
                      </a:lnTo>
                      <a:lnTo>
                        <a:pt x="492" y="634"/>
                      </a:lnTo>
                      <a:lnTo>
                        <a:pt x="500" y="634"/>
                      </a:lnTo>
                      <a:lnTo>
                        <a:pt x="506" y="634"/>
                      </a:lnTo>
                      <a:lnTo>
                        <a:pt x="512" y="634"/>
                      </a:lnTo>
                      <a:lnTo>
                        <a:pt x="522" y="638"/>
                      </a:lnTo>
                      <a:lnTo>
                        <a:pt x="534" y="642"/>
                      </a:lnTo>
                      <a:lnTo>
                        <a:pt x="534" y="642"/>
                      </a:lnTo>
                      <a:lnTo>
                        <a:pt x="560" y="654"/>
                      </a:lnTo>
                      <a:lnTo>
                        <a:pt x="578" y="664"/>
                      </a:lnTo>
                      <a:lnTo>
                        <a:pt x="584" y="666"/>
                      </a:lnTo>
                      <a:lnTo>
                        <a:pt x="584" y="670"/>
                      </a:lnTo>
                      <a:lnTo>
                        <a:pt x="584" y="674"/>
                      </a:lnTo>
                      <a:lnTo>
                        <a:pt x="578" y="680"/>
                      </a:lnTo>
                      <a:lnTo>
                        <a:pt x="578" y="680"/>
                      </a:lnTo>
                      <a:lnTo>
                        <a:pt x="576" y="684"/>
                      </a:lnTo>
                      <a:lnTo>
                        <a:pt x="576" y="688"/>
                      </a:lnTo>
                      <a:lnTo>
                        <a:pt x="578" y="692"/>
                      </a:lnTo>
                      <a:lnTo>
                        <a:pt x="582" y="696"/>
                      </a:lnTo>
                      <a:lnTo>
                        <a:pt x="596" y="704"/>
                      </a:lnTo>
                      <a:lnTo>
                        <a:pt x="612" y="714"/>
                      </a:lnTo>
                      <a:lnTo>
                        <a:pt x="642" y="734"/>
                      </a:lnTo>
                      <a:lnTo>
                        <a:pt x="652" y="742"/>
                      </a:lnTo>
                      <a:lnTo>
                        <a:pt x="654" y="746"/>
                      </a:lnTo>
                      <a:lnTo>
                        <a:pt x="654" y="750"/>
                      </a:lnTo>
                      <a:lnTo>
                        <a:pt x="654" y="750"/>
                      </a:lnTo>
                      <a:lnTo>
                        <a:pt x="650" y="756"/>
                      </a:lnTo>
                      <a:lnTo>
                        <a:pt x="644" y="764"/>
                      </a:lnTo>
                      <a:lnTo>
                        <a:pt x="632" y="776"/>
                      </a:lnTo>
                      <a:lnTo>
                        <a:pt x="628" y="780"/>
                      </a:lnTo>
                      <a:lnTo>
                        <a:pt x="628" y="782"/>
                      </a:lnTo>
                      <a:lnTo>
                        <a:pt x="632" y="784"/>
                      </a:lnTo>
                      <a:lnTo>
                        <a:pt x="642" y="780"/>
                      </a:lnTo>
                      <a:lnTo>
                        <a:pt x="642" y="780"/>
                      </a:lnTo>
                      <a:lnTo>
                        <a:pt x="660" y="776"/>
                      </a:lnTo>
                      <a:lnTo>
                        <a:pt x="666" y="776"/>
                      </a:lnTo>
                      <a:lnTo>
                        <a:pt x="668" y="776"/>
                      </a:lnTo>
                      <a:lnTo>
                        <a:pt x="670" y="782"/>
                      </a:lnTo>
                      <a:lnTo>
                        <a:pt x="674" y="786"/>
                      </a:lnTo>
                      <a:lnTo>
                        <a:pt x="678" y="790"/>
                      </a:lnTo>
                      <a:lnTo>
                        <a:pt x="678" y="790"/>
                      </a:lnTo>
                      <a:lnTo>
                        <a:pt x="684" y="794"/>
                      </a:lnTo>
                      <a:lnTo>
                        <a:pt x="686" y="798"/>
                      </a:lnTo>
                      <a:lnTo>
                        <a:pt x="684" y="802"/>
                      </a:lnTo>
                      <a:lnTo>
                        <a:pt x="682" y="806"/>
                      </a:lnTo>
                      <a:lnTo>
                        <a:pt x="680" y="810"/>
                      </a:lnTo>
                      <a:lnTo>
                        <a:pt x="680" y="814"/>
                      </a:lnTo>
                      <a:lnTo>
                        <a:pt x="686" y="818"/>
                      </a:lnTo>
                      <a:lnTo>
                        <a:pt x="696" y="824"/>
                      </a:lnTo>
                      <a:lnTo>
                        <a:pt x="696" y="824"/>
                      </a:lnTo>
                      <a:lnTo>
                        <a:pt x="704" y="828"/>
                      </a:lnTo>
                      <a:lnTo>
                        <a:pt x="708" y="834"/>
                      </a:lnTo>
                      <a:lnTo>
                        <a:pt x="706" y="838"/>
                      </a:lnTo>
                      <a:lnTo>
                        <a:pt x="702" y="844"/>
                      </a:lnTo>
                      <a:lnTo>
                        <a:pt x="700" y="850"/>
                      </a:lnTo>
                      <a:lnTo>
                        <a:pt x="698" y="854"/>
                      </a:lnTo>
                      <a:lnTo>
                        <a:pt x="702" y="858"/>
                      </a:lnTo>
                      <a:lnTo>
                        <a:pt x="710" y="862"/>
                      </a:lnTo>
                      <a:lnTo>
                        <a:pt x="710" y="862"/>
                      </a:lnTo>
                      <a:lnTo>
                        <a:pt x="720" y="864"/>
                      </a:lnTo>
                      <a:lnTo>
                        <a:pt x="726" y="870"/>
                      </a:lnTo>
                      <a:lnTo>
                        <a:pt x="730" y="876"/>
                      </a:lnTo>
                      <a:lnTo>
                        <a:pt x="730" y="882"/>
                      </a:lnTo>
                      <a:lnTo>
                        <a:pt x="728" y="888"/>
                      </a:lnTo>
                      <a:lnTo>
                        <a:pt x="722" y="894"/>
                      </a:lnTo>
                      <a:lnTo>
                        <a:pt x="716" y="898"/>
                      </a:lnTo>
                      <a:lnTo>
                        <a:pt x="706" y="902"/>
                      </a:lnTo>
                      <a:lnTo>
                        <a:pt x="706" y="902"/>
                      </a:lnTo>
                      <a:lnTo>
                        <a:pt x="698" y="904"/>
                      </a:lnTo>
                      <a:lnTo>
                        <a:pt x="694" y="906"/>
                      </a:lnTo>
                      <a:lnTo>
                        <a:pt x="690" y="910"/>
                      </a:lnTo>
                      <a:lnTo>
                        <a:pt x="690" y="916"/>
                      </a:lnTo>
                      <a:lnTo>
                        <a:pt x="690" y="922"/>
                      </a:lnTo>
                      <a:lnTo>
                        <a:pt x="694" y="928"/>
                      </a:lnTo>
                      <a:lnTo>
                        <a:pt x="704" y="942"/>
                      </a:lnTo>
                      <a:lnTo>
                        <a:pt x="704" y="942"/>
                      </a:lnTo>
                      <a:lnTo>
                        <a:pt x="708" y="948"/>
                      </a:lnTo>
                      <a:lnTo>
                        <a:pt x="708" y="952"/>
                      </a:lnTo>
                      <a:lnTo>
                        <a:pt x="704" y="956"/>
                      </a:lnTo>
                      <a:lnTo>
                        <a:pt x="698" y="956"/>
                      </a:lnTo>
                      <a:lnTo>
                        <a:pt x="686" y="960"/>
                      </a:lnTo>
                      <a:lnTo>
                        <a:pt x="682" y="960"/>
                      </a:lnTo>
                      <a:lnTo>
                        <a:pt x="684" y="964"/>
                      </a:lnTo>
                      <a:lnTo>
                        <a:pt x="684" y="964"/>
                      </a:lnTo>
                      <a:lnTo>
                        <a:pt x="690" y="972"/>
                      </a:lnTo>
                      <a:lnTo>
                        <a:pt x="696" y="980"/>
                      </a:lnTo>
                      <a:lnTo>
                        <a:pt x="698" y="984"/>
                      </a:lnTo>
                      <a:lnTo>
                        <a:pt x="702" y="986"/>
                      </a:lnTo>
                      <a:lnTo>
                        <a:pt x="706" y="986"/>
                      </a:lnTo>
                      <a:lnTo>
                        <a:pt x="710" y="984"/>
                      </a:lnTo>
                      <a:lnTo>
                        <a:pt x="710" y="984"/>
                      </a:lnTo>
                      <a:lnTo>
                        <a:pt x="716" y="984"/>
                      </a:lnTo>
                      <a:lnTo>
                        <a:pt x="722" y="984"/>
                      </a:lnTo>
                      <a:lnTo>
                        <a:pt x="738" y="988"/>
                      </a:lnTo>
                      <a:lnTo>
                        <a:pt x="744" y="990"/>
                      </a:lnTo>
                      <a:lnTo>
                        <a:pt x="752" y="988"/>
                      </a:lnTo>
                      <a:lnTo>
                        <a:pt x="758" y="984"/>
                      </a:lnTo>
                      <a:lnTo>
                        <a:pt x="764" y="974"/>
                      </a:lnTo>
                      <a:lnTo>
                        <a:pt x="764" y="974"/>
                      </a:lnTo>
                      <a:lnTo>
                        <a:pt x="768" y="970"/>
                      </a:lnTo>
                      <a:lnTo>
                        <a:pt x="770" y="966"/>
                      </a:lnTo>
                      <a:lnTo>
                        <a:pt x="780" y="960"/>
                      </a:lnTo>
                      <a:lnTo>
                        <a:pt x="790" y="960"/>
                      </a:lnTo>
                      <a:lnTo>
                        <a:pt x="800" y="960"/>
                      </a:lnTo>
                      <a:lnTo>
                        <a:pt x="808" y="962"/>
                      </a:lnTo>
                      <a:lnTo>
                        <a:pt x="816" y="966"/>
                      </a:lnTo>
                      <a:lnTo>
                        <a:pt x="818" y="970"/>
                      </a:lnTo>
                      <a:lnTo>
                        <a:pt x="818" y="972"/>
                      </a:lnTo>
                      <a:lnTo>
                        <a:pt x="818" y="972"/>
                      </a:lnTo>
                      <a:lnTo>
                        <a:pt x="818" y="972"/>
                      </a:lnTo>
                      <a:lnTo>
                        <a:pt x="812" y="978"/>
                      </a:lnTo>
                      <a:lnTo>
                        <a:pt x="810" y="980"/>
                      </a:lnTo>
                      <a:lnTo>
                        <a:pt x="812" y="982"/>
                      </a:lnTo>
                      <a:lnTo>
                        <a:pt x="818" y="982"/>
                      </a:lnTo>
                      <a:lnTo>
                        <a:pt x="822" y="984"/>
                      </a:lnTo>
                      <a:lnTo>
                        <a:pt x="828" y="986"/>
                      </a:lnTo>
                      <a:lnTo>
                        <a:pt x="828" y="990"/>
                      </a:lnTo>
                      <a:lnTo>
                        <a:pt x="826" y="994"/>
                      </a:lnTo>
                      <a:lnTo>
                        <a:pt x="826" y="994"/>
                      </a:lnTo>
                      <a:lnTo>
                        <a:pt x="824" y="998"/>
                      </a:lnTo>
                      <a:lnTo>
                        <a:pt x="824" y="1000"/>
                      </a:lnTo>
                      <a:lnTo>
                        <a:pt x="828" y="1006"/>
                      </a:lnTo>
                      <a:lnTo>
                        <a:pt x="836" y="1010"/>
                      </a:lnTo>
                      <a:lnTo>
                        <a:pt x="846" y="1014"/>
                      </a:lnTo>
                      <a:lnTo>
                        <a:pt x="866" y="1020"/>
                      </a:lnTo>
                      <a:lnTo>
                        <a:pt x="872" y="1022"/>
                      </a:lnTo>
                      <a:lnTo>
                        <a:pt x="874" y="1024"/>
                      </a:lnTo>
                      <a:lnTo>
                        <a:pt x="874" y="1024"/>
                      </a:lnTo>
                      <a:lnTo>
                        <a:pt x="874" y="1024"/>
                      </a:lnTo>
                      <a:lnTo>
                        <a:pt x="868" y="1034"/>
                      </a:lnTo>
                      <a:lnTo>
                        <a:pt x="866" y="1040"/>
                      </a:lnTo>
                      <a:lnTo>
                        <a:pt x="868" y="1044"/>
                      </a:lnTo>
                      <a:lnTo>
                        <a:pt x="874" y="1050"/>
                      </a:lnTo>
                      <a:lnTo>
                        <a:pt x="874" y="1050"/>
                      </a:lnTo>
                      <a:lnTo>
                        <a:pt x="874" y="1052"/>
                      </a:lnTo>
                      <a:lnTo>
                        <a:pt x="872" y="1054"/>
                      </a:lnTo>
                      <a:lnTo>
                        <a:pt x="862" y="1052"/>
                      </a:lnTo>
                      <a:lnTo>
                        <a:pt x="848" y="1048"/>
                      </a:lnTo>
                      <a:lnTo>
                        <a:pt x="832" y="1040"/>
                      </a:lnTo>
                      <a:lnTo>
                        <a:pt x="832" y="1040"/>
                      </a:lnTo>
                      <a:lnTo>
                        <a:pt x="822" y="1036"/>
                      </a:lnTo>
                      <a:lnTo>
                        <a:pt x="810" y="1032"/>
                      </a:lnTo>
                      <a:lnTo>
                        <a:pt x="784" y="1028"/>
                      </a:lnTo>
                      <a:lnTo>
                        <a:pt x="758" y="1028"/>
                      </a:lnTo>
                      <a:lnTo>
                        <a:pt x="748" y="1030"/>
                      </a:lnTo>
                      <a:lnTo>
                        <a:pt x="742" y="1032"/>
                      </a:lnTo>
                      <a:lnTo>
                        <a:pt x="742" y="1032"/>
                      </a:lnTo>
                      <a:lnTo>
                        <a:pt x="738" y="1036"/>
                      </a:lnTo>
                      <a:lnTo>
                        <a:pt x="740" y="1042"/>
                      </a:lnTo>
                      <a:lnTo>
                        <a:pt x="744" y="1046"/>
                      </a:lnTo>
                      <a:lnTo>
                        <a:pt x="750" y="1050"/>
                      </a:lnTo>
                      <a:lnTo>
                        <a:pt x="764" y="1056"/>
                      </a:lnTo>
                      <a:lnTo>
                        <a:pt x="782" y="1060"/>
                      </a:lnTo>
                      <a:lnTo>
                        <a:pt x="782" y="1060"/>
                      </a:lnTo>
                      <a:lnTo>
                        <a:pt x="796" y="1060"/>
                      </a:lnTo>
                      <a:lnTo>
                        <a:pt x="804" y="1064"/>
                      </a:lnTo>
                      <a:lnTo>
                        <a:pt x="810" y="1068"/>
                      </a:lnTo>
                      <a:lnTo>
                        <a:pt x="816" y="1072"/>
                      </a:lnTo>
                      <a:lnTo>
                        <a:pt x="820" y="1078"/>
                      </a:lnTo>
                      <a:lnTo>
                        <a:pt x="824" y="1082"/>
                      </a:lnTo>
                      <a:lnTo>
                        <a:pt x="832" y="1086"/>
                      </a:lnTo>
                      <a:lnTo>
                        <a:pt x="844" y="1088"/>
                      </a:lnTo>
                      <a:lnTo>
                        <a:pt x="844" y="1088"/>
                      </a:lnTo>
                      <a:lnTo>
                        <a:pt x="856" y="1090"/>
                      </a:lnTo>
                      <a:lnTo>
                        <a:pt x="864" y="1092"/>
                      </a:lnTo>
                      <a:lnTo>
                        <a:pt x="868" y="1096"/>
                      </a:lnTo>
                      <a:lnTo>
                        <a:pt x="870" y="1098"/>
                      </a:lnTo>
                      <a:lnTo>
                        <a:pt x="866" y="1108"/>
                      </a:lnTo>
                      <a:lnTo>
                        <a:pt x="866" y="1112"/>
                      </a:lnTo>
                      <a:lnTo>
                        <a:pt x="868" y="1118"/>
                      </a:lnTo>
                      <a:lnTo>
                        <a:pt x="868" y="1118"/>
                      </a:lnTo>
                      <a:lnTo>
                        <a:pt x="872" y="1122"/>
                      </a:lnTo>
                      <a:lnTo>
                        <a:pt x="876" y="1120"/>
                      </a:lnTo>
                      <a:lnTo>
                        <a:pt x="880" y="1118"/>
                      </a:lnTo>
                      <a:lnTo>
                        <a:pt x="882" y="1114"/>
                      </a:lnTo>
                      <a:lnTo>
                        <a:pt x="888" y="1106"/>
                      </a:lnTo>
                      <a:lnTo>
                        <a:pt x="888" y="1106"/>
                      </a:lnTo>
                      <a:lnTo>
                        <a:pt x="890" y="1110"/>
                      </a:lnTo>
                      <a:lnTo>
                        <a:pt x="890" y="1110"/>
                      </a:lnTo>
                      <a:lnTo>
                        <a:pt x="888" y="1116"/>
                      </a:lnTo>
                      <a:lnTo>
                        <a:pt x="888" y="1122"/>
                      </a:lnTo>
                      <a:lnTo>
                        <a:pt x="882" y="1134"/>
                      </a:lnTo>
                      <a:lnTo>
                        <a:pt x="876" y="1148"/>
                      </a:lnTo>
                      <a:lnTo>
                        <a:pt x="872" y="1164"/>
                      </a:lnTo>
                      <a:lnTo>
                        <a:pt x="872" y="1164"/>
                      </a:lnTo>
                      <a:lnTo>
                        <a:pt x="870" y="1170"/>
                      </a:lnTo>
                      <a:lnTo>
                        <a:pt x="872" y="1176"/>
                      </a:lnTo>
                      <a:lnTo>
                        <a:pt x="876" y="1182"/>
                      </a:lnTo>
                      <a:lnTo>
                        <a:pt x="876" y="1184"/>
                      </a:lnTo>
                      <a:lnTo>
                        <a:pt x="876" y="1186"/>
                      </a:lnTo>
                      <a:lnTo>
                        <a:pt x="866" y="1192"/>
                      </a:lnTo>
                      <a:lnTo>
                        <a:pt x="866" y="1192"/>
                      </a:lnTo>
                      <a:lnTo>
                        <a:pt x="858" y="1194"/>
                      </a:lnTo>
                      <a:lnTo>
                        <a:pt x="850" y="1196"/>
                      </a:lnTo>
                      <a:lnTo>
                        <a:pt x="838" y="1192"/>
                      </a:lnTo>
                      <a:lnTo>
                        <a:pt x="828" y="1190"/>
                      </a:lnTo>
                      <a:lnTo>
                        <a:pt x="822" y="1190"/>
                      </a:lnTo>
                      <a:lnTo>
                        <a:pt x="818" y="1194"/>
                      </a:lnTo>
                      <a:lnTo>
                        <a:pt x="818" y="1194"/>
                      </a:lnTo>
                      <a:lnTo>
                        <a:pt x="812" y="1196"/>
                      </a:lnTo>
                      <a:lnTo>
                        <a:pt x="806" y="1198"/>
                      </a:lnTo>
                      <a:lnTo>
                        <a:pt x="796" y="1202"/>
                      </a:lnTo>
                      <a:lnTo>
                        <a:pt x="788" y="1204"/>
                      </a:lnTo>
                      <a:lnTo>
                        <a:pt x="786" y="1206"/>
                      </a:lnTo>
                      <a:lnTo>
                        <a:pt x="788" y="1210"/>
                      </a:lnTo>
                      <a:lnTo>
                        <a:pt x="788" y="1210"/>
                      </a:lnTo>
                      <a:lnTo>
                        <a:pt x="788" y="1212"/>
                      </a:lnTo>
                      <a:lnTo>
                        <a:pt x="788" y="1214"/>
                      </a:lnTo>
                      <a:lnTo>
                        <a:pt x="784" y="1214"/>
                      </a:lnTo>
                      <a:lnTo>
                        <a:pt x="784" y="1216"/>
                      </a:lnTo>
                      <a:lnTo>
                        <a:pt x="784" y="1216"/>
                      </a:lnTo>
                      <a:lnTo>
                        <a:pt x="790" y="1222"/>
                      </a:lnTo>
                      <a:lnTo>
                        <a:pt x="790" y="1222"/>
                      </a:lnTo>
                      <a:lnTo>
                        <a:pt x="794" y="1226"/>
                      </a:lnTo>
                      <a:lnTo>
                        <a:pt x="794" y="1228"/>
                      </a:lnTo>
                      <a:lnTo>
                        <a:pt x="792" y="1232"/>
                      </a:lnTo>
                      <a:lnTo>
                        <a:pt x="788" y="1234"/>
                      </a:lnTo>
                      <a:lnTo>
                        <a:pt x="778" y="1240"/>
                      </a:lnTo>
                      <a:lnTo>
                        <a:pt x="774" y="1242"/>
                      </a:lnTo>
                      <a:lnTo>
                        <a:pt x="774" y="1246"/>
                      </a:lnTo>
                      <a:lnTo>
                        <a:pt x="774" y="1246"/>
                      </a:lnTo>
                      <a:lnTo>
                        <a:pt x="774" y="1252"/>
                      </a:lnTo>
                      <a:lnTo>
                        <a:pt x="772" y="1260"/>
                      </a:lnTo>
                      <a:lnTo>
                        <a:pt x="762" y="1284"/>
                      </a:lnTo>
                      <a:lnTo>
                        <a:pt x="762" y="1284"/>
                      </a:lnTo>
                      <a:lnTo>
                        <a:pt x="762" y="1292"/>
                      </a:lnTo>
                      <a:lnTo>
                        <a:pt x="762" y="1296"/>
                      </a:lnTo>
                      <a:lnTo>
                        <a:pt x="766" y="1300"/>
                      </a:lnTo>
                      <a:lnTo>
                        <a:pt x="772" y="1302"/>
                      </a:lnTo>
                      <a:lnTo>
                        <a:pt x="788" y="1306"/>
                      </a:lnTo>
                      <a:lnTo>
                        <a:pt x="810" y="1306"/>
                      </a:lnTo>
                      <a:lnTo>
                        <a:pt x="810" y="1306"/>
                      </a:lnTo>
                      <a:lnTo>
                        <a:pt x="800" y="1312"/>
                      </a:lnTo>
                      <a:lnTo>
                        <a:pt x="790" y="1320"/>
                      </a:lnTo>
                      <a:lnTo>
                        <a:pt x="782" y="1328"/>
                      </a:lnTo>
                      <a:lnTo>
                        <a:pt x="776" y="1338"/>
                      </a:lnTo>
                      <a:lnTo>
                        <a:pt x="772" y="1346"/>
                      </a:lnTo>
                      <a:lnTo>
                        <a:pt x="772" y="1354"/>
                      </a:lnTo>
                      <a:lnTo>
                        <a:pt x="774" y="1362"/>
                      </a:lnTo>
                      <a:lnTo>
                        <a:pt x="780" y="1368"/>
                      </a:lnTo>
                      <a:lnTo>
                        <a:pt x="780" y="1368"/>
                      </a:lnTo>
                      <a:lnTo>
                        <a:pt x="786" y="1374"/>
                      </a:lnTo>
                      <a:lnTo>
                        <a:pt x="790" y="1378"/>
                      </a:lnTo>
                      <a:lnTo>
                        <a:pt x="792" y="1384"/>
                      </a:lnTo>
                      <a:lnTo>
                        <a:pt x="792" y="1390"/>
                      </a:lnTo>
                      <a:lnTo>
                        <a:pt x="792" y="1392"/>
                      </a:lnTo>
                      <a:lnTo>
                        <a:pt x="796" y="1392"/>
                      </a:lnTo>
                      <a:lnTo>
                        <a:pt x="796" y="1392"/>
                      </a:lnTo>
                      <a:lnTo>
                        <a:pt x="806" y="1394"/>
                      </a:lnTo>
                      <a:lnTo>
                        <a:pt x="812" y="1400"/>
                      </a:lnTo>
                      <a:lnTo>
                        <a:pt x="818" y="1406"/>
                      </a:lnTo>
                      <a:lnTo>
                        <a:pt x="818" y="1410"/>
                      </a:lnTo>
                      <a:lnTo>
                        <a:pt x="818" y="1414"/>
                      </a:lnTo>
                      <a:lnTo>
                        <a:pt x="818" y="1414"/>
                      </a:lnTo>
                      <a:lnTo>
                        <a:pt x="818" y="1420"/>
                      </a:lnTo>
                      <a:lnTo>
                        <a:pt x="818" y="1422"/>
                      </a:lnTo>
                      <a:lnTo>
                        <a:pt x="824" y="1426"/>
                      </a:lnTo>
                      <a:lnTo>
                        <a:pt x="828" y="1430"/>
                      </a:lnTo>
                      <a:lnTo>
                        <a:pt x="830" y="1434"/>
                      </a:lnTo>
                      <a:lnTo>
                        <a:pt x="830" y="1440"/>
                      </a:lnTo>
                      <a:lnTo>
                        <a:pt x="830" y="1440"/>
                      </a:lnTo>
                      <a:lnTo>
                        <a:pt x="830" y="1450"/>
                      </a:lnTo>
                      <a:lnTo>
                        <a:pt x="834" y="1452"/>
                      </a:lnTo>
                      <a:lnTo>
                        <a:pt x="836" y="1454"/>
                      </a:lnTo>
                      <a:lnTo>
                        <a:pt x="836" y="1462"/>
                      </a:lnTo>
                      <a:lnTo>
                        <a:pt x="836" y="1462"/>
                      </a:lnTo>
                      <a:lnTo>
                        <a:pt x="836" y="1476"/>
                      </a:lnTo>
                      <a:lnTo>
                        <a:pt x="836" y="1482"/>
                      </a:lnTo>
                      <a:lnTo>
                        <a:pt x="840" y="1488"/>
                      </a:lnTo>
                      <a:lnTo>
                        <a:pt x="842" y="1490"/>
                      </a:lnTo>
                      <a:lnTo>
                        <a:pt x="848" y="1488"/>
                      </a:lnTo>
                      <a:lnTo>
                        <a:pt x="852" y="1482"/>
                      </a:lnTo>
                      <a:lnTo>
                        <a:pt x="860" y="1470"/>
                      </a:lnTo>
                      <a:lnTo>
                        <a:pt x="860" y="1470"/>
                      </a:lnTo>
                      <a:lnTo>
                        <a:pt x="870" y="1454"/>
                      </a:lnTo>
                      <a:lnTo>
                        <a:pt x="872" y="1454"/>
                      </a:lnTo>
                      <a:lnTo>
                        <a:pt x="874" y="1456"/>
                      </a:lnTo>
                      <a:lnTo>
                        <a:pt x="876" y="1462"/>
                      </a:lnTo>
                      <a:lnTo>
                        <a:pt x="878" y="1462"/>
                      </a:lnTo>
                      <a:lnTo>
                        <a:pt x="882" y="1460"/>
                      </a:lnTo>
                      <a:lnTo>
                        <a:pt x="882" y="1460"/>
                      </a:lnTo>
                      <a:lnTo>
                        <a:pt x="888" y="1456"/>
                      </a:lnTo>
                      <a:lnTo>
                        <a:pt x="894" y="1454"/>
                      </a:lnTo>
                      <a:lnTo>
                        <a:pt x="900" y="1452"/>
                      </a:lnTo>
                      <a:lnTo>
                        <a:pt x="906" y="1454"/>
                      </a:lnTo>
                      <a:lnTo>
                        <a:pt x="912" y="1456"/>
                      </a:lnTo>
                      <a:lnTo>
                        <a:pt x="916" y="1458"/>
                      </a:lnTo>
                      <a:lnTo>
                        <a:pt x="918" y="1464"/>
                      </a:lnTo>
                      <a:lnTo>
                        <a:pt x="920" y="1470"/>
                      </a:lnTo>
                      <a:lnTo>
                        <a:pt x="920" y="1470"/>
                      </a:lnTo>
                      <a:lnTo>
                        <a:pt x="922" y="1474"/>
                      </a:lnTo>
                      <a:lnTo>
                        <a:pt x="920" y="1474"/>
                      </a:lnTo>
                      <a:lnTo>
                        <a:pt x="912" y="1470"/>
                      </a:lnTo>
                      <a:lnTo>
                        <a:pt x="902" y="1464"/>
                      </a:lnTo>
                      <a:lnTo>
                        <a:pt x="896" y="1462"/>
                      </a:lnTo>
                      <a:lnTo>
                        <a:pt x="890" y="1464"/>
                      </a:lnTo>
                      <a:lnTo>
                        <a:pt x="890" y="1464"/>
                      </a:lnTo>
                      <a:lnTo>
                        <a:pt x="888" y="1466"/>
                      </a:lnTo>
                      <a:lnTo>
                        <a:pt x="888" y="1468"/>
                      </a:lnTo>
                      <a:lnTo>
                        <a:pt x="894" y="1474"/>
                      </a:lnTo>
                      <a:lnTo>
                        <a:pt x="898" y="1474"/>
                      </a:lnTo>
                      <a:lnTo>
                        <a:pt x="898" y="1476"/>
                      </a:lnTo>
                      <a:lnTo>
                        <a:pt x="896" y="1478"/>
                      </a:lnTo>
                      <a:lnTo>
                        <a:pt x="890" y="1478"/>
                      </a:lnTo>
                      <a:lnTo>
                        <a:pt x="890" y="1478"/>
                      </a:lnTo>
                      <a:lnTo>
                        <a:pt x="884" y="1480"/>
                      </a:lnTo>
                      <a:lnTo>
                        <a:pt x="880" y="1480"/>
                      </a:lnTo>
                      <a:lnTo>
                        <a:pt x="880" y="1484"/>
                      </a:lnTo>
                      <a:lnTo>
                        <a:pt x="880" y="1486"/>
                      </a:lnTo>
                      <a:lnTo>
                        <a:pt x="880" y="1488"/>
                      </a:lnTo>
                      <a:lnTo>
                        <a:pt x="880" y="1490"/>
                      </a:lnTo>
                      <a:lnTo>
                        <a:pt x="876" y="1492"/>
                      </a:lnTo>
                      <a:lnTo>
                        <a:pt x="868" y="1492"/>
                      </a:lnTo>
                      <a:lnTo>
                        <a:pt x="868" y="1492"/>
                      </a:lnTo>
                      <a:lnTo>
                        <a:pt x="856" y="1494"/>
                      </a:lnTo>
                      <a:lnTo>
                        <a:pt x="856" y="1496"/>
                      </a:lnTo>
                      <a:lnTo>
                        <a:pt x="856" y="1496"/>
                      </a:lnTo>
                      <a:lnTo>
                        <a:pt x="860" y="1500"/>
                      </a:lnTo>
                      <a:lnTo>
                        <a:pt x="860" y="1502"/>
                      </a:lnTo>
                      <a:lnTo>
                        <a:pt x="858" y="1504"/>
                      </a:lnTo>
                      <a:lnTo>
                        <a:pt x="858" y="1504"/>
                      </a:lnTo>
                      <a:lnTo>
                        <a:pt x="854" y="1506"/>
                      </a:lnTo>
                      <a:lnTo>
                        <a:pt x="854" y="1506"/>
                      </a:lnTo>
                      <a:lnTo>
                        <a:pt x="856" y="1510"/>
                      </a:lnTo>
                      <a:lnTo>
                        <a:pt x="860" y="1514"/>
                      </a:lnTo>
                      <a:lnTo>
                        <a:pt x="862" y="1516"/>
                      </a:lnTo>
                      <a:lnTo>
                        <a:pt x="860" y="1518"/>
                      </a:lnTo>
                      <a:lnTo>
                        <a:pt x="860" y="1518"/>
                      </a:lnTo>
                      <a:lnTo>
                        <a:pt x="860" y="1522"/>
                      </a:lnTo>
                      <a:lnTo>
                        <a:pt x="860" y="1526"/>
                      </a:lnTo>
                      <a:lnTo>
                        <a:pt x="862" y="1534"/>
                      </a:lnTo>
                      <a:lnTo>
                        <a:pt x="874" y="1554"/>
                      </a:lnTo>
                      <a:lnTo>
                        <a:pt x="874" y="1554"/>
                      </a:lnTo>
                      <a:lnTo>
                        <a:pt x="878" y="1558"/>
                      </a:lnTo>
                      <a:lnTo>
                        <a:pt x="882" y="1560"/>
                      </a:lnTo>
                      <a:lnTo>
                        <a:pt x="890" y="1562"/>
                      </a:lnTo>
                      <a:lnTo>
                        <a:pt x="898" y="1562"/>
                      </a:lnTo>
                      <a:lnTo>
                        <a:pt x="898" y="1564"/>
                      </a:lnTo>
                      <a:lnTo>
                        <a:pt x="898" y="1568"/>
                      </a:lnTo>
                      <a:lnTo>
                        <a:pt x="898" y="1568"/>
                      </a:lnTo>
                      <a:lnTo>
                        <a:pt x="896" y="1572"/>
                      </a:lnTo>
                      <a:lnTo>
                        <a:pt x="898" y="1576"/>
                      </a:lnTo>
                      <a:lnTo>
                        <a:pt x="902" y="1582"/>
                      </a:lnTo>
                      <a:lnTo>
                        <a:pt x="906" y="1590"/>
                      </a:lnTo>
                      <a:lnTo>
                        <a:pt x="908" y="1594"/>
                      </a:lnTo>
                      <a:lnTo>
                        <a:pt x="908" y="1598"/>
                      </a:lnTo>
                      <a:lnTo>
                        <a:pt x="908" y="1598"/>
                      </a:lnTo>
                      <a:lnTo>
                        <a:pt x="908" y="1606"/>
                      </a:lnTo>
                      <a:lnTo>
                        <a:pt x="910" y="1610"/>
                      </a:lnTo>
                      <a:lnTo>
                        <a:pt x="914" y="1614"/>
                      </a:lnTo>
                      <a:lnTo>
                        <a:pt x="926" y="1618"/>
                      </a:lnTo>
                      <a:lnTo>
                        <a:pt x="926" y="1618"/>
                      </a:lnTo>
                      <a:lnTo>
                        <a:pt x="932" y="1622"/>
                      </a:lnTo>
                      <a:lnTo>
                        <a:pt x="934" y="1626"/>
                      </a:lnTo>
                      <a:lnTo>
                        <a:pt x="936" y="1630"/>
                      </a:lnTo>
                      <a:lnTo>
                        <a:pt x="934" y="1634"/>
                      </a:lnTo>
                      <a:lnTo>
                        <a:pt x="934" y="1640"/>
                      </a:lnTo>
                      <a:lnTo>
                        <a:pt x="934" y="1640"/>
                      </a:lnTo>
                      <a:lnTo>
                        <a:pt x="938" y="1640"/>
                      </a:lnTo>
                      <a:lnTo>
                        <a:pt x="938" y="1640"/>
                      </a:lnTo>
                      <a:lnTo>
                        <a:pt x="942" y="1640"/>
                      </a:lnTo>
                      <a:lnTo>
                        <a:pt x="944" y="1640"/>
                      </a:lnTo>
                      <a:lnTo>
                        <a:pt x="946" y="1648"/>
                      </a:lnTo>
                      <a:lnTo>
                        <a:pt x="946" y="1654"/>
                      </a:lnTo>
                      <a:lnTo>
                        <a:pt x="948" y="1656"/>
                      </a:lnTo>
                      <a:lnTo>
                        <a:pt x="950" y="1656"/>
                      </a:lnTo>
                      <a:lnTo>
                        <a:pt x="950" y="1656"/>
                      </a:lnTo>
                      <a:lnTo>
                        <a:pt x="956" y="1656"/>
                      </a:lnTo>
                      <a:lnTo>
                        <a:pt x="958" y="1656"/>
                      </a:lnTo>
                      <a:lnTo>
                        <a:pt x="958" y="1662"/>
                      </a:lnTo>
                      <a:lnTo>
                        <a:pt x="954" y="1672"/>
                      </a:lnTo>
                      <a:lnTo>
                        <a:pt x="954" y="1672"/>
                      </a:lnTo>
                      <a:lnTo>
                        <a:pt x="952" y="1676"/>
                      </a:lnTo>
                      <a:lnTo>
                        <a:pt x="956" y="1678"/>
                      </a:lnTo>
                      <a:lnTo>
                        <a:pt x="966" y="1678"/>
                      </a:lnTo>
                      <a:lnTo>
                        <a:pt x="978" y="1678"/>
                      </a:lnTo>
                      <a:lnTo>
                        <a:pt x="980" y="1680"/>
                      </a:lnTo>
                      <a:lnTo>
                        <a:pt x="980" y="1684"/>
                      </a:lnTo>
                      <a:lnTo>
                        <a:pt x="980" y="1684"/>
                      </a:lnTo>
                      <a:lnTo>
                        <a:pt x="978" y="1690"/>
                      </a:lnTo>
                      <a:lnTo>
                        <a:pt x="978" y="1692"/>
                      </a:lnTo>
                      <a:lnTo>
                        <a:pt x="980" y="1694"/>
                      </a:lnTo>
                      <a:lnTo>
                        <a:pt x="982" y="1694"/>
                      </a:lnTo>
                      <a:lnTo>
                        <a:pt x="990" y="1694"/>
                      </a:lnTo>
                      <a:lnTo>
                        <a:pt x="994" y="1696"/>
                      </a:lnTo>
                      <a:lnTo>
                        <a:pt x="996" y="1698"/>
                      </a:lnTo>
                      <a:lnTo>
                        <a:pt x="996" y="1698"/>
                      </a:lnTo>
                      <a:lnTo>
                        <a:pt x="998" y="1700"/>
                      </a:lnTo>
                      <a:lnTo>
                        <a:pt x="996" y="1702"/>
                      </a:lnTo>
                      <a:lnTo>
                        <a:pt x="994" y="1704"/>
                      </a:lnTo>
                      <a:lnTo>
                        <a:pt x="990" y="1706"/>
                      </a:lnTo>
                      <a:lnTo>
                        <a:pt x="990" y="1708"/>
                      </a:lnTo>
                      <a:lnTo>
                        <a:pt x="990" y="1712"/>
                      </a:lnTo>
                      <a:lnTo>
                        <a:pt x="990" y="1712"/>
                      </a:lnTo>
                      <a:lnTo>
                        <a:pt x="992" y="1722"/>
                      </a:lnTo>
                      <a:lnTo>
                        <a:pt x="996" y="1724"/>
                      </a:lnTo>
                      <a:lnTo>
                        <a:pt x="1000" y="1726"/>
                      </a:lnTo>
                      <a:lnTo>
                        <a:pt x="1004" y="1726"/>
                      </a:lnTo>
                      <a:lnTo>
                        <a:pt x="1010" y="1726"/>
                      </a:lnTo>
                      <a:lnTo>
                        <a:pt x="1016" y="1722"/>
                      </a:lnTo>
                      <a:lnTo>
                        <a:pt x="1024" y="1718"/>
                      </a:lnTo>
                      <a:lnTo>
                        <a:pt x="1024" y="1718"/>
                      </a:lnTo>
                      <a:lnTo>
                        <a:pt x="1032" y="1712"/>
                      </a:lnTo>
                      <a:lnTo>
                        <a:pt x="1038" y="1712"/>
                      </a:lnTo>
                      <a:lnTo>
                        <a:pt x="1040" y="1712"/>
                      </a:lnTo>
                      <a:lnTo>
                        <a:pt x="1044" y="1714"/>
                      </a:lnTo>
                      <a:lnTo>
                        <a:pt x="1048" y="1716"/>
                      </a:lnTo>
                      <a:lnTo>
                        <a:pt x="1050" y="1716"/>
                      </a:lnTo>
                      <a:lnTo>
                        <a:pt x="1054" y="1714"/>
                      </a:lnTo>
                      <a:lnTo>
                        <a:pt x="1054" y="1714"/>
                      </a:lnTo>
                      <a:lnTo>
                        <a:pt x="1064" y="1708"/>
                      </a:lnTo>
                      <a:lnTo>
                        <a:pt x="1072" y="1704"/>
                      </a:lnTo>
                      <a:lnTo>
                        <a:pt x="1080" y="1700"/>
                      </a:lnTo>
                      <a:lnTo>
                        <a:pt x="1080" y="1696"/>
                      </a:lnTo>
                      <a:lnTo>
                        <a:pt x="1080" y="1692"/>
                      </a:lnTo>
                      <a:lnTo>
                        <a:pt x="1080" y="1692"/>
                      </a:lnTo>
                      <a:lnTo>
                        <a:pt x="1080" y="1688"/>
                      </a:lnTo>
                      <a:lnTo>
                        <a:pt x="1082" y="1686"/>
                      </a:lnTo>
                      <a:lnTo>
                        <a:pt x="1084" y="1688"/>
                      </a:lnTo>
                      <a:lnTo>
                        <a:pt x="1086" y="1690"/>
                      </a:lnTo>
                      <a:lnTo>
                        <a:pt x="1088" y="1694"/>
                      </a:lnTo>
                      <a:lnTo>
                        <a:pt x="1090" y="1698"/>
                      </a:lnTo>
                      <a:lnTo>
                        <a:pt x="1090" y="1704"/>
                      </a:lnTo>
                      <a:lnTo>
                        <a:pt x="1086" y="1710"/>
                      </a:lnTo>
                      <a:lnTo>
                        <a:pt x="1086" y="1710"/>
                      </a:lnTo>
                      <a:lnTo>
                        <a:pt x="1078" y="1718"/>
                      </a:lnTo>
                      <a:lnTo>
                        <a:pt x="1076" y="1726"/>
                      </a:lnTo>
                      <a:lnTo>
                        <a:pt x="1076" y="1728"/>
                      </a:lnTo>
                      <a:lnTo>
                        <a:pt x="1078" y="1732"/>
                      </a:lnTo>
                      <a:lnTo>
                        <a:pt x="1090" y="1738"/>
                      </a:lnTo>
                      <a:lnTo>
                        <a:pt x="1090" y="1738"/>
                      </a:lnTo>
                      <a:lnTo>
                        <a:pt x="1098" y="1740"/>
                      </a:lnTo>
                      <a:lnTo>
                        <a:pt x="1106" y="1740"/>
                      </a:lnTo>
                      <a:lnTo>
                        <a:pt x="1120" y="1738"/>
                      </a:lnTo>
                      <a:lnTo>
                        <a:pt x="1124" y="1738"/>
                      </a:lnTo>
                      <a:lnTo>
                        <a:pt x="1126" y="1740"/>
                      </a:lnTo>
                      <a:lnTo>
                        <a:pt x="1126" y="1744"/>
                      </a:lnTo>
                      <a:lnTo>
                        <a:pt x="1120" y="1752"/>
                      </a:lnTo>
                      <a:lnTo>
                        <a:pt x="1120" y="1752"/>
                      </a:lnTo>
                      <a:lnTo>
                        <a:pt x="1116" y="1758"/>
                      </a:lnTo>
                      <a:lnTo>
                        <a:pt x="1116" y="1762"/>
                      </a:lnTo>
                      <a:lnTo>
                        <a:pt x="1118" y="1766"/>
                      </a:lnTo>
                      <a:lnTo>
                        <a:pt x="1122" y="1768"/>
                      </a:lnTo>
                      <a:lnTo>
                        <a:pt x="1126" y="1770"/>
                      </a:lnTo>
                      <a:lnTo>
                        <a:pt x="1132" y="1770"/>
                      </a:lnTo>
                      <a:lnTo>
                        <a:pt x="1136" y="1768"/>
                      </a:lnTo>
                      <a:lnTo>
                        <a:pt x="1140" y="1766"/>
                      </a:lnTo>
                      <a:lnTo>
                        <a:pt x="1140" y="1766"/>
                      </a:lnTo>
                      <a:lnTo>
                        <a:pt x="1150" y="1760"/>
                      </a:lnTo>
                      <a:lnTo>
                        <a:pt x="1154" y="1758"/>
                      </a:lnTo>
                      <a:lnTo>
                        <a:pt x="1156" y="1758"/>
                      </a:lnTo>
                      <a:lnTo>
                        <a:pt x="1162" y="1762"/>
                      </a:lnTo>
                      <a:lnTo>
                        <a:pt x="1170" y="1770"/>
                      </a:lnTo>
                      <a:lnTo>
                        <a:pt x="1170" y="1770"/>
                      </a:lnTo>
                      <a:lnTo>
                        <a:pt x="1182" y="1776"/>
                      </a:lnTo>
                      <a:lnTo>
                        <a:pt x="1186" y="1776"/>
                      </a:lnTo>
                      <a:lnTo>
                        <a:pt x="1190" y="1776"/>
                      </a:lnTo>
                      <a:lnTo>
                        <a:pt x="1194" y="1774"/>
                      </a:lnTo>
                      <a:lnTo>
                        <a:pt x="1196" y="1768"/>
                      </a:lnTo>
                      <a:lnTo>
                        <a:pt x="1198" y="1764"/>
                      </a:lnTo>
                      <a:lnTo>
                        <a:pt x="1200" y="1756"/>
                      </a:lnTo>
                      <a:lnTo>
                        <a:pt x="1200" y="1756"/>
                      </a:lnTo>
                      <a:lnTo>
                        <a:pt x="1200" y="1750"/>
                      </a:lnTo>
                      <a:lnTo>
                        <a:pt x="1198" y="1746"/>
                      </a:lnTo>
                      <a:lnTo>
                        <a:pt x="1194" y="1746"/>
                      </a:lnTo>
                      <a:lnTo>
                        <a:pt x="1192" y="1746"/>
                      </a:lnTo>
                      <a:lnTo>
                        <a:pt x="1186" y="1746"/>
                      </a:lnTo>
                      <a:lnTo>
                        <a:pt x="1186" y="1746"/>
                      </a:lnTo>
                      <a:lnTo>
                        <a:pt x="1186" y="1744"/>
                      </a:lnTo>
                      <a:lnTo>
                        <a:pt x="1186" y="1744"/>
                      </a:lnTo>
                      <a:lnTo>
                        <a:pt x="1190" y="1740"/>
                      </a:lnTo>
                      <a:lnTo>
                        <a:pt x="1194" y="1738"/>
                      </a:lnTo>
                      <a:lnTo>
                        <a:pt x="1204" y="1734"/>
                      </a:lnTo>
                      <a:lnTo>
                        <a:pt x="1208" y="1732"/>
                      </a:lnTo>
                      <a:lnTo>
                        <a:pt x="1210" y="1728"/>
                      </a:lnTo>
                      <a:lnTo>
                        <a:pt x="1212" y="1724"/>
                      </a:lnTo>
                      <a:lnTo>
                        <a:pt x="1212" y="1718"/>
                      </a:lnTo>
                      <a:lnTo>
                        <a:pt x="1212" y="1718"/>
                      </a:lnTo>
                      <a:lnTo>
                        <a:pt x="1210" y="1712"/>
                      </a:lnTo>
                      <a:lnTo>
                        <a:pt x="1214" y="1702"/>
                      </a:lnTo>
                      <a:lnTo>
                        <a:pt x="1224" y="1676"/>
                      </a:lnTo>
                      <a:lnTo>
                        <a:pt x="1234" y="1652"/>
                      </a:lnTo>
                      <a:lnTo>
                        <a:pt x="1236" y="1640"/>
                      </a:lnTo>
                      <a:lnTo>
                        <a:pt x="1236" y="1630"/>
                      </a:lnTo>
                      <a:lnTo>
                        <a:pt x="1236" y="1630"/>
                      </a:lnTo>
                      <a:lnTo>
                        <a:pt x="1234" y="1624"/>
                      </a:lnTo>
                      <a:lnTo>
                        <a:pt x="1232" y="1622"/>
                      </a:lnTo>
                      <a:lnTo>
                        <a:pt x="1230" y="1622"/>
                      </a:lnTo>
                      <a:lnTo>
                        <a:pt x="1228" y="1622"/>
                      </a:lnTo>
                      <a:lnTo>
                        <a:pt x="1226" y="1622"/>
                      </a:lnTo>
                      <a:lnTo>
                        <a:pt x="1222" y="1622"/>
                      </a:lnTo>
                      <a:lnTo>
                        <a:pt x="1220" y="1620"/>
                      </a:lnTo>
                      <a:lnTo>
                        <a:pt x="1214" y="1616"/>
                      </a:lnTo>
                      <a:lnTo>
                        <a:pt x="1214" y="1616"/>
                      </a:lnTo>
                      <a:lnTo>
                        <a:pt x="1212" y="1610"/>
                      </a:lnTo>
                      <a:lnTo>
                        <a:pt x="1212" y="1610"/>
                      </a:lnTo>
                      <a:lnTo>
                        <a:pt x="1222" y="1612"/>
                      </a:lnTo>
                      <a:lnTo>
                        <a:pt x="1232" y="1614"/>
                      </a:lnTo>
                      <a:lnTo>
                        <a:pt x="1236" y="1614"/>
                      </a:lnTo>
                      <a:lnTo>
                        <a:pt x="1236" y="1610"/>
                      </a:lnTo>
                      <a:lnTo>
                        <a:pt x="1236" y="1610"/>
                      </a:lnTo>
                      <a:lnTo>
                        <a:pt x="1234" y="1604"/>
                      </a:lnTo>
                      <a:lnTo>
                        <a:pt x="1232" y="1602"/>
                      </a:lnTo>
                      <a:lnTo>
                        <a:pt x="1226" y="1600"/>
                      </a:lnTo>
                      <a:lnTo>
                        <a:pt x="1220" y="1598"/>
                      </a:lnTo>
                      <a:lnTo>
                        <a:pt x="1220" y="1596"/>
                      </a:lnTo>
                      <a:lnTo>
                        <a:pt x="1222" y="1592"/>
                      </a:lnTo>
                      <a:lnTo>
                        <a:pt x="1222" y="1592"/>
                      </a:lnTo>
                      <a:lnTo>
                        <a:pt x="1226" y="1590"/>
                      </a:lnTo>
                      <a:lnTo>
                        <a:pt x="1230" y="1588"/>
                      </a:lnTo>
                      <a:lnTo>
                        <a:pt x="1244" y="1584"/>
                      </a:lnTo>
                      <a:lnTo>
                        <a:pt x="1250" y="1582"/>
                      </a:lnTo>
                      <a:lnTo>
                        <a:pt x="1256" y="1580"/>
                      </a:lnTo>
                      <a:lnTo>
                        <a:pt x="1260" y="1574"/>
                      </a:lnTo>
                      <a:lnTo>
                        <a:pt x="1262" y="1566"/>
                      </a:lnTo>
                      <a:lnTo>
                        <a:pt x="1262" y="1566"/>
                      </a:lnTo>
                      <a:lnTo>
                        <a:pt x="1264" y="1560"/>
                      </a:lnTo>
                      <a:lnTo>
                        <a:pt x="1266" y="1558"/>
                      </a:lnTo>
                      <a:lnTo>
                        <a:pt x="1268" y="1558"/>
                      </a:lnTo>
                      <a:lnTo>
                        <a:pt x="1272" y="1560"/>
                      </a:lnTo>
                      <a:lnTo>
                        <a:pt x="1278" y="1562"/>
                      </a:lnTo>
                      <a:lnTo>
                        <a:pt x="1280" y="1560"/>
                      </a:lnTo>
                      <a:lnTo>
                        <a:pt x="1280" y="1556"/>
                      </a:lnTo>
                      <a:lnTo>
                        <a:pt x="1280" y="1556"/>
                      </a:lnTo>
                      <a:lnTo>
                        <a:pt x="1282" y="1550"/>
                      </a:lnTo>
                      <a:lnTo>
                        <a:pt x="1284" y="1546"/>
                      </a:lnTo>
                      <a:lnTo>
                        <a:pt x="1294" y="1538"/>
                      </a:lnTo>
                      <a:lnTo>
                        <a:pt x="1300" y="1530"/>
                      </a:lnTo>
                      <a:lnTo>
                        <a:pt x="1302" y="1526"/>
                      </a:lnTo>
                      <a:lnTo>
                        <a:pt x="1302" y="1520"/>
                      </a:lnTo>
                      <a:lnTo>
                        <a:pt x="1302" y="1520"/>
                      </a:lnTo>
                      <a:lnTo>
                        <a:pt x="1300" y="1510"/>
                      </a:lnTo>
                      <a:lnTo>
                        <a:pt x="1300" y="1502"/>
                      </a:lnTo>
                      <a:lnTo>
                        <a:pt x="1300" y="1500"/>
                      </a:lnTo>
                      <a:lnTo>
                        <a:pt x="1298" y="1500"/>
                      </a:lnTo>
                      <a:lnTo>
                        <a:pt x="1286" y="1498"/>
                      </a:lnTo>
                      <a:lnTo>
                        <a:pt x="1286" y="1498"/>
                      </a:lnTo>
                      <a:lnTo>
                        <a:pt x="1278" y="1498"/>
                      </a:lnTo>
                      <a:lnTo>
                        <a:pt x="1270" y="1496"/>
                      </a:lnTo>
                      <a:lnTo>
                        <a:pt x="1266" y="1492"/>
                      </a:lnTo>
                      <a:lnTo>
                        <a:pt x="1262" y="1490"/>
                      </a:lnTo>
                      <a:lnTo>
                        <a:pt x="1260" y="1486"/>
                      </a:lnTo>
                      <a:lnTo>
                        <a:pt x="1262" y="1486"/>
                      </a:lnTo>
                      <a:lnTo>
                        <a:pt x="1264" y="1484"/>
                      </a:lnTo>
                      <a:lnTo>
                        <a:pt x="1270" y="1486"/>
                      </a:lnTo>
                      <a:lnTo>
                        <a:pt x="1270" y="1486"/>
                      </a:lnTo>
                      <a:lnTo>
                        <a:pt x="1276" y="1486"/>
                      </a:lnTo>
                      <a:lnTo>
                        <a:pt x="1280" y="1486"/>
                      </a:lnTo>
                      <a:lnTo>
                        <a:pt x="1288" y="1484"/>
                      </a:lnTo>
                      <a:lnTo>
                        <a:pt x="1294" y="1482"/>
                      </a:lnTo>
                      <a:lnTo>
                        <a:pt x="1300" y="1482"/>
                      </a:lnTo>
                      <a:lnTo>
                        <a:pt x="1300" y="1482"/>
                      </a:lnTo>
                      <a:lnTo>
                        <a:pt x="1308" y="1482"/>
                      </a:lnTo>
                      <a:lnTo>
                        <a:pt x="1308" y="1482"/>
                      </a:lnTo>
                      <a:lnTo>
                        <a:pt x="1308" y="1478"/>
                      </a:lnTo>
                      <a:lnTo>
                        <a:pt x="1302" y="1470"/>
                      </a:lnTo>
                      <a:lnTo>
                        <a:pt x="1290" y="1454"/>
                      </a:lnTo>
                      <a:lnTo>
                        <a:pt x="1290" y="1454"/>
                      </a:lnTo>
                      <a:lnTo>
                        <a:pt x="1282" y="1448"/>
                      </a:lnTo>
                      <a:lnTo>
                        <a:pt x="1280" y="1442"/>
                      </a:lnTo>
                      <a:lnTo>
                        <a:pt x="1280" y="1438"/>
                      </a:lnTo>
                      <a:lnTo>
                        <a:pt x="1284" y="1434"/>
                      </a:lnTo>
                      <a:lnTo>
                        <a:pt x="1288" y="1434"/>
                      </a:lnTo>
                      <a:lnTo>
                        <a:pt x="1296" y="1434"/>
                      </a:lnTo>
                      <a:lnTo>
                        <a:pt x="1310" y="1438"/>
                      </a:lnTo>
                      <a:lnTo>
                        <a:pt x="1310" y="1438"/>
                      </a:lnTo>
                      <a:lnTo>
                        <a:pt x="1316" y="1438"/>
                      </a:lnTo>
                      <a:lnTo>
                        <a:pt x="1320" y="1436"/>
                      </a:lnTo>
                      <a:lnTo>
                        <a:pt x="1324" y="1434"/>
                      </a:lnTo>
                      <a:lnTo>
                        <a:pt x="1326" y="1430"/>
                      </a:lnTo>
                      <a:lnTo>
                        <a:pt x="1332" y="1420"/>
                      </a:lnTo>
                      <a:lnTo>
                        <a:pt x="1334" y="1418"/>
                      </a:lnTo>
                      <a:lnTo>
                        <a:pt x="1338" y="1418"/>
                      </a:lnTo>
                      <a:lnTo>
                        <a:pt x="1338" y="1418"/>
                      </a:lnTo>
                      <a:lnTo>
                        <a:pt x="1344" y="1420"/>
                      </a:lnTo>
                      <a:lnTo>
                        <a:pt x="1346" y="1418"/>
                      </a:lnTo>
                      <a:lnTo>
                        <a:pt x="1344" y="1414"/>
                      </a:lnTo>
                      <a:lnTo>
                        <a:pt x="1334" y="1408"/>
                      </a:lnTo>
                      <a:lnTo>
                        <a:pt x="1334" y="1408"/>
                      </a:lnTo>
                      <a:lnTo>
                        <a:pt x="1326" y="1404"/>
                      </a:lnTo>
                      <a:lnTo>
                        <a:pt x="1324" y="1404"/>
                      </a:lnTo>
                      <a:lnTo>
                        <a:pt x="1326" y="1402"/>
                      </a:lnTo>
                      <a:lnTo>
                        <a:pt x="1330" y="1402"/>
                      </a:lnTo>
                      <a:lnTo>
                        <a:pt x="1338" y="1400"/>
                      </a:lnTo>
                      <a:lnTo>
                        <a:pt x="1338" y="1400"/>
                      </a:lnTo>
                      <a:lnTo>
                        <a:pt x="1344" y="1398"/>
                      </a:lnTo>
                      <a:lnTo>
                        <a:pt x="1352" y="1398"/>
                      </a:lnTo>
                      <a:lnTo>
                        <a:pt x="1360" y="1400"/>
                      </a:lnTo>
                      <a:lnTo>
                        <a:pt x="1370" y="1398"/>
                      </a:lnTo>
                      <a:lnTo>
                        <a:pt x="1370" y="1398"/>
                      </a:lnTo>
                      <a:lnTo>
                        <a:pt x="1380" y="1396"/>
                      </a:lnTo>
                      <a:lnTo>
                        <a:pt x="1388" y="1396"/>
                      </a:lnTo>
                      <a:lnTo>
                        <a:pt x="1394" y="1396"/>
                      </a:lnTo>
                      <a:lnTo>
                        <a:pt x="1398" y="1390"/>
                      </a:lnTo>
                      <a:lnTo>
                        <a:pt x="1398" y="1390"/>
                      </a:lnTo>
                      <a:lnTo>
                        <a:pt x="1400" y="1386"/>
                      </a:lnTo>
                      <a:lnTo>
                        <a:pt x="1398" y="1384"/>
                      </a:lnTo>
                      <a:lnTo>
                        <a:pt x="1396" y="1380"/>
                      </a:lnTo>
                      <a:lnTo>
                        <a:pt x="1402" y="1376"/>
                      </a:lnTo>
                      <a:lnTo>
                        <a:pt x="1402" y="1376"/>
                      </a:lnTo>
                      <a:lnTo>
                        <a:pt x="1404" y="1372"/>
                      </a:lnTo>
                      <a:lnTo>
                        <a:pt x="1404" y="1368"/>
                      </a:lnTo>
                      <a:lnTo>
                        <a:pt x="1404" y="1364"/>
                      </a:lnTo>
                      <a:lnTo>
                        <a:pt x="1410" y="1360"/>
                      </a:lnTo>
                      <a:lnTo>
                        <a:pt x="1410" y="1360"/>
                      </a:lnTo>
                      <a:lnTo>
                        <a:pt x="1414" y="1356"/>
                      </a:lnTo>
                      <a:lnTo>
                        <a:pt x="1416" y="1354"/>
                      </a:lnTo>
                      <a:lnTo>
                        <a:pt x="1414" y="1352"/>
                      </a:lnTo>
                      <a:lnTo>
                        <a:pt x="1412" y="1350"/>
                      </a:lnTo>
                      <a:lnTo>
                        <a:pt x="1406" y="1346"/>
                      </a:lnTo>
                      <a:lnTo>
                        <a:pt x="1406" y="1344"/>
                      </a:lnTo>
                      <a:lnTo>
                        <a:pt x="1406" y="1344"/>
                      </a:lnTo>
                      <a:lnTo>
                        <a:pt x="1406" y="1344"/>
                      </a:lnTo>
                      <a:lnTo>
                        <a:pt x="1410" y="1342"/>
                      </a:lnTo>
                      <a:lnTo>
                        <a:pt x="1414" y="1344"/>
                      </a:lnTo>
                      <a:lnTo>
                        <a:pt x="1420" y="1344"/>
                      </a:lnTo>
                      <a:lnTo>
                        <a:pt x="1430" y="1344"/>
                      </a:lnTo>
                      <a:lnTo>
                        <a:pt x="1430" y="1344"/>
                      </a:lnTo>
                      <a:lnTo>
                        <a:pt x="1436" y="1344"/>
                      </a:lnTo>
                      <a:lnTo>
                        <a:pt x="1434" y="1348"/>
                      </a:lnTo>
                      <a:lnTo>
                        <a:pt x="1428" y="1352"/>
                      </a:lnTo>
                      <a:lnTo>
                        <a:pt x="1424" y="1358"/>
                      </a:lnTo>
                      <a:lnTo>
                        <a:pt x="1424" y="1358"/>
                      </a:lnTo>
                      <a:lnTo>
                        <a:pt x="1422" y="1362"/>
                      </a:lnTo>
                      <a:lnTo>
                        <a:pt x="1418" y="1364"/>
                      </a:lnTo>
                      <a:lnTo>
                        <a:pt x="1414" y="1368"/>
                      </a:lnTo>
                      <a:lnTo>
                        <a:pt x="1412" y="1372"/>
                      </a:lnTo>
                      <a:lnTo>
                        <a:pt x="1412" y="1372"/>
                      </a:lnTo>
                      <a:lnTo>
                        <a:pt x="1410" y="1378"/>
                      </a:lnTo>
                      <a:lnTo>
                        <a:pt x="1408" y="1386"/>
                      </a:lnTo>
                      <a:lnTo>
                        <a:pt x="1406" y="1392"/>
                      </a:lnTo>
                      <a:lnTo>
                        <a:pt x="1406" y="1394"/>
                      </a:lnTo>
                      <a:lnTo>
                        <a:pt x="1408" y="1396"/>
                      </a:lnTo>
                      <a:lnTo>
                        <a:pt x="1408" y="1396"/>
                      </a:lnTo>
                      <a:lnTo>
                        <a:pt x="1414" y="1398"/>
                      </a:lnTo>
                      <a:lnTo>
                        <a:pt x="1420" y="1398"/>
                      </a:lnTo>
                      <a:lnTo>
                        <a:pt x="1426" y="1396"/>
                      </a:lnTo>
                      <a:lnTo>
                        <a:pt x="1432" y="1390"/>
                      </a:lnTo>
                      <a:lnTo>
                        <a:pt x="1432" y="1390"/>
                      </a:lnTo>
                      <a:lnTo>
                        <a:pt x="1440" y="1380"/>
                      </a:lnTo>
                      <a:lnTo>
                        <a:pt x="1444" y="1380"/>
                      </a:lnTo>
                      <a:lnTo>
                        <a:pt x="1448" y="1384"/>
                      </a:lnTo>
                      <a:lnTo>
                        <a:pt x="1448" y="1384"/>
                      </a:lnTo>
                      <a:lnTo>
                        <a:pt x="1452" y="1386"/>
                      </a:lnTo>
                      <a:lnTo>
                        <a:pt x="1454" y="1384"/>
                      </a:lnTo>
                      <a:lnTo>
                        <a:pt x="1454" y="1382"/>
                      </a:lnTo>
                      <a:lnTo>
                        <a:pt x="1452" y="1378"/>
                      </a:lnTo>
                      <a:lnTo>
                        <a:pt x="1452" y="1378"/>
                      </a:lnTo>
                      <a:lnTo>
                        <a:pt x="1452" y="1376"/>
                      </a:lnTo>
                      <a:lnTo>
                        <a:pt x="1452" y="1374"/>
                      </a:lnTo>
                      <a:lnTo>
                        <a:pt x="1456" y="1372"/>
                      </a:lnTo>
                      <a:lnTo>
                        <a:pt x="1462" y="1370"/>
                      </a:lnTo>
                      <a:lnTo>
                        <a:pt x="1466" y="1370"/>
                      </a:lnTo>
                      <a:lnTo>
                        <a:pt x="1468" y="1372"/>
                      </a:lnTo>
                      <a:lnTo>
                        <a:pt x="1468" y="1372"/>
                      </a:lnTo>
                      <a:lnTo>
                        <a:pt x="1472" y="1372"/>
                      </a:lnTo>
                      <a:lnTo>
                        <a:pt x="1476" y="1372"/>
                      </a:lnTo>
                      <a:lnTo>
                        <a:pt x="1484" y="1370"/>
                      </a:lnTo>
                      <a:lnTo>
                        <a:pt x="1498" y="1362"/>
                      </a:lnTo>
                      <a:lnTo>
                        <a:pt x="1498" y="1362"/>
                      </a:lnTo>
                      <a:lnTo>
                        <a:pt x="1502" y="1360"/>
                      </a:lnTo>
                      <a:lnTo>
                        <a:pt x="1502" y="1354"/>
                      </a:lnTo>
                      <a:lnTo>
                        <a:pt x="1502" y="1350"/>
                      </a:lnTo>
                      <a:lnTo>
                        <a:pt x="1502" y="1350"/>
                      </a:lnTo>
                      <a:lnTo>
                        <a:pt x="1504" y="1350"/>
                      </a:lnTo>
                      <a:lnTo>
                        <a:pt x="1504" y="1350"/>
                      </a:lnTo>
                      <a:lnTo>
                        <a:pt x="1508" y="1350"/>
                      </a:lnTo>
                      <a:lnTo>
                        <a:pt x="1510" y="1352"/>
                      </a:lnTo>
                      <a:lnTo>
                        <a:pt x="1510" y="1354"/>
                      </a:lnTo>
                      <a:lnTo>
                        <a:pt x="1512" y="1354"/>
                      </a:lnTo>
                      <a:lnTo>
                        <a:pt x="1512" y="1354"/>
                      </a:lnTo>
                      <a:lnTo>
                        <a:pt x="1520" y="1350"/>
                      </a:lnTo>
                      <a:lnTo>
                        <a:pt x="1532" y="1344"/>
                      </a:lnTo>
                      <a:lnTo>
                        <a:pt x="1558" y="1324"/>
                      </a:lnTo>
                      <a:lnTo>
                        <a:pt x="1570" y="1314"/>
                      </a:lnTo>
                      <a:lnTo>
                        <a:pt x="1580" y="1302"/>
                      </a:lnTo>
                      <a:lnTo>
                        <a:pt x="1588" y="1290"/>
                      </a:lnTo>
                      <a:lnTo>
                        <a:pt x="1592" y="1280"/>
                      </a:lnTo>
                      <a:lnTo>
                        <a:pt x="1592" y="1280"/>
                      </a:lnTo>
                      <a:lnTo>
                        <a:pt x="1600" y="1264"/>
                      </a:lnTo>
                      <a:lnTo>
                        <a:pt x="1610" y="1250"/>
                      </a:lnTo>
                      <a:lnTo>
                        <a:pt x="1622" y="1242"/>
                      </a:lnTo>
                      <a:lnTo>
                        <a:pt x="1628" y="1238"/>
                      </a:lnTo>
                      <a:lnTo>
                        <a:pt x="1634" y="1238"/>
                      </a:lnTo>
                      <a:lnTo>
                        <a:pt x="1634" y="1238"/>
                      </a:lnTo>
                      <a:lnTo>
                        <a:pt x="1642" y="1236"/>
                      </a:lnTo>
                      <a:lnTo>
                        <a:pt x="1646" y="1234"/>
                      </a:lnTo>
                      <a:lnTo>
                        <a:pt x="1648" y="1232"/>
                      </a:lnTo>
                      <a:lnTo>
                        <a:pt x="1648" y="1228"/>
                      </a:lnTo>
                      <a:lnTo>
                        <a:pt x="1646" y="1222"/>
                      </a:lnTo>
                      <a:lnTo>
                        <a:pt x="1640" y="1214"/>
                      </a:lnTo>
                      <a:lnTo>
                        <a:pt x="1632" y="1204"/>
                      </a:lnTo>
                      <a:lnTo>
                        <a:pt x="1632" y="1204"/>
                      </a:lnTo>
                      <a:lnTo>
                        <a:pt x="1626" y="1198"/>
                      </a:lnTo>
                      <a:lnTo>
                        <a:pt x="1624" y="1194"/>
                      </a:lnTo>
                      <a:lnTo>
                        <a:pt x="1636" y="1200"/>
                      </a:lnTo>
                      <a:lnTo>
                        <a:pt x="1670" y="1222"/>
                      </a:lnTo>
                      <a:lnTo>
                        <a:pt x="1670" y="1222"/>
                      </a:lnTo>
                      <a:lnTo>
                        <a:pt x="1684" y="1226"/>
                      </a:lnTo>
                      <a:lnTo>
                        <a:pt x="1694" y="1228"/>
                      </a:lnTo>
                      <a:lnTo>
                        <a:pt x="1702" y="1228"/>
                      </a:lnTo>
                      <a:lnTo>
                        <a:pt x="1710" y="1226"/>
                      </a:lnTo>
                      <a:lnTo>
                        <a:pt x="1718" y="1224"/>
                      </a:lnTo>
                      <a:lnTo>
                        <a:pt x="1724" y="1218"/>
                      </a:lnTo>
                      <a:lnTo>
                        <a:pt x="1730" y="1212"/>
                      </a:lnTo>
                      <a:lnTo>
                        <a:pt x="1730" y="1212"/>
                      </a:lnTo>
                      <a:lnTo>
                        <a:pt x="1732" y="1206"/>
                      </a:lnTo>
                      <a:lnTo>
                        <a:pt x="1734" y="1204"/>
                      </a:lnTo>
                      <a:lnTo>
                        <a:pt x="1738" y="1204"/>
                      </a:lnTo>
                      <a:lnTo>
                        <a:pt x="1742" y="1206"/>
                      </a:lnTo>
                      <a:lnTo>
                        <a:pt x="1748" y="1208"/>
                      </a:lnTo>
                      <a:lnTo>
                        <a:pt x="1756" y="1208"/>
                      </a:lnTo>
                      <a:lnTo>
                        <a:pt x="1766" y="1208"/>
                      </a:lnTo>
                      <a:lnTo>
                        <a:pt x="1782" y="1202"/>
                      </a:lnTo>
                      <a:lnTo>
                        <a:pt x="1782" y="1202"/>
                      </a:lnTo>
                      <a:lnTo>
                        <a:pt x="1800" y="1196"/>
                      </a:lnTo>
                      <a:lnTo>
                        <a:pt x="1818" y="1190"/>
                      </a:lnTo>
                      <a:lnTo>
                        <a:pt x="1856" y="1184"/>
                      </a:lnTo>
                      <a:lnTo>
                        <a:pt x="1886" y="1178"/>
                      </a:lnTo>
                      <a:lnTo>
                        <a:pt x="1898" y="1172"/>
                      </a:lnTo>
                      <a:lnTo>
                        <a:pt x="1906" y="1166"/>
                      </a:lnTo>
                      <a:lnTo>
                        <a:pt x="1906" y="1166"/>
                      </a:lnTo>
                      <a:lnTo>
                        <a:pt x="1920" y="1154"/>
                      </a:lnTo>
                      <a:lnTo>
                        <a:pt x="1934" y="1142"/>
                      </a:lnTo>
                      <a:lnTo>
                        <a:pt x="1950" y="1132"/>
                      </a:lnTo>
                      <a:lnTo>
                        <a:pt x="1960" y="1128"/>
                      </a:lnTo>
                      <a:lnTo>
                        <a:pt x="1970" y="1128"/>
                      </a:lnTo>
                      <a:lnTo>
                        <a:pt x="1970" y="1128"/>
                      </a:lnTo>
                      <a:lnTo>
                        <a:pt x="1978" y="1126"/>
                      </a:lnTo>
                      <a:lnTo>
                        <a:pt x="1982" y="1122"/>
                      </a:lnTo>
                      <a:lnTo>
                        <a:pt x="1982" y="1120"/>
                      </a:lnTo>
                      <a:lnTo>
                        <a:pt x="1982" y="1116"/>
                      </a:lnTo>
                      <a:lnTo>
                        <a:pt x="1982" y="1112"/>
                      </a:lnTo>
                      <a:lnTo>
                        <a:pt x="1982" y="1108"/>
                      </a:lnTo>
                      <a:lnTo>
                        <a:pt x="1986" y="1106"/>
                      </a:lnTo>
                      <a:lnTo>
                        <a:pt x="1994" y="1106"/>
                      </a:lnTo>
                      <a:lnTo>
                        <a:pt x="1994" y="1106"/>
                      </a:lnTo>
                      <a:lnTo>
                        <a:pt x="2008" y="1104"/>
                      </a:lnTo>
                      <a:lnTo>
                        <a:pt x="2012" y="1102"/>
                      </a:lnTo>
                      <a:lnTo>
                        <a:pt x="2012" y="1102"/>
                      </a:lnTo>
                      <a:lnTo>
                        <a:pt x="2016" y="1096"/>
                      </a:lnTo>
                      <a:lnTo>
                        <a:pt x="2022" y="1092"/>
                      </a:lnTo>
                      <a:lnTo>
                        <a:pt x="2030" y="1088"/>
                      </a:lnTo>
                      <a:lnTo>
                        <a:pt x="2030" y="1088"/>
                      </a:lnTo>
                      <a:lnTo>
                        <a:pt x="2046" y="1080"/>
                      </a:lnTo>
                      <a:lnTo>
                        <a:pt x="2046" y="1078"/>
                      </a:lnTo>
                      <a:lnTo>
                        <a:pt x="2044" y="1076"/>
                      </a:lnTo>
                      <a:lnTo>
                        <a:pt x="2028" y="1076"/>
                      </a:lnTo>
                      <a:lnTo>
                        <a:pt x="2000" y="1080"/>
                      </a:lnTo>
                      <a:lnTo>
                        <a:pt x="2000" y="1080"/>
                      </a:lnTo>
                      <a:lnTo>
                        <a:pt x="1984" y="1080"/>
                      </a:lnTo>
                      <a:lnTo>
                        <a:pt x="1970" y="1076"/>
                      </a:lnTo>
                      <a:lnTo>
                        <a:pt x="1956" y="1070"/>
                      </a:lnTo>
                      <a:lnTo>
                        <a:pt x="1944" y="1064"/>
                      </a:lnTo>
                      <a:lnTo>
                        <a:pt x="1932" y="1058"/>
                      </a:lnTo>
                      <a:lnTo>
                        <a:pt x="1920" y="1056"/>
                      </a:lnTo>
                      <a:lnTo>
                        <a:pt x="1914" y="1056"/>
                      </a:lnTo>
                      <a:lnTo>
                        <a:pt x="1906" y="1058"/>
                      </a:lnTo>
                      <a:lnTo>
                        <a:pt x="1900" y="1060"/>
                      </a:lnTo>
                      <a:lnTo>
                        <a:pt x="1892" y="1064"/>
                      </a:lnTo>
                      <a:lnTo>
                        <a:pt x="1892" y="1064"/>
                      </a:lnTo>
                      <a:lnTo>
                        <a:pt x="1884" y="1068"/>
                      </a:lnTo>
                      <a:lnTo>
                        <a:pt x="1878" y="1070"/>
                      </a:lnTo>
                      <a:lnTo>
                        <a:pt x="1866" y="1070"/>
                      </a:lnTo>
                      <a:lnTo>
                        <a:pt x="1860" y="1070"/>
                      </a:lnTo>
                      <a:lnTo>
                        <a:pt x="1854" y="1072"/>
                      </a:lnTo>
                      <a:lnTo>
                        <a:pt x="1846" y="1076"/>
                      </a:lnTo>
                      <a:lnTo>
                        <a:pt x="1838" y="1082"/>
                      </a:lnTo>
                      <a:lnTo>
                        <a:pt x="1838" y="1082"/>
                      </a:lnTo>
                      <a:lnTo>
                        <a:pt x="1834" y="1086"/>
                      </a:lnTo>
                      <a:lnTo>
                        <a:pt x="1828" y="1090"/>
                      </a:lnTo>
                      <a:lnTo>
                        <a:pt x="1824" y="1090"/>
                      </a:lnTo>
                      <a:lnTo>
                        <a:pt x="1820" y="1090"/>
                      </a:lnTo>
                      <a:lnTo>
                        <a:pt x="1818" y="1088"/>
                      </a:lnTo>
                      <a:lnTo>
                        <a:pt x="1820" y="1084"/>
                      </a:lnTo>
                      <a:lnTo>
                        <a:pt x="1824" y="1078"/>
                      </a:lnTo>
                      <a:lnTo>
                        <a:pt x="1832" y="1070"/>
                      </a:lnTo>
                      <a:lnTo>
                        <a:pt x="1832" y="1070"/>
                      </a:lnTo>
                      <a:lnTo>
                        <a:pt x="1840" y="1064"/>
                      </a:lnTo>
                      <a:lnTo>
                        <a:pt x="1848" y="1062"/>
                      </a:lnTo>
                      <a:lnTo>
                        <a:pt x="1852" y="1062"/>
                      </a:lnTo>
                      <a:lnTo>
                        <a:pt x="1856" y="1062"/>
                      </a:lnTo>
                      <a:lnTo>
                        <a:pt x="1864" y="1064"/>
                      </a:lnTo>
                      <a:lnTo>
                        <a:pt x="1866" y="1064"/>
                      </a:lnTo>
                      <a:lnTo>
                        <a:pt x="1870" y="1062"/>
                      </a:lnTo>
                      <a:lnTo>
                        <a:pt x="1870" y="1062"/>
                      </a:lnTo>
                      <a:lnTo>
                        <a:pt x="1876" y="1058"/>
                      </a:lnTo>
                      <a:lnTo>
                        <a:pt x="1878" y="1056"/>
                      </a:lnTo>
                      <a:lnTo>
                        <a:pt x="1878" y="1054"/>
                      </a:lnTo>
                      <a:lnTo>
                        <a:pt x="1874" y="1052"/>
                      </a:lnTo>
                      <a:lnTo>
                        <a:pt x="1868" y="1052"/>
                      </a:lnTo>
                      <a:lnTo>
                        <a:pt x="1844" y="1054"/>
                      </a:lnTo>
                      <a:lnTo>
                        <a:pt x="1844" y="1054"/>
                      </a:lnTo>
                      <a:lnTo>
                        <a:pt x="1816" y="1058"/>
                      </a:lnTo>
                      <a:lnTo>
                        <a:pt x="1800" y="1058"/>
                      </a:lnTo>
                      <a:lnTo>
                        <a:pt x="1798" y="1056"/>
                      </a:lnTo>
                      <a:lnTo>
                        <a:pt x="1796" y="1052"/>
                      </a:lnTo>
                      <a:lnTo>
                        <a:pt x="1798" y="1046"/>
                      </a:lnTo>
                      <a:lnTo>
                        <a:pt x="1804" y="1038"/>
                      </a:lnTo>
                      <a:lnTo>
                        <a:pt x="1804" y="1038"/>
                      </a:lnTo>
                      <a:lnTo>
                        <a:pt x="1814" y="1022"/>
                      </a:lnTo>
                      <a:lnTo>
                        <a:pt x="1818" y="1014"/>
                      </a:lnTo>
                      <a:lnTo>
                        <a:pt x="1820" y="1012"/>
                      </a:lnTo>
                      <a:lnTo>
                        <a:pt x="1822" y="1010"/>
                      </a:lnTo>
                      <a:lnTo>
                        <a:pt x="1828" y="1016"/>
                      </a:lnTo>
                      <a:lnTo>
                        <a:pt x="1828" y="1016"/>
                      </a:lnTo>
                      <a:lnTo>
                        <a:pt x="1836" y="1022"/>
                      </a:lnTo>
                      <a:lnTo>
                        <a:pt x="1840" y="1022"/>
                      </a:lnTo>
                      <a:lnTo>
                        <a:pt x="1844" y="1022"/>
                      </a:lnTo>
                      <a:lnTo>
                        <a:pt x="1882" y="1010"/>
                      </a:lnTo>
                      <a:lnTo>
                        <a:pt x="1882" y="1010"/>
                      </a:lnTo>
                      <a:lnTo>
                        <a:pt x="1896" y="1006"/>
                      </a:lnTo>
                      <a:lnTo>
                        <a:pt x="1904" y="1000"/>
                      </a:lnTo>
                      <a:lnTo>
                        <a:pt x="1908" y="996"/>
                      </a:lnTo>
                      <a:lnTo>
                        <a:pt x="1910" y="992"/>
                      </a:lnTo>
                      <a:lnTo>
                        <a:pt x="1906" y="986"/>
                      </a:lnTo>
                      <a:lnTo>
                        <a:pt x="1898" y="984"/>
                      </a:lnTo>
                      <a:lnTo>
                        <a:pt x="1888" y="980"/>
                      </a:lnTo>
                      <a:lnTo>
                        <a:pt x="1874" y="978"/>
                      </a:lnTo>
                      <a:lnTo>
                        <a:pt x="1874" y="978"/>
                      </a:lnTo>
                      <a:lnTo>
                        <a:pt x="1850" y="974"/>
                      </a:lnTo>
                      <a:lnTo>
                        <a:pt x="1844" y="972"/>
                      </a:lnTo>
                      <a:lnTo>
                        <a:pt x="1842" y="970"/>
                      </a:lnTo>
                      <a:lnTo>
                        <a:pt x="1844" y="968"/>
                      </a:lnTo>
                      <a:lnTo>
                        <a:pt x="1850" y="966"/>
                      </a:lnTo>
                      <a:lnTo>
                        <a:pt x="1870" y="966"/>
                      </a:lnTo>
                      <a:lnTo>
                        <a:pt x="1870" y="966"/>
                      </a:lnTo>
                      <a:lnTo>
                        <a:pt x="1892" y="970"/>
                      </a:lnTo>
                      <a:lnTo>
                        <a:pt x="1906" y="976"/>
                      </a:lnTo>
                      <a:lnTo>
                        <a:pt x="1918" y="980"/>
                      </a:lnTo>
                      <a:lnTo>
                        <a:pt x="1932" y="986"/>
                      </a:lnTo>
                      <a:lnTo>
                        <a:pt x="1932" y="986"/>
                      </a:lnTo>
                      <a:lnTo>
                        <a:pt x="1946" y="992"/>
                      </a:lnTo>
                      <a:lnTo>
                        <a:pt x="1954" y="998"/>
                      </a:lnTo>
                      <a:lnTo>
                        <a:pt x="1958" y="1008"/>
                      </a:lnTo>
                      <a:lnTo>
                        <a:pt x="1960" y="1022"/>
                      </a:lnTo>
                      <a:lnTo>
                        <a:pt x="1960" y="1022"/>
                      </a:lnTo>
                      <a:lnTo>
                        <a:pt x="1964" y="1030"/>
                      </a:lnTo>
                      <a:lnTo>
                        <a:pt x="1970" y="1038"/>
                      </a:lnTo>
                      <a:lnTo>
                        <a:pt x="1978" y="1044"/>
                      </a:lnTo>
                      <a:lnTo>
                        <a:pt x="1988" y="1050"/>
                      </a:lnTo>
                      <a:lnTo>
                        <a:pt x="1998" y="1052"/>
                      </a:lnTo>
                      <a:lnTo>
                        <a:pt x="2008" y="1054"/>
                      </a:lnTo>
                      <a:lnTo>
                        <a:pt x="2016" y="1054"/>
                      </a:lnTo>
                      <a:lnTo>
                        <a:pt x="2022" y="1052"/>
                      </a:lnTo>
                      <a:lnTo>
                        <a:pt x="2022" y="1052"/>
                      </a:lnTo>
                      <a:lnTo>
                        <a:pt x="2030" y="1048"/>
                      </a:lnTo>
                      <a:lnTo>
                        <a:pt x="2036" y="1050"/>
                      </a:lnTo>
                      <a:lnTo>
                        <a:pt x="2046" y="1052"/>
                      </a:lnTo>
                      <a:lnTo>
                        <a:pt x="2060" y="1056"/>
                      </a:lnTo>
                      <a:lnTo>
                        <a:pt x="2060" y="1056"/>
                      </a:lnTo>
                      <a:lnTo>
                        <a:pt x="2068" y="1054"/>
                      </a:lnTo>
                      <a:lnTo>
                        <a:pt x="2070" y="1050"/>
                      </a:lnTo>
                      <a:lnTo>
                        <a:pt x="2072" y="1042"/>
                      </a:lnTo>
                      <a:lnTo>
                        <a:pt x="2070" y="1032"/>
                      </a:lnTo>
                      <a:lnTo>
                        <a:pt x="2066" y="1008"/>
                      </a:lnTo>
                      <a:lnTo>
                        <a:pt x="2064" y="996"/>
                      </a:lnTo>
                      <a:lnTo>
                        <a:pt x="2064" y="984"/>
                      </a:lnTo>
                      <a:lnTo>
                        <a:pt x="2064" y="984"/>
                      </a:lnTo>
                      <a:lnTo>
                        <a:pt x="2062" y="976"/>
                      </a:lnTo>
                      <a:lnTo>
                        <a:pt x="2062" y="974"/>
                      </a:lnTo>
                      <a:lnTo>
                        <a:pt x="2060" y="974"/>
                      </a:lnTo>
                      <a:lnTo>
                        <a:pt x="2056" y="976"/>
                      </a:lnTo>
                      <a:lnTo>
                        <a:pt x="2050" y="980"/>
                      </a:lnTo>
                      <a:lnTo>
                        <a:pt x="2044" y="986"/>
                      </a:lnTo>
                      <a:lnTo>
                        <a:pt x="2038" y="990"/>
                      </a:lnTo>
                      <a:lnTo>
                        <a:pt x="2032" y="990"/>
                      </a:lnTo>
                      <a:lnTo>
                        <a:pt x="2030" y="988"/>
                      </a:lnTo>
                      <a:lnTo>
                        <a:pt x="2030" y="986"/>
                      </a:lnTo>
                      <a:lnTo>
                        <a:pt x="2030" y="986"/>
                      </a:lnTo>
                      <a:lnTo>
                        <a:pt x="2028" y="976"/>
                      </a:lnTo>
                      <a:lnTo>
                        <a:pt x="2028" y="974"/>
                      </a:lnTo>
                      <a:lnTo>
                        <a:pt x="2032" y="974"/>
                      </a:lnTo>
                      <a:lnTo>
                        <a:pt x="2038" y="972"/>
                      </a:lnTo>
                      <a:lnTo>
                        <a:pt x="2044" y="968"/>
                      </a:lnTo>
                      <a:lnTo>
                        <a:pt x="2050" y="962"/>
                      </a:lnTo>
                      <a:lnTo>
                        <a:pt x="2050" y="962"/>
                      </a:lnTo>
                      <a:lnTo>
                        <a:pt x="2054" y="956"/>
                      </a:lnTo>
                      <a:lnTo>
                        <a:pt x="2054" y="956"/>
                      </a:lnTo>
                      <a:lnTo>
                        <a:pt x="2054" y="954"/>
                      </a:lnTo>
                      <a:lnTo>
                        <a:pt x="2044" y="958"/>
                      </a:lnTo>
                      <a:lnTo>
                        <a:pt x="2032" y="962"/>
                      </a:lnTo>
                      <a:lnTo>
                        <a:pt x="2030" y="960"/>
                      </a:lnTo>
                      <a:lnTo>
                        <a:pt x="2030" y="956"/>
                      </a:lnTo>
                      <a:lnTo>
                        <a:pt x="2030" y="956"/>
                      </a:lnTo>
                      <a:lnTo>
                        <a:pt x="2032" y="950"/>
                      </a:lnTo>
                      <a:lnTo>
                        <a:pt x="2030" y="944"/>
                      </a:lnTo>
                      <a:lnTo>
                        <a:pt x="2026" y="940"/>
                      </a:lnTo>
                      <a:lnTo>
                        <a:pt x="2020" y="938"/>
                      </a:lnTo>
                      <a:lnTo>
                        <a:pt x="2002" y="932"/>
                      </a:lnTo>
                      <a:lnTo>
                        <a:pt x="1980" y="926"/>
                      </a:lnTo>
                      <a:lnTo>
                        <a:pt x="1980" y="926"/>
                      </a:lnTo>
                      <a:lnTo>
                        <a:pt x="1960" y="918"/>
                      </a:lnTo>
                      <a:lnTo>
                        <a:pt x="1948" y="912"/>
                      </a:lnTo>
                      <a:lnTo>
                        <a:pt x="1944" y="908"/>
                      </a:lnTo>
                      <a:lnTo>
                        <a:pt x="1944" y="904"/>
                      </a:lnTo>
                      <a:lnTo>
                        <a:pt x="1944" y="900"/>
                      </a:lnTo>
                      <a:lnTo>
                        <a:pt x="1944" y="896"/>
                      </a:lnTo>
                      <a:lnTo>
                        <a:pt x="1942" y="892"/>
                      </a:lnTo>
                      <a:lnTo>
                        <a:pt x="1934" y="886"/>
                      </a:lnTo>
                      <a:lnTo>
                        <a:pt x="1934" y="886"/>
                      </a:lnTo>
                      <a:lnTo>
                        <a:pt x="1924" y="880"/>
                      </a:lnTo>
                      <a:lnTo>
                        <a:pt x="1922" y="874"/>
                      </a:lnTo>
                      <a:lnTo>
                        <a:pt x="1922" y="870"/>
                      </a:lnTo>
                      <a:lnTo>
                        <a:pt x="1924" y="866"/>
                      </a:lnTo>
                      <a:lnTo>
                        <a:pt x="1922" y="862"/>
                      </a:lnTo>
                      <a:lnTo>
                        <a:pt x="1916" y="858"/>
                      </a:lnTo>
                      <a:lnTo>
                        <a:pt x="1902" y="852"/>
                      </a:lnTo>
                      <a:lnTo>
                        <a:pt x="1878" y="846"/>
                      </a:lnTo>
                      <a:lnTo>
                        <a:pt x="1878" y="846"/>
                      </a:lnTo>
                      <a:lnTo>
                        <a:pt x="1888" y="846"/>
                      </a:lnTo>
                      <a:lnTo>
                        <a:pt x="1896" y="844"/>
                      </a:lnTo>
                      <a:lnTo>
                        <a:pt x="1904" y="842"/>
                      </a:lnTo>
                      <a:lnTo>
                        <a:pt x="1910" y="838"/>
                      </a:lnTo>
                      <a:lnTo>
                        <a:pt x="1926" y="828"/>
                      </a:lnTo>
                      <a:lnTo>
                        <a:pt x="1948" y="818"/>
                      </a:lnTo>
                      <a:lnTo>
                        <a:pt x="1948" y="818"/>
                      </a:lnTo>
                      <a:lnTo>
                        <a:pt x="1954" y="816"/>
                      </a:lnTo>
                      <a:lnTo>
                        <a:pt x="1960" y="816"/>
                      </a:lnTo>
                      <a:lnTo>
                        <a:pt x="1974" y="818"/>
                      </a:lnTo>
                      <a:lnTo>
                        <a:pt x="1988" y="824"/>
                      </a:lnTo>
                      <a:lnTo>
                        <a:pt x="2002" y="832"/>
                      </a:lnTo>
                      <a:lnTo>
                        <a:pt x="2016" y="838"/>
                      </a:lnTo>
                      <a:lnTo>
                        <a:pt x="2030" y="842"/>
                      </a:lnTo>
                      <a:lnTo>
                        <a:pt x="2038" y="844"/>
                      </a:lnTo>
                      <a:lnTo>
                        <a:pt x="2044" y="842"/>
                      </a:lnTo>
                      <a:lnTo>
                        <a:pt x="2052" y="840"/>
                      </a:lnTo>
                      <a:lnTo>
                        <a:pt x="2058" y="836"/>
                      </a:lnTo>
                      <a:lnTo>
                        <a:pt x="2058" y="836"/>
                      </a:lnTo>
                      <a:lnTo>
                        <a:pt x="2070" y="830"/>
                      </a:lnTo>
                      <a:lnTo>
                        <a:pt x="2078" y="826"/>
                      </a:lnTo>
                      <a:lnTo>
                        <a:pt x="2086" y="826"/>
                      </a:lnTo>
                      <a:lnTo>
                        <a:pt x="2092" y="828"/>
                      </a:lnTo>
                      <a:lnTo>
                        <a:pt x="2096" y="830"/>
                      </a:lnTo>
                      <a:lnTo>
                        <a:pt x="2100" y="830"/>
                      </a:lnTo>
                      <a:lnTo>
                        <a:pt x="2106" y="826"/>
                      </a:lnTo>
                      <a:lnTo>
                        <a:pt x="2112" y="818"/>
                      </a:lnTo>
                      <a:lnTo>
                        <a:pt x="2112" y="818"/>
                      </a:lnTo>
                      <a:lnTo>
                        <a:pt x="2118" y="810"/>
                      </a:lnTo>
                      <a:lnTo>
                        <a:pt x="2118" y="806"/>
                      </a:lnTo>
                      <a:lnTo>
                        <a:pt x="2116" y="802"/>
                      </a:lnTo>
                      <a:lnTo>
                        <a:pt x="2112" y="796"/>
                      </a:lnTo>
                      <a:lnTo>
                        <a:pt x="2104" y="792"/>
                      </a:lnTo>
                      <a:lnTo>
                        <a:pt x="2092" y="790"/>
                      </a:lnTo>
                      <a:lnTo>
                        <a:pt x="2080" y="788"/>
                      </a:lnTo>
                      <a:lnTo>
                        <a:pt x="2054" y="786"/>
                      </a:lnTo>
                      <a:lnTo>
                        <a:pt x="2054" y="786"/>
                      </a:lnTo>
                      <a:lnTo>
                        <a:pt x="2044" y="786"/>
                      </a:lnTo>
                      <a:lnTo>
                        <a:pt x="2040" y="784"/>
                      </a:lnTo>
                      <a:lnTo>
                        <a:pt x="2040" y="780"/>
                      </a:lnTo>
                      <a:lnTo>
                        <a:pt x="2040" y="776"/>
                      </a:lnTo>
                      <a:lnTo>
                        <a:pt x="2046" y="768"/>
                      </a:lnTo>
                      <a:lnTo>
                        <a:pt x="2054" y="762"/>
                      </a:lnTo>
                      <a:lnTo>
                        <a:pt x="2066" y="758"/>
                      </a:lnTo>
                      <a:lnTo>
                        <a:pt x="2078" y="754"/>
                      </a:lnTo>
                      <a:lnTo>
                        <a:pt x="2092" y="752"/>
                      </a:lnTo>
                      <a:lnTo>
                        <a:pt x="2092" y="752"/>
                      </a:lnTo>
                      <a:lnTo>
                        <a:pt x="2104" y="754"/>
                      </a:lnTo>
                      <a:lnTo>
                        <a:pt x="2112" y="758"/>
                      </a:lnTo>
                      <a:lnTo>
                        <a:pt x="2122" y="766"/>
                      </a:lnTo>
                      <a:lnTo>
                        <a:pt x="2128" y="768"/>
                      </a:lnTo>
                      <a:lnTo>
                        <a:pt x="2132" y="770"/>
                      </a:lnTo>
                      <a:lnTo>
                        <a:pt x="2142" y="768"/>
                      </a:lnTo>
                      <a:lnTo>
                        <a:pt x="2152" y="766"/>
                      </a:lnTo>
                      <a:lnTo>
                        <a:pt x="2152" y="766"/>
                      </a:lnTo>
                      <a:lnTo>
                        <a:pt x="2162" y="762"/>
                      </a:lnTo>
                      <a:lnTo>
                        <a:pt x="2164" y="758"/>
                      </a:lnTo>
                      <a:lnTo>
                        <a:pt x="2166" y="754"/>
                      </a:lnTo>
                      <a:lnTo>
                        <a:pt x="2162" y="750"/>
                      </a:lnTo>
                      <a:lnTo>
                        <a:pt x="2154" y="746"/>
                      </a:lnTo>
                      <a:lnTo>
                        <a:pt x="2146" y="742"/>
                      </a:lnTo>
                      <a:lnTo>
                        <a:pt x="2134" y="740"/>
                      </a:lnTo>
                      <a:lnTo>
                        <a:pt x="2120" y="738"/>
                      </a:lnTo>
                      <a:lnTo>
                        <a:pt x="2120" y="738"/>
                      </a:lnTo>
                      <a:lnTo>
                        <a:pt x="2112" y="738"/>
                      </a:lnTo>
                      <a:lnTo>
                        <a:pt x="2108" y="736"/>
                      </a:lnTo>
                      <a:lnTo>
                        <a:pt x="2104" y="732"/>
                      </a:lnTo>
                      <a:lnTo>
                        <a:pt x="2102" y="728"/>
                      </a:lnTo>
                      <a:lnTo>
                        <a:pt x="2100" y="718"/>
                      </a:lnTo>
                      <a:lnTo>
                        <a:pt x="2102" y="708"/>
                      </a:lnTo>
                      <a:lnTo>
                        <a:pt x="2108" y="700"/>
                      </a:lnTo>
                      <a:lnTo>
                        <a:pt x="2114" y="694"/>
                      </a:lnTo>
                      <a:lnTo>
                        <a:pt x="2118" y="692"/>
                      </a:lnTo>
                      <a:lnTo>
                        <a:pt x="2122" y="692"/>
                      </a:lnTo>
                      <a:lnTo>
                        <a:pt x="2124" y="692"/>
                      </a:lnTo>
                      <a:lnTo>
                        <a:pt x="2126" y="696"/>
                      </a:lnTo>
                      <a:lnTo>
                        <a:pt x="2126" y="696"/>
                      </a:lnTo>
                      <a:lnTo>
                        <a:pt x="2132" y="700"/>
                      </a:lnTo>
                      <a:lnTo>
                        <a:pt x="2140" y="702"/>
                      </a:lnTo>
                      <a:lnTo>
                        <a:pt x="2148" y="702"/>
                      </a:lnTo>
                      <a:lnTo>
                        <a:pt x="2154" y="698"/>
                      </a:lnTo>
                      <a:lnTo>
                        <a:pt x="2158" y="692"/>
                      </a:lnTo>
                      <a:lnTo>
                        <a:pt x="2162" y="686"/>
                      </a:lnTo>
                      <a:lnTo>
                        <a:pt x="2160" y="678"/>
                      </a:lnTo>
                      <a:lnTo>
                        <a:pt x="2156" y="670"/>
                      </a:lnTo>
                      <a:lnTo>
                        <a:pt x="2156" y="670"/>
                      </a:lnTo>
                      <a:lnTo>
                        <a:pt x="2150" y="662"/>
                      </a:lnTo>
                      <a:lnTo>
                        <a:pt x="2150" y="658"/>
                      </a:lnTo>
                      <a:lnTo>
                        <a:pt x="2154" y="656"/>
                      </a:lnTo>
                      <a:lnTo>
                        <a:pt x="2156" y="656"/>
                      </a:lnTo>
                      <a:lnTo>
                        <a:pt x="2160" y="656"/>
                      </a:lnTo>
                      <a:lnTo>
                        <a:pt x="2160" y="654"/>
                      </a:lnTo>
                      <a:lnTo>
                        <a:pt x="2144" y="646"/>
                      </a:lnTo>
                      <a:lnTo>
                        <a:pt x="2144" y="646"/>
                      </a:lnTo>
                      <a:lnTo>
                        <a:pt x="2132" y="640"/>
                      </a:lnTo>
                      <a:lnTo>
                        <a:pt x="2128" y="636"/>
                      </a:lnTo>
                      <a:lnTo>
                        <a:pt x="2128" y="634"/>
                      </a:lnTo>
                      <a:lnTo>
                        <a:pt x="2130" y="632"/>
                      </a:lnTo>
                      <a:lnTo>
                        <a:pt x="2140" y="628"/>
                      </a:lnTo>
                      <a:lnTo>
                        <a:pt x="2142" y="624"/>
                      </a:lnTo>
                      <a:lnTo>
                        <a:pt x="2142" y="620"/>
                      </a:lnTo>
                      <a:lnTo>
                        <a:pt x="2142" y="620"/>
                      </a:lnTo>
                      <a:lnTo>
                        <a:pt x="2140" y="616"/>
                      </a:lnTo>
                      <a:lnTo>
                        <a:pt x="2136" y="614"/>
                      </a:lnTo>
                      <a:lnTo>
                        <a:pt x="2126" y="612"/>
                      </a:lnTo>
                      <a:lnTo>
                        <a:pt x="2098" y="612"/>
                      </a:lnTo>
                      <a:lnTo>
                        <a:pt x="2084" y="612"/>
                      </a:lnTo>
                      <a:lnTo>
                        <a:pt x="2074" y="612"/>
                      </a:lnTo>
                      <a:lnTo>
                        <a:pt x="2066" y="608"/>
                      </a:lnTo>
                      <a:lnTo>
                        <a:pt x="2064" y="606"/>
                      </a:lnTo>
                      <a:lnTo>
                        <a:pt x="2062" y="602"/>
                      </a:lnTo>
                      <a:lnTo>
                        <a:pt x="2062" y="602"/>
                      </a:lnTo>
                      <a:lnTo>
                        <a:pt x="2062" y="598"/>
                      </a:lnTo>
                      <a:lnTo>
                        <a:pt x="2060" y="594"/>
                      </a:lnTo>
                      <a:lnTo>
                        <a:pt x="2056" y="590"/>
                      </a:lnTo>
                      <a:lnTo>
                        <a:pt x="2048" y="586"/>
                      </a:lnTo>
                      <a:lnTo>
                        <a:pt x="2040" y="582"/>
                      </a:lnTo>
                      <a:lnTo>
                        <a:pt x="2032" y="580"/>
                      </a:lnTo>
                      <a:lnTo>
                        <a:pt x="2028" y="578"/>
                      </a:lnTo>
                      <a:lnTo>
                        <a:pt x="2026" y="576"/>
                      </a:lnTo>
                      <a:lnTo>
                        <a:pt x="2028" y="574"/>
                      </a:lnTo>
                      <a:lnTo>
                        <a:pt x="2032" y="568"/>
                      </a:lnTo>
                      <a:lnTo>
                        <a:pt x="2032" y="568"/>
                      </a:lnTo>
                      <a:lnTo>
                        <a:pt x="2040" y="566"/>
                      </a:lnTo>
                      <a:lnTo>
                        <a:pt x="2046" y="566"/>
                      </a:lnTo>
                      <a:lnTo>
                        <a:pt x="2050" y="570"/>
                      </a:lnTo>
                      <a:lnTo>
                        <a:pt x="2054" y="574"/>
                      </a:lnTo>
                      <a:lnTo>
                        <a:pt x="2058" y="578"/>
                      </a:lnTo>
                      <a:lnTo>
                        <a:pt x="2064" y="580"/>
                      </a:lnTo>
                      <a:lnTo>
                        <a:pt x="2072" y="580"/>
                      </a:lnTo>
                      <a:lnTo>
                        <a:pt x="2082" y="574"/>
                      </a:lnTo>
                      <a:lnTo>
                        <a:pt x="2082" y="574"/>
                      </a:lnTo>
                      <a:lnTo>
                        <a:pt x="2094" y="566"/>
                      </a:lnTo>
                      <a:lnTo>
                        <a:pt x="2106" y="562"/>
                      </a:lnTo>
                      <a:lnTo>
                        <a:pt x="2120" y="560"/>
                      </a:lnTo>
                      <a:lnTo>
                        <a:pt x="2132" y="560"/>
                      </a:lnTo>
                      <a:lnTo>
                        <a:pt x="2144" y="562"/>
                      </a:lnTo>
                      <a:lnTo>
                        <a:pt x="2156" y="564"/>
                      </a:lnTo>
                      <a:lnTo>
                        <a:pt x="2178" y="574"/>
                      </a:lnTo>
                      <a:lnTo>
                        <a:pt x="2178" y="574"/>
                      </a:lnTo>
                      <a:lnTo>
                        <a:pt x="2188" y="576"/>
                      </a:lnTo>
                      <a:lnTo>
                        <a:pt x="2196" y="574"/>
                      </a:lnTo>
                      <a:lnTo>
                        <a:pt x="2202" y="570"/>
                      </a:lnTo>
                      <a:lnTo>
                        <a:pt x="2206" y="564"/>
                      </a:lnTo>
                      <a:lnTo>
                        <a:pt x="2208" y="556"/>
                      </a:lnTo>
                      <a:lnTo>
                        <a:pt x="2206" y="546"/>
                      </a:lnTo>
                      <a:lnTo>
                        <a:pt x="2202" y="536"/>
                      </a:lnTo>
                      <a:lnTo>
                        <a:pt x="2194" y="528"/>
                      </a:lnTo>
                      <a:lnTo>
                        <a:pt x="2194" y="528"/>
                      </a:lnTo>
                      <a:lnTo>
                        <a:pt x="2186" y="522"/>
                      </a:lnTo>
                      <a:lnTo>
                        <a:pt x="2180" y="522"/>
                      </a:lnTo>
                      <a:lnTo>
                        <a:pt x="2176" y="524"/>
                      </a:lnTo>
                      <a:lnTo>
                        <a:pt x="2172" y="528"/>
                      </a:lnTo>
                      <a:lnTo>
                        <a:pt x="2166" y="532"/>
                      </a:lnTo>
                      <a:lnTo>
                        <a:pt x="2158" y="534"/>
                      </a:lnTo>
                      <a:lnTo>
                        <a:pt x="2148" y="532"/>
                      </a:lnTo>
                      <a:lnTo>
                        <a:pt x="2132" y="524"/>
                      </a:lnTo>
                      <a:lnTo>
                        <a:pt x="2132" y="524"/>
                      </a:lnTo>
                      <a:lnTo>
                        <a:pt x="2106" y="506"/>
                      </a:lnTo>
                      <a:lnTo>
                        <a:pt x="2102" y="502"/>
                      </a:lnTo>
                      <a:lnTo>
                        <a:pt x="2102" y="500"/>
                      </a:lnTo>
                      <a:lnTo>
                        <a:pt x="2102" y="498"/>
                      </a:lnTo>
                      <a:lnTo>
                        <a:pt x="2106" y="498"/>
                      </a:lnTo>
                      <a:lnTo>
                        <a:pt x="2116" y="498"/>
                      </a:lnTo>
                      <a:lnTo>
                        <a:pt x="2144" y="504"/>
                      </a:lnTo>
                      <a:lnTo>
                        <a:pt x="2144" y="504"/>
                      </a:lnTo>
                      <a:lnTo>
                        <a:pt x="2170" y="508"/>
                      </a:lnTo>
                      <a:lnTo>
                        <a:pt x="2174" y="508"/>
                      </a:lnTo>
                      <a:lnTo>
                        <a:pt x="2174" y="506"/>
                      </a:lnTo>
                      <a:lnTo>
                        <a:pt x="2168" y="502"/>
                      </a:lnTo>
                      <a:lnTo>
                        <a:pt x="2156" y="496"/>
                      </a:lnTo>
                      <a:lnTo>
                        <a:pt x="2120" y="480"/>
                      </a:lnTo>
                      <a:lnTo>
                        <a:pt x="2120" y="480"/>
                      </a:lnTo>
                      <a:lnTo>
                        <a:pt x="2100" y="474"/>
                      </a:lnTo>
                      <a:lnTo>
                        <a:pt x="2086" y="474"/>
                      </a:lnTo>
                      <a:lnTo>
                        <a:pt x="2078" y="476"/>
                      </a:lnTo>
                      <a:lnTo>
                        <a:pt x="2074" y="482"/>
                      </a:lnTo>
                      <a:lnTo>
                        <a:pt x="2070" y="494"/>
                      </a:lnTo>
                      <a:lnTo>
                        <a:pt x="2066" y="500"/>
                      </a:lnTo>
                      <a:lnTo>
                        <a:pt x="2060" y="504"/>
                      </a:lnTo>
                      <a:lnTo>
                        <a:pt x="2060" y="504"/>
                      </a:lnTo>
                      <a:lnTo>
                        <a:pt x="2056" y="504"/>
                      </a:lnTo>
                      <a:lnTo>
                        <a:pt x="2054" y="502"/>
                      </a:lnTo>
                      <a:lnTo>
                        <a:pt x="2052" y="500"/>
                      </a:lnTo>
                      <a:lnTo>
                        <a:pt x="2052" y="498"/>
                      </a:lnTo>
                      <a:lnTo>
                        <a:pt x="2054" y="490"/>
                      </a:lnTo>
                      <a:lnTo>
                        <a:pt x="2060" y="478"/>
                      </a:lnTo>
                      <a:lnTo>
                        <a:pt x="2072" y="454"/>
                      </a:lnTo>
                      <a:lnTo>
                        <a:pt x="2080" y="440"/>
                      </a:lnTo>
                      <a:lnTo>
                        <a:pt x="2086" y="426"/>
                      </a:lnTo>
                      <a:lnTo>
                        <a:pt x="2086" y="426"/>
                      </a:lnTo>
                      <a:lnTo>
                        <a:pt x="2090" y="414"/>
                      </a:lnTo>
                      <a:lnTo>
                        <a:pt x="2096" y="408"/>
                      </a:lnTo>
                      <a:lnTo>
                        <a:pt x="2104" y="404"/>
                      </a:lnTo>
                      <a:lnTo>
                        <a:pt x="2110" y="404"/>
                      </a:lnTo>
                      <a:lnTo>
                        <a:pt x="2124" y="404"/>
                      </a:lnTo>
                      <a:lnTo>
                        <a:pt x="2130" y="404"/>
                      </a:lnTo>
                      <a:lnTo>
                        <a:pt x="2134" y="402"/>
                      </a:lnTo>
                      <a:lnTo>
                        <a:pt x="2134" y="402"/>
                      </a:lnTo>
                      <a:lnTo>
                        <a:pt x="2146" y="392"/>
                      </a:lnTo>
                      <a:lnTo>
                        <a:pt x="2160" y="382"/>
                      </a:lnTo>
                      <a:lnTo>
                        <a:pt x="2166" y="376"/>
                      </a:lnTo>
                      <a:lnTo>
                        <a:pt x="2168" y="372"/>
                      </a:lnTo>
                      <a:lnTo>
                        <a:pt x="2168" y="370"/>
                      </a:lnTo>
                      <a:lnTo>
                        <a:pt x="2166" y="368"/>
                      </a:lnTo>
                      <a:lnTo>
                        <a:pt x="2160" y="366"/>
                      </a:lnTo>
                      <a:lnTo>
                        <a:pt x="2160" y="366"/>
                      </a:lnTo>
                      <a:lnTo>
                        <a:pt x="2152" y="362"/>
                      </a:lnTo>
                      <a:lnTo>
                        <a:pt x="2146" y="358"/>
                      </a:lnTo>
                      <a:lnTo>
                        <a:pt x="2144" y="354"/>
                      </a:lnTo>
                      <a:lnTo>
                        <a:pt x="2144" y="348"/>
                      </a:lnTo>
                      <a:lnTo>
                        <a:pt x="2146" y="344"/>
                      </a:lnTo>
                      <a:lnTo>
                        <a:pt x="2150" y="338"/>
                      </a:lnTo>
                      <a:lnTo>
                        <a:pt x="2158" y="336"/>
                      </a:lnTo>
                      <a:lnTo>
                        <a:pt x="2168" y="334"/>
                      </a:lnTo>
                      <a:lnTo>
                        <a:pt x="2168" y="334"/>
                      </a:lnTo>
                      <a:lnTo>
                        <a:pt x="2190" y="334"/>
                      </a:lnTo>
                      <a:lnTo>
                        <a:pt x="2204" y="330"/>
                      </a:lnTo>
                      <a:lnTo>
                        <a:pt x="2216" y="322"/>
                      </a:lnTo>
                      <a:lnTo>
                        <a:pt x="2228" y="310"/>
                      </a:lnTo>
                      <a:lnTo>
                        <a:pt x="2228" y="310"/>
                      </a:lnTo>
                      <a:lnTo>
                        <a:pt x="2230" y="306"/>
                      </a:lnTo>
                      <a:lnTo>
                        <a:pt x="2230" y="304"/>
                      </a:lnTo>
                      <a:lnTo>
                        <a:pt x="2228" y="302"/>
                      </a:lnTo>
                      <a:lnTo>
                        <a:pt x="2226" y="300"/>
                      </a:lnTo>
                      <a:lnTo>
                        <a:pt x="2214" y="300"/>
                      </a:lnTo>
                      <a:lnTo>
                        <a:pt x="2200" y="300"/>
                      </a:lnTo>
                      <a:lnTo>
                        <a:pt x="2162" y="308"/>
                      </a:lnTo>
                      <a:lnTo>
                        <a:pt x="2142" y="312"/>
                      </a:lnTo>
                      <a:lnTo>
                        <a:pt x="2124" y="318"/>
                      </a:lnTo>
                      <a:lnTo>
                        <a:pt x="2124" y="318"/>
                      </a:lnTo>
                      <a:lnTo>
                        <a:pt x="2112" y="322"/>
                      </a:lnTo>
                      <a:lnTo>
                        <a:pt x="2108" y="320"/>
                      </a:lnTo>
                      <a:lnTo>
                        <a:pt x="2106" y="320"/>
                      </a:lnTo>
                      <a:lnTo>
                        <a:pt x="2106" y="316"/>
                      </a:lnTo>
                      <a:lnTo>
                        <a:pt x="2108" y="314"/>
                      </a:lnTo>
                      <a:lnTo>
                        <a:pt x="2114" y="306"/>
                      </a:lnTo>
                      <a:lnTo>
                        <a:pt x="2124" y="298"/>
                      </a:lnTo>
                      <a:lnTo>
                        <a:pt x="2138" y="292"/>
                      </a:lnTo>
                      <a:lnTo>
                        <a:pt x="2152" y="288"/>
                      </a:lnTo>
                      <a:lnTo>
                        <a:pt x="2160" y="288"/>
                      </a:lnTo>
                      <a:lnTo>
                        <a:pt x="2168" y="288"/>
                      </a:lnTo>
                      <a:lnTo>
                        <a:pt x="2168" y="288"/>
                      </a:lnTo>
                      <a:lnTo>
                        <a:pt x="2182" y="292"/>
                      </a:lnTo>
                      <a:lnTo>
                        <a:pt x="2198" y="292"/>
                      </a:lnTo>
                      <a:lnTo>
                        <a:pt x="2214" y="292"/>
                      </a:lnTo>
                      <a:lnTo>
                        <a:pt x="2228" y="290"/>
                      </a:lnTo>
                      <a:lnTo>
                        <a:pt x="2256" y="284"/>
                      </a:lnTo>
                      <a:lnTo>
                        <a:pt x="2278" y="276"/>
                      </a:lnTo>
                      <a:lnTo>
                        <a:pt x="2278" y="276"/>
                      </a:lnTo>
                      <a:lnTo>
                        <a:pt x="2284" y="270"/>
                      </a:lnTo>
                      <a:lnTo>
                        <a:pt x="2286" y="268"/>
                      </a:lnTo>
                      <a:lnTo>
                        <a:pt x="2284" y="268"/>
                      </a:lnTo>
                      <a:lnTo>
                        <a:pt x="2280" y="264"/>
                      </a:lnTo>
                      <a:lnTo>
                        <a:pt x="2270" y="262"/>
                      </a:lnTo>
                      <a:lnTo>
                        <a:pt x="2244" y="260"/>
                      </a:lnTo>
                      <a:lnTo>
                        <a:pt x="2232" y="260"/>
                      </a:lnTo>
                      <a:lnTo>
                        <a:pt x="2220" y="262"/>
                      </a:lnTo>
                      <a:lnTo>
                        <a:pt x="2220" y="262"/>
                      </a:lnTo>
                      <a:lnTo>
                        <a:pt x="2206" y="264"/>
                      </a:lnTo>
                      <a:lnTo>
                        <a:pt x="2188" y="264"/>
                      </a:lnTo>
                      <a:lnTo>
                        <a:pt x="2154" y="262"/>
                      </a:lnTo>
                      <a:lnTo>
                        <a:pt x="2134" y="258"/>
                      </a:lnTo>
                      <a:lnTo>
                        <a:pt x="2150" y="258"/>
                      </a:lnTo>
                      <a:lnTo>
                        <a:pt x="2150" y="258"/>
                      </a:lnTo>
                      <a:lnTo>
                        <a:pt x="2168" y="260"/>
                      </a:lnTo>
                      <a:lnTo>
                        <a:pt x="2182" y="258"/>
                      </a:lnTo>
                      <a:lnTo>
                        <a:pt x="2192" y="256"/>
                      </a:lnTo>
                      <a:lnTo>
                        <a:pt x="2200" y="252"/>
                      </a:lnTo>
                      <a:lnTo>
                        <a:pt x="2214" y="248"/>
                      </a:lnTo>
                      <a:lnTo>
                        <a:pt x="2222" y="246"/>
                      </a:lnTo>
                      <a:lnTo>
                        <a:pt x="2232" y="248"/>
                      </a:lnTo>
                      <a:lnTo>
                        <a:pt x="2232" y="248"/>
                      </a:lnTo>
                      <a:lnTo>
                        <a:pt x="2244" y="250"/>
                      </a:lnTo>
                      <a:lnTo>
                        <a:pt x="2254" y="250"/>
                      </a:lnTo>
                      <a:lnTo>
                        <a:pt x="2274" y="248"/>
                      </a:lnTo>
                      <a:lnTo>
                        <a:pt x="2298" y="244"/>
                      </a:lnTo>
                      <a:lnTo>
                        <a:pt x="2330" y="242"/>
                      </a:lnTo>
                      <a:lnTo>
                        <a:pt x="2330" y="242"/>
                      </a:lnTo>
                      <a:lnTo>
                        <a:pt x="2342" y="240"/>
                      </a:lnTo>
                      <a:lnTo>
                        <a:pt x="2344" y="238"/>
                      </a:lnTo>
                      <a:lnTo>
                        <a:pt x="2344" y="238"/>
                      </a:lnTo>
                      <a:lnTo>
                        <a:pt x="2342" y="232"/>
                      </a:lnTo>
                      <a:lnTo>
                        <a:pt x="2336" y="228"/>
                      </a:lnTo>
                      <a:lnTo>
                        <a:pt x="2330" y="224"/>
                      </a:lnTo>
                      <a:lnTo>
                        <a:pt x="2328" y="220"/>
                      </a:lnTo>
                      <a:lnTo>
                        <a:pt x="2330" y="220"/>
                      </a:lnTo>
                      <a:lnTo>
                        <a:pt x="2334" y="218"/>
                      </a:lnTo>
                      <a:lnTo>
                        <a:pt x="2348" y="218"/>
                      </a:lnTo>
                      <a:lnTo>
                        <a:pt x="2348" y="218"/>
                      </a:lnTo>
                      <a:lnTo>
                        <a:pt x="2360" y="216"/>
                      </a:lnTo>
                      <a:lnTo>
                        <a:pt x="2372" y="214"/>
                      </a:lnTo>
                      <a:lnTo>
                        <a:pt x="2382" y="212"/>
                      </a:lnTo>
                      <a:lnTo>
                        <a:pt x="2392" y="206"/>
                      </a:lnTo>
                      <a:lnTo>
                        <a:pt x="2412" y="196"/>
                      </a:lnTo>
                      <a:lnTo>
                        <a:pt x="2436" y="182"/>
                      </a:lnTo>
                      <a:lnTo>
                        <a:pt x="2436" y="182"/>
                      </a:lnTo>
                      <a:lnTo>
                        <a:pt x="2440" y="180"/>
                      </a:lnTo>
                      <a:lnTo>
                        <a:pt x="2442" y="176"/>
                      </a:lnTo>
                      <a:lnTo>
                        <a:pt x="2438" y="174"/>
                      </a:lnTo>
                      <a:lnTo>
                        <a:pt x="2434" y="170"/>
                      </a:lnTo>
                      <a:lnTo>
                        <a:pt x="2414" y="164"/>
                      </a:lnTo>
                      <a:lnTo>
                        <a:pt x="2388" y="158"/>
                      </a:lnTo>
                      <a:lnTo>
                        <a:pt x="2356" y="154"/>
                      </a:lnTo>
                      <a:lnTo>
                        <a:pt x="2322" y="150"/>
                      </a:lnTo>
                      <a:lnTo>
                        <a:pt x="2292" y="148"/>
                      </a:lnTo>
                      <a:lnTo>
                        <a:pt x="2264" y="150"/>
                      </a:lnTo>
                      <a:lnTo>
                        <a:pt x="2264" y="150"/>
                      </a:lnTo>
                      <a:lnTo>
                        <a:pt x="2244" y="152"/>
                      </a:lnTo>
                      <a:lnTo>
                        <a:pt x="2230" y="158"/>
                      </a:lnTo>
                      <a:lnTo>
                        <a:pt x="2220" y="164"/>
                      </a:lnTo>
                      <a:lnTo>
                        <a:pt x="2214" y="172"/>
                      </a:lnTo>
                      <a:lnTo>
                        <a:pt x="2210" y="180"/>
                      </a:lnTo>
                      <a:lnTo>
                        <a:pt x="2204" y="184"/>
                      </a:lnTo>
                      <a:lnTo>
                        <a:pt x="2198" y="186"/>
                      </a:lnTo>
                      <a:lnTo>
                        <a:pt x="2188" y="186"/>
                      </a:lnTo>
                      <a:lnTo>
                        <a:pt x="2188" y="186"/>
                      </a:lnTo>
                      <a:lnTo>
                        <a:pt x="2176" y="184"/>
                      </a:lnTo>
                      <a:lnTo>
                        <a:pt x="2162" y="182"/>
                      </a:lnTo>
                      <a:lnTo>
                        <a:pt x="2140" y="184"/>
                      </a:lnTo>
                      <a:lnTo>
                        <a:pt x="2126" y="184"/>
                      </a:lnTo>
                      <a:lnTo>
                        <a:pt x="2126" y="182"/>
                      </a:lnTo>
                      <a:lnTo>
                        <a:pt x="2126" y="182"/>
                      </a:lnTo>
                      <a:lnTo>
                        <a:pt x="2130" y="178"/>
                      </a:lnTo>
                      <a:lnTo>
                        <a:pt x="2130" y="178"/>
                      </a:lnTo>
                      <a:lnTo>
                        <a:pt x="2134" y="172"/>
                      </a:lnTo>
                      <a:lnTo>
                        <a:pt x="2134" y="170"/>
                      </a:lnTo>
                      <a:lnTo>
                        <a:pt x="2128" y="170"/>
                      </a:lnTo>
                      <a:lnTo>
                        <a:pt x="2120" y="172"/>
                      </a:lnTo>
                      <a:lnTo>
                        <a:pt x="2108" y="176"/>
                      </a:lnTo>
                      <a:lnTo>
                        <a:pt x="2092" y="184"/>
                      </a:lnTo>
                      <a:lnTo>
                        <a:pt x="2074" y="196"/>
                      </a:lnTo>
                      <a:lnTo>
                        <a:pt x="2050" y="210"/>
                      </a:lnTo>
                      <a:lnTo>
                        <a:pt x="2050" y="210"/>
                      </a:lnTo>
                      <a:lnTo>
                        <a:pt x="2028" y="224"/>
                      </a:lnTo>
                      <a:lnTo>
                        <a:pt x="2010" y="234"/>
                      </a:lnTo>
                      <a:lnTo>
                        <a:pt x="1996" y="242"/>
                      </a:lnTo>
                      <a:lnTo>
                        <a:pt x="1986" y="244"/>
                      </a:lnTo>
                      <a:lnTo>
                        <a:pt x="1984" y="244"/>
                      </a:lnTo>
                      <a:lnTo>
                        <a:pt x="1982" y="244"/>
                      </a:lnTo>
                      <a:lnTo>
                        <a:pt x="1984" y="238"/>
                      </a:lnTo>
                      <a:lnTo>
                        <a:pt x="1992" y="228"/>
                      </a:lnTo>
                      <a:lnTo>
                        <a:pt x="2008" y="216"/>
                      </a:lnTo>
                      <a:lnTo>
                        <a:pt x="2008" y="216"/>
                      </a:lnTo>
                      <a:lnTo>
                        <a:pt x="2026" y="200"/>
                      </a:lnTo>
                      <a:lnTo>
                        <a:pt x="2040" y="186"/>
                      </a:lnTo>
                      <a:lnTo>
                        <a:pt x="2050" y="172"/>
                      </a:lnTo>
                      <a:lnTo>
                        <a:pt x="2052" y="166"/>
                      </a:lnTo>
                      <a:lnTo>
                        <a:pt x="2052" y="160"/>
                      </a:lnTo>
                      <a:lnTo>
                        <a:pt x="2052" y="156"/>
                      </a:lnTo>
                      <a:lnTo>
                        <a:pt x="2050" y="150"/>
                      </a:lnTo>
                      <a:lnTo>
                        <a:pt x="2048" y="146"/>
                      </a:lnTo>
                      <a:lnTo>
                        <a:pt x="2042" y="144"/>
                      </a:lnTo>
                      <a:lnTo>
                        <a:pt x="2036" y="140"/>
                      </a:lnTo>
                      <a:lnTo>
                        <a:pt x="2028" y="138"/>
                      </a:lnTo>
                      <a:lnTo>
                        <a:pt x="2004" y="138"/>
                      </a:lnTo>
                      <a:lnTo>
                        <a:pt x="2004" y="138"/>
                      </a:lnTo>
                      <a:lnTo>
                        <a:pt x="1984" y="138"/>
                      </a:lnTo>
                      <a:lnTo>
                        <a:pt x="1972" y="142"/>
                      </a:lnTo>
                      <a:lnTo>
                        <a:pt x="1964" y="146"/>
                      </a:lnTo>
                      <a:lnTo>
                        <a:pt x="1962" y="152"/>
                      </a:lnTo>
                      <a:lnTo>
                        <a:pt x="1960" y="156"/>
                      </a:lnTo>
                      <a:lnTo>
                        <a:pt x="1958" y="162"/>
                      </a:lnTo>
                      <a:lnTo>
                        <a:pt x="1952" y="168"/>
                      </a:lnTo>
                      <a:lnTo>
                        <a:pt x="1940" y="172"/>
                      </a:lnTo>
                      <a:lnTo>
                        <a:pt x="1940" y="172"/>
                      </a:lnTo>
                      <a:lnTo>
                        <a:pt x="1910" y="178"/>
                      </a:lnTo>
                      <a:lnTo>
                        <a:pt x="1886" y="182"/>
                      </a:lnTo>
                      <a:lnTo>
                        <a:pt x="1878" y="182"/>
                      </a:lnTo>
                      <a:lnTo>
                        <a:pt x="1876" y="180"/>
                      </a:lnTo>
                      <a:lnTo>
                        <a:pt x="1880" y="176"/>
                      </a:lnTo>
                      <a:lnTo>
                        <a:pt x="1890" y="172"/>
                      </a:lnTo>
                      <a:lnTo>
                        <a:pt x="1890" y="172"/>
                      </a:lnTo>
                      <a:lnTo>
                        <a:pt x="1916" y="160"/>
                      </a:lnTo>
                      <a:lnTo>
                        <a:pt x="1922" y="154"/>
                      </a:lnTo>
                      <a:lnTo>
                        <a:pt x="1924" y="152"/>
                      </a:lnTo>
                      <a:lnTo>
                        <a:pt x="1924" y="150"/>
                      </a:lnTo>
                      <a:lnTo>
                        <a:pt x="1924" y="148"/>
                      </a:lnTo>
                      <a:lnTo>
                        <a:pt x="1920" y="148"/>
                      </a:lnTo>
                      <a:lnTo>
                        <a:pt x="1906" y="144"/>
                      </a:lnTo>
                      <a:lnTo>
                        <a:pt x="1884" y="142"/>
                      </a:lnTo>
                      <a:lnTo>
                        <a:pt x="1852" y="140"/>
                      </a:lnTo>
                      <a:lnTo>
                        <a:pt x="1852" y="140"/>
                      </a:lnTo>
                      <a:lnTo>
                        <a:pt x="1812" y="142"/>
                      </a:lnTo>
                      <a:lnTo>
                        <a:pt x="1770" y="146"/>
                      </a:lnTo>
                      <a:lnTo>
                        <a:pt x="1730" y="152"/>
                      </a:lnTo>
                      <a:lnTo>
                        <a:pt x="1694" y="160"/>
                      </a:lnTo>
                      <a:lnTo>
                        <a:pt x="1636" y="172"/>
                      </a:lnTo>
                      <a:lnTo>
                        <a:pt x="1616" y="174"/>
                      </a:lnTo>
                      <a:lnTo>
                        <a:pt x="1610" y="174"/>
                      </a:lnTo>
                      <a:lnTo>
                        <a:pt x="1608" y="174"/>
                      </a:lnTo>
                      <a:lnTo>
                        <a:pt x="1608" y="174"/>
                      </a:lnTo>
                      <a:lnTo>
                        <a:pt x="1604" y="170"/>
                      </a:lnTo>
                      <a:lnTo>
                        <a:pt x="1602" y="168"/>
                      </a:lnTo>
                      <a:lnTo>
                        <a:pt x="1604" y="164"/>
                      </a:lnTo>
                      <a:lnTo>
                        <a:pt x="1606" y="162"/>
                      </a:lnTo>
                      <a:lnTo>
                        <a:pt x="1618" y="156"/>
                      </a:lnTo>
                      <a:lnTo>
                        <a:pt x="1636" y="152"/>
                      </a:lnTo>
                      <a:lnTo>
                        <a:pt x="1686" y="142"/>
                      </a:lnTo>
                      <a:lnTo>
                        <a:pt x="1744" y="134"/>
                      </a:lnTo>
                      <a:lnTo>
                        <a:pt x="1744" y="134"/>
                      </a:lnTo>
                      <a:lnTo>
                        <a:pt x="1772" y="130"/>
                      </a:lnTo>
                      <a:lnTo>
                        <a:pt x="1802" y="130"/>
                      </a:lnTo>
                      <a:lnTo>
                        <a:pt x="1864" y="130"/>
                      </a:lnTo>
                      <a:lnTo>
                        <a:pt x="1926" y="130"/>
                      </a:lnTo>
                      <a:lnTo>
                        <a:pt x="1956" y="128"/>
                      </a:lnTo>
                      <a:lnTo>
                        <a:pt x="1984" y="124"/>
                      </a:lnTo>
                      <a:lnTo>
                        <a:pt x="1984" y="124"/>
                      </a:lnTo>
                      <a:lnTo>
                        <a:pt x="2020" y="114"/>
                      </a:lnTo>
                      <a:lnTo>
                        <a:pt x="2054" y="104"/>
                      </a:lnTo>
                      <a:lnTo>
                        <a:pt x="2066" y="98"/>
                      </a:lnTo>
                      <a:lnTo>
                        <a:pt x="2072" y="92"/>
                      </a:lnTo>
                      <a:lnTo>
                        <a:pt x="2072" y="90"/>
                      </a:lnTo>
                      <a:lnTo>
                        <a:pt x="2070" y="88"/>
                      </a:lnTo>
                      <a:lnTo>
                        <a:pt x="2062" y="84"/>
                      </a:lnTo>
                      <a:lnTo>
                        <a:pt x="2062" y="84"/>
                      </a:lnTo>
                      <a:lnTo>
                        <a:pt x="2034" y="78"/>
                      </a:lnTo>
                      <a:lnTo>
                        <a:pt x="2004" y="72"/>
                      </a:lnTo>
                      <a:lnTo>
                        <a:pt x="1988" y="70"/>
                      </a:lnTo>
                      <a:lnTo>
                        <a:pt x="1970" y="68"/>
                      </a:lnTo>
                      <a:lnTo>
                        <a:pt x="1952" y="70"/>
                      </a:lnTo>
                      <a:lnTo>
                        <a:pt x="1932" y="72"/>
                      </a:lnTo>
                      <a:lnTo>
                        <a:pt x="1932" y="72"/>
                      </a:lnTo>
                      <a:lnTo>
                        <a:pt x="1914" y="76"/>
                      </a:lnTo>
                      <a:lnTo>
                        <a:pt x="1916" y="74"/>
                      </a:lnTo>
                      <a:lnTo>
                        <a:pt x="1922" y="70"/>
                      </a:lnTo>
                      <a:lnTo>
                        <a:pt x="1930" y="64"/>
                      </a:lnTo>
                      <a:lnTo>
                        <a:pt x="1936" y="58"/>
                      </a:lnTo>
                      <a:lnTo>
                        <a:pt x="1938" y="56"/>
                      </a:lnTo>
                      <a:lnTo>
                        <a:pt x="1938" y="52"/>
                      </a:lnTo>
                      <a:lnTo>
                        <a:pt x="1936" y="50"/>
                      </a:lnTo>
                      <a:lnTo>
                        <a:pt x="1932" y="46"/>
                      </a:lnTo>
                      <a:lnTo>
                        <a:pt x="1932" y="46"/>
                      </a:lnTo>
                      <a:lnTo>
                        <a:pt x="1922" y="42"/>
                      </a:lnTo>
                      <a:lnTo>
                        <a:pt x="1912" y="42"/>
                      </a:lnTo>
                      <a:lnTo>
                        <a:pt x="1898" y="42"/>
                      </a:lnTo>
                      <a:lnTo>
                        <a:pt x="1884" y="46"/>
                      </a:lnTo>
                      <a:lnTo>
                        <a:pt x="1866" y="48"/>
                      </a:lnTo>
                      <a:lnTo>
                        <a:pt x="1846" y="50"/>
                      </a:lnTo>
                      <a:lnTo>
                        <a:pt x="1822" y="52"/>
                      </a:lnTo>
                      <a:lnTo>
                        <a:pt x="1794" y="50"/>
                      </a:lnTo>
                      <a:lnTo>
                        <a:pt x="1794" y="50"/>
                      </a:lnTo>
                      <a:lnTo>
                        <a:pt x="1766" y="48"/>
                      </a:lnTo>
                      <a:lnTo>
                        <a:pt x="1744" y="48"/>
                      </a:lnTo>
                      <a:lnTo>
                        <a:pt x="1724" y="52"/>
                      </a:lnTo>
                      <a:lnTo>
                        <a:pt x="1708" y="54"/>
                      </a:lnTo>
                      <a:lnTo>
                        <a:pt x="1678" y="60"/>
                      </a:lnTo>
                      <a:lnTo>
                        <a:pt x="1660" y="60"/>
                      </a:lnTo>
                      <a:lnTo>
                        <a:pt x="1638" y="60"/>
                      </a:lnTo>
                      <a:lnTo>
                        <a:pt x="1638" y="60"/>
                      </a:lnTo>
                      <a:lnTo>
                        <a:pt x="1622" y="58"/>
                      </a:lnTo>
                      <a:lnTo>
                        <a:pt x="1616" y="56"/>
                      </a:lnTo>
                      <a:lnTo>
                        <a:pt x="1618" y="54"/>
                      </a:lnTo>
                      <a:lnTo>
                        <a:pt x="1628" y="52"/>
                      </a:lnTo>
                      <a:lnTo>
                        <a:pt x="1692" y="46"/>
                      </a:lnTo>
                      <a:lnTo>
                        <a:pt x="1692" y="46"/>
                      </a:lnTo>
                      <a:lnTo>
                        <a:pt x="1734" y="44"/>
                      </a:lnTo>
                      <a:lnTo>
                        <a:pt x="1794" y="42"/>
                      </a:lnTo>
                      <a:lnTo>
                        <a:pt x="1852" y="38"/>
                      </a:lnTo>
                      <a:lnTo>
                        <a:pt x="1894" y="34"/>
                      </a:lnTo>
                      <a:lnTo>
                        <a:pt x="1894" y="34"/>
                      </a:lnTo>
                      <a:lnTo>
                        <a:pt x="1900" y="32"/>
                      </a:lnTo>
                      <a:lnTo>
                        <a:pt x="1902" y="32"/>
                      </a:lnTo>
                      <a:lnTo>
                        <a:pt x="1902" y="30"/>
                      </a:lnTo>
                      <a:lnTo>
                        <a:pt x="1898" y="28"/>
                      </a:lnTo>
                      <a:lnTo>
                        <a:pt x="1882" y="24"/>
                      </a:lnTo>
                      <a:lnTo>
                        <a:pt x="1858" y="20"/>
                      </a:lnTo>
                      <a:lnTo>
                        <a:pt x="1798" y="12"/>
                      </a:lnTo>
                      <a:lnTo>
                        <a:pt x="1732" y="6"/>
                      </a:lnTo>
                      <a:lnTo>
                        <a:pt x="1732" y="6"/>
                      </a:lnTo>
                      <a:lnTo>
                        <a:pt x="1686" y="2"/>
                      </a:lnTo>
                      <a:lnTo>
                        <a:pt x="1648" y="0"/>
                      </a:lnTo>
                      <a:lnTo>
                        <a:pt x="1618" y="2"/>
                      </a:lnTo>
                      <a:lnTo>
                        <a:pt x="1594" y="2"/>
                      </a:lnTo>
                      <a:lnTo>
                        <a:pt x="1552" y="6"/>
                      </a:lnTo>
                      <a:lnTo>
                        <a:pt x="1528" y="8"/>
                      </a:lnTo>
                      <a:lnTo>
                        <a:pt x="1504" y="6"/>
                      </a:lnTo>
                      <a:lnTo>
                        <a:pt x="1504" y="6"/>
                      </a:lnTo>
                      <a:lnTo>
                        <a:pt x="1480" y="6"/>
                      </a:lnTo>
                      <a:lnTo>
                        <a:pt x="1466" y="8"/>
                      </a:lnTo>
                      <a:lnTo>
                        <a:pt x="1460" y="10"/>
                      </a:lnTo>
                      <a:lnTo>
                        <a:pt x="1458" y="14"/>
                      </a:lnTo>
                      <a:lnTo>
                        <a:pt x="1458" y="16"/>
                      </a:lnTo>
                      <a:lnTo>
                        <a:pt x="1458" y="18"/>
                      </a:lnTo>
                      <a:lnTo>
                        <a:pt x="1452" y="18"/>
                      </a:lnTo>
                      <a:lnTo>
                        <a:pt x="1442" y="16"/>
                      </a:lnTo>
                      <a:lnTo>
                        <a:pt x="1442" y="16"/>
                      </a:lnTo>
                      <a:lnTo>
                        <a:pt x="1420" y="12"/>
                      </a:lnTo>
                      <a:lnTo>
                        <a:pt x="1410" y="14"/>
                      </a:lnTo>
                      <a:lnTo>
                        <a:pt x="1400" y="16"/>
                      </a:lnTo>
                      <a:lnTo>
                        <a:pt x="1384" y="18"/>
                      </a:lnTo>
                      <a:lnTo>
                        <a:pt x="1384" y="18"/>
                      </a:lnTo>
                      <a:lnTo>
                        <a:pt x="1374" y="18"/>
                      </a:lnTo>
                      <a:lnTo>
                        <a:pt x="1368" y="20"/>
                      </a:lnTo>
                      <a:lnTo>
                        <a:pt x="1366" y="24"/>
                      </a:lnTo>
                      <a:lnTo>
                        <a:pt x="1366" y="28"/>
                      </a:lnTo>
                      <a:lnTo>
                        <a:pt x="1370" y="32"/>
                      </a:lnTo>
                      <a:lnTo>
                        <a:pt x="1378" y="36"/>
                      </a:lnTo>
                      <a:lnTo>
                        <a:pt x="1388" y="40"/>
                      </a:lnTo>
                      <a:lnTo>
                        <a:pt x="1402" y="44"/>
                      </a:lnTo>
                      <a:lnTo>
                        <a:pt x="1402" y="44"/>
                      </a:lnTo>
                      <a:lnTo>
                        <a:pt x="1412" y="46"/>
                      </a:lnTo>
                      <a:lnTo>
                        <a:pt x="1416" y="46"/>
                      </a:lnTo>
                      <a:lnTo>
                        <a:pt x="1412" y="48"/>
                      </a:lnTo>
                      <a:lnTo>
                        <a:pt x="1406" y="50"/>
                      </a:lnTo>
                      <a:lnTo>
                        <a:pt x="1386" y="52"/>
                      </a:lnTo>
                      <a:lnTo>
                        <a:pt x="1378" y="54"/>
                      </a:lnTo>
                      <a:lnTo>
                        <a:pt x="1372" y="56"/>
                      </a:lnTo>
                      <a:lnTo>
                        <a:pt x="1372" y="56"/>
                      </a:lnTo>
                      <a:lnTo>
                        <a:pt x="1356" y="62"/>
                      </a:lnTo>
                      <a:lnTo>
                        <a:pt x="1332" y="64"/>
                      </a:lnTo>
                      <a:lnTo>
                        <a:pt x="1318" y="66"/>
                      </a:lnTo>
                      <a:lnTo>
                        <a:pt x="1304" y="64"/>
                      </a:lnTo>
                      <a:lnTo>
                        <a:pt x="1290" y="62"/>
                      </a:lnTo>
                      <a:lnTo>
                        <a:pt x="1278" y="56"/>
                      </a:lnTo>
                      <a:lnTo>
                        <a:pt x="1278" y="56"/>
                      </a:lnTo>
                      <a:lnTo>
                        <a:pt x="1254" y="46"/>
                      </a:lnTo>
                      <a:lnTo>
                        <a:pt x="1242" y="42"/>
                      </a:lnTo>
                      <a:lnTo>
                        <a:pt x="1228" y="38"/>
                      </a:lnTo>
                      <a:lnTo>
                        <a:pt x="1212" y="36"/>
                      </a:lnTo>
                      <a:lnTo>
                        <a:pt x="1194" y="34"/>
                      </a:lnTo>
                      <a:lnTo>
                        <a:pt x="1176" y="36"/>
                      </a:lnTo>
                      <a:lnTo>
                        <a:pt x="1154" y="38"/>
                      </a:lnTo>
                      <a:lnTo>
                        <a:pt x="1154" y="38"/>
                      </a:lnTo>
                      <a:lnTo>
                        <a:pt x="1114" y="44"/>
                      </a:lnTo>
                      <a:lnTo>
                        <a:pt x="1078" y="48"/>
                      </a:lnTo>
                      <a:lnTo>
                        <a:pt x="1064" y="50"/>
                      </a:lnTo>
                      <a:lnTo>
                        <a:pt x="1054" y="54"/>
                      </a:lnTo>
                      <a:lnTo>
                        <a:pt x="1048" y="56"/>
                      </a:lnTo>
                      <a:lnTo>
                        <a:pt x="1048" y="58"/>
                      </a:lnTo>
                      <a:lnTo>
                        <a:pt x="1048" y="60"/>
                      </a:lnTo>
                      <a:lnTo>
                        <a:pt x="1048" y="60"/>
                      </a:lnTo>
                      <a:lnTo>
                        <a:pt x="1054" y="64"/>
                      </a:lnTo>
                      <a:lnTo>
                        <a:pt x="1062" y="66"/>
                      </a:lnTo>
                      <a:lnTo>
                        <a:pt x="1092" y="68"/>
                      </a:lnTo>
                      <a:lnTo>
                        <a:pt x="1128" y="66"/>
                      </a:lnTo>
                      <a:lnTo>
                        <a:pt x="1170" y="66"/>
                      </a:lnTo>
                      <a:lnTo>
                        <a:pt x="1170" y="66"/>
                      </a:lnTo>
                      <a:lnTo>
                        <a:pt x="1208" y="68"/>
                      </a:lnTo>
                      <a:lnTo>
                        <a:pt x="1246" y="72"/>
                      </a:lnTo>
                      <a:lnTo>
                        <a:pt x="1280" y="76"/>
                      </a:lnTo>
                      <a:lnTo>
                        <a:pt x="1314" y="82"/>
                      </a:lnTo>
                      <a:lnTo>
                        <a:pt x="1314" y="82"/>
                      </a:lnTo>
                      <a:lnTo>
                        <a:pt x="1326" y="86"/>
                      </a:lnTo>
                      <a:lnTo>
                        <a:pt x="1332" y="88"/>
                      </a:lnTo>
                      <a:lnTo>
                        <a:pt x="1332" y="90"/>
                      </a:lnTo>
                      <a:lnTo>
                        <a:pt x="1332" y="90"/>
                      </a:lnTo>
                      <a:lnTo>
                        <a:pt x="1326" y="92"/>
                      </a:lnTo>
                      <a:lnTo>
                        <a:pt x="1308" y="92"/>
                      </a:lnTo>
                      <a:lnTo>
                        <a:pt x="1294" y="90"/>
                      </a:lnTo>
                      <a:lnTo>
                        <a:pt x="1282" y="88"/>
                      </a:lnTo>
                      <a:lnTo>
                        <a:pt x="1282" y="88"/>
                      </a:lnTo>
                      <a:lnTo>
                        <a:pt x="1268" y="84"/>
                      </a:lnTo>
                      <a:lnTo>
                        <a:pt x="1252" y="82"/>
                      </a:lnTo>
                      <a:lnTo>
                        <a:pt x="1214" y="78"/>
                      </a:lnTo>
                      <a:lnTo>
                        <a:pt x="1110" y="74"/>
                      </a:lnTo>
                      <a:lnTo>
                        <a:pt x="1110" y="74"/>
                      </a:lnTo>
                      <a:lnTo>
                        <a:pt x="1092" y="76"/>
                      </a:lnTo>
                      <a:lnTo>
                        <a:pt x="1090" y="76"/>
                      </a:lnTo>
                      <a:lnTo>
                        <a:pt x="1092" y="78"/>
                      </a:lnTo>
                      <a:lnTo>
                        <a:pt x="1106" y="84"/>
                      </a:lnTo>
                      <a:lnTo>
                        <a:pt x="1126" y="92"/>
                      </a:lnTo>
                      <a:lnTo>
                        <a:pt x="1148" y="100"/>
                      </a:lnTo>
                      <a:lnTo>
                        <a:pt x="1164" y="108"/>
                      </a:lnTo>
                      <a:lnTo>
                        <a:pt x="1168" y="110"/>
                      </a:lnTo>
                      <a:lnTo>
                        <a:pt x="1168" y="114"/>
                      </a:lnTo>
                      <a:lnTo>
                        <a:pt x="1164" y="116"/>
                      </a:lnTo>
                      <a:lnTo>
                        <a:pt x="1154" y="116"/>
                      </a:lnTo>
                      <a:lnTo>
                        <a:pt x="1154" y="116"/>
                      </a:lnTo>
                      <a:lnTo>
                        <a:pt x="1146" y="118"/>
                      </a:lnTo>
                      <a:lnTo>
                        <a:pt x="1142" y="120"/>
                      </a:lnTo>
                      <a:lnTo>
                        <a:pt x="1138" y="122"/>
                      </a:lnTo>
                      <a:lnTo>
                        <a:pt x="1138" y="126"/>
                      </a:lnTo>
                      <a:lnTo>
                        <a:pt x="1136" y="132"/>
                      </a:lnTo>
                      <a:lnTo>
                        <a:pt x="1138" y="140"/>
                      </a:lnTo>
                      <a:lnTo>
                        <a:pt x="1142" y="148"/>
                      </a:lnTo>
                      <a:lnTo>
                        <a:pt x="1142" y="156"/>
                      </a:lnTo>
                      <a:lnTo>
                        <a:pt x="1142" y="158"/>
                      </a:lnTo>
                      <a:lnTo>
                        <a:pt x="1140" y="160"/>
                      </a:lnTo>
                      <a:lnTo>
                        <a:pt x="1136" y="162"/>
                      </a:lnTo>
                      <a:lnTo>
                        <a:pt x="1132" y="164"/>
                      </a:lnTo>
                      <a:lnTo>
                        <a:pt x="1132" y="164"/>
                      </a:lnTo>
                      <a:lnTo>
                        <a:pt x="1122" y="164"/>
                      </a:lnTo>
                      <a:lnTo>
                        <a:pt x="1114" y="162"/>
                      </a:lnTo>
                      <a:lnTo>
                        <a:pt x="1108" y="158"/>
                      </a:lnTo>
                      <a:lnTo>
                        <a:pt x="1102" y="152"/>
                      </a:lnTo>
                      <a:lnTo>
                        <a:pt x="1094" y="146"/>
                      </a:lnTo>
                      <a:lnTo>
                        <a:pt x="1084" y="142"/>
                      </a:lnTo>
                      <a:lnTo>
                        <a:pt x="1070" y="136"/>
                      </a:lnTo>
                      <a:lnTo>
                        <a:pt x="1052" y="132"/>
                      </a:lnTo>
                      <a:lnTo>
                        <a:pt x="1052" y="132"/>
                      </a:lnTo>
                      <a:lnTo>
                        <a:pt x="1034" y="128"/>
                      </a:lnTo>
                      <a:lnTo>
                        <a:pt x="1016" y="124"/>
                      </a:lnTo>
                      <a:lnTo>
                        <a:pt x="986" y="114"/>
                      </a:lnTo>
                      <a:lnTo>
                        <a:pt x="954" y="104"/>
                      </a:lnTo>
                      <a:lnTo>
                        <a:pt x="936" y="100"/>
                      </a:lnTo>
                      <a:lnTo>
                        <a:pt x="916" y="98"/>
                      </a:lnTo>
                      <a:lnTo>
                        <a:pt x="916" y="98"/>
                      </a:lnTo>
                      <a:lnTo>
                        <a:pt x="896" y="98"/>
                      </a:lnTo>
                      <a:lnTo>
                        <a:pt x="884" y="100"/>
                      </a:lnTo>
                      <a:lnTo>
                        <a:pt x="876" y="102"/>
                      </a:lnTo>
                      <a:lnTo>
                        <a:pt x="874" y="104"/>
                      </a:lnTo>
                      <a:lnTo>
                        <a:pt x="874" y="106"/>
                      </a:lnTo>
                      <a:lnTo>
                        <a:pt x="876" y="112"/>
                      </a:lnTo>
                      <a:lnTo>
                        <a:pt x="884" y="118"/>
                      </a:lnTo>
                      <a:lnTo>
                        <a:pt x="914" y="138"/>
                      </a:lnTo>
                      <a:lnTo>
                        <a:pt x="914" y="138"/>
                      </a:lnTo>
                      <a:lnTo>
                        <a:pt x="926" y="146"/>
                      </a:lnTo>
                      <a:lnTo>
                        <a:pt x="928" y="148"/>
                      </a:lnTo>
                      <a:lnTo>
                        <a:pt x="928" y="150"/>
                      </a:lnTo>
                      <a:lnTo>
                        <a:pt x="922" y="150"/>
                      </a:lnTo>
                      <a:lnTo>
                        <a:pt x="912" y="148"/>
                      </a:lnTo>
                      <a:lnTo>
                        <a:pt x="900" y="148"/>
                      </a:lnTo>
                      <a:lnTo>
                        <a:pt x="888" y="148"/>
                      </a:lnTo>
                      <a:lnTo>
                        <a:pt x="884" y="148"/>
                      </a:lnTo>
                      <a:lnTo>
                        <a:pt x="882" y="150"/>
                      </a:lnTo>
                      <a:lnTo>
                        <a:pt x="882" y="154"/>
                      </a:lnTo>
                      <a:lnTo>
                        <a:pt x="884" y="158"/>
                      </a:lnTo>
                      <a:lnTo>
                        <a:pt x="884" y="158"/>
                      </a:lnTo>
                      <a:lnTo>
                        <a:pt x="886" y="160"/>
                      </a:lnTo>
                      <a:lnTo>
                        <a:pt x="886" y="162"/>
                      </a:lnTo>
                      <a:lnTo>
                        <a:pt x="878" y="160"/>
                      </a:lnTo>
                      <a:lnTo>
                        <a:pt x="866" y="156"/>
                      </a:lnTo>
                      <a:lnTo>
                        <a:pt x="850" y="150"/>
                      </a:lnTo>
                      <a:lnTo>
                        <a:pt x="834" y="148"/>
                      </a:lnTo>
                      <a:lnTo>
                        <a:pt x="824" y="148"/>
                      </a:lnTo>
                      <a:lnTo>
                        <a:pt x="814" y="148"/>
                      </a:lnTo>
                      <a:lnTo>
                        <a:pt x="806" y="152"/>
                      </a:lnTo>
                      <a:lnTo>
                        <a:pt x="796" y="156"/>
                      </a:lnTo>
                      <a:lnTo>
                        <a:pt x="788" y="164"/>
                      </a:lnTo>
                      <a:lnTo>
                        <a:pt x="782" y="172"/>
                      </a:lnTo>
                      <a:lnTo>
                        <a:pt x="782" y="172"/>
                      </a:lnTo>
                      <a:lnTo>
                        <a:pt x="770" y="190"/>
                      </a:lnTo>
                      <a:lnTo>
                        <a:pt x="772" y="180"/>
                      </a:lnTo>
                      <a:lnTo>
                        <a:pt x="776" y="168"/>
                      </a:lnTo>
                      <a:lnTo>
                        <a:pt x="776" y="154"/>
                      </a:lnTo>
                      <a:lnTo>
                        <a:pt x="774" y="138"/>
                      </a:lnTo>
                      <a:lnTo>
                        <a:pt x="772" y="132"/>
                      </a:lnTo>
                      <a:lnTo>
                        <a:pt x="766" y="124"/>
                      </a:lnTo>
                      <a:lnTo>
                        <a:pt x="766" y="124"/>
                      </a:lnTo>
                      <a:lnTo>
                        <a:pt x="756" y="114"/>
                      </a:lnTo>
                      <a:lnTo>
                        <a:pt x="746" y="108"/>
                      </a:lnTo>
                      <a:lnTo>
                        <a:pt x="732" y="108"/>
                      </a:lnTo>
                      <a:lnTo>
                        <a:pt x="716" y="110"/>
                      </a:lnTo>
                      <a:lnTo>
                        <a:pt x="672" y="120"/>
                      </a:lnTo>
                      <a:lnTo>
                        <a:pt x="640" y="126"/>
                      </a:lnTo>
                      <a:lnTo>
                        <a:pt x="598" y="130"/>
                      </a:lnTo>
                      <a:lnTo>
                        <a:pt x="598" y="130"/>
                      </a:lnTo>
                      <a:lnTo>
                        <a:pt x="558" y="136"/>
                      </a:lnTo>
                      <a:lnTo>
                        <a:pt x="526" y="140"/>
                      </a:lnTo>
                      <a:lnTo>
                        <a:pt x="502" y="146"/>
                      </a:lnTo>
                      <a:lnTo>
                        <a:pt x="484" y="152"/>
                      </a:lnTo>
                      <a:lnTo>
                        <a:pt x="472" y="156"/>
                      </a:lnTo>
                      <a:lnTo>
                        <a:pt x="466" y="164"/>
                      </a:lnTo>
                      <a:lnTo>
                        <a:pt x="466" y="166"/>
                      </a:lnTo>
                      <a:lnTo>
                        <a:pt x="466" y="170"/>
                      </a:lnTo>
                      <a:lnTo>
                        <a:pt x="470" y="176"/>
                      </a:lnTo>
                      <a:lnTo>
                        <a:pt x="470" y="17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da-DK" b="1"/>
                </a:p>
              </p:txBody>
            </p:sp>
          </p:grpSp>
          <p:sp>
            <p:nvSpPr>
              <p:cNvPr id="1755" name="Freeform 6134">
                <a:extLst>
                  <a:ext uri="{FF2B5EF4-FFF2-40B4-BE49-F238E27FC236}">
                    <a16:creationId xmlns:a16="http://schemas.microsoft.com/office/drawing/2014/main" id="{0E1FC435-6DD2-469B-A75C-B448C5B99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9028" y="3600798"/>
                <a:ext cx="3810" cy="5079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8"/>
                  </a:cxn>
                </a:cxnLst>
                <a:rect l="0" t="0" r="r" b="b"/>
                <a:pathLst>
                  <a:path w="6" h="8">
                    <a:moveTo>
                      <a:pt x="2" y="8"/>
                    </a:moveTo>
                    <a:lnTo>
                      <a:pt x="2" y="8"/>
                    </a:lnTo>
                    <a:lnTo>
                      <a:pt x="4" y="8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56" name="Freeform 6135">
                <a:extLst>
                  <a:ext uri="{FF2B5EF4-FFF2-40B4-BE49-F238E27FC236}">
                    <a16:creationId xmlns:a16="http://schemas.microsoft.com/office/drawing/2014/main" id="{6B7155C4-102D-43F8-82D1-0650564C48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396" y="3592522"/>
                <a:ext cx="1587" cy="1587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0" y="4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67" name="Freeform 6136">
                <a:extLst>
                  <a:ext uri="{FF2B5EF4-FFF2-40B4-BE49-F238E27FC236}">
                    <a16:creationId xmlns:a16="http://schemas.microsoft.com/office/drawing/2014/main" id="{18B921CC-33FA-45B7-A14C-63529FA901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2678" y="3591909"/>
                <a:ext cx="3810" cy="5079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6" y="2"/>
                  </a:cxn>
                </a:cxnLst>
                <a:rect l="0" t="0" r="r" b="b"/>
                <a:pathLst>
                  <a:path w="6" h="8">
                    <a:moveTo>
                      <a:pt x="6" y="2"/>
                    </a:moveTo>
                    <a:lnTo>
                      <a:pt x="6" y="2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68" name="Freeform 6138">
                <a:extLst>
                  <a:ext uri="{FF2B5EF4-FFF2-40B4-BE49-F238E27FC236}">
                    <a16:creationId xmlns:a16="http://schemas.microsoft.com/office/drawing/2014/main" id="{9B1AED03-3835-4D1F-915C-29BB93DD86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3948" y="3604608"/>
                <a:ext cx="2540" cy="381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69" name="Freeform 6144">
                <a:extLst>
                  <a:ext uri="{FF2B5EF4-FFF2-40B4-BE49-F238E27FC236}">
                    <a16:creationId xmlns:a16="http://schemas.microsoft.com/office/drawing/2014/main" id="{B2613932-6F5F-46AE-8237-26E31C2E73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0139" y="3583020"/>
                <a:ext cx="5080" cy="3810"/>
              </a:xfrm>
              <a:custGeom>
                <a:avLst/>
                <a:gdLst/>
                <a:ahLst/>
                <a:cxnLst>
                  <a:cxn ang="0">
                    <a:pos x="8" y="2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8" y="2"/>
                  </a:cxn>
                  <a:cxn ang="0">
                    <a:pos x="8" y="2"/>
                  </a:cxn>
                </a:cxnLst>
                <a:rect l="0" t="0" r="r" b="b"/>
                <a:pathLst>
                  <a:path w="8" h="6">
                    <a:moveTo>
                      <a:pt x="8" y="2"/>
                    </a:moveTo>
                    <a:lnTo>
                      <a:pt x="8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8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70" name="Freeform 6149">
                <a:extLst>
                  <a:ext uri="{FF2B5EF4-FFF2-40B4-BE49-F238E27FC236}">
                    <a16:creationId xmlns:a16="http://schemas.microsoft.com/office/drawing/2014/main" id="{F9CA7468-210C-4093-A013-88BF06A14D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3758" y="3592522"/>
                <a:ext cx="3175" cy="1587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0" y="4"/>
                  </a:cxn>
                  <a:cxn ang="0">
                    <a:pos x="0" y="4"/>
                  </a:cxn>
                </a:cxnLst>
                <a:rect l="0" t="0" r="r" b="b"/>
                <a:pathLst>
                  <a:path w="6" h="4">
                    <a:moveTo>
                      <a:pt x="0" y="4"/>
                    </a:moveTo>
                    <a:lnTo>
                      <a:pt x="0" y="4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1771" name="Freeform 6150">
                <a:extLst>
                  <a:ext uri="{FF2B5EF4-FFF2-40B4-BE49-F238E27FC236}">
                    <a16:creationId xmlns:a16="http://schemas.microsoft.com/office/drawing/2014/main" id="{21879B47-17C9-4B28-864B-D5E4ADA8D6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6329" y="3600798"/>
                <a:ext cx="3810" cy="254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17593EE-C391-4524-9B02-6900D250291B}"/>
                </a:ext>
              </a:extLst>
            </p:cNvPr>
            <p:cNvGrpSpPr/>
            <p:nvPr/>
          </p:nvGrpSpPr>
          <p:grpSpPr>
            <a:xfrm>
              <a:off x="7004151" y="1986191"/>
              <a:ext cx="418315" cy="418315"/>
              <a:chOff x="7004151" y="1986191"/>
              <a:chExt cx="418315" cy="418315"/>
            </a:xfrm>
          </p:grpSpPr>
          <p:sp>
            <p:nvSpPr>
              <p:cNvPr id="1817" name="Oval 1816">
                <a:extLst>
                  <a:ext uri="{FF2B5EF4-FFF2-40B4-BE49-F238E27FC236}">
                    <a16:creationId xmlns:a16="http://schemas.microsoft.com/office/drawing/2014/main" id="{76DF65FC-21D3-413F-9C11-45AB2979C102}"/>
                  </a:ext>
                </a:extLst>
              </p:cNvPr>
              <p:cNvSpPr/>
              <p:nvPr/>
            </p:nvSpPr>
            <p:spPr>
              <a:xfrm>
                <a:off x="7004151" y="1986191"/>
                <a:ext cx="418315" cy="418315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819" name="Group 1818">
                <a:extLst>
                  <a:ext uri="{FF2B5EF4-FFF2-40B4-BE49-F238E27FC236}">
                    <a16:creationId xmlns:a16="http://schemas.microsoft.com/office/drawing/2014/main" id="{A7189F22-D88C-415D-926A-945F50A3A06F}"/>
                  </a:ext>
                </a:extLst>
              </p:cNvPr>
              <p:cNvGrpSpPr/>
              <p:nvPr/>
            </p:nvGrpSpPr>
            <p:grpSpPr>
              <a:xfrm>
                <a:off x="7133466" y="2106634"/>
                <a:ext cx="159685" cy="177428"/>
                <a:chOff x="4356100" y="769938"/>
                <a:chExt cx="257175" cy="285750"/>
              </a:xfrm>
              <a:solidFill>
                <a:schemeClr val="bg1"/>
              </a:solidFill>
            </p:grpSpPr>
            <p:sp>
              <p:nvSpPr>
                <p:cNvPr id="1820" name="Freeform 43">
                  <a:extLst>
                    <a:ext uri="{FF2B5EF4-FFF2-40B4-BE49-F238E27FC236}">
                      <a16:creationId xmlns:a16="http://schemas.microsoft.com/office/drawing/2014/main" id="{E9B5B368-29A6-4130-AD20-FBBC52349B7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356100" y="769938"/>
                  <a:ext cx="257175" cy="190500"/>
                </a:xfrm>
                <a:custGeom>
                  <a:avLst/>
                  <a:gdLst>
                    <a:gd name="T0" fmla="*/ 174 w 808"/>
                    <a:gd name="T1" fmla="*/ 565 h 598"/>
                    <a:gd name="T2" fmla="*/ 110 w 808"/>
                    <a:gd name="T3" fmla="*/ 537 h 598"/>
                    <a:gd name="T4" fmla="*/ 61 w 808"/>
                    <a:gd name="T5" fmla="*/ 488 h 598"/>
                    <a:gd name="T6" fmla="*/ 33 w 808"/>
                    <a:gd name="T7" fmla="*/ 423 h 598"/>
                    <a:gd name="T8" fmla="*/ 33 w 808"/>
                    <a:gd name="T9" fmla="*/ 356 h 598"/>
                    <a:gd name="T10" fmla="*/ 59 w 808"/>
                    <a:gd name="T11" fmla="*/ 295 h 598"/>
                    <a:gd name="T12" fmla="*/ 104 w 808"/>
                    <a:gd name="T13" fmla="*/ 247 h 598"/>
                    <a:gd name="T14" fmla="*/ 163 w 808"/>
                    <a:gd name="T15" fmla="*/ 216 h 598"/>
                    <a:gd name="T16" fmla="*/ 205 w 808"/>
                    <a:gd name="T17" fmla="*/ 205 h 598"/>
                    <a:gd name="T18" fmla="*/ 212 w 808"/>
                    <a:gd name="T19" fmla="*/ 177 h 598"/>
                    <a:gd name="T20" fmla="*/ 232 w 808"/>
                    <a:gd name="T21" fmla="*/ 127 h 598"/>
                    <a:gd name="T22" fmla="*/ 282 w 808"/>
                    <a:gd name="T23" fmla="*/ 74 h 598"/>
                    <a:gd name="T24" fmla="*/ 348 w 808"/>
                    <a:gd name="T25" fmla="*/ 41 h 598"/>
                    <a:gd name="T26" fmla="*/ 418 w 808"/>
                    <a:gd name="T27" fmla="*/ 29 h 598"/>
                    <a:gd name="T28" fmla="*/ 478 w 808"/>
                    <a:gd name="T29" fmla="*/ 41 h 598"/>
                    <a:gd name="T30" fmla="*/ 530 w 808"/>
                    <a:gd name="T31" fmla="*/ 73 h 598"/>
                    <a:gd name="T32" fmla="*/ 572 w 808"/>
                    <a:gd name="T33" fmla="*/ 118 h 598"/>
                    <a:gd name="T34" fmla="*/ 599 w 808"/>
                    <a:gd name="T35" fmla="*/ 170 h 598"/>
                    <a:gd name="T36" fmla="*/ 615 w 808"/>
                    <a:gd name="T37" fmla="*/ 179 h 598"/>
                    <a:gd name="T38" fmla="*/ 674 w 808"/>
                    <a:gd name="T39" fmla="*/ 186 h 598"/>
                    <a:gd name="T40" fmla="*/ 707 w 808"/>
                    <a:gd name="T41" fmla="*/ 208 h 598"/>
                    <a:gd name="T42" fmla="*/ 724 w 808"/>
                    <a:gd name="T43" fmla="*/ 235 h 598"/>
                    <a:gd name="T44" fmla="*/ 726 w 808"/>
                    <a:gd name="T45" fmla="*/ 272 h 598"/>
                    <a:gd name="T46" fmla="*/ 719 w 808"/>
                    <a:gd name="T47" fmla="*/ 303 h 598"/>
                    <a:gd name="T48" fmla="*/ 736 w 808"/>
                    <a:gd name="T49" fmla="*/ 322 h 598"/>
                    <a:gd name="T50" fmla="*/ 763 w 808"/>
                    <a:gd name="T51" fmla="*/ 361 h 598"/>
                    <a:gd name="T52" fmla="*/ 778 w 808"/>
                    <a:gd name="T53" fmla="*/ 433 h 598"/>
                    <a:gd name="T54" fmla="*/ 767 w 808"/>
                    <a:gd name="T55" fmla="*/ 485 h 598"/>
                    <a:gd name="T56" fmla="*/ 739 w 808"/>
                    <a:gd name="T57" fmla="*/ 528 h 598"/>
                    <a:gd name="T58" fmla="*/ 695 w 808"/>
                    <a:gd name="T59" fmla="*/ 557 h 598"/>
                    <a:gd name="T60" fmla="*/ 642 w 808"/>
                    <a:gd name="T61" fmla="*/ 568 h 598"/>
                    <a:gd name="T62" fmla="*/ 758 w 808"/>
                    <a:gd name="T63" fmla="*/ 257 h 598"/>
                    <a:gd name="T64" fmla="*/ 747 w 808"/>
                    <a:gd name="T65" fmla="*/ 211 h 598"/>
                    <a:gd name="T66" fmla="*/ 726 w 808"/>
                    <a:gd name="T67" fmla="*/ 183 h 598"/>
                    <a:gd name="T68" fmla="*/ 699 w 808"/>
                    <a:gd name="T69" fmla="*/ 164 h 598"/>
                    <a:gd name="T70" fmla="*/ 641 w 808"/>
                    <a:gd name="T71" fmla="*/ 149 h 598"/>
                    <a:gd name="T72" fmla="*/ 600 w 808"/>
                    <a:gd name="T73" fmla="*/ 108 h 598"/>
                    <a:gd name="T74" fmla="*/ 558 w 808"/>
                    <a:gd name="T75" fmla="*/ 57 h 598"/>
                    <a:gd name="T76" fmla="*/ 502 w 808"/>
                    <a:gd name="T77" fmla="*/ 20 h 598"/>
                    <a:gd name="T78" fmla="*/ 437 w 808"/>
                    <a:gd name="T79" fmla="*/ 1 h 598"/>
                    <a:gd name="T80" fmla="*/ 349 w 808"/>
                    <a:gd name="T81" fmla="*/ 8 h 598"/>
                    <a:gd name="T82" fmla="*/ 271 w 808"/>
                    <a:gd name="T83" fmla="*/ 44 h 598"/>
                    <a:gd name="T84" fmla="*/ 215 w 808"/>
                    <a:gd name="T85" fmla="*/ 99 h 598"/>
                    <a:gd name="T86" fmla="*/ 184 w 808"/>
                    <a:gd name="T87" fmla="*/ 163 h 598"/>
                    <a:gd name="T88" fmla="*/ 127 w 808"/>
                    <a:gd name="T89" fmla="*/ 198 h 598"/>
                    <a:gd name="T90" fmla="*/ 66 w 808"/>
                    <a:gd name="T91" fmla="*/ 240 h 598"/>
                    <a:gd name="T92" fmla="*/ 21 w 808"/>
                    <a:gd name="T93" fmla="*/ 300 h 598"/>
                    <a:gd name="T94" fmla="*/ 1 w 808"/>
                    <a:gd name="T95" fmla="*/ 370 h 598"/>
                    <a:gd name="T96" fmla="*/ 2 w 808"/>
                    <a:gd name="T97" fmla="*/ 419 h 598"/>
                    <a:gd name="T98" fmla="*/ 25 w 808"/>
                    <a:gd name="T99" fmla="*/ 487 h 598"/>
                    <a:gd name="T100" fmla="*/ 78 w 808"/>
                    <a:gd name="T101" fmla="*/ 549 h 598"/>
                    <a:gd name="T102" fmla="*/ 149 w 808"/>
                    <a:gd name="T103" fmla="*/ 588 h 598"/>
                    <a:gd name="T104" fmla="*/ 199 w 808"/>
                    <a:gd name="T105" fmla="*/ 598 h 598"/>
                    <a:gd name="T106" fmla="*/ 675 w 808"/>
                    <a:gd name="T107" fmla="*/ 595 h 598"/>
                    <a:gd name="T108" fmla="*/ 734 w 808"/>
                    <a:gd name="T109" fmla="*/ 570 h 598"/>
                    <a:gd name="T110" fmla="*/ 779 w 808"/>
                    <a:gd name="T111" fmla="*/ 525 h 598"/>
                    <a:gd name="T112" fmla="*/ 805 w 808"/>
                    <a:gd name="T113" fmla="*/ 466 h 598"/>
                    <a:gd name="T114" fmla="*/ 805 w 808"/>
                    <a:gd name="T115" fmla="*/ 398 h 598"/>
                    <a:gd name="T116" fmla="*/ 788 w 808"/>
                    <a:gd name="T117" fmla="*/ 342 h 598"/>
                    <a:gd name="T118" fmla="*/ 765 w 808"/>
                    <a:gd name="T119" fmla="*/ 308 h 5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08" h="598">
                      <a:moveTo>
                        <a:pt x="642" y="568"/>
                      </a:moveTo>
                      <a:lnTo>
                        <a:pt x="210" y="568"/>
                      </a:lnTo>
                      <a:lnTo>
                        <a:pt x="191" y="567"/>
                      </a:lnTo>
                      <a:lnTo>
                        <a:pt x="174" y="565"/>
                      </a:lnTo>
                      <a:lnTo>
                        <a:pt x="157" y="559"/>
                      </a:lnTo>
                      <a:lnTo>
                        <a:pt x="141" y="554"/>
                      </a:lnTo>
                      <a:lnTo>
                        <a:pt x="125" y="545"/>
                      </a:lnTo>
                      <a:lnTo>
                        <a:pt x="110" y="537"/>
                      </a:lnTo>
                      <a:lnTo>
                        <a:pt x="96" y="526"/>
                      </a:lnTo>
                      <a:lnTo>
                        <a:pt x="83" y="514"/>
                      </a:lnTo>
                      <a:lnTo>
                        <a:pt x="72" y="502"/>
                      </a:lnTo>
                      <a:lnTo>
                        <a:pt x="61" y="488"/>
                      </a:lnTo>
                      <a:lnTo>
                        <a:pt x="52" y="473"/>
                      </a:lnTo>
                      <a:lnTo>
                        <a:pt x="45" y="457"/>
                      </a:lnTo>
                      <a:lnTo>
                        <a:pt x="38" y="441"/>
                      </a:lnTo>
                      <a:lnTo>
                        <a:pt x="33" y="423"/>
                      </a:lnTo>
                      <a:lnTo>
                        <a:pt x="31" y="406"/>
                      </a:lnTo>
                      <a:lnTo>
                        <a:pt x="30" y="388"/>
                      </a:lnTo>
                      <a:lnTo>
                        <a:pt x="31" y="372"/>
                      </a:lnTo>
                      <a:lnTo>
                        <a:pt x="33" y="356"/>
                      </a:lnTo>
                      <a:lnTo>
                        <a:pt x="37" y="340"/>
                      </a:lnTo>
                      <a:lnTo>
                        <a:pt x="43" y="325"/>
                      </a:lnTo>
                      <a:lnTo>
                        <a:pt x="50" y="310"/>
                      </a:lnTo>
                      <a:lnTo>
                        <a:pt x="59" y="295"/>
                      </a:lnTo>
                      <a:lnTo>
                        <a:pt x="68" y="282"/>
                      </a:lnTo>
                      <a:lnTo>
                        <a:pt x="79" y="269"/>
                      </a:lnTo>
                      <a:lnTo>
                        <a:pt x="91" y="257"/>
                      </a:lnTo>
                      <a:lnTo>
                        <a:pt x="104" y="247"/>
                      </a:lnTo>
                      <a:lnTo>
                        <a:pt x="118" y="237"/>
                      </a:lnTo>
                      <a:lnTo>
                        <a:pt x="131" y="229"/>
                      </a:lnTo>
                      <a:lnTo>
                        <a:pt x="146" y="221"/>
                      </a:lnTo>
                      <a:lnTo>
                        <a:pt x="163" y="216"/>
                      </a:lnTo>
                      <a:lnTo>
                        <a:pt x="179" y="211"/>
                      </a:lnTo>
                      <a:lnTo>
                        <a:pt x="196" y="209"/>
                      </a:lnTo>
                      <a:lnTo>
                        <a:pt x="201" y="208"/>
                      </a:lnTo>
                      <a:lnTo>
                        <a:pt x="205" y="205"/>
                      </a:lnTo>
                      <a:lnTo>
                        <a:pt x="208" y="201"/>
                      </a:lnTo>
                      <a:lnTo>
                        <a:pt x="209" y="195"/>
                      </a:lnTo>
                      <a:lnTo>
                        <a:pt x="211" y="186"/>
                      </a:lnTo>
                      <a:lnTo>
                        <a:pt x="212" y="177"/>
                      </a:lnTo>
                      <a:lnTo>
                        <a:pt x="214" y="168"/>
                      </a:lnTo>
                      <a:lnTo>
                        <a:pt x="217" y="159"/>
                      </a:lnTo>
                      <a:lnTo>
                        <a:pt x="224" y="142"/>
                      </a:lnTo>
                      <a:lnTo>
                        <a:pt x="232" y="127"/>
                      </a:lnTo>
                      <a:lnTo>
                        <a:pt x="243" y="112"/>
                      </a:lnTo>
                      <a:lnTo>
                        <a:pt x="255" y="98"/>
                      </a:lnTo>
                      <a:lnTo>
                        <a:pt x="267" y="85"/>
                      </a:lnTo>
                      <a:lnTo>
                        <a:pt x="282" y="74"/>
                      </a:lnTo>
                      <a:lnTo>
                        <a:pt x="297" y="64"/>
                      </a:lnTo>
                      <a:lnTo>
                        <a:pt x="313" y="55"/>
                      </a:lnTo>
                      <a:lnTo>
                        <a:pt x="331" y="48"/>
                      </a:lnTo>
                      <a:lnTo>
                        <a:pt x="348" y="41"/>
                      </a:lnTo>
                      <a:lnTo>
                        <a:pt x="365" y="36"/>
                      </a:lnTo>
                      <a:lnTo>
                        <a:pt x="383" y="33"/>
                      </a:lnTo>
                      <a:lnTo>
                        <a:pt x="401" y="31"/>
                      </a:lnTo>
                      <a:lnTo>
                        <a:pt x="418" y="29"/>
                      </a:lnTo>
                      <a:lnTo>
                        <a:pt x="434" y="31"/>
                      </a:lnTo>
                      <a:lnTo>
                        <a:pt x="449" y="33"/>
                      </a:lnTo>
                      <a:lnTo>
                        <a:pt x="464" y="36"/>
                      </a:lnTo>
                      <a:lnTo>
                        <a:pt x="478" y="41"/>
                      </a:lnTo>
                      <a:lnTo>
                        <a:pt x="492" y="48"/>
                      </a:lnTo>
                      <a:lnTo>
                        <a:pt x="505" y="55"/>
                      </a:lnTo>
                      <a:lnTo>
                        <a:pt x="518" y="64"/>
                      </a:lnTo>
                      <a:lnTo>
                        <a:pt x="530" y="73"/>
                      </a:lnTo>
                      <a:lnTo>
                        <a:pt x="542" y="84"/>
                      </a:lnTo>
                      <a:lnTo>
                        <a:pt x="552" y="95"/>
                      </a:lnTo>
                      <a:lnTo>
                        <a:pt x="562" y="107"/>
                      </a:lnTo>
                      <a:lnTo>
                        <a:pt x="572" y="118"/>
                      </a:lnTo>
                      <a:lnTo>
                        <a:pt x="580" y="131"/>
                      </a:lnTo>
                      <a:lnTo>
                        <a:pt x="588" y="144"/>
                      </a:lnTo>
                      <a:lnTo>
                        <a:pt x="594" y="157"/>
                      </a:lnTo>
                      <a:lnTo>
                        <a:pt x="599" y="170"/>
                      </a:lnTo>
                      <a:lnTo>
                        <a:pt x="601" y="174"/>
                      </a:lnTo>
                      <a:lnTo>
                        <a:pt x="606" y="177"/>
                      </a:lnTo>
                      <a:lnTo>
                        <a:pt x="610" y="179"/>
                      </a:lnTo>
                      <a:lnTo>
                        <a:pt x="615" y="179"/>
                      </a:lnTo>
                      <a:lnTo>
                        <a:pt x="630" y="178"/>
                      </a:lnTo>
                      <a:lnTo>
                        <a:pt x="646" y="179"/>
                      </a:lnTo>
                      <a:lnTo>
                        <a:pt x="660" y="181"/>
                      </a:lnTo>
                      <a:lnTo>
                        <a:pt x="674" y="186"/>
                      </a:lnTo>
                      <a:lnTo>
                        <a:pt x="687" y="192"/>
                      </a:lnTo>
                      <a:lnTo>
                        <a:pt x="698" y="200"/>
                      </a:lnTo>
                      <a:lnTo>
                        <a:pt x="703" y="203"/>
                      </a:lnTo>
                      <a:lnTo>
                        <a:pt x="707" y="208"/>
                      </a:lnTo>
                      <a:lnTo>
                        <a:pt x="712" y="213"/>
                      </a:lnTo>
                      <a:lnTo>
                        <a:pt x="716" y="218"/>
                      </a:lnTo>
                      <a:lnTo>
                        <a:pt x="720" y="226"/>
                      </a:lnTo>
                      <a:lnTo>
                        <a:pt x="724" y="235"/>
                      </a:lnTo>
                      <a:lnTo>
                        <a:pt x="727" y="244"/>
                      </a:lnTo>
                      <a:lnTo>
                        <a:pt x="728" y="253"/>
                      </a:lnTo>
                      <a:lnTo>
                        <a:pt x="727" y="263"/>
                      </a:lnTo>
                      <a:lnTo>
                        <a:pt x="726" y="272"/>
                      </a:lnTo>
                      <a:lnTo>
                        <a:pt x="724" y="282"/>
                      </a:lnTo>
                      <a:lnTo>
                        <a:pt x="719" y="293"/>
                      </a:lnTo>
                      <a:lnTo>
                        <a:pt x="718" y="298"/>
                      </a:lnTo>
                      <a:lnTo>
                        <a:pt x="719" y="303"/>
                      </a:lnTo>
                      <a:lnTo>
                        <a:pt x="721" y="308"/>
                      </a:lnTo>
                      <a:lnTo>
                        <a:pt x="725" y="312"/>
                      </a:lnTo>
                      <a:lnTo>
                        <a:pt x="731" y="316"/>
                      </a:lnTo>
                      <a:lnTo>
                        <a:pt x="736" y="322"/>
                      </a:lnTo>
                      <a:lnTo>
                        <a:pt x="742" y="327"/>
                      </a:lnTo>
                      <a:lnTo>
                        <a:pt x="747" y="332"/>
                      </a:lnTo>
                      <a:lnTo>
                        <a:pt x="756" y="346"/>
                      </a:lnTo>
                      <a:lnTo>
                        <a:pt x="763" y="361"/>
                      </a:lnTo>
                      <a:lnTo>
                        <a:pt x="770" y="377"/>
                      </a:lnTo>
                      <a:lnTo>
                        <a:pt x="774" y="396"/>
                      </a:lnTo>
                      <a:lnTo>
                        <a:pt x="777" y="414"/>
                      </a:lnTo>
                      <a:lnTo>
                        <a:pt x="778" y="433"/>
                      </a:lnTo>
                      <a:lnTo>
                        <a:pt x="777" y="447"/>
                      </a:lnTo>
                      <a:lnTo>
                        <a:pt x="775" y="461"/>
                      </a:lnTo>
                      <a:lnTo>
                        <a:pt x="772" y="474"/>
                      </a:lnTo>
                      <a:lnTo>
                        <a:pt x="767" y="485"/>
                      </a:lnTo>
                      <a:lnTo>
                        <a:pt x="762" y="498"/>
                      </a:lnTo>
                      <a:lnTo>
                        <a:pt x="755" y="509"/>
                      </a:lnTo>
                      <a:lnTo>
                        <a:pt x="747" y="520"/>
                      </a:lnTo>
                      <a:lnTo>
                        <a:pt x="739" y="528"/>
                      </a:lnTo>
                      <a:lnTo>
                        <a:pt x="729" y="538"/>
                      </a:lnTo>
                      <a:lnTo>
                        <a:pt x="718" y="545"/>
                      </a:lnTo>
                      <a:lnTo>
                        <a:pt x="706" y="552"/>
                      </a:lnTo>
                      <a:lnTo>
                        <a:pt x="695" y="557"/>
                      </a:lnTo>
                      <a:lnTo>
                        <a:pt x="683" y="563"/>
                      </a:lnTo>
                      <a:lnTo>
                        <a:pt x="669" y="566"/>
                      </a:lnTo>
                      <a:lnTo>
                        <a:pt x="656" y="568"/>
                      </a:lnTo>
                      <a:lnTo>
                        <a:pt x="642" y="568"/>
                      </a:lnTo>
                      <a:close/>
                      <a:moveTo>
                        <a:pt x="751" y="294"/>
                      </a:moveTo>
                      <a:lnTo>
                        <a:pt x="755" y="282"/>
                      </a:lnTo>
                      <a:lnTo>
                        <a:pt x="757" y="269"/>
                      </a:lnTo>
                      <a:lnTo>
                        <a:pt x="758" y="257"/>
                      </a:lnTo>
                      <a:lnTo>
                        <a:pt x="757" y="246"/>
                      </a:lnTo>
                      <a:lnTo>
                        <a:pt x="755" y="234"/>
                      </a:lnTo>
                      <a:lnTo>
                        <a:pt x="751" y="222"/>
                      </a:lnTo>
                      <a:lnTo>
                        <a:pt x="747" y="211"/>
                      </a:lnTo>
                      <a:lnTo>
                        <a:pt x="741" y="202"/>
                      </a:lnTo>
                      <a:lnTo>
                        <a:pt x="736" y="195"/>
                      </a:lnTo>
                      <a:lnTo>
                        <a:pt x="731" y="189"/>
                      </a:lnTo>
                      <a:lnTo>
                        <a:pt x="726" y="183"/>
                      </a:lnTo>
                      <a:lnTo>
                        <a:pt x="719" y="177"/>
                      </a:lnTo>
                      <a:lnTo>
                        <a:pt x="713" y="173"/>
                      </a:lnTo>
                      <a:lnTo>
                        <a:pt x="706" y="169"/>
                      </a:lnTo>
                      <a:lnTo>
                        <a:pt x="699" y="164"/>
                      </a:lnTo>
                      <a:lnTo>
                        <a:pt x="691" y="161"/>
                      </a:lnTo>
                      <a:lnTo>
                        <a:pt x="676" y="155"/>
                      </a:lnTo>
                      <a:lnTo>
                        <a:pt x="659" y="150"/>
                      </a:lnTo>
                      <a:lnTo>
                        <a:pt x="641" y="149"/>
                      </a:lnTo>
                      <a:lnTo>
                        <a:pt x="623" y="149"/>
                      </a:lnTo>
                      <a:lnTo>
                        <a:pt x="616" y="135"/>
                      </a:lnTo>
                      <a:lnTo>
                        <a:pt x="609" y="122"/>
                      </a:lnTo>
                      <a:lnTo>
                        <a:pt x="600" y="108"/>
                      </a:lnTo>
                      <a:lnTo>
                        <a:pt x="591" y="95"/>
                      </a:lnTo>
                      <a:lnTo>
                        <a:pt x="581" y="82"/>
                      </a:lnTo>
                      <a:lnTo>
                        <a:pt x="569" y="69"/>
                      </a:lnTo>
                      <a:lnTo>
                        <a:pt x="558" y="57"/>
                      </a:lnTo>
                      <a:lnTo>
                        <a:pt x="545" y="47"/>
                      </a:lnTo>
                      <a:lnTo>
                        <a:pt x="532" y="37"/>
                      </a:lnTo>
                      <a:lnTo>
                        <a:pt x="517" y="27"/>
                      </a:lnTo>
                      <a:lnTo>
                        <a:pt x="502" y="20"/>
                      </a:lnTo>
                      <a:lnTo>
                        <a:pt x="487" y="12"/>
                      </a:lnTo>
                      <a:lnTo>
                        <a:pt x="471" y="7"/>
                      </a:lnTo>
                      <a:lnTo>
                        <a:pt x="454" y="3"/>
                      </a:lnTo>
                      <a:lnTo>
                        <a:pt x="437" y="1"/>
                      </a:lnTo>
                      <a:lnTo>
                        <a:pt x="418" y="0"/>
                      </a:lnTo>
                      <a:lnTo>
                        <a:pt x="394" y="1"/>
                      </a:lnTo>
                      <a:lnTo>
                        <a:pt x="371" y="4"/>
                      </a:lnTo>
                      <a:lnTo>
                        <a:pt x="349" y="8"/>
                      </a:lnTo>
                      <a:lnTo>
                        <a:pt x="327" y="16"/>
                      </a:lnTo>
                      <a:lnTo>
                        <a:pt x="307" y="23"/>
                      </a:lnTo>
                      <a:lnTo>
                        <a:pt x="289" y="33"/>
                      </a:lnTo>
                      <a:lnTo>
                        <a:pt x="271" y="44"/>
                      </a:lnTo>
                      <a:lnTo>
                        <a:pt x="255" y="56"/>
                      </a:lnTo>
                      <a:lnTo>
                        <a:pt x="241" y="69"/>
                      </a:lnTo>
                      <a:lnTo>
                        <a:pt x="227" y="84"/>
                      </a:lnTo>
                      <a:lnTo>
                        <a:pt x="215" y="99"/>
                      </a:lnTo>
                      <a:lnTo>
                        <a:pt x="205" y="114"/>
                      </a:lnTo>
                      <a:lnTo>
                        <a:pt x="197" y="130"/>
                      </a:lnTo>
                      <a:lnTo>
                        <a:pt x="189" y="147"/>
                      </a:lnTo>
                      <a:lnTo>
                        <a:pt x="184" y="163"/>
                      </a:lnTo>
                      <a:lnTo>
                        <a:pt x="181" y="180"/>
                      </a:lnTo>
                      <a:lnTo>
                        <a:pt x="163" y="185"/>
                      </a:lnTo>
                      <a:lnTo>
                        <a:pt x="144" y="190"/>
                      </a:lnTo>
                      <a:lnTo>
                        <a:pt x="127" y="198"/>
                      </a:lnTo>
                      <a:lnTo>
                        <a:pt x="110" y="206"/>
                      </a:lnTo>
                      <a:lnTo>
                        <a:pt x="95" y="216"/>
                      </a:lnTo>
                      <a:lnTo>
                        <a:pt x="80" y="227"/>
                      </a:lnTo>
                      <a:lnTo>
                        <a:pt x="66" y="240"/>
                      </a:lnTo>
                      <a:lnTo>
                        <a:pt x="53" y="253"/>
                      </a:lnTo>
                      <a:lnTo>
                        <a:pt x="42" y="268"/>
                      </a:lnTo>
                      <a:lnTo>
                        <a:pt x="31" y="283"/>
                      </a:lnTo>
                      <a:lnTo>
                        <a:pt x="21" y="300"/>
                      </a:lnTo>
                      <a:lnTo>
                        <a:pt x="14" y="316"/>
                      </a:lnTo>
                      <a:lnTo>
                        <a:pt x="8" y="335"/>
                      </a:lnTo>
                      <a:lnTo>
                        <a:pt x="3" y="352"/>
                      </a:lnTo>
                      <a:lnTo>
                        <a:pt x="1" y="370"/>
                      </a:lnTo>
                      <a:lnTo>
                        <a:pt x="0" y="388"/>
                      </a:lnTo>
                      <a:lnTo>
                        <a:pt x="0" y="399"/>
                      </a:lnTo>
                      <a:lnTo>
                        <a:pt x="1" y="409"/>
                      </a:lnTo>
                      <a:lnTo>
                        <a:pt x="2" y="419"/>
                      </a:lnTo>
                      <a:lnTo>
                        <a:pt x="4" y="430"/>
                      </a:lnTo>
                      <a:lnTo>
                        <a:pt x="9" y="449"/>
                      </a:lnTo>
                      <a:lnTo>
                        <a:pt x="17" y="468"/>
                      </a:lnTo>
                      <a:lnTo>
                        <a:pt x="25" y="487"/>
                      </a:lnTo>
                      <a:lnTo>
                        <a:pt x="36" y="504"/>
                      </a:lnTo>
                      <a:lnTo>
                        <a:pt x="49" y="521"/>
                      </a:lnTo>
                      <a:lnTo>
                        <a:pt x="63" y="536"/>
                      </a:lnTo>
                      <a:lnTo>
                        <a:pt x="78" y="549"/>
                      </a:lnTo>
                      <a:lnTo>
                        <a:pt x="94" y="561"/>
                      </a:lnTo>
                      <a:lnTo>
                        <a:pt x="111" y="572"/>
                      </a:lnTo>
                      <a:lnTo>
                        <a:pt x="129" y="581"/>
                      </a:lnTo>
                      <a:lnTo>
                        <a:pt x="149" y="588"/>
                      </a:lnTo>
                      <a:lnTo>
                        <a:pt x="168" y="594"/>
                      </a:lnTo>
                      <a:lnTo>
                        <a:pt x="179" y="596"/>
                      </a:lnTo>
                      <a:lnTo>
                        <a:pt x="188" y="597"/>
                      </a:lnTo>
                      <a:lnTo>
                        <a:pt x="199" y="598"/>
                      </a:lnTo>
                      <a:lnTo>
                        <a:pt x="210" y="598"/>
                      </a:lnTo>
                      <a:lnTo>
                        <a:pt x="642" y="598"/>
                      </a:lnTo>
                      <a:lnTo>
                        <a:pt x="659" y="597"/>
                      </a:lnTo>
                      <a:lnTo>
                        <a:pt x="675" y="595"/>
                      </a:lnTo>
                      <a:lnTo>
                        <a:pt x="691" y="590"/>
                      </a:lnTo>
                      <a:lnTo>
                        <a:pt x="706" y="585"/>
                      </a:lnTo>
                      <a:lnTo>
                        <a:pt x="721" y="579"/>
                      </a:lnTo>
                      <a:lnTo>
                        <a:pt x="734" y="570"/>
                      </a:lnTo>
                      <a:lnTo>
                        <a:pt x="747" y="560"/>
                      </a:lnTo>
                      <a:lnTo>
                        <a:pt x="759" y="550"/>
                      </a:lnTo>
                      <a:lnTo>
                        <a:pt x="770" y="538"/>
                      </a:lnTo>
                      <a:lnTo>
                        <a:pt x="779" y="525"/>
                      </a:lnTo>
                      <a:lnTo>
                        <a:pt x="788" y="512"/>
                      </a:lnTo>
                      <a:lnTo>
                        <a:pt x="795" y="497"/>
                      </a:lnTo>
                      <a:lnTo>
                        <a:pt x="801" y="482"/>
                      </a:lnTo>
                      <a:lnTo>
                        <a:pt x="805" y="466"/>
                      </a:lnTo>
                      <a:lnTo>
                        <a:pt x="807" y="450"/>
                      </a:lnTo>
                      <a:lnTo>
                        <a:pt x="808" y="433"/>
                      </a:lnTo>
                      <a:lnTo>
                        <a:pt x="807" y="416"/>
                      </a:lnTo>
                      <a:lnTo>
                        <a:pt x="805" y="398"/>
                      </a:lnTo>
                      <a:lnTo>
                        <a:pt x="801" y="378"/>
                      </a:lnTo>
                      <a:lnTo>
                        <a:pt x="795" y="360"/>
                      </a:lnTo>
                      <a:lnTo>
                        <a:pt x="792" y="351"/>
                      </a:lnTo>
                      <a:lnTo>
                        <a:pt x="788" y="342"/>
                      </a:lnTo>
                      <a:lnTo>
                        <a:pt x="782" y="332"/>
                      </a:lnTo>
                      <a:lnTo>
                        <a:pt x="777" y="324"/>
                      </a:lnTo>
                      <a:lnTo>
                        <a:pt x="772" y="316"/>
                      </a:lnTo>
                      <a:lnTo>
                        <a:pt x="765" y="308"/>
                      </a:lnTo>
                      <a:lnTo>
                        <a:pt x="759" y="301"/>
                      </a:lnTo>
                      <a:lnTo>
                        <a:pt x="751" y="29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1" name="Freeform 44">
                  <a:extLst>
                    <a:ext uri="{FF2B5EF4-FFF2-40B4-BE49-F238E27FC236}">
                      <a16:creationId xmlns:a16="http://schemas.microsoft.com/office/drawing/2014/main" id="{DA192EF8-958C-4734-BCEB-AC60283A72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65625" y="984250"/>
                  <a:ext cx="71438" cy="71438"/>
                </a:xfrm>
                <a:custGeom>
                  <a:avLst/>
                  <a:gdLst>
                    <a:gd name="T0" fmla="*/ 198 w 223"/>
                    <a:gd name="T1" fmla="*/ 4 h 225"/>
                    <a:gd name="T2" fmla="*/ 4 w 223"/>
                    <a:gd name="T3" fmla="*/ 199 h 225"/>
                    <a:gd name="T4" fmla="*/ 2 w 223"/>
                    <a:gd name="T5" fmla="*/ 201 h 225"/>
                    <a:gd name="T6" fmla="*/ 1 w 223"/>
                    <a:gd name="T7" fmla="*/ 204 h 225"/>
                    <a:gd name="T8" fmla="*/ 0 w 223"/>
                    <a:gd name="T9" fmla="*/ 207 h 225"/>
                    <a:gd name="T10" fmla="*/ 0 w 223"/>
                    <a:gd name="T11" fmla="*/ 210 h 225"/>
                    <a:gd name="T12" fmla="*/ 0 w 223"/>
                    <a:gd name="T13" fmla="*/ 213 h 225"/>
                    <a:gd name="T14" fmla="*/ 1 w 223"/>
                    <a:gd name="T15" fmla="*/ 216 h 225"/>
                    <a:gd name="T16" fmla="*/ 2 w 223"/>
                    <a:gd name="T17" fmla="*/ 218 h 225"/>
                    <a:gd name="T18" fmla="*/ 4 w 223"/>
                    <a:gd name="T19" fmla="*/ 220 h 225"/>
                    <a:gd name="T20" fmla="*/ 6 w 223"/>
                    <a:gd name="T21" fmla="*/ 221 h 225"/>
                    <a:gd name="T22" fmla="*/ 8 w 223"/>
                    <a:gd name="T23" fmla="*/ 223 h 225"/>
                    <a:gd name="T24" fmla="*/ 11 w 223"/>
                    <a:gd name="T25" fmla="*/ 223 h 225"/>
                    <a:gd name="T26" fmla="*/ 15 w 223"/>
                    <a:gd name="T27" fmla="*/ 225 h 225"/>
                    <a:gd name="T28" fmla="*/ 17 w 223"/>
                    <a:gd name="T29" fmla="*/ 223 h 225"/>
                    <a:gd name="T30" fmla="*/ 20 w 223"/>
                    <a:gd name="T31" fmla="*/ 223 h 225"/>
                    <a:gd name="T32" fmla="*/ 22 w 223"/>
                    <a:gd name="T33" fmla="*/ 221 h 225"/>
                    <a:gd name="T34" fmla="*/ 25 w 223"/>
                    <a:gd name="T35" fmla="*/ 220 h 225"/>
                    <a:gd name="T36" fmla="*/ 219 w 223"/>
                    <a:gd name="T37" fmla="*/ 25 h 225"/>
                    <a:gd name="T38" fmla="*/ 221 w 223"/>
                    <a:gd name="T39" fmla="*/ 23 h 225"/>
                    <a:gd name="T40" fmla="*/ 222 w 223"/>
                    <a:gd name="T41" fmla="*/ 21 h 225"/>
                    <a:gd name="T42" fmla="*/ 223 w 223"/>
                    <a:gd name="T43" fmla="*/ 18 h 225"/>
                    <a:gd name="T44" fmla="*/ 223 w 223"/>
                    <a:gd name="T45" fmla="*/ 16 h 225"/>
                    <a:gd name="T46" fmla="*/ 223 w 223"/>
                    <a:gd name="T47" fmla="*/ 13 h 225"/>
                    <a:gd name="T48" fmla="*/ 222 w 223"/>
                    <a:gd name="T49" fmla="*/ 9 h 225"/>
                    <a:gd name="T50" fmla="*/ 221 w 223"/>
                    <a:gd name="T51" fmla="*/ 7 h 225"/>
                    <a:gd name="T52" fmla="*/ 219 w 223"/>
                    <a:gd name="T53" fmla="*/ 4 h 225"/>
                    <a:gd name="T54" fmla="*/ 217 w 223"/>
                    <a:gd name="T55" fmla="*/ 2 h 225"/>
                    <a:gd name="T56" fmla="*/ 215 w 223"/>
                    <a:gd name="T57" fmla="*/ 1 h 225"/>
                    <a:gd name="T58" fmla="*/ 212 w 223"/>
                    <a:gd name="T59" fmla="*/ 0 h 225"/>
                    <a:gd name="T60" fmla="*/ 208 w 223"/>
                    <a:gd name="T61" fmla="*/ 0 h 225"/>
                    <a:gd name="T62" fmla="*/ 206 w 223"/>
                    <a:gd name="T63" fmla="*/ 0 h 225"/>
                    <a:gd name="T64" fmla="*/ 203 w 223"/>
                    <a:gd name="T65" fmla="*/ 1 h 225"/>
                    <a:gd name="T66" fmla="*/ 201 w 223"/>
                    <a:gd name="T67" fmla="*/ 2 h 225"/>
                    <a:gd name="T68" fmla="*/ 198 w 223"/>
                    <a:gd name="T69" fmla="*/ 4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23" h="225">
                      <a:moveTo>
                        <a:pt x="198" y="4"/>
                      </a:moveTo>
                      <a:lnTo>
                        <a:pt x="4" y="199"/>
                      </a:lnTo>
                      <a:lnTo>
                        <a:pt x="2" y="201"/>
                      </a:lnTo>
                      <a:lnTo>
                        <a:pt x="1" y="204"/>
                      </a:lnTo>
                      <a:lnTo>
                        <a:pt x="0" y="207"/>
                      </a:lnTo>
                      <a:lnTo>
                        <a:pt x="0" y="210"/>
                      </a:lnTo>
                      <a:lnTo>
                        <a:pt x="0" y="213"/>
                      </a:lnTo>
                      <a:lnTo>
                        <a:pt x="1" y="216"/>
                      </a:lnTo>
                      <a:lnTo>
                        <a:pt x="2" y="218"/>
                      </a:lnTo>
                      <a:lnTo>
                        <a:pt x="4" y="220"/>
                      </a:lnTo>
                      <a:lnTo>
                        <a:pt x="6" y="221"/>
                      </a:lnTo>
                      <a:lnTo>
                        <a:pt x="8" y="223"/>
                      </a:lnTo>
                      <a:lnTo>
                        <a:pt x="11" y="223"/>
                      </a:lnTo>
                      <a:lnTo>
                        <a:pt x="15" y="225"/>
                      </a:lnTo>
                      <a:lnTo>
                        <a:pt x="17" y="223"/>
                      </a:lnTo>
                      <a:lnTo>
                        <a:pt x="20" y="223"/>
                      </a:lnTo>
                      <a:lnTo>
                        <a:pt x="22" y="221"/>
                      </a:lnTo>
                      <a:lnTo>
                        <a:pt x="25" y="220"/>
                      </a:lnTo>
                      <a:lnTo>
                        <a:pt x="219" y="25"/>
                      </a:lnTo>
                      <a:lnTo>
                        <a:pt x="221" y="23"/>
                      </a:lnTo>
                      <a:lnTo>
                        <a:pt x="222" y="21"/>
                      </a:lnTo>
                      <a:lnTo>
                        <a:pt x="223" y="18"/>
                      </a:lnTo>
                      <a:lnTo>
                        <a:pt x="223" y="16"/>
                      </a:lnTo>
                      <a:lnTo>
                        <a:pt x="223" y="13"/>
                      </a:lnTo>
                      <a:lnTo>
                        <a:pt x="222" y="9"/>
                      </a:lnTo>
                      <a:lnTo>
                        <a:pt x="221" y="7"/>
                      </a:lnTo>
                      <a:lnTo>
                        <a:pt x="219" y="4"/>
                      </a:lnTo>
                      <a:lnTo>
                        <a:pt x="217" y="2"/>
                      </a:lnTo>
                      <a:lnTo>
                        <a:pt x="215" y="1"/>
                      </a:lnTo>
                      <a:lnTo>
                        <a:pt x="212" y="0"/>
                      </a:lnTo>
                      <a:lnTo>
                        <a:pt x="208" y="0"/>
                      </a:lnTo>
                      <a:lnTo>
                        <a:pt x="206" y="0"/>
                      </a:lnTo>
                      <a:lnTo>
                        <a:pt x="203" y="1"/>
                      </a:lnTo>
                      <a:lnTo>
                        <a:pt x="201" y="2"/>
                      </a:lnTo>
                      <a:lnTo>
                        <a:pt x="198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2" name="Freeform 45">
                  <a:extLst>
                    <a:ext uri="{FF2B5EF4-FFF2-40B4-BE49-F238E27FC236}">
                      <a16:creationId xmlns:a16="http://schemas.microsoft.com/office/drawing/2014/main" id="{2B8FD970-30BF-4E2E-89F0-57AD6C03DC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41825" y="989013"/>
                  <a:ext cx="47625" cy="66675"/>
                </a:xfrm>
                <a:custGeom>
                  <a:avLst/>
                  <a:gdLst>
                    <a:gd name="T0" fmla="*/ 135 w 150"/>
                    <a:gd name="T1" fmla="*/ 60 h 210"/>
                    <a:gd name="T2" fmla="*/ 82 w 150"/>
                    <a:gd name="T3" fmla="*/ 60 h 210"/>
                    <a:gd name="T4" fmla="*/ 116 w 150"/>
                    <a:gd name="T5" fmla="*/ 25 h 210"/>
                    <a:gd name="T6" fmla="*/ 118 w 150"/>
                    <a:gd name="T7" fmla="*/ 23 h 210"/>
                    <a:gd name="T8" fmla="*/ 119 w 150"/>
                    <a:gd name="T9" fmla="*/ 21 h 210"/>
                    <a:gd name="T10" fmla="*/ 120 w 150"/>
                    <a:gd name="T11" fmla="*/ 18 h 210"/>
                    <a:gd name="T12" fmla="*/ 120 w 150"/>
                    <a:gd name="T13" fmla="*/ 16 h 210"/>
                    <a:gd name="T14" fmla="*/ 120 w 150"/>
                    <a:gd name="T15" fmla="*/ 13 h 210"/>
                    <a:gd name="T16" fmla="*/ 119 w 150"/>
                    <a:gd name="T17" fmla="*/ 9 h 210"/>
                    <a:gd name="T18" fmla="*/ 118 w 150"/>
                    <a:gd name="T19" fmla="*/ 6 h 210"/>
                    <a:gd name="T20" fmla="*/ 116 w 150"/>
                    <a:gd name="T21" fmla="*/ 4 h 210"/>
                    <a:gd name="T22" fmla="*/ 114 w 150"/>
                    <a:gd name="T23" fmla="*/ 2 h 210"/>
                    <a:gd name="T24" fmla="*/ 111 w 150"/>
                    <a:gd name="T25" fmla="*/ 1 h 210"/>
                    <a:gd name="T26" fmla="*/ 109 w 150"/>
                    <a:gd name="T27" fmla="*/ 0 h 210"/>
                    <a:gd name="T28" fmla="*/ 105 w 150"/>
                    <a:gd name="T29" fmla="*/ 0 h 210"/>
                    <a:gd name="T30" fmla="*/ 102 w 150"/>
                    <a:gd name="T31" fmla="*/ 0 h 210"/>
                    <a:gd name="T32" fmla="*/ 100 w 150"/>
                    <a:gd name="T33" fmla="*/ 1 h 210"/>
                    <a:gd name="T34" fmla="*/ 97 w 150"/>
                    <a:gd name="T35" fmla="*/ 2 h 210"/>
                    <a:gd name="T36" fmla="*/ 95 w 150"/>
                    <a:gd name="T37" fmla="*/ 4 h 210"/>
                    <a:gd name="T38" fmla="*/ 35 w 150"/>
                    <a:gd name="T39" fmla="*/ 64 h 210"/>
                    <a:gd name="T40" fmla="*/ 33 w 150"/>
                    <a:gd name="T41" fmla="*/ 68 h 210"/>
                    <a:gd name="T42" fmla="*/ 32 w 150"/>
                    <a:gd name="T43" fmla="*/ 71 h 210"/>
                    <a:gd name="T44" fmla="*/ 30 w 150"/>
                    <a:gd name="T45" fmla="*/ 76 h 210"/>
                    <a:gd name="T46" fmla="*/ 32 w 150"/>
                    <a:gd name="T47" fmla="*/ 81 h 210"/>
                    <a:gd name="T48" fmla="*/ 35 w 150"/>
                    <a:gd name="T49" fmla="*/ 84 h 210"/>
                    <a:gd name="T50" fmla="*/ 38 w 150"/>
                    <a:gd name="T51" fmla="*/ 88 h 210"/>
                    <a:gd name="T52" fmla="*/ 41 w 150"/>
                    <a:gd name="T53" fmla="*/ 89 h 210"/>
                    <a:gd name="T54" fmla="*/ 45 w 150"/>
                    <a:gd name="T55" fmla="*/ 90 h 210"/>
                    <a:gd name="T56" fmla="*/ 99 w 150"/>
                    <a:gd name="T57" fmla="*/ 90 h 210"/>
                    <a:gd name="T58" fmla="*/ 5 w 150"/>
                    <a:gd name="T59" fmla="*/ 184 h 210"/>
                    <a:gd name="T60" fmla="*/ 4 w 150"/>
                    <a:gd name="T61" fmla="*/ 186 h 210"/>
                    <a:gd name="T62" fmla="*/ 2 w 150"/>
                    <a:gd name="T63" fmla="*/ 189 h 210"/>
                    <a:gd name="T64" fmla="*/ 2 w 150"/>
                    <a:gd name="T65" fmla="*/ 192 h 210"/>
                    <a:gd name="T66" fmla="*/ 0 w 150"/>
                    <a:gd name="T67" fmla="*/ 195 h 210"/>
                    <a:gd name="T68" fmla="*/ 2 w 150"/>
                    <a:gd name="T69" fmla="*/ 198 h 210"/>
                    <a:gd name="T70" fmla="*/ 2 w 150"/>
                    <a:gd name="T71" fmla="*/ 201 h 210"/>
                    <a:gd name="T72" fmla="*/ 4 w 150"/>
                    <a:gd name="T73" fmla="*/ 203 h 210"/>
                    <a:gd name="T74" fmla="*/ 5 w 150"/>
                    <a:gd name="T75" fmla="*/ 205 h 210"/>
                    <a:gd name="T76" fmla="*/ 8 w 150"/>
                    <a:gd name="T77" fmla="*/ 206 h 210"/>
                    <a:gd name="T78" fmla="*/ 10 w 150"/>
                    <a:gd name="T79" fmla="*/ 208 h 210"/>
                    <a:gd name="T80" fmla="*/ 13 w 150"/>
                    <a:gd name="T81" fmla="*/ 208 h 210"/>
                    <a:gd name="T82" fmla="*/ 15 w 150"/>
                    <a:gd name="T83" fmla="*/ 210 h 210"/>
                    <a:gd name="T84" fmla="*/ 19 w 150"/>
                    <a:gd name="T85" fmla="*/ 208 h 210"/>
                    <a:gd name="T86" fmla="*/ 22 w 150"/>
                    <a:gd name="T87" fmla="*/ 208 h 210"/>
                    <a:gd name="T88" fmla="*/ 24 w 150"/>
                    <a:gd name="T89" fmla="*/ 206 h 210"/>
                    <a:gd name="T90" fmla="*/ 26 w 150"/>
                    <a:gd name="T91" fmla="*/ 205 h 210"/>
                    <a:gd name="T92" fmla="*/ 146 w 150"/>
                    <a:gd name="T93" fmla="*/ 85 h 210"/>
                    <a:gd name="T94" fmla="*/ 148 w 150"/>
                    <a:gd name="T95" fmla="*/ 82 h 210"/>
                    <a:gd name="T96" fmla="*/ 150 w 150"/>
                    <a:gd name="T97" fmla="*/ 78 h 210"/>
                    <a:gd name="T98" fmla="*/ 150 w 150"/>
                    <a:gd name="T99" fmla="*/ 74 h 210"/>
                    <a:gd name="T100" fmla="*/ 149 w 150"/>
                    <a:gd name="T101" fmla="*/ 70 h 210"/>
                    <a:gd name="T102" fmla="*/ 147 w 150"/>
                    <a:gd name="T103" fmla="*/ 66 h 210"/>
                    <a:gd name="T104" fmla="*/ 144 w 150"/>
                    <a:gd name="T105" fmla="*/ 63 h 210"/>
                    <a:gd name="T106" fmla="*/ 140 w 150"/>
                    <a:gd name="T107" fmla="*/ 61 h 210"/>
                    <a:gd name="T108" fmla="*/ 135 w 150"/>
                    <a:gd name="T109" fmla="*/ 60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50" h="210">
                      <a:moveTo>
                        <a:pt x="135" y="60"/>
                      </a:moveTo>
                      <a:lnTo>
                        <a:pt x="82" y="60"/>
                      </a:lnTo>
                      <a:lnTo>
                        <a:pt x="116" y="25"/>
                      </a:lnTo>
                      <a:lnTo>
                        <a:pt x="118" y="23"/>
                      </a:lnTo>
                      <a:lnTo>
                        <a:pt x="119" y="21"/>
                      </a:lnTo>
                      <a:lnTo>
                        <a:pt x="120" y="18"/>
                      </a:lnTo>
                      <a:lnTo>
                        <a:pt x="120" y="16"/>
                      </a:lnTo>
                      <a:lnTo>
                        <a:pt x="120" y="13"/>
                      </a:lnTo>
                      <a:lnTo>
                        <a:pt x="119" y="9"/>
                      </a:lnTo>
                      <a:lnTo>
                        <a:pt x="118" y="6"/>
                      </a:lnTo>
                      <a:lnTo>
                        <a:pt x="116" y="4"/>
                      </a:lnTo>
                      <a:lnTo>
                        <a:pt x="114" y="2"/>
                      </a:lnTo>
                      <a:lnTo>
                        <a:pt x="111" y="1"/>
                      </a:lnTo>
                      <a:lnTo>
                        <a:pt x="109" y="0"/>
                      </a:lnTo>
                      <a:lnTo>
                        <a:pt x="105" y="0"/>
                      </a:lnTo>
                      <a:lnTo>
                        <a:pt x="102" y="0"/>
                      </a:lnTo>
                      <a:lnTo>
                        <a:pt x="100" y="1"/>
                      </a:lnTo>
                      <a:lnTo>
                        <a:pt x="97" y="2"/>
                      </a:lnTo>
                      <a:lnTo>
                        <a:pt x="95" y="4"/>
                      </a:lnTo>
                      <a:lnTo>
                        <a:pt x="35" y="64"/>
                      </a:lnTo>
                      <a:lnTo>
                        <a:pt x="33" y="68"/>
                      </a:lnTo>
                      <a:lnTo>
                        <a:pt x="32" y="71"/>
                      </a:lnTo>
                      <a:lnTo>
                        <a:pt x="30" y="76"/>
                      </a:lnTo>
                      <a:lnTo>
                        <a:pt x="32" y="81"/>
                      </a:lnTo>
                      <a:lnTo>
                        <a:pt x="35" y="84"/>
                      </a:lnTo>
                      <a:lnTo>
                        <a:pt x="38" y="88"/>
                      </a:lnTo>
                      <a:lnTo>
                        <a:pt x="41" y="89"/>
                      </a:lnTo>
                      <a:lnTo>
                        <a:pt x="45" y="90"/>
                      </a:lnTo>
                      <a:lnTo>
                        <a:pt x="99" y="90"/>
                      </a:lnTo>
                      <a:lnTo>
                        <a:pt x="5" y="184"/>
                      </a:lnTo>
                      <a:lnTo>
                        <a:pt x="4" y="186"/>
                      </a:lnTo>
                      <a:lnTo>
                        <a:pt x="2" y="189"/>
                      </a:lnTo>
                      <a:lnTo>
                        <a:pt x="2" y="192"/>
                      </a:lnTo>
                      <a:lnTo>
                        <a:pt x="0" y="195"/>
                      </a:lnTo>
                      <a:lnTo>
                        <a:pt x="2" y="198"/>
                      </a:lnTo>
                      <a:lnTo>
                        <a:pt x="2" y="201"/>
                      </a:lnTo>
                      <a:lnTo>
                        <a:pt x="4" y="203"/>
                      </a:lnTo>
                      <a:lnTo>
                        <a:pt x="5" y="205"/>
                      </a:lnTo>
                      <a:lnTo>
                        <a:pt x="8" y="206"/>
                      </a:lnTo>
                      <a:lnTo>
                        <a:pt x="10" y="208"/>
                      </a:lnTo>
                      <a:lnTo>
                        <a:pt x="13" y="208"/>
                      </a:lnTo>
                      <a:lnTo>
                        <a:pt x="15" y="210"/>
                      </a:lnTo>
                      <a:lnTo>
                        <a:pt x="19" y="208"/>
                      </a:lnTo>
                      <a:lnTo>
                        <a:pt x="22" y="208"/>
                      </a:lnTo>
                      <a:lnTo>
                        <a:pt x="24" y="206"/>
                      </a:lnTo>
                      <a:lnTo>
                        <a:pt x="26" y="205"/>
                      </a:lnTo>
                      <a:lnTo>
                        <a:pt x="146" y="85"/>
                      </a:lnTo>
                      <a:lnTo>
                        <a:pt x="148" y="82"/>
                      </a:lnTo>
                      <a:lnTo>
                        <a:pt x="150" y="78"/>
                      </a:lnTo>
                      <a:lnTo>
                        <a:pt x="150" y="74"/>
                      </a:lnTo>
                      <a:lnTo>
                        <a:pt x="149" y="70"/>
                      </a:lnTo>
                      <a:lnTo>
                        <a:pt x="147" y="66"/>
                      </a:lnTo>
                      <a:lnTo>
                        <a:pt x="144" y="63"/>
                      </a:lnTo>
                      <a:lnTo>
                        <a:pt x="140" y="61"/>
                      </a:lnTo>
                      <a:lnTo>
                        <a:pt x="135" y="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3" name="Freeform 46">
                  <a:extLst>
                    <a:ext uri="{FF2B5EF4-FFF2-40B4-BE49-F238E27FC236}">
                      <a16:creationId xmlns:a16="http://schemas.microsoft.com/office/drawing/2014/main" id="{7086AABA-07D8-4865-8F77-D656F950FE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89450" y="989013"/>
                  <a:ext cx="66675" cy="66675"/>
                </a:xfrm>
                <a:custGeom>
                  <a:avLst/>
                  <a:gdLst>
                    <a:gd name="T0" fmla="*/ 184 w 210"/>
                    <a:gd name="T1" fmla="*/ 4 h 210"/>
                    <a:gd name="T2" fmla="*/ 5 w 210"/>
                    <a:gd name="T3" fmla="*/ 184 h 210"/>
                    <a:gd name="T4" fmla="*/ 2 w 210"/>
                    <a:gd name="T5" fmla="*/ 186 h 210"/>
                    <a:gd name="T6" fmla="*/ 1 w 210"/>
                    <a:gd name="T7" fmla="*/ 189 h 210"/>
                    <a:gd name="T8" fmla="*/ 0 w 210"/>
                    <a:gd name="T9" fmla="*/ 192 h 210"/>
                    <a:gd name="T10" fmla="*/ 0 w 210"/>
                    <a:gd name="T11" fmla="*/ 195 h 210"/>
                    <a:gd name="T12" fmla="*/ 0 w 210"/>
                    <a:gd name="T13" fmla="*/ 198 h 210"/>
                    <a:gd name="T14" fmla="*/ 1 w 210"/>
                    <a:gd name="T15" fmla="*/ 201 h 210"/>
                    <a:gd name="T16" fmla="*/ 2 w 210"/>
                    <a:gd name="T17" fmla="*/ 203 h 210"/>
                    <a:gd name="T18" fmla="*/ 5 w 210"/>
                    <a:gd name="T19" fmla="*/ 205 h 210"/>
                    <a:gd name="T20" fmla="*/ 7 w 210"/>
                    <a:gd name="T21" fmla="*/ 206 h 210"/>
                    <a:gd name="T22" fmla="*/ 10 w 210"/>
                    <a:gd name="T23" fmla="*/ 208 h 210"/>
                    <a:gd name="T24" fmla="*/ 12 w 210"/>
                    <a:gd name="T25" fmla="*/ 208 h 210"/>
                    <a:gd name="T26" fmla="*/ 15 w 210"/>
                    <a:gd name="T27" fmla="*/ 210 h 210"/>
                    <a:gd name="T28" fmla="*/ 19 w 210"/>
                    <a:gd name="T29" fmla="*/ 208 h 210"/>
                    <a:gd name="T30" fmla="*/ 21 w 210"/>
                    <a:gd name="T31" fmla="*/ 208 h 210"/>
                    <a:gd name="T32" fmla="*/ 24 w 210"/>
                    <a:gd name="T33" fmla="*/ 206 h 210"/>
                    <a:gd name="T34" fmla="*/ 26 w 210"/>
                    <a:gd name="T35" fmla="*/ 205 h 210"/>
                    <a:gd name="T36" fmla="*/ 206 w 210"/>
                    <a:gd name="T37" fmla="*/ 25 h 210"/>
                    <a:gd name="T38" fmla="*/ 208 w 210"/>
                    <a:gd name="T39" fmla="*/ 23 h 210"/>
                    <a:gd name="T40" fmla="*/ 209 w 210"/>
                    <a:gd name="T41" fmla="*/ 21 h 210"/>
                    <a:gd name="T42" fmla="*/ 210 w 210"/>
                    <a:gd name="T43" fmla="*/ 18 h 210"/>
                    <a:gd name="T44" fmla="*/ 210 w 210"/>
                    <a:gd name="T45" fmla="*/ 16 h 210"/>
                    <a:gd name="T46" fmla="*/ 210 w 210"/>
                    <a:gd name="T47" fmla="*/ 13 h 210"/>
                    <a:gd name="T48" fmla="*/ 209 w 210"/>
                    <a:gd name="T49" fmla="*/ 9 h 210"/>
                    <a:gd name="T50" fmla="*/ 208 w 210"/>
                    <a:gd name="T51" fmla="*/ 6 h 210"/>
                    <a:gd name="T52" fmla="*/ 206 w 210"/>
                    <a:gd name="T53" fmla="*/ 4 h 210"/>
                    <a:gd name="T54" fmla="*/ 204 w 210"/>
                    <a:gd name="T55" fmla="*/ 2 h 210"/>
                    <a:gd name="T56" fmla="*/ 201 w 210"/>
                    <a:gd name="T57" fmla="*/ 1 h 210"/>
                    <a:gd name="T58" fmla="*/ 198 w 210"/>
                    <a:gd name="T59" fmla="*/ 0 h 210"/>
                    <a:gd name="T60" fmla="*/ 195 w 210"/>
                    <a:gd name="T61" fmla="*/ 0 h 210"/>
                    <a:gd name="T62" fmla="*/ 192 w 210"/>
                    <a:gd name="T63" fmla="*/ 0 h 210"/>
                    <a:gd name="T64" fmla="*/ 190 w 210"/>
                    <a:gd name="T65" fmla="*/ 1 h 210"/>
                    <a:gd name="T66" fmla="*/ 187 w 210"/>
                    <a:gd name="T67" fmla="*/ 2 h 210"/>
                    <a:gd name="T68" fmla="*/ 184 w 210"/>
                    <a:gd name="T69" fmla="*/ 4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10" h="210">
                      <a:moveTo>
                        <a:pt x="184" y="4"/>
                      </a:moveTo>
                      <a:lnTo>
                        <a:pt x="5" y="184"/>
                      </a:lnTo>
                      <a:lnTo>
                        <a:pt x="2" y="186"/>
                      </a:lnTo>
                      <a:lnTo>
                        <a:pt x="1" y="189"/>
                      </a:lnTo>
                      <a:lnTo>
                        <a:pt x="0" y="192"/>
                      </a:lnTo>
                      <a:lnTo>
                        <a:pt x="0" y="195"/>
                      </a:lnTo>
                      <a:lnTo>
                        <a:pt x="0" y="198"/>
                      </a:lnTo>
                      <a:lnTo>
                        <a:pt x="1" y="201"/>
                      </a:lnTo>
                      <a:lnTo>
                        <a:pt x="2" y="203"/>
                      </a:lnTo>
                      <a:lnTo>
                        <a:pt x="5" y="205"/>
                      </a:lnTo>
                      <a:lnTo>
                        <a:pt x="7" y="206"/>
                      </a:lnTo>
                      <a:lnTo>
                        <a:pt x="10" y="208"/>
                      </a:lnTo>
                      <a:lnTo>
                        <a:pt x="12" y="208"/>
                      </a:lnTo>
                      <a:lnTo>
                        <a:pt x="15" y="210"/>
                      </a:lnTo>
                      <a:lnTo>
                        <a:pt x="19" y="208"/>
                      </a:lnTo>
                      <a:lnTo>
                        <a:pt x="21" y="208"/>
                      </a:lnTo>
                      <a:lnTo>
                        <a:pt x="24" y="206"/>
                      </a:lnTo>
                      <a:lnTo>
                        <a:pt x="26" y="205"/>
                      </a:lnTo>
                      <a:lnTo>
                        <a:pt x="206" y="25"/>
                      </a:lnTo>
                      <a:lnTo>
                        <a:pt x="208" y="23"/>
                      </a:lnTo>
                      <a:lnTo>
                        <a:pt x="209" y="21"/>
                      </a:lnTo>
                      <a:lnTo>
                        <a:pt x="210" y="18"/>
                      </a:lnTo>
                      <a:lnTo>
                        <a:pt x="210" y="16"/>
                      </a:lnTo>
                      <a:lnTo>
                        <a:pt x="210" y="13"/>
                      </a:lnTo>
                      <a:lnTo>
                        <a:pt x="209" y="9"/>
                      </a:lnTo>
                      <a:lnTo>
                        <a:pt x="208" y="6"/>
                      </a:lnTo>
                      <a:lnTo>
                        <a:pt x="206" y="4"/>
                      </a:lnTo>
                      <a:lnTo>
                        <a:pt x="204" y="2"/>
                      </a:lnTo>
                      <a:lnTo>
                        <a:pt x="201" y="1"/>
                      </a:lnTo>
                      <a:lnTo>
                        <a:pt x="198" y="0"/>
                      </a:lnTo>
                      <a:lnTo>
                        <a:pt x="195" y="0"/>
                      </a:lnTo>
                      <a:lnTo>
                        <a:pt x="192" y="0"/>
                      </a:lnTo>
                      <a:lnTo>
                        <a:pt x="190" y="1"/>
                      </a:lnTo>
                      <a:lnTo>
                        <a:pt x="187" y="2"/>
                      </a:lnTo>
                      <a:lnTo>
                        <a:pt x="184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2EC9BFF6-1332-496E-8B47-7E7713528ECC}"/>
                </a:ext>
              </a:extLst>
            </p:cNvPr>
            <p:cNvGrpSpPr/>
            <p:nvPr/>
          </p:nvGrpSpPr>
          <p:grpSpPr>
            <a:xfrm>
              <a:off x="3103103" y="1741116"/>
              <a:ext cx="418315" cy="418315"/>
              <a:chOff x="3103103" y="1741116"/>
              <a:chExt cx="418315" cy="418315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A313219E-FBE3-403C-AA46-F9EE721FE221}"/>
                  </a:ext>
                </a:extLst>
              </p:cNvPr>
              <p:cNvSpPr/>
              <p:nvPr/>
            </p:nvSpPr>
            <p:spPr>
              <a:xfrm>
                <a:off x="3103103" y="1741116"/>
                <a:ext cx="418315" cy="418315"/>
              </a:xfrm>
              <a:prstGeom prst="ellips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824" name="Group 1823">
                <a:extLst>
                  <a:ext uri="{FF2B5EF4-FFF2-40B4-BE49-F238E27FC236}">
                    <a16:creationId xmlns:a16="http://schemas.microsoft.com/office/drawing/2014/main" id="{B14A1FF4-465F-4804-99F3-9559D10F543A}"/>
                  </a:ext>
                </a:extLst>
              </p:cNvPr>
              <p:cNvGrpSpPr/>
              <p:nvPr/>
            </p:nvGrpSpPr>
            <p:grpSpPr>
              <a:xfrm>
                <a:off x="3226503" y="1864516"/>
                <a:ext cx="171514" cy="171514"/>
                <a:chOff x="334963" y="769938"/>
                <a:chExt cx="276225" cy="276225"/>
              </a:xfrm>
              <a:solidFill>
                <a:schemeClr val="bg1"/>
              </a:solidFill>
            </p:grpSpPr>
            <p:sp>
              <p:nvSpPr>
                <p:cNvPr id="1825" name="Freeform 54">
                  <a:extLst>
                    <a:ext uri="{FF2B5EF4-FFF2-40B4-BE49-F238E27FC236}">
                      <a16:creationId xmlns:a16="http://schemas.microsoft.com/office/drawing/2014/main" id="{2B86526E-F8A5-4FC9-8B60-91A7F5D505A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77825" y="812800"/>
                  <a:ext cx="190500" cy="190500"/>
                </a:xfrm>
                <a:custGeom>
                  <a:avLst/>
                  <a:gdLst>
                    <a:gd name="T0" fmla="*/ 245 w 599"/>
                    <a:gd name="T1" fmla="*/ 563 h 599"/>
                    <a:gd name="T2" fmla="*/ 182 w 599"/>
                    <a:gd name="T3" fmla="*/ 542 h 599"/>
                    <a:gd name="T4" fmla="*/ 128 w 599"/>
                    <a:gd name="T5" fmla="*/ 508 h 599"/>
                    <a:gd name="T6" fmla="*/ 84 w 599"/>
                    <a:gd name="T7" fmla="*/ 461 h 599"/>
                    <a:gd name="T8" fmla="*/ 52 w 599"/>
                    <a:gd name="T9" fmla="*/ 405 h 599"/>
                    <a:gd name="T10" fmla="*/ 33 w 599"/>
                    <a:gd name="T11" fmla="*/ 341 h 599"/>
                    <a:gd name="T12" fmla="*/ 31 w 599"/>
                    <a:gd name="T13" fmla="*/ 272 h 599"/>
                    <a:gd name="T14" fmla="*/ 46 w 599"/>
                    <a:gd name="T15" fmla="*/ 207 h 599"/>
                    <a:gd name="T16" fmla="*/ 76 w 599"/>
                    <a:gd name="T17" fmla="*/ 149 h 599"/>
                    <a:gd name="T18" fmla="*/ 118 w 599"/>
                    <a:gd name="T19" fmla="*/ 100 h 599"/>
                    <a:gd name="T20" fmla="*/ 171 w 599"/>
                    <a:gd name="T21" fmla="*/ 62 h 599"/>
                    <a:gd name="T22" fmla="*/ 233 w 599"/>
                    <a:gd name="T23" fmla="*/ 39 h 599"/>
                    <a:gd name="T24" fmla="*/ 299 w 599"/>
                    <a:gd name="T25" fmla="*/ 30 h 599"/>
                    <a:gd name="T26" fmla="*/ 366 w 599"/>
                    <a:gd name="T27" fmla="*/ 39 h 599"/>
                    <a:gd name="T28" fmla="*/ 427 w 599"/>
                    <a:gd name="T29" fmla="*/ 62 h 599"/>
                    <a:gd name="T30" fmla="*/ 480 w 599"/>
                    <a:gd name="T31" fmla="*/ 100 h 599"/>
                    <a:gd name="T32" fmla="*/ 523 w 599"/>
                    <a:gd name="T33" fmla="*/ 149 h 599"/>
                    <a:gd name="T34" fmla="*/ 553 w 599"/>
                    <a:gd name="T35" fmla="*/ 207 h 599"/>
                    <a:gd name="T36" fmla="*/ 568 w 599"/>
                    <a:gd name="T37" fmla="*/ 272 h 599"/>
                    <a:gd name="T38" fmla="*/ 566 w 599"/>
                    <a:gd name="T39" fmla="*/ 341 h 599"/>
                    <a:gd name="T40" fmla="*/ 547 w 599"/>
                    <a:gd name="T41" fmla="*/ 405 h 599"/>
                    <a:gd name="T42" fmla="*/ 515 w 599"/>
                    <a:gd name="T43" fmla="*/ 461 h 599"/>
                    <a:gd name="T44" fmla="*/ 470 w 599"/>
                    <a:gd name="T45" fmla="*/ 508 h 599"/>
                    <a:gd name="T46" fmla="*/ 416 w 599"/>
                    <a:gd name="T47" fmla="*/ 542 h 599"/>
                    <a:gd name="T48" fmla="*/ 354 w 599"/>
                    <a:gd name="T49" fmla="*/ 563 h 599"/>
                    <a:gd name="T50" fmla="*/ 299 w 599"/>
                    <a:gd name="T51" fmla="*/ 0 h 599"/>
                    <a:gd name="T52" fmla="*/ 225 w 599"/>
                    <a:gd name="T53" fmla="*/ 10 h 599"/>
                    <a:gd name="T54" fmla="*/ 157 w 599"/>
                    <a:gd name="T55" fmla="*/ 37 h 599"/>
                    <a:gd name="T56" fmla="*/ 98 w 599"/>
                    <a:gd name="T57" fmla="*/ 79 h 599"/>
                    <a:gd name="T58" fmla="*/ 52 w 599"/>
                    <a:gd name="T59" fmla="*/ 132 h 599"/>
                    <a:gd name="T60" fmla="*/ 18 w 599"/>
                    <a:gd name="T61" fmla="*/ 196 h 599"/>
                    <a:gd name="T62" fmla="*/ 1 w 599"/>
                    <a:gd name="T63" fmla="*/ 269 h 599"/>
                    <a:gd name="T64" fmla="*/ 3 w 599"/>
                    <a:gd name="T65" fmla="*/ 345 h 599"/>
                    <a:gd name="T66" fmla="*/ 24 w 599"/>
                    <a:gd name="T67" fmla="*/ 416 h 599"/>
                    <a:gd name="T68" fmla="*/ 59 w 599"/>
                    <a:gd name="T69" fmla="*/ 479 h 599"/>
                    <a:gd name="T70" fmla="*/ 109 w 599"/>
                    <a:gd name="T71" fmla="*/ 530 h 599"/>
                    <a:gd name="T72" fmla="*/ 169 w 599"/>
                    <a:gd name="T73" fmla="*/ 570 h 599"/>
                    <a:gd name="T74" fmla="*/ 239 w 599"/>
                    <a:gd name="T75" fmla="*/ 592 h 599"/>
                    <a:gd name="T76" fmla="*/ 315 w 599"/>
                    <a:gd name="T77" fmla="*/ 599 h 599"/>
                    <a:gd name="T78" fmla="*/ 388 w 599"/>
                    <a:gd name="T79" fmla="*/ 585 h 599"/>
                    <a:gd name="T80" fmla="*/ 454 w 599"/>
                    <a:gd name="T81" fmla="*/ 556 h 599"/>
                    <a:gd name="T82" fmla="*/ 511 w 599"/>
                    <a:gd name="T83" fmla="*/ 511 h 599"/>
                    <a:gd name="T84" fmla="*/ 555 w 599"/>
                    <a:gd name="T85" fmla="*/ 455 h 599"/>
                    <a:gd name="T86" fmla="*/ 585 w 599"/>
                    <a:gd name="T87" fmla="*/ 389 h 599"/>
                    <a:gd name="T88" fmla="*/ 599 w 599"/>
                    <a:gd name="T89" fmla="*/ 315 h 599"/>
                    <a:gd name="T90" fmla="*/ 592 w 599"/>
                    <a:gd name="T91" fmla="*/ 239 h 599"/>
                    <a:gd name="T92" fmla="*/ 569 w 599"/>
                    <a:gd name="T93" fmla="*/ 169 h 599"/>
                    <a:gd name="T94" fmla="*/ 530 w 599"/>
                    <a:gd name="T95" fmla="*/ 110 h 599"/>
                    <a:gd name="T96" fmla="*/ 479 w 599"/>
                    <a:gd name="T97" fmla="*/ 59 h 599"/>
                    <a:gd name="T98" fmla="*/ 416 w 599"/>
                    <a:gd name="T99" fmla="*/ 24 h 599"/>
                    <a:gd name="T100" fmla="*/ 345 w 599"/>
                    <a:gd name="T101" fmla="*/ 4 h 5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599" h="599">
                      <a:moveTo>
                        <a:pt x="299" y="569"/>
                      </a:moveTo>
                      <a:lnTo>
                        <a:pt x="285" y="569"/>
                      </a:lnTo>
                      <a:lnTo>
                        <a:pt x="272" y="568"/>
                      </a:lnTo>
                      <a:lnTo>
                        <a:pt x="258" y="566"/>
                      </a:lnTo>
                      <a:lnTo>
                        <a:pt x="245" y="563"/>
                      </a:lnTo>
                      <a:lnTo>
                        <a:pt x="233" y="560"/>
                      </a:lnTo>
                      <a:lnTo>
                        <a:pt x="220" y="557"/>
                      </a:lnTo>
                      <a:lnTo>
                        <a:pt x="207" y="553"/>
                      </a:lnTo>
                      <a:lnTo>
                        <a:pt x="194" y="547"/>
                      </a:lnTo>
                      <a:lnTo>
                        <a:pt x="182" y="542"/>
                      </a:lnTo>
                      <a:lnTo>
                        <a:pt x="171" y="537"/>
                      </a:lnTo>
                      <a:lnTo>
                        <a:pt x="160" y="530"/>
                      </a:lnTo>
                      <a:lnTo>
                        <a:pt x="149" y="523"/>
                      </a:lnTo>
                      <a:lnTo>
                        <a:pt x="138" y="515"/>
                      </a:lnTo>
                      <a:lnTo>
                        <a:pt x="128" y="508"/>
                      </a:lnTo>
                      <a:lnTo>
                        <a:pt x="118" y="499"/>
                      </a:lnTo>
                      <a:lnTo>
                        <a:pt x="108" y="491"/>
                      </a:lnTo>
                      <a:lnTo>
                        <a:pt x="100" y="481"/>
                      </a:lnTo>
                      <a:lnTo>
                        <a:pt x="91" y="471"/>
                      </a:lnTo>
                      <a:lnTo>
                        <a:pt x="84" y="461"/>
                      </a:lnTo>
                      <a:lnTo>
                        <a:pt x="76" y="450"/>
                      </a:lnTo>
                      <a:lnTo>
                        <a:pt x="69" y="439"/>
                      </a:lnTo>
                      <a:lnTo>
                        <a:pt x="62" y="429"/>
                      </a:lnTo>
                      <a:lnTo>
                        <a:pt x="57" y="417"/>
                      </a:lnTo>
                      <a:lnTo>
                        <a:pt x="52" y="405"/>
                      </a:lnTo>
                      <a:lnTo>
                        <a:pt x="46" y="392"/>
                      </a:lnTo>
                      <a:lnTo>
                        <a:pt x="42" y="379"/>
                      </a:lnTo>
                      <a:lnTo>
                        <a:pt x="39" y="368"/>
                      </a:lnTo>
                      <a:lnTo>
                        <a:pt x="36" y="354"/>
                      </a:lnTo>
                      <a:lnTo>
                        <a:pt x="33" y="341"/>
                      </a:lnTo>
                      <a:lnTo>
                        <a:pt x="31" y="327"/>
                      </a:lnTo>
                      <a:lnTo>
                        <a:pt x="30" y="313"/>
                      </a:lnTo>
                      <a:lnTo>
                        <a:pt x="30" y="299"/>
                      </a:lnTo>
                      <a:lnTo>
                        <a:pt x="30" y="285"/>
                      </a:lnTo>
                      <a:lnTo>
                        <a:pt x="31" y="272"/>
                      </a:lnTo>
                      <a:lnTo>
                        <a:pt x="33" y="258"/>
                      </a:lnTo>
                      <a:lnTo>
                        <a:pt x="36" y="245"/>
                      </a:lnTo>
                      <a:lnTo>
                        <a:pt x="39" y="233"/>
                      </a:lnTo>
                      <a:lnTo>
                        <a:pt x="42" y="220"/>
                      </a:lnTo>
                      <a:lnTo>
                        <a:pt x="46" y="207"/>
                      </a:lnTo>
                      <a:lnTo>
                        <a:pt x="52" y="195"/>
                      </a:lnTo>
                      <a:lnTo>
                        <a:pt x="57" y="182"/>
                      </a:lnTo>
                      <a:lnTo>
                        <a:pt x="62" y="172"/>
                      </a:lnTo>
                      <a:lnTo>
                        <a:pt x="69" y="160"/>
                      </a:lnTo>
                      <a:lnTo>
                        <a:pt x="76" y="149"/>
                      </a:lnTo>
                      <a:lnTo>
                        <a:pt x="84" y="138"/>
                      </a:lnTo>
                      <a:lnTo>
                        <a:pt x="91" y="129"/>
                      </a:lnTo>
                      <a:lnTo>
                        <a:pt x="100" y="118"/>
                      </a:lnTo>
                      <a:lnTo>
                        <a:pt x="108" y="110"/>
                      </a:lnTo>
                      <a:lnTo>
                        <a:pt x="118" y="100"/>
                      </a:lnTo>
                      <a:lnTo>
                        <a:pt x="128" y="91"/>
                      </a:lnTo>
                      <a:lnTo>
                        <a:pt x="138" y="84"/>
                      </a:lnTo>
                      <a:lnTo>
                        <a:pt x="149" y="76"/>
                      </a:lnTo>
                      <a:lnTo>
                        <a:pt x="160" y="69"/>
                      </a:lnTo>
                      <a:lnTo>
                        <a:pt x="171" y="62"/>
                      </a:lnTo>
                      <a:lnTo>
                        <a:pt x="182" y="57"/>
                      </a:lnTo>
                      <a:lnTo>
                        <a:pt x="194" y="52"/>
                      </a:lnTo>
                      <a:lnTo>
                        <a:pt x="207" y="46"/>
                      </a:lnTo>
                      <a:lnTo>
                        <a:pt x="220" y="42"/>
                      </a:lnTo>
                      <a:lnTo>
                        <a:pt x="233" y="39"/>
                      </a:lnTo>
                      <a:lnTo>
                        <a:pt x="245" y="36"/>
                      </a:lnTo>
                      <a:lnTo>
                        <a:pt x="258" y="34"/>
                      </a:lnTo>
                      <a:lnTo>
                        <a:pt x="272" y="31"/>
                      </a:lnTo>
                      <a:lnTo>
                        <a:pt x="285" y="30"/>
                      </a:lnTo>
                      <a:lnTo>
                        <a:pt x="299" y="30"/>
                      </a:lnTo>
                      <a:lnTo>
                        <a:pt x="313" y="30"/>
                      </a:lnTo>
                      <a:lnTo>
                        <a:pt x="327" y="31"/>
                      </a:lnTo>
                      <a:lnTo>
                        <a:pt x="341" y="34"/>
                      </a:lnTo>
                      <a:lnTo>
                        <a:pt x="354" y="36"/>
                      </a:lnTo>
                      <a:lnTo>
                        <a:pt x="366" y="39"/>
                      </a:lnTo>
                      <a:lnTo>
                        <a:pt x="379" y="42"/>
                      </a:lnTo>
                      <a:lnTo>
                        <a:pt x="392" y="46"/>
                      </a:lnTo>
                      <a:lnTo>
                        <a:pt x="404" y="52"/>
                      </a:lnTo>
                      <a:lnTo>
                        <a:pt x="416" y="57"/>
                      </a:lnTo>
                      <a:lnTo>
                        <a:pt x="427" y="62"/>
                      </a:lnTo>
                      <a:lnTo>
                        <a:pt x="439" y="69"/>
                      </a:lnTo>
                      <a:lnTo>
                        <a:pt x="450" y="76"/>
                      </a:lnTo>
                      <a:lnTo>
                        <a:pt x="461" y="84"/>
                      </a:lnTo>
                      <a:lnTo>
                        <a:pt x="470" y="91"/>
                      </a:lnTo>
                      <a:lnTo>
                        <a:pt x="480" y="100"/>
                      </a:lnTo>
                      <a:lnTo>
                        <a:pt x="490" y="110"/>
                      </a:lnTo>
                      <a:lnTo>
                        <a:pt x="499" y="118"/>
                      </a:lnTo>
                      <a:lnTo>
                        <a:pt x="507" y="129"/>
                      </a:lnTo>
                      <a:lnTo>
                        <a:pt x="515" y="138"/>
                      </a:lnTo>
                      <a:lnTo>
                        <a:pt x="523" y="149"/>
                      </a:lnTo>
                      <a:lnTo>
                        <a:pt x="530" y="160"/>
                      </a:lnTo>
                      <a:lnTo>
                        <a:pt x="537" y="172"/>
                      </a:lnTo>
                      <a:lnTo>
                        <a:pt x="542" y="182"/>
                      </a:lnTo>
                      <a:lnTo>
                        <a:pt x="547" y="195"/>
                      </a:lnTo>
                      <a:lnTo>
                        <a:pt x="553" y="207"/>
                      </a:lnTo>
                      <a:lnTo>
                        <a:pt x="557" y="220"/>
                      </a:lnTo>
                      <a:lnTo>
                        <a:pt x="560" y="233"/>
                      </a:lnTo>
                      <a:lnTo>
                        <a:pt x="563" y="245"/>
                      </a:lnTo>
                      <a:lnTo>
                        <a:pt x="566" y="258"/>
                      </a:lnTo>
                      <a:lnTo>
                        <a:pt x="568" y="272"/>
                      </a:lnTo>
                      <a:lnTo>
                        <a:pt x="569" y="285"/>
                      </a:lnTo>
                      <a:lnTo>
                        <a:pt x="569" y="299"/>
                      </a:lnTo>
                      <a:lnTo>
                        <a:pt x="569" y="313"/>
                      </a:lnTo>
                      <a:lnTo>
                        <a:pt x="568" y="327"/>
                      </a:lnTo>
                      <a:lnTo>
                        <a:pt x="566" y="341"/>
                      </a:lnTo>
                      <a:lnTo>
                        <a:pt x="563" y="354"/>
                      </a:lnTo>
                      <a:lnTo>
                        <a:pt x="560" y="368"/>
                      </a:lnTo>
                      <a:lnTo>
                        <a:pt x="557" y="379"/>
                      </a:lnTo>
                      <a:lnTo>
                        <a:pt x="553" y="392"/>
                      </a:lnTo>
                      <a:lnTo>
                        <a:pt x="547" y="405"/>
                      </a:lnTo>
                      <a:lnTo>
                        <a:pt x="542" y="417"/>
                      </a:lnTo>
                      <a:lnTo>
                        <a:pt x="537" y="429"/>
                      </a:lnTo>
                      <a:lnTo>
                        <a:pt x="530" y="439"/>
                      </a:lnTo>
                      <a:lnTo>
                        <a:pt x="523" y="450"/>
                      </a:lnTo>
                      <a:lnTo>
                        <a:pt x="515" y="461"/>
                      </a:lnTo>
                      <a:lnTo>
                        <a:pt x="507" y="471"/>
                      </a:lnTo>
                      <a:lnTo>
                        <a:pt x="499" y="481"/>
                      </a:lnTo>
                      <a:lnTo>
                        <a:pt x="490" y="491"/>
                      </a:lnTo>
                      <a:lnTo>
                        <a:pt x="480" y="499"/>
                      </a:lnTo>
                      <a:lnTo>
                        <a:pt x="470" y="508"/>
                      </a:lnTo>
                      <a:lnTo>
                        <a:pt x="461" y="515"/>
                      </a:lnTo>
                      <a:lnTo>
                        <a:pt x="450" y="523"/>
                      </a:lnTo>
                      <a:lnTo>
                        <a:pt x="439" y="530"/>
                      </a:lnTo>
                      <a:lnTo>
                        <a:pt x="427" y="537"/>
                      </a:lnTo>
                      <a:lnTo>
                        <a:pt x="416" y="542"/>
                      </a:lnTo>
                      <a:lnTo>
                        <a:pt x="404" y="547"/>
                      </a:lnTo>
                      <a:lnTo>
                        <a:pt x="392" y="553"/>
                      </a:lnTo>
                      <a:lnTo>
                        <a:pt x="379" y="557"/>
                      </a:lnTo>
                      <a:lnTo>
                        <a:pt x="366" y="560"/>
                      </a:lnTo>
                      <a:lnTo>
                        <a:pt x="354" y="563"/>
                      </a:lnTo>
                      <a:lnTo>
                        <a:pt x="341" y="566"/>
                      </a:lnTo>
                      <a:lnTo>
                        <a:pt x="327" y="568"/>
                      </a:lnTo>
                      <a:lnTo>
                        <a:pt x="313" y="569"/>
                      </a:lnTo>
                      <a:lnTo>
                        <a:pt x="299" y="569"/>
                      </a:lnTo>
                      <a:close/>
                      <a:moveTo>
                        <a:pt x="299" y="0"/>
                      </a:moveTo>
                      <a:lnTo>
                        <a:pt x="284" y="0"/>
                      </a:lnTo>
                      <a:lnTo>
                        <a:pt x="269" y="1"/>
                      </a:lnTo>
                      <a:lnTo>
                        <a:pt x="254" y="4"/>
                      </a:lnTo>
                      <a:lnTo>
                        <a:pt x="239" y="6"/>
                      </a:lnTo>
                      <a:lnTo>
                        <a:pt x="225" y="10"/>
                      </a:lnTo>
                      <a:lnTo>
                        <a:pt x="210" y="13"/>
                      </a:lnTo>
                      <a:lnTo>
                        <a:pt x="196" y="19"/>
                      </a:lnTo>
                      <a:lnTo>
                        <a:pt x="183" y="24"/>
                      </a:lnTo>
                      <a:lnTo>
                        <a:pt x="169" y="29"/>
                      </a:lnTo>
                      <a:lnTo>
                        <a:pt x="157" y="37"/>
                      </a:lnTo>
                      <a:lnTo>
                        <a:pt x="144" y="43"/>
                      </a:lnTo>
                      <a:lnTo>
                        <a:pt x="132" y="52"/>
                      </a:lnTo>
                      <a:lnTo>
                        <a:pt x="120" y="59"/>
                      </a:lnTo>
                      <a:lnTo>
                        <a:pt x="109" y="69"/>
                      </a:lnTo>
                      <a:lnTo>
                        <a:pt x="98" y="79"/>
                      </a:lnTo>
                      <a:lnTo>
                        <a:pt x="88" y="88"/>
                      </a:lnTo>
                      <a:lnTo>
                        <a:pt x="77" y="99"/>
                      </a:lnTo>
                      <a:lnTo>
                        <a:pt x="69" y="110"/>
                      </a:lnTo>
                      <a:lnTo>
                        <a:pt x="59" y="120"/>
                      </a:lnTo>
                      <a:lnTo>
                        <a:pt x="52" y="132"/>
                      </a:lnTo>
                      <a:lnTo>
                        <a:pt x="43" y="145"/>
                      </a:lnTo>
                      <a:lnTo>
                        <a:pt x="37" y="157"/>
                      </a:lnTo>
                      <a:lnTo>
                        <a:pt x="29" y="169"/>
                      </a:lnTo>
                      <a:lnTo>
                        <a:pt x="24" y="183"/>
                      </a:lnTo>
                      <a:lnTo>
                        <a:pt x="18" y="196"/>
                      </a:lnTo>
                      <a:lnTo>
                        <a:pt x="13" y="210"/>
                      </a:lnTo>
                      <a:lnTo>
                        <a:pt x="10" y="225"/>
                      </a:lnTo>
                      <a:lnTo>
                        <a:pt x="6" y="239"/>
                      </a:lnTo>
                      <a:lnTo>
                        <a:pt x="3" y="254"/>
                      </a:lnTo>
                      <a:lnTo>
                        <a:pt x="1" y="269"/>
                      </a:lnTo>
                      <a:lnTo>
                        <a:pt x="0" y="284"/>
                      </a:lnTo>
                      <a:lnTo>
                        <a:pt x="0" y="299"/>
                      </a:lnTo>
                      <a:lnTo>
                        <a:pt x="0" y="315"/>
                      </a:lnTo>
                      <a:lnTo>
                        <a:pt x="1" y="330"/>
                      </a:lnTo>
                      <a:lnTo>
                        <a:pt x="3" y="345"/>
                      </a:lnTo>
                      <a:lnTo>
                        <a:pt x="6" y="360"/>
                      </a:lnTo>
                      <a:lnTo>
                        <a:pt x="10" y="374"/>
                      </a:lnTo>
                      <a:lnTo>
                        <a:pt x="13" y="389"/>
                      </a:lnTo>
                      <a:lnTo>
                        <a:pt x="18" y="403"/>
                      </a:lnTo>
                      <a:lnTo>
                        <a:pt x="24" y="416"/>
                      </a:lnTo>
                      <a:lnTo>
                        <a:pt x="29" y="430"/>
                      </a:lnTo>
                      <a:lnTo>
                        <a:pt x="37" y="442"/>
                      </a:lnTo>
                      <a:lnTo>
                        <a:pt x="43" y="455"/>
                      </a:lnTo>
                      <a:lnTo>
                        <a:pt x="52" y="467"/>
                      </a:lnTo>
                      <a:lnTo>
                        <a:pt x="59" y="479"/>
                      </a:lnTo>
                      <a:lnTo>
                        <a:pt x="69" y="491"/>
                      </a:lnTo>
                      <a:lnTo>
                        <a:pt x="77" y="501"/>
                      </a:lnTo>
                      <a:lnTo>
                        <a:pt x="88" y="511"/>
                      </a:lnTo>
                      <a:lnTo>
                        <a:pt x="98" y="522"/>
                      </a:lnTo>
                      <a:lnTo>
                        <a:pt x="109" y="530"/>
                      </a:lnTo>
                      <a:lnTo>
                        <a:pt x="120" y="540"/>
                      </a:lnTo>
                      <a:lnTo>
                        <a:pt x="132" y="547"/>
                      </a:lnTo>
                      <a:lnTo>
                        <a:pt x="144" y="556"/>
                      </a:lnTo>
                      <a:lnTo>
                        <a:pt x="157" y="562"/>
                      </a:lnTo>
                      <a:lnTo>
                        <a:pt x="169" y="570"/>
                      </a:lnTo>
                      <a:lnTo>
                        <a:pt x="183" y="575"/>
                      </a:lnTo>
                      <a:lnTo>
                        <a:pt x="196" y="581"/>
                      </a:lnTo>
                      <a:lnTo>
                        <a:pt x="210" y="585"/>
                      </a:lnTo>
                      <a:lnTo>
                        <a:pt x="225" y="589"/>
                      </a:lnTo>
                      <a:lnTo>
                        <a:pt x="239" y="592"/>
                      </a:lnTo>
                      <a:lnTo>
                        <a:pt x="254" y="596"/>
                      </a:lnTo>
                      <a:lnTo>
                        <a:pt x="269" y="598"/>
                      </a:lnTo>
                      <a:lnTo>
                        <a:pt x="284" y="599"/>
                      </a:lnTo>
                      <a:lnTo>
                        <a:pt x="299" y="599"/>
                      </a:lnTo>
                      <a:lnTo>
                        <a:pt x="315" y="599"/>
                      </a:lnTo>
                      <a:lnTo>
                        <a:pt x="330" y="598"/>
                      </a:lnTo>
                      <a:lnTo>
                        <a:pt x="345" y="596"/>
                      </a:lnTo>
                      <a:lnTo>
                        <a:pt x="360" y="592"/>
                      </a:lnTo>
                      <a:lnTo>
                        <a:pt x="374" y="589"/>
                      </a:lnTo>
                      <a:lnTo>
                        <a:pt x="388" y="585"/>
                      </a:lnTo>
                      <a:lnTo>
                        <a:pt x="402" y="581"/>
                      </a:lnTo>
                      <a:lnTo>
                        <a:pt x="416" y="575"/>
                      </a:lnTo>
                      <a:lnTo>
                        <a:pt x="429" y="570"/>
                      </a:lnTo>
                      <a:lnTo>
                        <a:pt x="442" y="562"/>
                      </a:lnTo>
                      <a:lnTo>
                        <a:pt x="454" y="556"/>
                      </a:lnTo>
                      <a:lnTo>
                        <a:pt x="467" y="547"/>
                      </a:lnTo>
                      <a:lnTo>
                        <a:pt x="479" y="540"/>
                      </a:lnTo>
                      <a:lnTo>
                        <a:pt x="490" y="530"/>
                      </a:lnTo>
                      <a:lnTo>
                        <a:pt x="500" y="522"/>
                      </a:lnTo>
                      <a:lnTo>
                        <a:pt x="511" y="511"/>
                      </a:lnTo>
                      <a:lnTo>
                        <a:pt x="521" y="501"/>
                      </a:lnTo>
                      <a:lnTo>
                        <a:pt x="530" y="491"/>
                      </a:lnTo>
                      <a:lnTo>
                        <a:pt x="539" y="479"/>
                      </a:lnTo>
                      <a:lnTo>
                        <a:pt x="547" y="467"/>
                      </a:lnTo>
                      <a:lnTo>
                        <a:pt x="555" y="455"/>
                      </a:lnTo>
                      <a:lnTo>
                        <a:pt x="562" y="442"/>
                      </a:lnTo>
                      <a:lnTo>
                        <a:pt x="569" y="430"/>
                      </a:lnTo>
                      <a:lnTo>
                        <a:pt x="575" y="416"/>
                      </a:lnTo>
                      <a:lnTo>
                        <a:pt x="581" y="403"/>
                      </a:lnTo>
                      <a:lnTo>
                        <a:pt x="585" y="389"/>
                      </a:lnTo>
                      <a:lnTo>
                        <a:pt x="589" y="374"/>
                      </a:lnTo>
                      <a:lnTo>
                        <a:pt x="592" y="360"/>
                      </a:lnTo>
                      <a:lnTo>
                        <a:pt x="596" y="345"/>
                      </a:lnTo>
                      <a:lnTo>
                        <a:pt x="598" y="330"/>
                      </a:lnTo>
                      <a:lnTo>
                        <a:pt x="599" y="315"/>
                      </a:lnTo>
                      <a:lnTo>
                        <a:pt x="599" y="299"/>
                      </a:lnTo>
                      <a:lnTo>
                        <a:pt x="599" y="284"/>
                      </a:lnTo>
                      <a:lnTo>
                        <a:pt x="598" y="269"/>
                      </a:lnTo>
                      <a:lnTo>
                        <a:pt x="596" y="254"/>
                      </a:lnTo>
                      <a:lnTo>
                        <a:pt x="592" y="239"/>
                      </a:lnTo>
                      <a:lnTo>
                        <a:pt x="589" y="225"/>
                      </a:lnTo>
                      <a:lnTo>
                        <a:pt x="585" y="210"/>
                      </a:lnTo>
                      <a:lnTo>
                        <a:pt x="581" y="196"/>
                      </a:lnTo>
                      <a:lnTo>
                        <a:pt x="575" y="183"/>
                      </a:lnTo>
                      <a:lnTo>
                        <a:pt x="569" y="169"/>
                      </a:lnTo>
                      <a:lnTo>
                        <a:pt x="562" y="157"/>
                      </a:lnTo>
                      <a:lnTo>
                        <a:pt x="555" y="145"/>
                      </a:lnTo>
                      <a:lnTo>
                        <a:pt x="547" y="132"/>
                      </a:lnTo>
                      <a:lnTo>
                        <a:pt x="539" y="120"/>
                      </a:lnTo>
                      <a:lnTo>
                        <a:pt x="530" y="110"/>
                      </a:lnTo>
                      <a:lnTo>
                        <a:pt x="521" y="99"/>
                      </a:lnTo>
                      <a:lnTo>
                        <a:pt x="511" y="88"/>
                      </a:lnTo>
                      <a:lnTo>
                        <a:pt x="500" y="79"/>
                      </a:lnTo>
                      <a:lnTo>
                        <a:pt x="490" y="69"/>
                      </a:lnTo>
                      <a:lnTo>
                        <a:pt x="479" y="59"/>
                      </a:lnTo>
                      <a:lnTo>
                        <a:pt x="467" y="52"/>
                      </a:lnTo>
                      <a:lnTo>
                        <a:pt x="454" y="43"/>
                      </a:lnTo>
                      <a:lnTo>
                        <a:pt x="442" y="37"/>
                      </a:lnTo>
                      <a:lnTo>
                        <a:pt x="429" y="29"/>
                      </a:lnTo>
                      <a:lnTo>
                        <a:pt x="416" y="24"/>
                      </a:lnTo>
                      <a:lnTo>
                        <a:pt x="402" y="19"/>
                      </a:lnTo>
                      <a:lnTo>
                        <a:pt x="388" y="13"/>
                      </a:lnTo>
                      <a:lnTo>
                        <a:pt x="374" y="10"/>
                      </a:lnTo>
                      <a:lnTo>
                        <a:pt x="360" y="6"/>
                      </a:lnTo>
                      <a:lnTo>
                        <a:pt x="345" y="4"/>
                      </a:lnTo>
                      <a:lnTo>
                        <a:pt x="330" y="1"/>
                      </a:lnTo>
                      <a:lnTo>
                        <a:pt x="315" y="0"/>
                      </a:lnTo>
                      <a:lnTo>
                        <a:pt x="29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6" name="Freeform 55">
                  <a:extLst>
                    <a:ext uri="{FF2B5EF4-FFF2-40B4-BE49-F238E27FC236}">
                      <a16:creationId xmlns:a16="http://schemas.microsoft.com/office/drawing/2014/main" id="{F7DF6714-0EB7-4C8A-A613-2C9F4837E2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2613" y="903288"/>
                  <a:ext cx="28575" cy="9525"/>
                </a:xfrm>
                <a:custGeom>
                  <a:avLst/>
                  <a:gdLst>
                    <a:gd name="T0" fmla="*/ 75 w 90"/>
                    <a:gd name="T1" fmla="*/ 0 h 30"/>
                    <a:gd name="T2" fmla="*/ 15 w 90"/>
                    <a:gd name="T3" fmla="*/ 0 h 30"/>
                    <a:gd name="T4" fmla="*/ 12 w 90"/>
                    <a:gd name="T5" fmla="*/ 1 h 30"/>
                    <a:gd name="T6" fmla="*/ 8 w 90"/>
                    <a:gd name="T7" fmla="*/ 2 h 30"/>
                    <a:gd name="T8" fmla="*/ 6 w 90"/>
                    <a:gd name="T9" fmla="*/ 3 h 30"/>
                    <a:gd name="T10" fmla="*/ 4 w 90"/>
                    <a:gd name="T11" fmla="*/ 5 h 30"/>
                    <a:gd name="T12" fmla="*/ 2 w 90"/>
                    <a:gd name="T13" fmla="*/ 8 h 30"/>
                    <a:gd name="T14" fmla="*/ 1 w 90"/>
                    <a:gd name="T15" fmla="*/ 10 h 30"/>
                    <a:gd name="T16" fmla="*/ 0 w 90"/>
                    <a:gd name="T17" fmla="*/ 13 h 30"/>
                    <a:gd name="T18" fmla="*/ 0 w 90"/>
                    <a:gd name="T19" fmla="*/ 15 h 30"/>
                    <a:gd name="T20" fmla="*/ 0 w 90"/>
                    <a:gd name="T21" fmla="*/ 18 h 30"/>
                    <a:gd name="T22" fmla="*/ 1 w 90"/>
                    <a:gd name="T23" fmla="*/ 21 h 30"/>
                    <a:gd name="T24" fmla="*/ 2 w 90"/>
                    <a:gd name="T25" fmla="*/ 24 h 30"/>
                    <a:gd name="T26" fmla="*/ 4 w 90"/>
                    <a:gd name="T27" fmla="*/ 26 h 30"/>
                    <a:gd name="T28" fmla="*/ 6 w 90"/>
                    <a:gd name="T29" fmla="*/ 28 h 30"/>
                    <a:gd name="T30" fmla="*/ 8 w 90"/>
                    <a:gd name="T31" fmla="*/ 29 h 30"/>
                    <a:gd name="T32" fmla="*/ 12 w 90"/>
                    <a:gd name="T33" fmla="*/ 30 h 30"/>
                    <a:gd name="T34" fmla="*/ 15 w 90"/>
                    <a:gd name="T35" fmla="*/ 30 h 30"/>
                    <a:gd name="T36" fmla="*/ 75 w 90"/>
                    <a:gd name="T37" fmla="*/ 30 h 30"/>
                    <a:gd name="T38" fmla="*/ 78 w 90"/>
                    <a:gd name="T39" fmla="*/ 30 h 30"/>
                    <a:gd name="T40" fmla="*/ 80 w 90"/>
                    <a:gd name="T41" fmla="*/ 29 h 30"/>
                    <a:gd name="T42" fmla="*/ 83 w 90"/>
                    <a:gd name="T43" fmla="*/ 28 h 30"/>
                    <a:gd name="T44" fmla="*/ 85 w 90"/>
                    <a:gd name="T45" fmla="*/ 26 h 30"/>
                    <a:gd name="T46" fmla="*/ 86 w 90"/>
                    <a:gd name="T47" fmla="*/ 24 h 30"/>
                    <a:gd name="T48" fmla="*/ 89 w 90"/>
                    <a:gd name="T49" fmla="*/ 21 h 30"/>
                    <a:gd name="T50" fmla="*/ 90 w 90"/>
                    <a:gd name="T51" fmla="*/ 18 h 30"/>
                    <a:gd name="T52" fmla="*/ 90 w 90"/>
                    <a:gd name="T53" fmla="*/ 15 h 30"/>
                    <a:gd name="T54" fmla="*/ 90 w 90"/>
                    <a:gd name="T55" fmla="*/ 13 h 30"/>
                    <a:gd name="T56" fmla="*/ 89 w 90"/>
                    <a:gd name="T57" fmla="*/ 10 h 30"/>
                    <a:gd name="T58" fmla="*/ 86 w 90"/>
                    <a:gd name="T59" fmla="*/ 8 h 30"/>
                    <a:gd name="T60" fmla="*/ 85 w 90"/>
                    <a:gd name="T61" fmla="*/ 5 h 30"/>
                    <a:gd name="T62" fmla="*/ 83 w 90"/>
                    <a:gd name="T63" fmla="*/ 3 h 30"/>
                    <a:gd name="T64" fmla="*/ 80 w 90"/>
                    <a:gd name="T65" fmla="*/ 2 h 30"/>
                    <a:gd name="T66" fmla="*/ 78 w 90"/>
                    <a:gd name="T67" fmla="*/ 1 h 30"/>
                    <a:gd name="T68" fmla="*/ 75 w 90"/>
                    <a:gd name="T69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90" h="30">
                      <a:moveTo>
                        <a:pt x="75" y="0"/>
                      </a:moveTo>
                      <a:lnTo>
                        <a:pt x="15" y="0"/>
                      </a:lnTo>
                      <a:lnTo>
                        <a:pt x="12" y="1"/>
                      </a:lnTo>
                      <a:lnTo>
                        <a:pt x="8" y="2"/>
                      </a:lnTo>
                      <a:lnTo>
                        <a:pt x="6" y="3"/>
                      </a:lnTo>
                      <a:lnTo>
                        <a:pt x="4" y="5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0" y="13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1"/>
                      </a:lnTo>
                      <a:lnTo>
                        <a:pt x="2" y="24"/>
                      </a:lnTo>
                      <a:lnTo>
                        <a:pt x="4" y="26"/>
                      </a:lnTo>
                      <a:lnTo>
                        <a:pt x="6" y="28"/>
                      </a:lnTo>
                      <a:lnTo>
                        <a:pt x="8" y="29"/>
                      </a:lnTo>
                      <a:lnTo>
                        <a:pt x="12" y="30"/>
                      </a:lnTo>
                      <a:lnTo>
                        <a:pt x="15" y="30"/>
                      </a:lnTo>
                      <a:lnTo>
                        <a:pt x="75" y="30"/>
                      </a:lnTo>
                      <a:lnTo>
                        <a:pt x="78" y="30"/>
                      </a:lnTo>
                      <a:lnTo>
                        <a:pt x="80" y="29"/>
                      </a:lnTo>
                      <a:lnTo>
                        <a:pt x="83" y="28"/>
                      </a:lnTo>
                      <a:lnTo>
                        <a:pt x="85" y="26"/>
                      </a:lnTo>
                      <a:lnTo>
                        <a:pt x="86" y="24"/>
                      </a:lnTo>
                      <a:lnTo>
                        <a:pt x="89" y="21"/>
                      </a:lnTo>
                      <a:lnTo>
                        <a:pt x="90" y="18"/>
                      </a:lnTo>
                      <a:lnTo>
                        <a:pt x="90" y="15"/>
                      </a:lnTo>
                      <a:lnTo>
                        <a:pt x="90" y="13"/>
                      </a:lnTo>
                      <a:lnTo>
                        <a:pt x="89" y="10"/>
                      </a:lnTo>
                      <a:lnTo>
                        <a:pt x="86" y="8"/>
                      </a:lnTo>
                      <a:lnTo>
                        <a:pt x="85" y="5"/>
                      </a:lnTo>
                      <a:lnTo>
                        <a:pt x="83" y="3"/>
                      </a:lnTo>
                      <a:lnTo>
                        <a:pt x="80" y="2"/>
                      </a:lnTo>
                      <a:lnTo>
                        <a:pt x="78" y="1"/>
                      </a:lnTo>
                      <a:lnTo>
                        <a:pt x="7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7" name="Freeform 56">
                  <a:extLst>
                    <a:ext uri="{FF2B5EF4-FFF2-40B4-BE49-F238E27FC236}">
                      <a16:creationId xmlns:a16="http://schemas.microsoft.com/office/drawing/2014/main" id="{081AAD3F-34BD-4888-959E-8C20897735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8313" y="769938"/>
                  <a:ext cx="9525" cy="28575"/>
                </a:xfrm>
                <a:custGeom>
                  <a:avLst/>
                  <a:gdLst>
                    <a:gd name="T0" fmla="*/ 15 w 30"/>
                    <a:gd name="T1" fmla="*/ 89 h 89"/>
                    <a:gd name="T2" fmla="*/ 18 w 30"/>
                    <a:gd name="T3" fmla="*/ 89 h 89"/>
                    <a:gd name="T4" fmla="*/ 21 w 30"/>
                    <a:gd name="T5" fmla="*/ 88 h 89"/>
                    <a:gd name="T6" fmla="*/ 24 w 30"/>
                    <a:gd name="T7" fmla="*/ 87 h 89"/>
                    <a:gd name="T8" fmla="*/ 26 w 30"/>
                    <a:gd name="T9" fmla="*/ 85 h 89"/>
                    <a:gd name="T10" fmla="*/ 28 w 30"/>
                    <a:gd name="T11" fmla="*/ 83 h 89"/>
                    <a:gd name="T12" fmla="*/ 29 w 30"/>
                    <a:gd name="T13" fmla="*/ 81 h 89"/>
                    <a:gd name="T14" fmla="*/ 30 w 30"/>
                    <a:gd name="T15" fmla="*/ 78 h 89"/>
                    <a:gd name="T16" fmla="*/ 30 w 30"/>
                    <a:gd name="T17" fmla="*/ 74 h 89"/>
                    <a:gd name="T18" fmla="*/ 30 w 30"/>
                    <a:gd name="T19" fmla="*/ 14 h 89"/>
                    <a:gd name="T20" fmla="*/ 30 w 30"/>
                    <a:gd name="T21" fmla="*/ 11 h 89"/>
                    <a:gd name="T22" fmla="*/ 29 w 30"/>
                    <a:gd name="T23" fmla="*/ 9 h 89"/>
                    <a:gd name="T24" fmla="*/ 28 w 30"/>
                    <a:gd name="T25" fmla="*/ 6 h 89"/>
                    <a:gd name="T26" fmla="*/ 26 w 30"/>
                    <a:gd name="T27" fmla="*/ 4 h 89"/>
                    <a:gd name="T28" fmla="*/ 24 w 30"/>
                    <a:gd name="T29" fmla="*/ 2 h 89"/>
                    <a:gd name="T30" fmla="*/ 21 w 30"/>
                    <a:gd name="T31" fmla="*/ 1 h 89"/>
                    <a:gd name="T32" fmla="*/ 18 w 30"/>
                    <a:gd name="T33" fmla="*/ 0 h 89"/>
                    <a:gd name="T34" fmla="*/ 15 w 30"/>
                    <a:gd name="T35" fmla="*/ 0 h 89"/>
                    <a:gd name="T36" fmla="*/ 13 w 30"/>
                    <a:gd name="T37" fmla="*/ 0 h 89"/>
                    <a:gd name="T38" fmla="*/ 10 w 30"/>
                    <a:gd name="T39" fmla="*/ 1 h 89"/>
                    <a:gd name="T40" fmla="*/ 7 w 30"/>
                    <a:gd name="T41" fmla="*/ 2 h 89"/>
                    <a:gd name="T42" fmla="*/ 4 w 30"/>
                    <a:gd name="T43" fmla="*/ 4 h 89"/>
                    <a:gd name="T44" fmla="*/ 3 w 30"/>
                    <a:gd name="T45" fmla="*/ 6 h 89"/>
                    <a:gd name="T46" fmla="*/ 1 w 30"/>
                    <a:gd name="T47" fmla="*/ 9 h 89"/>
                    <a:gd name="T48" fmla="*/ 1 w 30"/>
                    <a:gd name="T49" fmla="*/ 11 h 89"/>
                    <a:gd name="T50" fmla="*/ 0 w 30"/>
                    <a:gd name="T51" fmla="*/ 14 h 89"/>
                    <a:gd name="T52" fmla="*/ 0 w 30"/>
                    <a:gd name="T53" fmla="*/ 74 h 89"/>
                    <a:gd name="T54" fmla="*/ 1 w 30"/>
                    <a:gd name="T55" fmla="*/ 78 h 89"/>
                    <a:gd name="T56" fmla="*/ 1 w 30"/>
                    <a:gd name="T57" fmla="*/ 81 h 89"/>
                    <a:gd name="T58" fmla="*/ 3 w 30"/>
                    <a:gd name="T59" fmla="*/ 83 h 89"/>
                    <a:gd name="T60" fmla="*/ 4 w 30"/>
                    <a:gd name="T61" fmla="*/ 85 h 89"/>
                    <a:gd name="T62" fmla="*/ 7 w 30"/>
                    <a:gd name="T63" fmla="*/ 87 h 89"/>
                    <a:gd name="T64" fmla="*/ 10 w 30"/>
                    <a:gd name="T65" fmla="*/ 88 h 89"/>
                    <a:gd name="T66" fmla="*/ 13 w 30"/>
                    <a:gd name="T67" fmla="*/ 89 h 89"/>
                    <a:gd name="T68" fmla="*/ 15 w 30"/>
                    <a:gd name="T69" fmla="*/ 89 h 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0" h="89">
                      <a:moveTo>
                        <a:pt x="15" y="89"/>
                      </a:moveTo>
                      <a:lnTo>
                        <a:pt x="18" y="89"/>
                      </a:lnTo>
                      <a:lnTo>
                        <a:pt x="21" y="88"/>
                      </a:lnTo>
                      <a:lnTo>
                        <a:pt x="24" y="87"/>
                      </a:lnTo>
                      <a:lnTo>
                        <a:pt x="26" y="85"/>
                      </a:lnTo>
                      <a:lnTo>
                        <a:pt x="28" y="83"/>
                      </a:lnTo>
                      <a:lnTo>
                        <a:pt x="29" y="81"/>
                      </a:lnTo>
                      <a:lnTo>
                        <a:pt x="30" y="78"/>
                      </a:lnTo>
                      <a:lnTo>
                        <a:pt x="30" y="74"/>
                      </a:lnTo>
                      <a:lnTo>
                        <a:pt x="30" y="14"/>
                      </a:lnTo>
                      <a:lnTo>
                        <a:pt x="30" y="11"/>
                      </a:lnTo>
                      <a:lnTo>
                        <a:pt x="29" y="9"/>
                      </a:lnTo>
                      <a:lnTo>
                        <a:pt x="28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lnTo>
                        <a:pt x="13" y="0"/>
                      </a:lnTo>
                      <a:lnTo>
                        <a:pt x="10" y="1"/>
                      </a:lnTo>
                      <a:lnTo>
                        <a:pt x="7" y="2"/>
                      </a:lnTo>
                      <a:lnTo>
                        <a:pt x="4" y="4"/>
                      </a:lnTo>
                      <a:lnTo>
                        <a:pt x="3" y="6"/>
                      </a:lnTo>
                      <a:lnTo>
                        <a:pt x="1" y="9"/>
                      </a:lnTo>
                      <a:lnTo>
                        <a:pt x="1" y="11"/>
                      </a:lnTo>
                      <a:lnTo>
                        <a:pt x="0" y="14"/>
                      </a:lnTo>
                      <a:lnTo>
                        <a:pt x="0" y="74"/>
                      </a:lnTo>
                      <a:lnTo>
                        <a:pt x="1" y="78"/>
                      </a:lnTo>
                      <a:lnTo>
                        <a:pt x="1" y="81"/>
                      </a:lnTo>
                      <a:lnTo>
                        <a:pt x="3" y="83"/>
                      </a:lnTo>
                      <a:lnTo>
                        <a:pt x="4" y="85"/>
                      </a:lnTo>
                      <a:lnTo>
                        <a:pt x="7" y="87"/>
                      </a:lnTo>
                      <a:lnTo>
                        <a:pt x="10" y="88"/>
                      </a:lnTo>
                      <a:lnTo>
                        <a:pt x="13" y="89"/>
                      </a:lnTo>
                      <a:lnTo>
                        <a:pt x="15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8" name="Freeform 57">
                  <a:extLst>
                    <a:ext uri="{FF2B5EF4-FFF2-40B4-BE49-F238E27FC236}">
                      <a16:creationId xmlns:a16="http://schemas.microsoft.com/office/drawing/2014/main" id="{37607E35-CCBE-437E-B6C2-F51D0E08E0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4963" y="903288"/>
                  <a:ext cx="28575" cy="9525"/>
                </a:xfrm>
                <a:custGeom>
                  <a:avLst/>
                  <a:gdLst>
                    <a:gd name="T0" fmla="*/ 75 w 90"/>
                    <a:gd name="T1" fmla="*/ 0 h 30"/>
                    <a:gd name="T2" fmla="*/ 15 w 90"/>
                    <a:gd name="T3" fmla="*/ 0 h 30"/>
                    <a:gd name="T4" fmla="*/ 12 w 90"/>
                    <a:gd name="T5" fmla="*/ 1 h 30"/>
                    <a:gd name="T6" fmla="*/ 9 w 90"/>
                    <a:gd name="T7" fmla="*/ 2 h 30"/>
                    <a:gd name="T8" fmla="*/ 7 w 90"/>
                    <a:gd name="T9" fmla="*/ 3 h 30"/>
                    <a:gd name="T10" fmla="*/ 5 w 90"/>
                    <a:gd name="T11" fmla="*/ 5 h 30"/>
                    <a:gd name="T12" fmla="*/ 3 w 90"/>
                    <a:gd name="T13" fmla="*/ 8 h 30"/>
                    <a:gd name="T14" fmla="*/ 1 w 90"/>
                    <a:gd name="T15" fmla="*/ 10 h 30"/>
                    <a:gd name="T16" fmla="*/ 0 w 90"/>
                    <a:gd name="T17" fmla="*/ 13 h 30"/>
                    <a:gd name="T18" fmla="*/ 0 w 90"/>
                    <a:gd name="T19" fmla="*/ 15 h 30"/>
                    <a:gd name="T20" fmla="*/ 0 w 90"/>
                    <a:gd name="T21" fmla="*/ 18 h 30"/>
                    <a:gd name="T22" fmla="*/ 1 w 90"/>
                    <a:gd name="T23" fmla="*/ 21 h 30"/>
                    <a:gd name="T24" fmla="*/ 3 w 90"/>
                    <a:gd name="T25" fmla="*/ 24 h 30"/>
                    <a:gd name="T26" fmla="*/ 5 w 90"/>
                    <a:gd name="T27" fmla="*/ 26 h 30"/>
                    <a:gd name="T28" fmla="*/ 7 w 90"/>
                    <a:gd name="T29" fmla="*/ 28 h 30"/>
                    <a:gd name="T30" fmla="*/ 9 w 90"/>
                    <a:gd name="T31" fmla="*/ 29 h 30"/>
                    <a:gd name="T32" fmla="*/ 12 w 90"/>
                    <a:gd name="T33" fmla="*/ 30 h 30"/>
                    <a:gd name="T34" fmla="*/ 15 w 90"/>
                    <a:gd name="T35" fmla="*/ 30 h 30"/>
                    <a:gd name="T36" fmla="*/ 75 w 90"/>
                    <a:gd name="T37" fmla="*/ 30 h 30"/>
                    <a:gd name="T38" fmla="*/ 79 w 90"/>
                    <a:gd name="T39" fmla="*/ 30 h 30"/>
                    <a:gd name="T40" fmla="*/ 81 w 90"/>
                    <a:gd name="T41" fmla="*/ 29 h 30"/>
                    <a:gd name="T42" fmla="*/ 84 w 90"/>
                    <a:gd name="T43" fmla="*/ 28 h 30"/>
                    <a:gd name="T44" fmla="*/ 86 w 90"/>
                    <a:gd name="T45" fmla="*/ 26 h 30"/>
                    <a:gd name="T46" fmla="*/ 87 w 90"/>
                    <a:gd name="T47" fmla="*/ 24 h 30"/>
                    <a:gd name="T48" fmla="*/ 89 w 90"/>
                    <a:gd name="T49" fmla="*/ 21 h 30"/>
                    <a:gd name="T50" fmla="*/ 90 w 90"/>
                    <a:gd name="T51" fmla="*/ 18 h 30"/>
                    <a:gd name="T52" fmla="*/ 90 w 90"/>
                    <a:gd name="T53" fmla="*/ 15 h 30"/>
                    <a:gd name="T54" fmla="*/ 90 w 90"/>
                    <a:gd name="T55" fmla="*/ 13 h 30"/>
                    <a:gd name="T56" fmla="*/ 89 w 90"/>
                    <a:gd name="T57" fmla="*/ 10 h 30"/>
                    <a:gd name="T58" fmla="*/ 87 w 90"/>
                    <a:gd name="T59" fmla="*/ 8 h 30"/>
                    <a:gd name="T60" fmla="*/ 86 w 90"/>
                    <a:gd name="T61" fmla="*/ 5 h 30"/>
                    <a:gd name="T62" fmla="*/ 84 w 90"/>
                    <a:gd name="T63" fmla="*/ 3 h 30"/>
                    <a:gd name="T64" fmla="*/ 81 w 90"/>
                    <a:gd name="T65" fmla="*/ 2 h 30"/>
                    <a:gd name="T66" fmla="*/ 79 w 90"/>
                    <a:gd name="T67" fmla="*/ 1 h 30"/>
                    <a:gd name="T68" fmla="*/ 75 w 90"/>
                    <a:gd name="T69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90" h="30">
                      <a:moveTo>
                        <a:pt x="75" y="0"/>
                      </a:moveTo>
                      <a:lnTo>
                        <a:pt x="15" y="0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7" y="3"/>
                      </a:lnTo>
                      <a:lnTo>
                        <a:pt x="5" y="5"/>
                      </a:lnTo>
                      <a:lnTo>
                        <a:pt x="3" y="8"/>
                      </a:lnTo>
                      <a:lnTo>
                        <a:pt x="1" y="10"/>
                      </a:lnTo>
                      <a:lnTo>
                        <a:pt x="0" y="13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1"/>
                      </a:lnTo>
                      <a:lnTo>
                        <a:pt x="3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9" y="29"/>
                      </a:lnTo>
                      <a:lnTo>
                        <a:pt x="12" y="30"/>
                      </a:lnTo>
                      <a:lnTo>
                        <a:pt x="15" y="30"/>
                      </a:lnTo>
                      <a:lnTo>
                        <a:pt x="75" y="30"/>
                      </a:lnTo>
                      <a:lnTo>
                        <a:pt x="79" y="30"/>
                      </a:lnTo>
                      <a:lnTo>
                        <a:pt x="81" y="29"/>
                      </a:lnTo>
                      <a:lnTo>
                        <a:pt x="84" y="28"/>
                      </a:lnTo>
                      <a:lnTo>
                        <a:pt x="86" y="26"/>
                      </a:lnTo>
                      <a:lnTo>
                        <a:pt x="87" y="24"/>
                      </a:lnTo>
                      <a:lnTo>
                        <a:pt x="89" y="21"/>
                      </a:lnTo>
                      <a:lnTo>
                        <a:pt x="90" y="18"/>
                      </a:lnTo>
                      <a:lnTo>
                        <a:pt x="90" y="15"/>
                      </a:lnTo>
                      <a:lnTo>
                        <a:pt x="90" y="13"/>
                      </a:lnTo>
                      <a:lnTo>
                        <a:pt x="89" y="10"/>
                      </a:lnTo>
                      <a:lnTo>
                        <a:pt x="87" y="8"/>
                      </a:lnTo>
                      <a:lnTo>
                        <a:pt x="86" y="5"/>
                      </a:lnTo>
                      <a:lnTo>
                        <a:pt x="84" y="3"/>
                      </a:lnTo>
                      <a:lnTo>
                        <a:pt x="81" y="2"/>
                      </a:lnTo>
                      <a:lnTo>
                        <a:pt x="79" y="1"/>
                      </a:lnTo>
                      <a:lnTo>
                        <a:pt x="7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29" name="Freeform 58">
                  <a:extLst>
                    <a:ext uri="{FF2B5EF4-FFF2-40B4-BE49-F238E27FC236}">
                      <a16:creationId xmlns:a16="http://schemas.microsoft.com/office/drawing/2014/main" id="{F18C2FEF-C9EE-41E7-A822-5928A8FC02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8313" y="1017588"/>
                  <a:ext cx="9525" cy="28575"/>
                </a:xfrm>
                <a:custGeom>
                  <a:avLst/>
                  <a:gdLst>
                    <a:gd name="T0" fmla="*/ 15 w 30"/>
                    <a:gd name="T1" fmla="*/ 0 h 90"/>
                    <a:gd name="T2" fmla="*/ 13 w 30"/>
                    <a:gd name="T3" fmla="*/ 0 h 90"/>
                    <a:gd name="T4" fmla="*/ 10 w 30"/>
                    <a:gd name="T5" fmla="*/ 1 h 90"/>
                    <a:gd name="T6" fmla="*/ 7 w 30"/>
                    <a:gd name="T7" fmla="*/ 2 h 90"/>
                    <a:gd name="T8" fmla="*/ 4 w 30"/>
                    <a:gd name="T9" fmla="*/ 4 h 90"/>
                    <a:gd name="T10" fmla="*/ 3 w 30"/>
                    <a:gd name="T11" fmla="*/ 6 h 90"/>
                    <a:gd name="T12" fmla="*/ 1 w 30"/>
                    <a:gd name="T13" fmla="*/ 9 h 90"/>
                    <a:gd name="T14" fmla="*/ 1 w 30"/>
                    <a:gd name="T15" fmla="*/ 11 h 90"/>
                    <a:gd name="T16" fmla="*/ 0 w 30"/>
                    <a:gd name="T17" fmla="*/ 15 h 90"/>
                    <a:gd name="T18" fmla="*/ 0 w 30"/>
                    <a:gd name="T19" fmla="*/ 75 h 90"/>
                    <a:gd name="T20" fmla="*/ 1 w 30"/>
                    <a:gd name="T21" fmla="*/ 78 h 90"/>
                    <a:gd name="T22" fmla="*/ 1 w 30"/>
                    <a:gd name="T23" fmla="*/ 81 h 90"/>
                    <a:gd name="T24" fmla="*/ 3 w 30"/>
                    <a:gd name="T25" fmla="*/ 83 h 90"/>
                    <a:gd name="T26" fmla="*/ 4 w 30"/>
                    <a:gd name="T27" fmla="*/ 85 h 90"/>
                    <a:gd name="T28" fmla="*/ 7 w 30"/>
                    <a:gd name="T29" fmla="*/ 87 h 90"/>
                    <a:gd name="T30" fmla="*/ 10 w 30"/>
                    <a:gd name="T31" fmla="*/ 89 h 90"/>
                    <a:gd name="T32" fmla="*/ 13 w 30"/>
                    <a:gd name="T33" fmla="*/ 90 h 90"/>
                    <a:gd name="T34" fmla="*/ 15 w 30"/>
                    <a:gd name="T35" fmla="*/ 90 h 90"/>
                    <a:gd name="T36" fmla="*/ 18 w 30"/>
                    <a:gd name="T37" fmla="*/ 90 h 90"/>
                    <a:gd name="T38" fmla="*/ 21 w 30"/>
                    <a:gd name="T39" fmla="*/ 89 h 90"/>
                    <a:gd name="T40" fmla="*/ 24 w 30"/>
                    <a:gd name="T41" fmla="*/ 87 h 90"/>
                    <a:gd name="T42" fmla="*/ 26 w 30"/>
                    <a:gd name="T43" fmla="*/ 85 h 90"/>
                    <a:gd name="T44" fmla="*/ 28 w 30"/>
                    <a:gd name="T45" fmla="*/ 83 h 90"/>
                    <a:gd name="T46" fmla="*/ 29 w 30"/>
                    <a:gd name="T47" fmla="*/ 81 h 90"/>
                    <a:gd name="T48" fmla="*/ 30 w 30"/>
                    <a:gd name="T49" fmla="*/ 78 h 90"/>
                    <a:gd name="T50" fmla="*/ 30 w 30"/>
                    <a:gd name="T51" fmla="*/ 75 h 90"/>
                    <a:gd name="T52" fmla="*/ 30 w 30"/>
                    <a:gd name="T53" fmla="*/ 15 h 90"/>
                    <a:gd name="T54" fmla="*/ 30 w 30"/>
                    <a:gd name="T55" fmla="*/ 11 h 90"/>
                    <a:gd name="T56" fmla="*/ 29 w 30"/>
                    <a:gd name="T57" fmla="*/ 9 h 90"/>
                    <a:gd name="T58" fmla="*/ 28 w 30"/>
                    <a:gd name="T59" fmla="*/ 6 h 90"/>
                    <a:gd name="T60" fmla="*/ 26 w 30"/>
                    <a:gd name="T61" fmla="*/ 4 h 90"/>
                    <a:gd name="T62" fmla="*/ 24 w 30"/>
                    <a:gd name="T63" fmla="*/ 2 h 90"/>
                    <a:gd name="T64" fmla="*/ 21 w 30"/>
                    <a:gd name="T65" fmla="*/ 1 h 90"/>
                    <a:gd name="T66" fmla="*/ 18 w 30"/>
                    <a:gd name="T67" fmla="*/ 0 h 90"/>
                    <a:gd name="T68" fmla="*/ 15 w 30"/>
                    <a:gd name="T69" fmla="*/ 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0" h="90">
                      <a:moveTo>
                        <a:pt x="15" y="0"/>
                      </a:moveTo>
                      <a:lnTo>
                        <a:pt x="13" y="0"/>
                      </a:lnTo>
                      <a:lnTo>
                        <a:pt x="10" y="1"/>
                      </a:lnTo>
                      <a:lnTo>
                        <a:pt x="7" y="2"/>
                      </a:lnTo>
                      <a:lnTo>
                        <a:pt x="4" y="4"/>
                      </a:lnTo>
                      <a:lnTo>
                        <a:pt x="3" y="6"/>
                      </a:lnTo>
                      <a:lnTo>
                        <a:pt x="1" y="9"/>
                      </a:lnTo>
                      <a:lnTo>
                        <a:pt x="1" y="11"/>
                      </a:lnTo>
                      <a:lnTo>
                        <a:pt x="0" y="15"/>
                      </a:lnTo>
                      <a:lnTo>
                        <a:pt x="0" y="75"/>
                      </a:lnTo>
                      <a:lnTo>
                        <a:pt x="1" y="78"/>
                      </a:lnTo>
                      <a:lnTo>
                        <a:pt x="1" y="81"/>
                      </a:lnTo>
                      <a:lnTo>
                        <a:pt x="3" y="83"/>
                      </a:lnTo>
                      <a:lnTo>
                        <a:pt x="4" y="85"/>
                      </a:lnTo>
                      <a:lnTo>
                        <a:pt x="7" y="87"/>
                      </a:lnTo>
                      <a:lnTo>
                        <a:pt x="10" y="89"/>
                      </a:lnTo>
                      <a:lnTo>
                        <a:pt x="13" y="90"/>
                      </a:lnTo>
                      <a:lnTo>
                        <a:pt x="15" y="90"/>
                      </a:lnTo>
                      <a:lnTo>
                        <a:pt x="18" y="90"/>
                      </a:lnTo>
                      <a:lnTo>
                        <a:pt x="21" y="89"/>
                      </a:lnTo>
                      <a:lnTo>
                        <a:pt x="24" y="87"/>
                      </a:lnTo>
                      <a:lnTo>
                        <a:pt x="26" y="85"/>
                      </a:lnTo>
                      <a:lnTo>
                        <a:pt x="28" y="83"/>
                      </a:lnTo>
                      <a:lnTo>
                        <a:pt x="29" y="81"/>
                      </a:lnTo>
                      <a:lnTo>
                        <a:pt x="30" y="78"/>
                      </a:lnTo>
                      <a:lnTo>
                        <a:pt x="30" y="75"/>
                      </a:lnTo>
                      <a:lnTo>
                        <a:pt x="30" y="15"/>
                      </a:lnTo>
                      <a:lnTo>
                        <a:pt x="30" y="11"/>
                      </a:lnTo>
                      <a:lnTo>
                        <a:pt x="29" y="9"/>
                      </a:lnTo>
                      <a:lnTo>
                        <a:pt x="28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0" name="Freeform 59">
                  <a:extLst>
                    <a:ext uri="{FF2B5EF4-FFF2-40B4-BE49-F238E27FC236}">
                      <a16:creationId xmlns:a16="http://schemas.microsoft.com/office/drawing/2014/main" id="{8A091DFC-669A-4E59-851F-0C89D5B6E1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9275" y="809625"/>
                  <a:ext cx="22225" cy="22225"/>
                </a:xfrm>
                <a:custGeom>
                  <a:avLst/>
                  <a:gdLst>
                    <a:gd name="T0" fmla="*/ 46 w 72"/>
                    <a:gd name="T1" fmla="*/ 4 h 72"/>
                    <a:gd name="T2" fmla="*/ 4 w 72"/>
                    <a:gd name="T3" fmla="*/ 47 h 72"/>
                    <a:gd name="T4" fmla="*/ 2 w 72"/>
                    <a:gd name="T5" fmla="*/ 49 h 72"/>
                    <a:gd name="T6" fmla="*/ 1 w 72"/>
                    <a:gd name="T7" fmla="*/ 52 h 72"/>
                    <a:gd name="T8" fmla="*/ 0 w 72"/>
                    <a:gd name="T9" fmla="*/ 54 h 72"/>
                    <a:gd name="T10" fmla="*/ 0 w 72"/>
                    <a:gd name="T11" fmla="*/ 57 h 72"/>
                    <a:gd name="T12" fmla="*/ 0 w 72"/>
                    <a:gd name="T13" fmla="*/ 61 h 72"/>
                    <a:gd name="T14" fmla="*/ 1 w 72"/>
                    <a:gd name="T15" fmla="*/ 63 h 72"/>
                    <a:gd name="T16" fmla="*/ 2 w 72"/>
                    <a:gd name="T17" fmla="*/ 66 h 72"/>
                    <a:gd name="T18" fmla="*/ 4 w 72"/>
                    <a:gd name="T19" fmla="*/ 68 h 72"/>
                    <a:gd name="T20" fmla="*/ 6 w 72"/>
                    <a:gd name="T21" fmla="*/ 70 h 72"/>
                    <a:gd name="T22" fmla="*/ 8 w 72"/>
                    <a:gd name="T23" fmla="*/ 71 h 72"/>
                    <a:gd name="T24" fmla="*/ 12 w 72"/>
                    <a:gd name="T25" fmla="*/ 72 h 72"/>
                    <a:gd name="T26" fmla="*/ 15 w 72"/>
                    <a:gd name="T27" fmla="*/ 72 h 72"/>
                    <a:gd name="T28" fmla="*/ 17 w 72"/>
                    <a:gd name="T29" fmla="*/ 72 h 72"/>
                    <a:gd name="T30" fmla="*/ 20 w 72"/>
                    <a:gd name="T31" fmla="*/ 71 h 72"/>
                    <a:gd name="T32" fmla="*/ 22 w 72"/>
                    <a:gd name="T33" fmla="*/ 70 h 72"/>
                    <a:gd name="T34" fmla="*/ 25 w 72"/>
                    <a:gd name="T35" fmla="*/ 68 h 72"/>
                    <a:gd name="T36" fmla="*/ 67 w 72"/>
                    <a:gd name="T37" fmla="*/ 24 h 72"/>
                    <a:gd name="T38" fmla="*/ 69 w 72"/>
                    <a:gd name="T39" fmla="*/ 22 h 72"/>
                    <a:gd name="T40" fmla="*/ 70 w 72"/>
                    <a:gd name="T41" fmla="*/ 20 h 72"/>
                    <a:gd name="T42" fmla="*/ 72 w 72"/>
                    <a:gd name="T43" fmla="*/ 18 h 72"/>
                    <a:gd name="T44" fmla="*/ 72 w 72"/>
                    <a:gd name="T45" fmla="*/ 15 h 72"/>
                    <a:gd name="T46" fmla="*/ 72 w 72"/>
                    <a:gd name="T47" fmla="*/ 11 h 72"/>
                    <a:gd name="T48" fmla="*/ 70 w 72"/>
                    <a:gd name="T49" fmla="*/ 9 h 72"/>
                    <a:gd name="T50" fmla="*/ 69 w 72"/>
                    <a:gd name="T51" fmla="*/ 6 h 72"/>
                    <a:gd name="T52" fmla="*/ 67 w 72"/>
                    <a:gd name="T53" fmla="*/ 4 h 72"/>
                    <a:gd name="T54" fmla="*/ 65 w 72"/>
                    <a:gd name="T55" fmla="*/ 2 h 72"/>
                    <a:gd name="T56" fmla="*/ 62 w 72"/>
                    <a:gd name="T57" fmla="*/ 1 h 72"/>
                    <a:gd name="T58" fmla="*/ 60 w 72"/>
                    <a:gd name="T59" fmla="*/ 0 h 72"/>
                    <a:gd name="T60" fmla="*/ 57 w 72"/>
                    <a:gd name="T61" fmla="*/ 0 h 72"/>
                    <a:gd name="T62" fmla="*/ 53 w 72"/>
                    <a:gd name="T63" fmla="*/ 0 h 72"/>
                    <a:gd name="T64" fmla="*/ 51 w 72"/>
                    <a:gd name="T65" fmla="*/ 1 h 72"/>
                    <a:gd name="T66" fmla="*/ 48 w 72"/>
                    <a:gd name="T67" fmla="*/ 2 h 72"/>
                    <a:gd name="T68" fmla="*/ 46 w 72"/>
                    <a:gd name="T69" fmla="*/ 4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2" h="72">
                      <a:moveTo>
                        <a:pt x="46" y="4"/>
                      </a:moveTo>
                      <a:lnTo>
                        <a:pt x="4" y="47"/>
                      </a:lnTo>
                      <a:lnTo>
                        <a:pt x="2" y="49"/>
                      </a:lnTo>
                      <a:lnTo>
                        <a:pt x="1" y="52"/>
                      </a:lnTo>
                      <a:lnTo>
                        <a:pt x="0" y="54"/>
                      </a:lnTo>
                      <a:lnTo>
                        <a:pt x="0" y="57"/>
                      </a:lnTo>
                      <a:lnTo>
                        <a:pt x="0" y="61"/>
                      </a:lnTo>
                      <a:lnTo>
                        <a:pt x="1" y="63"/>
                      </a:lnTo>
                      <a:lnTo>
                        <a:pt x="2" y="66"/>
                      </a:lnTo>
                      <a:lnTo>
                        <a:pt x="4" y="68"/>
                      </a:lnTo>
                      <a:lnTo>
                        <a:pt x="6" y="70"/>
                      </a:lnTo>
                      <a:lnTo>
                        <a:pt x="8" y="71"/>
                      </a:lnTo>
                      <a:lnTo>
                        <a:pt x="12" y="72"/>
                      </a:lnTo>
                      <a:lnTo>
                        <a:pt x="15" y="72"/>
                      </a:lnTo>
                      <a:lnTo>
                        <a:pt x="17" y="72"/>
                      </a:lnTo>
                      <a:lnTo>
                        <a:pt x="20" y="71"/>
                      </a:lnTo>
                      <a:lnTo>
                        <a:pt x="22" y="70"/>
                      </a:lnTo>
                      <a:lnTo>
                        <a:pt x="25" y="68"/>
                      </a:lnTo>
                      <a:lnTo>
                        <a:pt x="67" y="24"/>
                      </a:lnTo>
                      <a:lnTo>
                        <a:pt x="69" y="22"/>
                      </a:lnTo>
                      <a:lnTo>
                        <a:pt x="70" y="20"/>
                      </a:lnTo>
                      <a:lnTo>
                        <a:pt x="72" y="18"/>
                      </a:lnTo>
                      <a:lnTo>
                        <a:pt x="72" y="15"/>
                      </a:lnTo>
                      <a:lnTo>
                        <a:pt x="72" y="11"/>
                      </a:lnTo>
                      <a:lnTo>
                        <a:pt x="70" y="9"/>
                      </a:lnTo>
                      <a:lnTo>
                        <a:pt x="69" y="6"/>
                      </a:lnTo>
                      <a:lnTo>
                        <a:pt x="67" y="4"/>
                      </a:lnTo>
                      <a:lnTo>
                        <a:pt x="65" y="2"/>
                      </a:lnTo>
                      <a:lnTo>
                        <a:pt x="62" y="1"/>
                      </a:lnTo>
                      <a:lnTo>
                        <a:pt x="60" y="0"/>
                      </a:lnTo>
                      <a:lnTo>
                        <a:pt x="57" y="0"/>
                      </a:lnTo>
                      <a:lnTo>
                        <a:pt x="53" y="0"/>
                      </a:lnTo>
                      <a:lnTo>
                        <a:pt x="51" y="1"/>
                      </a:lnTo>
                      <a:lnTo>
                        <a:pt x="48" y="2"/>
                      </a:lnTo>
                      <a:lnTo>
                        <a:pt x="46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1" name="Freeform 60">
                  <a:extLst>
                    <a:ext uri="{FF2B5EF4-FFF2-40B4-BE49-F238E27FC236}">
                      <a16:creationId xmlns:a16="http://schemas.microsoft.com/office/drawing/2014/main" id="{B2F555B3-07FC-4F18-80C6-BB799C3957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650" y="809625"/>
                  <a:ext cx="22225" cy="22225"/>
                </a:xfrm>
                <a:custGeom>
                  <a:avLst/>
                  <a:gdLst>
                    <a:gd name="T0" fmla="*/ 46 w 71"/>
                    <a:gd name="T1" fmla="*/ 68 h 72"/>
                    <a:gd name="T2" fmla="*/ 48 w 71"/>
                    <a:gd name="T3" fmla="*/ 70 h 72"/>
                    <a:gd name="T4" fmla="*/ 51 w 71"/>
                    <a:gd name="T5" fmla="*/ 71 h 72"/>
                    <a:gd name="T6" fmla="*/ 53 w 71"/>
                    <a:gd name="T7" fmla="*/ 72 h 72"/>
                    <a:gd name="T8" fmla="*/ 56 w 71"/>
                    <a:gd name="T9" fmla="*/ 72 h 72"/>
                    <a:gd name="T10" fmla="*/ 59 w 71"/>
                    <a:gd name="T11" fmla="*/ 72 h 72"/>
                    <a:gd name="T12" fmla="*/ 62 w 71"/>
                    <a:gd name="T13" fmla="*/ 71 h 72"/>
                    <a:gd name="T14" fmla="*/ 65 w 71"/>
                    <a:gd name="T15" fmla="*/ 70 h 72"/>
                    <a:gd name="T16" fmla="*/ 67 w 71"/>
                    <a:gd name="T17" fmla="*/ 68 h 72"/>
                    <a:gd name="T18" fmla="*/ 69 w 71"/>
                    <a:gd name="T19" fmla="*/ 66 h 72"/>
                    <a:gd name="T20" fmla="*/ 70 w 71"/>
                    <a:gd name="T21" fmla="*/ 63 h 72"/>
                    <a:gd name="T22" fmla="*/ 71 w 71"/>
                    <a:gd name="T23" fmla="*/ 61 h 72"/>
                    <a:gd name="T24" fmla="*/ 71 w 71"/>
                    <a:gd name="T25" fmla="*/ 57 h 72"/>
                    <a:gd name="T26" fmla="*/ 71 w 71"/>
                    <a:gd name="T27" fmla="*/ 54 h 72"/>
                    <a:gd name="T28" fmla="*/ 70 w 71"/>
                    <a:gd name="T29" fmla="*/ 52 h 72"/>
                    <a:gd name="T30" fmla="*/ 69 w 71"/>
                    <a:gd name="T31" fmla="*/ 50 h 72"/>
                    <a:gd name="T32" fmla="*/ 67 w 71"/>
                    <a:gd name="T33" fmla="*/ 47 h 72"/>
                    <a:gd name="T34" fmla="*/ 24 w 71"/>
                    <a:gd name="T35" fmla="*/ 4 h 72"/>
                    <a:gd name="T36" fmla="*/ 22 w 71"/>
                    <a:gd name="T37" fmla="*/ 2 h 72"/>
                    <a:gd name="T38" fmla="*/ 20 w 71"/>
                    <a:gd name="T39" fmla="*/ 1 h 72"/>
                    <a:gd name="T40" fmla="*/ 17 w 71"/>
                    <a:gd name="T41" fmla="*/ 0 h 72"/>
                    <a:gd name="T42" fmla="*/ 14 w 71"/>
                    <a:gd name="T43" fmla="*/ 0 h 72"/>
                    <a:gd name="T44" fmla="*/ 11 w 71"/>
                    <a:gd name="T45" fmla="*/ 0 h 72"/>
                    <a:gd name="T46" fmla="*/ 8 w 71"/>
                    <a:gd name="T47" fmla="*/ 1 h 72"/>
                    <a:gd name="T48" fmla="*/ 6 w 71"/>
                    <a:gd name="T49" fmla="*/ 2 h 72"/>
                    <a:gd name="T50" fmla="*/ 4 w 71"/>
                    <a:gd name="T51" fmla="*/ 4 h 72"/>
                    <a:gd name="T52" fmla="*/ 2 w 71"/>
                    <a:gd name="T53" fmla="*/ 6 h 72"/>
                    <a:gd name="T54" fmla="*/ 1 w 71"/>
                    <a:gd name="T55" fmla="*/ 9 h 72"/>
                    <a:gd name="T56" fmla="*/ 0 w 71"/>
                    <a:gd name="T57" fmla="*/ 11 h 72"/>
                    <a:gd name="T58" fmla="*/ 0 w 71"/>
                    <a:gd name="T59" fmla="*/ 15 h 72"/>
                    <a:gd name="T60" fmla="*/ 0 w 71"/>
                    <a:gd name="T61" fmla="*/ 18 h 72"/>
                    <a:gd name="T62" fmla="*/ 1 w 71"/>
                    <a:gd name="T63" fmla="*/ 20 h 72"/>
                    <a:gd name="T64" fmla="*/ 2 w 71"/>
                    <a:gd name="T65" fmla="*/ 23 h 72"/>
                    <a:gd name="T66" fmla="*/ 4 w 71"/>
                    <a:gd name="T67" fmla="*/ 24 h 72"/>
                    <a:gd name="T68" fmla="*/ 46 w 71"/>
                    <a:gd name="T69" fmla="*/ 68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1" h="72">
                      <a:moveTo>
                        <a:pt x="46" y="68"/>
                      </a:moveTo>
                      <a:lnTo>
                        <a:pt x="48" y="70"/>
                      </a:lnTo>
                      <a:lnTo>
                        <a:pt x="51" y="71"/>
                      </a:lnTo>
                      <a:lnTo>
                        <a:pt x="53" y="72"/>
                      </a:lnTo>
                      <a:lnTo>
                        <a:pt x="56" y="72"/>
                      </a:lnTo>
                      <a:lnTo>
                        <a:pt x="59" y="72"/>
                      </a:lnTo>
                      <a:lnTo>
                        <a:pt x="62" y="71"/>
                      </a:lnTo>
                      <a:lnTo>
                        <a:pt x="65" y="70"/>
                      </a:lnTo>
                      <a:lnTo>
                        <a:pt x="67" y="68"/>
                      </a:lnTo>
                      <a:lnTo>
                        <a:pt x="69" y="66"/>
                      </a:lnTo>
                      <a:lnTo>
                        <a:pt x="70" y="63"/>
                      </a:lnTo>
                      <a:lnTo>
                        <a:pt x="71" y="61"/>
                      </a:lnTo>
                      <a:lnTo>
                        <a:pt x="71" y="57"/>
                      </a:lnTo>
                      <a:lnTo>
                        <a:pt x="71" y="54"/>
                      </a:lnTo>
                      <a:lnTo>
                        <a:pt x="70" y="52"/>
                      </a:lnTo>
                      <a:lnTo>
                        <a:pt x="69" y="50"/>
                      </a:lnTo>
                      <a:lnTo>
                        <a:pt x="67" y="47"/>
                      </a:lnTo>
                      <a:lnTo>
                        <a:pt x="24" y="4"/>
                      </a:lnTo>
                      <a:lnTo>
                        <a:pt x="22" y="2"/>
                      </a:lnTo>
                      <a:lnTo>
                        <a:pt x="20" y="1"/>
                      </a:lnTo>
                      <a:lnTo>
                        <a:pt x="17" y="0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1" y="9"/>
                      </a:lnTo>
                      <a:lnTo>
                        <a:pt x="0" y="11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0"/>
                      </a:lnTo>
                      <a:lnTo>
                        <a:pt x="2" y="23"/>
                      </a:lnTo>
                      <a:lnTo>
                        <a:pt x="4" y="24"/>
                      </a:lnTo>
                      <a:lnTo>
                        <a:pt x="46" y="6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2" name="Freeform 61">
                  <a:extLst>
                    <a:ext uri="{FF2B5EF4-FFF2-40B4-BE49-F238E27FC236}">
                      <a16:creationId xmlns:a16="http://schemas.microsoft.com/office/drawing/2014/main" id="{590D03FD-6E35-4BE2-AAE2-367F69BAB1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650" y="984250"/>
                  <a:ext cx="22225" cy="22225"/>
                </a:xfrm>
                <a:custGeom>
                  <a:avLst/>
                  <a:gdLst>
                    <a:gd name="T0" fmla="*/ 46 w 71"/>
                    <a:gd name="T1" fmla="*/ 4 h 71"/>
                    <a:gd name="T2" fmla="*/ 4 w 71"/>
                    <a:gd name="T3" fmla="*/ 46 h 71"/>
                    <a:gd name="T4" fmla="*/ 2 w 71"/>
                    <a:gd name="T5" fmla="*/ 49 h 71"/>
                    <a:gd name="T6" fmla="*/ 1 w 71"/>
                    <a:gd name="T7" fmla="*/ 51 h 71"/>
                    <a:gd name="T8" fmla="*/ 0 w 71"/>
                    <a:gd name="T9" fmla="*/ 54 h 71"/>
                    <a:gd name="T10" fmla="*/ 0 w 71"/>
                    <a:gd name="T11" fmla="*/ 58 h 71"/>
                    <a:gd name="T12" fmla="*/ 0 w 71"/>
                    <a:gd name="T13" fmla="*/ 60 h 71"/>
                    <a:gd name="T14" fmla="*/ 1 w 71"/>
                    <a:gd name="T15" fmla="*/ 63 h 71"/>
                    <a:gd name="T16" fmla="*/ 2 w 71"/>
                    <a:gd name="T17" fmla="*/ 65 h 71"/>
                    <a:gd name="T18" fmla="*/ 4 w 71"/>
                    <a:gd name="T19" fmla="*/ 67 h 71"/>
                    <a:gd name="T20" fmla="*/ 6 w 71"/>
                    <a:gd name="T21" fmla="*/ 69 h 71"/>
                    <a:gd name="T22" fmla="*/ 8 w 71"/>
                    <a:gd name="T23" fmla="*/ 70 h 71"/>
                    <a:gd name="T24" fmla="*/ 11 w 71"/>
                    <a:gd name="T25" fmla="*/ 71 h 71"/>
                    <a:gd name="T26" fmla="*/ 14 w 71"/>
                    <a:gd name="T27" fmla="*/ 71 h 71"/>
                    <a:gd name="T28" fmla="*/ 17 w 71"/>
                    <a:gd name="T29" fmla="*/ 71 h 71"/>
                    <a:gd name="T30" fmla="*/ 20 w 71"/>
                    <a:gd name="T31" fmla="*/ 70 h 71"/>
                    <a:gd name="T32" fmla="*/ 22 w 71"/>
                    <a:gd name="T33" fmla="*/ 69 h 71"/>
                    <a:gd name="T34" fmla="*/ 24 w 71"/>
                    <a:gd name="T35" fmla="*/ 67 h 71"/>
                    <a:gd name="T36" fmla="*/ 67 w 71"/>
                    <a:gd name="T37" fmla="*/ 25 h 71"/>
                    <a:gd name="T38" fmla="*/ 69 w 71"/>
                    <a:gd name="T39" fmla="*/ 23 h 71"/>
                    <a:gd name="T40" fmla="*/ 70 w 71"/>
                    <a:gd name="T41" fmla="*/ 20 h 71"/>
                    <a:gd name="T42" fmla="*/ 71 w 71"/>
                    <a:gd name="T43" fmla="*/ 18 h 71"/>
                    <a:gd name="T44" fmla="*/ 71 w 71"/>
                    <a:gd name="T45" fmla="*/ 15 h 71"/>
                    <a:gd name="T46" fmla="*/ 71 w 71"/>
                    <a:gd name="T47" fmla="*/ 12 h 71"/>
                    <a:gd name="T48" fmla="*/ 70 w 71"/>
                    <a:gd name="T49" fmla="*/ 9 h 71"/>
                    <a:gd name="T50" fmla="*/ 69 w 71"/>
                    <a:gd name="T51" fmla="*/ 6 h 71"/>
                    <a:gd name="T52" fmla="*/ 67 w 71"/>
                    <a:gd name="T53" fmla="*/ 4 h 71"/>
                    <a:gd name="T54" fmla="*/ 65 w 71"/>
                    <a:gd name="T55" fmla="*/ 2 h 71"/>
                    <a:gd name="T56" fmla="*/ 62 w 71"/>
                    <a:gd name="T57" fmla="*/ 1 h 71"/>
                    <a:gd name="T58" fmla="*/ 59 w 71"/>
                    <a:gd name="T59" fmla="*/ 0 h 71"/>
                    <a:gd name="T60" fmla="*/ 56 w 71"/>
                    <a:gd name="T61" fmla="*/ 0 h 71"/>
                    <a:gd name="T62" fmla="*/ 53 w 71"/>
                    <a:gd name="T63" fmla="*/ 0 h 71"/>
                    <a:gd name="T64" fmla="*/ 51 w 71"/>
                    <a:gd name="T65" fmla="*/ 1 h 71"/>
                    <a:gd name="T66" fmla="*/ 48 w 71"/>
                    <a:gd name="T67" fmla="*/ 2 h 71"/>
                    <a:gd name="T68" fmla="*/ 46 w 71"/>
                    <a:gd name="T69" fmla="*/ 4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1" h="71">
                      <a:moveTo>
                        <a:pt x="46" y="4"/>
                      </a:moveTo>
                      <a:lnTo>
                        <a:pt x="4" y="46"/>
                      </a:lnTo>
                      <a:lnTo>
                        <a:pt x="2" y="49"/>
                      </a:lnTo>
                      <a:lnTo>
                        <a:pt x="1" y="51"/>
                      </a:lnTo>
                      <a:lnTo>
                        <a:pt x="0" y="54"/>
                      </a:lnTo>
                      <a:lnTo>
                        <a:pt x="0" y="58"/>
                      </a:lnTo>
                      <a:lnTo>
                        <a:pt x="0" y="60"/>
                      </a:lnTo>
                      <a:lnTo>
                        <a:pt x="1" y="63"/>
                      </a:lnTo>
                      <a:lnTo>
                        <a:pt x="2" y="65"/>
                      </a:lnTo>
                      <a:lnTo>
                        <a:pt x="4" y="67"/>
                      </a:lnTo>
                      <a:lnTo>
                        <a:pt x="6" y="69"/>
                      </a:lnTo>
                      <a:lnTo>
                        <a:pt x="8" y="70"/>
                      </a:lnTo>
                      <a:lnTo>
                        <a:pt x="11" y="71"/>
                      </a:lnTo>
                      <a:lnTo>
                        <a:pt x="14" y="71"/>
                      </a:lnTo>
                      <a:lnTo>
                        <a:pt x="17" y="71"/>
                      </a:lnTo>
                      <a:lnTo>
                        <a:pt x="20" y="70"/>
                      </a:lnTo>
                      <a:lnTo>
                        <a:pt x="22" y="69"/>
                      </a:lnTo>
                      <a:lnTo>
                        <a:pt x="24" y="67"/>
                      </a:lnTo>
                      <a:lnTo>
                        <a:pt x="67" y="25"/>
                      </a:lnTo>
                      <a:lnTo>
                        <a:pt x="69" y="23"/>
                      </a:lnTo>
                      <a:lnTo>
                        <a:pt x="70" y="20"/>
                      </a:lnTo>
                      <a:lnTo>
                        <a:pt x="71" y="18"/>
                      </a:lnTo>
                      <a:lnTo>
                        <a:pt x="71" y="15"/>
                      </a:lnTo>
                      <a:lnTo>
                        <a:pt x="71" y="12"/>
                      </a:lnTo>
                      <a:lnTo>
                        <a:pt x="70" y="9"/>
                      </a:lnTo>
                      <a:lnTo>
                        <a:pt x="69" y="6"/>
                      </a:lnTo>
                      <a:lnTo>
                        <a:pt x="67" y="4"/>
                      </a:lnTo>
                      <a:lnTo>
                        <a:pt x="65" y="2"/>
                      </a:lnTo>
                      <a:lnTo>
                        <a:pt x="62" y="1"/>
                      </a:lnTo>
                      <a:lnTo>
                        <a:pt x="59" y="0"/>
                      </a:lnTo>
                      <a:lnTo>
                        <a:pt x="56" y="0"/>
                      </a:lnTo>
                      <a:lnTo>
                        <a:pt x="53" y="0"/>
                      </a:lnTo>
                      <a:lnTo>
                        <a:pt x="51" y="1"/>
                      </a:lnTo>
                      <a:lnTo>
                        <a:pt x="48" y="2"/>
                      </a:lnTo>
                      <a:lnTo>
                        <a:pt x="46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3" name="Freeform 62">
                  <a:extLst>
                    <a:ext uri="{FF2B5EF4-FFF2-40B4-BE49-F238E27FC236}">
                      <a16:creationId xmlns:a16="http://schemas.microsoft.com/office/drawing/2014/main" id="{A1A11592-84D3-4770-9D22-1AB8AD5DCF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9275" y="984250"/>
                  <a:ext cx="22225" cy="22225"/>
                </a:xfrm>
                <a:custGeom>
                  <a:avLst/>
                  <a:gdLst>
                    <a:gd name="T0" fmla="*/ 25 w 72"/>
                    <a:gd name="T1" fmla="*/ 4 h 71"/>
                    <a:gd name="T2" fmla="*/ 22 w 72"/>
                    <a:gd name="T3" fmla="*/ 2 h 71"/>
                    <a:gd name="T4" fmla="*/ 20 w 72"/>
                    <a:gd name="T5" fmla="*/ 1 h 71"/>
                    <a:gd name="T6" fmla="*/ 17 w 72"/>
                    <a:gd name="T7" fmla="*/ 0 h 71"/>
                    <a:gd name="T8" fmla="*/ 15 w 72"/>
                    <a:gd name="T9" fmla="*/ 0 h 71"/>
                    <a:gd name="T10" fmla="*/ 12 w 72"/>
                    <a:gd name="T11" fmla="*/ 0 h 71"/>
                    <a:gd name="T12" fmla="*/ 8 w 72"/>
                    <a:gd name="T13" fmla="*/ 1 h 71"/>
                    <a:gd name="T14" fmla="*/ 6 w 72"/>
                    <a:gd name="T15" fmla="*/ 2 h 71"/>
                    <a:gd name="T16" fmla="*/ 4 w 72"/>
                    <a:gd name="T17" fmla="*/ 4 h 71"/>
                    <a:gd name="T18" fmla="*/ 2 w 72"/>
                    <a:gd name="T19" fmla="*/ 6 h 71"/>
                    <a:gd name="T20" fmla="*/ 1 w 72"/>
                    <a:gd name="T21" fmla="*/ 9 h 71"/>
                    <a:gd name="T22" fmla="*/ 0 w 72"/>
                    <a:gd name="T23" fmla="*/ 12 h 71"/>
                    <a:gd name="T24" fmla="*/ 0 w 72"/>
                    <a:gd name="T25" fmla="*/ 15 h 71"/>
                    <a:gd name="T26" fmla="*/ 0 w 72"/>
                    <a:gd name="T27" fmla="*/ 18 h 71"/>
                    <a:gd name="T28" fmla="*/ 1 w 72"/>
                    <a:gd name="T29" fmla="*/ 20 h 71"/>
                    <a:gd name="T30" fmla="*/ 2 w 72"/>
                    <a:gd name="T31" fmla="*/ 23 h 71"/>
                    <a:gd name="T32" fmla="*/ 4 w 72"/>
                    <a:gd name="T33" fmla="*/ 25 h 71"/>
                    <a:gd name="T34" fmla="*/ 46 w 72"/>
                    <a:gd name="T35" fmla="*/ 67 h 71"/>
                    <a:gd name="T36" fmla="*/ 48 w 72"/>
                    <a:gd name="T37" fmla="*/ 69 h 71"/>
                    <a:gd name="T38" fmla="*/ 51 w 72"/>
                    <a:gd name="T39" fmla="*/ 70 h 71"/>
                    <a:gd name="T40" fmla="*/ 53 w 72"/>
                    <a:gd name="T41" fmla="*/ 71 h 71"/>
                    <a:gd name="T42" fmla="*/ 57 w 72"/>
                    <a:gd name="T43" fmla="*/ 71 h 71"/>
                    <a:gd name="T44" fmla="*/ 60 w 72"/>
                    <a:gd name="T45" fmla="*/ 71 h 71"/>
                    <a:gd name="T46" fmla="*/ 62 w 72"/>
                    <a:gd name="T47" fmla="*/ 70 h 71"/>
                    <a:gd name="T48" fmla="*/ 65 w 72"/>
                    <a:gd name="T49" fmla="*/ 69 h 71"/>
                    <a:gd name="T50" fmla="*/ 67 w 72"/>
                    <a:gd name="T51" fmla="*/ 67 h 71"/>
                    <a:gd name="T52" fmla="*/ 69 w 72"/>
                    <a:gd name="T53" fmla="*/ 65 h 71"/>
                    <a:gd name="T54" fmla="*/ 70 w 72"/>
                    <a:gd name="T55" fmla="*/ 63 h 71"/>
                    <a:gd name="T56" fmla="*/ 72 w 72"/>
                    <a:gd name="T57" fmla="*/ 60 h 71"/>
                    <a:gd name="T58" fmla="*/ 72 w 72"/>
                    <a:gd name="T59" fmla="*/ 58 h 71"/>
                    <a:gd name="T60" fmla="*/ 72 w 72"/>
                    <a:gd name="T61" fmla="*/ 54 h 71"/>
                    <a:gd name="T62" fmla="*/ 70 w 72"/>
                    <a:gd name="T63" fmla="*/ 51 h 71"/>
                    <a:gd name="T64" fmla="*/ 69 w 72"/>
                    <a:gd name="T65" fmla="*/ 49 h 71"/>
                    <a:gd name="T66" fmla="*/ 67 w 72"/>
                    <a:gd name="T67" fmla="*/ 46 h 71"/>
                    <a:gd name="T68" fmla="*/ 25 w 72"/>
                    <a:gd name="T69" fmla="*/ 4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2" h="71">
                      <a:moveTo>
                        <a:pt x="25" y="4"/>
                      </a:moveTo>
                      <a:lnTo>
                        <a:pt x="22" y="2"/>
                      </a:lnTo>
                      <a:lnTo>
                        <a:pt x="20" y="1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2" y="0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1" y="9"/>
                      </a:lnTo>
                      <a:lnTo>
                        <a:pt x="0" y="12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0"/>
                      </a:lnTo>
                      <a:lnTo>
                        <a:pt x="2" y="23"/>
                      </a:lnTo>
                      <a:lnTo>
                        <a:pt x="4" y="25"/>
                      </a:lnTo>
                      <a:lnTo>
                        <a:pt x="46" y="67"/>
                      </a:lnTo>
                      <a:lnTo>
                        <a:pt x="48" y="69"/>
                      </a:lnTo>
                      <a:lnTo>
                        <a:pt x="51" y="70"/>
                      </a:lnTo>
                      <a:lnTo>
                        <a:pt x="53" y="71"/>
                      </a:lnTo>
                      <a:lnTo>
                        <a:pt x="57" y="71"/>
                      </a:lnTo>
                      <a:lnTo>
                        <a:pt x="60" y="71"/>
                      </a:lnTo>
                      <a:lnTo>
                        <a:pt x="62" y="70"/>
                      </a:lnTo>
                      <a:lnTo>
                        <a:pt x="65" y="69"/>
                      </a:lnTo>
                      <a:lnTo>
                        <a:pt x="67" y="67"/>
                      </a:lnTo>
                      <a:lnTo>
                        <a:pt x="69" y="65"/>
                      </a:lnTo>
                      <a:lnTo>
                        <a:pt x="70" y="63"/>
                      </a:lnTo>
                      <a:lnTo>
                        <a:pt x="72" y="60"/>
                      </a:lnTo>
                      <a:lnTo>
                        <a:pt x="72" y="58"/>
                      </a:lnTo>
                      <a:lnTo>
                        <a:pt x="72" y="54"/>
                      </a:lnTo>
                      <a:lnTo>
                        <a:pt x="70" y="51"/>
                      </a:lnTo>
                      <a:lnTo>
                        <a:pt x="69" y="49"/>
                      </a:lnTo>
                      <a:lnTo>
                        <a:pt x="67" y="46"/>
                      </a:lnTo>
                      <a:lnTo>
                        <a:pt x="25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2460DFE-D8EC-4797-8CD0-9185708A2F22}"/>
                </a:ext>
              </a:extLst>
            </p:cNvPr>
            <p:cNvGrpSpPr/>
            <p:nvPr/>
          </p:nvGrpSpPr>
          <p:grpSpPr>
            <a:xfrm>
              <a:off x="4747002" y="3515391"/>
              <a:ext cx="418315" cy="418315"/>
              <a:chOff x="4747002" y="3515391"/>
              <a:chExt cx="418315" cy="418315"/>
            </a:xfrm>
          </p:grpSpPr>
          <p:sp>
            <p:nvSpPr>
              <p:cNvPr id="1816" name="Oval 1815">
                <a:extLst>
                  <a:ext uri="{FF2B5EF4-FFF2-40B4-BE49-F238E27FC236}">
                    <a16:creationId xmlns:a16="http://schemas.microsoft.com/office/drawing/2014/main" id="{C6CD818C-0803-4389-99AC-48C6E997CD62}"/>
                  </a:ext>
                </a:extLst>
              </p:cNvPr>
              <p:cNvSpPr/>
              <p:nvPr/>
            </p:nvSpPr>
            <p:spPr>
              <a:xfrm>
                <a:off x="4747002" y="3515391"/>
                <a:ext cx="418315" cy="418315"/>
              </a:xfrm>
              <a:prstGeom prst="ellipse">
                <a:avLst/>
              </a:prstGeom>
              <a:solidFill>
                <a:schemeClr val="accent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834" name="Group 1833">
                <a:extLst>
                  <a:ext uri="{FF2B5EF4-FFF2-40B4-BE49-F238E27FC236}">
                    <a16:creationId xmlns:a16="http://schemas.microsoft.com/office/drawing/2014/main" id="{9552D3E4-1003-4D9B-8217-A60089457977}"/>
                  </a:ext>
                </a:extLst>
              </p:cNvPr>
              <p:cNvGrpSpPr/>
              <p:nvPr/>
            </p:nvGrpSpPr>
            <p:grpSpPr>
              <a:xfrm>
                <a:off x="4867938" y="3635834"/>
                <a:ext cx="176442" cy="177428"/>
                <a:chOff x="906463" y="769938"/>
                <a:chExt cx="284162" cy="285750"/>
              </a:xfrm>
              <a:solidFill>
                <a:schemeClr val="bg1"/>
              </a:solidFill>
            </p:grpSpPr>
            <p:sp>
              <p:nvSpPr>
                <p:cNvPr id="1835" name="Freeform 63">
                  <a:extLst>
                    <a:ext uri="{FF2B5EF4-FFF2-40B4-BE49-F238E27FC236}">
                      <a16:creationId xmlns:a16="http://schemas.microsoft.com/office/drawing/2014/main" id="{A5590922-76DF-4CAB-BFF0-8020325F54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9650" y="769938"/>
                  <a:ext cx="9525" cy="19050"/>
                </a:xfrm>
                <a:custGeom>
                  <a:avLst/>
                  <a:gdLst>
                    <a:gd name="T0" fmla="*/ 15 w 30"/>
                    <a:gd name="T1" fmla="*/ 59 h 59"/>
                    <a:gd name="T2" fmla="*/ 18 w 30"/>
                    <a:gd name="T3" fmla="*/ 59 h 59"/>
                    <a:gd name="T4" fmla="*/ 21 w 30"/>
                    <a:gd name="T5" fmla="*/ 58 h 59"/>
                    <a:gd name="T6" fmla="*/ 23 w 30"/>
                    <a:gd name="T7" fmla="*/ 57 h 59"/>
                    <a:gd name="T8" fmla="*/ 25 w 30"/>
                    <a:gd name="T9" fmla="*/ 55 h 59"/>
                    <a:gd name="T10" fmla="*/ 27 w 30"/>
                    <a:gd name="T11" fmla="*/ 53 h 59"/>
                    <a:gd name="T12" fmla="*/ 28 w 30"/>
                    <a:gd name="T13" fmla="*/ 51 h 59"/>
                    <a:gd name="T14" fmla="*/ 30 w 30"/>
                    <a:gd name="T15" fmla="*/ 48 h 59"/>
                    <a:gd name="T16" fmla="*/ 30 w 30"/>
                    <a:gd name="T17" fmla="*/ 44 h 59"/>
                    <a:gd name="T18" fmla="*/ 30 w 30"/>
                    <a:gd name="T19" fmla="*/ 14 h 59"/>
                    <a:gd name="T20" fmla="*/ 30 w 30"/>
                    <a:gd name="T21" fmla="*/ 11 h 59"/>
                    <a:gd name="T22" fmla="*/ 28 w 30"/>
                    <a:gd name="T23" fmla="*/ 9 h 59"/>
                    <a:gd name="T24" fmla="*/ 27 w 30"/>
                    <a:gd name="T25" fmla="*/ 6 h 59"/>
                    <a:gd name="T26" fmla="*/ 25 w 30"/>
                    <a:gd name="T27" fmla="*/ 4 h 59"/>
                    <a:gd name="T28" fmla="*/ 23 w 30"/>
                    <a:gd name="T29" fmla="*/ 2 h 59"/>
                    <a:gd name="T30" fmla="*/ 21 w 30"/>
                    <a:gd name="T31" fmla="*/ 1 h 59"/>
                    <a:gd name="T32" fmla="*/ 18 w 30"/>
                    <a:gd name="T33" fmla="*/ 0 h 59"/>
                    <a:gd name="T34" fmla="*/ 15 w 30"/>
                    <a:gd name="T35" fmla="*/ 0 h 59"/>
                    <a:gd name="T36" fmla="*/ 11 w 30"/>
                    <a:gd name="T37" fmla="*/ 0 h 59"/>
                    <a:gd name="T38" fmla="*/ 9 w 30"/>
                    <a:gd name="T39" fmla="*/ 1 h 59"/>
                    <a:gd name="T40" fmla="*/ 6 w 30"/>
                    <a:gd name="T41" fmla="*/ 2 h 59"/>
                    <a:gd name="T42" fmla="*/ 4 w 30"/>
                    <a:gd name="T43" fmla="*/ 4 h 59"/>
                    <a:gd name="T44" fmla="*/ 3 w 30"/>
                    <a:gd name="T45" fmla="*/ 6 h 59"/>
                    <a:gd name="T46" fmla="*/ 1 w 30"/>
                    <a:gd name="T47" fmla="*/ 9 h 59"/>
                    <a:gd name="T48" fmla="*/ 0 w 30"/>
                    <a:gd name="T49" fmla="*/ 11 h 59"/>
                    <a:gd name="T50" fmla="*/ 0 w 30"/>
                    <a:gd name="T51" fmla="*/ 14 h 59"/>
                    <a:gd name="T52" fmla="*/ 0 w 30"/>
                    <a:gd name="T53" fmla="*/ 44 h 59"/>
                    <a:gd name="T54" fmla="*/ 0 w 30"/>
                    <a:gd name="T55" fmla="*/ 48 h 59"/>
                    <a:gd name="T56" fmla="*/ 1 w 30"/>
                    <a:gd name="T57" fmla="*/ 51 h 59"/>
                    <a:gd name="T58" fmla="*/ 3 w 30"/>
                    <a:gd name="T59" fmla="*/ 53 h 59"/>
                    <a:gd name="T60" fmla="*/ 4 w 30"/>
                    <a:gd name="T61" fmla="*/ 55 h 59"/>
                    <a:gd name="T62" fmla="*/ 6 w 30"/>
                    <a:gd name="T63" fmla="*/ 57 h 59"/>
                    <a:gd name="T64" fmla="*/ 9 w 30"/>
                    <a:gd name="T65" fmla="*/ 58 h 59"/>
                    <a:gd name="T66" fmla="*/ 11 w 30"/>
                    <a:gd name="T67" fmla="*/ 59 h 59"/>
                    <a:gd name="T68" fmla="*/ 15 w 30"/>
                    <a:gd name="T69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0" h="59">
                      <a:moveTo>
                        <a:pt x="15" y="59"/>
                      </a:moveTo>
                      <a:lnTo>
                        <a:pt x="18" y="59"/>
                      </a:lnTo>
                      <a:lnTo>
                        <a:pt x="21" y="58"/>
                      </a:lnTo>
                      <a:lnTo>
                        <a:pt x="23" y="57"/>
                      </a:lnTo>
                      <a:lnTo>
                        <a:pt x="25" y="55"/>
                      </a:lnTo>
                      <a:lnTo>
                        <a:pt x="27" y="53"/>
                      </a:lnTo>
                      <a:lnTo>
                        <a:pt x="28" y="51"/>
                      </a:lnTo>
                      <a:lnTo>
                        <a:pt x="30" y="48"/>
                      </a:lnTo>
                      <a:lnTo>
                        <a:pt x="30" y="44"/>
                      </a:lnTo>
                      <a:lnTo>
                        <a:pt x="30" y="14"/>
                      </a:lnTo>
                      <a:lnTo>
                        <a:pt x="30" y="11"/>
                      </a:lnTo>
                      <a:lnTo>
                        <a:pt x="28" y="9"/>
                      </a:lnTo>
                      <a:lnTo>
                        <a:pt x="27" y="6"/>
                      </a:lnTo>
                      <a:lnTo>
                        <a:pt x="25" y="4"/>
                      </a:lnTo>
                      <a:lnTo>
                        <a:pt x="23" y="2"/>
                      </a:lnTo>
                      <a:lnTo>
                        <a:pt x="21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6" y="2"/>
                      </a:lnTo>
                      <a:lnTo>
                        <a:pt x="4" y="4"/>
                      </a:lnTo>
                      <a:lnTo>
                        <a:pt x="3" y="6"/>
                      </a:lnTo>
                      <a:lnTo>
                        <a:pt x="1" y="9"/>
                      </a:lnTo>
                      <a:lnTo>
                        <a:pt x="0" y="11"/>
                      </a:lnTo>
                      <a:lnTo>
                        <a:pt x="0" y="14"/>
                      </a:lnTo>
                      <a:lnTo>
                        <a:pt x="0" y="44"/>
                      </a:lnTo>
                      <a:lnTo>
                        <a:pt x="0" y="48"/>
                      </a:lnTo>
                      <a:lnTo>
                        <a:pt x="1" y="51"/>
                      </a:lnTo>
                      <a:lnTo>
                        <a:pt x="3" y="53"/>
                      </a:lnTo>
                      <a:lnTo>
                        <a:pt x="4" y="55"/>
                      </a:lnTo>
                      <a:lnTo>
                        <a:pt x="6" y="57"/>
                      </a:lnTo>
                      <a:lnTo>
                        <a:pt x="9" y="58"/>
                      </a:lnTo>
                      <a:lnTo>
                        <a:pt x="11" y="59"/>
                      </a:lnTo>
                      <a:lnTo>
                        <a:pt x="15" y="5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6" name="Freeform 64">
                  <a:extLst>
                    <a:ext uri="{FF2B5EF4-FFF2-40B4-BE49-F238E27FC236}">
                      <a16:creationId xmlns:a16="http://schemas.microsoft.com/office/drawing/2014/main" id="{010BD5A1-E0FF-443D-9DE8-FFF6E1A340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5513" y="788988"/>
                  <a:ext cx="17463" cy="19050"/>
                </a:xfrm>
                <a:custGeom>
                  <a:avLst/>
                  <a:gdLst>
                    <a:gd name="T0" fmla="*/ 44 w 59"/>
                    <a:gd name="T1" fmla="*/ 60 h 60"/>
                    <a:gd name="T2" fmla="*/ 47 w 59"/>
                    <a:gd name="T3" fmla="*/ 59 h 60"/>
                    <a:gd name="T4" fmla="*/ 50 w 59"/>
                    <a:gd name="T5" fmla="*/ 59 h 60"/>
                    <a:gd name="T6" fmla="*/ 52 w 59"/>
                    <a:gd name="T7" fmla="*/ 57 h 60"/>
                    <a:gd name="T8" fmla="*/ 54 w 59"/>
                    <a:gd name="T9" fmla="*/ 56 h 60"/>
                    <a:gd name="T10" fmla="*/ 57 w 59"/>
                    <a:gd name="T11" fmla="*/ 54 h 60"/>
                    <a:gd name="T12" fmla="*/ 58 w 59"/>
                    <a:gd name="T13" fmla="*/ 52 h 60"/>
                    <a:gd name="T14" fmla="*/ 59 w 59"/>
                    <a:gd name="T15" fmla="*/ 49 h 60"/>
                    <a:gd name="T16" fmla="*/ 59 w 59"/>
                    <a:gd name="T17" fmla="*/ 45 h 60"/>
                    <a:gd name="T18" fmla="*/ 59 w 59"/>
                    <a:gd name="T19" fmla="*/ 43 h 60"/>
                    <a:gd name="T20" fmla="*/ 58 w 59"/>
                    <a:gd name="T21" fmla="*/ 40 h 60"/>
                    <a:gd name="T22" fmla="*/ 57 w 59"/>
                    <a:gd name="T23" fmla="*/ 37 h 60"/>
                    <a:gd name="T24" fmla="*/ 54 w 59"/>
                    <a:gd name="T25" fmla="*/ 35 h 60"/>
                    <a:gd name="T26" fmla="*/ 24 w 59"/>
                    <a:gd name="T27" fmla="*/ 5 h 60"/>
                    <a:gd name="T28" fmla="*/ 22 w 59"/>
                    <a:gd name="T29" fmla="*/ 3 h 60"/>
                    <a:gd name="T30" fmla="*/ 20 w 59"/>
                    <a:gd name="T31" fmla="*/ 2 h 60"/>
                    <a:gd name="T32" fmla="*/ 17 w 59"/>
                    <a:gd name="T33" fmla="*/ 0 h 60"/>
                    <a:gd name="T34" fmla="*/ 15 w 59"/>
                    <a:gd name="T35" fmla="*/ 0 h 60"/>
                    <a:gd name="T36" fmla="*/ 12 w 59"/>
                    <a:gd name="T37" fmla="*/ 0 h 60"/>
                    <a:gd name="T38" fmla="*/ 8 w 59"/>
                    <a:gd name="T39" fmla="*/ 2 h 60"/>
                    <a:gd name="T40" fmla="*/ 6 w 59"/>
                    <a:gd name="T41" fmla="*/ 3 h 60"/>
                    <a:gd name="T42" fmla="*/ 4 w 59"/>
                    <a:gd name="T43" fmla="*/ 5 h 60"/>
                    <a:gd name="T44" fmla="*/ 2 w 59"/>
                    <a:gd name="T45" fmla="*/ 7 h 60"/>
                    <a:gd name="T46" fmla="*/ 1 w 59"/>
                    <a:gd name="T47" fmla="*/ 10 h 60"/>
                    <a:gd name="T48" fmla="*/ 0 w 59"/>
                    <a:gd name="T49" fmla="*/ 13 h 60"/>
                    <a:gd name="T50" fmla="*/ 0 w 59"/>
                    <a:gd name="T51" fmla="*/ 15 h 60"/>
                    <a:gd name="T52" fmla="*/ 0 w 59"/>
                    <a:gd name="T53" fmla="*/ 19 h 60"/>
                    <a:gd name="T54" fmla="*/ 1 w 59"/>
                    <a:gd name="T55" fmla="*/ 22 h 60"/>
                    <a:gd name="T56" fmla="*/ 2 w 59"/>
                    <a:gd name="T57" fmla="*/ 24 h 60"/>
                    <a:gd name="T58" fmla="*/ 4 w 59"/>
                    <a:gd name="T59" fmla="*/ 26 h 60"/>
                    <a:gd name="T60" fmla="*/ 34 w 59"/>
                    <a:gd name="T61" fmla="*/ 56 h 60"/>
                    <a:gd name="T62" fmla="*/ 36 w 59"/>
                    <a:gd name="T63" fmla="*/ 57 h 60"/>
                    <a:gd name="T64" fmla="*/ 38 w 59"/>
                    <a:gd name="T65" fmla="*/ 59 h 60"/>
                    <a:gd name="T66" fmla="*/ 42 w 59"/>
                    <a:gd name="T67" fmla="*/ 59 h 60"/>
                    <a:gd name="T68" fmla="*/ 44 w 59"/>
                    <a:gd name="T69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9" h="60">
                      <a:moveTo>
                        <a:pt x="44" y="60"/>
                      </a:moveTo>
                      <a:lnTo>
                        <a:pt x="47" y="59"/>
                      </a:lnTo>
                      <a:lnTo>
                        <a:pt x="50" y="59"/>
                      </a:lnTo>
                      <a:lnTo>
                        <a:pt x="52" y="57"/>
                      </a:lnTo>
                      <a:lnTo>
                        <a:pt x="54" y="56"/>
                      </a:lnTo>
                      <a:lnTo>
                        <a:pt x="57" y="54"/>
                      </a:lnTo>
                      <a:lnTo>
                        <a:pt x="58" y="52"/>
                      </a:lnTo>
                      <a:lnTo>
                        <a:pt x="59" y="49"/>
                      </a:lnTo>
                      <a:lnTo>
                        <a:pt x="59" y="45"/>
                      </a:lnTo>
                      <a:lnTo>
                        <a:pt x="59" y="43"/>
                      </a:lnTo>
                      <a:lnTo>
                        <a:pt x="58" y="40"/>
                      </a:lnTo>
                      <a:lnTo>
                        <a:pt x="57" y="37"/>
                      </a:lnTo>
                      <a:lnTo>
                        <a:pt x="54" y="35"/>
                      </a:lnTo>
                      <a:lnTo>
                        <a:pt x="24" y="5"/>
                      </a:lnTo>
                      <a:lnTo>
                        <a:pt x="22" y="3"/>
                      </a:lnTo>
                      <a:lnTo>
                        <a:pt x="20" y="2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2" y="0"/>
                      </a:lnTo>
                      <a:lnTo>
                        <a:pt x="8" y="2"/>
                      </a:lnTo>
                      <a:lnTo>
                        <a:pt x="6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10"/>
                      </a:lnTo>
                      <a:lnTo>
                        <a:pt x="0" y="13"/>
                      </a:lnTo>
                      <a:lnTo>
                        <a:pt x="0" y="15"/>
                      </a:lnTo>
                      <a:lnTo>
                        <a:pt x="0" y="19"/>
                      </a:lnTo>
                      <a:lnTo>
                        <a:pt x="1" y="22"/>
                      </a:lnTo>
                      <a:lnTo>
                        <a:pt x="2" y="24"/>
                      </a:lnTo>
                      <a:lnTo>
                        <a:pt x="4" y="26"/>
                      </a:lnTo>
                      <a:lnTo>
                        <a:pt x="34" y="56"/>
                      </a:lnTo>
                      <a:lnTo>
                        <a:pt x="36" y="57"/>
                      </a:lnTo>
                      <a:lnTo>
                        <a:pt x="38" y="59"/>
                      </a:lnTo>
                      <a:lnTo>
                        <a:pt x="42" y="59"/>
                      </a:lnTo>
                      <a:lnTo>
                        <a:pt x="44" y="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7" name="Freeform 65">
                  <a:extLst>
                    <a:ext uri="{FF2B5EF4-FFF2-40B4-BE49-F238E27FC236}">
                      <a16:creationId xmlns:a16="http://schemas.microsoft.com/office/drawing/2014/main" id="{FA026440-4D34-4D7E-880B-FD8DA864DA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5850" y="793750"/>
                  <a:ext cx="19050" cy="19050"/>
                </a:xfrm>
                <a:custGeom>
                  <a:avLst/>
                  <a:gdLst>
                    <a:gd name="T0" fmla="*/ 15 w 60"/>
                    <a:gd name="T1" fmla="*/ 60 h 60"/>
                    <a:gd name="T2" fmla="*/ 19 w 60"/>
                    <a:gd name="T3" fmla="*/ 59 h 60"/>
                    <a:gd name="T4" fmla="*/ 21 w 60"/>
                    <a:gd name="T5" fmla="*/ 59 h 60"/>
                    <a:gd name="T6" fmla="*/ 24 w 60"/>
                    <a:gd name="T7" fmla="*/ 57 h 60"/>
                    <a:gd name="T8" fmla="*/ 26 w 60"/>
                    <a:gd name="T9" fmla="*/ 56 h 60"/>
                    <a:gd name="T10" fmla="*/ 56 w 60"/>
                    <a:gd name="T11" fmla="*/ 26 h 60"/>
                    <a:gd name="T12" fmla="*/ 58 w 60"/>
                    <a:gd name="T13" fmla="*/ 24 h 60"/>
                    <a:gd name="T14" fmla="*/ 59 w 60"/>
                    <a:gd name="T15" fmla="*/ 22 h 60"/>
                    <a:gd name="T16" fmla="*/ 60 w 60"/>
                    <a:gd name="T17" fmla="*/ 19 h 60"/>
                    <a:gd name="T18" fmla="*/ 60 w 60"/>
                    <a:gd name="T19" fmla="*/ 15 h 60"/>
                    <a:gd name="T20" fmla="*/ 60 w 60"/>
                    <a:gd name="T21" fmla="*/ 13 h 60"/>
                    <a:gd name="T22" fmla="*/ 59 w 60"/>
                    <a:gd name="T23" fmla="*/ 10 h 60"/>
                    <a:gd name="T24" fmla="*/ 58 w 60"/>
                    <a:gd name="T25" fmla="*/ 7 h 60"/>
                    <a:gd name="T26" fmla="*/ 56 w 60"/>
                    <a:gd name="T27" fmla="*/ 5 h 60"/>
                    <a:gd name="T28" fmla="*/ 54 w 60"/>
                    <a:gd name="T29" fmla="*/ 3 h 60"/>
                    <a:gd name="T30" fmla="*/ 51 w 60"/>
                    <a:gd name="T31" fmla="*/ 2 h 60"/>
                    <a:gd name="T32" fmla="*/ 49 w 60"/>
                    <a:gd name="T33" fmla="*/ 0 h 60"/>
                    <a:gd name="T34" fmla="*/ 45 w 60"/>
                    <a:gd name="T35" fmla="*/ 0 h 60"/>
                    <a:gd name="T36" fmla="*/ 42 w 60"/>
                    <a:gd name="T37" fmla="*/ 0 h 60"/>
                    <a:gd name="T38" fmla="*/ 40 w 60"/>
                    <a:gd name="T39" fmla="*/ 2 h 60"/>
                    <a:gd name="T40" fmla="*/ 37 w 60"/>
                    <a:gd name="T41" fmla="*/ 3 h 60"/>
                    <a:gd name="T42" fmla="*/ 35 w 60"/>
                    <a:gd name="T43" fmla="*/ 5 h 60"/>
                    <a:gd name="T44" fmla="*/ 5 w 60"/>
                    <a:gd name="T45" fmla="*/ 35 h 60"/>
                    <a:gd name="T46" fmla="*/ 3 w 60"/>
                    <a:gd name="T47" fmla="*/ 37 h 60"/>
                    <a:gd name="T48" fmla="*/ 1 w 60"/>
                    <a:gd name="T49" fmla="*/ 40 h 60"/>
                    <a:gd name="T50" fmla="*/ 0 w 60"/>
                    <a:gd name="T51" fmla="*/ 43 h 60"/>
                    <a:gd name="T52" fmla="*/ 0 w 60"/>
                    <a:gd name="T53" fmla="*/ 45 h 60"/>
                    <a:gd name="T54" fmla="*/ 0 w 60"/>
                    <a:gd name="T55" fmla="*/ 49 h 60"/>
                    <a:gd name="T56" fmla="*/ 1 w 60"/>
                    <a:gd name="T57" fmla="*/ 52 h 60"/>
                    <a:gd name="T58" fmla="*/ 3 w 60"/>
                    <a:gd name="T59" fmla="*/ 54 h 60"/>
                    <a:gd name="T60" fmla="*/ 5 w 60"/>
                    <a:gd name="T61" fmla="*/ 56 h 60"/>
                    <a:gd name="T62" fmla="*/ 7 w 60"/>
                    <a:gd name="T63" fmla="*/ 57 h 60"/>
                    <a:gd name="T64" fmla="*/ 10 w 60"/>
                    <a:gd name="T65" fmla="*/ 59 h 60"/>
                    <a:gd name="T66" fmla="*/ 12 w 60"/>
                    <a:gd name="T67" fmla="*/ 59 h 60"/>
                    <a:gd name="T68" fmla="*/ 15 w 60"/>
                    <a:gd name="T69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60" h="60">
                      <a:moveTo>
                        <a:pt x="15" y="60"/>
                      </a:moveTo>
                      <a:lnTo>
                        <a:pt x="19" y="59"/>
                      </a:lnTo>
                      <a:lnTo>
                        <a:pt x="21" y="59"/>
                      </a:lnTo>
                      <a:lnTo>
                        <a:pt x="24" y="57"/>
                      </a:lnTo>
                      <a:lnTo>
                        <a:pt x="26" y="56"/>
                      </a:lnTo>
                      <a:lnTo>
                        <a:pt x="56" y="26"/>
                      </a:lnTo>
                      <a:lnTo>
                        <a:pt x="58" y="24"/>
                      </a:lnTo>
                      <a:lnTo>
                        <a:pt x="59" y="22"/>
                      </a:lnTo>
                      <a:lnTo>
                        <a:pt x="60" y="19"/>
                      </a:lnTo>
                      <a:lnTo>
                        <a:pt x="60" y="15"/>
                      </a:lnTo>
                      <a:lnTo>
                        <a:pt x="60" y="13"/>
                      </a:lnTo>
                      <a:lnTo>
                        <a:pt x="59" y="10"/>
                      </a:lnTo>
                      <a:lnTo>
                        <a:pt x="58" y="7"/>
                      </a:lnTo>
                      <a:lnTo>
                        <a:pt x="56" y="5"/>
                      </a:lnTo>
                      <a:lnTo>
                        <a:pt x="54" y="3"/>
                      </a:lnTo>
                      <a:lnTo>
                        <a:pt x="51" y="2"/>
                      </a:lnTo>
                      <a:lnTo>
                        <a:pt x="49" y="0"/>
                      </a:lnTo>
                      <a:lnTo>
                        <a:pt x="45" y="0"/>
                      </a:lnTo>
                      <a:lnTo>
                        <a:pt x="42" y="0"/>
                      </a:lnTo>
                      <a:lnTo>
                        <a:pt x="40" y="2"/>
                      </a:lnTo>
                      <a:lnTo>
                        <a:pt x="37" y="3"/>
                      </a:lnTo>
                      <a:lnTo>
                        <a:pt x="35" y="5"/>
                      </a:lnTo>
                      <a:lnTo>
                        <a:pt x="5" y="35"/>
                      </a:lnTo>
                      <a:lnTo>
                        <a:pt x="3" y="37"/>
                      </a:lnTo>
                      <a:lnTo>
                        <a:pt x="1" y="40"/>
                      </a:lnTo>
                      <a:lnTo>
                        <a:pt x="0" y="43"/>
                      </a:lnTo>
                      <a:lnTo>
                        <a:pt x="0" y="45"/>
                      </a:lnTo>
                      <a:lnTo>
                        <a:pt x="0" y="49"/>
                      </a:lnTo>
                      <a:lnTo>
                        <a:pt x="1" y="52"/>
                      </a:lnTo>
                      <a:lnTo>
                        <a:pt x="3" y="54"/>
                      </a:lnTo>
                      <a:lnTo>
                        <a:pt x="5" y="56"/>
                      </a:lnTo>
                      <a:lnTo>
                        <a:pt x="7" y="57"/>
                      </a:lnTo>
                      <a:lnTo>
                        <a:pt x="10" y="59"/>
                      </a:lnTo>
                      <a:lnTo>
                        <a:pt x="12" y="59"/>
                      </a:lnTo>
                      <a:lnTo>
                        <a:pt x="15" y="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8" name="Freeform 66">
                  <a:extLst>
                    <a:ext uri="{FF2B5EF4-FFF2-40B4-BE49-F238E27FC236}">
                      <a16:creationId xmlns:a16="http://schemas.microsoft.com/office/drawing/2014/main" id="{11D43123-4519-4D3B-BAF6-F53956CF18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6463" y="874713"/>
                  <a:ext cx="19050" cy="9525"/>
                </a:xfrm>
                <a:custGeom>
                  <a:avLst/>
                  <a:gdLst>
                    <a:gd name="T0" fmla="*/ 45 w 60"/>
                    <a:gd name="T1" fmla="*/ 0 h 30"/>
                    <a:gd name="T2" fmla="*/ 15 w 60"/>
                    <a:gd name="T3" fmla="*/ 0 h 30"/>
                    <a:gd name="T4" fmla="*/ 12 w 60"/>
                    <a:gd name="T5" fmla="*/ 1 h 30"/>
                    <a:gd name="T6" fmla="*/ 8 w 60"/>
                    <a:gd name="T7" fmla="*/ 2 h 30"/>
                    <a:gd name="T8" fmla="*/ 6 w 60"/>
                    <a:gd name="T9" fmla="*/ 3 h 30"/>
                    <a:gd name="T10" fmla="*/ 4 w 60"/>
                    <a:gd name="T11" fmla="*/ 5 h 30"/>
                    <a:gd name="T12" fmla="*/ 2 w 60"/>
                    <a:gd name="T13" fmla="*/ 8 h 30"/>
                    <a:gd name="T14" fmla="*/ 1 w 60"/>
                    <a:gd name="T15" fmla="*/ 10 h 30"/>
                    <a:gd name="T16" fmla="*/ 0 w 60"/>
                    <a:gd name="T17" fmla="*/ 13 h 30"/>
                    <a:gd name="T18" fmla="*/ 0 w 60"/>
                    <a:gd name="T19" fmla="*/ 15 h 30"/>
                    <a:gd name="T20" fmla="*/ 0 w 60"/>
                    <a:gd name="T21" fmla="*/ 18 h 30"/>
                    <a:gd name="T22" fmla="*/ 1 w 60"/>
                    <a:gd name="T23" fmla="*/ 22 h 30"/>
                    <a:gd name="T24" fmla="*/ 2 w 60"/>
                    <a:gd name="T25" fmla="*/ 25 h 30"/>
                    <a:gd name="T26" fmla="*/ 4 w 60"/>
                    <a:gd name="T27" fmla="*/ 27 h 30"/>
                    <a:gd name="T28" fmla="*/ 6 w 60"/>
                    <a:gd name="T29" fmla="*/ 28 h 30"/>
                    <a:gd name="T30" fmla="*/ 8 w 60"/>
                    <a:gd name="T31" fmla="*/ 29 h 30"/>
                    <a:gd name="T32" fmla="*/ 12 w 60"/>
                    <a:gd name="T33" fmla="*/ 30 h 30"/>
                    <a:gd name="T34" fmla="*/ 15 w 60"/>
                    <a:gd name="T35" fmla="*/ 30 h 30"/>
                    <a:gd name="T36" fmla="*/ 45 w 60"/>
                    <a:gd name="T37" fmla="*/ 30 h 30"/>
                    <a:gd name="T38" fmla="*/ 47 w 60"/>
                    <a:gd name="T39" fmla="*/ 30 h 30"/>
                    <a:gd name="T40" fmla="*/ 50 w 60"/>
                    <a:gd name="T41" fmla="*/ 29 h 30"/>
                    <a:gd name="T42" fmla="*/ 52 w 60"/>
                    <a:gd name="T43" fmla="*/ 28 h 30"/>
                    <a:gd name="T44" fmla="*/ 54 w 60"/>
                    <a:gd name="T45" fmla="*/ 27 h 30"/>
                    <a:gd name="T46" fmla="*/ 57 w 60"/>
                    <a:gd name="T47" fmla="*/ 25 h 30"/>
                    <a:gd name="T48" fmla="*/ 58 w 60"/>
                    <a:gd name="T49" fmla="*/ 22 h 30"/>
                    <a:gd name="T50" fmla="*/ 59 w 60"/>
                    <a:gd name="T51" fmla="*/ 18 h 30"/>
                    <a:gd name="T52" fmla="*/ 60 w 60"/>
                    <a:gd name="T53" fmla="*/ 15 h 30"/>
                    <a:gd name="T54" fmla="*/ 59 w 60"/>
                    <a:gd name="T55" fmla="*/ 13 h 30"/>
                    <a:gd name="T56" fmla="*/ 58 w 60"/>
                    <a:gd name="T57" fmla="*/ 10 h 30"/>
                    <a:gd name="T58" fmla="*/ 57 w 60"/>
                    <a:gd name="T59" fmla="*/ 8 h 30"/>
                    <a:gd name="T60" fmla="*/ 54 w 60"/>
                    <a:gd name="T61" fmla="*/ 5 h 30"/>
                    <a:gd name="T62" fmla="*/ 52 w 60"/>
                    <a:gd name="T63" fmla="*/ 3 h 30"/>
                    <a:gd name="T64" fmla="*/ 50 w 60"/>
                    <a:gd name="T65" fmla="*/ 2 h 30"/>
                    <a:gd name="T66" fmla="*/ 47 w 60"/>
                    <a:gd name="T67" fmla="*/ 1 h 30"/>
                    <a:gd name="T68" fmla="*/ 45 w 60"/>
                    <a:gd name="T69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60" h="30">
                      <a:moveTo>
                        <a:pt x="45" y="0"/>
                      </a:moveTo>
                      <a:lnTo>
                        <a:pt x="15" y="0"/>
                      </a:lnTo>
                      <a:lnTo>
                        <a:pt x="12" y="1"/>
                      </a:lnTo>
                      <a:lnTo>
                        <a:pt x="8" y="2"/>
                      </a:lnTo>
                      <a:lnTo>
                        <a:pt x="6" y="3"/>
                      </a:lnTo>
                      <a:lnTo>
                        <a:pt x="4" y="5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0" y="13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2"/>
                      </a:lnTo>
                      <a:lnTo>
                        <a:pt x="2" y="25"/>
                      </a:lnTo>
                      <a:lnTo>
                        <a:pt x="4" y="27"/>
                      </a:lnTo>
                      <a:lnTo>
                        <a:pt x="6" y="28"/>
                      </a:lnTo>
                      <a:lnTo>
                        <a:pt x="8" y="29"/>
                      </a:lnTo>
                      <a:lnTo>
                        <a:pt x="12" y="30"/>
                      </a:lnTo>
                      <a:lnTo>
                        <a:pt x="15" y="30"/>
                      </a:lnTo>
                      <a:lnTo>
                        <a:pt x="45" y="30"/>
                      </a:lnTo>
                      <a:lnTo>
                        <a:pt x="47" y="30"/>
                      </a:lnTo>
                      <a:lnTo>
                        <a:pt x="50" y="29"/>
                      </a:lnTo>
                      <a:lnTo>
                        <a:pt x="52" y="28"/>
                      </a:lnTo>
                      <a:lnTo>
                        <a:pt x="54" y="27"/>
                      </a:lnTo>
                      <a:lnTo>
                        <a:pt x="57" y="25"/>
                      </a:lnTo>
                      <a:lnTo>
                        <a:pt x="58" y="22"/>
                      </a:lnTo>
                      <a:lnTo>
                        <a:pt x="59" y="18"/>
                      </a:lnTo>
                      <a:lnTo>
                        <a:pt x="60" y="15"/>
                      </a:lnTo>
                      <a:lnTo>
                        <a:pt x="59" y="13"/>
                      </a:lnTo>
                      <a:lnTo>
                        <a:pt x="58" y="10"/>
                      </a:lnTo>
                      <a:lnTo>
                        <a:pt x="57" y="8"/>
                      </a:lnTo>
                      <a:lnTo>
                        <a:pt x="54" y="5"/>
                      </a:lnTo>
                      <a:lnTo>
                        <a:pt x="52" y="3"/>
                      </a:lnTo>
                      <a:lnTo>
                        <a:pt x="50" y="2"/>
                      </a:lnTo>
                      <a:lnTo>
                        <a:pt x="47" y="1"/>
                      </a:lnTo>
                      <a:lnTo>
                        <a:pt x="4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39" name="Freeform 67">
                  <a:extLst>
                    <a:ext uri="{FF2B5EF4-FFF2-40B4-BE49-F238E27FC236}">
                      <a16:creationId xmlns:a16="http://schemas.microsoft.com/office/drawing/2014/main" id="{2D76F75E-6C10-484A-83B6-6039467DA01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3450" y="865188"/>
                  <a:ext cx="257175" cy="190500"/>
                </a:xfrm>
                <a:custGeom>
                  <a:avLst/>
                  <a:gdLst>
                    <a:gd name="T0" fmla="*/ 174 w 808"/>
                    <a:gd name="T1" fmla="*/ 564 h 599"/>
                    <a:gd name="T2" fmla="*/ 111 w 808"/>
                    <a:gd name="T3" fmla="*/ 536 h 599"/>
                    <a:gd name="T4" fmla="*/ 62 w 808"/>
                    <a:gd name="T5" fmla="*/ 487 h 599"/>
                    <a:gd name="T6" fmla="*/ 34 w 808"/>
                    <a:gd name="T7" fmla="*/ 424 h 599"/>
                    <a:gd name="T8" fmla="*/ 34 w 808"/>
                    <a:gd name="T9" fmla="*/ 356 h 599"/>
                    <a:gd name="T10" fmla="*/ 59 w 808"/>
                    <a:gd name="T11" fmla="*/ 296 h 599"/>
                    <a:gd name="T12" fmla="*/ 105 w 808"/>
                    <a:gd name="T13" fmla="*/ 246 h 599"/>
                    <a:gd name="T14" fmla="*/ 164 w 808"/>
                    <a:gd name="T15" fmla="*/ 215 h 599"/>
                    <a:gd name="T16" fmla="*/ 205 w 808"/>
                    <a:gd name="T17" fmla="*/ 206 h 599"/>
                    <a:gd name="T18" fmla="*/ 213 w 808"/>
                    <a:gd name="T19" fmla="*/ 177 h 599"/>
                    <a:gd name="T20" fmla="*/ 233 w 808"/>
                    <a:gd name="T21" fmla="*/ 127 h 599"/>
                    <a:gd name="T22" fmla="*/ 282 w 808"/>
                    <a:gd name="T23" fmla="*/ 74 h 599"/>
                    <a:gd name="T24" fmla="*/ 348 w 808"/>
                    <a:gd name="T25" fmla="*/ 41 h 599"/>
                    <a:gd name="T26" fmla="*/ 419 w 808"/>
                    <a:gd name="T27" fmla="*/ 29 h 599"/>
                    <a:gd name="T28" fmla="*/ 479 w 808"/>
                    <a:gd name="T29" fmla="*/ 42 h 599"/>
                    <a:gd name="T30" fmla="*/ 531 w 808"/>
                    <a:gd name="T31" fmla="*/ 74 h 599"/>
                    <a:gd name="T32" fmla="*/ 573 w 808"/>
                    <a:gd name="T33" fmla="*/ 119 h 599"/>
                    <a:gd name="T34" fmla="*/ 600 w 808"/>
                    <a:gd name="T35" fmla="*/ 170 h 599"/>
                    <a:gd name="T36" fmla="*/ 615 w 808"/>
                    <a:gd name="T37" fmla="*/ 179 h 599"/>
                    <a:gd name="T38" fmla="*/ 675 w 808"/>
                    <a:gd name="T39" fmla="*/ 186 h 599"/>
                    <a:gd name="T40" fmla="*/ 709 w 808"/>
                    <a:gd name="T41" fmla="*/ 208 h 599"/>
                    <a:gd name="T42" fmla="*/ 725 w 808"/>
                    <a:gd name="T43" fmla="*/ 235 h 599"/>
                    <a:gd name="T44" fmla="*/ 727 w 808"/>
                    <a:gd name="T45" fmla="*/ 273 h 599"/>
                    <a:gd name="T46" fmla="*/ 719 w 808"/>
                    <a:gd name="T47" fmla="*/ 304 h 599"/>
                    <a:gd name="T48" fmla="*/ 737 w 808"/>
                    <a:gd name="T49" fmla="*/ 321 h 599"/>
                    <a:gd name="T50" fmla="*/ 764 w 808"/>
                    <a:gd name="T51" fmla="*/ 361 h 599"/>
                    <a:gd name="T52" fmla="*/ 778 w 808"/>
                    <a:gd name="T53" fmla="*/ 434 h 599"/>
                    <a:gd name="T54" fmla="*/ 767 w 808"/>
                    <a:gd name="T55" fmla="*/ 486 h 599"/>
                    <a:gd name="T56" fmla="*/ 738 w 808"/>
                    <a:gd name="T57" fmla="*/ 529 h 599"/>
                    <a:gd name="T58" fmla="*/ 696 w 808"/>
                    <a:gd name="T59" fmla="*/ 558 h 599"/>
                    <a:gd name="T60" fmla="*/ 642 w 808"/>
                    <a:gd name="T61" fmla="*/ 569 h 599"/>
                    <a:gd name="T62" fmla="*/ 758 w 808"/>
                    <a:gd name="T63" fmla="*/ 258 h 599"/>
                    <a:gd name="T64" fmla="*/ 747 w 808"/>
                    <a:gd name="T65" fmla="*/ 212 h 599"/>
                    <a:gd name="T66" fmla="*/ 727 w 808"/>
                    <a:gd name="T67" fmla="*/ 183 h 599"/>
                    <a:gd name="T68" fmla="*/ 700 w 808"/>
                    <a:gd name="T69" fmla="*/ 165 h 599"/>
                    <a:gd name="T70" fmla="*/ 642 w 808"/>
                    <a:gd name="T71" fmla="*/ 149 h 599"/>
                    <a:gd name="T72" fmla="*/ 601 w 808"/>
                    <a:gd name="T73" fmla="*/ 108 h 599"/>
                    <a:gd name="T74" fmla="*/ 559 w 808"/>
                    <a:gd name="T75" fmla="*/ 58 h 599"/>
                    <a:gd name="T76" fmla="*/ 503 w 808"/>
                    <a:gd name="T77" fmla="*/ 19 h 599"/>
                    <a:gd name="T78" fmla="*/ 438 w 808"/>
                    <a:gd name="T79" fmla="*/ 0 h 599"/>
                    <a:gd name="T80" fmla="*/ 349 w 808"/>
                    <a:gd name="T81" fmla="*/ 9 h 599"/>
                    <a:gd name="T82" fmla="*/ 272 w 808"/>
                    <a:gd name="T83" fmla="*/ 44 h 599"/>
                    <a:gd name="T84" fmla="*/ 216 w 808"/>
                    <a:gd name="T85" fmla="*/ 99 h 599"/>
                    <a:gd name="T86" fmla="*/ 185 w 808"/>
                    <a:gd name="T87" fmla="*/ 164 h 599"/>
                    <a:gd name="T88" fmla="*/ 128 w 808"/>
                    <a:gd name="T89" fmla="*/ 197 h 599"/>
                    <a:gd name="T90" fmla="*/ 66 w 808"/>
                    <a:gd name="T91" fmla="*/ 240 h 599"/>
                    <a:gd name="T92" fmla="*/ 22 w 808"/>
                    <a:gd name="T93" fmla="*/ 300 h 599"/>
                    <a:gd name="T94" fmla="*/ 1 w 808"/>
                    <a:gd name="T95" fmla="*/ 371 h 599"/>
                    <a:gd name="T96" fmla="*/ 3 w 808"/>
                    <a:gd name="T97" fmla="*/ 420 h 599"/>
                    <a:gd name="T98" fmla="*/ 27 w 808"/>
                    <a:gd name="T99" fmla="*/ 487 h 599"/>
                    <a:gd name="T100" fmla="*/ 78 w 808"/>
                    <a:gd name="T101" fmla="*/ 549 h 599"/>
                    <a:gd name="T102" fmla="*/ 149 w 808"/>
                    <a:gd name="T103" fmla="*/ 589 h 599"/>
                    <a:gd name="T104" fmla="*/ 199 w 808"/>
                    <a:gd name="T105" fmla="*/ 597 h 599"/>
                    <a:gd name="T106" fmla="*/ 676 w 808"/>
                    <a:gd name="T107" fmla="*/ 595 h 599"/>
                    <a:gd name="T108" fmla="*/ 735 w 808"/>
                    <a:gd name="T109" fmla="*/ 571 h 599"/>
                    <a:gd name="T110" fmla="*/ 780 w 808"/>
                    <a:gd name="T111" fmla="*/ 526 h 599"/>
                    <a:gd name="T112" fmla="*/ 805 w 808"/>
                    <a:gd name="T113" fmla="*/ 467 h 599"/>
                    <a:gd name="T114" fmla="*/ 806 w 808"/>
                    <a:gd name="T115" fmla="*/ 397 h 599"/>
                    <a:gd name="T116" fmla="*/ 788 w 808"/>
                    <a:gd name="T117" fmla="*/ 342 h 599"/>
                    <a:gd name="T118" fmla="*/ 766 w 808"/>
                    <a:gd name="T119" fmla="*/ 308 h 5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08" h="599">
                      <a:moveTo>
                        <a:pt x="642" y="569"/>
                      </a:moveTo>
                      <a:lnTo>
                        <a:pt x="210" y="569"/>
                      </a:lnTo>
                      <a:lnTo>
                        <a:pt x="192" y="568"/>
                      </a:lnTo>
                      <a:lnTo>
                        <a:pt x="174" y="564"/>
                      </a:lnTo>
                      <a:lnTo>
                        <a:pt x="158" y="560"/>
                      </a:lnTo>
                      <a:lnTo>
                        <a:pt x="141" y="554"/>
                      </a:lnTo>
                      <a:lnTo>
                        <a:pt x="126" y="546"/>
                      </a:lnTo>
                      <a:lnTo>
                        <a:pt x="111" y="536"/>
                      </a:lnTo>
                      <a:lnTo>
                        <a:pt x="97" y="526"/>
                      </a:lnTo>
                      <a:lnTo>
                        <a:pt x="84" y="514"/>
                      </a:lnTo>
                      <a:lnTo>
                        <a:pt x="73" y="501"/>
                      </a:lnTo>
                      <a:lnTo>
                        <a:pt x="62" y="487"/>
                      </a:lnTo>
                      <a:lnTo>
                        <a:pt x="52" y="473"/>
                      </a:lnTo>
                      <a:lnTo>
                        <a:pt x="45" y="457"/>
                      </a:lnTo>
                      <a:lnTo>
                        <a:pt x="38" y="441"/>
                      </a:lnTo>
                      <a:lnTo>
                        <a:pt x="34" y="424"/>
                      </a:lnTo>
                      <a:lnTo>
                        <a:pt x="31" y="407"/>
                      </a:lnTo>
                      <a:lnTo>
                        <a:pt x="30" y="389"/>
                      </a:lnTo>
                      <a:lnTo>
                        <a:pt x="31" y="373"/>
                      </a:lnTo>
                      <a:lnTo>
                        <a:pt x="34" y="356"/>
                      </a:lnTo>
                      <a:lnTo>
                        <a:pt x="38" y="341"/>
                      </a:lnTo>
                      <a:lnTo>
                        <a:pt x="44" y="325"/>
                      </a:lnTo>
                      <a:lnTo>
                        <a:pt x="50" y="310"/>
                      </a:lnTo>
                      <a:lnTo>
                        <a:pt x="59" y="296"/>
                      </a:lnTo>
                      <a:lnTo>
                        <a:pt x="68" y="282"/>
                      </a:lnTo>
                      <a:lnTo>
                        <a:pt x="79" y="269"/>
                      </a:lnTo>
                      <a:lnTo>
                        <a:pt x="92" y="257"/>
                      </a:lnTo>
                      <a:lnTo>
                        <a:pt x="105" y="246"/>
                      </a:lnTo>
                      <a:lnTo>
                        <a:pt x="118" y="237"/>
                      </a:lnTo>
                      <a:lnTo>
                        <a:pt x="133" y="228"/>
                      </a:lnTo>
                      <a:lnTo>
                        <a:pt x="147" y="222"/>
                      </a:lnTo>
                      <a:lnTo>
                        <a:pt x="164" y="215"/>
                      </a:lnTo>
                      <a:lnTo>
                        <a:pt x="180" y="212"/>
                      </a:lnTo>
                      <a:lnTo>
                        <a:pt x="197" y="209"/>
                      </a:lnTo>
                      <a:lnTo>
                        <a:pt x="201" y="208"/>
                      </a:lnTo>
                      <a:lnTo>
                        <a:pt x="205" y="206"/>
                      </a:lnTo>
                      <a:lnTo>
                        <a:pt x="209" y="201"/>
                      </a:lnTo>
                      <a:lnTo>
                        <a:pt x="210" y="196"/>
                      </a:lnTo>
                      <a:lnTo>
                        <a:pt x="211" y="186"/>
                      </a:lnTo>
                      <a:lnTo>
                        <a:pt x="213" y="177"/>
                      </a:lnTo>
                      <a:lnTo>
                        <a:pt x="215" y="168"/>
                      </a:lnTo>
                      <a:lnTo>
                        <a:pt x="217" y="160"/>
                      </a:lnTo>
                      <a:lnTo>
                        <a:pt x="225" y="143"/>
                      </a:lnTo>
                      <a:lnTo>
                        <a:pt x="233" y="127"/>
                      </a:lnTo>
                      <a:lnTo>
                        <a:pt x="244" y="113"/>
                      </a:lnTo>
                      <a:lnTo>
                        <a:pt x="256" y="99"/>
                      </a:lnTo>
                      <a:lnTo>
                        <a:pt x="268" y="86"/>
                      </a:lnTo>
                      <a:lnTo>
                        <a:pt x="282" y="74"/>
                      </a:lnTo>
                      <a:lnTo>
                        <a:pt x="298" y="64"/>
                      </a:lnTo>
                      <a:lnTo>
                        <a:pt x="315" y="56"/>
                      </a:lnTo>
                      <a:lnTo>
                        <a:pt x="331" y="47"/>
                      </a:lnTo>
                      <a:lnTo>
                        <a:pt x="348" y="41"/>
                      </a:lnTo>
                      <a:lnTo>
                        <a:pt x="366" y="37"/>
                      </a:lnTo>
                      <a:lnTo>
                        <a:pt x="384" y="32"/>
                      </a:lnTo>
                      <a:lnTo>
                        <a:pt x="401" y="30"/>
                      </a:lnTo>
                      <a:lnTo>
                        <a:pt x="419" y="29"/>
                      </a:lnTo>
                      <a:lnTo>
                        <a:pt x="434" y="30"/>
                      </a:lnTo>
                      <a:lnTo>
                        <a:pt x="449" y="32"/>
                      </a:lnTo>
                      <a:lnTo>
                        <a:pt x="464" y="37"/>
                      </a:lnTo>
                      <a:lnTo>
                        <a:pt x="479" y="42"/>
                      </a:lnTo>
                      <a:lnTo>
                        <a:pt x="492" y="48"/>
                      </a:lnTo>
                      <a:lnTo>
                        <a:pt x="506" y="56"/>
                      </a:lnTo>
                      <a:lnTo>
                        <a:pt x="519" y="64"/>
                      </a:lnTo>
                      <a:lnTo>
                        <a:pt x="531" y="74"/>
                      </a:lnTo>
                      <a:lnTo>
                        <a:pt x="543" y="84"/>
                      </a:lnTo>
                      <a:lnTo>
                        <a:pt x="553" y="94"/>
                      </a:lnTo>
                      <a:lnTo>
                        <a:pt x="563" y="106"/>
                      </a:lnTo>
                      <a:lnTo>
                        <a:pt x="573" y="119"/>
                      </a:lnTo>
                      <a:lnTo>
                        <a:pt x="580" y="131"/>
                      </a:lnTo>
                      <a:lnTo>
                        <a:pt x="588" y="144"/>
                      </a:lnTo>
                      <a:lnTo>
                        <a:pt x="595" y="158"/>
                      </a:lnTo>
                      <a:lnTo>
                        <a:pt x="600" y="170"/>
                      </a:lnTo>
                      <a:lnTo>
                        <a:pt x="603" y="175"/>
                      </a:lnTo>
                      <a:lnTo>
                        <a:pt x="607" y="178"/>
                      </a:lnTo>
                      <a:lnTo>
                        <a:pt x="611" y="179"/>
                      </a:lnTo>
                      <a:lnTo>
                        <a:pt x="615" y="179"/>
                      </a:lnTo>
                      <a:lnTo>
                        <a:pt x="631" y="179"/>
                      </a:lnTo>
                      <a:lnTo>
                        <a:pt x="646" y="179"/>
                      </a:lnTo>
                      <a:lnTo>
                        <a:pt x="661" y="182"/>
                      </a:lnTo>
                      <a:lnTo>
                        <a:pt x="675" y="186"/>
                      </a:lnTo>
                      <a:lnTo>
                        <a:pt x="687" y="192"/>
                      </a:lnTo>
                      <a:lnTo>
                        <a:pt x="699" y="199"/>
                      </a:lnTo>
                      <a:lnTo>
                        <a:pt x="704" y="204"/>
                      </a:lnTo>
                      <a:lnTo>
                        <a:pt x="709" y="208"/>
                      </a:lnTo>
                      <a:lnTo>
                        <a:pt x="713" y="213"/>
                      </a:lnTo>
                      <a:lnTo>
                        <a:pt x="716" y="219"/>
                      </a:lnTo>
                      <a:lnTo>
                        <a:pt x="721" y="226"/>
                      </a:lnTo>
                      <a:lnTo>
                        <a:pt x="725" y="235"/>
                      </a:lnTo>
                      <a:lnTo>
                        <a:pt x="727" y="244"/>
                      </a:lnTo>
                      <a:lnTo>
                        <a:pt x="728" y="253"/>
                      </a:lnTo>
                      <a:lnTo>
                        <a:pt x="728" y="264"/>
                      </a:lnTo>
                      <a:lnTo>
                        <a:pt x="727" y="273"/>
                      </a:lnTo>
                      <a:lnTo>
                        <a:pt x="723" y="283"/>
                      </a:lnTo>
                      <a:lnTo>
                        <a:pt x="720" y="293"/>
                      </a:lnTo>
                      <a:lnTo>
                        <a:pt x="719" y="299"/>
                      </a:lnTo>
                      <a:lnTo>
                        <a:pt x="719" y="304"/>
                      </a:lnTo>
                      <a:lnTo>
                        <a:pt x="721" y="308"/>
                      </a:lnTo>
                      <a:lnTo>
                        <a:pt x="726" y="313"/>
                      </a:lnTo>
                      <a:lnTo>
                        <a:pt x="731" y="317"/>
                      </a:lnTo>
                      <a:lnTo>
                        <a:pt x="737" y="321"/>
                      </a:lnTo>
                      <a:lnTo>
                        <a:pt x="743" y="327"/>
                      </a:lnTo>
                      <a:lnTo>
                        <a:pt x="747" y="333"/>
                      </a:lnTo>
                      <a:lnTo>
                        <a:pt x="757" y="346"/>
                      </a:lnTo>
                      <a:lnTo>
                        <a:pt x="764" y="361"/>
                      </a:lnTo>
                      <a:lnTo>
                        <a:pt x="771" y="378"/>
                      </a:lnTo>
                      <a:lnTo>
                        <a:pt x="775" y="395"/>
                      </a:lnTo>
                      <a:lnTo>
                        <a:pt x="778" y="414"/>
                      </a:lnTo>
                      <a:lnTo>
                        <a:pt x="778" y="434"/>
                      </a:lnTo>
                      <a:lnTo>
                        <a:pt x="778" y="448"/>
                      </a:lnTo>
                      <a:lnTo>
                        <a:pt x="776" y="460"/>
                      </a:lnTo>
                      <a:lnTo>
                        <a:pt x="773" y="474"/>
                      </a:lnTo>
                      <a:lnTo>
                        <a:pt x="767" y="486"/>
                      </a:lnTo>
                      <a:lnTo>
                        <a:pt x="762" y="498"/>
                      </a:lnTo>
                      <a:lnTo>
                        <a:pt x="756" y="509"/>
                      </a:lnTo>
                      <a:lnTo>
                        <a:pt x="747" y="519"/>
                      </a:lnTo>
                      <a:lnTo>
                        <a:pt x="738" y="529"/>
                      </a:lnTo>
                      <a:lnTo>
                        <a:pt x="729" y="538"/>
                      </a:lnTo>
                      <a:lnTo>
                        <a:pt x="718" y="545"/>
                      </a:lnTo>
                      <a:lnTo>
                        <a:pt x="707" y="553"/>
                      </a:lnTo>
                      <a:lnTo>
                        <a:pt x="696" y="558"/>
                      </a:lnTo>
                      <a:lnTo>
                        <a:pt x="683" y="562"/>
                      </a:lnTo>
                      <a:lnTo>
                        <a:pt x="670" y="565"/>
                      </a:lnTo>
                      <a:lnTo>
                        <a:pt x="656" y="568"/>
                      </a:lnTo>
                      <a:lnTo>
                        <a:pt x="642" y="569"/>
                      </a:lnTo>
                      <a:close/>
                      <a:moveTo>
                        <a:pt x="751" y="295"/>
                      </a:moveTo>
                      <a:lnTo>
                        <a:pt x="756" y="282"/>
                      </a:lnTo>
                      <a:lnTo>
                        <a:pt x="758" y="270"/>
                      </a:lnTo>
                      <a:lnTo>
                        <a:pt x="758" y="258"/>
                      </a:lnTo>
                      <a:lnTo>
                        <a:pt x="758" y="245"/>
                      </a:lnTo>
                      <a:lnTo>
                        <a:pt x="756" y="235"/>
                      </a:lnTo>
                      <a:lnTo>
                        <a:pt x="752" y="223"/>
                      </a:lnTo>
                      <a:lnTo>
                        <a:pt x="747" y="212"/>
                      </a:lnTo>
                      <a:lnTo>
                        <a:pt x="742" y="201"/>
                      </a:lnTo>
                      <a:lnTo>
                        <a:pt x="737" y="195"/>
                      </a:lnTo>
                      <a:lnTo>
                        <a:pt x="732" y="189"/>
                      </a:lnTo>
                      <a:lnTo>
                        <a:pt x="727" y="183"/>
                      </a:lnTo>
                      <a:lnTo>
                        <a:pt x="720" y="178"/>
                      </a:lnTo>
                      <a:lnTo>
                        <a:pt x="714" y="173"/>
                      </a:lnTo>
                      <a:lnTo>
                        <a:pt x="707" y="168"/>
                      </a:lnTo>
                      <a:lnTo>
                        <a:pt x="700" y="165"/>
                      </a:lnTo>
                      <a:lnTo>
                        <a:pt x="692" y="161"/>
                      </a:lnTo>
                      <a:lnTo>
                        <a:pt x="676" y="155"/>
                      </a:lnTo>
                      <a:lnTo>
                        <a:pt x="660" y="151"/>
                      </a:lnTo>
                      <a:lnTo>
                        <a:pt x="642" y="149"/>
                      </a:lnTo>
                      <a:lnTo>
                        <a:pt x="624" y="149"/>
                      </a:lnTo>
                      <a:lnTo>
                        <a:pt x="618" y="135"/>
                      </a:lnTo>
                      <a:lnTo>
                        <a:pt x="609" y="122"/>
                      </a:lnTo>
                      <a:lnTo>
                        <a:pt x="601" y="108"/>
                      </a:lnTo>
                      <a:lnTo>
                        <a:pt x="592" y="95"/>
                      </a:lnTo>
                      <a:lnTo>
                        <a:pt x="581" y="83"/>
                      </a:lnTo>
                      <a:lnTo>
                        <a:pt x="570" y="70"/>
                      </a:lnTo>
                      <a:lnTo>
                        <a:pt x="559" y="58"/>
                      </a:lnTo>
                      <a:lnTo>
                        <a:pt x="546" y="47"/>
                      </a:lnTo>
                      <a:lnTo>
                        <a:pt x="532" y="37"/>
                      </a:lnTo>
                      <a:lnTo>
                        <a:pt x="518" y="28"/>
                      </a:lnTo>
                      <a:lnTo>
                        <a:pt x="503" y="19"/>
                      </a:lnTo>
                      <a:lnTo>
                        <a:pt x="488" y="13"/>
                      </a:lnTo>
                      <a:lnTo>
                        <a:pt x="471" y="8"/>
                      </a:lnTo>
                      <a:lnTo>
                        <a:pt x="455" y="3"/>
                      </a:lnTo>
                      <a:lnTo>
                        <a:pt x="438" y="0"/>
                      </a:lnTo>
                      <a:lnTo>
                        <a:pt x="419" y="0"/>
                      </a:lnTo>
                      <a:lnTo>
                        <a:pt x="395" y="0"/>
                      </a:lnTo>
                      <a:lnTo>
                        <a:pt x="371" y="3"/>
                      </a:lnTo>
                      <a:lnTo>
                        <a:pt x="349" y="9"/>
                      </a:lnTo>
                      <a:lnTo>
                        <a:pt x="328" y="15"/>
                      </a:lnTo>
                      <a:lnTo>
                        <a:pt x="308" y="24"/>
                      </a:lnTo>
                      <a:lnTo>
                        <a:pt x="289" y="33"/>
                      </a:lnTo>
                      <a:lnTo>
                        <a:pt x="272" y="44"/>
                      </a:lnTo>
                      <a:lnTo>
                        <a:pt x="256" y="57"/>
                      </a:lnTo>
                      <a:lnTo>
                        <a:pt x="241" y="70"/>
                      </a:lnTo>
                      <a:lnTo>
                        <a:pt x="228" y="84"/>
                      </a:lnTo>
                      <a:lnTo>
                        <a:pt x="216" y="99"/>
                      </a:lnTo>
                      <a:lnTo>
                        <a:pt x="206" y="115"/>
                      </a:lnTo>
                      <a:lnTo>
                        <a:pt x="198" y="131"/>
                      </a:lnTo>
                      <a:lnTo>
                        <a:pt x="190" y="147"/>
                      </a:lnTo>
                      <a:lnTo>
                        <a:pt x="185" y="164"/>
                      </a:lnTo>
                      <a:lnTo>
                        <a:pt x="182" y="181"/>
                      </a:lnTo>
                      <a:lnTo>
                        <a:pt x="162" y="184"/>
                      </a:lnTo>
                      <a:lnTo>
                        <a:pt x="145" y="191"/>
                      </a:lnTo>
                      <a:lnTo>
                        <a:pt x="128" y="197"/>
                      </a:lnTo>
                      <a:lnTo>
                        <a:pt x="111" y="207"/>
                      </a:lnTo>
                      <a:lnTo>
                        <a:pt x="95" y="216"/>
                      </a:lnTo>
                      <a:lnTo>
                        <a:pt x="80" y="228"/>
                      </a:lnTo>
                      <a:lnTo>
                        <a:pt x="66" y="240"/>
                      </a:lnTo>
                      <a:lnTo>
                        <a:pt x="53" y="254"/>
                      </a:lnTo>
                      <a:lnTo>
                        <a:pt x="42" y="269"/>
                      </a:lnTo>
                      <a:lnTo>
                        <a:pt x="32" y="284"/>
                      </a:lnTo>
                      <a:lnTo>
                        <a:pt x="22" y="300"/>
                      </a:lnTo>
                      <a:lnTo>
                        <a:pt x="15" y="317"/>
                      </a:lnTo>
                      <a:lnTo>
                        <a:pt x="8" y="334"/>
                      </a:lnTo>
                      <a:lnTo>
                        <a:pt x="4" y="352"/>
                      </a:lnTo>
                      <a:lnTo>
                        <a:pt x="1" y="371"/>
                      </a:lnTo>
                      <a:lnTo>
                        <a:pt x="0" y="389"/>
                      </a:lnTo>
                      <a:lnTo>
                        <a:pt x="1" y="399"/>
                      </a:lnTo>
                      <a:lnTo>
                        <a:pt x="2" y="409"/>
                      </a:lnTo>
                      <a:lnTo>
                        <a:pt x="3" y="420"/>
                      </a:lnTo>
                      <a:lnTo>
                        <a:pt x="5" y="431"/>
                      </a:lnTo>
                      <a:lnTo>
                        <a:pt x="10" y="450"/>
                      </a:lnTo>
                      <a:lnTo>
                        <a:pt x="17" y="469"/>
                      </a:lnTo>
                      <a:lnTo>
                        <a:pt x="27" y="487"/>
                      </a:lnTo>
                      <a:lnTo>
                        <a:pt x="37" y="504"/>
                      </a:lnTo>
                      <a:lnTo>
                        <a:pt x="49" y="520"/>
                      </a:lnTo>
                      <a:lnTo>
                        <a:pt x="63" y="535"/>
                      </a:lnTo>
                      <a:lnTo>
                        <a:pt x="78" y="549"/>
                      </a:lnTo>
                      <a:lnTo>
                        <a:pt x="94" y="561"/>
                      </a:lnTo>
                      <a:lnTo>
                        <a:pt x="112" y="572"/>
                      </a:lnTo>
                      <a:lnTo>
                        <a:pt x="130" y="581"/>
                      </a:lnTo>
                      <a:lnTo>
                        <a:pt x="149" y="589"/>
                      </a:lnTo>
                      <a:lnTo>
                        <a:pt x="169" y="594"/>
                      </a:lnTo>
                      <a:lnTo>
                        <a:pt x="179" y="595"/>
                      </a:lnTo>
                      <a:lnTo>
                        <a:pt x="189" y="597"/>
                      </a:lnTo>
                      <a:lnTo>
                        <a:pt x="199" y="597"/>
                      </a:lnTo>
                      <a:lnTo>
                        <a:pt x="210" y="599"/>
                      </a:lnTo>
                      <a:lnTo>
                        <a:pt x="642" y="599"/>
                      </a:lnTo>
                      <a:lnTo>
                        <a:pt x="659" y="597"/>
                      </a:lnTo>
                      <a:lnTo>
                        <a:pt x="676" y="595"/>
                      </a:lnTo>
                      <a:lnTo>
                        <a:pt x="692" y="591"/>
                      </a:lnTo>
                      <a:lnTo>
                        <a:pt x="707" y="586"/>
                      </a:lnTo>
                      <a:lnTo>
                        <a:pt x="721" y="578"/>
                      </a:lnTo>
                      <a:lnTo>
                        <a:pt x="735" y="571"/>
                      </a:lnTo>
                      <a:lnTo>
                        <a:pt x="748" y="561"/>
                      </a:lnTo>
                      <a:lnTo>
                        <a:pt x="760" y="550"/>
                      </a:lnTo>
                      <a:lnTo>
                        <a:pt x="771" y="539"/>
                      </a:lnTo>
                      <a:lnTo>
                        <a:pt x="780" y="526"/>
                      </a:lnTo>
                      <a:lnTo>
                        <a:pt x="789" y="512"/>
                      </a:lnTo>
                      <a:lnTo>
                        <a:pt x="795" y="498"/>
                      </a:lnTo>
                      <a:lnTo>
                        <a:pt x="801" y="483"/>
                      </a:lnTo>
                      <a:lnTo>
                        <a:pt x="805" y="467"/>
                      </a:lnTo>
                      <a:lnTo>
                        <a:pt x="808" y="451"/>
                      </a:lnTo>
                      <a:lnTo>
                        <a:pt x="808" y="434"/>
                      </a:lnTo>
                      <a:lnTo>
                        <a:pt x="808" y="417"/>
                      </a:lnTo>
                      <a:lnTo>
                        <a:pt x="806" y="397"/>
                      </a:lnTo>
                      <a:lnTo>
                        <a:pt x="802" y="379"/>
                      </a:lnTo>
                      <a:lnTo>
                        <a:pt x="796" y="360"/>
                      </a:lnTo>
                      <a:lnTo>
                        <a:pt x="792" y="351"/>
                      </a:lnTo>
                      <a:lnTo>
                        <a:pt x="788" y="342"/>
                      </a:lnTo>
                      <a:lnTo>
                        <a:pt x="783" y="333"/>
                      </a:lnTo>
                      <a:lnTo>
                        <a:pt x="778" y="325"/>
                      </a:lnTo>
                      <a:lnTo>
                        <a:pt x="773" y="316"/>
                      </a:lnTo>
                      <a:lnTo>
                        <a:pt x="766" y="308"/>
                      </a:lnTo>
                      <a:lnTo>
                        <a:pt x="759" y="301"/>
                      </a:lnTo>
                      <a:lnTo>
                        <a:pt x="751" y="29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0" name="Freeform 68">
                  <a:extLst>
                    <a:ext uri="{FF2B5EF4-FFF2-40B4-BE49-F238E27FC236}">
                      <a16:creationId xmlns:a16="http://schemas.microsoft.com/office/drawing/2014/main" id="{24A5F0D3-DCB5-40D2-A027-10EDA02818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3450" y="798513"/>
                  <a:ext cx="146050" cy="123825"/>
                </a:xfrm>
                <a:custGeom>
                  <a:avLst/>
                  <a:gdLst>
                    <a:gd name="T0" fmla="*/ 39 w 457"/>
                    <a:gd name="T1" fmla="*/ 386 h 388"/>
                    <a:gd name="T2" fmla="*/ 50 w 457"/>
                    <a:gd name="T3" fmla="*/ 388 h 388"/>
                    <a:gd name="T4" fmla="*/ 59 w 457"/>
                    <a:gd name="T5" fmla="*/ 383 h 388"/>
                    <a:gd name="T6" fmla="*/ 62 w 457"/>
                    <a:gd name="T7" fmla="*/ 374 h 388"/>
                    <a:gd name="T8" fmla="*/ 60 w 457"/>
                    <a:gd name="T9" fmla="*/ 365 h 388"/>
                    <a:gd name="T10" fmla="*/ 42 w 457"/>
                    <a:gd name="T11" fmla="*/ 326 h 388"/>
                    <a:gd name="T12" fmla="*/ 32 w 457"/>
                    <a:gd name="T13" fmla="*/ 284 h 388"/>
                    <a:gd name="T14" fmla="*/ 31 w 457"/>
                    <a:gd name="T15" fmla="*/ 243 h 388"/>
                    <a:gd name="T16" fmla="*/ 35 w 457"/>
                    <a:gd name="T17" fmla="*/ 210 h 388"/>
                    <a:gd name="T18" fmla="*/ 44 w 457"/>
                    <a:gd name="T19" fmla="*/ 178 h 388"/>
                    <a:gd name="T20" fmla="*/ 68 w 457"/>
                    <a:gd name="T21" fmla="*/ 130 h 388"/>
                    <a:gd name="T22" fmla="*/ 112 w 457"/>
                    <a:gd name="T23" fmla="*/ 82 h 388"/>
                    <a:gd name="T24" fmla="*/ 168 w 457"/>
                    <a:gd name="T25" fmla="*/ 48 h 388"/>
                    <a:gd name="T26" fmla="*/ 199 w 457"/>
                    <a:gd name="T27" fmla="*/ 37 h 388"/>
                    <a:gd name="T28" fmla="*/ 232 w 457"/>
                    <a:gd name="T29" fmla="*/ 31 h 388"/>
                    <a:gd name="T30" fmla="*/ 267 w 457"/>
                    <a:gd name="T31" fmla="*/ 30 h 388"/>
                    <a:gd name="T32" fmla="*/ 305 w 457"/>
                    <a:gd name="T33" fmla="*/ 36 h 388"/>
                    <a:gd name="T34" fmla="*/ 341 w 457"/>
                    <a:gd name="T35" fmla="*/ 48 h 388"/>
                    <a:gd name="T36" fmla="*/ 374 w 457"/>
                    <a:gd name="T37" fmla="*/ 65 h 388"/>
                    <a:gd name="T38" fmla="*/ 404 w 457"/>
                    <a:gd name="T39" fmla="*/ 87 h 388"/>
                    <a:gd name="T40" fmla="*/ 430 w 457"/>
                    <a:gd name="T41" fmla="*/ 115 h 388"/>
                    <a:gd name="T42" fmla="*/ 443 w 457"/>
                    <a:gd name="T43" fmla="*/ 121 h 388"/>
                    <a:gd name="T44" fmla="*/ 452 w 457"/>
                    <a:gd name="T45" fmla="*/ 118 h 388"/>
                    <a:gd name="T46" fmla="*/ 457 w 457"/>
                    <a:gd name="T47" fmla="*/ 105 h 388"/>
                    <a:gd name="T48" fmla="*/ 454 w 457"/>
                    <a:gd name="T49" fmla="*/ 98 h 388"/>
                    <a:gd name="T50" fmla="*/ 424 w 457"/>
                    <a:gd name="T51" fmla="*/ 66 h 388"/>
                    <a:gd name="T52" fmla="*/ 391 w 457"/>
                    <a:gd name="T53" fmla="*/ 40 h 388"/>
                    <a:gd name="T54" fmla="*/ 352 w 457"/>
                    <a:gd name="T55" fmla="*/ 20 h 388"/>
                    <a:gd name="T56" fmla="*/ 312 w 457"/>
                    <a:gd name="T57" fmla="*/ 7 h 388"/>
                    <a:gd name="T58" fmla="*/ 270 w 457"/>
                    <a:gd name="T59" fmla="*/ 0 h 388"/>
                    <a:gd name="T60" fmla="*/ 229 w 457"/>
                    <a:gd name="T61" fmla="*/ 1 h 388"/>
                    <a:gd name="T62" fmla="*/ 191 w 457"/>
                    <a:gd name="T63" fmla="*/ 8 h 388"/>
                    <a:gd name="T64" fmla="*/ 156 w 457"/>
                    <a:gd name="T65" fmla="*/ 21 h 388"/>
                    <a:gd name="T66" fmla="*/ 123 w 457"/>
                    <a:gd name="T67" fmla="*/ 37 h 388"/>
                    <a:gd name="T68" fmla="*/ 93 w 457"/>
                    <a:gd name="T69" fmla="*/ 58 h 388"/>
                    <a:gd name="T70" fmla="*/ 66 w 457"/>
                    <a:gd name="T71" fmla="*/ 84 h 388"/>
                    <a:gd name="T72" fmla="*/ 44 w 457"/>
                    <a:gd name="T73" fmla="*/ 113 h 388"/>
                    <a:gd name="T74" fmla="*/ 25 w 457"/>
                    <a:gd name="T75" fmla="*/ 145 h 388"/>
                    <a:gd name="T76" fmla="*/ 12 w 457"/>
                    <a:gd name="T77" fmla="*/ 179 h 388"/>
                    <a:gd name="T78" fmla="*/ 3 w 457"/>
                    <a:gd name="T79" fmla="*/ 217 h 388"/>
                    <a:gd name="T80" fmla="*/ 0 w 457"/>
                    <a:gd name="T81" fmla="*/ 254 h 388"/>
                    <a:gd name="T82" fmla="*/ 5 w 457"/>
                    <a:gd name="T83" fmla="*/ 304 h 388"/>
                    <a:gd name="T84" fmla="*/ 19 w 457"/>
                    <a:gd name="T85" fmla="*/ 352 h 3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457" h="388">
                      <a:moveTo>
                        <a:pt x="34" y="380"/>
                      </a:moveTo>
                      <a:lnTo>
                        <a:pt x="36" y="384"/>
                      </a:lnTo>
                      <a:lnTo>
                        <a:pt x="39" y="386"/>
                      </a:lnTo>
                      <a:lnTo>
                        <a:pt x="43" y="388"/>
                      </a:lnTo>
                      <a:lnTo>
                        <a:pt x="47" y="388"/>
                      </a:lnTo>
                      <a:lnTo>
                        <a:pt x="50" y="388"/>
                      </a:lnTo>
                      <a:lnTo>
                        <a:pt x="54" y="386"/>
                      </a:lnTo>
                      <a:lnTo>
                        <a:pt x="56" y="385"/>
                      </a:lnTo>
                      <a:lnTo>
                        <a:pt x="59" y="383"/>
                      </a:lnTo>
                      <a:lnTo>
                        <a:pt x="60" y="379"/>
                      </a:lnTo>
                      <a:lnTo>
                        <a:pt x="61" y="377"/>
                      </a:lnTo>
                      <a:lnTo>
                        <a:pt x="62" y="374"/>
                      </a:lnTo>
                      <a:lnTo>
                        <a:pt x="62" y="371"/>
                      </a:lnTo>
                      <a:lnTo>
                        <a:pt x="61" y="369"/>
                      </a:lnTo>
                      <a:lnTo>
                        <a:pt x="60" y="365"/>
                      </a:lnTo>
                      <a:lnTo>
                        <a:pt x="53" y="353"/>
                      </a:lnTo>
                      <a:lnTo>
                        <a:pt x="47" y="340"/>
                      </a:lnTo>
                      <a:lnTo>
                        <a:pt x="42" y="326"/>
                      </a:lnTo>
                      <a:lnTo>
                        <a:pt x="37" y="312"/>
                      </a:lnTo>
                      <a:lnTo>
                        <a:pt x="34" y="298"/>
                      </a:lnTo>
                      <a:lnTo>
                        <a:pt x="32" y="284"/>
                      </a:lnTo>
                      <a:lnTo>
                        <a:pt x="31" y="269"/>
                      </a:lnTo>
                      <a:lnTo>
                        <a:pt x="30" y="254"/>
                      </a:lnTo>
                      <a:lnTo>
                        <a:pt x="31" y="243"/>
                      </a:lnTo>
                      <a:lnTo>
                        <a:pt x="32" y="232"/>
                      </a:lnTo>
                      <a:lnTo>
                        <a:pt x="33" y="221"/>
                      </a:lnTo>
                      <a:lnTo>
                        <a:pt x="35" y="210"/>
                      </a:lnTo>
                      <a:lnTo>
                        <a:pt x="37" y="198"/>
                      </a:lnTo>
                      <a:lnTo>
                        <a:pt x="40" y="189"/>
                      </a:lnTo>
                      <a:lnTo>
                        <a:pt x="44" y="178"/>
                      </a:lnTo>
                      <a:lnTo>
                        <a:pt x="48" y="167"/>
                      </a:lnTo>
                      <a:lnTo>
                        <a:pt x="58" y="148"/>
                      </a:lnTo>
                      <a:lnTo>
                        <a:pt x="68" y="130"/>
                      </a:lnTo>
                      <a:lnTo>
                        <a:pt x="81" y="113"/>
                      </a:lnTo>
                      <a:lnTo>
                        <a:pt x="96" y="97"/>
                      </a:lnTo>
                      <a:lnTo>
                        <a:pt x="112" y="82"/>
                      </a:lnTo>
                      <a:lnTo>
                        <a:pt x="129" y="69"/>
                      </a:lnTo>
                      <a:lnTo>
                        <a:pt x="147" y="57"/>
                      </a:lnTo>
                      <a:lnTo>
                        <a:pt x="168" y="48"/>
                      </a:lnTo>
                      <a:lnTo>
                        <a:pt x="177" y="44"/>
                      </a:lnTo>
                      <a:lnTo>
                        <a:pt x="188" y="40"/>
                      </a:lnTo>
                      <a:lnTo>
                        <a:pt x="199" y="37"/>
                      </a:lnTo>
                      <a:lnTo>
                        <a:pt x="210" y="35"/>
                      </a:lnTo>
                      <a:lnTo>
                        <a:pt x="220" y="33"/>
                      </a:lnTo>
                      <a:lnTo>
                        <a:pt x="232" y="31"/>
                      </a:lnTo>
                      <a:lnTo>
                        <a:pt x="243" y="30"/>
                      </a:lnTo>
                      <a:lnTo>
                        <a:pt x="255" y="30"/>
                      </a:lnTo>
                      <a:lnTo>
                        <a:pt x="267" y="30"/>
                      </a:lnTo>
                      <a:lnTo>
                        <a:pt x="280" y="31"/>
                      </a:lnTo>
                      <a:lnTo>
                        <a:pt x="293" y="34"/>
                      </a:lnTo>
                      <a:lnTo>
                        <a:pt x="305" y="36"/>
                      </a:lnTo>
                      <a:lnTo>
                        <a:pt x="318" y="39"/>
                      </a:lnTo>
                      <a:lnTo>
                        <a:pt x="330" y="43"/>
                      </a:lnTo>
                      <a:lnTo>
                        <a:pt x="341" y="48"/>
                      </a:lnTo>
                      <a:lnTo>
                        <a:pt x="352" y="53"/>
                      </a:lnTo>
                      <a:lnTo>
                        <a:pt x="364" y="58"/>
                      </a:lnTo>
                      <a:lnTo>
                        <a:pt x="374" y="65"/>
                      </a:lnTo>
                      <a:lnTo>
                        <a:pt x="384" y="72"/>
                      </a:lnTo>
                      <a:lnTo>
                        <a:pt x="395" y="80"/>
                      </a:lnTo>
                      <a:lnTo>
                        <a:pt x="404" y="87"/>
                      </a:lnTo>
                      <a:lnTo>
                        <a:pt x="413" y="97"/>
                      </a:lnTo>
                      <a:lnTo>
                        <a:pt x="423" y="105"/>
                      </a:lnTo>
                      <a:lnTo>
                        <a:pt x="430" y="115"/>
                      </a:lnTo>
                      <a:lnTo>
                        <a:pt x="435" y="119"/>
                      </a:lnTo>
                      <a:lnTo>
                        <a:pt x="441" y="121"/>
                      </a:lnTo>
                      <a:lnTo>
                        <a:pt x="443" y="121"/>
                      </a:lnTo>
                      <a:lnTo>
                        <a:pt x="446" y="120"/>
                      </a:lnTo>
                      <a:lnTo>
                        <a:pt x="449" y="120"/>
                      </a:lnTo>
                      <a:lnTo>
                        <a:pt x="452" y="118"/>
                      </a:lnTo>
                      <a:lnTo>
                        <a:pt x="455" y="114"/>
                      </a:lnTo>
                      <a:lnTo>
                        <a:pt x="457" y="107"/>
                      </a:lnTo>
                      <a:lnTo>
                        <a:pt x="457" y="105"/>
                      </a:lnTo>
                      <a:lnTo>
                        <a:pt x="457" y="102"/>
                      </a:lnTo>
                      <a:lnTo>
                        <a:pt x="456" y="100"/>
                      </a:lnTo>
                      <a:lnTo>
                        <a:pt x="454" y="98"/>
                      </a:lnTo>
                      <a:lnTo>
                        <a:pt x="444" y="86"/>
                      </a:lnTo>
                      <a:lnTo>
                        <a:pt x="434" y="75"/>
                      </a:lnTo>
                      <a:lnTo>
                        <a:pt x="424" y="66"/>
                      </a:lnTo>
                      <a:lnTo>
                        <a:pt x="413" y="56"/>
                      </a:lnTo>
                      <a:lnTo>
                        <a:pt x="402" y="48"/>
                      </a:lnTo>
                      <a:lnTo>
                        <a:pt x="391" y="40"/>
                      </a:lnTo>
                      <a:lnTo>
                        <a:pt x="378" y="33"/>
                      </a:lnTo>
                      <a:lnTo>
                        <a:pt x="365" y="26"/>
                      </a:lnTo>
                      <a:lnTo>
                        <a:pt x="352" y="20"/>
                      </a:lnTo>
                      <a:lnTo>
                        <a:pt x="339" y="14"/>
                      </a:lnTo>
                      <a:lnTo>
                        <a:pt x="325" y="10"/>
                      </a:lnTo>
                      <a:lnTo>
                        <a:pt x="312" y="7"/>
                      </a:lnTo>
                      <a:lnTo>
                        <a:pt x="297" y="4"/>
                      </a:lnTo>
                      <a:lnTo>
                        <a:pt x="283" y="1"/>
                      </a:lnTo>
                      <a:lnTo>
                        <a:pt x="270" y="0"/>
                      </a:lnTo>
                      <a:lnTo>
                        <a:pt x="255" y="0"/>
                      </a:lnTo>
                      <a:lnTo>
                        <a:pt x="242" y="0"/>
                      </a:lnTo>
                      <a:lnTo>
                        <a:pt x="229" y="1"/>
                      </a:lnTo>
                      <a:lnTo>
                        <a:pt x="216" y="4"/>
                      </a:lnTo>
                      <a:lnTo>
                        <a:pt x="203" y="6"/>
                      </a:lnTo>
                      <a:lnTo>
                        <a:pt x="191" y="8"/>
                      </a:lnTo>
                      <a:lnTo>
                        <a:pt x="180" y="12"/>
                      </a:lnTo>
                      <a:lnTo>
                        <a:pt x="168" y="15"/>
                      </a:lnTo>
                      <a:lnTo>
                        <a:pt x="156" y="21"/>
                      </a:lnTo>
                      <a:lnTo>
                        <a:pt x="144" y="25"/>
                      </a:lnTo>
                      <a:lnTo>
                        <a:pt x="134" y="31"/>
                      </a:lnTo>
                      <a:lnTo>
                        <a:pt x="123" y="37"/>
                      </a:lnTo>
                      <a:lnTo>
                        <a:pt x="112" y="44"/>
                      </a:lnTo>
                      <a:lnTo>
                        <a:pt x="103" y="51"/>
                      </a:lnTo>
                      <a:lnTo>
                        <a:pt x="93" y="58"/>
                      </a:lnTo>
                      <a:lnTo>
                        <a:pt x="83" y="67"/>
                      </a:lnTo>
                      <a:lnTo>
                        <a:pt x="75" y="75"/>
                      </a:lnTo>
                      <a:lnTo>
                        <a:pt x="66" y="84"/>
                      </a:lnTo>
                      <a:lnTo>
                        <a:pt x="59" y="94"/>
                      </a:lnTo>
                      <a:lnTo>
                        <a:pt x="51" y="103"/>
                      </a:lnTo>
                      <a:lnTo>
                        <a:pt x="44" y="113"/>
                      </a:lnTo>
                      <a:lnTo>
                        <a:pt x="37" y="124"/>
                      </a:lnTo>
                      <a:lnTo>
                        <a:pt x="31" y="134"/>
                      </a:lnTo>
                      <a:lnTo>
                        <a:pt x="25" y="145"/>
                      </a:lnTo>
                      <a:lnTo>
                        <a:pt x="20" y="156"/>
                      </a:lnTo>
                      <a:lnTo>
                        <a:pt x="16" y="167"/>
                      </a:lnTo>
                      <a:lnTo>
                        <a:pt x="12" y="179"/>
                      </a:lnTo>
                      <a:lnTo>
                        <a:pt x="8" y="191"/>
                      </a:lnTo>
                      <a:lnTo>
                        <a:pt x="5" y="204"/>
                      </a:lnTo>
                      <a:lnTo>
                        <a:pt x="3" y="217"/>
                      </a:lnTo>
                      <a:lnTo>
                        <a:pt x="2" y="228"/>
                      </a:lnTo>
                      <a:lnTo>
                        <a:pt x="1" y="241"/>
                      </a:lnTo>
                      <a:lnTo>
                        <a:pt x="0" y="254"/>
                      </a:lnTo>
                      <a:lnTo>
                        <a:pt x="1" y="271"/>
                      </a:lnTo>
                      <a:lnTo>
                        <a:pt x="3" y="288"/>
                      </a:lnTo>
                      <a:lnTo>
                        <a:pt x="5" y="304"/>
                      </a:lnTo>
                      <a:lnTo>
                        <a:pt x="8" y="320"/>
                      </a:lnTo>
                      <a:lnTo>
                        <a:pt x="14" y="335"/>
                      </a:lnTo>
                      <a:lnTo>
                        <a:pt x="19" y="352"/>
                      </a:lnTo>
                      <a:lnTo>
                        <a:pt x="25" y="366"/>
                      </a:lnTo>
                      <a:lnTo>
                        <a:pt x="34" y="3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DF07B712-E305-4FB7-9FC7-6E6F2204D579}"/>
                </a:ext>
              </a:extLst>
            </p:cNvPr>
            <p:cNvGrpSpPr/>
            <p:nvPr/>
          </p:nvGrpSpPr>
          <p:grpSpPr>
            <a:xfrm>
              <a:off x="7762138" y="3202842"/>
              <a:ext cx="418315" cy="418315"/>
              <a:chOff x="7762138" y="3202842"/>
              <a:chExt cx="418315" cy="418315"/>
            </a:xfrm>
          </p:grpSpPr>
          <p:sp>
            <p:nvSpPr>
              <p:cNvPr id="1818" name="Oval 1817">
                <a:extLst>
                  <a:ext uri="{FF2B5EF4-FFF2-40B4-BE49-F238E27FC236}">
                    <a16:creationId xmlns:a16="http://schemas.microsoft.com/office/drawing/2014/main" id="{9E1A9D47-2B26-48C4-B838-ABD4629438CB}"/>
                  </a:ext>
                </a:extLst>
              </p:cNvPr>
              <p:cNvSpPr/>
              <p:nvPr/>
            </p:nvSpPr>
            <p:spPr>
              <a:xfrm>
                <a:off x="7762138" y="3202842"/>
                <a:ext cx="418315" cy="418315"/>
              </a:xfrm>
              <a:prstGeom prst="ellipse">
                <a:avLst/>
              </a:prstGeom>
              <a:solidFill>
                <a:schemeClr val="tx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841" name="Group 1840">
                <a:extLst>
                  <a:ext uri="{FF2B5EF4-FFF2-40B4-BE49-F238E27FC236}">
                    <a16:creationId xmlns:a16="http://schemas.microsoft.com/office/drawing/2014/main" id="{4734F3A5-177B-4B48-858E-568E2183C6DA}"/>
                  </a:ext>
                </a:extLst>
              </p:cNvPr>
              <p:cNvGrpSpPr/>
              <p:nvPr/>
            </p:nvGrpSpPr>
            <p:grpSpPr>
              <a:xfrm>
                <a:off x="7891453" y="3323285"/>
                <a:ext cx="159685" cy="177428"/>
                <a:chOff x="4911725" y="769938"/>
                <a:chExt cx="257175" cy="285750"/>
              </a:xfrm>
              <a:solidFill>
                <a:schemeClr val="bg1"/>
              </a:solidFill>
            </p:grpSpPr>
            <p:sp>
              <p:nvSpPr>
                <p:cNvPr id="1842" name="Freeform 69">
                  <a:extLst>
                    <a:ext uri="{FF2B5EF4-FFF2-40B4-BE49-F238E27FC236}">
                      <a16:creationId xmlns:a16="http://schemas.microsoft.com/office/drawing/2014/main" id="{6F2A9769-5B5E-4108-83A0-DE845E085AE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11725" y="769938"/>
                  <a:ext cx="257175" cy="190500"/>
                </a:xfrm>
                <a:custGeom>
                  <a:avLst/>
                  <a:gdLst>
                    <a:gd name="T0" fmla="*/ 175 w 809"/>
                    <a:gd name="T1" fmla="*/ 565 h 598"/>
                    <a:gd name="T2" fmla="*/ 111 w 809"/>
                    <a:gd name="T3" fmla="*/ 537 h 598"/>
                    <a:gd name="T4" fmla="*/ 61 w 809"/>
                    <a:gd name="T5" fmla="*/ 488 h 598"/>
                    <a:gd name="T6" fmla="*/ 34 w 809"/>
                    <a:gd name="T7" fmla="*/ 423 h 598"/>
                    <a:gd name="T8" fmla="*/ 34 w 809"/>
                    <a:gd name="T9" fmla="*/ 356 h 598"/>
                    <a:gd name="T10" fmla="*/ 59 w 809"/>
                    <a:gd name="T11" fmla="*/ 295 h 598"/>
                    <a:gd name="T12" fmla="*/ 104 w 809"/>
                    <a:gd name="T13" fmla="*/ 247 h 598"/>
                    <a:gd name="T14" fmla="*/ 163 w 809"/>
                    <a:gd name="T15" fmla="*/ 216 h 598"/>
                    <a:gd name="T16" fmla="*/ 205 w 809"/>
                    <a:gd name="T17" fmla="*/ 205 h 598"/>
                    <a:gd name="T18" fmla="*/ 212 w 809"/>
                    <a:gd name="T19" fmla="*/ 177 h 598"/>
                    <a:gd name="T20" fmla="*/ 233 w 809"/>
                    <a:gd name="T21" fmla="*/ 127 h 598"/>
                    <a:gd name="T22" fmla="*/ 282 w 809"/>
                    <a:gd name="T23" fmla="*/ 74 h 598"/>
                    <a:gd name="T24" fmla="*/ 348 w 809"/>
                    <a:gd name="T25" fmla="*/ 41 h 598"/>
                    <a:gd name="T26" fmla="*/ 419 w 809"/>
                    <a:gd name="T27" fmla="*/ 29 h 598"/>
                    <a:gd name="T28" fmla="*/ 479 w 809"/>
                    <a:gd name="T29" fmla="*/ 41 h 598"/>
                    <a:gd name="T30" fmla="*/ 530 w 809"/>
                    <a:gd name="T31" fmla="*/ 73 h 598"/>
                    <a:gd name="T32" fmla="*/ 572 w 809"/>
                    <a:gd name="T33" fmla="*/ 118 h 598"/>
                    <a:gd name="T34" fmla="*/ 600 w 809"/>
                    <a:gd name="T35" fmla="*/ 170 h 598"/>
                    <a:gd name="T36" fmla="*/ 616 w 809"/>
                    <a:gd name="T37" fmla="*/ 179 h 598"/>
                    <a:gd name="T38" fmla="*/ 675 w 809"/>
                    <a:gd name="T39" fmla="*/ 186 h 598"/>
                    <a:gd name="T40" fmla="*/ 708 w 809"/>
                    <a:gd name="T41" fmla="*/ 208 h 598"/>
                    <a:gd name="T42" fmla="*/ 724 w 809"/>
                    <a:gd name="T43" fmla="*/ 235 h 598"/>
                    <a:gd name="T44" fmla="*/ 726 w 809"/>
                    <a:gd name="T45" fmla="*/ 272 h 598"/>
                    <a:gd name="T46" fmla="*/ 719 w 809"/>
                    <a:gd name="T47" fmla="*/ 303 h 598"/>
                    <a:gd name="T48" fmla="*/ 737 w 809"/>
                    <a:gd name="T49" fmla="*/ 322 h 598"/>
                    <a:gd name="T50" fmla="*/ 764 w 809"/>
                    <a:gd name="T51" fmla="*/ 361 h 598"/>
                    <a:gd name="T52" fmla="*/ 779 w 809"/>
                    <a:gd name="T53" fmla="*/ 433 h 598"/>
                    <a:gd name="T54" fmla="*/ 768 w 809"/>
                    <a:gd name="T55" fmla="*/ 485 h 598"/>
                    <a:gd name="T56" fmla="*/ 738 w 809"/>
                    <a:gd name="T57" fmla="*/ 528 h 598"/>
                    <a:gd name="T58" fmla="*/ 695 w 809"/>
                    <a:gd name="T59" fmla="*/ 557 h 598"/>
                    <a:gd name="T60" fmla="*/ 643 w 809"/>
                    <a:gd name="T61" fmla="*/ 568 h 598"/>
                    <a:gd name="T62" fmla="*/ 757 w 809"/>
                    <a:gd name="T63" fmla="*/ 257 h 598"/>
                    <a:gd name="T64" fmla="*/ 748 w 809"/>
                    <a:gd name="T65" fmla="*/ 211 h 598"/>
                    <a:gd name="T66" fmla="*/ 726 w 809"/>
                    <a:gd name="T67" fmla="*/ 183 h 598"/>
                    <a:gd name="T68" fmla="*/ 699 w 809"/>
                    <a:gd name="T69" fmla="*/ 164 h 598"/>
                    <a:gd name="T70" fmla="*/ 642 w 809"/>
                    <a:gd name="T71" fmla="*/ 149 h 598"/>
                    <a:gd name="T72" fmla="*/ 601 w 809"/>
                    <a:gd name="T73" fmla="*/ 108 h 598"/>
                    <a:gd name="T74" fmla="*/ 558 w 809"/>
                    <a:gd name="T75" fmla="*/ 57 h 598"/>
                    <a:gd name="T76" fmla="*/ 502 w 809"/>
                    <a:gd name="T77" fmla="*/ 20 h 598"/>
                    <a:gd name="T78" fmla="*/ 437 w 809"/>
                    <a:gd name="T79" fmla="*/ 1 h 598"/>
                    <a:gd name="T80" fmla="*/ 348 w 809"/>
                    <a:gd name="T81" fmla="*/ 8 h 598"/>
                    <a:gd name="T82" fmla="*/ 271 w 809"/>
                    <a:gd name="T83" fmla="*/ 44 h 598"/>
                    <a:gd name="T84" fmla="*/ 216 w 809"/>
                    <a:gd name="T85" fmla="*/ 99 h 598"/>
                    <a:gd name="T86" fmla="*/ 184 w 809"/>
                    <a:gd name="T87" fmla="*/ 163 h 598"/>
                    <a:gd name="T88" fmla="*/ 128 w 809"/>
                    <a:gd name="T89" fmla="*/ 198 h 598"/>
                    <a:gd name="T90" fmla="*/ 66 w 809"/>
                    <a:gd name="T91" fmla="*/ 240 h 598"/>
                    <a:gd name="T92" fmla="*/ 22 w 809"/>
                    <a:gd name="T93" fmla="*/ 300 h 598"/>
                    <a:gd name="T94" fmla="*/ 1 w 809"/>
                    <a:gd name="T95" fmla="*/ 370 h 598"/>
                    <a:gd name="T96" fmla="*/ 2 w 809"/>
                    <a:gd name="T97" fmla="*/ 419 h 598"/>
                    <a:gd name="T98" fmla="*/ 26 w 809"/>
                    <a:gd name="T99" fmla="*/ 487 h 598"/>
                    <a:gd name="T100" fmla="*/ 77 w 809"/>
                    <a:gd name="T101" fmla="*/ 549 h 598"/>
                    <a:gd name="T102" fmla="*/ 149 w 809"/>
                    <a:gd name="T103" fmla="*/ 588 h 598"/>
                    <a:gd name="T104" fmla="*/ 199 w 809"/>
                    <a:gd name="T105" fmla="*/ 598 h 598"/>
                    <a:gd name="T106" fmla="*/ 676 w 809"/>
                    <a:gd name="T107" fmla="*/ 595 h 598"/>
                    <a:gd name="T108" fmla="*/ 735 w 809"/>
                    <a:gd name="T109" fmla="*/ 570 h 598"/>
                    <a:gd name="T110" fmla="*/ 780 w 809"/>
                    <a:gd name="T111" fmla="*/ 525 h 598"/>
                    <a:gd name="T112" fmla="*/ 804 w 809"/>
                    <a:gd name="T113" fmla="*/ 466 h 598"/>
                    <a:gd name="T114" fmla="*/ 805 w 809"/>
                    <a:gd name="T115" fmla="*/ 398 h 598"/>
                    <a:gd name="T116" fmla="*/ 787 w 809"/>
                    <a:gd name="T117" fmla="*/ 342 h 598"/>
                    <a:gd name="T118" fmla="*/ 766 w 809"/>
                    <a:gd name="T119" fmla="*/ 308 h 5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09" h="598">
                      <a:moveTo>
                        <a:pt x="643" y="568"/>
                      </a:moveTo>
                      <a:lnTo>
                        <a:pt x="209" y="568"/>
                      </a:lnTo>
                      <a:lnTo>
                        <a:pt x="192" y="567"/>
                      </a:lnTo>
                      <a:lnTo>
                        <a:pt x="175" y="565"/>
                      </a:lnTo>
                      <a:lnTo>
                        <a:pt x="158" y="559"/>
                      </a:lnTo>
                      <a:lnTo>
                        <a:pt x="141" y="554"/>
                      </a:lnTo>
                      <a:lnTo>
                        <a:pt x="126" y="545"/>
                      </a:lnTo>
                      <a:lnTo>
                        <a:pt x="111" y="537"/>
                      </a:lnTo>
                      <a:lnTo>
                        <a:pt x="97" y="526"/>
                      </a:lnTo>
                      <a:lnTo>
                        <a:pt x="84" y="514"/>
                      </a:lnTo>
                      <a:lnTo>
                        <a:pt x="72" y="502"/>
                      </a:lnTo>
                      <a:lnTo>
                        <a:pt x="61" y="488"/>
                      </a:lnTo>
                      <a:lnTo>
                        <a:pt x="53" y="473"/>
                      </a:lnTo>
                      <a:lnTo>
                        <a:pt x="44" y="457"/>
                      </a:lnTo>
                      <a:lnTo>
                        <a:pt x="38" y="441"/>
                      </a:lnTo>
                      <a:lnTo>
                        <a:pt x="34" y="423"/>
                      </a:lnTo>
                      <a:lnTo>
                        <a:pt x="31" y="406"/>
                      </a:lnTo>
                      <a:lnTo>
                        <a:pt x="30" y="388"/>
                      </a:lnTo>
                      <a:lnTo>
                        <a:pt x="30" y="372"/>
                      </a:lnTo>
                      <a:lnTo>
                        <a:pt x="34" y="356"/>
                      </a:lnTo>
                      <a:lnTo>
                        <a:pt x="38" y="340"/>
                      </a:lnTo>
                      <a:lnTo>
                        <a:pt x="43" y="325"/>
                      </a:lnTo>
                      <a:lnTo>
                        <a:pt x="51" y="310"/>
                      </a:lnTo>
                      <a:lnTo>
                        <a:pt x="59" y="295"/>
                      </a:lnTo>
                      <a:lnTo>
                        <a:pt x="69" y="282"/>
                      </a:lnTo>
                      <a:lnTo>
                        <a:pt x="80" y="269"/>
                      </a:lnTo>
                      <a:lnTo>
                        <a:pt x="91" y="257"/>
                      </a:lnTo>
                      <a:lnTo>
                        <a:pt x="104" y="247"/>
                      </a:lnTo>
                      <a:lnTo>
                        <a:pt x="117" y="237"/>
                      </a:lnTo>
                      <a:lnTo>
                        <a:pt x="132" y="229"/>
                      </a:lnTo>
                      <a:lnTo>
                        <a:pt x="147" y="221"/>
                      </a:lnTo>
                      <a:lnTo>
                        <a:pt x="163" y="216"/>
                      </a:lnTo>
                      <a:lnTo>
                        <a:pt x="179" y="211"/>
                      </a:lnTo>
                      <a:lnTo>
                        <a:pt x="196" y="209"/>
                      </a:lnTo>
                      <a:lnTo>
                        <a:pt x="201" y="208"/>
                      </a:lnTo>
                      <a:lnTo>
                        <a:pt x="205" y="205"/>
                      </a:lnTo>
                      <a:lnTo>
                        <a:pt x="208" y="201"/>
                      </a:lnTo>
                      <a:lnTo>
                        <a:pt x="209" y="195"/>
                      </a:lnTo>
                      <a:lnTo>
                        <a:pt x="210" y="186"/>
                      </a:lnTo>
                      <a:lnTo>
                        <a:pt x="212" y="177"/>
                      </a:lnTo>
                      <a:lnTo>
                        <a:pt x="214" y="168"/>
                      </a:lnTo>
                      <a:lnTo>
                        <a:pt x="217" y="159"/>
                      </a:lnTo>
                      <a:lnTo>
                        <a:pt x="224" y="142"/>
                      </a:lnTo>
                      <a:lnTo>
                        <a:pt x="233" y="127"/>
                      </a:lnTo>
                      <a:lnTo>
                        <a:pt x="243" y="112"/>
                      </a:lnTo>
                      <a:lnTo>
                        <a:pt x="255" y="98"/>
                      </a:lnTo>
                      <a:lnTo>
                        <a:pt x="268" y="85"/>
                      </a:lnTo>
                      <a:lnTo>
                        <a:pt x="282" y="74"/>
                      </a:lnTo>
                      <a:lnTo>
                        <a:pt x="298" y="64"/>
                      </a:lnTo>
                      <a:lnTo>
                        <a:pt x="314" y="55"/>
                      </a:lnTo>
                      <a:lnTo>
                        <a:pt x="330" y="48"/>
                      </a:lnTo>
                      <a:lnTo>
                        <a:pt x="348" y="41"/>
                      </a:lnTo>
                      <a:lnTo>
                        <a:pt x="365" y="36"/>
                      </a:lnTo>
                      <a:lnTo>
                        <a:pt x="384" y="33"/>
                      </a:lnTo>
                      <a:lnTo>
                        <a:pt x="402" y="31"/>
                      </a:lnTo>
                      <a:lnTo>
                        <a:pt x="419" y="29"/>
                      </a:lnTo>
                      <a:lnTo>
                        <a:pt x="435" y="31"/>
                      </a:lnTo>
                      <a:lnTo>
                        <a:pt x="450" y="33"/>
                      </a:lnTo>
                      <a:lnTo>
                        <a:pt x="464" y="36"/>
                      </a:lnTo>
                      <a:lnTo>
                        <a:pt x="479" y="41"/>
                      </a:lnTo>
                      <a:lnTo>
                        <a:pt x="493" y="48"/>
                      </a:lnTo>
                      <a:lnTo>
                        <a:pt x="506" y="55"/>
                      </a:lnTo>
                      <a:lnTo>
                        <a:pt x="519" y="64"/>
                      </a:lnTo>
                      <a:lnTo>
                        <a:pt x="530" y="73"/>
                      </a:lnTo>
                      <a:lnTo>
                        <a:pt x="542" y="84"/>
                      </a:lnTo>
                      <a:lnTo>
                        <a:pt x="553" y="95"/>
                      </a:lnTo>
                      <a:lnTo>
                        <a:pt x="562" y="107"/>
                      </a:lnTo>
                      <a:lnTo>
                        <a:pt x="572" y="118"/>
                      </a:lnTo>
                      <a:lnTo>
                        <a:pt x="581" y="131"/>
                      </a:lnTo>
                      <a:lnTo>
                        <a:pt x="587" y="144"/>
                      </a:lnTo>
                      <a:lnTo>
                        <a:pt x="595" y="157"/>
                      </a:lnTo>
                      <a:lnTo>
                        <a:pt x="600" y="170"/>
                      </a:lnTo>
                      <a:lnTo>
                        <a:pt x="602" y="174"/>
                      </a:lnTo>
                      <a:lnTo>
                        <a:pt x="606" y="177"/>
                      </a:lnTo>
                      <a:lnTo>
                        <a:pt x="611" y="179"/>
                      </a:lnTo>
                      <a:lnTo>
                        <a:pt x="616" y="179"/>
                      </a:lnTo>
                      <a:lnTo>
                        <a:pt x="631" y="178"/>
                      </a:lnTo>
                      <a:lnTo>
                        <a:pt x="646" y="179"/>
                      </a:lnTo>
                      <a:lnTo>
                        <a:pt x="661" y="181"/>
                      </a:lnTo>
                      <a:lnTo>
                        <a:pt x="675" y="186"/>
                      </a:lnTo>
                      <a:lnTo>
                        <a:pt x="688" y="192"/>
                      </a:lnTo>
                      <a:lnTo>
                        <a:pt x="698" y="200"/>
                      </a:lnTo>
                      <a:lnTo>
                        <a:pt x="704" y="203"/>
                      </a:lnTo>
                      <a:lnTo>
                        <a:pt x="708" y="208"/>
                      </a:lnTo>
                      <a:lnTo>
                        <a:pt x="712" y="213"/>
                      </a:lnTo>
                      <a:lnTo>
                        <a:pt x="717" y="218"/>
                      </a:lnTo>
                      <a:lnTo>
                        <a:pt x="721" y="226"/>
                      </a:lnTo>
                      <a:lnTo>
                        <a:pt x="724" y="235"/>
                      </a:lnTo>
                      <a:lnTo>
                        <a:pt x="726" y="244"/>
                      </a:lnTo>
                      <a:lnTo>
                        <a:pt x="727" y="253"/>
                      </a:lnTo>
                      <a:lnTo>
                        <a:pt x="727" y="263"/>
                      </a:lnTo>
                      <a:lnTo>
                        <a:pt x="726" y="272"/>
                      </a:lnTo>
                      <a:lnTo>
                        <a:pt x="723" y="282"/>
                      </a:lnTo>
                      <a:lnTo>
                        <a:pt x="720" y="293"/>
                      </a:lnTo>
                      <a:lnTo>
                        <a:pt x="719" y="298"/>
                      </a:lnTo>
                      <a:lnTo>
                        <a:pt x="719" y="303"/>
                      </a:lnTo>
                      <a:lnTo>
                        <a:pt x="721" y="308"/>
                      </a:lnTo>
                      <a:lnTo>
                        <a:pt x="725" y="312"/>
                      </a:lnTo>
                      <a:lnTo>
                        <a:pt x="731" y="316"/>
                      </a:lnTo>
                      <a:lnTo>
                        <a:pt x="737" y="322"/>
                      </a:lnTo>
                      <a:lnTo>
                        <a:pt x="742" y="327"/>
                      </a:lnTo>
                      <a:lnTo>
                        <a:pt x="747" y="332"/>
                      </a:lnTo>
                      <a:lnTo>
                        <a:pt x="756" y="346"/>
                      </a:lnTo>
                      <a:lnTo>
                        <a:pt x="764" y="361"/>
                      </a:lnTo>
                      <a:lnTo>
                        <a:pt x="770" y="377"/>
                      </a:lnTo>
                      <a:lnTo>
                        <a:pt x="774" y="396"/>
                      </a:lnTo>
                      <a:lnTo>
                        <a:pt x="778" y="414"/>
                      </a:lnTo>
                      <a:lnTo>
                        <a:pt x="779" y="433"/>
                      </a:lnTo>
                      <a:lnTo>
                        <a:pt x="778" y="447"/>
                      </a:lnTo>
                      <a:lnTo>
                        <a:pt x="775" y="461"/>
                      </a:lnTo>
                      <a:lnTo>
                        <a:pt x="772" y="474"/>
                      </a:lnTo>
                      <a:lnTo>
                        <a:pt x="768" y="485"/>
                      </a:lnTo>
                      <a:lnTo>
                        <a:pt x="762" y="498"/>
                      </a:lnTo>
                      <a:lnTo>
                        <a:pt x="755" y="509"/>
                      </a:lnTo>
                      <a:lnTo>
                        <a:pt x="748" y="520"/>
                      </a:lnTo>
                      <a:lnTo>
                        <a:pt x="738" y="528"/>
                      </a:lnTo>
                      <a:lnTo>
                        <a:pt x="728" y="538"/>
                      </a:lnTo>
                      <a:lnTo>
                        <a:pt x="719" y="545"/>
                      </a:lnTo>
                      <a:lnTo>
                        <a:pt x="707" y="552"/>
                      </a:lnTo>
                      <a:lnTo>
                        <a:pt x="695" y="557"/>
                      </a:lnTo>
                      <a:lnTo>
                        <a:pt x="682" y="563"/>
                      </a:lnTo>
                      <a:lnTo>
                        <a:pt x="669" y="566"/>
                      </a:lnTo>
                      <a:lnTo>
                        <a:pt x="657" y="568"/>
                      </a:lnTo>
                      <a:lnTo>
                        <a:pt x="643" y="568"/>
                      </a:lnTo>
                      <a:close/>
                      <a:moveTo>
                        <a:pt x="752" y="294"/>
                      </a:moveTo>
                      <a:lnTo>
                        <a:pt x="755" y="282"/>
                      </a:lnTo>
                      <a:lnTo>
                        <a:pt x="757" y="269"/>
                      </a:lnTo>
                      <a:lnTo>
                        <a:pt x="757" y="257"/>
                      </a:lnTo>
                      <a:lnTo>
                        <a:pt x="757" y="246"/>
                      </a:lnTo>
                      <a:lnTo>
                        <a:pt x="755" y="234"/>
                      </a:lnTo>
                      <a:lnTo>
                        <a:pt x="752" y="222"/>
                      </a:lnTo>
                      <a:lnTo>
                        <a:pt x="748" y="211"/>
                      </a:lnTo>
                      <a:lnTo>
                        <a:pt x="741" y="202"/>
                      </a:lnTo>
                      <a:lnTo>
                        <a:pt x="737" y="195"/>
                      </a:lnTo>
                      <a:lnTo>
                        <a:pt x="732" y="189"/>
                      </a:lnTo>
                      <a:lnTo>
                        <a:pt x="726" y="183"/>
                      </a:lnTo>
                      <a:lnTo>
                        <a:pt x="720" y="177"/>
                      </a:lnTo>
                      <a:lnTo>
                        <a:pt x="713" y="173"/>
                      </a:lnTo>
                      <a:lnTo>
                        <a:pt x="707" y="169"/>
                      </a:lnTo>
                      <a:lnTo>
                        <a:pt x="699" y="164"/>
                      </a:lnTo>
                      <a:lnTo>
                        <a:pt x="692" y="161"/>
                      </a:lnTo>
                      <a:lnTo>
                        <a:pt x="676" y="155"/>
                      </a:lnTo>
                      <a:lnTo>
                        <a:pt x="660" y="150"/>
                      </a:lnTo>
                      <a:lnTo>
                        <a:pt x="642" y="149"/>
                      </a:lnTo>
                      <a:lnTo>
                        <a:pt x="623" y="149"/>
                      </a:lnTo>
                      <a:lnTo>
                        <a:pt x="617" y="135"/>
                      </a:lnTo>
                      <a:lnTo>
                        <a:pt x="610" y="122"/>
                      </a:lnTo>
                      <a:lnTo>
                        <a:pt x="601" y="108"/>
                      </a:lnTo>
                      <a:lnTo>
                        <a:pt x="591" y="95"/>
                      </a:lnTo>
                      <a:lnTo>
                        <a:pt x="581" y="82"/>
                      </a:lnTo>
                      <a:lnTo>
                        <a:pt x="570" y="69"/>
                      </a:lnTo>
                      <a:lnTo>
                        <a:pt x="558" y="57"/>
                      </a:lnTo>
                      <a:lnTo>
                        <a:pt x="545" y="47"/>
                      </a:lnTo>
                      <a:lnTo>
                        <a:pt x="531" y="37"/>
                      </a:lnTo>
                      <a:lnTo>
                        <a:pt x="517" y="27"/>
                      </a:lnTo>
                      <a:lnTo>
                        <a:pt x="502" y="20"/>
                      </a:lnTo>
                      <a:lnTo>
                        <a:pt x="487" y="12"/>
                      </a:lnTo>
                      <a:lnTo>
                        <a:pt x="471" y="7"/>
                      </a:lnTo>
                      <a:lnTo>
                        <a:pt x="454" y="3"/>
                      </a:lnTo>
                      <a:lnTo>
                        <a:pt x="437" y="1"/>
                      </a:lnTo>
                      <a:lnTo>
                        <a:pt x="419" y="0"/>
                      </a:lnTo>
                      <a:lnTo>
                        <a:pt x="394" y="1"/>
                      </a:lnTo>
                      <a:lnTo>
                        <a:pt x="371" y="4"/>
                      </a:lnTo>
                      <a:lnTo>
                        <a:pt x="348" y="8"/>
                      </a:lnTo>
                      <a:lnTo>
                        <a:pt x="328" y="16"/>
                      </a:lnTo>
                      <a:lnTo>
                        <a:pt x="308" y="23"/>
                      </a:lnTo>
                      <a:lnTo>
                        <a:pt x="288" y="33"/>
                      </a:lnTo>
                      <a:lnTo>
                        <a:pt x="271" y="44"/>
                      </a:lnTo>
                      <a:lnTo>
                        <a:pt x="255" y="56"/>
                      </a:lnTo>
                      <a:lnTo>
                        <a:pt x="241" y="69"/>
                      </a:lnTo>
                      <a:lnTo>
                        <a:pt x="227" y="84"/>
                      </a:lnTo>
                      <a:lnTo>
                        <a:pt x="216" y="99"/>
                      </a:lnTo>
                      <a:lnTo>
                        <a:pt x="206" y="114"/>
                      </a:lnTo>
                      <a:lnTo>
                        <a:pt x="197" y="130"/>
                      </a:lnTo>
                      <a:lnTo>
                        <a:pt x="190" y="147"/>
                      </a:lnTo>
                      <a:lnTo>
                        <a:pt x="184" y="163"/>
                      </a:lnTo>
                      <a:lnTo>
                        <a:pt x="181" y="180"/>
                      </a:lnTo>
                      <a:lnTo>
                        <a:pt x="163" y="185"/>
                      </a:lnTo>
                      <a:lnTo>
                        <a:pt x="145" y="190"/>
                      </a:lnTo>
                      <a:lnTo>
                        <a:pt x="128" y="198"/>
                      </a:lnTo>
                      <a:lnTo>
                        <a:pt x="111" y="206"/>
                      </a:lnTo>
                      <a:lnTo>
                        <a:pt x="95" y="216"/>
                      </a:lnTo>
                      <a:lnTo>
                        <a:pt x="81" y="227"/>
                      </a:lnTo>
                      <a:lnTo>
                        <a:pt x="66" y="240"/>
                      </a:lnTo>
                      <a:lnTo>
                        <a:pt x="53" y="253"/>
                      </a:lnTo>
                      <a:lnTo>
                        <a:pt x="41" y="268"/>
                      </a:lnTo>
                      <a:lnTo>
                        <a:pt x="31" y="283"/>
                      </a:lnTo>
                      <a:lnTo>
                        <a:pt x="22" y="300"/>
                      </a:lnTo>
                      <a:lnTo>
                        <a:pt x="14" y="316"/>
                      </a:lnTo>
                      <a:lnTo>
                        <a:pt x="8" y="335"/>
                      </a:lnTo>
                      <a:lnTo>
                        <a:pt x="4" y="352"/>
                      </a:lnTo>
                      <a:lnTo>
                        <a:pt x="1" y="370"/>
                      </a:lnTo>
                      <a:lnTo>
                        <a:pt x="0" y="388"/>
                      </a:lnTo>
                      <a:lnTo>
                        <a:pt x="0" y="399"/>
                      </a:lnTo>
                      <a:lnTo>
                        <a:pt x="1" y="409"/>
                      </a:lnTo>
                      <a:lnTo>
                        <a:pt x="2" y="419"/>
                      </a:lnTo>
                      <a:lnTo>
                        <a:pt x="5" y="430"/>
                      </a:lnTo>
                      <a:lnTo>
                        <a:pt x="10" y="449"/>
                      </a:lnTo>
                      <a:lnTo>
                        <a:pt x="17" y="468"/>
                      </a:lnTo>
                      <a:lnTo>
                        <a:pt x="26" y="487"/>
                      </a:lnTo>
                      <a:lnTo>
                        <a:pt x="37" y="504"/>
                      </a:lnTo>
                      <a:lnTo>
                        <a:pt x="50" y="521"/>
                      </a:lnTo>
                      <a:lnTo>
                        <a:pt x="62" y="536"/>
                      </a:lnTo>
                      <a:lnTo>
                        <a:pt x="77" y="549"/>
                      </a:lnTo>
                      <a:lnTo>
                        <a:pt x="95" y="561"/>
                      </a:lnTo>
                      <a:lnTo>
                        <a:pt x="112" y="572"/>
                      </a:lnTo>
                      <a:lnTo>
                        <a:pt x="130" y="581"/>
                      </a:lnTo>
                      <a:lnTo>
                        <a:pt x="149" y="588"/>
                      </a:lnTo>
                      <a:lnTo>
                        <a:pt x="168" y="594"/>
                      </a:lnTo>
                      <a:lnTo>
                        <a:pt x="178" y="596"/>
                      </a:lnTo>
                      <a:lnTo>
                        <a:pt x="189" y="597"/>
                      </a:lnTo>
                      <a:lnTo>
                        <a:pt x="199" y="598"/>
                      </a:lnTo>
                      <a:lnTo>
                        <a:pt x="209" y="598"/>
                      </a:lnTo>
                      <a:lnTo>
                        <a:pt x="643" y="598"/>
                      </a:lnTo>
                      <a:lnTo>
                        <a:pt x="659" y="597"/>
                      </a:lnTo>
                      <a:lnTo>
                        <a:pt x="676" y="595"/>
                      </a:lnTo>
                      <a:lnTo>
                        <a:pt x="692" y="590"/>
                      </a:lnTo>
                      <a:lnTo>
                        <a:pt x="707" y="585"/>
                      </a:lnTo>
                      <a:lnTo>
                        <a:pt x="721" y="579"/>
                      </a:lnTo>
                      <a:lnTo>
                        <a:pt x="735" y="570"/>
                      </a:lnTo>
                      <a:lnTo>
                        <a:pt x="748" y="560"/>
                      </a:lnTo>
                      <a:lnTo>
                        <a:pt x="759" y="550"/>
                      </a:lnTo>
                      <a:lnTo>
                        <a:pt x="770" y="538"/>
                      </a:lnTo>
                      <a:lnTo>
                        <a:pt x="780" y="525"/>
                      </a:lnTo>
                      <a:lnTo>
                        <a:pt x="788" y="512"/>
                      </a:lnTo>
                      <a:lnTo>
                        <a:pt x="795" y="497"/>
                      </a:lnTo>
                      <a:lnTo>
                        <a:pt x="801" y="482"/>
                      </a:lnTo>
                      <a:lnTo>
                        <a:pt x="804" y="466"/>
                      </a:lnTo>
                      <a:lnTo>
                        <a:pt x="808" y="450"/>
                      </a:lnTo>
                      <a:lnTo>
                        <a:pt x="809" y="433"/>
                      </a:lnTo>
                      <a:lnTo>
                        <a:pt x="808" y="416"/>
                      </a:lnTo>
                      <a:lnTo>
                        <a:pt x="805" y="398"/>
                      </a:lnTo>
                      <a:lnTo>
                        <a:pt x="801" y="378"/>
                      </a:lnTo>
                      <a:lnTo>
                        <a:pt x="796" y="360"/>
                      </a:lnTo>
                      <a:lnTo>
                        <a:pt x="792" y="351"/>
                      </a:lnTo>
                      <a:lnTo>
                        <a:pt x="787" y="342"/>
                      </a:lnTo>
                      <a:lnTo>
                        <a:pt x="783" y="332"/>
                      </a:lnTo>
                      <a:lnTo>
                        <a:pt x="778" y="324"/>
                      </a:lnTo>
                      <a:lnTo>
                        <a:pt x="772" y="316"/>
                      </a:lnTo>
                      <a:lnTo>
                        <a:pt x="766" y="308"/>
                      </a:lnTo>
                      <a:lnTo>
                        <a:pt x="759" y="301"/>
                      </a:lnTo>
                      <a:lnTo>
                        <a:pt x="752" y="29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3" name="Freeform 70">
                  <a:extLst>
                    <a:ext uri="{FF2B5EF4-FFF2-40B4-BE49-F238E27FC236}">
                      <a16:creationId xmlns:a16="http://schemas.microsoft.com/office/drawing/2014/main" id="{3CCF76B9-7BB0-404E-AE07-ECD3C08878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78413" y="989013"/>
                  <a:ext cx="9525" cy="9525"/>
                </a:xfrm>
                <a:custGeom>
                  <a:avLst/>
                  <a:gdLst>
                    <a:gd name="T0" fmla="*/ 15 w 30"/>
                    <a:gd name="T1" fmla="*/ 0 h 30"/>
                    <a:gd name="T2" fmla="*/ 12 w 30"/>
                    <a:gd name="T3" fmla="*/ 0 h 30"/>
                    <a:gd name="T4" fmla="*/ 8 w 30"/>
                    <a:gd name="T5" fmla="*/ 1 h 30"/>
                    <a:gd name="T6" fmla="*/ 6 w 30"/>
                    <a:gd name="T7" fmla="*/ 3 h 30"/>
                    <a:gd name="T8" fmla="*/ 4 w 30"/>
                    <a:gd name="T9" fmla="*/ 4 h 30"/>
                    <a:gd name="T10" fmla="*/ 2 w 30"/>
                    <a:gd name="T11" fmla="*/ 6 h 30"/>
                    <a:gd name="T12" fmla="*/ 1 w 30"/>
                    <a:gd name="T13" fmla="*/ 9 h 30"/>
                    <a:gd name="T14" fmla="*/ 0 w 30"/>
                    <a:gd name="T15" fmla="*/ 12 h 30"/>
                    <a:gd name="T16" fmla="*/ 0 w 30"/>
                    <a:gd name="T17" fmla="*/ 15 h 30"/>
                    <a:gd name="T18" fmla="*/ 0 w 30"/>
                    <a:gd name="T19" fmla="*/ 18 h 30"/>
                    <a:gd name="T20" fmla="*/ 1 w 30"/>
                    <a:gd name="T21" fmla="*/ 21 h 30"/>
                    <a:gd name="T22" fmla="*/ 2 w 30"/>
                    <a:gd name="T23" fmla="*/ 23 h 30"/>
                    <a:gd name="T24" fmla="*/ 4 w 30"/>
                    <a:gd name="T25" fmla="*/ 25 h 30"/>
                    <a:gd name="T26" fmla="*/ 6 w 30"/>
                    <a:gd name="T27" fmla="*/ 28 h 30"/>
                    <a:gd name="T28" fmla="*/ 8 w 30"/>
                    <a:gd name="T29" fmla="*/ 29 h 30"/>
                    <a:gd name="T30" fmla="*/ 12 w 30"/>
                    <a:gd name="T31" fmla="*/ 30 h 30"/>
                    <a:gd name="T32" fmla="*/ 15 w 30"/>
                    <a:gd name="T33" fmla="*/ 30 h 30"/>
                    <a:gd name="T34" fmla="*/ 18 w 30"/>
                    <a:gd name="T35" fmla="*/ 30 h 30"/>
                    <a:gd name="T36" fmla="*/ 20 w 30"/>
                    <a:gd name="T37" fmla="*/ 29 h 30"/>
                    <a:gd name="T38" fmla="*/ 23 w 30"/>
                    <a:gd name="T39" fmla="*/ 28 h 30"/>
                    <a:gd name="T40" fmla="*/ 26 w 30"/>
                    <a:gd name="T41" fmla="*/ 25 h 30"/>
                    <a:gd name="T42" fmla="*/ 27 w 30"/>
                    <a:gd name="T43" fmla="*/ 23 h 30"/>
                    <a:gd name="T44" fmla="*/ 29 w 30"/>
                    <a:gd name="T45" fmla="*/ 21 h 30"/>
                    <a:gd name="T46" fmla="*/ 29 w 30"/>
                    <a:gd name="T47" fmla="*/ 18 h 30"/>
                    <a:gd name="T48" fmla="*/ 30 w 30"/>
                    <a:gd name="T49" fmla="*/ 15 h 30"/>
                    <a:gd name="T50" fmla="*/ 29 w 30"/>
                    <a:gd name="T51" fmla="*/ 12 h 30"/>
                    <a:gd name="T52" fmla="*/ 29 w 30"/>
                    <a:gd name="T53" fmla="*/ 9 h 30"/>
                    <a:gd name="T54" fmla="*/ 27 w 30"/>
                    <a:gd name="T55" fmla="*/ 6 h 30"/>
                    <a:gd name="T56" fmla="*/ 26 w 30"/>
                    <a:gd name="T57" fmla="*/ 4 h 30"/>
                    <a:gd name="T58" fmla="*/ 23 w 30"/>
                    <a:gd name="T59" fmla="*/ 3 h 30"/>
                    <a:gd name="T60" fmla="*/ 20 w 30"/>
                    <a:gd name="T61" fmla="*/ 1 h 30"/>
                    <a:gd name="T62" fmla="*/ 18 w 30"/>
                    <a:gd name="T63" fmla="*/ 0 h 30"/>
                    <a:gd name="T64" fmla="*/ 15 w 30"/>
                    <a:gd name="T65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0" h="30">
                      <a:moveTo>
                        <a:pt x="15" y="0"/>
                      </a:moveTo>
                      <a:lnTo>
                        <a:pt x="12" y="0"/>
                      </a:lnTo>
                      <a:lnTo>
                        <a:pt x="8" y="1"/>
                      </a:lnTo>
                      <a:lnTo>
                        <a:pt x="6" y="3"/>
                      </a:ln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1" y="9"/>
                      </a:lnTo>
                      <a:lnTo>
                        <a:pt x="0" y="12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1"/>
                      </a:lnTo>
                      <a:lnTo>
                        <a:pt x="2" y="23"/>
                      </a:lnTo>
                      <a:lnTo>
                        <a:pt x="4" y="25"/>
                      </a:lnTo>
                      <a:lnTo>
                        <a:pt x="6" y="28"/>
                      </a:lnTo>
                      <a:lnTo>
                        <a:pt x="8" y="29"/>
                      </a:lnTo>
                      <a:lnTo>
                        <a:pt x="12" y="30"/>
                      </a:lnTo>
                      <a:lnTo>
                        <a:pt x="15" y="30"/>
                      </a:lnTo>
                      <a:lnTo>
                        <a:pt x="18" y="30"/>
                      </a:lnTo>
                      <a:lnTo>
                        <a:pt x="20" y="29"/>
                      </a:lnTo>
                      <a:lnTo>
                        <a:pt x="23" y="28"/>
                      </a:lnTo>
                      <a:lnTo>
                        <a:pt x="26" y="25"/>
                      </a:lnTo>
                      <a:lnTo>
                        <a:pt x="27" y="23"/>
                      </a:lnTo>
                      <a:lnTo>
                        <a:pt x="29" y="21"/>
                      </a:lnTo>
                      <a:lnTo>
                        <a:pt x="29" y="18"/>
                      </a:lnTo>
                      <a:lnTo>
                        <a:pt x="30" y="15"/>
                      </a:lnTo>
                      <a:lnTo>
                        <a:pt x="29" y="12"/>
                      </a:lnTo>
                      <a:lnTo>
                        <a:pt x="29" y="9"/>
                      </a:ln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4" name="Freeform 71">
                  <a:extLst>
                    <a:ext uri="{FF2B5EF4-FFF2-40B4-BE49-F238E27FC236}">
                      <a16:creationId xmlns:a16="http://schemas.microsoft.com/office/drawing/2014/main" id="{9E4EB6DE-80BF-499F-AB68-64B67E3144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0788" y="989013"/>
                  <a:ext cx="9525" cy="9525"/>
                </a:xfrm>
                <a:custGeom>
                  <a:avLst/>
                  <a:gdLst>
                    <a:gd name="T0" fmla="*/ 15 w 30"/>
                    <a:gd name="T1" fmla="*/ 0 h 30"/>
                    <a:gd name="T2" fmla="*/ 12 w 30"/>
                    <a:gd name="T3" fmla="*/ 0 h 30"/>
                    <a:gd name="T4" fmla="*/ 8 w 30"/>
                    <a:gd name="T5" fmla="*/ 1 h 30"/>
                    <a:gd name="T6" fmla="*/ 6 w 30"/>
                    <a:gd name="T7" fmla="*/ 3 h 30"/>
                    <a:gd name="T8" fmla="*/ 4 w 30"/>
                    <a:gd name="T9" fmla="*/ 4 h 30"/>
                    <a:gd name="T10" fmla="*/ 2 w 30"/>
                    <a:gd name="T11" fmla="*/ 6 h 30"/>
                    <a:gd name="T12" fmla="*/ 1 w 30"/>
                    <a:gd name="T13" fmla="*/ 9 h 30"/>
                    <a:gd name="T14" fmla="*/ 0 w 30"/>
                    <a:gd name="T15" fmla="*/ 12 h 30"/>
                    <a:gd name="T16" fmla="*/ 0 w 30"/>
                    <a:gd name="T17" fmla="*/ 15 h 30"/>
                    <a:gd name="T18" fmla="*/ 0 w 30"/>
                    <a:gd name="T19" fmla="*/ 18 h 30"/>
                    <a:gd name="T20" fmla="*/ 1 w 30"/>
                    <a:gd name="T21" fmla="*/ 21 h 30"/>
                    <a:gd name="T22" fmla="*/ 2 w 30"/>
                    <a:gd name="T23" fmla="*/ 23 h 30"/>
                    <a:gd name="T24" fmla="*/ 4 w 30"/>
                    <a:gd name="T25" fmla="*/ 25 h 30"/>
                    <a:gd name="T26" fmla="*/ 6 w 30"/>
                    <a:gd name="T27" fmla="*/ 28 h 30"/>
                    <a:gd name="T28" fmla="*/ 8 w 30"/>
                    <a:gd name="T29" fmla="*/ 29 h 30"/>
                    <a:gd name="T30" fmla="*/ 12 w 30"/>
                    <a:gd name="T31" fmla="*/ 30 h 30"/>
                    <a:gd name="T32" fmla="*/ 15 w 30"/>
                    <a:gd name="T33" fmla="*/ 30 h 30"/>
                    <a:gd name="T34" fmla="*/ 18 w 30"/>
                    <a:gd name="T35" fmla="*/ 30 h 30"/>
                    <a:gd name="T36" fmla="*/ 20 w 30"/>
                    <a:gd name="T37" fmla="*/ 29 h 30"/>
                    <a:gd name="T38" fmla="*/ 23 w 30"/>
                    <a:gd name="T39" fmla="*/ 28 h 30"/>
                    <a:gd name="T40" fmla="*/ 26 w 30"/>
                    <a:gd name="T41" fmla="*/ 25 h 30"/>
                    <a:gd name="T42" fmla="*/ 27 w 30"/>
                    <a:gd name="T43" fmla="*/ 23 h 30"/>
                    <a:gd name="T44" fmla="*/ 29 w 30"/>
                    <a:gd name="T45" fmla="*/ 21 h 30"/>
                    <a:gd name="T46" fmla="*/ 30 w 30"/>
                    <a:gd name="T47" fmla="*/ 18 h 30"/>
                    <a:gd name="T48" fmla="*/ 30 w 30"/>
                    <a:gd name="T49" fmla="*/ 15 h 30"/>
                    <a:gd name="T50" fmla="*/ 30 w 30"/>
                    <a:gd name="T51" fmla="*/ 12 h 30"/>
                    <a:gd name="T52" fmla="*/ 29 w 30"/>
                    <a:gd name="T53" fmla="*/ 9 h 30"/>
                    <a:gd name="T54" fmla="*/ 27 w 30"/>
                    <a:gd name="T55" fmla="*/ 6 h 30"/>
                    <a:gd name="T56" fmla="*/ 26 w 30"/>
                    <a:gd name="T57" fmla="*/ 4 h 30"/>
                    <a:gd name="T58" fmla="*/ 23 w 30"/>
                    <a:gd name="T59" fmla="*/ 3 h 30"/>
                    <a:gd name="T60" fmla="*/ 20 w 30"/>
                    <a:gd name="T61" fmla="*/ 1 h 30"/>
                    <a:gd name="T62" fmla="*/ 18 w 30"/>
                    <a:gd name="T63" fmla="*/ 0 h 30"/>
                    <a:gd name="T64" fmla="*/ 15 w 30"/>
                    <a:gd name="T65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0" h="30">
                      <a:moveTo>
                        <a:pt x="15" y="0"/>
                      </a:moveTo>
                      <a:lnTo>
                        <a:pt x="12" y="0"/>
                      </a:lnTo>
                      <a:lnTo>
                        <a:pt x="8" y="1"/>
                      </a:lnTo>
                      <a:lnTo>
                        <a:pt x="6" y="3"/>
                      </a:ln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1" y="9"/>
                      </a:lnTo>
                      <a:lnTo>
                        <a:pt x="0" y="12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1"/>
                      </a:lnTo>
                      <a:lnTo>
                        <a:pt x="2" y="23"/>
                      </a:lnTo>
                      <a:lnTo>
                        <a:pt x="4" y="25"/>
                      </a:lnTo>
                      <a:lnTo>
                        <a:pt x="6" y="28"/>
                      </a:lnTo>
                      <a:lnTo>
                        <a:pt x="8" y="29"/>
                      </a:lnTo>
                      <a:lnTo>
                        <a:pt x="12" y="30"/>
                      </a:lnTo>
                      <a:lnTo>
                        <a:pt x="15" y="30"/>
                      </a:lnTo>
                      <a:lnTo>
                        <a:pt x="18" y="30"/>
                      </a:lnTo>
                      <a:lnTo>
                        <a:pt x="20" y="29"/>
                      </a:lnTo>
                      <a:lnTo>
                        <a:pt x="23" y="28"/>
                      </a:lnTo>
                      <a:lnTo>
                        <a:pt x="26" y="25"/>
                      </a:lnTo>
                      <a:lnTo>
                        <a:pt x="27" y="23"/>
                      </a:lnTo>
                      <a:lnTo>
                        <a:pt x="29" y="21"/>
                      </a:lnTo>
                      <a:lnTo>
                        <a:pt x="30" y="18"/>
                      </a:lnTo>
                      <a:lnTo>
                        <a:pt x="30" y="15"/>
                      </a:lnTo>
                      <a:lnTo>
                        <a:pt x="30" y="12"/>
                      </a:lnTo>
                      <a:lnTo>
                        <a:pt x="29" y="9"/>
                      </a:ln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5" name="Freeform 72">
                  <a:extLst>
                    <a:ext uri="{FF2B5EF4-FFF2-40B4-BE49-F238E27FC236}">
                      <a16:creationId xmlns:a16="http://schemas.microsoft.com/office/drawing/2014/main" id="{804A5D51-9D1F-4484-82E9-79D84E3F49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83163" y="989013"/>
                  <a:ext cx="9525" cy="9525"/>
                </a:xfrm>
                <a:custGeom>
                  <a:avLst/>
                  <a:gdLst>
                    <a:gd name="T0" fmla="*/ 15 w 30"/>
                    <a:gd name="T1" fmla="*/ 0 h 30"/>
                    <a:gd name="T2" fmla="*/ 12 w 30"/>
                    <a:gd name="T3" fmla="*/ 0 h 30"/>
                    <a:gd name="T4" fmla="*/ 10 w 30"/>
                    <a:gd name="T5" fmla="*/ 1 h 30"/>
                    <a:gd name="T6" fmla="*/ 6 w 30"/>
                    <a:gd name="T7" fmla="*/ 3 h 30"/>
                    <a:gd name="T8" fmla="*/ 4 w 30"/>
                    <a:gd name="T9" fmla="*/ 4 h 30"/>
                    <a:gd name="T10" fmla="*/ 3 w 30"/>
                    <a:gd name="T11" fmla="*/ 6 h 30"/>
                    <a:gd name="T12" fmla="*/ 1 w 30"/>
                    <a:gd name="T13" fmla="*/ 9 h 30"/>
                    <a:gd name="T14" fmla="*/ 0 w 30"/>
                    <a:gd name="T15" fmla="*/ 12 h 30"/>
                    <a:gd name="T16" fmla="*/ 0 w 30"/>
                    <a:gd name="T17" fmla="*/ 15 h 30"/>
                    <a:gd name="T18" fmla="*/ 0 w 30"/>
                    <a:gd name="T19" fmla="*/ 18 h 30"/>
                    <a:gd name="T20" fmla="*/ 1 w 30"/>
                    <a:gd name="T21" fmla="*/ 21 h 30"/>
                    <a:gd name="T22" fmla="*/ 3 w 30"/>
                    <a:gd name="T23" fmla="*/ 23 h 30"/>
                    <a:gd name="T24" fmla="*/ 4 w 30"/>
                    <a:gd name="T25" fmla="*/ 25 h 30"/>
                    <a:gd name="T26" fmla="*/ 6 w 30"/>
                    <a:gd name="T27" fmla="*/ 28 h 30"/>
                    <a:gd name="T28" fmla="*/ 10 w 30"/>
                    <a:gd name="T29" fmla="*/ 29 h 30"/>
                    <a:gd name="T30" fmla="*/ 12 w 30"/>
                    <a:gd name="T31" fmla="*/ 30 h 30"/>
                    <a:gd name="T32" fmla="*/ 15 w 30"/>
                    <a:gd name="T33" fmla="*/ 30 h 30"/>
                    <a:gd name="T34" fmla="*/ 18 w 30"/>
                    <a:gd name="T35" fmla="*/ 30 h 30"/>
                    <a:gd name="T36" fmla="*/ 21 w 30"/>
                    <a:gd name="T37" fmla="*/ 29 h 30"/>
                    <a:gd name="T38" fmla="*/ 24 w 30"/>
                    <a:gd name="T39" fmla="*/ 28 h 30"/>
                    <a:gd name="T40" fmla="*/ 26 w 30"/>
                    <a:gd name="T41" fmla="*/ 25 h 30"/>
                    <a:gd name="T42" fmla="*/ 28 w 30"/>
                    <a:gd name="T43" fmla="*/ 23 h 30"/>
                    <a:gd name="T44" fmla="*/ 29 w 30"/>
                    <a:gd name="T45" fmla="*/ 21 h 30"/>
                    <a:gd name="T46" fmla="*/ 30 w 30"/>
                    <a:gd name="T47" fmla="*/ 18 h 30"/>
                    <a:gd name="T48" fmla="*/ 30 w 30"/>
                    <a:gd name="T49" fmla="*/ 15 h 30"/>
                    <a:gd name="T50" fmla="*/ 30 w 30"/>
                    <a:gd name="T51" fmla="*/ 12 h 30"/>
                    <a:gd name="T52" fmla="*/ 29 w 30"/>
                    <a:gd name="T53" fmla="*/ 9 h 30"/>
                    <a:gd name="T54" fmla="*/ 28 w 30"/>
                    <a:gd name="T55" fmla="*/ 6 h 30"/>
                    <a:gd name="T56" fmla="*/ 26 w 30"/>
                    <a:gd name="T57" fmla="*/ 4 h 30"/>
                    <a:gd name="T58" fmla="*/ 24 w 30"/>
                    <a:gd name="T59" fmla="*/ 3 h 30"/>
                    <a:gd name="T60" fmla="*/ 21 w 30"/>
                    <a:gd name="T61" fmla="*/ 1 h 30"/>
                    <a:gd name="T62" fmla="*/ 18 w 30"/>
                    <a:gd name="T63" fmla="*/ 0 h 30"/>
                    <a:gd name="T64" fmla="*/ 15 w 30"/>
                    <a:gd name="T65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0" h="30">
                      <a:moveTo>
                        <a:pt x="15" y="0"/>
                      </a:moveTo>
                      <a:lnTo>
                        <a:pt x="12" y="0"/>
                      </a:lnTo>
                      <a:lnTo>
                        <a:pt x="10" y="1"/>
                      </a:lnTo>
                      <a:lnTo>
                        <a:pt x="6" y="3"/>
                      </a:lnTo>
                      <a:lnTo>
                        <a:pt x="4" y="4"/>
                      </a:lnTo>
                      <a:lnTo>
                        <a:pt x="3" y="6"/>
                      </a:lnTo>
                      <a:lnTo>
                        <a:pt x="1" y="9"/>
                      </a:lnTo>
                      <a:lnTo>
                        <a:pt x="0" y="12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1"/>
                      </a:lnTo>
                      <a:lnTo>
                        <a:pt x="3" y="23"/>
                      </a:lnTo>
                      <a:lnTo>
                        <a:pt x="4" y="25"/>
                      </a:lnTo>
                      <a:lnTo>
                        <a:pt x="6" y="28"/>
                      </a:lnTo>
                      <a:lnTo>
                        <a:pt x="10" y="29"/>
                      </a:lnTo>
                      <a:lnTo>
                        <a:pt x="12" y="30"/>
                      </a:lnTo>
                      <a:lnTo>
                        <a:pt x="15" y="30"/>
                      </a:lnTo>
                      <a:lnTo>
                        <a:pt x="18" y="30"/>
                      </a:lnTo>
                      <a:lnTo>
                        <a:pt x="21" y="29"/>
                      </a:lnTo>
                      <a:lnTo>
                        <a:pt x="24" y="28"/>
                      </a:lnTo>
                      <a:lnTo>
                        <a:pt x="26" y="25"/>
                      </a:lnTo>
                      <a:lnTo>
                        <a:pt x="28" y="23"/>
                      </a:lnTo>
                      <a:lnTo>
                        <a:pt x="29" y="21"/>
                      </a:lnTo>
                      <a:lnTo>
                        <a:pt x="30" y="18"/>
                      </a:lnTo>
                      <a:lnTo>
                        <a:pt x="30" y="15"/>
                      </a:lnTo>
                      <a:lnTo>
                        <a:pt x="30" y="12"/>
                      </a:lnTo>
                      <a:lnTo>
                        <a:pt x="29" y="9"/>
                      </a:lnTo>
                      <a:lnTo>
                        <a:pt x="28" y="6"/>
                      </a:lnTo>
                      <a:lnTo>
                        <a:pt x="26" y="4"/>
                      </a:lnTo>
                      <a:lnTo>
                        <a:pt x="24" y="3"/>
                      </a:lnTo>
                      <a:lnTo>
                        <a:pt x="21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6" name="Freeform 73">
                  <a:extLst>
                    <a:ext uri="{FF2B5EF4-FFF2-40B4-BE49-F238E27FC236}">
                      <a16:creationId xmlns:a16="http://schemas.microsoft.com/office/drawing/2014/main" id="{C9E14D6D-134C-41AD-876E-BB8735F7D1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78413" y="1027113"/>
                  <a:ext cx="9525" cy="9525"/>
                </a:xfrm>
                <a:custGeom>
                  <a:avLst/>
                  <a:gdLst>
                    <a:gd name="T0" fmla="*/ 15 w 30"/>
                    <a:gd name="T1" fmla="*/ 0 h 30"/>
                    <a:gd name="T2" fmla="*/ 12 w 30"/>
                    <a:gd name="T3" fmla="*/ 0 h 30"/>
                    <a:gd name="T4" fmla="*/ 8 w 30"/>
                    <a:gd name="T5" fmla="*/ 1 h 30"/>
                    <a:gd name="T6" fmla="*/ 6 w 30"/>
                    <a:gd name="T7" fmla="*/ 2 h 30"/>
                    <a:gd name="T8" fmla="*/ 4 w 30"/>
                    <a:gd name="T9" fmla="*/ 4 h 30"/>
                    <a:gd name="T10" fmla="*/ 2 w 30"/>
                    <a:gd name="T11" fmla="*/ 6 h 30"/>
                    <a:gd name="T12" fmla="*/ 1 w 30"/>
                    <a:gd name="T13" fmla="*/ 9 h 30"/>
                    <a:gd name="T14" fmla="*/ 0 w 30"/>
                    <a:gd name="T15" fmla="*/ 11 h 30"/>
                    <a:gd name="T16" fmla="*/ 0 w 30"/>
                    <a:gd name="T17" fmla="*/ 15 h 30"/>
                    <a:gd name="T18" fmla="*/ 0 w 30"/>
                    <a:gd name="T19" fmla="*/ 18 h 30"/>
                    <a:gd name="T20" fmla="*/ 1 w 30"/>
                    <a:gd name="T21" fmla="*/ 21 h 30"/>
                    <a:gd name="T22" fmla="*/ 2 w 30"/>
                    <a:gd name="T23" fmla="*/ 23 h 30"/>
                    <a:gd name="T24" fmla="*/ 4 w 30"/>
                    <a:gd name="T25" fmla="*/ 25 h 30"/>
                    <a:gd name="T26" fmla="*/ 6 w 30"/>
                    <a:gd name="T27" fmla="*/ 27 h 30"/>
                    <a:gd name="T28" fmla="*/ 8 w 30"/>
                    <a:gd name="T29" fmla="*/ 29 h 30"/>
                    <a:gd name="T30" fmla="*/ 12 w 30"/>
                    <a:gd name="T31" fmla="*/ 30 h 30"/>
                    <a:gd name="T32" fmla="*/ 15 w 30"/>
                    <a:gd name="T33" fmla="*/ 30 h 30"/>
                    <a:gd name="T34" fmla="*/ 18 w 30"/>
                    <a:gd name="T35" fmla="*/ 30 h 30"/>
                    <a:gd name="T36" fmla="*/ 20 w 30"/>
                    <a:gd name="T37" fmla="*/ 29 h 30"/>
                    <a:gd name="T38" fmla="*/ 23 w 30"/>
                    <a:gd name="T39" fmla="*/ 27 h 30"/>
                    <a:gd name="T40" fmla="*/ 26 w 30"/>
                    <a:gd name="T41" fmla="*/ 25 h 30"/>
                    <a:gd name="T42" fmla="*/ 27 w 30"/>
                    <a:gd name="T43" fmla="*/ 23 h 30"/>
                    <a:gd name="T44" fmla="*/ 29 w 30"/>
                    <a:gd name="T45" fmla="*/ 21 h 30"/>
                    <a:gd name="T46" fmla="*/ 29 w 30"/>
                    <a:gd name="T47" fmla="*/ 18 h 30"/>
                    <a:gd name="T48" fmla="*/ 30 w 30"/>
                    <a:gd name="T49" fmla="*/ 15 h 30"/>
                    <a:gd name="T50" fmla="*/ 29 w 30"/>
                    <a:gd name="T51" fmla="*/ 11 h 30"/>
                    <a:gd name="T52" fmla="*/ 29 w 30"/>
                    <a:gd name="T53" fmla="*/ 9 h 30"/>
                    <a:gd name="T54" fmla="*/ 27 w 30"/>
                    <a:gd name="T55" fmla="*/ 6 h 30"/>
                    <a:gd name="T56" fmla="*/ 26 w 30"/>
                    <a:gd name="T57" fmla="*/ 4 h 30"/>
                    <a:gd name="T58" fmla="*/ 23 w 30"/>
                    <a:gd name="T59" fmla="*/ 2 h 30"/>
                    <a:gd name="T60" fmla="*/ 20 w 30"/>
                    <a:gd name="T61" fmla="*/ 1 h 30"/>
                    <a:gd name="T62" fmla="*/ 18 w 30"/>
                    <a:gd name="T63" fmla="*/ 0 h 30"/>
                    <a:gd name="T64" fmla="*/ 15 w 30"/>
                    <a:gd name="T65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0" h="30">
                      <a:moveTo>
                        <a:pt x="15" y="0"/>
                      </a:moveTo>
                      <a:lnTo>
                        <a:pt x="12" y="0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1" y="9"/>
                      </a:lnTo>
                      <a:lnTo>
                        <a:pt x="0" y="11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1"/>
                      </a:lnTo>
                      <a:lnTo>
                        <a:pt x="2" y="23"/>
                      </a:lnTo>
                      <a:lnTo>
                        <a:pt x="4" y="25"/>
                      </a:lnTo>
                      <a:lnTo>
                        <a:pt x="6" y="27"/>
                      </a:lnTo>
                      <a:lnTo>
                        <a:pt x="8" y="29"/>
                      </a:lnTo>
                      <a:lnTo>
                        <a:pt x="12" y="30"/>
                      </a:lnTo>
                      <a:lnTo>
                        <a:pt x="15" y="30"/>
                      </a:lnTo>
                      <a:lnTo>
                        <a:pt x="18" y="30"/>
                      </a:lnTo>
                      <a:lnTo>
                        <a:pt x="20" y="29"/>
                      </a:lnTo>
                      <a:lnTo>
                        <a:pt x="23" y="27"/>
                      </a:lnTo>
                      <a:lnTo>
                        <a:pt x="26" y="25"/>
                      </a:lnTo>
                      <a:lnTo>
                        <a:pt x="27" y="23"/>
                      </a:lnTo>
                      <a:lnTo>
                        <a:pt x="29" y="21"/>
                      </a:lnTo>
                      <a:lnTo>
                        <a:pt x="29" y="18"/>
                      </a:lnTo>
                      <a:lnTo>
                        <a:pt x="30" y="15"/>
                      </a:lnTo>
                      <a:lnTo>
                        <a:pt x="29" y="11"/>
                      </a:lnTo>
                      <a:lnTo>
                        <a:pt x="29" y="9"/>
                      </a:ln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3" y="2"/>
                      </a:lnTo>
                      <a:lnTo>
                        <a:pt x="20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7" name="Freeform 74">
                  <a:extLst>
                    <a:ext uri="{FF2B5EF4-FFF2-40B4-BE49-F238E27FC236}">
                      <a16:creationId xmlns:a16="http://schemas.microsoft.com/office/drawing/2014/main" id="{B04CCC23-9BA7-4EBE-A0F0-4F707AF719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0788" y="1027113"/>
                  <a:ext cx="9525" cy="9525"/>
                </a:xfrm>
                <a:custGeom>
                  <a:avLst/>
                  <a:gdLst>
                    <a:gd name="T0" fmla="*/ 15 w 30"/>
                    <a:gd name="T1" fmla="*/ 0 h 30"/>
                    <a:gd name="T2" fmla="*/ 12 w 30"/>
                    <a:gd name="T3" fmla="*/ 0 h 30"/>
                    <a:gd name="T4" fmla="*/ 8 w 30"/>
                    <a:gd name="T5" fmla="*/ 1 h 30"/>
                    <a:gd name="T6" fmla="*/ 6 w 30"/>
                    <a:gd name="T7" fmla="*/ 2 h 30"/>
                    <a:gd name="T8" fmla="*/ 4 w 30"/>
                    <a:gd name="T9" fmla="*/ 4 h 30"/>
                    <a:gd name="T10" fmla="*/ 2 w 30"/>
                    <a:gd name="T11" fmla="*/ 6 h 30"/>
                    <a:gd name="T12" fmla="*/ 1 w 30"/>
                    <a:gd name="T13" fmla="*/ 9 h 30"/>
                    <a:gd name="T14" fmla="*/ 0 w 30"/>
                    <a:gd name="T15" fmla="*/ 11 h 30"/>
                    <a:gd name="T16" fmla="*/ 0 w 30"/>
                    <a:gd name="T17" fmla="*/ 15 h 30"/>
                    <a:gd name="T18" fmla="*/ 0 w 30"/>
                    <a:gd name="T19" fmla="*/ 18 h 30"/>
                    <a:gd name="T20" fmla="*/ 1 w 30"/>
                    <a:gd name="T21" fmla="*/ 21 h 30"/>
                    <a:gd name="T22" fmla="*/ 2 w 30"/>
                    <a:gd name="T23" fmla="*/ 23 h 30"/>
                    <a:gd name="T24" fmla="*/ 4 w 30"/>
                    <a:gd name="T25" fmla="*/ 25 h 30"/>
                    <a:gd name="T26" fmla="*/ 6 w 30"/>
                    <a:gd name="T27" fmla="*/ 27 h 30"/>
                    <a:gd name="T28" fmla="*/ 8 w 30"/>
                    <a:gd name="T29" fmla="*/ 29 h 30"/>
                    <a:gd name="T30" fmla="*/ 12 w 30"/>
                    <a:gd name="T31" fmla="*/ 30 h 30"/>
                    <a:gd name="T32" fmla="*/ 15 w 30"/>
                    <a:gd name="T33" fmla="*/ 30 h 30"/>
                    <a:gd name="T34" fmla="*/ 18 w 30"/>
                    <a:gd name="T35" fmla="*/ 30 h 30"/>
                    <a:gd name="T36" fmla="*/ 20 w 30"/>
                    <a:gd name="T37" fmla="*/ 29 h 30"/>
                    <a:gd name="T38" fmla="*/ 23 w 30"/>
                    <a:gd name="T39" fmla="*/ 27 h 30"/>
                    <a:gd name="T40" fmla="*/ 26 w 30"/>
                    <a:gd name="T41" fmla="*/ 25 h 30"/>
                    <a:gd name="T42" fmla="*/ 27 w 30"/>
                    <a:gd name="T43" fmla="*/ 23 h 30"/>
                    <a:gd name="T44" fmla="*/ 29 w 30"/>
                    <a:gd name="T45" fmla="*/ 21 h 30"/>
                    <a:gd name="T46" fmla="*/ 30 w 30"/>
                    <a:gd name="T47" fmla="*/ 18 h 30"/>
                    <a:gd name="T48" fmla="*/ 30 w 30"/>
                    <a:gd name="T49" fmla="*/ 15 h 30"/>
                    <a:gd name="T50" fmla="*/ 30 w 30"/>
                    <a:gd name="T51" fmla="*/ 11 h 30"/>
                    <a:gd name="T52" fmla="*/ 29 w 30"/>
                    <a:gd name="T53" fmla="*/ 9 h 30"/>
                    <a:gd name="T54" fmla="*/ 27 w 30"/>
                    <a:gd name="T55" fmla="*/ 6 h 30"/>
                    <a:gd name="T56" fmla="*/ 26 w 30"/>
                    <a:gd name="T57" fmla="*/ 4 h 30"/>
                    <a:gd name="T58" fmla="*/ 23 w 30"/>
                    <a:gd name="T59" fmla="*/ 2 h 30"/>
                    <a:gd name="T60" fmla="*/ 20 w 30"/>
                    <a:gd name="T61" fmla="*/ 1 h 30"/>
                    <a:gd name="T62" fmla="*/ 18 w 30"/>
                    <a:gd name="T63" fmla="*/ 0 h 30"/>
                    <a:gd name="T64" fmla="*/ 15 w 30"/>
                    <a:gd name="T65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0" h="30">
                      <a:moveTo>
                        <a:pt x="15" y="0"/>
                      </a:moveTo>
                      <a:lnTo>
                        <a:pt x="12" y="0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1" y="9"/>
                      </a:lnTo>
                      <a:lnTo>
                        <a:pt x="0" y="11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1"/>
                      </a:lnTo>
                      <a:lnTo>
                        <a:pt x="2" y="23"/>
                      </a:lnTo>
                      <a:lnTo>
                        <a:pt x="4" y="25"/>
                      </a:lnTo>
                      <a:lnTo>
                        <a:pt x="6" y="27"/>
                      </a:lnTo>
                      <a:lnTo>
                        <a:pt x="8" y="29"/>
                      </a:lnTo>
                      <a:lnTo>
                        <a:pt x="12" y="30"/>
                      </a:lnTo>
                      <a:lnTo>
                        <a:pt x="15" y="30"/>
                      </a:lnTo>
                      <a:lnTo>
                        <a:pt x="18" y="30"/>
                      </a:lnTo>
                      <a:lnTo>
                        <a:pt x="20" y="29"/>
                      </a:lnTo>
                      <a:lnTo>
                        <a:pt x="23" y="27"/>
                      </a:lnTo>
                      <a:lnTo>
                        <a:pt x="26" y="25"/>
                      </a:lnTo>
                      <a:lnTo>
                        <a:pt x="27" y="23"/>
                      </a:lnTo>
                      <a:lnTo>
                        <a:pt x="29" y="21"/>
                      </a:lnTo>
                      <a:lnTo>
                        <a:pt x="30" y="18"/>
                      </a:lnTo>
                      <a:lnTo>
                        <a:pt x="30" y="15"/>
                      </a:lnTo>
                      <a:lnTo>
                        <a:pt x="30" y="11"/>
                      </a:lnTo>
                      <a:lnTo>
                        <a:pt x="29" y="9"/>
                      </a:ln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3" y="2"/>
                      </a:lnTo>
                      <a:lnTo>
                        <a:pt x="20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8" name="Freeform 75">
                  <a:extLst>
                    <a:ext uri="{FF2B5EF4-FFF2-40B4-BE49-F238E27FC236}">
                      <a16:creationId xmlns:a16="http://schemas.microsoft.com/office/drawing/2014/main" id="{C7D3167F-6D31-4B59-9C5B-0CF98D7E99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83163" y="1027113"/>
                  <a:ext cx="9525" cy="9525"/>
                </a:xfrm>
                <a:custGeom>
                  <a:avLst/>
                  <a:gdLst>
                    <a:gd name="T0" fmla="*/ 15 w 30"/>
                    <a:gd name="T1" fmla="*/ 0 h 30"/>
                    <a:gd name="T2" fmla="*/ 12 w 30"/>
                    <a:gd name="T3" fmla="*/ 0 h 30"/>
                    <a:gd name="T4" fmla="*/ 10 w 30"/>
                    <a:gd name="T5" fmla="*/ 1 h 30"/>
                    <a:gd name="T6" fmla="*/ 6 w 30"/>
                    <a:gd name="T7" fmla="*/ 2 h 30"/>
                    <a:gd name="T8" fmla="*/ 4 w 30"/>
                    <a:gd name="T9" fmla="*/ 4 h 30"/>
                    <a:gd name="T10" fmla="*/ 3 w 30"/>
                    <a:gd name="T11" fmla="*/ 6 h 30"/>
                    <a:gd name="T12" fmla="*/ 1 w 30"/>
                    <a:gd name="T13" fmla="*/ 9 h 30"/>
                    <a:gd name="T14" fmla="*/ 0 w 30"/>
                    <a:gd name="T15" fmla="*/ 11 h 30"/>
                    <a:gd name="T16" fmla="*/ 0 w 30"/>
                    <a:gd name="T17" fmla="*/ 15 h 30"/>
                    <a:gd name="T18" fmla="*/ 0 w 30"/>
                    <a:gd name="T19" fmla="*/ 18 h 30"/>
                    <a:gd name="T20" fmla="*/ 1 w 30"/>
                    <a:gd name="T21" fmla="*/ 21 h 30"/>
                    <a:gd name="T22" fmla="*/ 3 w 30"/>
                    <a:gd name="T23" fmla="*/ 23 h 30"/>
                    <a:gd name="T24" fmla="*/ 4 w 30"/>
                    <a:gd name="T25" fmla="*/ 25 h 30"/>
                    <a:gd name="T26" fmla="*/ 6 w 30"/>
                    <a:gd name="T27" fmla="*/ 27 h 30"/>
                    <a:gd name="T28" fmla="*/ 10 w 30"/>
                    <a:gd name="T29" fmla="*/ 29 h 30"/>
                    <a:gd name="T30" fmla="*/ 12 w 30"/>
                    <a:gd name="T31" fmla="*/ 30 h 30"/>
                    <a:gd name="T32" fmla="*/ 15 w 30"/>
                    <a:gd name="T33" fmla="*/ 30 h 30"/>
                    <a:gd name="T34" fmla="*/ 18 w 30"/>
                    <a:gd name="T35" fmla="*/ 30 h 30"/>
                    <a:gd name="T36" fmla="*/ 21 w 30"/>
                    <a:gd name="T37" fmla="*/ 29 h 30"/>
                    <a:gd name="T38" fmla="*/ 24 w 30"/>
                    <a:gd name="T39" fmla="*/ 27 h 30"/>
                    <a:gd name="T40" fmla="*/ 26 w 30"/>
                    <a:gd name="T41" fmla="*/ 25 h 30"/>
                    <a:gd name="T42" fmla="*/ 28 w 30"/>
                    <a:gd name="T43" fmla="*/ 23 h 30"/>
                    <a:gd name="T44" fmla="*/ 29 w 30"/>
                    <a:gd name="T45" fmla="*/ 21 h 30"/>
                    <a:gd name="T46" fmla="*/ 30 w 30"/>
                    <a:gd name="T47" fmla="*/ 18 h 30"/>
                    <a:gd name="T48" fmla="*/ 30 w 30"/>
                    <a:gd name="T49" fmla="*/ 15 h 30"/>
                    <a:gd name="T50" fmla="*/ 30 w 30"/>
                    <a:gd name="T51" fmla="*/ 11 h 30"/>
                    <a:gd name="T52" fmla="*/ 29 w 30"/>
                    <a:gd name="T53" fmla="*/ 9 h 30"/>
                    <a:gd name="T54" fmla="*/ 28 w 30"/>
                    <a:gd name="T55" fmla="*/ 6 h 30"/>
                    <a:gd name="T56" fmla="*/ 26 w 30"/>
                    <a:gd name="T57" fmla="*/ 4 h 30"/>
                    <a:gd name="T58" fmla="*/ 24 w 30"/>
                    <a:gd name="T59" fmla="*/ 2 h 30"/>
                    <a:gd name="T60" fmla="*/ 21 w 30"/>
                    <a:gd name="T61" fmla="*/ 1 h 30"/>
                    <a:gd name="T62" fmla="*/ 18 w 30"/>
                    <a:gd name="T63" fmla="*/ 0 h 30"/>
                    <a:gd name="T64" fmla="*/ 15 w 30"/>
                    <a:gd name="T65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0" h="30">
                      <a:moveTo>
                        <a:pt x="15" y="0"/>
                      </a:moveTo>
                      <a:lnTo>
                        <a:pt x="12" y="0"/>
                      </a:lnTo>
                      <a:lnTo>
                        <a:pt x="10" y="1"/>
                      </a:lnTo>
                      <a:lnTo>
                        <a:pt x="6" y="2"/>
                      </a:lnTo>
                      <a:lnTo>
                        <a:pt x="4" y="4"/>
                      </a:lnTo>
                      <a:lnTo>
                        <a:pt x="3" y="6"/>
                      </a:lnTo>
                      <a:lnTo>
                        <a:pt x="1" y="9"/>
                      </a:lnTo>
                      <a:lnTo>
                        <a:pt x="0" y="11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1"/>
                      </a:lnTo>
                      <a:lnTo>
                        <a:pt x="3" y="23"/>
                      </a:lnTo>
                      <a:lnTo>
                        <a:pt x="4" y="25"/>
                      </a:lnTo>
                      <a:lnTo>
                        <a:pt x="6" y="27"/>
                      </a:lnTo>
                      <a:lnTo>
                        <a:pt x="10" y="29"/>
                      </a:lnTo>
                      <a:lnTo>
                        <a:pt x="12" y="30"/>
                      </a:lnTo>
                      <a:lnTo>
                        <a:pt x="15" y="30"/>
                      </a:lnTo>
                      <a:lnTo>
                        <a:pt x="18" y="30"/>
                      </a:lnTo>
                      <a:lnTo>
                        <a:pt x="21" y="29"/>
                      </a:lnTo>
                      <a:lnTo>
                        <a:pt x="24" y="27"/>
                      </a:lnTo>
                      <a:lnTo>
                        <a:pt x="26" y="25"/>
                      </a:lnTo>
                      <a:lnTo>
                        <a:pt x="28" y="23"/>
                      </a:lnTo>
                      <a:lnTo>
                        <a:pt x="29" y="21"/>
                      </a:lnTo>
                      <a:lnTo>
                        <a:pt x="30" y="18"/>
                      </a:lnTo>
                      <a:lnTo>
                        <a:pt x="30" y="15"/>
                      </a:lnTo>
                      <a:lnTo>
                        <a:pt x="30" y="11"/>
                      </a:lnTo>
                      <a:lnTo>
                        <a:pt x="29" y="9"/>
                      </a:lnTo>
                      <a:lnTo>
                        <a:pt x="28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49" name="Freeform 76">
                  <a:extLst>
                    <a:ext uri="{FF2B5EF4-FFF2-40B4-BE49-F238E27FC236}">
                      <a16:creationId xmlns:a16="http://schemas.microsoft.com/office/drawing/2014/main" id="{C132F448-C6B2-4C04-A328-4897334508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59363" y="1008063"/>
                  <a:ext cx="9525" cy="9525"/>
                </a:xfrm>
                <a:custGeom>
                  <a:avLst/>
                  <a:gdLst>
                    <a:gd name="T0" fmla="*/ 15 w 30"/>
                    <a:gd name="T1" fmla="*/ 0 h 30"/>
                    <a:gd name="T2" fmla="*/ 12 w 30"/>
                    <a:gd name="T3" fmla="*/ 0 h 30"/>
                    <a:gd name="T4" fmla="*/ 8 w 30"/>
                    <a:gd name="T5" fmla="*/ 1 h 30"/>
                    <a:gd name="T6" fmla="*/ 6 w 30"/>
                    <a:gd name="T7" fmla="*/ 3 h 30"/>
                    <a:gd name="T8" fmla="*/ 4 w 30"/>
                    <a:gd name="T9" fmla="*/ 4 h 30"/>
                    <a:gd name="T10" fmla="*/ 2 w 30"/>
                    <a:gd name="T11" fmla="*/ 6 h 30"/>
                    <a:gd name="T12" fmla="*/ 1 w 30"/>
                    <a:gd name="T13" fmla="*/ 9 h 30"/>
                    <a:gd name="T14" fmla="*/ 0 w 30"/>
                    <a:gd name="T15" fmla="*/ 11 h 30"/>
                    <a:gd name="T16" fmla="*/ 0 w 30"/>
                    <a:gd name="T17" fmla="*/ 15 h 30"/>
                    <a:gd name="T18" fmla="*/ 0 w 30"/>
                    <a:gd name="T19" fmla="*/ 18 h 30"/>
                    <a:gd name="T20" fmla="*/ 1 w 30"/>
                    <a:gd name="T21" fmla="*/ 21 h 30"/>
                    <a:gd name="T22" fmla="*/ 2 w 30"/>
                    <a:gd name="T23" fmla="*/ 23 h 30"/>
                    <a:gd name="T24" fmla="*/ 4 w 30"/>
                    <a:gd name="T25" fmla="*/ 25 h 30"/>
                    <a:gd name="T26" fmla="*/ 6 w 30"/>
                    <a:gd name="T27" fmla="*/ 28 h 30"/>
                    <a:gd name="T28" fmla="*/ 8 w 30"/>
                    <a:gd name="T29" fmla="*/ 29 h 30"/>
                    <a:gd name="T30" fmla="*/ 12 w 30"/>
                    <a:gd name="T31" fmla="*/ 30 h 30"/>
                    <a:gd name="T32" fmla="*/ 15 w 30"/>
                    <a:gd name="T33" fmla="*/ 30 h 30"/>
                    <a:gd name="T34" fmla="*/ 18 w 30"/>
                    <a:gd name="T35" fmla="*/ 30 h 30"/>
                    <a:gd name="T36" fmla="*/ 20 w 30"/>
                    <a:gd name="T37" fmla="*/ 29 h 30"/>
                    <a:gd name="T38" fmla="*/ 23 w 30"/>
                    <a:gd name="T39" fmla="*/ 28 h 30"/>
                    <a:gd name="T40" fmla="*/ 26 w 30"/>
                    <a:gd name="T41" fmla="*/ 25 h 30"/>
                    <a:gd name="T42" fmla="*/ 27 w 30"/>
                    <a:gd name="T43" fmla="*/ 23 h 30"/>
                    <a:gd name="T44" fmla="*/ 29 w 30"/>
                    <a:gd name="T45" fmla="*/ 21 h 30"/>
                    <a:gd name="T46" fmla="*/ 29 w 30"/>
                    <a:gd name="T47" fmla="*/ 18 h 30"/>
                    <a:gd name="T48" fmla="*/ 30 w 30"/>
                    <a:gd name="T49" fmla="*/ 15 h 30"/>
                    <a:gd name="T50" fmla="*/ 29 w 30"/>
                    <a:gd name="T51" fmla="*/ 11 h 30"/>
                    <a:gd name="T52" fmla="*/ 29 w 30"/>
                    <a:gd name="T53" fmla="*/ 9 h 30"/>
                    <a:gd name="T54" fmla="*/ 27 w 30"/>
                    <a:gd name="T55" fmla="*/ 6 h 30"/>
                    <a:gd name="T56" fmla="*/ 26 w 30"/>
                    <a:gd name="T57" fmla="*/ 4 h 30"/>
                    <a:gd name="T58" fmla="*/ 23 w 30"/>
                    <a:gd name="T59" fmla="*/ 3 h 30"/>
                    <a:gd name="T60" fmla="*/ 20 w 30"/>
                    <a:gd name="T61" fmla="*/ 1 h 30"/>
                    <a:gd name="T62" fmla="*/ 18 w 30"/>
                    <a:gd name="T63" fmla="*/ 0 h 30"/>
                    <a:gd name="T64" fmla="*/ 15 w 30"/>
                    <a:gd name="T65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0" h="30">
                      <a:moveTo>
                        <a:pt x="15" y="0"/>
                      </a:moveTo>
                      <a:lnTo>
                        <a:pt x="12" y="0"/>
                      </a:lnTo>
                      <a:lnTo>
                        <a:pt x="8" y="1"/>
                      </a:lnTo>
                      <a:lnTo>
                        <a:pt x="6" y="3"/>
                      </a:ln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1" y="9"/>
                      </a:lnTo>
                      <a:lnTo>
                        <a:pt x="0" y="11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1"/>
                      </a:lnTo>
                      <a:lnTo>
                        <a:pt x="2" y="23"/>
                      </a:lnTo>
                      <a:lnTo>
                        <a:pt x="4" y="25"/>
                      </a:lnTo>
                      <a:lnTo>
                        <a:pt x="6" y="28"/>
                      </a:lnTo>
                      <a:lnTo>
                        <a:pt x="8" y="29"/>
                      </a:lnTo>
                      <a:lnTo>
                        <a:pt x="12" y="30"/>
                      </a:lnTo>
                      <a:lnTo>
                        <a:pt x="15" y="30"/>
                      </a:lnTo>
                      <a:lnTo>
                        <a:pt x="18" y="30"/>
                      </a:lnTo>
                      <a:lnTo>
                        <a:pt x="20" y="29"/>
                      </a:lnTo>
                      <a:lnTo>
                        <a:pt x="23" y="28"/>
                      </a:lnTo>
                      <a:lnTo>
                        <a:pt x="26" y="25"/>
                      </a:lnTo>
                      <a:lnTo>
                        <a:pt x="27" y="23"/>
                      </a:lnTo>
                      <a:lnTo>
                        <a:pt x="29" y="21"/>
                      </a:lnTo>
                      <a:lnTo>
                        <a:pt x="29" y="18"/>
                      </a:lnTo>
                      <a:lnTo>
                        <a:pt x="30" y="15"/>
                      </a:lnTo>
                      <a:lnTo>
                        <a:pt x="29" y="11"/>
                      </a:lnTo>
                      <a:lnTo>
                        <a:pt x="29" y="9"/>
                      </a:ln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3" y="3"/>
                      </a:lnTo>
                      <a:lnTo>
                        <a:pt x="20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0" name="Freeform 77">
                  <a:extLst>
                    <a:ext uri="{FF2B5EF4-FFF2-40B4-BE49-F238E27FC236}">
                      <a16:creationId xmlns:a16="http://schemas.microsoft.com/office/drawing/2014/main" id="{CC581D82-81C5-4284-A11F-B3BA6D3078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06988" y="1008063"/>
                  <a:ext cx="9525" cy="9525"/>
                </a:xfrm>
                <a:custGeom>
                  <a:avLst/>
                  <a:gdLst>
                    <a:gd name="T0" fmla="*/ 15 w 30"/>
                    <a:gd name="T1" fmla="*/ 0 h 30"/>
                    <a:gd name="T2" fmla="*/ 12 w 30"/>
                    <a:gd name="T3" fmla="*/ 0 h 30"/>
                    <a:gd name="T4" fmla="*/ 8 w 30"/>
                    <a:gd name="T5" fmla="*/ 1 h 30"/>
                    <a:gd name="T6" fmla="*/ 6 w 30"/>
                    <a:gd name="T7" fmla="*/ 3 h 30"/>
                    <a:gd name="T8" fmla="*/ 4 w 30"/>
                    <a:gd name="T9" fmla="*/ 4 h 30"/>
                    <a:gd name="T10" fmla="*/ 2 w 30"/>
                    <a:gd name="T11" fmla="*/ 6 h 30"/>
                    <a:gd name="T12" fmla="*/ 1 w 30"/>
                    <a:gd name="T13" fmla="*/ 9 h 30"/>
                    <a:gd name="T14" fmla="*/ 0 w 30"/>
                    <a:gd name="T15" fmla="*/ 11 h 30"/>
                    <a:gd name="T16" fmla="*/ 0 w 30"/>
                    <a:gd name="T17" fmla="*/ 15 h 30"/>
                    <a:gd name="T18" fmla="*/ 0 w 30"/>
                    <a:gd name="T19" fmla="*/ 18 h 30"/>
                    <a:gd name="T20" fmla="*/ 1 w 30"/>
                    <a:gd name="T21" fmla="*/ 21 h 30"/>
                    <a:gd name="T22" fmla="*/ 2 w 30"/>
                    <a:gd name="T23" fmla="*/ 23 h 30"/>
                    <a:gd name="T24" fmla="*/ 4 w 30"/>
                    <a:gd name="T25" fmla="*/ 25 h 30"/>
                    <a:gd name="T26" fmla="*/ 6 w 30"/>
                    <a:gd name="T27" fmla="*/ 28 h 30"/>
                    <a:gd name="T28" fmla="*/ 8 w 30"/>
                    <a:gd name="T29" fmla="*/ 29 h 30"/>
                    <a:gd name="T30" fmla="*/ 12 w 30"/>
                    <a:gd name="T31" fmla="*/ 30 h 30"/>
                    <a:gd name="T32" fmla="*/ 15 w 30"/>
                    <a:gd name="T33" fmla="*/ 30 h 30"/>
                    <a:gd name="T34" fmla="*/ 17 w 30"/>
                    <a:gd name="T35" fmla="*/ 30 h 30"/>
                    <a:gd name="T36" fmla="*/ 20 w 30"/>
                    <a:gd name="T37" fmla="*/ 29 h 30"/>
                    <a:gd name="T38" fmla="*/ 22 w 30"/>
                    <a:gd name="T39" fmla="*/ 28 h 30"/>
                    <a:gd name="T40" fmla="*/ 24 w 30"/>
                    <a:gd name="T41" fmla="*/ 25 h 30"/>
                    <a:gd name="T42" fmla="*/ 27 w 30"/>
                    <a:gd name="T43" fmla="*/ 23 h 30"/>
                    <a:gd name="T44" fmla="*/ 28 w 30"/>
                    <a:gd name="T45" fmla="*/ 21 h 30"/>
                    <a:gd name="T46" fmla="*/ 29 w 30"/>
                    <a:gd name="T47" fmla="*/ 18 h 30"/>
                    <a:gd name="T48" fmla="*/ 30 w 30"/>
                    <a:gd name="T49" fmla="*/ 15 h 30"/>
                    <a:gd name="T50" fmla="*/ 29 w 30"/>
                    <a:gd name="T51" fmla="*/ 11 h 30"/>
                    <a:gd name="T52" fmla="*/ 28 w 30"/>
                    <a:gd name="T53" fmla="*/ 9 h 30"/>
                    <a:gd name="T54" fmla="*/ 27 w 30"/>
                    <a:gd name="T55" fmla="*/ 6 h 30"/>
                    <a:gd name="T56" fmla="*/ 24 w 30"/>
                    <a:gd name="T57" fmla="*/ 4 h 30"/>
                    <a:gd name="T58" fmla="*/ 22 w 30"/>
                    <a:gd name="T59" fmla="*/ 3 h 30"/>
                    <a:gd name="T60" fmla="*/ 20 w 30"/>
                    <a:gd name="T61" fmla="*/ 1 h 30"/>
                    <a:gd name="T62" fmla="*/ 17 w 30"/>
                    <a:gd name="T63" fmla="*/ 0 h 30"/>
                    <a:gd name="T64" fmla="*/ 15 w 30"/>
                    <a:gd name="T65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0" h="30">
                      <a:moveTo>
                        <a:pt x="15" y="0"/>
                      </a:moveTo>
                      <a:lnTo>
                        <a:pt x="12" y="0"/>
                      </a:lnTo>
                      <a:lnTo>
                        <a:pt x="8" y="1"/>
                      </a:lnTo>
                      <a:lnTo>
                        <a:pt x="6" y="3"/>
                      </a:ln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1" y="9"/>
                      </a:lnTo>
                      <a:lnTo>
                        <a:pt x="0" y="11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1"/>
                      </a:lnTo>
                      <a:lnTo>
                        <a:pt x="2" y="23"/>
                      </a:lnTo>
                      <a:lnTo>
                        <a:pt x="4" y="25"/>
                      </a:lnTo>
                      <a:lnTo>
                        <a:pt x="6" y="28"/>
                      </a:lnTo>
                      <a:lnTo>
                        <a:pt x="8" y="29"/>
                      </a:lnTo>
                      <a:lnTo>
                        <a:pt x="12" y="30"/>
                      </a:lnTo>
                      <a:lnTo>
                        <a:pt x="15" y="30"/>
                      </a:lnTo>
                      <a:lnTo>
                        <a:pt x="17" y="30"/>
                      </a:lnTo>
                      <a:lnTo>
                        <a:pt x="20" y="29"/>
                      </a:lnTo>
                      <a:lnTo>
                        <a:pt x="22" y="28"/>
                      </a:lnTo>
                      <a:lnTo>
                        <a:pt x="24" y="25"/>
                      </a:lnTo>
                      <a:lnTo>
                        <a:pt x="27" y="23"/>
                      </a:lnTo>
                      <a:lnTo>
                        <a:pt x="28" y="21"/>
                      </a:lnTo>
                      <a:lnTo>
                        <a:pt x="29" y="18"/>
                      </a:lnTo>
                      <a:lnTo>
                        <a:pt x="30" y="15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6"/>
                      </a:lnTo>
                      <a:lnTo>
                        <a:pt x="24" y="4"/>
                      </a:lnTo>
                      <a:lnTo>
                        <a:pt x="22" y="3"/>
                      </a:lnTo>
                      <a:lnTo>
                        <a:pt x="20" y="1"/>
                      </a:lnTo>
                      <a:lnTo>
                        <a:pt x="17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1" name="Freeform 78">
                  <a:extLst>
                    <a:ext uri="{FF2B5EF4-FFF2-40B4-BE49-F238E27FC236}">
                      <a16:creationId xmlns:a16="http://schemas.microsoft.com/office/drawing/2014/main" id="{DC6F259D-D9A9-4F05-85BF-86F7871EA3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1738" y="1008063"/>
                  <a:ext cx="9525" cy="9525"/>
                </a:xfrm>
                <a:custGeom>
                  <a:avLst/>
                  <a:gdLst>
                    <a:gd name="T0" fmla="*/ 15 w 30"/>
                    <a:gd name="T1" fmla="*/ 0 h 30"/>
                    <a:gd name="T2" fmla="*/ 12 w 30"/>
                    <a:gd name="T3" fmla="*/ 0 h 30"/>
                    <a:gd name="T4" fmla="*/ 10 w 30"/>
                    <a:gd name="T5" fmla="*/ 1 h 30"/>
                    <a:gd name="T6" fmla="*/ 6 w 30"/>
                    <a:gd name="T7" fmla="*/ 3 h 30"/>
                    <a:gd name="T8" fmla="*/ 4 w 30"/>
                    <a:gd name="T9" fmla="*/ 4 h 30"/>
                    <a:gd name="T10" fmla="*/ 2 w 30"/>
                    <a:gd name="T11" fmla="*/ 6 h 30"/>
                    <a:gd name="T12" fmla="*/ 1 w 30"/>
                    <a:gd name="T13" fmla="*/ 9 h 30"/>
                    <a:gd name="T14" fmla="*/ 0 w 30"/>
                    <a:gd name="T15" fmla="*/ 11 h 30"/>
                    <a:gd name="T16" fmla="*/ 0 w 30"/>
                    <a:gd name="T17" fmla="*/ 15 h 30"/>
                    <a:gd name="T18" fmla="*/ 0 w 30"/>
                    <a:gd name="T19" fmla="*/ 18 h 30"/>
                    <a:gd name="T20" fmla="*/ 1 w 30"/>
                    <a:gd name="T21" fmla="*/ 21 h 30"/>
                    <a:gd name="T22" fmla="*/ 2 w 30"/>
                    <a:gd name="T23" fmla="*/ 23 h 30"/>
                    <a:gd name="T24" fmla="*/ 4 w 30"/>
                    <a:gd name="T25" fmla="*/ 25 h 30"/>
                    <a:gd name="T26" fmla="*/ 6 w 30"/>
                    <a:gd name="T27" fmla="*/ 28 h 30"/>
                    <a:gd name="T28" fmla="*/ 10 w 30"/>
                    <a:gd name="T29" fmla="*/ 29 h 30"/>
                    <a:gd name="T30" fmla="*/ 12 w 30"/>
                    <a:gd name="T31" fmla="*/ 30 h 30"/>
                    <a:gd name="T32" fmla="*/ 15 w 30"/>
                    <a:gd name="T33" fmla="*/ 30 h 30"/>
                    <a:gd name="T34" fmla="*/ 18 w 30"/>
                    <a:gd name="T35" fmla="*/ 30 h 30"/>
                    <a:gd name="T36" fmla="*/ 20 w 30"/>
                    <a:gd name="T37" fmla="*/ 29 h 30"/>
                    <a:gd name="T38" fmla="*/ 24 w 30"/>
                    <a:gd name="T39" fmla="*/ 28 h 30"/>
                    <a:gd name="T40" fmla="*/ 26 w 30"/>
                    <a:gd name="T41" fmla="*/ 25 h 30"/>
                    <a:gd name="T42" fmla="*/ 28 w 30"/>
                    <a:gd name="T43" fmla="*/ 23 h 30"/>
                    <a:gd name="T44" fmla="*/ 29 w 30"/>
                    <a:gd name="T45" fmla="*/ 21 h 30"/>
                    <a:gd name="T46" fmla="*/ 30 w 30"/>
                    <a:gd name="T47" fmla="*/ 18 h 30"/>
                    <a:gd name="T48" fmla="*/ 30 w 30"/>
                    <a:gd name="T49" fmla="*/ 15 h 30"/>
                    <a:gd name="T50" fmla="*/ 30 w 30"/>
                    <a:gd name="T51" fmla="*/ 11 h 30"/>
                    <a:gd name="T52" fmla="*/ 29 w 30"/>
                    <a:gd name="T53" fmla="*/ 9 h 30"/>
                    <a:gd name="T54" fmla="*/ 28 w 30"/>
                    <a:gd name="T55" fmla="*/ 6 h 30"/>
                    <a:gd name="T56" fmla="*/ 26 w 30"/>
                    <a:gd name="T57" fmla="*/ 4 h 30"/>
                    <a:gd name="T58" fmla="*/ 24 w 30"/>
                    <a:gd name="T59" fmla="*/ 3 h 30"/>
                    <a:gd name="T60" fmla="*/ 20 w 30"/>
                    <a:gd name="T61" fmla="*/ 1 h 30"/>
                    <a:gd name="T62" fmla="*/ 18 w 30"/>
                    <a:gd name="T63" fmla="*/ 0 h 30"/>
                    <a:gd name="T64" fmla="*/ 15 w 30"/>
                    <a:gd name="T65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0" h="30">
                      <a:moveTo>
                        <a:pt x="15" y="0"/>
                      </a:moveTo>
                      <a:lnTo>
                        <a:pt x="12" y="0"/>
                      </a:lnTo>
                      <a:lnTo>
                        <a:pt x="10" y="1"/>
                      </a:lnTo>
                      <a:lnTo>
                        <a:pt x="6" y="3"/>
                      </a:ln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1" y="9"/>
                      </a:lnTo>
                      <a:lnTo>
                        <a:pt x="0" y="11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1"/>
                      </a:lnTo>
                      <a:lnTo>
                        <a:pt x="2" y="23"/>
                      </a:lnTo>
                      <a:lnTo>
                        <a:pt x="4" y="25"/>
                      </a:lnTo>
                      <a:lnTo>
                        <a:pt x="6" y="28"/>
                      </a:lnTo>
                      <a:lnTo>
                        <a:pt x="10" y="29"/>
                      </a:lnTo>
                      <a:lnTo>
                        <a:pt x="12" y="30"/>
                      </a:lnTo>
                      <a:lnTo>
                        <a:pt x="15" y="30"/>
                      </a:lnTo>
                      <a:lnTo>
                        <a:pt x="18" y="30"/>
                      </a:lnTo>
                      <a:lnTo>
                        <a:pt x="20" y="29"/>
                      </a:lnTo>
                      <a:lnTo>
                        <a:pt x="24" y="28"/>
                      </a:lnTo>
                      <a:lnTo>
                        <a:pt x="26" y="25"/>
                      </a:lnTo>
                      <a:lnTo>
                        <a:pt x="28" y="23"/>
                      </a:lnTo>
                      <a:lnTo>
                        <a:pt x="29" y="21"/>
                      </a:lnTo>
                      <a:lnTo>
                        <a:pt x="30" y="18"/>
                      </a:lnTo>
                      <a:lnTo>
                        <a:pt x="30" y="15"/>
                      </a:lnTo>
                      <a:lnTo>
                        <a:pt x="30" y="11"/>
                      </a:lnTo>
                      <a:lnTo>
                        <a:pt x="29" y="9"/>
                      </a:lnTo>
                      <a:lnTo>
                        <a:pt x="28" y="6"/>
                      </a:lnTo>
                      <a:lnTo>
                        <a:pt x="26" y="4"/>
                      </a:lnTo>
                      <a:lnTo>
                        <a:pt x="24" y="3"/>
                      </a:lnTo>
                      <a:lnTo>
                        <a:pt x="20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2" name="Freeform 79">
                  <a:extLst>
                    <a:ext uri="{FF2B5EF4-FFF2-40B4-BE49-F238E27FC236}">
                      <a16:creationId xmlns:a16="http://schemas.microsoft.com/office/drawing/2014/main" id="{719193C8-3DD1-4F12-AD33-168F30BADB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64113" y="1008063"/>
                  <a:ext cx="9525" cy="9525"/>
                </a:xfrm>
                <a:custGeom>
                  <a:avLst/>
                  <a:gdLst>
                    <a:gd name="T0" fmla="*/ 15 w 30"/>
                    <a:gd name="T1" fmla="*/ 0 h 30"/>
                    <a:gd name="T2" fmla="*/ 12 w 30"/>
                    <a:gd name="T3" fmla="*/ 0 h 30"/>
                    <a:gd name="T4" fmla="*/ 10 w 30"/>
                    <a:gd name="T5" fmla="*/ 1 h 30"/>
                    <a:gd name="T6" fmla="*/ 7 w 30"/>
                    <a:gd name="T7" fmla="*/ 3 h 30"/>
                    <a:gd name="T8" fmla="*/ 4 w 30"/>
                    <a:gd name="T9" fmla="*/ 4 h 30"/>
                    <a:gd name="T10" fmla="*/ 3 w 30"/>
                    <a:gd name="T11" fmla="*/ 6 h 30"/>
                    <a:gd name="T12" fmla="*/ 1 w 30"/>
                    <a:gd name="T13" fmla="*/ 9 h 30"/>
                    <a:gd name="T14" fmla="*/ 0 w 30"/>
                    <a:gd name="T15" fmla="*/ 11 h 30"/>
                    <a:gd name="T16" fmla="*/ 0 w 30"/>
                    <a:gd name="T17" fmla="*/ 15 h 30"/>
                    <a:gd name="T18" fmla="*/ 0 w 30"/>
                    <a:gd name="T19" fmla="*/ 18 h 30"/>
                    <a:gd name="T20" fmla="*/ 1 w 30"/>
                    <a:gd name="T21" fmla="*/ 21 h 30"/>
                    <a:gd name="T22" fmla="*/ 3 w 30"/>
                    <a:gd name="T23" fmla="*/ 23 h 30"/>
                    <a:gd name="T24" fmla="*/ 4 w 30"/>
                    <a:gd name="T25" fmla="*/ 25 h 30"/>
                    <a:gd name="T26" fmla="*/ 7 w 30"/>
                    <a:gd name="T27" fmla="*/ 28 h 30"/>
                    <a:gd name="T28" fmla="*/ 10 w 30"/>
                    <a:gd name="T29" fmla="*/ 29 h 30"/>
                    <a:gd name="T30" fmla="*/ 12 w 30"/>
                    <a:gd name="T31" fmla="*/ 30 h 30"/>
                    <a:gd name="T32" fmla="*/ 15 w 30"/>
                    <a:gd name="T33" fmla="*/ 30 h 30"/>
                    <a:gd name="T34" fmla="*/ 18 w 30"/>
                    <a:gd name="T35" fmla="*/ 30 h 30"/>
                    <a:gd name="T36" fmla="*/ 21 w 30"/>
                    <a:gd name="T37" fmla="*/ 29 h 30"/>
                    <a:gd name="T38" fmla="*/ 24 w 30"/>
                    <a:gd name="T39" fmla="*/ 28 h 30"/>
                    <a:gd name="T40" fmla="*/ 26 w 30"/>
                    <a:gd name="T41" fmla="*/ 25 h 30"/>
                    <a:gd name="T42" fmla="*/ 28 w 30"/>
                    <a:gd name="T43" fmla="*/ 23 h 30"/>
                    <a:gd name="T44" fmla="*/ 29 w 30"/>
                    <a:gd name="T45" fmla="*/ 21 h 30"/>
                    <a:gd name="T46" fmla="*/ 30 w 30"/>
                    <a:gd name="T47" fmla="*/ 18 h 30"/>
                    <a:gd name="T48" fmla="*/ 30 w 30"/>
                    <a:gd name="T49" fmla="*/ 15 h 30"/>
                    <a:gd name="T50" fmla="*/ 30 w 30"/>
                    <a:gd name="T51" fmla="*/ 11 h 30"/>
                    <a:gd name="T52" fmla="*/ 29 w 30"/>
                    <a:gd name="T53" fmla="*/ 9 h 30"/>
                    <a:gd name="T54" fmla="*/ 28 w 30"/>
                    <a:gd name="T55" fmla="*/ 6 h 30"/>
                    <a:gd name="T56" fmla="*/ 26 w 30"/>
                    <a:gd name="T57" fmla="*/ 4 h 30"/>
                    <a:gd name="T58" fmla="*/ 24 w 30"/>
                    <a:gd name="T59" fmla="*/ 3 h 30"/>
                    <a:gd name="T60" fmla="*/ 21 w 30"/>
                    <a:gd name="T61" fmla="*/ 1 h 30"/>
                    <a:gd name="T62" fmla="*/ 18 w 30"/>
                    <a:gd name="T63" fmla="*/ 0 h 30"/>
                    <a:gd name="T64" fmla="*/ 15 w 30"/>
                    <a:gd name="T65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0" h="30">
                      <a:moveTo>
                        <a:pt x="15" y="0"/>
                      </a:moveTo>
                      <a:lnTo>
                        <a:pt x="12" y="0"/>
                      </a:lnTo>
                      <a:lnTo>
                        <a:pt x="10" y="1"/>
                      </a:lnTo>
                      <a:lnTo>
                        <a:pt x="7" y="3"/>
                      </a:lnTo>
                      <a:lnTo>
                        <a:pt x="4" y="4"/>
                      </a:lnTo>
                      <a:lnTo>
                        <a:pt x="3" y="6"/>
                      </a:lnTo>
                      <a:lnTo>
                        <a:pt x="1" y="9"/>
                      </a:lnTo>
                      <a:lnTo>
                        <a:pt x="0" y="11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1"/>
                      </a:lnTo>
                      <a:lnTo>
                        <a:pt x="3" y="23"/>
                      </a:lnTo>
                      <a:lnTo>
                        <a:pt x="4" y="25"/>
                      </a:lnTo>
                      <a:lnTo>
                        <a:pt x="7" y="28"/>
                      </a:lnTo>
                      <a:lnTo>
                        <a:pt x="10" y="29"/>
                      </a:lnTo>
                      <a:lnTo>
                        <a:pt x="12" y="30"/>
                      </a:lnTo>
                      <a:lnTo>
                        <a:pt x="15" y="30"/>
                      </a:lnTo>
                      <a:lnTo>
                        <a:pt x="18" y="30"/>
                      </a:lnTo>
                      <a:lnTo>
                        <a:pt x="21" y="29"/>
                      </a:lnTo>
                      <a:lnTo>
                        <a:pt x="24" y="28"/>
                      </a:lnTo>
                      <a:lnTo>
                        <a:pt x="26" y="25"/>
                      </a:lnTo>
                      <a:lnTo>
                        <a:pt x="28" y="23"/>
                      </a:lnTo>
                      <a:lnTo>
                        <a:pt x="29" y="21"/>
                      </a:lnTo>
                      <a:lnTo>
                        <a:pt x="30" y="18"/>
                      </a:lnTo>
                      <a:lnTo>
                        <a:pt x="30" y="15"/>
                      </a:lnTo>
                      <a:lnTo>
                        <a:pt x="30" y="11"/>
                      </a:lnTo>
                      <a:lnTo>
                        <a:pt x="29" y="9"/>
                      </a:lnTo>
                      <a:lnTo>
                        <a:pt x="28" y="6"/>
                      </a:lnTo>
                      <a:lnTo>
                        <a:pt x="26" y="4"/>
                      </a:lnTo>
                      <a:lnTo>
                        <a:pt x="24" y="3"/>
                      </a:lnTo>
                      <a:lnTo>
                        <a:pt x="21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3" name="Freeform 80">
                  <a:extLst>
                    <a:ext uri="{FF2B5EF4-FFF2-40B4-BE49-F238E27FC236}">
                      <a16:creationId xmlns:a16="http://schemas.microsoft.com/office/drawing/2014/main" id="{8136B628-7F4B-4B7F-A389-9E076A0254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59363" y="1046163"/>
                  <a:ext cx="9525" cy="9525"/>
                </a:xfrm>
                <a:custGeom>
                  <a:avLst/>
                  <a:gdLst>
                    <a:gd name="T0" fmla="*/ 15 w 30"/>
                    <a:gd name="T1" fmla="*/ 0 h 30"/>
                    <a:gd name="T2" fmla="*/ 12 w 30"/>
                    <a:gd name="T3" fmla="*/ 0 h 30"/>
                    <a:gd name="T4" fmla="*/ 8 w 30"/>
                    <a:gd name="T5" fmla="*/ 1 h 30"/>
                    <a:gd name="T6" fmla="*/ 6 w 30"/>
                    <a:gd name="T7" fmla="*/ 2 h 30"/>
                    <a:gd name="T8" fmla="*/ 4 w 30"/>
                    <a:gd name="T9" fmla="*/ 4 h 30"/>
                    <a:gd name="T10" fmla="*/ 2 w 30"/>
                    <a:gd name="T11" fmla="*/ 6 h 30"/>
                    <a:gd name="T12" fmla="*/ 1 w 30"/>
                    <a:gd name="T13" fmla="*/ 9 h 30"/>
                    <a:gd name="T14" fmla="*/ 0 w 30"/>
                    <a:gd name="T15" fmla="*/ 11 h 30"/>
                    <a:gd name="T16" fmla="*/ 0 w 30"/>
                    <a:gd name="T17" fmla="*/ 15 h 30"/>
                    <a:gd name="T18" fmla="*/ 0 w 30"/>
                    <a:gd name="T19" fmla="*/ 18 h 30"/>
                    <a:gd name="T20" fmla="*/ 1 w 30"/>
                    <a:gd name="T21" fmla="*/ 20 h 30"/>
                    <a:gd name="T22" fmla="*/ 2 w 30"/>
                    <a:gd name="T23" fmla="*/ 23 h 30"/>
                    <a:gd name="T24" fmla="*/ 4 w 30"/>
                    <a:gd name="T25" fmla="*/ 25 h 30"/>
                    <a:gd name="T26" fmla="*/ 6 w 30"/>
                    <a:gd name="T27" fmla="*/ 27 h 30"/>
                    <a:gd name="T28" fmla="*/ 8 w 30"/>
                    <a:gd name="T29" fmla="*/ 28 h 30"/>
                    <a:gd name="T30" fmla="*/ 12 w 30"/>
                    <a:gd name="T31" fmla="*/ 28 h 30"/>
                    <a:gd name="T32" fmla="*/ 15 w 30"/>
                    <a:gd name="T33" fmla="*/ 30 h 30"/>
                    <a:gd name="T34" fmla="*/ 18 w 30"/>
                    <a:gd name="T35" fmla="*/ 28 h 30"/>
                    <a:gd name="T36" fmla="*/ 20 w 30"/>
                    <a:gd name="T37" fmla="*/ 28 h 30"/>
                    <a:gd name="T38" fmla="*/ 23 w 30"/>
                    <a:gd name="T39" fmla="*/ 27 h 30"/>
                    <a:gd name="T40" fmla="*/ 26 w 30"/>
                    <a:gd name="T41" fmla="*/ 25 h 30"/>
                    <a:gd name="T42" fmla="*/ 27 w 30"/>
                    <a:gd name="T43" fmla="*/ 23 h 30"/>
                    <a:gd name="T44" fmla="*/ 29 w 30"/>
                    <a:gd name="T45" fmla="*/ 20 h 30"/>
                    <a:gd name="T46" fmla="*/ 29 w 30"/>
                    <a:gd name="T47" fmla="*/ 18 h 30"/>
                    <a:gd name="T48" fmla="*/ 30 w 30"/>
                    <a:gd name="T49" fmla="*/ 15 h 30"/>
                    <a:gd name="T50" fmla="*/ 29 w 30"/>
                    <a:gd name="T51" fmla="*/ 11 h 30"/>
                    <a:gd name="T52" fmla="*/ 29 w 30"/>
                    <a:gd name="T53" fmla="*/ 9 h 30"/>
                    <a:gd name="T54" fmla="*/ 27 w 30"/>
                    <a:gd name="T55" fmla="*/ 6 h 30"/>
                    <a:gd name="T56" fmla="*/ 26 w 30"/>
                    <a:gd name="T57" fmla="*/ 4 h 30"/>
                    <a:gd name="T58" fmla="*/ 23 w 30"/>
                    <a:gd name="T59" fmla="*/ 2 h 30"/>
                    <a:gd name="T60" fmla="*/ 20 w 30"/>
                    <a:gd name="T61" fmla="*/ 1 h 30"/>
                    <a:gd name="T62" fmla="*/ 18 w 30"/>
                    <a:gd name="T63" fmla="*/ 0 h 30"/>
                    <a:gd name="T64" fmla="*/ 15 w 30"/>
                    <a:gd name="T65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0" h="30">
                      <a:moveTo>
                        <a:pt x="15" y="0"/>
                      </a:moveTo>
                      <a:lnTo>
                        <a:pt x="12" y="0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1" y="9"/>
                      </a:lnTo>
                      <a:lnTo>
                        <a:pt x="0" y="11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0"/>
                      </a:lnTo>
                      <a:lnTo>
                        <a:pt x="2" y="23"/>
                      </a:lnTo>
                      <a:lnTo>
                        <a:pt x="4" y="25"/>
                      </a:lnTo>
                      <a:lnTo>
                        <a:pt x="6" y="27"/>
                      </a:lnTo>
                      <a:lnTo>
                        <a:pt x="8" y="28"/>
                      </a:lnTo>
                      <a:lnTo>
                        <a:pt x="12" y="28"/>
                      </a:lnTo>
                      <a:lnTo>
                        <a:pt x="15" y="30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3" y="27"/>
                      </a:lnTo>
                      <a:lnTo>
                        <a:pt x="26" y="25"/>
                      </a:lnTo>
                      <a:lnTo>
                        <a:pt x="27" y="23"/>
                      </a:lnTo>
                      <a:lnTo>
                        <a:pt x="29" y="20"/>
                      </a:lnTo>
                      <a:lnTo>
                        <a:pt x="29" y="18"/>
                      </a:lnTo>
                      <a:lnTo>
                        <a:pt x="30" y="15"/>
                      </a:lnTo>
                      <a:lnTo>
                        <a:pt x="29" y="11"/>
                      </a:lnTo>
                      <a:lnTo>
                        <a:pt x="29" y="9"/>
                      </a:lnTo>
                      <a:lnTo>
                        <a:pt x="27" y="6"/>
                      </a:lnTo>
                      <a:lnTo>
                        <a:pt x="26" y="4"/>
                      </a:lnTo>
                      <a:lnTo>
                        <a:pt x="23" y="2"/>
                      </a:lnTo>
                      <a:lnTo>
                        <a:pt x="20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4" name="Freeform 81">
                  <a:extLst>
                    <a:ext uri="{FF2B5EF4-FFF2-40B4-BE49-F238E27FC236}">
                      <a16:creationId xmlns:a16="http://schemas.microsoft.com/office/drawing/2014/main" id="{9063BE07-6597-4F97-ABCC-45B7BAD341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06988" y="1046163"/>
                  <a:ext cx="9525" cy="9525"/>
                </a:xfrm>
                <a:custGeom>
                  <a:avLst/>
                  <a:gdLst>
                    <a:gd name="T0" fmla="*/ 15 w 30"/>
                    <a:gd name="T1" fmla="*/ 0 h 30"/>
                    <a:gd name="T2" fmla="*/ 12 w 30"/>
                    <a:gd name="T3" fmla="*/ 0 h 30"/>
                    <a:gd name="T4" fmla="*/ 8 w 30"/>
                    <a:gd name="T5" fmla="*/ 1 h 30"/>
                    <a:gd name="T6" fmla="*/ 6 w 30"/>
                    <a:gd name="T7" fmla="*/ 2 h 30"/>
                    <a:gd name="T8" fmla="*/ 4 w 30"/>
                    <a:gd name="T9" fmla="*/ 4 h 30"/>
                    <a:gd name="T10" fmla="*/ 2 w 30"/>
                    <a:gd name="T11" fmla="*/ 6 h 30"/>
                    <a:gd name="T12" fmla="*/ 1 w 30"/>
                    <a:gd name="T13" fmla="*/ 9 h 30"/>
                    <a:gd name="T14" fmla="*/ 0 w 30"/>
                    <a:gd name="T15" fmla="*/ 11 h 30"/>
                    <a:gd name="T16" fmla="*/ 0 w 30"/>
                    <a:gd name="T17" fmla="*/ 15 h 30"/>
                    <a:gd name="T18" fmla="*/ 0 w 30"/>
                    <a:gd name="T19" fmla="*/ 18 h 30"/>
                    <a:gd name="T20" fmla="*/ 1 w 30"/>
                    <a:gd name="T21" fmla="*/ 20 h 30"/>
                    <a:gd name="T22" fmla="*/ 2 w 30"/>
                    <a:gd name="T23" fmla="*/ 23 h 30"/>
                    <a:gd name="T24" fmla="*/ 4 w 30"/>
                    <a:gd name="T25" fmla="*/ 25 h 30"/>
                    <a:gd name="T26" fmla="*/ 6 w 30"/>
                    <a:gd name="T27" fmla="*/ 27 h 30"/>
                    <a:gd name="T28" fmla="*/ 8 w 30"/>
                    <a:gd name="T29" fmla="*/ 28 h 30"/>
                    <a:gd name="T30" fmla="*/ 12 w 30"/>
                    <a:gd name="T31" fmla="*/ 28 h 30"/>
                    <a:gd name="T32" fmla="*/ 15 w 30"/>
                    <a:gd name="T33" fmla="*/ 30 h 30"/>
                    <a:gd name="T34" fmla="*/ 17 w 30"/>
                    <a:gd name="T35" fmla="*/ 28 h 30"/>
                    <a:gd name="T36" fmla="*/ 20 w 30"/>
                    <a:gd name="T37" fmla="*/ 28 h 30"/>
                    <a:gd name="T38" fmla="*/ 22 w 30"/>
                    <a:gd name="T39" fmla="*/ 27 h 30"/>
                    <a:gd name="T40" fmla="*/ 24 w 30"/>
                    <a:gd name="T41" fmla="*/ 25 h 30"/>
                    <a:gd name="T42" fmla="*/ 27 w 30"/>
                    <a:gd name="T43" fmla="*/ 23 h 30"/>
                    <a:gd name="T44" fmla="*/ 28 w 30"/>
                    <a:gd name="T45" fmla="*/ 20 h 30"/>
                    <a:gd name="T46" fmla="*/ 29 w 30"/>
                    <a:gd name="T47" fmla="*/ 18 h 30"/>
                    <a:gd name="T48" fmla="*/ 30 w 30"/>
                    <a:gd name="T49" fmla="*/ 15 h 30"/>
                    <a:gd name="T50" fmla="*/ 29 w 30"/>
                    <a:gd name="T51" fmla="*/ 11 h 30"/>
                    <a:gd name="T52" fmla="*/ 28 w 30"/>
                    <a:gd name="T53" fmla="*/ 9 h 30"/>
                    <a:gd name="T54" fmla="*/ 27 w 30"/>
                    <a:gd name="T55" fmla="*/ 6 h 30"/>
                    <a:gd name="T56" fmla="*/ 24 w 30"/>
                    <a:gd name="T57" fmla="*/ 4 h 30"/>
                    <a:gd name="T58" fmla="*/ 22 w 30"/>
                    <a:gd name="T59" fmla="*/ 2 h 30"/>
                    <a:gd name="T60" fmla="*/ 20 w 30"/>
                    <a:gd name="T61" fmla="*/ 1 h 30"/>
                    <a:gd name="T62" fmla="*/ 17 w 30"/>
                    <a:gd name="T63" fmla="*/ 0 h 30"/>
                    <a:gd name="T64" fmla="*/ 15 w 30"/>
                    <a:gd name="T65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0" h="30">
                      <a:moveTo>
                        <a:pt x="15" y="0"/>
                      </a:moveTo>
                      <a:lnTo>
                        <a:pt x="12" y="0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1" y="9"/>
                      </a:lnTo>
                      <a:lnTo>
                        <a:pt x="0" y="11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0"/>
                      </a:lnTo>
                      <a:lnTo>
                        <a:pt x="2" y="23"/>
                      </a:lnTo>
                      <a:lnTo>
                        <a:pt x="4" y="25"/>
                      </a:lnTo>
                      <a:lnTo>
                        <a:pt x="6" y="27"/>
                      </a:lnTo>
                      <a:lnTo>
                        <a:pt x="8" y="28"/>
                      </a:lnTo>
                      <a:lnTo>
                        <a:pt x="12" y="28"/>
                      </a:lnTo>
                      <a:lnTo>
                        <a:pt x="15" y="30"/>
                      </a:lnTo>
                      <a:lnTo>
                        <a:pt x="17" y="28"/>
                      </a:lnTo>
                      <a:lnTo>
                        <a:pt x="20" y="28"/>
                      </a:lnTo>
                      <a:lnTo>
                        <a:pt x="22" y="27"/>
                      </a:lnTo>
                      <a:lnTo>
                        <a:pt x="24" y="25"/>
                      </a:lnTo>
                      <a:lnTo>
                        <a:pt x="27" y="23"/>
                      </a:lnTo>
                      <a:lnTo>
                        <a:pt x="28" y="20"/>
                      </a:lnTo>
                      <a:lnTo>
                        <a:pt x="29" y="18"/>
                      </a:lnTo>
                      <a:lnTo>
                        <a:pt x="30" y="15"/>
                      </a:lnTo>
                      <a:lnTo>
                        <a:pt x="29" y="11"/>
                      </a:lnTo>
                      <a:lnTo>
                        <a:pt x="28" y="9"/>
                      </a:lnTo>
                      <a:lnTo>
                        <a:pt x="27" y="6"/>
                      </a:lnTo>
                      <a:lnTo>
                        <a:pt x="24" y="4"/>
                      </a:lnTo>
                      <a:lnTo>
                        <a:pt x="22" y="2"/>
                      </a:lnTo>
                      <a:lnTo>
                        <a:pt x="20" y="1"/>
                      </a:lnTo>
                      <a:lnTo>
                        <a:pt x="17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5" name="Freeform 82">
                  <a:extLst>
                    <a:ext uri="{FF2B5EF4-FFF2-40B4-BE49-F238E27FC236}">
                      <a16:creationId xmlns:a16="http://schemas.microsoft.com/office/drawing/2014/main" id="{69B59590-201D-44B7-971A-942328CB0B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1738" y="1046163"/>
                  <a:ext cx="9525" cy="9525"/>
                </a:xfrm>
                <a:custGeom>
                  <a:avLst/>
                  <a:gdLst>
                    <a:gd name="T0" fmla="*/ 15 w 30"/>
                    <a:gd name="T1" fmla="*/ 0 h 30"/>
                    <a:gd name="T2" fmla="*/ 12 w 30"/>
                    <a:gd name="T3" fmla="*/ 0 h 30"/>
                    <a:gd name="T4" fmla="*/ 10 w 30"/>
                    <a:gd name="T5" fmla="*/ 1 h 30"/>
                    <a:gd name="T6" fmla="*/ 6 w 30"/>
                    <a:gd name="T7" fmla="*/ 2 h 30"/>
                    <a:gd name="T8" fmla="*/ 4 w 30"/>
                    <a:gd name="T9" fmla="*/ 4 h 30"/>
                    <a:gd name="T10" fmla="*/ 2 w 30"/>
                    <a:gd name="T11" fmla="*/ 6 h 30"/>
                    <a:gd name="T12" fmla="*/ 1 w 30"/>
                    <a:gd name="T13" fmla="*/ 9 h 30"/>
                    <a:gd name="T14" fmla="*/ 0 w 30"/>
                    <a:gd name="T15" fmla="*/ 11 h 30"/>
                    <a:gd name="T16" fmla="*/ 0 w 30"/>
                    <a:gd name="T17" fmla="*/ 15 h 30"/>
                    <a:gd name="T18" fmla="*/ 0 w 30"/>
                    <a:gd name="T19" fmla="*/ 18 h 30"/>
                    <a:gd name="T20" fmla="*/ 1 w 30"/>
                    <a:gd name="T21" fmla="*/ 20 h 30"/>
                    <a:gd name="T22" fmla="*/ 2 w 30"/>
                    <a:gd name="T23" fmla="*/ 23 h 30"/>
                    <a:gd name="T24" fmla="*/ 4 w 30"/>
                    <a:gd name="T25" fmla="*/ 25 h 30"/>
                    <a:gd name="T26" fmla="*/ 6 w 30"/>
                    <a:gd name="T27" fmla="*/ 27 h 30"/>
                    <a:gd name="T28" fmla="*/ 10 w 30"/>
                    <a:gd name="T29" fmla="*/ 28 h 30"/>
                    <a:gd name="T30" fmla="*/ 12 w 30"/>
                    <a:gd name="T31" fmla="*/ 28 h 30"/>
                    <a:gd name="T32" fmla="*/ 15 w 30"/>
                    <a:gd name="T33" fmla="*/ 30 h 30"/>
                    <a:gd name="T34" fmla="*/ 18 w 30"/>
                    <a:gd name="T35" fmla="*/ 28 h 30"/>
                    <a:gd name="T36" fmla="*/ 20 w 30"/>
                    <a:gd name="T37" fmla="*/ 28 h 30"/>
                    <a:gd name="T38" fmla="*/ 24 w 30"/>
                    <a:gd name="T39" fmla="*/ 27 h 30"/>
                    <a:gd name="T40" fmla="*/ 26 w 30"/>
                    <a:gd name="T41" fmla="*/ 25 h 30"/>
                    <a:gd name="T42" fmla="*/ 28 w 30"/>
                    <a:gd name="T43" fmla="*/ 23 h 30"/>
                    <a:gd name="T44" fmla="*/ 29 w 30"/>
                    <a:gd name="T45" fmla="*/ 20 h 30"/>
                    <a:gd name="T46" fmla="*/ 30 w 30"/>
                    <a:gd name="T47" fmla="*/ 18 h 30"/>
                    <a:gd name="T48" fmla="*/ 30 w 30"/>
                    <a:gd name="T49" fmla="*/ 15 h 30"/>
                    <a:gd name="T50" fmla="*/ 30 w 30"/>
                    <a:gd name="T51" fmla="*/ 11 h 30"/>
                    <a:gd name="T52" fmla="*/ 29 w 30"/>
                    <a:gd name="T53" fmla="*/ 9 h 30"/>
                    <a:gd name="T54" fmla="*/ 28 w 30"/>
                    <a:gd name="T55" fmla="*/ 6 h 30"/>
                    <a:gd name="T56" fmla="*/ 26 w 30"/>
                    <a:gd name="T57" fmla="*/ 4 h 30"/>
                    <a:gd name="T58" fmla="*/ 24 w 30"/>
                    <a:gd name="T59" fmla="*/ 2 h 30"/>
                    <a:gd name="T60" fmla="*/ 20 w 30"/>
                    <a:gd name="T61" fmla="*/ 1 h 30"/>
                    <a:gd name="T62" fmla="*/ 18 w 30"/>
                    <a:gd name="T63" fmla="*/ 0 h 30"/>
                    <a:gd name="T64" fmla="*/ 15 w 30"/>
                    <a:gd name="T65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0" h="30">
                      <a:moveTo>
                        <a:pt x="15" y="0"/>
                      </a:moveTo>
                      <a:lnTo>
                        <a:pt x="12" y="0"/>
                      </a:lnTo>
                      <a:lnTo>
                        <a:pt x="10" y="1"/>
                      </a:lnTo>
                      <a:lnTo>
                        <a:pt x="6" y="2"/>
                      </a:ln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1" y="9"/>
                      </a:lnTo>
                      <a:lnTo>
                        <a:pt x="0" y="11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0"/>
                      </a:lnTo>
                      <a:lnTo>
                        <a:pt x="2" y="23"/>
                      </a:lnTo>
                      <a:lnTo>
                        <a:pt x="4" y="25"/>
                      </a:lnTo>
                      <a:lnTo>
                        <a:pt x="6" y="27"/>
                      </a:lnTo>
                      <a:lnTo>
                        <a:pt x="10" y="28"/>
                      </a:lnTo>
                      <a:lnTo>
                        <a:pt x="12" y="28"/>
                      </a:lnTo>
                      <a:lnTo>
                        <a:pt x="15" y="30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4" y="27"/>
                      </a:lnTo>
                      <a:lnTo>
                        <a:pt x="26" y="25"/>
                      </a:lnTo>
                      <a:lnTo>
                        <a:pt x="28" y="23"/>
                      </a:lnTo>
                      <a:lnTo>
                        <a:pt x="29" y="20"/>
                      </a:lnTo>
                      <a:lnTo>
                        <a:pt x="30" y="18"/>
                      </a:lnTo>
                      <a:lnTo>
                        <a:pt x="30" y="15"/>
                      </a:lnTo>
                      <a:lnTo>
                        <a:pt x="30" y="11"/>
                      </a:lnTo>
                      <a:lnTo>
                        <a:pt x="29" y="9"/>
                      </a:lnTo>
                      <a:lnTo>
                        <a:pt x="28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0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56" name="Freeform 83">
                  <a:extLst>
                    <a:ext uri="{FF2B5EF4-FFF2-40B4-BE49-F238E27FC236}">
                      <a16:creationId xmlns:a16="http://schemas.microsoft.com/office/drawing/2014/main" id="{3515D810-FDA2-4B74-A987-0D36BA5DD5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64113" y="1046163"/>
                  <a:ext cx="9525" cy="9525"/>
                </a:xfrm>
                <a:custGeom>
                  <a:avLst/>
                  <a:gdLst>
                    <a:gd name="T0" fmla="*/ 15 w 30"/>
                    <a:gd name="T1" fmla="*/ 0 h 30"/>
                    <a:gd name="T2" fmla="*/ 12 w 30"/>
                    <a:gd name="T3" fmla="*/ 0 h 30"/>
                    <a:gd name="T4" fmla="*/ 10 w 30"/>
                    <a:gd name="T5" fmla="*/ 1 h 30"/>
                    <a:gd name="T6" fmla="*/ 7 w 30"/>
                    <a:gd name="T7" fmla="*/ 2 h 30"/>
                    <a:gd name="T8" fmla="*/ 4 w 30"/>
                    <a:gd name="T9" fmla="*/ 4 h 30"/>
                    <a:gd name="T10" fmla="*/ 3 w 30"/>
                    <a:gd name="T11" fmla="*/ 6 h 30"/>
                    <a:gd name="T12" fmla="*/ 1 w 30"/>
                    <a:gd name="T13" fmla="*/ 9 h 30"/>
                    <a:gd name="T14" fmla="*/ 0 w 30"/>
                    <a:gd name="T15" fmla="*/ 11 h 30"/>
                    <a:gd name="T16" fmla="*/ 0 w 30"/>
                    <a:gd name="T17" fmla="*/ 15 h 30"/>
                    <a:gd name="T18" fmla="*/ 0 w 30"/>
                    <a:gd name="T19" fmla="*/ 18 h 30"/>
                    <a:gd name="T20" fmla="*/ 1 w 30"/>
                    <a:gd name="T21" fmla="*/ 20 h 30"/>
                    <a:gd name="T22" fmla="*/ 3 w 30"/>
                    <a:gd name="T23" fmla="*/ 23 h 30"/>
                    <a:gd name="T24" fmla="*/ 4 w 30"/>
                    <a:gd name="T25" fmla="*/ 25 h 30"/>
                    <a:gd name="T26" fmla="*/ 7 w 30"/>
                    <a:gd name="T27" fmla="*/ 27 h 30"/>
                    <a:gd name="T28" fmla="*/ 10 w 30"/>
                    <a:gd name="T29" fmla="*/ 28 h 30"/>
                    <a:gd name="T30" fmla="*/ 12 w 30"/>
                    <a:gd name="T31" fmla="*/ 28 h 30"/>
                    <a:gd name="T32" fmla="*/ 15 w 30"/>
                    <a:gd name="T33" fmla="*/ 30 h 30"/>
                    <a:gd name="T34" fmla="*/ 18 w 30"/>
                    <a:gd name="T35" fmla="*/ 28 h 30"/>
                    <a:gd name="T36" fmla="*/ 21 w 30"/>
                    <a:gd name="T37" fmla="*/ 28 h 30"/>
                    <a:gd name="T38" fmla="*/ 24 w 30"/>
                    <a:gd name="T39" fmla="*/ 27 h 30"/>
                    <a:gd name="T40" fmla="*/ 26 w 30"/>
                    <a:gd name="T41" fmla="*/ 25 h 30"/>
                    <a:gd name="T42" fmla="*/ 28 w 30"/>
                    <a:gd name="T43" fmla="*/ 23 h 30"/>
                    <a:gd name="T44" fmla="*/ 29 w 30"/>
                    <a:gd name="T45" fmla="*/ 20 h 30"/>
                    <a:gd name="T46" fmla="*/ 30 w 30"/>
                    <a:gd name="T47" fmla="*/ 18 h 30"/>
                    <a:gd name="T48" fmla="*/ 30 w 30"/>
                    <a:gd name="T49" fmla="*/ 15 h 30"/>
                    <a:gd name="T50" fmla="*/ 30 w 30"/>
                    <a:gd name="T51" fmla="*/ 11 h 30"/>
                    <a:gd name="T52" fmla="*/ 29 w 30"/>
                    <a:gd name="T53" fmla="*/ 9 h 30"/>
                    <a:gd name="T54" fmla="*/ 28 w 30"/>
                    <a:gd name="T55" fmla="*/ 6 h 30"/>
                    <a:gd name="T56" fmla="*/ 26 w 30"/>
                    <a:gd name="T57" fmla="*/ 4 h 30"/>
                    <a:gd name="T58" fmla="*/ 24 w 30"/>
                    <a:gd name="T59" fmla="*/ 2 h 30"/>
                    <a:gd name="T60" fmla="*/ 21 w 30"/>
                    <a:gd name="T61" fmla="*/ 1 h 30"/>
                    <a:gd name="T62" fmla="*/ 18 w 30"/>
                    <a:gd name="T63" fmla="*/ 0 h 30"/>
                    <a:gd name="T64" fmla="*/ 15 w 30"/>
                    <a:gd name="T65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0" h="30">
                      <a:moveTo>
                        <a:pt x="15" y="0"/>
                      </a:moveTo>
                      <a:lnTo>
                        <a:pt x="12" y="0"/>
                      </a:lnTo>
                      <a:lnTo>
                        <a:pt x="10" y="1"/>
                      </a:lnTo>
                      <a:lnTo>
                        <a:pt x="7" y="2"/>
                      </a:lnTo>
                      <a:lnTo>
                        <a:pt x="4" y="4"/>
                      </a:lnTo>
                      <a:lnTo>
                        <a:pt x="3" y="6"/>
                      </a:lnTo>
                      <a:lnTo>
                        <a:pt x="1" y="9"/>
                      </a:lnTo>
                      <a:lnTo>
                        <a:pt x="0" y="11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0"/>
                      </a:lnTo>
                      <a:lnTo>
                        <a:pt x="3" y="23"/>
                      </a:lnTo>
                      <a:lnTo>
                        <a:pt x="4" y="25"/>
                      </a:lnTo>
                      <a:lnTo>
                        <a:pt x="7" y="27"/>
                      </a:lnTo>
                      <a:lnTo>
                        <a:pt x="10" y="28"/>
                      </a:lnTo>
                      <a:lnTo>
                        <a:pt x="12" y="28"/>
                      </a:lnTo>
                      <a:lnTo>
                        <a:pt x="15" y="30"/>
                      </a:lnTo>
                      <a:lnTo>
                        <a:pt x="18" y="28"/>
                      </a:lnTo>
                      <a:lnTo>
                        <a:pt x="21" y="28"/>
                      </a:lnTo>
                      <a:lnTo>
                        <a:pt x="24" y="27"/>
                      </a:lnTo>
                      <a:lnTo>
                        <a:pt x="26" y="25"/>
                      </a:lnTo>
                      <a:lnTo>
                        <a:pt x="28" y="23"/>
                      </a:lnTo>
                      <a:lnTo>
                        <a:pt x="29" y="20"/>
                      </a:lnTo>
                      <a:lnTo>
                        <a:pt x="30" y="18"/>
                      </a:lnTo>
                      <a:lnTo>
                        <a:pt x="30" y="15"/>
                      </a:lnTo>
                      <a:lnTo>
                        <a:pt x="30" y="11"/>
                      </a:lnTo>
                      <a:lnTo>
                        <a:pt x="29" y="9"/>
                      </a:lnTo>
                      <a:lnTo>
                        <a:pt x="28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1895" name="Group 1894">
              <a:extLst>
                <a:ext uri="{FF2B5EF4-FFF2-40B4-BE49-F238E27FC236}">
                  <a16:creationId xmlns:a16="http://schemas.microsoft.com/office/drawing/2014/main" id="{8F5D856C-6F34-4998-A8DB-B11BF04C53AE}"/>
                </a:ext>
              </a:extLst>
            </p:cNvPr>
            <p:cNvGrpSpPr/>
            <p:nvPr/>
          </p:nvGrpSpPr>
          <p:grpSpPr>
            <a:xfrm>
              <a:off x="5496228" y="2576299"/>
              <a:ext cx="418315" cy="418315"/>
              <a:chOff x="3103103" y="1741116"/>
              <a:chExt cx="418315" cy="418315"/>
            </a:xfrm>
          </p:grpSpPr>
          <p:sp>
            <p:nvSpPr>
              <p:cNvPr id="1896" name="Oval 1895">
                <a:extLst>
                  <a:ext uri="{FF2B5EF4-FFF2-40B4-BE49-F238E27FC236}">
                    <a16:creationId xmlns:a16="http://schemas.microsoft.com/office/drawing/2014/main" id="{2043B5E5-9FBD-4766-81A6-123B553725AF}"/>
                  </a:ext>
                </a:extLst>
              </p:cNvPr>
              <p:cNvSpPr/>
              <p:nvPr/>
            </p:nvSpPr>
            <p:spPr>
              <a:xfrm>
                <a:off x="3103103" y="1741116"/>
                <a:ext cx="418315" cy="418315"/>
              </a:xfrm>
              <a:prstGeom prst="ellips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897" name="Group 1896">
                <a:extLst>
                  <a:ext uri="{FF2B5EF4-FFF2-40B4-BE49-F238E27FC236}">
                    <a16:creationId xmlns:a16="http://schemas.microsoft.com/office/drawing/2014/main" id="{F9D89489-FBDF-4801-9C8B-9C53FE24B9BC}"/>
                  </a:ext>
                </a:extLst>
              </p:cNvPr>
              <p:cNvGrpSpPr/>
              <p:nvPr/>
            </p:nvGrpSpPr>
            <p:grpSpPr>
              <a:xfrm>
                <a:off x="3226503" y="1864516"/>
                <a:ext cx="171514" cy="171514"/>
                <a:chOff x="334963" y="769938"/>
                <a:chExt cx="276225" cy="276225"/>
              </a:xfrm>
              <a:solidFill>
                <a:schemeClr val="bg1"/>
              </a:solidFill>
            </p:grpSpPr>
            <p:sp>
              <p:nvSpPr>
                <p:cNvPr id="1898" name="Freeform 54">
                  <a:extLst>
                    <a:ext uri="{FF2B5EF4-FFF2-40B4-BE49-F238E27FC236}">
                      <a16:creationId xmlns:a16="http://schemas.microsoft.com/office/drawing/2014/main" id="{33DDE7D8-88C0-4C13-A8C9-3B86307A8B9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77825" y="812800"/>
                  <a:ext cx="190500" cy="190500"/>
                </a:xfrm>
                <a:custGeom>
                  <a:avLst/>
                  <a:gdLst>
                    <a:gd name="T0" fmla="*/ 245 w 599"/>
                    <a:gd name="T1" fmla="*/ 563 h 599"/>
                    <a:gd name="T2" fmla="*/ 182 w 599"/>
                    <a:gd name="T3" fmla="*/ 542 h 599"/>
                    <a:gd name="T4" fmla="*/ 128 w 599"/>
                    <a:gd name="T5" fmla="*/ 508 h 599"/>
                    <a:gd name="T6" fmla="*/ 84 w 599"/>
                    <a:gd name="T7" fmla="*/ 461 h 599"/>
                    <a:gd name="T8" fmla="*/ 52 w 599"/>
                    <a:gd name="T9" fmla="*/ 405 h 599"/>
                    <a:gd name="T10" fmla="*/ 33 w 599"/>
                    <a:gd name="T11" fmla="*/ 341 h 599"/>
                    <a:gd name="T12" fmla="*/ 31 w 599"/>
                    <a:gd name="T13" fmla="*/ 272 h 599"/>
                    <a:gd name="T14" fmla="*/ 46 w 599"/>
                    <a:gd name="T15" fmla="*/ 207 h 599"/>
                    <a:gd name="T16" fmla="*/ 76 w 599"/>
                    <a:gd name="T17" fmla="*/ 149 h 599"/>
                    <a:gd name="T18" fmla="*/ 118 w 599"/>
                    <a:gd name="T19" fmla="*/ 100 h 599"/>
                    <a:gd name="T20" fmla="*/ 171 w 599"/>
                    <a:gd name="T21" fmla="*/ 62 h 599"/>
                    <a:gd name="T22" fmla="*/ 233 w 599"/>
                    <a:gd name="T23" fmla="*/ 39 h 599"/>
                    <a:gd name="T24" fmla="*/ 299 w 599"/>
                    <a:gd name="T25" fmla="*/ 30 h 599"/>
                    <a:gd name="T26" fmla="*/ 366 w 599"/>
                    <a:gd name="T27" fmla="*/ 39 h 599"/>
                    <a:gd name="T28" fmla="*/ 427 w 599"/>
                    <a:gd name="T29" fmla="*/ 62 h 599"/>
                    <a:gd name="T30" fmla="*/ 480 w 599"/>
                    <a:gd name="T31" fmla="*/ 100 h 599"/>
                    <a:gd name="T32" fmla="*/ 523 w 599"/>
                    <a:gd name="T33" fmla="*/ 149 h 599"/>
                    <a:gd name="T34" fmla="*/ 553 w 599"/>
                    <a:gd name="T35" fmla="*/ 207 h 599"/>
                    <a:gd name="T36" fmla="*/ 568 w 599"/>
                    <a:gd name="T37" fmla="*/ 272 h 599"/>
                    <a:gd name="T38" fmla="*/ 566 w 599"/>
                    <a:gd name="T39" fmla="*/ 341 h 599"/>
                    <a:gd name="T40" fmla="*/ 547 w 599"/>
                    <a:gd name="T41" fmla="*/ 405 h 599"/>
                    <a:gd name="T42" fmla="*/ 515 w 599"/>
                    <a:gd name="T43" fmla="*/ 461 h 599"/>
                    <a:gd name="T44" fmla="*/ 470 w 599"/>
                    <a:gd name="T45" fmla="*/ 508 h 599"/>
                    <a:gd name="T46" fmla="*/ 416 w 599"/>
                    <a:gd name="T47" fmla="*/ 542 h 599"/>
                    <a:gd name="T48" fmla="*/ 354 w 599"/>
                    <a:gd name="T49" fmla="*/ 563 h 599"/>
                    <a:gd name="T50" fmla="*/ 299 w 599"/>
                    <a:gd name="T51" fmla="*/ 0 h 599"/>
                    <a:gd name="T52" fmla="*/ 225 w 599"/>
                    <a:gd name="T53" fmla="*/ 10 h 599"/>
                    <a:gd name="T54" fmla="*/ 157 w 599"/>
                    <a:gd name="T55" fmla="*/ 37 h 599"/>
                    <a:gd name="T56" fmla="*/ 98 w 599"/>
                    <a:gd name="T57" fmla="*/ 79 h 599"/>
                    <a:gd name="T58" fmla="*/ 52 w 599"/>
                    <a:gd name="T59" fmla="*/ 132 h 599"/>
                    <a:gd name="T60" fmla="*/ 18 w 599"/>
                    <a:gd name="T61" fmla="*/ 196 h 599"/>
                    <a:gd name="T62" fmla="*/ 1 w 599"/>
                    <a:gd name="T63" fmla="*/ 269 h 599"/>
                    <a:gd name="T64" fmla="*/ 3 w 599"/>
                    <a:gd name="T65" fmla="*/ 345 h 599"/>
                    <a:gd name="T66" fmla="*/ 24 w 599"/>
                    <a:gd name="T67" fmla="*/ 416 h 599"/>
                    <a:gd name="T68" fmla="*/ 59 w 599"/>
                    <a:gd name="T69" fmla="*/ 479 h 599"/>
                    <a:gd name="T70" fmla="*/ 109 w 599"/>
                    <a:gd name="T71" fmla="*/ 530 h 599"/>
                    <a:gd name="T72" fmla="*/ 169 w 599"/>
                    <a:gd name="T73" fmla="*/ 570 h 599"/>
                    <a:gd name="T74" fmla="*/ 239 w 599"/>
                    <a:gd name="T75" fmla="*/ 592 h 599"/>
                    <a:gd name="T76" fmla="*/ 315 w 599"/>
                    <a:gd name="T77" fmla="*/ 599 h 599"/>
                    <a:gd name="T78" fmla="*/ 388 w 599"/>
                    <a:gd name="T79" fmla="*/ 585 h 599"/>
                    <a:gd name="T80" fmla="*/ 454 w 599"/>
                    <a:gd name="T81" fmla="*/ 556 h 599"/>
                    <a:gd name="T82" fmla="*/ 511 w 599"/>
                    <a:gd name="T83" fmla="*/ 511 h 599"/>
                    <a:gd name="T84" fmla="*/ 555 w 599"/>
                    <a:gd name="T85" fmla="*/ 455 h 599"/>
                    <a:gd name="T86" fmla="*/ 585 w 599"/>
                    <a:gd name="T87" fmla="*/ 389 h 599"/>
                    <a:gd name="T88" fmla="*/ 599 w 599"/>
                    <a:gd name="T89" fmla="*/ 315 h 599"/>
                    <a:gd name="T90" fmla="*/ 592 w 599"/>
                    <a:gd name="T91" fmla="*/ 239 h 599"/>
                    <a:gd name="T92" fmla="*/ 569 w 599"/>
                    <a:gd name="T93" fmla="*/ 169 h 599"/>
                    <a:gd name="T94" fmla="*/ 530 w 599"/>
                    <a:gd name="T95" fmla="*/ 110 h 599"/>
                    <a:gd name="T96" fmla="*/ 479 w 599"/>
                    <a:gd name="T97" fmla="*/ 59 h 599"/>
                    <a:gd name="T98" fmla="*/ 416 w 599"/>
                    <a:gd name="T99" fmla="*/ 24 h 599"/>
                    <a:gd name="T100" fmla="*/ 345 w 599"/>
                    <a:gd name="T101" fmla="*/ 4 h 5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599" h="599">
                      <a:moveTo>
                        <a:pt x="299" y="569"/>
                      </a:moveTo>
                      <a:lnTo>
                        <a:pt x="285" y="569"/>
                      </a:lnTo>
                      <a:lnTo>
                        <a:pt x="272" y="568"/>
                      </a:lnTo>
                      <a:lnTo>
                        <a:pt x="258" y="566"/>
                      </a:lnTo>
                      <a:lnTo>
                        <a:pt x="245" y="563"/>
                      </a:lnTo>
                      <a:lnTo>
                        <a:pt x="233" y="560"/>
                      </a:lnTo>
                      <a:lnTo>
                        <a:pt x="220" y="557"/>
                      </a:lnTo>
                      <a:lnTo>
                        <a:pt x="207" y="553"/>
                      </a:lnTo>
                      <a:lnTo>
                        <a:pt x="194" y="547"/>
                      </a:lnTo>
                      <a:lnTo>
                        <a:pt x="182" y="542"/>
                      </a:lnTo>
                      <a:lnTo>
                        <a:pt x="171" y="537"/>
                      </a:lnTo>
                      <a:lnTo>
                        <a:pt x="160" y="530"/>
                      </a:lnTo>
                      <a:lnTo>
                        <a:pt x="149" y="523"/>
                      </a:lnTo>
                      <a:lnTo>
                        <a:pt x="138" y="515"/>
                      </a:lnTo>
                      <a:lnTo>
                        <a:pt x="128" y="508"/>
                      </a:lnTo>
                      <a:lnTo>
                        <a:pt x="118" y="499"/>
                      </a:lnTo>
                      <a:lnTo>
                        <a:pt x="108" y="491"/>
                      </a:lnTo>
                      <a:lnTo>
                        <a:pt x="100" y="481"/>
                      </a:lnTo>
                      <a:lnTo>
                        <a:pt x="91" y="471"/>
                      </a:lnTo>
                      <a:lnTo>
                        <a:pt x="84" y="461"/>
                      </a:lnTo>
                      <a:lnTo>
                        <a:pt x="76" y="450"/>
                      </a:lnTo>
                      <a:lnTo>
                        <a:pt x="69" y="439"/>
                      </a:lnTo>
                      <a:lnTo>
                        <a:pt x="62" y="429"/>
                      </a:lnTo>
                      <a:lnTo>
                        <a:pt x="57" y="417"/>
                      </a:lnTo>
                      <a:lnTo>
                        <a:pt x="52" y="405"/>
                      </a:lnTo>
                      <a:lnTo>
                        <a:pt x="46" y="392"/>
                      </a:lnTo>
                      <a:lnTo>
                        <a:pt x="42" y="379"/>
                      </a:lnTo>
                      <a:lnTo>
                        <a:pt x="39" y="368"/>
                      </a:lnTo>
                      <a:lnTo>
                        <a:pt x="36" y="354"/>
                      </a:lnTo>
                      <a:lnTo>
                        <a:pt x="33" y="341"/>
                      </a:lnTo>
                      <a:lnTo>
                        <a:pt x="31" y="327"/>
                      </a:lnTo>
                      <a:lnTo>
                        <a:pt x="30" y="313"/>
                      </a:lnTo>
                      <a:lnTo>
                        <a:pt x="30" y="299"/>
                      </a:lnTo>
                      <a:lnTo>
                        <a:pt x="30" y="285"/>
                      </a:lnTo>
                      <a:lnTo>
                        <a:pt x="31" y="272"/>
                      </a:lnTo>
                      <a:lnTo>
                        <a:pt x="33" y="258"/>
                      </a:lnTo>
                      <a:lnTo>
                        <a:pt x="36" y="245"/>
                      </a:lnTo>
                      <a:lnTo>
                        <a:pt x="39" y="233"/>
                      </a:lnTo>
                      <a:lnTo>
                        <a:pt x="42" y="220"/>
                      </a:lnTo>
                      <a:lnTo>
                        <a:pt x="46" y="207"/>
                      </a:lnTo>
                      <a:lnTo>
                        <a:pt x="52" y="195"/>
                      </a:lnTo>
                      <a:lnTo>
                        <a:pt x="57" y="182"/>
                      </a:lnTo>
                      <a:lnTo>
                        <a:pt x="62" y="172"/>
                      </a:lnTo>
                      <a:lnTo>
                        <a:pt x="69" y="160"/>
                      </a:lnTo>
                      <a:lnTo>
                        <a:pt x="76" y="149"/>
                      </a:lnTo>
                      <a:lnTo>
                        <a:pt x="84" y="138"/>
                      </a:lnTo>
                      <a:lnTo>
                        <a:pt x="91" y="129"/>
                      </a:lnTo>
                      <a:lnTo>
                        <a:pt x="100" y="118"/>
                      </a:lnTo>
                      <a:lnTo>
                        <a:pt x="108" y="110"/>
                      </a:lnTo>
                      <a:lnTo>
                        <a:pt x="118" y="100"/>
                      </a:lnTo>
                      <a:lnTo>
                        <a:pt x="128" y="91"/>
                      </a:lnTo>
                      <a:lnTo>
                        <a:pt x="138" y="84"/>
                      </a:lnTo>
                      <a:lnTo>
                        <a:pt x="149" y="76"/>
                      </a:lnTo>
                      <a:lnTo>
                        <a:pt x="160" y="69"/>
                      </a:lnTo>
                      <a:lnTo>
                        <a:pt x="171" y="62"/>
                      </a:lnTo>
                      <a:lnTo>
                        <a:pt x="182" y="57"/>
                      </a:lnTo>
                      <a:lnTo>
                        <a:pt x="194" y="52"/>
                      </a:lnTo>
                      <a:lnTo>
                        <a:pt x="207" y="46"/>
                      </a:lnTo>
                      <a:lnTo>
                        <a:pt x="220" y="42"/>
                      </a:lnTo>
                      <a:lnTo>
                        <a:pt x="233" y="39"/>
                      </a:lnTo>
                      <a:lnTo>
                        <a:pt x="245" y="36"/>
                      </a:lnTo>
                      <a:lnTo>
                        <a:pt x="258" y="34"/>
                      </a:lnTo>
                      <a:lnTo>
                        <a:pt x="272" y="31"/>
                      </a:lnTo>
                      <a:lnTo>
                        <a:pt x="285" y="30"/>
                      </a:lnTo>
                      <a:lnTo>
                        <a:pt x="299" y="30"/>
                      </a:lnTo>
                      <a:lnTo>
                        <a:pt x="313" y="30"/>
                      </a:lnTo>
                      <a:lnTo>
                        <a:pt x="327" y="31"/>
                      </a:lnTo>
                      <a:lnTo>
                        <a:pt x="341" y="34"/>
                      </a:lnTo>
                      <a:lnTo>
                        <a:pt x="354" y="36"/>
                      </a:lnTo>
                      <a:lnTo>
                        <a:pt x="366" y="39"/>
                      </a:lnTo>
                      <a:lnTo>
                        <a:pt x="379" y="42"/>
                      </a:lnTo>
                      <a:lnTo>
                        <a:pt x="392" y="46"/>
                      </a:lnTo>
                      <a:lnTo>
                        <a:pt x="404" y="52"/>
                      </a:lnTo>
                      <a:lnTo>
                        <a:pt x="416" y="57"/>
                      </a:lnTo>
                      <a:lnTo>
                        <a:pt x="427" y="62"/>
                      </a:lnTo>
                      <a:lnTo>
                        <a:pt x="439" y="69"/>
                      </a:lnTo>
                      <a:lnTo>
                        <a:pt x="450" y="76"/>
                      </a:lnTo>
                      <a:lnTo>
                        <a:pt x="461" y="84"/>
                      </a:lnTo>
                      <a:lnTo>
                        <a:pt x="470" y="91"/>
                      </a:lnTo>
                      <a:lnTo>
                        <a:pt x="480" y="100"/>
                      </a:lnTo>
                      <a:lnTo>
                        <a:pt x="490" y="110"/>
                      </a:lnTo>
                      <a:lnTo>
                        <a:pt x="499" y="118"/>
                      </a:lnTo>
                      <a:lnTo>
                        <a:pt x="507" y="129"/>
                      </a:lnTo>
                      <a:lnTo>
                        <a:pt x="515" y="138"/>
                      </a:lnTo>
                      <a:lnTo>
                        <a:pt x="523" y="149"/>
                      </a:lnTo>
                      <a:lnTo>
                        <a:pt x="530" y="160"/>
                      </a:lnTo>
                      <a:lnTo>
                        <a:pt x="537" y="172"/>
                      </a:lnTo>
                      <a:lnTo>
                        <a:pt x="542" y="182"/>
                      </a:lnTo>
                      <a:lnTo>
                        <a:pt x="547" y="195"/>
                      </a:lnTo>
                      <a:lnTo>
                        <a:pt x="553" y="207"/>
                      </a:lnTo>
                      <a:lnTo>
                        <a:pt x="557" y="220"/>
                      </a:lnTo>
                      <a:lnTo>
                        <a:pt x="560" y="233"/>
                      </a:lnTo>
                      <a:lnTo>
                        <a:pt x="563" y="245"/>
                      </a:lnTo>
                      <a:lnTo>
                        <a:pt x="566" y="258"/>
                      </a:lnTo>
                      <a:lnTo>
                        <a:pt x="568" y="272"/>
                      </a:lnTo>
                      <a:lnTo>
                        <a:pt x="569" y="285"/>
                      </a:lnTo>
                      <a:lnTo>
                        <a:pt x="569" y="299"/>
                      </a:lnTo>
                      <a:lnTo>
                        <a:pt x="569" y="313"/>
                      </a:lnTo>
                      <a:lnTo>
                        <a:pt x="568" y="327"/>
                      </a:lnTo>
                      <a:lnTo>
                        <a:pt x="566" y="341"/>
                      </a:lnTo>
                      <a:lnTo>
                        <a:pt x="563" y="354"/>
                      </a:lnTo>
                      <a:lnTo>
                        <a:pt x="560" y="368"/>
                      </a:lnTo>
                      <a:lnTo>
                        <a:pt x="557" y="379"/>
                      </a:lnTo>
                      <a:lnTo>
                        <a:pt x="553" y="392"/>
                      </a:lnTo>
                      <a:lnTo>
                        <a:pt x="547" y="405"/>
                      </a:lnTo>
                      <a:lnTo>
                        <a:pt x="542" y="417"/>
                      </a:lnTo>
                      <a:lnTo>
                        <a:pt x="537" y="429"/>
                      </a:lnTo>
                      <a:lnTo>
                        <a:pt x="530" y="439"/>
                      </a:lnTo>
                      <a:lnTo>
                        <a:pt x="523" y="450"/>
                      </a:lnTo>
                      <a:lnTo>
                        <a:pt x="515" y="461"/>
                      </a:lnTo>
                      <a:lnTo>
                        <a:pt x="507" y="471"/>
                      </a:lnTo>
                      <a:lnTo>
                        <a:pt x="499" y="481"/>
                      </a:lnTo>
                      <a:lnTo>
                        <a:pt x="490" y="491"/>
                      </a:lnTo>
                      <a:lnTo>
                        <a:pt x="480" y="499"/>
                      </a:lnTo>
                      <a:lnTo>
                        <a:pt x="470" y="508"/>
                      </a:lnTo>
                      <a:lnTo>
                        <a:pt x="461" y="515"/>
                      </a:lnTo>
                      <a:lnTo>
                        <a:pt x="450" y="523"/>
                      </a:lnTo>
                      <a:lnTo>
                        <a:pt x="439" y="530"/>
                      </a:lnTo>
                      <a:lnTo>
                        <a:pt x="427" y="537"/>
                      </a:lnTo>
                      <a:lnTo>
                        <a:pt x="416" y="542"/>
                      </a:lnTo>
                      <a:lnTo>
                        <a:pt x="404" y="547"/>
                      </a:lnTo>
                      <a:lnTo>
                        <a:pt x="392" y="553"/>
                      </a:lnTo>
                      <a:lnTo>
                        <a:pt x="379" y="557"/>
                      </a:lnTo>
                      <a:lnTo>
                        <a:pt x="366" y="560"/>
                      </a:lnTo>
                      <a:lnTo>
                        <a:pt x="354" y="563"/>
                      </a:lnTo>
                      <a:lnTo>
                        <a:pt x="341" y="566"/>
                      </a:lnTo>
                      <a:lnTo>
                        <a:pt x="327" y="568"/>
                      </a:lnTo>
                      <a:lnTo>
                        <a:pt x="313" y="569"/>
                      </a:lnTo>
                      <a:lnTo>
                        <a:pt x="299" y="569"/>
                      </a:lnTo>
                      <a:close/>
                      <a:moveTo>
                        <a:pt x="299" y="0"/>
                      </a:moveTo>
                      <a:lnTo>
                        <a:pt x="284" y="0"/>
                      </a:lnTo>
                      <a:lnTo>
                        <a:pt x="269" y="1"/>
                      </a:lnTo>
                      <a:lnTo>
                        <a:pt x="254" y="4"/>
                      </a:lnTo>
                      <a:lnTo>
                        <a:pt x="239" y="6"/>
                      </a:lnTo>
                      <a:lnTo>
                        <a:pt x="225" y="10"/>
                      </a:lnTo>
                      <a:lnTo>
                        <a:pt x="210" y="13"/>
                      </a:lnTo>
                      <a:lnTo>
                        <a:pt x="196" y="19"/>
                      </a:lnTo>
                      <a:lnTo>
                        <a:pt x="183" y="24"/>
                      </a:lnTo>
                      <a:lnTo>
                        <a:pt x="169" y="29"/>
                      </a:lnTo>
                      <a:lnTo>
                        <a:pt x="157" y="37"/>
                      </a:lnTo>
                      <a:lnTo>
                        <a:pt x="144" y="43"/>
                      </a:lnTo>
                      <a:lnTo>
                        <a:pt x="132" y="52"/>
                      </a:lnTo>
                      <a:lnTo>
                        <a:pt x="120" y="59"/>
                      </a:lnTo>
                      <a:lnTo>
                        <a:pt x="109" y="69"/>
                      </a:lnTo>
                      <a:lnTo>
                        <a:pt x="98" y="79"/>
                      </a:lnTo>
                      <a:lnTo>
                        <a:pt x="88" y="88"/>
                      </a:lnTo>
                      <a:lnTo>
                        <a:pt x="77" y="99"/>
                      </a:lnTo>
                      <a:lnTo>
                        <a:pt x="69" y="110"/>
                      </a:lnTo>
                      <a:lnTo>
                        <a:pt x="59" y="120"/>
                      </a:lnTo>
                      <a:lnTo>
                        <a:pt x="52" y="132"/>
                      </a:lnTo>
                      <a:lnTo>
                        <a:pt x="43" y="145"/>
                      </a:lnTo>
                      <a:lnTo>
                        <a:pt x="37" y="157"/>
                      </a:lnTo>
                      <a:lnTo>
                        <a:pt x="29" y="169"/>
                      </a:lnTo>
                      <a:lnTo>
                        <a:pt x="24" y="183"/>
                      </a:lnTo>
                      <a:lnTo>
                        <a:pt x="18" y="196"/>
                      </a:lnTo>
                      <a:lnTo>
                        <a:pt x="13" y="210"/>
                      </a:lnTo>
                      <a:lnTo>
                        <a:pt x="10" y="225"/>
                      </a:lnTo>
                      <a:lnTo>
                        <a:pt x="6" y="239"/>
                      </a:lnTo>
                      <a:lnTo>
                        <a:pt x="3" y="254"/>
                      </a:lnTo>
                      <a:lnTo>
                        <a:pt x="1" y="269"/>
                      </a:lnTo>
                      <a:lnTo>
                        <a:pt x="0" y="284"/>
                      </a:lnTo>
                      <a:lnTo>
                        <a:pt x="0" y="299"/>
                      </a:lnTo>
                      <a:lnTo>
                        <a:pt x="0" y="315"/>
                      </a:lnTo>
                      <a:lnTo>
                        <a:pt x="1" y="330"/>
                      </a:lnTo>
                      <a:lnTo>
                        <a:pt x="3" y="345"/>
                      </a:lnTo>
                      <a:lnTo>
                        <a:pt x="6" y="360"/>
                      </a:lnTo>
                      <a:lnTo>
                        <a:pt x="10" y="374"/>
                      </a:lnTo>
                      <a:lnTo>
                        <a:pt x="13" y="389"/>
                      </a:lnTo>
                      <a:lnTo>
                        <a:pt x="18" y="403"/>
                      </a:lnTo>
                      <a:lnTo>
                        <a:pt x="24" y="416"/>
                      </a:lnTo>
                      <a:lnTo>
                        <a:pt x="29" y="430"/>
                      </a:lnTo>
                      <a:lnTo>
                        <a:pt x="37" y="442"/>
                      </a:lnTo>
                      <a:lnTo>
                        <a:pt x="43" y="455"/>
                      </a:lnTo>
                      <a:lnTo>
                        <a:pt x="52" y="467"/>
                      </a:lnTo>
                      <a:lnTo>
                        <a:pt x="59" y="479"/>
                      </a:lnTo>
                      <a:lnTo>
                        <a:pt x="69" y="491"/>
                      </a:lnTo>
                      <a:lnTo>
                        <a:pt x="77" y="501"/>
                      </a:lnTo>
                      <a:lnTo>
                        <a:pt x="88" y="511"/>
                      </a:lnTo>
                      <a:lnTo>
                        <a:pt x="98" y="522"/>
                      </a:lnTo>
                      <a:lnTo>
                        <a:pt x="109" y="530"/>
                      </a:lnTo>
                      <a:lnTo>
                        <a:pt x="120" y="540"/>
                      </a:lnTo>
                      <a:lnTo>
                        <a:pt x="132" y="547"/>
                      </a:lnTo>
                      <a:lnTo>
                        <a:pt x="144" y="556"/>
                      </a:lnTo>
                      <a:lnTo>
                        <a:pt x="157" y="562"/>
                      </a:lnTo>
                      <a:lnTo>
                        <a:pt x="169" y="570"/>
                      </a:lnTo>
                      <a:lnTo>
                        <a:pt x="183" y="575"/>
                      </a:lnTo>
                      <a:lnTo>
                        <a:pt x="196" y="581"/>
                      </a:lnTo>
                      <a:lnTo>
                        <a:pt x="210" y="585"/>
                      </a:lnTo>
                      <a:lnTo>
                        <a:pt x="225" y="589"/>
                      </a:lnTo>
                      <a:lnTo>
                        <a:pt x="239" y="592"/>
                      </a:lnTo>
                      <a:lnTo>
                        <a:pt x="254" y="596"/>
                      </a:lnTo>
                      <a:lnTo>
                        <a:pt x="269" y="598"/>
                      </a:lnTo>
                      <a:lnTo>
                        <a:pt x="284" y="599"/>
                      </a:lnTo>
                      <a:lnTo>
                        <a:pt x="299" y="599"/>
                      </a:lnTo>
                      <a:lnTo>
                        <a:pt x="315" y="599"/>
                      </a:lnTo>
                      <a:lnTo>
                        <a:pt x="330" y="598"/>
                      </a:lnTo>
                      <a:lnTo>
                        <a:pt x="345" y="596"/>
                      </a:lnTo>
                      <a:lnTo>
                        <a:pt x="360" y="592"/>
                      </a:lnTo>
                      <a:lnTo>
                        <a:pt x="374" y="589"/>
                      </a:lnTo>
                      <a:lnTo>
                        <a:pt x="388" y="585"/>
                      </a:lnTo>
                      <a:lnTo>
                        <a:pt x="402" y="581"/>
                      </a:lnTo>
                      <a:lnTo>
                        <a:pt x="416" y="575"/>
                      </a:lnTo>
                      <a:lnTo>
                        <a:pt x="429" y="570"/>
                      </a:lnTo>
                      <a:lnTo>
                        <a:pt x="442" y="562"/>
                      </a:lnTo>
                      <a:lnTo>
                        <a:pt x="454" y="556"/>
                      </a:lnTo>
                      <a:lnTo>
                        <a:pt x="467" y="547"/>
                      </a:lnTo>
                      <a:lnTo>
                        <a:pt x="479" y="540"/>
                      </a:lnTo>
                      <a:lnTo>
                        <a:pt x="490" y="530"/>
                      </a:lnTo>
                      <a:lnTo>
                        <a:pt x="500" y="522"/>
                      </a:lnTo>
                      <a:lnTo>
                        <a:pt x="511" y="511"/>
                      </a:lnTo>
                      <a:lnTo>
                        <a:pt x="521" y="501"/>
                      </a:lnTo>
                      <a:lnTo>
                        <a:pt x="530" y="491"/>
                      </a:lnTo>
                      <a:lnTo>
                        <a:pt x="539" y="479"/>
                      </a:lnTo>
                      <a:lnTo>
                        <a:pt x="547" y="467"/>
                      </a:lnTo>
                      <a:lnTo>
                        <a:pt x="555" y="455"/>
                      </a:lnTo>
                      <a:lnTo>
                        <a:pt x="562" y="442"/>
                      </a:lnTo>
                      <a:lnTo>
                        <a:pt x="569" y="430"/>
                      </a:lnTo>
                      <a:lnTo>
                        <a:pt x="575" y="416"/>
                      </a:lnTo>
                      <a:lnTo>
                        <a:pt x="581" y="403"/>
                      </a:lnTo>
                      <a:lnTo>
                        <a:pt x="585" y="389"/>
                      </a:lnTo>
                      <a:lnTo>
                        <a:pt x="589" y="374"/>
                      </a:lnTo>
                      <a:lnTo>
                        <a:pt x="592" y="360"/>
                      </a:lnTo>
                      <a:lnTo>
                        <a:pt x="596" y="345"/>
                      </a:lnTo>
                      <a:lnTo>
                        <a:pt x="598" y="330"/>
                      </a:lnTo>
                      <a:lnTo>
                        <a:pt x="599" y="315"/>
                      </a:lnTo>
                      <a:lnTo>
                        <a:pt x="599" y="299"/>
                      </a:lnTo>
                      <a:lnTo>
                        <a:pt x="599" y="284"/>
                      </a:lnTo>
                      <a:lnTo>
                        <a:pt x="598" y="269"/>
                      </a:lnTo>
                      <a:lnTo>
                        <a:pt x="596" y="254"/>
                      </a:lnTo>
                      <a:lnTo>
                        <a:pt x="592" y="239"/>
                      </a:lnTo>
                      <a:lnTo>
                        <a:pt x="589" y="225"/>
                      </a:lnTo>
                      <a:lnTo>
                        <a:pt x="585" y="210"/>
                      </a:lnTo>
                      <a:lnTo>
                        <a:pt x="581" y="196"/>
                      </a:lnTo>
                      <a:lnTo>
                        <a:pt x="575" y="183"/>
                      </a:lnTo>
                      <a:lnTo>
                        <a:pt x="569" y="169"/>
                      </a:lnTo>
                      <a:lnTo>
                        <a:pt x="562" y="157"/>
                      </a:lnTo>
                      <a:lnTo>
                        <a:pt x="555" y="145"/>
                      </a:lnTo>
                      <a:lnTo>
                        <a:pt x="547" y="132"/>
                      </a:lnTo>
                      <a:lnTo>
                        <a:pt x="539" y="120"/>
                      </a:lnTo>
                      <a:lnTo>
                        <a:pt x="530" y="110"/>
                      </a:lnTo>
                      <a:lnTo>
                        <a:pt x="521" y="99"/>
                      </a:lnTo>
                      <a:lnTo>
                        <a:pt x="511" y="88"/>
                      </a:lnTo>
                      <a:lnTo>
                        <a:pt x="500" y="79"/>
                      </a:lnTo>
                      <a:lnTo>
                        <a:pt x="490" y="69"/>
                      </a:lnTo>
                      <a:lnTo>
                        <a:pt x="479" y="59"/>
                      </a:lnTo>
                      <a:lnTo>
                        <a:pt x="467" y="52"/>
                      </a:lnTo>
                      <a:lnTo>
                        <a:pt x="454" y="43"/>
                      </a:lnTo>
                      <a:lnTo>
                        <a:pt x="442" y="37"/>
                      </a:lnTo>
                      <a:lnTo>
                        <a:pt x="429" y="29"/>
                      </a:lnTo>
                      <a:lnTo>
                        <a:pt x="416" y="24"/>
                      </a:lnTo>
                      <a:lnTo>
                        <a:pt x="402" y="19"/>
                      </a:lnTo>
                      <a:lnTo>
                        <a:pt x="388" y="13"/>
                      </a:lnTo>
                      <a:lnTo>
                        <a:pt x="374" y="10"/>
                      </a:lnTo>
                      <a:lnTo>
                        <a:pt x="360" y="6"/>
                      </a:lnTo>
                      <a:lnTo>
                        <a:pt x="345" y="4"/>
                      </a:lnTo>
                      <a:lnTo>
                        <a:pt x="330" y="1"/>
                      </a:lnTo>
                      <a:lnTo>
                        <a:pt x="315" y="0"/>
                      </a:lnTo>
                      <a:lnTo>
                        <a:pt x="299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99" name="Freeform 55">
                  <a:extLst>
                    <a:ext uri="{FF2B5EF4-FFF2-40B4-BE49-F238E27FC236}">
                      <a16:creationId xmlns:a16="http://schemas.microsoft.com/office/drawing/2014/main" id="{9C387119-7F69-4F2E-890F-53393FA943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2613" y="903288"/>
                  <a:ext cx="28575" cy="9525"/>
                </a:xfrm>
                <a:custGeom>
                  <a:avLst/>
                  <a:gdLst>
                    <a:gd name="T0" fmla="*/ 75 w 90"/>
                    <a:gd name="T1" fmla="*/ 0 h 30"/>
                    <a:gd name="T2" fmla="*/ 15 w 90"/>
                    <a:gd name="T3" fmla="*/ 0 h 30"/>
                    <a:gd name="T4" fmla="*/ 12 w 90"/>
                    <a:gd name="T5" fmla="*/ 1 h 30"/>
                    <a:gd name="T6" fmla="*/ 8 w 90"/>
                    <a:gd name="T7" fmla="*/ 2 h 30"/>
                    <a:gd name="T8" fmla="*/ 6 w 90"/>
                    <a:gd name="T9" fmla="*/ 3 h 30"/>
                    <a:gd name="T10" fmla="*/ 4 w 90"/>
                    <a:gd name="T11" fmla="*/ 5 h 30"/>
                    <a:gd name="T12" fmla="*/ 2 w 90"/>
                    <a:gd name="T13" fmla="*/ 8 h 30"/>
                    <a:gd name="T14" fmla="*/ 1 w 90"/>
                    <a:gd name="T15" fmla="*/ 10 h 30"/>
                    <a:gd name="T16" fmla="*/ 0 w 90"/>
                    <a:gd name="T17" fmla="*/ 13 h 30"/>
                    <a:gd name="T18" fmla="*/ 0 w 90"/>
                    <a:gd name="T19" fmla="*/ 15 h 30"/>
                    <a:gd name="T20" fmla="*/ 0 w 90"/>
                    <a:gd name="T21" fmla="*/ 18 h 30"/>
                    <a:gd name="T22" fmla="*/ 1 w 90"/>
                    <a:gd name="T23" fmla="*/ 21 h 30"/>
                    <a:gd name="T24" fmla="*/ 2 w 90"/>
                    <a:gd name="T25" fmla="*/ 24 h 30"/>
                    <a:gd name="T26" fmla="*/ 4 w 90"/>
                    <a:gd name="T27" fmla="*/ 26 h 30"/>
                    <a:gd name="T28" fmla="*/ 6 w 90"/>
                    <a:gd name="T29" fmla="*/ 28 h 30"/>
                    <a:gd name="T30" fmla="*/ 8 w 90"/>
                    <a:gd name="T31" fmla="*/ 29 h 30"/>
                    <a:gd name="T32" fmla="*/ 12 w 90"/>
                    <a:gd name="T33" fmla="*/ 30 h 30"/>
                    <a:gd name="T34" fmla="*/ 15 w 90"/>
                    <a:gd name="T35" fmla="*/ 30 h 30"/>
                    <a:gd name="T36" fmla="*/ 75 w 90"/>
                    <a:gd name="T37" fmla="*/ 30 h 30"/>
                    <a:gd name="T38" fmla="*/ 78 w 90"/>
                    <a:gd name="T39" fmla="*/ 30 h 30"/>
                    <a:gd name="T40" fmla="*/ 80 w 90"/>
                    <a:gd name="T41" fmla="*/ 29 h 30"/>
                    <a:gd name="T42" fmla="*/ 83 w 90"/>
                    <a:gd name="T43" fmla="*/ 28 h 30"/>
                    <a:gd name="T44" fmla="*/ 85 w 90"/>
                    <a:gd name="T45" fmla="*/ 26 h 30"/>
                    <a:gd name="T46" fmla="*/ 86 w 90"/>
                    <a:gd name="T47" fmla="*/ 24 h 30"/>
                    <a:gd name="T48" fmla="*/ 89 w 90"/>
                    <a:gd name="T49" fmla="*/ 21 h 30"/>
                    <a:gd name="T50" fmla="*/ 90 w 90"/>
                    <a:gd name="T51" fmla="*/ 18 h 30"/>
                    <a:gd name="T52" fmla="*/ 90 w 90"/>
                    <a:gd name="T53" fmla="*/ 15 h 30"/>
                    <a:gd name="T54" fmla="*/ 90 w 90"/>
                    <a:gd name="T55" fmla="*/ 13 h 30"/>
                    <a:gd name="T56" fmla="*/ 89 w 90"/>
                    <a:gd name="T57" fmla="*/ 10 h 30"/>
                    <a:gd name="T58" fmla="*/ 86 w 90"/>
                    <a:gd name="T59" fmla="*/ 8 h 30"/>
                    <a:gd name="T60" fmla="*/ 85 w 90"/>
                    <a:gd name="T61" fmla="*/ 5 h 30"/>
                    <a:gd name="T62" fmla="*/ 83 w 90"/>
                    <a:gd name="T63" fmla="*/ 3 h 30"/>
                    <a:gd name="T64" fmla="*/ 80 w 90"/>
                    <a:gd name="T65" fmla="*/ 2 h 30"/>
                    <a:gd name="T66" fmla="*/ 78 w 90"/>
                    <a:gd name="T67" fmla="*/ 1 h 30"/>
                    <a:gd name="T68" fmla="*/ 75 w 90"/>
                    <a:gd name="T69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90" h="30">
                      <a:moveTo>
                        <a:pt x="75" y="0"/>
                      </a:moveTo>
                      <a:lnTo>
                        <a:pt x="15" y="0"/>
                      </a:lnTo>
                      <a:lnTo>
                        <a:pt x="12" y="1"/>
                      </a:lnTo>
                      <a:lnTo>
                        <a:pt x="8" y="2"/>
                      </a:lnTo>
                      <a:lnTo>
                        <a:pt x="6" y="3"/>
                      </a:lnTo>
                      <a:lnTo>
                        <a:pt x="4" y="5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0" y="13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1"/>
                      </a:lnTo>
                      <a:lnTo>
                        <a:pt x="2" y="24"/>
                      </a:lnTo>
                      <a:lnTo>
                        <a:pt x="4" y="26"/>
                      </a:lnTo>
                      <a:lnTo>
                        <a:pt x="6" y="28"/>
                      </a:lnTo>
                      <a:lnTo>
                        <a:pt x="8" y="29"/>
                      </a:lnTo>
                      <a:lnTo>
                        <a:pt x="12" y="30"/>
                      </a:lnTo>
                      <a:lnTo>
                        <a:pt x="15" y="30"/>
                      </a:lnTo>
                      <a:lnTo>
                        <a:pt x="75" y="30"/>
                      </a:lnTo>
                      <a:lnTo>
                        <a:pt x="78" y="30"/>
                      </a:lnTo>
                      <a:lnTo>
                        <a:pt x="80" y="29"/>
                      </a:lnTo>
                      <a:lnTo>
                        <a:pt x="83" y="28"/>
                      </a:lnTo>
                      <a:lnTo>
                        <a:pt x="85" y="26"/>
                      </a:lnTo>
                      <a:lnTo>
                        <a:pt x="86" y="24"/>
                      </a:lnTo>
                      <a:lnTo>
                        <a:pt x="89" y="21"/>
                      </a:lnTo>
                      <a:lnTo>
                        <a:pt x="90" y="18"/>
                      </a:lnTo>
                      <a:lnTo>
                        <a:pt x="90" y="15"/>
                      </a:lnTo>
                      <a:lnTo>
                        <a:pt x="90" y="13"/>
                      </a:lnTo>
                      <a:lnTo>
                        <a:pt x="89" y="10"/>
                      </a:lnTo>
                      <a:lnTo>
                        <a:pt x="86" y="8"/>
                      </a:lnTo>
                      <a:lnTo>
                        <a:pt x="85" y="5"/>
                      </a:lnTo>
                      <a:lnTo>
                        <a:pt x="83" y="3"/>
                      </a:lnTo>
                      <a:lnTo>
                        <a:pt x="80" y="2"/>
                      </a:lnTo>
                      <a:lnTo>
                        <a:pt x="78" y="1"/>
                      </a:lnTo>
                      <a:lnTo>
                        <a:pt x="7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0" name="Freeform 56">
                  <a:extLst>
                    <a:ext uri="{FF2B5EF4-FFF2-40B4-BE49-F238E27FC236}">
                      <a16:creationId xmlns:a16="http://schemas.microsoft.com/office/drawing/2014/main" id="{A6AD6C70-8645-4B93-880A-D6F3F9B610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8313" y="769938"/>
                  <a:ext cx="9525" cy="28575"/>
                </a:xfrm>
                <a:custGeom>
                  <a:avLst/>
                  <a:gdLst>
                    <a:gd name="T0" fmla="*/ 15 w 30"/>
                    <a:gd name="T1" fmla="*/ 89 h 89"/>
                    <a:gd name="T2" fmla="*/ 18 w 30"/>
                    <a:gd name="T3" fmla="*/ 89 h 89"/>
                    <a:gd name="T4" fmla="*/ 21 w 30"/>
                    <a:gd name="T5" fmla="*/ 88 h 89"/>
                    <a:gd name="T6" fmla="*/ 24 w 30"/>
                    <a:gd name="T7" fmla="*/ 87 h 89"/>
                    <a:gd name="T8" fmla="*/ 26 w 30"/>
                    <a:gd name="T9" fmla="*/ 85 h 89"/>
                    <a:gd name="T10" fmla="*/ 28 w 30"/>
                    <a:gd name="T11" fmla="*/ 83 h 89"/>
                    <a:gd name="T12" fmla="*/ 29 w 30"/>
                    <a:gd name="T13" fmla="*/ 81 h 89"/>
                    <a:gd name="T14" fmla="*/ 30 w 30"/>
                    <a:gd name="T15" fmla="*/ 78 h 89"/>
                    <a:gd name="T16" fmla="*/ 30 w 30"/>
                    <a:gd name="T17" fmla="*/ 74 h 89"/>
                    <a:gd name="T18" fmla="*/ 30 w 30"/>
                    <a:gd name="T19" fmla="*/ 14 h 89"/>
                    <a:gd name="T20" fmla="*/ 30 w 30"/>
                    <a:gd name="T21" fmla="*/ 11 h 89"/>
                    <a:gd name="T22" fmla="*/ 29 w 30"/>
                    <a:gd name="T23" fmla="*/ 9 h 89"/>
                    <a:gd name="T24" fmla="*/ 28 w 30"/>
                    <a:gd name="T25" fmla="*/ 6 h 89"/>
                    <a:gd name="T26" fmla="*/ 26 w 30"/>
                    <a:gd name="T27" fmla="*/ 4 h 89"/>
                    <a:gd name="T28" fmla="*/ 24 w 30"/>
                    <a:gd name="T29" fmla="*/ 2 h 89"/>
                    <a:gd name="T30" fmla="*/ 21 w 30"/>
                    <a:gd name="T31" fmla="*/ 1 h 89"/>
                    <a:gd name="T32" fmla="*/ 18 w 30"/>
                    <a:gd name="T33" fmla="*/ 0 h 89"/>
                    <a:gd name="T34" fmla="*/ 15 w 30"/>
                    <a:gd name="T35" fmla="*/ 0 h 89"/>
                    <a:gd name="T36" fmla="*/ 13 w 30"/>
                    <a:gd name="T37" fmla="*/ 0 h 89"/>
                    <a:gd name="T38" fmla="*/ 10 w 30"/>
                    <a:gd name="T39" fmla="*/ 1 h 89"/>
                    <a:gd name="T40" fmla="*/ 7 w 30"/>
                    <a:gd name="T41" fmla="*/ 2 h 89"/>
                    <a:gd name="T42" fmla="*/ 4 w 30"/>
                    <a:gd name="T43" fmla="*/ 4 h 89"/>
                    <a:gd name="T44" fmla="*/ 3 w 30"/>
                    <a:gd name="T45" fmla="*/ 6 h 89"/>
                    <a:gd name="T46" fmla="*/ 1 w 30"/>
                    <a:gd name="T47" fmla="*/ 9 h 89"/>
                    <a:gd name="T48" fmla="*/ 1 w 30"/>
                    <a:gd name="T49" fmla="*/ 11 h 89"/>
                    <a:gd name="T50" fmla="*/ 0 w 30"/>
                    <a:gd name="T51" fmla="*/ 14 h 89"/>
                    <a:gd name="T52" fmla="*/ 0 w 30"/>
                    <a:gd name="T53" fmla="*/ 74 h 89"/>
                    <a:gd name="T54" fmla="*/ 1 w 30"/>
                    <a:gd name="T55" fmla="*/ 78 h 89"/>
                    <a:gd name="T56" fmla="*/ 1 w 30"/>
                    <a:gd name="T57" fmla="*/ 81 h 89"/>
                    <a:gd name="T58" fmla="*/ 3 w 30"/>
                    <a:gd name="T59" fmla="*/ 83 h 89"/>
                    <a:gd name="T60" fmla="*/ 4 w 30"/>
                    <a:gd name="T61" fmla="*/ 85 h 89"/>
                    <a:gd name="T62" fmla="*/ 7 w 30"/>
                    <a:gd name="T63" fmla="*/ 87 h 89"/>
                    <a:gd name="T64" fmla="*/ 10 w 30"/>
                    <a:gd name="T65" fmla="*/ 88 h 89"/>
                    <a:gd name="T66" fmla="*/ 13 w 30"/>
                    <a:gd name="T67" fmla="*/ 89 h 89"/>
                    <a:gd name="T68" fmla="*/ 15 w 30"/>
                    <a:gd name="T69" fmla="*/ 89 h 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0" h="89">
                      <a:moveTo>
                        <a:pt x="15" y="89"/>
                      </a:moveTo>
                      <a:lnTo>
                        <a:pt x="18" y="89"/>
                      </a:lnTo>
                      <a:lnTo>
                        <a:pt x="21" y="88"/>
                      </a:lnTo>
                      <a:lnTo>
                        <a:pt x="24" y="87"/>
                      </a:lnTo>
                      <a:lnTo>
                        <a:pt x="26" y="85"/>
                      </a:lnTo>
                      <a:lnTo>
                        <a:pt x="28" y="83"/>
                      </a:lnTo>
                      <a:lnTo>
                        <a:pt x="29" y="81"/>
                      </a:lnTo>
                      <a:lnTo>
                        <a:pt x="30" y="78"/>
                      </a:lnTo>
                      <a:lnTo>
                        <a:pt x="30" y="74"/>
                      </a:lnTo>
                      <a:lnTo>
                        <a:pt x="30" y="14"/>
                      </a:lnTo>
                      <a:lnTo>
                        <a:pt x="30" y="11"/>
                      </a:lnTo>
                      <a:lnTo>
                        <a:pt x="29" y="9"/>
                      </a:lnTo>
                      <a:lnTo>
                        <a:pt x="28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lnTo>
                        <a:pt x="13" y="0"/>
                      </a:lnTo>
                      <a:lnTo>
                        <a:pt x="10" y="1"/>
                      </a:lnTo>
                      <a:lnTo>
                        <a:pt x="7" y="2"/>
                      </a:lnTo>
                      <a:lnTo>
                        <a:pt x="4" y="4"/>
                      </a:lnTo>
                      <a:lnTo>
                        <a:pt x="3" y="6"/>
                      </a:lnTo>
                      <a:lnTo>
                        <a:pt x="1" y="9"/>
                      </a:lnTo>
                      <a:lnTo>
                        <a:pt x="1" y="11"/>
                      </a:lnTo>
                      <a:lnTo>
                        <a:pt x="0" y="14"/>
                      </a:lnTo>
                      <a:lnTo>
                        <a:pt x="0" y="74"/>
                      </a:lnTo>
                      <a:lnTo>
                        <a:pt x="1" y="78"/>
                      </a:lnTo>
                      <a:lnTo>
                        <a:pt x="1" y="81"/>
                      </a:lnTo>
                      <a:lnTo>
                        <a:pt x="3" y="83"/>
                      </a:lnTo>
                      <a:lnTo>
                        <a:pt x="4" y="85"/>
                      </a:lnTo>
                      <a:lnTo>
                        <a:pt x="7" y="87"/>
                      </a:lnTo>
                      <a:lnTo>
                        <a:pt x="10" y="88"/>
                      </a:lnTo>
                      <a:lnTo>
                        <a:pt x="13" y="89"/>
                      </a:lnTo>
                      <a:lnTo>
                        <a:pt x="15" y="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1" name="Freeform 57">
                  <a:extLst>
                    <a:ext uri="{FF2B5EF4-FFF2-40B4-BE49-F238E27FC236}">
                      <a16:creationId xmlns:a16="http://schemas.microsoft.com/office/drawing/2014/main" id="{3BB3D28B-36D9-433E-A26E-C0386DB15F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4963" y="903288"/>
                  <a:ext cx="28575" cy="9525"/>
                </a:xfrm>
                <a:custGeom>
                  <a:avLst/>
                  <a:gdLst>
                    <a:gd name="T0" fmla="*/ 75 w 90"/>
                    <a:gd name="T1" fmla="*/ 0 h 30"/>
                    <a:gd name="T2" fmla="*/ 15 w 90"/>
                    <a:gd name="T3" fmla="*/ 0 h 30"/>
                    <a:gd name="T4" fmla="*/ 12 w 90"/>
                    <a:gd name="T5" fmla="*/ 1 h 30"/>
                    <a:gd name="T6" fmla="*/ 9 w 90"/>
                    <a:gd name="T7" fmla="*/ 2 h 30"/>
                    <a:gd name="T8" fmla="*/ 7 w 90"/>
                    <a:gd name="T9" fmla="*/ 3 h 30"/>
                    <a:gd name="T10" fmla="*/ 5 w 90"/>
                    <a:gd name="T11" fmla="*/ 5 h 30"/>
                    <a:gd name="T12" fmla="*/ 3 w 90"/>
                    <a:gd name="T13" fmla="*/ 8 h 30"/>
                    <a:gd name="T14" fmla="*/ 1 w 90"/>
                    <a:gd name="T15" fmla="*/ 10 h 30"/>
                    <a:gd name="T16" fmla="*/ 0 w 90"/>
                    <a:gd name="T17" fmla="*/ 13 h 30"/>
                    <a:gd name="T18" fmla="*/ 0 w 90"/>
                    <a:gd name="T19" fmla="*/ 15 h 30"/>
                    <a:gd name="T20" fmla="*/ 0 w 90"/>
                    <a:gd name="T21" fmla="*/ 18 h 30"/>
                    <a:gd name="T22" fmla="*/ 1 w 90"/>
                    <a:gd name="T23" fmla="*/ 21 h 30"/>
                    <a:gd name="T24" fmla="*/ 3 w 90"/>
                    <a:gd name="T25" fmla="*/ 24 h 30"/>
                    <a:gd name="T26" fmla="*/ 5 w 90"/>
                    <a:gd name="T27" fmla="*/ 26 h 30"/>
                    <a:gd name="T28" fmla="*/ 7 w 90"/>
                    <a:gd name="T29" fmla="*/ 28 h 30"/>
                    <a:gd name="T30" fmla="*/ 9 w 90"/>
                    <a:gd name="T31" fmla="*/ 29 h 30"/>
                    <a:gd name="T32" fmla="*/ 12 w 90"/>
                    <a:gd name="T33" fmla="*/ 30 h 30"/>
                    <a:gd name="T34" fmla="*/ 15 w 90"/>
                    <a:gd name="T35" fmla="*/ 30 h 30"/>
                    <a:gd name="T36" fmla="*/ 75 w 90"/>
                    <a:gd name="T37" fmla="*/ 30 h 30"/>
                    <a:gd name="T38" fmla="*/ 79 w 90"/>
                    <a:gd name="T39" fmla="*/ 30 h 30"/>
                    <a:gd name="T40" fmla="*/ 81 w 90"/>
                    <a:gd name="T41" fmla="*/ 29 h 30"/>
                    <a:gd name="T42" fmla="*/ 84 w 90"/>
                    <a:gd name="T43" fmla="*/ 28 h 30"/>
                    <a:gd name="T44" fmla="*/ 86 w 90"/>
                    <a:gd name="T45" fmla="*/ 26 h 30"/>
                    <a:gd name="T46" fmla="*/ 87 w 90"/>
                    <a:gd name="T47" fmla="*/ 24 h 30"/>
                    <a:gd name="T48" fmla="*/ 89 w 90"/>
                    <a:gd name="T49" fmla="*/ 21 h 30"/>
                    <a:gd name="T50" fmla="*/ 90 w 90"/>
                    <a:gd name="T51" fmla="*/ 18 h 30"/>
                    <a:gd name="T52" fmla="*/ 90 w 90"/>
                    <a:gd name="T53" fmla="*/ 15 h 30"/>
                    <a:gd name="T54" fmla="*/ 90 w 90"/>
                    <a:gd name="T55" fmla="*/ 13 h 30"/>
                    <a:gd name="T56" fmla="*/ 89 w 90"/>
                    <a:gd name="T57" fmla="*/ 10 h 30"/>
                    <a:gd name="T58" fmla="*/ 87 w 90"/>
                    <a:gd name="T59" fmla="*/ 8 h 30"/>
                    <a:gd name="T60" fmla="*/ 86 w 90"/>
                    <a:gd name="T61" fmla="*/ 5 h 30"/>
                    <a:gd name="T62" fmla="*/ 84 w 90"/>
                    <a:gd name="T63" fmla="*/ 3 h 30"/>
                    <a:gd name="T64" fmla="*/ 81 w 90"/>
                    <a:gd name="T65" fmla="*/ 2 h 30"/>
                    <a:gd name="T66" fmla="*/ 79 w 90"/>
                    <a:gd name="T67" fmla="*/ 1 h 30"/>
                    <a:gd name="T68" fmla="*/ 75 w 90"/>
                    <a:gd name="T69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90" h="30">
                      <a:moveTo>
                        <a:pt x="75" y="0"/>
                      </a:moveTo>
                      <a:lnTo>
                        <a:pt x="15" y="0"/>
                      </a:lnTo>
                      <a:lnTo>
                        <a:pt x="12" y="1"/>
                      </a:lnTo>
                      <a:lnTo>
                        <a:pt x="9" y="2"/>
                      </a:lnTo>
                      <a:lnTo>
                        <a:pt x="7" y="3"/>
                      </a:lnTo>
                      <a:lnTo>
                        <a:pt x="5" y="5"/>
                      </a:lnTo>
                      <a:lnTo>
                        <a:pt x="3" y="8"/>
                      </a:lnTo>
                      <a:lnTo>
                        <a:pt x="1" y="10"/>
                      </a:lnTo>
                      <a:lnTo>
                        <a:pt x="0" y="13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1"/>
                      </a:lnTo>
                      <a:lnTo>
                        <a:pt x="3" y="24"/>
                      </a:lnTo>
                      <a:lnTo>
                        <a:pt x="5" y="26"/>
                      </a:lnTo>
                      <a:lnTo>
                        <a:pt x="7" y="28"/>
                      </a:lnTo>
                      <a:lnTo>
                        <a:pt x="9" y="29"/>
                      </a:lnTo>
                      <a:lnTo>
                        <a:pt x="12" y="30"/>
                      </a:lnTo>
                      <a:lnTo>
                        <a:pt x="15" y="30"/>
                      </a:lnTo>
                      <a:lnTo>
                        <a:pt x="75" y="30"/>
                      </a:lnTo>
                      <a:lnTo>
                        <a:pt x="79" y="30"/>
                      </a:lnTo>
                      <a:lnTo>
                        <a:pt x="81" y="29"/>
                      </a:lnTo>
                      <a:lnTo>
                        <a:pt x="84" y="28"/>
                      </a:lnTo>
                      <a:lnTo>
                        <a:pt x="86" y="26"/>
                      </a:lnTo>
                      <a:lnTo>
                        <a:pt x="87" y="24"/>
                      </a:lnTo>
                      <a:lnTo>
                        <a:pt x="89" y="21"/>
                      </a:lnTo>
                      <a:lnTo>
                        <a:pt x="90" y="18"/>
                      </a:lnTo>
                      <a:lnTo>
                        <a:pt x="90" y="15"/>
                      </a:lnTo>
                      <a:lnTo>
                        <a:pt x="90" y="13"/>
                      </a:lnTo>
                      <a:lnTo>
                        <a:pt x="89" y="10"/>
                      </a:lnTo>
                      <a:lnTo>
                        <a:pt x="87" y="8"/>
                      </a:lnTo>
                      <a:lnTo>
                        <a:pt x="86" y="5"/>
                      </a:lnTo>
                      <a:lnTo>
                        <a:pt x="84" y="3"/>
                      </a:lnTo>
                      <a:lnTo>
                        <a:pt x="81" y="2"/>
                      </a:lnTo>
                      <a:lnTo>
                        <a:pt x="79" y="1"/>
                      </a:lnTo>
                      <a:lnTo>
                        <a:pt x="7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2" name="Freeform 58">
                  <a:extLst>
                    <a:ext uri="{FF2B5EF4-FFF2-40B4-BE49-F238E27FC236}">
                      <a16:creationId xmlns:a16="http://schemas.microsoft.com/office/drawing/2014/main" id="{BA23CF60-E748-4BF1-BF78-8956D083AA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8313" y="1017588"/>
                  <a:ext cx="9525" cy="28575"/>
                </a:xfrm>
                <a:custGeom>
                  <a:avLst/>
                  <a:gdLst>
                    <a:gd name="T0" fmla="*/ 15 w 30"/>
                    <a:gd name="T1" fmla="*/ 0 h 90"/>
                    <a:gd name="T2" fmla="*/ 13 w 30"/>
                    <a:gd name="T3" fmla="*/ 0 h 90"/>
                    <a:gd name="T4" fmla="*/ 10 w 30"/>
                    <a:gd name="T5" fmla="*/ 1 h 90"/>
                    <a:gd name="T6" fmla="*/ 7 w 30"/>
                    <a:gd name="T7" fmla="*/ 2 h 90"/>
                    <a:gd name="T8" fmla="*/ 4 w 30"/>
                    <a:gd name="T9" fmla="*/ 4 h 90"/>
                    <a:gd name="T10" fmla="*/ 3 w 30"/>
                    <a:gd name="T11" fmla="*/ 6 h 90"/>
                    <a:gd name="T12" fmla="*/ 1 w 30"/>
                    <a:gd name="T13" fmla="*/ 9 h 90"/>
                    <a:gd name="T14" fmla="*/ 1 w 30"/>
                    <a:gd name="T15" fmla="*/ 11 h 90"/>
                    <a:gd name="T16" fmla="*/ 0 w 30"/>
                    <a:gd name="T17" fmla="*/ 15 h 90"/>
                    <a:gd name="T18" fmla="*/ 0 w 30"/>
                    <a:gd name="T19" fmla="*/ 75 h 90"/>
                    <a:gd name="T20" fmla="*/ 1 w 30"/>
                    <a:gd name="T21" fmla="*/ 78 h 90"/>
                    <a:gd name="T22" fmla="*/ 1 w 30"/>
                    <a:gd name="T23" fmla="*/ 81 h 90"/>
                    <a:gd name="T24" fmla="*/ 3 w 30"/>
                    <a:gd name="T25" fmla="*/ 83 h 90"/>
                    <a:gd name="T26" fmla="*/ 4 w 30"/>
                    <a:gd name="T27" fmla="*/ 85 h 90"/>
                    <a:gd name="T28" fmla="*/ 7 w 30"/>
                    <a:gd name="T29" fmla="*/ 87 h 90"/>
                    <a:gd name="T30" fmla="*/ 10 w 30"/>
                    <a:gd name="T31" fmla="*/ 89 h 90"/>
                    <a:gd name="T32" fmla="*/ 13 w 30"/>
                    <a:gd name="T33" fmla="*/ 90 h 90"/>
                    <a:gd name="T34" fmla="*/ 15 w 30"/>
                    <a:gd name="T35" fmla="*/ 90 h 90"/>
                    <a:gd name="T36" fmla="*/ 18 w 30"/>
                    <a:gd name="T37" fmla="*/ 90 h 90"/>
                    <a:gd name="T38" fmla="*/ 21 w 30"/>
                    <a:gd name="T39" fmla="*/ 89 h 90"/>
                    <a:gd name="T40" fmla="*/ 24 w 30"/>
                    <a:gd name="T41" fmla="*/ 87 h 90"/>
                    <a:gd name="T42" fmla="*/ 26 w 30"/>
                    <a:gd name="T43" fmla="*/ 85 h 90"/>
                    <a:gd name="T44" fmla="*/ 28 w 30"/>
                    <a:gd name="T45" fmla="*/ 83 h 90"/>
                    <a:gd name="T46" fmla="*/ 29 w 30"/>
                    <a:gd name="T47" fmla="*/ 81 h 90"/>
                    <a:gd name="T48" fmla="*/ 30 w 30"/>
                    <a:gd name="T49" fmla="*/ 78 h 90"/>
                    <a:gd name="T50" fmla="*/ 30 w 30"/>
                    <a:gd name="T51" fmla="*/ 75 h 90"/>
                    <a:gd name="T52" fmla="*/ 30 w 30"/>
                    <a:gd name="T53" fmla="*/ 15 h 90"/>
                    <a:gd name="T54" fmla="*/ 30 w 30"/>
                    <a:gd name="T55" fmla="*/ 11 h 90"/>
                    <a:gd name="T56" fmla="*/ 29 w 30"/>
                    <a:gd name="T57" fmla="*/ 9 h 90"/>
                    <a:gd name="T58" fmla="*/ 28 w 30"/>
                    <a:gd name="T59" fmla="*/ 6 h 90"/>
                    <a:gd name="T60" fmla="*/ 26 w 30"/>
                    <a:gd name="T61" fmla="*/ 4 h 90"/>
                    <a:gd name="T62" fmla="*/ 24 w 30"/>
                    <a:gd name="T63" fmla="*/ 2 h 90"/>
                    <a:gd name="T64" fmla="*/ 21 w 30"/>
                    <a:gd name="T65" fmla="*/ 1 h 90"/>
                    <a:gd name="T66" fmla="*/ 18 w 30"/>
                    <a:gd name="T67" fmla="*/ 0 h 90"/>
                    <a:gd name="T68" fmla="*/ 15 w 30"/>
                    <a:gd name="T69" fmla="*/ 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0" h="90">
                      <a:moveTo>
                        <a:pt x="15" y="0"/>
                      </a:moveTo>
                      <a:lnTo>
                        <a:pt x="13" y="0"/>
                      </a:lnTo>
                      <a:lnTo>
                        <a:pt x="10" y="1"/>
                      </a:lnTo>
                      <a:lnTo>
                        <a:pt x="7" y="2"/>
                      </a:lnTo>
                      <a:lnTo>
                        <a:pt x="4" y="4"/>
                      </a:lnTo>
                      <a:lnTo>
                        <a:pt x="3" y="6"/>
                      </a:lnTo>
                      <a:lnTo>
                        <a:pt x="1" y="9"/>
                      </a:lnTo>
                      <a:lnTo>
                        <a:pt x="1" y="11"/>
                      </a:lnTo>
                      <a:lnTo>
                        <a:pt x="0" y="15"/>
                      </a:lnTo>
                      <a:lnTo>
                        <a:pt x="0" y="75"/>
                      </a:lnTo>
                      <a:lnTo>
                        <a:pt x="1" y="78"/>
                      </a:lnTo>
                      <a:lnTo>
                        <a:pt x="1" y="81"/>
                      </a:lnTo>
                      <a:lnTo>
                        <a:pt x="3" y="83"/>
                      </a:lnTo>
                      <a:lnTo>
                        <a:pt x="4" y="85"/>
                      </a:lnTo>
                      <a:lnTo>
                        <a:pt x="7" y="87"/>
                      </a:lnTo>
                      <a:lnTo>
                        <a:pt x="10" y="89"/>
                      </a:lnTo>
                      <a:lnTo>
                        <a:pt x="13" y="90"/>
                      </a:lnTo>
                      <a:lnTo>
                        <a:pt x="15" y="90"/>
                      </a:lnTo>
                      <a:lnTo>
                        <a:pt x="18" y="90"/>
                      </a:lnTo>
                      <a:lnTo>
                        <a:pt x="21" y="89"/>
                      </a:lnTo>
                      <a:lnTo>
                        <a:pt x="24" y="87"/>
                      </a:lnTo>
                      <a:lnTo>
                        <a:pt x="26" y="85"/>
                      </a:lnTo>
                      <a:lnTo>
                        <a:pt x="28" y="83"/>
                      </a:lnTo>
                      <a:lnTo>
                        <a:pt x="29" y="81"/>
                      </a:lnTo>
                      <a:lnTo>
                        <a:pt x="30" y="78"/>
                      </a:lnTo>
                      <a:lnTo>
                        <a:pt x="30" y="75"/>
                      </a:lnTo>
                      <a:lnTo>
                        <a:pt x="30" y="15"/>
                      </a:lnTo>
                      <a:lnTo>
                        <a:pt x="30" y="11"/>
                      </a:lnTo>
                      <a:lnTo>
                        <a:pt x="29" y="9"/>
                      </a:lnTo>
                      <a:lnTo>
                        <a:pt x="28" y="6"/>
                      </a:lnTo>
                      <a:lnTo>
                        <a:pt x="26" y="4"/>
                      </a:lnTo>
                      <a:lnTo>
                        <a:pt x="24" y="2"/>
                      </a:lnTo>
                      <a:lnTo>
                        <a:pt x="21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3" name="Freeform 59">
                  <a:extLst>
                    <a:ext uri="{FF2B5EF4-FFF2-40B4-BE49-F238E27FC236}">
                      <a16:creationId xmlns:a16="http://schemas.microsoft.com/office/drawing/2014/main" id="{C10ADFDA-7680-41F4-AA2C-18BA4351BF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9275" y="809625"/>
                  <a:ext cx="22225" cy="22225"/>
                </a:xfrm>
                <a:custGeom>
                  <a:avLst/>
                  <a:gdLst>
                    <a:gd name="T0" fmla="*/ 46 w 72"/>
                    <a:gd name="T1" fmla="*/ 4 h 72"/>
                    <a:gd name="T2" fmla="*/ 4 w 72"/>
                    <a:gd name="T3" fmla="*/ 47 h 72"/>
                    <a:gd name="T4" fmla="*/ 2 w 72"/>
                    <a:gd name="T5" fmla="*/ 49 h 72"/>
                    <a:gd name="T6" fmla="*/ 1 w 72"/>
                    <a:gd name="T7" fmla="*/ 52 h 72"/>
                    <a:gd name="T8" fmla="*/ 0 w 72"/>
                    <a:gd name="T9" fmla="*/ 54 h 72"/>
                    <a:gd name="T10" fmla="*/ 0 w 72"/>
                    <a:gd name="T11" fmla="*/ 57 h 72"/>
                    <a:gd name="T12" fmla="*/ 0 w 72"/>
                    <a:gd name="T13" fmla="*/ 61 h 72"/>
                    <a:gd name="T14" fmla="*/ 1 w 72"/>
                    <a:gd name="T15" fmla="*/ 63 h 72"/>
                    <a:gd name="T16" fmla="*/ 2 w 72"/>
                    <a:gd name="T17" fmla="*/ 66 h 72"/>
                    <a:gd name="T18" fmla="*/ 4 w 72"/>
                    <a:gd name="T19" fmla="*/ 68 h 72"/>
                    <a:gd name="T20" fmla="*/ 6 w 72"/>
                    <a:gd name="T21" fmla="*/ 70 h 72"/>
                    <a:gd name="T22" fmla="*/ 8 w 72"/>
                    <a:gd name="T23" fmla="*/ 71 h 72"/>
                    <a:gd name="T24" fmla="*/ 12 w 72"/>
                    <a:gd name="T25" fmla="*/ 72 h 72"/>
                    <a:gd name="T26" fmla="*/ 15 w 72"/>
                    <a:gd name="T27" fmla="*/ 72 h 72"/>
                    <a:gd name="T28" fmla="*/ 17 w 72"/>
                    <a:gd name="T29" fmla="*/ 72 h 72"/>
                    <a:gd name="T30" fmla="*/ 20 w 72"/>
                    <a:gd name="T31" fmla="*/ 71 h 72"/>
                    <a:gd name="T32" fmla="*/ 22 w 72"/>
                    <a:gd name="T33" fmla="*/ 70 h 72"/>
                    <a:gd name="T34" fmla="*/ 25 w 72"/>
                    <a:gd name="T35" fmla="*/ 68 h 72"/>
                    <a:gd name="T36" fmla="*/ 67 w 72"/>
                    <a:gd name="T37" fmla="*/ 24 h 72"/>
                    <a:gd name="T38" fmla="*/ 69 w 72"/>
                    <a:gd name="T39" fmla="*/ 22 h 72"/>
                    <a:gd name="T40" fmla="*/ 70 w 72"/>
                    <a:gd name="T41" fmla="*/ 20 h 72"/>
                    <a:gd name="T42" fmla="*/ 72 w 72"/>
                    <a:gd name="T43" fmla="*/ 18 h 72"/>
                    <a:gd name="T44" fmla="*/ 72 w 72"/>
                    <a:gd name="T45" fmla="*/ 15 h 72"/>
                    <a:gd name="T46" fmla="*/ 72 w 72"/>
                    <a:gd name="T47" fmla="*/ 11 h 72"/>
                    <a:gd name="T48" fmla="*/ 70 w 72"/>
                    <a:gd name="T49" fmla="*/ 9 h 72"/>
                    <a:gd name="T50" fmla="*/ 69 w 72"/>
                    <a:gd name="T51" fmla="*/ 6 h 72"/>
                    <a:gd name="T52" fmla="*/ 67 w 72"/>
                    <a:gd name="T53" fmla="*/ 4 h 72"/>
                    <a:gd name="T54" fmla="*/ 65 w 72"/>
                    <a:gd name="T55" fmla="*/ 2 h 72"/>
                    <a:gd name="T56" fmla="*/ 62 w 72"/>
                    <a:gd name="T57" fmla="*/ 1 h 72"/>
                    <a:gd name="T58" fmla="*/ 60 w 72"/>
                    <a:gd name="T59" fmla="*/ 0 h 72"/>
                    <a:gd name="T60" fmla="*/ 57 w 72"/>
                    <a:gd name="T61" fmla="*/ 0 h 72"/>
                    <a:gd name="T62" fmla="*/ 53 w 72"/>
                    <a:gd name="T63" fmla="*/ 0 h 72"/>
                    <a:gd name="T64" fmla="*/ 51 w 72"/>
                    <a:gd name="T65" fmla="*/ 1 h 72"/>
                    <a:gd name="T66" fmla="*/ 48 w 72"/>
                    <a:gd name="T67" fmla="*/ 2 h 72"/>
                    <a:gd name="T68" fmla="*/ 46 w 72"/>
                    <a:gd name="T69" fmla="*/ 4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2" h="72">
                      <a:moveTo>
                        <a:pt x="46" y="4"/>
                      </a:moveTo>
                      <a:lnTo>
                        <a:pt x="4" y="47"/>
                      </a:lnTo>
                      <a:lnTo>
                        <a:pt x="2" y="49"/>
                      </a:lnTo>
                      <a:lnTo>
                        <a:pt x="1" y="52"/>
                      </a:lnTo>
                      <a:lnTo>
                        <a:pt x="0" y="54"/>
                      </a:lnTo>
                      <a:lnTo>
                        <a:pt x="0" y="57"/>
                      </a:lnTo>
                      <a:lnTo>
                        <a:pt x="0" y="61"/>
                      </a:lnTo>
                      <a:lnTo>
                        <a:pt x="1" y="63"/>
                      </a:lnTo>
                      <a:lnTo>
                        <a:pt x="2" y="66"/>
                      </a:lnTo>
                      <a:lnTo>
                        <a:pt x="4" y="68"/>
                      </a:lnTo>
                      <a:lnTo>
                        <a:pt x="6" y="70"/>
                      </a:lnTo>
                      <a:lnTo>
                        <a:pt x="8" y="71"/>
                      </a:lnTo>
                      <a:lnTo>
                        <a:pt x="12" y="72"/>
                      </a:lnTo>
                      <a:lnTo>
                        <a:pt x="15" y="72"/>
                      </a:lnTo>
                      <a:lnTo>
                        <a:pt x="17" y="72"/>
                      </a:lnTo>
                      <a:lnTo>
                        <a:pt x="20" y="71"/>
                      </a:lnTo>
                      <a:lnTo>
                        <a:pt x="22" y="70"/>
                      </a:lnTo>
                      <a:lnTo>
                        <a:pt x="25" y="68"/>
                      </a:lnTo>
                      <a:lnTo>
                        <a:pt x="67" y="24"/>
                      </a:lnTo>
                      <a:lnTo>
                        <a:pt x="69" y="22"/>
                      </a:lnTo>
                      <a:lnTo>
                        <a:pt x="70" y="20"/>
                      </a:lnTo>
                      <a:lnTo>
                        <a:pt x="72" y="18"/>
                      </a:lnTo>
                      <a:lnTo>
                        <a:pt x="72" y="15"/>
                      </a:lnTo>
                      <a:lnTo>
                        <a:pt x="72" y="11"/>
                      </a:lnTo>
                      <a:lnTo>
                        <a:pt x="70" y="9"/>
                      </a:lnTo>
                      <a:lnTo>
                        <a:pt x="69" y="6"/>
                      </a:lnTo>
                      <a:lnTo>
                        <a:pt x="67" y="4"/>
                      </a:lnTo>
                      <a:lnTo>
                        <a:pt x="65" y="2"/>
                      </a:lnTo>
                      <a:lnTo>
                        <a:pt x="62" y="1"/>
                      </a:lnTo>
                      <a:lnTo>
                        <a:pt x="60" y="0"/>
                      </a:lnTo>
                      <a:lnTo>
                        <a:pt x="57" y="0"/>
                      </a:lnTo>
                      <a:lnTo>
                        <a:pt x="53" y="0"/>
                      </a:lnTo>
                      <a:lnTo>
                        <a:pt x="51" y="1"/>
                      </a:lnTo>
                      <a:lnTo>
                        <a:pt x="48" y="2"/>
                      </a:lnTo>
                      <a:lnTo>
                        <a:pt x="46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4" name="Freeform 60">
                  <a:extLst>
                    <a:ext uri="{FF2B5EF4-FFF2-40B4-BE49-F238E27FC236}">
                      <a16:creationId xmlns:a16="http://schemas.microsoft.com/office/drawing/2014/main" id="{859F8BBD-66B7-4991-850C-55D6941E51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650" y="809625"/>
                  <a:ext cx="22225" cy="22225"/>
                </a:xfrm>
                <a:custGeom>
                  <a:avLst/>
                  <a:gdLst>
                    <a:gd name="T0" fmla="*/ 46 w 71"/>
                    <a:gd name="T1" fmla="*/ 68 h 72"/>
                    <a:gd name="T2" fmla="*/ 48 w 71"/>
                    <a:gd name="T3" fmla="*/ 70 h 72"/>
                    <a:gd name="T4" fmla="*/ 51 w 71"/>
                    <a:gd name="T5" fmla="*/ 71 h 72"/>
                    <a:gd name="T6" fmla="*/ 53 w 71"/>
                    <a:gd name="T7" fmla="*/ 72 h 72"/>
                    <a:gd name="T8" fmla="*/ 56 w 71"/>
                    <a:gd name="T9" fmla="*/ 72 h 72"/>
                    <a:gd name="T10" fmla="*/ 59 w 71"/>
                    <a:gd name="T11" fmla="*/ 72 h 72"/>
                    <a:gd name="T12" fmla="*/ 62 w 71"/>
                    <a:gd name="T13" fmla="*/ 71 h 72"/>
                    <a:gd name="T14" fmla="*/ 65 w 71"/>
                    <a:gd name="T15" fmla="*/ 70 h 72"/>
                    <a:gd name="T16" fmla="*/ 67 w 71"/>
                    <a:gd name="T17" fmla="*/ 68 h 72"/>
                    <a:gd name="T18" fmla="*/ 69 w 71"/>
                    <a:gd name="T19" fmla="*/ 66 h 72"/>
                    <a:gd name="T20" fmla="*/ 70 w 71"/>
                    <a:gd name="T21" fmla="*/ 63 h 72"/>
                    <a:gd name="T22" fmla="*/ 71 w 71"/>
                    <a:gd name="T23" fmla="*/ 61 h 72"/>
                    <a:gd name="T24" fmla="*/ 71 w 71"/>
                    <a:gd name="T25" fmla="*/ 57 h 72"/>
                    <a:gd name="T26" fmla="*/ 71 w 71"/>
                    <a:gd name="T27" fmla="*/ 54 h 72"/>
                    <a:gd name="T28" fmla="*/ 70 w 71"/>
                    <a:gd name="T29" fmla="*/ 52 h 72"/>
                    <a:gd name="T30" fmla="*/ 69 w 71"/>
                    <a:gd name="T31" fmla="*/ 50 h 72"/>
                    <a:gd name="T32" fmla="*/ 67 w 71"/>
                    <a:gd name="T33" fmla="*/ 47 h 72"/>
                    <a:gd name="T34" fmla="*/ 24 w 71"/>
                    <a:gd name="T35" fmla="*/ 4 h 72"/>
                    <a:gd name="T36" fmla="*/ 22 w 71"/>
                    <a:gd name="T37" fmla="*/ 2 h 72"/>
                    <a:gd name="T38" fmla="*/ 20 w 71"/>
                    <a:gd name="T39" fmla="*/ 1 h 72"/>
                    <a:gd name="T40" fmla="*/ 17 w 71"/>
                    <a:gd name="T41" fmla="*/ 0 h 72"/>
                    <a:gd name="T42" fmla="*/ 14 w 71"/>
                    <a:gd name="T43" fmla="*/ 0 h 72"/>
                    <a:gd name="T44" fmla="*/ 11 w 71"/>
                    <a:gd name="T45" fmla="*/ 0 h 72"/>
                    <a:gd name="T46" fmla="*/ 8 w 71"/>
                    <a:gd name="T47" fmla="*/ 1 h 72"/>
                    <a:gd name="T48" fmla="*/ 6 w 71"/>
                    <a:gd name="T49" fmla="*/ 2 h 72"/>
                    <a:gd name="T50" fmla="*/ 4 w 71"/>
                    <a:gd name="T51" fmla="*/ 4 h 72"/>
                    <a:gd name="T52" fmla="*/ 2 w 71"/>
                    <a:gd name="T53" fmla="*/ 6 h 72"/>
                    <a:gd name="T54" fmla="*/ 1 w 71"/>
                    <a:gd name="T55" fmla="*/ 9 h 72"/>
                    <a:gd name="T56" fmla="*/ 0 w 71"/>
                    <a:gd name="T57" fmla="*/ 11 h 72"/>
                    <a:gd name="T58" fmla="*/ 0 w 71"/>
                    <a:gd name="T59" fmla="*/ 15 h 72"/>
                    <a:gd name="T60" fmla="*/ 0 w 71"/>
                    <a:gd name="T61" fmla="*/ 18 h 72"/>
                    <a:gd name="T62" fmla="*/ 1 w 71"/>
                    <a:gd name="T63" fmla="*/ 20 h 72"/>
                    <a:gd name="T64" fmla="*/ 2 w 71"/>
                    <a:gd name="T65" fmla="*/ 23 h 72"/>
                    <a:gd name="T66" fmla="*/ 4 w 71"/>
                    <a:gd name="T67" fmla="*/ 24 h 72"/>
                    <a:gd name="T68" fmla="*/ 46 w 71"/>
                    <a:gd name="T69" fmla="*/ 68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1" h="72">
                      <a:moveTo>
                        <a:pt x="46" y="68"/>
                      </a:moveTo>
                      <a:lnTo>
                        <a:pt x="48" y="70"/>
                      </a:lnTo>
                      <a:lnTo>
                        <a:pt x="51" y="71"/>
                      </a:lnTo>
                      <a:lnTo>
                        <a:pt x="53" y="72"/>
                      </a:lnTo>
                      <a:lnTo>
                        <a:pt x="56" y="72"/>
                      </a:lnTo>
                      <a:lnTo>
                        <a:pt x="59" y="72"/>
                      </a:lnTo>
                      <a:lnTo>
                        <a:pt x="62" y="71"/>
                      </a:lnTo>
                      <a:lnTo>
                        <a:pt x="65" y="70"/>
                      </a:lnTo>
                      <a:lnTo>
                        <a:pt x="67" y="68"/>
                      </a:lnTo>
                      <a:lnTo>
                        <a:pt x="69" y="66"/>
                      </a:lnTo>
                      <a:lnTo>
                        <a:pt x="70" y="63"/>
                      </a:lnTo>
                      <a:lnTo>
                        <a:pt x="71" y="61"/>
                      </a:lnTo>
                      <a:lnTo>
                        <a:pt x="71" y="57"/>
                      </a:lnTo>
                      <a:lnTo>
                        <a:pt x="71" y="54"/>
                      </a:lnTo>
                      <a:lnTo>
                        <a:pt x="70" y="52"/>
                      </a:lnTo>
                      <a:lnTo>
                        <a:pt x="69" y="50"/>
                      </a:lnTo>
                      <a:lnTo>
                        <a:pt x="67" y="47"/>
                      </a:lnTo>
                      <a:lnTo>
                        <a:pt x="24" y="4"/>
                      </a:lnTo>
                      <a:lnTo>
                        <a:pt x="22" y="2"/>
                      </a:lnTo>
                      <a:lnTo>
                        <a:pt x="20" y="1"/>
                      </a:lnTo>
                      <a:lnTo>
                        <a:pt x="17" y="0"/>
                      </a:lnTo>
                      <a:lnTo>
                        <a:pt x="14" y="0"/>
                      </a:lnTo>
                      <a:lnTo>
                        <a:pt x="11" y="0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1" y="9"/>
                      </a:lnTo>
                      <a:lnTo>
                        <a:pt x="0" y="11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0"/>
                      </a:lnTo>
                      <a:lnTo>
                        <a:pt x="2" y="23"/>
                      </a:lnTo>
                      <a:lnTo>
                        <a:pt x="4" y="24"/>
                      </a:lnTo>
                      <a:lnTo>
                        <a:pt x="46" y="6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5" name="Freeform 61">
                  <a:extLst>
                    <a:ext uri="{FF2B5EF4-FFF2-40B4-BE49-F238E27FC236}">
                      <a16:creationId xmlns:a16="http://schemas.microsoft.com/office/drawing/2014/main" id="{EFD0A90C-943A-4C06-B8DC-CBD1F0A6E4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4650" y="984250"/>
                  <a:ext cx="22225" cy="22225"/>
                </a:xfrm>
                <a:custGeom>
                  <a:avLst/>
                  <a:gdLst>
                    <a:gd name="T0" fmla="*/ 46 w 71"/>
                    <a:gd name="T1" fmla="*/ 4 h 71"/>
                    <a:gd name="T2" fmla="*/ 4 w 71"/>
                    <a:gd name="T3" fmla="*/ 46 h 71"/>
                    <a:gd name="T4" fmla="*/ 2 w 71"/>
                    <a:gd name="T5" fmla="*/ 49 h 71"/>
                    <a:gd name="T6" fmla="*/ 1 w 71"/>
                    <a:gd name="T7" fmla="*/ 51 h 71"/>
                    <a:gd name="T8" fmla="*/ 0 w 71"/>
                    <a:gd name="T9" fmla="*/ 54 h 71"/>
                    <a:gd name="T10" fmla="*/ 0 w 71"/>
                    <a:gd name="T11" fmla="*/ 58 h 71"/>
                    <a:gd name="T12" fmla="*/ 0 w 71"/>
                    <a:gd name="T13" fmla="*/ 60 h 71"/>
                    <a:gd name="T14" fmla="*/ 1 w 71"/>
                    <a:gd name="T15" fmla="*/ 63 h 71"/>
                    <a:gd name="T16" fmla="*/ 2 w 71"/>
                    <a:gd name="T17" fmla="*/ 65 h 71"/>
                    <a:gd name="T18" fmla="*/ 4 w 71"/>
                    <a:gd name="T19" fmla="*/ 67 h 71"/>
                    <a:gd name="T20" fmla="*/ 6 w 71"/>
                    <a:gd name="T21" fmla="*/ 69 h 71"/>
                    <a:gd name="T22" fmla="*/ 8 w 71"/>
                    <a:gd name="T23" fmla="*/ 70 h 71"/>
                    <a:gd name="T24" fmla="*/ 11 w 71"/>
                    <a:gd name="T25" fmla="*/ 71 h 71"/>
                    <a:gd name="T26" fmla="*/ 14 w 71"/>
                    <a:gd name="T27" fmla="*/ 71 h 71"/>
                    <a:gd name="T28" fmla="*/ 17 w 71"/>
                    <a:gd name="T29" fmla="*/ 71 h 71"/>
                    <a:gd name="T30" fmla="*/ 20 w 71"/>
                    <a:gd name="T31" fmla="*/ 70 h 71"/>
                    <a:gd name="T32" fmla="*/ 22 w 71"/>
                    <a:gd name="T33" fmla="*/ 69 h 71"/>
                    <a:gd name="T34" fmla="*/ 24 w 71"/>
                    <a:gd name="T35" fmla="*/ 67 h 71"/>
                    <a:gd name="T36" fmla="*/ 67 w 71"/>
                    <a:gd name="T37" fmla="*/ 25 h 71"/>
                    <a:gd name="T38" fmla="*/ 69 w 71"/>
                    <a:gd name="T39" fmla="*/ 23 h 71"/>
                    <a:gd name="T40" fmla="*/ 70 w 71"/>
                    <a:gd name="T41" fmla="*/ 20 h 71"/>
                    <a:gd name="T42" fmla="*/ 71 w 71"/>
                    <a:gd name="T43" fmla="*/ 18 h 71"/>
                    <a:gd name="T44" fmla="*/ 71 w 71"/>
                    <a:gd name="T45" fmla="*/ 15 h 71"/>
                    <a:gd name="T46" fmla="*/ 71 w 71"/>
                    <a:gd name="T47" fmla="*/ 12 h 71"/>
                    <a:gd name="T48" fmla="*/ 70 w 71"/>
                    <a:gd name="T49" fmla="*/ 9 h 71"/>
                    <a:gd name="T50" fmla="*/ 69 w 71"/>
                    <a:gd name="T51" fmla="*/ 6 h 71"/>
                    <a:gd name="T52" fmla="*/ 67 w 71"/>
                    <a:gd name="T53" fmla="*/ 4 h 71"/>
                    <a:gd name="T54" fmla="*/ 65 w 71"/>
                    <a:gd name="T55" fmla="*/ 2 h 71"/>
                    <a:gd name="T56" fmla="*/ 62 w 71"/>
                    <a:gd name="T57" fmla="*/ 1 h 71"/>
                    <a:gd name="T58" fmla="*/ 59 w 71"/>
                    <a:gd name="T59" fmla="*/ 0 h 71"/>
                    <a:gd name="T60" fmla="*/ 56 w 71"/>
                    <a:gd name="T61" fmla="*/ 0 h 71"/>
                    <a:gd name="T62" fmla="*/ 53 w 71"/>
                    <a:gd name="T63" fmla="*/ 0 h 71"/>
                    <a:gd name="T64" fmla="*/ 51 w 71"/>
                    <a:gd name="T65" fmla="*/ 1 h 71"/>
                    <a:gd name="T66" fmla="*/ 48 w 71"/>
                    <a:gd name="T67" fmla="*/ 2 h 71"/>
                    <a:gd name="T68" fmla="*/ 46 w 71"/>
                    <a:gd name="T69" fmla="*/ 4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1" h="71">
                      <a:moveTo>
                        <a:pt x="46" y="4"/>
                      </a:moveTo>
                      <a:lnTo>
                        <a:pt x="4" y="46"/>
                      </a:lnTo>
                      <a:lnTo>
                        <a:pt x="2" y="49"/>
                      </a:lnTo>
                      <a:lnTo>
                        <a:pt x="1" y="51"/>
                      </a:lnTo>
                      <a:lnTo>
                        <a:pt x="0" y="54"/>
                      </a:lnTo>
                      <a:lnTo>
                        <a:pt x="0" y="58"/>
                      </a:lnTo>
                      <a:lnTo>
                        <a:pt x="0" y="60"/>
                      </a:lnTo>
                      <a:lnTo>
                        <a:pt x="1" y="63"/>
                      </a:lnTo>
                      <a:lnTo>
                        <a:pt x="2" y="65"/>
                      </a:lnTo>
                      <a:lnTo>
                        <a:pt x="4" y="67"/>
                      </a:lnTo>
                      <a:lnTo>
                        <a:pt x="6" y="69"/>
                      </a:lnTo>
                      <a:lnTo>
                        <a:pt x="8" y="70"/>
                      </a:lnTo>
                      <a:lnTo>
                        <a:pt x="11" y="71"/>
                      </a:lnTo>
                      <a:lnTo>
                        <a:pt x="14" y="71"/>
                      </a:lnTo>
                      <a:lnTo>
                        <a:pt x="17" y="71"/>
                      </a:lnTo>
                      <a:lnTo>
                        <a:pt x="20" y="70"/>
                      </a:lnTo>
                      <a:lnTo>
                        <a:pt x="22" y="69"/>
                      </a:lnTo>
                      <a:lnTo>
                        <a:pt x="24" y="67"/>
                      </a:lnTo>
                      <a:lnTo>
                        <a:pt x="67" y="25"/>
                      </a:lnTo>
                      <a:lnTo>
                        <a:pt x="69" y="23"/>
                      </a:lnTo>
                      <a:lnTo>
                        <a:pt x="70" y="20"/>
                      </a:lnTo>
                      <a:lnTo>
                        <a:pt x="71" y="18"/>
                      </a:lnTo>
                      <a:lnTo>
                        <a:pt x="71" y="15"/>
                      </a:lnTo>
                      <a:lnTo>
                        <a:pt x="71" y="12"/>
                      </a:lnTo>
                      <a:lnTo>
                        <a:pt x="70" y="9"/>
                      </a:lnTo>
                      <a:lnTo>
                        <a:pt x="69" y="6"/>
                      </a:lnTo>
                      <a:lnTo>
                        <a:pt x="67" y="4"/>
                      </a:lnTo>
                      <a:lnTo>
                        <a:pt x="65" y="2"/>
                      </a:lnTo>
                      <a:lnTo>
                        <a:pt x="62" y="1"/>
                      </a:lnTo>
                      <a:lnTo>
                        <a:pt x="59" y="0"/>
                      </a:lnTo>
                      <a:lnTo>
                        <a:pt x="56" y="0"/>
                      </a:lnTo>
                      <a:lnTo>
                        <a:pt x="53" y="0"/>
                      </a:lnTo>
                      <a:lnTo>
                        <a:pt x="51" y="1"/>
                      </a:lnTo>
                      <a:lnTo>
                        <a:pt x="48" y="2"/>
                      </a:lnTo>
                      <a:lnTo>
                        <a:pt x="46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06" name="Freeform 62">
                  <a:extLst>
                    <a:ext uri="{FF2B5EF4-FFF2-40B4-BE49-F238E27FC236}">
                      <a16:creationId xmlns:a16="http://schemas.microsoft.com/office/drawing/2014/main" id="{4C46BAAD-642B-4A99-92D9-28689D8B22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9275" y="984250"/>
                  <a:ext cx="22225" cy="22225"/>
                </a:xfrm>
                <a:custGeom>
                  <a:avLst/>
                  <a:gdLst>
                    <a:gd name="T0" fmla="*/ 25 w 72"/>
                    <a:gd name="T1" fmla="*/ 4 h 71"/>
                    <a:gd name="T2" fmla="*/ 22 w 72"/>
                    <a:gd name="T3" fmla="*/ 2 h 71"/>
                    <a:gd name="T4" fmla="*/ 20 w 72"/>
                    <a:gd name="T5" fmla="*/ 1 h 71"/>
                    <a:gd name="T6" fmla="*/ 17 w 72"/>
                    <a:gd name="T7" fmla="*/ 0 h 71"/>
                    <a:gd name="T8" fmla="*/ 15 w 72"/>
                    <a:gd name="T9" fmla="*/ 0 h 71"/>
                    <a:gd name="T10" fmla="*/ 12 w 72"/>
                    <a:gd name="T11" fmla="*/ 0 h 71"/>
                    <a:gd name="T12" fmla="*/ 8 w 72"/>
                    <a:gd name="T13" fmla="*/ 1 h 71"/>
                    <a:gd name="T14" fmla="*/ 6 w 72"/>
                    <a:gd name="T15" fmla="*/ 2 h 71"/>
                    <a:gd name="T16" fmla="*/ 4 w 72"/>
                    <a:gd name="T17" fmla="*/ 4 h 71"/>
                    <a:gd name="T18" fmla="*/ 2 w 72"/>
                    <a:gd name="T19" fmla="*/ 6 h 71"/>
                    <a:gd name="T20" fmla="*/ 1 w 72"/>
                    <a:gd name="T21" fmla="*/ 9 h 71"/>
                    <a:gd name="T22" fmla="*/ 0 w 72"/>
                    <a:gd name="T23" fmla="*/ 12 h 71"/>
                    <a:gd name="T24" fmla="*/ 0 w 72"/>
                    <a:gd name="T25" fmla="*/ 15 h 71"/>
                    <a:gd name="T26" fmla="*/ 0 w 72"/>
                    <a:gd name="T27" fmla="*/ 18 h 71"/>
                    <a:gd name="T28" fmla="*/ 1 w 72"/>
                    <a:gd name="T29" fmla="*/ 20 h 71"/>
                    <a:gd name="T30" fmla="*/ 2 w 72"/>
                    <a:gd name="T31" fmla="*/ 23 h 71"/>
                    <a:gd name="T32" fmla="*/ 4 w 72"/>
                    <a:gd name="T33" fmla="*/ 25 h 71"/>
                    <a:gd name="T34" fmla="*/ 46 w 72"/>
                    <a:gd name="T35" fmla="*/ 67 h 71"/>
                    <a:gd name="T36" fmla="*/ 48 w 72"/>
                    <a:gd name="T37" fmla="*/ 69 h 71"/>
                    <a:gd name="T38" fmla="*/ 51 w 72"/>
                    <a:gd name="T39" fmla="*/ 70 h 71"/>
                    <a:gd name="T40" fmla="*/ 53 w 72"/>
                    <a:gd name="T41" fmla="*/ 71 h 71"/>
                    <a:gd name="T42" fmla="*/ 57 w 72"/>
                    <a:gd name="T43" fmla="*/ 71 h 71"/>
                    <a:gd name="T44" fmla="*/ 60 w 72"/>
                    <a:gd name="T45" fmla="*/ 71 h 71"/>
                    <a:gd name="T46" fmla="*/ 62 w 72"/>
                    <a:gd name="T47" fmla="*/ 70 h 71"/>
                    <a:gd name="T48" fmla="*/ 65 w 72"/>
                    <a:gd name="T49" fmla="*/ 69 h 71"/>
                    <a:gd name="T50" fmla="*/ 67 w 72"/>
                    <a:gd name="T51" fmla="*/ 67 h 71"/>
                    <a:gd name="T52" fmla="*/ 69 w 72"/>
                    <a:gd name="T53" fmla="*/ 65 h 71"/>
                    <a:gd name="T54" fmla="*/ 70 w 72"/>
                    <a:gd name="T55" fmla="*/ 63 h 71"/>
                    <a:gd name="T56" fmla="*/ 72 w 72"/>
                    <a:gd name="T57" fmla="*/ 60 h 71"/>
                    <a:gd name="T58" fmla="*/ 72 w 72"/>
                    <a:gd name="T59" fmla="*/ 58 h 71"/>
                    <a:gd name="T60" fmla="*/ 72 w 72"/>
                    <a:gd name="T61" fmla="*/ 54 h 71"/>
                    <a:gd name="T62" fmla="*/ 70 w 72"/>
                    <a:gd name="T63" fmla="*/ 51 h 71"/>
                    <a:gd name="T64" fmla="*/ 69 w 72"/>
                    <a:gd name="T65" fmla="*/ 49 h 71"/>
                    <a:gd name="T66" fmla="*/ 67 w 72"/>
                    <a:gd name="T67" fmla="*/ 46 h 71"/>
                    <a:gd name="T68" fmla="*/ 25 w 72"/>
                    <a:gd name="T69" fmla="*/ 4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2" h="71">
                      <a:moveTo>
                        <a:pt x="25" y="4"/>
                      </a:moveTo>
                      <a:lnTo>
                        <a:pt x="22" y="2"/>
                      </a:lnTo>
                      <a:lnTo>
                        <a:pt x="20" y="1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2" y="0"/>
                      </a:lnTo>
                      <a:lnTo>
                        <a:pt x="8" y="1"/>
                      </a:lnTo>
                      <a:lnTo>
                        <a:pt x="6" y="2"/>
                      </a:lnTo>
                      <a:lnTo>
                        <a:pt x="4" y="4"/>
                      </a:lnTo>
                      <a:lnTo>
                        <a:pt x="2" y="6"/>
                      </a:lnTo>
                      <a:lnTo>
                        <a:pt x="1" y="9"/>
                      </a:lnTo>
                      <a:lnTo>
                        <a:pt x="0" y="12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0"/>
                      </a:lnTo>
                      <a:lnTo>
                        <a:pt x="2" y="23"/>
                      </a:lnTo>
                      <a:lnTo>
                        <a:pt x="4" y="25"/>
                      </a:lnTo>
                      <a:lnTo>
                        <a:pt x="46" y="67"/>
                      </a:lnTo>
                      <a:lnTo>
                        <a:pt x="48" y="69"/>
                      </a:lnTo>
                      <a:lnTo>
                        <a:pt x="51" y="70"/>
                      </a:lnTo>
                      <a:lnTo>
                        <a:pt x="53" y="71"/>
                      </a:lnTo>
                      <a:lnTo>
                        <a:pt x="57" y="71"/>
                      </a:lnTo>
                      <a:lnTo>
                        <a:pt x="60" y="71"/>
                      </a:lnTo>
                      <a:lnTo>
                        <a:pt x="62" y="70"/>
                      </a:lnTo>
                      <a:lnTo>
                        <a:pt x="65" y="69"/>
                      </a:lnTo>
                      <a:lnTo>
                        <a:pt x="67" y="67"/>
                      </a:lnTo>
                      <a:lnTo>
                        <a:pt x="69" y="65"/>
                      </a:lnTo>
                      <a:lnTo>
                        <a:pt x="70" y="63"/>
                      </a:lnTo>
                      <a:lnTo>
                        <a:pt x="72" y="60"/>
                      </a:lnTo>
                      <a:lnTo>
                        <a:pt x="72" y="58"/>
                      </a:lnTo>
                      <a:lnTo>
                        <a:pt x="72" y="54"/>
                      </a:lnTo>
                      <a:lnTo>
                        <a:pt x="70" y="51"/>
                      </a:lnTo>
                      <a:lnTo>
                        <a:pt x="69" y="49"/>
                      </a:lnTo>
                      <a:lnTo>
                        <a:pt x="67" y="46"/>
                      </a:lnTo>
                      <a:lnTo>
                        <a:pt x="25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1907" name="Group 1906">
              <a:extLst>
                <a:ext uri="{FF2B5EF4-FFF2-40B4-BE49-F238E27FC236}">
                  <a16:creationId xmlns:a16="http://schemas.microsoft.com/office/drawing/2014/main" id="{AEA02536-E35E-4EC6-817E-2BEC221CD3DB}"/>
                </a:ext>
              </a:extLst>
            </p:cNvPr>
            <p:cNvGrpSpPr/>
            <p:nvPr/>
          </p:nvGrpSpPr>
          <p:grpSpPr>
            <a:xfrm>
              <a:off x="5013585" y="1299591"/>
              <a:ext cx="418315" cy="418315"/>
              <a:chOff x="4747002" y="3515391"/>
              <a:chExt cx="418315" cy="418315"/>
            </a:xfrm>
          </p:grpSpPr>
          <p:sp>
            <p:nvSpPr>
              <p:cNvPr id="1908" name="Oval 1907">
                <a:extLst>
                  <a:ext uri="{FF2B5EF4-FFF2-40B4-BE49-F238E27FC236}">
                    <a16:creationId xmlns:a16="http://schemas.microsoft.com/office/drawing/2014/main" id="{141F8E61-A62F-4E9F-BAF6-008A374158F0}"/>
                  </a:ext>
                </a:extLst>
              </p:cNvPr>
              <p:cNvSpPr/>
              <p:nvPr/>
            </p:nvSpPr>
            <p:spPr>
              <a:xfrm>
                <a:off x="4747002" y="3515391"/>
                <a:ext cx="418315" cy="418315"/>
              </a:xfrm>
              <a:prstGeom prst="ellipse">
                <a:avLst/>
              </a:prstGeom>
              <a:solidFill>
                <a:schemeClr val="accent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909" name="Group 1908">
                <a:extLst>
                  <a:ext uri="{FF2B5EF4-FFF2-40B4-BE49-F238E27FC236}">
                    <a16:creationId xmlns:a16="http://schemas.microsoft.com/office/drawing/2014/main" id="{8261B7F8-BAB9-464B-B050-1456F31B9560}"/>
                  </a:ext>
                </a:extLst>
              </p:cNvPr>
              <p:cNvGrpSpPr/>
              <p:nvPr/>
            </p:nvGrpSpPr>
            <p:grpSpPr>
              <a:xfrm>
                <a:off x="4867938" y="3635834"/>
                <a:ext cx="176442" cy="177428"/>
                <a:chOff x="906463" y="769938"/>
                <a:chExt cx="284162" cy="285750"/>
              </a:xfrm>
              <a:solidFill>
                <a:schemeClr val="bg1"/>
              </a:solidFill>
            </p:grpSpPr>
            <p:sp>
              <p:nvSpPr>
                <p:cNvPr id="1910" name="Freeform 63">
                  <a:extLst>
                    <a:ext uri="{FF2B5EF4-FFF2-40B4-BE49-F238E27FC236}">
                      <a16:creationId xmlns:a16="http://schemas.microsoft.com/office/drawing/2014/main" id="{42F0073C-6D55-41BE-8D1C-B1FABD148F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9650" y="769938"/>
                  <a:ext cx="9525" cy="19050"/>
                </a:xfrm>
                <a:custGeom>
                  <a:avLst/>
                  <a:gdLst>
                    <a:gd name="T0" fmla="*/ 15 w 30"/>
                    <a:gd name="T1" fmla="*/ 59 h 59"/>
                    <a:gd name="T2" fmla="*/ 18 w 30"/>
                    <a:gd name="T3" fmla="*/ 59 h 59"/>
                    <a:gd name="T4" fmla="*/ 21 w 30"/>
                    <a:gd name="T5" fmla="*/ 58 h 59"/>
                    <a:gd name="T6" fmla="*/ 23 w 30"/>
                    <a:gd name="T7" fmla="*/ 57 h 59"/>
                    <a:gd name="T8" fmla="*/ 25 w 30"/>
                    <a:gd name="T9" fmla="*/ 55 h 59"/>
                    <a:gd name="T10" fmla="*/ 27 w 30"/>
                    <a:gd name="T11" fmla="*/ 53 h 59"/>
                    <a:gd name="T12" fmla="*/ 28 w 30"/>
                    <a:gd name="T13" fmla="*/ 51 h 59"/>
                    <a:gd name="T14" fmla="*/ 30 w 30"/>
                    <a:gd name="T15" fmla="*/ 48 h 59"/>
                    <a:gd name="T16" fmla="*/ 30 w 30"/>
                    <a:gd name="T17" fmla="*/ 44 h 59"/>
                    <a:gd name="T18" fmla="*/ 30 w 30"/>
                    <a:gd name="T19" fmla="*/ 14 h 59"/>
                    <a:gd name="T20" fmla="*/ 30 w 30"/>
                    <a:gd name="T21" fmla="*/ 11 h 59"/>
                    <a:gd name="T22" fmla="*/ 28 w 30"/>
                    <a:gd name="T23" fmla="*/ 9 h 59"/>
                    <a:gd name="T24" fmla="*/ 27 w 30"/>
                    <a:gd name="T25" fmla="*/ 6 h 59"/>
                    <a:gd name="T26" fmla="*/ 25 w 30"/>
                    <a:gd name="T27" fmla="*/ 4 h 59"/>
                    <a:gd name="T28" fmla="*/ 23 w 30"/>
                    <a:gd name="T29" fmla="*/ 2 h 59"/>
                    <a:gd name="T30" fmla="*/ 21 w 30"/>
                    <a:gd name="T31" fmla="*/ 1 h 59"/>
                    <a:gd name="T32" fmla="*/ 18 w 30"/>
                    <a:gd name="T33" fmla="*/ 0 h 59"/>
                    <a:gd name="T34" fmla="*/ 15 w 30"/>
                    <a:gd name="T35" fmla="*/ 0 h 59"/>
                    <a:gd name="T36" fmla="*/ 11 w 30"/>
                    <a:gd name="T37" fmla="*/ 0 h 59"/>
                    <a:gd name="T38" fmla="*/ 9 w 30"/>
                    <a:gd name="T39" fmla="*/ 1 h 59"/>
                    <a:gd name="T40" fmla="*/ 6 w 30"/>
                    <a:gd name="T41" fmla="*/ 2 h 59"/>
                    <a:gd name="T42" fmla="*/ 4 w 30"/>
                    <a:gd name="T43" fmla="*/ 4 h 59"/>
                    <a:gd name="T44" fmla="*/ 3 w 30"/>
                    <a:gd name="T45" fmla="*/ 6 h 59"/>
                    <a:gd name="T46" fmla="*/ 1 w 30"/>
                    <a:gd name="T47" fmla="*/ 9 h 59"/>
                    <a:gd name="T48" fmla="*/ 0 w 30"/>
                    <a:gd name="T49" fmla="*/ 11 h 59"/>
                    <a:gd name="T50" fmla="*/ 0 w 30"/>
                    <a:gd name="T51" fmla="*/ 14 h 59"/>
                    <a:gd name="T52" fmla="*/ 0 w 30"/>
                    <a:gd name="T53" fmla="*/ 44 h 59"/>
                    <a:gd name="T54" fmla="*/ 0 w 30"/>
                    <a:gd name="T55" fmla="*/ 48 h 59"/>
                    <a:gd name="T56" fmla="*/ 1 w 30"/>
                    <a:gd name="T57" fmla="*/ 51 h 59"/>
                    <a:gd name="T58" fmla="*/ 3 w 30"/>
                    <a:gd name="T59" fmla="*/ 53 h 59"/>
                    <a:gd name="T60" fmla="*/ 4 w 30"/>
                    <a:gd name="T61" fmla="*/ 55 h 59"/>
                    <a:gd name="T62" fmla="*/ 6 w 30"/>
                    <a:gd name="T63" fmla="*/ 57 h 59"/>
                    <a:gd name="T64" fmla="*/ 9 w 30"/>
                    <a:gd name="T65" fmla="*/ 58 h 59"/>
                    <a:gd name="T66" fmla="*/ 11 w 30"/>
                    <a:gd name="T67" fmla="*/ 59 h 59"/>
                    <a:gd name="T68" fmla="*/ 15 w 30"/>
                    <a:gd name="T69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0" h="59">
                      <a:moveTo>
                        <a:pt x="15" y="59"/>
                      </a:moveTo>
                      <a:lnTo>
                        <a:pt x="18" y="59"/>
                      </a:lnTo>
                      <a:lnTo>
                        <a:pt x="21" y="58"/>
                      </a:lnTo>
                      <a:lnTo>
                        <a:pt x="23" y="57"/>
                      </a:lnTo>
                      <a:lnTo>
                        <a:pt x="25" y="55"/>
                      </a:lnTo>
                      <a:lnTo>
                        <a:pt x="27" y="53"/>
                      </a:lnTo>
                      <a:lnTo>
                        <a:pt x="28" y="51"/>
                      </a:lnTo>
                      <a:lnTo>
                        <a:pt x="30" y="48"/>
                      </a:lnTo>
                      <a:lnTo>
                        <a:pt x="30" y="44"/>
                      </a:lnTo>
                      <a:lnTo>
                        <a:pt x="30" y="14"/>
                      </a:lnTo>
                      <a:lnTo>
                        <a:pt x="30" y="11"/>
                      </a:lnTo>
                      <a:lnTo>
                        <a:pt x="28" y="9"/>
                      </a:lnTo>
                      <a:lnTo>
                        <a:pt x="27" y="6"/>
                      </a:lnTo>
                      <a:lnTo>
                        <a:pt x="25" y="4"/>
                      </a:lnTo>
                      <a:lnTo>
                        <a:pt x="23" y="2"/>
                      </a:lnTo>
                      <a:lnTo>
                        <a:pt x="21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6" y="2"/>
                      </a:lnTo>
                      <a:lnTo>
                        <a:pt x="4" y="4"/>
                      </a:lnTo>
                      <a:lnTo>
                        <a:pt x="3" y="6"/>
                      </a:lnTo>
                      <a:lnTo>
                        <a:pt x="1" y="9"/>
                      </a:lnTo>
                      <a:lnTo>
                        <a:pt x="0" y="11"/>
                      </a:lnTo>
                      <a:lnTo>
                        <a:pt x="0" y="14"/>
                      </a:lnTo>
                      <a:lnTo>
                        <a:pt x="0" y="44"/>
                      </a:lnTo>
                      <a:lnTo>
                        <a:pt x="0" y="48"/>
                      </a:lnTo>
                      <a:lnTo>
                        <a:pt x="1" y="51"/>
                      </a:lnTo>
                      <a:lnTo>
                        <a:pt x="3" y="53"/>
                      </a:lnTo>
                      <a:lnTo>
                        <a:pt x="4" y="55"/>
                      </a:lnTo>
                      <a:lnTo>
                        <a:pt x="6" y="57"/>
                      </a:lnTo>
                      <a:lnTo>
                        <a:pt x="9" y="58"/>
                      </a:lnTo>
                      <a:lnTo>
                        <a:pt x="11" y="59"/>
                      </a:lnTo>
                      <a:lnTo>
                        <a:pt x="15" y="5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1" name="Freeform 64">
                  <a:extLst>
                    <a:ext uri="{FF2B5EF4-FFF2-40B4-BE49-F238E27FC236}">
                      <a16:creationId xmlns:a16="http://schemas.microsoft.com/office/drawing/2014/main" id="{590EED18-A990-4A60-B7A5-904FC44A4E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5513" y="788988"/>
                  <a:ext cx="17463" cy="19050"/>
                </a:xfrm>
                <a:custGeom>
                  <a:avLst/>
                  <a:gdLst>
                    <a:gd name="T0" fmla="*/ 44 w 59"/>
                    <a:gd name="T1" fmla="*/ 60 h 60"/>
                    <a:gd name="T2" fmla="*/ 47 w 59"/>
                    <a:gd name="T3" fmla="*/ 59 h 60"/>
                    <a:gd name="T4" fmla="*/ 50 w 59"/>
                    <a:gd name="T5" fmla="*/ 59 h 60"/>
                    <a:gd name="T6" fmla="*/ 52 w 59"/>
                    <a:gd name="T7" fmla="*/ 57 h 60"/>
                    <a:gd name="T8" fmla="*/ 54 w 59"/>
                    <a:gd name="T9" fmla="*/ 56 h 60"/>
                    <a:gd name="T10" fmla="*/ 57 w 59"/>
                    <a:gd name="T11" fmla="*/ 54 h 60"/>
                    <a:gd name="T12" fmla="*/ 58 w 59"/>
                    <a:gd name="T13" fmla="*/ 52 h 60"/>
                    <a:gd name="T14" fmla="*/ 59 w 59"/>
                    <a:gd name="T15" fmla="*/ 49 h 60"/>
                    <a:gd name="T16" fmla="*/ 59 w 59"/>
                    <a:gd name="T17" fmla="*/ 45 h 60"/>
                    <a:gd name="T18" fmla="*/ 59 w 59"/>
                    <a:gd name="T19" fmla="*/ 43 h 60"/>
                    <a:gd name="T20" fmla="*/ 58 w 59"/>
                    <a:gd name="T21" fmla="*/ 40 h 60"/>
                    <a:gd name="T22" fmla="*/ 57 w 59"/>
                    <a:gd name="T23" fmla="*/ 37 h 60"/>
                    <a:gd name="T24" fmla="*/ 54 w 59"/>
                    <a:gd name="T25" fmla="*/ 35 h 60"/>
                    <a:gd name="T26" fmla="*/ 24 w 59"/>
                    <a:gd name="T27" fmla="*/ 5 h 60"/>
                    <a:gd name="T28" fmla="*/ 22 w 59"/>
                    <a:gd name="T29" fmla="*/ 3 h 60"/>
                    <a:gd name="T30" fmla="*/ 20 w 59"/>
                    <a:gd name="T31" fmla="*/ 2 h 60"/>
                    <a:gd name="T32" fmla="*/ 17 w 59"/>
                    <a:gd name="T33" fmla="*/ 0 h 60"/>
                    <a:gd name="T34" fmla="*/ 15 w 59"/>
                    <a:gd name="T35" fmla="*/ 0 h 60"/>
                    <a:gd name="T36" fmla="*/ 12 w 59"/>
                    <a:gd name="T37" fmla="*/ 0 h 60"/>
                    <a:gd name="T38" fmla="*/ 8 w 59"/>
                    <a:gd name="T39" fmla="*/ 2 h 60"/>
                    <a:gd name="T40" fmla="*/ 6 w 59"/>
                    <a:gd name="T41" fmla="*/ 3 h 60"/>
                    <a:gd name="T42" fmla="*/ 4 w 59"/>
                    <a:gd name="T43" fmla="*/ 5 h 60"/>
                    <a:gd name="T44" fmla="*/ 2 w 59"/>
                    <a:gd name="T45" fmla="*/ 7 h 60"/>
                    <a:gd name="T46" fmla="*/ 1 w 59"/>
                    <a:gd name="T47" fmla="*/ 10 h 60"/>
                    <a:gd name="T48" fmla="*/ 0 w 59"/>
                    <a:gd name="T49" fmla="*/ 13 h 60"/>
                    <a:gd name="T50" fmla="*/ 0 w 59"/>
                    <a:gd name="T51" fmla="*/ 15 h 60"/>
                    <a:gd name="T52" fmla="*/ 0 w 59"/>
                    <a:gd name="T53" fmla="*/ 19 h 60"/>
                    <a:gd name="T54" fmla="*/ 1 w 59"/>
                    <a:gd name="T55" fmla="*/ 22 h 60"/>
                    <a:gd name="T56" fmla="*/ 2 w 59"/>
                    <a:gd name="T57" fmla="*/ 24 h 60"/>
                    <a:gd name="T58" fmla="*/ 4 w 59"/>
                    <a:gd name="T59" fmla="*/ 26 h 60"/>
                    <a:gd name="T60" fmla="*/ 34 w 59"/>
                    <a:gd name="T61" fmla="*/ 56 h 60"/>
                    <a:gd name="T62" fmla="*/ 36 w 59"/>
                    <a:gd name="T63" fmla="*/ 57 h 60"/>
                    <a:gd name="T64" fmla="*/ 38 w 59"/>
                    <a:gd name="T65" fmla="*/ 59 h 60"/>
                    <a:gd name="T66" fmla="*/ 42 w 59"/>
                    <a:gd name="T67" fmla="*/ 59 h 60"/>
                    <a:gd name="T68" fmla="*/ 44 w 59"/>
                    <a:gd name="T69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9" h="60">
                      <a:moveTo>
                        <a:pt x="44" y="60"/>
                      </a:moveTo>
                      <a:lnTo>
                        <a:pt x="47" y="59"/>
                      </a:lnTo>
                      <a:lnTo>
                        <a:pt x="50" y="59"/>
                      </a:lnTo>
                      <a:lnTo>
                        <a:pt x="52" y="57"/>
                      </a:lnTo>
                      <a:lnTo>
                        <a:pt x="54" y="56"/>
                      </a:lnTo>
                      <a:lnTo>
                        <a:pt x="57" y="54"/>
                      </a:lnTo>
                      <a:lnTo>
                        <a:pt x="58" y="52"/>
                      </a:lnTo>
                      <a:lnTo>
                        <a:pt x="59" y="49"/>
                      </a:lnTo>
                      <a:lnTo>
                        <a:pt x="59" y="45"/>
                      </a:lnTo>
                      <a:lnTo>
                        <a:pt x="59" y="43"/>
                      </a:lnTo>
                      <a:lnTo>
                        <a:pt x="58" y="40"/>
                      </a:lnTo>
                      <a:lnTo>
                        <a:pt x="57" y="37"/>
                      </a:lnTo>
                      <a:lnTo>
                        <a:pt x="54" y="35"/>
                      </a:lnTo>
                      <a:lnTo>
                        <a:pt x="24" y="5"/>
                      </a:lnTo>
                      <a:lnTo>
                        <a:pt x="22" y="3"/>
                      </a:lnTo>
                      <a:lnTo>
                        <a:pt x="20" y="2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2" y="0"/>
                      </a:lnTo>
                      <a:lnTo>
                        <a:pt x="8" y="2"/>
                      </a:lnTo>
                      <a:lnTo>
                        <a:pt x="6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10"/>
                      </a:lnTo>
                      <a:lnTo>
                        <a:pt x="0" y="13"/>
                      </a:lnTo>
                      <a:lnTo>
                        <a:pt x="0" y="15"/>
                      </a:lnTo>
                      <a:lnTo>
                        <a:pt x="0" y="19"/>
                      </a:lnTo>
                      <a:lnTo>
                        <a:pt x="1" y="22"/>
                      </a:lnTo>
                      <a:lnTo>
                        <a:pt x="2" y="24"/>
                      </a:lnTo>
                      <a:lnTo>
                        <a:pt x="4" y="26"/>
                      </a:lnTo>
                      <a:lnTo>
                        <a:pt x="34" y="56"/>
                      </a:lnTo>
                      <a:lnTo>
                        <a:pt x="36" y="57"/>
                      </a:lnTo>
                      <a:lnTo>
                        <a:pt x="38" y="59"/>
                      </a:lnTo>
                      <a:lnTo>
                        <a:pt x="42" y="59"/>
                      </a:lnTo>
                      <a:lnTo>
                        <a:pt x="44" y="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2" name="Freeform 65">
                  <a:extLst>
                    <a:ext uri="{FF2B5EF4-FFF2-40B4-BE49-F238E27FC236}">
                      <a16:creationId xmlns:a16="http://schemas.microsoft.com/office/drawing/2014/main" id="{5D136F51-9B93-4C27-86C3-37673E4B84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5850" y="793750"/>
                  <a:ext cx="19050" cy="19050"/>
                </a:xfrm>
                <a:custGeom>
                  <a:avLst/>
                  <a:gdLst>
                    <a:gd name="T0" fmla="*/ 15 w 60"/>
                    <a:gd name="T1" fmla="*/ 60 h 60"/>
                    <a:gd name="T2" fmla="*/ 19 w 60"/>
                    <a:gd name="T3" fmla="*/ 59 h 60"/>
                    <a:gd name="T4" fmla="*/ 21 w 60"/>
                    <a:gd name="T5" fmla="*/ 59 h 60"/>
                    <a:gd name="T6" fmla="*/ 24 w 60"/>
                    <a:gd name="T7" fmla="*/ 57 h 60"/>
                    <a:gd name="T8" fmla="*/ 26 w 60"/>
                    <a:gd name="T9" fmla="*/ 56 h 60"/>
                    <a:gd name="T10" fmla="*/ 56 w 60"/>
                    <a:gd name="T11" fmla="*/ 26 h 60"/>
                    <a:gd name="T12" fmla="*/ 58 w 60"/>
                    <a:gd name="T13" fmla="*/ 24 h 60"/>
                    <a:gd name="T14" fmla="*/ 59 w 60"/>
                    <a:gd name="T15" fmla="*/ 22 h 60"/>
                    <a:gd name="T16" fmla="*/ 60 w 60"/>
                    <a:gd name="T17" fmla="*/ 19 h 60"/>
                    <a:gd name="T18" fmla="*/ 60 w 60"/>
                    <a:gd name="T19" fmla="*/ 15 h 60"/>
                    <a:gd name="T20" fmla="*/ 60 w 60"/>
                    <a:gd name="T21" fmla="*/ 13 h 60"/>
                    <a:gd name="T22" fmla="*/ 59 w 60"/>
                    <a:gd name="T23" fmla="*/ 10 h 60"/>
                    <a:gd name="T24" fmla="*/ 58 w 60"/>
                    <a:gd name="T25" fmla="*/ 7 h 60"/>
                    <a:gd name="T26" fmla="*/ 56 w 60"/>
                    <a:gd name="T27" fmla="*/ 5 h 60"/>
                    <a:gd name="T28" fmla="*/ 54 w 60"/>
                    <a:gd name="T29" fmla="*/ 3 h 60"/>
                    <a:gd name="T30" fmla="*/ 51 w 60"/>
                    <a:gd name="T31" fmla="*/ 2 h 60"/>
                    <a:gd name="T32" fmla="*/ 49 w 60"/>
                    <a:gd name="T33" fmla="*/ 0 h 60"/>
                    <a:gd name="T34" fmla="*/ 45 w 60"/>
                    <a:gd name="T35" fmla="*/ 0 h 60"/>
                    <a:gd name="T36" fmla="*/ 42 w 60"/>
                    <a:gd name="T37" fmla="*/ 0 h 60"/>
                    <a:gd name="T38" fmla="*/ 40 w 60"/>
                    <a:gd name="T39" fmla="*/ 2 h 60"/>
                    <a:gd name="T40" fmla="*/ 37 w 60"/>
                    <a:gd name="T41" fmla="*/ 3 h 60"/>
                    <a:gd name="T42" fmla="*/ 35 w 60"/>
                    <a:gd name="T43" fmla="*/ 5 h 60"/>
                    <a:gd name="T44" fmla="*/ 5 w 60"/>
                    <a:gd name="T45" fmla="*/ 35 h 60"/>
                    <a:gd name="T46" fmla="*/ 3 w 60"/>
                    <a:gd name="T47" fmla="*/ 37 h 60"/>
                    <a:gd name="T48" fmla="*/ 1 w 60"/>
                    <a:gd name="T49" fmla="*/ 40 h 60"/>
                    <a:gd name="T50" fmla="*/ 0 w 60"/>
                    <a:gd name="T51" fmla="*/ 43 h 60"/>
                    <a:gd name="T52" fmla="*/ 0 w 60"/>
                    <a:gd name="T53" fmla="*/ 45 h 60"/>
                    <a:gd name="T54" fmla="*/ 0 w 60"/>
                    <a:gd name="T55" fmla="*/ 49 h 60"/>
                    <a:gd name="T56" fmla="*/ 1 w 60"/>
                    <a:gd name="T57" fmla="*/ 52 h 60"/>
                    <a:gd name="T58" fmla="*/ 3 w 60"/>
                    <a:gd name="T59" fmla="*/ 54 h 60"/>
                    <a:gd name="T60" fmla="*/ 5 w 60"/>
                    <a:gd name="T61" fmla="*/ 56 h 60"/>
                    <a:gd name="T62" fmla="*/ 7 w 60"/>
                    <a:gd name="T63" fmla="*/ 57 h 60"/>
                    <a:gd name="T64" fmla="*/ 10 w 60"/>
                    <a:gd name="T65" fmla="*/ 59 h 60"/>
                    <a:gd name="T66" fmla="*/ 12 w 60"/>
                    <a:gd name="T67" fmla="*/ 59 h 60"/>
                    <a:gd name="T68" fmla="*/ 15 w 60"/>
                    <a:gd name="T69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60" h="60">
                      <a:moveTo>
                        <a:pt x="15" y="60"/>
                      </a:moveTo>
                      <a:lnTo>
                        <a:pt x="19" y="59"/>
                      </a:lnTo>
                      <a:lnTo>
                        <a:pt x="21" y="59"/>
                      </a:lnTo>
                      <a:lnTo>
                        <a:pt x="24" y="57"/>
                      </a:lnTo>
                      <a:lnTo>
                        <a:pt x="26" y="56"/>
                      </a:lnTo>
                      <a:lnTo>
                        <a:pt x="56" y="26"/>
                      </a:lnTo>
                      <a:lnTo>
                        <a:pt x="58" y="24"/>
                      </a:lnTo>
                      <a:lnTo>
                        <a:pt x="59" y="22"/>
                      </a:lnTo>
                      <a:lnTo>
                        <a:pt x="60" y="19"/>
                      </a:lnTo>
                      <a:lnTo>
                        <a:pt x="60" y="15"/>
                      </a:lnTo>
                      <a:lnTo>
                        <a:pt x="60" y="13"/>
                      </a:lnTo>
                      <a:lnTo>
                        <a:pt x="59" y="10"/>
                      </a:lnTo>
                      <a:lnTo>
                        <a:pt x="58" y="7"/>
                      </a:lnTo>
                      <a:lnTo>
                        <a:pt x="56" y="5"/>
                      </a:lnTo>
                      <a:lnTo>
                        <a:pt x="54" y="3"/>
                      </a:lnTo>
                      <a:lnTo>
                        <a:pt x="51" y="2"/>
                      </a:lnTo>
                      <a:lnTo>
                        <a:pt x="49" y="0"/>
                      </a:lnTo>
                      <a:lnTo>
                        <a:pt x="45" y="0"/>
                      </a:lnTo>
                      <a:lnTo>
                        <a:pt x="42" y="0"/>
                      </a:lnTo>
                      <a:lnTo>
                        <a:pt x="40" y="2"/>
                      </a:lnTo>
                      <a:lnTo>
                        <a:pt x="37" y="3"/>
                      </a:lnTo>
                      <a:lnTo>
                        <a:pt x="35" y="5"/>
                      </a:lnTo>
                      <a:lnTo>
                        <a:pt x="5" y="35"/>
                      </a:lnTo>
                      <a:lnTo>
                        <a:pt x="3" y="37"/>
                      </a:lnTo>
                      <a:lnTo>
                        <a:pt x="1" y="40"/>
                      </a:lnTo>
                      <a:lnTo>
                        <a:pt x="0" y="43"/>
                      </a:lnTo>
                      <a:lnTo>
                        <a:pt x="0" y="45"/>
                      </a:lnTo>
                      <a:lnTo>
                        <a:pt x="0" y="49"/>
                      </a:lnTo>
                      <a:lnTo>
                        <a:pt x="1" y="52"/>
                      </a:lnTo>
                      <a:lnTo>
                        <a:pt x="3" y="54"/>
                      </a:lnTo>
                      <a:lnTo>
                        <a:pt x="5" y="56"/>
                      </a:lnTo>
                      <a:lnTo>
                        <a:pt x="7" y="57"/>
                      </a:lnTo>
                      <a:lnTo>
                        <a:pt x="10" y="59"/>
                      </a:lnTo>
                      <a:lnTo>
                        <a:pt x="12" y="59"/>
                      </a:lnTo>
                      <a:lnTo>
                        <a:pt x="15" y="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3" name="Freeform 66">
                  <a:extLst>
                    <a:ext uri="{FF2B5EF4-FFF2-40B4-BE49-F238E27FC236}">
                      <a16:creationId xmlns:a16="http://schemas.microsoft.com/office/drawing/2014/main" id="{4ADDB18D-7936-4C23-9EBA-96D42EA980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6463" y="874713"/>
                  <a:ext cx="19050" cy="9525"/>
                </a:xfrm>
                <a:custGeom>
                  <a:avLst/>
                  <a:gdLst>
                    <a:gd name="T0" fmla="*/ 45 w 60"/>
                    <a:gd name="T1" fmla="*/ 0 h 30"/>
                    <a:gd name="T2" fmla="*/ 15 w 60"/>
                    <a:gd name="T3" fmla="*/ 0 h 30"/>
                    <a:gd name="T4" fmla="*/ 12 w 60"/>
                    <a:gd name="T5" fmla="*/ 1 h 30"/>
                    <a:gd name="T6" fmla="*/ 8 w 60"/>
                    <a:gd name="T7" fmla="*/ 2 h 30"/>
                    <a:gd name="T8" fmla="*/ 6 w 60"/>
                    <a:gd name="T9" fmla="*/ 3 h 30"/>
                    <a:gd name="T10" fmla="*/ 4 w 60"/>
                    <a:gd name="T11" fmla="*/ 5 h 30"/>
                    <a:gd name="T12" fmla="*/ 2 w 60"/>
                    <a:gd name="T13" fmla="*/ 8 h 30"/>
                    <a:gd name="T14" fmla="*/ 1 w 60"/>
                    <a:gd name="T15" fmla="*/ 10 h 30"/>
                    <a:gd name="T16" fmla="*/ 0 w 60"/>
                    <a:gd name="T17" fmla="*/ 13 h 30"/>
                    <a:gd name="T18" fmla="*/ 0 w 60"/>
                    <a:gd name="T19" fmla="*/ 15 h 30"/>
                    <a:gd name="T20" fmla="*/ 0 w 60"/>
                    <a:gd name="T21" fmla="*/ 18 h 30"/>
                    <a:gd name="T22" fmla="*/ 1 w 60"/>
                    <a:gd name="T23" fmla="*/ 22 h 30"/>
                    <a:gd name="T24" fmla="*/ 2 w 60"/>
                    <a:gd name="T25" fmla="*/ 25 h 30"/>
                    <a:gd name="T26" fmla="*/ 4 w 60"/>
                    <a:gd name="T27" fmla="*/ 27 h 30"/>
                    <a:gd name="T28" fmla="*/ 6 w 60"/>
                    <a:gd name="T29" fmla="*/ 28 h 30"/>
                    <a:gd name="T30" fmla="*/ 8 w 60"/>
                    <a:gd name="T31" fmla="*/ 29 h 30"/>
                    <a:gd name="T32" fmla="*/ 12 w 60"/>
                    <a:gd name="T33" fmla="*/ 30 h 30"/>
                    <a:gd name="T34" fmla="*/ 15 w 60"/>
                    <a:gd name="T35" fmla="*/ 30 h 30"/>
                    <a:gd name="T36" fmla="*/ 45 w 60"/>
                    <a:gd name="T37" fmla="*/ 30 h 30"/>
                    <a:gd name="T38" fmla="*/ 47 w 60"/>
                    <a:gd name="T39" fmla="*/ 30 h 30"/>
                    <a:gd name="T40" fmla="*/ 50 w 60"/>
                    <a:gd name="T41" fmla="*/ 29 h 30"/>
                    <a:gd name="T42" fmla="*/ 52 w 60"/>
                    <a:gd name="T43" fmla="*/ 28 h 30"/>
                    <a:gd name="T44" fmla="*/ 54 w 60"/>
                    <a:gd name="T45" fmla="*/ 27 h 30"/>
                    <a:gd name="T46" fmla="*/ 57 w 60"/>
                    <a:gd name="T47" fmla="*/ 25 h 30"/>
                    <a:gd name="T48" fmla="*/ 58 w 60"/>
                    <a:gd name="T49" fmla="*/ 22 h 30"/>
                    <a:gd name="T50" fmla="*/ 59 w 60"/>
                    <a:gd name="T51" fmla="*/ 18 h 30"/>
                    <a:gd name="T52" fmla="*/ 60 w 60"/>
                    <a:gd name="T53" fmla="*/ 15 h 30"/>
                    <a:gd name="T54" fmla="*/ 59 w 60"/>
                    <a:gd name="T55" fmla="*/ 13 h 30"/>
                    <a:gd name="T56" fmla="*/ 58 w 60"/>
                    <a:gd name="T57" fmla="*/ 10 h 30"/>
                    <a:gd name="T58" fmla="*/ 57 w 60"/>
                    <a:gd name="T59" fmla="*/ 8 h 30"/>
                    <a:gd name="T60" fmla="*/ 54 w 60"/>
                    <a:gd name="T61" fmla="*/ 5 h 30"/>
                    <a:gd name="T62" fmla="*/ 52 w 60"/>
                    <a:gd name="T63" fmla="*/ 3 h 30"/>
                    <a:gd name="T64" fmla="*/ 50 w 60"/>
                    <a:gd name="T65" fmla="*/ 2 h 30"/>
                    <a:gd name="T66" fmla="*/ 47 w 60"/>
                    <a:gd name="T67" fmla="*/ 1 h 30"/>
                    <a:gd name="T68" fmla="*/ 45 w 60"/>
                    <a:gd name="T69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60" h="30">
                      <a:moveTo>
                        <a:pt x="45" y="0"/>
                      </a:moveTo>
                      <a:lnTo>
                        <a:pt x="15" y="0"/>
                      </a:lnTo>
                      <a:lnTo>
                        <a:pt x="12" y="1"/>
                      </a:lnTo>
                      <a:lnTo>
                        <a:pt x="8" y="2"/>
                      </a:lnTo>
                      <a:lnTo>
                        <a:pt x="6" y="3"/>
                      </a:lnTo>
                      <a:lnTo>
                        <a:pt x="4" y="5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0" y="13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2"/>
                      </a:lnTo>
                      <a:lnTo>
                        <a:pt x="2" y="25"/>
                      </a:lnTo>
                      <a:lnTo>
                        <a:pt x="4" y="27"/>
                      </a:lnTo>
                      <a:lnTo>
                        <a:pt x="6" y="28"/>
                      </a:lnTo>
                      <a:lnTo>
                        <a:pt x="8" y="29"/>
                      </a:lnTo>
                      <a:lnTo>
                        <a:pt x="12" y="30"/>
                      </a:lnTo>
                      <a:lnTo>
                        <a:pt x="15" y="30"/>
                      </a:lnTo>
                      <a:lnTo>
                        <a:pt x="45" y="30"/>
                      </a:lnTo>
                      <a:lnTo>
                        <a:pt x="47" y="30"/>
                      </a:lnTo>
                      <a:lnTo>
                        <a:pt x="50" y="29"/>
                      </a:lnTo>
                      <a:lnTo>
                        <a:pt x="52" y="28"/>
                      </a:lnTo>
                      <a:lnTo>
                        <a:pt x="54" y="27"/>
                      </a:lnTo>
                      <a:lnTo>
                        <a:pt x="57" y="25"/>
                      </a:lnTo>
                      <a:lnTo>
                        <a:pt x="58" y="22"/>
                      </a:lnTo>
                      <a:lnTo>
                        <a:pt x="59" y="18"/>
                      </a:lnTo>
                      <a:lnTo>
                        <a:pt x="60" y="15"/>
                      </a:lnTo>
                      <a:lnTo>
                        <a:pt x="59" y="13"/>
                      </a:lnTo>
                      <a:lnTo>
                        <a:pt x="58" y="10"/>
                      </a:lnTo>
                      <a:lnTo>
                        <a:pt x="57" y="8"/>
                      </a:lnTo>
                      <a:lnTo>
                        <a:pt x="54" y="5"/>
                      </a:lnTo>
                      <a:lnTo>
                        <a:pt x="52" y="3"/>
                      </a:lnTo>
                      <a:lnTo>
                        <a:pt x="50" y="2"/>
                      </a:lnTo>
                      <a:lnTo>
                        <a:pt x="47" y="1"/>
                      </a:lnTo>
                      <a:lnTo>
                        <a:pt x="4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4" name="Freeform 67">
                  <a:extLst>
                    <a:ext uri="{FF2B5EF4-FFF2-40B4-BE49-F238E27FC236}">
                      <a16:creationId xmlns:a16="http://schemas.microsoft.com/office/drawing/2014/main" id="{C16F74F7-A9B3-4D1F-9D6B-32DFAD1E449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3450" y="865188"/>
                  <a:ext cx="257175" cy="190500"/>
                </a:xfrm>
                <a:custGeom>
                  <a:avLst/>
                  <a:gdLst>
                    <a:gd name="T0" fmla="*/ 174 w 808"/>
                    <a:gd name="T1" fmla="*/ 564 h 599"/>
                    <a:gd name="T2" fmla="*/ 111 w 808"/>
                    <a:gd name="T3" fmla="*/ 536 h 599"/>
                    <a:gd name="T4" fmla="*/ 62 w 808"/>
                    <a:gd name="T5" fmla="*/ 487 h 599"/>
                    <a:gd name="T6" fmla="*/ 34 w 808"/>
                    <a:gd name="T7" fmla="*/ 424 h 599"/>
                    <a:gd name="T8" fmla="*/ 34 w 808"/>
                    <a:gd name="T9" fmla="*/ 356 h 599"/>
                    <a:gd name="T10" fmla="*/ 59 w 808"/>
                    <a:gd name="T11" fmla="*/ 296 h 599"/>
                    <a:gd name="T12" fmla="*/ 105 w 808"/>
                    <a:gd name="T13" fmla="*/ 246 h 599"/>
                    <a:gd name="T14" fmla="*/ 164 w 808"/>
                    <a:gd name="T15" fmla="*/ 215 h 599"/>
                    <a:gd name="T16" fmla="*/ 205 w 808"/>
                    <a:gd name="T17" fmla="*/ 206 h 599"/>
                    <a:gd name="T18" fmla="*/ 213 w 808"/>
                    <a:gd name="T19" fmla="*/ 177 h 599"/>
                    <a:gd name="T20" fmla="*/ 233 w 808"/>
                    <a:gd name="T21" fmla="*/ 127 h 599"/>
                    <a:gd name="T22" fmla="*/ 282 w 808"/>
                    <a:gd name="T23" fmla="*/ 74 h 599"/>
                    <a:gd name="T24" fmla="*/ 348 w 808"/>
                    <a:gd name="T25" fmla="*/ 41 h 599"/>
                    <a:gd name="T26" fmla="*/ 419 w 808"/>
                    <a:gd name="T27" fmla="*/ 29 h 599"/>
                    <a:gd name="T28" fmla="*/ 479 w 808"/>
                    <a:gd name="T29" fmla="*/ 42 h 599"/>
                    <a:gd name="T30" fmla="*/ 531 w 808"/>
                    <a:gd name="T31" fmla="*/ 74 h 599"/>
                    <a:gd name="T32" fmla="*/ 573 w 808"/>
                    <a:gd name="T33" fmla="*/ 119 h 599"/>
                    <a:gd name="T34" fmla="*/ 600 w 808"/>
                    <a:gd name="T35" fmla="*/ 170 h 599"/>
                    <a:gd name="T36" fmla="*/ 615 w 808"/>
                    <a:gd name="T37" fmla="*/ 179 h 599"/>
                    <a:gd name="T38" fmla="*/ 675 w 808"/>
                    <a:gd name="T39" fmla="*/ 186 h 599"/>
                    <a:gd name="T40" fmla="*/ 709 w 808"/>
                    <a:gd name="T41" fmla="*/ 208 h 599"/>
                    <a:gd name="T42" fmla="*/ 725 w 808"/>
                    <a:gd name="T43" fmla="*/ 235 h 599"/>
                    <a:gd name="T44" fmla="*/ 727 w 808"/>
                    <a:gd name="T45" fmla="*/ 273 h 599"/>
                    <a:gd name="T46" fmla="*/ 719 w 808"/>
                    <a:gd name="T47" fmla="*/ 304 h 599"/>
                    <a:gd name="T48" fmla="*/ 737 w 808"/>
                    <a:gd name="T49" fmla="*/ 321 h 599"/>
                    <a:gd name="T50" fmla="*/ 764 w 808"/>
                    <a:gd name="T51" fmla="*/ 361 h 599"/>
                    <a:gd name="T52" fmla="*/ 778 w 808"/>
                    <a:gd name="T53" fmla="*/ 434 h 599"/>
                    <a:gd name="T54" fmla="*/ 767 w 808"/>
                    <a:gd name="T55" fmla="*/ 486 h 599"/>
                    <a:gd name="T56" fmla="*/ 738 w 808"/>
                    <a:gd name="T57" fmla="*/ 529 h 599"/>
                    <a:gd name="T58" fmla="*/ 696 w 808"/>
                    <a:gd name="T59" fmla="*/ 558 h 599"/>
                    <a:gd name="T60" fmla="*/ 642 w 808"/>
                    <a:gd name="T61" fmla="*/ 569 h 599"/>
                    <a:gd name="T62" fmla="*/ 758 w 808"/>
                    <a:gd name="T63" fmla="*/ 258 h 599"/>
                    <a:gd name="T64" fmla="*/ 747 w 808"/>
                    <a:gd name="T65" fmla="*/ 212 h 599"/>
                    <a:gd name="T66" fmla="*/ 727 w 808"/>
                    <a:gd name="T67" fmla="*/ 183 h 599"/>
                    <a:gd name="T68" fmla="*/ 700 w 808"/>
                    <a:gd name="T69" fmla="*/ 165 h 599"/>
                    <a:gd name="T70" fmla="*/ 642 w 808"/>
                    <a:gd name="T71" fmla="*/ 149 h 599"/>
                    <a:gd name="T72" fmla="*/ 601 w 808"/>
                    <a:gd name="T73" fmla="*/ 108 h 599"/>
                    <a:gd name="T74" fmla="*/ 559 w 808"/>
                    <a:gd name="T75" fmla="*/ 58 h 599"/>
                    <a:gd name="T76" fmla="*/ 503 w 808"/>
                    <a:gd name="T77" fmla="*/ 19 h 599"/>
                    <a:gd name="T78" fmla="*/ 438 w 808"/>
                    <a:gd name="T79" fmla="*/ 0 h 599"/>
                    <a:gd name="T80" fmla="*/ 349 w 808"/>
                    <a:gd name="T81" fmla="*/ 9 h 599"/>
                    <a:gd name="T82" fmla="*/ 272 w 808"/>
                    <a:gd name="T83" fmla="*/ 44 h 599"/>
                    <a:gd name="T84" fmla="*/ 216 w 808"/>
                    <a:gd name="T85" fmla="*/ 99 h 599"/>
                    <a:gd name="T86" fmla="*/ 185 w 808"/>
                    <a:gd name="T87" fmla="*/ 164 h 599"/>
                    <a:gd name="T88" fmla="*/ 128 w 808"/>
                    <a:gd name="T89" fmla="*/ 197 h 599"/>
                    <a:gd name="T90" fmla="*/ 66 w 808"/>
                    <a:gd name="T91" fmla="*/ 240 h 599"/>
                    <a:gd name="T92" fmla="*/ 22 w 808"/>
                    <a:gd name="T93" fmla="*/ 300 h 599"/>
                    <a:gd name="T94" fmla="*/ 1 w 808"/>
                    <a:gd name="T95" fmla="*/ 371 h 599"/>
                    <a:gd name="T96" fmla="*/ 3 w 808"/>
                    <a:gd name="T97" fmla="*/ 420 h 599"/>
                    <a:gd name="T98" fmla="*/ 27 w 808"/>
                    <a:gd name="T99" fmla="*/ 487 h 599"/>
                    <a:gd name="T100" fmla="*/ 78 w 808"/>
                    <a:gd name="T101" fmla="*/ 549 h 599"/>
                    <a:gd name="T102" fmla="*/ 149 w 808"/>
                    <a:gd name="T103" fmla="*/ 589 h 599"/>
                    <a:gd name="T104" fmla="*/ 199 w 808"/>
                    <a:gd name="T105" fmla="*/ 597 h 599"/>
                    <a:gd name="T106" fmla="*/ 676 w 808"/>
                    <a:gd name="T107" fmla="*/ 595 h 599"/>
                    <a:gd name="T108" fmla="*/ 735 w 808"/>
                    <a:gd name="T109" fmla="*/ 571 h 599"/>
                    <a:gd name="T110" fmla="*/ 780 w 808"/>
                    <a:gd name="T111" fmla="*/ 526 h 599"/>
                    <a:gd name="T112" fmla="*/ 805 w 808"/>
                    <a:gd name="T113" fmla="*/ 467 h 599"/>
                    <a:gd name="T114" fmla="*/ 806 w 808"/>
                    <a:gd name="T115" fmla="*/ 397 h 599"/>
                    <a:gd name="T116" fmla="*/ 788 w 808"/>
                    <a:gd name="T117" fmla="*/ 342 h 599"/>
                    <a:gd name="T118" fmla="*/ 766 w 808"/>
                    <a:gd name="T119" fmla="*/ 308 h 5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08" h="599">
                      <a:moveTo>
                        <a:pt x="642" y="569"/>
                      </a:moveTo>
                      <a:lnTo>
                        <a:pt x="210" y="569"/>
                      </a:lnTo>
                      <a:lnTo>
                        <a:pt x="192" y="568"/>
                      </a:lnTo>
                      <a:lnTo>
                        <a:pt x="174" y="564"/>
                      </a:lnTo>
                      <a:lnTo>
                        <a:pt x="158" y="560"/>
                      </a:lnTo>
                      <a:lnTo>
                        <a:pt x="141" y="554"/>
                      </a:lnTo>
                      <a:lnTo>
                        <a:pt x="126" y="546"/>
                      </a:lnTo>
                      <a:lnTo>
                        <a:pt x="111" y="536"/>
                      </a:lnTo>
                      <a:lnTo>
                        <a:pt x="97" y="526"/>
                      </a:lnTo>
                      <a:lnTo>
                        <a:pt x="84" y="514"/>
                      </a:lnTo>
                      <a:lnTo>
                        <a:pt x="73" y="501"/>
                      </a:lnTo>
                      <a:lnTo>
                        <a:pt x="62" y="487"/>
                      </a:lnTo>
                      <a:lnTo>
                        <a:pt x="52" y="473"/>
                      </a:lnTo>
                      <a:lnTo>
                        <a:pt x="45" y="457"/>
                      </a:lnTo>
                      <a:lnTo>
                        <a:pt x="38" y="441"/>
                      </a:lnTo>
                      <a:lnTo>
                        <a:pt x="34" y="424"/>
                      </a:lnTo>
                      <a:lnTo>
                        <a:pt x="31" y="407"/>
                      </a:lnTo>
                      <a:lnTo>
                        <a:pt x="30" y="389"/>
                      </a:lnTo>
                      <a:lnTo>
                        <a:pt x="31" y="373"/>
                      </a:lnTo>
                      <a:lnTo>
                        <a:pt x="34" y="356"/>
                      </a:lnTo>
                      <a:lnTo>
                        <a:pt x="38" y="341"/>
                      </a:lnTo>
                      <a:lnTo>
                        <a:pt x="44" y="325"/>
                      </a:lnTo>
                      <a:lnTo>
                        <a:pt x="50" y="310"/>
                      </a:lnTo>
                      <a:lnTo>
                        <a:pt x="59" y="296"/>
                      </a:lnTo>
                      <a:lnTo>
                        <a:pt x="68" y="282"/>
                      </a:lnTo>
                      <a:lnTo>
                        <a:pt x="79" y="269"/>
                      </a:lnTo>
                      <a:lnTo>
                        <a:pt x="92" y="257"/>
                      </a:lnTo>
                      <a:lnTo>
                        <a:pt x="105" y="246"/>
                      </a:lnTo>
                      <a:lnTo>
                        <a:pt x="118" y="237"/>
                      </a:lnTo>
                      <a:lnTo>
                        <a:pt x="133" y="228"/>
                      </a:lnTo>
                      <a:lnTo>
                        <a:pt x="147" y="222"/>
                      </a:lnTo>
                      <a:lnTo>
                        <a:pt x="164" y="215"/>
                      </a:lnTo>
                      <a:lnTo>
                        <a:pt x="180" y="212"/>
                      </a:lnTo>
                      <a:lnTo>
                        <a:pt x="197" y="209"/>
                      </a:lnTo>
                      <a:lnTo>
                        <a:pt x="201" y="208"/>
                      </a:lnTo>
                      <a:lnTo>
                        <a:pt x="205" y="206"/>
                      </a:lnTo>
                      <a:lnTo>
                        <a:pt x="209" y="201"/>
                      </a:lnTo>
                      <a:lnTo>
                        <a:pt x="210" y="196"/>
                      </a:lnTo>
                      <a:lnTo>
                        <a:pt x="211" y="186"/>
                      </a:lnTo>
                      <a:lnTo>
                        <a:pt x="213" y="177"/>
                      </a:lnTo>
                      <a:lnTo>
                        <a:pt x="215" y="168"/>
                      </a:lnTo>
                      <a:lnTo>
                        <a:pt x="217" y="160"/>
                      </a:lnTo>
                      <a:lnTo>
                        <a:pt x="225" y="143"/>
                      </a:lnTo>
                      <a:lnTo>
                        <a:pt x="233" y="127"/>
                      </a:lnTo>
                      <a:lnTo>
                        <a:pt x="244" y="113"/>
                      </a:lnTo>
                      <a:lnTo>
                        <a:pt x="256" y="99"/>
                      </a:lnTo>
                      <a:lnTo>
                        <a:pt x="268" y="86"/>
                      </a:lnTo>
                      <a:lnTo>
                        <a:pt x="282" y="74"/>
                      </a:lnTo>
                      <a:lnTo>
                        <a:pt x="298" y="64"/>
                      </a:lnTo>
                      <a:lnTo>
                        <a:pt x="315" y="56"/>
                      </a:lnTo>
                      <a:lnTo>
                        <a:pt x="331" y="47"/>
                      </a:lnTo>
                      <a:lnTo>
                        <a:pt x="348" y="41"/>
                      </a:lnTo>
                      <a:lnTo>
                        <a:pt x="366" y="37"/>
                      </a:lnTo>
                      <a:lnTo>
                        <a:pt x="384" y="32"/>
                      </a:lnTo>
                      <a:lnTo>
                        <a:pt x="401" y="30"/>
                      </a:lnTo>
                      <a:lnTo>
                        <a:pt x="419" y="29"/>
                      </a:lnTo>
                      <a:lnTo>
                        <a:pt x="434" y="30"/>
                      </a:lnTo>
                      <a:lnTo>
                        <a:pt x="449" y="32"/>
                      </a:lnTo>
                      <a:lnTo>
                        <a:pt x="464" y="37"/>
                      </a:lnTo>
                      <a:lnTo>
                        <a:pt x="479" y="42"/>
                      </a:lnTo>
                      <a:lnTo>
                        <a:pt x="492" y="48"/>
                      </a:lnTo>
                      <a:lnTo>
                        <a:pt x="506" y="56"/>
                      </a:lnTo>
                      <a:lnTo>
                        <a:pt x="519" y="64"/>
                      </a:lnTo>
                      <a:lnTo>
                        <a:pt x="531" y="74"/>
                      </a:lnTo>
                      <a:lnTo>
                        <a:pt x="543" y="84"/>
                      </a:lnTo>
                      <a:lnTo>
                        <a:pt x="553" y="94"/>
                      </a:lnTo>
                      <a:lnTo>
                        <a:pt x="563" y="106"/>
                      </a:lnTo>
                      <a:lnTo>
                        <a:pt x="573" y="119"/>
                      </a:lnTo>
                      <a:lnTo>
                        <a:pt x="580" y="131"/>
                      </a:lnTo>
                      <a:lnTo>
                        <a:pt x="588" y="144"/>
                      </a:lnTo>
                      <a:lnTo>
                        <a:pt x="595" y="158"/>
                      </a:lnTo>
                      <a:lnTo>
                        <a:pt x="600" y="170"/>
                      </a:lnTo>
                      <a:lnTo>
                        <a:pt x="603" y="175"/>
                      </a:lnTo>
                      <a:lnTo>
                        <a:pt x="607" y="178"/>
                      </a:lnTo>
                      <a:lnTo>
                        <a:pt x="611" y="179"/>
                      </a:lnTo>
                      <a:lnTo>
                        <a:pt x="615" y="179"/>
                      </a:lnTo>
                      <a:lnTo>
                        <a:pt x="631" y="179"/>
                      </a:lnTo>
                      <a:lnTo>
                        <a:pt x="646" y="179"/>
                      </a:lnTo>
                      <a:lnTo>
                        <a:pt x="661" y="182"/>
                      </a:lnTo>
                      <a:lnTo>
                        <a:pt x="675" y="186"/>
                      </a:lnTo>
                      <a:lnTo>
                        <a:pt x="687" y="192"/>
                      </a:lnTo>
                      <a:lnTo>
                        <a:pt x="699" y="199"/>
                      </a:lnTo>
                      <a:lnTo>
                        <a:pt x="704" y="204"/>
                      </a:lnTo>
                      <a:lnTo>
                        <a:pt x="709" y="208"/>
                      </a:lnTo>
                      <a:lnTo>
                        <a:pt x="713" y="213"/>
                      </a:lnTo>
                      <a:lnTo>
                        <a:pt x="716" y="219"/>
                      </a:lnTo>
                      <a:lnTo>
                        <a:pt x="721" y="226"/>
                      </a:lnTo>
                      <a:lnTo>
                        <a:pt x="725" y="235"/>
                      </a:lnTo>
                      <a:lnTo>
                        <a:pt x="727" y="244"/>
                      </a:lnTo>
                      <a:lnTo>
                        <a:pt x="728" y="253"/>
                      </a:lnTo>
                      <a:lnTo>
                        <a:pt x="728" y="264"/>
                      </a:lnTo>
                      <a:lnTo>
                        <a:pt x="727" y="273"/>
                      </a:lnTo>
                      <a:lnTo>
                        <a:pt x="723" y="283"/>
                      </a:lnTo>
                      <a:lnTo>
                        <a:pt x="720" y="293"/>
                      </a:lnTo>
                      <a:lnTo>
                        <a:pt x="719" y="299"/>
                      </a:lnTo>
                      <a:lnTo>
                        <a:pt x="719" y="304"/>
                      </a:lnTo>
                      <a:lnTo>
                        <a:pt x="721" y="308"/>
                      </a:lnTo>
                      <a:lnTo>
                        <a:pt x="726" y="313"/>
                      </a:lnTo>
                      <a:lnTo>
                        <a:pt x="731" y="317"/>
                      </a:lnTo>
                      <a:lnTo>
                        <a:pt x="737" y="321"/>
                      </a:lnTo>
                      <a:lnTo>
                        <a:pt x="743" y="327"/>
                      </a:lnTo>
                      <a:lnTo>
                        <a:pt x="747" y="333"/>
                      </a:lnTo>
                      <a:lnTo>
                        <a:pt x="757" y="346"/>
                      </a:lnTo>
                      <a:lnTo>
                        <a:pt x="764" y="361"/>
                      </a:lnTo>
                      <a:lnTo>
                        <a:pt x="771" y="378"/>
                      </a:lnTo>
                      <a:lnTo>
                        <a:pt x="775" y="395"/>
                      </a:lnTo>
                      <a:lnTo>
                        <a:pt x="778" y="414"/>
                      </a:lnTo>
                      <a:lnTo>
                        <a:pt x="778" y="434"/>
                      </a:lnTo>
                      <a:lnTo>
                        <a:pt x="778" y="448"/>
                      </a:lnTo>
                      <a:lnTo>
                        <a:pt x="776" y="460"/>
                      </a:lnTo>
                      <a:lnTo>
                        <a:pt x="773" y="474"/>
                      </a:lnTo>
                      <a:lnTo>
                        <a:pt x="767" y="486"/>
                      </a:lnTo>
                      <a:lnTo>
                        <a:pt x="762" y="498"/>
                      </a:lnTo>
                      <a:lnTo>
                        <a:pt x="756" y="509"/>
                      </a:lnTo>
                      <a:lnTo>
                        <a:pt x="747" y="519"/>
                      </a:lnTo>
                      <a:lnTo>
                        <a:pt x="738" y="529"/>
                      </a:lnTo>
                      <a:lnTo>
                        <a:pt x="729" y="538"/>
                      </a:lnTo>
                      <a:lnTo>
                        <a:pt x="718" y="545"/>
                      </a:lnTo>
                      <a:lnTo>
                        <a:pt x="707" y="553"/>
                      </a:lnTo>
                      <a:lnTo>
                        <a:pt x="696" y="558"/>
                      </a:lnTo>
                      <a:lnTo>
                        <a:pt x="683" y="562"/>
                      </a:lnTo>
                      <a:lnTo>
                        <a:pt x="670" y="565"/>
                      </a:lnTo>
                      <a:lnTo>
                        <a:pt x="656" y="568"/>
                      </a:lnTo>
                      <a:lnTo>
                        <a:pt x="642" y="569"/>
                      </a:lnTo>
                      <a:close/>
                      <a:moveTo>
                        <a:pt x="751" y="295"/>
                      </a:moveTo>
                      <a:lnTo>
                        <a:pt x="756" y="282"/>
                      </a:lnTo>
                      <a:lnTo>
                        <a:pt x="758" y="270"/>
                      </a:lnTo>
                      <a:lnTo>
                        <a:pt x="758" y="258"/>
                      </a:lnTo>
                      <a:lnTo>
                        <a:pt x="758" y="245"/>
                      </a:lnTo>
                      <a:lnTo>
                        <a:pt x="756" y="235"/>
                      </a:lnTo>
                      <a:lnTo>
                        <a:pt x="752" y="223"/>
                      </a:lnTo>
                      <a:lnTo>
                        <a:pt x="747" y="212"/>
                      </a:lnTo>
                      <a:lnTo>
                        <a:pt x="742" y="201"/>
                      </a:lnTo>
                      <a:lnTo>
                        <a:pt x="737" y="195"/>
                      </a:lnTo>
                      <a:lnTo>
                        <a:pt x="732" y="189"/>
                      </a:lnTo>
                      <a:lnTo>
                        <a:pt x="727" y="183"/>
                      </a:lnTo>
                      <a:lnTo>
                        <a:pt x="720" y="178"/>
                      </a:lnTo>
                      <a:lnTo>
                        <a:pt x="714" y="173"/>
                      </a:lnTo>
                      <a:lnTo>
                        <a:pt x="707" y="168"/>
                      </a:lnTo>
                      <a:lnTo>
                        <a:pt x="700" y="165"/>
                      </a:lnTo>
                      <a:lnTo>
                        <a:pt x="692" y="161"/>
                      </a:lnTo>
                      <a:lnTo>
                        <a:pt x="676" y="155"/>
                      </a:lnTo>
                      <a:lnTo>
                        <a:pt x="660" y="151"/>
                      </a:lnTo>
                      <a:lnTo>
                        <a:pt x="642" y="149"/>
                      </a:lnTo>
                      <a:lnTo>
                        <a:pt x="624" y="149"/>
                      </a:lnTo>
                      <a:lnTo>
                        <a:pt x="618" y="135"/>
                      </a:lnTo>
                      <a:lnTo>
                        <a:pt x="609" y="122"/>
                      </a:lnTo>
                      <a:lnTo>
                        <a:pt x="601" y="108"/>
                      </a:lnTo>
                      <a:lnTo>
                        <a:pt x="592" y="95"/>
                      </a:lnTo>
                      <a:lnTo>
                        <a:pt x="581" y="83"/>
                      </a:lnTo>
                      <a:lnTo>
                        <a:pt x="570" y="70"/>
                      </a:lnTo>
                      <a:lnTo>
                        <a:pt x="559" y="58"/>
                      </a:lnTo>
                      <a:lnTo>
                        <a:pt x="546" y="47"/>
                      </a:lnTo>
                      <a:lnTo>
                        <a:pt x="532" y="37"/>
                      </a:lnTo>
                      <a:lnTo>
                        <a:pt x="518" y="28"/>
                      </a:lnTo>
                      <a:lnTo>
                        <a:pt x="503" y="19"/>
                      </a:lnTo>
                      <a:lnTo>
                        <a:pt x="488" y="13"/>
                      </a:lnTo>
                      <a:lnTo>
                        <a:pt x="471" y="8"/>
                      </a:lnTo>
                      <a:lnTo>
                        <a:pt x="455" y="3"/>
                      </a:lnTo>
                      <a:lnTo>
                        <a:pt x="438" y="0"/>
                      </a:lnTo>
                      <a:lnTo>
                        <a:pt x="419" y="0"/>
                      </a:lnTo>
                      <a:lnTo>
                        <a:pt x="395" y="0"/>
                      </a:lnTo>
                      <a:lnTo>
                        <a:pt x="371" y="3"/>
                      </a:lnTo>
                      <a:lnTo>
                        <a:pt x="349" y="9"/>
                      </a:lnTo>
                      <a:lnTo>
                        <a:pt x="328" y="15"/>
                      </a:lnTo>
                      <a:lnTo>
                        <a:pt x="308" y="24"/>
                      </a:lnTo>
                      <a:lnTo>
                        <a:pt x="289" y="33"/>
                      </a:lnTo>
                      <a:lnTo>
                        <a:pt x="272" y="44"/>
                      </a:lnTo>
                      <a:lnTo>
                        <a:pt x="256" y="57"/>
                      </a:lnTo>
                      <a:lnTo>
                        <a:pt x="241" y="70"/>
                      </a:lnTo>
                      <a:lnTo>
                        <a:pt x="228" y="84"/>
                      </a:lnTo>
                      <a:lnTo>
                        <a:pt x="216" y="99"/>
                      </a:lnTo>
                      <a:lnTo>
                        <a:pt x="206" y="115"/>
                      </a:lnTo>
                      <a:lnTo>
                        <a:pt x="198" y="131"/>
                      </a:lnTo>
                      <a:lnTo>
                        <a:pt x="190" y="147"/>
                      </a:lnTo>
                      <a:lnTo>
                        <a:pt x="185" y="164"/>
                      </a:lnTo>
                      <a:lnTo>
                        <a:pt x="182" y="181"/>
                      </a:lnTo>
                      <a:lnTo>
                        <a:pt x="162" y="184"/>
                      </a:lnTo>
                      <a:lnTo>
                        <a:pt x="145" y="191"/>
                      </a:lnTo>
                      <a:lnTo>
                        <a:pt x="128" y="197"/>
                      </a:lnTo>
                      <a:lnTo>
                        <a:pt x="111" y="207"/>
                      </a:lnTo>
                      <a:lnTo>
                        <a:pt x="95" y="216"/>
                      </a:lnTo>
                      <a:lnTo>
                        <a:pt x="80" y="228"/>
                      </a:lnTo>
                      <a:lnTo>
                        <a:pt x="66" y="240"/>
                      </a:lnTo>
                      <a:lnTo>
                        <a:pt x="53" y="254"/>
                      </a:lnTo>
                      <a:lnTo>
                        <a:pt x="42" y="269"/>
                      </a:lnTo>
                      <a:lnTo>
                        <a:pt x="32" y="284"/>
                      </a:lnTo>
                      <a:lnTo>
                        <a:pt x="22" y="300"/>
                      </a:lnTo>
                      <a:lnTo>
                        <a:pt x="15" y="317"/>
                      </a:lnTo>
                      <a:lnTo>
                        <a:pt x="8" y="334"/>
                      </a:lnTo>
                      <a:lnTo>
                        <a:pt x="4" y="352"/>
                      </a:lnTo>
                      <a:lnTo>
                        <a:pt x="1" y="371"/>
                      </a:lnTo>
                      <a:lnTo>
                        <a:pt x="0" y="389"/>
                      </a:lnTo>
                      <a:lnTo>
                        <a:pt x="1" y="399"/>
                      </a:lnTo>
                      <a:lnTo>
                        <a:pt x="2" y="409"/>
                      </a:lnTo>
                      <a:lnTo>
                        <a:pt x="3" y="420"/>
                      </a:lnTo>
                      <a:lnTo>
                        <a:pt x="5" y="431"/>
                      </a:lnTo>
                      <a:lnTo>
                        <a:pt x="10" y="450"/>
                      </a:lnTo>
                      <a:lnTo>
                        <a:pt x="17" y="469"/>
                      </a:lnTo>
                      <a:lnTo>
                        <a:pt x="27" y="487"/>
                      </a:lnTo>
                      <a:lnTo>
                        <a:pt x="37" y="504"/>
                      </a:lnTo>
                      <a:lnTo>
                        <a:pt x="49" y="520"/>
                      </a:lnTo>
                      <a:lnTo>
                        <a:pt x="63" y="535"/>
                      </a:lnTo>
                      <a:lnTo>
                        <a:pt x="78" y="549"/>
                      </a:lnTo>
                      <a:lnTo>
                        <a:pt x="94" y="561"/>
                      </a:lnTo>
                      <a:lnTo>
                        <a:pt x="112" y="572"/>
                      </a:lnTo>
                      <a:lnTo>
                        <a:pt x="130" y="581"/>
                      </a:lnTo>
                      <a:lnTo>
                        <a:pt x="149" y="589"/>
                      </a:lnTo>
                      <a:lnTo>
                        <a:pt x="169" y="594"/>
                      </a:lnTo>
                      <a:lnTo>
                        <a:pt x="179" y="595"/>
                      </a:lnTo>
                      <a:lnTo>
                        <a:pt x="189" y="597"/>
                      </a:lnTo>
                      <a:lnTo>
                        <a:pt x="199" y="597"/>
                      </a:lnTo>
                      <a:lnTo>
                        <a:pt x="210" y="599"/>
                      </a:lnTo>
                      <a:lnTo>
                        <a:pt x="642" y="599"/>
                      </a:lnTo>
                      <a:lnTo>
                        <a:pt x="659" y="597"/>
                      </a:lnTo>
                      <a:lnTo>
                        <a:pt x="676" y="595"/>
                      </a:lnTo>
                      <a:lnTo>
                        <a:pt x="692" y="591"/>
                      </a:lnTo>
                      <a:lnTo>
                        <a:pt x="707" y="586"/>
                      </a:lnTo>
                      <a:lnTo>
                        <a:pt x="721" y="578"/>
                      </a:lnTo>
                      <a:lnTo>
                        <a:pt x="735" y="571"/>
                      </a:lnTo>
                      <a:lnTo>
                        <a:pt x="748" y="561"/>
                      </a:lnTo>
                      <a:lnTo>
                        <a:pt x="760" y="550"/>
                      </a:lnTo>
                      <a:lnTo>
                        <a:pt x="771" y="539"/>
                      </a:lnTo>
                      <a:lnTo>
                        <a:pt x="780" y="526"/>
                      </a:lnTo>
                      <a:lnTo>
                        <a:pt x="789" y="512"/>
                      </a:lnTo>
                      <a:lnTo>
                        <a:pt x="795" y="498"/>
                      </a:lnTo>
                      <a:lnTo>
                        <a:pt x="801" y="483"/>
                      </a:lnTo>
                      <a:lnTo>
                        <a:pt x="805" y="467"/>
                      </a:lnTo>
                      <a:lnTo>
                        <a:pt x="808" y="451"/>
                      </a:lnTo>
                      <a:lnTo>
                        <a:pt x="808" y="434"/>
                      </a:lnTo>
                      <a:lnTo>
                        <a:pt x="808" y="417"/>
                      </a:lnTo>
                      <a:lnTo>
                        <a:pt x="806" y="397"/>
                      </a:lnTo>
                      <a:lnTo>
                        <a:pt x="802" y="379"/>
                      </a:lnTo>
                      <a:lnTo>
                        <a:pt x="796" y="360"/>
                      </a:lnTo>
                      <a:lnTo>
                        <a:pt x="792" y="351"/>
                      </a:lnTo>
                      <a:lnTo>
                        <a:pt x="788" y="342"/>
                      </a:lnTo>
                      <a:lnTo>
                        <a:pt x="783" y="333"/>
                      </a:lnTo>
                      <a:lnTo>
                        <a:pt x="778" y="325"/>
                      </a:lnTo>
                      <a:lnTo>
                        <a:pt x="773" y="316"/>
                      </a:lnTo>
                      <a:lnTo>
                        <a:pt x="766" y="308"/>
                      </a:lnTo>
                      <a:lnTo>
                        <a:pt x="759" y="301"/>
                      </a:lnTo>
                      <a:lnTo>
                        <a:pt x="751" y="29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15" name="Freeform 68">
                  <a:extLst>
                    <a:ext uri="{FF2B5EF4-FFF2-40B4-BE49-F238E27FC236}">
                      <a16:creationId xmlns:a16="http://schemas.microsoft.com/office/drawing/2014/main" id="{23C825B7-BBE0-4192-BCEA-195A6D4A0D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3450" y="798513"/>
                  <a:ext cx="146050" cy="123825"/>
                </a:xfrm>
                <a:custGeom>
                  <a:avLst/>
                  <a:gdLst>
                    <a:gd name="T0" fmla="*/ 39 w 457"/>
                    <a:gd name="T1" fmla="*/ 386 h 388"/>
                    <a:gd name="T2" fmla="*/ 50 w 457"/>
                    <a:gd name="T3" fmla="*/ 388 h 388"/>
                    <a:gd name="T4" fmla="*/ 59 w 457"/>
                    <a:gd name="T5" fmla="*/ 383 h 388"/>
                    <a:gd name="T6" fmla="*/ 62 w 457"/>
                    <a:gd name="T7" fmla="*/ 374 h 388"/>
                    <a:gd name="T8" fmla="*/ 60 w 457"/>
                    <a:gd name="T9" fmla="*/ 365 h 388"/>
                    <a:gd name="T10" fmla="*/ 42 w 457"/>
                    <a:gd name="T11" fmla="*/ 326 h 388"/>
                    <a:gd name="T12" fmla="*/ 32 w 457"/>
                    <a:gd name="T13" fmla="*/ 284 h 388"/>
                    <a:gd name="T14" fmla="*/ 31 w 457"/>
                    <a:gd name="T15" fmla="*/ 243 h 388"/>
                    <a:gd name="T16" fmla="*/ 35 w 457"/>
                    <a:gd name="T17" fmla="*/ 210 h 388"/>
                    <a:gd name="T18" fmla="*/ 44 w 457"/>
                    <a:gd name="T19" fmla="*/ 178 h 388"/>
                    <a:gd name="T20" fmla="*/ 68 w 457"/>
                    <a:gd name="T21" fmla="*/ 130 h 388"/>
                    <a:gd name="T22" fmla="*/ 112 w 457"/>
                    <a:gd name="T23" fmla="*/ 82 h 388"/>
                    <a:gd name="T24" fmla="*/ 168 w 457"/>
                    <a:gd name="T25" fmla="*/ 48 h 388"/>
                    <a:gd name="T26" fmla="*/ 199 w 457"/>
                    <a:gd name="T27" fmla="*/ 37 h 388"/>
                    <a:gd name="T28" fmla="*/ 232 w 457"/>
                    <a:gd name="T29" fmla="*/ 31 h 388"/>
                    <a:gd name="T30" fmla="*/ 267 w 457"/>
                    <a:gd name="T31" fmla="*/ 30 h 388"/>
                    <a:gd name="T32" fmla="*/ 305 w 457"/>
                    <a:gd name="T33" fmla="*/ 36 h 388"/>
                    <a:gd name="T34" fmla="*/ 341 w 457"/>
                    <a:gd name="T35" fmla="*/ 48 h 388"/>
                    <a:gd name="T36" fmla="*/ 374 w 457"/>
                    <a:gd name="T37" fmla="*/ 65 h 388"/>
                    <a:gd name="T38" fmla="*/ 404 w 457"/>
                    <a:gd name="T39" fmla="*/ 87 h 388"/>
                    <a:gd name="T40" fmla="*/ 430 w 457"/>
                    <a:gd name="T41" fmla="*/ 115 h 388"/>
                    <a:gd name="T42" fmla="*/ 443 w 457"/>
                    <a:gd name="T43" fmla="*/ 121 h 388"/>
                    <a:gd name="T44" fmla="*/ 452 w 457"/>
                    <a:gd name="T45" fmla="*/ 118 h 388"/>
                    <a:gd name="T46" fmla="*/ 457 w 457"/>
                    <a:gd name="T47" fmla="*/ 105 h 388"/>
                    <a:gd name="T48" fmla="*/ 454 w 457"/>
                    <a:gd name="T49" fmla="*/ 98 h 388"/>
                    <a:gd name="T50" fmla="*/ 424 w 457"/>
                    <a:gd name="T51" fmla="*/ 66 h 388"/>
                    <a:gd name="T52" fmla="*/ 391 w 457"/>
                    <a:gd name="T53" fmla="*/ 40 h 388"/>
                    <a:gd name="T54" fmla="*/ 352 w 457"/>
                    <a:gd name="T55" fmla="*/ 20 h 388"/>
                    <a:gd name="T56" fmla="*/ 312 w 457"/>
                    <a:gd name="T57" fmla="*/ 7 h 388"/>
                    <a:gd name="T58" fmla="*/ 270 w 457"/>
                    <a:gd name="T59" fmla="*/ 0 h 388"/>
                    <a:gd name="T60" fmla="*/ 229 w 457"/>
                    <a:gd name="T61" fmla="*/ 1 h 388"/>
                    <a:gd name="T62" fmla="*/ 191 w 457"/>
                    <a:gd name="T63" fmla="*/ 8 h 388"/>
                    <a:gd name="T64" fmla="*/ 156 w 457"/>
                    <a:gd name="T65" fmla="*/ 21 h 388"/>
                    <a:gd name="T66" fmla="*/ 123 w 457"/>
                    <a:gd name="T67" fmla="*/ 37 h 388"/>
                    <a:gd name="T68" fmla="*/ 93 w 457"/>
                    <a:gd name="T69" fmla="*/ 58 h 388"/>
                    <a:gd name="T70" fmla="*/ 66 w 457"/>
                    <a:gd name="T71" fmla="*/ 84 h 388"/>
                    <a:gd name="T72" fmla="*/ 44 w 457"/>
                    <a:gd name="T73" fmla="*/ 113 h 388"/>
                    <a:gd name="T74" fmla="*/ 25 w 457"/>
                    <a:gd name="T75" fmla="*/ 145 h 388"/>
                    <a:gd name="T76" fmla="*/ 12 w 457"/>
                    <a:gd name="T77" fmla="*/ 179 h 388"/>
                    <a:gd name="T78" fmla="*/ 3 w 457"/>
                    <a:gd name="T79" fmla="*/ 217 h 388"/>
                    <a:gd name="T80" fmla="*/ 0 w 457"/>
                    <a:gd name="T81" fmla="*/ 254 h 388"/>
                    <a:gd name="T82" fmla="*/ 5 w 457"/>
                    <a:gd name="T83" fmla="*/ 304 h 388"/>
                    <a:gd name="T84" fmla="*/ 19 w 457"/>
                    <a:gd name="T85" fmla="*/ 352 h 3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457" h="388">
                      <a:moveTo>
                        <a:pt x="34" y="380"/>
                      </a:moveTo>
                      <a:lnTo>
                        <a:pt x="36" y="384"/>
                      </a:lnTo>
                      <a:lnTo>
                        <a:pt x="39" y="386"/>
                      </a:lnTo>
                      <a:lnTo>
                        <a:pt x="43" y="388"/>
                      </a:lnTo>
                      <a:lnTo>
                        <a:pt x="47" y="388"/>
                      </a:lnTo>
                      <a:lnTo>
                        <a:pt x="50" y="388"/>
                      </a:lnTo>
                      <a:lnTo>
                        <a:pt x="54" y="386"/>
                      </a:lnTo>
                      <a:lnTo>
                        <a:pt x="56" y="385"/>
                      </a:lnTo>
                      <a:lnTo>
                        <a:pt x="59" y="383"/>
                      </a:lnTo>
                      <a:lnTo>
                        <a:pt x="60" y="379"/>
                      </a:lnTo>
                      <a:lnTo>
                        <a:pt x="61" y="377"/>
                      </a:lnTo>
                      <a:lnTo>
                        <a:pt x="62" y="374"/>
                      </a:lnTo>
                      <a:lnTo>
                        <a:pt x="62" y="371"/>
                      </a:lnTo>
                      <a:lnTo>
                        <a:pt x="61" y="369"/>
                      </a:lnTo>
                      <a:lnTo>
                        <a:pt x="60" y="365"/>
                      </a:lnTo>
                      <a:lnTo>
                        <a:pt x="53" y="353"/>
                      </a:lnTo>
                      <a:lnTo>
                        <a:pt x="47" y="340"/>
                      </a:lnTo>
                      <a:lnTo>
                        <a:pt x="42" y="326"/>
                      </a:lnTo>
                      <a:lnTo>
                        <a:pt x="37" y="312"/>
                      </a:lnTo>
                      <a:lnTo>
                        <a:pt x="34" y="298"/>
                      </a:lnTo>
                      <a:lnTo>
                        <a:pt x="32" y="284"/>
                      </a:lnTo>
                      <a:lnTo>
                        <a:pt x="31" y="269"/>
                      </a:lnTo>
                      <a:lnTo>
                        <a:pt x="30" y="254"/>
                      </a:lnTo>
                      <a:lnTo>
                        <a:pt x="31" y="243"/>
                      </a:lnTo>
                      <a:lnTo>
                        <a:pt x="32" y="232"/>
                      </a:lnTo>
                      <a:lnTo>
                        <a:pt x="33" y="221"/>
                      </a:lnTo>
                      <a:lnTo>
                        <a:pt x="35" y="210"/>
                      </a:lnTo>
                      <a:lnTo>
                        <a:pt x="37" y="198"/>
                      </a:lnTo>
                      <a:lnTo>
                        <a:pt x="40" y="189"/>
                      </a:lnTo>
                      <a:lnTo>
                        <a:pt x="44" y="178"/>
                      </a:lnTo>
                      <a:lnTo>
                        <a:pt x="48" y="167"/>
                      </a:lnTo>
                      <a:lnTo>
                        <a:pt x="58" y="148"/>
                      </a:lnTo>
                      <a:lnTo>
                        <a:pt x="68" y="130"/>
                      </a:lnTo>
                      <a:lnTo>
                        <a:pt x="81" y="113"/>
                      </a:lnTo>
                      <a:lnTo>
                        <a:pt x="96" y="97"/>
                      </a:lnTo>
                      <a:lnTo>
                        <a:pt x="112" y="82"/>
                      </a:lnTo>
                      <a:lnTo>
                        <a:pt x="129" y="69"/>
                      </a:lnTo>
                      <a:lnTo>
                        <a:pt x="147" y="57"/>
                      </a:lnTo>
                      <a:lnTo>
                        <a:pt x="168" y="48"/>
                      </a:lnTo>
                      <a:lnTo>
                        <a:pt x="177" y="44"/>
                      </a:lnTo>
                      <a:lnTo>
                        <a:pt x="188" y="40"/>
                      </a:lnTo>
                      <a:lnTo>
                        <a:pt x="199" y="37"/>
                      </a:lnTo>
                      <a:lnTo>
                        <a:pt x="210" y="35"/>
                      </a:lnTo>
                      <a:lnTo>
                        <a:pt x="220" y="33"/>
                      </a:lnTo>
                      <a:lnTo>
                        <a:pt x="232" y="31"/>
                      </a:lnTo>
                      <a:lnTo>
                        <a:pt x="243" y="30"/>
                      </a:lnTo>
                      <a:lnTo>
                        <a:pt x="255" y="30"/>
                      </a:lnTo>
                      <a:lnTo>
                        <a:pt x="267" y="30"/>
                      </a:lnTo>
                      <a:lnTo>
                        <a:pt x="280" y="31"/>
                      </a:lnTo>
                      <a:lnTo>
                        <a:pt x="293" y="34"/>
                      </a:lnTo>
                      <a:lnTo>
                        <a:pt x="305" y="36"/>
                      </a:lnTo>
                      <a:lnTo>
                        <a:pt x="318" y="39"/>
                      </a:lnTo>
                      <a:lnTo>
                        <a:pt x="330" y="43"/>
                      </a:lnTo>
                      <a:lnTo>
                        <a:pt x="341" y="48"/>
                      </a:lnTo>
                      <a:lnTo>
                        <a:pt x="352" y="53"/>
                      </a:lnTo>
                      <a:lnTo>
                        <a:pt x="364" y="58"/>
                      </a:lnTo>
                      <a:lnTo>
                        <a:pt x="374" y="65"/>
                      </a:lnTo>
                      <a:lnTo>
                        <a:pt x="384" y="72"/>
                      </a:lnTo>
                      <a:lnTo>
                        <a:pt x="395" y="80"/>
                      </a:lnTo>
                      <a:lnTo>
                        <a:pt x="404" y="87"/>
                      </a:lnTo>
                      <a:lnTo>
                        <a:pt x="413" y="97"/>
                      </a:lnTo>
                      <a:lnTo>
                        <a:pt x="423" y="105"/>
                      </a:lnTo>
                      <a:lnTo>
                        <a:pt x="430" y="115"/>
                      </a:lnTo>
                      <a:lnTo>
                        <a:pt x="435" y="119"/>
                      </a:lnTo>
                      <a:lnTo>
                        <a:pt x="441" y="121"/>
                      </a:lnTo>
                      <a:lnTo>
                        <a:pt x="443" y="121"/>
                      </a:lnTo>
                      <a:lnTo>
                        <a:pt x="446" y="120"/>
                      </a:lnTo>
                      <a:lnTo>
                        <a:pt x="449" y="120"/>
                      </a:lnTo>
                      <a:lnTo>
                        <a:pt x="452" y="118"/>
                      </a:lnTo>
                      <a:lnTo>
                        <a:pt x="455" y="114"/>
                      </a:lnTo>
                      <a:lnTo>
                        <a:pt x="457" y="107"/>
                      </a:lnTo>
                      <a:lnTo>
                        <a:pt x="457" y="105"/>
                      </a:lnTo>
                      <a:lnTo>
                        <a:pt x="457" y="102"/>
                      </a:lnTo>
                      <a:lnTo>
                        <a:pt x="456" y="100"/>
                      </a:lnTo>
                      <a:lnTo>
                        <a:pt x="454" y="98"/>
                      </a:lnTo>
                      <a:lnTo>
                        <a:pt x="444" y="86"/>
                      </a:lnTo>
                      <a:lnTo>
                        <a:pt x="434" y="75"/>
                      </a:lnTo>
                      <a:lnTo>
                        <a:pt x="424" y="66"/>
                      </a:lnTo>
                      <a:lnTo>
                        <a:pt x="413" y="56"/>
                      </a:lnTo>
                      <a:lnTo>
                        <a:pt x="402" y="48"/>
                      </a:lnTo>
                      <a:lnTo>
                        <a:pt x="391" y="40"/>
                      </a:lnTo>
                      <a:lnTo>
                        <a:pt x="378" y="33"/>
                      </a:lnTo>
                      <a:lnTo>
                        <a:pt x="365" y="26"/>
                      </a:lnTo>
                      <a:lnTo>
                        <a:pt x="352" y="20"/>
                      </a:lnTo>
                      <a:lnTo>
                        <a:pt x="339" y="14"/>
                      </a:lnTo>
                      <a:lnTo>
                        <a:pt x="325" y="10"/>
                      </a:lnTo>
                      <a:lnTo>
                        <a:pt x="312" y="7"/>
                      </a:lnTo>
                      <a:lnTo>
                        <a:pt x="297" y="4"/>
                      </a:lnTo>
                      <a:lnTo>
                        <a:pt x="283" y="1"/>
                      </a:lnTo>
                      <a:lnTo>
                        <a:pt x="270" y="0"/>
                      </a:lnTo>
                      <a:lnTo>
                        <a:pt x="255" y="0"/>
                      </a:lnTo>
                      <a:lnTo>
                        <a:pt x="242" y="0"/>
                      </a:lnTo>
                      <a:lnTo>
                        <a:pt x="229" y="1"/>
                      </a:lnTo>
                      <a:lnTo>
                        <a:pt x="216" y="4"/>
                      </a:lnTo>
                      <a:lnTo>
                        <a:pt x="203" y="6"/>
                      </a:lnTo>
                      <a:lnTo>
                        <a:pt x="191" y="8"/>
                      </a:lnTo>
                      <a:lnTo>
                        <a:pt x="180" y="12"/>
                      </a:lnTo>
                      <a:lnTo>
                        <a:pt x="168" y="15"/>
                      </a:lnTo>
                      <a:lnTo>
                        <a:pt x="156" y="21"/>
                      </a:lnTo>
                      <a:lnTo>
                        <a:pt x="144" y="25"/>
                      </a:lnTo>
                      <a:lnTo>
                        <a:pt x="134" y="31"/>
                      </a:lnTo>
                      <a:lnTo>
                        <a:pt x="123" y="37"/>
                      </a:lnTo>
                      <a:lnTo>
                        <a:pt x="112" y="44"/>
                      </a:lnTo>
                      <a:lnTo>
                        <a:pt x="103" y="51"/>
                      </a:lnTo>
                      <a:lnTo>
                        <a:pt x="93" y="58"/>
                      </a:lnTo>
                      <a:lnTo>
                        <a:pt x="83" y="67"/>
                      </a:lnTo>
                      <a:lnTo>
                        <a:pt x="75" y="75"/>
                      </a:lnTo>
                      <a:lnTo>
                        <a:pt x="66" y="84"/>
                      </a:lnTo>
                      <a:lnTo>
                        <a:pt x="59" y="94"/>
                      </a:lnTo>
                      <a:lnTo>
                        <a:pt x="51" y="103"/>
                      </a:lnTo>
                      <a:lnTo>
                        <a:pt x="44" y="113"/>
                      </a:lnTo>
                      <a:lnTo>
                        <a:pt x="37" y="124"/>
                      </a:lnTo>
                      <a:lnTo>
                        <a:pt x="31" y="134"/>
                      </a:lnTo>
                      <a:lnTo>
                        <a:pt x="25" y="145"/>
                      </a:lnTo>
                      <a:lnTo>
                        <a:pt x="20" y="156"/>
                      </a:lnTo>
                      <a:lnTo>
                        <a:pt x="16" y="167"/>
                      </a:lnTo>
                      <a:lnTo>
                        <a:pt x="12" y="179"/>
                      </a:lnTo>
                      <a:lnTo>
                        <a:pt x="8" y="191"/>
                      </a:lnTo>
                      <a:lnTo>
                        <a:pt x="5" y="204"/>
                      </a:lnTo>
                      <a:lnTo>
                        <a:pt x="3" y="217"/>
                      </a:lnTo>
                      <a:lnTo>
                        <a:pt x="2" y="228"/>
                      </a:lnTo>
                      <a:lnTo>
                        <a:pt x="1" y="241"/>
                      </a:lnTo>
                      <a:lnTo>
                        <a:pt x="0" y="254"/>
                      </a:lnTo>
                      <a:lnTo>
                        <a:pt x="1" y="271"/>
                      </a:lnTo>
                      <a:lnTo>
                        <a:pt x="3" y="288"/>
                      </a:lnTo>
                      <a:lnTo>
                        <a:pt x="5" y="304"/>
                      </a:lnTo>
                      <a:lnTo>
                        <a:pt x="8" y="320"/>
                      </a:lnTo>
                      <a:lnTo>
                        <a:pt x="14" y="335"/>
                      </a:lnTo>
                      <a:lnTo>
                        <a:pt x="19" y="352"/>
                      </a:lnTo>
                      <a:lnTo>
                        <a:pt x="25" y="366"/>
                      </a:lnTo>
                      <a:lnTo>
                        <a:pt x="34" y="3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1916" name="Group 1915">
              <a:extLst>
                <a:ext uri="{FF2B5EF4-FFF2-40B4-BE49-F238E27FC236}">
                  <a16:creationId xmlns:a16="http://schemas.microsoft.com/office/drawing/2014/main" id="{C16732C5-EB16-46A8-8F92-D5E337BD9B4D}"/>
                </a:ext>
              </a:extLst>
            </p:cNvPr>
            <p:cNvGrpSpPr/>
            <p:nvPr/>
          </p:nvGrpSpPr>
          <p:grpSpPr>
            <a:xfrm>
              <a:off x="5992480" y="3818411"/>
              <a:ext cx="418315" cy="418315"/>
              <a:chOff x="7004151" y="1986191"/>
              <a:chExt cx="418315" cy="418315"/>
            </a:xfrm>
          </p:grpSpPr>
          <p:sp>
            <p:nvSpPr>
              <p:cNvPr id="1917" name="Oval 1916">
                <a:extLst>
                  <a:ext uri="{FF2B5EF4-FFF2-40B4-BE49-F238E27FC236}">
                    <a16:creationId xmlns:a16="http://schemas.microsoft.com/office/drawing/2014/main" id="{E8927159-E570-4024-88DA-0182C8225E99}"/>
                  </a:ext>
                </a:extLst>
              </p:cNvPr>
              <p:cNvSpPr/>
              <p:nvPr/>
            </p:nvSpPr>
            <p:spPr>
              <a:xfrm>
                <a:off x="7004151" y="1986191"/>
                <a:ext cx="418315" cy="418315"/>
              </a:xfrm>
              <a:prstGeom prst="ellipse">
                <a:avLst/>
              </a:prstGeom>
              <a:solidFill>
                <a:schemeClr val="accent3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918" name="Group 1917">
                <a:extLst>
                  <a:ext uri="{FF2B5EF4-FFF2-40B4-BE49-F238E27FC236}">
                    <a16:creationId xmlns:a16="http://schemas.microsoft.com/office/drawing/2014/main" id="{1203DF03-17C6-4627-8F0D-1A6ACEEBF717}"/>
                  </a:ext>
                </a:extLst>
              </p:cNvPr>
              <p:cNvGrpSpPr/>
              <p:nvPr/>
            </p:nvGrpSpPr>
            <p:grpSpPr>
              <a:xfrm>
                <a:off x="7133466" y="2106634"/>
                <a:ext cx="159685" cy="177428"/>
                <a:chOff x="4356100" y="769938"/>
                <a:chExt cx="257175" cy="285750"/>
              </a:xfrm>
              <a:solidFill>
                <a:schemeClr val="bg1"/>
              </a:solidFill>
            </p:grpSpPr>
            <p:sp>
              <p:nvSpPr>
                <p:cNvPr id="1919" name="Freeform 43">
                  <a:extLst>
                    <a:ext uri="{FF2B5EF4-FFF2-40B4-BE49-F238E27FC236}">
                      <a16:creationId xmlns:a16="http://schemas.microsoft.com/office/drawing/2014/main" id="{BB3B7650-2276-4956-AA0F-373D6322627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356100" y="769938"/>
                  <a:ext cx="257175" cy="190500"/>
                </a:xfrm>
                <a:custGeom>
                  <a:avLst/>
                  <a:gdLst>
                    <a:gd name="T0" fmla="*/ 174 w 808"/>
                    <a:gd name="T1" fmla="*/ 565 h 598"/>
                    <a:gd name="T2" fmla="*/ 110 w 808"/>
                    <a:gd name="T3" fmla="*/ 537 h 598"/>
                    <a:gd name="T4" fmla="*/ 61 w 808"/>
                    <a:gd name="T5" fmla="*/ 488 h 598"/>
                    <a:gd name="T6" fmla="*/ 33 w 808"/>
                    <a:gd name="T7" fmla="*/ 423 h 598"/>
                    <a:gd name="T8" fmla="*/ 33 w 808"/>
                    <a:gd name="T9" fmla="*/ 356 h 598"/>
                    <a:gd name="T10" fmla="*/ 59 w 808"/>
                    <a:gd name="T11" fmla="*/ 295 h 598"/>
                    <a:gd name="T12" fmla="*/ 104 w 808"/>
                    <a:gd name="T13" fmla="*/ 247 h 598"/>
                    <a:gd name="T14" fmla="*/ 163 w 808"/>
                    <a:gd name="T15" fmla="*/ 216 h 598"/>
                    <a:gd name="T16" fmla="*/ 205 w 808"/>
                    <a:gd name="T17" fmla="*/ 205 h 598"/>
                    <a:gd name="T18" fmla="*/ 212 w 808"/>
                    <a:gd name="T19" fmla="*/ 177 h 598"/>
                    <a:gd name="T20" fmla="*/ 232 w 808"/>
                    <a:gd name="T21" fmla="*/ 127 h 598"/>
                    <a:gd name="T22" fmla="*/ 282 w 808"/>
                    <a:gd name="T23" fmla="*/ 74 h 598"/>
                    <a:gd name="T24" fmla="*/ 348 w 808"/>
                    <a:gd name="T25" fmla="*/ 41 h 598"/>
                    <a:gd name="T26" fmla="*/ 418 w 808"/>
                    <a:gd name="T27" fmla="*/ 29 h 598"/>
                    <a:gd name="T28" fmla="*/ 478 w 808"/>
                    <a:gd name="T29" fmla="*/ 41 h 598"/>
                    <a:gd name="T30" fmla="*/ 530 w 808"/>
                    <a:gd name="T31" fmla="*/ 73 h 598"/>
                    <a:gd name="T32" fmla="*/ 572 w 808"/>
                    <a:gd name="T33" fmla="*/ 118 h 598"/>
                    <a:gd name="T34" fmla="*/ 599 w 808"/>
                    <a:gd name="T35" fmla="*/ 170 h 598"/>
                    <a:gd name="T36" fmla="*/ 615 w 808"/>
                    <a:gd name="T37" fmla="*/ 179 h 598"/>
                    <a:gd name="T38" fmla="*/ 674 w 808"/>
                    <a:gd name="T39" fmla="*/ 186 h 598"/>
                    <a:gd name="T40" fmla="*/ 707 w 808"/>
                    <a:gd name="T41" fmla="*/ 208 h 598"/>
                    <a:gd name="T42" fmla="*/ 724 w 808"/>
                    <a:gd name="T43" fmla="*/ 235 h 598"/>
                    <a:gd name="T44" fmla="*/ 726 w 808"/>
                    <a:gd name="T45" fmla="*/ 272 h 598"/>
                    <a:gd name="T46" fmla="*/ 719 w 808"/>
                    <a:gd name="T47" fmla="*/ 303 h 598"/>
                    <a:gd name="T48" fmla="*/ 736 w 808"/>
                    <a:gd name="T49" fmla="*/ 322 h 598"/>
                    <a:gd name="T50" fmla="*/ 763 w 808"/>
                    <a:gd name="T51" fmla="*/ 361 h 598"/>
                    <a:gd name="T52" fmla="*/ 778 w 808"/>
                    <a:gd name="T53" fmla="*/ 433 h 598"/>
                    <a:gd name="T54" fmla="*/ 767 w 808"/>
                    <a:gd name="T55" fmla="*/ 485 h 598"/>
                    <a:gd name="T56" fmla="*/ 739 w 808"/>
                    <a:gd name="T57" fmla="*/ 528 h 598"/>
                    <a:gd name="T58" fmla="*/ 695 w 808"/>
                    <a:gd name="T59" fmla="*/ 557 h 598"/>
                    <a:gd name="T60" fmla="*/ 642 w 808"/>
                    <a:gd name="T61" fmla="*/ 568 h 598"/>
                    <a:gd name="T62" fmla="*/ 758 w 808"/>
                    <a:gd name="T63" fmla="*/ 257 h 598"/>
                    <a:gd name="T64" fmla="*/ 747 w 808"/>
                    <a:gd name="T65" fmla="*/ 211 h 598"/>
                    <a:gd name="T66" fmla="*/ 726 w 808"/>
                    <a:gd name="T67" fmla="*/ 183 h 598"/>
                    <a:gd name="T68" fmla="*/ 699 w 808"/>
                    <a:gd name="T69" fmla="*/ 164 h 598"/>
                    <a:gd name="T70" fmla="*/ 641 w 808"/>
                    <a:gd name="T71" fmla="*/ 149 h 598"/>
                    <a:gd name="T72" fmla="*/ 600 w 808"/>
                    <a:gd name="T73" fmla="*/ 108 h 598"/>
                    <a:gd name="T74" fmla="*/ 558 w 808"/>
                    <a:gd name="T75" fmla="*/ 57 h 598"/>
                    <a:gd name="T76" fmla="*/ 502 w 808"/>
                    <a:gd name="T77" fmla="*/ 20 h 598"/>
                    <a:gd name="T78" fmla="*/ 437 w 808"/>
                    <a:gd name="T79" fmla="*/ 1 h 598"/>
                    <a:gd name="T80" fmla="*/ 349 w 808"/>
                    <a:gd name="T81" fmla="*/ 8 h 598"/>
                    <a:gd name="T82" fmla="*/ 271 w 808"/>
                    <a:gd name="T83" fmla="*/ 44 h 598"/>
                    <a:gd name="T84" fmla="*/ 215 w 808"/>
                    <a:gd name="T85" fmla="*/ 99 h 598"/>
                    <a:gd name="T86" fmla="*/ 184 w 808"/>
                    <a:gd name="T87" fmla="*/ 163 h 598"/>
                    <a:gd name="T88" fmla="*/ 127 w 808"/>
                    <a:gd name="T89" fmla="*/ 198 h 598"/>
                    <a:gd name="T90" fmla="*/ 66 w 808"/>
                    <a:gd name="T91" fmla="*/ 240 h 598"/>
                    <a:gd name="T92" fmla="*/ 21 w 808"/>
                    <a:gd name="T93" fmla="*/ 300 h 598"/>
                    <a:gd name="T94" fmla="*/ 1 w 808"/>
                    <a:gd name="T95" fmla="*/ 370 h 598"/>
                    <a:gd name="T96" fmla="*/ 2 w 808"/>
                    <a:gd name="T97" fmla="*/ 419 h 598"/>
                    <a:gd name="T98" fmla="*/ 25 w 808"/>
                    <a:gd name="T99" fmla="*/ 487 h 598"/>
                    <a:gd name="T100" fmla="*/ 78 w 808"/>
                    <a:gd name="T101" fmla="*/ 549 h 598"/>
                    <a:gd name="T102" fmla="*/ 149 w 808"/>
                    <a:gd name="T103" fmla="*/ 588 h 598"/>
                    <a:gd name="T104" fmla="*/ 199 w 808"/>
                    <a:gd name="T105" fmla="*/ 598 h 598"/>
                    <a:gd name="T106" fmla="*/ 675 w 808"/>
                    <a:gd name="T107" fmla="*/ 595 h 598"/>
                    <a:gd name="T108" fmla="*/ 734 w 808"/>
                    <a:gd name="T109" fmla="*/ 570 h 598"/>
                    <a:gd name="T110" fmla="*/ 779 w 808"/>
                    <a:gd name="T111" fmla="*/ 525 h 598"/>
                    <a:gd name="T112" fmla="*/ 805 w 808"/>
                    <a:gd name="T113" fmla="*/ 466 h 598"/>
                    <a:gd name="T114" fmla="*/ 805 w 808"/>
                    <a:gd name="T115" fmla="*/ 398 h 598"/>
                    <a:gd name="T116" fmla="*/ 788 w 808"/>
                    <a:gd name="T117" fmla="*/ 342 h 598"/>
                    <a:gd name="T118" fmla="*/ 765 w 808"/>
                    <a:gd name="T119" fmla="*/ 308 h 5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08" h="598">
                      <a:moveTo>
                        <a:pt x="642" y="568"/>
                      </a:moveTo>
                      <a:lnTo>
                        <a:pt x="210" y="568"/>
                      </a:lnTo>
                      <a:lnTo>
                        <a:pt x="191" y="567"/>
                      </a:lnTo>
                      <a:lnTo>
                        <a:pt x="174" y="565"/>
                      </a:lnTo>
                      <a:lnTo>
                        <a:pt x="157" y="559"/>
                      </a:lnTo>
                      <a:lnTo>
                        <a:pt x="141" y="554"/>
                      </a:lnTo>
                      <a:lnTo>
                        <a:pt x="125" y="545"/>
                      </a:lnTo>
                      <a:lnTo>
                        <a:pt x="110" y="537"/>
                      </a:lnTo>
                      <a:lnTo>
                        <a:pt x="96" y="526"/>
                      </a:lnTo>
                      <a:lnTo>
                        <a:pt x="83" y="514"/>
                      </a:lnTo>
                      <a:lnTo>
                        <a:pt x="72" y="502"/>
                      </a:lnTo>
                      <a:lnTo>
                        <a:pt x="61" y="488"/>
                      </a:lnTo>
                      <a:lnTo>
                        <a:pt x="52" y="473"/>
                      </a:lnTo>
                      <a:lnTo>
                        <a:pt x="45" y="457"/>
                      </a:lnTo>
                      <a:lnTo>
                        <a:pt x="38" y="441"/>
                      </a:lnTo>
                      <a:lnTo>
                        <a:pt x="33" y="423"/>
                      </a:lnTo>
                      <a:lnTo>
                        <a:pt x="31" y="406"/>
                      </a:lnTo>
                      <a:lnTo>
                        <a:pt x="30" y="388"/>
                      </a:lnTo>
                      <a:lnTo>
                        <a:pt x="31" y="372"/>
                      </a:lnTo>
                      <a:lnTo>
                        <a:pt x="33" y="356"/>
                      </a:lnTo>
                      <a:lnTo>
                        <a:pt x="37" y="340"/>
                      </a:lnTo>
                      <a:lnTo>
                        <a:pt x="43" y="325"/>
                      </a:lnTo>
                      <a:lnTo>
                        <a:pt x="50" y="310"/>
                      </a:lnTo>
                      <a:lnTo>
                        <a:pt x="59" y="295"/>
                      </a:lnTo>
                      <a:lnTo>
                        <a:pt x="68" y="282"/>
                      </a:lnTo>
                      <a:lnTo>
                        <a:pt x="79" y="269"/>
                      </a:lnTo>
                      <a:lnTo>
                        <a:pt x="91" y="257"/>
                      </a:lnTo>
                      <a:lnTo>
                        <a:pt x="104" y="247"/>
                      </a:lnTo>
                      <a:lnTo>
                        <a:pt x="118" y="237"/>
                      </a:lnTo>
                      <a:lnTo>
                        <a:pt x="131" y="229"/>
                      </a:lnTo>
                      <a:lnTo>
                        <a:pt x="146" y="221"/>
                      </a:lnTo>
                      <a:lnTo>
                        <a:pt x="163" y="216"/>
                      </a:lnTo>
                      <a:lnTo>
                        <a:pt x="179" y="211"/>
                      </a:lnTo>
                      <a:lnTo>
                        <a:pt x="196" y="209"/>
                      </a:lnTo>
                      <a:lnTo>
                        <a:pt x="201" y="208"/>
                      </a:lnTo>
                      <a:lnTo>
                        <a:pt x="205" y="205"/>
                      </a:lnTo>
                      <a:lnTo>
                        <a:pt x="208" y="201"/>
                      </a:lnTo>
                      <a:lnTo>
                        <a:pt x="209" y="195"/>
                      </a:lnTo>
                      <a:lnTo>
                        <a:pt x="211" y="186"/>
                      </a:lnTo>
                      <a:lnTo>
                        <a:pt x="212" y="177"/>
                      </a:lnTo>
                      <a:lnTo>
                        <a:pt x="214" y="168"/>
                      </a:lnTo>
                      <a:lnTo>
                        <a:pt x="217" y="159"/>
                      </a:lnTo>
                      <a:lnTo>
                        <a:pt x="224" y="142"/>
                      </a:lnTo>
                      <a:lnTo>
                        <a:pt x="232" y="127"/>
                      </a:lnTo>
                      <a:lnTo>
                        <a:pt x="243" y="112"/>
                      </a:lnTo>
                      <a:lnTo>
                        <a:pt x="255" y="98"/>
                      </a:lnTo>
                      <a:lnTo>
                        <a:pt x="267" y="85"/>
                      </a:lnTo>
                      <a:lnTo>
                        <a:pt x="282" y="74"/>
                      </a:lnTo>
                      <a:lnTo>
                        <a:pt x="297" y="64"/>
                      </a:lnTo>
                      <a:lnTo>
                        <a:pt x="313" y="55"/>
                      </a:lnTo>
                      <a:lnTo>
                        <a:pt x="331" y="48"/>
                      </a:lnTo>
                      <a:lnTo>
                        <a:pt x="348" y="41"/>
                      </a:lnTo>
                      <a:lnTo>
                        <a:pt x="365" y="36"/>
                      </a:lnTo>
                      <a:lnTo>
                        <a:pt x="383" y="33"/>
                      </a:lnTo>
                      <a:lnTo>
                        <a:pt x="401" y="31"/>
                      </a:lnTo>
                      <a:lnTo>
                        <a:pt x="418" y="29"/>
                      </a:lnTo>
                      <a:lnTo>
                        <a:pt x="434" y="31"/>
                      </a:lnTo>
                      <a:lnTo>
                        <a:pt x="449" y="33"/>
                      </a:lnTo>
                      <a:lnTo>
                        <a:pt x="464" y="36"/>
                      </a:lnTo>
                      <a:lnTo>
                        <a:pt x="478" y="41"/>
                      </a:lnTo>
                      <a:lnTo>
                        <a:pt x="492" y="48"/>
                      </a:lnTo>
                      <a:lnTo>
                        <a:pt x="505" y="55"/>
                      </a:lnTo>
                      <a:lnTo>
                        <a:pt x="518" y="64"/>
                      </a:lnTo>
                      <a:lnTo>
                        <a:pt x="530" y="73"/>
                      </a:lnTo>
                      <a:lnTo>
                        <a:pt x="542" y="84"/>
                      </a:lnTo>
                      <a:lnTo>
                        <a:pt x="552" y="95"/>
                      </a:lnTo>
                      <a:lnTo>
                        <a:pt x="562" y="107"/>
                      </a:lnTo>
                      <a:lnTo>
                        <a:pt x="572" y="118"/>
                      </a:lnTo>
                      <a:lnTo>
                        <a:pt x="580" y="131"/>
                      </a:lnTo>
                      <a:lnTo>
                        <a:pt x="588" y="144"/>
                      </a:lnTo>
                      <a:lnTo>
                        <a:pt x="594" y="157"/>
                      </a:lnTo>
                      <a:lnTo>
                        <a:pt x="599" y="170"/>
                      </a:lnTo>
                      <a:lnTo>
                        <a:pt x="601" y="174"/>
                      </a:lnTo>
                      <a:lnTo>
                        <a:pt x="606" y="177"/>
                      </a:lnTo>
                      <a:lnTo>
                        <a:pt x="610" y="179"/>
                      </a:lnTo>
                      <a:lnTo>
                        <a:pt x="615" y="179"/>
                      </a:lnTo>
                      <a:lnTo>
                        <a:pt x="630" y="178"/>
                      </a:lnTo>
                      <a:lnTo>
                        <a:pt x="646" y="179"/>
                      </a:lnTo>
                      <a:lnTo>
                        <a:pt x="660" y="181"/>
                      </a:lnTo>
                      <a:lnTo>
                        <a:pt x="674" y="186"/>
                      </a:lnTo>
                      <a:lnTo>
                        <a:pt x="687" y="192"/>
                      </a:lnTo>
                      <a:lnTo>
                        <a:pt x="698" y="200"/>
                      </a:lnTo>
                      <a:lnTo>
                        <a:pt x="703" y="203"/>
                      </a:lnTo>
                      <a:lnTo>
                        <a:pt x="707" y="208"/>
                      </a:lnTo>
                      <a:lnTo>
                        <a:pt x="712" y="213"/>
                      </a:lnTo>
                      <a:lnTo>
                        <a:pt x="716" y="218"/>
                      </a:lnTo>
                      <a:lnTo>
                        <a:pt x="720" y="226"/>
                      </a:lnTo>
                      <a:lnTo>
                        <a:pt x="724" y="235"/>
                      </a:lnTo>
                      <a:lnTo>
                        <a:pt x="727" y="244"/>
                      </a:lnTo>
                      <a:lnTo>
                        <a:pt x="728" y="253"/>
                      </a:lnTo>
                      <a:lnTo>
                        <a:pt x="727" y="263"/>
                      </a:lnTo>
                      <a:lnTo>
                        <a:pt x="726" y="272"/>
                      </a:lnTo>
                      <a:lnTo>
                        <a:pt x="724" y="282"/>
                      </a:lnTo>
                      <a:lnTo>
                        <a:pt x="719" y="293"/>
                      </a:lnTo>
                      <a:lnTo>
                        <a:pt x="718" y="298"/>
                      </a:lnTo>
                      <a:lnTo>
                        <a:pt x="719" y="303"/>
                      </a:lnTo>
                      <a:lnTo>
                        <a:pt x="721" y="308"/>
                      </a:lnTo>
                      <a:lnTo>
                        <a:pt x="725" y="312"/>
                      </a:lnTo>
                      <a:lnTo>
                        <a:pt x="731" y="316"/>
                      </a:lnTo>
                      <a:lnTo>
                        <a:pt x="736" y="322"/>
                      </a:lnTo>
                      <a:lnTo>
                        <a:pt x="742" y="327"/>
                      </a:lnTo>
                      <a:lnTo>
                        <a:pt x="747" y="332"/>
                      </a:lnTo>
                      <a:lnTo>
                        <a:pt x="756" y="346"/>
                      </a:lnTo>
                      <a:lnTo>
                        <a:pt x="763" y="361"/>
                      </a:lnTo>
                      <a:lnTo>
                        <a:pt x="770" y="377"/>
                      </a:lnTo>
                      <a:lnTo>
                        <a:pt x="774" y="396"/>
                      </a:lnTo>
                      <a:lnTo>
                        <a:pt x="777" y="414"/>
                      </a:lnTo>
                      <a:lnTo>
                        <a:pt x="778" y="433"/>
                      </a:lnTo>
                      <a:lnTo>
                        <a:pt x="777" y="447"/>
                      </a:lnTo>
                      <a:lnTo>
                        <a:pt x="775" y="461"/>
                      </a:lnTo>
                      <a:lnTo>
                        <a:pt x="772" y="474"/>
                      </a:lnTo>
                      <a:lnTo>
                        <a:pt x="767" y="485"/>
                      </a:lnTo>
                      <a:lnTo>
                        <a:pt x="762" y="498"/>
                      </a:lnTo>
                      <a:lnTo>
                        <a:pt x="755" y="509"/>
                      </a:lnTo>
                      <a:lnTo>
                        <a:pt x="747" y="520"/>
                      </a:lnTo>
                      <a:lnTo>
                        <a:pt x="739" y="528"/>
                      </a:lnTo>
                      <a:lnTo>
                        <a:pt x="729" y="538"/>
                      </a:lnTo>
                      <a:lnTo>
                        <a:pt x="718" y="545"/>
                      </a:lnTo>
                      <a:lnTo>
                        <a:pt x="706" y="552"/>
                      </a:lnTo>
                      <a:lnTo>
                        <a:pt x="695" y="557"/>
                      </a:lnTo>
                      <a:lnTo>
                        <a:pt x="683" y="563"/>
                      </a:lnTo>
                      <a:lnTo>
                        <a:pt x="669" y="566"/>
                      </a:lnTo>
                      <a:lnTo>
                        <a:pt x="656" y="568"/>
                      </a:lnTo>
                      <a:lnTo>
                        <a:pt x="642" y="568"/>
                      </a:lnTo>
                      <a:close/>
                      <a:moveTo>
                        <a:pt x="751" y="294"/>
                      </a:moveTo>
                      <a:lnTo>
                        <a:pt x="755" y="282"/>
                      </a:lnTo>
                      <a:lnTo>
                        <a:pt x="757" y="269"/>
                      </a:lnTo>
                      <a:lnTo>
                        <a:pt x="758" y="257"/>
                      </a:lnTo>
                      <a:lnTo>
                        <a:pt x="757" y="246"/>
                      </a:lnTo>
                      <a:lnTo>
                        <a:pt x="755" y="234"/>
                      </a:lnTo>
                      <a:lnTo>
                        <a:pt x="751" y="222"/>
                      </a:lnTo>
                      <a:lnTo>
                        <a:pt x="747" y="211"/>
                      </a:lnTo>
                      <a:lnTo>
                        <a:pt x="741" y="202"/>
                      </a:lnTo>
                      <a:lnTo>
                        <a:pt x="736" y="195"/>
                      </a:lnTo>
                      <a:lnTo>
                        <a:pt x="731" y="189"/>
                      </a:lnTo>
                      <a:lnTo>
                        <a:pt x="726" y="183"/>
                      </a:lnTo>
                      <a:lnTo>
                        <a:pt x="719" y="177"/>
                      </a:lnTo>
                      <a:lnTo>
                        <a:pt x="713" y="173"/>
                      </a:lnTo>
                      <a:lnTo>
                        <a:pt x="706" y="169"/>
                      </a:lnTo>
                      <a:lnTo>
                        <a:pt x="699" y="164"/>
                      </a:lnTo>
                      <a:lnTo>
                        <a:pt x="691" y="161"/>
                      </a:lnTo>
                      <a:lnTo>
                        <a:pt x="676" y="155"/>
                      </a:lnTo>
                      <a:lnTo>
                        <a:pt x="659" y="150"/>
                      </a:lnTo>
                      <a:lnTo>
                        <a:pt x="641" y="149"/>
                      </a:lnTo>
                      <a:lnTo>
                        <a:pt x="623" y="149"/>
                      </a:lnTo>
                      <a:lnTo>
                        <a:pt x="616" y="135"/>
                      </a:lnTo>
                      <a:lnTo>
                        <a:pt x="609" y="122"/>
                      </a:lnTo>
                      <a:lnTo>
                        <a:pt x="600" y="108"/>
                      </a:lnTo>
                      <a:lnTo>
                        <a:pt x="591" y="95"/>
                      </a:lnTo>
                      <a:lnTo>
                        <a:pt x="581" y="82"/>
                      </a:lnTo>
                      <a:lnTo>
                        <a:pt x="569" y="69"/>
                      </a:lnTo>
                      <a:lnTo>
                        <a:pt x="558" y="57"/>
                      </a:lnTo>
                      <a:lnTo>
                        <a:pt x="545" y="47"/>
                      </a:lnTo>
                      <a:lnTo>
                        <a:pt x="532" y="37"/>
                      </a:lnTo>
                      <a:lnTo>
                        <a:pt x="517" y="27"/>
                      </a:lnTo>
                      <a:lnTo>
                        <a:pt x="502" y="20"/>
                      </a:lnTo>
                      <a:lnTo>
                        <a:pt x="487" y="12"/>
                      </a:lnTo>
                      <a:lnTo>
                        <a:pt x="471" y="7"/>
                      </a:lnTo>
                      <a:lnTo>
                        <a:pt x="454" y="3"/>
                      </a:lnTo>
                      <a:lnTo>
                        <a:pt x="437" y="1"/>
                      </a:lnTo>
                      <a:lnTo>
                        <a:pt x="418" y="0"/>
                      </a:lnTo>
                      <a:lnTo>
                        <a:pt x="394" y="1"/>
                      </a:lnTo>
                      <a:lnTo>
                        <a:pt x="371" y="4"/>
                      </a:lnTo>
                      <a:lnTo>
                        <a:pt x="349" y="8"/>
                      </a:lnTo>
                      <a:lnTo>
                        <a:pt x="327" y="16"/>
                      </a:lnTo>
                      <a:lnTo>
                        <a:pt x="307" y="23"/>
                      </a:lnTo>
                      <a:lnTo>
                        <a:pt x="289" y="33"/>
                      </a:lnTo>
                      <a:lnTo>
                        <a:pt x="271" y="44"/>
                      </a:lnTo>
                      <a:lnTo>
                        <a:pt x="255" y="56"/>
                      </a:lnTo>
                      <a:lnTo>
                        <a:pt x="241" y="69"/>
                      </a:lnTo>
                      <a:lnTo>
                        <a:pt x="227" y="84"/>
                      </a:lnTo>
                      <a:lnTo>
                        <a:pt x="215" y="99"/>
                      </a:lnTo>
                      <a:lnTo>
                        <a:pt x="205" y="114"/>
                      </a:lnTo>
                      <a:lnTo>
                        <a:pt x="197" y="130"/>
                      </a:lnTo>
                      <a:lnTo>
                        <a:pt x="189" y="147"/>
                      </a:lnTo>
                      <a:lnTo>
                        <a:pt x="184" y="163"/>
                      </a:lnTo>
                      <a:lnTo>
                        <a:pt x="181" y="180"/>
                      </a:lnTo>
                      <a:lnTo>
                        <a:pt x="163" y="185"/>
                      </a:lnTo>
                      <a:lnTo>
                        <a:pt x="144" y="190"/>
                      </a:lnTo>
                      <a:lnTo>
                        <a:pt x="127" y="198"/>
                      </a:lnTo>
                      <a:lnTo>
                        <a:pt x="110" y="206"/>
                      </a:lnTo>
                      <a:lnTo>
                        <a:pt x="95" y="216"/>
                      </a:lnTo>
                      <a:lnTo>
                        <a:pt x="80" y="227"/>
                      </a:lnTo>
                      <a:lnTo>
                        <a:pt x="66" y="240"/>
                      </a:lnTo>
                      <a:lnTo>
                        <a:pt x="53" y="253"/>
                      </a:lnTo>
                      <a:lnTo>
                        <a:pt x="42" y="268"/>
                      </a:lnTo>
                      <a:lnTo>
                        <a:pt x="31" y="283"/>
                      </a:lnTo>
                      <a:lnTo>
                        <a:pt x="21" y="300"/>
                      </a:lnTo>
                      <a:lnTo>
                        <a:pt x="14" y="316"/>
                      </a:lnTo>
                      <a:lnTo>
                        <a:pt x="8" y="335"/>
                      </a:lnTo>
                      <a:lnTo>
                        <a:pt x="3" y="352"/>
                      </a:lnTo>
                      <a:lnTo>
                        <a:pt x="1" y="370"/>
                      </a:lnTo>
                      <a:lnTo>
                        <a:pt x="0" y="388"/>
                      </a:lnTo>
                      <a:lnTo>
                        <a:pt x="0" y="399"/>
                      </a:lnTo>
                      <a:lnTo>
                        <a:pt x="1" y="409"/>
                      </a:lnTo>
                      <a:lnTo>
                        <a:pt x="2" y="419"/>
                      </a:lnTo>
                      <a:lnTo>
                        <a:pt x="4" y="430"/>
                      </a:lnTo>
                      <a:lnTo>
                        <a:pt x="9" y="449"/>
                      </a:lnTo>
                      <a:lnTo>
                        <a:pt x="17" y="468"/>
                      </a:lnTo>
                      <a:lnTo>
                        <a:pt x="25" y="487"/>
                      </a:lnTo>
                      <a:lnTo>
                        <a:pt x="36" y="504"/>
                      </a:lnTo>
                      <a:lnTo>
                        <a:pt x="49" y="521"/>
                      </a:lnTo>
                      <a:lnTo>
                        <a:pt x="63" y="536"/>
                      </a:lnTo>
                      <a:lnTo>
                        <a:pt x="78" y="549"/>
                      </a:lnTo>
                      <a:lnTo>
                        <a:pt x="94" y="561"/>
                      </a:lnTo>
                      <a:lnTo>
                        <a:pt x="111" y="572"/>
                      </a:lnTo>
                      <a:lnTo>
                        <a:pt x="129" y="581"/>
                      </a:lnTo>
                      <a:lnTo>
                        <a:pt x="149" y="588"/>
                      </a:lnTo>
                      <a:lnTo>
                        <a:pt x="168" y="594"/>
                      </a:lnTo>
                      <a:lnTo>
                        <a:pt x="179" y="596"/>
                      </a:lnTo>
                      <a:lnTo>
                        <a:pt x="188" y="597"/>
                      </a:lnTo>
                      <a:lnTo>
                        <a:pt x="199" y="598"/>
                      </a:lnTo>
                      <a:lnTo>
                        <a:pt x="210" y="598"/>
                      </a:lnTo>
                      <a:lnTo>
                        <a:pt x="642" y="598"/>
                      </a:lnTo>
                      <a:lnTo>
                        <a:pt x="659" y="597"/>
                      </a:lnTo>
                      <a:lnTo>
                        <a:pt x="675" y="595"/>
                      </a:lnTo>
                      <a:lnTo>
                        <a:pt x="691" y="590"/>
                      </a:lnTo>
                      <a:lnTo>
                        <a:pt x="706" y="585"/>
                      </a:lnTo>
                      <a:lnTo>
                        <a:pt x="721" y="579"/>
                      </a:lnTo>
                      <a:lnTo>
                        <a:pt x="734" y="570"/>
                      </a:lnTo>
                      <a:lnTo>
                        <a:pt x="747" y="560"/>
                      </a:lnTo>
                      <a:lnTo>
                        <a:pt x="759" y="550"/>
                      </a:lnTo>
                      <a:lnTo>
                        <a:pt x="770" y="538"/>
                      </a:lnTo>
                      <a:lnTo>
                        <a:pt x="779" y="525"/>
                      </a:lnTo>
                      <a:lnTo>
                        <a:pt x="788" y="512"/>
                      </a:lnTo>
                      <a:lnTo>
                        <a:pt x="795" y="497"/>
                      </a:lnTo>
                      <a:lnTo>
                        <a:pt x="801" y="482"/>
                      </a:lnTo>
                      <a:lnTo>
                        <a:pt x="805" y="466"/>
                      </a:lnTo>
                      <a:lnTo>
                        <a:pt x="807" y="450"/>
                      </a:lnTo>
                      <a:lnTo>
                        <a:pt x="808" y="433"/>
                      </a:lnTo>
                      <a:lnTo>
                        <a:pt x="807" y="416"/>
                      </a:lnTo>
                      <a:lnTo>
                        <a:pt x="805" y="398"/>
                      </a:lnTo>
                      <a:lnTo>
                        <a:pt x="801" y="378"/>
                      </a:lnTo>
                      <a:lnTo>
                        <a:pt x="795" y="360"/>
                      </a:lnTo>
                      <a:lnTo>
                        <a:pt x="792" y="351"/>
                      </a:lnTo>
                      <a:lnTo>
                        <a:pt x="788" y="342"/>
                      </a:lnTo>
                      <a:lnTo>
                        <a:pt x="782" y="332"/>
                      </a:lnTo>
                      <a:lnTo>
                        <a:pt x="777" y="324"/>
                      </a:lnTo>
                      <a:lnTo>
                        <a:pt x="772" y="316"/>
                      </a:lnTo>
                      <a:lnTo>
                        <a:pt x="765" y="308"/>
                      </a:lnTo>
                      <a:lnTo>
                        <a:pt x="759" y="301"/>
                      </a:lnTo>
                      <a:lnTo>
                        <a:pt x="751" y="29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0" name="Freeform 44">
                  <a:extLst>
                    <a:ext uri="{FF2B5EF4-FFF2-40B4-BE49-F238E27FC236}">
                      <a16:creationId xmlns:a16="http://schemas.microsoft.com/office/drawing/2014/main" id="{B3E23029-0D63-46EC-AC0C-41C02B84DA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65625" y="984250"/>
                  <a:ext cx="71438" cy="71438"/>
                </a:xfrm>
                <a:custGeom>
                  <a:avLst/>
                  <a:gdLst>
                    <a:gd name="T0" fmla="*/ 198 w 223"/>
                    <a:gd name="T1" fmla="*/ 4 h 225"/>
                    <a:gd name="T2" fmla="*/ 4 w 223"/>
                    <a:gd name="T3" fmla="*/ 199 h 225"/>
                    <a:gd name="T4" fmla="*/ 2 w 223"/>
                    <a:gd name="T5" fmla="*/ 201 h 225"/>
                    <a:gd name="T6" fmla="*/ 1 w 223"/>
                    <a:gd name="T7" fmla="*/ 204 h 225"/>
                    <a:gd name="T8" fmla="*/ 0 w 223"/>
                    <a:gd name="T9" fmla="*/ 207 h 225"/>
                    <a:gd name="T10" fmla="*/ 0 w 223"/>
                    <a:gd name="T11" fmla="*/ 210 h 225"/>
                    <a:gd name="T12" fmla="*/ 0 w 223"/>
                    <a:gd name="T13" fmla="*/ 213 h 225"/>
                    <a:gd name="T14" fmla="*/ 1 w 223"/>
                    <a:gd name="T15" fmla="*/ 216 h 225"/>
                    <a:gd name="T16" fmla="*/ 2 w 223"/>
                    <a:gd name="T17" fmla="*/ 218 h 225"/>
                    <a:gd name="T18" fmla="*/ 4 w 223"/>
                    <a:gd name="T19" fmla="*/ 220 h 225"/>
                    <a:gd name="T20" fmla="*/ 6 w 223"/>
                    <a:gd name="T21" fmla="*/ 221 h 225"/>
                    <a:gd name="T22" fmla="*/ 8 w 223"/>
                    <a:gd name="T23" fmla="*/ 223 h 225"/>
                    <a:gd name="T24" fmla="*/ 11 w 223"/>
                    <a:gd name="T25" fmla="*/ 223 h 225"/>
                    <a:gd name="T26" fmla="*/ 15 w 223"/>
                    <a:gd name="T27" fmla="*/ 225 h 225"/>
                    <a:gd name="T28" fmla="*/ 17 w 223"/>
                    <a:gd name="T29" fmla="*/ 223 h 225"/>
                    <a:gd name="T30" fmla="*/ 20 w 223"/>
                    <a:gd name="T31" fmla="*/ 223 h 225"/>
                    <a:gd name="T32" fmla="*/ 22 w 223"/>
                    <a:gd name="T33" fmla="*/ 221 h 225"/>
                    <a:gd name="T34" fmla="*/ 25 w 223"/>
                    <a:gd name="T35" fmla="*/ 220 h 225"/>
                    <a:gd name="T36" fmla="*/ 219 w 223"/>
                    <a:gd name="T37" fmla="*/ 25 h 225"/>
                    <a:gd name="T38" fmla="*/ 221 w 223"/>
                    <a:gd name="T39" fmla="*/ 23 h 225"/>
                    <a:gd name="T40" fmla="*/ 222 w 223"/>
                    <a:gd name="T41" fmla="*/ 21 h 225"/>
                    <a:gd name="T42" fmla="*/ 223 w 223"/>
                    <a:gd name="T43" fmla="*/ 18 h 225"/>
                    <a:gd name="T44" fmla="*/ 223 w 223"/>
                    <a:gd name="T45" fmla="*/ 16 h 225"/>
                    <a:gd name="T46" fmla="*/ 223 w 223"/>
                    <a:gd name="T47" fmla="*/ 13 h 225"/>
                    <a:gd name="T48" fmla="*/ 222 w 223"/>
                    <a:gd name="T49" fmla="*/ 9 h 225"/>
                    <a:gd name="T50" fmla="*/ 221 w 223"/>
                    <a:gd name="T51" fmla="*/ 7 h 225"/>
                    <a:gd name="T52" fmla="*/ 219 w 223"/>
                    <a:gd name="T53" fmla="*/ 4 h 225"/>
                    <a:gd name="T54" fmla="*/ 217 w 223"/>
                    <a:gd name="T55" fmla="*/ 2 h 225"/>
                    <a:gd name="T56" fmla="*/ 215 w 223"/>
                    <a:gd name="T57" fmla="*/ 1 h 225"/>
                    <a:gd name="T58" fmla="*/ 212 w 223"/>
                    <a:gd name="T59" fmla="*/ 0 h 225"/>
                    <a:gd name="T60" fmla="*/ 208 w 223"/>
                    <a:gd name="T61" fmla="*/ 0 h 225"/>
                    <a:gd name="T62" fmla="*/ 206 w 223"/>
                    <a:gd name="T63" fmla="*/ 0 h 225"/>
                    <a:gd name="T64" fmla="*/ 203 w 223"/>
                    <a:gd name="T65" fmla="*/ 1 h 225"/>
                    <a:gd name="T66" fmla="*/ 201 w 223"/>
                    <a:gd name="T67" fmla="*/ 2 h 225"/>
                    <a:gd name="T68" fmla="*/ 198 w 223"/>
                    <a:gd name="T69" fmla="*/ 4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23" h="225">
                      <a:moveTo>
                        <a:pt x="198" y="4"/>
                      </a:moveTo>
                      <a:lnTo>
                        <a:pt x="4" y="199"/>
                      </a:lnTo>
                      <a:lnTo>
                        <a:pt x="2" y="201"/>
                      </a:lnTo>
                      <a:lnTo>
                        <a:pt x="1" y="204"/>
                      </a:lnTo>
                      <a:lnTo>
                        <a:pt x="0" y="207"/>
                      </a:lnTo>
                      <a:lnTo>
                        <a:pt x="0" y="210"/>
                      </a:lnTo>
                      <a:lnTo>
                        <a:pt x="0" y="213"/>
                      </a:lnTo>
                      <a:lnTo>
                        <a:pt x="1" y="216"/>
                      </a:lnTo>
                      <a:lnTo>
                        <a:pt x="2" y="218"/>
                      </a:lnTo>
                      <a:lnTo>
                        <a:pt x="4" y="220"/>
                      </a:lnTo>
                      <a:lnTo>
                        <a:pt x="6" y="221"/>
                      </a:lnTo>
                      <a:lnTo>
                        <a:pt x="8" y="223"/>
                      </a:lnTo>
                      <a:lnTo>
                        <a:pt x="11" y="223"/>
                      </a:lnTo>
                      <a:lnTo>
                        <a:pt x="15" y="225"/>
                      </a:lnTo>
                      <a:lnTo>
                        <a:pt x="17" y="223"/>
                      </a:lnTo>
                      <a:lnTo>
                        <a:pt x="20" y="223"/>
                      </a:lnTo>
                      <a:lnTo>
                        <a:pt x="22" y="221"/>
                      </a:lnTo>
                      <a:lnTo>
                        <a:pt x="25" y="220"/>
                      </a:lnTo>
                      <a:lnTo>
                        <a:pt x="219" y="25"/>
                      </a:lnTo>
                      <a:lnTo>
                        <a:pt x="221" y="23"/>
                      </a:lnTo>
                      <a:lnTo>
                        <a:pt x="222" y="21"/>
                      </a:lnTo>
                      <a:lnTo>
                        <a:pt x="223" y="18"/>
                      </a:lnTo>
                      <a:lnTo>
                        <a:pt x="223" y="16"/>
                      </a:lnTo>
                      <a:lnTo>
                        <a:pt x="223" y="13"/>
                      </a:lnTo>
                      <a:lnTo>
                        <a:pt x="222" y="9"/>
                      </a:lnTo>
                      <a:lnTo>
                        <a:pt x="221" y="7"/>
                      </a:lnTo>
                      <a:lnTo>
                        <a:pt x="219" y="4"/>
                      </a:lnTo>
                      <a:lnTo>
                        <a:pt x="217" y="2"/>
                      </a:lnTo>
                      <a:lnTo>
                        <a:pt x="215" y="1"/>
                      </a:lnTo>
                      <a:lnTo>
                        <a:pt x="212" y="0"/>
                      </a:lnTo>
                      <a:lnTo>
                        <a:pt x="208" y="0"/>
                      </a:lnTo>
                      <a:lnTo>
                        <a:pt x="206" y="0"/>
                      </a:lnTo>
                      <a:lnTo>
                        <a:pt x="203" y="1"/>
                      </a:lnTo>
                      <a:lnTo>
                        <a:pt x="201" y="2"/>
                      </a:lnTo>
                      <a:lnTo>
                        <a:pt x="198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1" name="Freeform 45">
                  <a:extLst>
                    <a:ext uri="{FF2B5EF4-FFF2-40B4-BE49-F238E27FC236}">
                      <a16:creationId xmlns:a16="http://schemas.microsoft.com/office/drawing/2014/main" id="{A20D2FCF-5562-4333-8CA5-65CBC55DBC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41825" y="989013"/>
                  <a:ext cx="47625" cy="66675"/>
                </a:xfrm>
                <a:custGeom>
                  <a:avLst/>
                  <a:gdLst>
                    <a:gd name="T0" fmla="*/ 135 w 150"/>
                    <a:gd name="T1" fmla="*/ 60 h 210"/>
                    <a:gd name="T2" fmla="*/ 82 w 150"/>
                    <a:gd name="T3" fmla="*/ 60 h 210"/>
                    <a:gd name="T4" fmla="*/ 116 w 150"/>
                    <a:gd name="T5" fmla="*/ 25 h 210"/>
                    <a:gd name="T6" fmla="*/ 118 w 150"/>
                    <a:gd name="T7" fmla="*/ 23 h 210"/>
                    <a:gd name="T8" fmla="*/ 119 w 150"/>
                    <a:gd name="T9" fmla="*/ 21 h 210"/>
                    <a:gd name="T10" fmla="*/ 120 w 150"/>
                    <a:gd name="T11" fmla="*/ 18 h 210"/>
                    <a:gd name="T12" fmla="*/ 120 w 150"/>
                    <a:gd name="T13" fmla="*/ 16 h 210"/>
                    <a:gd name="T14" fmla="*/ 120 w 150"/>
                    <a:gd name="T15" fmla="*/ 13 h 210"/>
                    <a:gd name="T16" fmla="*/ 119 w 150"/>
                    <a:gd name="T17" fmla="*/ 9 h 210"/>
                    <a:gd name="T18" fmla="*/ 118 w 150"/>
                    <a:gd name="T19" fmla="*/ 6 h 210"/>
                    <a:gd name="T20" fmla="*/ 116 w 150"/>
                    <a:gd name="T21" fmla="*/ 4 h 210"/>
                    <a:gd name="T22" fmla="*/ 114 w 150"/>
                    <a:gd name="T23" fmla="*/ 2 h 210"/>
                    <a:gd name="T24" fmla="*/ 111 w 150"/>
                    <a:gd name="T25" fmla="*/ 1 h 210"/>
                    <a:gd name="T26" fmla="*/ 109 w 150"/>
                    <a:gd name="T27" fmla="*/ 0 h 210"/>
                    <a:gd name="T28" fmla="*/ 105 w 150"/>
                    <a:gd name="T29" fmla="*/ 0 h 210"/>
                    <a:gd name="T30" fmla="*/ 102 w 150"/>
                    <a:gd name="T31" fmla="*/ 0 h 210"/>
                    <a:gd name="T32" fmla="*/ 100 w 150"/>
                    <a:gd name="T33" fmla="*/ 1 h 210"/>
                    <a:gd name="T34" fmla="*/ 97 w 150"/>
                    <a:gd name="T35" fmla="*/ 2 h 210"/>
                    <a:gd name="T36" fmla="*/ 95 w 150"/>
                    <a:gd name="T37" fmla="*/ 4 h 210"/>
                    <a:gd name="T38" fmla="*/ 35 w 150"/>
                    <a:gd name="T39" fmla="*/ 64 h 210"/>
                    <a:gd name="T40" fmla="*/ 33 w 150"/>
                    <a:gd name="T41" fmla="*/ 68 h 210"/>
                    <a:gd name="T42" fmla="*/ 32 w 150"/>
                    <a:gd name="T43" fmla="*/ 71 h 210"/>
                    <a:gd name="T44" fmla="*/ 30 w 150"/>
                    <a:gd name="T45" fmla="*/ 76 h 210"/>
                    <a:gd name="T46" fmla="*/ 32 w 150"/>
                    <a:gd name="T47" fmla="*/ 81 h 210"/>
                    <a:gd name="T48" fmla="*/ 35 w 150"/>
                    <a:gd name="T49" fmla="*/ 84 h 210"/>
                    <a:gd name="T50" fmla="*/ 38 w 150"/>
                    <a:gd name="T51" fmla="*/ 88 h 210"/>
                    <a:gd name="T52" fmla="*/ 41 w 150"/>
                    <a:gd name="T53" fmla="*/ 89 h 210"/>
                    <a:gd name="T54" fmla="*/ 45 w 150"/>
                    <a:gd name="T55" fmla="*/ 90 h 210"/>
                    <a:gd name="T56" fmla="*/ 99 w 150"/>
                    <a:gd name="T57" fmla="*/ 90 h 210"/>
                    <a:gd name="T58" fmla="*/ 5 w 150"/>
                    <a:gd name="T59" fmla="*/ 184 h 210"/>
                    <a:gd name="T60" fmla="*/ 4 w 150"/>
                    <a:gd name="T61" fmla="*/ 186 h 210"/>
                    <a:gd name="T62" fmla="*/ 2 w 150"/>
                    <a:gd name="T63" fmla="*/ 189 h 210"/>
                    <a:gd name="T64" fmla="*/ 2 w 150"/>
                    <a:gd name="T65" fmla="*/ 192 h 210"/>
                    <a:gd name="T66" fmla="*/ 0 w 150"/>
                    <a:gd name="T67" fmla="*/ 195 h 210"/>
                    <a:gd name="T68" fmla="*/ 2 w 150"/>
                    <a:gd name="T69" fmla="*/ 198 h 210"/>
                    <a:gd name="T70" fmla="*/ 2 w 150"/>
                    <a:gd name="T71" fmla="*/ 201 h 210"/>
                    <a:gd name="T72" fmla="*/ 4 w 150"/>
                    <a:gd name="T73" fmla="*/ 203 h 210"/>
                    <a:gd name="T74" fmla="*/ 5 w 150"/>
                    <a:gd name="T75" fmla="*/ 205 h 210"/>
                    <a:gd name="T76" fmla="*/ 8 w 150"/>
                    <a:gd name="T77" fmla="*/ 206 h 210"/>
                    <a:gd name="T78" fmla="*/ 10 w 150"/>
                    <a:gd name="T79" fmla="*/ 208 h 210"/>
                    <a:gd name="T80" fmla="*/ 13 w 150"/>
                    <a:gd name="T81" fmla="*/ 208 h 210"/>
                    <a:gd name="T82" fmla="*/ 15 w 150"/>
                    <a:gd name="T83" fmla="*/ 210 h 210"/>
                    <a:gd name="T84" fmla="*/ 19 w 150"/>
                    <a:gd name="T85" fmla="*/ 208 h 210"/>
                    <a:gd name="T86" fmla="*/ 22 w 150"/>
                    <a:gd name="T87" fmla="*/ 208 h 210"/>
                    <a:gd name="T88" fmla="*/ 24 w 150"/>
                    <a:gd name="T89" fmla="*/ 206 h 210"/>
                    <a:gd name="T90" fmla="*/ 26 w 150"/>
                    <a:gd name="T91" fmla="*/ 205 h 210"/>
                    <a:gd name="T92" fmla="*/ 146 w 150"/>
                    <a:gd name="T93" fmla="*/ 85 h 210"/>
                    <a:gd name="T94" fmla="*/ 148 w 150"/>
                    <a:gd name="T95" fmla="*/ 82 h 210"/>
                    <a:gd name="T96" fmla="*/ 150 w 150"/>
                    <a:gd name="T97" fmla="*/ 78 h 210"/>
                    <a:gd name="T98" fmla="*/ 150 w 150"/>
                    <a:gd name="T99" fmla="*/ 74 h 210"/>
                    <a:gd name="T100" fmla="*/ 149 w 150"/>
                    <a:gd name="T101" fmla="*/ 70 h 210"/>
                    <a:gd name="T102" fmla="*/ 147 w 150"/>
                    <a:gd name="T103" fmla="*/ 66 h 210"/>
                    <a:gd name="T104" fmla="*/ 144 w 150"/>
                    <a:gd name="T105" fmla="*/ 63 h 210"/>
                    <a:gd name="T106" fmla="*/ 140 w 150"/>
                    <a:gd name="T107" fmla="*/ 61 h 210"/>
                    <a:gd name="T108" fmla="*/ 135 w 150"/>
                    <a:gd name="T109" fmla="*/ 60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50" h="210">
                      <a:moveTo>
                        <a:pt x="135" y="60"/>
                      </a:moveTo>
                      <a:lnTo>
                        <a:pt x="82" y="60"/>
                      </a:lnTo>
                      <a:lnTo>
                        <a:pt x="116" y="25"/>
                      </a:lnTo>
                      <a:lnTo>
                        <a:pt x="118" y="23"/>
                      </a:lnTo>
                      <a:lnTo>
                        <a:pt x="119" y="21"/>
                      </a:lnTo>
                      <a:lnTo>
                        <a:pt x="120" y="18"/>
                      </a:lnTo>
                      <a:lnTo>
                        <a:pt x="120" y="16"/>
                      </a:lnTo>
                      <a:lnTo>
                        <a:pt x="120" y="13"/>
                      </a:lnTo>
                      <a:lnTo>
                        <a:pt x="119" y="9"/>
                      </a:lnTo>
                      <a:lnTo>
                        <a:pt x="118" y="6"/>
                      </a:lnTo>
                      <a:lnTo>
                        <a:pt x="116" y="4"/>
                      </a:lnTo>
                      <a:lnTo>
                        <a:pt x="114" y="2"/>
                      </a:lnTo>
                      <a:lnTo>
                        <a:pt x="111" y="1"/>
                      </a:lnTo>
                      <a:lnTo>
                        <a:pt x="109" y="0"/>
                      </a:lnTo>
                      <a:lnTo>
                        <a:pt x="105" y="0"/>
                      </a:lnTo>
                      <a:lnTo>
                        <a:pt x="102" y="0"/>
                      </a:lnTo>
                      <a:lnTo>
                        <a:pt x="100" y="1"/>
                      </a:lnTo>
                      <a:lnTo>
                        <a:pt x="97" y="2"/>
                      </a:lnTo>
                      <a:lnTo>
                        <a:pt x="95" y="4"/>
                      </a:lnTo>
                      <a:lnTo>
                        <a:pt x="35" y="64"/>
                      </a:lnTo>
                      <a:lnTo>
                        <a:pt x="33" y="68"/>
                      </a:lnTo>
                      <a:lnTo>
                        <a:pt x="32" y="71"/>
                      </a:lnTo>
                      <a:lnTo>
                        <a:pt x="30" y="76"/>
                      </a:lnTo>
                      <a:lnTo>
                        <a:pt x="32" y="81"/>
                      </a:lnTo>
                      <a:lnTo>
                        <a:pt x="35" y="84"/>
                      </a:lnTo>
                      <a:lnTo>
                        <a:pt x="38" y="88"/>
                      </a:lnTo>
                      <a:lnTo>
                        <a:pt x="41" y="89"/>
                      </a:lnTo>
                      <a:lnTo>
                        <a:pt x="45" y="90"/>
                      </a:lnTo>
                      <a:lnTo>
                        <a:pt x="99" y="90"/>
                      </a:lnTo>
                      <a:lnTo>
                        <a:pt x="5" y="184"/>
                      </a:lnTo>
                      <a:lnTo>
                        <a:pt x="4" y="186"/>
                      </a:lnTo>
                      <a:lnTo>
                        <a:pt x="2" y="189"/>
                      </a:lnTo>
                      <a:lnTo>
                        <a:pt x="2" y="192"/>
                      </a:lnTo>
                      <a:lnTo>
                        <a:pt x="0" y="195"/>
                      </a:lnTo>
                      <a:lnTo>
                        <a:pt x="2" y="198"/>
                      </a:lnTo>
                      <a:lnTo>
                        <a:pt x="2" y="201"/>
                      </a:lnTo>
                      <a:lnTo>
                        <a:pt x="4" y="203"/>
                      </a:lnTo>
                      <a:lnTo>
                        <a:pt x="5" y="205"/>
                      </a:lnTo>
                      <a:lnTo>
                        <a:pt x="8" y="206"/>
                      </a:lnTo>
                      <a:lnTo>
                        <a:pt x="10" y="208"/>
                      </a:lnTo>
                      <a:lnTo>
                        <a:pt x="13" y="208"/>
                      </a:lnTo>
                      <a:lnTo>
                        <a:pt x="15" y="210"/>
                      </a:lnTo>
                      <a:lnTo>
                        <a:pt x="19" y="208"/>
                      </a:lnTo>
                      <a:lnTo>
                        <a:pt x="22" y="208"/>
                      </a:lnTo>
                      <a:lnTo>
                        <a:pt x="24" y="206"/>
                      </a:lnTo>
                      <a:lnTo>
                        <a:pt x="26" y="205"/>
                      </a:lnTo>
                      <a:lnTo>
                        <a:pt x="146" y="85"/>
                      </a:lnTo>
                      <a:lnTo>
                        <a:pt x="148" y="82"/>
                      </a:lnTo>
                      <a:lnTo>
                        <a:pt x="150" y="78"/>
                      </a:lnTo>
                      <a:lnTo>
                        <a:pt x="150" y="74"/>
                      </a:lnTo>
                      <a:lnTo>
                        <a:pt x="149" y="70"/>
                      </a:lnTo>
                      <a:lnTo>
                        <a:pt x="147" y="66"/>
                      </a:lnTo>
                      <a:lnTo>
                        <a:pt x="144" y="63"/>
                      </a:lnTo>
                      <a:lnTo>
                        <a:pt x="140" y="61"/>
                      </a:lnTo>
                      <a:lnTo>
                        <a:pt x="135" y="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2" name="Freeform 46">
                  <a:extLst>
                    <a:ext uri="{FF2B5EF4-FFF2-40B4-BE49-F238E27FC236}">
                      <a16:creationId xmlns:a16="http://schemas.microsoft.com/office/drawing/2014/main" id="{0328213E-D2BC-4B47-90FB-DD29A5312E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89450" y="989013"/>
                  <a:ext cx="66675" cy="66675"/>
                </a:xfrm>
                <a:custGeom>
                  <a:avLst/>
                  <a:gdLst>
                    <a:gd name="T0" fmla="*/ 184 w 210"/>
                    <a:gd name="T1" fmla="*/ 4 h 210"/>
                    <a:gd name="T2" fmla="*/ 5 w 210"/>
                    <a:gd name="T3" fmla="*/ 184 h 210"/>
                    <a:gd name="T4" fmla="*/ 2 w 210"/>
                    <a:gd name="T5" fmla="*/ 186 h 210"/>
                    <a:gd name="T6" fmla="*/ 1 w 210"/>
                    <a:gd name="T7" fmla="*/ 189 h 210"/>
                    <a:gd name="T8" fmla="*/ 0 w 210"/>
                    <a:gd name="T9" fmla="*/ 192 h 210"/>
                    <a:gd name="T10" fmla="*/ 0 w 210"/>
                    <a:gd name="T11" fmla="*/ 195 h 210"/>
                    <a:gd name="T12" fmla="*/ 0 w 210"/>
                    <a:gd name="T13" fmla="*/ 198 h 210"/>
                    <a:gd name="T14" fmla="*/ 1 w 210"/>
                    <a:gd name="T15" fmla="*/ 201 h 210"/>
                    <a:gd name="T16" fmla="*/ 2 w 210"/>
                    <a:gd name="T17" fmla="*/ 203 h 210"/>
                    <a:gd name="T18" fmla="*/ 5 w 210"/>
                    <a:gd name="T19" fmla="*/ 205 h 210"/>
                    <a:gd name="T20" fmla="*/ 7 w 210"/>
                    <a:gd name="T21" fmla="*/ 206 h 210"/>
                    <a:gd name="T22" fmla="*/ 10 w 210"/>
                    <a:gd name="T23" fmla="*/ 208 h 210"/>
                    <a:gd name="T24" fmla="*/ 12 w 210"/>
                    <a:gd name="T25" fmla="*/ 208 h 210"/>
                    <a:gd name="T26" fmla="*/ 15 w 210"/>
                    <a:gd name="T27" fmla="*/ 210 h 210"/>
                    <a:gd name="T28" fmla="*/ 19 w 210"/>
                    <a:gd name="T29" fmla="*/ 208 h 210"/>
                    <a:gd name="T30" fmla="*/ 21 w 210"/>
                    <a:gd name="T31" fmla="*/ 208 h 210"/>
                    <a:gd name="T32" fmla="*/ 24 w 210"/>
                    <a:gd name="T33" fmla="*/ 206 h 210"/>
                    <a:gd name="T34" fmla="*/ 26 w 210"/>
                    <a:gd name="T35" fmla="*/ 205 h 210"/>
                    <a:gd name="T36" fmla="*/ 206 w 210"/>
                    <a:gd name="T37" fmla="*/ 25 h 210"/>
                    <a:gd name="T38" fmla="*/ 208 w 210"/>
                    <a:gd name="T39" fmla="*/ 23 h 210"/>
                    <a:gd name="T40" fmla="*/ 209 w 210"/>
                    <a:gd name="T41" fmla="*/ 21 h 210"/>
                    <a:gd name="T42" fmla="*/ 210 w 210"/>
                    <a:gd name="T43" fmla="*/ 18 h 210"/>
                    <a:gd name="T44" fmla="*/ 210 w 210"/>
                    <a:gd name="T45" fmla="*/ 16 h 210"/>
                    <a:gd name="T46" fmla="*/ 210 w 210"/>
                    <a:gd name="T47" fmla="*/ 13 h 210"/>
                    <a:gd name="T48" fmla="*/ 209 w 210"/>
                    <a:gd name="T49" fmla="*/ 9 h 210"/>
                    <a:gd name="T50" fmla="*/ 208 w 210"/>
                    <a:gd name="T51" fmla="*/ 6 h 210"/>
                    <a:gd name="T52" fmla="*/ 206 w 210"/>
                    <a:gd name="T53" fmla="*/ 4 h 210"/>
                    <a:gd name="T54" fmla="*/ 204 w 210"/>
                    <a:gd name="T55" fmla="*/ 2 h 210"/>
                    <a:gd name="T56" fmla="*/ 201 w 210"/>
                    <a:gd name="T57" fmla="*/ 1 h 210"/>
                    <a:gd name="T58" fmla="*/ 198 w 210"/>
                    <a:gd name="T59" fmla="*/ 0 h 210"/>
                    <a:gd name="T60" fmla="*/ 195 w 210"/>
                    <a:gd name="T61" fmla="*/ 0 h 210"/>
                    <a:gd name="T62" fmla="*/ 192 w 210"/>
                    <a:gd name="T63" fmla="*/ 0 h 210"/>
                    <a:gd name="T64" fmla="*/ 190 w 210"/>
                    <a:gd name="T65" fmla="*/ 1 h 210"/>
                    <a:gd name="T66" fmla="*/ 187 w 210"/>
                    <a:gd name="T67" fmla="*/ 2 h 210"/>
                    <a:gd name="T68" fmla="*/ 184 w 210"/>
                    <a:gd name="T69" fmla="*/ 4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10" h="210">
                      <a:moveTo>
                        <a:pt x="184" y="4"/>
                      </a:moveTo>
                      <a:lnTo>
                        <a:pt x="5" y="184"/>
                      </a:lnTo>
                      <a:lnTo>
                        <a:pt x="2" y="186"/>
                      </a:lnTo>
                      <a:lnTo>
                        <a:pt x="1" y="189"/>
                      </a:lnTo>
                      <a:lnTo>
                        <a:pt x="0" y="192"/>
                      </a:lnTo>
                      <a:lnTo>
                        <a:pt x="0" y="195"/>
                      </a:lnTo>
                      <a:lnTo>
                        <a:pt x="0" y="198"/>
                      </a:lnTo>
                      <a:lnTo>
                        <a:pt x="1" y="201"/>
                      </a:lnTo>
                      <a:lnTo>
                        <a:pt x="2" y="203"/>
                      </a:lnTo>
                      <a:lnTo>
                        <a:pt x="5" y="205"/>
                      </a:lnTo>
                      <a:lnTo>
                        <a:pt x="7" y="206"/>
                      </a:lnTo>
                      <a:lnTo>
                        <a:pt x="10" y="208"/>
                      </a:lnTo>
                      <a:lnTo>
                        <a:pt x="12" y="208"/>
                      </a:lnTo>
                      <a:lnTo>
                        <a:pt x="15" y="210"/>
                      </a:lnTo>
                      <a:lnTo>
                        <a:pt x="19" y="208"/>
                      </a:lnTo>
                      <a:lnTo>
                        <a:pt x="21" y="208"/>
                      </a:lnTo>
                      <a:lnTo>
                        <a:pt x="24" y="206"/>
                      </a:lnTo>
                      <a:lnTo>
                        <a:pt x="26" y="205"/>
                      </a:lnTo>
                      <a:lnTo>
                        <a:pt x="206" y="25"/>
                      </a:lnTo>
                      <a:lnTo>
                        <a:pt x="208" y="23"/>
                      </a:lnTo>
                      <a:lnTo>
                        <a:pt x="209" y="21"/>
                      </a:lnTo>
                      <a:lnTo>
                        <a:pt x="210" y="18"/>
                      </a:lnTo>
                      <a:lnTo>
                        <a:pt x="210" y="16"/>
                      </a:lnTo>
                      <a:lnTo>
                        <a:pt x="210" y="13"/>
                      </a:lnTo>
                      <a:lnTo>
                        <a:pt x="209" y="9"/>
                      </a:lnTo>
                      <a:lnTo>
                        <a:pt x="208" y="6"/>
                      </a:lnTo>
                      <a:lnTo>
                        <a:pt x="206" y="4"/>
                      </a:lnTo>
                      <a:lnTo>
                        <a:pt x="204" y="2"/>
                      </a:lnTo>
                      <a:lnTo>
                        <a:pt x="201" y="1"/>
                      </a:lnTo>
                      <a:lnTo>
                        <a:pt x="198" y="0"/>
                      </a:lnTo>
                      <a:lnTo>
                        <a:pt x="195" y="0"/>
                      </a:lnTo>
                      <a:lnTo>
                        <a:pt x="192" y="0"/>
                      </a:lnTo>
                      <a:lnTo>
                        <a:pt x="190" y="1"/>
                      </a:lnTo>
                      <a:lnTo>
                        <a:pt x="187" y="2"/>
                      </a:lnTo>
                      <a:lnTo>
                        <a:pt x="184" y="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1923" name="Group 1922">
              <a:extLst>
                <a:ext uri="{FF2B5EF4-FFF2-40B4-BE49-F238E27FC236}">
                  <a16:creationId xmlns:a16="http://schemas.microsoft.com/office/drawing/2014/main" id="{F95549D4-B493-4AB5-B9E5-224702DD377F}"/>
                </a:ext>
              </a:extLst>
            </p:cNvPr>
            <p:cNvGrpSpPr/>
            <p:nvPr/>
          </p:nvGrpSpPr>
          <p:grpSpPr>
            <a:xfrm>
              <a:off x="8164563" y="3797033"/>
              <a:ext cx="418315" cy="418315"/>
              <a:chOff x="4747002" y="3515391"/>
              <a:chExt cx="418315" cy="418315"/>
            </a:xfrm>
          </p:grpSpPr>
          <p:sp>
            <p:nvSpPr>
              <p:cNvPr id="1924" name="Oval 1923">
                <a:extLst>
                  <a:ext uri="{FF2B5EF4-FFF2-40B4-BE49-F238E27FC236}">
                    <a16:creationId xmlns:a16="http://schemas.microsoft.com/office/drawing/2014/main" id="{7CFD9DFD-E6EC-4020-A226-05E421E587C5}"/>
                  </a:ext>
                </a:extLst>
              </p:cNvPr>
              <p:cNvSpPr/>
              <p:nvPr/>
            </p:nvSpPr>
            <p:spPr>
              <a:xfrm>
                <a:off x="4747002" y="3515391"/>
                <a:ext cx="418315" cy="418315"/>
              </a:xfrm>
              <a:prstGeom prst="ellipse">
                <a:avLst/>
              </a:prstGeom>
              <a:solidFill>
                <a:schemeClr val="accent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925" name="Group 1924">
                <a:extLst>
                  <a:ext uri="{FF2B5EF4-FFF2-40B4-BE49-F238E27FC236}">
                    <a16:creationId xmlns:a16="http://schemas.microsoft.com/office/drawing/2014/main" id="{E1E42703-54F5-49F4-9A4D-9011B174326A}"/>
                  </a:ext>
                </a:extLst>
              </p:cNvPr>
              <p:cNvGrpSpPr/>
              <p:nvPr/>
            </p:nvGrpSpPr>
            <p:grpSpPr>
              <a:xfrm>
                <a:off x="4867938" y="3635834"/>
                <a:ext cx="176442" cy="177428"/>
                <a:chOff x="906463" y="769938"/>
                <a:chExt cx="284162" cy="285750"/>
              </a:xfrm>
              <a:solidFill>
                <a:schemeClr val="bg1"/>
              </a:solidFill>
            </p:grpSpPr>
            <p:sp>
              <p:nvSpPr>
                <p:cNvPr id="1926" name="Freeform 63">
                  <a:extLst>
                    <a:ext uri="{FF2B5EF4-FFF2-40B4-BE49-F238E27FC236}">
                      <a16:creationId xmlns:a16="http://schemas.microsoft.com/office/drawing/2014/main" id="{9253B891-5254-4372-A620-7BEC236C9D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09650" y="769938"/>
                  <a:ext cx="9525" cy="19050"/>
                </a:xfrm>
                <a:custGeom>
                  <a:avLst/>
                  <a:gdLst>
                    <a:gd name="T0" fmla="*/ 15 w 30"/>
                    <a:gd name="T1" fmla="*/ 59 h 59"/>
                    <a:gd name="T2" fmla="*/ 18 w 30"/>
                    <a:gd name="T3" fmla="*/ 59 h 59"/>
                    <a:gd name="T4" fmla="*/ 21 w 30"/>
                    <a:gd name="T5" fmla="*/ 58 h 59"/>
                    <a:gd name="T6" fmla="*/ 23 w 30"/>
                    <a:gd name="T7" fmla="*/ 57 h 59"/>
                    <a:gd name="T8" fmla="*/ 25 w 30"/>
                    <a:gd name="T9" fmla="*/ 55 h 59"/>
                    <a:gd name="T10" fmla="*/ 27 w 30"/>
                    <a:gd name="T11" fmla="*/ 53 h 59"/>
                    <a:gd name="T12" fmla="*/ 28 w 30"/>
                    <a:gd name="T13" fmla="*/ 51 h 59"/>
                    <a:gd name="T14" fmla="*/ 30 w 30"/>
                    <a:gd name="T15" fmla="*/ 48 h 59"/>
                    <a:gd name="T16" fmla="*/ 30 w 30"/>
                    <a:gd name="T17" fmla="*/ 44 h 59"/>
                    <a:gd name="T18" fmla="*/ 30 w 30"/>
                    <a:gd name="T19" fmla="*/ 14 h 59"/>
                    <a:gd name="T20" fmla="*/ 30 w 30"/>
                    <a:gd name="T21" fmla="*/ 11 h 59"/>
                    <a:gd name="T22" fmla="*/ 28 w 30"/>
                    <a:gd name="T23" fmla="*/ 9 h 59"/>
                    <a:gd name="T24" fmla="*/ 27 w 30"/>
                    <a:gd name="T25" fmla="*/ 6 h 59"/>
                    <a:gd name="T26" fmla="*/ 25 w 30"/>
                    <a:gd name="T27" fmla="*/ 4 h 59"/>
                    <a:gd name="T28" fmla="*/ 23 w 30"/>
                    <a:gd name="T29" fmla="*/ 2 h 59"/>
                    <a:gd name="T30" fmla="*/ 21 w 30"/>
                    <a:gd name="T31" fmla="*/ 1 h 59"/>
                    <a:gd name="T32" fmla="*/ 18 w 30"/>
                    <a:gd name="T33" fmla="*/ 0 h 59"/>
                    <a:gd name="T34" fmla="*/ 15 w 30"/>
                    <a:gd name="T35" fmla="*/ 0 h 59"/>
                    <a:gd name="T36" fmla="*/ 11 w 30"/>
                    <a:gd name="T37" fmla="*/ 0 h 59"/>
                    <a:gd name="T38" fmla="*/ 9 w 30"/>
                    <a:gd name="T39" fmla="*/ 1 h 59"/>
                    <a:gd name="T40" fmla="*/ 6 w 30"/>
                    <a:gd name="T41" fmla="*/ 2 h 59"/>
                    <a:gd name="T42" fmla="*/ 4 w 30"/>
                    <a:gd name="T43" fmla="*/ 4 h 59"/>
                    <a:gd name="T44" fmla="*/ 3 w 30"/>
                    <a:gd name="T45" fmla="*/ 6 h 59"/>
                    <a:gd name="T46" fmla="*/ 1 w 30"/>
                    <a:gd name="T47" fmla="*/ 9 h 59"/>
                    <a:gd name="T48" fmla="*/ 0 w 30"/>
                    <a:gd name="T49" fmla="*/ 11 h 59"/>
                    <a:gd name="T50" fmla="*/ 0 w 30"/>
                    <a:gd name="T51" fmla="*/ 14 h 59"/>
                    <a:gd name="T52" fmla="*/ 0 w 30"/>
                    <a:gd name="T53" fmla="*/ 44 h 59"/>
                    <a:gd name="T54" fmla="*/ 0 w 30"/>
                    <a:gd name="T55" fmla="*/ 48 h 59"/>
                    <a:gd name="T56" fmla="*/ 1 w 30"/>
                    <a:gd name="T57" fmla="*/ 51 h 59"/>
                    <a:gd name="T58" fmla="*/ 3 w 30"/>
                    <a:gd name="T59" fmla="*/ 53 h 59"/>
                    <a:gd name="T60" fmla="*/ 4 w 30"/>
                    <a:gd name="T61" fmla="*/ 55 h 59"/>
                    <a:gd name="T62" fmla="*/ 6 w 30"/>
                    <a:gd name="T63" fmla="*/ 57 h 59"/>
                    <a:gd name="T64" fmla="*/ 9 w 30"/>
                    <a:gd name="T65" fmla="*/ 58 h 59"/>
                    <a:gd name="T66" fmla="*/ 11 w 30"/>
                    <a:gd name="T67" fmla="*/ 59 h 59"/>
                    <a:gd name="T68" fmla="*/ 15 w 30"/>
                    <a:gd name="T69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0" h="59">
                      <a:moveTo>
                        <a:pt x="15" y="59"/>
                      </a:moveTo>
                      <a:lnTo>
                        <a:pt x="18" y="59"/>
                      </a:lnTo>
                      <a:lnTo>
                        <a:pt x="21" y="58"/>
                      </a:lnTo>
                      <a:lnTo>
                        <a:pt x="23" y="57"/>
                      </a:lnTo>
                      <a:lnTo>
                        <a:pt x="25" y="55"/>
                      </a:lnTo>
                      <a:lnTo>
                        <a:pt x="27" y="53"/>
                      </a:lnTo>
                      <a:lnTo>
                        <a:pt x="28" y="51"/>
                      </a:lnTo>
                      <a:lnTo>
                        <a:pt x="30" y="48"/>
                      </a:lnTo>
                      <a:lnTo>
                        <a:pt x="30" y="44"/>
                      </a:lnTo>
                      <a:lnTo>
                        <a:pt x="30" y="14"/>
                      </a:lnTo>
                      <a:lnTo>
                        <a:pt x="30" y="11"/>
                      </a:lnTo>
                      <a:lnTo>
                        <a:pt x="28" y="9"/>
                      </a:lnTo>
                      <a:lnTo>
                        <a:pt x="27" y="6"/>
                      </a:lnTo>
                      <a:lnTo>
                        <a:pt x="25" y="4"/>
                      </a:lnTo>
                      <a:lnTo>
                        <a:pt x="23" y="2"/>
                      </a:lnTo>
                      <a:lnTo>
                        <a:pt x="21" y="1"/>
                      </a:lnTo>
                      <a:lnTo>
                        <a:pt x="18" y="0"/>
                      </a:lnTo>
                      <a:lnTo>
                        <a:pt x="15" y="0"/>
                      </a:lnTo>
                      <a:lnTo>
                        <a:pt x="11" y="0"/>
                      </a:lnTo>
                      <a:lnTo>
                        <a:pt x="9" y="1"/>
                      </a:lnTo>
                      <a:lnTo>
                        <a:pt x="6" y="2"/>
                      </a:lnTo>
                      <a:lnTo>
                        <a:pt x="4" y="4"/>
                      </a:lnTo>
                      <a:lnTo>
                        <a:pt x="3" y="6"/>
                      </a:lnTo>
                      <a:lnTo>
                        <a:pt x="1" y="9"/>
                      </a:lnTo>
                      <a:lnTo>
                        <a:pt x="0" y="11"/>
                      </a:lnTo>
                      <a:lnTo>
                        <a:pt x="0" y="14"/>
                      </a:lnTo>
                      <a:lnTo>
                        <a:pt x="0" y="44"/>
                      </a:lnTo>
                      <a:lnTo>
                        <a:pt x="0" y="48"/>
                      </a:lnTo>
                      <a:lnTo>
                        <a:pt x="1" y="51"/>
                      </a:lnTo>
                      <a:lnTo>
                        <a:pt x="3" y="53"/>
                      </a:lnTo>
                      <a:lnTo>
                        <a:pt x="4" y="55"/>
                      </a:lnTo>
                      <a:lnTo>
                        <a:pt x="6" y="57"/>
                      </a:lnTo>
                      <a:lnTo>
                        <a:pt x="9" y="58"/>
                      </a:lnTo>
                      <a:lnTo>
                        <a:pt x="11" y="59"/>
                      </a:lnTo>
                      <a:lnTo>
                        <a:pt x="15" y="5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7" name="Freeform 64">
                  <a:extLst>
                    <a:ext uri="{FF2B5EF4-FFF2-40B4-BE49-F238E27FC236}">
                      <a16:creationId xmlns:a16="http://schemas.microsoft.com/office/drawing/2014/main" id="{29E49F21-0536-47A2-83FD-6A50478130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5513" y="788988"/>
                  <a:ext cx="17463" cy="19050"/>
                </a:xfrm>
                <a:custGeom>
                  <a:avLst/>
                  <a:gdLst>
                    <a:gd name="T0" fmla="*/ 44 w 59"/>
                    <a:gd name="T1" fmla="*/ 60 h 60"/>
                    <a:gd name="T2" fmla="*/ 47 w 59"/>
                    <a:gd name="T3" fmla="*/ 59 h 60"/>
                    <a:gd name="T4" fmla="*/ 50 w 59"/>
                    <a:gd name="T5" fmla="*/ 59 h 60"/>
                    <a:gd name="T6" fmla="*/ 52 w 59"/>
                    <a:gd name="T7" fmla="*/ 57 h 60"/>
                    <a:gd name="T8" fmla="*/ 54 w 59"/>
                    <a:gd name="T9" fmla="*/ 56 h 60"/>
                    <a:gd name="T10" fmla="*/ 57 w 59"/>
                    <a:gd name="T11" fmla="*/ 54 h 60"/>
                    <a:gd name="T12" fmla="*/ 58 w 59"/>
                    <a:gd name="T13" fmla="*/ 52 h 60"/>
                    <a:gd name="T14" fmla="*/ 59 w 59"/>
                    <a:gd name="T15" fmla="*/ 49 h 60"/>
                    <a:gd name="T16" fmla="*/ 59 w 59"/>
                    <a:gd name="T17" fmla="*/ 45 h 60"/>
                    <a:gd name="T18" fmla="*/ 59 w 59"/>
                    <a:gd name="T19" fmla="*/ 43 h 60"/>
                    <a:gd name="T20" fmla="*/ 58 w 59"/>
                    <a:gd name="T21" fmla="*/ 40 h 60"/>
                    <a:gd name="T22" fmla="*/ 57 w 59"/>
                    <a:gd name="T23" fmla="*/ 37 h 60"/>
                    <a:gd name="T24" fmla="*/ 54 w 59"/>
                    <a:gd name="T25" fmla="*/ 35 h 60"/>
                    <a:gd name="T26" fmla="*/ 24 w 59"/>
                    <a:gd name="T27" fmla="*/ 5 h 60"/>
                    <a:gd name="T28" fmla="*/ 22 w 59"/>
                    <a:gd name="T29" fmla="*/ 3 h 60"/>
                    <a:gd name="T30" fmla="*/ 20 w 59"/>
                    <a:gd name="T31" fmla="*/ 2 h 60"/>
                    <a:gd name="T32" fmla="*/ 17 w 59"/>
                    <a:gd name="T33" fmla="*/ 0 h 60"/>
                    <a:gd name="T34" fmla="*/ 15 w 59"/>
                    <a:gd name="T35" fmla="*/ 0 h 60"/>
                    <a:gd name="T36" fmla="*/ 12 w 59"/>
                    <a:gd name="T37" fmla="*/ 0 h 60"/>
                    <a:gd name="T38" fmla="*/ 8 w 59"/>
                    <a:gd name="T39" fmla="*/ 2 h 60"/>
                    <a:gd name="T40" fmla="*/ 6 w 59"/>
                    <a:gd name="T41" fmla="*/ 3 h 60"/>
                    <a:gd name="T42" fmla="*/ 4 w 59"/>
                    <a:gd name="T43" fmla="*/ 5 h 60"/>
                    <a:gd name="T44" fmla="*/ 2 w 59"/>
                    <a:gd name="T45" fmla="*/ 7 h 60"/>
                    <a:gd name="T46" fmla="*/ 1 w 59"/>
                    <a:gd name="T47" fmla="*/ 10 h 60"/>
                    <a:gd name="T48" fmla="*/ 0 w 59"/>
                    <a:gd name="T49" fmla="*/ 13 h 60"/>
                    <a:gd name="T50" fmla="*/ 0 w 59"/>
                    <a:gd name="T51" fmla="*/ 15 h 60"/>
                    <a:gd name="T52" fmla="*/ 0 w 59"/>
                    <a:gd name="T53" fmla="*/ 19 h 60"/>
                    <a:gd name="T54" fmla="*/ 1 w 59"/>
                    <a:gd name="T55" fmla="*/ 22 h 60"/>
                    <a:gd name="T56" fmla="*/ 2 w 59"/>
                    <a:gd name="T57" fmla="*/ 24 h 60"/>
                    <a:gd name="T58" fmla="*/ 4 w 59"/>
                    <a:gd name="T59" fmla="*/ 26 h 60"/>
                    <a:gd name="T60" fmla="*/ 34 w 59"/>
                    <a:gd name="T61" fmla="*/ 56 h 60"/>
                    <a:gd name="T62" fmla="*/ 36 w 59"/>
                    <a:gd name="T63" fmla="*/ 57 h 60"/>
                    <a:gd name="T64" fmla="*/ 38 w 59"/>
                    <a:gd name="T65" fmla="*/ 59 h 60"/>
                    <a:gd name="T66" fmla="*/ 42 w 59"/>
                    <a:gd name="T67" fmla="*/ 59 h 60"/>
                    <a:gd name="T68" fmla="*/ 44 w 59"/>
                    <a:gd name="T69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9" h="60">
                      <a:moveTo>
                        <a:pt x="44" y="60"/>
                      </a:moveTo>
                      <a:lnTo>
                        <a:pt x="47" y="59"/>
                      </a:lnTo>
                      <a:lnTo>
                        <a:pt x="50" y="59"/>
                      </a:lnTo>
                      <a:lnTo>
                        <a:pt x="52" y="57"/>
                      </a:lnTo>
                      <a:lnTo>
                        <a:pt x="54" y="56"/>
                      </a:lnTo>
                      <a:lnTo>
                        <a:pt x="57" y="54"/>
                      </a:lnTo>
                      <a:lnTo>
                        <a:pt x="58" y="52"/>
                      </a:lnTo>
                      <a:lnTo>
                        <a:pt x="59" y="49"/>
                      </a:lnTo>
                      <a:lnTo>
                        <a:pt x="59" y="45"/>
                      </a:lnTo>
                      <a:lnTo>
                        <a:pt x="59" y="43"/>
                      </a:lnTo>
                      <a:lnTo>
                        <a:pt x="58" y="40"/>
                      </a:lnTo>
                      <a:lnTo>
                        <a:pt x="57" y="37"/>
                      </a:lnTo>
                      <a:lnTo>
                        <a:pt x="54" y="35"/>
                      </a:lnTo>
                      <a:lnTo>
                        <a:pt x="24" y="5"/>
                      </a:lnTo>
                      <a:lnTo>
                        <a:pt x="22" y="3"/>
                      </a:lnTo>
                      <a:lnTo>
                        <a:pt x="20" y="2"/>
                      </a:lnTo>
                      <a:lnTo>
                        <a:pt x="17" y="0"/>
                      </a:lnTo>
                      <a:lnTo>
                        <a:pt x="15" y="0"/>
                      </a:lnTo>
                      <a:lnTo>
                        <a:pt x="12" y="0"/>
                      </a:lnTo>
                      <a:lnTo>
                        <a:pt x="8" y="2"/>
                      </a:lnTo>
                      <a:lnTo>
                        <a:pt x="6" y="3"/>
                      </a:lnTo>
                      <a:lnTo>
                        <a:pt x="4" y="5"/>
                      </a:lnTo>
                      <a:lnTo>
                        <a:pt x="2" y="7"/>
                      </a:lnTo>
                      <a:lnTo>
                        <a:pt x="1" y="10"/>
                      </a:lnTo>
                      <a:lnTo>
                        <a:pt x="0" y="13"/>
                      </a:lnTo>
                      <a:lnTo>
                        <a:pt x="0" y="15"/>
                      </a:lnTo>
                      <a:lnTo>
                        <a:pt x="0" y="19"/>
                      </a:lnTo>
                      <a:lnTo>
                        <a:pt x="1" y="22"/>
                      </a:lnTo>
                      <a:lnTo>
                        <a:pt x="2" y="24"/>
                      </a:lnTo>
                      <a:lnTo>
                        <a:pt x="4" y="26"/>
                      </a:lnTo>
                      <a:lnTo>
                        <a:pt x="34" y="56"/>
                      </a:lnTo>
                      <a:lnTo>
                        <a:pt x="36" y="57"/>
                      </a:lnTo>
                      <a:lnTo>
                        <a:pt x="38" y="59"/>
                      </a:lnTo>
                      <a:lnTo>
                        <a:pt x="42" y="59"/>
                      </a:lnTo>
                      <a:lnTo>
                        <a:pt x="44" y="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8" name="Freeform 65">
                  <a:extLst>
                    <a:ext uri="{FF2B5EF4-FFF2-40B4-BE49-F238E27FC236}">
                      <a16:creationId xmlns:a16="http://schemas.microsoft.com/office/drawing/2014/main" id="{75C1859F-3FD1-43DB-BAE9-45EFE42B7A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5850" y="793750"/>
                  <a:ext cx="19050" cy="19050"/>
                </a:xfrm>
                <a:custGeom>
                  <a:avLst/>
                  <a:gdLst>
                    <a:gd name="T0" fmla="*/ 15 w 60"/>
                    <a:gd name="T1" fmla="*/ 60 h 60"/>
                    <a:gd name="T2" fmla="*/ 19 w 60"/>
                    <a:gd name="T3" fmla="*/ 59 h 60"/>
                    <a:gd name="T4" fmla="*/ 21 w 60"/>
                    <a:gd name="T5" fmla="*/ 59 h 60"/>
                    <a:gd name="T6" fmla="*/ 24 w 60"/>
                    <a:gd name="T7" fmla="*/ 57 h 60"/>
                    <a:gd name="T8" fmla="*/ 26 w 60"/>
                    <a:gd name="T9" fmla="*/ 56 h 60"/>
                    <a:gd name="T10" fmla="*/ 56 w 60"/>
                    <a:gd name="T11" fmla="*/ 26 h 60"/>
                    <a:gd name="T12" fmla="*/ 58 w 60"/>
                    <a:gd name="T13" fmla="*/ 24 h 60"/>
                    <a:gd name="T14" fmla="*/ 59 w 60"/>
                    <a:gd name="T15" fmla="*/ 22 h 60"/>
                    <a:gd name="T16" fmla="*/ 60 w 60"/>
                    <a:gd name="T17" fmla="*/ 19 h 60"/>
                    <a:gd name="T18" fmla="*/ 60 w 60"/>
                    <a:gd name="T19" fmla="*/ 15 h 60"/>
                    <a:gd name="T20" fmla="*/ 60 w 60"/>
                    <a:gd name="T21" fmla="*/ 13 h 60"/>
                    <a:gd name="T22" fmla="*/ 59 w 60"/>
                    <a:gd name="T23" fmla="*/ 10 h 60"/>
                    <a:gd name="T24" fmla="*/ 58 w 60"/>
                    <a:gd name="T25" fmla="*/ 7 h 60"/>
                    <a:gd name="T26" fmla="*/ 56 w 60"/>
                    <a:gd name="T27" fmla="*/ 5 h 60"/>
                    <a:gd name="T28" fmla="*/ 54 w 60"/>
                    <a:gd name="T29" fmla="*/ 3 h 60"/>
                    <a:gd name="T30" fmla="*/ 51 w 60"/>
                    <a:gd name="T31" fmla="*/ 2 h 60"/>
                    <a:gd name="T32" fmla="*/ 49 w 60"/>
                    <a:gd name="T33" fmla="*/ 0 h 60"/>
                    <a:gd name="T34" fmla="*/ 45 w 60"/>
                    <a:gd name="T35" fmla="*/ 0 h 60"/>
                    <a:gd name="T36" fmla="*/ 42 w 60"/>
                    <a:gd name="T37" fmla="*/ 0 h 60"/>
                    <a:gd name="T38" fmla="*/ 40 w 60"/>
                    <a:gd name="T39" fmla="*/ 2 h 60"/>
                    <a:gd name="T40" fmla="*/ 37 w 60"/>
                    <a:gd name="T41" fmla="*/ 3 h 60"/>
                    <a:gd name="T42" fmla="*/ 35 w 60"/>
                    <a:gd name="T43" fmla="*/ 5 h 60"/>
                    <a:gd name="T44" fmla="*/ 5 w 60"/>
                    <a:gd name="T45" fmla="*/ 35 h 60"/>
                    <a:gd name="T46" fmla="*/ 3 w 60"/>
                    <a:gd name="T47" fmla="*/ 37 h 60"/>
                    <a:gd name="T48" fmla="*/ 1 w 60"/>
                    <a:gd name="T49" fmla="*/ 40 h 60"/>
                    <a:gd name="T50" fmla="*/ 0 w 60"/>
                    <a:gd name="T51" fmla="*/ 43 h 60"/>
                    <a:gd name="T52" fmla="*/ 0 w 60"/>
                    <a:gd name="T53" fmla="*/ 45 h 60"/>
                    <a:gd name="T54" fmla="*/ 0 w 60"/>
                    <a:gd name="T55" fmla="*/ 49 h 60"/>
                    <a:gd name="T56" fmla="*/ 1 w 60"/>
                    <a:gd name="T57" fmla="*/ 52 h 60"/>
                    <a:gd name="T58" fmla="*/ 3 w 60"/>
                    <a:gd name="T59" fmla="*/ 54 h 60"/>
                    <a:gd name="T60" fmla="*/ 5 w 60"/>
                    <a:gd name="T61" fmla="*/ 56 h 60"/>
                    <a:gd name="T62" fmla="*/ 7 w 60"/>
                    <a:gd name="T63" fmla="*/ 57 h 60"/>
                    <a:gd name="T64" fmla="*/ 10 w 60"/>
                    <a:gd name="T65" fmla="*/ 59 h 60"/>
                    <a:gd name="T66" fmla="*/ 12 w 60"/>
                    <a:gd name="T67" fmla="*/ 59 h 60"/>
                    <a:gd name="T68" fmla="*/ 15 w 60"/>
                    <a:gd name="T69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60" h="60">
                      <a:moveTo>
                        <a:pt x="15" y="60"/>
                      </a:moveTo>
                      <a:lnTo>
                        <a:pt x="19" y="59"/>
                      </a:lnTo>
                      <a:lnTo>
                        <a:pt x="21" y="59"/>
                      </a:lnTo>
                      <a:lnTo>
                        <a:pt x="24" y="57"/>
                      </a:lnTo>
                      <a:lnTo>
                        <a:pt x="26" y="56"/>
                      </a:lnTo>
                      <a:lnTo>
                        <a:pt x="56" y="26"/>
                      </a:lnTo>
                      <a:lnTo>
                        <a:pt x="58" y="24"/>
                      </a:lnTo>
                      <a:lnTo>
                        <a:pt x="59" y="22"/>
                      </a:lnTo>
                      <a:lnTo>
                        <a:pt x="60" y="19"/>
                      </a:lnTo>
                      <a:lnTo>
                        <a:pt x="60" y="15"/>
                      </a:lnTo>
                      <a:lnTo>
                        <a:pt x="60" y="13"/>
                      </a:lnTo>
                      <a:lnTo>
                        <a:pt x="59" y="10"/>
                      </a:lnTo>
                      <a:lnTo>
                        <a:pt x="58" y="7"/>
                      </a:lnTo>
                      <a:lnTo>
                        <a:pt x="56" y="5"/>
                      </a:lnTo>
                      <a:lnTo>
                        <a:pt x="54" y="3"/>
                      </a:lnTo>
                      <a:lnTo>
                        <a:pt x="51" y="2"/>
                      </a:lnTo>
                      <a:lnTo>
                        <a:pt x="49" y="0"/>
                      </a:lnTo>
                      <a:lnTo>
                        <a:pt x="45" y="0"/>
                      </a:lnTo>
                      <a:lnTo>
                        <a:pt x="42" y="0"/>
                      </a:lnTo>
                      <a:lnTo>
                        <a:pt x="40" y="2"/>
                      </a:lnTo>
                      <a:lnTo>
                        <a:pt x="37" y="3"/>
                      </a:lnTo>
                      <a:lnTo>
                        <a:pt x="35" y="5"/>
                      </a:lnTo>
                      <a:lnTo>
                        <a:pt x="5" y="35"/>
                      </a:lnTo>
                      <a:lnTo>
                        <a:pt x="3" y="37"/>
                      </a:lnTo>
                      <a:lnTo>
                        <a:pt x="1" y="40"/>
                      </a:lnTo>
                      <a:lnTo>
                        <a:pt x="0" y="43"/>
                      </a:lnTo>
                      <a:lnTo>
                        <a:pt x="0" y="45"/>
                      </a:lnTo>
                      <a:lnTo>
                        <a:pt x="0" y="49"/>
                      </a:lnTo>
                      <a:lnTo>
                        <a:pt x="1" y="52"/>
                      </a:lnTo>
                      <a:lnTo>
                        <a:pt x="3" y="54"/>
                      </a:lnTo>
                      <a:lnTo>
                        <a:pt x="5" y="56"/>
                      </a:lnTo>
                      <a:lnTo>
                        <a:pt x="7" y="57"/>
                      </a:lnTo>
                      <a:lnTo>
                        <a:pt x="10" y="59"/>
                      </a:lnTo>
                      <a:lnTo>
                        <a:pt x="12" y="59"/>
                      </a:lnTo>
                      <a:lnTo>
                        <a:pt x="15" y="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29" name="Freeform 66">
                  <a:extLst>
                    <a:ext uri="{FF2B5EF4-FFF2-40B4-BE49-F238E27FC236}">
                      <a16:creationId xmlns:a16="http://schemas.microsoft.com/office/drawing/2014/main" id="{A21993FA-9EA9-43B9-928D-6350BFAD95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6463" y="874713"/>
                  <a:ext cx="19050" cy="9525"/>
                </a:xfrm>
                <a:custGeom>
                  <a:avLst/>
                  <a:gdLst>
                    <a:gd name="T0" fmla="*/ 45 w 60"/>
                    <a:gd name="T1" fmla="*/ 0 h 30"/>
                    <a:gd name="T2" fmla="*/ 15 w 60"/>
                    <a:gd name="T3" fmla="*/ 0 h 30"/>
                    <a:gd name="T4" fmla="*/ 12 w 60"/>
                    <a:gd name="T5" fmla="*/ 1 h 30"/>
                    <a:gd name="T6" fmla="*/ 8 w 60"/>
                    <a:gd name="T7" fmla="*/ 2 h 30"/>
                    <a:gd name="T8" fmla="*/ 6 w 60"/>
                    <a:gd name="T9" fmla="*/ 3 h 30"/>
                    <a:gd name="T10" fmla="*/ 4 w 60"/>
                    <a:gd name="T11" fmla="*/ 5 h 30"/>
                    <a:gd name="T12" fmla="*/ 2 w 60"/>
                    <a:gd name="T13" fmla="*/ 8 h 30"/>
                    <a:gd name="T14" fmla="*/ 1 w 60"/>
                    <a:gd name="T15" fmla="*/ 10 h 30"/>
                    <a:gd name="T16" fmla="*/ 0 w 60"/>
                    <a:gd name="T17" fmla="*/ 13 h 30"/>
                    <a:gd name="T18" fmla="*/ 0 w 60"/>
                    <a:gd name="T19" fmla="*/ 15 h 30"/>
                    <a:gd name="T20" fmla="*/ 0 w 60"/>
                    <a:gd name="T21" fmla="*/ 18 h 30"/>
                    <a:gd name="T22" fmla="*/ 1 w 60"/>
                    <a:gd name="T23" fmla="*/ 22 h 30"/>
                    <a:gd name="T24" fmla="*/ 2 w 60"/>
                    <a:gd name="T25" fmla="*/ 25 h 30"/>
                    <a:gd name="T26" fmla="*/ 4 w 60"/>
                    <a:gd name="T27" fmla="*/ 27 h 30"/>
                    <a:gd name="T28" fmla="*/ 6 w 60"/>
                    <a:gd name="T29" fmla="*/ 28 h 30"/>
                    <a:gd name="T30" fmla="*/ 8 w 60"/>
                    <a:gd name="T31" fmla="*/ 29 h 30"/>
                    <a:gd name="T32" fmla="*/ 12 w 60"/>
                    <a:gd name="T33" fmla="*/ 30 h 30"/>
                    <a:gd name="T34" fmla="*/ 15 w 60"/>
                    <a:gd name="T35" fmla="*/ 30 h 30"/>
                    <a:gd name="T36" fmla="*/ 45 w 60"/>
                    <a:gd name="T37" fmla="*/ 30 h 30"/>
                    <a:gd name="T38" fmla="*/ 47 w 60"/>
                    <a:gd name="T39" fmla="*/ 30 h 30"/>
                    <a:gd name="T40" fmla="*/ 50 w 60"/>
                    <a:gd name="T41" fmla="*/ 29 h 30"/>
                    <a:gd name="T42" fmla="*/ 52 w 60"/>
                    <a:gd name="T43" fmla="*/ 28 h 30"/>
                    <a:gd name="T44" fmla="*/ 54 w 60"/>
                    <a:gd name="T45" fmla="*/ 27 h 30"/>
                    <a:gd name="T46" fmla="*/ 57 w 60"/>
                    <a:gd name="T47" fmla="*/ 25 h 30"/>
                    <a:gd name="T48" fmla="*/ 58 w 60"/>
                    <a:gd name="T49" fmla="*/ 22 h 30"/>
                    <a:gd name="T50" fmla="*/ 59 w 60"/>
                    <a:gd name="T51" fmla="*/ 18 h 30"/>
                    <a:gd name="T52" fmla="*/ 60 w 60"/>
                    <a:gd name="T53" fmla="*/ 15 h 30"/>
                    <a:gd name="T54" fmla="*/ 59 w 60"/>
                    <a:gd name="T55" fmla="*/ 13 h 30"/>
                    <a:gd name="T56" fmla="*/ 58 w 60"/>
                    <a:gd name="T57" fmla="*/ 10 h 30"/>
                    <a:gd name="T58" fmla="*/ 57 w 60"/>
                    <a:gd name="T59" fmla="*/ 8 h 30"/>
                    <a:gd name="T60" fmla="*/ 54 w 60"/>
                    <a:gd name="T61" fmla="*/ 5 h 30"/>
                    <a:gd name="T62" fmla="*/ 52 w 60"/>
                    <a:gd name="T63" fmla="*/ 3 h 30"/>
                    <a:gd name="T64" fmla="*/ 50 w 60"/>
                    <a:gd name="T65" fmla="*/ 2 h 30"/>
                    <a:gd name="T66" fmla="*/ 47 w 60"/>
                    <a:gd name="T67" fmla="*/ 1 h 30"/>
                    <a:gd name="T68" fmla="*/ 45 w 60"/>
                    <a:gd name="T69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60" h="30">
                      <a:moveTo>
                        <a:pt x="45" y="0"/>
                      </a:moveTo>
                      <a:lnTo>
                        <a:pt x="15" y="0"/>
                      </a:lnTo>
                      <a:lnTo>
                        <a:pt x="12" y="1"/>
                      </a:lnTo>
                      <a:lnTo>
                        <a:pt x="8" y="2"/>
                      </a:lnTo>
                      <a:lnTo>
                        <a:pt x="6" y="3"/>
                      </a:lnTo>
                      <a:lnTo>
                        <a:pt x="4" y="5"/>
                      </a:lnTo>
                      <a:lnTo>
                        <a:pt x="2" y="8"/>
                      </a:lnTo>
                      <a:lnTo>
                        <a:pt x="1" y="10"/>
                      </a:lnTo>
                      <a:lnTo>
                        <a:pt x="0" y="13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2"/>
                      </a:lnTo>
                      <a:lnTo>
                        <a:pt x="2" y="25"/>
                      </a:lnTo>
                      <a:lnTo>
                        <a:pt x="4" y="27"/>
                      </a:lnTo>
                      <a:lnTo>
                        <a:pt x="6" y="28"/>
                      </a:lnTo>
                      <a:lnTo>
                        <a:pt x="8" y="29"/>
                      </a:lnTo>
                      <a:lnTo>
                        <a:pt x="12" y="30"/>
                      </a:lnTo>
                      <a:lnTo>
                        <a:pt x="15" y="30"/>
                      </a:lnTo>
                      <a:lnTo>
                        <a:pt x="45" y="30"/>
                      </a:lnTo>
                      <a:lnTo>
                        <a:pt x="47" y="30"/>
                      </a:lnTo>
                      <a:lnTo>
                        <a:pt x="50" y="29"/>
                      </a:lnTo>
                      <a:lnTo>
                        <a:pt x="52" y="28"/>
                      </a:lnTo>
                      <a:lnTo>
                        <a:pt x="54" y="27"/>
                      </a:lnTo>
                      <a:lnTo>
                        <a:pt x="57" y="25"/>
                      </a:lnTo>
                      <a:lnTo>
                        <a:pt x="58" y="22"/>
                      </a:lnTo>
                      <a:lnTo>
                        <a:pt x="59" y="18"/>
                      </a:lnTo>
                      <a:lnTo>
                        <a:pt x="60" y="15"/>
                      </a:lnTo>
                      <a:lnTo>
                        <a:pt x="59" y="13"/>
                      </a:lnTo>
                      <a:lnTo>
                        <a:pt x="58" y="10"/>
                      </a:lnTo>
                      <a:lnTo>
                        <a:pt x="57" y="8"/>
                      </a:lnTo>
                      <a:lnTo>
                        <a:pt x="54" y="5"/>
                      </a:lnTo>
                      <a:lnTo>
                        <a:pt x="52" y="3"/>
                      </a:lnTo>
                      <a:lnTo>
                        <a:pt x="50" y="2"/>
                      </a:lnTo>
                      <a:lnTo>
                        <a:pt x="47" y="1"/>
                      </a:lnTo>
                      <a:lnTo>
                        <a:pt x="4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0" name="Freeform 67">
                  <a:extLst>
                    <a:ext uri="{FF2B5EF4-FFF2-40B4-BE49-F238E27FC236}">
                      <a16:creationId xmlns:a16="http://schemas.microsoft.com/office/drawing/2014/main" id="{20BE5B34-A5FD-4A9D-99EC-0682E48B62D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33450" y="865188"/>
                  <a:ext cx="257175" cy="190500"/>
                </a:xfrm>
                <a:custGeom>
                  <a:avLst/>
                  <a:gdLst>
                    <a:gd name="T0" fmla="*/ 174 w 808"/>
                    <a:gd name="T1" fmla="*/ 564 h 599"/>
                    <a:gd name="T2" fmla="*/ 111 w 808"/>
                    <a:gd name="T3" fmla="*/ 536 h 599"/>
                    <a:gd name="T4" fmla="*/ 62 w 808"/>
                    <a:gd name="T5" fmla="*/ 487 h 599"/>
                    <a:gd name="T6" fmla="*/ 34 w 808"/>
                    <a:gd name="T7" fmla="*/ 424 h 599"/>
                    <a:gd name="T8" fmla="*/ 34 w 808"/>
                    <a:gd name="T9" fmla="*/ 356 h 599"/>
                    <a:gd name="T10" fmla="*/ 59 w 808"/>
                    <a:gd name="T11" fmla="*/ 296 h 599"/>
                    <a:gd name="T12" fmla="*/ 105 w 808"/>
                    <a:gd name="T13" fmla="*/ 246 h 599"/>
                    <a:gd name="T14" fmla="*/ 164 w 808"/>
                    <a:gd name="T15" fmla="*/ 215 h 599"/>
                    <a:gd name="T16" fmla="*/ 205 w 808"/>
                    <a:gd name="T17" fmla="*/ 206 h 599"/>
                    <a:gd name="T18" fmla="*/ 213 w 808"/>
                    <a:gd name="T19" fmla="*/ 177 h 599"/>
                    <a:gd name="T20" fmla="*/ 233 w 808"/>
                    <a:gd name="T21" fmla="*/ 127 h 599"/>
                    <a:gd name="T22" fmla="*/ 282 w 808"/>
                    <a:gd name="T23" fmla="*/ 74 h 599"/>
                    <a:gd name="T24" fmla="*/ 348 w 808"/>
                    <a:gd name="T25" fmla="*/ 41 h 599"/>
                    <a:gd name="T26" fmla="*/ 419 w 808"/>
                    <a:gd name="T27" fmla="*/ 29 h 599"/>
                    <a:gd name="T28" fmla="*/ 479 w 808"/>
                    <a:gd name="T29" fmla="*/ 42 h 599"/>
                    <a:gd name="T30" fmla="*/ 531 w 808"/>
                    <a:gd name="T31" fmla="*/ 74 h 599"/>
                    <a:gd name="T32" fmla="*/ 573 w 808"/>
                    <a:gd name="T33" fmla="*/ 119 h 599"/>
                    <a:gd name="T34" fmla="*/ 600 w 808"/>
                    <a:gd name="T35" fmla="*/ 170 h 599"/>
                    <a:gd name="T36" fmla="*/ 615 w 808"/>
                    <a:gd name="T37" fmla="*/ 179 h 599"/>
                    <a:gd name="T38" fmla="*/ 675 w 808"/>
                    <a:gd name="T39" fmla="*/ 186 h 599"/>
                    <a:gd name="T40" fmla="*/ 709 w 808"/>
                    <a:gd name="T41" fmla="*/ 208 h 599"/>
                    <a:gd name="T42" fmla="*/ 725 w 808"/>
                    <a:gd name="T43" fmla="*/ 235 h 599"/>
                    <a:gd name="T44" fmla="*/ 727 w 808"/>
                    <a:gd name="T45" fmla="*/ 273 h 599"/>
                    <a:gd name="T46" fmla="*/ 719 w 808"/>
                    <a:gd name="T47" fmla="*/ 304 h 599"/>
                    <a:gd name="T48" fmla="*/ 737 w 808"/>
                    <a:gd name="T49" fmla="*/ 321 h 599"/>
                    <a:gd name="T50" fmla="*/ 764 w 808"/>
                    <a:gd name="T51" fmla="*/ 361 h 599"/>
                    <a:gd name="T52" fmla="*/ 778 w 808"/>
                    <a:gd name="T53" fmla="*/ 434 h 599"/>
                    <a:gd name="T54" fmla="*/ 767 w 808"/>
                    <a:gd name="T55" fmla="*/ 486 h 599"/>
                    <a:gd name="T56" fmla="*/ 738 w 808"/>
                    <a:gd name="T57" fmla="*/ 529 h 599"/>
                    <a:gd name="T58" fmla="*/ 696 w 808"/>
                    <a:gd name="T59" fmla="*/ 558 h 599"/>
                    <a:gd name="T60" fmla="*/ 642 w 808"/>
                    <a:gd name="T61" fmla="*/ 569 h 599"/>
                    <a:gd name="T62" fmla="*/ 758 w 808"/>
                    <a:gd name="T63" fmla="*/ 258 h 599"/>
                    <a:gd name="T64" fmla="*/ 747 w 808"/>
                    <a:gd name="T65" fmla="*/ 212 h 599"/>
                    <a:gd name="T66" fmla="*/ 727 w 808"/>
                    <a:gd name="T67" fmla="*/ 183 h 599"/>
                    <a:gd name="T68" fmla="*/ 700 w 808"/>
                    <a:gd name="T69" fmla="*/ 165 h 599"/>
                    <a:gd name="T70" fmla="*/ 642 w 808"/>
                    <a:gd name="T71" fmla="*/ 149 h 599"/>
                    <a:gd name="T72" fmla="*/ 601 w 808"/>
                    <a:gd name="T73" fmla="*/ 108 h 599"/>
                    <a:gd name="T74" fmla="*/ 559 w 808"/>
                    <a:gd name="T75" fmla="*/ 58 h 599"/>
                    <a:gd name="T76" fmla="*/ 503 w 808"/>
                    <a:gd name="T77" fmla="*/ 19 h 599"/>
                    <a:gd name="T78" fmla="*/ 438 w 808"/>
                    <a:gd name="T79" fmla="*/ 0 h 599"/>
                    <a:gd name="T80" fmla="*/ 349 w 808"/>
                    <a:gd name="T81" fmla="*/ 9 h 599"/>
                    <a:gd name="T82" fmla="*/ 272 w 808"/>
                    <a:gd name="T83" fmla="*/ 44 h 599"/>
                    <a:gd name="T84" fmla="*/ 216 w 808"/>
                    <a:gd name="T85" fmla="*/ 99 h 599"/>
                    <a:gd name="T86" fmla="*/ 185 w 808"/>
                    <a:gd name="T87" fmla="*/ 164 h 599"/>
                    <a:gd name="T88" fmla="*/ 128 w 808"/>
                    <a:gd name="T89" fmla="*/ 197 h 599"/>
                    <a:gd name="T90" fmla="*/ 66 w 808"/>
                    <a:gd name="T91" fmla="*/ 240 h 599"/>
                    <a:gd name="T92" fmla="*/ 22 w 808"/>
                    <a:gd name="T93" fmla="*/ 300 h 599"/>
                    <a:gd name="T94" fmla="*/ 1 w 808"/>
                    <a:gd name="T95" fmla="*/ 371 h 599"/>
                    <a:gd name="T96" fmla="*/ 3 w 808"/>
                    <a:gd name="T97" fmla="*/ 420 h 599"/>
                    <a:gd name="T98" fmla="*/ 27 w 808"/>
                    <a:gd name="T99" fmla="*/ 487 h 599"/>
                    <a:gd name="T100" fmla="*/ 78 w 808"/>
                    <a:gd name="T101" fmla="*/ 549 h 599"/>
                    <a:gd name="T102" fmla="*/ 149 w 808"/>
                    <a:gd name="T103" fmla="*/ 589 h 599"/>
                    <a:gd name="T104" fmla="*/ 199 w 808"/>
                    <a:gd name="T105" fmla="*/ 597 h 599"/>
                    <a:gd name="T106" fmla="*/ 676 w 808"/>
                    <a:gd name="T107" fmla="*/ 595 h 599"/>
                    <a:gd name="T108" fmla="*/ 735 w 808"/>
                    <a:gd name="T109" fmla="*/ 571 h 599"/>
                    <a:gd name="T110" fmla="*/ 780 w 808"/>
                    <a:gd name="T111" fmla="*/ 526 h 599"/>
                    <a:gd name="T112" fmla="*/ 805 w 808"/>
                    <a:gd name="T113" fmla="*/ 467 h 599"/>
                    <a:gd name="T114" fmla="*/ 806 w 808"/>
                    <a:gd name="T115" fmla="*/ 397 h 599"/>
                    <a:gd name="T116" fmla="*/ 788 w 808"/>
                    <a:gd name="T117" fmla="*/ 342 h 599"/>
                    <a:gd name="T118" fmla="*/ 766 w 808"/>
                    <a:gd name="T119" fmla="*/ 308 h 5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08" h="599">
                      <a:moveTo>
                        <a:pt x="642" y="569"/>
                      </a:moveTo>
                      <a:lnTo>
                        <a:pt x="210" y="569"/>
                      </a:lnTo>
                      <a:lnTo>
                        <a:pt x="192" y="568"/>
                      </a:lnTo>
                      <a:lnTo>
                        <a:pt x="174" y="564"/>
                      </a:lnTo>
                      <a:lnTo>
                        <a:pt x="158" y="560"/>
                      </a:lnTo>
                      <a:lnTo>
                        <a:pt x="141" y="554"/>
                      </a:lnTo>
                      <a:lnTo>
                        <a:pt x="126" y="546"/>
                      </a:lnTo>
                      <a:lnTo>
                        <a:pt x="111" y="536"/>
                      </a:lnTo>
                      <a:lnTo>
                        <a:pt x="97" y="526"/>
                      </a:lnTo>
                      <a:lnTo>
                        <a:pt x="84" y="514"/>
                      </a:lnTo>
                      <a:lnTo>
                        <a:pt x="73" y="501"/>
                      </a:lnTo>
                      <a:lnTo>
                        <a:pt x="62" y="487"/>
                      </a:lnTo>
                      <a:lnTo>
                        <a:pt x="52" y="473"/>
                      </a:lnTo>
                      <a:lnTo>
                        <a:pt x="45" y="457"/>
                      </a:lnTo>
                      <a:lnTo>
                        <a:pt x="38" y="441"/>
                      </a:lnTo>
                      <a:lnTo>
                        <a:pt x="34" y="424"/>
                      </a:lnTo>
                      <a:lnTo>
                        <a:pt x="31" y="407"/>
                      </a:lnTo>
                      <a:lnTo>
                        <a:pt x="30" y="389"/>
                      </a:lnTo>
                      <a:lnTo>
                        <a:pt x="31" y="373"/>
                      </a:lnTo>
                      <a:lnTo>
                        <a:pt x="34" y="356"/>
                      </a:lnTo>
                      <a:lnTo>
                        <a:pt x="38" y="341"/>
                      </a:lnTo>
                      <a:lnTo>
                        <a:pt x="44" y="325"/>
                      </a:lnTo>
                      <a:lnTo>
                        <a:pt x="50" y="310"/>
                      </a:lnTo>
                      <a:lnTo>
                        <a:pt x="59" y="296"/>
                      </a:lnTo>
                      <a:lnTo>
                        <a:pt x="68" y="282"/>
                      </a:lnTo>
                      <a:lnTo>
                        <a:pt x="79" y="269"/>
                      </a:lnTo>
                      <a:lnTo>
                        <a:pt x="92" y="257"/>
                      </a:lnTo>
                      <a:lnTo>
                        <a:pt x="105" y="246"/>
                      </a:lnTo>
                      <a:lnTo>
                        <a:pt x="118" y="237"/>
                      </a:lnTo>
                      <a:lnTo>
                        <a:pt x="133" y="228"/>
                      </a:lnTo>
                      <a:lnTo>
                        <a:pt x="147" y="222"/>
                      </a:lnTo>
                      <a:lnTo>
                        <a:pt x="164" y="215"/>
                      </a:lnTo>
                      <a:lnTo>
                        <a:pt x="180" y="212"/>
                      </a:lnTo>
                      <a:lnTo>
                        <a:pt x="197" y="209"/>
                      </a:lnTo>
                      <a:lnTo>
                        <a:pt x="201" y="208"/>
                      </a:lnTo>
                      <a:lnTo>
                        <a:pt x="205" y="206"/>
                      </a:lnTo>
                      <a:lnTo>
                        <a:pt x="209" y="201"/>
                      </a:lnTo>
                      <a:lnTo>
                        <a:pt x="210" y="196"/>
                      </a:lnTo>
                      <a:lnTo>
                        <a:pt x="211" y="186"/>
                      </a:lnTo>
                      <a:lnTo>
                        <a:pt x="213" y="177"/>
                      </a:lnTo>
                      <a:lnTo>
                        <a:pt x="215" y="168"/>
                      </a:lnTo>
                      <a:lnTo>
                        <a:pt x="217" y="160"/>
                      </a:lnTo>
                      <a:lnTo>
                        <a:pt x="225" y="143"/>
                      </a:lnTo>
                      <a:lnTo>
                        <a:pt x="233" y="127"/>
                      </a:lnTo>
                      <a:lnTo>
                        <a:pt x="244" y="113"/>
                      </a:lnTo>
                      <a:lnTo>
                        <a:pt x="256" y="99"/>
                      </a:lnTo>
                      <a:lnTo>
                        <a:pt x="268" y="86"/>
                      </a:lnTo>
                      <a:lnTo>
                        <a:pt x="282" y="74"/>
                      </a:lnTo>
                      <a:lnTo>
                        <a:pt x="298" y="64"/>
                      </a:lnTo>
                      <a:lnTo>
                        <a:pt x="315" y="56"/>
                      </a:lnTo>
                      <a:lnTo>
                        <a:pt x="331" y="47"/>
                      </a:lnTo>
                      <a:lnTo>
                        <a:pt x="348" y="41"/>
                      </a:lnTo>
                      <a:lnTo>
                        <a:pt x="366" y="37"/>
                      </a:lnTo>
                      <a:lnTo>
                        <a:pt x="384" y="32"/>
                      </a:lnTo>
                      <a:lnTo>
                        <a:pt x="401" y="30"/>
                      </a:lnTo>
                      <a:lnTo>
                        <a:pt x="419" y="29"/>
                      </a:lnTo>
                      <a:lnTo>
                        <a:pt x="434" y="30"/>
                      </a:lnTo>
                      <a:lnTo>
                        <a:pt x="449" y="32"/>
                      </a:lnTo>
                      <a:lnTo>
                        <a:pt x="464" y="37"/>
                      </a:lnTo>
                      <a:lnTo>
                        <a:pt x="479" y="42"/>
                      </a:lnTo>
                      <a:lnTo>
                        <a:pt x="492" y="48"/>
                      </a:lnTo>
                      <a:lnTo>
                        <a:pt x="506" y="56"/>
                      </a:lnTo>
                      <a:lnTo>
                        <a:pt x="519" y="64"/>
                      </a:lnTo>
                      <a:lnTo>
                        <a:pt x="531" y="74"/>
                      </a:lnTo>
                      <a:lnTo>
                        <a:pt x="543" y="84"/>
                      </a:lnTo>
                      <a:lnTo>
                        <a:pt x="553" y="94"/>
                      </a:lnTo>
                      <a:lnTo>
                        <a:pt x="563" y="106"/>
                      </a:lnTo>
                      <a:lnTo>
                        <a:pt x="573" y="119"/>
                      </a:lnTo>
                      <a:lnTo>
                        <a:pt x="580" y="131"/>
                      </a:lnTo>
                      <a:lnTo>
                        <a:pt x="588" y="144"/>
                      </a:lnTo>
                      <a:lnTo>
                        <a:pt x="595" y="158"/>
                      </a:lnTo>
                      <a:lnTo>
                        <a:pt x="600" y="170"/>
                      </a:lnTo>
                      <a:lnTo>
                        <a:pt x="603" y="175"/>
                      </a:lnTo>
                      <a:lnTo>
                        <a:pt x="607" y="178"/>
                      </a:lnTo>
                      <a:lnTo>
                        <a:pt x="611" y="179"/>
                      </a:lnTo>
                      <a:lnTo>
                        <a:pt x="615" y="179"/>
                      </a:lnTo>
                      <a:lnTo>
                        <a:pt x="631" y="179"/>
                      </a:lnTo>
                      <a:lnTo>
                        <a:pt x="646" y="179"/>
                      </a:lnTo>
                      <a:lnTo>
                        <a:pt x="661" y="182"/>
                      </a:lnTo>
                      <a:lnTo>
                        <a:pt x="675" y="186"/>
                      </a:lnTo>
                      <a:lnTo>
                        <a:pt x="687" y="192"/>
                      </a:lnTo>
                      <a:lnTo>
                        <a:pt x="699" y="199"/>
                      </a:lnTo>
                      <a:lnTo>
                        <a:pt x="704" y="204"/>
                      </a:lnTo>
                      <a:lnTo>
                        <a:pt x="709" y="208"/>
                      </a:lnTo>
                      <a:lnTo>
                        <a:pt x="713" y="213"/>
                      </a:lnTo>
                      <a:lnTo>
                        <a:pt x="716" y="219"/>
                      </a:lnTo>
                      <a:lnTo>
                        <a:pt x="721" y="226"/>
                      </a:lnTo>
                      <a:lnTo>
                        <a:pt x="725" y="235"/>
                      </a:lnTo>
                      <a:lnTo>
                        <a:pt x="727" y="244"/>
                      </a:lnTo>
                      <a:lnTo>
                        <a:pt x="728" y="253"/>
                      </a:lnTo>
                      <a:lnTo>
                        <a:pt x="728" y="264"/>
                      </a:lnTo>
                      <a:lnTo>
                        <a:pt x="727" y="273"/>
                      </a:lnTo>
                      <a:lnTo>
                        <a:pt x="723" y="283"/>
                      </a:lnTo>
                      <a:lnTo>
                        <a:pt x="720" y="293"/>
                      </a:lnTo>
                      <a:lnTo>
                        <a:pt x="719" y="299"/>
                      </a:lnTo>
                      <a:lnTo>
                        <a:pt x="719" y="304"/>
                      </a:lnTo>
                      <a:lnTo>
                        <a:pt x="721" y="308"/>
                      </a:lnTo>
                      <a:lnTo>
                        <a:pt x="726" y="313"/>
                      </a:lnTo>
                      <a:lnTo>
                        <a:pt x="731" y="317"/>
                      </a:lnTo>
                      <a:lnTo>
                        <a:pt x="737" y="321"/>
                      </a:lnTo>
                      <a:lnTo>
                        <a:pt x="743" y="327"/>
                      </a:lnTo>
                      <a:lnTo>
                        <a:pt x="747" y="333"/>
                      </a:lnTo>
                      <a:lnTo>
                        <a:pt x="757" y="346"/>
                      </a:lnTo>
                      <a:lnTo>
                        <a:pt x="764" y="361"/>
                      </a:lnTo>
                      <a:lnTo>
                        <a:pt x="771" y="378"/>
                      </a:lnTo>
                      <a:lnTo>
                        <a:pt x="775" y="395"/>
                      </a:lnTo>
                      <a:lnTo>
                        <a:pt x="778" y="414"/>
                      </a:lnTo>
                      <a:lnTo>
                        <a:pt x="778" y="434"/>
                      </a:lnTo>
                      <a:lnTo>
                        <a:pt x="778" y="448"/>
                      </a:lnTo>
                      <a:lnTo>
                        <a:pt x="776" y="460"/>
                      </a:lnTo>
                      <a:lnTo>
                        <a:pt x="773" y="474"/>
                      </a:lnTo>
                      <a:lnTo>
                        <a:pt x="767" y="486"/>
                      </a:lnTo>
                      <a:lnTo>
                        <a:pt x="762" y="498"/>
                      </a:lnTo>
                      <a:lnTo>
                        <a:pt x="756" y="509"/>
                      </a:lnTo>
                      <a:lnTo>
                        <a:pt x="747" y="519"/>
                      </a:lnTo>
                      <a:lnTo>
                        <a:pt x="738" y="529"/>
                      </a:lnTo>
                      <a:lnTo>
                        <a:pt x="729" y="538"/>
                      </a:lnTo>
                      <a:lnTo>
                        <a:pt x="718" y="545"/>
                      </a:lnTo>
                      <a:lnTo>
                        <a:pt x="707" y="553"/>
                      </a:lnTo>
                      <a:lnTo>
                        <a:pt x="696" y="558"/>
                      </a:lnTo>
                      <a:lnTo>
                        <a:pt x="683" y="562"/>
                      </a:lnTo>
                      <a:lnTo>
                        <a:pt x="670" y="565"/>
                      </a:lnTo>
                      <a:lnTo>
                        <a:pt x="656" y="568"/>
                      </a:lnTo>
                      <a:lnTo>
                        <a:pt x="642" y="569"/>
                      </a:lnTo>
                      <a:close/>
                      <a:moveTo>
                        <a:pt x="751" y="295"/>
                      </a:moveTo>
                      <a:lnTo>
                        <a:pt x="756" y="282"/>
                      </a:lnTo>
                      <a:lnTo>
                        <a:pt x="758" y="270"/>
                      </a:lnTo>
                      <a:lnTo>
                        <a:pt x="758" y="258"/>
                      </a:lnTo>
                      <a:lnTo>
                        <a:pt x="758" y="245"/>
                      </a:lnTo>
                      <a:lnTo>
                        <a:pt x="756" y="235"/>
                      </a:lnTo>
                      <a:lnTo>
                        <a:pt x="752" y="223"/>
                      </a:lnTo>
                      <a:lnTo>
                        <a:pt x="747" y="212"/>
                      </a:lnTo>
                      <a:lnTo>
                        <a:pt x="742" y="201"/>
                      </a:lnTo>
                      <a:lnTo>
                        <a:pt x="737" y="195"/>
                      </a:lnTo>
                      <a:lnTo>
                        <a:pt x="732" y="189"/>
                      </a:lnTo>
                      <a:lnTo>
                        <a:pt x="727" y="183"/>
                      </a:lnTo>
                      <a:lnTo>
                        <a:pt x="720" y="178"/>
                      </a:lnTo>
                      <a:lnTo>
                        <a:pt x="714" y="173"/>
                      </a:lnTo>
                      <a:lnTo>
                        <a:pt x="707" y="168"/>
                      </a:lnTo>
                      <a:lnTo>
                        <a:pt x="700" y="165"/>
                      </a:lnTo>
                      <a:lnTo>
                        <a:pt x="692" y="161"/>
                      </a:lnTo>
                      <a:lnTo>
                        <a:pt x="676" y="155"/>
                      </a:lnTo>
                      <a:lnTo>
                        <a:pt x="660" y="151"/>
                      </a:lnTo>
                      <a:lnTo>
                        <a:pt x="642" y="149"/>
                      </a:lnTo>
                      <a:lnTo>
                        <a:pt x="624" y="149"/>
                      </a:lnTo>
                      <a:lnTo>
                        <a:pt x="618" y="135"/>
                      </a:lnTo>
                      <a:lnTo>
                        <a:pt x="609" y="122"/>
                      </a:lnTo>
                      <a:lnTo>
                        <a:pt x="601" y="108"/>
                      </a:lnTo>
                      <a:lnTo>
                        <a:pt x="592" y="95"/>
                      </a:lnTo>
                      <a:lnTo>
                        <a:pt x="581" y="83"/>
                      </a:lnTo>
                      <a:lnTo>
                        <a:pt x="570" y="70"/>
                      </a:lnTo>
                      <a:lnTo>
                        <a:pt x="559" y="58"/>
                      </a:lnTo>
                      <a:lnTo>
                        <a:pt x="546" y="47"/>
                      </a:lnTo>
                      <a:lnTo>
                        <a:pt x="532" y="37"/>
                      </a:lnTo>
                      <a:lnTo>
                        <a:pt x="518" y="28"/>
                      </a:lnTo>
                      <a:lnTo>
                        <a:pt x="503" y="19"/>
                      </a:lnTo>
                      <a:lnTo>
                        <a:pt x="488" y="13"/>
                      </a:lnTo>
                      <a:lnTo>
                        <a:pt x="471" y="8"/>
                      </a:lnTo>
                      <a:lnTo>
                        <a:pt x="455" y="3"/>
                      </a:lnTo>
                      <a:lnTo>
                        <a:pt x="438" y="0"/>
                      </a:lnTo>
                      <a:lnTo>
                        <a:pt x="419" y="0"/>
                      </a:lnTo>
                      <a:lnTo>
                        <a:pt x="395" y="0"/>
                      </a:lnTo>
                      <a:lnTo>
                        <a:pt x="371" y="3"/>
                      </a:lnTo>
                      <a:lnTo>
                        <a:pt x="349" y="9"/>
                      </a:lnTo>
                      <a:lnTo>
                        <a:pt x="328" y="15"/>
                      </a:lnTo>
                      <a:lnTo>
                        <a:pt x="308" y="24"/>
                      </a:lnTo>
                      <a:lnTo>
                        <a:pt x="289" y="33"/>
                      </a:lnTo>
                      <a:lnTo>
                        <a:pt x="272" y="44"/>
                      </a:lnTo>
                      <a:lnTo>
                        <a:pt x="256" y="57"/>
                      </a:lnTo>
                      <a:lnTo>
                        <a:pt x="241" y="70"/>
                      </a:lnTo>
                      <a:lnTo>
                        <a:pt x="228" y="84"/>
                      </a:lnTo>
                      <a:lnTo>
                        <a:pt x="216" y="99"/>
                      </a:lnTo>
                      <a:lnTo>
                        <a:pt x="206" y="115"/>
                      </a:lnTo>
                      <a:lnTo>
                        <a:pt x="198" y="131"/>
                      </a:lnTo>
                      <a:lnTo>
                        <a:pt x="190" y="147"/>
                      </a:lnTo>
                      <a:lnTo>
                        <a:pt x="185" y="164"/>
                      </a:lnTo>
                      <a:lnTo>
                        <a:pt x="182" y="181"/>
                      </a:lnTo>
                      <a:lnTo>
                        <a:pt x="162" y="184"/>
                      </a:lnTo>
                      <a:lnTo>
                        <a:pt x="145" y="191"/>
                      </a:lnTo>
                      <a:lnTo>
                        <a:pt x="128" y="197"/>
                      </a:lnTo>
                      <a:lnTo>
                        <a:pt x="111" y="207"/>
                      </a:lnTo>
                      <a:lnTo>
                        <a:pt x="95" y="216"/>
                      </a:lnTo>
                      <a:lnTo>
                        <a:pt x="80" y="228"/>
                      </a:lnTo>
                      <a:lnTo>
                        <a:pt x="66" y="240"/>
                      </a:lnTo>
                      <a:lnTo>
                        <a:pt x="53" y="254"/>
                      </a:lnTo>
                      <a:lnTo>
                        <a:pt x="42" y="269"/>
                      </a:lnTo>
                      <a:lnTo>
                        <a:pt x="32" y="284"/>
                      </a:lnTo>
                      <a:lnTo>
                        <a:pt x="22" y="300"/>
                      </a:lnTo>
                      <a:lnTo>
                        <a:pt x="15" y="317"/>
                      </a:lnTo>
                      <a:lnTo>
                        <a:pt x="8" y="334"/>
                      </a:lnTo>
                      <a:lnTo>
                        <a:pt x="4" y="352"/>
                      </a:lnTo>
                      <a:lnTo>
                        <a:pt x="1" y="371"/>
                      </a:lnTo>
                      <a:lnTo>
                        <a:pt x="0" y="389"/>
                      </a:lnTo>
                      <a:lnTo>
                        <a:pt x="1" y="399"/>
                      </a:lnTo>
                      <a:lnTo>
                        <a:pt x="2" y="409"/>
                      </a:lnTo>
                      <a:lnTo>
                        <a:pt x="3" y="420"/>
                      </a:lnTo>
                      <a:lnTo>
                        <a:pt x="5" y="431"/>
                      </a:lnTo>
                      <a:lnTo>
                        <a:pt x="10" y="450"/>
                      </a:lnTo>
                      <a:lnTo>
                        <a:pt x="17" y="469"/>
                      </a:lnTo>
                      <a:lnTo>
                        <a:pt x="27" y="487"/>
                      </a:lnTo>
                      <a:lnTo>
                        <a:pt x="37" y="504"/>
                      </a:lnTo>
                      <a:lnTo>
                        <a:pt x="49" y="520"/>
                      </a:lnTo>
                      <a:lnTo>
                        <a:pt x="63" y="535"/>
                      </a:lnTo>
                      <a:lnTo>
                        <a:pt x="78" y="549"/>
                      </a:lnTo>
                      <a:lnTo>
                        <a:pt x="94" y="561"/>
                      </a:lnTo>
                      <a:lnTo>
                        <a:pt x="112" y="572"/>
                      </a:lnTo>
                      <a:lnTo>
                        <a:pt x="130" y="581"/>
                      </a:lnTo>
                      <a:lnTo>
                        <a:pt x="149" y="589"/>
                      </a:lnTo>
                      <a:lnTo>
                        <a:pt x="169" y="594"/>
                      </a:lnTo>
                      <a:lnTo>
                        <a:pt x="179" y="595"/>
                      </a:lnTo>
                      <a:lnTo>
                        <a:pt x="189" y="597"/>
                      </a:lnTo>
                      <a:lnTo>
                        <a:pt x="199" y="597"/>
                      </a:lnTo>
                      <a:lnTo>
                        <a:pt x="210" y="599"/>
                      </a:lnTo>
                      <a:lnTo>
                        <a:pt x="642" y="599"/>
                      </a:lnTo>
                      <a:lnTo>
                        <a:pt x="659" y="597"/>
                      </a:lnTo>
                      <a:lnTo>
                        <a:pt x="676" y="595"/>
                      </a:lnTo>
                      <a:lnTo>
                        <a:pt x="692" y="591"/>
                      </a:lnTo>
                      <a:lnTo>
                        <a:pt x="707" y="586"/>
                      </a:lnTo>
                      <a:lnTo>
                        <a:pt x="721" y="578"/>
                      </a:lnTo>
                      <a:lnTo>
                        <a:pt x="735" y="571"/>
                      </a:lnTo>
                      <a:lnTo>
                        <a:pt x="748" y="561"/>
                      </a:lnTo>
                      <a:lnTo>
                        <a:pt x="760" y="550"/>
                      </a:lnTo>
                      <a:lnTo>
                        <a:pt x="771" y="539"/>
                      </a:lnTo>
                      <a:lnTo>
                        <a:pt x="780" y="526"/>
                      </a:lnTo>
                      <a:lnTo>
                        <a:pt x="789" y="512"/>
                      </a:lnTo>
                      <a:lnTo>
                        <a:pt x="795" y="498"/>
                      </a:lnTo>
                      <a:lnTo>
                        <a:pt x="801" y="483"/>
                      </a:lnTo>
                      <a:lnTo>
                        <a:pt x="805" y="467"/>
                      </a:lnTo>
                      <a:lnTo>
                        <a:pt x="808" y="451"/>
                      </a:lnTo>
                      <a:lnTo>
                        <a:pt x="808" y="434"/>
                      </a:lnTo>
                      <a:lnTo>
                        <a:pt x="808" y="417"/>
                      </a:lnTo>
                      <a:lnTo>
                        <a:pt x="806" y="397"/>
                      </a:lnTo>
                      <a:lnTo>
                        <a:pt x="802" y="379"/>
                      </a:lnTo>
                      <a:lnTo>
                        <a:pt x="796" y="360"/>
                      </a:lnTo>
                      <a:lnTo>
                        <a:pt x="792" y="351"/>
                      </a:lnTo>
                      <a:lnTo>
                        <a:pt x="788" y="342"/>
                      </a:lnTo>
                      <a:lnTo>
                        <a:pt x="783" y="333"/>
                      </a:lnTo>
                      <a:lnTo>
                        <a:pt x="778" y="325"/>
                      </a:lnTo>
                      <a:lnTo>
                        <a:pt x="773" y="316"/>
                      </a:lnTo>
                      <a:lnTo>
                        <a:pt x="766" y="308"/>
                      </a:lnTo>
                      <a:lnTo>
                        <a:pt x="759" y="301"/>
                      </a:lnTo>
                      <a:lnTo>
                        <a:pt x="751" y="29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31" name="Freeform 68">
                  <a:extLst>
                    <a:ext uri="{FF2B5EF4-FFF2-40B4-BE49-F238E27FC236}">
                      <a16:creationId xmlns:a16="http://schemas.microsoft.com/office/drawing/2014/main" id="{816B9A66-5B7D-4D1A-B086-067ED56A1A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3450" y="798513"/>
                  <a:ext cx="146050" cy="123825"/>
                </a:xfrm>
                <a:custGeom>
                  <a:avLst/>
                  <a:gdLst>
                    <a:gd name="T0" fmla="*/ 39 w 457"/>
                    <a:gd name="T1" fmla="*/ 386 h 388"/>
                    <a:gd name="T2" fmla="*/ 50 w 457"/>
                    <a:gd name="T3" fmla="*/ 388 h 388"/>
                    <a:gd name="T4" fmla="*/ 59 w 457"/>
                    <a:gd name="T5" fmla="*/ 383 h 388"/>
                    <a:gd name="T6" fmla="*/ 62 w 457"/>
                    <a:gd name="T7" fmla="*/ 374 h 388"/>
                    <a:gd name="T8" fmla="*/ 60 w 457"/>
                    <a:gd name="T9" fmla="*/ 365 h 388"/>
                    <a:gd name="T10" fmla="*/ 42 w 457"/>
                    <a:gd name="T11" fmla="*/ 326 h 388"/>
                    <a:gd name="T12" fmla="*/ 32 w 457"/>
                    <a:gd name="T13" fmla="*/ 284 h 388"/>
                    <a:gd name="T14" fmla="*/ 31 w 457"/>
                    <a:gd name="T15" fmla="*/ 243 h 388"/>
                    <a:gd name="T16" fmla="*/ 35 w 457"/>
                    <a:gd name="T17" fmla="*/ 210 h 388"/>
                    <a:gd name="T18" fmla="*/ 44 w 457"/>
                    <a:gd name="T19" fmla="*/ 178 h 388"/>
                    <a:gd name="T20" fmla="*/ 68 w 457"/>
                    <a:gd name="T21" fmla="*/ 130 h 388"/>
                    <a:gd name="T22" fmla="*/ 112 w 457"/>
                    <a:gd name="T23" fmla="*/ 82 h 388"/>
                    <a:gd name="T24" fmla="*/ 168 w 457"/>
                    <a:gd name="T25" fmla="*/ 48 h 388"/>
                    <a:gd name="T26" fmla="*/ 199 w 457"/>
                    <a:gd name="T27" fmla="*/ 37 h 388"/>
                    <a:gd name="T28" fmla="*/ 232 w 457"/>
                    <a:gd name="T29" fmla="*/ 31 h 388"/>
                    <a:gd name="T30" fmla="*/ 267 w 457"/>
                    <a:gd name="T31" fmla="*/ 30 h 388"/>
                    <a:gd name="T32" fmla="*/ 305 w 457"/>
                    <a:gd name="T33" fmla="*/ 36 h 388"/>
                    <a:gd name="T34" fmla="*/ 341 w 457"/>
                    <a:gd name="T35" fmla="*/ 48 h 388"/>
                    <a:gd name="T36" fmla="*/ 374 w 457"/>
                    <a:gd name="T37" fmla="*/ 65 h 388"/>
                    <a:gd name="T38" fmla="*/ 404 w 457"/>
                    <a:gd name="T39" fmla="*/ 87 h 388"/>
                    <a:gd name="T40" fmla="*/ 430 w 457"/>
                    <a:gd name="T41" fmla="*/ 115 h 388"/>
                    <a:gd name="T42" fmla="*/ 443 w 457"/>
                    <a:gd name="T43" fmla="*/ 121 h 388"/>
                    <a:gd name="T44" fmla="*/ 452 w 457"/>
                    <a:gd name="T45" fmla="*/ 118 h 388"/>
                    <a:gd name="T46" fmla="*/ 457 w 457"/>
                    <a:gd name="T47" fmla="*/ 105 h 388"/>
                    <a:gd name="T48" fmla="*/ 454 w 457"/>
                    <a:gd name="T49" fmla="*/ 98 h 388"/>
                    <a:gd name="T50" fmla="*/ 424 w 457"/>
                    <a:gd name="T51" fmla="*/ 66 h 388"/>
                    <a:gd name="T52" fmla="*/ 391 w 457"/>
                    <a:gd name="T53" fmla="*/ 40 h 388"/>
                    <a:gd name="T54" fmla="*/ 352 w 457"/>
                    <a:gd name="T55" fmla="*/ 20 h 388"/>
                    <a:gd name="T56" fmla="*/ 312 w 457"/>
                    <a:gd name="T57" fmla="*/ 7 h 388"/>
                    <a:gd name="T58" fmla="*/ 270 w 457"/>
                    <a:gd name="T59" fmla="*/ 0 h 388"/>
                    <a:gd name="T60" fmla="*/ 229 w 457"/>
                    <a:gd name="T61" fmla="*/ 1 h 388"/>
                    <a:gd name="T62" fmla="*/ 191 w 457"/>
                    <a:gd name="T63" fmla="*/ 8 h 388"/>
                    <a:gd name="T64" fmla="*/ 156 w 457"/>
                    <a:gd name="T65" fmla="*/ 21 h 388"/>
                    <a:gd name="T66" fmla="*/ 123 w 457"/>
                    <a:gd name="T67" fmla="*/ 37 h 388"/>
                    <a:gd name="T68" fmla="*/ 93 w 457"/>
                    <a:gd name="T69" fmla="*/ 58 h 388"/>
                    <a:gd name="T70" fmla="*/ 66 w 457"/>
                    <a:gd name="T71" fmla="*/ 84 h 388"/>
                    <a:gd name="T72" fmla="*/ 44 w 457"/>
                    <a:gd name="T73" fmla="*/ 113 h 388"/>
                    <a:gd name="T74" fmla="*/ 25 w 457"/>
                    <a:gd name="T75" fmla="*/ 145 h 388"/>
                    <a:gd name="T76" fmla="*/ 12 w 457"/>
                    <a:gd name="T77" fmla="*/ 179 h 388"/>
                    <a:gd name="T78" fmla="*/ 3 w 457"/>
                    <a:gd name="T79" fmla="*/ 217 h 388"/>
                    <a:gd name="T80" fmla="*/ 0 w 457"/>
                    <a:gd name="T81" fmla="*/ 254 h 388"/>
                    <a:gd name="T82" fmla="*/ 5 w 457"/>
                    <a:gd name="T83" fmla="*/ 304 h 388"/>
                    <a:gd name="T84" fmla="*/ 19 w 457"/>
                    <a:gd name="T85" fmla="*/ 352 h 3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457" h="388">
                      <a:moveTo>
                        <a:pt x="34" y="380"/>
                      </a:moveTo>
                      <a:lnTo>
                        <a:pt x="36" y="384"/>
                      </a:lnTo>
                      <a:lnTo>
                        <a:pt x="39" y="386"/>
                      </a:lnTo>
                      <a:lnTo>
                        <a:pt x="43" y="388"/>
                      </a:lnTo>
                      <a:lnTo>
                        <a:pt x="47" y="388"/>
                      </a:lnTo>
                      <a:lnTo>
                        <a:pt x="50" y="388"/>
                      </a:lnTo>
                      <a:lnTo>
                        <a:pt x="54" y="386"/>
                      </a:lnTo>
                      <a:lnTo>
                        <a:pt x="56" y="385"/>
                      </a:lnTo>
                      <a:lnTo>
                        <a:pt x="59" y="383"/>
                      </a:lnTo>
                      <a:lnTo>
                        <a:pt x="60" y="379"/>
                      </a:lnTo>
                      <a:lnTo>
                        <a:pt x="61" y="377"/>
                      </a:lnTo>
                      <a:lnTo>
                        <a:pt x="62" y="374"/>
                      </a:lnTo>
                      <a:lnTo>
                        <a:pt x="62" y="371"/>
                      </a:lnTo>
                      <a:lnTo>
                        <a:pt x="61" y="369"/>
                      </a:lnTo>
                      <a:lnTo>
                        <a:pt x="60" y="365"/>
                      </a:lnTo>
                      <a:lnTo>
                        <a:pt x="53" y="353"/>
                      </a:lnTo>
                      <a:lnTo>
                        <a:pt x="47" y="340"/>
                      </a:lnTo>
                      <a:lnTo>
                        <a:pt x="42" y="326"/>
                      </a:lnTo>
                      <a:lnTo>
                        <a:pt x="37" y="312"/>
                      </a:lnTo>
                      <a:lnTo>
                        <a:pt x="34" y="298"/>
                      </a:lnTo>
                      <a:lnTo>
                        <a:pt x="32" y="284"/>
                      </a:lnTo>
                      <a:lnTo>
                        <a:pt x="31" y="269"/>
                      </a:lnTo>
                      <a:lnTo>
                        <a:pt x="30" y="254"/>
                      </a:lnTo>
                      <a:lnTo>
                        <a:pt x="31" y="243"/>
                      </a:lnTo>
                      <a:lnTo>
                        <a:pt x="32" y="232"/>
                      </a:lnTo>
                      <a:lnTo>
                        <a:pt x="33" y="221"/>
                      </a:lnTo>
                      <a:lnTo>
                        <a:pt x="35" y="210"/>
                      </a:lnTo>
                      <a:lnTo>
                        <a:pt x="37" y="198"/>
                      </a:lnTo>
                      <a:lnTo>
                        <a:pt x="40" y="189"/>
                      </a:lnTo>
                      <a:lnTo>
                        <a:pt x="44" y="178"/>
                      </a:lnTo>
                      <a:lnTo>
                        <a:pt x="48" y="167"/>
                      </a:lnTo>
                      <a:lnTo>
                        <a:pt x="58" y="148"/>
                      </a:lnTo>
                      <a:lnTo>
                        <a:pt x="68" y="130"/>
                      </a:lnTo>
                      <a:lnTo>
                        <a:pt x="81" y="113"/>
                      </a:lnTo>
                      <a:lnTo>
                        <a:pt x="96" y="97"/>
                      </a:lnTo>
                      <a:lnTo>
                        <a:pt x="112" y="82"/>
                      </a:lnTo>
                      <a:lnTo>
                        <a:pt x="129" y="69"/>
                      </a:lnTo>
                      <a:lnTo>
                        <a:pt x="147" y="57"/>
                      </a:lnTo>
                      <a:lnTo>
                        <a:pt x="168" y="48"/>
                      </a:lnTo>
                      <a:lnTo>
                        <a:pt x="177" y="44"/>
                      </a:lnTo>
                      <a:lnTo>
                        <a:pt x="188" y="40"/>
                      </a:lnTo>
                      <a:lnTo>
                        <a:pt x="199" y="37"/>
                      </a:lnTo>
                      <a:lnTo>
                        <a:pt x="210" y="35"/>
                      </a:lnTo>
                      <a:lnTo>
                        <a:pt x="220" y="33"/>
                      </a:lnTo>
                      <a:lnTo>
                        <a:pt x="232" y="31"/>
                      </a:lnTo>
                      <a:lnTo>
                        <a:pt x="243" y="30"/>
                      </a:lnTo>
                      <a:lnTo>
                        <a:pt x="255" y="30"/>
                      </a:lnTo>
                      <a:lnTo>
                        <a:pt x="267" y="30"/>
                      </a:lnTo>
                      <a:lnTo>
                        <a:pt x="280" y="31"/>
                      </a:lnTo>
                      <a:lnTo>
                        <a:pt x="293" y="34"/>
                      </a:lnTo>
                      <a:lnTo>
                        <a:pt x="305" y="36"/>
                      </a:lnTo>
                      <a:lnTo>
                        <a:pt x="318" y="39"/>
                      </a:lnTo>
                      <a:lnTo>
                        <a:pt x="330" y="43"/>
                      </a:lnTo>
                      <a:lnTo>
                        <a:pt x="341" y="48"/>
                      </a:lnTo>
                      <a:lnTo>
                        <a:pt x="352" y="53"/>
                      </a:lnTo>
                      <a:lnTo>
                        <a:pt x="364" y="58"/>
                      </a:lnTo>
                      <a:lnTo>
                        <a:pt x="374" y="65"/>
                      </a:lnTo>
                      <a:lnTo>
                        <a:pt x="384" y="72"/>
                      </a:lnTo>
                      <a:lnTo>
                        <a:pt x="395" y="80"/>
                      </a:lnTo>
                      <a:lnTo>
                        <a:pt x="404" y="87"/>
                      </a:lnTo>
                      <a:lnTo>
                        <a:pt x="413" y="97"/>
                      </a:lnTo>
                      <a:lnTo>
                        <a:pt x="423" y="105"/>
                      </a:lnTo>
                      <a:lnTo>
                        <a:pt x="430" y="115"/>
                      </a:lnTo>
                      <a:lnTo>
                        <a:pt x="435" y="119"/>
                      </a:lnTo>
                      <a:lnTo>
                        <a:pt x="441" y="121"/>
                      </a:lnTo>
                      <a:lnTo>
                        <a:pt x="443" y="121"/>
                      </a:lnTo>
                      <a:lnTo>
                        <a:pt x="446" y="120"/>
                      </a:lnTo>
                      <a:lnTo>
                        <a:pt x="449" y="120"/>
                      </a:lnTo>
                      <a:lnTo>
                        <a:pt x="452" y="118"/>
                      </a:lnTo>
                      <a:lnTo>
                        <a:pt x="455" y="114"/>
                      </a:lnTo>
                      <a:lnTo>
                        <a:pt x="457" y="107"/>
                      </a:lnTo>
                      <a:lnTo>
                        <a:pt x="457" y="105"/>
                      </a:lnTo>
                      <a:lnTo>
                        <a:pt x="457" y="102"/>
                      </a:lnTo>
                      <a:lnTo>
                        <a:pt x="456" y="100"/>
                      </a:lnTo>
                      <a:lnTo>
                        <a:pt x="454" y="98"/>
                      </a:lnTo>
                      <a:lnTo>
                        <a:pt x="444" y="86"/>
                      </a:lnTo>
                      <a:lnTo>
                        <a:pt x="434" y="75"/>
                      </a:lnTo>
                      <a:lnTo>
                        <a:pt x="424" y="66"/>
                      </a:lnTo>
                      <a:lnTo>
                        <a:pt x="413" y="56"/>
                      </a:lnTo>
                      <a:lnTo>
                        <a:pt x="402" y="48"/>
                      </a:lnTo>
                      <a:lnTo>
                        <a:pt x="391" y="40"/>
                      </a:lnTo>
                      <a:lnTo>
                        <a:pt x="378" y="33"/>
                      </a:lnTo>
                      <a:lnTo>
                        <a:pt x="365" y="26"/>
                      </a:lnTo>
                      <a:lnTo>
                        <a:pt x="352" y="20"/>
                      </a:lnTo>
                      <a:lnTo>
                        <a:pt x="339" y="14"/>
                      </a:lnTo>
                      <a:lnTo>
                        <a:pt x="325" y="10"/>
                      </a:lnTo>
                      <a:lnTo>
                        <a:pt x="312" y="7"/>
                      </a:lnTo>
                      <a:lnTo>
                        <a:pt x="297" y="4"/>
                      </a:lnTo>
                      <a:lnTo>
                        <a:pt x="283" y="1"/>
                      </a:lnTo>
                      <a:lnTo>
                        <a:pt x="270" y="0"/>
                      </a:lnTo>
                      <a:lnTo>
                        <a:pt x="255" y="0"/>
                      </a:lnTo>
                      <a:lnTo>
                        <a:pt x="242" y="0"/>
                      </a:lnTo>
                      <a:lnTo>
                        <a:pt x="229" y="1"/>
                      </a:lnTo>
                      <a:lnTo>
                        <a:pt x="216" y="4"/>
                      </a:lnTo>
                      <a:lnTo>
                        <a:pt x="203" y="6"/>
                      </a:lnTo>
                      <a:lnTo>
                        <a:pt x="191" y="8"/>
                      </a:lnTo>
                      <a:lnTo>
                        <a:pt x="180" y="12"/>
                      </a:lnTo>
                      <a:lnTo>
                        <a:pt x="168" y="15"/>
                      </a:lnTo>
                      <a:lnTo>
                        <a:pt x="156" y="21"/>
                      </a:lnTo>
                      <a:lnTo>
                        <a:pt x="144" y="25"/>
                      </a:lnTo>
                      <a:lnTo>
                        <a:pt x="134" y="31"/>
                      </a:lnTo>
                      <a:lnTo>
                        <a:pt x="123" y="37"/>
                      </a:lnTo>
                      <a:lnTo>
                        <a:pt x="112" y="44"/>
                      </a:lnTo>
                      <a:lnTo>
                        <a:pt x="103" y="51"/>
                      </a:lnTo>
                      <a:lnTo>
                        <a:pt x="93" y="58"/>
                      </a:lnTo>
                      <a:lnTo>
                        <a:pt x="83" y="67"/>
                      </a:lnTo>
                      <a:lnTo>
                        <a:pt x="75" y="75"/>
                      </a:lnTo>
                      <a:lnTo>
                        <a:pt x="66" y="84"/>
                      </a:lnTo>
                      <a:lnTo>
                        <a:pt x="59" y="94"/>
                      </a:lnTo>
                      <a:lnTo>
                        <a:pt x="51" y="103"/>
                      </a:lnTo>
                      <a:lnTo>
                        <a:pt x="44" y="113"/>
                      </a:lnTo>
                      <a:lnTo>
                        <a:pt x="37" y="124"/>
                      </a:lnTo>
                      <a:lnTo>
                        <a:pt x="31" y="134"/>
                      </a:lnTo>
                      <a:lnTo>
                        <a:pt x="25" y="145"/>
                      </a:lnTo>
                      <a:lnTo>
                        <a:pt x="20" y="156"/>
                      </a:lnTo>
                      <a:lnTo>
                        <a:pt x="16" y="167"/>
                      </a:lnTo>
                      <a:lnTo>
                        <a:pt x="12" y="179"/>
                      </a:lnTo>
                      <a:lnTo>
                        <a:pt x="8" y="191"/>
                      </a:lnTo>
                      <a:lnTo>
                        <a:pt x="5" y="204"/>
                      </a:lnTo>
                      <a:lnTo>
                        <a:pt x="3" y="217"/>
                      </a:lnTo>
                      <a:lnTo>
                        <a:pt x="2" y="228"/>
                      </a:lnTo>
                      <a:lnTo>
                        <a:pt x="1" y="241"/>
                      </a:lnTo>
                      <a:lnTo>
                        <a:pt x="0" y="254"/>
                      </a:lnTo>
                      <a:lnTo>
                        <a:pt x="1" y="271"/>
                      </a:lnTo>
                      <a:lnTo>
                        <a:pt x="3" y="288"/>
                      </a:lnTo>
                      <a:lnTo>
                        <a:pt x="5" y="304"/>
                      </a:lnTo>
                      <a:lnTo>
                        <a:pt x="8" y="320"/>
                      </a:lnTo>
                      <a:lnTo>
                        <a:pt x="14" y="335"/>
                      </a:lnTo>
                      <a:lnTo>
                        <a:pt x="19" y="352"/>
                      </a:lnTo>
                      <a:lnTo>
                        <a:pt x="25" y="366"/>
                      </a:lnTo>
                      <a:lnTo>
                        <a:pt x="34" y="3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1932" name="TextBox 1931">
            <a:extLst>
              <a:ext uri="{FF2B5EF4-FFF2-40B4-BE49-F238E27FC236}">
                <a16:creationId xmlns:a16="http://schemas.microsoft.com/office/drawing/2014/main" id="{5461B589-AB5D-4CE4-BA45-8C8423C53F0C}"/>
              </a:ext>
            </a:extLst>
          </p:cNvPr>
          <p:cNvSpPr txBox="1"/>
          <p:nvPr/>
        </p:nvSpPr>
        <p:spPr>
          <a:xfrm>
            <a:off x="635787" y="5461128"/>
            <a:ext cx="10920426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“Lorem ipsum dolor sit </a:t>
            </a:r>
            <a:r>
              <a:rPr lang="en-US" sz="1400" dirty="0" err="1">
                <a:solidFill>
                  <a:schemeClr val="bg1"/>
                </a:solidFill>
              </a:rPr>
              <a:t>amet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consectetu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dipiscing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lit</a:t>
            </a:r>
            <a:r>
              <a:rPr lang="en-US" sz="1400" dirty="0">
                <a:solidFill>
                  <a:schemeClr val="bg1"/>
                </a:solidFill>
              </a:rPr>
              <a:t>. Ut pulvinar, </a:t>
            </a:r>
            <a:r>
              <a:rPr lang="en-US" sz="1400" dirty="0" err="1">
                <a:solidFill>
                  <a:schemeClr val="bg1"/>
                </a:solidFill>
              </a:rPr>
              <a:t>lectus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u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sodales</a:t>
            </a:r>
            <a:r>
              <a:rPr lang="en-US" sz="1400" dirty="0">
                <a:solidFill>
                  <a:schemeClr val="bg1"/>
                </a:solidFill>
              </a:rPr>
              <a:t> maximus, </a:t>
            </a:r>
            <a:r>
              <a:rPr lang="en-US" sz="1400" dirty="0" err="1">
                <a:solidFill>
                  <a:schemeClr val="bg1"/>
                </a:solidFill>
              </a:rPr>
              <a:t>quam</a:t>
            </a:r>
            <a:r>
              <a:rPr lang="en-US" sz="1400" dirty="0">
                <a:solidFill>
                  <a:schemeClr val="bg1"/>
                </a:solidFill>
              </a:rPr>
              <a:t> dolor vestibulum </a:t>
            </a:r>
            <a:r>
              <a:rPr lang="en-US" sz="1400" dirty="0" err="1">
                <a:solidFill>
                  <a:schemeClr val="bg1"/>
                </a:solidFill>
              </a:rPr>
              <a:t>justo</a:t>
            </a:r>
            <a:r>
              <a:rPr lang="en-US" sz="1400" dirty="0">
                <a:solidFill>
                  <a:schemeClr val="bg1"/>
                </a:solidFill>
              </a:rPr>
              <a:t>, vel </a:t>
            </a:r>
            <a:r>
              <a:rPr lang="en-US" sz="1400" dirty="0" err="1">
                <a:solidFill>
                  <a:schemeClr val="bg1"/>
                </a:solidFill>
              </a:rPr>
              <a:t>volutpa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nim</a:t>
            </a:r>
            <a:r>
              <a:rPr lang="en-US" sz="1400" dirty="0">
                <a:solidFill>
                  <a:schemeClr val="bg1"/>
                </a:solidFill>
              </a:rPr>
              <a:t> lorem vitae </a:t>
            </a:r>
            <a:r>
              <a:rPr lang="en-US" sz="1400" dirty="0" err="1">
                <a:solidFill>
                  <a:schemeClr val="bg1"/>
                </a:solidFill>
              </a:rPr>
              <a:t>enim</a:t>
            </a:r>
            <a:r>
              <a:rPr lang="en-US" sz="1400" dirty="0">
                <a:solidFill>
                  <a:schemeClr val="bg1"/>
                </a:solidFill>
              </a:rPr>
              <a:t>. Integer </a:t>
            </a:r>
            <a:r>
              <a:rPr lang="en-US" sz="1400" dirty="0" err="1">
                <a:solidFill>
                  <a:schemeClr val="bg1"/>
                </a:solidFill>
              </a:rPr>
              <a:t>malesuada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posuer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commodo</a:t>
            </a:r>
            <a:r>
              <a:rPr lang="en-US" sz="1400" dirty="0">
                <a:solidFill>
                  <a:schemeClr val="bg1"/>
                </a:solidFill>
              </a:rPr>
              <a:t>. </a:t>
            </a:r>
            <a:r>
              <a:rPr lang="en-US" sz="1400" dirty="0" err="1">
                <a:solidFill>
                  <a:schemeClr val="bg1"/>
                </a:solidFill>
              </a:rPr>
              <a:t>Aenean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lobortis</a:t>
            </a:r>
            <a:r>
              <a:rPr lang="en-US" sz="1400" dirty="0">
                <a:solidFill>
                  <a:schemeClr val="bg1"/>
                </a:solidFill>
              </a:rPr>
              <a:t> ac </a:t>
            </a:r>
            <a:r>
              <a:rPr lang="en-US" sz="1400" dirty="0" err="1">
                <a:solidFill>
                  <a:schemeClr val="bg1"/>
                </a:solidFill>
              </a:rPr>
              <a:t>neque</a:t>
            </a:r>
            <a:r>
              <a:rPr lang="en-US" sz="1400" dirty="0">
                <a:solidFill>
                  <a:schemeClr val="bg1"/>
                </a:solidFill>
              </a:rPr>
              <a:t> at </a:t>
            </a:r>
            <a:r>
              <a:rPr lang="en-US" sz="1400" dirty="0" err="1">
                <a:solidFill>
                  <a:schemeClr val="bg1"/>
                </a:solidFill>
              </a:rPr>
              <a:t>viverra</a:t>
            </a:r>
            <a:r>
              <a:rPr lang="en-US" sz="1400" dirty="0">
                <a:solidFill>
                  <a:schemeClr val="bg1"/>
                </a:solidFill>
              </a:rPr>
              <a:t>. Maecenas </a:t>
            </a:r>
            <a:r>
              <a:rPr lang="en-US" sz="1400" dirty="0" err="1">
                <a:solidFill>
                  <a:schemeClr val="bg1"/>
                </a:solidFill>
              </a:rPr>
              <a:t>ege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gestas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massa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en-US" sz="1400" dirty="0" err="1">
                <a:solidFill>
                  <a:schemeClr val="bg1"/>
                </a:solidFill>
              </a:rPr>
              <a:t>ege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consequat</a:t>
            </a:r>
            <a:r>
              <a:rPr lang="en-US" sz="1400" dirty="0">
                <a:solidFill>
                  <a:schemeClr val="bg1"/>
                </a:solidFill>
              </a:rPr>
              <a:t> ante. </a:t>
            </a:r>
            <a:r>
              <a:rPr lang="en-US" sz="1400" dirty="0" err="1">
                <a:solidFill>
                  <a:schemeClr val="bg1"/>
                </a:solidFill>
              </a:rPr>
              <a:t>Aliquam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fficitu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ccumsan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rutrum</a:t>
            </a:r>
            <a:r>
              <a:rPr lang="en-US" sz="1400" dirty="0">
                <a:solidFill>
                  <a:schemeClr val="bg1"/>
                </a:solidFill>
              </a:rPr>
              <a:t>. </a:t>
            </a:r>
            <a:r>
              <a:rPr lang="en-US" sz="1400" dirty="0" err="1">
                <a:solidFill>
                  <a:schemeClr val="bg1"/>
                </a:solidFill>
              </a:rPr>
              <a:t>Donec</a:t>
            </a:r>
            <a:r>
              <a:rPr lang="en-US" sz="1400" dirty="0">
                <a:solidFill>
                  <a:schemeClr val="bg1"/>
                </a:solidFill>
              </a:rPr>
              <a:t> at </a:t>
            </a:r>
            <a:r>
              <a:rPr lang="en-US" sz="1400" dirty="0" err="1">
                <a:solidFill>
                  <a:schemeClr val="bg1"/>
                </a:solidFill>
              </a:rPr>
              <a:t>lacus</a:t>
            </a:r>
            <a:r>
              <a:rPr lang="en-US" sz="1400" dirty="0">
                <a:solidFill>
                  <a:schemeClr val="bg1"/>
                </a:solidFill>
              </a:rPr>
              <a:t> id ligula </a:t>
            </a:r>
            <a:r>
              <a:rPr lang="en-US" sz="1400" dirty="0" err="1">
                <a:solidFill>
                  <a:schemeClr val="bg1"/>
                </a:solidFill>
              </a:rPr>
              <a:t>hendreri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scelerisque</a:t>
            </a:r>
            <a:r>
              <a:rPr lang="en-US" sz="1400" dirty="0">
                <a:solidFill>
                  <a:schemeClr val="bg1"/>
                </a:solidFill>
              </a:rPr>
              <a:t>. </a:t>
            </a:r>
            <a:r>
              <a:rPr lang="en-US" sz="1400" dirty="0" err="1">
                <a:solidFill>
                  <a:schemeClr val="bg1"/>
                </a:solidFill>
              </a:rPr>
              <a:t>Etiam</a:t>
            </a:r>
            <a:r>
              <a:rPr lang="en-US" sz="1400" dirty="0">
                <a:solidFill>
                  <a:schemeClr val="bg1"/>
                </a:solidFill>
              </a:rPr>
              <a:t> in </a:t>
            </a:r>
            <a:r>
              <a:rPr lang="en-US" sz="1400" dirty="0" err="1">
                <a:solidFill>
                  <a:schemeClr val="bg1"/>
                </a:solidFill>
              </a:rPr>
              <a:t>odio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rat</a:t>
            </a:r>
            <a:r>
              <a:rPr lang="en-US" sz="1400" dirty="0">
                <a:solidFill>
                  <a:schemeClr val="bg1"/>
                </a:solidFill>
              </a:rPr>
              <a:t>. Maecenas vitae </a:t>
            </a:r>
            <a:r>
              <a:rPr lang="en-US" sz="1400" dirty="0" err="1">
                <a:solidFill>
                  <a:schemeClr val="bg1"/>
                </a:solidFill>
              </a:rPr>
              <a:t>sodales</a:t>
            </a:r>
            <a:r>
              <a:rPr lang="en-US" sz="1400" dirty="0">
                <a:solidFill>
                  <a:schemeClr val="bg1"/>
                </a:solidFill>
              </a:rPr>
              <a:t> nisi.”</a:t>
            </a:r>
          </a:p>
        </p:txBody>
      </p:sp>
      <p:sp>
        <p:nvSpPr>
          <p:cNvPr id="1933" name="Rounded Rectangle 88">
            <a:extLst>
              <a:ext uri="{FF2B5EF4-FFF2-40B4-BE49-F238E27FC236}">
                <a16:creationId xmlns:a16="http://schemas.microsoft.com/office/drawing/2014/main" id="{4FB4ACFE-B946-4A07-98DC-AB72960E20DD}"/>
              </a:ext>
            </a:extLst>
          </p:cNvPr>
          <p:cNvSpPr/>
          <p:nvPr/>
        </p:nvSpPr>
        <p:spPr>
          <a:xfrm>
            <a:off x="7778106" y="997811"/>
            <a:ext cx="5404493" cy="1105737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4" name="Rounded Rectangle 89">
            <a:extLst>
              <a:ext uri="{FF2B5EF4-FFF2-40B4-BE49-F238E27FC236}">
                <a16:creationId xmlns:a16="http://schemas.microsoft.com/office/drawing/2014/main" id="{4FBF9653-DD63-4FA1-8400-B4D3B3CC2043}"/>
              </a:ext>
            </a:extLst>
          </p:cNvPr>
          <p:cNvSpPr/>
          <p:nvPr/>
        </p:nvSpPr>
        <p:spPr>
          <a:xfrm>
            <a:off x="7778106" y="2364522"/>
            <a:ext cx="5404493" cy="1105737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5" name="Rounded Rectangle 90">
            <a:extLst>
              <a:ext uri="{FF2B5EF4-FFF2-40B4-BE49-F238E27FC236}">
                <a16:creationId xmlns:a16="http://schemas.microsoft.com/office/drawing/2014/main" id="{0EEFDAAD-4C49-49EC-84E0-9C0D4C12003C}"/>
              </a:ext>
            </a:extLst>
          </p:cNvPr>
          <p:cNvSpPr/>
          <p:nvPr/>
        </p:nvSpPr>
        <p:spPr>
          <a:xfrm>
            <a:off x="7778106" y="3731233"/>
            <a:ext cx="5404493" cy="1105737"/>
          </a:xfrm>
          <a:prstGeom prst="roundRect">
            <a:avLst>
              <a:gd name="adj" fmla="val 5000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6" name="Rectangle 1935">
            <a:extLst>
              <a:ext uri="{FF2B5EF4-FFF2-40B4-BE49-F238E27FC236}">
                <a16:creationId xmlns:a16="http://schemas.microsoft.com/office/drawing/2014/main" id="{23AFDD30-089C-49DC-A634-CE414B6BE21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807043" y="1089016"/>
            <a:ext cx="2048990" cy="923330"/>
          </a:xfrm>
          <a:prstGeom prst="rect">
            <a:avLst/>
          </a:prstGeom>
          <a:effectLst/>
        </p:spPr>
        <p:txBody>
          <a:bodyPr wrap="square" anchor="ctr">
            <a:spAutoFit/>
          </a:bodyPr>
          <a:lstStyle/>
          <a:p>
            <a:pPr algn="ctr"/>
            <a:r>
              <a:rPr lang="en-US" sz="5400" b="1" dirty="0">
                <a:solidFill>
                  <a:schemeClr val="accent1"/>
                </a:solidFill>
              </a:rPr>
              <a:t>62%</a:t>
            </a:r>
          </a:p>
        </p:txBody>
      </p:sp>
      <p:sp>
        <p:nvSpPr>
          <p:cNvPr id="1937" name="Rectangle 1936">
            <a:extLst>
              <a:ext uri="{FF2B5EF4-FFF2-40B4-BE49-F238E27FC236}">
                <a16:creationId xmlns:a16="http://schemas.microsoft.com/office/drawing/2014/main" id="{2FEBCEDE-F677-45E0-930B-75B55B5CF22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807043" y="2455727"/>
            <a:ext cx="2048990" cy="923330"/>
          </a:xfrm>
          <a:prstGeom prst="rect">
            <a:avLst/>
          </a:prstGeom>
          <a:effectLst/>
        </p:spPr>
        <p:txBody>
          <a:bodyPr wrap="square" anchor="ctr">
            <a:spAutoFit/>
          </a:bodyPr>
          <a:lstStyle/>
          <a:p>
            <a:pPr algn="ctr"/>
            <a:r>
              <a:rPr lang="en-US" sz="5400" b="1" dirty="0">
                <a:solidFill>
                  <a:schemeClr val="accent2"/>
                </a:solidFill>
              </a:rPr>
              <a:t>79%</a:t>
            </a:r>
          </a:p>
        </p:txBody>
      </p:sp>
      <p:sp>
        <p:nvSpPr>
          <p:cNvPr id="1938" name="Rectangle 1937">
            <a:extLst>
              <a:ext uri="{FF2B5EF4-FFF2-40B4-BE49-F238E27FC236}">
                <a16:creationId xmlns:a16="http://schemas.microsoft.com/office/drawing/2014/main" id="{124CF2A1-0656-43DF-86B9-F97A3F1473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807043" y="3822438"/>
            <a:ext cx="2048990" cy="923330"/>
          </a:xfrm>
          <a:prstGeom prst="rect">
            <a:avLst/>
          </a:prstGeom>
          <a:effectLst/>
        </p:spPr>
        <p:txBody>
          <a:bodyPr wrap="square" anchor="ctr">
            <a:spAutoFit/>
          </a:bodyPr>
          <a:lstStyle/>
          <a:p>
            <a:pPr algn="ctr"/>
            <a:r>
              <a:rPr lang="en-US" sz="5400" b="1" dirty="0">
                <a:solidFill>
                  <a:schemeClr val="accent3"/>
                </a:solidFill>
              </a:rPr>
              <a:t>81%</a:t>
            </a:r>
          </a:p>
        </p:txBody>
      </p:sp>
      <p:sp>
        <p:nvSpPr>
          <p:cNvPr id="1939" name="TextBox 1938">
            <a:extLst>
              <a:ext uri="{FF2B5EF4-FFF2-40B4-BE49-F238E27FC236}">
                <a16:creationId xmlns:a16="http://schemas.microsoft.com/office/drawing/2014/main" id="{EDFD5854-E412-43C3-901E-1F9E7696C2A8}"/>
              </a:ext>
            </a:extLst>
          </p:cNvPr>
          <p:cNvSpPr txBox="1"/>
          <p:nvPr/>
        </p:nvSpPr>
        <p:spPr>
          <a:xfrm>
            <a:off x="9803821" y="1227514"/>
            <a:ext cx="2048991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</a:t>
            </a:r>
          </a:p>
        </p:txBody>
      </p:sp>
      <p:sp>
        <p:nvSpPr>
          <p:cNvPr id="1940" name="TextBox 1939">
            <a:extLst>
              <a:ext uri="{FF2B5EF4-FFF2-40B4-BE49-F238E27FC236}">
                <a16:creationId xmlns:a16="http://schemas.microsoft.com/office/drawing/2014/main" id="{094C3CE9-0C15-4574-8F0A-66E3E9E1730D}"/>
              </a:ext>
            </a:extLst>
          </p:cNvPr>
          <p:cNvSpPr txBox="1"/>
          <p:nvPr/>
        </p:nvSpPr>
        <p:spPr>
          <a:xfrm>
            <a:off x="9803821" y="2594225"/>
            <a:ext cx="2048991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</a:t>
            </a:r>
          </a:p>
        </p:txBody>
      </p:sp>
      <p:sp>
        <p:nvSpPr>
          <p:cNvPr id="1941" name="TextBox 1940">
            <a:extLst>
              <a:ext uri="{FF2B5EF4-FFF2-40B4-BE49-F238E27FC236}">
                <a16:creationId xmlns:a16="http://schemas.microsoft.com/office/drawing/2014/main" id="{01611F56-B790-4FCE-BF88-AF7718E3E0C8}"/>
              </a:ext>
            </a:extLst>
          </p:cNvPr>
          <p:cNvSpPr txBox="1"/>
          <p:nvPr/>
        </p:nvSpPr>
        <p:spPr>
          <a:xfrm>
            <a:off x="9803821" y="3960936"/>
            <a:ext cx="2048991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</a:t>
            </a:r>
          </a:p>
        </p:txBody>
      </p:sp>
    </p:spTree>
    <p:extLst>
      <p:ext uri="{BB962C8B-B14F-4D97-AF65-F5344CB8AC3E}">
        <p14:creationId xmlns:p14="http://schemas.microsoft.com/office/powerpoint/2010/main" val="31811753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8B377954-B88B-41EE-A1D1-7CCFBBF16A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3454" y="2206628"/>
            <a:ext cx="1812876" cy="444979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665CAD2E-C59A-4C3C-B03F-01FD0BBCC838}"/>
              </a:ext>
            </a:extLst>
          </p:cNvPr>
          <p:cNvSpPr txBox="1"/>
          <p:nvPr/>
        </p:nvSpPr>
        <p:spPr>
          <a:xfrm>
            <a:off x="1429221" y="2937222"/>
            <a:ext cx="924133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zh-CN" sz="4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Arial"/>
                <a:sym typeface="Arial"/>
                <a:hlinkClick r:id="rId4"/>
              </a:rPr>
              <a:t>www.greatppt.com</a:t>
            </a:r>
            <a:endParaRPr kumimoji="0" lang="en-US" altLang="zh-CN" sz="4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宋体" panose="02010600030101010101" pitchFamily="2" charset="-122"/>
              <a:cs typeface="Arial"/>
              <a:sym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zh-CN" sz="3200" b="0" i="0" u="none" strike="noStrike" kern="0" cap="none" spc="0" normalizeH="0" baseline="0" noProof="0" dirty="0">
                <a:ln>
                  <a:noFill/>
                </a:ln>
                <a:solidFill>
                  <a:srgbClr val="78909C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Arial"/>
                <a:sym typeface="Arial"/>
              </a:rPr>
              <a:t>Free Templates and Themes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zh-CN" sz="3200" b="0" i="0" u="none" strike="noStrike" kern="0" cap="none" spc="0" normalizeH="0" baseline="0" noProof="0" dirty="0">
                <a:ln>
                  <a:noFill/>
                </a:ln>
                <a:solidFill>
                  <a:srgbClr val="78909C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/>
                <a:ea typeface="宋体" panose="02010600030101010101" pitchFamily="2" charset="-122"/>
                <a:cs typeface="Arial"/>
                <a:sym typeface="Arial"/>
              </a:rPr>
              <a:t>Create beautiful presentations in minutes</a:t>
            </a:r>
            <a:endParaRPr kumimoji="0" lang="zh-CN" altLang="en-US" sz="3200" b="0" i="0" u="none" strike="noStrike" kern="0" cap="none" spc="0" normalizeH="0" baseline="0" noProof="0" dirty="0">
              <a:ln>
                <a:noFill/>
              </a:ln>
              <a:solidFill>
                <a:srgbClr val="78909C">
                  <a:lumMod val="20000"/>
                  <a:lumOff val="80000"/>
                </a:srgbClr>
              </a:solidFill>
              <a:effectLst/>
              <a:uLnTx/>
              <a:uFillTx/>
              <a:latin typeface="Arial"/>
              <a:ea typeface="宋体" panose="02010600030101010101" pitchFamily="2" charset="-122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41487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ustom 13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3539B"/>
      </a:accent1>
      <a:accent2>
        <a:srgbClr val="B2D169"/>
      </a:accent2>
      <a:accent3>
        <a:srgbClr val="767BB5"/>
      </a:accent3>
      <a:accent4>
        <a:srgbClr val="E3539B"/>
      </a:accent4>
      <a:accent5>
        <a:srgbClr val="B2D169"/>
      </a:accent5>
      <a:accent6>
        <a:srgbClr val="767BB5"/>
      </a:accent6>
      <a:hlink>
        <a:srgbClr val="0563C1"/>
      </a:hlink>
      <a:folHlink>
        <a:srgbClr val="954F72"/>
      </a:folHlink>
    </a:clrScheme>
    <a:fontScheme name="Modern 01">
      <a:majorFont>
        <a:latin typeface="Century Gothic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lidesgo Final Pages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77</TotalTime>
  <Words>527</Words>
  <Application>Microsoft Office PowerPoint</Application>
  <PresentationFormat>宽屏</PresentationFormat>
  <Paragraphs>62</Paragraphs>
  <Slides>8</Slides>
  <Notes>1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8</vt:i4>
      </vt:variant>
    </vt:vector>
  </HeadingPairs>
  <TitlesOfParts>
    <vt:vector size="16" baseType="lpstr">
      <vt:lpstr>Proxima Nova</vt:lpstr>
      <vt:lpstr>Proxima Nova Semibold</vt:lpstr>
      <vt:lpstr>Arial</vt:lpstr>
      <vt:lpstr>Calibri</vt:lpstr>
      <vt:lpstr>Century Gothic</vt:lpstr>
      <vt:lpstr>Segoe UI Light</vt:lpstr>
      <vt:lpstr>Office Theme</vt:lpstr>
      <vt:lpstr>Slidesgo Final Pages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刘 龙</cp:lastModifiedBy>
  <cp:revision>91</cp:revision>
  <dcterms:created xsi:type="dcterms:W3CDTF">2018-05-23T02:48:31Z</dcterms:created>
  <dcterms:modified xsi:type="dcterms:W3CDTF">2020-08-17T08:14:19Z</dcterms:modified>
</cp:coreProperties>
</file>